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31" r:id="rId1"/>
    <p:sldMasterId id="2147484169" r:id="rId2"/>
    <p:sldMasterId id="2147484246" r:id="rId3"/>
  </p:sldMasterIdLst>
  <p:notesMasterIdLst>
    <p:notesMasterId r:id="rId146"/>
  </p:notesMasterIdLst>
  <p:sldIdLst>
    <p:sldId id="569" r:id="rId4"/>
    <p:sldId id="393" r:id="rId5"/>
    <p:sldId id="394" r:id="rId6"/>
    <p:sldId id="395" r:id="rId7"/>
    <p:sldId id="396" r:id="rId8"/>
    <p:sldId id="412" r:id="rId9"/>
    <p:sldId id="408" r:id="rId10"/>
    <p:sldId id="398" r:id="rId11"/>
    <p:sldId id="409" r:id="rId12"/>
    <p:sldId id="410" r:id="rId13"/>
    <p:sldId id="411" r:id="rId14"/>
    <p:sldId id="399" r:id="rId15"/>
    <p:sldId id="256" r:id="rId16"/>
    <p:sldId id="257" r:id="rId17"/>
    <p:sldId id="378" r:id="rId18"/>
    <p:sldId id="379" r:id="rId19"/>
    <p:sldId id="260" r:id="rId20"/>
    <p:sldId id="261" r:id="rId21"/>
    <p:sldId id="262" r:id="rId22"/>
    <p:sldId id="264" r:id="rId23"/>
    <p:sldId id="265" r:id="rId24"/>
    <p:sldId id="266" r:id="rId25"/>
    <p:sldId id="268" r:id="rId26"/>
    <p:sldId id="269" r:id="rId27"/>
    <p:sldId id="270" r:id="rId28"/>
    <p:sldId id="271" r:id="rId29"/>
    <p:sldId id="281" r:id="rId30"/>
    <p:sldId id="282" r:id="rId31"/>
    <p:sldId id="283" r:id="rId32"/>
    <p:sldId id="287" r:id="rId33"/>
    <p:sldId id="380" r:id="rId34"/>
    <p:sldId id="381" r:id="rId35"/>
    <p:sldId id="382" r:id="rId36"/>
    <p:sldId id="383" r:id="rId37"/>
    <p:sldId id="384" r:id="rId38"/>
    <p:sldId id="387" r:id="rId39"/>
    <p:sldId id="286" r:id="rId40"/>
    <p:sldId id="289" r:id="rId41"/>
    <p:sldId id="290" r:id="rId42"/>
    <p:sldId id="291" r:id="rId43"/>
    <p:sldId id="373" r:id="rId44"/>
    <p:sldId id="296" r:id="rId45"/>
    <p:sldId id="372" r:id="rId46"/>
    <p:sldId id="374" r:id="rId47"/>
    <p:sldId id="388" r:id="rId48"/>
    <p:sldId id="389" r:id="rId49"/>
    <p:sldId id="390" r:id="rId50"/>
    <p:sldId id="391" r:id="rId51"/>
    <p:sldId id="392" r:id="rId52"/>
    <p:sldId id="273" r:id="rId53"/>
    <p:sldId id="274" r:id="rId54"/>
    <p:sldId id="275" r:id="rId55"/>
    <p:sldId id="276" r:id="rId56"/>
    <p:sldId id="277" r:id="rId57"/>
    <p:sldId id="292" r:id="rId58"/>
    <p:sldId id="293" r:id="rId59"/>
    <p:sldId id="294" r:id="rId60"/>
    <p:sldId id="295" r:id="rId61"/>
    <p:sldId id="375" r:id="rId62"/>
    <p:sldId id="376" r:id="rId63"/>
    <p:sldId id="377" r:id="rId64"/>
    <p:sldId id="297" r:id="rId65"/>
    <p:sldId id="298" r:id="rId66"/>
    <p:sldId id="299" r:id="rId67"/>
    <p:sldId id="300" r:id="rId68"/>
    <p:sldId id="301" r:id="rId69"/>
    <p:sldId id="302" r:id="rId70"/>
    <p:sldId id="303" r:id="rId71"/>
    <p:sldId id="304" r:id="rId72"/>
    <p:sldId id="305" r:id="rId73"/>
    <p:sldId id="306" r:id="rId74"/>
    <p:sldId id="307" r:id="rId75"/>
    <p:sldId id="308" r:id="rId76"/>
    <p:sldId id="310" r:id="rId77"/>
    <p:sldId id="331" r:id="rId78"/>
    <p:sldId id="332" r:id="rId79"/>
    <p:sldId id="333" r:id="rId80"/>
    <p:sldId id="334" r:id="rId81"/>
    <p:sldId id="335" r:id="rId82"/>
    <p:sldId id="336" r:id="rId83"/>
    <p:sldId id="337" r:id="rId84"/>
    <p:sldId id="338" r:id="rId85"/>
    <p:sldId id="339" r:id="rId86"/>
    <p:sldId id="340" r:id="rId87"/>
    <p:sldId id="341" r:id="rId88"/>
    <p:sldId id="342" r:id="rId89"/>
    <p:sldId id="343" r:id="rId90"/>
    <p:sldId id="344" r:id="rId91"/>
    <p:sldId id="345" r:id="rId92"/>
    <p:sldId id="346" r:id="rId93"/>
    <p:sldId id="347" r:id="rId94"/>
    <p:sldId id="348" r:id="rId95"/>
    <p:sldId id="349" r:id="rId96"/>
    <p:sldId id="350" r:id="rId97"/>
    <p:sldId id="351" r:id="rId98"/>
    <p:sldId id="352" r:id="rId99"/>
    <p:sldId id="371" r:id="rId100"/>
    <p:sldId id="353" r:id="rId101"/>
    <p:sldId id="355" r:id="rId102"/>
    <p:sldId id="356" r:id="rId103"/>
    <p:sldId id="357" r:id="rId104"/>
    <p:sldId id="358" r:id="rId105"/>
    <p:sldId id="360" r:id="rId106"/>
    <p:sldId id="361" r:id="rId107"/>
    <p:sldId id="362" r:id="rId108"/>
    <p:sldId id="363" r:id="rId109"/>
    <p:sldId id="364" r:id="rId110"/>
    <p:sldId id="365" r:id="rId111"/>
    <p:sldId id="366" r:id="rId112"/>
    <p:sldId id="367" r:id="rId113"/>
    <p:sldId id="369" r:id="rId114"/>
    <p:sldId id="368" r:id="rId115"/>
    <p:sldId id="370" r:id="rId116"/>
    <p:sldId id="324" r:id="rId117"/>
    <p:sldId id="325" r:id="rId118"/>
    <p:sldId id="326" r:id="rId119"/>
    <p:sldId id="327" r:id="rId120"/>
    <p:sldId id="328" r:id="rId121"/>
    <p:sldId id="329" r:id="rId122"/>
    <p:sldId id="330" r:id="rId123"/>
    <p:sldId id="312" r:id="rId124"/>
    <p:sldId id="313" r:id="rId125"/>
    <p:sldId id="314" r:id="rId126"/>
    <p:sldId id="315" r:id="rId127"/>
    <p:sldId id="316" r:id="rId128"/>
    <p:sldId id="317" r:id="rId129"/>
    <p:sldId id="318" r:id="rId130"/>
    <p:sldId id="319" r:id="rId131"/>
    <p:sldId id="320" r:id="rId132"/>
    <p:sldId id="321" r:id="rId133"/>
    <p:sldId id="322" r:id="rId134"/>
    <p:sldId id="400" r:id="rId135"/>
    <p:sldId id="401" r:id="rId136"/>
    <p:sldId id="404" r:id="rId137"/>
    <p:sldId id="405" r:id="rId138"/>
    <p:sldId id="406" r:id="rId139"/>
    <p:sldId id="407" r:id="rId140"/>
    <p:sldId id="402" r:id="rId141"/>
    <p:sldId id="403" r:id="rId142"/>
    <p:sldId id="413" r:id="rId143"/>
    <p:sldId id="414" r:id="rId144"/>
    <p:sldId id="415" r:id="rId14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Layouts" id="{5811176C-D3C2-BA4E-B3FB-7000C6B290A5}">
          <p14:sldIdLst>
            <p14:sldId id="569"/>
            <p14:sldId id="393"/>
            <p14:sldId id="394"/>
            <p14:sldId id="395"/>
            <p14:sldId id="396"/>
            <p14:sldId id="412"/>
            <p14:sldId id="408"/>
            <p14:sldId id="398"/>
            <p14:sldId id="409"/>
            <p14:sldId id="410"/>
            <p14:sldId id="411"/>
            <p14:sldId id="399"/>
          </p14:sldIdLst>
        </p14:section>
        <p14:section name="Extra Layouts" id="{E01FD74C-49FD-5D4C-AEAB-5EA5A60B6F5F}">
          <p14:sldIdLst>
            <p14:sldId id="256"/>
            <p14:sldId id="257"/>
            <p14:sldId id="378"/>
            <p14:sldId id="379"/>
            <p14:sldId id="260"/>
            <p14:sldId id="261"/>
            <p14:sldId id="262"/>
            <p14:sldId id="264"/>
            <p14:sldId id="265"/>
            <p14:sldId id="266"/>
            <p14:sldId id="268"/>
            <p14:sldId id="269"/>
            <p14:sldId id="270"/>
            <p14:sldId id="271"/>
            <p14:sldId id="281"/>
            <p14:sldId id="282"/>
            <p14:sldId id="283"/>
            <p14:sldId id="287"/>
            <p14:sldId id="380"/>
            <p14:sldId id="381"/>
            <p14:sldId id="382"/>
            <p14:sldId id="383"/>
            <p14:sldId id="384"/>
            <p14:sldId id="387"/>
            <p14:sldId id="286"/>
            <p14:sldId id="289"/>
            <p14:sldId id="290"/>
            <p14:sldId id="291"/>
            <p14:sldId id="373"/>
            <p14:sldId id="296"/>
            <p14:sldId id="372"/>
            <p14:sldId id="374"/>
            <p14:sldId id="388"/>
            <p14:sldId id="389"/>
            <p14:sldId id="390"/>
            <p14:sldId id="391"/>
            <p14:sldId id="392"/>
          </p14:sldIdLst>
        </p14:section>
        <p14:section name="Our Team" id="{06C0D0BE-F511-F14F-BBA9-1E8DF144BF61}">
          <p14:sldIdLst>
            <p14:sldId id="273"/>
            <p14:sldId id="274"/>
            <p14:sldId id="275"/>
            <p14:sldId id="276"/>
            <p14:sldId id="277"/>
            <p14:sldId id="292"/>
            <p14:sldId id="293"/>
            <p14:sldId id="294"/>
            <p14:sldId id="295"/>
            <p14:sldId id="375"/>
            <p14:sldId id="376"/>
            <p14:sldId id="377"/>
          </p14:sldIdLst>
        </p14:section>
        <p14:section name="Devices" id="{30114665-3F5D-3D47-A066-F91D7870D89F}">
          <p14:sldIdLst>
            <p14:sldId id="297"/>
            <p14:sldId id="298"/>
            <p14:sldId id="299"/>
            <p14:sldId id="300"/>
            <p14:sldId id="301"/>
            <p14:sldId id="302"/>
            <p14:sldId id="303"/>
            <p14:sldId id="304"/>
            <p14:sldId id="305"/>
            <p14:sldId id="306"/>
            <p14:sldId id="307"/>
            <p14:sldId id="308"/>
          </p14:sldIdLst>
        </p14:section>
        <p14:section name="Infographics" id="{4B743E88-C074-0642-B0A7-CA9CF9EDB9C9}">
          <p14:sldIdLst>
            <p14:sldId id="310"/>
            <p14:sldId id="331"/>
            <p14:sldId id="332"/>
            <p14:sldId id="333"/>
            <p14:sldId id="334"/>
            <p14:sldId id="335"/>
            <p14:sldId id="336"/>
            <p14:sldId id="337"/>
            <p14:sldId id="338"/>
            <p14:sldId id="339"/>
            <p14:sldId id="340"/>
            <p14:sldId id="341"/>
            <p14:sldId id="342"/>
            <p14:sldId id="343"/>
            <p14:sldId id="344"/>
            <p14:sldId id="345"/>
            <p14:sldId id="346"/>
            <p14:sldId id="347"/>
            <p14:sldId id="348"/>
            <p14:sldId id="349"/>
            <p14:sldId id="350"/>
            <p14:sldId id="351"/>
            <p14:sldId id="352"/>
            <p14:sldId id="371"/>
            <p14:sldId id="353"/>
            <p14:sldId id="355"/>
            <p14:sldId id="356"/>
            <p14:sldId id="357"/>
            <p14:sldId id="358"/>
            <p14:sldId id="360"/>
            <p14:sldId id="361"/>
            <p14:sldId id="362"/>
            <p14:sldId id="363"/>
            <p14:sldId id="364"/>
            <p14:sldId id="365"/>
            <p14:sldId id="366"/>
            <p14:sldId id="367"/>
            <p14:sldId id="369"/>
            <p14:sldId id="368"/>
            <p14:sldId id="370"/>
          </p14:sldIdLst>
        </p14:section>
        <p14:section name="Maps" id="{A00E0917-1563-AB45-B583-20BD03C608CE}">
          <p14:sldIdLst>
            <p14:sldId id="324"/>
            <p14:sldId id="325"/>
            <p14:sldId id="326"/>
            <p14:sldId id="327"/>
            <p14:sldId id="328"/>
            <p14:sldId id="329"/>
            <p14:sldId id="330"/>
          </p14:sldIdLst>
        </p14:section>
        <p14:section name="Chart" id="{E09E9460-3FFC-9048-8192-6E335C120C40}">
          <p14:sldIdLst>
            <p14:sldId id="312"/>
            <p14:sldId id="313"/>
            <p14:sldId id="314"/>
            <p14:sldId id="315"/>
            <p14:sldId id="316"/>
            <p14:sldId id="317"/>
            <p14:sldId id="318"/>
            <p14:sldId id="319"/>
            <p14:sldId id="320"/>
            <p14:sldId id="321"/>
            <p14:sldId id="322"/>
          </p14:sldIdLst>
        </p14:section>
        <p14:section name="Icons" id="{98BE890E-67C8-A441-B791-04A841087EFF}">
          <p14:sldIdLst>
            <p14:sldId id="400"/>
            <p14:sldId id="401"/>
            <p14:sldId id="404"/>
            <p14:sldId id="405"/>
            <p14:sldId id="406"/>
            <p14:sldId id="407"/>
            <p14:sldId id="402"/>
            <p14:sldId id="403"/>
            <p14:sldId id="413"/>
            <p14:sldId id="414"/>
            <p14:sldId id="41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2BCCDE-63BE-4B74-A112-5188FFE34B6D}" v="8" dt="2025-01-29T19:46:57.411"/>
    <p1510:client id="{B0FF16ED-F435-4D11-BF53-8A06C29CA76C}" v="44" dt="2025-01-29T16:32:27.29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71" autoAdjust="0"/>
    <p:restoredTop sz="94750"/>
  </p:normalViewPr>
  <p:slideViewPr>
    <p:cSldViewPr snapToGrid="0" snapToObjects="1" showGuides="1">
      <p:cViewPr varScale="1">
        <p:scale>
          <a:sx n="75" d="100"/>
          <a:sy n="75" d="100"/>
        </p:scale>
        <p:origin x="821" y="48"/>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theme" Target="theme/theme1.xml"/><Relationship Id="rId5" Type="http://schemas.openxmlformats.org/officeDocument/2006/relationships/slide" Target="slides/slide2.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slide" Target="slides/slide110.xml"/><Relationship Id="rId118" Type="http://schemas.openxmlformats.org/officeDocument/2006/relationships/slide" Target="slides/slide115.xml"/><Relationship Id="rId134" Type="http://schemas.openxmlformats.org/officeDocument/2006/relationships/slide" Target="slides/slide131.xml"/><Relationship Id="rId139" Type="http://schemas.openxmlformats.org/officeDocument/2006/relationships/slide" Target="slides/slide136.xml"/><Relationship Id="rId80" Type="http://schemas.openxmlformats.org/officeDocument/2006/relationships/slide" Target="slides/slide77.xml"/><Relationship Id="rId85" Type="http://schemas.openxmlformats.org/officeDocument/2006/relationships/slide" Target="slides/slide82.xml"/><Relationship Id="rId150" Type="http://schemas.openxmlformats.org/officeDocument/2006/relationships/tableStyles" Target="tableStyles.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slide" Target="slides/slide105.xml"/><Relationship Id="rId124" Type="http://schemas.openxmlformats.org/officeDocument/2006/relationships/slide" Target="slides/slide121.xml"/><Relationship Id="rId129" Type="http://schemas.openxmlformats.org/officeDocument/2006/relationships/slide" Target="slides/slide126.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slide" Target="slides/slide137.xml"/><Relationship Id="rId145" Type="http://schemas.openxmlformats.org/officeDocument/2006/relationships/slide" Target="slides/slide142.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119" Type="http://schemas.openxmlformats.org/officeDocument/2006/relationships/slide" Target="slides/slide116.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slide" Target="slides/slide127.xml"/><Relationship Id="rId135" Type="http://schemas.openxmlformats.org/officeDocument/2006/relationships/slide" Target="slides/slide132.xml"/><Relationship Id="rId151" Type="http://schemas.microsoft.com/office/2015/10/relationships/revisionInfo" Target="revisionInfo.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141" Type="http://schemas.openxmlformats.org/officeDocument/2006/relationships/slide" Target="slides/slide138.xml"/><Relationship Id="rId146" Type="http://schemas.openxmlformats.org/officeDocument/2006/relationships/notesMaster" Target="notesMasters/notesMaster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slide" Target="slides/slide128.xml"/><Relationship Id="rId136" Type="http://schemas.openxmlformats.org/officeDocument/2006/relationships/slide" Target="slides/slide133.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48"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6" Type="http://schemas.openxmlformats.org/officeDocument/2006/relationships/slide" Target="slides/slide13.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347333664250798E-2"/>
          <c:y val="0.13582762736930701"/>
          <c:w val="0.91874796503659895"/>
          <c:h val="0.69430989913579899"/>
        </c:manualLayout>
      </c:layout>
      <c:lineChart>
        <c:grouping val="stacked"/>
        <c:varyColors val="0"/>
        <c:ser>
          <c:idx val="0"/>
          <c:order val="0"/>
          <c:tx>
            <c:strRef>
              <c:f>Sheet1!$B$1</c:f>
              <c:strCache>
                <c:ptCount val="1"/>
                <c:pt idx="0">
                  <c:v>Series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0</c:v>
                </c:pt>
                <c:pt idx="1">
                  <c:v>2.5</c:v>
                </c:pt>
                <c:pt idx="2">
                  <c:v>3.5</c:v>
                </c:pt>
                <c:pt idx="3">
                  <c:v>4.5</c:v>
                </c:pt>
              </c:numCache>
            </c:numRef>
          </c:val>
          <c:smooth val="0"/>
          <c:extLst>
            <c:ext xmlns:c16="http://schemas.microsoft.com/office/drawing/2014/chart" uri="{C3380CC4-5D6E-409C-BE32-E72D297353CC}">
              <c16:uniqueId val="{00000000-955D-A34D-8FE0-FBD2A72BFAB2}"/>
            </c:ext>
          </c:extLst>
        </c:ser>
        <c:ser>
          <c:idx val="1"/>
          <c:order val="1"/>
          <c:tx>
            <c:strRef>
              <c:f>Sheet1!$C$1</c:f>
              <c:strCache>
                <c:ptCount val="1"/>
                <c:pt idx="0">
                  <c:v>Series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1</c:v>
                </c:pt>
                <c:pt idx="2">
                  <c:v>1.8</c:v>
                </c:pt>
                <c:pt idx="3">
                  <c:v>2.8</c:v>
                </c:pt>
              </c:numCache>
            </c:numRef>
          </c:val>
          <c:smooth val="0"/>
          <c:extLst>
            <c:ext xmlns:c16="http://schemas.microsoft.com/office/drawing/2014/chart" uri="{C3380CC4-5D6E-409C-BE32-E72D297353CC}">
              <c16:uniqueId val="{00000001-955D-A34D-8FE0-FBD2A72BFAB2}"/>
            </c:ext>
          </c:extLst>
        </c:ser>
        <c:ser>
          <c:idx val="2"/>
          <c:order val="2"/>
          <c:tx>
            <c:strRef>
              <c:f>Sheet1!$D$1</c:f>
              <c:strCache>
                <c:ptCount val="1"/>
                <c:pt idx="0">
                  <c:v>Series 3</c:v>
                </c:pt>
              </c:strCache>
            </c:strRef>
          </c:tx>
          <c:spPr>
            <a:ln w="25400" cap="rnd">
              <a:solidFill>
                <a:schemeClr val="accent1"/>
              </a:solidFill>
              <a:round/>
              <a:headEnd w="lg" len="lg"/>
              <a:tailEnd w="lg" len="lg"/>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955D-A34D-8FE0-FBD2A72BFAB2}"/>
            </c:ext>
          </c:extLst>
        </c:ser>
        <c:dLbls>
          <c:showLegendKey val="0"/>
          <c:showVal val="0"/>
          <c:showCatName val="0"/>
          <c:showSerName val="0"/>
          <c:showPercent val="0"/>
          <c:showBubbleSize val="0"/>
        </c:dLbls>
        <c:marker val="1"/>
        <c:smooth val="0"/>
        <c:axId val="1184620288"/>
        <c:axId val="1200460224"/>
      </c:lineChart>
      <c:catAx>
        <c:axId val="1184620288"/>
        <c:scaling>
          <c:orientation val="minMax"/>
        </c:scaling>
        <c:delete val="0"/>
        <c:axPos val="b"/>
        <c:numFmt formatCode="General" sourceLinked="1"/>
        <c:majorTickMark val="none"/>
        <c:minorTickMark val="none"/>
        <c:tickLblPos val="nextTo"/>
        <c:spPr>
          <a:noFill/>
          <a:ln w="9525" cap="flat" cmpd="sng" algn="ctr">
            <a:solidFill>
              <a:schemeClr val="tx1">
                <a:alpha val="4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0460224"/>
        <c:crosses val="autoZero"/>
        <c:auto val="1"/>
        <c:lblAlgn val="ctr"/>
        <c:lblOffset val="100"/>
        <c:noMultiLvlLbl val="0"/>
      </c:catAx>
      <c:valAx>
        <c:axId val="1200460224"/>
        <c:scaling>
          <c:orientation val="minMax"/>
        </c:scaling>
        <c:delete val="0"/>
        <c:axPos val="l"/>
        <c:majorGridlines>
          <c:spPr>
            <a:ln w="9525" cap="flat" cmpd="sng" algn="ctr">
              <a:solidFill>
                <a:schemeClr val="tx1">
                  <a:alpha val="2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184620288"/>
        <c:crosses val="autoZero"/>
        <c:crossBetween val="between"/>
      </c:valAx>
      <c:spPr>
        <a:noFill/>
        <a:ln>
          <a:noFill/>
        </a:ln>
        <a:effectLst/>
      </c:spPr>
    </c:plotArea>
    <c:legend>
      <c:legendPos val="b"/>
      <c:layout>
        <c:manualLayout>
          <c:xMode val="edge"/>
          <c:yMode val="edge"/>
          <c:x val="0.254455245797505"/>
          <c:y val="2.1243812687281701E-2"/>
          <c:w val="0.51226160169504498"/>
          <c:h val="6.8462969619185104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Open Sans Semibold" charset="0"/>
              <a:ea typeface="Open Sans Semibold" charset="0"/>
              <a:cs typeface="Open Sans Semibold" charset="0"/>
            </a:defRPr>
          </a:pPr>
          <a:endParaRPr lang="en-US"/>
        </a:p>
      </c:txPr>
    </c:legend>
    <c:plotVisOnly val="1"/>
    <c:dispBlanksAs val="gap"/>
    <c:showDLblsOverMax val="0"/>
  </c:chart>
  <c:spPr>
    <a:noFill/>
    <a:ln>
      <a:noFill/>
    </a:ln>
    <a:effectLst/>
  </c:spPr>
  <c:txPr>
    <a:bodyPr/>
    <a:lstStyle/>
    <a:p>
      <a:pPr>
        <a:defRPr sz="1200">
          <a:latin typeface="+mn-lt"/>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347333664250798E-2"/>
          <c:y val="0.13582762736930701"/>
          <c:w val="0.91874796503659895"/>
          <c:h val="0.69430989913579899"/>
        </c:manualLayout>
      </c:layout>
      <c:scatterChart>
        <c:scatterStyle val="lineMarker"/>
        <c:varyColors val="0"/>
        <c:ser>
          <c:idx val="0"/>
          <c:order val="0"/>
          <c:tx>
            <c:strRef>
              <c:f>Sheet1!$B$1</c:f>
              <c:strCache>
                <c:ptCount val="1"/>
                <c:pt idx="0">
                  <c:v>Series 1</c:v>
                </c:pt>
              </c:strCache>
            </c:strRef>
          </c:tx>
          <c:spPr>
            <a:ln w="25400" cap="rnd">
              <a:solidFill>
                <a:schemeClr val="accent5"/>
              </a:solidFill>
              <a:round/>
            </a:ln>
            <a:effectLst/>
          </c:spPr>
          <c:marker>
            <c:symbol val="circle"/>
            <c:size val="20"/>
            <c:spPr>
              <a:solidFill>
                <a:schemeClr val="accent5"/>
              </a:solidFill>
              <a:ln w="9525">
                <a:solidFill>
                  <a:schemeClr val="accent5"/>
                </a:solidFill>
              </a:ln>
              <a:effectLst/>
            </c:spPr>
          </c:marker>
          <c:xVal>
            <c:strRef>
              <c:f>Sheet1!$A$2:$A$5</c:f>
              <c:strCache>
                <c:ptCount val="4"/>
                <c:pt idx="0">
                  <c:v>Category 1</c:v>
                </c:pt>
                <c:pt idx="1">
                  <c:v>Category 2</c:v>
                </c:pt>
                <c:pt idx="2">
                  <c:v>Category 3</c:v>
                </c:pt>
                <c:pt idx="3">
                  <c:v>Category 4</c:v>
                </c:pt>
              </c:strCache>
            </c:strRef>
          </c:xVal>
          <c:yVal>
            <c:numRef>
              <c:f>Sheet1!$B$2:$B$5</c:f>
              <c:numCache>
                <c:formatCode>General</c:formatCode>
                <c:ptCount val="4"/>
                <c:pt idx="0">
                  <c:v>4.3</c:v>
                </c:pt>
                <c:pt idx="1">
                  <c:v>2.5</c:v>
                </c:pt>
                <c:pt idx="2">
                  <c:v>3.5</c:v>
                </c:pt>
                <c:pt idx="3">
                  <c:v>4.5</c:v>
                </c:pt>
              </c:numCache>
            </c:numRef>
          </c:yVal>
          <c:smooth val="0"/>
          <c:extLst>
            <c:ext xmlns:c16="http://schemas.microsoft.com/office/drawing/2014/chart" uri="{C3380CC4-5D6E-409C-BE32-E72D297353CC}">
              <c16:uniqueId val="{00000000-1A70-B74A-85E5-66CE9167B27B}"/>
            </c:ext>
          </c:extLst>
        </c:ser>
        <c:ser>
          <c:idx val="1"/>
          <c:order val="1"/>
          <c:tx>
            <c:strRef>
              <c:f>Sheet1!$C$1</c:f>
              <c:strCache>
                <c:ptCount val="1"/>
                <c:pt idx="0">
                  <c:v>Series 2</c:v>
                </c:pt>
              </c:strCache>
            </c:strRef>
          </c:tx>
          <c:spPr>
            <a:ln w="25400" cap="rnd">
              <a:solidFill>
                <a:schemeClr val="accent1"/>
              </a:solidFill>
              <a:round/>
            </a:ln>
            <a:effectLst/>
          </c:spPr>
          <c:marker>
            <c:symbol val="circle"/>
            <c:size val="30"/>
            <c:spPr>
              <a:solidFill>
                <a:schemeClr val="accent1"/>
              </a:solidFill>
              <a:ln w="9525">
                <a:solidFill>
                  <a:schemeClr val="accent1"/>
                </a:solidFill>
              </a:ln>
              <a:effectLst/>
            </c:spPr>
          </c:marker>
          <c:xVal>
            <c:strRef>
              <c:f>Sheet1!$A$2:$A$5</c:f>
              <c:strCache>
                <c:ptCount val="4"/>
                <c:pt idx="0">
                  <c:v>Category 1</c:v>
                </c:pt>
                <c:pt idx="1">
                  <c:v>Category 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c:ext xmlns:c16="http://schemas.microsoft.com/office/drawing/2014/chart" uri="{C3380CC4-5D6E-409C-BE32-E72D297353CC}">
              <c16:uniqueId val="{00000001-1A70-B74A-85E5-66CE9167B27B}"/>
            </c:ext>
          </c:extLst>
        </c:ser>
        <c:ser>
          <c:idx val="2"/>
          <c:order val="2"/>
          <c:tx>
            <c:strRef>
              <c:f>Sheet1!$D$1</c:f>
              <c:strCache>
                <c:ptCount val="1"/>
                <c:pt idx="0">
                  <c:v>Series 3</c:v>
                </c:pt>
              </c:strCache>
            </c:strRef>
          </c:tx>
          <c:spPr>
            <a:ln w="25400" cap="rnd">
              <a:solidFill>
                <a:schemeClr val="accent2"/>
              </a:solidFill>
              <a:round/>
            </a:ln>
            <a:effectLst/>
          </c:spPr>
          <c:marker>
            <c:symbol val="circle"/>
            <c:size val="10"/>
            <c:spPr>
              <a:solidFill>
                <a:schemeClr val="accent2"/>
              </a:solidFill>
              <a:ln w="9525">
                <a:solidFill>
                  <a:schemeClr val="accent2"/>
                </a:solidFill>
              </a:ln>
              <a:effectLst/>
            </c:spPr>
          </c:marker>
          <c:xVal>
            <c:strRef>
              <c:f>Sheet1!$A$2:$A$5</c:f>
              <c:strCache>
                <c:ptCount val="4"/>
                <c:pt idx="0">
                  <c:v>Category 1</c:v>
                </c:pt>
                <c:pt idx="1">
                  <c:v>Category 2</c:v>
                </c:pt>
                <c:pt idx="2">
                  <c:v>Category 3</c:v>
                </c:pt>
                <c:pt idx="3">
                  <c:v>Category 4</c:v>
                </c:pt>
              </c:strCache>
            </c:strRef>
          </c:xVal>
          <c:yVal>
            <c:numRef>
              <c:f>Sheet1!$D$2:$D$5</c:f>
              <c:numCache>
                <c:formatCode>General</c:formatCode>
                <c:ptCount val="4"/>
                <c:pt idx="0">
                  <c:v>2</c:v>
                </c:pt>
                <c:pt idx="1">
                  <c:v>2</c:v>
                </c:pt>
                <c:pt idx="2">
                  <c:v>3</c:v>
                </c:pt>
                <c:pt idx="3">
                  <c:v>5</c:v>
                </c:pt>
              </c:numCache>
            </c:numRef>
          </c:yVal>
          <c:smooth val="0"/>
          <c:extLst>
            <c:ext xmlns:c16="http://schemas.microsoft.com/office/drawing/2014/chart" uri="{C3380CC4-5D6E-409C-BE32-E72D297353CC}">
              <c16:uniqueId val="{00000002-1A70-B74A-85E5-66CE9167B27B}"/>
            </c:ext>
          </c:extLst>
        </c:ser>
        <c:dLbls>
          <c:showLegendKey val="0"/>
          <c:showVal val="0"/>
          <c:showCatName val="0"/>
          <c:showSerName val="0"/>
          <c:showPercent val="0"/>
          <c:showBubbleSize val="0"/>
        </c:dLbls>
        <c:axId val="1216413888"/>
        <c:axId val="1216416368"/>
      </c:scatterChart>
      <c:valAx>
        <c:axId val="121641388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16416368"/>
        <c:crosses val="autoZero"/>
        <c:crossBetween val="midCat"/>
      </c:valAx>
      <c:valAx>
        <c:axId val="1216416368"/>
        <c:scaling>
          <c:orientation val="minMax"/>
        </c:scaling>
        <c:delete val="0"/>
        <c:axPos val="l"/>
        <c:majorGridlines>
          <c:spPr>
            <a:ln w="9525" cap="flat" cmpd="sng" algn="ctr">
              <a:solidFill>
                <a:schemeClr val="accent5">
                  <a:alpha val="20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16413888"/>
        <c:crosses val="autoZero"/>
        <c:crossBetween val="midCat"/>
      </c:valAx>
      <c:spPr>
        <a:noFill/>
        <a:ln>
          <a:noFill/>
        </a:ln>
        <a:effectLst/>
      </c:spPr>
    </c:plotArea>
    <c:legend>
      <c:legendPos val="b"/>
      <c:layout>
        <c:manualLayout>
          <c:xMode val="edge"/>
          <c:yMode val="edge"/>
          <c:x val="0.254455245797505"/>
          <c:y val="2.1243812687281701E-2"/>
          <c:w val="0.42007835208744998"/>
          <c:h val="6.0745261741779799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Open Sans Semibold" charset="0"/>
              <a:ea typeface="Open Sans Semibold" charset="0"/>
              <a:cs typeface="Open Sans Semibold" charset="0"/>
            </a:defRPr>
          </a:pPr>
          <a:endParaRPr lang="en-US"/>
        </a:p>
      </c:txPr>
    </c:legend>
    <c:plotVisOnly val="1"/>
    <c:dispBlanksAs val="gap"/>
    <c:showDLblsOverMax val="0"/>
  </c:chart>
  <c:spPr>
    <a:noFill/>
    <a:ln>
      <a:noFill/>
    </a:ln>
    <a:effectLst/>
  </c:spPr>
  <c:txPr>
    <a:bodyPr/>
    <a:lstStyle/>
    <a:p>
      <a:pPr>
        <a:defRPr sz="1200">
          <a:latin typeface="+mn-lt"/>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347333664250798E-2"/>
          <c:y val="0.13582762736930701"/>
          <c:w val="0.91874796503659895"/>
          <c:h val="0.69430989913579899"/>
        </c:manualLayout>
      </c:layout>
      <c:stockChart>
        <c:ser>
          <c:idx val="0"/>
          <c:order val="0"/>
          <c:tx>
            <c:strRef>
              <c:f>Sheet1!$B$1</c:f>
              <c:strCache>
                <c:ptCount val="1"/>
                <c:pt idx="0">
                  <c:v>Series 1</c:v>
                </c:pt>
              </c:strCache>
            </c:strRef>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ACCE-E342-A758-36EDB7250ABD}"/>
            </c:ext>
          </c:extLst>
        </c:ser>
        <c:ser>
          <c:idx val="1"/>
          <c:order val="1"/>
          <c:tx>
            <c:strRef>
              <c:f>Sheet1!$C$1</c:f>
              <c:strCache>
                <c:ptCount val="1"/>
                <c:pt idx="0">
                  <c:v>Series 2</c:v>
                </c:pt>
              </c:strCache>
            </c:strRef>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ACCE-E342-A758-36EDB7250ABD}"/>
            </c:ext>
          </c:extLst>
        </c:ser>
        <c:ser>
          <c:idx val="2"/>
          <c:order val="2"/>
          <c:tx>
            <c:strRef>
              <c:f>Sheet1!$D$1</c:f>
              <c:strCache>
                <c:ptCount val="1"/>
                <c:pt idx="0">
                  <c:v>Series 3</c:v>
                </c:pt>
              </c:strCache>
            </c:strRef>
          </c:tx>
          <c:spPr>
            <a:ln w="25400" cap="rnd">
              <a:noFill/>
              <a:round/>
            </a:ln>
            <a:effectLst/>
          </c:spPr>
          <c:marker>
            <c:symbol val="dot"/>
            <c:size val="3"/>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ACCE-E342-A758-36EDB7250ABD}"/>
            </c:ext>
          </c:extLst>
        </c:ser>
        <c:dLbls>
          <c:showLegendKey val="0"/>
          <c:showVal val="0"/>
          <c:showCatName val="0"/>
          <c:showSerName val="0"/>
          <c:showPercent val="0"/>
          <c:showBubbleSize val="0"/>
        </c:dLbls>
        <c:hiLowLines>
          <c:spPr>
            <a:ln w="9525" cap="flat" cmpd="sng" algn="ctr">
              <a:solidFill>
                <a:schemeClr val="accent1"/>
              </a:solidFill>
              <a:round/>
            </a:ln>
            <a:effectLst/>
          </c:spPr>
        </c:hiLowLines>
        <c:axId val="1206714992"/>
        <c:axId val="1206717824"/>
      </c:stockChart>
      <c:catAx>
        <c:axId val="1206714992"/>
        <c:scaling>
          <c:orientation val="minMax"/>
        </c:scaling>
        <c:delete val="0"/>
        <c:axPos val="b"/>
        <c:numFmt formatCode="General" sourceLinked="1"/>
        <c:majorTickMark val="none"/>
        <c:minorTickMark val="none"/>
        <c:tickLblPos val="nextTo"/>
        <c:spPr>
          <a:noFill/>
          <a:ln w="9525" cap="flat" cmpd="sng" algn="ctr">
            <a:solidFill>
              <a:schemeClr val="accent2">
                <a:alpha val="4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6717824"/>
        <c:crosses val="autoZero"/>
        <c:auto val="1"/>
        <c:lblAlgn val="ctr"/>
        <c:lblOffset val="100"/>
        <c:noMultiLvlLbl val="0"/>
      </c:catAx>
      <c:valAx>
        <c:axId val="1206717824"/>
        <c:scaling>
          <c:orientation val="minMax"/>
        </c:scaling>
        <c:delete val="0"/>
        <c:axPos val="l"/>
        <c:majorGridlines>
          <c:spPr>
            <a:ln w="9525" cap="flat" cmpd="sng" algn="ctr">
              <a:solidFill>
                <a:schemeClr val="accent2">
                  <a:alpha val="20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6714992"/>
        <c:crosses val="autoZero"/>
        <c:crossBetween val="between"/>
      </c:valAx>
      <c:spPr>
        <a:noFill/>
        <a:ln>
          <a:noFill/>
        </a:ln>
        <a:effectLst/>
      </c:spPr>
    </c:plotArea>
    <c:legend>
      <c:legendPos val="b"/>
      <c:layout>
        <c:manualLayout>
          <c:xMode val="edge"/>
          <c:yMode val="edge"/>
          <c:x val="0.254455245797505"/>
          <c:y val="2.1243812687281701E-2"/>
          <c:w val="0.46019655716034402"/>
          <c:h val="6.0745261741779799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Open Sans Semibold" charset="0"/>
              <a:ea typeface="Open Sans Semibold" charset="0"/>
              <a:cs typeface="Open Sans Semibold" charset="0"/>
            </a:defRPr>
          </a:pPr>
          <a:endParaRPr lang="en-US"/>
        </a:p>
      </c:txPr>
    </c:legend>
    <c:plotVisOnly val="1"/>
    <c:dispBlanksAs val="gap"/>
    <c:showDLblsOverMax val="0"/>
  </c:chart>
  <c:spPr>
    <a:noFill/>
    <a:ln>
      <a:noFill/>
    </a:ln>
    <a:effectLst/>
  </c:spPr>
  <c:txPr>
    <a:bodyPr/>
    <a:lstStyle/>
    <a:p>
      <a:pPr>
        <a:defRPr sz="1200">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347333664250798E-2"/>
          <c:y val="0.13582762736930701"/>
          <c:w val="0.91874796503659895"/>
          <c:h val="0.69430989913579899"/>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noProof="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A19-C54E-8C4A-A215AC603924}"/>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noProof="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A19-C54E-8C4A-A215AC603924}"/>
            </c:ext>
          </c:extLst>
        </c:ser>
        <c:ser>
          <c:idx val="2"/>
          <c:order val="2"/>
          <c:tx>
            <c:strRef>
              <c:f>Sheet1!$D$1</c:f>
              <c:strCache>
                <c:ptCount val="1"/>
                <c:pt idx="0">
                  <c:v>Series 3</c:v>
                </c:pt>
              </c:strCache>
            </c:strRef>
          </c:tx>
          <c:spPr>
            <a:solidFill>
              <a:schemeClr val="accent3"/>
            </a:solidFill>
            <a:ln w="25400">
              <a:noFill/>
              <a:headEnd w="lg" len="lg"/>
              <a:tailEnd w="lg" len="lg"/>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noProof="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A19-C54E-8C4A-A215AC603924}"/>
            </c:ext>
          </c:extLst>
        </c:ser>
        <c:dLbls>
          <c:showLegendKey val="0"/>
          <c:showVal val="0"/>
          <c:showCatName val="0"/>
          <c:showSerName val="0"/>
          <c:showPercent val="0"/>
          <c:showBubbleSize val="0"/>
        </c:dLbls>
        <c:gapWidth val="150"/>
        <c:axId val="1198504768"/>
        <c:axId val="1202727408"/>
      </c:barChart>
      <c:catAx>
        <c:axId val="1198504768"/>
        <c:scaling>
          <c:orientation val="minMax"/>
        </c:scaling>
        <c:delete val="0"/>
        <c:axPos val="b"/>
        <c:numFmt formatCode="General" sourceLinked="1"/>
        <c:majorTickMark val="none"/>
        <c:minorTickMark val="none"/>
        <c:tickLblPos val="nextTo"/>
        <c:spPr>
          <a:noFill/>
          <a:ln w="9525" cap="flat" cmpd="sng" algn="ctr">
            <a:solidFill>
              <a:schemeClr val="tx1">
                <a:alpha val="40000"/>
              </a:schemeClr>
            </a:solidFill>
            <a:round/>
          </a:ln>
          <a:effectLst/>
        </c:spPr>
        <c:txPr>
          <a:bodyPr rot="-60000000" spcFirstLastPara="1" vertOverflow="ellipsis" vert="horz" wrap="square" anchor="ctr" anchorCtr="1"/>
          <a:lstStyle/>
          <a:p>
            <a:pPr>
              <a:defRPr lang="en-US" sz="1200" b="0" i="0" u="none" strike="noStrike" kern="1200" baseline="0" noProof="0">
                <a:solidFill>
                  <a:schemeClr val="tx1">
                    <a:lumMod val="65000"/>
                    <a:lumOff val="35000"/>
                    <a:alpha val="70000"/>
                  </a:schemeClr>
                </a:solidFill>
                <a:latin typeface="+mn-lt"/>
                <a:ea typeface="+mn-ea"/>
                <a:cs typeface="+mn-cs"/>
              </a:defRPr>
            </a:pPr>
            <a:endParaRPr lang="en-US"/>
          </a:p>
        </c:txPr>
        <c:crossAx val="1202727408"/>
        <c:crosses val="autoZero"/>
        <c:auto val="1"/>
        <c:lblAlgn val="ctr"/>
        <c:lblOffset val="100"/>
        <c:noMultiLvlLbl val="0"/>
      </c:catAx>
      <c:valAx>
        <c:axId val="1202727408"/>
        <c:scaling>
          <c:orientation val="minMax"/>
        </c:scaling>
        <c:delete val="0"/>
        <c:axPos val="l"/>
        <c:majorGridlines>
          <c:spPr>
            <a:ln w="9525" cap="flat" cmpd="sng" algn="ctr">
              <a:solidFill>
                <a:schemeClr val="tx1">
                  <a:alpha val="2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200" b="0" i="0" u="none" strike="noStrike" kern="1200" baseline="0" noProof="0">
                <a:solidFill>
                  <a:schemeClr val="tx1">
                    <a:lumMod val="65000"/>
                    <a:lumOff val="35000"/>
                    <a:alpha val="70000"/>
                  </a:schemeClr>
                </a:solidFill>
                <a:latin typeface="+mn-lt"/>
                <a:ea typeface="+mn-ea"/>
                <a:cs typeface="+mn-cs"/>
              </a:defRPr>
            </a:pPr>
            <a:endParaRPr lang="en-US"/>
          </a:p>
        </c:txPr>
        <c:crossAx val="1198504768"/>
        <c:crosses val="autoZero"/>
        <c:crossBetween val="between"/>
      </c:valAx>
      <c:spPr>
        <a:noFill/>
        <a:ln>
          <a:noFill/>
        </a:ln>
        <a:effectLst/>
      </c:spPr>
    </c:plotArea>
    <c:legend>
      <c:legendPos val="b"/>
      <c:layout>
        <c:manualLayout>
          <c:xMode val="edge"/>
          <c:yMode val="edge"/>
          <c:x val="0.254455245797505"/>
          <c:y val="2.1243812687281701E-2"/>
          <c:w val="0.44301678781658699"/>
          <c:h val="6.8462969619185104E-2"/>
        </c:manualLayout>
      </c:layout>
      <c:overlay val="0"/>
      <c:spPr>
        <a:noFill/>
        <a:ln>
          <a:noFill/>
        </a:ln>
        <a:effectLst/>
      </c:spPr>
      <c:txPr>
        <a:bodyPr rot="0" spcFirstLastPara="1" vertOverflow="ellipsis" vert="horz" wrap="square" anchor="ctr" anchorCtr="1"/>
        <a:lstStyle/>
        <a:p>
          <a:pPr>
            <a:defRPr lang="en-US" sz="1200" b="0" i="0" u="none" strike="noStrike" kern="1200" baseline="0" noProof="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lang="en-US" sz="1200" noProof="0">
          <a:latin typeface="+mn-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347333664250798E-2"/>
          <c:y val="0.13582762736930701"/>
          <c:w val="0.91874796503659895"/>
          <c:h val="0.69430989913579899"/>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F26B-D449-B31B-E0DAD3A7A47F}"/>
            </c:ext>
          </c:extLst>
        </c:ser>
        <c:dLbls>
          <c:showLegendKey val="0"/>
          <c:showVal val="0"/>
          <c:showCatName val="0"/>
          <c:showSerName val="0"/>
          <c:showPercent val="0"/>
          <c:showBubbleSize val="0"/>
        </c:dLbls>
        <c:gapWidth val="150"/>
        <c:axId val="1200496000"/>
        <c:axId val="1200498752"/>
      </c:barChart>
      <c:catAx>
        <c:axId val="1200496000"/>
        <c:scaling>
          <c:orientation val="minMax"/>
        </c:scaling>
        <c:delete val="0"/>
        <c:axPos val="b"/>
        <c:numFmt formatCode="General" sourceLinked="1"/>
        <c:majorTickMark val="none"/>
        <c:minorTickMark val="none"/>
        <c:tickLblPos val="nextTo"/>
        <c:spPr>
          <a:noFill/>
          <a:ln w="9525" cap="flat" cmpd="sng" algn="ctr">
            <a:solidFill>
              <a:schemeClr val="tx1">
                <a:alpha val="4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0498752"/>
        <c:crosses val="autoZero"/>
        <c:auto val="1"/>
        <c:lblAlgn val="ctr"/>
        <c:lblOffset val="100"/>
        <c:tickMarkSkip val="2"/>
        <c:noMultiLvlLbl val="0"/>
      </c:catAx>
      <c:valAx>
        <c:axId val="1200498752"/>
        <c:scaling>
          <c:orientation val="minMax"/>
        </c:scaling>
        <c:delete val="0"/>
        <c:axPos val="l"/>
        <c:majorGridlines>
          <c:spPr>
            <a:ln w="9525" cap="flat" cmpd="sng" algn="ctr">
              <a:solidFill>
                <a:schemeClr val="tx1">
                  <a:alpha val="20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0496000"/>
        <c:crosses val="autoZero"/>
        <c:crossBetween val="between"/>
      </c:valAx>
      <c:spPr>
        <a:noFill/>
        <a:ln>
          <a:noFill/>
        </a:ln>
        <a:effectLst/>
      </c:spPr>
    </c:plotArea>
    <c:legend>
      <c:legendPos val="b"/>
      <c:layout>
        <c:manualLayout>
          <c:xMode val="edge"/>
          <c:yMode val="edge"/>
          <c:x val="0.254455245797505"/>
          <c:y val="2.1243812687281701E-2"/>
          <c:w val="0.44301678781658699"/>
          <c:h val="6.8462969619185104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Open Sans Semibold" charset="0"/>
              <a:ea typeface="Open Sans Semibold" charset="0"/>
              <a:cs typeface="Open Sans Semibold" charset="0"/>
            </a:defRPr>
          </a:pPr>
          <a:endParaRPr lang="en-US"/>
        </a:p>
      </c:txPr>
    </c:legend>
    <c:plotVisOnly val="1"/>
    <c:dispBlanksAs val="gap"/>
    <c:showDLblsOverMax val="0"/>
  </c:chart>
  <c:spPr>
    <a:noFill/>
    <a:ln>
      <a:noFill/>
    </a:ln>
    <a:effectLst/>
  </c:spPr>
  <c:txPr>
    <a:bodyPr/>
    <a:lstStyle/>
    <a:p>
      <a:pPr>
        <a:defRPr sz="1200">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347333664250798E-2"/>
          <c:y val="0.13582762736930701"/>
          <c:w val="0.91874796503659895"/>
          <c:h val="0.69430989913579899"/>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732-ED4F-84D9-486953A53542}"/>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732-ED4F-84D9-486953A53542}"/>
            </c:ext>
          </c:extLst>
        </c:ser>
        <c:ser>
          <c:idx val="2"/>
          <c:order val="2"/>
          <c:tx>
            <c:strRef>
              <c:f>Sheet1!$D$1</c:f>
              <c:strCache>
                <c:ptCount val="1"/>
                <c:pt idx="0">
                  <c:v>Series 3</c:v>
                </c:pt>
              </c:strCache>
            </c:strRef>
          </c:tx>
          <c:spPr>
            <a:solidFill>
              <a:schemeClr val="accent3"/>
            </a:solidFill>
            <a:ln w="25400">
              <a:noFill/>
              <a:headEnd w="lg" len="lg"/>
              <a:tailEnd w="lg" len="lg"/>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732-ED4F-84D9-486953A53542}"/>
            </c:ext>
          </c:extLst>
        </c:ser>
        <c:dLbls>
          <c:showLegendKey val="0"/>
          <c:showVal val="0"/>
          <c:showCatName val="0"/>
          <c:showSerName val="0"/>
          <c:showPercent val="0"/>
          <c:showBubbleSize val="0"/>
        </c:dLbls>
        <c:gapWidth val="150"/>
        <c:overlap val="100"/>
        <c:axId val="1207487472"/>
        <c:axId val="1207490736"/>
      </c:barChart>
      <c:catAx>
        <c:axId val="1207487472"/>
        <c:scaling>
          <c:orientation val="minMax"/>
        </c:scaling>
        <c:delete val="0"/>
        <c:axPos val="b"/>
        <c:numFmt formatCode="General" sourceLinked="1"/>
        <c:majorTickMark val="none"/>
        <c:minorTickMark val="none"/>
        <c:tickLblPos val="nextTo"/>
        <c:spPr>
          <a:noFill/>
          <a:ln w="9525" cap="flat" cmpd="sng" algn="ctr">
            <a:solidFill>
              <a:schemeClr val="tx1">
                <a:alpha val="4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7490736"/>
        <c:crosses val="autoZero"/>
        <c:auto val="1"/>
        <c:lblAlgn val="ctr"/>
        <c:lblOffset val="100"/>
        <c:noMultiLvlLbl val="0"/>
      </c:catAx>
      <c:valAx>
        <c:axId val="1207490736"/>
        <c:scaling>
          <c:orientation val="minMax"/>
        </c:scaling>
        <c:delete val="0"/>
        <c:axPos val="l"/>
        <c:majorGridlines>
          <c:spPr>
            <a:ln w="9525" cap="flat" cmpd="sng" algn="ctr">
              <a:solidFill>
                <a:schemeClr val="tx1">
                  <a:alpha val="2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7487472"/>
        <c:crosses val="autoZero"/>
        <c:crossBetween val="between"/>
      </c:valAx>
      <c:spPr>
        <a:noFill/>
        <a:ln>
          <a:noFill/>
        </a:ln>
        <a:effectLst/>
      </c:spPr>
    </c:plotArea>
    <c:legend>
      <c:legendPos val="b"/>
      <c:layout>
        <c:manualLayout>
          <c:xMode val="edge"/>
          <c:yMode val="edge"/>
          <c:x val="0.254455245797505"/>
          <c:y val="2.1243812687281701E-2"/>
          <c:w val="0.44301678781658699"/>
          <c:h val="5.7155126888018999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Open Sans Semibold" charset="0"/>
              <a:ea typeface="Open Sans Semibold" charset="0"/>
              <a:cs typeface="Open Sans Semibold" charset="0"/>
            </a:defRPr>
          </a:pPr>
          <a:endParaRPr lang="en-US"/>
        </a:p>
      </c:txPr>
    </c:legend>
    <c:plotVisOnly val="1"/>
    <c:dispBlanksAs val="gap"/>
    <c:showDLblsOverMax val="0"/>
  </c:chart>
  <c:spPr>
    <a:noFill/>
    <a:ln>
      <a:noFill/>
    </a:ln>
    <a:effectLst/>
  </c:spPr>
  <c:txPr>
    <a:bodyPr/>
    <a:lstStyle/>
    <a:p>
      <a:pPr>
        <a:defRPr sz="1200">
          <a:latin typeface="+mn-lt"/>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347333664250798E-2"/>
          <c:y val="0.13582762736930701"/>
          <c:w val="0.91874796503659895"/>
          <c:h val="0.69430989913579899"/>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037-684C-BDC7-B901BE45B622}"/>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037-684C-BDC7-B901BE45B622}"/>
            </c:ext>
          </c:extLst>
        </c:ser>
        <c:ser>
          <c:idx val="2"/>
          <c:order val="2"/>
          <c:tx>
            <c:strRef>
              <c:f>Sheet1!$D$1</c:f>
              <c:strCache>
                <c:ptCount val="1"/>
                <c:pt idx="0">
                  <c:v>Series 3</c:v>
                </c:pt>
              </c:strCache>
            </c:strRef>
          </c:tx>
          <c:spPr>
            <a:solidFill>
              <a:schemeClr val="accent3"/>
            </a:solidFill>
            <a:ln w="25400">
              <a:noFill/>
              <a:headEnd w="lg" len="lg"/>
              <a:tailEnd w="lg" len="lg"/>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037-684C-BDC7-B901BE45B622}"/>
            </c:ext>
          </c:extLst>
        </c:ser>
        <c:dLbls>
          <c:showLegendKey val="0"/>
          <c:showVal val="0"/>
          <c:showCatName val="0"/>
          <c:showSerName val="0"/>
          <c:showPercent val="0"/>
          <c:showBubbleSize val="0"/>
        </c:dLbls>
        <c:gapWidth val="150"/>
        <c:overlap val="100"/>
        <c:axId val="1207527696"/>
        <c:axId val="1207530960"/>
      </c:barChart>
      <c:catAx>
        <c:axId val="1207527696"/>
        <c:scaling>
          <c:orientation val="minMax"/>
        </c:scaling>
        <c:delete val="0"/>
        <c:axPos val="l"/>
        <c:numFmt formatCode="General" sourceLinked="1"/>
        <c:majorTickMark val="none"/>
        <c:minorTickMark val="none"/>
        <c:tickLblPos val="nextTo"/>
        <c:spPr>
          <a:noFill/>
          <a:ln w="9525" cap="flat" cmpd="sng" algn="ctr">
            <a:solidFill>
              <a:schemeClr val="tx1">
                <a:alpha val="4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7530960"/>
        <c:crosses val="autoZero"/>
        <c:auto val="1"/>
        <c:lblAlgn val="ctr"/>
        <c:lblOffset val="100"/>
        <c:noMultiLvlLbl val="0"/>
      </c:catAx>
      <c:valAx>
        <c:axId val="1207530960"/>
        <c:scaling>
          <c:orientation val="minMax"/>
        </c:scaling>
        <c:delete val="0"/>
        <c:axPos val="b"/>
        <c:majorGridlines>
          <c:spPr>
            <a:ln w="9525" cap="flat" cmpd="sng" algn="ctr">
              <a:solidFill>
                <a:schemeClr val="tx1">
                  <a:alpha val="20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7527696"/>
        <c:crosses val="autoZero"/>
        <c:crossBetween val="between"/>
      </c:valAx>
      <c:spPr>
        <a:noFill/>
        <a:ln>
          <a:noFill/>
        </a:ln>
        <a:effectLst/>
      </c:spPr>
    </c:plotArea>
    <c:legend>
      <c:legendPos val="b"/>
      <c:layout>
        <c:manualLayout>
          <c:xMode val="edge"/>
          <c:yMode val="edge"/>
          <c:x val="0.254455245797505"/>
          <c:y val="2.1243812687281701E-2"/>
          <c:w val="0.42031404802279798"/>
          <c:h val="6.0745261741779799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Open Sans Semibold" charset="0"/>
              <a:ea typeface="Open Sans Semibold" charset="0"/>
              <a:cs typeface="Open Sans Semibold" charset="0"/>
            </a:defRPr>
          </a:pPr>
          <a:endParaRPr lang="en-US"/>
        </a:p>
      </c:txPr>
    </c:legend>
    <c:plotVisOnly val="1"/>
    <c:dispBlanksAs val="gap"/>
    <c:showDLblsOverMax val="0"/>
  </c:chart>
  <c:spPr>
    <a:noFill/>
    <a:ln>
      <a:noFill/>
    </a:ln>
    <a:effectLst/>
  </c:spPr>
  <c:txPr>
    <a:bodyPr/>
    <a:lstStyle/>
    <a:p>
      <a:pPr>
        <a:defRPr sz="1200">
          <a:latin typeface="+mn-lt"/>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347333664250798E-2"/>
          <c:y val="0.13582762736930701"/>
          <c:w val="0.91874796503659895"/>
          <c:h val="0.69430989913579899"/>
        </c:manualLayout>
      </c:layout>
      <c:barChart>
        <c:barDir val="bar"/>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5B7-334E-8A5C-6F1EF69E1B7F}"/>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5B7-334E-8A5C-6F1EF69E1B7F}"/>
            </c:ext>
          </c:extLst>
        </c:ser>
        <c:ser>
          <c:idx val="2"/>
          <c:order val="2"/>
          <c:tx>
            <c:strRef>
              <c:f>Sheet1!$D$1</c:f>
              <c:strCache>
                <c:ptCount val="1"/>
                <c:pt idx="0">
                  <c:v>Series 3</c:v>
                </c:pt>
              </c:strCache>
            </c:strRef>
          </c:tx>
          <c:spPr>
            <a:solidFill>
              <a:schemeClr val="accent1"/>
            </a:solidFill>
            <a:ln w="25400">
              <a:noFill/>
              <a:headEnd w="lg" len="lg"/>
              <a:tailEnd w="lg" len="lg"/>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45B7-334E-8A5C-6F1EF69E1B7F}"/>
            </c:ext>
          </c:extLst>
        </c:ser>
        <c:dLbls>
          <c:showLegendKey val="0"/>
          <c:showVal val="0"/>
          <c:showCatName val="0"/>
          <c:showSerName val="0"/>
          <c:showPercent val="0"/>
          <c:showBubbleSize val="0"/>
        </c:dLbls>
        <c:gapWidth val="150"/>
        <c:axId val="1200537664"/>
        <c:axId val="1200540928"/>
      </c:barChart>
      <c:catAx>
        <c:axId val="1200537664"/>
        <c:scaling>
          <c:orientation val="minMax"/>
        </c:scaling>
        <c:delete val="0"/>
        <c:axPos val="l"/>
        <c:numFmt formatCode="General" sourceLinked="1"/>
        <c:majorTickMark val="none"/>
        <c:minorTickMark val="none"/>
        <c:tickLblPos val="nextTo"/>
        <c:spPr>
          <a:noFill/>
          <a:ln w="9525" cap="flat" cmpd="sng" algn="ctr">
            <a:solidFill>
              <a:schemeClr val="tx1">
                <a:alpha val="4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0540928"/>
        <c:crosses val="autoZero"/>
        <c:auto val="1"/>
        <c:lblAlgn val="ctr"/>
        <c:lblOffset val="100"/>
        <c:noMultiLvlLbl val="0"/>
      </c:catAx>
      <c:valAx>
        <c:axId val="1200540928"/>
        <c:scaling>
          <c:orientation val="minMax"/>
        </c:scaling>
        <c:delete val="0"/>
        <c:axPos val="b"/>
        <c:majorGridlines>
          <c:spPr>
            <a:ln w="9525" cap="flat" cmpd="sng" algn="ctr">
              <a:solidFill>
                <a:schemeClr val="tx1">
                  <a:alpha val="2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0537664"/>
        <c:crosses val="autoZero"/>
        <c:crossBetween val="between"/>
      </c:valAx>
      <c:spPr>
        <a:noFill/>
        <a:ln>
          <a:noFill/>
        </a:ln>
        <a:effectLst/>
      </c:spPr>
    </c:plotArea>
    <c:legend>
      <c:legendPos val="b"/>
      <c:layout>
        <c:manualLayout>
          <c:xMode val="edge"/>
          <c:yMode val="edge"/>
          <c:x val="0.254455245797505"/>
          <c:y val="2.1243812687281701E-2"/>
          <c:w val="0.46019655716034402"/>
          <c:h val="6.0745261741779799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Open Sans Semibold" charset="0"/>
              <a:ea typeface="Open Sans Semibold" charset="0"/>
              <a:cs typeface="Open Sans Semibold" charset="0"/>
            </a:defRPr>
          </a:pPr>
          <a:endParaRPr lang="en-US"/>
        </a:p>
      </c:txPr>
    </c:legend>
    <c:plotVisOnly val="1"/>
    <c:dispBlanksAs val="gap"/>
    <c:showDLblsOverMax val="0"/>
  </c:chart>
  <c:spPr>
    <a:noFill/>
    <a:ln>
      <a:noFill/>
    </a:ln>
    <a:effectLst/>
  </c:spPr>
  <c:txPr>
    <a:bodyPr/>
    <a:lstStyle/>
    <a:p>
      <a:pPr>
        <a:defRPr sz="1200">
          <a:latin typeface="+mn-lt"/>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lang="en-US" b="0" i="0" dirty="0">
                <a:latin typeface="RBC Text" panose="02000000000000000000" pitchFamily="2" charset="77"/>
              </a:rPr>
              <a:t>Series 1</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Series 1</c:v>
                </c:pt>
              </c:strCache>
            </c:strRef>
          </c:tx>
          <c:spPr>
            <a:solidFill>
              <a:schemeClr val="bg1">
                <a:lumMod val="85000"/>
              </a:schemeClr>
            </a:solidFill>
          </c:spPr>
          <c:dPt>
            <c:idx val="0"/>
            <c:bubble3D val="0"/>
            <c:spPr>
              <a:solidFill>
                <a:schemeClr val="accent4"/>
              </a:solidFill>
              <a:ln>
                <a:noFill/>
              </a:ln>
              <a:effectLst/>
            </c:spPr>
            <c:extLst>
              <c:ext xmlns:c16="http://schemas.microsoft.com/office/drawing/2014/chart" uri="{C3380CC4-5D6E-409C-BE32-E72D297353CC}">
                <c16:uniqueId val="{00000001-E854-D840-9762-B4463DE23CDE}"/>
              </c:ext>
            </c:extLst>
          </c:dPt>
          <c:dPt>
            <c:idx val="1"/>
            <c:bubble3D val="0"/>
            <c:spPr>
              <a:solidFill>
                <a:schemeClr val="accent3"/>
              </a:solidFill>
              <a:ln>
                <a:noFill/>
              </a:ln>
              <a:effectLst/>
            </c:spPr>
            <c:extLst>
              <c:ext xmlns:c16="http://schemas.microsoft.com/office/drawing/2014/chart" uri="{C3380CC4-5D6E-409C-BE32-E72D297353CC}">
                <c16:uniqueId val="{00000003-E854-D840-9762-B4463DE23CDE}"/>
              </c:ext>
            </c:extLst>
          </c:dPt>
          <c:dPt>
            <c:idx val="2"/>
            <c:bubble3D val="0"/>
            <c:spPr>
              <a:solidFill>
                <a:schemeClr val="accent2"/>
              </a:solidFill>
              <a:ln>
                <a:noFill/>
              </a:ln>
              <a:effectLst/>
            </c:spPr>
            <c:extLst>
              <c:ext xmlns:c16="http://schemas.microsoft.com/office/drawing/2014/chart" uri="{C3380CC4-5D6E-409C-BE32-E72D297353CC}">
                <c16:uniqueId val="{00000005-E854-D840-9762-B4463DE23CDE}"/>
              </c:ext>
            </c:extLst>
          </c:dPt>
          <c:dPt>
            <c:idx val="3"/>
            <c:bubble3D val="0"/>
            <c:spPr>
              <a:solidFill>
                <a:schemeClr val="accent1"/>
              </a:solidFill>
              <a:ln>
                <a:noFill/>
              </a:ln>
              <a:effectLst/>
            </c:spPr>
            <c:extLst>
              <c:ext xmlns:c16="http://schemas.microsoft.com/office/drawing/2014/chart" uri="{C3380CC4-5D6E-409C-BE32-E72D297353CC}">
                <c16:uniqueId val="{00000007-E854-D840-9762-B4463DE23CDE}"/>
              </c:ext>
            </c:extLst>
          </c:dPt>
          <c:dLbls>
            <c:dLbl>
              <c:idx val="0"/>
              <c:layout>
                <c:manualLayout>
                  <c:x val="-0.18746078231562291"/>
                  <c:y val="0.15071119731684648"/>
                </c:manualLayout>
              </c:layout>
              <c:spPr>
                <a:noFill/>
                <a:ln>
                  <a:noFill/>
                </a:ln>
                <a:effectLst/>
              </c:spPr>
              <c:txPr>
                <a:bodyPr rot="0" spcFirstLastPara="1" vertOverflow="ellipsis" vert="horz" wrap="square" lIns="38100" tIns="19050" rIns="38100" bIns="19050" anchor="ctr" anchorCtr="1">
                  <a:spAutoFit/>
                </a:bodyPr>
                <a:lstStyle/>
                <a:p>
                  <a:pPr>
                    <a:lnSpc>
                      <a:spcPct val="150000"/>
                    </a:lnSpc>
                    <a:defRPr sz="1200" b="0" i="0" u="none" strike="noStrike" kern="1200" baseline="0">
                      <a:solidFill>
                        <a:srgbClr val="FFFFFF"/>
                      </a:solidFill>
                      <a:latin typeface="RBC Text" panose="02000000000000000000" pitchFamily="2" charset="77"/>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854-D840-9762-B4463DE23CDE}"/>
                </c:ext>
              </c:extLst>
            </c:dLbl>
            <c:dLbl>
              <c:idx val="1"/>
              <c:layout>
                <c:manualLayout>
                  <c:x val="-0.15612736742145814"/>
                  <c:y val="-0.15903223959806576"/>
                </c:manualLayout>
              </c:layout>
              <c:spPr>
                <a:noFill/>
                <a:ln>
                  <a:noFill/>
                </a:ln>
                <a:effectLst/>
              </c:spPr>
              <c:txPr>
                <a:bodyPr rot="0" spcFirstLastPara="1" vertOverflow="ellipsis" vert="horz" wrap="square" lIns="38100" tIns="19050" rIns="38100" bIns="19050" anchor="ctr" anchorCtr="1">
                  <a:spAutoFit/>
                </a:bodyPr>
                <a:lstStyle/>
                <a:p>
                  <a:pPr>
                    <a:lnSpc>
                      <a:spcPct val="150000"/>
                    </a:lnSpc>
                    <a:defRPr sz="1200" b="0" i="0" u="none" strike="noStrike" kern="1200" baseline="0">
                      <a:solidFill>
                        <a:srgbClr val="FFFFFF"/>
                      </a:solidFill>
                      <a:latin typeface="RBC Text" panose="02000000000000000000" pitchFamily="2" charset="77"/>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854-D840-9762-B4463DE23CDE}"/>
                </c:ext>
              </c:extLst>
            </c:dLbl>
            <c:dLbl>
              <c:idx val="2"/>
              <c:layout>
                <c:manualLayout>
                  <c:x val="0.12357979094706324"/>
                  <c:y val="-0.18217965814038065"/>
                </c:manualLayout>
              </c:layout>
              <c:spPr>
                <a:noFill/>
                <a:ln>
                  <a:noFill/>
                </a:ln>
                <a:effectLst/>
              </c:spPr>
              <c:txPr>
                <a:bodyPr rot="0" spcFirstLastPara="1" vertOverflow="ellipsis" vert="horz" wrap="square" lIns="38100" tIns="19050" rIns="38100" bIns="19050" anchor="ctr" anchorCtr="1">
                  <a:spAutoFit/>
                </a:bodyPr>
                <a:lstStyle/>
                <a:p>
                  <a:pPr>
                    <a:lnSpc>
                      <a:spcPct val="150000"/>
                    </a:lnSpc>
                    <a:defRPr sz="1200" b="0" i="0" u="none" strike="noStrike" kern="1200" baseline="0">
                      <a:solidFill>
                        <a:srgbClr val="FFFFFF"/>
                      </a:solidFill>
                      <a:latin typeface="RBC Text" panose="02000000000000000000" pitchFamily="2" charset="77"/>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854-D840-9762-B4463DE23CDE}"/>
                </c:ext>
              </c:extLst>
            </c:dLbl>
            <c:dLbl>
              <c:idx val="3"/>
              <c:layout>
                <c:manualLayout>
                  <c:x val="0.17491650174024329"/>
                  <c:y val="0.1521657507307283"/>
                </c:manualLayout>
              </c:layout>
              <c:spPr>
                <a:noFill/>
                <a:ln>
                  <a:noFill/>
                </a:ln>
                <a:effectLst/>
              </c:spPr>
              <c:txPr>
                <a:bodyPr rot="0" spcFirstLastPara="1" vertOverflow="ellipsis" vert="horz" wrap="square" lIns="38100" tIns="19050" rIns="38100" bIns="19050" anchor="ctr" anchorCtr="1">
                  <a:spAutoFit/>
                </a:bodyPr>
                <a:lstStyle/>
                <a:p>
                  <a:pPr>
                    <a:lnSpc>
                      <a:spcPct val="150000"/>
                    </a:lnSpc>
                    <a:defRPr sz="1200" b="0" i="0" u="none" strike="noStrike" kern="1200" baseline="0">
                      <a:solidFill>
                        <a:srgbClr val="FFFFFF"/>
                      </a:solidFill>
                      <a:latin typeface="RBC Text" panose="02000000000000000000" pitchFamily="2" charset="77"/>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E854-D840-9762-B4463DE23CDE}"/>
                </c:ext>
              </c:extLst>
            </c:dLbl>
            <c:spPr>
              <a:noFill/>
              <a:ln>
                <a:noFill/>
              </a:ln>
              <a:effectLst/>
            </c:spPr>
            <c:txPr>
              <a:bodyPr rot="0" spcFirstLastPara="1" vertOverflow="ellipsis" vert="horz" wrap="square" lIns="38100" tIns="19050" rIns="38100" bIns="19050" anchor="ctr" anchorCtr="1">
                <a:spAutoFit/>
              </a:bodyPr>
              <a:lstStyle/>
              <a:p>
                <a:pPr>
                  <a:lnSpc>
                    <a:spcPct val="150000"/>
                  </a:lnSpc>
                  <a:defRPr sz="1200" b="0" i="0" u="none" strike="noStrike" kern="1200" baseline="0">
                    <a:solidFill>
                      <a:srgbClr val="FFFFFF"/>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8-E854-D840-9762-B4463DE23CDE}"/>
            </c:ext>
          </c:extLst>
        </c:ser>
        <c:ser>
          <c:idx val="1"/>
          <c:order val="1"/>
          <c:tx>
            <c:strRef>
              <c:f>Sheet1!$C$1</c:f>
              <c:strCache>
                <c:ptCount val="1"/>
                <c:pt idx="0">
                  <c:v>Series 2</c:v>
                </c:pt>
              </c:strCache>
            </c:strRef>
          </c:tx>
          <c:spPr>
            <a:solidFill>
              <a:schemeClr val="bg1">
                <a:lumMod val="75000"/>
              </a:schemeClr>
            </a:solidFill>
          </c:spPr>
          <c:dPt>
            <c:idx val="0"/>
            <c:bubble3D val="0"/>
            <c:spPr>
              <a:solidFill>
                <a:schemeClr val="bg1">
                  <a:lumMod val="75000"/>
                </a:schemeClr>
              </a:solidFill>
              <a:ln>
                <a:noFill/>
              </a:ln>
              <a:effectLst/>
            </c:spPr>
            <c:extLst>
              <c:ext xmlns:c16="http://schemas.microsoft.com/office/drawing/2014/chart" uri="{C3380CC4-5D6E-409C-BE32-E72D297353CC}">
                <c16:uniqueId val="{0000000A-E854-D840-9762-B4463DE23CDE}"/>
              </c:ext>
            </c:extLst>
          </c:dPt>
          <c:dPt>
            <c:idx val="1"/>
            <c:bubble3D val="0"/>
            <c:spPr>
              <a:solidFill>
                <a:schemeClr val="bg1">
                  <a:lumMod val="75000"/>
                </a:schemeClr>
              </a:solidFill>
              <a:ln>
                <a:noFill/>
              </a:ln>
              <a:effectLst/>
            </c:spPr>
            <c:extLst>
              <c:ext xmlns:c16="http://schemas.microsoft.com/office/drawing/2014/chart" uri="{C3380CC4-5D6E-409C-BE32-E72D297353CC}">
                <c16:uniqueId val="{0000000C-E854-D840-9762-B4463DE23CDE}"/>
              </c:ext>
            </c:extLst>
          </c:dPt>
          <c:dPt>
            <c:idx val="2"/>
            <c:bubble3D val="0"/>
            <c:spPr>
              <a:solidFill>
                <a:schemeClr val="bg1">
                  <a:lumMod val="75000"/>
                </a:schemeClr>
              </a:solidFill>
              <a:ln>
                <a:noFill/>
              </a:ln>
              <a:effectLst/>
            </c:spPr>
            <c:extLst>
              <c:ext xmlns:c16="http://schemas.microsoft.com/office/drawing/2014/chart" uri="{C3380CC4-5D6E-409C-BE32-E72D297353CC}">
                <c16:uniqueId val="{0000000E-E854-D840-9762-B4463DE23CDE}"/>
              </c:ext>
            </c:extLst>
          </c:dPt>
          <c:dPt>
            <c:idx val="3"/>
            <c:bubble3D val="0"/>
            <c:spPr>
              <a:solidFill>
                <a:schemeClr val="bg1">
                  <a:lumMod val="75000"/>
                </a:schemeClr>
              </a:solidFill>
              <a:ln>
                <a:noFill/>
              </a:ln>
              <a:effectLst/>
            </c:spPr>
            <c:extLst>
              <c:ext xmlns:c16="http://schemas.microsoft.com/office/drawing/2014/chart" uri="{C3380CC4-5D6E-409C-BE32-E72D297353CC}">
                <c16:uniqueId val="{00000010-E854-D840-9762-B4463DE23CDE}"/>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11-E854-D840-9762-B4463DE23CDE}"/>
            </c:ext>
          </c:extLst>
        </c:ser>
        <c:ser>
          <c:idx val="2"/>
          <c:order val="2"/>
          <c:tx>
            <c:strRef>
              <c:f>Sheet1!$D$1</c:f>
              <c:strCache>
                <c:ptCount val="1"/>
                <c:pt idx="0">
                  <c:v>Series 3</c:v>
                </c:pt>
              </c:strCache>
            </c:strRef>
          </c:tx>
          <c:spPr>
            <a:solidFill>
              <a:schemeClr val="tx1"/>
            </a:solidFill>
            <a:ln w="25400">
              <a:noFill/>
              <a:headEnd w="lg" len="lg"/>
              <a:tailEnd w="lg" len="lg"/>
            </a:ln>
          </c:spPr>
          <c:dPt>
            <c:idx val="0"/>
            <c:bubble3D val="0"/>
            <c:spPr>
              <a:solidFill>
                <a:schemeClr val="tx1"/>
              </a:solidFill>
              <a:ln w="25400">
                <a:noFill/>
                <a:headEnd w="lg" len="lg"/>
                <a:tailEnd w="lg" len="lg"/>
              </a:ln>
              <a:effectLst/>
            </c:spPr>
            <c:extLst>
              <c:ext xmlns:c16="http://schemas.microsoft.com/office/drawing/2014/chart" uri="{C3380CC4-5D6E-409C-BE32-E72D297353CC}">
                <c16:uniqueId val="{00000013-E854-D840-9762-B4463DE23CDE}"/>
              </c:ext>
            </c:extLst>
          </c:dPt>
          <c:dPt>
            <c:idx val="1"/>
            <c:bubble3D val="0"/>
            <c:spPr>
              <a:solidFill>
                <a:schemeClr val="tx1"/>
              </a:solidFill>
              <a:ln w="25400">
                <a:noFill/>
                <a:headEnd w="lg" len="lg"/>
                <a:tailEnd w="lg" len="lg"/>
              </a:ln>
              <a:effectLst/>
            </c:spPr>
            <c:extLst>
              <c:ext xmlns:c16="http://schemas.microsoft.com/office/drawing/2014/chart" uri="{C3380CC4-5D6E-409C-BE32-E72D297353CC}">
                <c16:uniqueId val="{00000015-E854-D840-9762-B4463DE23CDE}"/>
              </c:ext>
            </c:extLst>
          </c:dPt>
          <c:dPt>
            <c:idx val="2"/>
            <c:bubble3D val="0"/>
            <c:spPr>
              <a:solidFill>
                <a:schemeClr val="tx1"/>
              </a:solidFill>
              <a:ln w="25400">
                <a:noFill/>
                <a:headEnd w="lg" len="lg"/>
                <a:tailEnd w="lg" len="lg"/>
              </a:ln>
              <a:effectLst/>
            </c:spPr>
            <c:extLst>
              <c:ext xmlns:c16="http://schemas.microsoft.com/office/drawing/2014/chart" uri="{C3380CC4-5D6E-409C-BE32-E72D297353CC}">
                <c16:uniqueId val="{00000017-E854-D840-9762-B4463DE23CDE}"/>
              </c:ext>
            </c:extLst>
          </c:dPt>
          <c:dPt>
            <c:idx val="3"/>
            <c:bubble3D val="0"/>
            <c:spPr>
              <a:solidFill>
                <a:schemeClr val="tx1"/>
              </a:solidFill>
              <a:ln w="25400">
                <a:noFill/>
                <a:headEnd w="lg" len="lg"/>
                <a:tailEnd w="lg" len="lg"/>
              </a:ln>
              <a:effectLst/>
            </c:spPr>
            <c:extLst>
              <c:ext xmlns:c16="http://schemas.microsoft.com/office/drawing/2014/chart" uri="{C3380CC4-5D6E-409C-BE32-E72D297353CC}">
                <c16:uniqueId val="{00000019-E854-D840-9762-B4463DE23CDE}"/>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1A-E854-D840-9762-B4463DE23CDE}"/>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200">
          <a:solidFill>
            <a:schemeClr val="tx1"/>
          </a:solidFill>
          <a:latin typeface="+mn-lt"/>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347333664250798E-2"/>
          <c:y val="0.13582762736930701"/>
          <c:w val="0.91874796503659895"/>
          <c:h val="0.69430989913579899"/>
        </c:manualLayout>
      </c:layout>
      <c:areaChart>
        <c:grouping val="standard"/>
        <c:varyColors val="0"/>
        <c:ser>
          <c:idx val="0"/>
          <c:order val="0"/>
          <c:tx>
            <c:strRef>
              <c:f>Sheet1!$B$1</c:f>
              <c:strCache>
                <c:ptCount val="1"/>
                <c:pt idx="0">
                  <c:v>Series 1</c:v>
                </c:pt>
              </c:strCache>
            </c:strRef>
          </c:tx>
          <c:spPr>
            <a:solidFill>
              <a:schemeClr val="accent6"/>
            </a:solidFill>
            <a:ln>
              <a:noFill/>
            </a:ln>
            <a:effectLst/>
          </c:spP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14F5-3844-840C-74745DC2A20E}"/>
            </c:ext>
          </c:extLst>
        </c:ser>
        <c:ser>
          <c:idx val="1"/>
          <c:order val="1"/>
          <c:tx>
            <c:strRef>
              <c:f>Sheet1!$C$1</c:f>
              <c:strCache>
                <c:ptCount val="1"/>
                <c:pt idx="0">
                  <c:v>Series 2</c:v>
                </c:pt>
              </c:strCache>
            </c:strRef>
          </c:tx>
          <c:spPr>
            <a:solidFill>
              <a:schemeClr val="accent4"/>
            </a:solidFill>
            <a:ln>
              <a:noFill/>
            </a:ln>
            <a:effectLst/>
          </c:spP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14F5-3844-840C-74745DC2A20E}"/>
            </c:ext>
          </c:extLst>
        </c:ser>
        <c:ser>
          <c:idx val="2"/>
          <c:order val="2"/>
          <c:tx>
            <c:strRef>
              <c:f>Sheet1!$D$1</c:f>
              <c:strCache>
                <c:ptCount val="1"/>
                <c:pt idx="0">
                  <c:v>Series 3</c:v>
                </c:pt>
              </c:strCache>
            </c:strRef>
          </c:tx>
          <c:spPr>
            <a:solidFill>
              <a:schemeClr val="accent1"/>
            </a:solidFill>
            <a:ln w="25400">
              <a:noFill/>
              <a:headEnd w="lg" len="lg"/>
              <a:tailEnd w="lg" len="lg"/>
            </a:ln>
            <a:effectLst/>
          </c:spP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14F5-3844-840C-74745DC2A20E}"/>
            </c:ext>
          </c:extLst>
        </c:ser>
        <c:dLbls>
          <c:showLegendKey val="0"/>
          <c:showVal val="0"/>
          <c:showCatName val="0"/>
          <c:showSerName val="0"/>
          <c:showPercent val="0"/>
          <c:showBubbleSize val="0"/>
        </c:dLbls>
        <c:axId val="1200599008"/>
        <c:axId val="1200601760"/>
      </c:areaChart>
      <c:catAx>
        <c:axId val="1200599008"/>
        <c:scaling>
          <c:orientation val="minMax"/>
        </c:scaling>
        <c:delete val="0"/>
        <c:axPos val="b"/>
        <c:numFmt formatCode="General" sourceLinked="1"/>
        <c:majorTickMark val="none"/>
        <c:minorTickMark val="none"/>
        <c:tickLblPos val="nextTo"/>
        <c:spPr>
          <a:noFill/>
          <a:ln w="9525" cap="flat" cmpd="sng" algn="ctr">
            <a:solidFill>
              <a:schemeClr val="tx1">
                <a:alpha val="4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0601760"/>
        <c:crosses val="autoZero"/>
        <c:auto val="1"/>
        <c:lblAlgn val="ctr"/>
        <c:lblOffset val="100"/>
        <c:noMultiLvlLbl val="0"/>
      </c:catAx>
      <c:valAx>
        <c:axId val="1200601760"/>
        <c:scaling>
          <c:orientation val="minMax"/>
        </c:scaling>
        <c:delete val="0"/>
        <c:axPos val="l"/>
        <c:majorGridlines>
          <c:spPr>
            <a:ln w="9525" cap="flat" cmpd="sng" algn="ctr">
              <a:solidFill>
                <a:schemeClr val="tx1">
                  <a:alpha val="20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00599008"/>
        <c:crosses val="autoZero"/>
        <c:crossBetween val="midCat"/>
      </c:valAx>
      <c:spPr>
        <a:noFill/>
        <a:ln>
          <a:noFill/>
        </a:ln>
        <a:effectLst/>
      </c:spPr>
    </c:plotArea>
    <c:legend>
      <c:legendPos val="b"/>
      <c:layout>
        <c:manualLayout>
          <c:xMode val="edge"/>
          <c:yMode val="edge"/>
          <c:x val="0.254455245797505"/>
          <c:y val="2.1243812687281701E-2"/>
          <c:w val="0.42007835208744998"/>
          <c:h val="6.0745261741779799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Open Sans Semibold" charset="0"/>
              <a:ea typeface="Open Sans Semibold" charset="0"/>
              <a:cs typeface="Open Sans Semibold" charset="0"/>
            </a:defRPr>
          </a:pPr>
          <a:endParaRPr lang="en-US"/>
        </a:p>
      </c:txPr>
    </c:legend>
    <c:plotVisOnly val="1"/>
    <c:dispBlanksAs val="gap"/>
    <c:showDLblsOverMax val="0"/>
  </c:chart>
  <c:spPr>
    <a:noFill/>
    <a:ln>
      <a:noFill/>
    </a:ln>
    <a:effectLst/>
  </c:spPr>
  <c:txPr>
    <a:bodyPr/>
    <a:lstStyle/>
    <a:p>
      <a:pPr>
        <a:defRPr sz="1200">
          <a:latin typeface="+mn-lt"/>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347333664250798E-2"/>
          <c:y val="0.13582762736930701"/>
          <c:w val="0.91874796503659895"/>
          <c:h val="0.69430989913579899"/>
        </c:manualLayout>
      </c:layout>
      <c:scatterChart>
        <c:scatterStyle val="smoothMarker"/>
        <c:varyColors val="0"/>
        <c:ser>
          <c:idx val="0"/>
          <c:order val="0"/>
          <c:tx>
            <c:strRef>
              <c:f>Sheet1!$B$1</c:f>
              <c:strCache>
                <c:ptCount val="1"/>
                <c:pt idx="0">
                  <c:v>Series 1</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xVal>
            <c:strRef>
              <c:f>Sheet1!$A$2:$A$5</c:f>
              <c:strCache>
                <c:ptCount val="4"/>
                <c:pt idx="0">
                  <c:v>Category 1</c:v>
                </c:pt>
                <c:pt idx="1">
                  <c:v>Category 2</c:v>
                </c:pt>
                <c:pt idx="2">
                  <c:v>Category 3</c:v>
                </c:pt>
                <c:pt idx="3">
                  <c:v>Category 4</c:v>
                </c:pt>
              </c:strCache>
            </c:strRef>
          </c:xVal>
          <c:yVal>
            <c:numRef>
              <c:f>Sheet1!$B$2:$B$5</c:f>
              <c:numCache>
                <c:formatCode>General</c:formatCode>
                <c:ptCount val="4"/>
                <c:pt idx="0">
                  <c:v>4.3</c:v>
                </c:pt>
                <c:pt idx="1">
                  <c:v>2.5</c:v>
                </c:pt>
                <c:pt idx="2">
                  <c:v>3.5</c:v>
                </c:pt>
                <c:pt idx="3">
                  <c:v>4.5</c:v>
                </c:pt>
              </c:numCache>
            </c:numRef>
          </c:yVal>
          <c:smooth val="1"/>
          <c:extLst>
            <c:ext xmlns:c16="http://schemas.microsoft.com/office/drawing/2014/chart" uri="{C3380CC4-5D6E-409C-BE32-E72D297353CC}">
              <c16:uniqueId val="{00000000-B255-F64A-B665-864F79F676B0}"/>
            </c:ext>
          </c:extLst>
        </c:ser>
        <c:ser>
          <c:idx val="1"/>
          <c:order val="1"/>
          <c:tx>
            <c:strRef>
              <c:f>Sheet1!$C$1</c:f>
              <c:strCache>
                <c:ptCount val="1"/>
                <c:pt idx="0">
                  <c:v>Series 2</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xVal>
            <c:strRef>
              <c:f>Sheet1!$A$2:$A$5</c:f>
              <c:strCache>
                <c:ptCount val="4"/>
                <c:pt idx="0">
                  <c:v>Category 1</c:v>
                </c:pt>
                <c:pt idx="1">
                  <c:v>Category 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1"/>
          <c:extLst>
            <c:ext xmlns:c16="http://schemas.microsoft.com/office/drawing/2014/chart" uri="{C3380CC4-5D6E-409C-BE32-E72D297353CC}">
              <c16:uniqueId val="{00000001-B255-F64A-B665-864F79F676B0}"/>
            </c:ext>
          </c:extLst>
        </c:ser>
        <c:ser>
          <c:idx val="2"/>
          <c:order val="2"/>
          <c:tx>
            <c:strRef>
              <c:f>Sheet1!$D$1</c:f>
              <c:strCache>
                <c:ptCount val="1"/>
                <c:pt idx="0">
                  <c:v>Series 3</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xVal>
            <c:strRef>
              <c:f>Sheet1!$A$2:$A$5</c:f>
              <c:strCache>
                <c:ptCount val="4"/>
                <c:pt idx="0">
                  <c:v>Category 1</c:v>
                </c:pt>
                <c:pt idx="1">
                  <c:v>Category 2</c:v>
                </c:pt>
                <c:pt idx="2">
                  <c:v>Category 3</c:v>
                </c:pt>
                <c:pt idx="3">
                  <c:v>Category 4</c:v>
                </c:pt>
              </c:strCache>
            </c:strRef>
          </c:xVal>
          <c:yVal>
            <c:numRef>
              <c:f>Sheet1!$D$2:$D$5</c:f>
              <c:numCache>
                <c:formatCode>General</c:formatCode>
                <c:ptCount val="4"/>
                <c:pt idx="0">
                  <c:v>2</c:v>
                </c:pt>
                <c:pt idx="1">
                  <c:v>2</c:v>
                </c:pt>
                <c:pt idx="2">
                  <c:v>3</c:v>
                </c:pt>
                <c:pt idx="3">
                  <c:v>5</c:v>
                </c:pt>
              </c:numCache>
            </c:numRef>
          </c:yVal>
          <c:smooth val="1"/>
          <c:extLst>
            <c:ext xmlns:c16="http://schemas.microsoft.com/office/drawing/2014/chart" uri="{C3380CC4-5D6E-409C-BE32-E72D297353CC}">
              <c16:uniqueId val="{00000002-B255-F64A-B665-864F79F676B0}"/>
            </c:ext>
          </c:extLst>
        </c:ser>
        <c:dLbls>
          <c:showLegendKey val="0"/>
          <c:showVal val="0"/>
          <c:showCatName val="0"/>
          <c:showSerName val="0"/>
          <c:showPercent val="0"/>
          <c:showBubbleSize val="0"/>
        </c:dLbls>
        <c:axId val="1216380896"/>
        <c:axId val="1216383376"/>
      </c:scatterChart>
      <c:valAx>
        <c:axId val="1216380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alpha val="4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16383376"/>
        <c:crosses val="autoZero"/>
        <c:crossBetween val="midCat"/>
      </c:valAx>
      <c:valAx>
        <c:axId val="1216383376"/>
        <c:scaling>
          <c:orientation val="minMax"/>
        </c:scaling>
        <c:delete val="0"/>
        <c:axPos val="l"/>
        <c:majorGridlines>
          <c:spPr>
            <a:ln w="9525" cap="flat" cmpd="sng" algn="ctr">
              <a:solidFill>
                <a:schemeClr val="tx1">
                  <a:alpha val="20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alpha val="60000"/>
                  </a:schemeClr>
                </a:solidFill>
                <a:latin typeface="+mn-lt"/>
                <a:ea typeface="+mn-ea"/>
                <a:cs typeface="+mn-cs"/>
              </a:defRPr>
            </a:pPr>
            <a:endParaRPr lang="en-US"/>
          </a:p>
        </c:txPr>
        <c:crossAx val="1216380896"/>
        <c:crosses val="autoZero"/>
        <c:crossBetween val="midCat"/>
      </c:valAx>
      <c:spPr>
        <a:noFill/>
        <a:ln>
          <a:noFill/>
        </a:ln>
        <a:effectLst/>
      </c:spPr>
    </c:plotArea>
    <c:legend>
      <c:legendPos val="b"/>
      <c:layout>
        <c:manualLayout>
          <c:xMode val="edge"/>
          <c:yMode val="edge"/>
          <c:x val="0.254455245797505"/>
          <c:y val="2.1243812687281701E-2"/>
          <c:w val="0.48573782167104501"/>
          <c:h val="6.0745261741779799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Open Sans Semibold" charset="0"/>
              <a:ea typeface="Open Sans Semibold" charset="0"/>
              <a:cs typeface="Open Sans Semibold" charset="0"/>
            </a:defRPr>
          </a:pPr>
          <a:endParaRPr lang="en-US"/>
        </a:p>
      </c:txPr>
    </c:legend>
    <c:plotVisOnly val="1"/>
    <c:dispBlanksAs val="gap"/>
    <c:showDLblsOverMax val="0"/>
  </c:chart>
  <c:spPr>
    <a:noFill/>
    <a:ln>
      <a:noFill/>
    </a:ln>
    <a:effectLst/>
  </c:spPr>
  <c:txPr>
    <a:bodyPr/>
    <a:lstStyle/>
    <a:p>
      <a:pPr>
        <a:defRPr sz="1200">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RBC Text" panose="02000000000000000000" pitchFamily="2" charset="77"/>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RBC Text" panose="02000000000000000000" pitchFamily="2" charset="77"/>
              </a:defRPr>
            </a:lvl1pPr>
          </a:lstStyle>
          <a:p>
            <a:fld id="{01BDB941-1391-9341-9456-56ABFB05C6F6}" type="datetimeFigureOut">
              <a:rPr lang="en-US" smtClean="0"/>
              <a:pPr/>
              <a:t>1/29/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RBC Text" panose="02000000000000000000" pitchFamily="2" charset="77"/>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RBC Text" panose="02000000000000000000" pitchFamily="2" charset="77"/>
              </a:defRPr>
            </a:lvl1pPr>
          </a:lstStyle>
          <a:p>
            <a:fld id="{F334AA0A-9FC8-FA42-92A8-9963D1558654}" type="slidenum">
              <a:rPr lang="en-US" smtClean="0"/>
              <a:pPr/>
              <a:t>‹#›</a:t>
            </a:fld>
            <a:endParaRPr lang="en-US" dirty="0"/>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RBC Text" panose="02000000000000000000" pitchFamily="2" charset="77"/>
        <a:ea typeface="+mn-ea"/>
        <a:cs typeface="+mn-cs"/>
      </a:defRPr>
    </a:lvl1pPr>
    <a:lvl2pPr marL="457200" algn="l" defTabSz="914400" rtl="0" eaLnBrk="1" latinLnBrk="0" hangingPunct="1">
      <a:defRPr sz="1200" b="0" i="0" kern="1200">
        <a:solidFill>
          <a:schemeClr val="tx1"/>
        </a:solidFill>
        <a:latin typeface="RBC Text" panose="02000000000000000000" pitchFamily="2" charset="77"/>
        <a:ea typeface="+mn-ea"/>
        <a:cs typeface="+mn-cs"/>
      </a:defRPr>
    </a:lvl2pPr>
    <a:lvl3pPr marL="914400" algn="l" defTabSz="914400" rtl="0" eaLnBrk="1" latinLnBrk="0" hangingPunct="1">
      <a:defRPr sz="1200" b="0" i="0" kern="1200">
        <a:solidFill>
          <a:schemeClr val="tx1"/>
        </a:solidFill>
        <a:latin typeface="RBC Text" panose="02000000000000000000" pitchFamily="2" charset="77"/>
        <a:ea typeface="+mn-ea"/>
        <a:cs typeface="+mn-cs"/>
      </a:defRPr>
    </a:lvl3pPr>
    <a:lvl4pPr marL="1371600" algn="l" defTabSz="914400" rtl="0" eaLnBrk="1" latinLnBrk="0" hangingPunct="1">
      <a:defRPr sz="1200" b="0" i="0" kern="1200">
        <a:solidFill>
          <a:schemeClr val="tx1"/>
        </a:solidFill>
        <a:latin typeface="RBC Text" panose="02000000000000000000" pitchFamily="2" charset="77"/>
        <a:ea typeface="+mn-ea"/>
        <a:cs typeface="+mn-cs"/>
      </a:defRPr>
    </a:lvl4pPr>
    <a:lvl5pPr marL="1828800" algn="l" defTabSz="914400" rtl="0" eaLnBrk="1" latinLnBrk="0" hangingPunct="1">
      <a:defRPr sz="1200" b="0" i="0" kern="1200">
        <a:solidFill>
          <a:schemeClr val="tx1"/>
        </a:solidFill>
        <a:latin typeface="RBC Text" panose="02000000000000000000"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71800-7E42-4FD9-88C0-C7DD9972A1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77588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Slide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25E9AF4-2987-9B43-A3EA-1517CD995EDD}"/>
              </a:ext>
            </a:extLst>
          </p:cNvPr>
          <p:cNvPicPr>
            <a:picLocks noChangeAspect="1"/>
          </p:cNvPicPr>
          <p:nvPr userDrawn="1"/>
        </p:nvPicPr>
        <p:blipFill rotWithShape="1">
          <a:blip r:embed="rId2"/>
          <a:srcRect l="5432" t="66325" r="2007" b="-4873"/>
          <a:stretch/>
        </p:blipFill>
        <p:spPr>
          <a:xfrm>
            <a:off x="0" y="-1"/>
            <a:ext cx="12191997" cy="7862375"/>
          </a:xfrm>
          <a:prstGeom prst="rect">
            <a:avLst/>
          </a:prstGeom>
        </p:spPr>
      </p:pic>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5277" y="6077689"/>
            <a:ext cx="8147796" cy="789456"/>
          </a:xfrm>
          <a:prstGeom prst="rect">
            <a:avLst/>
          </a:prstGeom>
        </p:spPr>
        <p:txBody>
          <a:bodyPr anchor="t" anchorCtr="0">
            <a:normAutofit/>
          </a:bodyPr>
          <a:lstStyle>
            <a:lvl1pPr algn="l">
              <a:defRPr sz="3467" b="0" i="0">
                <a:solidFill>
                  <a:srgbClr val="003863"/>
                </a:solidFill>
                <a:latin typeface="RBC Display" panose="02000000000000000000" pitchFamily="2" charset="77"/>
              </a:defRPr>
            </a:lvl1pPr>
          </a:lstStyle>
          <a:p>
            <a:r>
              <a:rPr lang="en-US" dirty="0"/>
              <a:t>Click to edit Master title style</a:t>
            </a:r>
          </a:p>
        </p:txBody>
      </p:sp>
      <p:pic>
        <p:nvPicPr>
          <p:cNvPr id="10" name="Picture 9" descr="A picture containing drawing&#10;&#10;Description automatically generated">
            <a:extLst>
              <a:ext uri="{FF2B5EF4-FFF2-40B4-BE49-F238E27FC236}">
                <a16:creationId xmlns:a16="http://schemas.microsoft.com/office/drawing/2014/main" id="{75A51AA9-8880-264A-B1B4-B304C899D75D}"/>
              </a:ext>
            </a:extLst>
          </p:cNvPr>
          <p:cNvPicPr>
            <a:picLocks noChangeAspect="1"/>
          </p:cNvPicPr>
          <p:nvPr userDrawn="1"/>
        </p:nvPicPr>
        <p:blipFill>
          <a:blip r:embed="rId3"/>
          <a:srcRect r="46274"/>
          <a:stretch/>
        </p:blipFill>
        <p:spPr>
          <a:xfrm>
            <a:off x="9334604" y="6077690"/>
            <a:ext cx="1254022" cy="440591"/>
          </a:xfrm>
          <a:prstGeom prst="rect">
            <a:avLst/>
          </a:prstGeom>
        </p:spPr>
      </p:pic>
      <p:pic>
        <p:nvPicPr>
          <p:cNvPr id="11" name="Picture 10" descr="A blue text on a black background&#10;&#10;Description automatically generated">
            <a:extLst>
              <a:ext uri="{FF2B5EF4-FFF2-40B4-BE49-F238E27FC236}">
                <a16:creationId xmlns:a16="http://schemas.microsoft.com/office/drawing/2014/main" id="{0721511C-EBD3-FF92-3EB7-361D0D88D6EE}"/>
              </a:ext>
            </a:extLst>
          </p:cNvPr>
          <p:cNvPicPr>
            <a:picLocks noChangeAspect="1"/>
          </p:cNvPicPr>
          <p:nvPr userDrawn="1"/>
        </p:nvPicPr>
        <p:blipFill>
          <a:blip r:embed="rId4"/>
          <a:stretch>
            <a:fillRect/>
          </a:stretch>
        </p:blipFill>
        <p:spPr>
          <a:xfrm>
            <a:off x="9195264" y="4713471"/>
            <a:ext cx="2742833" cy="1104236"/>
          </a:xfrm>
          <a:prstGeom prst="rect">
            <a:avLst/>
          </a:prstGeom>
        </p:spPr>
      </p:pic>
      <p:grpSp>
        <p:nvGrpSpPr>
          <p:cNvPr id="16" name="Group 15">
            <a:extLst>
              <a:ext uri="{FF2B5EF4-FFF2-40B4-BE49-F238E27FC236}">
                <a16:creationId xmlns:a16="http://schemas.microsoft.com/office/drawing/2014/main" id="{B0D855EB-BB5C-4847-CEE6-D8644D801012}"/>
              </a:ext>
            </a:extLst>
          </p:cNvPr>
          <p:cNvGrpSpPr/>
          <p:nvPr userDrawn="1"/>
        </p:nvGrpSpPr>
        <p:grpSpPr>
          <a:xfrm>
            <a:off x="10608765" y="6027024"/>
            <a:ext cx="1099219" cy="529351"/>
            <a:chOff x="11096216" y="312988"/>
            <a:chExt cx="710177" cy="342000"/>
          </a:xfrm>
        </p:grpSpPr>
        <p:pic>
          <p:nvPicPr>
            <p:cNvPr id="17" name="Picture 16" descr="A logo of a person playing golf&#10;&#10;Description automatically generated">
              <a:extLst>
                <a:ext uri="{FF2B5EF4-FFF2-40B4-BE49-F238E27FC236}">
                  <a16:creationId xmlns:a16="http://schemas.microsoft.com/office/drawing/2014/main" id="{CDB61F45-B026-9FE2-6FF5-8D0A8A1667A8}"/>
                </a:ext>
              </a:extLst>
            </p:cNvPr>
            <p:cNvPicPr>
              <a:picLocks noChangeAspect="1"/>
            </p:cNvPicPr>
            <p:nvPr userDrawn="1"/>
          </p:nvPicPr>
          <p:blipFill>
            <a:blip r:embed="rId5"/>
            <a:stretch>
              <a:fillRect/>
            </a:stretch>
          </p:blipFill>
          <p:spPr>
            <a:xfrm>
              <a:off x="11096216" y="312988"/>
              <a:ext cx="301511" cy="342000"/>
            </a:xfrm>
            <a:prstGeom prst="rect">
              <a:avLst/>
            </a:prstGeom>
          </p:spPr>
        </p:pic>
        <p:pic>
          <p:nvPicPr>
            <p:cNvPr id="18" name="Picture 17" descr="A picture containing drawing&#10;&#10;Description automatically generated">
              <a:extLst>
                <a:ext uri="{FF2B5EF4-FFF2-40B4-BE49-F238E27FC236}">
                  <a16:creationId xmlns:a16="http://schemas.microsoft.com/office/drawing/2014/main" id="{398A938A-670F-7505-6697-2E5B1E95987E}"/>
                </a:ext>
              </a:extLst>
            </p:cNvPr>
            <p:cNvPicPr>
              <a:picLocks noChangeAspect="1"/>
            </p:cNvPicPr>
            <p:nvPr userDrawn="1"/>
          </p:nvPicPr>
          <p:blipFill>
            <a:blip r:embed="rId3"/>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8248836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499CA93-D15C-9C4B-BFB0-41977F73167A}"/>
              </a:ext>
            </a:extLst>
          </p:cNvPr>
          <p:cNvSpPr>
            <a:spLocks noGrp="1"/>
          </p:cNvSpPr>
          <p:nvPr>
            <p:ph type="body" sz="quarter" idx="10"/>
          </p:nvPr>
        </p:nvSpPr>
        <p:spPr>
          <a:xfrm>
            <a:off x="427405" y="961136"/>
            <a:ext cx="9291025" cy="621481"/>
          </a:xfrm>
          <a:prstGeom prst="rect">
            <a:avLst/>
          </a:prstGeom>
        </p:spPr>
        <p:txBody>
          <a:bodyPr/>
          <a:lstStyle>
            <a:lvl1pPr>
              <a:defRPr sz="3733" spc="67" baseline="0">
                <a:solidFill>
                  <a:srgbClr val="003863"/>
                </a:solidFill>
                <a:latin typeface="RBC Display" panose="02000000000000000000" pitchFamily="2" charset="77"/>
              </a:defRPr>
            </a:lvl1pPr>
          </a:lstStyle>
          <a:p>
            <a:pPr lvl="0"/>
            <a:r>
              <a:rPr lang="en-US" dirty="0"/>
              <a:t>Click to edit Master text styles</a:t>
            </a:r>
          </a:p>
        </p:txBody>
      </p:sp>
      <p:sp>
        <p:nvSpPr>
          <p:cNvPr id="8" name="Text Placeholder 6">
            <a:extLst>
              <a:ext uri="{FF2B5EF4-FFF2-40B4-BE49-F238E27FC236}">
                <a16:creationId xmlns:a16="http://schemas.microsoft.com/office/drawing/2014/main" id="{84C05BFB-6727-DC45-B467-E7B87FC5A727}"/>
              </a:ext>
            </a:extLst>
          </p:cNvPr>
          <p:cNvSpPr>
            <a:spLocks noGrp="1"/>
          </p:cNvSpPr>
          <p:nvPr>
            <p:ph type="body" sz="quarter" idx="11" hasCustomPrompt="1"/>
          </p:nvPr>
        </p:nvSpPr>
        <p:spPr>
          <a:xfrm>
            <a:off x="462576" y="468768"/>
            <a:ext cx="9232409" cy="328405"/>
          </a:xfrm>
          <a:prstGeom prst="rect">
            <a:avLst/>
          </a:prstGeom>
        </p:spPr>
        <p:txBody>
          <a:bodyPr/>
          <a:lstStyle>
            <a:lvl1pPr>
              <a:defRPr sz="1333" spc="133" baseline="0">
                <a:solidFill>
                  <a:srgbClr val="003863"/>
                </a:solidFill>
                <a:latin typeface="RBC Display" panose="02000000000000000000" pitchFamily="2" charset="77"/>
              </a:defRPr>
            </a:lvl1pPr>
          </a:lstStyle>
          <a:p>
            <a:pPr lvl="0"/>
            <a:r>
              <a:rPr lang="en-US" dirty="0"/>
              <a:t>SECTION  /  Title</a:t>
            </a:r>
          </a:p>
        </p:txBody>
      </p:sp>
      <p:sp>
        <p:nvSpPr>
          <p:cNvPr id="4" name="Text Placeholder 6">
            <a:extLst>
              <a:ext uri="{FF2B5EF4-FFF2-40B4-BE49-F238E27FC236}">
                <a16:creationId xmlns:a16="http://schemas.microsoft.com/office/drawing/2014/main" id="{0415AA7C-10E3-7B4A-AE54-E5EE002BF33F}"/>
              </a:ext>
            </a:extLst>
          </p:cNvPr>
          <p:cNvSpPr>
            <a:spLocks noGrp="1"/>
          </p:cNvSpPr>
          <p:nvPr>
            <p:ph type="body" sz="quarter" idx="13" hasCustomPrompt="1"/>
          </p:nvPr>
        </p:nvSpPr>
        <p:spPr>
          <a:xfrm>
            <a:off x="3515786" y="3725944"/>
            <a:ext cx="2438441"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 </a:t>
            </a:r>
            <a:r>
              <a:rPr lang="en-CA" b="0" i="0" dirty="0" err="1">
                <a:solidFill>
                  <a:srgbClr val="000000"/>
                </a:solidFill>
                <a:effectLst/>
                <a:latin typeface="Open Sans" panose="020B0606030504020204" pitchFamily="34" charset="0"/>
              </a:rPr>
              <a:t>hendrer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justo</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ffici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odio</a:t>
            </a:r>
            <a:r>
              <a:rPr lang="en-CA" b="0" i="0" dirty="0">
                <a:solidFill>
                  <a:srgbClr val="000000"/>
                </a:solidFill>
                <a:effectLst/>
                <a:latin typeface="Open Sans" panose="020B0606030504020204" pitchFamily="34" charset="0"/>
              </a:rPr>
              <a:t>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Vivamus</a:t>
            </a:r>
            <a:r>
              <a:rPr lang="en-CA" b="0" i="0" dirty="0">
                <a:solidFill>
                  <a:srgbClr val="000000"/>
                </a:solidFill>
                <a:effectLst/>
                <a:latin typeface="Open Sans" panose="020B0606030504020204" pitchFamily="34" charset="0"/>
              </a:rPr>
              <a:t> porta</a:t>
            </a:r>
            <a:endParaRPr lang="en-US" dirty="0"/>
          </a:p>
        </p:txBody>
      </p:sp>
      <p:sp>
        <p:nvSpPr>
          <p:cNvPr id="5" name="Text Placeholder 6">
            <a:extLst>
              <a:ext uri="{FF2B5EF4-FFF2-40B4-BE49-F238E27FC236}">
                <a16:creationId xmlns:a16="http://schemas.microsoft.com/office/drawing/2014/main" id="{3A0E3F1A-9AE5-4846-A4A9-26D581E7F54E}"/>
              </a:ext>
            </a:extLst>
          </p:cNvPr>
          <p:cNvSpPr>
            <a:spLocks noGrp="1"/>
          </p:cNvSpPr>
          <p:nvPr>
            <p:ph type="body" sz="quarter" idx="14" hasCustomPrompt="1"/>
          </p:nvPr>
        </p:nvSpPr>
        <p:spPr>
          <a:xfrm>
            <a:off x="6390825" y="3725944"/>
            <a:ext cx="2438441"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 </a:t>
            </a:r>
            <a:r>
              <a:rPr lang="en-CA" b="0" i="0" dirty="0" err="1">
                <a:solidFill>
                  <a:srgbClr val="000000"/>
                </a:solidFill>
                <a:effectLst/>
                <a:latin typeface="Open Sans" panose="020B0606030504020204" pitchFamily="34" charset="0"/>
              </a:rPr>
              <a:t>hendrer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justo</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ffici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odio</a:t>
            </a:r>
            <a:r>
              <a:rPr lang="en-CA" b="0" i="0" dirty="0">
                <a:solidFill>
                  <a:srgbClr val="000000"/>
                </a:solidFill>
                <a:effectLst/>
                <a:latin typeface="Open Sans" panose="020B0606030504020204" pitchFamily="34" charset="0"/>
              </a:rPr>
              <a:t>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Vivamus</a:t>
            </a:r>
            <a:r>
              <a:rPr lang="en-CA" b="0" i="0" dirty="0">
                <a:solidFill>
                  <a:srgbClr val="000000"/>
                </a:solidFill>
                <a:effectLst/>
                <a:latin typeface="Open Sans" panose="020B0606030504020204" pitchFamily="34" charset="0"/>
              </a:rPr>
              <a:t> porta</a:t>
            </a:r>
            <a:endParaRPr lang="en-US" dirty="0"/>
          </a:p>
        </p:txBody>
      </p:sp>
      <p:sp>
        <p:nvSpPr>
          <p:cNvPr id="6" name="Text Placeholder 6">
            <a:extLst>
              <a:ext uri="{FF2B5EF4-FFF2-40B4-BE49-F238E27FC236}">
                <a16:creationId xmlns:a16="http://schemas.microsoft.com/office/drawing/2014/main" id="{B5EC3F0A-44C0-EE4D-B102-998B7DF951D7}"/>
              </a:ext>
            </a:extLst>
          </p:cNvPr>
          <p:cNvSpPr>
            <a:spLocks noGrp="1"/>
          </p:cNvSpPr>
          <p:nvPr>
            <p:ph type="body" sz="quarter" idx="15" hasCustomPrompt="1"/>
          </p:nvPr>
        </p:nvSpPr>
        <p:spPr>
          <a:xfrm>
            <a:off x="612396" y="3725944"/>
            <a:ext cx="2438441"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 </a:t>
            </a:r>
            <a:r>
              <a:rPr lang="en-CA" b="0" i="0" dirty="0" err="1">
                <a:solidFill>
                  <a:srgbClr val="000000"/>
                </a:solidFill>
                <a:effectLst/>
                <a:latin typeface="Open Sans" panose="020B0606030504020204" pitchFamily="34" charset="0"/>
              </a:rPr>
              <a:t>hendrer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justo</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ffici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odio</a:t>
            </a:r>
            <a:r>
              <a:rPr lang="en-CA" b="0" i="0" dirty="0">
                <a:solidFill>
                  <a:srgbClr val="000000"/>
                </a:solidFill>
                <a:effectLst/>
                <a:latin typeface="Open Sans" panose="020B0606030504020204" pitchFamily="34" charset="0"/>
              </a:rPr>
              <a:t>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Vivamus</a:t>
            </a:r>
            <a:r>
              <a:rPr lang="en-CA" b="0" i="0" dirty="0">
                <a:solidFill>
                  <a:srgbClr val="000000"/>
                </a:solidFill>
                <a:effectLst/>
                <a:latin typeface="Open Sans" panose="020B0606030504020204" pitchFamily="34" charset="0"/>
              </a:rPr>
              <a:t> porta</a:t>
            </a:r>
            <a:endParaRPr lang="en-US" dirty="0"/>
          </a:p>
        </p:txBody>
      </p:sp>
      <p:sp>
        <p:nvSpPr>
          <p:cNvPr id="9" name="Text Placeholder 6">
            <a:extLst>
              <a:ext uri="{FF2B5EF4-FFF2-40B4-BE49-F238E27FC236}">
                <a16:creationId xmlns:a16="http://schemas.microsoft.com/office/drawing/2014/main" id="{6507F4F5-C725-6849-9939-A626D91B0494}"/>
              </a:ext>
            </a:extLst>
          </p:cNvPr>
          <p:cNvSpPr>
            <a:spLocks noGrp="1"/>
          </p:cNvSpPr>
          <p:nvPr>
            <p:ph type="body" sz="quarter" idx="16" hasCustomPrompt="1"/>
          </p:nvPr>
        </p:nvSpPr>
        <p:spPr>
          <a:xfrm>
            <a:off x="612395" y="3275271"/>
            <a:ext cx="2438443"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10" name="Text Placeholder 6">
            <a:extLst>
              <a:ext uri="{FF2B5EF4-FFF2-40B4-BE49-F238E27FC236}">
                <a16:creationId xmlns:a16="http://schemas.microsoft.com/office/drawing/2014/main" id="{84056C1E-F9C5-6847-9413-F486B9AF7040}"/>
              </a:ext>
            </a:extLst>
          </p:cNvPr>
          <p:cNvSpPr>
            <a:spLocks noGrp="1"/>
          </p:cNvSpPr>
          <p:nvPr>
            <p:ph type="body" sz="quarter" idx="17" hasCustomPrompt="1"/>
          </p:nvPr>
        </p:nvSpPr>
        <p:spPr>
          <a:xfrm>
            <a:off x="3515785" y="3275271"/>
            <a:ext cx="2438443"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11" name="Text Placeholder 6">
            <a:extLst>
              <a:ext uri="{FF2B5EF4-FFF2-40B4-BE49-F238E27FC236}">
                <a16:creationId xmlns:a16="http://schemas.microsoft.com/office/drawing/2014/main" id="{7E4F9E97-42F4-074C-B17A-C0C500C4FB1A}"/>
              </a:ext>
            </a:extLst>
          </p:cNvPr>
          <p:cNvSpPr>
            <a:spLocks noGrp="1"/>
          </p:cNvSpPr>
          <p:nvPr>
            <p:ph type="body" sz="quarter" idx="18" hasCustomPrompt="1"/>
          </p:nvPr>
        </p:nvSpPr>
        <p:spPr>
          <a:xfrm>
            <a:off x="6375584" y="3275271"/>
            <a:ext cx="2438443"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14" name="Text Placeholder 6">
            <a:extLst>
              <a:ext uri="{FF2B5EF4-FFF2-40B4-BE49-F238E27FC236}">
                <a16:creationId xmlns:a16="http://schemas.microsoft.com/office/drawing/2014/main" id="{A2632445-AE8D-CD49-A0DC-D4968352CFA3}"/>
              </a:ext>
            </a:extLst>
          </p:cNvPr>
          <p:cNvSpPr>
            <a:spLocks noGrp="1"/>
          </p:cNvSpPr>
          <p:nvPr>
            <p:ph type="body" sz="quarter" idx="19" hasCustomPrompt="1"/>
          </p:nvPr>
        </p:nvSpPr>
        <p:spPr>
          <a:xfrm>
            <a:off x="9268704" y="3725944"/>
            <a:ext cx="2438441"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 </a:t>
            </a:r>
            <a:r>
              <a:rPr lang="en-CA" b="0" i="0" dirty="0" err="1">
                <a:solidFill>
                  <a:srgbClr val="000000"/>
                </a:solidFill>
                <a:effectLst/>
                <a:latin typeface="Open Sans" panose="020B0606030504020204" pitchFamily="34" charset="0"/>
              </a:rPr>
              <a:t>hendrer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justo</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ffici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odio</a:t>
            </a:r>
            <a:r>
              <a:rPr lang="en-CA" b="0" i="0" dirty="0">
                <a:solidFill>
                  <a:srgbClr val="000000"/>
                </a:solidFill>
                <a:effectLst/>
                <a:latin typeface="Open Sans" panose="020B0606030504020204" pitchFamily="34" charset="0"/>
              </a:rPr>
              <a:t>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Vivamus</a:t>
            </a:r>
            <a:r>
              <a:rPr lang="en-CA" b="0" i="0" dirty="0">
                <a:solidFill>
                  <a:srgbClr val="000000"/>
                </a:solidFill>
                <a:effectLst/>
                <a:latin typeface="Open Sans" panose="020B0606030504020204" pitchFamily="34" charset="0"/>
              </a:rPr>
              <a:t> porta</a:t>
            </a:r>
            <a:endParaRPr lang="en-US" dirty="0"/>
          </a:p>
        </p:txBody>
      </p:sp>
      <p:sp>
        <p:nvSpPr>
          <p:cNvPr id="15" name="Text Placeholder 6">
            <a:extLst>
              <a:ext uri="{FF2B5EF4-FFF2-40B4-BE49-F238E27FC236}">
                <a16:creationId xmlns:a16="http://schemas.microsoft.com/office/drawing/2014/main" id="{3F17E663-AC25-8341-A413-59F0B4A2340D}"/>
              </a:ext>
            </a:extLst>
          </p:cNvPr>
          <p:cNvSpPr>
            <a:spLocks noGrp="1"/>
          </p:cNvSpPr>
          <p:nvPr>
            <p:ph type="body" sz="quarter" idx="20" hasCustomPrompt="1"/>
          </p:nvPr>
        </p:nvSpPr>
        <p:spPr>
          <a:xfrm>
            <a:off x="9253463" y="3275271"/>
            <a:ext cx="2438443"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Tree>
    <p:extLst>
      <p:ext uri="{BB962C8B-B14F-4D97-AF65-F5344CB8AC3E}">
        <p14:creationId xmlns:p14="http://schemas.microsoft.com/office/powerpoint/2010/main" val="12640978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499CA93-D15C-9C4B-BFB0-41977F73167A}"/>
              </a:ext>
            </a:extLst>
          </p:cNvPr>
          <p:cNvSpPr>
            <a:spLocks noGrp="1"/>
          </p:cNvSpPr>
          <p:nvPr>
            <p:ph type="body" sz="quarter" idx="10"/>
          </p:nvPr>
        </p:nvSpPr>
        <p:spPr>
          <a:xfrm>
            <a:off x="427405" y="961136"/>
            <a:ext cx="9291025" cy="621481"/>
          </a:xfrm>
          <a:prstGeom prst="rect">
            <a:avLst/>
          </a:prstGeom>
        </p:spPr>
        <p:txBody>
          <a:bodyPr/>
          <a:lstStyle>
            <a:lvl1pPr>
              <a:defRPr sz="3733" spc="67" baseline="0">
                <a:solidFill>
                  <a:srgbClr val="003863"/>
                </a:solidFill>
                <a:latin typeface="RBC Display" panose="02000000000000000000" pitchFamily="2" charset="77"/>
              </a:defRPr>
            </a:lvl1pPr>
          </a:lstStyle>
          <a:p>
            <a:pPr lvl="0"/>
            <a:r>
              <a:rPr lang="en-US" dirty="0"/>
              <a:t>Click to edit Master text styles</a:t>
            </a:r>
          </a:p>
        </p:txBody>
      </p:sp>
      <p:sp>
        <p:nvSpPr>
          <p:cNvPr id="8" name="Text Placeholder 6">
            <a:extLst>
              <a:ext uri="{FF2B5EF4-FFF2-40B4-BE49-F238E27FC236}">
                <a16:creationId xmlns:a16="http://schemas.microsoft.com/office/drawing/2014/main" id="{84C05BFB-6727-DC45-B467-E7B87FC5A727}"/>
              </a:ext>
            </a:extLst>
          </p:cNvPr>
          <p:cNvSpPr>
            <a:spLocks noGrp="1"/>
          </p:cNvSpPr>
          <p:nvPr>
            <p:ph type="body" sz="quarter" idx="11" hasCustomPrompt="1"/>
          </p:nvPr>
        </p:nvSpPr>
        <p:spPr>
          <a:xfrm>
            <a:off x="462576" y="468768"/>
            <a:ext cx="9232409" cy="328405"/>
          </a:xfrm>
          <a:prstGeom prst="rect">
            <a:avLst/>
          </a:prstGeom>
        </p:spPr>
        <p:txBody>
          <a:bodyPr/>
          <a:lstStyle>
            <a:lvl1pPr>
              <a:defRPr sz="1333" spc="133" baseline="0">
                <a:solidFill>
                  <a:srgbClr val="003863"/>
                </a:solidFill>
                <a:latin typeface="RBC Display" panose="02000000000000000000" pitchFamily="2" charset="77"/>
              </a:defRPr>
            </a:lvl1pPr>
          </a:lstStyle>
          <a:p>
            <a:pPr lvl="0"/>
            <a:r>
              <a:rPr lang="en-US" dirty="0"/>
              <a:t>SECTION  /  Title</a:t>
            </a:r>
          </a:p>
        </p:txBody>
      </p:sp>
      <p:sp>
        <p:nvSpPr>
          <p:cNvPr id="4" name="Text Placeholder 6">
            <a:extLst>
              <a:ext uri="{FF2B5EF4-FFF2-40B4-BE49-F238E27FC236}">
                <a16:creationId xmlns:a16="http://schemas.microsoft.com/office/drawing/2014/main" id="{0415AA7C-10E3-7B4A-AE54-E5EE002BF33F}"/>
              </a:ext>
            </a:extLst>
          </p:cNvPr>
          <p:cNvSpPr>
            <a:spLocks noGrp="1"/>
          </p:cNvSpPr>
          <p:nvPr>
            <p:ph type="body" sz="quarter" idx="13" hasCustomPrompt="1"/>
          </p:nvPr>
        </p:nvSpPr>
        <p:spPr>
          <a:xfrm>
            <a:off x="2906185" y="4034695"/>
            <a:ext cx="1874219"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a:t>
            </a:r>
            <a:endParaRPr lang="en-US" dirty="0"/>
          </a:p>
        </p:txBody>
      </p:sp>
      <p:sp>
        <p:nvSpPr>
          <p:cNvPr id="5" name="Text Placeholder 6">
            <a:extLst>
              <a:ext uri="{FF2B5EF4-FFF2-40B4-BE49-F238E27FC236}">
                <a16:creationId xmlns:a16="http://schemas.microsoft.com/office/drawing/2014/main" id="{3A0E3F1A-9AE5-4846-A4A9-26D581E7F54E}"/>
              </a:ext>
            </a:extLst>
          </p:cNvPr>
          <p:cNvSpPr>
            <a:spLocks noGrp="1"/>
          </p:cNvSpPr>
          <p:nvPr>
            <p:ph type="body" sz="quarter" idx="14" hasCustomPrompt="1"/>
          </p:nvPr>
        </p:nvSpPr>
        <p:spPr>
          <a:xfrm>
            <a:off x="5229392" y="4034695"/>
            <a:ext cx="1874219"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a:t>
            </a:r>
            <a:endParaRPr lang="en-US" dirty="0"/>
          </a:p>
        </p:txBody>
      </p:sp>
      <p:sp>
        <p:nvSpPr>
          <p:cNvPr id="6" name="Text Placeholder 6">
            <a:extLst>
              <a:ext uri="{FF2B5EF4-FFF2-40B4-BE49-F238E27FC236}">
                <a16:creationId xmlns:a16="http://schemas.microsoft.com/office/drawing/2014/main" id="{B5EC3F0A-44C0-EE4D-B102-998B7DF951D7}"/>
              </a:ext>
            </a:extLst>
          </p:cNvPr>
          <p:cNvSpPr>
            <a:spLocks noGrp="1"/>
          </p:cNvSpPr>
          <p:nvPr>
            <p:ph type="body" sz="quarter" idx="15" hasCustomPrompt="1"/>
          </p:nvPr>
        </p:nvSpPr>
        <p:spPr>
          <a:xfrm>
            <a:off x="612396" y="4034695"/>
            <a:ext cx="1874219" cy="2663288"/>
          </a:xfrm>
          <a:prstGeom prst="rect">
            <a:avLst/>
          </a:prstGeom>
        </p:spPr>
        <p:txBody>
          <a:bodyPr/>
          <a:lstStyle>
            <a:lvl1pPr>
              <a:lnSpc>
                <a:spcPts val="2433"/>
              </a:lnSpc>
              <a:defRPr lang="en-CA" sz="1600" b="0" i="0" smtClean="0">
                <a:solidFill>
                  <a:srgbClr val="242524"/>
                </a:solidFill>
                <a:effectLst/>
                <a:latin typeface="RBC Display"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a:t>
            </a:r>
            <a:endParaRPr lang="en-US" dirty="0"/>
          </a:p>
        </p:txBody>
      </p:sp>
      <p:sp>
        <p:nvSpPr>
          <p:cNvPr id="9" name="Text Placeholder 6">
            <a:extLst>
              <a:ext uri="{FF2B5EF4-FFF2-40B4-BE49-F238E27FC236}">
                <a16:creationId xmlns:a16="http://schemas.microsoft.com/office/drawing/2014/main" id="{6507F4F5-C725-6849-9939-A626D91B0494}"/>
              </a:ext>
            </a:extLst>
          </p:cNvPr>
          <p:cNvSpPr>
            <a:spLocks noGrp="1"/>
          </p:cNvSpPr>
          <p:nvPr>
            <p:ph type="body" sz="quarter" idx="16" hasCustomPrompt="1"/>
          </p:nvPr>
        </p:nvSpPr>
        <p:spPr>
          <a:xfrm>
            <a:off x="612395" y="3275271"/>
            <a:ext cx="1874220"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10" name="Text Placeholder 6">
            <a:extLst>
              <a:ext uri="{FF2B5EF4-FFF2-40B4-BE49-F238E27FC236}">
                <a16:creationId xmlns:a16="http://schemas.microsoft.com/office/drawing/2014/main" id="{84056C1E-F9C5-6847-9413-F486B9AF7040}"/>
              </a:ext>
            </a:extLst>
          </p:cNvPr>
          <p:cNvSpPr>
            <a:spLocks noGrp="1"/>
          </p:cNvSpPr>
          <p:nvPr>
            <p:ph type="body" sz="quarter" idx="17" hasCustomPrompt="1"/>
          </p:nvPr>
        </p:nvSpPr>
        <p:spPr>
          <a:xfrm>
            <a:off x="2906185" y="3275271"/>
            <a:ext cx="1874220"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11" name="Text Placeholder 6">
            <a:extLst>
              <a:ext uri="{FF2B5EF4-FFF2-40B4-BE49-F238E27FC236}">
                <a16:creationId xmlns:a16="http://schemas.microsoft.com/office/drawing/2014/main" id="{7E4F9E97-42F4-074C-B17A-C0C500C4FB1A}"/>
              </a:ext>
            </a:extLst>
          </p:cNvPr>
          <p:cNvSpPr>
            <a:spLocks noGrp="1"/>
          </p:cNvSpPr>
          <p:nvPr>
            <p:ph type="body" sz="quarter" idx="18" hasCustomPrompt="1"/>
          </p:nvPr>
        </p:nvSpPr>
        <p:spPr>
          <a:xfrm>
            <a:off x="5214151" y="3275271"/>
            <a:ext cx="1874220"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14" name="Text Placeholder 6">
            <a:extLst>
              <a:ext uri="{FF2B5EF4-FFF2-40B4-BE49-F238E27FC236}">
                <a16:creationId xmlns:a16="http://schemas.microsoft.com/office/drawing/2014/main" id="{A2632445-AE8D-CD49-A0DC-D4968352CFA3}"/>
              </a:ext>
            </a:extLst>
          </p:cNvPr>
          <p:cNvSpPr>
            <a:spLocks noGrp="1"/>
          </p:cNvSpPr>
          <p:nvPr>
            <p:ph type="body" sz="quarter" idx="19" hasCustomPrompt="1"/>
          </p:nvPr>
        </p:nvSpPr>
        <p:spPr>
          <a:xfrm>
            <a:off x="7537359" y="4034695"/>
            <a:ext cx="1874219"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a:t>
            </a:r>
            <a:endParaRPr lang="en-US" dirty="0"/>
          </a:p>
        </p:txBody>
      </p:sp>
      <p:sp>
        <p:nvSpPr>
          <p:cNvPr id="15" name="Text Placeholder 6">
            <a:extLst>
              <a:ext uri="{FF2B5EF4-FFF2-40B4-BE49-F238E27FC236}">
                <a16:creationId xmlns:a16="http://schemas.microsoft.com/office/drawing/2014/main" id="{3F17E663-AC25-8341-A413-59F0B4A2340D}"/>
              </a:ext>
            </a:extLst>
          </p:cNvPr>
          <p:cNvSpPr>
            <a:spLocks noGrp="1"/>
          </p:cNvSpPr>
          <p:nvPr>
            <p:ph type="body" sz="quarter" idx="20" hasCustomPrompt="1"/>
          </p:nvPr>
        </p:nvSpPr>
        <p:spPr>
          <a:xfrm>
            <a:off x="7522118" y="3275271"/>
            <a:ext cx="1874220"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12" name="Text Placeholder 6">
            <a:extLst>
              <a:ext uri="{FF2B5EF4-FFF2-40B4-BE49-F238E27FC236}">
                <a16:creationId xmlns:a16="http://schemas.microsoft.com/office/drawing/2014/main" id="{ED2A74D0-C6F1-FA46-9DF8-57E0A2346E94}"/>
              </a:ext>
            </a:extLst>
          </p:cNvPr>
          <p:cNvSpPr>
            <a:spLocks noGrp="1"/>
          </p:cNvSpPr>
          <p:nvPr>
            <p:ph type="body" sz="quarter" idx="21" hasCustomPrompt="1"/>
          </p:nvPr>
        </p:nvSpPr>
        <p:spPr>
          <a:xfrm>
            <a:off x="9848171" y="4034695"/>
            <a:ext cx="1874219"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a:t>
            </a:r>
            <a:endParaRPr lang="en-US" dirty="0"/>
          </a:p>
        </p:txBody>
      </p:sp>
      <p:sp>
        <p:nvSpPr>
          <p:cNvPr id="13" name="Text Placeholder 6">
            <a:extLst>
              <a:ext uri="{FF2B5EF4-FFF2-40B4-BE49-F238E27FC236}">
                <a16:creationId xmlns:a16="http://schemas.microsoft.com/office/drawing/2014/main" id="{C771BE78-2E26-D647-86CE-96A4ABE8E33D}"/>
              </a:ext>
            </a:extLst>
          </p:cNvPr>
          <p:cNvSpPr>
            <a:spLocks noGrp="1"/>
          </p:cNvSpPr>
          <p:nvPr>
            <p:ph type="body" sz="quarter" idx="22" hasCustomPrompt="1"/>
          </p:nvPr>
        </p:nvSpPr>
        <p:spPr>
          <a:xfrm>
            <a:off x="9832930" y="3275271"/>
            <a:ext cx="1874220"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Tree>
    <p:extLst>
      <p:ext uri="{BB962C8B-B14F-4D97-AF65-F5344CB8AC3E}">
        <p14:creationId xmlns:p14="http://schemas.microsoft.com/office/powerpoint/2010/main" val="376934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Cover Slide 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EC8FF2D-7CA2-D14A-BB12-402F18E19FA2}"/>
              </a:ext>
            </a:extLst>
          </p:cNvPr>
          <p:cNvPicPr>
            <a:picLocks noChangeAspect="1"/>
          </p:cNvPicPr>
          <p:nvPr userDrawn="1"/>
        </p:nvPicPr>
        <p:blipFill rotWithShape="1">
          <a:blip r:embed="rId2"/>
          <a:srcRect l="23779" t="57996"/>
          <a:stretch/>
        </p:blipFill>
        <p:spPr>
          <a:xfrm>
            <a:off x="0" y="0"/>
            <a:ext cx="6281133" cy="5111261"/>
          </a:xfrm>
          <a:prstGeom prst="rect">
            <a:avLst/>
          </a:prstGeom>
        </p:spPr>
      </p:pic>
      <p:sp>
        <p:nvSpPr>
          <p:cNvPr id="21" name="Text Placeholder 20">
            <a:extLst>
              <a:ext uri="{FF2B5EF4-FFF2-40B4-BE49-F238E27FC236}">
                <a16:creationId xmlns:a16="http://schemas.microsoft.com/office/drawing/2014/main" id="{BE19F465-DAC2-1C48-A8EA-BE2F854B0235}"/>
              </a:ext>
            </a:extLst>
          </p:cNvPr>
          <p:cNvSpPr>
            <a:spLocks noGrp="1"/>
          </p:cNvSpPr>
          <p:nvPr>
            <p:ph type="body" sz="quarter" idx="16" hasCustomPrompt="1"/>
          </p:nvPr>
        </p:nvSpPr>
        <p:spPr>
          <a:xfrm>
            <a:off x="384680" y="2213232"/>
            <a:ext cx="4492120" cy="1215768"/>
          </a:xfrm>
          <a:prstGeom prst="rect">
            <a:avLst/>
          </a:prstGeom>
        </p:spPr>
        <p:txBody>
          <a:bodyPr/>
          <a:lstStyle>
            <a:lvl1pPr marL="0" marR="0" indent="0" algn="l" defTabSz="914368" rtl="0" eaLnBrk="1" fontAlgn="auto" latinLnBrk="0" hangingPunct="1">
              <a:lnSpc>
                <a:spcPct val="120000"/>
              </a:lnSpc>
              <a:spcBef>
                <a:spcPts val="1000"/>
              </a:spcBef>
              <a:spcAft>
                <a:spcPts val="0"/>
              </a:spcAft>
              <a:buClrTx/>
              <a:buSzTx/>
              <a:buFontTx/>
              <a:buNone/>
              <a:tabLst/>
              <a:defRPr sz="1600" b="0" i="0">
                <a:solidFill>
                  <a:srgbClr val="242524"/>
                </a:solidFill>
                <a:latin typeface="RBC Text" panose="02000000000000000000" pitchFamily="2" charset="77"/>
              </a:defRPr>
            </a:lvl1pPr>
          </a:lstStyle>
          <a:p>
            <a:pPr marL="0" marR="0" lvl="0" indent="0" algn="l" defTabSz="914368" rtl="0" eaLnBrk="1" fontAlgn="auto" latinLnBrk="0" hangingPunct="1">
              <a:lnSpc>
                <a:spcPct val="90000"/>
              </a:lnSpc>
              <a:spcBef>
                <a:spcPts val="1000"/>
              </a:spcBef>
              <a:spcAft>
                <a:spcPts val="0"/>
              </a:spcAft>
              <a:buClrTx/>
              <a:buSzTx/>
              <a:buFontTx/>
              <a:buNone/>
              <a:tabLst/>
              <a:defRPr/>
            </a:pPr>
            <a:r>
              <a:rPr lang="en-US" dirty="0"/>
              <a:t>Click to edit Master text styles. Click to edit Master text styles. Click to edit Master text styles. Click to edit Master text styles. Click to edit Master text styles. Click to edit Master text styles.</a:t>
            </a:r>
          </a:p>
          <a:p>
            <a:pPr marL="0" marR="0" lvl="0" indent="0" algn="l" defTabSz="914368" rtl="0" eaLnBrk="1" fontAlgn="auto" latinLnBrk="0" hangingPunct="1">
              <a:lnSpc>
                <a:spcPct val="90000"/>
              </a:lnSpc>
              <a:spcBef>
                <a:spcPts val="1000"/>
              </a:spcBef>
              <a:spcAft>
                <a:spcPts val="0"/>
              </a:spcAft>
              <a:buClrTx/>
              <a:buSzTx/>
              <a:buFontTx/>
              <a:buNone/>
              <a:tabLst/>
              <a:defRPr/>
            </a:pPr>
            <a:endParaRPr lang="en-US" dirty="0"/>
          </a:p>
        </p:txBody>
      </p:sp>
      <p:sp>
        <p:nvSpPr>
          <p:cNvPr id="23" name="Text Placeholder 20">
            <a:extLst>
              <a:ext uri="{FF2B5EF4-FFF2-40B4-BE49-F238E27FC236}">
                <a16:creationId xmlns:a16="http://schemas.microsoft.com/office/drawing/2014/main" id="{B7232737-3A57-394C-8D43-86C7A1961BE2}"/>
              </a:ext>
            </a:extLst>
          </p:cNvPr>
          <p:cNvSpPr>
            <a:spLocks noGrp="1"/>
          </p:cNvSpPr>
          <p:nvPr>
            <p:ph type="body" sz="quarter" idx="17" hasCustomPrompt="1"/>
          </p:nvPr>
        </p:nvSpPr>
        <p:spPr>
          <a:xfrm>
            <a:off x="372958" y="1704498"/>
            <a:ext cx="5406519" cy="491799"/>
          </a:xfrm>
          <a:prstGeom prst="rect">
            <a:avLst/>
          </a:prstGeom>
        </p:spPr>
        <p:txBody>
          <a:bodyPr/>
          <a:lstStyle>
            <a:lvl1pPr marL="0" marR="0" indent="0" algn="l" defTabSz="914368" rtl="0" eaLnBrk="1" fontAlgn="auto" latinLnBrk="0" hangingPunct="1">
              <a:lnSpc>
                <a:spcPct val="120000"/>
              </a:lnSpc>
              <a:spcBef>
                <a:spcPts val="1000"/>
              </a:spcBef>
              <a:spcAft>
                <a:spcPts val="0"/>
              </a:spcAft>
              <a:buClrTx/>
              <a:buSzTx/>
              <a:buFontTx/>
              <a:buNone/>
              <a:tabLst/>
              <a:defRPr sz="2400" b="0" i="0">
                <a:solidFill>
                  <a:srgbClr val="003863"/>
                </a:solidFill>
                <a:latin typeface="RBC Text" panose="02000000000000000000" pitchFamily="2" charset="77"/>
              </a:defRPr>
            </a:lvl1pPr>
          </a:lstStyle>
          <a:p>
            <a:pPr marL="0" marR="0" lvl="0" indent="0" algn="l" defTabSz="914368" rtl="0" eaLnBrk="1" fontAlgn="auto" latinLnBrk="0" hangingPunct="1">
              <a:lnSpc>
                <a:spcPct val="90000"/>
              </a:lnSpc>
              <a:spcBef>
                <a:spcPts val="1000"/>
              </a:spcBef>
              <a:spcAft>
                <a:spcPts val="0"/>
              </a:spcAft>
              <a:buClrTx/>
              <a:buSzTx/>
              <a:buFontTx/>
              <a:buNone/>
              <a:tabLst/>
              <a:defRPr/>
            </a:pPr>
            <a:r>
              <a:rPr lang="en-US" dirty="0"/>
              <a:t>Click to edit Master text styles. </a:t>
            </a:r>
          </a:p>
        </p:txBody>
      </p:sp>
      <p:pic>
        <p:nvPicPr>
          <p:cNvPr id="4" name="Picture 3" descr="A blue text on a black background&#10;&#10;Description automatically generated">
            <a:extLst>
              <a:ext uri="{FF2B5EF4-FFF2-40B4-BE49-F238E27FC236}">
                <a16:creationId xmlns:a16="http://schemas.microsoft.com/office/drawing/2014/main" id="{EC50FBD2-13F1-9B41-0F7B-598D00059C38}"/>
              </a:ext>
            </a:extLst>
          </p:cNvPr>
          <p:cNvPicPr>
            <a:picLocks noChangeAspect="1"/>
          </p:cNvPicPr>
          <p:nvPr userDrawn="1"/>
        </p:nvPicPr>
        <p:blipFill>
          <a:blip r:embed="rId3"/>
          <a:stretch>
            <a:fillRect/>
          </a:stretch>
        </p:blipFill>
        <p:spPr>
          <a:xfrm>
            <a:off x="435435" y="341561"/>
            <a:ext cx="2041065" cy="821713"/>
          </a:xfrm>
          <a:prstGeom prst="rect">
            <a:avLst/>
          </a:prstGeom>
        </p:spPr>
      </p:pic>
      <p:pic>
        <p:nvPicPr>
          <p:cNvPr id="10" name="Picture 9" descr="A picture containing drawing&#10;&#10;Description automatically generated">
            <a:extLst>
              <a:ext uri="{FF2B5EF4-FFF2-40B4-BE49-F238E27FC236}">
                <a16:creationId xmlns:a16="http://schemas.microsoft.com/office/drawing/2014/main" id="{C77D76FF-4211-4172-0431-BB52700BAA79}"/>
              </a:ext>
            </a:extLst>
          </p:cNvPr>
          <p:cNvPicPr>
            <a:picLocks noChangeAspect="1"/>
          </p:cNvPicPr>
          <p:nvPr userDrawn="1"/>
        </p:nvPicPr>
        <p:blipFill>
          <a:blip r:embed="rId4"/>
          <a:srcRect r="44302"/>
          <a:stretch/>
        </p:blipFill>
        <p:spPr>
          <a:xfrm>
            <a:off x="2981099" y="647901"/>
            <a:ext cx="1206472" cy="408879"/>
          </a:xfrm>
          <a:prstGeom prst="rect">
            <a:avLst/>
          </a:prstGeom>
        </p:spPr>
      </p:pic>
      <p:grpSp>
        <p:nvGrpSpPr>
          <p:cNvPr id="11" name="Group 10">
            <a:extLst>
              <a:ext uri="{FF2B5EF4-FFF2-40B4-BE49-F238E27FC236}">
                <a16:creationId xmlns:a16="http://schemas.microsoft.com/office/drawing/2014/main" id="{1F6FDD8C-199C-39C0-F7F9-0427A7D3D5B3}"/>
              </a:ext>
            </a:extLst>
          </p:cNvPr>
          <p:cNvGrpSpPr/>
          <p:nvPr userDrawn="1"/>
        </p:nvGrpSpPr>
        <p:grpSpPr>
          <a:xfrm>
            <a:off x="4166735" y="609803"/>
            <a:ext cx="987138" cy="475376"/>
            <a:chOff x="11096216" y="312988"/>
            <a:chExt cx="710177" cy="342000"/>
          </a:xfrm>
        </p:grpSpPr>
        <p:pic>
          <p:nvPicPr>
            <p:cNvPr id="13" name="Picture 12" descr="A logo of a person playing golf&#10;&#10;Description automatically generated">
              <a:extLst>
                <a:ext uri="{FF2B5EF4-FFF2-40B4-BE49-F238E27FC236}">
                  <a16:creationId xmlns:a16="http://schemas.microsoft.com/office/drawing/2014/main" id="{41810CC4-C57F-63A7-2E8D-3101B6A9AF72}"/>
                </a:ext>
              </a:extLst>
            </p:cNvPr>
            <p:cNvPicPr>
              <a:picLocks noChangeAspect="1"/>
            </p:cNvPicPr>
            <p:nvPr userDrawn="1"/>
          </p:nvPicPr>
          <p:blipFill>
            <a:blip r:embed="rId5"/>
            <a:stretch>
              <a:fillRect/>
            </a:stretch>
          </p:blipFill>
          <p:spPr>
            <a:xfrm>
              <a:off x="11096216" y="312988"/>
              <a:ext cx="301511" cy="342000"/>
            </a:xfrm>
            <a:prstGeom prst="rect">
              <a:avLst/>
            </a:prstGeom>
          </p:spPr>
        </p:pic>
        <p:pic>
          <p:nvPicPr>
            <p:cNvPr id="14" name="Picture 13" descr="A picture containing drawing&#10;&#10;Description automatically generated">
              <a:extLst>
                <a:ext uri="{FF2B5EF4-FFF2-40B4-BE49-F238E27FC236}">
                  <a16:creationId xmlns:a16="http://schemas.microsoft.com/office/drawing/2014/main" id="{E59CA172-7D58-5809-2CB9-9E76E452BE2E}"/>
                </a:ext>
              </a:extLst>
            </p:cNvPr>
            <p:cNvPicPr>
              <a:picLocks noChangeAspect="1"/>
            </p:cNvPicPr>
            <p:nvPr userDrawn="1"/>
          </p:nvPicPr>
          <p:blipFill>
            <a:blip r:embed="rId4"/>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35682964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Slid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FB96C06-753D-AF45-88B6-91C436018A12}"/>
              </a:ext>
            </a:extLst>
          </p:cNvPr>
          <p:cNvPicPr>
            <a:picLocks noChangeAspect="1"/>
          </p:cNvPicPr>
          <p:nvPr userDrawn="1"/>
        </p:nvPicPr>
        <p:blipFill rotWithShape="1">
          <a:blip r:embed="rId2"/>
          <a:srcRect l="5432" t="66325" r="2007" b="-4873"/>
          <a:stretch/>
        </p:blipFill>
        <p:spPr>
          <a:xfrm>
            <a:off x="0" y="-1"/>
            <a:ext cx="12191997" cy="7862375"/>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4DF638B4-032C-3647-8ED8-422DE8FDACE4}"/>
              </a:ext>
            </a:extLst>
          </p:cNvPr>
          <p:cNvPicPr>
            <a:picLocks noChangeAspect="1"/>
          </p:cNvPicPr>
          <p:nvPr userDrawn="1"/>
        </p:nvPicPr>
        <p:blipFill>
          <a:blip r:embed="rId3"/>
          <a:srcRect r="44470"/>
          <a:stretch/>
        </p:blipFill>
        <p:spPr>
          <a:xfrm>
            <a:off x="9438513" y="6157576"/>
            <a:ext cx="1350931" cy="459224"/>
          </a:xfrm>
          <a:prstGeom prst="rect">
            <a:avLst/>
          </a:prstGeom>
        </p:spPr>
      </p:pic>
      <p:sp>
        <p:nvSpPr>
          <p:cNvPr id="9" name="Subtitle 2">
            <a:extLst>
              <a:ext uri="{FF2B5EF4-FFF2-40B4-BE49-F238E27FC236}">
                <a16:creationId xmlns:a16="http://schemas.microsoft.com/office/drawing/2014/main" id="{6A16B7AC-3777-6A43-BA09-A559F13C5ADD}"/>
              </a:ext>
            </a:extLst>
          </p:cNvPr>
          <p:cNvSpPr txBox="1">
            <a:spLocks/>
          </p:cNvSpPr>
          <p:nvPr userDrawn="1"/>
        </p:nvSpPr>
        <p:spPr>
          <a:xfrm>
            <a:off x="441245" y="6333744"/>
            <a:ext cx="6435047" cy="383811"/>
          </a:xfrm>
          <a:prstGeom prst="rect">
            <a:avLst/>
          </a:prstGeom>
        </p:spPr>
        <p:txBody>
          <a:bodyPr/>
          <a:lstStyle>
            <a:lvl1pPr marL="0" indent="0" algn="l" defTabSz="685793" rtl="0" eaLnBrk="1" latinLnBrk="0" hangingPunct="1">
              <a:lnSpc>
                <a:spcPct val="100000"/>
              </a:lnSpc>
              <a:spcBef>
                <a:spcPts val="750"/>
              </a:spcBef>
              <a:buFontTx/>
              <a:buNone/>
              <a:defRPr sz="1400" b="0" i="0" kern="1200" spc="50" baseline="0">
                <a:solidFill>
                  <a:srgbClr val="003863"/>
                </a:solidFill>
                <a:latin typeface="RBC Display" panose="02000000000000000000" pitchFamily="2" charset="77"/>
                <a:ea typeface="+mn-ea"/>
                <a:cs typeface="+mn-cs"/>
              </a:defRPr>
            </a:lvl1pPr>
            <a:lvl2pPr marL="342896" indent="0" algn="ctr" defTabSz="68579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793" indent="0" algn="ctr" defTabSz="68579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690" indent="0" algn="ctr" defTabSz="68579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587" indent="0" algn="ctr" defTabSz="68579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483" indent="0" algn="ctr" defTabSz="68579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379" indent="0" algn="ctr" defTabSz="68579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276" indent="0" algn="ctr" defTabSz="68579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173" indent="0" algn="ctr" defTabSz="68579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en-US" sz="1600" dirty="0"/>
              <a:t>Click to edit master subtitle style</a:t>
            </a:r>
          </a:p>
        </p:txBody>
      </p:sp>
      <p:sp>
        <p:nvSpPr>
          <p:cNvPr id="10" name="Title 1">
            <a:extLst>
              <a:ext uri="{FF2B5EF4-FFF2-40B4-BE49-F238E27FC236}">
                <a16:creationId xmlns:a16="http://schemas.microsoft.com/office/drawing/2014/main" id="{E7F7806F-F649-4E4F-9BBF-6FBBB6ACBF42}"/>
              </a:ext>
            </a:extLst>
          </p:cNvPr>
          <p:cNvSpPr>
            <a:spLocks noGrp="1"/>
          </p:cNvSpPr>
          <p:nvPr>
            <p:ph type="ctrTitle" hasCustomPrompt="1"/>
          </p:nvPr>
        </p:nvSpPr>
        <p:spPr>
          <a:xfrm>
            <a:off x="452968" y="2029372"/>
            <a:ext cx="8691033" cy="1387440"/>
          </a:xfrm>
          <a:prstGeom prst="rect">
            <a:avLst/>
          </a:prstGeom>
        </p:spPr>
        <p:txBody>
          <a:bodyPr anchor="t" anchorCtr="0">
            <a:normAutofit/>
          </a:bodyPr>
          <a:lstStyle>
            <a:lvl1pPr algn="l">
              <a:lnSpc>
                <a:spcPct val="100000"/>
              </a:lnSpc>
              <a:defRPr sz="3200" b="0" i="0">
                <a:solidFill>
                  <a:srgbClr val="003863"/>
                </a:solidFill>
                <a:latin typeface="RBC Display" panose="02000000000000000000" pitchFamily="2" charset="77"/>
              </a:defRPr>
            </a:lvl1pPr>
          </a:lstStyle>
          <a:p>
            <a:r>
              <a:rPr lang="en-US" dirty="0"/>
              <a:t>Click to edit Master title style that spans multiple lines</a:t>
            </a:r>
          </a:p>
        </p:txBody>
      </p:sp>
      <p:sp>
        <p:nvSpPr>
          <p:cNvPr id="12" name="Subtitle 2">
            <a:extLst>
              <a:ext uri="{FF2B5EF4-FFF2-40B4-BE49-F238E27FC236}">
                <a16:creationId xmlns:a16="http://schemas.microsoft.com/office/drawing/2014/main" id="{CB7C3397-0C33-244A-B57D-6EC9B1D015AD}"/>
              </a:ext>
            </a:extLst>
          </p:cNvPr>
          <p:cNvSpPr>
            <a:spLocks noGrp="1"/>
          </p:cNvSpPr>
          <p:nvPr>
            <p:ph type="subTitle" idx="1" hasCustomPrompt="1"/>
          </p:nvPr>
        </p:nvSpPr>
        <p:spPr>
          <a:xfrm>
            <a:off x="464690" y="1541163"/>
            <a:ext cx="9230295" cy="325308"/>
          </a:xfrm>
          <a:prstGeom prst="rect">
            <a:avLst/>
          </a:prstGeom>
        </p:spPr>
        <p:txBody>
          <a:bodyPr/>
          <a:lstStyle>
            <a:lvl1pPr marL="0" indent="0" algn="l">
              <a:lnSpc>
                <a:spcPct val="100000"/>
              </a:lnSpc>
              <a:buNone/>
              <a:defRPr sz="1600" b="1" i="0" spc="133" baseline="0">
                <a:solidFill>
                  <a:srgbClr val="003863"/>
                </a:solidFill>
                <a:latin typeface="RBC Display" panose="02000000000000000000" pitchFamily="2" charset="77"/>
              </a:defRPr>
            </a:lvl1pPr>
            <a:lvl2pPr marL="457183" indent="0" algn="ctr">
              <a:buNone/>
              <a:defRPr sz="2000"/>
            </a:lvl2pPr>
            <a:lvl3pPr marL="914368" indent="0" algn="ctr">
              <a:buNone/>
              <a:defRPr sz="1800"/>
            </a:lvl3pPr>
            <a:lvl4pPr marL="1371552" indent="0" algn="ctr">
              <a:buNone/>
              <a:defRPr sz="1600"/>
            </a:lvl4pPr>
            <a:lvl5pPr marL="1828737" indent="0" algn="ctr">
              <a:buNone/>
              <a:defRPr sz="1600"/>
            </a:lvl5pPr>
            <a:lvl6pPr marL="2285920" indent="0" algn="ctr">
              <a:buNone/>
              <a:defRPr sz="1600"/>
            </a:lvl6pPr>
            <a:lvl7pPr marL="2743103" indent="0" algn="ctr">
              <a:buNone/>
              <a:defRPr sz="1600"/>
            </a:lvl7pPr>
            <a:lvl8pPr marL="3200288" indent="0" algn="ctr">
              <a:buNone/>
              <a:defRPr sz="1600"/>
            </a:lvl8pPr>
            <a:lvl9pPr marL="3657473" indent="0" algn="ctr">
              <a:buNone/>
              <a:defRPr sz="1600"/>
            </a:lvl9pPr>
          </a:lstStyle>
          <a:p>
            <a:r>
              <a:rPr lang="en-US" dirty="0"/>
              <a:t>CLICK TO EDIT MASTER SUBTITLE STYLE</a:t>
            </a:r>
          </a:p>
        </p:txBody>
      </p:sp>
      <p:pic>
        <p:nvPicPr>
          <p:cNvPr id="3" name="Picture 2" descr="A blue text on a black background&#10;&#10;Description automatically generated">
            <a:extLst>
              <a:ext uri="{FF2B5EF4-FFF2-40B4-BE49-F238E27FC236}">
                <a16:creationId xmlns:a16="http://schemas.microsoft.com/office/drawing/2014/main" id="{94364D12-E051-4F78-84AD-B46607800256}"/>
              </a:ext>
            </a:extLst>
          </p:cNvPr>
          <p:cNvPicPr>
            <a:picLocks noChangeAspect="1"/>
          </p:cNvPicPr>
          <p:nvPr userDrawn="1"/>
        </p:nvPicPr>
        <p:blipFill>
          <a:blip r:embed="rId4"/>
          <a:stretch>
            <a:fillRect/>
          </a:stretch>
        </p:blipFill>
        <p:spPr>
          <a:xfrm>
            <a:off x="419376" y="288043"/>
            <a:ext cx="2376212" cy="956638"/>
          </a:xfrm>
          <a:prstGeom prst="rect">
            <a:avLst/>
          </a:prstGeom>
        </p:spPr>
      </p:pic>
      <p:grpSp>
        <p:nvGrpSpPr>
          <p:cNvPr id="14" name="Group 13">
            <a:extLst>
              <a:ext uri="{FF2B5EF4-FFF2-40B4-BE49-F238E27FC236}">
                <a16:creationId xmlns:a16="http://schemas.microsoft.com/office/drawing/2014/main" id="{A38E1C8D-919C-3716-7F49-1D6CB7141384}"/>
              </a:ext>
            </a:extLst>
          </p:cNvPr>
          <p:cNvGrpSpPr/>
          <p:nvPr userDrawn="1"/>
        </p:nvGrpSpPr>
        <p:grpSpPr>
          <a:xfrm>
            <a:off x="10763616" y="6112001"/>
            <a:ext cx="1107691" cy="533431"/>
            <a:chOff x="11096216" y="312988"/>
            <a:chExt cx="710177" cy="342000"/>
          </a:xfrm>
        </p:grpSpPr>
        <p:pic>
          <p:nvPicPr>
            <p:cNvPr id="15" name="Picture 14" descr="A logo of a person playing golf&#10;&#10;Description automatically generated">
              <a:extLst>
                <a:ext uri="{FF2B5EF4-FFF2-40B4-BE49-F238E27FC236}">
                  <a16:creationId xmlns:a16="http://schemas.microsoft.com/office/drawing/2014/main" id="{E426D349-5FA6-F135-6F85-7708E4B0D3C7}"/>
                </a:ext>
              </a:extLst>
            </p:cNvPr>
            <p:cNvPicPr>
              <a:picLocks noChangeAspect="1"/>
            </p:cNvPicPr>
            <p:nvPr userDrawn="1"/>
          </p:nvPicPr>
          <p:blipFill>
            <a:blip r:embed="rId5"/>
            <a:stretch>
              <a:fillRect/>
            </a:stretch>
          </p:blipFill>
          <p:spPr>
            <a:xfrm>
              <a:off x="11096216" y="312988"/>
              <a:ext cx="301511" cy="342000"/>
            </a:xfrm>
            <a:prstGeom prst="rect">
              <a:avLst/>
            </a:prstGeom>
          </p:spPr>
        </p:pic>
        <p:pic>
          <p:nvPicPr>
            <p:cNvPr id="16" name="Picture 15" descr="A picture containing drawing&#10;&#10;Description automatically generated">
              <a:extLst>
                <a:ext uri="{FF2B5EF4-FFF2-40B4-BE49-F238E27FC236}">
                  <a16:creationId xmlns:a16="http://schemas.microsoft.com/office/drawing/2014/main" id="{B3C2968E-EEEA-D74E-5F8C-A0ECABD32C2C}"/>
                </a:ext>
              </a:extLst>
            </p:cNvPr>
            <p:cNvPicPr>
              <a:picLocks noChangeAspect="1"/>
            </p:cNvPicPr>
            <p:nvPr userDrawn="1"/>
          </p:nvPicPr>
          <p:blipFill>
            <a:blip r:embed="rId3"/>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38672726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62C717D-2B6B-EA4A-8C77-7EC93784B857}"/>
              </a:ext>
            </a:extLst>
          </p:cNvPr>
          <p:cNvPicPr>
            <a:picLocks noChangeAspect="1"/>
          </p:cNvPicPr>
          <p:nvPr userDrawn="1"/>
        </p:nvPicPr>
        <p:blipFill rotWithShape="1">
          <a:blip r:embed="rId2"/>
          <a:srcRect l="5265" t="66236" r="2089" b="3517"/>
          <a:stretch/>
        </p:blipFill>
        <p:spPr>
          <a:xfrm>
            <a:off x="-9525" y="-9144"/>
            <a:ext cx="12202095" cy="6168747"/>
          </a:xfrm>
          <a:prstGeom prst="rect">
            <a:avLst/>
          </a:prstGeom>
        </p:spPr>
      </p:pic>
      <p:sp>
        <p:nvSpPr>
          <p:cNvPr id="13" name="Title 1">
            <a:extLst>
              <a:ext uri="{FF2B5EF4-FFF2-40B4-BE49-F238E27FC236}">
                <a16:creationId xmlns:a16="http://schemas.microsoft.com/office/drawing/2014/main" id="{ED8BC854-84F4-364E-BD44-7B3061561087}"/>
              </a:ext>
            </a:extLst>
          </p:cNvPr>
          <p:cNvSpPr>
            <a:spLocks noGrp="1"/>
          </p:cNvSpPr>
          <p:nvPr>
            <p:ph type="ctrTitle" hasCustomPrompt="1"/>
          </p:nvPr>
        </p:nvSpPr>
        <p:spPr>
          <a:xfrm>
            <a:off x="452967" y="1937932"/>
            <a:ext cx="9558541" cy="1387440"/>
          </a:xfrm>
          <a:prstGeom prst="rect">
            <a:avLst/>
          </a:prstGeom>
        </p:spPr>
        <p:txBody>
          <a:bodyPr anchor="b" anchorCtr="0">
            <a:normAutofit/>
          </a:bodyPr>
          <a:lstStyle>
            <a:lvl1pPr algn="l">
              <a:lnSpc>
                <a:spcPct val="100000"/>
              </a:lnSpc>
              <a:defRPr sz="3800" b="0" i="0">
                <a:solidFill>
                  <a:srgbClr val="003863"/>
                </a:solidFill>
                <a:latin typeface="RBC Display" panose="02000000000000000000" pitchFamily="2" charset="77"/>
              </a:defRPr>
            </a:lvl1pPr>
          </a:lstStyle>
          <a:p>
            <a:r>
              <a:rPr lang="en-US" dirty="0"/>
              <a:t>Click to edit Master title style that spans multiple lines</a:t>
            </a:r>
          </a:p>
        </p:txBody>
      </p:sp>
      <p:sp>
        <p:nvSpPr>
          <p:cNvPr id="15" name="Subtitle 2">
            <a:extLst>
              <a:ext uri="{FF2B5EF4-FFF2-40B4-BE49-F238E27FC236}">
                <a16:creationId xmlns:a16="http://schemas.microsoft.com/office/drawing/2014/main" id="{782E099D-EF76-2347-B3D6-BD2CCFC43180}"/>
              </a:ext>
            </a:extLst>
          </p:cNvPr>
          <p:cNvSpPr>
            <a:spLocks noGrp="1"/>
          </p:cNvSpPr>
          <p:nvPr>
            <p:ph type="subTitle" idx="1" hasCustomPrompt="1"/>
          </p:nvPr>
        </p:nvSpPr>
        <p:spPr>
          <a:xfrm>
            <a:off x="464690" y="1541163"/>
            <a:ext cx="9230295" cy="325308"/>
          </a:xfrm>
          <a:prstGeom prst="rect">
            <a:avLst/>
          </a:prstGeom>
        </p:spPr>
        <p:txBody>
          <a:bodyPr/>
          <a:lstStyle>
            <a:lvl1pPr marL="0" indent="0" algn="l">
              <a:lnSpc>
                <a:spcPct val="100000"/>
              </a:lnSpc>
              <a:buNone/>
              <a:defRPr sz="1600" b="1" i="0" spc="133" baseline="0">
                <a:solidFill>
                  <a:srgbClr val="003863"/>
                </a:solidFill>
                <a:latin typeface="RBC Display" panose="02000000000000000000" pitchFamily="2" charset="77"/>
              </a:defRPr>
            </a:lvl1pPr>
            <a:lvl2pPr marL="457183" indent="0" algn="ctr">
              <a:buNone/>
              <a:defRPr sz="2000"/>
            </a:lvl2pPr>
            <a:lvl3pPr marL="914368" indent="0" algn="ctr">
              <a:buNone/>
              <a:defRPr sz="1800"/>
            </a:lvl3pPr>
            <a:lvl4pPr marL="1371552" indent="0" algn="ctr">
              <a:buNone/>
              <a:defRPr sz="1600"/>
            </a:lvl4pPr>
            <a:lvl5pPr marL="1828737" indent="0" algn="ctr">
              <a:buNone/>
              <a:defRPr sz="1600"/>
            </a:lvl5pPr>
            <a:lvl6pPr marL="2285920" indent="0" algn="ctr">
              <a:buNone/>
              <a:defRPr sz="1600"/>
            </a:lvl6pPr>
            <a:lvl7pPr marL="2743103" indent="0" algn="ctr">
              <a:buNone/>
              <a:defRPr sz="1600"/>
            </a:lvl7pPr>
            <a:lvl8pPr marL="3200288" indent="0" algn="ctr">
              <a:buNone/>
              <a:defRPr sz="1600"/>
            </a:lvl8pPr>
            <a:lvl9pPr marL="3657473" indent="0" algn="ctr">
              <a:buNone/>
              <a:defRPr sz="1600"/>
            </a:lvl9pPr>
          </a:lstStyle>
          <a:p>
            <a:r>
              <a:rPr lang="en-US" dirty="0"/>
              <a:t>CLICK TO EDIT MASTER SUBTITLE STYLE</a:t>
            </a:r>
          </a:p>
        </p:txBody>
      </p:sp>
      <p:pic>
        <p:nvPicPr>
          <p:cNvPr id="3" name="Picture 2" descr="A blue text on a black background&#10;&#10;Description automatically generated">
            <a:extLst>
              <a:ext uri="{FF2B5EF4-FFF2-40B4-BE49-F238E27FC236}">
                <a16:creationId xmlns:a16="http://schemas.microsoft.com/office/drawing/2014/main" id="{C9E39E94-2DF5-F6BF-B7DD-63ECE9B2A68E}"/>
              </a:ext>
            </a:extLst>
          </p:cNvPr>
          <p:cNvPicPr>
            <a:picLocks noChangeAspect="1"/>
          </p:cNvPicPr>
          <p:nvPr userDrawn="1"/>
        </p:nvPicPr>
        <p:blipFill>
          <a:blip r:embed="rId3"/>
          <a:stretch>
            <a:fillRect/>
          </a:stretch>
        </p:blipFill>
        <p:spPr>
          <a:xfrm>
            <a:off x="419376" y="288043"/>
            <a:ext cx="2376212" cy="956638"/>
          </a:xfrm>
          <a:prstGeom prst="rect">
            <a:avLst/>
          </a:prstGeom>
        </p:spPr>
      </p:pic>
      <p:pic>
        <p:nvPicPr>
          <p:cNvPr id="4" name="Picture 3" descr="A picture containing drawing&#10;&#10;Description automatically generated">
            <a:extLst>
              <a:ext uri="{FF2B5EF4-FFF2-40B4-BE49-F238E27FC236}">
                <a16:creationId xmlns:a16="http://schemas.microsoft.com/office/drawing/2014/main" id="{C5032CFE-2A2D-2E6E-1B37-5E6D454AF29D}"/>
              </a:ext>
            </a:extLst>
          </p:cNvPr>
          <p:cNvPicPr>
            <a:picLocks noChangeAspect="1"/>
          </p:cNvPicPr>
          <p:nvPr userDrawn="1"/>
        </p:nvPicPr>
        <p:blipFill>
          <a:blip r:embed="rId4"/>
          <a:srcRect r="44470"/>
          <a:stretch/>
        </p:blipFill>
        <p:spPr>
          <a:xfrm>
            <a:off x="9438513" y="6157576"/>
            <a:ext cx="1350931" cy="459224"/>
          </a:xfrm>
          <a:prstGeom prst="rect">
            <a:avLst/>
          </a:prstGeom>
        </p:spPr>
      </p:pic>
      <p:grpSp>
        <p:nvGrpSpPr>
          <p:cNvPr id="5" name="Group 4">
            <a:extLst>
              <a:ext uri="{FF2B5EF4-FFF2-40B4-BE49-F238E27FC236}">
                <a16:creationId xmlns:a16="http://schemas.microsoft.com/office/drawing/2014/main" id="{5A78C672-209D-7BF6-7643-F9B49535D92A}"/>
              </a:ext>
            </a:extLst>
          </p:cNvPr>
          <p:cNvGrpSpPr/>
          <p:nvPr userDrawn="1"/>
        </p:nvGrpSpPr>
        <p:grpSpPr>
          <a:xfrm>
            <a:off x="10763616" y="6112001"/>
            <a:ext cx="1107691" cy="533431"/>
            <a:chOff x="11096216" y="312988"/>
            <a:chExt cx="710177" cy="342000"/>
          </a:xfrm>
        </p:grpSpPr>
        <p:pic>
          <p:nvPicPr>
            <p:cNvPr id="6" name="Picture 5" descr="A logo of a person playing golf&#10;&#10;Description automatically generated">
              <a:extLst>
                <a:ext uri="{FF2B5EF4-FFF2-40B4-BE49-F238E27FC236}">
                  <a16:creationId xmlns:a16="http://schemas.microsoft.com/office/drawing/2014/main" id="{9A32AE9A-4B57-62FD-0C55-D5196FB7A4B4}"/>
                </a:ext>
              </a:extLst>
            </p:cNvPr>
            <p:cNvPicPr>
              <a:picLocks noChangeAspect="1"/>
            </p:cNvPicPr>
            <p:nvPr userDrawn="1"/>
          </p:nvPicPr>
          <p:blipFill>
            <a:blip r:embed="rId5"/>
            <a:stretch>
              <a:fillRect/>
            </a:stretch>
          </p:blipFill>
          <p:spPr>
            <a:xfrm>
              <a:off x="11096216" y="312988"/>
              <a:ext cx="301511" cy="342000"/>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432E826E-15E9-FFAB-BD16-DF1FE06BEE9A}"/>
                </a:ext>
              </a:extLst>
            </p:cNvPr>
            <p:cNvPicPr>
              <a:picLocks noChangeAspect="1"/>
            </p:cNvPicPr>
            <p:nvPr userDrawn="1"/>
          </p:nvPicPr>
          <p:blipFill>
            <a:blip r:embed="rId4"/>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22868987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b="0" i="0">
                <a:latin typeface="RBC Tex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308613" y="6356350"/>
            <a:ext cx="2743200" cy="365125"/>
          </a:xfrm>
          <a:prstGeom prst="rect">
            <a:avLst/>
          </a:prstGeom>
        </p:spPr>
        <p:txBody>
          <a:bodyPr/>
          <a:lstStyle>
            <a:lvl1pPr>
              <a:defRPr b="0" i="0">
                <a:latin typeface="RBC Text" panose="02000000000000000000" pitchFamily="2" charset="77"/>
              </a:defRPr>
            </a:lvl1pPr>
          </a:lstStyle>
          <a:p>
            <a:fld id="{C764DE79-268F-4C1A-8933-263129D2AF90}" type="datetimeFigureOut">
              <a:rPr lang="en-US" smtClean="0"/>
              <a:pPr/>
              <a:t>1/29/2025</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b="0" i="0">
                <a:latin typeface="RBC Text" panose="02000000000000000000" pitchFamily="2" charset="77"/>
              </a:defRPr>
            </a:lvl1pPr>
          </a:lstStyle>
          <a:p>
            <a:endParaRPr lang="en-US" dirty="0"/>
          </a:p>
        </p:txBody>
      </p:sp>
      <p:sp>
        <p:nvSpPr>
          <p:cNvPr id="6" name="Slide Number Placeholder 5"/>
          <p:cNvSpPr>
            <a:spLocks noGrp="1"/>
          </p:cNvSpPr>
          <p:nvPr>
            <p:ph type="sldNum" sz="quarter" idx="12"/>
          </p:nvPr>
        </p:nvSpPr>
        <p:spPr/>
        <p:txBody>
          <a:bodyPr/>
          <a:lstStyle>
            <a:lvl1pPr>
              <a:defRPr b="0" i="0">
                <a:latin typeface="RBC Text" panose="02000000000000000000" pitchFamily="2" charset="77"/>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3621454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defRPr b="0" i="0">
                <a:latin typeface="RBC Text" panose="02000000000000000000" pitchFamily="2" charset="77"/>
              </a:defRPr>
            </a:lvl1pPr>
            <a:lvl2pPr>
              <a:defRPr b="0" i="0">
                <a:latin typeface="RBC Text" panose="02000000000000000000" pitchFamily="2" charset="77"/>
              </a:defRPr>
            </a:lvl2pPr>
            <a:lvl3pPr>
              <a:defRPr b="0" i="0">
                <a:latin typeface="RBC Text" panose="02000000000000000000" pitchFamily="2" charset="77"/>
              </a:defRPr>
            </a:lvl3pPr>
            <a:lvl4pPr>
              <a:defRPr b="0" i="0">
                <a:latin typeface="RBC Text" panose="02000000000000000000" pitchFamily="2" charset="77"/>
              </a:defRPr>
            </a:lvl4pPr>
            <a:lvl5pPr>
              <a:defRPr b="0" i="0">
                <a:latin typeface="RBC Text" panose="02000000000000000000" pitchFamily="2"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308613" y="6356350"/>
            <a:ext cx="2743200" cy="365125"/>
          </a:xfrm>
          <a:prstGeom prst="rect">
            <a:avLst/>
          </a:prstGeom>
        </p:spPr>
        <p:txBody>
          <a:bodyPr/>
          <a:lstStyle>
            <a:lvl1pPr>
              <a:defRPr b="0" i="0">
                <a:latin typeface="RBC Text" panose="02000000000000000000" pitchFamily="2" charset="77"/>
              </a:defRPr>
            </a:lvl1pPr>
          </a:lstStyle>
          <a:p>
            <a:fld id="{C764DE79-268F-4C1A-8933-263129D2AF90}" type="datetimeFigureOut">
              <a:rPr lang="en-US" smtClean="0"/>
              <a:pPr/>
              <a:t>1/29/2025</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b="0" i="0">
                <a:latin typeface="RBC Text" panose="02000000000000000000" pitchFamily="2" charset="77"/>
              </a:defRPr>
            </a:lvl1pPr>
          </a:lstStyle>
          <a:p>
            <a:endParaRPr lang="en-US" dirty="0"/>
          </a:p>
        </p:txBody>
      </p:sp>
      <p:sp>
        <p:nvSpPr>
          <p:cNvPr id="6" name="Slide Number Placeholder 5"/>
          <p:cNvSpPr>
            <a:spLocks noGrp="1"/>
          </p:cNvSpPr>
          <p:nvPr>
            <p:ph type="sldNum" sz="quarter" idx="12"/>
          </p:nvPr>
        </p:nvSpPr>
        <p:spPr/>
        <p:txBody>
          <a:bodyPr/>
          <a:lstStyle>
            <a:lvl1pPr>
              <a:defRPr b="0" i="0">
                <a:latin typeface="RBC Text" panose="02000000000000000000" pitchFamily="2" charset="77"/>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6461941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b="0" i="0">
                <a:solidFill>
                  <a:schemeClr val="tx1">
                    <a:tint val="75000"/>
                  </a:schemeClr>
                </a:solidFill>
                <a:latin typeface="RBC Text" panose="02000000000000000000"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a:xfrm>
            <a:off x="308613" y="6356350"/>
            <a:ext cx="2743200" cy="365125"/>
          </a:xfrm>
          <a:prstGeom prst="rect">
            <a:avLst/>
          </a:prstGeom>
        </p:spPr>
        <p:txBody>
          <a:bodyPr/>
          <a:lstStyle>
            <a:lvl1pPr>
              <a:defRPr b="0" i="0">
                <a:latin typeface="RBC Text" panose="02000000000000000000" pitchFamily="2" charset="77"/>
              </a:defRPr>
            </a:lvl1pPr>
          </a:lstStyle>
          <a:p>
            <a:fld id="{C764DE79-268F-4C1A-8933-263129D2AF90}" type="datetimeFigureOut">
              <a:rPr lang="en-US" smtClean="0"/>
              <a:pPr/>
              <a:t>1/29/2025</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b="0" i="0">
                <a:latin typeface="RBC Text" panose="02000000000000000000" pitchFamily="2" charset="77"/>
              </a:defRPr>
            </a:lvl1pPr>
          </a:lstStyle>
          <a:p>
            <a:endParaRPr lang="en-US" dirty="0"/>
          </a:p>
        </p:txBody>
      </p:sp>
      <p:sp>
        <p:nvSpPr>
          <p:cNvPr id="6" name="Slide Number Placeholder 5"/>
          <p:cNvSpPr>
            <a:spLocks noGrp="1"/>
          </p:cNvSpPr>
          <p:nvPr>
            <p:ph type="sldNum" sz="quarter" idx="12"/>
          </p:nvPr>
        </p:nvSpPr>
        <p:spPr/>
        <p:txBody>
          <a:bodyPr/>
          <a:lstStyle>
            <a:lvl1pPr>
              <a:defRPr b="0" i="0">
                <a:latin typeface="RBC Text" panose="02000000000000000000" pitchFamily="2" charset="77"/>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4083876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b="0" i="0">
                <a:latin typeface="RBC Text" panose="02000000000000000000" pitchFamily="2" charset="77"/>
              </a:defRPr>
            </a:lvl1pPr>
            <a:lvl2pPr>
              <a:defRPr b="0" i="0">
                <a:latin typeface="RBC Text" panose="02000000000000000000" pitchFamily="2" charset="77"/>
              </a:defRPr>
            </a:lvl2pPr>
            <a:lvl3pPr>
              <a:defRPr b="0" i="0">
                <a:latin typeface="RBC Text" panose="02000000000000000000" pitchFamily="2" charset="77"/>
              </a:defRPr>
            </a:lvl3pPr>
            <a:lvl4pPr>
              <a:defRPr b="0" i="0">
                <a:latin typeface="RBC Text" panose="02000000000000000000" pitchFamily="2" charset="77"/>
              </a:defRPr>
            </a:lvl4pPr>
            <a:lvl5pPr>
              <a:defRPr b="0" i="0">
                <a:latin typeface="RBC Text" panose="02000000000000000000" pitchFamily="2"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b="0" i="0">
                <a:latin typeface="RBC Text" panose="02000000000000000000" pitchFamily="2" charset="77"/>
              </a:defRPr>
            </a:lvl1pPr>
            <a:lvl2pPr>
              <a:defRPr b="0" i="0">
                <a:latin typeface="RBC Text" panose="02000000000000000000" pitchFamily="2" charset="77"/>
              </a:defRPr>
            </a:lvl2pPr>
            <a:lvl3pPr>
              <a:defRPr b="0" i="0">
                <a:latin typeface="RBC Text" panose="02000000000000000000" pitchFamily="2" charset="77"/>
              </a:defRPr>
            </a:lvl3pPr>
            <a:lvl4pPr>
              <a:defRPr b="0" i="0">
                <a:latin typeface="RBC Text" panose="02000000000000000000" pitchFamily="2" charset="77"/>
              </a:defRPr>
            </a:lvl4pPr>
            <a:lvl5pPr>
              <a:defRPr b="0" i="0">
                <a:latin typeface="RBC Text" panose="02000000000000000000" pitchFamily="2"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a:xfrm>
            <a:off x="308613" y="6356350"/>
            <a:ext cx="2743200" cy="365125"/>
          </a:xfrm>
          <a:prstGeom prst="rect">
            <a:avLst/>
          </a:prstGeom>
        </p:spPr>
        <p:txBody>
          <a:bodyPr/>
          <a:lstStyle>
            <a:lvl1pPr>
              <a:defRPr b="0" i="0">
                <a:latin typeface="RBC Text" panose="02000000000000000000" pitchFamily="2" charset="77"/>
              </a:defRPr>
            </a:lvl1pPr>
          </a:lstStyle>
          <a:p>
            <a:fld id="{C764DE79-268F-4C1A-8933-263129D2AF90}" type="datetimeFigureOut">
              <a:rPr lang="en-US" smtClean="0"/>
              <a:pPr/>
              <a:t>1/29/2025</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lvl1pPr>
              <a:defRPr b="0" i="0">
                <a:latin typeface="RBC Text" panose="02000000000000000000" pitchFamily="2" charset="77"/>
              </a:defRPr>
            </a:lvl1pPr>
          </a:lstStyle>
          <a:p>
            <a:endParaRPr lang="en-US" dirty="0"/>
          </a:p>
        </p:txBody>
      </p:sp>
      <p:sp>
        <p:nvSpPr>
          <p:cNvPr id="7" name="Slide Number Placeholder 6"/>
          <p:cNvSpPr>
            <a:spLocks noGrp="1"/>
          </p:cNvSpPr>
          <p:nvPr>
            <p:ph type="sldNum" sz="quarter" idx="12"/>
          </p:nvPr>
        </p:nvSpPr>
        <p:spPr/>
        <p:txBody>
          <a:bodyPr/>
          <a:lstStyle>
            <a:lvl1pPr>
              <a:defRPr b="0" i="0">
                <a:latin typeface="RBC Text" panose="02000000000000000000" pitchFamily="2" charset="77"/>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3334337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0" i="0">
                <a:latin typeface="RBC Tex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b="0" i="0">
                <a:latin typeface="RBC Text" panose="02000000000000000000" pitchFamily="2" charset="77"/>
              </a:defRPr>
            </a:lvl1pPr>
            <a:lvl2pPr>
              <a:defRPr b="0" i="0">
                <a:latin typeface="RBC Text" panose="02000000000000000000" pitchFamily="2" charset="77"/>
              </a:defRPr>
            </a:lvl2pPr>
            <a:lvl3pPr>
              <a:defRPr b="0" i="0">
                <a:latin typeface="RBC Text" panose="02000000000000000000" pitchFamily="2" charset="77"/>
              </a:defRPr>
            </a:lvl3pPr>
            <a:lvl4pPr>
              <a:defRPr b="0" i="0">
                <a:latin typeface="RBC Text" panose="02000000000000000000" pitchFamily="2" charset="77"/>
              </a:defRPr>
            </a:lvl4pPr>
            <a:lvl5pPr>
              <a:defRPr b="0" i="0">
                <a:latin typeface="RBC Text" panose="02000000000000000000" pitchFamily="2"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0" i="0">
                <a:latin typeface="RBC Tex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b="0" i="0">
                <a:latin typeface="RBC Text" panose="02000000000000000000" pitchFamily="2" charset="77"/>
              </a:defRPr>
            </a:lvl1pPr>
            <a:lvl2pPr>
              <a:defRPr b="0" i="0">
                <a:latin typeface="RBC Text" panose="02000000000000000000" pitchFamily="2" charset="77"/>
              </a:defRPr>
            </a:lvl2pPr>
            <a:lvl3pPr>
              <a:defRPr b="0" i="0">
                <a:latin typeface="RBC Text" panose="02000000000000000000" pitchFamily="2" charset="77"/>
              </a:defRPr>
            </a:lvl3pPr>
            <a:lvl4pPr>
              <a:defRPr b="0" i="0">
                <a:latin typeface="RBC Text" panose="02000000000000000000" pitchFamily="2" charset="77"/>
              </a:defRPr>
            </a:lvl4pPr>
            <a:lvl5pPr>
              <a:defRPr b="0" i="0">
                <a:latin typeface="RBC Text" panose="02000000000000000000" pitchFamily="2"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308613" y="6356350"/>
            <a:ext cx="2743200" cy="365125"/>
          </a:xfrm>
          <a:prstGeom prst="rect">
            <a:avLst/>
          </a:prstGeom>
        </p:spPr>
        <p:txBody>
          <a:bodyPr/>
          <a:lstStyle>
            <a:lvl1pPr>
              <a:defRPr b="0" i="0">
                <a:latin typeface="RBC Text" panose="02000000000000000000" pitchFamily="2" charset="77"/>
              </a:defRPr>
            </a:lvl1pPr>
          </a:lstStyle>
          <a:p>
            <a:fld id="{C764DE79-268F-4C1A-8933-263129D2AF90}" type="datetimeFigureOut">
              <a:rPr lang="en-US" smtClean="0"/>
              <a:pPr/>
              <a:t>1/29/2025</a:t>
            </a:fld>
            <a:endParaRPr lang="en-US" dirty="0"/>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lvl1pPr>
              <a:defRPr b="0" i="0">
                <a:latin typeface="RBC Text" panose="02000000000000000000" pitchFamily="2" charset="77"/>
              </a:defRPr>
            </a:lvl1pPr>
          </a:lstStyle>
          <a:p>
            <a:endParaRPr lang="en-US" dirty="0"/>
          </a:p>
        </p:txBody>
      </p:sp>
      <p:sp>
        <p:nvSpPr>
          <p:cNvPr id="9" name="Slide Number Placeholder 8"/>
          <p:cNvSpPr>
            <a:spLocks noGrp="1"/>
          </p:cNvSpPr>
          <p:nvPr>
            <p:ph type="sldNum" sz="quarter" idx="12"/>
          </p:nvPr>
        </p:nvSpPr>
        <p:spPr/>
        <p:txBody>
          <a:bodyPr/>
          <a:lstStyle>
            <a:lvl1pPr>
              <a:defRPr b="0" i="0">
                <a:latin typeface="RBC Text" panose="02000000000000000000" pitchFamily="2" charset="77"/>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4348963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Cover Slide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25E9AF4-2987-9B43-A3EA-1517CD995EDD}"/>
              </a:ext>
            </a:extLst>
          </p:cNvPr>
          <p:cNvPicPr>
            <a:picLocks noChangeAspect="1"/>
          </p:cNvPicPr>
          <p:nvPr userDrawn="1"/>
        </p:nvPicPr>
        <p:blipFill rotWithShape="1">
          <a:blip r:embed="rId2"/>
          <a:srcRect l="5432" t="61827" r="2007" b="4547"/>
          <a:stretch/>
        </p:blipFill>
        <p:spPr>
          <a:xfrm>
            <a:off x="0" y="1"/>
            <a:ext cx="12191997" cy="6857999"/>
          </a:xfrm>
          <a:prstGeom prst="rect">
            <a:avLst/>
          </a:prstGeom>
        </p:spPr>
      </p:pic>
      <p:sp>
        <p:nvSpPr>
          <p:cNvPr id="21" name="Text Placeholder 20">
            <a:extLst>
              <a:ext uri="{FF2B5EF4-FFF2-40B4-BE49-F238E27FC236}">
                <a16:creationId xmlns:a16="http://schemas.microsoft.com/office/drawing/2014/main" id="{153E7613-62B0-FA4D-B77F-25E8C6A45594}"/>
              </a:ext>
            </a:extLst>
          </p:cNvPr>
          <p:cNvSpPr>
            <a:spLocks noGrp="1"/>
          </p:cNvSpPr>
          <p:nvPr>
            <p:ph type="body" sz="quarter" idx="10" hasCustomPrompt="1"/>
          </p:nvPr>
        </p:nvSpPr>
        <p:spPr>
          <a:xfrm>
            <a:off x="7151404" y="1034479"/>
            <a:ext cx="3340749" cy="225933"/>
          </a:xfrm>
          <a:prstGeom prst="rect">
            <a:avLst/>
          </a:prstGeom>
        </p:spPr>
        <p:txBody>
          <a:bodyPr/>
          <a:lstStyle>
            <a:lvl1pPr>
              <a:defRPr sz="1333" b="1" spc="133" baseline="0">
                <a:solidFill>
                  <a:srgbClr val="003863"/>
                </a:solidFill>
                <a:latin typeface="RBC Display" panose="02000000000000000000" pitchFamily="2" charset="77"/>
              </a:defRPr>
            </a:lvl1pPr>
          </a:lstStyle>
          <a:p>
            <a:pPr lvl="0"/>
            <a:r>
              <a:rPr lang="en-US" dirty="0"/>
              <a:t>CONTENTS</a:t>
            </a:r>
          </a:p>
        </p:txBody>
      </p:sp>
      <p:sp>
        <p:nvSpPr>
          <p:cNvPr id="14" name="Title 1">
            <a:extLst>
              <a:ext uri="{FF2B5EF4-FFF2-40B4-BE49-F238E27FC236}">
                <a16:creationId xmlns:a16="http://schemas.microsoft.com/office/drawing/2014/main" id="{22C7A935-6EDB-5F47-AF0B-5C6F098F9A21}"/>
              </a:ext>
            </a:extLst>
          </p:cNvPr>
          <p:cNvSpPr>
            <a:spLocks noGrp="1"/>
          </p:cNvSpPr>
          <p:nvPr>
            <p:ph type="ctrTitle" hasCustomPrompt="1"/>
          </p:nvPr>
        </p:nvSpPr>
        <p:spPr>
          <a:xfrm>
            <a:off x="452968" y="1402209"/>
            <a:ext cx="5643033" cy="1864657"/>
          </a:xfrm>
          <a:prstGeom prst="rect">
            <a:avLst/>
          </a:prstGeom>
        </p:spPr>
        <p:txBody>
          <a:bodyPr anchor="t" anchorCtr="0">
            <a:normAutofit/>
          </a:bodyPr>
          <a:lstStyle>
            <a:lvl1pPr algn="l">
              <a:lnSpc>
                <a:spcPct val="100000"/>
              </a:lnSpc>
              <a:defRPr sz="3200" b="0" i="0">
                <a:solidFill>
                  <a:srgbClr val="003863"/>
                </a:solidFill>
                <a:latin typeface="RBC Display" panose="02000000000000000000" pitchFamily="2" charset="77"/>
              </a:defRPr>
            </a:lvl1pPr>
          </a:lstStyle>
          <a:p>
            <a:r>
              <a:rPr lang="en-US" dirty="0"/>
              <a:t>Introduction</a:t>
            </a:r>
          </a:p>
        </p:txBody>
      </p:sp>
      <p:sp>
        <p:nvSpPr>
          <p:cNvPr id="15" name="Subtitle 2">
            <a:extLst>
              <a:ext uri="{FF2B5EF4-FFF2-40B4-BE49-F238E27FC236}">
                <a16:creationId xmlns:a16="http://schemas.microsoft.com/office/drawing/2014/main" id="{C8FA55A5-C1BA-C84C-9701-0B2E39C95CD0}"/>
              </a:ext>
            </a:extLst>
          </p:cNvPr>
          <p:cNvSpPr>
            <a:spLocks noGrp="1"/>
          </p:cNvSpPr>
          <p:nvPr>
            <p:ph type="subTitle" idx="1" hasCustomPrompt="1"/>
          </p:nvPr>
        </p:nvSpPr>
        <p:spPr>
          <a:xfrm>
            <a:off x="464691" y="946827"/>
            <a:ext cx="5138941" cy="325308"/>
          </a:xfrm>
          <a:prstGeom prst="rect">
            <a:avLst/>
          </a:prstGeom>
        </p:spPr>
        <p:txBody>
          <a:bodyPr/>
          <a:lstStyle>
            <a:lvl1pPr marL="0" indent="0" algn="l">
              <a:lnSpc>
                <a:spcPct val="100000"/>
              </a:lnSpc>
              <a:buNone/>
              <a:defRPr sz="1867" b="1" i="0" spc="133" baseline="0">
                <a:solidFill>
                  <a:srgbClr val="003863"/>
                </a:solidFill>
                <a:latin typeface="RBC Display" panose="02000000000000000000" pitchFamily="2" charset="77"/>
              </a:defRPr>
            </a:lvl1pPr>
            <a:lvl2pPr marL="457183" indent="0" algn="ctr">
              <a:buNone/>
              <a:defRPr sz="2000"/>
            </a:lvl2pPr>
            <a:lvl3pPr marL="914368" indent="0" algn="ctr">
              <a:buNone/>
              <a:defRPr sz="1800"/>
            </a:lvl3pPr>
            <a:lvl4pPr marL="1371552" indent="0" algn="ctr">
              <a:buNone/>
              <a:defRPr sz="1600"/>
            </a:lvl4pPr>
            <a:lvl5pPr marL="1828737" indent="0" algn="ctr">
              <a:buNone/>
              <a:defRPr sz="1600"/>
            </a:lvl5pPr>
            <a:lvl6pPr marL="2285920" indent="0" algn="ctr">
              <a:buNone/>
              <a:defRPr sz="1600"/>
            </a:lvl6pPr>
            <a:lvl7pPr marL="2743103" indent="0" algn="ctr">
              <a:buNone/>
              <a:defRPr sz="1600"/>
            </a:lvl7pPr>
            <a:lvl8pPr marL="3200288" indent="0" algn="ctr">
              <a:buNone/>
              <a:defRPr sz="1600"/>
            </a:lvl8pPr>
            <a:lvl9pPr marL="3657473" indent="0" algn="ctr">
              <a:buNone/>
              <a:defRPr sz="1600"/>
            </a:lvl9pPr>
          </a:lstStyle>
          <a:p>
            <a:r>
              <a:rPr lang="en-US" dirty="0"/>
              <a:t>SECTION 1</a:t>
            </a:r>
          </a:p>
        </p:txBody>
      </p:sp>
      <p:sp>
        <p:nvSpPr>
          <p:cNvPr id="23" name="Text Placeholder 20">
            <a:extLst>
              <a:ext uri="{FF2B5EF4-FFF2-40B4-BE49-F238E27FC236}">
                <a16:creationId xmlns:a16="http://schemas.microsoft.com/office/drawing/2014/main" id="{FBEF4C9D-CC8A-5342-9DC5-4A641B116C0A}"/>
              </a:ext>
            </a:extLst>
          </p:cNvPr>
          <p:cNvSpPr>
            <a:spLocks noGrp="1"/>
          </p:cNvSpPr>
          <p:nvPr>
            <p:ph type="body" sz="quarter" idx="11" hasCustomPrompt="1"/>
          </p:nvPr>
        </p:nvSpPr>
        <p:spPr>
          <a:xfrm>
            <a:off x="7151404" y="1417596"/>
            <a:ext cx="3340749" cy="2367589"/>
          </a:xfrm>
          <a:prstGeom prst="rect">
            <a:avLst/>
          </a:prstGeom>
        </p:spPr>
        <p:txBody>
          <a:bodyPr anchor="t"/>
          <a:lstStyle>
            <a:lvl1pPr>
              <a:defRPr sz="1333" b="1" spc="133" baseline="0">
                <a:solidFill>
                  <a:srgbClr val="242524"/>
                </a:solidFill>
                <a:latin typeface="RBC Display" panose="02000000000000000000" pitchFamily="2" charset="77"/>
              </a:defRPr>
            </a:lvl1pPr>
          </a:lstStyle>
          <a:p>
            <a:r>
              <a:rPr lang="en-US" sz="1333" b="0" spc="27" baseline="0" dirty="0"/>
              <a:t>1.0 / Introduction</a:t>
            </a:r>
          </a:p>
          <a:p>
            <a:r>
              <a:rPr lang="en-US" sz="1333" b="0" spc="27" baseline="0" dirty="0"/>
              <a:t>1.1 / Layouts</a:t>
            </a:r>
          </a:p>
          <a:p>
            <a:r>
              <a:rPr lang="en-US" sz="1333" b="0" spc="27" baseline="0" dirty="0"/>
              <a:t>1.2 / Typography</a:t>
            </a:r>
          </a:p>
          <a:p>
            <a:r>
              <a:rPr lang="en-US" sz="1333" b="0" spc="27" baseline="0" dirty="0"/>
              <a:t>2.0 / Overview</a:t>
            </a:r>
          </a:p>
          <a:p>
            <a:r>
              <a:rPr lang="en-US" sz="1333" b="0" spc="27" baseline="0" dirty="0"/>
              <a:t>2.1 / Layout Design Elements</a:t>
            </a:r>
          </a:p>
          <a:p>
            <a:r>
              <a:rPr lang="en-US" sz="1333" b="0" spc="27" baseline="0" dirty="0"/>
              <a:t>2.2 / Visual Snapshot</a:t>
            </a:r>
          </a:p>
          <a:p>
            <a:endParaRPr lang="en-US" sz="1333" b="0" spc="27" baseline="0" dirty="0"/>
          </a:p>
        </p:txBody>
      </p:sp>
      <p:pic>
        <p:nvPicPr>
          <p:cNvPr id="25" name="Picture 24" descr="A picture containing drawing&#10;&#10;Description automatically generated">
            <a:extLst>
              <a:ext uri="{FF2B5EF4-FFF2-40B4-BE49-F238E27FC236}">
                <a16:creationId xmlns:a16="http://schemas.microsoft.com/office/drawing/2014/main" id="{88F432AC-8377-0F4A-A28F-CE33094FFEDD}"/>
              </a:ext>
            </a:extLst>
          </p:cNvPr>
          <p:cNvPicPr>
            <a:picLocks noChangeAspect="1"/>
          </p:cNvPicPr>
          <p:nvPr userDrawn="1"/>
        </p:nvPicPr>
        <p:blipFill>
          <a:blip r:embed="rId3"/>
          <a:srcRect r="50898"/>
          <a:stretch/>
        </p:blipFill>
        <p:spPr>
          <a:xfrm>
            <a:off x="9566303" y="6080997"/>
            <a:ext cx="1063597" cy="408879"/>
          </a:xfrm>
          <a:prstGeom prst="rect">
            <a:avLst/>
          </a:prstGeom>
        </p:spPr>
      </p:pic>
      <p:pic>
        <p:nvPicPr>
          <p:cNvPr id="3" name="Picture 2" descr="A blue text on a black background&#10;&#10;Description automatically generated">
            <a:extLst>
              <a:ext uri="{FF2B5EF4-FFF2-40B4-BE49-F238E27FC236}">
                <a16:creationId xmlns:a16="http://schemas.microsoft.com/office/drawing/2014/main" id="{2F4DC9ED-FA84-4018-A466-EFD649B7DBB3}"/>
              </a:ext>
            </a:extLst>
          </p:cNvPr>
          <p:cNvPicPr>
            <a:picLocks noChangeAspect="1"/>
          </p:cNvPicPr>
          <p:nvPr userDrawn="1"/>
        </p:nvPicPr>
        <p:blipFill>
          <a:blip r:embed="rId4"/>
          <a:stretch>
            <a:fillRect/>
          </a:stretch>
        </p:blipFill>
        <p:spPr>
          <a:xfrm>
            <a:off x="7958771" y="6042899"/>
            <a:ext cx="1247142" cy="502087"/>
          </a:xfrm>
          <a:prstGeom prst="rect">
            <a:avLst/>
          </a:prstGeom>
        </p:spPr>
      </p:pic>
      <p:grpSp>
        <p:nvGrpSpPr>
          <p:cNvPr id="20" name="Group 19">
            <a:extLst>
              <a:ext uri="{FF2B5EF4-FFF2-40B4-BE49-F238E27FC236}">
                <a16:creationId xmlns:a16="http://schemas.microsoft.com/office/drawing/2014/main" id="{66030E82-0364-C850-679C-4007623CCD2B}"/>
              </a:ext>
            </a:extLst>
          </p:cNvPr>
          <p:cNvGrpSpPr/>
          <p:nvPr userDrawn="1"/>
        </p:nvGrpSpPr>
        <p:grpSpPr>
          <a:xfrm>
            <a:off x="10742115" y="6042899"/>
            <a:ext cx="990271" cy="476885"/>
            <a:chOff x="11096216" y="312988"/>
            <a:chExt cx="710177" cy="342000"/>
          </a:xfrm>
        </p:grpSpPr>
        <p:pic>
          <p:nvPicPr>
            <p:cNvPr id="22" name="Picture 21" descr="A logo of a person playing golf&#10;&#10;Description automatically generated">
              <a:extLst>
                <a:ext uri="{FF2B5EF4-FFF2-40B4-BE49-F238E27FC236}">
                  <a16:creationId xmlns:a16="http://schemas.microsoft.com/office/drawing/2014/main" id="{3EF3CBF2-D6A0-0ED3-B377-4E7FDBB93FE4}"/>
                </a:ext>
              </a:extLst>
            </p:cNvPr>
            <p:cNvPicPr>
              <a:picLocks noChangeAspect="1"/>
            </p:cNvPicPr>
            <p:nvPr userDrawn="1"/>
          </p:nvPicPr>
          <p:blipFill>
            <a:blip r:embed="rId5"/>
            <a:stretch>
              <a:fillRect/>
            </a:stretch>
          </p:blipFill>
          <p:spPr>
            <a:xfrm>
              <a:off x="11096216" y="312988"/>
              <a:ext cx="301511" cy="342000"/>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14DFB183-7178-52CA-C6F5-DD859CE31005}"/>
                </a:ext>
              </a:extLst>
            </p:cNvPr>
            <p:cNvPicPr>
              <a:picLocks noChangeAspect="1"/>
            </p:cNvPicPr>
            <p:nvPr userDrawn="1"/>
          </p:nvPicPr>
          <p:blipFill>
            <a:blip r:embed="rId3"/>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31384116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308613" y="6356350"/>
            <a:ext cx="2743200" cy="365125"/>
          </a:xfrm>
          <a:prstGeom prst="rect">
            <a:avLst/>
          </a:prstGeom>
        </p:spPr>
        <p:txBody>
          <a:bodyPr/>
          <a:lstStyle>
            <a:lvl1pPr>
              <a:defRPr b="0" i="0">
                <a:latin typeface="RBC Text" panose="02000000000000000000" pitchFamily="2" charset="77"/>
              </a:defRPr>
            </a:lvl1pPr>
          </a:lstStyle>
          <a:p>
            <a:fld id="{C764DE79-268F-4C1A-8933-263129D2AF90}" type="datetimeFigureOut">
              <a:rPr lang="en-US" smtClean="0"/>
              <a:pPr/>
              <a:t>1/29/2025</a:t>
            </a:fld>
            <a:endParaRPr lang="en-US" dirty="0"/>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lvl1pPr>
              <a:defRPr b="0" i="0">
                <a:latin typeface="RBC Text" panose="02000000000000000000" pitchFamily="2" charset="77"/>
              </a:defRPr>
            </a:lvl1pPr>
          </a:lstStyle>
          <a:p>
            <a:endParaRPr lang="en-US" dirty="0"/>
          </a:p>
        </p:txBody>
      </p:sp>
      <p:sp>
        <p:nvSpPr>
          <p:cNvPr id="5" name="Slide Number Placeholder 4"/>
          <p:cNvSpPr>
            <a:spLocks noGrp="1"/>
          </p:cNvSpPr>
          <p:nvPr>
            <p:ph type="sldNum" sz="quarter" idx="12"/>
          </p:nvPr>
        </p:nvSpPr>
        <p:spPr/>
        <p:txBody>
          <a:bodyPr/>
          <a:lstStyle>
            <a:lvl1pPr>
              <a:defRPr b="0" i="0">
                <a:latin typeface="RBC Text" panose="02000000000000000000" pitchFamily="2" charset="77"/>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3005691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308613" y="6356350"/>
            <a:ext cx="2743200" cy="365125"/>
          </a:xfrm>
          <a:prstGeom prst="rect">
            <a:avLst/>
          </a:prstGeom>
        </p:spPr>
        <p:txBody>
          <a:bodyPr/>
          <a:lstStyle>
            <a:lvl1pPr>
              <a:defRPr b="0" i="0">
                <a:latin typeface="RBC Text" panose="02000000000000000000" pitchFamily="2" charset="77"/>
              </a:defRPr>
            </a:lvl1pPr>
          </a:lstStyle>
          <a:p>
            <a:fld id="{C764DE79-268F-4C1A-8933-263129D2AF90}" type="datetimeFigureOut">
              <a:rPr lang="en-US" smtClean="0"/>
              <a:pPr/>
              <a:t>1/29/2025</a:t>
            </a:fld>
            <a:endParaRPr lang="en-US" dirty="0"/>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lvl1pPr>
              <a:defRPr b="0" i="0">
                <a:latin typeface="RBC Text" panose="02000000000000000000" pitchFamily="2" charset="77"/>
              </a:defRPr>
            </a:lvl1pPr>
          </a:lstStyle>
          <a:p>
            <a:endParaRPr lang="en-US" dirty="0"/>
          </a:p>
        </p:txBody>
      </p:sp>
      <p:sp>
        <p:nvSpPr>
          <p:cNvPr id="4" name="Slide Number Placeholder 3"/>
          <p:cNvSpPr>
            <a:spLocks noGrp="1"/>
          </p:cNvSpPr>
          <p:nvPr>
            <p:ph type="sldNum" sz="quarter" idx="12"/>
          </p:nvPr>
        </p:nvSpPr>
        <p:spPr/>
        <p:txBody>
          <a:bodyPr/>
          <a:lstStyle>
            <a:lvl1pPr>
              <a:defRPr b="0" i="0">
                <a:latin typeface="RBC Text" panose="02000000000000000000" pitchFamily="2" charset="77"/>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5148418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b="0" i="0">
                <a:latin typeface="RBC Text" panose="02000000000000000000" pitchFamily="2" charset="77"/>
              </a:defRPr>
            </a:lvl1pPr>
            <a:lvl2pPr>
              <a:defRPr sz="2800" b="0" i="0">
                <a:latin typeface="RBC Text" panose="02000000000000000000" pitchFamily="2" charset="77"/>
              </a:defRPr>
            </a:lvl2pPr>
            <a:lvl3pPr>
              <a:defRPr sz="2400" b="0" i="0">
                <a:latin typeface="RBC Text" panose="02000000000000000000" pitchFamily="2" charset="77"/>
              </a:defRPr>
            </a:lvl3pPr>
            <a:lvl4pPr>
              <a:defRPr sz="2000" b="0" i="0">
                <a:latin typeface="RBC Text" panose="02000000000000000000" pitchFamily="2" charset="77"/>
              </a:defRPr>
            </a:lvl4pPr>
            <a:lvl5pPr>
              <a:defRPr sz="2000" b="0" i="0">
                <a:latin typeface="RBC Text" panose="02000000000000000000" pitchFamily="2" charset="77"/>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b="0" i="0">
                <a:latin typeface="RBC Text" panose="02000000000000000000"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a:xfrm>
            <a:off x="308613" y="6356350"/>
            <a:ext cx="2743200" cy="365125"/>
          </a:xfrm>
          <a:prstGeom prst="rect">
            <a:avLst/>
          </a:prstGeom>
        </p:spPr>
        <p:txBody>
          <a:bodyPr/>
          <a:lstStyle>
            <a:lvl1pPr>
              <a:defRPr b="0" i="0">
                <a:latin typeface="RBC Text" panose="02000000000000000000" pitchFamily="2" charset="77"/>
              </a:defRPr>
            </a:lvl1pPr>
          </a:lstStyle>
          <a:p>
            <a:fld id="{C764DE79-268F-4C1A-8933-263129D2AF90}" type="datetimeFigureOut">
              <a:rPr lang="en-US" smtClean="0"/>
              <a:pPr/>
              <a:t>1/29/2025</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lvl1pPr>
              <a:defRPr b="0" i="0">
                <a:latin typeface="RBC Text" panose="02000000000000000000" pitchFamily="2" charset="77"/>
              </a:defRPr>
            </a:lvl1pPr>
          </a:lstStyle>
          <a:p>
            <a:endParaRPr lang="en-US" dirty="0"/>
          </a:p>
        </p:txBody>
      </p:sp>
      <p:sp>
        <p:nvSpPr>
          <p:cNvPr id="7" name="Slide Number Placeholder 6"/>
          <p:cNvSpPr>
            <a:spLocks noGrp="1"/>
          </p:cNvSpPr>
          <p:nvPr>
            <p:ph type="sldNum" sz="quarter" idx="12"/>
          </p:nvPr>
        </p:nvSpPr>
        <p:spPr/>
        <p:txBody>
          <a:bodyPr/>
          <a:lstStyle>
            <a:lvl1pPr>
              <a:defRPr b="0" i="0">
                <a:latin typeface="RBC Text" panose="02000000000000000000" pitchFamily="2" charset="77"/>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31653169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b="0" i="0">
                <a:latin typeface="RBC Text" panose="02000000000000000000" pitchFamily="2" charset="77"/>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b="0" i="0">
                <a:latin typeface="RBC Text" panose="02000000000000000000"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a:xfrm>
            <a:off x="308613" y="6356350"/>
            <a:ext cx="2743200" cy="365125"/>
          </a:xfrm>
          <a:prstGeom prst="rect">
            <a:avLst/>
          </a:prstGeom>
        </p:spPr>
        <p:txBody>
          <a:bodyPr/>
          <a:lstStyle>
            <a:lvl1pPr>
              <a:defRPr b="0" i="0">
                <a:latin typeface="RBC Text" panose="02000000000000000000" pitchFamily="2" charset="77"/>
              </a:defRPr>
            </a:lvl1pPr>
          </a:lstStyle>
          <a:p>
            <a:fld id="{C764DE79-268F-4C1A-8933-263129D2AF90}" type="datetimeFigureOut">
              <a:rPr lang="en-US" smtClean="0"/>
              <a:pPr/>
              <a:t>1/29/2025</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lvl1pPr>
              <a:defRPr b="0" i="0">
                <a:latin typeface="RBC Text" panose="02000000000000000000" pitchFamily="2" charset="77"/>
              </a:defRPr>
            </a:lvl1pPr>
          </a:lstStyle>
          <a:p>
            <a:endParaRPr lang="en-US" dirty="0"/>
          </a:p>
        </p:txBody>
      </p:sp>
      <p:sp>
        <p:nvSpPr>
          <p:cNvPr id="7" name="Slide Number Placeholder 6"/>
          <p:cNvSpPr>
            <a:spLocks noGrp="1"/>
          </p:cNvSpPr>
          <p:nvPr>
            <p:ph type="sldNum" sz="quarter" idx="12"/>
          </p:nvPr>
        </p:nvSpPr>
        <p:spPr/>
        <p:txBody>
          <a:bodyPr/>
          <a:lstStyle>
            <a:lvl1pPr>
              <a:defRPr b="0" i="0">
                <a:latin typeface="RBC Text" panose="02000000000000000000" pitchFamily="2" charset="77"/>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9622772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b="0" i="0">
                <a:latin typeface="RBC Text" panose="02000000000000000000" pitchFamily="2" charset="77"/>
              </a:defRPr>
            </a:lvl1pPr>
            <a:lvl2pPr>
              <a:defRPr b="0" i="0">
                <a:latin typeface="RBC Text" panose="02000000000000000000" pitchFamily="2" charset="77"/>
              </a:defRPr>
            </a:lvl2pPr>
            <a:lvl3pPr>
              <a:defRPr b="0" i="0">
                <a:latin typeface="RBC Text" panose="02000000000000000000" pitchFamily="2" charset="77"/>
              </a:defRPr>
            </a:lvl3pPr>
            <a:lvl4pPr>
              <a:defRPr b="0" i="0">
                <a:latin typeface="RBC Text" panose="02000000000000000000" pitchFamily="2" charset="77"/>
              </a:defRPr>
            </a:lvl4pPr>
            <a:lvl5pPr>
              <a:defRPr b="0" i="0">
                <a:latin typeface="RBC Text" panose="02000000000000000000" pitchFamily="2"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308613" y="6356350"/>
            <a:ext cx="2743200" cy="365125"/>
          </a:xfrm>
          <a:prstGeom prst="rect">
            <a:avLst/>
          </a:prstGeom>
        </p:spPr>
        <p:txBody>
          <a:bodyPr/>
          <a:lstStyle>
            <a:lvl1pPr>
              <a:defRPr b="0" i="0">
                <a:latin typeface="RBC Text" panose="02000000000000000000" pitchFamily="2" charset="77"/>
              </a:defRPr>
            </a:lvl1pPr>
          </a:lstStyle>
          <a:p>
            <a:fld id="{C764DE79-268F-4C1A-8933-263129D2AF90}" type="datetimeFigureOut">
              <a:rPr lang="en-US" smtClean="0"/>
              <a:pPr/>
              <a:t>1/29/2025</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b="0" i="0">
                <a:latin typeface="RBC Text" panose="02000000000000000000" pitchFamily="2" charset="77"/>
              </a:defRPr>
            </a:lvl1pPr>
          </a:lstStyle>
          <a:p>
            <a:endParaRPr lang="en-US" dirty="0"/>
          </a:p>
        </p:txBody>
      </p:sp>
      <p:sp>
        <p:nvSpPr>
          <p:cNvPr id="6" name="Slide Number Placeholder 5"/>
          <p:cNvSpPr>
            <a:spLocks noGrp="1"/>
          </p:cNvSpPr>
          <p:nvPr>
            <p:ph type="sldNum" sz="quarter" idx="12"/>
          </p:nvPr>
        </p:nvSpPr>
        <p:spPr/>
        <p:txBody>
          <a:bodyPr/>
          <a:lstStyle>
            <a:lvl1pPr>
              <a:defRPr b="0" i="0">
                <a:latin typeface="RBC Text" panose="02000000000000000000" pitchFamily="2" charset="77"/>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905560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b="0" i="0">
                <a:latin typeface="RBC Text" panose="02000000000000000000" pitchFamily="2" charset="77"/>
              </a:defRPr>
            </a:lvl1pPr>
            <a:lvl2pPr>
              <a:defRPr b="0" i="0">
                <a:latin typeface="RBC Text" panose="02000000000000000000" pitchFamily="2" charset="77"/>
              </a:defRPr>
            </a:lvl2pPr>
            <a:lvl3pPr>
              <a:defRPr b="0" i="0">
                <a:latin typeface="RBC Text" panose="02000000000000000000" pitchFamily="2" charset="77"/>
              </a:defRPr>
            </a:lvl3pPr>
            <a:lvl4pPr>
              <a:defRPr b="0" i="0">
                <a:latin typeface="RBC Text" panose="02000000000000000000" pitchFamily="2" charset="77"/>
              </a:defRPr>
            </a:lvl4pPr>
            <a:lvl5pPr>
              <a:defRPr b="0" i="0">
                <a:latin typeface="RBC Text" panose="02000000000000000000" pitchFamily="2"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308613" y="6356350"/>
            <a:ext cx="2743200" cy="365125"/>
          </a:xfrm>
          <a:prstGeom prst="rect">
            <a:avLst/>
          </a:prstGeom>
        </p:spPr>
        <p:txBody>
          <a:bodyPr/>
          <a:lstStyle>
            <a:lvl1pPr>
              <a:defRPr b="0" i="0">
                <a:latin typeface="RBC Text" panose="02000000000000000000" pitchFamily="2" charset="77"/>
              </a:defRPr>
            </a:lvl1pPr>
          </a:lstStyle>
          <a:p>
            <a:fld id="{C764DE79-268F-4C1A-8933-263129D2AF90}" type="datetimeFigureOut">
              <a:rPr lang="en-US" smtClean="0"/>
              <a:pPr/>
              <a:t>1/29/2025</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b="0" i="0">
                <a:latin typeface="RBC Text" panose="02000000000000000000" pitchFamily="2" charset="77"/>
              </a:defRPr>
            </a:lvl1pPr>
          </a:lstStyle>
          <a:p>
            <a:endParaRPr lang="en-US" dirty="0"/>
          </a:p>
        </p:txBody>
      </p:sp>
      <p:sp>
        <p:nvSpPr>
          <p:cNvPr id="6" name="Slide Number Placeholder 5"/>
          <p:cNvSpPr>
            <a:spLocks noGrp="1"/>
          </p:cNvSpPr>
          <p:nvPr>
            <p:ph type="sldNum" sz="quarter" idx="12"/>
          </p:nvPr>
        </p:nvSpPr>
        <p:spPr/>
        <p:txBody>
          <a:bodyPr/>
          <a:lstStyle>
            <a:lvl1pPr>
              <a:defRPr b="0" i="0">
                <a:latin typeface="RBC Text" panose="02000000000000000000" pitchFamily="2" charset="77"/>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38938617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Picture Placeholder 29"/>
          <p:cNvSpPr>
            <a:spLocks noGrp="1"/>
          </p:cNvSpPr>
          <p:nvPr>
            <p:ph type="pic" sz="quarter" idx="12"/>
          </p:nvPr>
        </p:nvSpPr>
        <p:spPr>
          <a:xfrm>
            <a:off x="0" y="0"/>
            <a:ext cx="12192000" cy="452429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Picture Placeholder 29"/>
          <p:cNvSpPr>
            <a:spLocks noGrp="1"/>
          </p:cNvSpPr>
          <p:nvPr>
            <p:ph type="pic" sz="quarter" idx="13"/>
          </p:nvPr>
        </p:nvSpPr>
        <p:spPr>
          <a:xfrm>
            <a:off x="4485861" y="3935894"/>
            <a:ext cx="2926800" cy="292210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7" name="Rectangle 6"/>
          <p:cNvSpPr/>
          <p:nvPr userDrawn="1"/>
        </p:nvSpPr>
        <p:spPr>
          <a:xfrm>
            <a:off x="7412661" y="4524292"/>
            <a:ext cx="4779339"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BC Text" panose="02000000000000000000" pitchFamily="2" charset="77"/>
            </a:endParaRPr>
          </a:p>
        </p:txBody>
      </p:sp>
      <p:sp>
        <p:nvSpPr>
          <p:cNvPr id="10" name="Title 8"/>
          <p:cNvSpPr>
            <a:spLocks noGrp="1"/>
          </p:cNvSpPr>
          <p:nvPr>
            <p:ph type="title"/>
          </p:nvPr>
        </p:nvSpPr>
        <p:spPr>
          <a:xfrm>
            <a:off x="913016" y="1574779"/>
            <a:ext cx="9685211"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3559273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4494882" y="-1"/>
            <a:ext cx="7697117" cy="486945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5" name="Picture Placeholder 29"/>
          <p:cNvSpPr>
            <a:spLocks noGrp="1"/>
          </p:cNvSpPr>
          <p:nvPr>
            <p:ph type="pic" sz="quarter" idx="13"/>
          </p:nvPr>
        </p:nvSpPr>
        <p:spPr>
          <a:xfrm>
            <a:off x="7337234" y="4869454"/>
            <a:ext cx="4854764" cy="198854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3594129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
        <p:nvSpPr>
          <p:cNvPr id="5"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34747195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BC Text" panose="02000000000000000000" pitchFamily="2" charset="77"/>
            </a:endParaRPr>
          </a:p>
        </p:txBody>
      </p:sp>
      <p:sp>
        <p:nvSpPr>
          <p:cNvPr id="8" name="Picture Placeholder 29"/>
          <p:cNvSpPr>
            <a:spLocks noGrp="1"/>
          </p:cNvSpPr>
          <p:nvPr>
            <p:ph type="pic" sz="quarter" idx="13"/>
          </p:nvPr>
        </p:nvSpPr>
        <p:spPr>
          <a:xfrm>
            <a:off x="3346171" y="2699131"/>
            <a:ext cx="1842773" cy="182516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3133246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Cover Slide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25E9AF4-2987-9B43-A3EA-1517CD995EDD}"/>
              </a:ext>
            </a:extLst>
          </p:cNvPr>
          <p:cNvPicPr>
            <a:picLocks noChangeAspect="1"/>
          </p:cNvPicPr>
          <p:nvPr userDrawn="1"/>
        </p:nvPicPr>
        <p:blipFill rotWithShape="1">
          <a:blip r:embed="rId2"/>
          <a:srcRect l="5432" t="61827" r="2007" b="4547"/>
          <a:stretch/>
        </p:blipFill>
        <p:spPr>
          <a:xfrm>
            <a:off x="0" y="1"/>
            <a:ext cx="12191997" cy="6857999"/>
          </a:xfrm>
          <a:prstGeom prst="rect">
            <a:avLst/>
          </a:prstGeom>
        </p:spPr>
      </p:pic>
      <p:pic>
        <p:nvPicPr>
          <p:cNvPr id="25" name="Picture 24" descr="A picture containing drawing&#10;&#10;Description automatically generated">
            <a:extLst>
              <a:ext uri="{FF2B5EF4-FFF2-40B4-BE49-F238E27FC236}">
                <a16:creationId xmlns:a16="http://schemas.microsoft.com/office/drawing/2014/main" id="{88F432AC-8377-0F4A-A28F-CE33094FFEDD}"/>
              </a:ext>
            </a:extLst>
          </p:cNvPr>
          <p:cNvPicPr>
            <a:picLocks noChangeAspect="1"/>
          </p:cNvPicPr>
          <p:nvPr userDrawn="1"/>
        </p:nvPicPr>
        <p:blipFill>
          <a:blip r:embed="rId3"/>
          <a:srcRect r="44302"/>
          <a:stretch/>
        </p:blipFill>
        <p:spPr>
          <a:xfrm>
            <a:off x="9566304" y="6080997"/>
            <a:ext cx="1206472" cy="408879"/>
          </a:xfrm>
          <a:prstGeom prst="rect">
            <a:avLst/>
          </a:prstGeom>
        </p:spPr>
      </p:pic>
      <p:sp>
        <p:nvSpPr>
          <p:cNvPr id="9" name="Title 1">
            <a:extLst>
              <a:ext uri="{FF2B5EF4-FFF2-40B4-BE49-F238E27FC236}">
                <a16:creationId xmlns:a16="http://schemas.microsoft.com/office/drawing/2014/main" id="{22905A01-05E1-F04C-8CEB-7943DDA9836C}"/>
              </a:ext>
            </a:extLst>
          </p:cNvPr>
          <p:cNvSpPr>
            <a:spLocks noGrp="1"/>
          </p:cNvSpPr>
          <p:nvPr>
            <p:ph type="ctrTitle" hasCustomPrompt="1"/>
          </p:nvPr>
        </p:nvSpPr>
        <p:spPr>
          <a:xfrm>
            <a:off x="452968" y="2029372"/>
            <a:ext cx="8691033" cy="1387440"/>
          </a:xfrm>
          <a:prstGeom prst="rect">
            <a:avLst/>
          </a:prstGeom>
        </p:spPr>
        <p:txBody>
          <a:bodyPr anchor="t" anchorCtr="0">
            <a:normAutofit/>
          </a:bodyPr>
          <a:lstStyle>
            <a:lvl1pPr algn="l">
              <a:lnSpc>
                <a:spcPct val="100000"/>
              </a:lnSpc>
              <a:defRPr sz="3200" b="0" i="0">
                <a:solidFill>
                  <a:srgbClr val="003863"/>
                </a:solidFill>
                <a:latin typeface="RBC Display" panose="02000000000000000000" pitchFamily="2" charset="77"/>
              </a:defRPr>
            </a:lvl1pPr>
          </a:lstStyle>
          <a:p>
            <a:r>
              <a:rPr lang="en-US" dirty="0"/>
              <a:t>Click to edit Master title style that spans multiple lines</a:t>
            </a:r>
          </a:p>
        </p:txBody>
      </p:sp>
      <p:sp>
        <p:nvSpPr>
          <p:cNvPr id="10" name="Subtitle 2">
            <a:extLst>
              <a:ext uri="{FF2B5EF4-FFF2-40B4-BE49-F238E27FC236}">
                <a16:creationId xmlns:a16="http://schemas.microsoft.com/office/drawing/2014/main" id="{F10CAFE3-BB85-DC40-B316-172CCC30B425}"/>
              </a:ext>
            </a:extLst>
          </p:cNvPr>
          <p:cNvSpPr>
            <a:spLocks noGrp="1"/>
          </p:cNvSpPr>
          <p:nvPr>
            <p:ph type="subTitle" idx="1" hasCustomPrompt="1"/>
          </p:nvPr>
        </p:nvSpPr>
        <p:spPr>
          <a:xfrm>
            <a:off x="464690" y="1541163"/>
            <a:ext cx="9230295" cy="325308"/>
          </a:xfrm>
          <a:prstGeom prst="rect">
            <a:avLst/>
          </a:prstGeom>
        </p:spPr>
        <p:txBody>
          <a:bodyPr/>
          <a:lstStyle>
            <a:lvl1pPr marL="0" indent="0" algn="l">
              <a:lnSpc>
                <a:spcPct val="100000"/>
              </a:lnSpc>
              <a:buNone/>
              <a:defRPr sz="1600" b="1" i="0" spc="133" baseline="0">
                <a:solidFill>
                  <a:srgbClr val="003863"/>
                </a:solidFill>
                <a:latin typeface="RBC Display" panose="02000000000000000000" pitchFamily="2" charset="77"/>
              </a:defRPr>
            </a:lvl1pPr>
            <a:lvl2pPr marL="457183" indent="0" algn="ctr">
              <a:buNone/>
              <a:defRPr sz="2000"/>
            </a:lvl2pPr>
            <a:lvl3pPr marL="914368" indent="0" algn="ctr">
              <a:buNone/>
              <a:defRPr sz="1800"/>
            </a:lvl3pPr>
            <a:lvl4pPr marL="1371552" indent="0" algn="ctr">
              <a:buNone/>
              <a:defRPr sz="1600"/>
            </a:lvl4pPr>
            <a:lvl5pPr marL="1828737" indent="0" algn="ctr">
              <a:buNone/>
              <a:defRPr sz="1600"/>
            </a:lvl5pPr>
            <a:lvl6pPr marL="2285920" indent="0" algn="ctr">
              <a:buNone/>
              <a:defRPr sz="1600"/>
            </a:lvl6pPr>
            <a:lvl7pPr marL="2743103" indent="0" algn="ctr">
              <a:buNone/>
              <a:defRPr sz="1600"/>
            </a:lvl7pPr>
            <a:lvl8pPr marL="3200288" indent="0" algn="ctr">
              <a:buNone/>
              <a:defRPr sz="1600"/>
            </a:lvl8pPr>
            <a:lvl9pPr marL="3657473" indent="0" algn="ctr">
              <a:buNone/>
              <a:defRPr sz="1600"/>
            </a:lvl9pPr>
          </a:lstStyle>
          <a:p>
            <a:r>
              <a:rPr lang="en-US" dirty="0"/>
              <a:t>CLICK TO EDIT MASTER SUBTITLE STYLE</a:t>
            </a:r>
          </a:p>
        </p:txBody>
      </p:sp>
      <p:pic>
        <p:nvPicPr>
          <p:cNvPr id="2" name="Picture 1" descr="A blue text on a black background&#10;&#10;Description automatically generated">
            <a:extLst>
              <a:ext uri="{FF2B5EF4-FFF2-40B4-BE49-F238E27FC236}">
                <a16:creationId xmlns:a16="http://schemas.microsoft.com/office/drawing/2014/main" id="{FF8BDE7B-765C-DEE5-7A76-CAC6A85E8D21}"/>
              </a:ext>
            </a:extLst>
          </p:cNvPr>
          <p:cNvPicPr>
            <a:picLocks noChangeAspect="1"/>
          </p:cNvPicPr>
          <p:nvPr userDrawn="1"/>
        </p:nvPicPr>
        <p:blipFill>
          <a:blip r:embed="rId4"/>
          <a:stretch>
            <a:fillRect/>
          </a:stretch>
        </p:blipFill>
        <p:spPr>
          <a:xfrm>
            <a:off x="7958771" y="6042899"/>
            <a:ext cx="1247142" cy="502087"/>
          </a:xfrm>
          <a:prstGeom prst="rect">
            <a:avLst/>
          </a:prstGeom>
        </p:spPr>
      </p:pic>
      <p:grpSp>
        <p:nvGrpSpPr>
          <p:cNvPr id="6" name="Group 5">
            <a:extLst>
              <a:ext uri="{FF2B5EF4-FFF2-40B4-BE49-F238E27FC236}">
                <a16:creationId xmlns:a16="http://schemas.microsoft.com/office/drawing/2014/main" id="{9BAB7D59-881F-30EE-1525-B7AF421EB954}"/>
              </a:ext>
            </a:extLst>
          </p:cNvPr>
          <p:cNvGrpSpPr/>
          <p:nvPr userDrawn="1"/>
        </p:nvGrpSpPr>
        <p:grpSpPr>
          <a:xfrm>
            <a:off x="10751940" y="6042899"/>
            <a:ext cx="987138" cy="475376"/>
            <a:chOff x="11096216" y="312988"/>
            <a:chExt cx="710177" cy="342000"/>
          </a:xfrm>
        </p:grpSpPr>
        <p:pic>
          <p:nvPicPr>
            <p:cNvPr id="7" name="Picture 6" descr="A logo of a person playing golf&#10;&#10;Description automatically generated">
              <a:extLst>
                <a:ext uri="{FF2B5EF4-FFF2-40B4-BE49-F238E27FC236}">
                  <a16:creationId xmlns:a16="http://schemas.microsoft.com/office/drawing/2014/main" id="{BB2AEAA9-EF54-B933-2648-F5ADA3287FD6}"/>
                </a:ext>
              </a:extLst>
            </p:cNvPr>
            <p:cNvPicPr>
              <a:picLocks noChangeAspect="1"/>
            </p:cNvPicPr>
            <p:nvPr userDrawn="1"/>
          </p:nvPicPr>
          <p:blipFill>
            <a:blip r:embed="rId5"/>
            <a:stretch>
              <a:fillRect/>
            </a:stretch>
          </p:blipFill>
          <p:spPr>
            <a:xfrm>
              <a:off x="11096216" y="312988"/>
              <a:ext cx="301511" cy="342000"/>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B5A1027-BE97-B36E-BF5D-2D596D396E10}"/>
                </a:ext>
              </a:extLst>
            </p:cNvPr>
            <p:cNvPicPr>
              <a:picLocks noChangeAspect="1"/>
            </p:cNvPicPr>
            <p:nvPr userDrawn="1"/>
          </p:nvPicPr>
          <p:blipFill>
            <a:blip r:embed="rId3"/>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33304609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4"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
        <p:nvSpPr>
          <p:cNvPr id="5" name="Picture Placeholder 29"/>
          <p:cNvSpPr>
            <a:spLocks noGrp="1"/>
          </p:cNvSpPr>
          <p:nvPr>
            <p:ph type="pic" sz="quarter" idx="12"/>
          </p:nvPr>
        </p:nvSpPr>
        <p:spPr>
          <a:xfrm>
            <a:off x="0" y="2688116"/>
            <a:ext cx="12192000" cy="4169884"/>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Picture Placeholder 29"/>
          <p:cNvSpPr>
            <a:spLocks noGrp="1"/>
          </p:cNvSpPr>
          <p:nvPr>
            <p:ph type="pic" sz="quarter" idx="13"/>
          </p:nvPr>
        </p:nvSpPr>
        <p:spPr>
          <a:xfrm>
            <a:off x="5563532" y="1596812"/>
            <a:ext cx="2926800" cy="210485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7" name="Picture Placeholder 29"/>
          <p:cNvSpPr>
            <a:spLocks noGrp="1"/>
          </p:cNvSpPr>
          <p:nvPr>
            <p:ph type="pic" sz="quarter" idx="14"/>
          </p:nvPr>
        </p:nvSpPr>
        <p:spPr>
          <a:xfrm>
            <a:off x="8879609" y="1596812"/>
            <a:ext cx="2926800" cy="210485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5584106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5" name="Picture Placeholder 29"/>
          <p:cNvSpPr>
            <a:spLocks noGrp="1"/>
          </p:cNvSpPr>
          <p:nvPr>
            <p:ph type="pic" sz="quarter" idx="12"/>
          </p:nvPr>
        </p:nvSpPr>
        <p:spPr>
          <a:xfrm>
            <a:off x="0" y="2688116"/>
            <a:ext cx="12192000" cy="4169884"/>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Picture Placeholder 29"/>
          <p:cNvSpPr>
            <a:spLocks noGrp="1"/>
          </p:cNvSpPr>
          <p:nvPr>
            <p:ph type="pic" sz="quarter" idx="13"/>
          </p:nvPr>
        </p:nvSpPr>
        <p:spPr>
          <a:xfrm>
            <a:off x="903397" y="1596812"/>
            <a:ext cx="2926800" cy="210485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7" name="Picture Placeholder 29"/>
          <p:cNvSpPr>
            <a:spLocks noGrp="1"/>
          </p:cNvSpPr>
          <p:nvPr>
            <p:ph type="pic" sz="quarter" idx="14"/>
          </p:nvPr>
        </p:nvSpPr>
        <p:spPr>
          <a:xfrm>
            <a:off x="4219474" y="1596812"/>
            <a:ext cx="2926800" cy="210485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2" name="Picture Placeholder 29"/>
          <p:cNvSpPr>
            <a:spLocks noGrp="1"/>
          </p:cNvSpPr>
          <p:nvPr>
            <p:ph type="pic" sz="quarter" idx="15"/>
          </p:nvPr>
        </p:nvSpPr>
        <p:spPr>
          <a:xfrm>
            <a:off x="7535550" y="1596812"/>
            <a:ext cx="2926800" cy="210485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2103697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0" y="0"/>
            <a:ext cx="12192000" cy="68580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5" name="Picture Placeholder 29"/>
          <p:cNvSpPr>
            <a:spLocks noGrp="1"/>
          </p:cNvSpPr>
          <p:nvPr>
            <p:ph type="pic" sz="quarter" idx="13"/>
          </p:nvPr>
        </p:nvSpPr>
        <p:spPr>
          <a:xfrm>
            <a:off x="4847436" y="3935894"/>
            <a:ext cx="2926800" cy="292210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7"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9873636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0" y="0"/>
            <a:ext cx="12192000" cy="2699133"/>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5" name="Title 8"/>
          <p:cNvSpPr>
            <a:spLocks noGrp="1"/>
          </p:cNvSpPr>
          <p:nvPr>
            <p:ph type="title"/>
          </p:nvPr>
        </p:nvSpPr>
        <p:spPr>
          <a:xfrm>
            <a:off x="913016" y="1574779"/>
            <a:ext cx="9685211"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
        <p:nvSpPr>
          <p:cNvPr id="6" name="Rectangle 5"/>
          <p:cNvSpPr/>
          <p:nvPr userDrawn="1"/>
        </p:nvSpPr>
        <p:spPr>
          <a:xfrm>
            <a:off x="1" y="2699133"/>
            <a:ext cx="12192000" cy="41588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BC Text" panose="02000000000000000000" pitchFamily="2" charset="77"/>
            </a:endParaRPr>
          </a:p>
        </p:txBody>
      </p:sp>
    </p:spTree>
    <p:extLst>
      <p:ext uri="{BB962C8B-B14F-4D97-AF65-F5344CB8AC3E}">
        <p14:creationId xmlns:p14="http://schemas.microsoft.com/office/powerpoint/2010/main" val="33708307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7003055"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5"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9406653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24130012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8299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0_Custom Layout">
    <p:spTree>
      <p:nvGrpSpPr>
        <p:cNvPr id="1" name=""/>
        <p:cNvGrpSpPr/>
        <p:nvPr/>
      </p:nvGrpSpPr>
      <p:grpSpPr>
        <a:xfrm>
          <a:off x="0" y="0"/>
          <a:ext cx="0" cy="0"/>
          <a:chOff x="0" y="0"/>
          <a:chExt cx="0" cy="0"/>
        </a:xfrm>
      </p:grpSpPr>
      <p:sp>
        <p:nvSpPr>
          <p:cNvPr id="2" name="Picture Placeholder 29"/>
          <p:cNvSpPr>
            <a:spLocks noGrp="1"/>
          </p:cNvSpPr>
          <p:nvPr>
            <p:ph type="pic" sz="quarter" idx="12"/>
          </p:nvPr>
        </p:nvSpPr>
        <p:spPr>
          <a:xfrm>
            <a:off x="0" y="0"/>
            <a:ext cx="12192000" cy="68580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8436170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1_Custom Layout">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0" y="0"/>
            <a:ext cx="12192000" cy="3368233"/>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7" name="Title 8"/>
          <p:cNvSpPr>
            <a:spLocks noGrp="1"/>
          </p:cNvSpPr>
          <p:nvPr>
            <p:ph type="title"/>
          </p:nvPr>
        </p:nvSpPr>
        <p:spPr>
          <a:xfrm>
            <a:off x="913016" y="1574779"/>
            <a:ext cx="3581865" cy="1325563"/>
          </a:xfrm>
          <a:prstGeom prst="rect">
            <a:avLst/>
          </a:prstGeom>
        </p:spPr>
        <p:txBody>
          <a:bodyPr lIns="0" rIns="0" anchor="t">
            <a:noAutofit/>
          </a:bodyPr>
          <a:lstStyle>
            <a:lvl1pPr>
              <a:lnSpc>
                <a:spcPct val="80000"/>
              </a:lnSpc>
              <a:defRPr sz="54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9795495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78_Custom Layout">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a:lvl1pPr>
          </a:lstStyle>
          <a:p>
            <a:r>
              <a:rPr lang="en-US" dirty="0"/>
              <a:t>Click to edit Master title style</a:t>
            </a:r>
          </a:p>
        </p:txBody>
      </p:sp>
    </p:spTree>
    <p:extLst>
      <p:ext uri="{BB962C8B-B14F-4D97-AF65-F5344CB8AC3E}">
        <p14:creationId xmlns:p14="http://schemas.microsoft.com/office/powerpoint/2010/main" val="38315428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Cover Slide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BF177F8-E96B-EF45-A13D-8FCF6956D35E}"/>
              </a:ext>
            </a:extLst>
          </p:cNvPr>
          <p:cNvPicPr>
            <a:picLocks noChangeAspect="1"/>
          </p:cNvPicPr>
          <p:nvPr userDrawn="1"/>
        </p:nvPicPr>
        <p:blipFill rotWithShape="1">
          <a:blip r:embed="rId2"/>
          <a:srcRect l="26946" t="65719"/>
          <a:stretch/>
        </p:blipFill>
        <p:spPr>
          <a:xfrm>
            <a:off x="-11856" y="-9144"/>
            <a:ext cx="12203853" cy="6867144"/>
          </a:xfrm>
          <a:prstGeom prst="rect">
            <a:avLst/>
          </a:prstGeom>
          <a:noFill/>
        </p:spPr>
      </p:pic>
      <p:pic>
        <p:nvPicPr>
          <p:cNvPr id="10" name="Picture 9" descr="A picture containing drawing&#10;&#10;Description automatically generated">
            <a:extLst>
              <a:ext uri="{FF2B5EF4-FFF2-40B4-BE49-F238E27FC236}">
                <a16:creationId xmlns:a16="http://schemas.microsoft.com/office/drawing/2014/main" id="{75A51AA9-8880-264A-B1B4-B304C899D75D}"/>
              </a:ext>
            </a:extLst>
          </p:cNvPr>
          <p:cNvPicPr>
            <a:picLocks noChangeAspect="1"/>
          </p:cNvPicPr>
          <p:nvPr userDrawn="1"/>
        </p:nvPicPr>
        <p:blipFill>
          <a:blip r:embed="rId3"/>
          <a:srcRect r="45545"/>
          <a:stretch/>
        </p:blipFill>
        <p:spPr>
          <a:xfrm>
            <a:off x="446022" y="5935904"/>
            <a:ext cx="1680047" cy="582377"/>
          </a:xfrm>
          <a:prstGeom prst="rect">
            <a:avLst/>
          </a:prstGeom>
        </p:spPr>
      </p:pic>
      <p:sp>
        <p:nvSpPr>
          <p:cNvPr id="21" name="Text Placeholder 20">
            <a:extLst>
              <a:ext uri="{FF2B5EF4-FFF2-40B4-BE49-F238E27FC236}">
                <a16:creationId xmlns:a16="http://schemas.microsoft.com/office/drawing/2014/main" id="{BE19F465-DAC2-1C48-A8EA-BE2F854B0235}"/>
              </a:ext>
            </a:extLst>
          </p:cNvPr>
          <p:cNvSpPr>
            <a:spLocks noGrp="1"/>
          </p:cNvSpPr>
          <p:nvPr>
            <p:ph type="body" sz="quarter" idx="16" hasCustomPrompt="1"/>
          </p:nvPr>
        </p:nvSpPr>
        <p:spPr>
          <a:xfrm>
            <a:off x="8626003" y="2597507"/>
            <a:ext cx="3085515" cy="2080383"/>
          </a:xfrm>
          <a:prstGeom prst="rect">
            <a:avLst/>
          </a:prstGeom>
        </p:spPr>
        <p:txBody>
          <a:bodyPr/>
          <a:lstStyle>
            <a:lvl1pPr marL="0" marR="0" indent="0" algn="l" defTabSz="914368" rtl="0" eaLnBrk="1" fontAlgn="auto" latinLnBrk="0" hangingPunct="1">
              <a:lnSpc>
                <a:spcPct val="120000"/>
              </a:lnSpc>
              <a:spcBef>
                <a:spcPts val="1000"/>
              </a:spcBef>
              <a:spcAft>
                <a:spcPts val="0"/>
              </a:spcAft>
              <a:buClrTx/>
              <a:buSzTx/>
              <a:buFontTx/>
              <a:buNone/>
              <a:tabLst/>
              <a:defRPr sz="1600" b="0" i="0">
                <a:solidFill>
                  <a:srgbClr val="231F20"/>
                </a:solidFill>
                <a:latin typeface="RBC Text" panose="02000000000000000000" pitchFamily="2" charset="77"/>
              </a:defRPr>
            </a:lvl1pPr>
          </a:lstStyle>
          <a:p>
            <a:pPr marL="0" marR="0" lvl="0" indent="0" algn="l" defTabSz="914368" rtl="0" eaLnBrk="1" fontAlgn="auto" latinLnBrk="0" hangingPunct="1">
              <a:lnSpc>
                <a:spcPct val="90000"/>
              </a:lnSpc>
              <a:spcBef>
                <a:spcPts val="1000"/>
              </a:spcBef>
              <a:spcAft>
                <a:spcPts val="0"/>
              </a:spcAft>
              <a:buClrTx/>
              <a:buSzTx/>
              <a:buFontTx/>
              <a:buNone/>
              <a:tabLst/>
              <a:defRPr/>
            </a:pPr>
            <a:r>
              <a:rPr lang="en-US" dirty="0"/>
              <a:t>Click to edit Master text styles. Click to edit Master text styles. Click to edit Master text styles. Click to edit Master text styles. Click to edit Master text styles. Click to edit Master text styles. </a:t>
            </a:r>
          </a:p>
          <a:p>
            <a:pPr marL="0" marR="0" lvl="0" indent="0" algn="l" defTabSz="914368" rtl="0" eaLnBrk="1" fontAlgn="auto" latinLnBrk="0" hangingPunct="1">
              <a:lnSpc>
                <a:spcPct val="90000"/>
              </a:lnSpc>
              <a:spcBef>
                <a:spcPts val="1000"/>
              </a:spcBef>
              <a:spcAft>
                <a:spcPts val="0"/>
              </a:spcAft>
              <a:buClrTx/>
              <a:buSzTx/>
              <a:buFontTx/>
              <a:buNone/>
              <a:tabLst/>
              <a:defRPr/>
            </a:pPr>
            <a:endParaRPr lang="en-US" dirty="0"/>
          </a:p>
        </p:txBody>
      </p:sp>
      <p:sp>
        <p:nvSpPr>
          <p:cNvPr id="23" name="Text Placeholder 20">
            <a:extLst>
              <a:ext uri="{FF2B5EF4-FFF2-40B4-BE49-F238E27FC236}">
                <a16:creationId xmlns:a16="http://schemas.microsoft.com/office/drawing/2014/main" id="{B7232737-3A57-394C-8D43-86C7A1961BE2}"/>
              </a:ext>
            </a:extLst>
          </p:cNvPr>
          <p:cNvSpPr>
            <a:spLocks noGrp="1"/>
          </p:cNvSpPr>
          <p:nvPr>
            <p:ph type="body" sz="quarter" idx="17" hasCustomPrompt="1"/>
          </p:nvPr>
        </p:nvSpPr>
        <p:spPr>
          <a:xfrm>
            <a:off x="8626003" y="1042582"/>
            <a:ext cx="3085515" cy="1482935"/>
          </a:xfrm>
          <a:prstGeom prst="rect">
            <a:avLst/>
          </a:prstGeom>
        </p:spPr>
        <p:txBody>
          <a:bodyPr/>
          <a:lstStyle>
            <a:lvl1pPr marL="0" marR="0" indent="0" algn="l" defTabSz="914368" rtl="0" eaLnBrk="1" fontAlgn="auto" latinLnBrk="0" hangingPunct="1">
              <a:lnSpc>
                <a:spcPct val="120000"/>
              </a:lnSpc>
              <a:spcBef>
                <a:spcPts val="1000"/>
              </a:spcBef>
              <a:spcAft>
                <a:spcPts val="0"/>
              </a:spcAft>
              <a:buClrTx/>
              <a:buSzTx/>
              <a:buFontTx/>
              <a:buNone/>
              <a:tabLst/>
              <a:defRPr sz="2667" b="0" i="0">
                <a:solidFill>
                  <a:srgbClr val="003863"/>
                </a:solidFill>
                <a:latin typeface="RBC Text" panose="02000000000000000000" pitchFamily="2" charset="77"/>
              </a:defRPr>
            </a:lvl1pPr>
          </a:lstStyle>
          <a:p>
            <a:pPr marL="0" marR="0" lvl="0" indent="0" algn="l" defTabSz="914368" rtl="0" eaLnBrk="1" fontAlgn="auto" latinLnBrk="0" hangingPunct="1">
              <a:lnSpc>
                <a:spcPct val="90000"/>
              </a:lnSpc>
              <a:spcBef>
                <a:spcPts val="1000"/>
              </a:spcBef>
              <a:spcAft>
                <a:spcPts val="0"/>
              </a:spcAft>
              <a:buClrTx/>
              <a:buSzTx/>
              <a:buFontTx/>
              <a:buNone/>
              <a:tabLst/>
              <a:defRPr/>
            </a:pPr>
            <a:r>
              <a:rPr lang="en-US" dirty="0"/>
              <a:t>Click to edit Master text styles. </a:t>
            </a:r>
          </a:p>
        </p:txBody>
      </p:sp>
      <p:pic>
        <p:nvPicPr>
          <p:cNvPr id="4" name="Picture 3" descr="A blue text on a black background&#10;&#10;Description automatically generated">
            <a:extLst>
              <a:ext uri="{FF2B5EF4-FFF2-40B4-BE49-F238E27FC236}">
                <a16:creationId xmlns:a16="http://schemas.microsoft.com/office/drawing/2014/main" id="{16BE1207-414E-C6AE-834E-2C0D1845AD84}"/>
              </a:ext>
            </a:extLst>
          </p:cNvPr>
          <p:cNvPicPr>
            <a:picLocks noChangeAspect="1"/>
          </p:cNvPicPr>
          <p:nvPr userDrawn="1"/>
        </p:nvPicPr>
        <p:blipFill>
          <a:blip r:embed="rId4"/>
          <a:stretch>
            <a:fillRect/>
          </a:stretch>
        </p:blipFill>
        <p:spPr>
          <a:xfrm>
            <a:off x="8634881" y="5471599"/>
            <a:ext cx="2742833" cy="1104236"/>
          </a:xfrm>
          <a:prstGeom prst="rect">
            <a:avLst/>
          </a:prstGeom>
        </p:spPr>
      </p:pic>
      <p:grpSp>
        <p:nvGrpSpPr>
          <p:cNvPr id="12" name="Group 11">
            <a:extLst>
              <a:ext uri="{FF2B5EF4-FFF2-40B4-BE49-F238E27FC236}">
                <a16:creationId xmlns:a16="http://schemas.microsoft.com/office/drawing/2014/main" id="{0BD22F48-A34E-27C9-739A-D2E20D7C78CF}"/>
              </a:ext>
            </a:extLst>
          </p:cNvPr>
          <p:cNvGrpSpPr/>
          <p:nvPr userDrawn="1"/>
        </p:nvGrpSpPr>
        <p:grpSpPr>
          <a:xfrm>
            <a:off x="2126069" y="5880305"/>
            <a:ext cx="1409930" cy="678980"/>
            <a:chOff x="11096216" y="312988"/>
            <a:chExt cx="710177" cy="342000"/>
          </a:xfrm>
        </p:grpSpPr>
        <p:pic>
          <p:nvPicPr>
            <p:cNvPr id="14" name="Picture 13" descr="A logo of a person playing golf&#10;&#10;Description automatically generated">
              <a:extLst>
                <a:ext uri="{FF2B5EF4-FFF2-40B4-BE49-F238E27FC236}">
                  <a16:creationId xmlns:a16="http://schemas.microsoft.com/office/drawing/2014/main" id="{8499B25C-296C-6556-2EA2-42DE9D36BDDB}"/>
                </a:ext>
              </a:extLst>
            </p:cNvPr>
            <p:cNvPicPr>
              <a:picLocks noChangeAspect="1"/>
            </p:cNvPicPr>
            <p:nvPr userDrawn="1"/>
          </p:nvPicPr>
          <p:blipFill>
            <a:blip r:embed="rId5"/>
            <a:stretch>
              <a:fillRect/>
            </a:stretch>
          </p:blipFill>
          <p:spPr>
            <a:xfrm>
              <a:off x="11096216" y="312988"/>
              <a:ext cx="301511" cy="342000"/>
            </a:xfrm>
            <a:prstGeom prst="rect">
              <a:avLst/>
            </a:prstGeom>
          </p:spPr>
        </p:pic>
        <p:pic>
          <p:nvPicPr>
            <p:cNvPr id="15" name="Picture 14" descr="A picture containing drawing&#10;&#10;Description automatically generated">
              <a:extLst>
                <a:ext uri="{FF2B5EF4-FFF2-40B4-BE49-F238E27FC236}">
                  <a16:creationId xmlns:a16="http://schemas.microsoft.com/office/drawing/2014/main" id="{2652C7B2-4099-009A-1AD0-51D264140666}"/>
                </a:ext>
              </a:extLst>
            </p:cNvPr>
            <p:cNvPicPr>
              <a:picLocks noChangeAspect="1"/>
            </p:cNvPicPr>
            <p:nvPr userDrawn="1"/>
          </p:nvPicPr>
          <p:blipFill>
            <a:blip r:embed="rId3"/>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10403461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3_Custom Layout">
    <p:spTree>
      <p:nvGrpSpPr>
        <p:cNvPr id="1" name=""/>
        <p:cNvGrpSpPr/>
        <p:nvPr/>
      </p:nvGrpSpPr>
      <p:grpSpPr>
        <a:xfrm>
          <a:off x="0" y="0"/>
          <a:ext cx="0" cy="0"/>
          <a:chOff x="0" y="0"/>
          <a:chExt cx="0" cy="0"/>
        </a:xfrm>
      </p:grpSpPr>
      <p:sp>
        <p:nvSpPr>
          <p:cNvPr id="10" name="Picture Placeholder 29"/>
          <p:cNvSpPr>
            <a:spLocks noGrp="1"/>
          </p:cNvSpPr>
          <p:nvPr>
            <p:ph type="pic" sz="quarter" idx="14"/>
          </p:nvPr>
        </p:nvSpPr>
        <p:spPr>
          <a:xfrm>
            <a:off x="-34725" y="2511706"/>
            <a:ext cx="4085865" cy="273162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1" name="Picture Placeholder 29"/>
          <p:cNvSpPr>
            <a:spLocks noGrp="1"/>
          </p:cNvSpPr>
          <p:nvPr>
            <p:ph type="pic" sz="quarter" idx="15"/>
          </p:nvPr>
        </p:nvSpPr>
        <p:spPr>
          <a:xfrm>
            <a:off x="4051140" y="2511706"/>
            <a:ext cx="4085865" cy="273162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2" name="Picture Placeholder 29"/>
          <p:cNvSpPr>
            <a:spLocks noGrp="1"/>
          </p:cNvSpPr>
          <p:nvPr>
            <p:ph type="pic" sz="quarter" idx="16"/>
          </p:nvPr>
        </p:nvSpPr>
        <p:spPr>
          <a:xfrm>
            <a:off x="8137005" y="2511706"/>
            <a:ext cx="4085865" cy="273162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3" name="Title 8"/>
          <p:cNvSpPr>
            <a:spLocks noGrp="1"/>
          </p:cNvSpPr>
          <p:nvPr>
            <p:ph type="title"/>
          </p:nvPr>
        </p:nvSpPr>
        <p:spPr>
          <a:xfrm>
            <a:off x="913016" y="1304075"/>
            <a:ext cx="3581865" cy="1325563"/>
          </a:xfrm>
          <a:prstGeom prst="rect">
            <a:avLst/>
          </a:prstGeom>
        </p:spPr>
        <p:txBody>
          <a:bodyPr lIns="0" rIns="0" anchor="t">
            <a:noAutofit/>
          </a:bodyPr>
          <a:lstStyle>
            <a:lvl1pPr>
              <a:lnSpc>
                <a:spcPct val="80000"/>
              </a:lnSpc>
              <a:defRPr sz="4000"/>
            </a:lvl1pPr>
          </a:lstStyle>
          <a:p>
            <a:r>
              <a:rPr lang="en-US" dirty="0"/>
              <a:t>Click to edit Master title style</a:t>
            </a:r>
          </a:p>
        </p:txBody>
      </p:sp>
    </p:spTree>
    <p:extLst>
      <p:ext uri="{BB962C8B-B14F-4D97-AF65-F5344CB8AC3E}">
        <p14:creationId xmlns:p14="http://schemas.microsoft.com/office/powerpoint/2010/main" val="17444912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4_Custom Layout">
    <p:spTree>
      <p:nvGrpSpPr>
        <p:cNvPr id="1" name=""/>
        <p:cNvGrpSpPr/>
        <p:nvPr/>
      </p:nvGrpSpPr>
      <p:grpSpPr>
        <a:xfrm>
          <a:off x="0" y="0"/>
          <a:ext cx="0" cy="0"/>
          <a:chOff x="0" y="0"/>
          <a:chExt cx="0" cy="0"/>
        </a:xfrm>
      </p:grpSpPr>
      <p:sp>
        <p:nvSpPr>
          <p:cNvPr id="9" name="Picture Placeholder 29"/>
          <p:cNvSpPr>
            <a:spLocks noGrp="1"/>
          </p:cNvSpPr>
          <p:nvPr>
            <p:ph type="pic" sz="quarter" idx="15"/>
          </p:nvPr>
        </p:nvSpPr>
        <p:spPr>
          <a:xfrm>
            <a:off x="4837708" y="0"/>
            <a:ext cx="3577088" cy="228997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0" name="Picture Placeholder 29"/>
          <p:cNvSpPr>
            <a:spLocks noGrp="1"/>
          </p:cNvSpPr>
          <p:nvPr>
            <p:ph type="pic" sz="quarter" idx="16"/>
          </p:nvPr>
        </p:nvSpPr>
        <p:spPr>
          <a:xfrm>
            <a:off x="4837708" y="2289977"/>
            <a:ext cx="3577088" cy="228997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1" name="Picture Placeholder 29"/>
          <p:cNvSpPr>
            <a:spLocks noGrp="1"/>
          </p:cNvSpPr>
          <p:nvPr>
            <p:ph type="pic" sz="quarter" idx="17"/>
          </p:nvPr>
        </p:nvSpPr>
        <p:spPr>
          <a:xfrm>
            <a:off x="4837708" y="4579954"/>
            <a:ext cx="3577088" cy="228997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2"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
        <p:nvSpPr>
          <p:cNvPr id="13" name="Rectangle 12"/>
          <p:cNvSpPr/>
          <p:nvPr userDrawn="1"/>
        </p:nvSpPr>
        <p:spPr>
          <a:xfrm>
            <a:off x="8414795" y="1"/>
            <a:ext cx="380291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BC Text" panose="02000000000000000000" pitchFamily="2" charset="77"/>
            </a:endParaRPr>
          </a:p>
        </p:txBody>
      </p:sp>
      <p:pic>
        <p:nvPicPr>
          <p:cNvPr id="2" name="Picture 1" descr="A picture containing drawing&#10;&#10;Description automatically generated">
            <a:extLst>
              <a:ext uri="{FF2B5EF4-FFF2-40B4-BE49-F238E27FC236}">
                <a16:creationId xmlns:a16="http://schemas.microsoft.com/office/drawing/2014/main" id="{1370E0F0-3BDF-3F94-B06E-2B1BF7D9DEC8}"/>
              </a:ext>
            </a:extLst>
          </p:cNvPr>
          <p:cNvPicPr>
            <a:picLocks noChangeAspect="1"/>
          </p:cNvPicPr>
          <p:nvPr userDrawn="1"/>
        </p:nvPicPr>
        <p:blipFill>
          <a:blip r:embed="rId2"/>
          <a:srcRect r="50898"/>
          <a:stretch/>
        </p:blipFill>
        <p:spPr>
          <a:xfrm>
            <a:off x="2018751" y="6120056"/>
            <a:ext cx="1063597" cy="408879"/>
          </a:xfrm>
          <a:prstGeom prst="rect">
            <a:avLst/>
          </a:prstGeom>
        </p:spPr>
      </p:pic>
      <p:pic>
        <p:nvPicPr>
          <p:cNvPr id="3" name="Picture 2" descr="A blue text on a black background&#10;&#10;Description automatically generated">
            <a:extLst>
              <a:ext uri="{FF2B5EF4-FFF2-40B4-BE49-F238E27FC236}">
                <a16:creationId xmlns:a16="http://schemas.microsoft.com/office/drawing/2014/main" id="{4DBAB9FA-3A51-C086-78A4-D433762753A6}"/>
              </a:ext>
            </a:extLst>
          </p:cNvPr>
          <p:cNvPicPr>
            <a:picLocks noChangeAspect="1"/>
          </p:cNvPicPr>
          <p:nvPr userDrawn="1"/>
        </p:nvPicPr>
        <p:blipFill>
          <a:blip r:embed="rId3"/>
          <a:stretch>
            <a:fillRect/>
          </a:stretch>
        </p:blipFill>
        <p:spPr>
          <a:xfrm>
            <a:off x="411219" y="6081958"/>
            <a:ext cx="1247142" cy="502087"/>
          </a:xfrm>
          <a:prstGeom prst="rect">
            <a:avLst/>
          </a:prstGeom>
        </p:spPr>
      </p:pic>
      <p:grpSp>
        <p:nvGrpSpPr>
          <p:cNvPr id="4" name="Group 3">
            <a:extLst>
              <a:ext uri="{FF2B5EF4-FFF2-40B4-BE49-F238E27FC236}">
                <a16:creationId xmlns:a16="http://schemas.microsoft.com/office/drawing/2014/main" id="{B8FD1097-B0F6-A7BA-07A5-6CC9FF444A2B}"/>
              </a:ext>
            </a:extLst>
          </p:cNvPr>
          <p:cNvGrpSpPr/>
          <p:nvPr userDrawn="1"/>
        </p:nvGrpSpPr>
        <p:grpSpPr>
          <a:xfrm>
            <a:off x="3194563" y="6081958"/>
            <a:ext cx="990271" cy="476885"/>
            <a:chOff x="11096216" y="312988"/>
            <a:chExt cx="710177" cy="342000"/>
          </a:xfrm>
        </p:grpSpPr>
        <p:pic>
          <p:nvPicPr>
            <p:cNvPr id="5" name="Picture 4" descr="A logo of a person playing golf&#10;&#10;Description automatically generated">
              <a:extLst>
                <a:ext uri="{FF2B5EF4-FFF2-40B4-BE49-F238E27FC236}">
                  <a16:creationId xmlns:a16="http://schemas.microsoft.com/office/drawing/2014/main" id="{6D02589D-C9D8-1220-9C5D-FB93DC5E4A7A}"/>
                </a:ext>
              </a:extLst>
            </p:cNvPr>
            <p:cNvPicPr>
              <a:picLocks noChangeAspect="1"/>
            </p:cNvPicPr>
            <p:nvPr userDrawn="1"/>
          </p:nvPicPr>
          <p:blipFill>
            <a:blip r:embed="rId4"/>
            <a:stretch>
              <a:fillRect/>
            </a:stretch>
          </p:blipFill>
          <p:spPr>
            <a:xfrm>
              <a:off x="11096216" y="312988"/>
              <a:ext cx="301511" cy="342000"/>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673AB656-609E-48CE-E13E-8E94B55951E1}"/>
                </a:ext>
              </a:extLst>
            </p:cNvPr>
            <p:cNvPicPr>
              <a:picLocks noChangeAspect="1"/>
            </p:cNvPicPr>
            <p:nvPr userDrawn="1"/>
          </p:nvPicPr>
          <p:blipFill>
            <a:blip r:embed="rId2"/>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4956557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1_Title Slide">
    <p:spTree>
      <p:nvGrpSpPr>
        <p:cNvPr id="1" name=""/>
        <p:cNvGrpSpPr/>
        <p:nvPr/>
      </p:nvGrpSpPr>
      <p:grpSpPr>
        <a:xfrm>
          <a:off x="0" y="0"/>
          <a:ext cx="0" cy="0"/>
          <a:chOff x="0" y="0"/>
          <a:chExt cx="0" cy="0"/>
        </a:xfrm>
      </p:grpSpPr>
      <p:sp>
        <p:nvSpPr>
          <p:cNvPr id="4" name="Picture Placeholder 8"/>
          <p:cNvSpPr>
            <a:spLocks noGrp="1"/>
          </p:cNvSpPr>
          <p:nvPr>
            <p:ph type="pic" sz="quarter" idx="13"/>
          </p:nvPr>
        </p:nvSpPr>
        <p:spPr>
          <a:xfrm>
            <a:off x="4813619" y="2135303"/>
            <a:ext cx="2564762" cy="2564762"/>
          </a:xfrm>
          <a:prstGeom prst="ellipse">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Tree>
    <p:extLst>
      <p:ext uri="{BB962C8B-B14F-4D97-AF65-F5344CB8AC3E}">
        <p14:creationId xmlns:p14="http://schemas.microsoft.com/office/powerpoint/2010/main" val="13682906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8_Title Slide">
    <p:spTree>
      <p:nvGrpSpPr>
        <p:cNvPr id="1" name=""/>
        <p:cNvGrpSpPr/>
        <p:nvPr/>
      </p:nvGrpSpPr>
      <p:grpSpPr>
        <a:xfrm>
          <a:off x="0" y="0"/>
          <a:ext cx="0" cy="0"/>
          <a:chOff x="0" y="0"/>
          <a:chExt cx="0" cy="0"/>
        </a:xfrm>
      </p:grpSpPr>
      <p:sp>
        <p:nvSpPr>
          <p:cNvPr id="5" name="Picture Placeholder 29"/>
          <p:cNvSpPr>
            <a:spLocks noGrp="1"/>
          </p:cNvSpPr>
          <p:nvPr>
            <p:ph type="pic" sz="quarter" idx="12"/>
          </p:nvPr>
        </p:nvSpPr>
        <p:spPr>
          <a:xfrm>
            <a:off x="0" y="0"/>
            <a:ext cx="6096000" cy="34290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Picture Placeholder 29"/>
          <p:cNvSpPr>
            <a:spLocks noGrp="1"/>
          </p:cNvSpPr>
          <p:nvPr>
            <p:ph type="pic" sz="quarter" idx="13"/>
          </p:nvPr>
        </p:nvSpPr>
        <p:spPr>
          <a:xfrm>
            <a:off x="6096000" y="0"/>
            <a:ext cx="6096000" cy="34290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60290731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9_Title Slide">
    <p:spTree>
      <p:nvGrpSpPr>
        <p:cNvPr id="1" name=""/>
        <p:cNvGrpSpPr/>
        <p:nvPr/>
      </p:nvGrpSpPr>
      <p:grpSpPr>
        <a:xfrm>
          <a:off x="0" y="0"/>
          <a:ext cx="0" cy="0"/>
          <a:chOff x="0" y="0"/>
          <a:chExt cx="0" cy="0"/>
        </a:xfrm>
      </p:grpSpPr>
      <p:sp>
        <p:nvSpPr>
          <p:cNvPr id="5" name="Picture Placeholder 29"/>
          <p:cNvSpPr>
            <a:spLocks noGrp="1"/>
          </p:cNvSpPr>
          <p:nvPr>
            <p:ph type="pic" sz="quarter" idx="12"/>
          </p:nvPr>
        </p:nvSpPr>
        <p:spPr>
          <a:xfrm>
            <a:off x="1" y="0"/>
            <a:ext cx="6096000" cy="34290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Picture Placeholder 29"/>
          <p:cNvSpPr>
            <a:spLocks noGrp="1"/>
          </p:cNvSpPr>
          <p:nvPr>
            <p:ph type="pic" sz="quarter" idx="13"/>
          </p:nvPr>
        </p:nvSpPr>
        <p:spPr>
          <a:xfrm>
            <a:off x="1" y="3429000"/>
            <a:ext cx="6096000" cy="34290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1953102871"/>
      </p:ext>
    </p:extLst>
  </p:cSld>
  <p:clrMapOvr>
    <a:masterClrMapping/>
  </p:clrMapOvr>
  <p:extLst>
    <p:ext uri="{DCECCB84-F9BA-43D5-87BE-67443E8EF086}">
      <p15:sldGuideLst xmlns:p15="http://schemas.microsoft.com/office/powerpoint/2012/main">
        <p15:guide id="4" pos="655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0_Title Slide">
    <p:spTree>
      <p:nvGrpSpPr>
        <p:cNvPr id="1" name=""/>
        <p:cNvGrpSpPr/>
        <p:nvPr/>
      </p:nvGrpSpPr>
      <p:grpSpPr>
        <a:xfrm>
          <a:off x="0" y="0"/>
          <a:ext cx="0" cy="0"/>
          <a:chOff x="0" y="0"/>
          <a:chExt cx="0" cy="0"/>
        </a:xfrm>
      </p:grpSpPr>
      <p:sp>
        <p:nvSpPr>
          <p:cNvPr id="5" name="Picture Placeholder 29"/>
          <p:cNvSpPr>
            <a:spLocks noGrp="1"/>
          </p:cNvSpPr>
          <p:nvPr>
            <p:ph type="pic" sz="quarter" idx="12"/>
          </p:nvPr>
        </p:nvSpPr>
        <p:spPr>
          <a:xfrm>
            <a:off x="6096000" y="0"/>
            <a:ext cx="6096000" cy="34290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Picture Placeholder 29"/>
          <p:cNvSpPr>
            <a:spLocks noGrp="1"/>
          </p:cNvSpPr>
          <p:nvPr>
            <p:ph type="pic" sz="quarter" idx="13"/>
          </p:nvPr>
        </p:nvSpPr>
        <p:spPr>
          <a:xfrm>
            <a:off x="6096000" y="3429000"/>
            <a:ext cx="6096000" cy="34290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329580984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899711" y="3283025"/>
            <a:ext cx="1788405" cy="178840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5" name="Picture Placeholder 29"/>
          <p:cNvSpPr>
            <a:spLocks noGrp="1"/>
          </p:cNvSpPr>
          <p:nvPr>
            <p:ph type="pic" sz="quarter" idx="13"/>
          </p:nvPr>
        </p:nvSpPr>
        <p:spPr>
          <a:xfrm>
            <a:off x="2688116" y="3283025"/>
            <a:ext cx="1788405" cy="178840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Picture Placeholder 29"/>
          <p:cNvSpPr>
            <a:spLocks noGrp="1"/>
          </p:cNvSpPr>
          <p:nvPr>
            <p:ph type="pic" sz="quarter" idx="14"/>
          </p:nvPr>
        </p:nvSpPr>
        <p:spPr>
          <a:xfrm>
            <a:off x="2688116" y="1494620"/>
            <a:ext cx="1788405" cy="178840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7" name="Picture Placeholder 29"/>
          <p:cNvSpPr>
            <a:spLocks noGrp="1"/>
          </p:cNvSpPr>
          <p:nvPr>
            <p:ph type="pic" sz="quarter" idx="15"/>
          </p:nvPr>
        </p:nvSpPr>
        <p:spPr>
          <a:xfrm>
            <a:off x="2688116" y="5071430"/>
            <a:ext cx="1788405" cy="178840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8" name="Picture Placeholder 29"/>
          <p:cNvSpPr>
            <a:spLocks noGrp="1"/>
          </p:cNvSpPr>
          <p:nvPr>
            <p:ph type="pic" sz="quarter" idx="16"/>
          </p:nvPr>
        </p:nvSpPr>
        <p:spPr>
          <a:xfrm>
            <a:off x="4476521" y="1494620"/>
            <a:ext cx="1788405" cy="178840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9" name="Picture Placeholder 29"/>
          <p:cNvSpPr>
            <a:spLocks noGrp="1"/>
          </p:cNvSpPr>
          <p:nvPr>
            <p:ph type="pic" sz="quarter" idx="17"/>
          </p:nvPr>
        </p:nvSpPr>
        <p:spPr>
          <a:xfrm>
            <a:off x="6264926" y="1494620"/>
            <a:ext cx="1788405" cy="178840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1" name="Picture Placeholder 29"/>
          <p:cNvSpPr>
            <a:spLocks noGrp="1"/>
          </p:cNvSpPr>
          <p:nvPr>
            <p:ph type="pic" sz="quarter" idx="18"/>
          </p:nvPr>
        </p:nvSpPr>
        <p:spPr>
          <a:xfrm>
            <a:off x="4476521" y="5071430"/>
            <a:ext cx="1788405" cy="178840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2" name="Picture Placeholder 29"/>
          <p:cNvSpPr>
            <a:spLocks noGrp="1"/>
          </p:cNvSpPr>
          <p:nvPr>
            <p:ph type="pic" sz="quarter" idx="19"/>
          </p:nvPr>
        </p:nvSpPr>
        <p:spPr>
          <a:xfrm>
            <a:off x="6264926" y="5071430"/>
            <a:ext cx="1788405" cy="178840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3" name="Picture Placeholder 29"/>
          <p:cNvSpPr>
            <a:spLocks noGrp="1"/>
          </p:cNvSpPr>
          <p:nvPr>
            <p:ph type="pic" sz="quarter" idx="20"/>
          </p:nvPr>
        </p:nvSpPr>
        <p:spPr>
          <a:xfrm>
            <a:off x="8053331" y="3283025"/>
            <a:ext cx="1788405" cy="178840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4" name="Picture Placeholder 29"/>
          <p:cNvSpPr>
            <a:spLocks noGrp="1"/>
          </p:cNvSpPr>
          <p:nvPr>
            <p:ph type="pic" sz="quarter" idx="21"/>
          </p:nvPr>
        </p:nvSpPr>
        <p:spPr>
          <a:xfrm>
            <a:off x="9841736" y="1494620"/>
            <a:ext cx="1788405" cy="178840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5" name="Rectangle 14"/>
          <p:cNvSpPr/>
          <p:nvPr userDrawn="1"/>
        </p:nvSpPr>
        <p:spPr>
          <a:xfrm>
            <a:off x="4476521" y="0"/>
            <a:ext cx="3576810" cy="14946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RBC Text" panose="02000000000000000000" pitchFamily="2" charset="77"/>
            </a:endParaRPr>
          </a:p>
        </p:txBody>
      </p:sp>
    </p:spTree>
    <p:extLst>
      <p:ext uri="{BB962C8B-B14F-4D97-AF65-F5344CB8AC3E}">
        <p14:creationId xmlns:p14="http://schemas.microsoft.com/office/powerpoint/2010/main" val="233675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11017" y="2445743"/>
            <a:ext cx="2038122" cy="2038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5" name="Picture Placeholder 29"/>
          <p:cNvSpPr>
            <a:spLocks noGrp="1"/>
          </p:cNvSpPr>
          <p:nvPr>
            <p:ph type="pic" sz="quarter" idx="13"/>
          </p:nvPr>
        </p:nvSpPr>
        <p:spPr>
          <a:xfrm>
            <a:off x="2027105" y="2445743"/>
            <a:ext cx="2038122" cy="2038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Picture Placeholder 29"/>
          <p:cNvSpPr>
            <a:spLocks noGrp="1"/>
          </p:cNvSpPr>
          <p:nvPr>
            <p:ph type="pic" sz="quarter" idx="14"/>
          </p:nvPr>
        </p:nvSpPr>
        <p:spPr>
          <a:xfrm>
            <a:off x="4065227" y="2445743"/>
            <a:ext cx="2038122" cy="2038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7" name="Picture Placeholder 29"/>
          <p:cNvSpPr>
            <a:spLocks noGrp="1"/>
          </p:cNvSpPr>
          <p:nvPr>
            <p:ph type="pic" sz="quarter" idx="15"/>
          </p:nvPr>
        </p:nvSpPr>
        <p:spPr>
          <a:xfrm>
            <a:off x="6103349" y="3029637"/>
            <a:ext cx="2038122" cy="2038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8" name="Picture Placeholder 29"/>
          <p:cNvSpPr>
            <a:spLocks noGrp="1"/>
          </p:cNvSpPr>
          <p:nvPr>
            <p:ph type="pic" sz="quarter" idx="16"/>
          </p:nvPr>
        </p:nvSpPr>
        <p:spPr>
          <a:xfrm>
            <a:off x="8141471" y="2445743"/>
            <a:ext cx="2038122" cy="2038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9" name="Picture Placeholder 29"/>
          <p:cNvSpPr>
            <a:spLocks noGrp="1"/>
          </p:cNvSpPr>
          <p:nvPr>
            <p:ph type="pic" sz="quarter" idx="17"/>
          </p:nvPr>
        </p:nvSpPr>
        <p:spPr>
          <a:xfrm>
            <a:off x="10179593" y="2445743"/>
            <a:ext cx="2038122" cy="2038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0" name="Rectangle 9"/>
          <p:cNvSpPr/>
          <p:nvPr userDrawn="1"/>
        </p:nvSpPr>
        <p:spPr>
          <a:xfrm>
            <a:off x="-11017" y="4483865"/>
            <a:ext cx="12228732" cy="237413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BC Text" panose="02000000000000000000" pitchFamily="2" charset="77"/>
            </a:endParaRPr>
          </a:p>
        </p:txBody>
      </p:sp>
      <p:sp>
        <p:nvSpPr>
          <p:cNvPr id="11" name="Title 8"/>
          <p:cNvSpPr>
            <a:spLocks noGrp="1"/>
          </p:cNvSpPr>
          <p:nvPr>
            <p:ph type="title"/>
          </p:nvPr>
        </p:nvSpPr>
        <p:spPr>
          <a:xfrm>
            <a:off x="913016" y="1639741"/>
            <a:ext cx="3581865" cy="1325563"/>
          </a:xfrm>
          <a:prstGeom prst="rect">
            <a:avLst/>
          </a:prstGeom>
        </p:spPr>
        <p:txBody>
          <a:bodyPr lIns="0" rIns="0" anchor="t">
            <a:noAutofit/>
          </a:bodyPr>
          <a:lstStyle>
            <a:lvl1pPr>
              <a:lnSpc>
                <a:spcPct val="80000"/>
              </a:lnSpc>
              <a:defRPr sz="4000"/>
            </a:lvl1pPr>
          </a:lstStyle>
          <a:p>
            <a:r>
              <a:rPr lang="en-US" dirty="0"/>
              <a:t>Click to edit Master title style</a:t>
            </a:r>
          </a:p>
        </p:txBody>
      </p:sp>
      <p:sp>
        <p:nvSpPr>
          <p:cNvPr id="12" name="Rectangle 11"/>
          <p:cNvSpPr/>
          <p:nvPr userDrawn="1"/>
        </p:nvSpPr>
        <p:spPr>
          <a:xfrm>
            <a:off x="6103349" y="11018"/>
            <a:ext cx="2038122" cy="30186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RBC Text" panose="02000000000000000000" pitchFamily="2" charset="77"/>
            </a:endParaRPr>
          </a:p>
        </p:txBody>
      </p:sp>
    </p:spTree>
    <p:extLst>
      <p:ext uri="{BB962C8B-B14F-4D97-AF65-F5344CB8AC3E}">
        <p14:creationId xmlns:p14="http://schemas.microsoft.com/office/powerpoint/2010/main" val="34738014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7017745" y="-1"/>
            <a:ext cx="5174254" cy="424149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5" name="Picture Placeholder 29"/>
          <p:cNvSpPr>
            <a:spLocks noGrp="1"/>
          </p:cNvSpPr>
          <p:nvPr>
            <p:ph type="pic" sz="quarter" idx="13"/>
          </p:nvPr>
        </p:nvSpPr>
        <p:spPr>
          <a:xfrm>
            <a:off x="5684704" y="4241495"/>
            <a:ext cx="6507295" cy="261650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Picture Placeholder 29"/>
          <p:cNvSpPr>
            <a:spLocks noGrp="1"/>
          </p:cNvSpPr>
          <p:nvPr>
            <p:ph type="pic" sz="quarter" idx="14"/>
          </p:nvPr>
        </p:nvSpPr>
        <p:spPr>
          <a:xfrm>
            <a:off x="0" y="3371162"/>
            <a:ext cx="3591499" cy="174066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7"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22000753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0" y="0"/>
            <a:ext cx="12192000" cy="425976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7" name="Title 8"/>
          <p:cNvSpPr>
            <a:spLocks noGrp="1"/>
          </p:cNvSpPr>
          <p:nvPr>
            <p:ph type="title"/>
          </p:nvPr>
        </p:nvSpPr>
        <p:spPr>
          <a:xfrm>
            <a:off x="913016" y="1574779"/>
            <a:ext cx="3581865" cy="1325563"/>
          </a:xfrm>
          <a:prstGeom prst="rect">
            <a:avLst/>
          </a:prstGeom>
        </p:spPr>
        <p:txBody>
          <a:bodyPr lIns="0" rIns="0" anchor="t">
            <a:noAutofit/>
          </a:bodyPr>
          <a:lstStyle>
            <a:lvl1pPr>
              <a:lnSpc>
                <a:spcPct val="80000"/>
              </a:lnSpc>
              <a:defRPr sz="54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427569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499CA93-D15C-9C4B-BFB0-41977F73167A}"/>
              </a:ext>
            </a:extLst>
          </p:cNvPr>
          <p:cNvSpPr>
            <a:spLocks noGrp="1"/>
          </p:cNvSpPr>
          <p:nvPr>
            <p:ph type="body" sz="quarter" idx="10"/>
          </p:nvPr>
        </p:nvSpPr>
        <p:spPr>
          <a:xfrm>
            <a:off x="427405" y="961136"/>
            <a:ext cx="9291025" cy="621481"/>
          </a:xfrm>
          <a:prstGeom prst="rect">
            <a:avLst/>
          </a:prstGeom>
        </p:spPr>
        <p:txBody>
          <a:bodyPr/>
          <a:lstStyle>
            <a:lvl1pPr>
              <a:defRPr sz="3733" spc="67" baseline="0">
                <a:solidFill>
                  <a:srgbClr val="003863"/>
                </a:solidFill>
                <a:latin typeface="RBC Display" panose="02000000000000000000" pitchFamily="2" charset="77"/>
              </a:defRPr>
            </a:lvl1pPr>
          </a:lstStyle>
          <a:p>
            <a:pPr lvl="0"/>
            <a:r>
              <a:rPr lang="en-US" dirty="0"/>
              <a:t>Click to edit Master text styles</a:t>
            </a:r>
          </a:p>
        </p:txBody>
      </p:sp>
      <p:sp>
        <p:nvSpPr>
          <p:cNvPr id="8" name="Text Placeholder 6">
            <a:extLst>
              <a:ext uri="{FF2B5EF4-FFF2-40B4-BE49-F238E27FC236}">
                <a16:creationId xmlns:a16="http://schemas.microsoft.com/office/drawing/2014/main" id="{84C05BFB-6727-DC45-B467-E7B87FC5A727}"/>
              </a:ext>
            </a:extLst>
          </p:cNvPr>
          <p:cNvSpPr>
            <a:spLocks noGrp="1"/>
          </p:cNvSpPr>
          <p:nvPr>
            <p:ph type="body" sz="quarter" idx="11" hasCustomPrompt="1"/>
          </p:nvPr>
        </p:nvSpPr>
        <p:spPr>
          <a:xfrm>
            <a:off x="462576" y="468768"/>
            <a:ext cx="9232409" cy="328405"/>
          </a:xfrm>
          <a:prstGeom prst="rect">
            <a:avLst/>
          </a:prstGeom>
        </p:spPr>
        <p:txBody>
          <a:bodyPr/>
          <a:lstStyle>
            <a:lvl1pPr>
              <a:defRPr sz="1333" spc="133" baseline="0">
                <a:solidFill>
                  <a:srgbClr val="003863"/>
                </a:solidFill>
                <a:latin typeface="RBC Display" panose="02000000000000000000" pitchFamily="2" charset="77"/>
              </a:defRPr>
            </a:lvl1pPr>
          </a:lstStyle>
          <a:p>
            <a:pPr lvl="0"/>
            <a:r>
              <a:rPr lang="en-US" dirty="0"/>
              <a:t>SECTION  /  Title</a:t>
            </a:r>
          </a:p>
        </p:txBody>
      </p:sp>
    </p:spTree>
    <p:extLst>
      <p:ext uri="{BB962C8B-B14F-4D97-AF65-F5344CB8AC3E}">
        <p14:creationId xmlns:p14="http://schemas.microsoft.com/office/powerpoint/2010/main" val="256007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0_Custom Layout">
    <p:spTree>
      <p:nvGrpSpPr>
        <p:cNvPr id="1" name=""/>
        <p:cNvGrpSpPr/>
        <p:nvPr/>
      </p:nvGrpSpPr>
      <p:grpSpPr>
        <a:xfrm>
          <a:off x="0" y="0"/>
          <a:ext cx="0" cy="0"/>
          <a:chOff x="0" y="0"/>
          <a:chExt cx="0" cy="0"/>
        </a:xfrm>
      </p:grpSpPr>
      <p:sp>
        <p:nvSpPr>
          <p:cNvPr id="17" name="Rectangle 16"/>
          <p:cNvSpPr/>
          <p:nvPr userDrawn="1"/>
        </p:nvSpPr>
        <p:spPr>
          <a:xfrm>
            <a:off x="1" y="3472405"/>
            <a:ext cx="12217714" cy="33855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BC Text" panose="02000000000000000000" pitchFamily="2" charset="77"/>
            </a:endParaRPr>
          </a:p>
        </p:txBody>
      </p:sp>
      <p:sp>
        <p:nvSpPr>
          <p:cNvPr id="8" name="Title 8"/>
          <p:cNvSpPr>
            <a:spLocks noGrp="1"/>
          </p:cNvSpPr>
          <p:nvPr>
            <p:ph type="title"/>
          </p:nvPr>
        </p:nvSpPr>
        <p:spPr>
          <a:xfrm>
            <a:off x="913016" y="1350375"/>
            <a:ext cx="3581865" cy="1325563"/>
          </a:xfrm>
          <a:prstGeom prst="rect">
            <a:avLst/>
          </a:prstGeom>
        </p:spPr>
        <p:txBody>
          <a:bodyPr lIns="0" rIns="0" anchor="t">
            <a:noAutofit/>
          </a:bodyPr>
          <a:lstStyle>
            <a:lvl1pPr>
              <a:lnSpc>
                <a:spcPct val="80000"/>
              </a:lnSpc>
              <a:defRPr sz="4000"/>
            </a:lvl1pPr>
          </a:lstStyle>
          <a:p>
            <a:r>
              <a:rPr lang="en-US" dirty="0"/>
              <a:t>Click to edit Master title style</a:t>
            </a:r>
          </a:p>
        </p:txBody>
      </p:sp>
      <p:sp>
        <p:nvSpPr>
          <p:cNvPr id="9" name="Picture Placeholder 29"/>
          <p:cNvSpPr>
            <a:spLocks noGrp="1"/>
          </p:cNvSpPr>
          <p:nvPr>
            <p:ph type="pic" sz="quarter" idx="16"/>
          </p:nvPr>
        </p:nvSpPr>
        <p:spPr>
          <a:xfrm>
            <a:off x="913016" y="2490742"/>
            <a:ext cx="2627980" cy="296627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1" name="Picture Placeholder 29"/>
          <p:cNvSpPr>
            <a:spLocks noGrp="1"/>
          </p:cNvSpPr>
          <p:nvPr>
            <p:ph type="pic" sz="quarter" idx="17"/>
          </p:nvPr>
        </p:nvSpPr>
        <p:spPr>
          <a:xfrm>
            <a:off x="3578003" y="2490742"/>
            <a:ext cx="2627980" cy="296627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2" name="Picture Placeholder 29"/>
          <p:cNvSpPr>
            <a:spLocks noGrp="1"/>
          </p:cNvSpPr>
          <p:nvPr>
            <p:ph type="pic" sz="quarter" idx="18"/>
          </p:nvPr>
        </p:nvSpPr>
        <p:spPr>
          <a:xfrm>
            <a:off x="6242990" y="2490742"/>
            <a:ext cx="2627980" cy="296627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6" name="Picture Placeholder 29"/>
          <p:cNvSpPr>
            <a:spLocks noGrp="1"/>
          </p:cNvSpPr>
          <p:nvPr>
            <p:ph type="pic" sz="quarter" idx="19"/>
          </p:nvPr>
        </p:nvSpPr>
        <p:spPr>
          <a:xfrm>
            <a:off x="8907978" y="2472021"/>
            <a:ext cx="2627980" cy="296627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14646326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sp>
        <p:nvSpPr>
          <p:cNvPr id="12" name="Picture Placeholder 29"/>
          <p:cNvSpPr>
            <a:spLocks noGrp="1"/>
          </p:cNvSpPr>
          <p:nvPr>
            <p:ph type="pic" sz="quarter" idx="18"/>
          </p:nvPr>
        </p:nvSpPr>
        <p:spPr>
          <a:xfrm>
            <a:off x="9913200" y="0"/>
            <a:ext cx="2278800" cy="22788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5" name="Picture Placeholder 29"/>
          <p:cNvSpPr>
            <a:spLocks noGrp="1"/>
          </p:cNvSpPr>
          <p:nvPr>
            <p:ph type="pic" sz="quarter" idx="19"/>
          </p:nvPr>
        </p:nvSpPr>
        <p:spPr>
          <a:xfrm>
            <a:off x="9913200" y="2289599"/>
            <a:ext cx="2278800" cy="22788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6" name="Picture Placeholder 29"/>
          <p:cNvSpPr>
            <a:spLocks noGrp="1"/>
          </p:cNvSpPr>
          <p:nvPr>
            <p:ph type="pic" sz="quarter" idx="20"/>
          </p:nvPr>
        </p:nvSpPr>
        <p:spPr>
          <a:xfrm>
            <a:off x="9913200" y="4579200"/>
            <a:ext cx="2278800" cy="22788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8" name="Picture Placeholder 29"/>
          <p:cNvSpPr>
            <a:spLocks noGrp="1"/>
          </p:cNvSpPr>
          <p:nvPr>
            <p:ph type="pic" sz="quarter" idx="22"/>
          </p:nvPr>
        </p:nvSpPr>
        <p:spPr>
          <a:xfrm>
            <a:off x="7622825" y="2289599"/>
            <a:ext cx="2278800" cy="22788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9" name="Picture Placeholder 29"/>
          <p:cNvSpPr>
            <a:spLocks noGrp="1"/>
          </p:cNvSpPr>
          <p:nvPr>
            <p:ph type="pic" sz="quarter" idx="23"/>
          </p:nvPr>
        </p:nvSpPr>
        <p:spPr>
          <a:xfrm>
            <a:off x="5332450" y="2289599"/>
            <a:ext cx="2278800" cy="22788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20" name="Picture Placeholder 29"/>
          <p:cNvSpPr>
            <a:spLocks noGrp="1"/>
          </p:cNvSpPr>
          <p:nvPr>
            <p:ph type="pic" sz="quarter" idx="24"/>
          </p:nvPr>
        </p:nvSpPr>
        <p:spPr>
          <a:xfrm>
            <a:off x="7622825" y="4579200"/>
            <a:ext cx="2278800" cy="2278800"/>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21"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32136136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7_Custom Layout">
    <p:spTree>
      <p:nvGrpSpPr>
        <p:cNvPr id="1" name=""/>
        <p:cNvGrpSpPr/>
        <p:nvPr/>
      </p:nvGrpSpPr>
      <p:grpSpPr>
        <a:xfrm>
          <a:off x="0" y="0"/>
          <a:ext cx="0" cy="0"/>
          <a:chOff x="0" y="0"/>
          <a:chExt cx="0" cy="0"/>
        </a:xfrm>
      </p:grpSpPr>
      <p:sp>
        <p:nvSpPr>
          <p:cNvPr id="11" name="Title 8"/>
          <p:cNvSpPr>
            <a:spLocks noGrp="1"/>
          </p:cNvSpPr>
          <p:nvPr>
            <p:ph type="title"/>
          </p:nvPr>
        </p:nvSpPr>
        <p:spPr>
          <a:xfrm>
            <a:off x="913016" y="451363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
        <p:nvSpPr>
          <p:cNvPr id="12" name="Picture Placeholder 29"/>
          <p:cNvSpPr>
            <a:spLocks noGrp="1"/>
          </p:cNvSpPr>
          <p:nvPr>
            <p:ph type="pic" sz="quarter" idx="23"/>
          </p:nvPr>
        </p:nvSpPr>
        <p:spPr>
          <a:xfrm>
            <a:off x="913016" y="1181101"/>
            <a:ext cx="2187132" cy="218713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3" name="Picture Placeholder 29"/>
          <p:cNvSpPr>
            <a:spLocks noGrp="1"/>
          </p:cNvSpPr>
          <p:nvPr>
            <p:ph type="pic" sz="quarter" idx="24"/>
          </p:nvPr>
        </p:nvSpPr>
        <p:spPr>
          <a:xfrm>
            <a:off x="3186028" y="1181101"/>
            <a:ext cx="2187132" cy="218713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4" name="Picture Placeholder 29"/>
          <p:cNvSpPr>
            <a:spLocks noGrp="1"/>
          </p:cNvSpPr>
          <p:nvPr>
            <p:ph type="pic" sz="quarter" idx="25"/>
          </p:nvPr>
        </p:nvSpPr>
        <p:spPr>
          <a:xfrm>
            <a:off x="5459040" y="1181101"/>
            <a:ext cx="2187132" cy="218713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5" name="Picture Placeholder 29"/>
          <p:cNvSpPr>
            <a:spLocks noGrp="1"/>
          </p:cNvSpPr>
          <p:nvPr>
            <p:ph type="pic" sz="quarter" idx="26"/>
          </p:nvPr>
        </p:nvSpPr>
        <p:spPr>
          <a:xfrm>
            <a:off x="7732052" y="1181101"/>
            <a:ext cx="2187132" cy="218713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6" name="Picture Placeholder 29"/>
          <p:cNvSpPr>
            <a:spLocks noGrp="1"/>
          </p:cNvSpPr>
          <p:nvPr>
            <p:ph type="pic" sz="quarter" idx="27"/>
          </p:nvPr>
        </p:nvSpPr>
        <p:spPr>
          <a:xfrm>
            <a:off x="10005066" y="1181101"/>
            <a:ext cx="2187132" cy="218713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9422044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80_Custom Layout">
    <p:spTree>
      <p:nvGrpSpPr>
        <p:cNvPr id="1" name=""/>
        <p:cNvGrpSpPr/>
        <p:nvPr/>
      </p:nvGrpSpPr>
      <p:grpSpPr>
        <a:xfrm>
          <a:off x="0" y="0"/>
          <a:ext cx="0" cy="0"/>
          <a:chOff x="0" y="0"/>
          <a:chExt cx="0" cy="0"/>
        </a:xfrm>
      </p:grpSpPr>
      <p:sp>
        <p:nvSpPr>
          <p:cNvPr id="5" name="Picture Placeholder 12"/>
          <p:cNvSpPr>
            <a:spLocks noGrp="1"/>
          </p:cNvSpPr>
          <p:nvPr>
            <p:ph type="pic" sz="quarter" idx="15"/>
          </p:nvPr>
        </p:nvSpPr>
        <p:spPr>
          <a:xfrm>
            <a:off x="8434697" y="0"/>
            <a:ext cx="2140200" cy="3052616"/>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6" name="Picture Placeholder 12"/>
          <p:cNvSpPr>
            <a:spLocks noGrp="1"/>
          </p:cNvSpPr>
          <p:nvPr>
            <p:ph type="pic" sz="quarter" idx="16"/>
          </p:nvPr>
        </p:nvSpPr>
        <p:spPr>
          <a:xfrm>
            <a:off x="8434697" y="3805384"/>
            <a:ext cx="2140200" cy="3052616"/>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7" name="Picture Placeholder 12"/>
          <p:cNvSpPr>
            <a:spLocks noGrp="1"/>
          </p:cNvSpPr>
          <p:nvPr>
            <p:ph type="pic" sz="quarter" idx="14"/>
          </p:nvPr>
        </p:nvSpPr>
        <p:spPr>
          <a:xfrm>
            <a:off x="7040006" y="1902692"/>
            <a:ext cx="2140200" cy="3052616"/>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9"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18026841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4" name="Picture Placeholder 12"/>
          <p:cNvSpPr>
            <a:spLocks noGrp="1"/>
          </p:cNvSpPr>
          <p:nvPr>
            <p:ph type="pic" sz="quarter" idx="12"/>
          </p:nvPr>
        </p:nvSpPr>
        <p:spPr>
          <a:xfrm>
            <a:off x="914400" y="3232727"/>
            <a:ext cx="2669309" cy="3625273"/>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8" name="Picture Placeholder 12"/>
          <p:cNvSpPr>
            <a:spLocks noGrp="1"/>
          </p:cNvSpPr>
          <p:nvPr>
            <p:ph type="pic" sz="quarter" idx="13"/>
          </p:nvPr>
        </p:nvSpPr>
        <p:spPr>
          <a:xfrm>
            <a:off x="3583709" y="0"/>
            <a:ext cx="2816947" cy="3232727"/>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10" name="Picture Placeholder 12"/>
          <p:cNvSpPr>
            <a:spLocks noGrp="1"/>
          </p:cNvSpPr>
          <p:nvPr>
            <p:ph type="pic" sz="quarter" idx="14"/>
          </p:nvPr>
        </p:nvSpPr>
        <p:spPr>
          <a:xfrm>
            <a:off x="6400655" y="3232727"/>
            <a:ext cx="5791345" cy="3625273"/>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Tree>
    <p:extLst>
      <p:ext uri="{BB962C8B-B14F-4D97-AF65-F5344CB8AC3E}">
        <p14:creationId xmlns:p14="http://schemas.microsoft.com/office/powerpoint/2010/main" val="33646473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4" name="Picture Placeholder 12"/>
          <p:cNvSpPr>
            <a:spLocks noGrp="1"/>
          </p:cNvSpPr>
          <p:nvPr>
            <p:ph type="pic" sz="quarter" idx="12"/>
          </p:nvPr>
        </p:nvSpPr>
        <p:spPr>
          <a:xfrm>
            <a:off x="906462" y="1"/>
            <a:ext cx="2447493" cy="3429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10" name="Picture Placeholder 12"/>
          <p:cNvSpPr>
            <a:spLocks noGrp="1"/>
          </p:cNvSpPr>
          <p:nvPr>
            <p:ph type="pic" sz="quarter" idx="14"/>
          </p:nvPr>
        </p:nvSpPr>
        <p:spPr>
          <a:xfrm>
            <a:off x="6400655" y="1"/>
            <a:ext cx="5791345" cy="6857999"/>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pic>
        <p:nvPicPr>
          <p:cNvPr id="2" name="Picture 1" descr="A picture containing drawing&#10;&#10;Description automatically generated">
            <a:extLst>
              <a:ext uri="{FF2B5EF4-FFF2-40B4-BE49-F238E27FC236}">
                <a16:creationId xmlns:a16="http://schemas.microsoft.com/office/drawing/2014/main" id="{46478B86-2270-51BE-44A5-48E6B06C4089}"/>
              </a:ext>
            </a:extLst>
          </p:cNvPr>
          <p:cNvPicPr>
            <a:picLocks noChangeAspect="1"/>
          </p:cNvPicPr>
          <p:nvPr userDrawn="1"/>
        </p:nvPicPr>
        <p:blipFill>
          <a:blip r:embed="rId2"/>
          <a:srcRect r="50898"/>
          <a:stretch/>
        </p:blipFill>
        <p:spPr>
          <a:xfrm>
            <a:off x="2108228" y="6080997"/>
            <a:ext cx="1063597" cy="408879"/>
          </a:xfrm>
          <a:prstGeom prst="rect">
            <a:avLst/>
          </a:prstGeom>
        </p:spPr>
      </p:pic>
      <p:pic>
        <p:nvPicPr>
          <p:cNvPr id="3" name="Picture 2" descr="A blue text on a black background&#10;&#10;Description automatically generated">
            <a:extLst>
              <a:ext uri="{FF2B5EF4-FFF2-40B4-BE49-F238E27FC236}">
                <a16:creationId xmlns:a16="http://schemas.microsoft.com/office/drawing/2014/main" id="{4DDCC7C8-9202-09F2-27B3-0961D3E04D2C}"/>
              </a:ext>
            </a:extLst>
          </p:cNvPr>
          <p:cNvPicPr>
            <a:picLocks noChangeAspect="1"/>
          </p:cNvPicPr>
          <p:nvPr userDrawn="1"/>
        </p:nvPicPr>
        <p:blipFill>
          <a:blip r:embed="rId3"/>
          <a:stretch>
            <a:fillRect/>
          </a:stretch>
        </p:blipFill>
        <p:spPr>
          <a:xfrm>
            <a:off x="500696" y="6042899"/>
            <a:ext cx="1247142" cy="502087"/>
          </a:xfrm>
          <a:prstGeom prst="rect">
            <a:avLst/>
          </a:prstGeom>
        </p:spPr>
      </p:pic>
      <p:grpSp>
        <p:nvGrpSpPr>
          <p:cNvPr id="5" name="Group 4">
            <a:extLst>
              <a:ext uri="{FF2B5EF4-FFF2-40B4-BE49-F238E27FC236}">
                <a16:creationId xmlns:a16="http://schemas.microsoft.com/office/drawing/2014/main" id="{8F701F52-2C3C-A320-95A9-9973B6458122}"/>
              </a:ext>
            </a:extLst>
          </p:cNvPr>
          <p:cNvGrpSpPr/>
          <p:nvPr userDrawn="1"/>
        </p:nvGrpSpPr>
        <p:grpSpPr>
          <a:xfrm>
            <a:off x="3284040" y="6042899"/>
            <a:ext cx="990271" cy="476885"/>
            <a:chOff x="11096216" y="312988"/>
            <a:chExt cx="710177" cy="342000"/>
          </a:xfrm>
        </p:grpSpPr>
        <p:pic>
          <p:nvPicPr>
            <p:cNvPr id="6" name="Picture 5" descr="A logo of a person playing golf&#10;&#10;Description automatically generated">
              <a:extLst>
                <a:ext uri="{FF2B5EF4-FFF2-40B4-BE49-F238E27FC236}">
                  <a16:creationId xmlns:a16="http://schemas.microsoft.com/office/drawing/2014/main" id="{FFC6E156-287D-B030-1E61-513BFB49CE10}"/>
                </a:ext>
              </a:extLst>
            </p:cNvPr>
            <p:cNvPicPr>
              <a:picLocks noChangeAspect="1"/>
            </p:cNvPicPr>
            <p:nvPr userDrawn="1"/>
          </p:nvPicPr>
          <p:blipFill>
            <a:blip r:embed="rId4"/>
            <a:stretch>
              <a:fillRect/>
            </a:stretch>
          </p:blipFill>
          <p:spPr>
            <a:xfrm>
              <a:off x="11096216" y="312988"/>
              <a:ext cx="301511" cy="342000"/>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5F646CC0-A37F-C99F-E948-F0002F1B3115}"/>
                </a:ext>
              </a:extLst>
            </p:cNvPr>
            <p:cNvPicPr>
              <a:picLocks noChangeAspect="1"/>
            </p:cNvPicPr>
            <p:nvPr userDrawn="1"/>
          </p:nvPicPr>
          <p:blipFill>
            <a:blip r:embed="rId2"/>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32316665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Rectangle 5"/>
          <p:cNvSpPr/>
          <p:nvPr userDrawn="1"/>
        </p:nvSpPr>
        <p:spPr>
          <a:xfrm>
            <a:off x="6759615" y="1"/>
            <a:ext cx="54580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BC Text" panose="02000000000000000000" pitchFamily="2" charset="77"/>
            </a:endParaRPr>
          </a:p>
        </p:txBody>
      </p:sp>
      <p:sp>
        <p:nvSpPr>
          <p:cNvPr id="7"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
        <p:nvSpPr>
          <p:cNvPr id="8" name="Picture Placeholder 29"/>
          <p:cNvSpPr>
            <a:spLocks noGrp="1"/>
          </p:cNvSpPr>
          <p:nvPr>
            <p:ph type="pic" sz="quarter" idx="18"/>
          </p:nvPr>
        </p:nvSpPr>
        <p:spPr>
          <a:xfrm>
            <a:off x="8040821" y="949796"/>
            <a:ext cx="2312547" cy="4961358"/>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4000074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8_Custom Layout">
    <p:spTree>
      <p:nvGrpSpPr>
        <p:cNvPr id="1" name=""/>
        <p:cNvGrpSpPr/>
        <p:nvPr/>
      </p:nvGrpSpPr>
      <p:grpSpPr>
        <a:xfrm>
          <a:off x="0" y="0"/>
          <a:ext cx="0" cy="0"/>
          <a:chOff x="0" y="0"/>
          <a:chExt cx="0" cy="0"/>
        </a:xfrm>
      </p:grpSpPr>
      <p:sp>
        <p:nvSpPr>
          <p:cNvPr id="6" name="Rectangle 5"/>
          <p:cNvSpPr/>
          <p:nvPr userDrawn="1"/>
        </p:nvSpPr>
        <p:spPr>
          <a:xfrm>
            <a:off x="4494881" y="1"/>
            <a:ext cx="772283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BC Text" panose="02000000000000000000" pitchFamily="2" charset="77"/>
            </a:endParaRPr>
          </a:p>
        </p:txBody>
      </p:sp>
      <p:sp>
        <p:nvSpPr>
          <p:cNvPr id="7"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
        <p:nvSpPr>
          <p:cNvPr id="8" name="Picture Placeholder 29"/>
          <p:cNvSpPr>
            <a:spLocks noGrp="1"/>
          </p:cNvSpPr>
          <p:nvPr>
            <p:ph type="pic" sz="quarter" idx="18"/>
          </p:nvPr>
        </p:nvSpPr>
        <p:spPr>
          <a:xfrm>
            <a:off x="8434521" y="949796"/>
            <a:ext cx="2312547" cy="4961358"/>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5" name="Picture Placeholder 29"/>
          <p:cNvSpPr>
            <a:spLocks noGrp="1"/>
          </p:cNvSpPr>
          <p:nvPr>
            <p:ph type="pic" sz="quarter" idx="19"/>
          </p:nvPr>
        </p:nvSpPr>
        <p:spPr>
          <a:xfrm>
            <a:off x="5577021" y="949796"/>
            <a:ext cx="2312547" cy="4961358"/>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3809746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9_Custom Layout">
    <p:spTree>
      <p:nvGrpSpPr>
        <p:cNvPr id="1" name=""/>
        <p:cNvGrpSpPr/>
        <p:nvPr/>
      </p:nvGrpSpPr>
      <p:grpSpPr>
        <a:xfrm>
          <a:off x="0" y="0"/>
          <a:ext cx="0" cy="0"/>
          <a:chOff x="0" y="0"/>
          <a:chExt cx="0" cy="0"/>
        </a:xfrm>
      </p:grpSpPr>
      <p:sp>
        <p:nvSpPr>
          <p:cNvPr id="5" name="Picture Placeholder 29"/>
          <p:cNvSpPr>
            <a:spLocks noGrp="1"/>
          </p:cNvSpPr>
          <p:nvPr>
            <p:ph type="pic" sz="quarter" idx="19"/>
          </p:nvPr>
        </p:nvSpPr>
        <p:spPr>
          <a:xfrm>
            <a:off x="5043622" y="1181100"/>
            <a:ext cx="2163296" cy="4641154"/>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0" name="Picture Placeholder 29"/>
          <p:cNvSpPr>
            <a:spLocks noGrp="1"/>
          </p:cNvSpPr>
          <p:nvPr>
            <p:ph type="pic" sz="quarter" idx="20"/>
          </p:nvPr>
        </p:nvSpPr>
        <p:spPr>
          <a:xfrm>
            <a:off x="2351222" y="1181100"/>
            <a:ext cx="2163296" cy="4641154"/>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1" name="Picture Placeholder 29"/>
          <p:cNvSpPr>
            <a:spLocks noGrp="1"/>
          </p:cNvSpPr>
          <p:nvPr>
            <p:ph type="pic" sz="quarter" idx="21"/>
          </p:nvPr>
        </p:nvSpPr>
        <p:spPr>
          <a:xfrm>
            <a:off x="-341178" y="1181100"/>
            <a:ext cx="2163296" cy="4641154"/>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2" name="Picture Placeholder 29"/>
          <p:cNvSpPr>
            <a:spLocks noGrp="1"/>
          </p:cNvSpPr>
          <p:nvPr>
            <p:ph type="pic" sz="quarter" idx="22"/>
          </p:nvPr>
        </p:nvSpPr>
        <p:spPr>
          <a:xfrm>
            <a:off x="7736022" y="1181100"/>
            <a:ext cx="2163296" cy="4641154"/>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13" name="Picture Placeholder 29"/>
          <p:cNvSpPr>
            <a:spLocks noGrp="1"/>
          </p:cNvSpPr>
          <p:nvPr>
            <p:ph type="pic" sz="quarter" idx="23"/>
          </p:nvPr>
        </p:nvSpPr>
        <p:spPr>
          <a:xfrm>
            <a:off x="10428422" y="1181100"/>
            <a:ext cx="2163296" cy="4641154"/>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37941868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0_Custom Layout">
    <p:spTree>
      <p:nvGrpSpPr>
        <p:cNvPr id="1" name=""/>
        <p:cNvGrpSpPr/>
        <p:nvPr/>
      </p:nvGrpSpPr>
      <p:grpSpPr>
        <a:xfrm>
          <a:off x="0" y="0"/>
          <a:ext cx="0" cy="0"/>
          <a:chOff x="0" y="0"/>
          <a:chExt cx="0" cy="0"/>
        </a:xfrm>
      </p:grpSpPr>
      <p:sp>
        <p:nvSpPr>
          <p:cNvPr id="4" name="Picture Placeholder 29"/>
          <p:cNvSpPr>
            <a:spLocks noGrp="1"/>
          </p:cNvSpPr>
          <p:nvPr>
            <p:ph type="pic" sz="quarter" idx="20"/>
          </p:nvPr>
        </p:nvSpPr>
        <p:spPr>
          <a:xfrm>
            <a:off x="5665922" y="3200400"/>
            <a:ext cx="2163296" cy="4641154"/>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5" name="Picture Placeholder 29"/>
          <p:cNvSpPr>
            <a:spLocks noGrp="1"/>
          </p:cNvSpPr>
          <p:nvPr>
            <p:ph type="pic" sz="quarter" idx="21"/>
          </p:nvPr>
        </p:nvSpPr>
        <p:spPr>
          <a:xfrm>
            <a:off x="5665922" y="-2320577"/>
            <a:ext cx="2163296" cy="4641154"/>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Picture Placeholder 29"/>
          <p:cNvSpPr>
            <a:spLocks noGrp="1"/>
          </p:cNvSpPr>
          <p:nvPr>
            <p:ph type="pic" sz="quarter" idx="22"/>
          </p:nvPr>
        </p:nvSpPr>
        <p:spPr>
          <a:xfrm>
            <a:off x="8415804" y="4432300"/>
            <a:ext cx="2163296" cy="4641154"/>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7" name="Picture Placeholder 29"/>
          <p:cNvSpPr>
            <a:spLocks noGrp="1"/>
          </p:cNvSpPr>
          <p:nvPr>
            <p:ph type="pic" sz="quarter" idx="23"/>
          </p:nvPr>
        </p:nvSpPr>
        <p:spPr>
          <a:xfrm>
            <a:off x="8415804" y="-1088677"/>
            <a:ext cx="2163296" cy="4641154"/>
          </a:xfrm>
          <a:prstGeom prst="roundRect">
            <a:avLst>
              <a:gd name="adj" fmla="val 10768"/>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8"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28517891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499CA93-D15C-9C4B-BFB0-41977F73167A}"/>
              </a:ext>
            </a:extLst>
          </p:cNvPr>
          <p:cNvSpPr>
            <a:spLocks noGrp="1"/>
          </p:cNvSpPr>
          <p:nvPr>
            <p:ph type="body" sz="quarter" idx="10"/>
          </p:nvPr>
        </p:nvSpPr>
        <p:spPr>
          <a:xfrm>
            <a:off x="427405" y="961136"/>
            <a:ext cx="9291025" cy="621481"/>
          </a:xfrm>
          <a:prstGeom prst="rect">
            <a:avLst/>
          </a:prstGeom>
        </p:spPr>
        <p:txBody>
          <a:bodyPr/>
          <a:lstStyle>
            <a:lvl1pPr>
              <a:defRPr sz="3733" spc="67" baseline="0">
                <a:solidFill>
                  <a:srgbClr val="003863"/>
                </a:solidFill>
                <a:latin typeface="RBC Display" panose="02000000000000000000" pitchFamily="2" charset="77"/>
              </a:defRPr>
            </a:lvl1pPr>
          </a:lstStyle>
          <a:p>
            <a:pPr lvl="0"/>
            <a:r>
              <a:rPr lang="en-US" dirty="0"/>
              <a:t>Click to edit Master text styles</a:t>
            </a:r>
          </a:p>
        </p:txBody>
      </p:sp>
      <p:sp>
        <p:nvSpPr>
          <p:cNvPr id="8" name="Text Placeholder 6">
            <a:extLst>
              <a:ext uri="{FF2B5EF4-FFF2-40B4-BE49-F238E27FC236}">
                <a16:creationId xmlns:a16="http://schemas.microsoft.com/office/drawing/2014/main" id="{84C05BFB-6727-DC45-B467-E7B87FC5A727}"/>
              </a:ext>
            </a:extLst>
          </p:cNvPr>
          <p:cNvSpPr>
            <a:spLocks noGrp="1"/>
          </p:cNvSpPr>
          <p:nvPr>
            <p:ph type="body" sz="quarter" idx="11" hasCustomPrompt="1"/>
          </p:nvPr>
        </p:nvSpPr>
        <p:spPr>
          <a:xfrm>
            <a:off x="462576" y="468768"/>
            <a:ext cx="9232409" cy="328405"/>
          </a:xfrm>
          <a:prstGeom prst="rect">
            <a:avLst/>
          </a:prstGeom>
        </p:spPr>
        <p:txBody>
          <a:bodyPr/>
          <a:lstStyle>
            <a:lvl1pPr>
              <a:defRPr sz="1333" spc="133" baseline="0">
                <a:solidFill>
                  <a:srgbClr val="003863"/>
                </a:solidFill>
                <a:latin typeface="RBC Display" panose="02000000000000000000" pitchFamily="2" charset="77"/>
              </a:defRPr>
            </a:lvl1pPr>
          </a:lstStyle>
          <a:p>
            <a:pPr lvl="0"/>
            <a:r>
              <a:rPr lang="en-US" dirty="0"/>
              <a:t>SECTION  /  Title</a:t>
            </a:r>
          </a:p>
        </p:txBody>
      </p:sp>
      <p:sp>
        <p:nvSpPr>
          <p:cNvPr id="4" name="Text Placeholder 6">
            <a:extLst>
              <a:ext uri="{FF2B5EF4-FFF2-40B4-BE49-F238E27FC236}">
                <a16:creationId xmlns:a16="http://schemas.microsoft.com/office/drawing/2014/main" id="{0E817EE7-7A07-644A-AE3C-03C3920DD0BE}"/>
              </a:ext>
            </a:extLst>
          </p:cNvPr>
          <p:cNvSpPr>
            <a:spLocks noGrp="1"/>
          </p:cNvSpPr>
          <p:nvPr>
            <p:ph type="body" sz="quarter" idx="13" hasCustomPrompt="1"/>
          </p:nvPr>
        </p:nvSpPr>
        <p:spPr>
          <a:xfrm>
            <a:off x="6329383" y="4732493"/>
            <a:ext cx="5153787"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 </a:t>
            </a:r>
            <a:r>
              <a:rPr lang="en-CA" b="0" i="0" dirty="0" err="1">
                <a:solidFill>
                  <a:srgbClr val="000000"/>
                </a:solidFill>
                <a:effectLst/>
                <a:latin typeface="Open Sans" panose="020B0606030504020204" pitchFamily="34" charset="0"/>
              </a:rPr>
              <a:t>hendrer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justo</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ffici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odio</a:t>
            </a:r>
            <a:r>
              <a:rPr lang="en-CA" b="0" i="0" dirty="0">
                <a:solidFill>
                  <a:srgbClr val="000000"/>
                </a:solidFill>
                <a:effectLst/>
                <a:latin typeface="Open Sans" panose="020B0606030504020204" pitchFamily="34" charset="0"/>
              </a:rPr>
              <a:t>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Vivamus</a:t>
            </a:r>
            <a:r>
              <a:rPr lang="en-CA" b="0" i="0" dirty="0">
                <a:solidFill>
                  <a:srgbClr val="000000"/>
                </a:solidFill>
                <a:effectLst/>
                <a:latin typeface="Open Sans" panose="020B0606030504020204" pitchFamily="34" charset="0"/>
              </a:rPr>
              <a:t> porta </a:t>
            </a:r>
            <a:r>
              <a:rPr lang="en-CA" b="0" i="0" dirty="0" err="1">
                <a:solidFill>
                  <a:srgbClr val="000000"/>
                </a:solidFill>
                <a:effectLst/>
                <a:latin typeface="Open Sans" panose="020B0606030504020204" pitchFamily="34" charset="0"/>
              </a:rPr>
              <a:t>molestie</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sodales</a:t>
            </a:r>
            <a:r>
              <a:rPr lang="en-CA" b="0" i="0" dirty="0">
                <a:solidFill>
                  <a:srgbClr val="000000"/>
                </a:solidFill>
                <a:effectLst/>
                <a:latin typeface="Open Sans" panose="020B0606030504020204" pitchFamily="34" charset="0"/>
              </a:rPr>
              <a:t>. Nunc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sapien</a:t>
            </a:r>
            <a:r>
              <a:rPr lang="en-CA" b="0" i="0" dirty="0">
                <a:solidFill>
                  <a:srgbClr val="000000"/>
                </a:solidFill>
                <a:effectLst/>
                <a:latin typeface="Open Sans" panose="020B0606030504020204" pitchFamily="34" charset="0"/>
              </a:rPr>
              <a:t> non </a:t>
            </a:r>
            <a:r>
              <a:rPr lang="en-CA" b="0" i="0" dirty="0" err="1">
                <a:solidFill>
                  <a:srgbClr val="000000"/>
                </a:solidFill>
                <a:effectLst/>
                <a:latin typeface="Open Sans" panose="020B0606030504020204" pitchFamily="34" charset="0"/>
              </a:rPr>
              <a:t>nibh</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ugia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luctus</a:t>
            </a:r>
            <a:r>
              <a:rPr lang="en-CA" b="0" i="0" dirty="0">
                <a:solidFill>
                  <a:srgbClr val="000000"/>
                </a:solidFill>
                <a:effectLst/>
                <a:latin typeface="Open Sans" panose="020B0606030504020204" pitchFamily="34" charset="0"/>
              </a:rPr>
              <a:t> a vitae </a:t>
            </a:r>
            <a:r>
              <a:rPr lang="en-CA" b="0" i="0" dirty="0" err="1">
                <a:solidFill>
                  <a:srgbClr val="000000"/>
                </a:solidFill>
                <a:effectLst/>
                <a:latin typeface="Open Sans" panose="020B0606030504020204" pitchFamily="34" charset="0"/>
              </a:rPr>
              <a:t>nibh</a:t>
            </a:r>
            <a:r>
              <a:rPr lang="en-CA" b="0" i="0" dirty="0">
                <a:solidFill>
                  <a:srgbClr val="000000"/>
                </a:solidFill>
                <a:effectLst/>
                <a:latin typeface="Open Sans" panose="020B0606030504020204" pitchFamily="34" charset="0"/>
              </a:rPr>
              <a:t>.</a:t>
            </a:r>
            <a:endParaRPr lang="en-US" dirty="0"/>
          </a:p>
        </p:txBody>
      </p:sp>
      <p:sp>
        <p:nvSpPr>
          <p:cNvPr id="5" name="Text Placeholder 6">
            <a:extLst>
              <a:ext uri="{FF2B5EF4-FFF2-40B4-BE49-F238E27FC236}">
                <a16:creationId xmlns:a16="http://schemas.microsoft.com/office/drawing/2014/main" id="{C0F2874E-A7F5-E54D-8A2C-E0DCA418C34C}"/>
              </a:ext>
            </a:extLst>
          </p:cNvPr>
          <p:cNvSpPr>
            <a:spLocks noGrp="1"/>
          </p:cNvSpPr>
          <p:nvPr>
            <p:ph type="body" sz="quarter" idx="15" hasCustomPrompt="1"/>
          </p:nvPr>
        </p:nvSpPr>
        <p:spPr>
          <a:xfrm>
            <a:off x="612395" y="4732493"/>
            <a:ext cx="5153787"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 </a:t>
            </a:r>
            <a:r>
              <a:rPr lang="en-CA" b="0" i="0" dirty="0" err="1">
                <a:solidFill>
                  <a:srgbClr val="000000"/>
                </a:solidFill>
                <a:effectLst/>
                <a:latin typeface="Open Sans" panose="020B0606030504020204" pitchFamily="34" charset="0"/>
              </a:rPr>
              <a:t>hendrer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justo</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ffici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odio</a:t>
            </a:r>
            <a:r>
              <a:rPr lang="en-CA" b="0" i="0" dirty="0">
                <a:solidFill>
                  <a:srgbClr val="000000"/>
                </a:solidFill>
                <a:effectLst/>
                <a:latin typeface="Open Sans" panose="020B0606030504020204" pitchFamily="34" charset="0"/>
              </a:rPr>
              <a:t>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Vivamus</a:t>
            </a:r>
            <a:r>
              <a:rPr lang="en-CA" b="0" i="0" dirty="0">
                <a:solidFill>
                  <a:srgbClr val="000000"/>
                </a:solidFill>
                <a:effectLst/>
                <a:latin typeface="Open Sans" panose="020B0606030504020204" pitchFamily="34" charset="0"/>
              </a:rPr>
              <a:t> porta </a:t>
            </a:r>
            <a:r>
              <a:rPr lang="en-CA" b="0" i="0" dirty="0" err="1">
                <a:solidFill>
                  <a:srgbClr val="000000"/>
                </a:solidFill>
                <a:effectLst/>
                <a:latin typeface="Open Sans" panose="020B0606030504020204" pitchFamily="34" charset="0"/>
              </a:rPr>
              <a:t>molestie</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sodales</a:t>
            </a:r>
            <a:r>
              <a:rPr lang="en-CA" b="0" i="0" dirty="0">
                <a:solidFill>
                  <a:srgbClr val="000000"/>
                </a:solidFill>
                <a:effectLst/>
                <a:latin typeface="Open Sans" panose="020B0606030504020204" pitchFamily="34" charset="0"/>
              </a:rPr>
              <a:t>. Nunc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sapien</a:t>
            </a:r>
            <a:r>
              <a:rPr lang="en-CA" b="0" i="0" dirty="0">
                <a:solidFill>
                  <a:srgbClr val="000000"/>
                </a:solidFill>
                <a:effectLst/>
                <a:latin typeface="Open Sans" panose="020B0606030504020204" pitchFamily="34" charset="0"/>
              </a:rPr>
              <a:t> non </a:t>
            </a:r>
            <a:r>
              <a:rPr lang="en-CA" b="0" i="0" dirty="0" err="1">
                <a:solidFill>
                  <a:srgbClr val="000000"/>
                </a:solidFill>
                <a:effectLst/>
                <a:latin typeface="Open Sans" panose="020B0606030504020204" pitchFamily="34" charset="0"/>
              </a:rPr>
              <a:t>nibh</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ugia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luctus</a:t>
            </a:r>
            <a:r>
              <a:rPr lang="en-CA" b="0" i="0" dirty="0">
                <a:solidFill>
                  <a:srgbClr val="000000"/>
                </a:solidFill>
                <a:effectLst/>
                <a:latin typeface="Open Sans" panose="020B0606030504020204" pitchFamily="34" charset="0"/>
              </a:rPr>
              <a:t> a vitae </a:t>
            </a:r>
            <a:r>
              <a:rPr lang="en-CA" b="0" i="0" dirty="0" err="1">
                <a:solidFill>
                  <a:srgbClr val="000000"/>
                </a:solidFill>
                <a:effectLst/>
                <a:latin typeface="Open Sans" panose="020B0606030504020204" pitchFamily="34" charset="0"/>
              </a:rPr>
              <a:t>nibh</a:t>
            </a:r>
            <a:r>
              <a:rPr lang="en-CA" b="0" i="0" dirty="0">
                <a:solidFill>
                  <a:srgbClr val="000000"/>
                </a:solidFill>
                <a:effectLst/>
                <a:latin typeface="Open Sans" panose="020B0606030504020204" pitchFamily="34" charset="0"/>
              </a:rPr>
              <a:t>.</a:t>
            </a:r>
            <a:endParaRPr lang="en-US" dirty="0"/>
          </a:p>
        </p:txBody>
      </p:sp>
      <p:sp>
        <p:nvSpPr>
          <p:cNvPr id="6" name="Text Placeholder 6">
            <a:extLst>
              <a:ext uri="{FF2B5EF4-FFF2-40B4-BE49-F238E27FC236}">
                <a16:creationId xmlns:a16="http://schemas.microsoft.com/office/drawing/2014/main" id="{8D2BDD14-436E-8F4E-B088-CCDE0559EC54}"/>
              </a:ext>
            </a:extLst>
          </p:cNvPr>
          <p:cNvSpPr>
            <a:spLocks noGrp="1"/>
          </p:cNvSpPr>
          <p:nvPr>
            <p:ph type="body" sz="quarter" idx="16" hasCustomPrompt="1"/>
          </p:nvPr>
        </p:nvSpPr>
        <p:spPr>
          <a:xfrm>
            <a:off x="612395" y="4281821"/>
            <a:ext cx="5153789"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9" name="Text Placeholder 6">
            <a:extLst>
              <a:ext uri="{FF2B5EF4-FFF2-40B4-BE49-F238E27FC236}">
                <a16:creationId xmlns:a16="http://schemas.microsoft.com/office/drawing/2014/main" id="{31DC2F3B-BCBF-AA46-8579-7E5322430BB5}"/>
              </a:ext>
            </a:extLst>
          </p:cNvPr>
          <p:cNvSpPr>
            <a:spLocks noGrp="1"/>
          </p:cNvSpPr>
          <p:nvPr>
            <p:ph type="body" sz="quarter" idx="17" hasCustomPrompt="1"/>
          </p:nvPr>
        </p:nvSpPr>
        <p:spPr>
          <a:xfrm>
            <a:off x="6329383" y="4281821"/>
            <a:ext cx="5153789"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Tree>
    <p:extLst>
      <p:ext uri="{BB962C8B-B14F-4D97-AF65-F5344CB8AC3E}">
        <p14:creationId xmlns:p14="http://schemas.microsoft.com/office/powerpoint/2010/main" val="1057631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1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43502" y="960618"/>
            <a:ext cx="3284098" cy="6695371"/>
          </a:xfrm>
          <a:prstGeom prst="rect">
            <a:avLst/>
          </a:prstGeom>
        </p:spPr>
      </p:pic>
      <p:sp>
        <p:nvSpPr>
          <p:cNvPr id="5" name="Picture Placeholder 4"/>
          <p:cNvSpPr>
            <a:spLocks noGrp="1"/>
          </p:cNvSpPr>
          <p:nvPr>
            <p:ph type="pic" sz="quarter" idx="14"/>
          </p:nvPr>
        </p:nvSpPr>
        <p:spPr>
          <a:xfrm>
            <a:off x="1866899" y="1816099"/>
            <a:ext cx="2848004" cy="5029454"/>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7" name="Title 8"/>
          <p:cNvSpPr>
            <a:spLocks noGrp="1"/>
          </p:cNvSpPr>
          <p:nvPr>
            <p:ph type="title"/>
          </p:nvPr>
        </p:nvSpPr>
        <p:spPr>
          <a:xfrm>
            <a:off x="55993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3872459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2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2514600" y="-412387"/>
            <a:ext cx="5359399" cy="9161367"/>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34302" y="1633719"/>
            <a:ext cx="2064897" cy="4209756"/>
          </a:xfrm>
          <a:prstGeom prst="rect">
            <a:avLst/>
          </a:prstGeom>
        </p:spPr>
      </p:pic>
      <p:sp>
        <p:nvSpPr>
          <p:cNvPr id="8" name="Picture Placeholder 4"/>
          <p:cNvSpPr>
            <a:spLocks noGrp="1"/>
          </p:cNvSpPr>
          <p:nvPr>
            <p:ph type="pic" sz="quarter" idx="14"/>
          </p:nvPr>
        </p:nvSpPr>
        <p:spPr>
          <a:xfrm>
            <a:off x="4368800" y="2171700"/>
            <a:ext cx="1790700" cy="31623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10"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27474742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3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3947053" y="-7703839"/>
            <a:ext cx="2935516" cy="22532368"/>
          </a:xfrm>
          <a:prstGeom prst="rect">
            <a:avLst/>
          </a:prstGeom>
        </p:spPr>
      </p:pic>
      <p:sp>
        <p:nvSpPr>
          <p:cNvPr id="11" name="Picture Placeholder 4"/>
          <p:cNvSpPr>
            <a:spLocks noGrp="1"/>
          </p:cNvSpPr>
          <p:nvPr>
            <p:ph type="pic" sz="quarter" idx="14"/>
          </p:nvPr>
        </p:nvSpPr>
        <p:spPr>
          <a:xfrm>
            <a:off x="4494061" y="2414812"/>
            <a:ext cx="1829708" cy="2286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5"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14199198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4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868764" y="836575"/>
            <a:ext cx="6764436" cy="5687364"/>
          </a:xfrm>
          <a:prstGeom prst="rect">
            <a:avLst/>
          </a:prstGeom>
        </p:spPr>
      </p:pic>
      <p:sp>
        <p:nvSpPr>
          <p:cNvPr id="11" name="Picture Placeholder 4"/>
          <p:cNvSpPr>
            <a:spLocks noGrp="1"/>
          </p:cNvSpPr>
          <p:nvPr>
            <p:ph type="pic" sz="quarter" idx="14"/>
          </p:nvPr>
        </p:nvSpPr>
        <p:spPr>
          <a:xfrm>
            <a:off x="5134854" y="1170212"/>
            <a:ext cx="6244346" cy="35414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5"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3917421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5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 uri="{28A0092B-C50C-407E-A947-70E740481C1C}">
                <a14:useLocalDpi xmlns:a14="http://schemas.microsoft.com/office/drawing/2010/main" val="0"/>
              </a:ext>
            </a:extLst>
          </a:blip>
          <a:stretch>
            <a:fillRect/>
          </a:stretch>
        </p:blipFill>
        <p:spPr>
          <a:xfrm>
            <a:off x="3814994" y="1417527"/>
            <a:ext cx="7881706" cy="4627673"/>
          </a:xfrm>
          <a:prstGeom prst="rect">
            <a:avLst/>
          </a:prstGeom>
        </p:spPr>
      </p:pic>
      <p:sp>
        <p:nvSpPr>
          <p:cNvPr id="11" name="Picture Placeholder 4"/>
          <p:cNvSpPr>
            <a:spLocks noGrp="1"/>
          </p:cNvSpPr>
          <p:nvPr>
            <p:ph type="pic" sz="quarter" idx="14"/>
          </p:nvPr>
        </p:nvSpPr>
        <p:spPr>
          <a:xfrm>
            <a:off x="4779254" y="1741712"/>
            <a:ext cx="5952246" cy="37319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5"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16449425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6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842754" y="913305"/>
            <a:ext cx="5343632" cy="7508718"/>
          </a:xfrm>
          <a:prstGeom prst="rect">
            <a:avLst/>
          </a:prstGeom>
        </p:spPr>
      </p:pic>
      <p:sp>
        <p:nvSpPr>
          <p:cNvPr id="11" name="Picture Placeholder 4"/>
          <p:cNvSpPr>
            <a:spLocks noGrp="1"/>
          </p:cNvSpPr>
          <p:nvPr>
            <p:ph type="pic" sz="quarter" idx="14"/>
          </p:nvPr>
        </p:nvSpPr>
        <p:spPr>
          <a:xfrm>
            <a:off x="5287254" y="1690912"/>
            <a:ext cx="4453646" cy="59417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5"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31965817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9_Custom Layout">
    <p:spTree>
      <p:nvGrpSpPr>
        <p:cNvPr id="1" name=""/>
        <p:cNvGrpSpPr/>
        <p:nvPr/>
      </p:nvGrpSpPr>
      <p:grpSpPr>
        <a:xfrm>
          <a:off x="0" y="0"/>
          <a:ext cx="0" cy="0"/>
          <a:chOff x="0" y="0"/>
          <a:chExt cx="0" cy="0"/>
        </a:xfrm>
      </p:grpSpPr>
      <p:sp>
        <p:nvSpPr>
          <p:cNvPr id="15" name="Picture Placeholder 4"/>
          <p:cNvSpPr>
            <a:spLocks noGrp="1"/>
          </p:cNvSpPr>
          <p:nvPr>
            <p:ph type="pic" sz="quarter" idx="15"/>
          </p:nvPr>
        </p:nvSpPr>
        <p:spPr>
          <a:xfrm>
            <a:off x="5544619" y="3316697"/>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16" name="Picture Placeholder 4"/>
          <p:cNvSpPr>
            <a:spLocks noGrp="1"/>
          </p:cNvSpPr>
          <p:nvPr>
            <p:ph type="pic" sz="quarter" idx="16"/>
          </p:nvPr>
        </p:nvSpPr>
        <p:spPr>
          <a:xfrm>
            <a:off x="7195619" y="2313211"/>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17" name="Picture Placeholder 4"/>
          <p:cNvSpPr>
            <a:spLocks noGrp="1"/>
          </p:cNvSpPr>
          <p:nvPr>
            <p:ph type="pic" sz="quarter" idx="17"/>
          </p:nvPr>
        </p:nvSpPr>
        <p:spPr>
          <a:xfrm>
            <a:off x="8833919" y="136052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18" name="Picture Placeholder 4"/>
          <p:cNvSpPr>
            <a:spLocks noGrp="1"/>
          </p:cNvSpPr>
          <p:nvPr>
            <p:ph type="pic" sz="quarter" idx="18"/>
          </p:nvPr>
        </p:nvSpPr>
        <p:spPr>
          <a:xfrm>
            <a:off x="10473840" y="40511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19" name="Picture Placeholder 4"/>
          <p:cNvSpPr>
            <a:spLocks noGrp="1"/>
          </p:cNvSpPr>
          <p:nvPr>
            <p:ph type="pic" sz="quarter" idx="19"/>
          </p:nvPr>
        </p:nvSpPr>
        <p:spPr>
          <a:xfrm>
            <a:off x="9959945" y="391031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20" name="Picture Placeholder 4"/>
          <p:cNvSpPr>
            <a:spLocks noGrp="1"/>
          </p:cNvSpPr>
          <p:nvPr>
            <p:ph type="pic" sz="quarter" idx="20"/>
          </p:nvPr>
        </p:nvSpPr>
        <p:spPr>
          <a:xfrm>
            <a:off x="6056893" y="-243022"/>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9"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extLst>
      <p:ext uri="{BB962C8B-B14F-4D97-AF65-F5344CB8AC3E}">
        <p14:creationId xmlns:p14="http://schemas.microsoft.com/office/powerpoint/2010/main" val="690529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0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602997" y="681218"/>
            <a:ext cx="2915798" cy="5944509"/>
          </a:xfrm>
          <a:prstGeom prst="rect">
            <a:avLst/>
          </a:prstGeom>
        </p:spPr>
      </p:pic>
      <p:sp>
        <p:nvSpPr>
          <p:cNvPr id="8" name="Picture Placeholder 4"/>
          <p:cNvSpPr>
            <a:spLocks noGrp="1"/>
          </p:cNvSpPr>
          <p:nvPr>
            <p:ph type="pic" sz="quarter" idx="14"/>
          </p:nvPr>
        </p:nvSpPr>
        <p:spPr>
          <a:xfrm>
            <a:off x="4796591" y="14273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9" name="Picture Placeholder 4"/>
          <p:cNvSpPr>
            <a:spLocks noGrp="1"/>
          </p:cNvSpPr>
          <p:nvPr>
            <p:ph type="pic" sz="quarter" idx="15"/>
          </p:nvPr>
        </p:nvSpPr>
        <p:spPr>
          <a:xfrm>
            <a:off x="7641391" y="14273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
        <p:nvSpPr>
          <p:cNvPr id="12" name="Picture Placeholder 4"/>
          <p:cNvSpPr>
            <a:spLocks noGrp="1"/>
          </p:cNvSpPr>
          <p:nvPr>
            <p:ph type="pic" sz="quarter" idx="18"/>
          </p:nvPr>
        </p:nvSpPr>
        <p:spPr>
          <a:xfrm>
            <a:off x="1918893" y="14273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b="0" i="0">
                <a:solidFill>
                  <a:schemeClr val="tx1"/>
                </a:solidFill>
                <a:latin typeface="RBC Text" panose="02000000000000000000" pitchFamily="2" charset="77"/>
              </a:defRPr>
            </a:lvl1pPr>
          </a:lstStyle>
          <a:p>
            <a:endParaRPr lang="en-US" dirty="0"/>
          </a:p>
        </p:txBody>
      </p:sp>
    </p:spTree>
    <p:extLst>
      <p:ext uri="{BB962C8B-B14F-4D97-AF65-F5344CB8AC3E}">
        <p14:creationId xmlns:p14="http://schemas.microsoft.com/office/powerpoint/2010/main" val="4007639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3_Custom Layout">
    <p:spTree>
      <p:nvGrpSpPr>
        <p:cNvPr id="1" name=""/>
        <p:cNvGrpSpPr/>
        <p:nvPr/>
      </p:nvGrpSpPr>
      <p:grpSpPr>
        <a:xfrm>
          <a:off x="0" y="0"/>
          <a:ext cx="0" cy="0"/>
          <a:chOff x="0" y="0"/>
          <a:chExt cx="0" cy="0"/>
        </a:xfrm>
      </p:grpSpPr>
      <p:sp>
        <p:nvSpPr>
          <p:cNvPr id="5" name="Title 8"/>
          <p:cNvSpPr>
            <a:spLocks noGrp="1"/>
          </p:cNvSpPr>
          <p:nvPr>
            <p:ph type="title"/>
          </p:nvPr>
        </p:nvSpPr>
        <p:spPr>
          <a:xfrm>
            <a:off x="913016" y="1255290"/>
            <a:ext cx="10558547" cy="1325563"/>
          </a:xfrm>
          <a:prstGeom prst="rect">
            <a:avLst/>
          </a:prstGeom>
        </p:spPr>
        <p:txBody>
          <a:bodyPr lIns="0" rIns="0" anchor="t">
            <a:noAutofit/>
          </a:bodyPr>
          <a:lstStyle>
            <a:lvl1pPr>
              <a:defRPr sz="5400"/>
            </a:lvl1pPr>
          </a:lstStyle>
          <a:p>
            <a:r>
              <a:rPr lang="en-US" dirty="0"/>
              <a:t>Click to edit Master title style</a:t>
            </a:r>
          </a:p>
        </p:txBody>
      </p:sp>
      <p:sp>
        <p:nvSpPr>
          <p:cNvPr id="9" name="Picture Placeholder 8"/>
          <p:cNvSpPr>
            <a:spLocks noGrp="1"/>
          </p:cNvSpPr>
          <p:nvPr>
            <p:ph type="pic" sz="quarter" idx="13"/>
          </p:nvPr>
        </p:nvSpPr>
        <p:spPr>
          <a:xfrm>
            <a:off x="5626806" y="2807913"/>
            <a:ext cx="6447701" cy="4050086"/>
          </a:xfrm>
          <a:custGeom>
            <a:avLst/>
            <a:gdLst/>
            <a:ahLst/>
            <a:cxnLst/>
            <a:rect l="l" t="t" r="r" b="b"/>
            <a:pathLst>
              <a:path w="6447701" h="4050086">
                <a:moveTo>
                  <a:pt x="5024799" y="956996"/>
                </a:moveTo>
                <a:cubicBezTo>
                  <a:pt x="4974431" y="1078719"/>
                  <a:pt x="4921963" y="1198343"/>
                  <a:pt x="4867399" y="1315869"/>
                </a:cubicBezTo>
                <a:cubicBezTo>
                  <a:pt x="4812833" y="1433395"/>
                  <a:pt x="4756169" y="1553019"/>
                  <a:pt x="4697406" y="1674743"/>
                </a:cubicBezTo>
                <a:lnTo>
                  <a:pt x="4332237" y="2354713"/>
                </a:lnTo>
                <a:lnTo>
                  <a:pt x="5012207" y="2354713"/>
                </a:lnTo>
                <a:lnTo>
                  <a:pt x="5012207" y="1901399"/>
                </a:lnTo>
                <a:cubicBezTo>
                  <a:pt x="5012207" y="1834242"/>
                  <a:pt x="5013257" y="1759739"/>
                  <a:pt x="5015355" y="1677891"/>
                </a:cubicBezTo>
                <a:cubicBezTo>
                  <a:pt x="5017454" y="1596042"/>
                  <a:pt x="5020602" y="1513145"/>
                  <a:pt x="5024799" y="1429197"/>
                </a:cubicBezTo>
                <a:cubicBezTo>
                  <a:pt x="5028996" y="1345250"/>
                  <a:pt x="5033193" y="1262353"/>
                  <a:pt x="5037391" y="1180504"/>
                </a:cubicBezTo>
                <a:cubicBezTo>
                  <a:pt x="5041589" y="1098656"/>
                  <a:pt x="5045786" y="1024153"/>
                  <a:pt x="5049983" y="956996"/>
                </a:cubicBezTo>
                <a:close/>
                <a:moveTo>
                  <a:pt x="1485862" y="831075"/>
                </a:moveTo>
                <a:cubicBezTo>
                  <a:pt x="1422902" y="831075"/>
                  <a:pt x="1363090" y="844716"/>
                  <a:pt x="1306425" y="871999"/>
                </a:cubicBezTo>
                <a:cubicBezTo>
                  <a:pt x="1249761" y="899282"/>
                  <a:pt x="1200442" y="956996"/>
                  <a:pt x="1158469" y="1045140"/>
                </a:cubicBezTo>
                <a:cubicBezTo>
                  <a:pt x="1116495" y="1133284"/>
                  <a:pt x="1082917" y="1257106"/>
                  <a:pt x="1057732" y="1416605"/>
                </a:cubicBezTo>
                <a:cubicBezTo>
                  <a:pt x="1032548" y="1576105"/>
                  <a:pt x="1019956" y="1788071"/>
                  <a:pt x="1019956" y="2052504"/>
                </a:cubicBezTo>
                <a:cubicBezTo>
                  <a:pt x="1019956" y="2316937"/>
                  <a:pt x="1032548" y="2531002"/>
                  <a:pt x="1057732" y="2694699"/>
                </a:cubicBezTo>
                <a:cubicBezTo>
                  <a:pt x="1082917" y="2858395"/>
                  <a:pt x="1116495" y="2986414"/>
                  <a:pt x="1158469" y="3078756"/>
                </a:cubicBezTo>
                <a:cubicBezTo>
                  <a:pt x="1200442" y="3171098"/>
                  <a:pt x="1249761" y="3233009"/>
                  <a:pt x="1306425" y="3264489"/>
                </a:cubicBezTo>
                <a:cubicBezTo>
                  <a:pt x="1363090" y="3295969"/>
                  <a:pt x="1422902" y="3311709"/>
                  <a:pt x="1485862" y="3311709"/>
                </a:cubicBezTo>
                <a:cubicBezTo>
                  <a:pt x="1548822" y="3311709"/>
                  <a:pt x="1608635" y="3295969"/>
                  <a:pt x="1665299" y="3264489"/>
                </a:cubicBezTo>
                <a:cubicBezTo>
                  <a:pt x="1721963" y="3233009"/>
                  <a:pt x="1771282" y="3171098"/>
                  <a:pt x="1813255" y="3078756"/>
                </a:cubicBezTo>
                <a:cubicBezTo>
                  <a:pt x="1855229" y="2986414"/>
                  <a:pt x="1888808" y="2858395"/>
                  <a:pt x="1913992" y="2694699"/>
                </a:cubicBezTo>
                <a:cubicBezTo>
                  <a:pt x="1939176" y="2531002"/>
                  <a:pt x="1951768" y="2316937"/>
                  <a:pt x="1951768" y="2052504"/>
                </a:cubicBezTo>
                <a:cubicBezTo>
                  <a:pt x="1951768" y="1788071"/>
                  <a:pt x="1939176" y="1576105"/>
                  <a:pt x="1913992" y="1416605"/>
                </a:cubicBezTo>
                <a:cubicBezTo>
                  <a:pt x="1888808" y="1257106"/>
                  <a:pt x="1855229" y="1133284"/>
                  <a:pt x="1813255" y="1045140"/>
                </a:cubicBezTo>
                <a:cubicBezTo>
                  <a:pt x="1771282" y="956996"/>
                  <a:pt x="1721963" y="899282"/>
                  <a:pt x="1665299" y="871999"/>
                </a:cubicBezTo>
                <a:cubicBezTo>
                  <a:pt x="1608635" y="844716"/>
                  <a:pt x="1548822" y="831075"/>
                  <a:pt x="1485862" y="831075"/>
                </a:cubicBezTo>
                <a:close/>
                <a:moveTo>
                  <a:pt x="4672221" y="75552"/>
                </a:moveTo>
                <a:lnTo>
                  <a:pt x="6019571" y="75552"/>
                </a:lnTo>
                <a:lnTo>
                  <a:pt x="6019571" y="2354713"/>
                </a:lnTo>
                <a:lnTo>
                  <a:pt x="6447701" y="2354713"/>
                </a:lnTo>
                <a:lnTo>
                  <a:pt x="6447701" y="3173197"/>
                </a:lnTo>
                <a:lnTo>
                  <a:pt x="6019571" y="3173197"/>
                </a:lnTo>
                <a:lnTo>
                  <a:pt x="6019571" y="4050086"/>
                </a:lnTo>
                <a:lnTo>
                  <a:pt x="5012207" y="4050086"/>
                </a:lnTo>
                <a:lnTo>
                  <a:pt x="5012207" y="3173197"/>
                </a:lnTo>
                <a:lnTo>
                  <a:pt x="3312281" y="3173197"/>
                </a:lnTo>
                <a:lnTo>
                  <a:pt x="3312281" y="2417674"/>
                </a:lnTo>
                <a:close/>
                <a:moveTo>
                  <a:pt x="1485862" y="0"/>
                </a:moveTo>
                <a:cubicBezTo>
                  <a:pt x="1704124" y="0"/>
                  <a:pt x="1904548" y="43023"/>
                  <a:pt x="2087133" y="129069"/>
                </a:cubicBezTo>
                <a:cubicBezTo>
                  <a:pt x="2269717" y="215114"/>
                  <a:pt x="2427118" y="344183"/>
                  <a:pt x="2559334" y="516274"/>
                </a:cubicBezTo>
                <a:cubicBezTo>
                  <a:pt x="2691551" y="688365"/>
                  <a:pt x="2793336" y="902430"/>
                  <a:pt x="2864691" y="1158469"/>
                </a:cubicBezTo>
                <a:cubicBezTo>
                  <a:pt x="2936046" y="1414507"/>
                  <a:pt x="2971724" y="1712519"/>
                  <a:pt x="2971724" y="2052504"/>
                </a:cubicBezTo>
                <a:cubicBezTo>
                  <a:pt x="2971724" y="2392490"/>
                  <a:pt x="2936046" y="2692600"/>
                  <a:pt x="2864691" y="2952836"/>
                </a:cubicBezTo>
                <a:cubicBezTo>
                  <a:pt x="2793336" y="3213071"/>
                  <a:pt x="2691551" y="3431334"/>
                  <a:pt x="2559334" y="3607622"/>
                </a:cubicBezTo>
                <a:cubicBezTo>
                  <a:pt x="2427118" y="3783911"/>
                  <a:pt x="2269717" y="3917177"/>
                  <a:pt x="2087133" y="4007420"/>
                </a:cubicBezTo>
                <a:lnTo>
                  <a:pt x="1986066" y="4050086"/>
                </a:lnTo>
                <a:lnTo>
                  <a:pt x="981802" y="4050086"/>
                </a:lnTo>
                <a:lnTo>
                  <a:pt x="881444" y="4007420"/>
                </a:lnTo>
                <a:cubicBezTo>
                  <a:pt x="700958" y="3917177"/>
                  <a:pt x="544606" y="3783911"/>
                  <a:pt x="412390" y="3607622"/>
                </a:cubicBezTo>
                <a:cubicBezTo>
                  <a:pt x="280173" y="3431334"/>
                  <a:pt x="178388" y="3213071"/>
                  <a:pt x="107033" y="2952836"/>
                </a:cubicBezTo>
                <a:cubicBezTo>
                  <a:pt x="35678" y="2692600"/>
                  <a:pt x="0" y="2392490"/>
                  <a:pt x="0" y="2052504"/>
                </a:cubicBezTo>
                <a:cubicBezTo>
                  <a:pt x="0" y="1712519"/>
                  <a:pt x="35678" y="1413457"/>
                  <a:pt x="107033" y="1155321"/>
                </a:cubicBezTo>
                <a:cubicBezTo>
                  <a:pt x="178388" y="897183"/>
                  <a:pt x="280173" y="683119"/>
                  <a:pt x="412390" y="513126"/>
                </a:cubicBezTo>
                <a:cubicBezTo>
                  <a:pt x="544606" y="343133"/>
                  <a:pt x="700958" y="215114"/>
                  <a:pt x="881444" y="129069"/>
                </a:cubicBezTo>
                <a:cubicBezTo>
                  <a:pt x="1061930" y="43023"/>
                  <a:pt x="1263403" y="0"/>
                  <a:pt x="1485862" y="0"/>
                </a:cubicBezTo>
                <a:close/>
              </a:path>
            </a:pathLst>
          </a:custGeom>
          <a:gradFill>
            <a:gsLst>
              <a:gs pos="0">
                <a:schemeClr val="tx1">
                  <a:alpha val="20000"/>
                </a:schemeClr>
              </a:gs>
              <a:gs pos="98000">
                <a:schemeClr val="tx1">
                  <a:alpha val="5000"/>
                </a:schemeClr>
              </a:gs>
            </a:gsLst>
            <a:lin ang="5400000" scaled="1"/>
          </a:gradFill>
          <a:ln>
            <a:noFill/>
          </a:ln>
        </p:spPr>
        <p:txBody>
          <a:bodyPr wrap="square"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extLst>
      <p:ext uri="{BB962C8B-B14F-4D97-AF65-F5344CB8AC3E}">
        <p14:creationId xmlns:p14="http://schemas.microsoft.com/office/powerpoint/2010/main" val="35401124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499CA93-D15C-9C4B-BFB0-41977F73167A}"/>
              </a:ext>
            </a:extLst>
          </p:cNvPr>
          <p:cNvSpPr>
            <a:spLocks noGrp="1"/>
          </p:cNvSpPr>
          <p:nvPr>
            <p:ph type="body" sz="quarter" idx="10"/>
          </p:nvPr>
        </p:nvSpPr>
        <p:spPr>
          <a:xfrm>
            <a:off x="6375586" y="1528206"/>
            <a:ext cx="4398741" cy="1378028"/>
          </a:xfrm>
          <a:prstGeom prst="rect">
            <a:avLst/>
          </a:prstGeom>
        </p:spPr>
        <p:txBody>
          <a:bodyPr/>
          <a:lstStyle>
            <a:lvl1pPr>
              <a:defRPr sz="3733" spc="67" baseline="0">
                <a:solidFill>
                  <a:srgbClr val="003863"/>
                </a:solidFill>
                <a:latin typeface="RBC Display" panose="02000000000000000000" pitchFamily="2" charset="77"/>
              </a:defRPr>
            </a:lvl1pPr>
          </a:lstStyle>
          <a:p>
            <a:pPr lvl="0"/>
            <a:r>
              <a:rPr lang="en-US" dirty="0"/>
              <a:t>Click to edit Master text styles</a:t>
            </a:r>
          </a:p>
        </p:txBody>
      </p:sp>
      <p:sp>
        <p:nvSpPr>
          <p:cNvPr id="8" name="Text Placeholder 6">
            <a:extLst>
              <a:ext uri="{FF2B5EF4-FFF2-40B4-BE49-F238E27FC236}">
                <a16:creationId xmlns:a16="http://schemas.microsoft.com/office/drawing/2014/main" id="{84C05BFB-6727-DC45-B467-E7B87FC5A727}"/>
              </a:ext>
            </a:extLst>
          </p:cNvPr>
          <p:cNvSpPr>
            <a:spLocks noGrp="1"/>
          </p:cNvSpPr>
          <p:nvPr>
            <p:ph type="body" sz="quarter" idx="11" hasCustomPrompt="1"/>
          </p:nvPr>
        </p:nvSpPr>
        <p:spPr>
          <a:xfrm>
            <a:off x="6390825" y="1035838"/>
            <a:ext cx="2423203" cy="482639"/>
          </a:xfrm>
          <a:prstGeom prst="rect">
            <a:avLst/>
          </a:prstGeom>
        </p:spPr>
        <p:txBody>
          <a:bodyPr/>
          <a:lstStyle>
            <a:lvl1pPr>
              <a:defRPr sz="1333" spc="133" baseline="0">
                <a:solidFill>
                  <a:srgbClr val="003863"/>
                </a:solidFill>
                <a:latin typeface="RBC Display" panose="02000000000000000000" pitchFamily="2" charset="77"/>
              </a:defRPr>
            </a:lvl1pPr>
          </a:lstStyle>
          <a:p>
            <a:pPr lvl="0"/>
            <a:r>
              <a:rPr lang="en-US" dirty="0"/>
              <a:t>SECTION  /  Title</a:t>
            </a:r>
          </a:p>
        </p:txBody>
      </p:sp>
      <p:sp>
        <p:nvSpPr>
          <p:cNvPr id="5" name="Text Placeholder 6">
            <a:extLst>
              <a:ext uri="{FF2B5EF4-FFF2-40B4-BE49-F238E27FC236}">
                <a16:creationId xmlns:a16="http://schemas.microsoft.com/office/drawing/2014/main" id="{3A0E3F1A-9AE5-4846-A4A9-26D581E7F54E}"/>
              </a:ext>
            </a:extLst>
          </p:cNvPr>
          <p:cNvSpPr>
            <a:spLocks noGrp="1"/>
          </p:cNvSpPr>
          <p:nvPr>
            <p:ph type="body" sz="quarter" idx="14" hasCustomPrompt="1"/>
          </p:nvPr>
        </p:nvSpPr>
        <p:spPr>
          <a:xfrm>
            <a:off x="6390825" y="4767662"/>
            <a:ext cx="2438441" cy="1632865"/>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endParaRPr lang="en-US" dirty="0"/>
          </a:p>
        </p:txBody>
      </p:sp>
      <p:sp>
        <p:nvSpPr>
          <p:cNvPr id="11" name="Text Placeholder 6">
            <a:extLst>
              <a:ext uri="{FF2B5EF4-FFF2-40B4-BE49-F238E27FC236}">
                <a16:creationId xmlns:a16="http://schemas.microsoft.com/office/drawing/2014/main" id="{7E4F9E97-42F4-074C-B17A-C0C500C4FB1A}"/>
              </a:ext>
            </a:extLst>
          </p:cNvPr>
          <p:cNvSpPr>
            <a:spLocks noGrp="1"/>
          </p:cNvSpPr>
          <p:nvPr>
            <p:ph type="body" sz="quarter" idx="18" hasCustomPrompt="1"/>
          </p:nvPr>
        </p:nvSpPr>
        <p:spPr>
          <a:xfrm>
            <a:off x="6375584" y="4316989"/>
            <a:ext cx="2438443"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14" name="Text Placeholder 6">
            <a:extLst>
              <a:ext uri="{FF2B5EF4-FFF2-40B4-BE49-F238E27FC236}">
                <a16:creationId xmlns:a16="http://schemas.microsoft.com/office/drawing/2014/main" id="{A2632445-AE8D-CD49-A0DC-D4968352CFA3}"/>
              </a:ext>
            </a:extLst>
          </p:cNvPr>
          <p:cNvSpPr>
            <a:spLocks noGrp="1"/>
          </p:cNvSpPr>
          <p:nvPr>
            <p:ph type="body" sz="quarter" idx="19" hasCustomPrompt="1"/>
          </p:nvPr>
        </p:nvSpPr>
        <p:spPr>
          <a:xfrm>
            <a:off x="9268704" y="4767662"/>
            <a:ext cx="2438441" cy="1632865"/>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endParaRPr lang="en-US" dirty="0"/>
          </a:p>
        </p:txBody>
      </p:sp>
      <p:sp>
        <p:nvSpPr>
          <p:cNvPr id="15" name="Text Placeholder 6">
            <a:extLst>
              <a:ext uri="{FF2B5EF4-FFF2-40B4-BE49-F238E27FC236}">
                <a16:creationId xmlns:a16="http://schemas.microsoft.com/office/drawing/2014/main" id="{3F17E663-AC25-8341-A413-59F0B4A2340D}"/>
              </a:ext>
            </a:extLst>
          </p:cNvPr>
          <p:cNvSpPr>
            <a:spLocks noGrp="1"/>
          </p:cNvSpPr>
          <p:nvPr>
            <p:ph type="body" sz="quarter" idx="20" hasCustomPrompt="1"/>
          </p:nvPr>
        </p:nvSpPr>
        <p:spPr>
          <a:xfrm>
            <a:off x="9253463" y="4316989"/>
            <a:ext cx="2438443"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3" name="Picture Placeholder 2">
            <a:extLst>
              <a:ext uri="{FF2B5EF4-FFF2-40B4-BE49-F238E27FC236}">
                <a16:creationId xmlns:a16="http://schemas.microsoft.com/office/drawing/2014/main" id="{CF0297DA-A2BE-B540-8933-F03D872DF107}"/>
              </a:ext>
            </a:extLst>
          </p:cNvPr>
          <p:cNvSpPr>
            <a:spLocks noGrp="1"/>
          </p:cNvSpPr>
          <p:nvPr>
            <p:ph type="pic" sz="quarter" idx="21"/>
          </p:nvPr>
        </p:nvSpPr>
        <p:spPr>
          <a:xfrm>
            <a:off x="0" y="0"/>
            <a:ext cx="5969000" cy="6858000"/>
          </a:xfrm>
          <a:prstGeom prst="rect">
            <a:avLst/>
          </a:prstGeom>
        </p:spPr>
        <p:txBody>
          <a:bodyPr/>
          <a:lstStyle/>
          <a:p>
            <a:endParaRPr lang="en-US"/>
          </a:p>
        </p:txBody>
      </p:sp>
    </p:spTree>
    <p:extLst>
      <p:ext uri="{BB962C8B-B14F-4D97-AF65-F5344CB8AC3E}">
        <p14:creationId xmlns:p14="http://schemas.microsoft.com/office/powerpoint/2010/main" val="13889364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a:lvl1pPr>
          </a:lstStyle>
          <a:p>
            <a:r>
              <a:rPr lang="en-US" dirty="0"/>
              <a:t>Click to edit Master title style</a:t>
            </a:r>
          </a:p>
        </p:txBody>
      </p:sp>
      <p:sp>
        <p:nvSpPr>
          <p:cNvPr id="5"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
        <p:nvSpPr>
          <p:cNvPr id="6" name="Rectangle 5"/>
          <p:cNvSpPr/>
          <p:nvPr userDrawn="1"/>
        </p:nvSpPr>
        <p:spPr>
          <a:xfrm>
            <a:off x="5188945" y="1"/>
            <a:ext cx="7003056"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BC Text" panose="02000000000000000000" pitchFamily="2" charset="77"/>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a:solidFill>
                  <a:srgbClr val="FFFFFF"/>
                </a:solidFill>
              </a:defRPr>
            </a:lvl1pPr>
          </a:lstStyle>
          <a:p>
            <a:r>
              <a:rPr lang="en-US" dirty="0"/>
              <a:t>Click to edit Master title style</a:t>
            </a:r>
          </a:p>
        </p:txBody>
      </p:sp>
      <p:sp>
        <p:nvSpPr>
          <p:cNvPr id="5"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5" name="Title 8"/>
          <p:cNvSpPr>
            <a:spLocks noGrp="1"/>
          </p:cNvSpPr>
          <p:nvPr>
            <p:ph type="title"/>
          </p:nvPr>
        </p:nvSpPr>
        <p:spPr>
          <a:xfrm>
            <a:off x="913016" y="1255290"/>
            <a:ext cx="10558547" cy="1325563"/>
          </a:xfrm>
          <a:prstGeom prst="rect">
            <a:avLst/>
          </a:prstGeom>
        </p:spPr>
        <p:txBody>
          <a:bodyPr lIns="0" rIns="0" anchor="t">
            <a:noAutofit/>
          </a:bodyPr>
          <a:lstStyle>
            <a:lvl1pPr>
              <a:defRPr sz="5400"/>
            </a:lvl1pPr>
          </a:lstStyle>
          <a:p>
            <a:r>
              <a:rPr lang="en-US" dirty="0"/>
              <a:t>Click to edit Master title style</a:t>
            </a:r>
          </a:p>
        </p:txBody>
      </p:sp>
      <p:sp>
        <p:nvSpPr>
          <p:cNvPr id="7" name="Picture Placeholder 6"/>
          <p:cNvSpPr>
            <a:spLocks noGrp="1"/>
          </p:cNvSpPr>
          <p:nvPr>
            <p:ph type="pic" sz="quarter" idx="12"/>
          </p:nvPr>
        </p:nvSpPr>
        <p:spPr>
          <a:xfrm>
            <a:off x="5626806" y="2807913"/>
            <a:ext cx="6284005" cy="4050086"/>
          </a:xfrm>
          <a:custGeom>
            <a:avLst/>
            <a:gdLst/>
            <a:ahLst/>
            <a:cxnLst/>
            <a:rect l="l" t="t" r="r" b="b"/>
            <a:pathLst>
              <a:path w="6284005" h="4050086">
                <a:moveTo>
                  <a:pt x="1485862" y="831075"/>
                </a:moveTo>
                <a:cubicBezTo>
                  <a:pt x="1422902" y="831075"/>
                  <a:pt x="1363090" y="844716"/>
                  <a:pt x="1306425" y="871999"/>
                </a:cubicBezTo>
                <a:cubicBezTo>
                  <a:pt x="1249761" y="899282"/>
                  <a:pt x="1200442" y="956996"/>
                  <a:pt x="1158469" y="1045140"/>
                </a:cubicBezTo>
                <a:cubicBezTo>
                  <a:pt x="1116495" y="1133284"/>
                  <a:pt x="1082917" y="1257106"/>
                  <a:pt x="1057732" y="1416605"/>
                </a:cubicBezTo>
                <a:cubicBezTo>
                  <a:pt x="1032548" y="1576105"/>
                  <a:pt x="1019956" y="1788071"/>
                  <a:pt x="1019956" y="2052504"/>
                </a:cubicBezTo>
                <a:cubicBezTo>
                  <a:pt x="1019956" y="2316937"/>
                  <a:pt x="1032548" y="2531002"/>
                  <a:pt x="1057732" y="2694699"/>
                </a:cubicBezTo>
                <a:cubicBezTo>
                  <a:pt x="1082917" y="2858395"/>
                  <a:pt x="1116495" y="2986414"/>
                  <a:pt x="1158469" y="3078756"/>
                </a:cubicBezTo>
                <a:cubicBezTo>
                  <a:pt x="1200442" y="3171098"/>
                  <a:pt x="1249761" y="3233009"/>
                  <a:pt x="1306425" y="3264489"/>
                </a:cubicBezTo>
                <a:cubicBezTo>
                  <a:pt x="1363090" y="3295969"/>
                  <a:pt x="1422902" y="3311709"/>
                  <a:pt x="1485862" y="3311709"/>
                </a:cubicBezTo>
                <a:cubicBezTo>
                  <a:pt x="1548822" y="3311709"/>
                  <a:pt x="1608634" y="3295969"/>
                  <a:pt x="1665299" y="3264489"/>
                </a:cubicBezTo>
                <a:cubicBezTo>
                  <a:pt x="1721963" y="3233009"/>
                  <a:pt x="1771282" y="3171098"/>
                  <a:pt x="1813255" y="3078756"/>
                </a:cubicBezTo>
                <a:cubicBezTo>
                  <a:pt x="1855229" y="2986414"/>
                  <a:pt x="1888808" y="2858395"/>
                  <a:pt x="1913992" y="2694699"/>
                </a:cubicBezTo>
                <a:cubicBezTo>
                  <a:pt x="1939176" y="2531002"/>
                  <a:pt x="1951768" y="2316937"/>
                  <a:pt x="1951768" y="2052504"/>
                </a:cubicBezTo>
                <a:cubicBezTo>
                  <a:pt x="1951768" y="1788071"/>
                  <a:pt x="1939176" y="1576105"/>
                  <a:pt x="1913992" y="1416605"/>
                </a:cubicBezTo>
                <a:cubicBezTo>
                  <a:pt x="1888808" y="1257106"/>
                  <a:pt x="1855229" y="1133284"/>
                  <a:pt x="1813255" y="1045140"/>
                </a:cubicBezTo>
                <a:cubicBezTo>
                  <a:pt x="1771282" y="956996"/>
                  <a:pt x="1721963" y="899282"/>
                  <a:pt x="1665299" y="871999"/>
                </a:cubicBezTo>
                <a:cubicBezTo>
                  <a:pt x="1608634" y="844716"/>
                  <a:pt x="1548822" y="831075"/>
                  <a:pt x="1485862" y="831075"/>
                </a:cubicBezTo>
                <a:close/>
                <a:moveTo>
                  <a:pt x="3740410" y="75552"/>
                </a:moveTo>
                <a:lnTo>
                  <a:pt x="6107715" y="75552"/>
                </a:lnTo>
                <a:lnTo>
                  <a:pt x="6107715" y="982180"/>
                </a:lnTo>
                <a:lnTo>
                  <a:pt x="4672221" y="982180"/>
                </a:lnTo>
                <a:lnTo>
                  <a:pt x="4621853" y="1561414"/>
                </a:lnTo>
                <a:cubicBezTo>
                  <a:pt x="4693209" y="1536230"/>
                  <a:pt x="4757218" y="1519441"/>
                  <a:pt x="4813883" y="1511046"/>
                </a:cubicBezTo>
                <a:cubicBezTo>
                  <a:pt x="4870547" y="1502651"/>
                  <a:pt x="4932457" y="1498454"/>
                  <a:pt x="4999615" y="1498454"/>
                </a:cubicBezTo>
                <a:cubicBezTo>
                  <a:pt x="5171706" y="1498454"/>
                  <a:pt x="5335403" y="1523638"/>
                  <a:pt x="5490705" y="1574006"/>
                </a:cubicBezTo>
                <a:cubicBezTo>
                  <a:pt x="5646007" y="1624374"/>
                  <a:pt x="5782421" y="1699927"/>
                  <a:pt x="5899947" y="1800663"/>
                </a:cubicBezTo>
                <a:cubicBezTo>
                  <a:pt x="6017472" y="1901399"/>
                  <a:pt x="6110863" y="2029419"/>
                  <a:pt x="6180120" y="2184720"/>
                </a:cubicBezTo>
                <a:cubicBezTo>
                  <a:pt x="6249377" y="2340023"/>
                  <a:pt x="6284005" y="2522608"/>
                  <a:pt x="6284005" y="2732475"/>
                </a:cubicBezTo>
                <a:cubicBezTo>
                  <a:pt x="6284005" y="2954934"/>
                  <a:pt x="6243080" y="3154309"/>
                  <a:pt x="6161231" y="3330597"/>
                </a:cubicBezTo>
                <a:cubicBezTo>
                  <a:pt x="6079383" y="3506886"/>
                  <a:pt x="5969203" y="3654843"/>
                  <a:pt x="5830690" y="3774467"/>
                </a:cubicBezTo>
                <a:cubicBezTo>
                  <a:pt x="5692177" y="3894092"/>
                  <a:pt x="5531629" y="3985384"/>
                  <a:pt x="5349044" y="4048344"/>
                </a:cubicBezTo>
                <a:lnTo>
                  <a:pt x="5343196" y="4050086"/>
                </a:lnTo>
                <a:lnTo>
                  <a:pt x="4106126" y="4050086"/>
                </a:lnTo>
                <a:lnTo>
                  <a:pt x="3926143" y="3982236"/>
                </a:lnTo>
                <a:cubicBezTo>
                  <a:pt x="3688993" y="3875204"/>
                  <a:pt x="3488569" y="3739839"/>
                  <a:pt x="3324873" y="3576142"/>
                </a:cubicBezTo>
                <a:lnTo>
                  <a:pt x="3803371" y="2896172"/>
                </a:lnTo>
                <a:cubicBezTo>
                  <a:pt x="3925093" y="3005303"/>
                  <a:pt x="4053113" y="3095546"/>
                  <a:pt x="4187428" y="3166900"/>
                </a:cubicBezTo>
                <a:cubicBezTo>
                  <a:pt x="4321743" y="3238255"/>
                  <a:pt x="4462355" y="3273933"/>
                  <a:pt x="4609261" y="3273933"/>
                </a:cubicBezTo>
                <a:cubicBezTo>
                  <a:pt x="4798142" y="3273933"/>
                  <a:pt x="4944000" y="3231959"/>
                  <a:pt x="5046835" y="3148013"/>
                </a:cubicBezTo>
                <a:cubicBezTo>
                  <a:pt x="5149670" y="3064065"/>
                  <a:pt x="5201088" y="2933948"/>
                  <a:pt x="5201088" y="2757659"/>
                </a:cubicBezTo>
                <a:cubicBezTo>
                  <a:pt x="5201088" y="2585568"/>
                  <a:pt x="5150719" y="2456499"/>
                  <a:pt x="5049983" y="2370453"/>
                </a:cubicBezTo>
                <a:cubicBezTo>
                  <a:pt x="4949247" y="2284408"/>
                  <a:pt x="4819129" y="2241385"/>
                  <a:pt x="4659629" y="2241385"/>
                </a:cubicBezTo>
                <a:cubicBezTo>
                  <a:pt x="4605064" y="2241385"/>
                  <a:pt x="4556795" y="2244533"/>
                  <a:pt x="4514821" y="2250829"/>
                </a:cubicBezTo>
                <a:cubicBezTo>
                  <a:pt x="4472848" y="2257125"/>
                  <a:pt x="4431923" y="2266569"/>
                  <a:pt x="4392049" y="2279161"/>
                </a:cubicBezTo>
                <a:cubicBezTo>
                  <a:pt x="4352174" y="2291753"/>
                  <a:pt x="4309151" y="2310641"/>
                  <a:pt x="4262981" y="2335825"/>
                </a:cubicBezTo>
                <a:cubicBezTo>
                  <a:pt x="4216809" y="2361010"/>
                  <a:pt x="4164343" y="2392490"/>
                  <a:pt x="4105579" y="2430266"/>
                </a:cubicBezTo>
                <a:lnTo>
                  <a:pt x="3639674" y="2128056"/>
                </a:lnTo>
                <a:close/>
                <a:moveTo>
                  <a:pt x="1485862" y="0"/>
                </a:moveTo>
                <a:cubicBezTo>
                  <a:pt x="1704124" y="0"/>
                  <a:pt x="1904548" y="43023"/>
                  <a:pt x="2087133" y="129069"/>
                </a:cubicBezTo>
                <a:cubicBezTo>
                  <a:pt x="2269717" y="215114"/>
                  <a:pt x="2427118" y="344183"/>
                  <a:pt x="2559334" y="516274"/>
                </a:cubicBezTo>
                <a:cubicBezTo>
                  <a:pt x="2691551" y="688365"/>
                  <a:pt x="2793336" y="902430"/>
                  <a:pt x="2864691" y="1158469"/>
                </a:cubicBezTo>
                <a:cubicBezTo>
                  <a:pt x="2936046" y="1414507"/>
                  <a:pt x="2971724" y="1712519"/>
                  <a:pt x="2971724" y="2052504"/>
                </a:cubicBezTo>
                <a:cubicBezTo>
                  <a:pt x="2971724" y="2392490"/>
                  <a:pt x="2936046" y="2692600"/>
                  <a:pt x="2864691" y="2952836"/>
                </a:cubicBezTo>
                <a:cubicBezTo>
                  <a:pt x="2793336" y="3213071"/>
                  <a:pt x="2691551" y="3431334"/>
                  <a:pt x="2559334" y="3607622"/>
                </a:cubicBezTo>
                <a:cubicBezTo>
                  <a:pt x="2427118" y="3783911"/>
                  <a:pt x="2269717" y="3917177"/>
                  <a:pt x="2087133" y="4007420"/>
                </a:cubicBezTo>
                <a:lnTo>
                  <a:pt x="1986066" y="4050086"/>
                </a:lnTo>
                <a:lnTo>
                  <a:pt x="981802" y="4050086"/>
                </a:lnTo>
                <a:lnTo>
                  <a:pt x="881444" y="4007420"/>
                </a:lnTo>
                <a:cubicBezTo>
                  <a:pt x="700958" y="3917177"/>
                  <a:pt x="544606" y="3783911"/>
                  <a:pt x="412390" y="3607622"/>
                </a:cubicBezTo>
                <a:cubicBezTo>
                  <a:pt x="280173" y="3431334"/>
                  <a:pt x="178388" y="3213071"/>
                  <a:pt x="107033" y="2952836"/>
                </a:cubicBezTo>
                <a:cubicBezTo>
                  <a:pt x="35678" y="2692600"/>
                  <a:pt x="0" y="2392490"/>
                  <a:pt x="0" y="2052504"/>
                </a:cubicBezTo>
                <a:cubicBezTo>
                  <a:pt x="0" y="1712519"/>
                  <a:pt x="35678" y="1413457"/>
                  <a:pt x="107033" y="1155321"/>
                </a:cubicBezTo>
                <a:cubicBezTo>
                  <a:pt x="178388" y="897183"/>
                  <a:pt x="280173" y="683119"/>
                  <a:pt x="412390" y="513126"/>
                </a:cubicBezTo>
                <a:cubicBezTo>
                  <a:pt x="544606" y="343133"/>
                  <a:pt x="700958" y="215114"/>
                  <a:pt x="881444" y="129069"/>
                </a:cubicBezTo>
                <a:cubicBezTo>
                  <a:pt x="1061930" y="43023"/>
                  <a:pt x="1263402" y="0"/>
                  <a:pt x="1485862" y="0"/>
                </a:cubicBezTo>
                <a:close/>
              </a:path>
            </a:pathLst>
          </a:custGeom>
          <a:gradFill>
            <a:gsLst>
              <a:gs pos="0">
                <a:schemeClr val="tx1">
                  <a:alpha val="20000"/>
                </a:schemeClr>
              </a:gs>
              <a:gs pos="98000">
                <a:schemeClr val="tx1">
                  <a:alpha val="5000"/>
                </a:schemeClr>
              </a:gs>
            </a:gsLst>
            <a:lin ang="5400000" scaled="1"/>
          </a:gradFill>
          <a:ln>
            <a:noFill/>
          </a:ln>
        </p:spPr>
        <p:txBody>
          <a:bodyPr wrap="square" rtlCol="0" anchor="ctr">
            <a:noAutofit/>
          </a:bodyPr>
          <a:lstStyle>
            <a:lvl1pPr algn="ctr">
              <a:defRPr sz="1200" b="0" i="0">
                <a:solidFill>
                  <a:schemeClr val="tx1"/>
                </a:solidFill>
                <a:latin typeface="RBC Text" panose="02000000000000000000" pitchFamily="2" charset="77"/>
              </a:defRPr>
            </a:lvl1pPr>
          </a:lstStyle>
          <a:p>
            <a:pPr lvl="0"/>
            <a:endParaRPr lang="en-US" noProof="0" dirty="0"/>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9_Custom Layout">
    <p:spTree>
      <p:nvGrpSpPr>
        <p:cNvPr id="1" name=""/>
        <p:cNvGrpSpPr/>
        <p:nvPr/>
      </p:nvGrpSpPr>
      <p:grpSpPr>
        <a:xfrm>
          <a:off x="0" y="0"/>
          <a:ext cx="0" cy="0"/>
          <a:chOff x="0" y="0"/>
          <a:chExt cx="0" cy="0"/>
        </a:xfrm>
      </p:grpSpPr>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F2031-1ED8-3D48-9EE4-EFE77AE9F5FC}"/>
              </a:ext>
            </a:extLst>
          </p:cNvPr>
          <p:cNvSpPr>
            <a:spLocks noGrp="1"/>
          </p:cNvSpPr>
          <p:nvPr>
            <p:ph type="sldNum" sz="quarter" idx="10"/>
          </p:nvPr>
        </p:nvSpPr>
        <p:spPr/>
        <p:txBody>
          <a:bodyPr/>
          <a:lstStyle/>
          <a:p>
            <a:fld id="{48F63A3B-78C7-47BE-AE5E-E10140E04643}" type="slidenum">
              <a:rPr lang="en-US" smtClean="0"/>
              <a:pPr/>
              <a:t>‹#›</a:t>
            </a:fld>
            <a:endParaRPr lang="en-US" dirty="0"/>
          </a:p>
        </p:txBody>
      </p:sp>
      <p:sp>
        <p:nvSpPr>
          <p:cNvPr id="4" name="Rectangle 5">
            <a:extLst>
              <a:ext uri="{FF2B5EF4-FFF2-40B4-BE49-F238E27FC236}">
                <a16:creationId xmlns:a16="http://schemas.microsoft.com/office/drawing/2014/main" id="{235AA73D-4298-0142-8B3C-22D67BE9E82E}"/>
              </a:ext>
            </a:extLst>
          </p:cNvPr>
          <p:cNvSpPr>
            <a:spLocks noChangeArrowheads="1"/>
          </p:cNvSpPr>
          <p:nvPr userDrawn="1"/>
        </p:nvSpPr>
        <p:spPr bwMode="auto">
          <a:xfrm>
            <a:off x="167248" y="169505"/>
            <a:ext cx="11847273" cy="656354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pic>
        <p:nvPicPr>
          <p:cNvPr id="2" name="Picture 1" descr="A picture containing drawing&#10;&#10;Description automatically generated">
            <a:extLst>
              <a:ext uri="{FF2B5EF4-FFF2-40B4-BE49-F238E27FC236}">
                <a16:creationId xmlns:a16="http://schemas.microsoft.com/office/drawing/2014/main" id="{0BCE3241-D70B-9B83-D141-FCAAD40BB574}"/>
              </a:ext>
            </a:extLst>
          </p:cNvPr>
          <p:cNvPicPr>
            <a:picLocks noChangeAspect="1"/>
          </p:cNvPicPr>
          <p:nvPr userDrawn="1"/>
        </p:nvPicPr>
        <p:blipFill>
          <a:blip r:embed="rId2"/>
          <a:srcRect r="50898"/>
          <a:stretch/>
        </p:blipFill>
        <p:spPr>
          <a:xfrm>
            <a:off x="9566303" y="6080997"/>
            <a:ext cx="1063597" cy="408879"/>
          </a:xfrm>
          <a:prstGeom prst="rect">
            <a:avLst/>
          </a:prstGeom>
        </p:spPr>
      </p:pic>
      <p:pic>
        <p:nvPicPr>
          <p:cNvPr id="5" name="Picture 4" descr="A blue text on a black background&#10;&#10;Description automatically generated">
            <a:extLst>
              <a:ext uri="{FF2B5EF4-FFF2-40B4-BE49-F238E27FC236}">
                <a16:creationId xmlns:a16="http://schemas.microsoft.com/office/drawing/2014/main" id="{0AA72EAF-96BB-65AA-3AAB-BEB93CCC864D}"/>
              </a:ext>
            </a:extLst>
          </p:cNvPr>
          <p:cNvPicPr>
            <a:picLocks noChangeAspect="1"/>
          </p:cNvPicPr>
          <p:nvPr userDrawn="1"/>
        </p:nvPicPr>
        <p:blipFill>
          <a:blip r:embed="rId3"/>
          <a:stretch>
            <a:fillRect/>
          </a:stretch>
        </p:blipFill>
        <p:spPr>
          <a:xfrm>
            <a:off x="7958771" y="6042899"/>
            <a:ext cx="1247142" cy="502087"/>
          </a:xfrm>
          <a:prstGeom prst="rect">
            <a:avLst/>
          </a:prstGeom>
        </p:spPr>
      </p:pic>
      <p:grpSp>
        <p:nvGrpSpPr>
          <p:cNvPr id="6" name="Group 5">
            <a:extLst>
              <a:ext uri="{FF2B5EF4-FFF2-40B4-BE49-F238E27FC236}">
                <a16:creationId xmlns:a16="http://schemas.microsoft.com/office/drawing/2014/main" id="{BD049514-5A5E-9B3C-BDAB-8D77551EC00F}"/>
              </a:ext>
            </a:extLst>
          </p:cNvPr>
          <p:cNvGrpSpPr/>
          <p:nvPr userDrawn="1"/>
        </p:nvGrpSpPr>
        <p:grpSpPr>
          <a:xfrm>
            <a:off x="10742115" y="6042899"/>
            <a:ext cx="990271" cy="476885"/>
            <a:chOff x="11096216" y="312988"/>
            <a:chExt cx="710177" cy="342000"/>
          </a:xfrm>
        </p:grpSpPr>
        <p:pic>
          <p:nvPicPr>
            <p:cNvPr id="9" name="Picture 8" descr="A logo of a person playing golf&#10;&#10;Description automatically generated">
              <a:extLst>
                <a:ext uri="{FF2B5EF4-FFF2-40B4-BE49-F238E27FC236}">
                  <a16:creationId xmlns:a16="http://schemas.microsoft.com/office/drawing/2014/main" id="{735E2F7F-15FC-B521-F5F2-BF4D87D1E1CA}"/>
                </a:ext>
              </a:extLst>
            </p:cNvPr>
            <p:cNvPicPr>
              <a:picLocks noChangeAspect="1"/>
            </p:cNvPicPr>
            <p:nvPr userDrawn="1"/>
          </p:nvPicPr>
          <p:blipFill>
            <a:blip r:embed="rId4"/>
            <a:stretch>
              <a:fillRect/>
            </a:stretch>
          </p:blipFill>
          <p:spPr>
            <a:xfrm>
              <a:off x="11096216" y="312988"/>
              <a:ext cx="301511" cy="342000"/>
            </a:xfrm>
            <a:prstGeom prst="rect">
              <a:avLst/>
            </a:prstGeom>
          </p:spPr>
        </p:pic>
        <p:pic>
          <p:nvPicPr>
            <p:cNvPr id="10" name="Picture 9" descr="A picture containing drawing&#10;&#10;Description automatically generated">
              <a:extLst>
                <a:ext uri="{FF2B5EF4-FFF2-40B4-BE49-F238E27FC236}">
                  <a16:creationId xmlns:a16="http://schemas.microsoft.com/office/drawing/2014/main" id="{E27F1C31-6442-6589-F09E-39CE7293BE1B}"/>
                </a:ext>
              </a:extLst>
            </p:cNvPr>
            <p:cNvPicPr>
              <a:picLocks noChangeAspect="1"/>
            </p:cNvPicPr>
            <p:nvPr userDrawn="1"/>
          </p:nvPicPr>
          <p:blipFill>
            <a:blip r:embed="rId2"/>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75084343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2_Cover Slide 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8A9B61C-7922-477A-9898-94F3BA2D8CBB}"/>
              </a:ext>
            </a:extLst>
          </p:cNvPr>
          <p:cNvPicPr>
            <a:picLocks/>
          </p:cNvPicPr>
          <p:nvPr userDrawn="1"/>
        </p:nvPicPr>
        <p:blipFill>
          <a:blip r:embed="rId2"/>
          <a:stretch>
            <a:fillRect/>
          </a:stretch>
        </p:blipFill>
        <p:spPr>
          <a:xfrm>
            <a:off x="-9144" y="-9145"/>
            <a:ext cx="12243816" cy="6912864"/>
          </a:xfrm>
          <a:prstGeom prst="rect">
            <a:avLst/>
          </a:prstGeom>
        </p:spPr>
      </p:pic>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3" y="1070457"/>
            <a:ext cx="10455357" cy="1081072"/>
          </a:xfrm>
        </p:spPr>
        <p:txBody>
          <a:bodyPr anchor="t" anchorCtr="0">
            <a:normAutofit/>
          </a:bodyPr>
          <a:lstStyle>
            <a:lvl1pPr algn="l">
              <a:defRPr sz="3791">
                <a:solidFill>
                  <a:schemeClr val="tx2"/>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5"/>
            <a:ext cx="7438734" cy="770307"/>
          </a:xfrm>
        </p:spPr>
        <p:txBody>
          <a:bodyPr/>
          <a:lstStyle>
            <a:lvl1pPr marL="0" indent="0" algn="l">
              <a:buNone/>
              <a:defRPr sz="1995">
                <a:solidFill>
                  <a:schemeClr val="tx2"/>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3528" y="6233780"/>
            <a:ext cx="1553136" cy="182880"/>
          </a:xfrm>
          <a:prstGeom prst="rect">
            <a:avLst/>
          </a:prstGeom>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9675E95-FD22-4BED-AE44-541B5D6564DD}" type="datetime4">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January 29, 2025</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F9F485DC-74C3-42E9-9CFC-DF8112EC5FF7}"/>
              </a:ext>
            </a:extLst>
          </p:cNvPr>
          <p:cNvSpPr>
            <a:spLocks noGrp="1"/>
          </p:cNvSpPr>
          <p:nvPr>
            <p:ph type="ftr" sz="quarter" idx="11"/>
          </p:nvPr>
        </p:nvSpPr>
        <p:spPr>
          <a:xfrm>
            <a:off x="1996664" y="6233780"/>
            <a:ext cx="8408484" cy="182880"/>
          </a:xfrm>
          <a:prstGeom prst="rect">
            <a:avLst/>
          </a:prstGeom>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B07F1BB3-8B8D-4578-8F67-DAEF7F7374AA}"/>
              </a:ext>
            </a:extLst>
          </p:cNvPr>
          <p:cNvSpPr>
            <a:spLocks noGrp="1"/>
          </p:cNvSpPr>
          <p:nvPr>
            <p:ph type="sldNum" sz="quarter" idx="12"/>
          </p:nvPr>
        </p:nvSpPr>
        <p:spPr>
          <a:xfrm>
            <a:off x="10506206" y="6233780"/>
            <a:ext cx="290858" cy="286804"/>
          </a:xfrm>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0D53123-EF31-4C08-A865-932FC064F9C8}" type="slidenum">
              <a:rPr kumimoji="0" lang="en-US" sz="900" b="0" i="0" u="none" strike="noStrike" kern="1200" cap="none" spc="0" normalizeH="0" baseline="0" noProof="0" smtClean="0">
                <a:ln>
                  <a:noFill/>
                </a:ln>
                <a:solidFill>
                  <a:srgbClr val="000000"/>
                </a:solidFill>
                <a:effectLst/>
                <a:uLnTx/>
                <a:uFillTx/>
                <a:latin typeface="RBC Display"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RBC Display" panose="02000000000000000000" pitchFamily="2" charset="0"/>
              <a:ea typeface="+mn-ea"/>
              <a:cs typeface="+mn-cs"/>
            </a:endParaRPr>
          </a:p>
        </p:txBody>
      </p:sp>
      <p:sp>
        <p:nvSpPr>
          <p:cNvPr id="11" name="Text Placeholder 10">
            <a:extLst>
              <a:ext uri="{FF2B5EF4-FFF2-40B4-BE49-F238E27FC236}">
                <a16:creationId xmlns:a16="http://schemas.microsoft.com/office/drawing/2014/main" id="{43886405-B75E-43CB-9D5D-89CBE7F6FF1A}"/>
              </a:ext>
            </a:extLst>
          </p:cNvPr>
          <p:cNvSpPr>
            <a:spLocks noGrp="1"/>
          </p:cNvSpPr>
          <p:nvPr>
            <p:ph type="body" sz="quarter" idx="13" hasCustomPrompt="1"/>
          </p:nvPr>
        </p:nvSpPr>
        <p:spPr>
          <a:xfrm>
            <a:off x="455042" y="310963"/>
            <a:ext cx="5640959" cy="178243"/>
          </a:xfrm>
        </p:spPr>
        <p:txBody>
          <a:bodyPr>
            <a:normAutofit/>
          </a:bodyPr>
          <a:lstStyle>
            <a:lvl1pPr>
              <a:defRPr sz="1097" b="1"/>
            </a:lvl1pPr>
          </a:lstStyle>
          <a:p>
            <a:pPr lvl="0"/>
            <a:r>
              <a:rPr lang="en-US" dirty="0"/>
              <a:t>Business Descriptor</a:t>
            </a:r>
          </a:p>
        </p:txBody>
      </p:sp>
      <p:sp>
        <p:nvSpPr>
          <p:cNvPr id="13"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326" y="5974146"/>
            <a:ext cx="5654675" cy="255587"/>
          </a:xfrm>
        </p:spPr>
        <p:txBody>
          <a:bodyPr>
            <a:normAutofit/>
          </a:bodyPr>
          <a:lstStyle>
            <a:lvl1pPr>
              <a:defRPr sz="1496" b="1">
                <a:solidFill>
                  <a:schemeClr val="tx1"/>
                </a:solidFill>
              </a:defRPr>
            </a:lvl1pPr>
          </a:lstStyle>
          <a:p>
            <a:pPr lvl="0"/>
            <a:r>
              <a:rPr lang="en-US" dirty="0"/>
              <a:t>Presenter Name</a:t>
            </a:r>
          </a:p>
        </p:txBody>
      </p:sp>
    </p:spTree>
    <p:extLst>
      <p:ext uri="{BB962C8B-B14F-4D97-AF65-F5344CB8AC3E}">
        <p14:creationId xmlns:p14="http://schemas.microsoft.com/office/powerpoint/2010/main" val="38725872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Content &amp; Subhea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6D1E3F-C79F-4598-BC7B-670BA0280822}"/>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5" name="Footer Placeholder 4">
            <a:extLst>
              <a:ext uri="{FF2B5EF4-FFF2-40B4-BE49-F238E27FC236}">
                <a16:creationId xmlns:a16="http://schemas.microsoft.com/office/drawing/2014/main" id="{3F17ACFC-AC10-4E44-92D6-B90E8BC0F389}"/>
              </a:ext>
            </a:extLst>
          </p:cNvPr>
          <p:cNvSpPr>
            <a:spLocks noGrp="1"/>
          </p:cNvSpPr>
          <p:nvPr>
            <p:ph type="ftr" sz="quarter" idx="11"/>
          </p:nvPr>
        </p:nvSpPr>
        <p:spPr/>
        <p:txBody>
          <a:bodyPr/>
          <a:lstStyle/>
          <a:p>
            <a:r>
              <a:rPr lang="en-US" dirty="0"/>
              <a:t>RBCxMusic – F’20 Strategic Approach</a:t>
            </a:r>
            <a:endParaRPr lang="en-CA" dirty="0"/>
          </a:p>
        </p:txBody>
      </p:sp>
      <p:sp>
        <p:nvSpPr>
          <p:cNvPr id="4" name="Date Placeholder 3">
            <a:extLst>
              <a:ext uri="{FF2B5EF4-FFF2-40B4-BE49-F238E27FC236}">
                <a16:creationId xmlns:a16="http://schemas.microsoft.com/office/drawing/2014/main" id="{1E90E98B-414D-454A-9C0B-6A4DFD9EF7FC}"/>
              </a:ext>
            </a:extLst>
          </p:cNvPr>
          <p:cNvSpPr>
            <a:spLocks noGrp="1"/>
          </p:cNvSpPr>
          <p:nvPr>
            <p:ph type="dt" sz="half" idx="10"/>
          </p:nvPr>
        </p:nvSpPr>
        <p:spPr/>
        <p:txBody>
          <a:bodyPr/>
          <a:lstStyle/>
          <a:p>
            <a:fld id="{523C734F-7F28-4D37-B8BB-5219935CE016}" type="datetime4">
              <a:rPr lang="en-CA" smtClean="0"/>
              <a:t>January 29, 2025</a:t>
            </a:fld>
            <a:endParaRPr lang="en-CA" dirty="0"/>
          </a:p>
        </p:txBody>
      </p:sp>
      <p:sp>
        <p:nvSpPr>
          <p:cNvPr id="8" name="Text Placeholder 6">
            <a:extLst>
              <a:ext uri="{FF2B5EF4-FFF2-40B4-BE49-F238E27FC236}">
                <a16:creationId xmlns:a16="http://schemas.microsoft.com/office/drawing/2014/main" id="{A9AE3F76-B9DE-4752-800E-856A591AF64E}"/>
              </a:ext>
            </a:extLst>
          </p:cNvPr>
          <p:cNvSpPr>
            <a:spLocks noGrp="1"/>
          </p:cNvSpPr>
          <p:nvPr>
            <p:ph type="body" sz="quarter" idx="13"/>
          </p:nvPr>
        </p:nvSpPr>
        <p:spPr>
          <a:xfrm>
            <a:off x="685800" y="5943600"/>
            <a:ext cx="10210800" cy="411480"/>
          </a:xfrm>
        </p:spPr>
        <p:txBody>
          <a:bodyPr anchor="b" anchorCtr="0"/>
          <a:lstStyle>
            <a:lvl1pPr>
              <a:defRPr sz="1000"/>
            </a:lvl1pPr>
          </a:lstStyle>
          <a:p>
            <a:pPr lvl="0"/>
            <a:r>
              <a:rPr lang="en-CA" dirty="0"/>
              <a:t>Edit Master text styles</a:t>
            </a:r>
          </a:p>
        </p:txBody>
      </p:sp>
      <p:sp>
        <p:nvSpPr>
          <p:cNvPr id="3" name="Content Placeholder 2">
            <a:extLst>
              <a:ext uri="{FF2B5EF4-FFF2-40B4-BE49-F238E27FC236}">
                <a16:creationId xmlns:a16="http://schemas.microsoft.com/office/drawing/2014/main" id="{20692665-EEBA-45F4-8CCA-4E4B3AB9C67E}"/>
              </a:ext>
            </a:extLst>
          </p:cNvPr>
          <p:cNvSpPr>
            <a:spLocks noGrp="1"/>
          </p:cNvSpPr>
          <p:nvPr>
            <p:ph idx="1"/>
          </p:nvPr>
        </p:nvSpPr>
        <p:spPr/>
        <p:txBody>
          <a:bodyPr/>
          <a:lstStyle/>
          <a:p>
            <a:pPr lvl="0"/>
            <a:r>
              <a:rPr lang="en-CA" dirty="0"/>
              <a:t>Edit Master text styles</a:t>
            </a:r>
          </a:p>
          <a:p>
            <a:pPr lvl="1"/>
            <a:r>
              <a:rPr lang="en-CA" dirty="0"/>
              <a:t>Second level</a:t>
            </a:r>
          </a:p>
          <a:p>
            <a:pPr lvl="2"/>
            <a:r>
              <a:rPr lang="en-CA" dirty="0"/>
              <a:t>Third level</a:t>
            </a:r>
          </a:p>
          <a:p>
            <a:pPr lvl="3"/>
            <a:r>
              <a:rPr lang="en-CA" dirty="0"/>
              <a:t>Fourth level</a:t>
            </a:r>
          </a:p>
          <a:p>
            <a:pPr lvl="4"/>
            <a:r>
              <a:rPr lang="en-CA" dirty="0"/>
              <a:t>Fifth level</a:t>
            </a:r>
          </a:p>
        </p:txBody>
      </p:sp>
      <p:sp>
        <p:nvSpPr>
          <p:cNvPr id="7" name="Text Placeholder 8">
            <a:extLst>
              <a:ext uri="{FF2B5EF4-FFF2-40B4-BE49-F238E27FC236}">
                <a16:creationId xmlns:a16="http://schemas.microsoft.com/office/drawing/2014/main" id="{1EE2B480-7875-40D2-B37C-9E37F2F6FB92}"/>
              </a:ext>
            </a:extLst>
          </p:cNvPr>
          <p:cNvSpPr>
            <a:spLocks noGrp="1"/>
          </p:cNvSpPr>
          <p:nvPr>
            <p:ph type="body" sz="quarter" idx="14"/>
          </p:nvPr>
        </p:nvSpPr>
        <p:spPr>
          <a:xfrm>
            <a:off x="685800" y="776606"/>
            <a:ext cx="10210800" cy="414019"/>
          </a:xfrm>
        </p:spPr>
        <p:txBody>
          <a:bodyPr anchor="ctr" anchorCtr="0"/>
          <a:lstStyle/>
          <a:p>
            <a:pPr lvl="0"/>
            <a:r>
              <a:rPr lang="en-CA" dirty="0"/>
              <a:t>Edit Master text styles</a:t>
            </a:r>
          </a:p>
        </p:txBody>
      </p:sp>
      <p:sp>
        <p:nvSpPr>
          <p:cNvPr id="2" name="Title 1">
            <a:extLst>
              <a:ext uri="{FF2B5EF4-FFF2-40B4-BE49-F238E27FC236}">
                <a16:creationId xmlns:a16="http://schemas.microsoft.com/office/drawing/2014/main" id="{ED44F4B7-9B8C-4799-AEEA-05A3EE9EC5B6}"/>
              </a:ext>
            </a:extLst>
          </p:cNvPr>
          <p:cNvSpPr>
            <a:spLocks noGrp="1"/>
          </p:cNvSpPr>
          <p:nvPr>
            <p:ph type="title"/>
          </p:nvPr>
        </p:nvSpPr>
        <p:spPr>
          <a:xfrm>
            <a:off x="685800" y="522786"/>
            <a:ext cx="10210800" cy="411480"/>
          </a:xfrm>
        </p:spPr>
        <p:txBody>
          <a:bodyPr/>
          <a:lstStyle/>
          <a:p>
            <a:r>
              <a:rPr lang="en-CA" dirty="0"/>
              <a:t>Click to edit Master title style</a:t>
            </a:r>
          </a:p>
        </p:txBody>
      </p:sp>
      <p:sp>
        <p:nvSpPr>
          <p:cNvPr id="9" name="Rectangle 8">
            <a:extLst>
              <a:ext uri="{FF2B5EF4-FFF2-40B4-BE49-F238E27FC236}">
                <a16:creationId xmlns:a16="http://schemas.microsoft.com/office/drawing/2014/main" id="{63352DD0-2525-25E2-4B1F-E8FF73D120FE}"/>
              </a:ext>
            </a:extLst>
          </p:cNvPr>
          <p:cNvSpPr/>
          <p:nvPr userDrawn="1"/>
        </p:nvSpPr>
        <p:spPr>
          <a:xfrm>
            <a:off x="11171583" y="5864087"/>
            <a:ext cx="864704" cy="894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57254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2128A33-E2C2-4D47-8C3A-8A948EDD5C0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993995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F0297DA-A2BE-B540-8933-F03D872DF107}"/>
              </a:ext>
            </a:extLst>
          </p:cNvPr>
          <p:cNvSpPr>
            <a:spLocks noGrp="1"/>
          </p:cNvSpPr>
          <p:nvPr>
            <p:ph type="pic" sz="quarter" idx="21"/>
          </p:nvPr>
        </p:nvSpPr>
        <p:spPr>
          <a:xfrm>
            <a:off x="6223000" y="0"/>
            <a:ext cx="5969000" cy="6858000"/>
          </a:xfrm>
          <a:prstGeom prst="rect">
            <a:avLst/>
          </a:prstGeom>
        </p:spPr>
        <p:txBody>
          <a:bodyPr/>
          <a:lstStyle/>
          <a:p>
            <a:endParaRPr lang="en-US"/>
          </a:p>
        </p:txBody>
      </p:sp>
      <p:sp>
        <p:nvSpPr>
          <p:cNvPr id="7" name="Text Placeholder 6">
            <a:extLst>
              <a:ext uri="{FF2B5EF4-FFF2-40B4-BE49-F238E27FC236}">
                <a16:creationId xmlns:a16="http://schemas.microsoft.com/office/drawing/2014/main" id="{5499CA93-D15C-9C4B-BFB0-41977F73167A}"/>
              </a:ext>
            </a:extLst>
          </p:cNvPr>
          <p:cNvSpPr>
            <a:spLocks noGrp="1"/>
          </p:cNvSpPr>
          <p:nvPr>
            <p:ph type="body" sz="quarter" idx="10"/>
          </p:nvPr>
        </p:nvSpPr>
        <p:spPr>
          <a:xfrm>
            <a:off x="609088" y="1528206"/>
            <a:ext cx="4398741" cy="1378028"/>
          </a:xfrm>
          <a:prstGeom prst="rect">
            <a:avLst/>
          </a:prstGeom>
        </p:spPr>
        <p:txBody>
          <a:bodyPr/>
          <a:lstStyle>
            <a:lvl1pPr>
              <a:defRPr sz="3733" spc="67" baseline="0">
                <a:solidFill>
                  <a:srgbClr val="003863"/>
                </a:solidFill>
                <a:latin typeface="RBC Display" panose="02000000000000000000" pitchFamily="2" charset="77"/>
              </a:defRPr>
            </a:lvl1pPr>
          </a:lstStyle>
          <a:p>
            <a:pPr lvl="0"/>
            <a:r>
              <a:rPr lang="en-US" dirty="0"/>
              <a:t>Click to edit Master text styles</a:t>
            </a:r>
          </a:p>
        </p:txBody>
      </p:sp>
      <p:sp>
        <p:nvSpPr>
          <p:cNvPr id="8" name="Text Placeholder 6">
            <a:extLst>
              <a:ext uri="{FF2B5EF4-FFF2-40B4-BE49-F238E27FC236}">
                <a16:creationId xmlns:a16="http://schemas.microsoft.com/office/drawing/2014/main" id="{84C05BFB-6727-DC45-B467-E7B87FC5A727}"/>
              </a:ext>
            </a:extLst>
          </p:cNvPr>
          <p:cNvSpPr>
            <a:spLocks noGrp="1"/>
          </p:cNvSpPr>
          <p:nvPr>
            <p:ph type="body" sz="quarter" idx="11" hasCustomPrompt="1"/>
          </p:nvPr>
        </p:nvSpPr>
        <p:spPr>
          <a:xfrm>
            <a:off x="624328" y="1035838"/>
            <a:ext cx="2423203" cy="482639"/>
          </a:xfrm>
          <a:prstGeom prst="rect">
            <a:avLst/>
          </a:prstGeom>
        </p:spPr>
        <p:txBody>
          <a:bodyPr/>
          <a:lstStyle>
            <a:lvl1pPr>
              <a:defRPr sz="1333" spc="133" baseline="0">
                <a:solidFill>
                  <a:srgbClr val="003863"/>
                </a:solidFill>
                <a:latin typeface="RBC Display" panose="02000000000000000000" pitchFamily="2" charset="77"/>
              </a:defRPr>
            </a:lvl1pPr>
          </a:lstStyle>
          <a:p>
            <a:pPr lvl="0"/>
            <a:r>
              <a:rPr lang="en-US" dirty="0"/>
              <a:t>SECTION  /  Title</a:t>
            </a:r>
          </a:p>
        </p:txBody>
      </p:sp>
      <p:sp>
        <p:nvSpPr>
          <p:cNvPr id="5" name="Text Placeholder 6">
            <a:extLst>
              <a:ext uri="{FF2B5EF4-FFF2-40B4-BE49-F238E27FC236}">
                <a16:creationId xmlns:a16="http://schemas.microsoft.com/office/drawing/2014/main" id="{3A0E3F1A-9AE5-4846-A4A9-26D581E7F54E}"/>
              </a:ext>
            </a:extLst>
          </p:cNvPr>
          <p:cNvSpPr>
            <a:spLocks noGrp="1"/>
          </p:cNvSpPr>
          <p:nvPr>
            <p:ph type="body" sz="quarter" idx="14" hasCustomPrompt="1"/>
          </p:nvPr>
        </p:nvSpPr>
        <p:spPr>
          <a:xfrm>
            <a:off x="624328" y="4767662"/>
            <a:ext cx="2438441" cy="1632865"/>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endParaRPr lang="en-US" dirty="0"/>
          </a:p>
        </p:txBody>
      </p:sp>
      <p:sp>
        <p:nvSpPr>
          <p:cNvPr id="11" name="Text Placeholder 6">
            <a:extLst>
              <a:ext uri="{FF2B5EF4-FFF2-40B4-BE49-F238E27FC236}">
                <a16:creationId xmlns:a16="http://schemas.microsoft.com/office/drawing/2014/main" id="{7E4F9E97-42F4-074C-B17A-C0C500C4FB1A}"/>
              </a:ext>
            </a:extLst>
          </p:cNvPr>
          <p:cNvSpPr>
            <a:spLocks noGrp="1"/>
          </p:cNvSpPr>
          <p:nvPr>
            <p:ph type="body" sz="quarter" idx="18" hasCustomPrompt="1"/>
          </p:nvPr>
        </p:nvSpPr>
        <p:spPr>
          <a:xfrm>
            <a:off x="609087" y="4316989"/>
            <a:ext cx="2438443"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14" name="Text Placeholder 6">
            <a:extLst>
              <a:ext uri="{FF2B5EF4-FFF2-40B4-BE49-F238E27FC236}">
                <a16:creationId xmlns:a16="http://schemas.microsoft.com/office/drawing/2014/main" id="{A2632445-AE8D-CD49-A0DC-D4968352CFA3}"/>
              </a:ext>
            </a:extLst>
          </p:cNvPr>
          <p:cNvSpPr>
            <a:spLocks noGrp="1"/>
          </p:cNvSpPr>
          <p:nvPr>
            <p:ph type="body" sz="quarter" idx="19" hasCustomPrompt="1"/>
          </p:nvPr>
        </p:nvSpPr>
        <p:spPr>
          <a:xfrm>
            <a:off x="3502206" y="4767662"/>
            <a:ext cx="2438441" cy="1632865"/>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endParaRPr lang="en-US" dirty="0"/>
          </a:p>
        </p:txBody>
      </p:sp>
      <p:sp>
        <p:nvSpPr>
          <p:cNvPr id="15" name="Text Placeholder 6">
            <a:extLst>
              <a:ext uri="{FF2B5EF4-FFF2-40B4-BE49-F238E27FC236}">
                <a16:creationId xmlns:a16="http://schemas.microsoft.com/office/drawing/2014/main" id="{3F17E663-AC25-8341-A413-59F0B4A2340D}"/>
              </a:ext>
            </a:extLst>
          </p:cNvPr>
          <p:cNvSpPr>
            <a:spLocks noGrp="1"/>
          </p:cNvSpPr>
          <p:nvPr>
            <p:ph type="body" sz="quarter" idx="20" hasCustomPrompt="1"/>
          </p:nvPr>
        </p:nvSpPr>
        <p:spPr>
          <a:xfrm>
            <a:off x="3486965" y="4316989"/>
            <a:ext cx="2438443"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pic>
        <p:nvPicPr>
          <p:cNvPr id="12" name="Picture 11">
            <a:extLst>
              <a:ext uri="{FF2B5EF4-FFF2-40B4-BE49-F238E27FC236}">
                <a16:creationId xmlns:a16="http://schemas.microsoft.com/office/drawing/2014/main" id="{D63A3D60-4384-D442-958B-5A2696F3981E}"/>
              </a:ext>
            </a:extLst>
          </p:cNvPr>
          <p:cNvPicPr>
            <a:picLocks noChangeAspect="1"/>
          </p:cNvPicPr>
          <p:nvPr userDrawn="1"/>
        </p:nvPicPr>
        <p:blipFill>
          <a:blip r:embed="rId2"/>
          <a:stretch>
            <a:fillRect/>
          </a:stretch>
        </p:blipFill>
        <p:spPr>
          <a:xfrm>
            <a:off x="740245" y="393155"/>
            <a:ext cx="841536" cy="299212"/>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914AE3B9-BD66-0349-BE18-E872273BF907}"/>
              </a:ext>
            </a:extLst>
          </p:cNvPr>
          <p:cNvPicPr>
            <a:picLocks noChangeAspect="1"/>
          </p:cNvPicPr>
          <p:nvPr userDrawn="1"/>
        </p:nvPicPr>
        <p:blipFill>
          <a:blip r:embed="rId3"/>
          <a:stretch>
            <a:fillRect/>
          </a:stretch>
        </p:blipFill>
        <p:spPr>
          <a:xfrm>
            <a:off x="4340296" y="378197"/>
            <a:ext cx="1585112" cy="299212"/>
          </a:xfrm>
          <a:prstGeom prst="rect">
            <a:avLst/>
          </a:prstGeom>
        </p:spPr>
      </p:pic>
    </p:spTree>
    <p:extLst>
      <p:ext uri="{BB962C8B-B14F-4D97-AF65-F5344CB8AC3E}">
        <p14:creationId xmlns:p14="http://schemas.microsoft.com/office/powerpoint/2010/main" val="6926853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499CA93-D15C-9C4B-BFB0-41977F73167A}"/>
              </a:ext>
            </a:extLst>
          </p:cNvPr>
          <p:cNvSpPr>
            <a:spLocks noGrp="1"/>
          </p:cNvSpPr>
          <p:nvPr>
            <p:ph type="body" sz="quarter" idx="10"/>
          </p:nvPr>
        </p:nvSpPr>
        <p:spPr>
          <a:xfrm>
            <a:off x="427405" y="961136"/>
            <a:ext cx="9291025" cy="621481"/>
          </a:xfrm>
          <a:prstGeom prst="rect">
            <a:avLst/>
          </a:prstGeom>
        </p:spPr>
        <p:txBody>
          <a:bodyPr/>
          <a:lstStyle>
            <a:lvl1pPr>
              <a:defRPr sz="3733" spc="67" baseline="0">
                <a:solidFill>
                  <a:srgbClr val="003863"/>
                </a:solidFill>
                <a:latin typeface="RBC Display" panose="02000000000000000000" pitchFamily="2" charset="77"/>
              </a:defRPr>
            </a:lvl1pPr>
          </a:lstStyle>
          <a:p>
            <a:pPr lvl="0"/>
            <a:r>
              <a:rPr lang="en-US" dirty="0"/>
              <a:t>Click to edit Master text styles</a:t>
            </a:r>
          </a:p>
        </p:txBody>
      </p:sp>
      <p:sp>
        <p:nvSpPr>
          <p:cNvPr id="8" name="Text Placeholder 6">
            <a:extLst>
              <a:ext uri="{FF2B5EF4-FFF2-40B4-BE49-F238E27FC236}">
                <a16:creationId xmlns:a16="http://schemas.microsoft.com/office/drawing/2014/main" id="{84C05BFB-6727-DC45-B467-E7B87FC5A727}"/>
              </a:ext>
            </a:extLst>
          </p:cNvPr>
          <p:cNvSpPr>
            <a:spLocks noGrp="1"/>
          </p:cNvSpPr>
          <p:nvPr>
            <p:ph type="body" sz="quarter" idx="11" hasCustomPrompt="1"/>
          </p:nvPr>
        </p:nvSpPr>
        <p:spPr>
          <a:xfrm>
            <a:off x="462576" y="468768"/>
            <a:ext cx="9232409" cy="328405"/>
          </a:xfrm>
          <a:prstGeom prst="rect">
            <a:avLst/>
          </a:prstGeom>
        </p:spPr>
        <p:txBody>
          <a:bodyPr/>
          <a:lstStyle>
            <a:lvl1pPr>
              <a:defRPr sz="1333" spc="133" baseline="0">
                <a:solidFill>
                  <a:srgbClr val="003863"/>
                </a:solidFill>
                <a:latin typeface="RBC Display" panose="02000000000000000000" pitchFamily="2" charset="77"/>
              </a:defRPr>
            </a:lvl1pPr>
          </a:lstStyle>
          <a:p>
            <a:pPr lvl="0"/>
            <a:r>
              <a:rPr lang="en-US" dirty="0"/>
              <a:t>SECTION  /  Title</a:t>
            </a:r>
          </a:p>
        </p:txBody>
      </p:sp>
      <p:sp>
        <p:nvSpPr>
          <p:cNvPr id="10" name="Text Placeholder 6">
            <a:extLst>
              <a:ext uri="{FF2B5EF4-FFF2-40B4-BE49-F238E27FC236}">
                <a16:creationId xmlns:a16="http://schemas.microsoft.com/office/drawing/2014/main" id="{3A730B3F-0897-8D4D-BE4C-E943128CC57C}"/>
              </a:ext>
            </a:extLst>
          </p:cNvPr>
          <p:cNvSpPr>
            <a:spLocks noGrp="1"/>
          </p:cNvSpPr>
          <p:nvPr>
            <p:ph type="body" sz="quarter" idx="13" hasCustomPrompt="1"/>
          </p:nvPr>
        </p:nvSpPr>
        <p:spPr>
          <a:xfrm>
            <a:off x="4422396" y="3768476"/>
            <a:ext cx="3286009"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 </a:t>
            </a:r>
            <a:r>
              <a:rPr lang="en-CA" b="0" i="0" dirty="0" err="1">
                <a:solidFill>
                  <a:srgbClr val="000000"/>
                </a:solidFill>
                <a:effectLst/>
                <a:latin typeface="Open Sans" panose="020B0606030504020204" pitchFamily="34" charset="0"/>
              </a:rPr>
              <a:t>hendrer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justo</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ffici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odio</a:t>
            </a:r>
            <a:r>
              <a:rPr lang="en-CA" b="0" i="0" dirty="0">
                <a:solidFill>
                  <a:srgbClr val="000000"/>
                </a:solidFill>
                <a:effectLst/>
                <a:latin typeface="Open Sans" panose="020B0606030504020204" pitchFamily="34" charset="0"/>
              </a:rPr>
              <a:t>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Vivamus</a:t>
            </a:r>
            <a:r>
              <a:rPr lang="en-CA" b="0" i="0" dirty="0">
                <a:solidFill>
                  <a:srgbClr val="000000"/>
                </a:solidFill>
                <a:effectLst/>
                <a:latin typeface="Open Sans" panose="020B0606030504020204" pitchFamily="34" charset="0"/>
              </a:rPr>
              <a:t> porta </a:t>
            </a:r>
            <a:r>
              <a:rPr lang="en-CA" b="0" i="0" dirty="0" err="1">
                <a:solidFill>
                  <a:srgbClr val="000000"/>
                </a:solidFill>
                <a:effectLst/>
                <a:latin typeface="Open Sans" panose="020B0606030504020204" pitchFamily="34" charset="0"/>
              </a:rPr>
              <a:t>molestie</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sodales</a:t>
            </a:r>
            <a:r>
              <a:rPr lang="en-CA" b="0" i="0" dirty="0">
                <a:solidFill>
                  <a:srgbClr val="000000"/>
                </a:solidFill>
                <a:effectLst/>
                <a:latin typeface="Open Sans" panose="020B0606030504020204" pitchFamily="34" charset="0"/>
              </a:rPr>
              <a:t>. Nunc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sapien</a:t>
            </a:r>
            <a:r>
              <a:rPr lang="en-CA" b="0" i="0" dirty="0">
                <a:solidFill>
                  <a:srgbClr val="000000"/>
                </a:solidFill>
                <a:effectLst/>
                <a:latin typeface="Open Sans" panose="020B0606030504020204" pitchFamily="34" charset="0"/>
              </a:rPr>
              <a:t> non </a:t>
            </a:r>
            <a:r>
              <a:rPr lang="en-CA" b="0" i="0" dirty="0" err="1">
                <a:solidFill>
                  <a:srgbClr val="000000"/>
                </a:solidFill>
                <a:effectLst/>
                <a:latin typeface="Open Sans" panose="020B0606030504020204" pitchFamily="34" charset="0"/>
              </a:rPr>
              <a:t>nibh</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ugia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luctus</a:t>
            </a:r>
            <a:r>
              <a:rPr lang="en-CA" b="0" i="0" dirty="0">
                <a:solidFill>
                  <a:srgbClr val="000000"/>
                </a:solidFill>
                <a:effectLst/>
                <a:latin typeface="Open Sans" panose="020B0606030504020204" pitchFamily="34" charset="0"/>
              </a:rPr>
              <a:t> a vitae </a:t>
            </a:r>
            <a:r>
              <a:rPr lang="en-CA" b="0" i="0" dirty="0" err="1">
                <a:solidFill>
                  <a:srgbClr val="000000"/>
                </a:solidFill>
                <a:effectLst/>
                <a:latin typeface="Open Sans" panose="020B0606030504020204" pitchFamily="34" charset="0"/>
              </a:rPr>
              <a:t>nibh</a:t>
            </a:r>
            <a:r>
              <a:rPr lang="en-CA" b="0" i="0" dirty="0">
                <a:solidFill>
                  <a:srgbClr val="000000"/>
                </a:solidFill>
                <a:effectLst/>
                <a:latin typeface="Open Sans" panose="020B0606030504020204" pitchFamily="34" charset="0"/>
              </a:rPr>
              <a:t>.</a:t>
            </a:r>
            <a:endParaRPr lang="en-US" dirty="0"/>
          </a:p>
        </p:txBody>
      </p:sp>
      <p:sp>
        <p:nvSpPr>
          <p:cNvPr id="12" name="Text Placeholder 6">
            <a:extLst>
              <a:ext uri="{FF2B5EF4-FFF2-40B4-BE49-F238E27FC236}">
                <a16:creationId xmlns:a16="http://schemas.microsoft.com/office/drawing/2014/main" id="{B1F3B2FF-DE1D-E946-AEC7-91BC18129639}"/>
              </a:ext>
            </a:extLst>
          </p:cNvPr>
          <p:cNvSpPr>
            <a:spLocks noGrp="1"/>
          </p:cNvSpPr>
          <p:nvPr>
            <p:ph type="body" sz="quarter" idx="14" hasCustomPrompt="1"/>
          </p:nvPr>
        </p:nvSpPr>
        <p:spPr>
          <a:xfrm>
            <a:off x="8293356" y="3768476"/>
            <a:ext cx="3286009" cy="2663288"/>
          </a:xfrm>
          <a:prstGeom prst="rect">
            <a:avLst/>
          </a:prstGeom>
        </p:spPr>
        <p:txBody>
          <a:bodyPr/>
          <a:lstStyle>
            <a:lvl1pPr>
              <a:lnSpc>
                <a:spcPts val="2433"/>
              </a:lnSpc>
              <a:defRPr lang="en-CA" sz="1600" b="0" i="0" smtClean="0">
                <a:solidFill>
                  <a:srgbClr val="242524"/>
                </a:solidFill>
                <a:effectLst/>
                <a:latin typeface="RBC Text"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 </a:t>
            </a:r>
            <a:r>
              <a:rPr lang="en-CA" b="0" i="0" dirty="0" err="1">
                <a:solidFill>
                  <a:srgbClr val="000000"/>
                </a:solidFill>
                <a:effectLst/>
                <a:latin typeface="Open Sans" panose="020B0606030504020204" pitchFamily="34" charset="0"/>
              </a:rPr>
              <a:t>hendrer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justo</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ffici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odio</a:t>
            </a:r>
            <a:r>
              <a:rPr lang="en-CA" b="0" i="0" dirty="0">
                <a:solidFill>
                  <a:srgbClr val="000000"/>
                </a:solidFill>
                <a:effectLst/>
                <a:latin typeface="Open Sans" panose="020B0606030504020204" pitchFamily="34" charset="0"/>
              </a:rPr>
              <a:t>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Vivamus</a:t>
            </a:r>
            <a:r>
              <a:rPr lang="en-CA" b="0" i="0" dirty="0">
                <a:solidFill>
                  <a:srgbClr val="000000"/>
                </a:solidFill>
                <a:effectLst/>
                <a:latin typeface="Open Sans" panose="020B0606030504020204" pitchFamily="34" charset="0"/>
              </a:rPr>
              <a:t> porta </a:t>
            </a:r>
            <a:r>
              <a:rPr lang="en-CA" b="0" i="0" dirty="0" err="1">
                <a:solidFill>
                  <a:srgbClr val="000000"/>
                </a:solidFill>
                <a:effectLst/>
                <a:latin typeface="Open Sans" panose="020B0606030504020204" pitchFamily="34" charset="0"/>
              </a:rPr>
              <a:t>molestie</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sodales</a:t>
            </a:r>
            <a:r>
              <a:rPr lang="en-CA" b="0" i="0" dirty="0">
                <a:solidFill>
                  <a:srgbClr val="000000"/>
                </a:solidFill>
                <a:effectLst/>
                <a:latin typeface="Open Sans" panose="020B0606030504020204" pitchFamily="34" charset="0"/>
              </a:rPr>
              <a:t>. Nunc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sapien</a:t>
            </a:r>
            <a:r>
              <a:rPr lang="en-CA" b="0" i="0" dirty="0">
                <a:solidFill>
                  <a:srgbClr val="000000"/>
                </a:solidFill>
                <a:effectLst/>
                <a:latin typeface="Open Sans" panose="020B0606030504020204" pitchFamily="34" charset="0"/>
              </a:rPr>
              <a:t> non </a:t>
            </a:r>
            <a:r>
              <a:rPr lang="en-CA" b="0" i="0" dirty="0" err="1">
                <a:solidFill>
                  <a:srgbClr val="000000"/>
                </a:solidFill>
                <a:effectLst/>
                <a:latin typeface="Open Sans" panose="020B0606030504020204" pitchFamily="34" charset="0"/>
              </a:rPr>
              <a:t>nibh</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ugia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luctus</a:t>
            </a:r>
            <a:r>
              <a:rPr lang="en-CA" b="0" i="0" dirty="0">
                <a:solidFill>
                  <a:srgbClr val="000000"/>
                </a:solidFill>
                <a:effectLst/>
                <a:latin typeface="Open Sans" panose="020B0606030504020204" pitchFamily="34" charset="0"/>
              </a:rPr>
              <a:t> a vitae </a:t>
            </a:r>
            <a:r>
              <a:rPr lang="en-CA" b="0" i="0" dirty="0" err="1">
                <a:solidFill>
                  <a:srgbClr val="000000"/>
                </a:solidFill>
                <a:effectLst/>
                <a:latin typeface="Open Sans" panose="020B0606030504020204" pitchFamily="34" charset="0"/>
              </a:rPr>
              <a:t>nibh</a:t>
            </a:r>
            <a:r>
              <a:rPr lang="en-CA" b="0" i="0" dirty="0">
                <a:solidFill>
                  <a:srgbClr val="000000"/>
                </a:solidFill>
                <a:effectLst/>
                <a:latin typeface="Open Sans" panose="020B0606030504020204" pitchFamily="34" charset="0"/>
              </a:rPr>
              <a:t>.</a:t>
            </a:r>
            <a:endParaRPr lang="en-US" dirty="0"/>
          </a:p>
        </p:txBody>
      </p:sp>
      <p:sp>
        <p:nvSpPr>
          <p:cNvPr id="13" name="Text Placeholder 6">
            <a:extLst>
              <a:ext uri="{FF2B5EF4-FFF2-40B4-BE49-F238E27FC236}">
                <a16:creationId xmlns:a16="http://schemas.microsoft.com/office/drawing/2014/main" id="{2852EA9E-816D-6F4E-B4EA-2B0C2DF16DB6}"/>
              </a:ext>
            </a:extLst>
          </p:cNvPr>
          <p:cNvSpPr>
            <a:spLocks noGrp="1"/>
          </p:cNvSpPr>
          <p:nvPr>
            <p:ph type="body" sz="quarter" idx="15" hasCustomPrompt="1"/>
          </p:nvPr>
        </p:nvSpPr>
        <p:spPr>
          <a:xfrm>
            <a:off x="612396" y="3768476"/>
            <a:ext cx="3286009" cy="2663288"/>
          </a:xfrm>
          <a:prstGeom prst="rect">
            <a:avLst/>
          </a:prstGeom>
        </p:spPr>
        <p:txBody>
          <a:bodyPr/>
          <a:lstStyle>
            <a:lvl1pPr>
              <a:lnSpc>
                <a:spcPts val="2433"/>
              </a:lnSpc>
              <a:defRPr lang="en-CA" sz="1600" b="0" i="0" smtClean="0">
                <a:solidFill>
                  <a:srgbClr val="242524"/>
                </a:solidFill>
                <a:effectLst/>
                <a:latin typeface="RBC Display" panose="02000000000000000000" pitchFamily="2" charset="77"/>
              </a:defRPr>
            </a:lvl1pPr>
          </a:lstStyle>
          <a:p>
            <a:pPr lvl="0"/>
            <a:r>
              <a:rPr lang="en-CA" b="0" i="0" dirty="0">
                <a:solidFill>
                  <a:srgbClr val="000000"/>
                </a:solidFill>
                <a:effectLst/>
                <a:latin typeface="Open Sans" panose="020B0606030504020204" pitchFamily="34" charset="0"/>
              </a:rPr>
              <a:t>Lorem ipsum dolor sit </a:t>
            </a:r>
            <a:r>
              <a:rPr lang="en-CA" b="0" i="0" dirty="0" err="1">
                <a:solidFill>
                  <a:srgbClr val="000000"/>
                </a:solidFill>
                <a:effectLst/>
                <a:latin typeface="Open Sans" panose="020B0606030504020204" pitchFamily="34" charset="0"/>
              </a:rPr>
              <a:t>ame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consecte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adipiscing</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Sed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mi et </a:t>
            </a:r>
            <a:r>
              <a:rPr lang="en-CA" b="0" i="0" dirty="0" err="1">
                <a:solidFill>
                  <a:srgbClr val="000000"/>
                </a:solidFill>
                <a:effectLst/>
                <a:latin typeface="Open Sans" panose="020B0606030504020204" pitchFamily="34" charset="0"/>
              </a:rPr>
              <a:t>rhoncu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ullamcorpe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ligula </a:t>
            </a:r>
            <a:r>
              <a:rPr lang="en-CA" b="0" i="0" dirty="0" err="1">
                <a:solidFill>
                  <a:srgbClr val="000000"/>
                </a:solidFill>
                <a:effectLst/>
                <a:latin typeface="Open Sans" panose="020B0606030504020204" pitchFamily="34" charset="0"/>
              </a:rPr>
              <a:t>hendrer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justo</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efficitur</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lis</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odio</a:t>
            </a:r>
            <a:r>
              <a:rPr lang="en-CA" b="0" i="0" dirty="0">
                <a:solidFill>
                  <a:srgbClr val="000000"/>
                </a:solidFill>
                <a:effectLst/>
                <a:latin typeface="Open Sans" panose="020B0606030504020204" pitchFamily="34" charset="0"/>
              </a:rPr>
              <a:t> at </a:t>
            </a:r>
            <a:r>
              <a:rPr lang="en-CA" b="0" i="0" dirty="0" err="1">
                <a:solidFill>
                  <a:srgbClr val="000000"/>
                </a:solidFill>
                <a:effectLst/>
                <a:latin typeface="Open Sans" panose="020B0606030504020204" pitchFamily="34" charset="0"/>
              </a:rPr>
              <a:t>eli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Vivamus</a:t>
            </a:r>
            <a:r>
              <a:rPr lang="en-CA" b="0" i="0" dirty="0">
                <a:solidFill>
                  <a:srgbClr val="000000"/>
                </a:solidFill>
                <a:effectLst/>
                <a:latin typeface="Open Sans" panose="020B0606030504020204" pitchFamily="34" charset="0"/>
              </a:rPr>
              <a:t> porta </a:t>
            </a:r>
            <a:r>
              <a:rPr lang="en-CA" b="0" i="0" dirty="0" err="1">
                <a:solidFill>
                  <a:srgbClr val="000000"/>
                </a:solidFill>
                <a:effectLst/>
                <a:latin typeface="Open Sans" panose="020B0606030504020204" pitchFamily="34" charset="0"/>
              </a:rPr>
              <a:t>molestie</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sodales</a:t>
            </a:r>
            <a:r>
              <a:rPr lang="en-CA" b="0" i="0" dirty="0">
                <a:solidFill>
                  <a:srgbClr val="000000"/>
                </a:solidFill>
                <a:effectLst/>
                <a:latin typeface="Open Sans" panose="020B0606030504020204" pitchFamily="34" charset="0"/>
              </a:rPr>
              <a:t>. Nunc </a:t>
            </a:r>
            <a:r>
              <a:rPr lang="en-CA" b="0" i="0" dirty="0" err="1">
                <a:solidFill>
                  <a:srgbClr val="000000"/>
                </a:solidFill>
                <a:effectLst/>
                <a:latin typeface="Open Sans" panose="020B0606030504020204" pitchFamily="34" charset="0"/>
              </a:rPr>
              <a:t>nec</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sapien</a:t>
            </a:r>
            <a:r>
              <a:rPr lang="en-CA" b="0" i="0" dirty="0">
                <a:solidFill>
                  <a:srgbClr val="000000"/>
                </a:solidFill>
                <a:effectLst/>
                <a:latin typeface="Open Sans" panose="020B0606030504020204" pitchFamily="34" charset="0"/>
              </a:rPr>
              <a:t> non </a:t>
            </a:r>
            <a:r>
              <a:rPr lang="en-CA" b="0" i="0" dirty="0" err="1">
                <a:solidFill>
                  <a:srgbClr val="000000"/>
                </a:solidFill>
                <a:effectLst/>
                <a:latin typeface="Open Sans" panose="020B0606030504020204" pitchFamily="34" charset="0"/>
              </a:rPr>
              <a:t>nibh</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feugiat</a:t>
            </a:r>
            <a:r>
              <a:rPr lang="en-CA" b="0" i="0" dirty="0">
                <a:solidFill>
                  <a:srgbClr val="000000"/>
                </a:solidFill>
                <a:effectLst/>
                <a:latin typeface="Open Sans" panose="020B0606030504020204" pitchFamily="34" charset="0"/>
              </a:rPr>
              <a:t> </a:t>
            </a:r>
            <a:r>
              <a:rPr lang="en-CA" b="0" i="0" dirty="0" err="1">
                <a:solidFill>
                  <a:srgbClr val="000000"/>
                </a:solidFill>
                <a:effectLst/>
                <a:latin typeface="Open Sans" panose="020B0606030504020204" pitchFamily="34" charset="0"/>
              </a:rPr>
              <a:t>luctus</a:t>
            </a:r>
            <a:r>
              <a:rPr lang="en-CA" b="0" i="0" dirty="0">
                <a:solidFill>
                  <a:srgbClr val="000000"/>
                </a:solidFill>
                <a:effectLst/>
                <a:latin typeface="Open Sans" panose="020B0606030504020204" pitchFamily="34" charset="0"/>
              </a:rPr>
              <a:t> a vitae </a:t>
            </a:r>
            <a:r>
              <a:rPr lang="en-CA" b="0" i="0" dirty="0" err="1">
                <a:solidFill>
                  <a:srgbClr val="000000"/>
                </a:solidFill>
                <a:effectLst/>
                <a:latin typeface="Open Sans" panose="020B0606030504020204" pitchFamily="34" charset="0"/>
              </a:rPr>
              <a:t>nibh</a:t>
            </a:r>
            <a:r>
              <a:rPr lang="en-CA" b="0" i="0" dirty="0">
                <a:solidFill>
                  <a:srgbClr val="000000"/>
                </a:solidFill>
                <a:effectLst/>
                <a:latin typeface="Open Sans" panose="020B0606030504020204" pitchFamily="34" charset="0"/>
              </a:rPr>
              <a:t>.</a:t>
            </a:r>
            <a:endParaRPr lang="en-US" dirty="0"/>
          </a:p>
        </p:txBody>
      </p:sp>
      <p:sp>
        <p:nvSpPr>
          <p:cNvPr id="14" name="Text Placeholder 6">
            <a:extLst>
              <a:ext uri="{FF2B5EF4-FFF2-40B4-BE49-F238E27FC236}">
                <a16:creationId xmlns:a16="http://schemas.microsoft.com/office/drawing/2014/main" id="{068208CE-6246-E84D-AB34-B27D17699EE1}"/>
              </a:ext>
            </a:extLst>
          </p:cNvPr>
          <p:cNvSpPr>
            <a:spLocks noGrp="1"/>
          </p:cNvSpPr>
          <p:nvPr>
            <p:ph type="body" sz="quarter" idx="16" hasCustomPrompt="1"/>
          </p:nvPr>
        </p:nvSpPr>
        <p:spPr>
          <a:xfrm>
            <a:off x="612395" y="3317804"/>
            <a:ext cx="3286011"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16" name="Text Placeholder 6">
            <a:extLst>
              <a:ext uri="{FF2B5EF4-FFF2-40B4-BE49-F238E27FC236}">
                <a16:creationId xmlns:a16="http://schemas.microsoft.com/office/drawing/2014/main" id="{FAF8A731-D5E4-434A-AA37-E7E31EEFE6E2}"/>
              </a:ext>
            </a:extLst>
          </p:cNvPr>
          <p:cNvSpPr>
            <a:spLocks noGrp="1"/>
          </p:cNvSpPr>
          <p:nvPr>
            <p:ph type="body" sz="quarter" idx="17" hasCustomPrompt="1"/>
          </p:nvPr>
        </p:nvSpPr>
        <p:spPr>
          <a:xfrm>
            <a:off x="4422395" y="3317804"/>
            <a:ext cx="3286011"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
        <p:nvSpPr>
          <p:cNvPr id="17" name="Text Placeholder 6">
            <a:extLst>
              <a:ext uri="{FF2B5EF4-FFF2-40B4-BE49-F238E27FC236}">
                <a16:creationId xmlns:a16="http://schemas.microsoft.com/office/drawing/2014/main" id="{658E2F14-CFA0-944D-B344-D431AA6E2B18}"/>
              </a:ext>
            </a:extLst>
          </p:cNvPr>
          <p:cNvSpPr>
            <a:spLocks noGrp="1"/>
          </p:cNvSpPr>
          <p:nvPr>
            <p:ph type="body" sz="quarter" idx="18" hasCustomPrompt="1"/>
          </p:nvPr>
        </p:nvSpPr>
        <p:spPr>
          <a:xfrm>
            <a:off x="8278115" y="3317804"/>
            <a:ext cx="3286011" cy="440945"/>
          </a:xfrm>
          <a:prstGeom prst="rect">
            <a:avLst/>
          </a:prstGeom>
        </p:spPr>
        <p:txBody>
          <a:bodyPr/>
          <a:lstStyle>
            <a:lvl1pPr>
              <a:defRPr sz="2133" b="1" spc="133" baseline="0">
                <a:solidFill>
                  <a:srgbClr val="003863"/>
                </a:solidFill>
                <a:latin typeface="RBC Display" panose="02000000000000000000" pitchFamily="2" charset="77"/>
              </a:defRPr>
            </a:lvl1pPr>
          </a:lstStyle>
          <a:p>
            <a:pPr lvl="0"/>
            <a:r>
              <a:rPr lang="en-US" dirty="0"/>
              <a:t>COLUMN ONE</a:t>
            </a:r>
          </a:p>
        </p:txBody>
      </p:sp>
    </p:spTree>
    <p:extLst>
      <p:ext uri="{BB962C8B-B14F-4D97-AF65-F5344CB8AC3E}">
        <p14:creationId xmlns:p14="http://schemas.microsoft.com/office/powerpoint/2010/main" val="1025409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63" Type="http://schemas.openxmlformats.org/officeDocument/2006/relationships/image" Target="../media/image2.png"/><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5" Type="http://schemas.openxmlformats.org/officeDocument/2006/relationships/slideLayout" Target="../slideLayouts/slideLayout19.xml"/><Relationship Id="rId61" Type="http://schemas.openxmlformats.org/officeDocument/2006/relationships/theme" Target="../theme/theme2.xml"/><Relationship Id="rId19" Type="http://schemas.openxmlformats.org/officeDocument/2006/relationships/slideLayout" Target="../slideLayouts/slideLayout3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64" Type="http://schemas.openxmlformats.org/officeDocument/2006/relationships/image" Target="../media/image3.png"/><Relationship Id="rId8" Type="http://schemas.openxmlformats.org/officeDocument/2006/relationships/slideLayout" Target="../slideLayouts/slideLayout22.xml"/><Relationship Id="rId51" Type="http://schemas.openxmlformats.org/officeDocument/2006/relationships/slideLayout" Target="../slideLayouts/slideLayout65.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image" Target="../media/image1.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77.xml"/><Relationship Id="rId7" Type="http://schemas.openxmlformats.org/officeDocument/2006/relationships/image" Target="../media/image16.emf"/><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Line 8">
            <a:extLst>
              <a:ext uri="{FF2B5EF4-FFF2-40B4-BE49-F238E27FC236}">
                <a16:creationId xmlns:a16="http://schemas.microsoft.com/office/drawing/2014/main" id="{1C645F6C-6935-4670-9BE1-56A33964EC81}"/>
              </a:ext>
            </a:extLst>
          </p:cNvPr>
          <p:cNvSpPr>
            <a:spLocks noChangeShapeType="1"/>
          </p:cNvSpPr>
          <p:nvPr userDrawn="1"/>
        </p:nvSpPr>
        <p:spPr bwMode="auto">
          <a:xfrm flipV="1">
            <a:off x="1" y="6858000"/>
            <a:ext cx="12191841" cy="0"/>
          </a:xfrm>
          <a:prstGeom prst="line">
            <a:avLst/>
          </a:prstGeom>
          <a:noFill/>
          <a:ln w="6350" cap="flat">
            <a:solidFill>
              <a:srgbClr val="0051A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800" dirty="0">
              <a:solidFill>
                <a:srgbClr val="000000"/>
              </a:solidFill>
            </a:endParaRPr>
          </a:p>
        </p:txBody>
      </p:sp>
      <p:sp>
        <p:nvSpPr>
          <p:cNvPr id="6" name="Rectangle 5">
            <a:extLst>
              <a:ext uri="{FF2B5EF4-FFF2-40B4-BE49-F238E27FC236}">
                <a16:creationId xmlns:a16="http://schemas.microsoft.com/office/drawing/2014/main" id="{8A042C65-AB81-7049-8ADE-52877294189F}"/>
              </a:ext>
            </a:extLst>
          </p:cNvPr>
          <p:cNvSpPr>
            <a:spLocks noChangeArrowheads="1"/>
          </p:cNvSpPr>
          <p:nvPr userDrawn="1"/>
        </p:nvSpPr>
        <p:spPr bwMode="auto">
          <a:xfrm>
            <a:off x="162486" y="169506"/>
            <a:ext cx="11847273" cy="6551961"/>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7" name="Slide Number Placeholder 5">
            <a:extLst>
              <a:ext uri="{FF2B5EF4-FFF2-40B4-BE49-F238E27FC236}">
                <a16:creationId xmlns:a16="http://schemas.microsoft.com/office/drawing/2014/main" id="{28ACE186-274C-3D45-9ECF-2F4EF8E0C020}"/>
              </a:ext>
            </a:extLst>
          </p:cNvPr>
          <p:cNvSpPr>
            <a:spLocks noGrp="1"/>
          </p:cNvSpPr>
          <p:nvPr>
            <p:ph type="sldNum" sz="quarter" idx="4"/>
          </p:nvPr>
        </p:nvSpPr>
        <p:spPr>
          <a:xfrm>
            <a:off x="9173640" y="6403440"/>
            <a:ext cx="2743200" cy="318035"/>
          </a:xfrm>
          <a:prstGeom prst="rect">
            <a:avLst/>
          </a:prstGeom>
        </p:spPr>
        <p:txBody>
          <a:bodyPr vert="horz" lIns="91440" tIns="45720" rIns="91440" bIns="45720" rtlCol="0" anchor="ctr"/>
          <a:lstStyle>
            <a:lvl1pPr algn="r">
              <a:defRPr sz="1200" b="0" i="0">
                <a:solidFill>
                  <a:schemeClr val="tx1">
                    <a:tint val="75000"/>
                  </a:schemeClr>
                </a:solidFill>
                <a:latin typeface="RBC Text" panose="02000000000000000000" pitchFamily="2" charset="77"/>
              </a:defRPr>
            </a:lvl1pPr>
          </a:lstStyle>
          <a:p>
            <a:fld id="{48F63A3B-78C7-47BE-AE5E-E10140E04643}" type="slidenum">
              <a:rPr lang="en-US" smtClean="0"/>
              <a:pPr/>
              <a:t>‹#›</a:t>
            </a:fld>
            <a:endParaRPr lang="en-US" dirty="0"/>
          </a:p>
        </p:txBody>
      </p:sp>
      <p:pic>
        <p:nvPicPr>
          <p:cNvPr id="10" name="Picture 9" descr="A picture containing drawing&#10;&#10;Description automatically generated">
            <a:extLst>
              <a:ext uri="{FF2B5EF4-FFF2-40B4-BE49-F238E27FC236}">
                <a16:creationId xmlns:a16="http://schemas.microsoft.com/office/drawing/2014/main" id="{EE0B2962-E72F-FF41-AAB1-4095CDC508E4}"/>
              </a:ext>
            </a:extLst>
          </p:cNvPr>
          <p:cNvPicPr>
            <a:picLocks noChangeAspect="1"/>
          </p:cNvPicPr>
          <p:nvPr userDrawn="1"/>
        </p:nvPicPr>
        <p:blipFill>
          <a:blip r:embed="rId16"/>
          <a:srcRect r="50443"/>
          <a:stretch/>
        </p:blipFill>
        <p:spPr>
          <a:xfrm>
            <a:off x="10239872" y="339853"/>
            <a:ext cx="775791" cy="295502"/>
          </a:xfrm>
          <a:prstGeom prst="rect">
            <a:avLst/>
          </a:prstGeom>
        </p:spPr>
      </p:pic>
      <p:pic>
        <p:nvPicPr>
          <p:cNvPr id="3" name="Picture 2" descr="A blue text on a black background&#10;&#10;Description automatically generated">
            <a:extLst>
              <a:ext uri="{FF2B5EF4-FFF2-40B4-BE49-F238E27FC236}">
                <a16:creationId xmlns:a16="http://schemas.microsoft.com/office/drawing/2014/main" id="{3B1F7D2B-42A8-8F54-4323-198C44440779}"/>
              </a:ext>
            </a:extLst>
          </p:cNvPr>
          <p:cNvPicPr>
            <a:picLocks noChangeAspect="1"/>
          </p:cNvPicPr>
          <p:nvPr userDrawn="1"/>
        </p:nvPicPr>
        <p:blipFill>
          <a:blip r:embed="rId17"/>
          <a:stretch>
            <a:fillRect/>
          </a:stretch>
        </p:blipFill>
        <p:spPr>
          <a:xfrm>
            <a:off x="9086064" y="305328"/>
            <a:ext cx="961250" cy="386989"/>
          </a:xfrm>
          <a:prstGeom prst="rect">
            <a:avLst/>
          </a:prstGeom>
        </p:spPr>
      </p:pic>
      <p:grpSp>
        <p:nvGrpSpPr>
          <p:cNvPr id="12" name="Group 11">
            <a:extLst>
              <a:ext uri="{FF2B5EF4-FFF2-40B4-BE49-F238E27FC236}">
                <a16:creationId xmlns:a16="http://schemas.microsoft.com/office/drawing/2014/main" id="{FBA16B25-D91B-050C-3684-463CFD354DB9}"/>
              </a:ext>
            </a:extLst>
          </p:cNvPr>
          <p:cNvGrpSpPr/>
          <p:nvPr userDrawn="1"/>
        </p:nvGrpSpPr>
        <p:grpSpPr>
          <a:xfrm>
            <a:off x="11096216" y="312988"/>
            <a:ext cx="710177" cy="342000"/>
            <a:chOff x="11096216" y="312988"/>
            <a:chExt cx="710177" cy="342000"/>
          </a:xfrm>
        </p:grpSpPr>
        <p:pic>
          <p:nvPicPr>
            <p:cNvPr id="5" name="Picture 4" descr="A logo of a person playing golf&#10;&#10;Description automatically generated">
              <a:extLst>
                <a:ext uri="{FF2B5EF4-FFF2-40B4-BE49-F238E27FC236}">
                  <a16:creationId xmlns:a16="http://schemas.microsoft.com/office/drawing/2014/main" id="{046B622F-5354-B04D-25B9-38370735EC25}"/>
                </a:ext>
              </a:extLst>
            </p:cNvPr>
            <p:cNvPicPr>
              <a:picLocks noChangeAspect="1"/>
            </p:cNvPicPr>
            <p:nvPr userDrawn="1"/>
          </p:nvPicPr>
          <p:blipFill>
            <a:blip r:embed="rId18"/>
            <a:stretch>
              <a:fillRect/>
            </a:stretch>
          </p:blipFill>
          <p:spPr>
            <a:xfrm>
              <a:off x="11096216" y="312988"/>
              <a:ext cx="301511" cy="342000"/>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8A72F932-7635-D9A5-572C-787181F2F21C}"/>
                </a:ext>
              </a:extLst>
            </p:cNvPr>
            <p:cNvPicPr>
              <a:picLocks noChangeAspect="1"/>
            </p:cNvPicPr>
            <p:nvPr userDrawn="1"/>
          </p:nvPicPr>
          <p:blipFill>
            <a:blip r:embed="rId16"/>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3203717474"/>
      </p:ext>
    </p:extLst>
  </p:cSld>
  <p:clrMap bg1="lt1" tx1="dk1" bg2="lt2" tx2="dk2" accent1="accent1" accent2="accent2" accent3="accent3" accent4="accent4" accent5="accent5" accent6="accent6" hlink="hlink" folHlink="folHlink"/>
  <p:sldLayoutIdLst>
    <p:sldLayoutId id="2147484232" r:id="rId1"/>
    <p:sldLayoutId id="2147484233" r:id="rId2"/>
    <p:sldLayoutId id="2147484234" r:id="rId3"/>
    <p:sldLayoutId id="2147484235" r:id="rId4"/>
    <p:sldLayoutId id="2147484236" r:id="rId5"/>
    <p:sldLayoutId id="2147484237" r:id="rId6"/>
    <p:sldLayoutId id="2147484238" r:id="rId7"/>
    <p:sldLayoutId id="2147484239" r:id="rId8"/>
    <p:sldLayoutId id="2147484240" r:id="rId9"/>
    <p:sldLayoutId id="2147484241" r:id="rId10"/>
    <p:sldLayoutId id="2147484242" r:id="rId11"/>
    <p:sldLayoutId id="2147484243" r:id="rId12"/>
    <p:sldLayoutId id="2147484244" r:id="rId13"/>
    <p:sldLayoutId id="2147484245" r:id="rId14"/>
  </p:sldLayoutIdLst>
  <p:hf sldNum="0" hdr="0" ftr="0"/>
  <p:txStyles>
    <p:titleStyle>
      <a:lvl1pPr algn="l" defTabSz="914368"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368" rtl="0" eaLnBrk="1" latinLnBrk="0" hangingPunct="1">
        <a:lnSpc>
          <a:spcPct val="90000"/>
        </a:lnSpc>
        <a:spcBef>
          <a:spcPts val="1000"/>
        </a:spcBef>
        <a:buFontTx/>
        <a:buNone/>
        <a:defRPr sz="2000" kern="1200">
          <a:solidFill>
            <a:schemeClr val="tx1"/>
          </a:solidFill>
          <a:latin typeface="+mn-lt"/>
          <a:ea typeface="+mn-ea"/>
          <a:cs typeface="+mn-cs"/>
        </a:defRPr>
      </a:lvl1pPr>
      <a:lvl2pPr marL="228592" indent="-228592" algn="l" defTabSz="91436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457183" indent="-228592" algn="l" defTabSz="91436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685776" indent="-228592" algn="l" defTabSz="91436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914368" indent="-228592" algn="l" defTabSz="914368" rtl="0" eaLnBrk="1" latinLnBrk="0" hangingPunct="1">
        <a:lnSpc>
          <a:spcPct val="90000"/>
        </a:lnSpc>
        <a:spcBef>
          <a:spcPts val="500"/>
        </a:spcBef>
        <a:buFont typeface="Arial" panose="020B0604020202020204" pitchFamily="34" charset="0"/>
        <a:buChar char="•"/>
        <a:defRPr sz="1500" kern="1200">
          <a:solidFill>
            <a:schemeClr val="tx1"/>
          </a:solidFill>
          <a:latin typeface="+mn-lt"/>
          <a:ea typeface="+mn-ea"/>
          <a:cs typeface="+mn-cs"/>
        </a:defRPr>
      </a:lvl5pPr>
      <a:lvl6pPr marL="2514512" indent="-228592" algn="l" defTabSz="91436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96" indent="-228592" algn="l" defTabSz="91436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80" indent="-228592" algn="l" defTabSz="91436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64" indent="-228592" algn="l" defTabSz="91436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8" rtl="0" eaLnBrk="1" latinLnBrk="0" hangingPunct="1">
        <a:defRPr sz="1800" kern="1200">
          <a:solidFill>
            <a:schemeClr val="tx1"/>
          </a:solidFill>
          <a:latin typeface="+mn-lt"/>
          <a:ea typeface="+mn-ea"/>
          <a:cs typeface="+mn-cs"/>
        </a:defRPr>
      </a:lvl1pPr>
      <a:lvl2pPr marL="457183" algn="l" defTabSz="914368" rtl="0" eaLnBrk="1" latinLnBrk="0" hangingPunct="1">
        <a:defRPr sz="1800" kern="1200">
          <a:solidFill>
            <a:schemeClr val="tx1"/>
          </a:solidFill>
          <a:latin typeface="+mn-lt"/>
          <a:ea typeface="+mn-ea"/>
          <a:cs typeface="+mn-cs"/>
        </a:defRPr>
      </a:lvl2pPr>
      <a:lvl3pPr marL="914368" algn="l" defTabSz="914368" rtl="0" eaLnBrk="1" latinLnBrk="0" hangingPunct="1">
        <a:defRPr sz="1800" kern="1200">
          <a:solidFill>
            <a:schemeClr val="tx1"/>
          </a:solidFill>
          <a:latin typeface="+mn-lt"/>
          <a:ea typeface="+mn-ea"/>
          <a:cs typeface="+mn-cs"/>
        </a:defRPr>
      </a:lvl3pPr>
      <a:lvl4pPr marL="1371552" algn="l" defTabSz="914368" rtl="0" eaLnBrk="1" latinLnBrk="0" hangingPunct="1">
        <a:defRPr sz="1800" kern="1200">
          <a:solidFill>
            <a:schemeClr val="tx1"/>
          </a:solidFill>
          <a:latin typeface="+mn-lt"/>
          <a:ea typeface="+mn-ea"/>
          <a:cs typeface="+mn-cs"/>
        </a:defRPr>
      </a:lvl4pPr>
      <a:lvl5pPr marL="1828737" algn="l" defTabSz="914368" rtl="0" eaLnBrk="1" latinLnBrk="0" hangingPunct="1">
        <a:defRPr sz="1800" kern="1200">
          <a:solidFill>
            <a:schemeClr val="tx1"/>
          </a:solidFill>
          <a:latin typeface="+mn-lt"/>
          <a:ea typeface="+mn-ea"/>
          <a:cs typeface="+mn-cs"/>
        </a:defRPr>
      </a:lvl5pPr>
      <a:lvl6pPr marL="2285920" algn="l" defTabSz="914368" rtl="0" eaLnBrk="1" latinLnBrk="0" hangingPunct="1">
        <a:defRPr sz="1800" kern="1200">
          <a:solidFill>
            <a:schemeClr val="tx1"/>
          </a:solidFill>
          <a:latin typeface="+mn-lt"/>
          <a:ea typeface="+mn-ea"/>
          <a:cs typeface="+mn-cs"/>
        </a:defRPr>
      </a:lvl6pPr>
      <a:lvl7pPr marL="2743103" algn="l" defTabSz="914368" rtl="0" eaLnBrk="1" latinLnBrk="0" hangingPunct="1">
        <a:defRPr sz="1800" kern="1200">
          <a:solidFill>
            <a:schemeClr val="tx1"/>
          </a:solidFill>
          <a:latin typeface="+mn-lt"/>
          <a:ea typeface="+mn-ea"/>
          <a:cs typeface="+mn-cs"/>
        </a:defRPr>
      </a:lvl7pPr>
      <a:lvl8pPr marL="3200288" algn="l" defTabSz="914368" rtl="0" eaLnBrk="1" latinLnBrk="0" hangingPunct="1">
        <a:defRPr sz="1800" kern="1200">
          <a:solidFill>
            <a:schemeClr val="tx1"/>
          </a:solidFill>
          <a:latin typeface="+mn-lt"/>
          <a:ea typeface="+mn-ea"/>
          <a:cs typeface="+mn-cs"/>
        </a:defRPr>
      </a:lvl8pPr>
      <a:lvl9pPr marL="3657473" algn="l" defTabSz="91436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32">
          <p15:clr>
            <a:srgbClr val="F26B43"/>
          </p15:clr>
        </p15:guide>
        <p15:guide id="4" pos="6864">
          <p15:clr>
            <a:srgbClr val="F26B43"/>
          </p15:clr>
        </p15:guide>
        <p15:guide id="5" orient="horz" pos="888">
          <p15:clr>
            <a:srgbClr val="F26B43"/>
          </p15:clr>
        </p15:guide>
        <p15:guide id="6" orient="horz" pos="374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4967D6C-E069-E94A-804A-7021AF05D0A7}"/>
              </a:ext>
            </a:extLst>
          </p:cNvPr>
          <p:cNvSpPr>
            <a:spLocks noChangeArrowheads="1"/>
          </p:cNvSpPr>
          <p:nvPr userDrawn="1"/>
        </p:nvSpPr>
        <p:spPr bwMode="auto">
          <a:xfrm>
            <a:off x="167248" y="169506"/>
            <a:ext cx="11847273" cy="6551961"/>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9173640" y="6403440"/>
            <a:ext cx="2743200" cy="318035"/>
          </a:xfrm>
          <a:prstGeom prst="rect">
            <a:avLst/>
          </a:prstGeom>
        </p:spPr>
        <p:txBody>
          <a:bodyPr vert="horz" lIns="91440" tIns="45720" rIns="91440" bIns="45720" rtlCol="0" anchor="ctr"/>
          <a:lstStyle>
            <a:lvl1pPr algn="r">
              <a:defRPr sz="1200" b="0" i="0">
                <a:solidFill>
                  <a:schemeClr val="tx1">
                    <a:tint val="75000"/>
                  </a:schemeClr>
                </a:solidFill>
                <a:latin typeface="RBC Text" panose="02000000000000000000" pitchFamily="2" charset="77"/>
              </a:defRPr>
            </a:lvl1pPr>
          </a:lstStyle>
          <a:p>
            <a:fld id="{48F63A3B-78C7-47BE-AE5E-E10140E04643}" type="slidenum">
              <a:rPr lang="en-US" smtClean="0"/>
              <a:pPr/>
              <a:t>‹#›</a:t>
            </a:fld>
            <a:endParaRPr lang="en-US" dirty="0"/>
          </a:p>
        </p:txBody>
      </p:sp>
      <p:pic>
        <p:nvPicPr>
          <p:cNvPr id="4" name="Picture 3" descr="A picture containing drawing&#10;&#10;Description automatically generated">
            <a:extLst>
              <a:ext uri="{FF2B5EF4-FFF2-40B4-BE49-F238E27FC236}">
                <a16:creationId xmlns:a16="http://schemas.microsoft.com/office/drawing/2014/main" id="{AAD6B4C1-8A1E-7F4B-1D7E-3B818A8220F4}"/>
              </a:ext>
            </a:extLst>
          </p:cNvPr>
          <p:cNvPicPr>
            <a:picLocks noChangeAspect="1"/>
          </p:cNvPicPr>
          <p:nvPr userDrawn="1"/>
        </p:nvPicPr>
        <p:blipFill>
          <a:blip r:embed="rId62"/>
          <a:srcRect r="50443"/>
          <a:stretch/>
        </p:blipFill>
        <p:spPr>
          <a:xfrm>
            <a:off x="10239872" y="339853"/>
            <a:ext cx="775791" cy="295502"/>
          </a:xfrm>
          <a:prstGeom prst="rect">
            <a:avLst/>
          </a:prstGeom>
        </p:spPr>
      </p:pic>
      <p:pic>
        <p:nvPicPr>
          <p:cNvPr id="5" name="Picture 4" descr="A blue text on a black background&#10;&#10;Description automatically generated">
            <a:extLst>
              <a:ext uri="{FF2B5EF4-FFF2-40B4-BE49-F238E27FC236}">
                <a16:creationId xmlns:a16="http://schemas.microsoft.com/office/drawing/2014/main" id="{99E50809-3EFE-86F9-9304-DE5ED6EF9BEE}"/>
              </a:ext>
            </a:extLst>
          </p:cNvPr>
          <p:cNvPicPr>
            <a:picLocks noChangeAspect="1"/>
          </p:cNvPicPr>
          <p:nvPr userDrawn="1"/>
        </p:nvPicPr>
        <p:blipFill>
          <a:blip r:embed="rId63"/>
          <a:stretch>
            <a:fillRect/>
          </a:stretch>
        </p:blipFill>
        <p:spPr>
          <a:xfrm>
            <a:off x="9086064" y="305328"/>
            <a:ext cx="961250" cy="386989"/>
          </a:xfrm>
          <a:prstGeom prst="rect">
            <a:avLst/>
          </a:prstGeom>
        </p:spPr>
      </p:pic>
      <p:grpSp>
        <p:nvGrpSpPr>
          <p:cNvPr id="7" name="Group 6">
            <a:extLst>
              <a:ext uri="{FF2B5EF4-FFF2-40B4-BE49-F238E27FC236}">
                <a16:creationId xmlns:a16="http://schemas.microsoft.com/office/drawing/2014/main" id="{BFC0B998-8E59-46D4-61C4-8AC12423AE23}"/>
              </a:ext>
            </a:extLst>
          </p:cNvPr>
          <p:cNvGrpSpPr/>
          <p:nvPr userDrawn="1"/>
        </p:nvGrpSpPr>
        <p:grpSpPr>
          <a:xfrm>
            <a:off x="11096216" y="312988"/>
            <a:ext cx="710177" cy="342000"/>
            <a:chOff x="11096216" y="312988"/>
            <a:chExt cx="710177" cy="342000"/>
          </a:xfrm>
        </p:grpSpPr>
        <p:pic>
          <p:nvPicPr>
            <p:cNvPr id="8" name="Picture 7" descr="A logo of a person playing golf&#10;&#10;Description automatically generated">
              <a:extLst>
                <a:ext uri="{FF2B5EF4-FFF2-40B4-BE49-F238E27FC236}">
                  <a16:creationId xmlns:a16="http://schemas.microsoft.com/office/drawing/2014/main" id="{C98D3EFE-693D-9800-E078-0744FB62BCCA}"/>
                </a:ext>
              </a:extLst>
            </p:cNvPr>
            <p:cNvPicPr>
              <a:picLocks noChangeAspect="1"/>
            </p:cNvPicPr>
            <p:nvPr userDrawn="1"/>
          </p:nvPicPr>
          <p:blipFill>
            <a:blip r:embed="rId64"/>
            <a:stretch>
              <a:fillRect/>
            </a:stretch>
          </p:blipFill>
          <p:spPr>
            <a:xfrm>
              <a:off x="11096216" y="312988"/>
              <a:ext cx="301511" cy="342000"/>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E05B045B-F8E0-0EAA-89E2-6D0EDD46AA57}"/>
                </a:ext>
              </a:extLst>
            </p:cNvPr>
            <p:cNvPicPr>
              <a:picLocks noChangeAspect="1"/>
            </p:cNvPicPr>
            <p:nvPr userDrawn="1"/>
          </p:nvPicPr>
          <p:blipFill>
            <a:blip r:embed="rId62"/>
            <a:srcRect l="74503"/>
            <a:stretch/>
          </p:blipFill>
          <p:spPr>
            <a:xfrm>
              <a:off x="11407251" y="340999"/>
              <a:ext cx="399142" cy="295502"/>
            </a:xfrm>
            <a:prstGeom prst="rect">
              <a:avLst/>
            </a:prstGeom>
          </p:spPr>
        </p:pic>
      </p:grpSp>
    </p:spTree>
    <p:extLst>
      <p:ext uri="{BB962C8B-B14F-4D97-AF65-F5344CB8AC3E}">
        <p14:creationId xmlns:p14="http://schemas.microsoft.com/office/powerpoint/2010/main" val="3107708385"/>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 id="2147484179" r:id="rId10"/>
    <p:sldLayoutId id="2147484180" r:id="rId11"/>
    <p:sldLayoutId id="2147484182" r:id="rId12"/>
    <p:sldLayoutId id="2147484183" r:id="rId13"/>
    <p:sldLayoutId id="2147484184" r:id="rId14"/>
    <p:sldLayoutId id="2147484186" r:id="rId15"/>
    <p:sldLayoutId id="2147484187" r:id="rId16"/>
    <p:sldLayoutId id="2147484188" r:id="rId17"/>
    <p:sldLayoutId id="2147484190" r:id="rId18"/>
    <p:sldLayoutId id="2147484191" r:id="rId19"/>
    <p:sldLayoutId id="2147484192" r:id="rId20"/>
    <p:sldLayoutId id="2147484193" r:id="rId21"/>
    <p:sldLayoutId id="2147484194" r:id="rId22"/>
    <p:sldLayoutId id="2147484195" r:id="rId23"/>
    <p:sldLayoutId id="2147484196" r:id="rId24"/>
    <p:sldLayoutId id="2147484197" r:id="rId25"/>
    <p:sldLayoutId id="2147484198" r:id="rId26"/>
    <p:sldLayoutId id="2147484199" r:id="rId27"/>
    <p:sldLayoutId id="2147484200" r:id="rId28"/>
    <p:sldLayoutId id="2147484201" r:id="rId29"/>
    <p:sldLayoutId id="2147484202" r:id="rId30"/>
    <p:sldLayoutId id="2147484203" r:id="rId31"/>
    <p:sldLayoutId id="2147484205" r:id="rId32"/>
    <p:sldLayoutId id="2147484206" r:id="rId33"/>
    <p:sldLayoutId id="2147484207" r:id="rId34"/>
    <p:sldLayoutId id="2147484208" r:id="rId35"/>
    <p:sldLayoutId id="2147484209" r:id="rId36"/>
    <p:sldLayoutId id="2147484210" r:id="rId37"/>
    <p:sldLayoutId id="2147484211" r:id="rId38"/>
    <p:sldLayoutId id="2147484212" r:id="rId39"/>
    <p:sldLayoutId id="2147484213" r:id="rId40"/>
    <p:sldLayoutId id="2147484214" r:id="rId41"/>
    <p:sldLayoutId id="2147484216" r:id="rId42"/>
    <p:sldLayoutId id="2147484217" r:id="rId43"/>
    <p:sldLayoutId id="2147484218" r:id="rId44"/>
    <p:sldLayoutId id="2147484219" r:id="rId45"/>
    <p:sldLayoutId id="2147484220" r:id="rId46"/>
    <p:sldLayoutId id="2147484221" r:id="rId47"/>
    <p:sldLayoutId id="2147484222" r:id="rId48"/>
    <p:sldLayoutId id="2147484223" r:id="rId49"/>
    <p:sldLayoutId id="2147484224" r:id="rId50"/>
    <p:sldLayoutId id="2147484225" r:id="rId51"/>
    <p:sldLayoutId id="2147484226" r:id="rId52"/>
    <p:sldLayoutId id="2147484227" r:id="rId53"/>
    <p:sldLayoutId id="2147484228" r:id="rId54"/>
    <p:sldLayoutId id="2147483663" r:id="rId55"/>
    <p:sldLayoutId id="2147483672" r:id="rId56"/>
    <p:sldLayoutId id="2147483669" r:id="rId57"/>
    <p:sldLayoutId id="2147483693" r:id="rId58"/>
    <p:sldLayoutId id="2147483731" r:id="rId59"/>
    <p:sldLayoutId id="2147484230" r:id="rId60"/>
  </p:sldLayoutIdLst>
  <p:txStyles>
    <p:titleStyle>
      <a:lvl1pPr algn="l" defTabSz="914400" rtl="0" eaLnBrk="1" latinLnBrk="0" hangingPunct="1">
        <a:lnSpc>
          <a:spcPct val="90000"/>
        </a:lnSpc>
        <a:spcBef>
          <a:spcPct val="0"/>
        </a:spcBef>
        <a:buNone/>
        <a:defRPr sz="4400" b="0" i="0" kern="1200">
          <a:solidFill>
            <a:schemeClr val="tx1"/>
          </a:solidFill>
          <a:latin typeface="RBC Display" panose="02000000000000000000"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RBC Text"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5"/>
            </p:custDataLst>
            <p:extLst>
              <p:ext uri="{D42A27DB-BD31-4B8C-83A1-F6EECF244321}">
                <p14:modId xmlns:p14="http://schemas.microsoft.com/office/powerpoint/2010/main" val="297980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6BD57E6-D642-4633-BE8D-24D8B16FFC8C}"/>
              </a:ext>
            </a:extLst>
          </p:cNvPr>
          <p:cNvSpPr/>
          <p:nvPr userDrawn="1"/>
        </p:nvSpPr>
        <p:spPr>
          <a:xfrm>
            <a:off x="-9144" y="-9144"/>
            <a:ext cx="12207240" cy="12252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noProof="0" dirty="0"/>
          </a:p>
        </p:txBody>
      </p:sp>
      <p:pic>
        <p:nvPicPr>
          <p:cNvPr id="10" name="Picture 9">
            <a:extLst>
              <a:ext uri="{FF2B5EF4-FFF2-40B4-BE49-F238E27FC236}">
                <a16:creationId xmlns:a16="http://schemas.microsoft.com/office/drawing/2014/main" id="{053C1ACB-A81A-4CEE-922C-A7F5AA1EBED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382934" y="6076953"/>
            <a:ext cx="475912" cy="516069"/>
          </a:xfrm>
          <a:prstGeom prst="rect">
            <a:avLst/>
          </a:prstGeom>
        </p:spPr>
      </p:pic>
      <p:sp>
        <p:nvSpPr>
          <p:cNvPr id="6" name="Slide Number Placeholder 5">
            <a:extLst>
              <a:ext uri="{FF2B5EF4-FFF2-40B4-BE49-F238E27FC236}">
                <a16:creationId xmlns:a16="http://schemas.microsoft.com/office/drawing/2014/main" id="{1565CCC4-AF7B-49EE-BDA4-ACAA8915851B}"/>
              </a:ext>
            </a:extLst>
          </p:cNvPr>
          <p:cNvSpPr>
            <a:spLocks noGrp="1"/>
          </p:cNvSpPr>
          <p:nvPr userDrawn="1">
            <p:ph type="sldNum" sz="quarter" idx="4"/>
          </p:nvPr>
        </p:nvSpPr>
        <p:spPr>
          <a:xfrm>
            <a:off x="10405148" y="6410142"/>
            <a:ext cx="492975" cy="182880"/>
          </a:xfrm>
          <a:prstGeom prst="rect">
            <a:avLst/>
          </a:prstGeom>
        </p:spPr>
        <p:txBody>
          <a:bodyPr vert="horz" lIns="0" tIns="0" rIns="0" bIns="0" rtlCol="0" anchor="ctr"/>
          <a:lstStyle>
            <a:lvl1pPr algn="r">
              <a:defRPr sz="1000">
                <a:solidFill>
                  <a:schemeClr val="accent1"/>
                </a:solidFill>
              </a:defRPr>
            </a:lvl1pPr>
          </a:lstStyle>
          <a:p>
            <a:fld id="{00D53123-EF31-4C08-A865-932FC064F9C8}" type="slidenum">
              <a:rPr lang="en-CA" noProof="0" smtClean="0"/>
              <a:pPr/>
              <a:t>‹#›</a:t>
            </a:fld>
            <a:endParaRPr lang="en-CA" noProof="0" dirty="0"/>
          </a:p>
        </p:txBody>
      </p:sp>
      <p:sp>
        <p:nvSpPr>
          <p:cNvPr id="5" name="Footer Placeholder 4">
            <a:extLst>
              <a:ext uri="{FF2B5EF4-FFF2-40B4-BE49-F238E27FC236}">
                <a16:creationId xmlns:a16="http://schemas.microsoft.com/office/drawing/2014/main" id="{F15A74FB-A694-4689-8957-333AFA6871D1}"/>
              </a:ext>
            </a:extLst>
          </p:cNvPr>
          <p:cNvSpPr>
            <a:spLocks noGrp="1"/>
          </p:cNvSpPr>
          <p:nvPr userDrawn="1">
            <p:ph type="ftr" sz="quarter" idx="3"/>
          </p:nvPr>
        </p:nvSpPr>
        <p:spPr>
          <a:xfrm>
            <a:off x="2245794" y="6410142"/>
            <a:ext cx="8159354" cy="182880"/>
          </a:xfrm>
          <a:prstGeom prst="rect">
            <a:avLst/>
          </a:prstGeom>
        </p:spPr>
        <p:txBody>
          <a:bodyPr vert="horz" lIns="0" tIns="0" rIns="0" bIns="0" rtlCol="0" anchor="ctr"/>
          <a:lstStyle>
            <a:lvl1pPr algn="ctr">
              <a:defRPr sz="1000">
                <a:solidFill>
                  <a:schemeClr val="accent1"/>
                </a:solidFill>
              </a:defRPr>
            </a:lvl1pPr>
          </a:lstStyle>
          <a:p>
            <a:endParaRPr lang="en-CA" noProof="0" dirty="0"/>
          </a:p>
        </p:txBody>
      </p:sp>
      <p:sp>
        <p:nvSpPr>
          <p:cNvPr id="4" name="Date Placeholder 3">
            <a:extLst>
              <a:ext uri="{FF2B5EF4-FFF2-40B4-BE49-F238E27FC236}">
                <a16:creationId xmlns:a16="http://schemas.microsoft.com/office/drawing/2014/main" id="{400DC37B-154F-4302-9454-3B2D15E76A5B}"/>
              </a:ext>
            </a:extLst>
          </p:cNvPr>
          <p:cNvSpPr>
            <a:spLocks noGrp="1"/>
          </p:cNvSpPr>
          <p:nvPr userDrawn="1">
            <p:ph type="dt" sz="half" idx="2"/>
          </p:nvPr>
        </p:nvSpPr>
        <p:spPr>
          <a:xfrm>
            <a:off x="685800" y="6410142"/>
            <a:ext cx="1553136" cy="182880"/>
          </a:xfrm>
          <a:prstGeom prst="rect">
            <a:avLst/>
          </a:prstGeom>
        </p:spPr>
        <p:txBody>
          <a:bodyPr vert="horz" lIns="0" tIns="0" rIns="0" bIns="0" rtlCol="0" anchor="ctr"/>
          <a:lstStyle>
            <a:lvl1pPr algn="l">
              <a:defRPr sz="1000">
                <a:solidFill>
                  <a:schemeClr val="accent1"/>
                </a:solidFill>
              </a:defRPr>
            </a:lvl1pPr>
          </a:lstStyle>
          <a:p>
            <a:fld id="{EFB5DEAF-5221-4ECD-B7C6-9EE5D5A13879}" type="datetime4">
              <a:rPr lang="en-CA" noProof="0" smtClean="0"/>
              <a:t>January 29, 2025</a:t>
            </a:fld>
            <a:endParaRPr lang="en-CA" noProof="0" dirty="0"/>
          </a:p>
        </p:txBody>
      </p:sp>
      <p:sp>
        <p:nvSpPr>
          <p:cNvPr id="3" name="Text Placeholder 2">
            <a:extLst>
              <a:ext uri="{FF2B5EF4-FFF2-40B4-BE49-F238E27FC236}">
                <a16:creationId xmlns:a16="http://schemas.microsoft.com/office/drawing/2014/main" id="{89A319DE-B60D-42AD-BAA6-1D3621150E68}"/>
              </a:ext>
            </a:extLst>
          </p:cNvPr>
          <p:cNvSpPr>
            <a:spLocks noGrp="1"/>
          </p:cNvSpPr>
          <p:nvPr userDrawn="1">
            <p:ph type="body" idx="1"/>
          </p:nvPr>
        </p:nvSpPr>
        <p:spPr>
          <a:xfrm>
            <a:off x="685800" y="1418665"/>
            <a:ext cx="10212323" cy="4524935"/>
          </a:xfrm>
          <a:prstGeom prst="rect">
            <a:avLst/>
          </a:prstGeom>
        </p:spPr>
        <p:txBody>
          <a:bodyPr vert="horz" lIns="0" tIns="0" rIns="0" bIns="0" rtlCol="0">
            <a:normAutofit/>
          </a:bodyPr>
          <a:lstStyle/>
          <a:p>
            <a:pPr lvl="0"/>
            <a:r>
              <a:rPr lang="en-CA" noProof="0"/>
              <a:t>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2" name="Title Placeholder 1">
            <a:extLst>
              <a:ext uri="{FF2B5EF4-FFF2-40B4-BE49-F238E27FC236}">
                <a16:creationId xmlns:a16="http://schemas.microsoft.com/office/drawing/2014/main" id="{57A4EE2F-F924-4236-8548-F7973D50D790}"/>
              </a:ext>
            </a:extLst>
          </p:cNvPr>
          <p:cNvSpPr>
            <a:spLocks noGrp="1"/>
          </p:cNvSpPr>
          <p:nvPr userDrawn="1">
            <p:ph type="title"/>
          </p:nvPr>
        </p:nvSpPr>
        <p:spPr>
          <a:xfrm>
            <a:off x="685800" y="365126"/>
            <a:ext cx="10210800" cy="798046"/>
          </a:xfrm>
          <a:prstGeom prst="rect">
            <a:avLst/>
          </a:prstGeom>
        </p:spPr>
        <p:txBody>
          <a:bodyPr vert="horz" lIns="0" tIns="0" rIns="0" bIns="0" rtlCol="0" anchor="ctr">
            <a:normAutofit/>
          </a:bodyPr>
          <a:lstStyle/>
          <a:p>
            <a:r>
              <a:rPr lang="en-US" noProof="0"/>
              <a:t>Click to edit Master title style</a:t>
            </a:r>
            <a:endParaRPr lang="en-CA" noProof="0" dirty="0"/>
          </a:p>
        </p:txBody>
      </p:sp>
    </p:spTree>
    <p:extLst>
      <p:ext uri="{BB962C8B-B14F-4D97-AF65-F5344CB8AC3E}">
        <p14:creationId xmlns:p14="http://schemas.microsoft.com/office/powerpoint/2010/main" val="3036301357"/>
      </p:ext>
    </p:extLst>
  </p:cSld>
  <p:clrMap bg1="lt1" tx1="dk1" bg2="lt2" tx2="dk2" accent1="accent1" accent2="accent2" accent3="accent3" accent4="accent4" accent5="accent5" accent6="accent6" hlink="hlink" folHlink="folHlink"/>
  <p:sldLayoutIdLst>
    <p:sldLayoutId id="2147484247" r:id="rId1"/>
    <p:sldLayoutId id="2147484248" r:id="rId2"/>
    <p:sldLayoutId id="2147484249" r:id="rId3"/>
  </p:sldLayoutIdLst>
  <p:hf sldNum="0" hdr="0" ft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28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914400" indent="-228600" algn="l" defTabSz="914400" rtl="0" eaLnBrk="1" latinLnBrk="0" hangingPunct="1">
        <a:lnSpc>
          <a:spcPct val="90000"/>
        </a:lnSpc>
        <a:spcBef>
          <a:spcPts val="500"/>
        </a:spcBef>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A"/>
      </a:defPPr>
      <a:lvl1pPr marL="0" algn="l" defTabSz="914400" rtl="0" eaLnBrk="1" latinLnBrk="0" hangingPunct="1">
        <a:defRPr sz="1200" kern="1200">
          <a:solidFill>
            <a:schemeClr val="tx1"/>
          </a:solidFill>
          <a:latin typeface="+mn-lt"/>
          <a:ea typeface="+mn-ea"/>
          <a:cs typeface="+mn-cs"/>
        </a:defRPr>
      </a:lvl1pPr>
      <a:lvl2pPr marL="0" algn="r" defTabSz="914400" rtl="0" eaLnBrk="1" latinLnBrk="0" hangingPunct="1">
        <a:defRPr sz="1200" kern="1200">
          <a:solidFill>
            <a:schemeClr val="tx1"/>
          </a:solidFill>
          <a:latin typeface="+mn-lt"/>
          <a:ea typeface="+mn-ea"/>
          <a:cs typeface="+mn-cs"/>
        </a:defRPr>
      </a:lvl2pPr>
      <a:lvl3pPr marL="0" algn="ctr" defTabSz="914400" rtl="0" eaLnBrk="1" latinLnBrk="0" hangingPunct="1">
        <a:defRPr sz="1200" kern="1200">
          <a:solidFill>
            <a:schemeClr val="tx1"/>
          </a:solidFill>
          <a:latin typeface="+mn-lt"/>
          <a:ea typeface="+mn-ea"/>
          <a:cs typeface="+mn-cs"/>
        </a:defRPr>
      </a:lvl3pPr>
      <a:lvl4pPr marL="0" algn="l" defTabSz="914400" rtl="0" eaLnBrk="1" latinLnBrk="0" hangingPunct="1">
        <a:defRPr sz="1200" kern="1200">
          <a:solidFill>
            <a:schemeClr val="tx1"/>
          </a:solidFill>
          <a:latin typeface="+mn-lt"/>
          <a:ea typeface="+mn-ea"/>
          <a:cs typeface="+mn-cs"/>
        </a:defRPr>
      </a:lvl4pPr>
      <a:lvl5pPr marL="0" algn="l" defTabSz="914400" rtl="0" eaLnBrk="1" latinLnBrk="0" hangingPunct="1">
        <a:defRPr sz="1200" kern="1200">
          <a:solidFill>
            <a:schemeClr val="tx1"/>
          </a:solidFill>
          <a:latin typeface="+mn-lt"/>
          <a:ea typeface="+mn-ea"/>
          <a:cs typeface="+mn-cs"/>
        </a:defRPr>
      </a:lvl5pPr>
      <a:lvl6pPr marL="0" algn="l" defTabSz="914400" rtl="0" eaLnBrk="1" latinLnBrk="0" hangingPunct="1">
        <a:defRPr sz="1200" kern="1200">
          <a:solidFill>
            <a:schemeClr val="tx1"/>
          </a:solidFill>
          <a:latin typeface="+mn-lt"/>
          <a:ea typeface="+mn-ea"/>
          <a:cs typeface="+mn-cs"/>
        </a:defRPr>
      </a:lvl6pPr>
      <a:lvl7pPr marL="0" algn="l" defTabSz="914400" rtl="0" eaLnBrk="1" latinLnBrk="0" hangingPunct="1">
        <a:defRPr sz="1200" kern="1200">
          <a:solidFill>
            <a:schemeClr val="tx1"/>
          </a:solidFill>
          <a:latin typeface="+mn-lt"/>
          <a:ea typeface="+mn-ea"/>
          <a:cs typeface="+mn-cs"/>
        </a:defRPr>
      </a:lvl7pPr>
      <a:lvl8pPr marL="0" algn="l" defTabSz="914400" rtl="0" eaLnBrk="1" latinLnBrk="0" hangingPunct="1">
        <a:defRPr sz="1200" kern="1200">
          <a:solidFill>
            <a:schemeClr val="tx1"/>
          </a:solidFill>
          <a:latin typeface="+mn-lt"/>
          <a:ea typeface="+mn-ea"/>
          <a:cs typeface="+mn-cs"/>
        </a:defRPr>
      </a:lvl8pPr>
      <a:lvl9pPr marL="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32">
          <p15:clr>
            <a:srgbClr val="F26B43"/>
          </p15:clr>
        </p15:guide>
        <p15:guide id="4" pos="6864">
          <p15:clr>
            <a:srgbClr val="F26B43"/>
          </p15:clr>
        </p15:guide>
        <p15:guide id="5" orient="horz" pos="888">
          <p15:clr>
            <a:srgbClr val="F26B43"/>
          </p15:clr>
        </p15:guide>
        <p15:guide id="6" orient="horz" pos="374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7.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2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5.xml"/></Relationships>
</file>

<file path=ppt/slides/_rels/slide12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5.xml"/></Relationships>
</file>

<file path=ppt/slides/_rels/slide12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5.xml"/></Relationships>
</file>

<file path=ppt/slides/_rels/slide12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5.xml"/></Relationships>
</file>

<file path=ppt/slides/_rels/slide12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5.xml"/></Relationships>
</file>

<file path=ppt/slides/_rels/slide12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5.xml"/></Relationships>
</file>

<file path=ppt/slides/_rels/slide12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5.xml"/></Relationships>
</file>

<file path=ppt/slides/_rels/slide12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5.xml"/></Relationships>
</file>

<file path=ppt/slides/_rels/slide1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5.xml"/></Relationships>
</file>

<file path=ppt/slides/_rels/slide13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35.xml"/></Relationships>
</file>

<file path=ppt/slides/_rels/slide132.xml.rels><?xml version="1.0" encoding="UTF-8" standalone="yes"?>
<Relationships xmlns="http://schemas.openxmlformats.org/package/2006/relationships"><Relationship Id="rId26" Type="http://schemas.openxmlformats.org/officeDocument/2006/relationships/image" Target="../media/image59.png"/><Relationship Id="rId21" Type="http://schemas.openxmlformats.org/officeDocument/2006/relationships/image" Target="../media/image55.png"/><Relationship Id="rId34" Type="http://schemas.openxmlformats.org/officeDocument/2006/relationships/image" Target="../media/image66.png"/><Relationship Id="rId42" Type="http://schemas.openxmlformats.org/officeDocument/2006/relationships/image" Target="../media/image73.png"/><Relationship Id="rId47" Type="http://schemas.openxmlformats.org/officeDocument/2006/relationships/image" Target="../media/image78.png"/><Relationship Id="rId50" Type="http://schemas.openxmlformats.org/officeDocument/2006/relationships/image" Target="../media/image81.png"/><Relationship Id="rId55" Type="http://schemas.openxmlformats.org/officeDocument/2006/relationships/image" Target="../media/image86.png"/><Relationship Id="rId63" Type="http://schemas.openxmlformats.org/officeDocument/2006/relationships/image" Target="../media/image94.png"/><Relationship Id="rId68" Type="http://schemas.openxmlformats.org/officeDocument/2006/relationships/image" Target="../media/image99.png"/><Relationship Id="rId7" Type="http://schemas.openxmlformats.org/officeDocument/2006/relationships/image" Target="../media/image41.png"/><Relationship Id="rId2" Type="http://schemas.openxmlformats.org/officeDocument/2006/relationships/image" Target="../media/image37.png"/><Relationship Id="rId16" Type="http://schemas.openxmlformats.org/officeDocument/2006/relationships/image" Target="../media/image50.png"/><Relationship Id="rId29" Type="http://schemas.openxmlformats.org/officeDocument/2006/relationships/image" Target="../media/image62.png"/><Relationship Id="rId11" Type="http://schemas.openxmlformats.org/officeDocument/2006/relationships/image" Target="../media/image45.png"/><Relationship Id="rId24" Type="http://schemas.openxmlformats.org/officeDocument/2006/relationships/image" Target="../media/image58.png"/><Relationship Id="rId32" Type="http://schemas.openxmlformats.org/officeDocument/2006/relationships/image" Target="../media/image64.png"/><Relationship Id="rId37" Type="http://schemas.openxmlformats.org/officeDocument/2006/relationships/image" Target="../media/image68.png"/><Relationship Id="rId40" Type="http://schemas.openxmlformats.org/officeDocument/2006/relationships/image" Target="../media/image71.png"/><Relationship Id="rId45" Type="http://schemas.openxmlformats.org/officeDocument/2006/relationships/image" Target="../media/image76.png"/><Relationship Id="rId53" Type="http://schemas.openxmlformats.org/officeDocument/2006/relationships/image" Target="../media/image84.png"/><Relationship Id="rId58" Type="http://schemas.openxmlformats.org/officeDocument/2006/relationships/image" Target="../media/image89.png"/><Relationship Id="rId66" Type="http://schemas.openxmlformats.org/officeDocument/2006/relationships/image" Target="../media/image97.png"/><Relationship Id="rId5" Type="http://schemas.openxmlformats.org/officeDocument/2006/relationships/image" Target="../media/image39.png"/><Relationship Id="rId61" Type="http://schemas.openxmlformats.org/officeDocument/2006/relationships/image" Target="../media/image92.png"/><Relationship Id="rId19" Type="http://schemas.openxmlformats.org/officeDocument/2006/relationships/image" Target="../media/image53.png"/><Relationship Id="rId14" Type="http://schemas.openxmlformats.org/officeDocument/2006/relationships/image" Target="../media/image48.png"/><Relationship Id="rId22" Type="http://schemas.openxmlformats.org/officeDocument/2006/relationships/image" Target="../media/image56.png"/><Relationship Id="rId27" Type="http://schemas.openxmlformats.org/officeDocument/2006/relationships/image" Target="../media/image60.png"/><Relationship Id="rId30" Type="http://schemas.openxmlformats.org/officeDocument/2006/relationships/image" Target="../media/image25.png"/><Relationship Id="rId35" Type="http://schemas.openxmlformats.org/officeDocument/2006/relationships/image" Target="../media/image67.png"/><Relationship Id="rId43" Type="http://schemas.openxmlformats.org/officeDocument/2006/relationships/image" Target="../media/image74.png"/><Relationship Id="rId48" Type="http://schemas.openxmlformats.org/officeDocument/2006/relationships/image" Target="../media/image79.png"/><Relationship Id="rId56" Type="http://schemas.openxmlformats.org/officeDocument/2006/relationships/image" Target="../media/image87.png"/><Relationship Id="rId64" Type="http://schemas.openxmlformats.org/officeDocument/2006/relationships/image" Target="../media/image95.png"/><Relationship Id="rId8" Type="http://schemas.openxmlformats.org/officeDocument/2006/relationships/image" Target="../media/image42.png"/><Relationship Id="rId51" Type="http://schemas.openxmlformats.org/officeDocument/2006/relationships/image" Target="../media/image82.png"/><Relationship Id="rId3" Type="http://schemas.openxmlformats.org/officeDocument/2006/relationships/image" Target="../media/image38.png"/><Relationship Id="rId12" Type="http://schemas.openxmlformats.org/officeDocument/2006/relationships/image" Target="../media/image46.png"/><Relationship Id="rId17" Type="http://schemas.openxmlformats.org/officeDocument/2006/relationships/image" Target="../media/image51.png"/><Relationship Id="rId25" Type="http://schemas.openxmlformats.org/officeDocument/2006/relationships/image" Target="../media/image24.png"/><Relationship Id="rId33" Type="http://schemas.openxmlformats.org/officeDocument/2006/relationships/image" Target="../media/image65.png"/><Relationship Id="rId38" Type="http://schemas.openxmlformats.org/officeDocument/2006/relationships/image" Target="../media/image69.png"/><Relationship Id="rId46" Type="http://schemas.openxmlformats.org/officeDocument/2006/relationships/image" Target="../media/image77.png"/><Relationship Id="rId59" Type="http://schemas.openxmlformats.org/officeDocument/2006/relationships/image" Target="../media/image90.png"/><Relationship Id="rId67" Type="http://schemas.openxmlformats.org/officeDocument/2006/relationships/image" Target="../media/image98.png"/><Relationship Id="rId20" Type="http://schemas.openxmlformats.org/officeDocument/2006/relationships/image" Target="../media/image54.png"/><Relationship Id="rId41" Type="http://schemas.openxmlformats.org/officeDocument/2006/relationships/image" Target="../media/image72.png"/><Relationship Id="rId54" Type="http://schemas.openxmlformats.org/officeDocument/2006/relationships/image" Target="../media/image85.png"/><Relationship Id="rId62" Type="http://schemas.openxmlformats.org/officeDocument/2006/relationships/image" Target="../media/image93.png"/><Relationship Id="rId1" Type="http://schemas.openxmlformats.org/officeDocument/2006/relationships/slideLayout" Target="../slideLayouts/slideLayout36.xml"/><Relationship Id="rId6" Type="http://schemas.openxmlformats.org/officeDocument/2006/relationships/image" Target="../media/image40.png"/><Relationship Id="rId15" Type="http://schemas.openxmlformats.org/officeDocument/2006/relationships/image" Target="../media/image49.png"/><Relationship Id="rId23" Type="http://schemas.openxmlformats.org/officeDocument/2006/relationships/image" Target="../media/image57.png"/><Relationship Id="rId28" Type="http://schemas.openxmlformats.org/officeDocument/2006/relationships/image" Target="../media/image61.png"/><Relationship Id="rId36" Type="http://schemas.openxmlformats.org/officeDocument/2006/relationships/image" Target="../media/image26.png"/><Relationship Id="rId49" Type="http://schemas.openxmlformats.org/officeDocument/2006/relationships/image" Target="../media/image80.png"/><Relationship Id="rId57" Type="http://schemas.openxmlformats.org/officeDocument/2006/relationships/image" Target="../media/image88.png"/><Relationship Id="rId10" Type="http://schemas.openxmlformats.org/officeDocument/2006/relationships/image" Target="../media/image44.png"/><Relationship Id="rId31" Type="http://schemas.openxmlformats.org/officeDocument/2006/relationships/image" Target="../media/image63.png"/><Relationship Id="rId44" Type="http://schemas.openxmlformats.org/officeDocument/2006/relationships/image" Target="../media/image75.png"/><Relationship Id="rId52" Type="http://schemas.openxmlformats.org/officeDocument/2006/relationships/image" Target="../media/image83.png"/><Relationship Id="rId60" Type="http://schemas.openxmlformats.org/officeDocument/2006/relationships/image" Target="../media/image91.png"/><Relationship Id="rId65" Type="http://schemas.openxmlformats.org/officeDocument/2006/relationships/image" Target="../media/image96.png"/><Relationship Id="rId4" Type="http://schemas.openxmlformats.org/officeDocument/2006/relationships/image" Target="../media/image23.png"/><Relationship Id="rId9" Type="http://schemas.openxmlformats.org/officeDocument/2006/relationships/image" Target="../media/image43.png"/><Relationship Id="rId13" Type="http://schemas.openxmlformats.org/officeDocument/2006/relationships/image" Target="../media/image47.png"/><Relationship Id="rId18" Type="http://schemas.openxmlformats.org/officeDocument/2006/relationships/image" Target="../media/image52.png"/><Relationship Id="rId39" Type="http://schemas.openxmlformats.org/officeDocument/2006/relationships/image" Target="../media/image70.png"/></Relationships>
</file>

<file path=ppt/slides/_rels/slide133.xml.rels><?xml version="1.0" encoding="UTF-8" standalone="yes"?>
<Relationships xmlns="http://schemas.openxmlformats.org/package/2006/relationships"><Relationship Id="rId13" Type="http://schemas.openxmlformats.org/officeDocument/2006/relationships/image" Target="../media/image111.png"/><Relationship Id="rId18" Type="http://schemas.openxmlformats.org/officeDocument/2006/relationships/image" Target="../media/image116.png"/><Relationship Id="rId26" Type="http://schemas.openxmlformats.org/officeDocument/2006/relationships/image" Target="../media/image124.png"/><Relationship Id="rId39" Type="http://schemas.openxmlformats.org/officeDocument/2006/relationships/image" Target="../media/image137.png"/><Relationship Id="rId21" Type="http://schemas.openxmlformats.org/officeDocument/2006/relationships/image" Target="../media/image119.png"/><Relationship Id="rId34" Type="http://schemas.openxmlformats.org/officeDocument/2006/relationships/image" Target="../media/image132.png"/><Relationship Id="rId42" Type="http://schemas.openxmlformats.org/officeDocument/2006/relationships/image" Target="../media/image140.png"/><Relationship Id="rId47" Type="http://schemas.openxmlformats.org/officeDocument/2006/relationships/image" Target="../media/image145.png"/><Relationship Id="rId50" Type="http://schemas.openxmlformats.org/officeDocument/2006/relationships/image" Target="../media/image148.png"/><Relationship Id="rId55" Type="http://schemas.openxmlformats.org/officeDocument/2006/relationships/image" Target="../media/image153.png"/><Relationship Id="rId7" Type="http://schemas.openxmlformats.org/officeDocument/2006/relationships/image" Target="../media/image105.png"/><Relationship Id="rId2" Type="http://schemas.openxmlformats.org/officeDocument/2006/relationships/image" Target="../media/image100.png"/><Relationship Id="rId16" Type="http://schemas.openxmlformats.org/officeDocument/2006/relationships/image" Target="../media/image114.png"/><Relationship Id="rId29" Type="http://schemas.openxmlformats.org/officeDocument/2006/relationships/image" Target="../media/image127.png"/><Relationship Id="rId11" Type="http://schemas.openxmlformats.org/officeDocument/2006/relationships/image" Target="../media/image109.png"/><Relationship Id="rId24" Type="http://schemas.openxmlformats.org/officeDocument/2006/relationships/image" Target="../media/image122.png"/><Relationship Id="rId32" Type="http://schemas.openxmlformats.org/officeDocument/2006/relationships/image" Target="../media/image130.png"/><Relationship Id="rId37" Type="http://schemas.openxmlformats.org/officeDocument/2006/relationships/image" Target="../media/image135.png"/><Relationship Id="rId40" Type="http://schemas.openxmlformats.org/officeDocument/2006/relationships/image" Target="../media/image138.png"/><Relationship Id="rId45" Type="http://schemas.openxmlformats.org/officeDocument/2006/relationships/image" Target="../media/image143.png"/><Relationship Id="rId53" Type="http://schemas.openxmlformats.org/officeDocument/2006/relationships/image" Target="../media/image151.png"/><Relationship Id="rId58" Type="http://schemas.openxmlformats.org/officeDocument/2006/relationships/image" Target="../media/image156.png"/><Relationship Id="rId5" Type="http://schemas.openxmlformats.org/officeDocument/2006/relationships/image" Target="../media/image103.png"/><Relationship Id="rId19" Type="http://schemas.openxmlformats.org/officeDocument/2006/relationships/image" Target="../media/image117.png"/><Relationship Id="rId4" Type="http://schemas.openxmlformats.org/officeDocument/2006/relationships/image" Target="../media/image102.png"/><Relationship Id="rId9" Type="http://schemas.openxmlformats.org/officeDocument/2006/relationships/image" Target="../media/image107.png"/><Relationship Id="rId14" Type="http://schemas.openxmlformats.org/officeDocument/2006/relationships/image" Target="../media/image112.png"/><Relationship Id="rId22" Type="http://schemas.openxmlformats.org/officeDocument/2006/relationships/image" Target="../media/image120.png"/><Relationship Id="rId27" Type="http://schemas.openxmlformats.org/officeDocument/2006/relationships/image" Target="../media/image125.png"/><Relationship Id="rId30" Type="http://schemas.openxmlformats.org/officeDocument/2006/relationships/image" Target="../media/image128.png"/><Relationship Id="rId35" Type="http://schemas.openxmlformats.org/officeDocument/2006/relationships/image" Target="../media/image133.png"/><Relationship Id="rId43" Type="http://schemas.openxmlformats.org/officeDocument/2006/relationships/image" Target="../media/image141.png"/><Relationship Id="rId48" Type="http://schemas.openxmlformats.org/officeDocument/2006/relationships/image" Target="../media/image146.png"/><Relationship Id="rId56" Type="http://schemas.openxmlformats.org/officeDocument/2006/relationships/image" Target="../media/image154.png"/><Relationship Id="rId8" Type="http://schemas.openxmlformats.org/officeDocument/2006/relationships/image" Target="../media/image106.png"/><Relationship Id="rId51" Type="http://schemas.openxmlformats.org/officeDocument/2006/relationships/image" Target="../media/image149.png"/><Relationship Id="rId3" Type="http://schemas.openxmlformats.org/officeDocument/2006/relationships/image" Target="../media/image101.png"/><Relationship Id="rId12" Type="http://schemas.openxmlformats.org/officeDocument/2006/relationships/image" Target="../media/image110.png"/><Relationship Id="rId17" Type="http://schemas.openxmlformats.org/officeDocument/2006/relationships/image" Target="../media/image115.png"/><Relationship Id="rId25" Type="http://schemas.openxmlformats.org/officeDocument/2006/relationships/image" Target="../media/image123.png"/><Relationship Id="rId33" Type="http://schemas.openxmlformats.org/officeDocument/2006/relationships/image" Target="../media/image131.png"/><Relationship Id="rId38" Type="http://schemas.openxmlformats.org/officeDocument/2006/relationships/image" Target="../media/image136.png"/><Relationship Id="rId46" Type="http://schemas.openxmlformats.org/officeDocument/2006/relationships/image" Target="../media/image144.png"/><Relationship Id="rId20" Type="http://schemas.openxmlformats.org/officeDocument/2006/relationships/image" Target="../media/image118.png"/><Relationship Id="rId41" Type="http://schemas.openxmlformats.org/officeDocument/2006/relationships/image" Target="../media/image139.png"/><Relationship Id="rId54" Type="http://schemas.openxmlformats.org/officeDocument/2006/relationships/image" Target="../media/image152.png"/><Relationship Id="rId1" Type="http://schemas.openxmlformats.org/officeDocument/2006/relationships/slideLayout" Target="../slideLayouts/slideLayout73.xml"/><Relationship Id="rId6" Type="http://schemas.openxmlformats.org/officeDocument/2006/relationships/image" Target="../media/image104.png"/><Relationship Id="rId15" Type="http://schemas.openxmlformats.org/officeDocument/2006/relationships/image" Target="../media/image113.png"/><Relationship Id="rId23" Type="http://schemas.openxmlformats.org/officeDocument/2006/relationships/image" Target="../media/image121.png"/><Relationship Id="rId28" Type="http://schemas.openxmlformats.org/officeDocument/2006/relationships/image" Target="../media/image126.png"/><Relationship Id="rId36" Type="http://schemas.openxmlformats.org/officeDocument/2006/relationships/image" Target="../media/image134.png"/><Relationship Id="rId49" Type="http://schemas.openxmlformats.org/officeDocument/2006/relationships/image" Target="../media/image147.png"/><Relationship Id="rId57" Type="http://schemas.openxmlformats.org/officeDocument/2006/relationships/image" Target="../media/image155.png"/><Relationship Id="rId10" Type="http://schemas.openxmlformats.org/officeDocument/2006/relationships/image" Target="../media/image108.png"/><Relationship Id="rId31" Type="http://schemas.openxmlformats.org/officeDocument/2006/relationships/image" Target="../media/image129.png"/><Relationship Id="rId44" Type="http://schemas.openxmlformats.org/officeDocument/2006/relationships/image" Target="../media/image142.png"/><Relationship Id="rId52" Type="http://schemas.openxmlformats.org/officeDocument/2006/relationships/image" Target="../media/image150.png"/></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8.xml.rels><?xml version="1.0" encoding="UTF-8" standalone="yes"?>
<Relationships xmlns="http://schemas.openxmlformats.org/package/2006/relationships"><Relationship Id="rId26" Type="http://schemas.openxmlformats.org/officeDocument/2006/relationships/image" Target="../media/image180.png"/><Relationship Id="rId21" Type="http://schemas.openxmlformats.org/officeDocument/2006/relationships/image" Target="../media/image175.png"/><Relationship Id="rId34" Type="http://schemas.openxmlformats.org/officeDocument/2006/relationships/image" Target="../media/image188.png"/><Relationship Id="rId42" Type="http://schemas.openxmlformats.org/officeDocument/2006/relationships/image" Target="../media/image196.png"/><Relationship Id="rId47" Type="http://schemas.openxmlformats.org/officeDocument/2006/relationships/image" Target="../media/image201.png"/><Relationship Id="rId50" Type="http://schemas.openxmlformats.org/officeDocument/2006/relationships/image" Target="../media/image204.png"/><Relationship Id="rId55" Type="http://schemas.openxmlformats.org/officeDocument/2006/relationships/image" Target="../media/image209.png"/><Relationship Id="rId63" Type="http://schemas.openxmlformats.org/officeDocument/2006/relationships/image" Target="../media/image217.png"/><Relationship Id="rId68" Type="http://schemas.openxmlformats.org/officeDocument/2006/relationships/image" Target="../media/image222.png"/><Relationship Id="rId7" Type="http://schemas.openxmlformats.org/officeDocument/2006/relationships/image" Target="../media/image161.png"/><Relationship Id="rId2" Type="http://schemas.openxmlformats.org/officeDocument/2006/relationships/image" Target="../media/image37.png"/><Relationship Id="rId16" Type="http://schemas.openxmlformats.org/officeDocument/2006/relationships/image" Target="../media/image170.png"/><Relationship Id="rId29" Type="http://schemas.openxmlformats.org/officeDocument/2006/relationships/image" Target="../media/image183.png"/><Relationship Id="rId11" Type="http://schemas.openxmlformats.org/officeDocument/2006/relationships/image" Target="../media/image165.png"/><Relationship Id="rId24" Type="http://schemas.openxmlformats.org/officeDocument/2006/relationships/image" Target="../media/image178.png"/><Relationship Id="rId32" Type="http://schemas.openxmlformats.org/officeDocument/2006/relationships/image" Target="../media/image186.png"/><Relationship Id="rId37" Type="http://schemas.openxmlformats.org/officeDocument/2006/relationships/image" Target="../media/image191.png"/><Relationship Id="rId40" Type="http://schemas.openxmlformats.org/officeDocument/2006/relationships/image" Target="../media/image194.png"/><Relationship Id="rId45" Type="http://schemas.openxmlformats.org/officeDocument/2006/relationships/image" Target="../media/image199.png"/><Relationship Id="rId53" Type="http://schemas.openxmlformats.org/officeDocument/2006/relationships/image" Target="../media/image207.png"/><Relationship Id="rId58" Type="http://schemas.openxmlformats.org/officeDocument/2006/relationships/image" Target="../media/image212.png"/><Relationship Id="rId66" Type="http://schemas.openxmlformats.org/officeDocument/2006/relationships/image" Target="../media/image220.png"/><Relationship Id="rId5" Type="http://schemas.openxmlformats.org/officeDocument/2006/relationships/image" Target="../media/image159.png"/><Relationship Id="rId61" Type="http://schemas.openxmlformats.org/officeDocument/2006/relationships/image" Target="../media/image215.png"/><Relationship Id="rId19" Type="http://schemas.openxmlformats.org/officeDocument/2006/relationships/image" Target="../media/image173.png"/><Relationship Id="rId14" Type="http://schemas.openxmlformats.org/officeDocument/2006/relationships/image" Target="../media/image168.png"/><Relationship Id="rId22" Type="http://schemas.openxmlformats.org/officeDocument/2006/relationships/image" Target="../media/image176.png"/><Relationship Id="rId27" Type="http://schemas.openxmlformats.org/officeDocument/2006/relationships/image" Target="../media/image181.png"/><Relationship Id="rId30" Type="http://schemas.openxmlformats.org/officeDocument/2006/relationships/image" Target="../media/image184.png"/><Relationship Id="rId35" Type="http://schemas.openxmlformats.org/officeDocument/2006/relationships/image" Target="../media/image189.png"/><Relationship Id="rId43" Type="http://schemas.openxmlformats.org/officeDocument/2006/relationships/image" Target="../media/image197.png"/><Relationship Id="rId48" Type="http://schemas.openxmlformats.org/officeDocument/2006/relationships/image" Target="../media/image202.png"/><Relationship Id="rId56" Type="http://schemas.openxmlformats.org/officeDocument/2006/relationships/image" Target="../media/image210.png"/><Relationship Id="rId64" Type="http://schemas.openxmlformats.org/officeDocument/2006/relationships/image" Target="../media/image218.png"/><Relationship Id="rId8" Type="http://schemas.openxmlformats.org/officeDocument/2006/relationships/image" Target="../media/image162.png"/><Relationship Id="rId51" Type="http://schemas.openxmlformats.org/officeDocument/2006/relationships/image" Target="../media/image205.png"/><Relationship Id="rId3" Type="http://schemas.openxmlformats.org/officeDocument/2006/relationships/image" Target="../media/image157.png"/><Relationship Id="rId12" Type="http://schemas.openxmlformats.org/officeDocument/2006/relationships/image" Target="../media/image166.png"/><Relationship Id="rId17" Type="http://schemas.openxmlformats.org/officeDocument/2006/relationships/image" Target="../media/image171.png"/><Relationship Id="rId25" Type="http://schemas.openxmlformats.org/officeDocument/2006/relationships/image" Target="../media/image179.png"/><Relationship Id="rId33" Type="http://schemas.openxmlformats.org/officeDocument/2006/relationships/image" Target="../media/image187.png"/><Relationship Id="rId38" Type="http://schemas.openxmlformats.org/officeDocument/2006/relationships/image" Target="../media/image192.png"/><Relationship Id="rId46" Type="http://schemas.openxmlformats.org/officeDocument/2006/relationships/image" Target="../media/image200.png"/><Relationship Id="rId59" Type="http://schemas.openxmlformats.org/officeDocument/2006/relationships/image" Target="../media/image213.png"/><Relationship Id="rId67" Type="http://schemas.openxmlformats.org/officeDocument/2006/relationships/image" Target="../media/image221.png"/><Relationship Id="rId20" Type="http://schemas.openxmlformats.org/officeDocument/2006/relationships/image" Target="../media/image174.png"/><Relationship Id="rId41" Type="http://schemas.openxmlformats.org/officeDocument/2006/relationships/image" Target="../media/image195.png"/><Relationship Id="rId54" Type="http://schemas.openxmlformats.org/officeDocument/2006/relationships/image" Target="../media/image208.png"/><Relationship Id="rId62" Type="http://schemas.openxmlformats.org/officeDocument/2006/relationships/image" Target="../media/image216.png"/><Relationship Id="rId1" Type="http://schemas.openxmlformats.org/officeDocument/2006/relationships/slideLayout" Target="../slideLayouts/slideLayout36.xml"/><Relationship Id="rId6" Type="http://schemas.openxmlformats.org/officeDocument/2006/relationships/image" Target="../media/image160.png"/><Relationship Id="rId15" Type="http://schemas.openxmlformats.org/officeDocument/2006/relationships/image" Target="../media/image169.png"/><Relationship Id="rId23" Type="http://schemas.openxmlformats.org/officeDocument/2006/relationships/image" Target="../media/image177.png"/><Relationship Id="rId28" Type="http://schemas.openxmlformats.org/officeDocument/2006/relationships/image" Target="../media/image182.png"/><Relationship Id="rId36" Type="http://schemas.openxmlformats.org/officeDocument/2006/relationships/image" Target="../media/image190.png"/><Relationship Id="rId49" Type="http://schemas.openxmlformats.org/officeDocument/2006/relationships/image" Target="../media/image203.png"/><Relationship Id="rId57" Type="http://schemas.openxmlformats.org/officeDocument/2006/relationships/image" Target="../media/image211.png"/><Relationship Id="rId10" Type="http://schemas.openxmlformats.org/officeDocument/2006/relationships/image" Target="../media/image164.png"/><Relationship Id="rId31" Type="http://schemas.openxmlformats.org/officeDocument/2006/relationships/image" Target="../media/image185.png"/><Relationship Id="rId44" Type="http://schemas.openxmlformats.org/officeDocument/2006/relationships/image" Target="../media/image198.png"/><Relationship Id="rId52" Type="http://schemas.openxmlformats.org/officeDocument/2006/relationships/image" Target="../media/image206.png"/><Relationship Id="rId60" Type="http://schemas.openxmlformats.org/officeDocument/2006/relationships/image" Target="../media/image214.png"/><Relationship Id="rId65" Type="http://schemas.openxmlformats.org/officeDocument/2006/relationships/image" Target="../media/image219.png"/><Relationship Id="rId4" Type="http://schemas.openxmlformats.org/officeDocument/2006/relationships/image" Target="../media/image158.png"/><Relationship Id="rId9" Type="http://schemas.openxmlformats.org/officeDocument/2006/relationships/image" Target="../media/image163.png"/><Relationship Id="rId13" Type="http://schemas.openxmlformats.org/officeDocument/2006/relationships/image" Target="../media/image167.png"/><Relationship Id="rId18" Type="http://schemas.openxmlformats.org/officeDocument/2006/relationships/image" Target="../media/image172.png"/><Relationship Id="rId39" Type="http://schemas.openxmlformats.org/officeDocument/2006/relationships/image" Target="../media/image193.png"/></Relationships>
</file>

<file path=ppt/slides/_rels/slide139.xml.rels><?xml version="1.0" encoding="UTF-8" standalone="yes"?>
<Relationships xmlns="http://schemas.openxmlformats.org/package/2006/relationships"><Relationship Id="rId13" Type="http://schemas.openxmlformats.org/officeDocument/2006/relationships/image" Target="../media/image234.png"/><Relationship Id="rId18" Type="http://schemas.openxmlformats.org/officeDocument/2006/relationships/image" Target="../media/image239.png"/><Relationship Id="rId26" Type="http://schemas.openxmlformats.org/officeDocument/2006/relationships/image" Target="../media/image247.png"/><Relationship Id="rId39" Type="http://schemas.openxmlformats.org/officeDocument/2006/relationships/image" Target="../media/image260.png"/><Relationship Id="rId21" Type="http://schemas.openxmlformats.org/officeDocument/2006/relationships/image" Target="../media/image242.png"/><Relationship Id="rId34" Type="http://schemas.openxmlformats.org/officeDocument/2006/relationships/image" Target="../media/image255.png"/><Relationship Id="rId42" Type="http://schemas.openxmlformats.org/officeDocument/2006/relationships/image" Target="../media/image263.png"/><Relationship Id="rId47" Type="http://schemas.openxmlformats.org/officeDocument/2006/relationships/image" Target="../media/image267.png"/><Relationship Id="rId50" Type="http://schemas.openxmlformats.org/officeDocument/2006/relationships/image" Target="../media/image270.png"/><Relationship Id="rId55" Type="http://schemas.openxmlformats.org/officeDocument/2006/relationships/image" Target="../media/image275.png"/><Relationship Id="rId7" Type="http://schemas.openxmlformats.org/officeDocument/2006/relationships/image" Target="../media/image228.png"/><Relationship Id="rId2" Type="http://schemas.openxmlformats.org/officeDocument/2006/relationships/image" Target="../media/image223.png"/><Relationship Id="rId16" Type="http://schemas.openxmlformats.org/officeDocument/2006/relationships/image" Target="../media/image237.png"/><Relationship Id="rId29" Type="http://schemas.openxmlformats.org/officeDocument/2006/relationships/image" Target="../media/image250.png"/><Relationship Id="rId11" Type="http://schemas.openxmlformats.org/officeDocument/2006/relationships/image" Target="../media/image232.png"/><Relationship Id="rId24" Type="http://schemas.openxmlformats.org/officeDocument/2006/relationships/image" Target="../media/image245.png"/><Relationship Id="rId32" Type="http://schemas.openxmlformats.org/officeDocument/2006/relationships/image" Target="../media/image253.png"/><Relationship Id="rId37" Type="http://schemas.openxmlformats.org/officeDocument/2006/relationships/image" Target="../media/image258.png"/><Relationship Id="rId40" Type="http://schemas.openxmlformats.org/officeDocument/2006/relationships/image" Target="../media/image261.png"/><Relationship Id="rId45" Type="http://schemas.openxmlformats.org/officeDocument/2006/relationships/image" Target="../media/image266.png"/><Relationship Id="rId53" Type="http://schemas.openxmlformats.org/officeDocument/2006/relationships/image" Target="../media/image273.png"/><Relationship Id="rId58" Type="http://schemas.openxmlformats.org/officeDocument/2006/relationships/image" Target="../media/image278.png"/><Relationship Id="rId5" Type="http://schemas.openxmlformats.org/officeDocument/2006/relationships/image" Target="../media/image226.png"/><Relationship Id="rId19" Type="http://schemas.openxmlformats.org/officeDocument/2006/relationships/image" Target="../media/image240.png"/><Relationship Id="rId4" Type="http://schemas.openxmlformats.org/officeDocument/2006/relationships/image" Target="../media/image225.png"/><Relationship Id="rId9" Type="http://schemas.openxmlformats.org/officeDocument/2006/relationships/image" Target="../media/image230.png"/><Relationship Id="rId14" Type="http://schemas.openxmlformats.org/officeDocument/2006/relationships/image" Target="../media/image235.png"/><Relationship Id="rId22" Type="http://schemas.openxmlformats.org/officeDocument/2006/relationships/image" Target="../media/image243.png"/><Relationship Id="rId27" Type="http://schemas.openxmlformats.org/officeDocument/2006/relationships/image" Target="../media/image248.png"/><Relationship Id="rId30" Type="http://schemas.openxmlformats.org/officeDocument/2006/relationships/image" Target="../media/image251.png"/><Relationship Id="rId35" Type="http://schemas.openxmlformats.org/officeDocument/2006/relationships/image" Target="../media/image256.png"/><Relationship Id="rId43" Type="http://schemas.openxmlformats.org/officeDocument/2006/relationships/image" Target="../media/image264.png"/><Relationship Id="rId48" Type="http://schemas.openxmlformats.org/officeDocument/2006/relationships/image" Target="../media/image268.png"/><Relationship Id="rId56" Type="http://schemas.openxmlformats.org/officeDocument/2006/relationships/image" Target="../media/image276.png"/><Relationship Id="rId8" Type="http://schemas.openxmlformats.org/officeDocument/2006/relationships/image" Target="../media/image229.png"/><Relationship Id="rId51" Type="http://schemas.openxmlformats.org/officeDocument/2006/relationships/image" Target="../media/image271.png"/><Relationship Id="rId3" Type="http://schemas.openxmlformats.org/officeDocument/2006/relationships/image" Target="../media/image224.png"/><Relationship Id="rId12" Type="http://schemas.openxmlformats.org/officeDocument/2006/relationships/image" Target="../media/image233.png"/><Relationship Id="rId17" Type="http://schemas.openxmlformats.org/officeDocument/2006/relationships/image" Target="../media/image238.png"/><Relationship Id="rId25" Type="http://schemas.openxmlformats.org/officeDocument/2006/relationships/image" Target="../media/image246.png"/><Relationship Id="rId33" Type="http://schemas.openxmlformats.org/officeDocument/2006/relationships/image" Target="../media/image254.png"/><Relationship Id="rId38" Type="http://schemas.openxmlformats.org/officeDocument/2006/relationships/image" Target="../media/image259.png"/><Relationship Id="rId46" Type="http://schemas.openxmlformats.org/officeDocument/2006/relationships/image" Target="../media/image155.png"/><Relationship Id="rId59" Type="http://schemas.openxmlformats.org/officeDocument/2006/relationships/image" Target="../media/image279.png"/><Relationship Id="rId20" Type="http://schemas.openxmlformats.org/officeDocument/2006/relationships/image" Target="../media/image241.png"/><Relationship Id="rId41" Type="http://schemas.openxmlformats.org/officeDocument/2006/relationships/image" Target="../media/image262.png"/><Relationship Id="rId54" Type="http://schemas.openxmlformats.org/officeDocument/2006/relationships/image" Target="../media/image274.png"/><Relationship Id="rId1" Type="http://schemas.openxmlformats.org/officeDocument/2006/relationships/slideLayout" Target="../slideLayouts/slideLayout36.xml"/><Relationship Id="rId6" Type="http://schemas.openxmlformats.org/officeDocument/2006/relationships/image" Target="../media/image227.png"/><Relationship Id="rId15" Type="http://schemas.openxmlformats.org/officeDocument/2006/relationships/image" Target="../media/image236.png"/><Relationship Id="rId23" Type="http://schemas.openxmlformats.org/officeDocument/2006/relationships/image" Target="../media/image244.png"/><Relationship Id="rId28" Type="http://schemas.openxmlformats.org/officeDocument/2006/relationships/image" Target="../media/image249.png"/><Relationship Id="rId36" Type="http://schemas.openxmlformats.org/officeDocument/2006/relationships/image" Target="../media/image257.png"/><Relationship Id="rId49" Type="http://schemas.openxmlformats.org/officeDocument/2006/relationships/image" Target="../media/image269.png"/><Relationship Id="rId57" Type="http://schemas.openxmlformats.org/officeDocument/2006/relationships/image" Target="../media/image277.png"/><Relationship Id="rId10" Type="http://schemas.openxmlformats.org/officeDocument/2006/relationships/image" Target="../media/image231.png"/><Relationship Id="rId31" Type="http://schemas.openxmlformats.org/officeDocument/2006/relationships/image" Target="../media/image252.png"/><Relationship Id="rId44" Type="http://schemas.openxmlformats.org/officeDocument/2006/relationships/image" Target="../media/image265.png"/><Relationship Id="rId52" Type="http://schemas.openxmlformats.org/officeDocument/2006/relationships/image" Target="../media/image27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5.xml"/><Relationship Id="rId5" Type="http://schemas.openxmlformats.org/officeDocument/2006/relationships/image" Target="../media/image31.png"/><Relationship Id="rId4" Type="http://schemas.openxmlformats.org/officeDocument/2006/relationships/image" Target="../media/image3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7.xml"/></Relationships>
</file>

<file path=ppt/slides/_rels/slide6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8.xml"/></Relationships>
</file>

<file path=ppt/slides/_rels/slide6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9.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9.xml"/><Relationship Id="rId4" Type="http://schemas.openxmlformats.org/officeDocument/2006/relationships/image" Target="../media/image26.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7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6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0.xml"/><Relationship Id="rId5" Type="http://schemas.openxmlformats.org/officeDocument/2006/relationships/image" Target="../media/image26.png"/><Relationship Id="rId4" Type="http://schemas.openxmlformats.org/officeDocument/2006/relationships/image" Target="../media/image25.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1.xml"/><Relationship Id="rId5" Type="http://schemas.openxmlformats.org/officeDocument/2006/relationships/image" Target="../media/image26.png"/><Relationship Id="rId4" Type="http://schemas.openxmlformats.org/officeDocument/2006/relationships/image" Target="../media/image25.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olf course with trees and a path&#10;&#10;Description automatically generated">
            <a:extLst>
              <a:ext uri="{FF2B5EF4-FFF2-40B4-BE49-F238E27FC236}">
                <a16:creationId xmlns:a16="http://schemas.microsoft.com/office/drawing/2014/main" id="{4C0A2485-0577-E509-5F77-1418F489B4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0600" cy="6858000"/>
          </a:xfrm>
          <a:prstGeom prst="rect">
            <a:avLst/>
          </a:prstGeom>
        </p:spPr>
      </p:pic>
      <p:pic>
        <p:nvPicPr>
          <p:cNvPr id="6" name="Picture 3">
            <a:extLst>
              <a:ext uri="{FF2B5EF4-FFF2-40B4-BE49-F238E27FC236}">
                <a16:creationId xmlns:a16="http://schemas.microsoft.com/office/drawing/2014/main" id="{4FAF1580-7078-FEC1-1352-6315E199A03A}"/>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0" y="0"/>
            <a:ext cx="12192000" cy="6858000"/>
          </a:xfrm>
          <a:prstGeom prst="rect">
            <a:avLst/>
          </a:prstGeom>
        </p:spPr>
      </p:pic>
      <p:sp>
        <p:nvSpPr>
          <p:cNvPr id="7" name="Title 15">
            <a:extLst>
              <a:ext uri="{FF2B5EF4-FFF2-40B4-BE49-F238E27FC236}">
                <a16:creationId xmlns:a16="http://schemas.microsoft.com/office/drawing/2014/main" id="{0804C7FE-6120-6885-3CCA-36D8CE1D6E9D}"/>
              </a:ext>
            </a:extLst>
          </p:cNvPr>
          <p:cNvSpPr txBox="1">
            <a:spLocks/>
          </p:cNvSpPr>
          <p:nvPr/>
        </p:nvSpPr>
        <p:spPr>
          <a:xfrm>
            <a:off x="386576" y="4468905"/>
            <a:ext cx="8396489" cy="1929905"/>
          </a:xfrm>
          <a:prstGeom prst="rect">
            <a:avLst/>
          </a:prstGeom>
        </p:spPr>
        <p:txBody>
          <a:bodyPr vert="horz" wrap="square" lIns="0" tIns="0" rIns="0" bIns="0" rtlCol="0" anchor="b" anchorCtr="0">
            <a:normAutofit/>
          </a:bodyPr>
          <a:lstStyle>
            <a:lvl1pPr algn="l" defTabSz="914377" rtl="0" eaLnBrk="1" latinLnBrk="0" hangingPunct="1">
              <a:lnSpc>
                <a:spcPct val="90000"/>
              </a:lnSpc>
              <a:spcBef>
                <a:spcPct val="0"/>
              </a:spcBef>
              <a:buNone/>
              <a:defRPr sz="4267" kern="1200">
                <a:solidFill>
                  <a:schemeClr val="bg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267" b="1" i="0" u="none" strike="noStrike" kern="1200" cap="none" spc="0" normalizeH="0" baseline="0" noProof="0" dirty="0">
                <a:ln>
                  <a:noFill/>
                </a:ln>
                <a:solidFill>
                  <a:srgbClr val="002060"/>
                </a:solidFill>
                <a:effectLst/>
                <a:uLnTx/>
                <a:uFillTx/>
                <a:latin typeface="RBC Display" panose="02000000000000000000" pitchFamily="2" charset="77"/>
                <a:ea typeface="+mj-ea"/>
                <a:cs typeface="+mj-cs"/>
              </a:rPr>
              <a:t>MAIN DECK TITLE</a:t>
            </a:r>
          </a:p>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RBC Display" panose="02000000000000000000" pitchFamily="2" charset="77"/>
                <a:ea typeface="+mj-ea"/>
                <a:cs typeface="+mj-cs"/>
              </a:rPr>
              <a:t>SUB-TITLE</a:t>
            </a:r>
            <a:endParaRPr kumimoji="0" lang="en-CA" sz="2000" b="0" i="0" u="none" strike="noStrike" kern="1200" cap="none" spc="0" normalizeH="0" baseline="0" noProof="0" dirty="0">
              <a:ln>
                <a:noFill/>
              </a:ln>
              <a:solidFill>
                <a:srgbClr val="002060"/>
              </a:solidFill>
              <a:effectLst/>
              <a:uLnTx/>
              <a:uFillTx/>
              <a:latin typeface="RBC Display" panose="02000000000000000000" pitchFamily="2" charset="77"/>
              <a:ea typeface="+mj-ea"/>
              <a:cs typeface="+mj-cs"/>
            </a:endParaRPr>
          </a:p>
        </p:txBody>
      </p:sp>
      <p:pic>
        <p:nvPicPr>
          <p:cNvPr id="8" name="Picture 7" descr="A white surface with a blue background&#10;&#10;Description automatically generated with medium confidence">
            <a:extLst>
              <a:ext uri="{FF2B5EF4-FFF2-40B4-BE49-F238E27FC236}">
                <a16:creationId xmlns:a16="http://schemas.microsoft.com/office/drawing/2014/main" id="{A7A27342-4079-2FA9-E66E-67CB0699622C}"/>
              </a:ext>
            </a:extLst>
          </p:cNvPr>
          <p:cNvPicPr>
            <a:picLocks noChangeAspect="1"/>
          </p:cNvPicPr>
          <p:nvPr/>
        </p:nvPicPr>
        <p:blipFill>
          <a:blip r:embed="rId6"/>
          <a:stretch>
            <a:fillRect/>
          </a:stretch>
        </p:blipFill>
        <p:spPr>
          <a:xfrm>
            <a:off x="10199648" y="5205028"/>
            <a:ext cx="1828800" cy="1435100"/>
          </a:xfrm>
          <a:prstGeom prst="rect">
            <a:avLst/>
          </a:prstGeom>
        </p:spPr>
      </p:pic>
      <p:pic>
        <p:nvPicPr>
          <p:cNvPr id="4" name="Picture 3" descr="A blue text on a black background&#10;&#10;Description automatically generated">
            <a:extLst>
              <a:ext uri="{FF2B5EF4-FFF2-40B4-BE49-F238E27FC236}">
                <a16:creationId xmlns:a16="http://schemas.microsoft.com/office/drawing/2014/main" id="{0F6D9D33-B700-66C4-D851-C407B20263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26139" y="5150390"/>
            <a:ext cx="2648502" cy="1065783"/>
          </a:xfrm>
          <a:prstGeom prst="rect">
            <a:avLst/>
          </a:prstGeom>
        </p:spPr>
      </p:pic>
    </p:spTree>
    <p:extLst>
      <p:ext uri="{BB962C8B-B14F-4D97-AF65-F5344CB8AC3E}">
        <p14:creationId xmlns:p14="http://schemas.microsoft.com/office/powerpoint/2010/main" val="15039696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F46C12-700D-0A46-A1E3-19AD8DE8F85E}"/>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CCA20271-CB55-4F4C-BBA1-91D5923D3291}"/>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A6ADF533-8771-C243-B56C-E79FCC3E6B48}"/>
              </a:ext>
            </a:extLst>
          </p:cNvPr>
          <p:cNvSpPr>
            <a:spLocks noGrp="1"/>
          </p:cNvSpPr>
          <p:nvPr>
            <p:ph type="body" sz="quarter" idx="14"/>
          </p:nvPr>
        </p:nvSpPr>
        <p:spPr/>
        <p:txBody>
          <a:bodyPr/>
          <a:lstStyle/>
          <a:p>
            <a:endParaRPr lang="en-US"/>
          </a:p>
        </p:txBody>
      </p:sp>
      <p:sp>
        <p:nvSpPr>
          <p:cNvPr id="5" name="Text Placeholder 4">
            <a:extLst>
              <a:ext uri="{FF2B5EF4-FFF2-40B4-BE49-F238E27FC236}">
                <a16:creationId xmlns:a16="http://schemas.microsoft.com/office/drawing/2014/main" id="{F9C447FE-4417-6047-B921-3B7EB1B6D734}"/>
              </a:ext>
            </a:extLst>
          </p:cNvPr>
          <p:cNvSpPr>
            <a:spLocks noGrp="1"/>
          </p:cNvSpPr>
          <p:nvPr>
            <p:ph type="body" sz="quarter" idx="18"/>
          </p:nvPr>
        </p:nvSpPr>
        <p:spPr/>
        <p:txBody>
          <a:bodyPr/>
          <a:lstStyle/>
          <a:p>
            <a:endParaRPr lang="en-US"/>
          </a:p>
        </p:txBody>
      </p:sp>
      <p:sp>
        <p:nvSpPr>
          <p:cNvPr id="6" name="Text Placeholder 5">
            <a:extLst>
              <a:ext uri="{FF2B5EF4-FFF2-40B4-BE49-F238E27FC236}">
                <a16:creationId xmlns:a16="http://schemas.microsoft.com/office/drawing/2014/main" id="{EE9C6790-EBEC-434F-A586-3181DA2F2598}"/>
              </a:ext>
            </a:extLst>
          </p:cNvPr>
          <p:cNvSpPr>
            <a:spLocks noGrp="1"/>
          </p:cNvSpPr>
          <p:nvPr>
            <p:ph type="body" sz="quarter" idx="19"/>
          </p:nvPr>
        </p:nvSpPr>
        <p:spPr/>
        <p:txBody>
          <a:bodyPr/>
          <a:lstStyle/>
          <a:p>
            <a:endParaRPr lang="en-US"/>
          </a:p>
        </p:txBody>
      </p:sp>
      <p:sp>
        <p:nvSpPr>
          <p:cNvPr id="7" name="Text Placeholder 6">
            <a:extLst>
              <a:ext uri="{FF2B5EF4-FFF2-40B4-BE49-F238E27FC236}">
                <a16:creationId xmlns:a16="http://schemas.microsoft.com/office/drawing/2014/main" id="{C19F086C-4AE3-AA46-8FB7-C307EA900D03}"/>
              </a:ext>
            </a:extLst>
          </p:cNvPr>
          <p:cNvSpPr>
            <a:spLocks noGrp="1"/>
          </p:cNvSpPr>
          <p:nvPr>
            <p:ph type="body" sz="quarter" idx="20"/>
          </p:nvPr>
        </p:nvSpPr>
        <p:spPr/>
        <p:txBody>
          <a:bodyPr/>
          <a:lstStyle/>
          <a:p>
            <a:endParaRPr lang="en-US"/>
          </a:p>
        </p:txBody>
      </p:sp>
      <p:sp>
        <p:nvSpPr>
          <p:cNvPr id="8" name="Picture Placeholder 7">
            <a:extLst>
              <a:ext uri="{FF2B5EF4-FFF2-40B4-BE49-F238E27FC236}">
                <a16:creationId xmlns:a16="http://schemas.microsoft.com/office/drawing/2014/main" id="{8A239291-31FE-F34B-8916-404EBA071FFB}"/>
              </a:ext>
            </a:extLst>
          </p:cNvPr>
          <p:cNvSpPr>
            <a:spLocks noGrp="1"/>
          </p:cNvSpPr>
          <p:nvPr>
            <p:ph type="pic" sz="quarter" idx="21"/>
          </p:nvPr>
        </p:nvSpPr>
        <p:spPr/>
        <p:txBody>
          <a:bodyPr/>
          <a:lstStyle/>
          <a:p>
            <a:endParaRPr lang="en-CA"/>
          </a:p>
        </p:txBody>
      </p:sp>
      <p:pic>
        <p:nvPicPr>
          <p:cNvPr id="9" name="Image" descr="Image">
            <a:extLst>
              <a:ext uri="{FF2B5EF4-FFF2-40B4-BE49-F238E27FC236}">
                <a16:creationId xmlns:a16="http://schemas.microsoft.com/office/drawing/2014/main" id="{70BEF0C9-FDF4-D746-A19F-4F258F306F81}"/>
              </a:ext>
            </a:extLst>
          </p:cNvPr>
          <p:cNvPicPr>
            <a:picLocks noChangeAspect="1"/>
          </p:cNvPicPr>
          <p:nvPr/>
        </p:nvPicPr>
        <p:blipFill>
          <a:blip r:embed="rId2"/>
          <a:stretch>
            <a:fillRect/>
          </a:stretch>
        </p:blipFill>
        <p:spPr>
          <a:xfrm>
            <a:off x="6462837" y="3326997"/>
            <a:ext cx="831278" cy="831278"/>
          </a:xfrm>
          <a:prstGeom prst="rect">
            <a:avLst/>
          </a:prstGeom>
          <a:ln w="3175">
            <a:miter lim="400000"/>
          </a:ln>
        </p:spPr>
      </p:pic>
      <p:pic>
        <p:nvPicPr>
          <p:cNvPr id="11" name="Image" descr="Image">
            <a:extLst>
              <a:ext uri="{FF2B5EF4-FFF2-40B4-BE49-F238E27FC236}">
                <a16:creationId xmlns:a16="http://schemas.microsoft.com/office/drawing/2014/main" id="{D4D85D16-F368-B24E-80DA-E7C5C1042497}"/>
              </a:ext>
            </a:extLst>
          </p:cNvPr>
          <p:cNvPicPr>
            <a:picLocks noChangeAspect="1"/>
          </p:cNvPicPr>
          <p:nvPr/>
        </p:nvPicPr>
        <p:blipFill>
          <a:blip r:embed="rId3"/>
          <a:stretch>
            <a:fillRect/>
          </a:stretch>
        </p:blipFill>
        <p:spPr>
          <a:xfrm>
            <a:off x="9340716" y="3353792"/>
            <a:ext cx="831278" cy="794381"/>
          </a:xfrm>
          <a:prstGeom prst="rect">
            <a:avLst/>
          </a:prstGeom>
          <a:ln w="3175">
            <a:miter lim="400000"/>
          </a:ln>
        </p:spPr>
      </p:pic>
    </p:spTree>
    <p:extLst>
      <p:ext uri="{BB962C8B-B14F-4D97-AF65-F5344CB8AC3E}">
        <p14:creationId xmlns:p14="http://schemas.microsoft.com/office/powerpoint/2010/main" val="126710773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p:cNvSpPr/>
          <p:nvPr/>
        </p:nvSpPr>
        <p:spPr>
          <a:xfrm>
            <a:off x="4192229" y="1320537"/>
            <a:ext cx="3807542" cy="3807540"/>
          </a:xfrm>
          <a:prstGeom prst="ellipse">
            <a:avLst/>
          </a:prstGeom>
          <a:solidFill>
            <a:schemeClr val="bg1"/>
          </a:solidFill>
          <a:ln w="1270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4" name="Oval 13"/>
          <p:cNvSpPr/>
          <p:nvPr/>
        </p:nvSpPr>
        <p:spPr>
          <a:xfrm>
            <a:off x="4930671" y="2080637"/>
            <a:ext cx="2330658" cy="2330657"/>
          </a:xfrm>
          <a:prstGeom prst="ellipse">
            <a:avLst/>
          </a:prstGeom>
          <a:solidFill>
            <a:schemeClr val="bg1"/>
          </a:solidFill>
          <a:ln w="1270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7" name="Oval 16"/>
          <p:cNvSpPr/>
          <p:nvPr/>
        </p:nvSpPr>
        <p:spPr>
          <a:xfrm>
            <a:off x="5635035" y="2793855"/>
            <a:ext cx="944868" cy="944867"/>
          </a:xfrm>
          <a:prstGeom prst="ellipse">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5" name="Notched Right Arrow 4"/>
          <p:cNvSpPr/>
          <p:nvPr/>
        </p:nvSpPr>
        <p:spPr>
          <a:xfrm>
            <a:off x="3111753" y="2682179"/>
            <a:ext cx="2085652" cy="1195931"/>
          </a:xfrm>
          <a:prstGeom prst="notchedRightArrow">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6" name="Notched Right Arrow 5"/>
          <p:cNvSpPr/>
          <p:nvPr/>
        </p:nvSpPr>
        <p:spPr>
          <a:xfrm flipH="1">
            <a:off x="6994594" y="2682179"/>
            <a:ext cx="2085653" cy="1195931"/>
          </a:xfrm>
          <a:prstGeom prst="notchedRightArrow">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7" name="Notched Right Arrow 6"/>
          <p:cNvSpPr/>
          <p:nvPr/>
        </p:nvSpPr>
        <p:spPr>
          <a:xfrm rot="16200000" flipH="1">
            <a:off x="5055489" y="1043703"/>
            <a:ext cx="2081021" cy="1195931"/>
          </a:xfrm>
          <a:prstGeom prst="notchedRightArrow">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8" name="Notched Right Arrow 7"/>
          <p:cNvSpPr/>
          <p:nvPr/>
        </p:nvSpPr>
        <p:spPr>
          <a:xfrm rot="5400000" flipH="1" flipV="1">
            <a:off x="5022098" y="4354046"/>
            <a:ext cx="2147804" cy="1195931"/>
          </a:xfrm>
          <a:prstGeom prst="notchedRightArrow">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2" name="TextBox 21"/>
          <p:cNvSpPr txBox="1"/>
          <p:nvPr/>
        </p:nvSpPr>
        <p:spPr>
          <a:xfrm>
            <a:off x="1498604" y="3794751"/>
            <a:ext cx="2379062"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23" name="Oval 22"/>
          <p:cNvSpPr/>
          <p:nvPr/>
        </p:nvSpPr>
        <p:spPr>
          <a:xfrm>
            <a:off x="3549814" y="3094731"/>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24" name="Oval 23"/>
          <p:cNvSpPr/>
          <p:nvPr/>
        </p:nvSpPr>
        <p:spPr>
          <a:xfrm>
            <a:off x="5923601" y="1037728"/>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25" name="Oval 24"/>
          <p:cNvSpPr/>
          <p:nvPr/>
        </p:nvSpPr>
        <p:spPr>
          <a:xfrm>
            <a:off x="8335273" y="3093845"/>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26" name="Oval 25"/>
          <p:cNvSpPr/>
          <p:nvPr/>
        </p:nvSpPr>
        <p:spPr>
          <a:xfrm>
            <a:off x="5917581" y="5221065"/>
            <a:ext cx="343116" cy="343114"/>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27" name="TextBox 26"/>
          <p:cNvSpPr txBox="1"/>
          <p:nvPr/>
        </p:nvSpPr>
        <p:spPr>
          <a:xfrm>
            <a:off x="8335273" y="3794751"/>
            <a:ext cx="2379062"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28" name="TextBox 27"/>
          <p:cNvSpPr txBox="1"/>
          <p:nvPr/>
        </p:nvSpPr>
        <p:spPr>
          <a:xfrm>
            <a:off x="3164119" y="5264801"/>
            <a:ext cx="2379062"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29" name="TextBox 28"/>
          <p:cNvSpPr txBox="1"/>
          <p:nvPr/>
        </p:nvSpPr>
        <p:spPr>
          <a:xfrm>
            <a:off x="6684786" y="929172"/>
            <a:ext cx="2379062"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37" name="Freeform 1137"/>
          <p:cNvSpPr>
            <a:spLocks noEditPoints="1"/>
          </p:cNvSpPr>
          <p:nvPr/>
        </p:nvSpPr>
        <p:spPr bwMode="auto">
          <a:xfrm>
            <a:off x="5914462" y="3097365"/>
            <a:ext cx="372995" cy="33829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4" name="Text Placeholder 6">
            <a:extLst>
              <a:ext uri="{FF2B5EF4-FFF2-40B4-BE49-F238E27FC236}">
                <a16:creationId xmlns:a16="http://schemas.microsoft.com/office/drawing/2014/main" id="{33A4FB49-5041-0C47-A016-27C038A54CE3}"/>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49370042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635035" y="2942710"/>
            <a:ext cx="944868" cy="944867"/>
          </a:xfrm>
          <a:prstGeom prst="ellipse">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6" name="Notched Right Arrow 5"/>
          <p:cNvSpPr/>
          <p:nvPr/>
        </p:nvSpPr>
        <p:spPr>
          <a:xfrm rot="16200000" flipH="1">
            <a:off x="5055489" y="4511111"/>
            <a:ext cx="2081021" cy="1195931"/>
          </a:xfrm>
          <a:prstGeom prst="notchedRightArrow">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7" name="Oval 6"/>
          <p:cNvSpPr/>
          <p:nvPr/>
        </p:nvSpPr>
        <p:spPr>
          <a:xfrm>
            <a:off x="5923601" y="4505136"/>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9" name="Notched Right Arrow 8"/>
          <p:cNvSpPr/>
          <p:nvPr/>
        </p:nvSpPr>
        <p:spPr>
          <a:xfrm rot="5400000" flipH="1" flipV="1">
            <a:off x="5022098" y="1122700"/>
            <a:ext cx="2147804" cy="1195931"/>
          </a:xfrm>
          <a:prstGeom prst="notchedRightArrow">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0" name="Oval 9"/>
          <p:cNvSpPr/>
          <p:nvPr/>
        </p:nvSpPr>
        <p:spPr>
          <a:xfrm>
            <a:off x="5917581" y="1989719"/>
            <a:ext cx="343116" cy="343114"/>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12" name="Notched Right Arrow 11"/>
          <p:cNvSpPr/>
          <p:nvPr/>
        </p:nvSpPr>
        <p:spPr>
          <a:xfrm>
            <a:off x="6693964" y="2831034"/>
            <a:ext cx="2085652" cy="1195931"/>
          </a:xfrm>
          <a:prstGeom prst="notchedRightArrow">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3" name="Oval 12"/>
          <p:cNvSpPr/>
          <p:nvPr/>
        </p:nvSpPr>
        <p:spPr>
          <a:xfrm>
            <a:off x="7132025" y="3243586"/>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16" name="Notched Right Arrow 15"/>
          <p:cNvSpPr/>
          <p:nvPr/>
        </p:nvSpPr>
        <p:spPr>
          <a:xfrm flipH="1">
            <a:off x="3421601" y="2831034"/>
            <a:ext cx="2085653" cy="1195931"/>
          </a:xfrm>
          <a:prstGeom prst="notchedRightArrow">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7" name="Oval 16"/>
          <p:cNvSpPr/>
          <p:nvPr/>
        </p:nvSpPr>
        <p:spPr>
          <a:xfrm>
            <a:off x="4762280" y="3242700"/>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22" name="TextBox 21"/>
          <p:cNvSpPr txBox="1"/>
          <p:nvPr/>
        </p:nvSpPr>
        <p:spPr>
          <a:xfrm>
            <a:off x="7274854" y="4155854"/>
            <a:ext cx="2379062"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23" name="TextBox 22"/>
          <p:cNvSpPr txBox="1"/>
          <p:nvPr/>
        </p:nvSpPr>
        <p:spPr>
          <a:xfrm>
            <a:off x="2589126" y="1872869"/>
            <a:ext cx="2379062"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24" name="TextBox 23"/>
          <p:cNvSpPr txBox="1"/>
          <p:nvPr/>
        </p:nvSpPr>
        <p:spPr>
          <a:xfrm>
            <a:off x="6879190" y="1893189"/>
            <a:ext cx="2379062"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25" name="TextBox 24"/>
          <p:cNvSpPr txBox="1"/>
          <p:nvPr/>
        </p:nvSpPr>
        <p:spPr>
          <a:xfrm>
            <a:off x="2865425" y="4402591"/>
            <a:ext cx="2379062"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cxnSp>
        <p:nvCxnSpPr>
          <p:cNvPr id="27" name="Straight Connector 26"/>
          <p:cNvCxnSpPr/>
          <p:nvPr/>
        </p:nvCxnSpPr>
        <p:spPr>
          <a:xfrm>
            <a:off x="6217561" y="2159415"/>
            <a:ext cx="502443" cy="0"/>
          </a:xfrm>
          <a:prstGeom prst="line">
            <a:avLst/>
          </a:prstGeom>
          <a:ln w="12700">
            <a:solidFill>
              <a:schemeClr val="accent4"/>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291696" y="3570475"/>
            <a:ext cx="1613" cy="428819"/>
          </a:xfrm>
          <a:prstGeom prst="line">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5421158" y="4676692"/>
            <a:ext cx="502443" cy="0"/>
          </a:xfrm>
          <a:prstGeom prst="line">
            <a:avLst/>
          </a:prstGeom>
          <a:ln w="12700">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4947240" y="2819894"/>
            <a:ext cx="1613" cy="428819"/>
          </a:xfrm>
          <a:prstGeom prst="line">
            <a:avLst/>
          </a:prstGeom>
          <a:ln w="12700">
            <a:solidFill>
              <a:schemeClr val="accent3"/>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7" name="Freeform 1050"/>
          <p:cNvSpPr>
            <a:spLocks noEditPoints="1"/>
          </p:cNvSpPr>
          <p:nvPr/>
        </p:nvSpPr>
        <p:spPr bwMode="auto">
          <a:xfrm>
            <a:off x="5923277" y="3213120"/>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6" name="Text Placeholder 6">
            <a:extLst>
              <a:ext uri="{FF2B5EF4-FFF2-40B4-BE49-F238E27FC236}">
                <a16:creationId xmlns:a16="http://schemas.microsoft.com/office/drawing/2014/main" id="{CF343E39-C70B-AC4D-ADD2-0D34375102D4}"/>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10644321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8263829" y="1147812"/>
            <a:ext cx="2379062"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22" name="TextBox 21"/>
          <p:cNvSpPr txBox="1"/>
          <p:nvPr/>
        </p:nvSpPr>
        <p:spPr>
          <a:xfrm>
            <a:off x="3642230" y="5552367"/>
            <a:ext cx="2379062"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23" name="TextBox 22"/>
          <p:cNvSpPr txBox="1"/>
          <p:nvPr/>
        </p:nvSpPr>
        <p:spPr>
          <a:xfrm>
            <a:off x="1444028" y="1992524"/>
            <a:ext cx="2379062"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25" name="Freeform 5">
            <a:extLst>
              <a:ext uri="{FF2B5EF4-FFF2-40B4-BE49-F238E27FC236}">
                <a16:creationId xmlns:a16="http://schemas.microsoft.com/office/drawing/2014/main" id="{A19454E5-697A-4F2A-BD3B-9AD5301D0C30}"/>
              </a:ext>
            </a:extLst>
          </p:cNvPr>
          <p:cNvSpPr>
            <a:spLocks/>
          </p:cNvSpPr>
          <p:nvPr/>
        </p:nvSpPr>
        <p:spPr bwMode="auto">
          <a:xfrm rot="16200000" flipH="1">
            <a:off x="3208648" y="2832049"/>
            <a:ext cx="2229904" cy="2221523"/>
          </a:xfrm>
          <a:custGeom>
            <a:avLst/>
            <a:gdLst>
              <a:gd name="T0" fmla="*/ 554 w 1108"/>
              <a:gd name="T1" fmla="*/ 0 h 1108"/>
              <a:gd name="T2" fmla="*/ 0 w 1108"/>
              <a:gd name="T3" fmla="*/ 554 h 1108"/>
              <a:gd name="T4" fmla="*/ 554 w 1108"/>
              <a:gd name="T5" fmla="*/ 1108 h 1108"/>
              <a:gd name="T6" fmla="*/ 554 w 1108"/>
              <a:gd name="T7" fmla="*/ 788 h 1108"/>
              <a:gd name="T8" fmla="*/ 319 w 1108"/>
              <a:gd name="T9" fmla="*/ 554 h 1108"/>
              <a:gd name="T10" fmla="*/ 554 w 1108"/>
              <a:gd name="T11" fmla="*/ 319 h 1108"/>
              <a:gd name="T12" fmla="*/ 788 w 1108"/>
              <a:gd name="T13" fmla="*/ 554 h 1108"/>
              <a:gd name="T14" fmla="*/ 719 w 1108"/>
              <a:gd name="T15" fmla="*/ 720 h 1108"/>
              <a:gd name="T16" fmla="*/ 554 w 1108"/>
              <a:gd name="T17" fmla="*/ 788 h 1108"/>
              <a:gd name="T18" fmla="*/ 960 w 1108"/>
              <a:gd name="T19" fmla="*/ 931 h 1108"/>
              <a:gd name="T20" fmla="*/ 1108 w 1108"/>
              <a:gd name="T21" fmla="*/ 554 h 1108"/>
              <a:gd name="T22" fmla="*/ 554 w 1108"/>
              <a:gd name="T23" fmla="*/ 0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8" h="1108">
                <a:moveTo>
                  <a:pt x="554" y="0"/>
                </a:moveTo>
                <a:cubicBezTo>
                  <a:pt x="248" y="0"/>
                  <a:pt x="0" y="248"/>
                  <a:pt x="0" y="554"/>
                </a:cubicBezTo>
                <a:cubicBezTo>
                  <a:pt x="0" y="860"/>
                  <a:pt x="248" y="1108"/>
                  <a:pt x="554" y="1108"/>
                </a:cubicBezTo>
                <a:cubicBezTo>
                  <a:pt x="554" y="788"/>
                  <a:pt x="554" y="788"/>
                  <a:pt x="554" y="788"/>
                </a:cubicBezTo>
                <a:cubicBezTo>
                  <a:pt x="424" y="788"/>
                  <a:pt x="319" y="683"/>
                  <a:pt x="319" y="554"/>
                </a:cubicBezTo>
                <a:cubicBezTo>
                  <a:pt x="319" y="424"/>
                  <a:pt x="424" y="319"/>
                  <a:pt x="554" y="319"/>
                </a:cubicBezTo>
                <a:cubicBezTo>
                  <a:pt x="683" y="319"/>
                  <a:pt x="788" y="424"/>
                  <a:pt x="788" y="554"/>
                </a:cubicBezTo>
                <a:cubicBezTo>
                  <a:pt x="788" y="619"/>
                  <a:pt x="762" y="677"/>
                  <a:pt x="719" y="720"/>
                </a:cubicBezTo>
                <a:cubicBezTo>
                  <a:pt x="677" y="762"/>
                  <a:pt x="618" y="788"/>
                  <a:pt x="554" y="788"/>
                </a:cubicBezTo>
                <a:cubicBezTo>
                  <a:pt x="707" y="788"/>
                  <a:pt x="848" y="842"/>
                  <a:pt x="960" y="931"/>
                </a:cubicBezTo>
                <a:cubicBezTo>
                  <a:pt x="1052" y="832"/>
                  <a:pt x="1108" y="699"/>
                  <a:pt x="1108" y="554"/>
                </a:cubicBezTo>
                <a:cubicBezTo>
                  <a:pt x="1108" y="248"/>
                  <a:pt x="860" y="0"/>
                  <a:pt x="554" y="0"/>
                </a:cubicBezTo>
                <a:close/>
              </a:path>
            </a:pathLst>
          </a:custGeom>
          <a:solidFill>
            <a:schemeClr val="accent3"/>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1" name="Freeform 6">
            <a:extLst>
              <a:ext uri="{FF2B5EF4-FFF2-40B4-BE49-F238E27FC236}">
                <a16:creationId xmlns:a16="http://schemas.microsoft.com/office/drawing/2014/main" id="{01F26B24-F228-4A87-8C0A-1941EE501EF4}"/>
              </a:ext>
            </a:extLst>
          </p:cNvPr>
          <p:cNvSpPr>
            <a:spLocks/>
          </p:cNvSpPr>
          <p:nvPr/>
        </p:nvSpPr>
        <p:spPr bwMode="auto">
          <a:xfrm rot="16200000" flipH="1">
            <a:off x="5441346" y="3293121"/>
            <a:ext cx="1307764" cy="2607145"/>
          </a:xfrm>
          <a:custGeom>
            <a:avLst/>
            <a:gdLst>
              <a:gd name="T0" fmla="*/ 0 w 650"/>
              <a:gd name="T1" fmla="*/ 0 h 1300"/>
              <a:gd name="T2" fmla="*/ 0 w 650"/>
              <a:gd name="T3" fmla="*/ 320 h 1300"/>
              <a:gd name="T4" fmla="*/ 330 w 650"/>
              <a:gd name="T5" fmla="*/ 650 h 1300"/>
              <a:gd name="T6" fmla="*/ 0 w 650"/>
              <a:gd name="T7" fmla="*/ 981 h 1300"/>
              <a:gd name="T8" fmla="*/ 0 w 650"/>
              <a:gd name="T9" fmla="*/ 1300 h 1300"/>
              <a:gd name="T10" fmla="*/ 650 w 650"/>
              <a:gd name="T11" fmla="*/ 650 h 1300"/>
              <a:gd name="T12" fmla="*/ 0 w 650"/>
              <a:gd name="T13" fmla="*/ 0 h 1300"/>
            </a:gdLst>
            <a:ahLst/>
            <a:cxnLst>
              <a:cxn ang="0">
                <a:pos x="T0" y="T1"/>
              </a:cxn>
              <a:cxn ang="0">
                <a:pos x="T2" y="T3"/>
              </a:cxn>
              <a:cxn ang="0">
                <a:pos x="T4" y="T5"/>
              </a:cxn>
              <a:cxn ang="0">
                <a:pos x="T6" y="T7"/>
              </a:cxn>
              <a:cxn ang="0">
                <a:pos x="T8" y="T9"/>
              </a:cxn>
              <a:cxn ang="0">
                <a:pos x="T10" y="T11"/>
              </a:cxn>
              <a:cxn ang="0">
                <a:pos x="T12" y="T13"/>
              </a:cxn>
            </a:cxnLst>
            <a:rect l="0" t="0" r="r" b="b"/>
            <a:pathLst>
              <a:path w="650" h="1300">
                <a:moveTo>
                  <a:pt x="0" y="0"/>
                </a:moveTo>
                <a:cubicBezTo>
                  <a:pt x="0" y="320"/>
                  <a:pt x="0" y="320"/>
                  <a:pt x="0" y="320"/>
                </a:cubicBezTo>
                <a:cubicBezTo>
                  <a:pt x="182" y="320"/>
                  <a:pt x="330" y="468"/>
                  <a:pt x="330" y="650"/>
                </a:cubicBezTo>
                <a:cubicBezTo>
                  <a:pt x="330" y="833"/>
                  <a:pt x="182" y="981"/>
                  <a:pt x="0" y="981"/>
                </a:cubicBezTo>
                <a:cubicBezTo>
                  <a:pt x="0" y="1300"/>
                  <a:pt x="0" y="1300"/>
                  <a:pt x="0" y="1300"/>
                </a:cubicBezTo>
                <a:cubicBezTo>
                  <a:pt x="359" y="1300"/>
                  <a:pt x="650" y="1009"/>
                  <a:pt x="650" y="650"/>
                </a:cubicBezTo>
                <a:cubicBezTo>
                  <a:pt x="650" y="291"/>
                  <a:pt x="359" y="0"/>
                  <a:pt x="0" y="0"/>
                </a:cubicBezTo>
                <a:close/>
              </a:path>
            </a:pathLst>
          </a:custGeom>
          <a:solidFill>
            <a:schemeClr val="accent2"/>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2" name="Freeform 7">
            <a:extLst>
              <a:ext uri="{FF2B5EF4-FFF2-40B4-BE49-F238E27FC236}">
                <a16:creationId xmlns:a16="http://schemas.microsoft.com/office/drawing/2014/main" id="{52358978-4D9B-4AF0-84CC-654A2C5566DC}"/>
              </a:ext>
            </a:extLst>
          </p:cNvPr>
          <p:cNvSpPr>
            <a:spLocks/>
          </p:cNvSpPr>
          <p:nvPr/>
        </p:nvSpPr>
        <p:spPr bwMode="auto">
          <a:xfrm rot="16200000" flipH="1">
            <a:off x="5403622" y="2310901"/>
            <a:ext cx="1307764" cy="1956057"/>
          </a:xfrm>
          <a:custGeom>
            <a:avLst/>
            <a:gdLst>
              <a:gd name="T0" fmla="*/ 650 w 650"/>
              <a:gd name="T1" fmla="*/ 177 h 976"/>
              <a:gd name="T2" fmla="*/ 319 w 650"/>
              <a:gd name="T3" fmla="*/ 507 h 976"/>
              <a:gd name="T4" fmla="*/ 632 w 650"/>
              <a:gd name="T5" fmla="*/ 837 h 976"/>
              <a:gd name="T6" fmla="*/ 200 w 650"/>
              <a:gd name="T7" fmla="*/ 976 h 976"/>
              <a:gd name="T8" fmla="*/ 0 w 650"/>
              <a:gd name="T9" fmla="*/ 507 h 976"/>
              <a:gd name="T10" fmla="*/ 244 w 650"/>
              <a:gd name="T11" fmla="*/ 0 h 976"/>
              <a:gd name="T12" fmla="*/ 650 w 650"/>
              <a:gd name="T13" fmla="*/ 177 h 976"/>
            </a:gdLst>
            <a:ahLst/>
            <a:cxnLst>
              <a:cxn ang="0">
                <a:pos x="T0" y="T1"/>
              </a:cxn>
              <a:cxn ang="0">
                <a:pos x="T2" y="T3"/>
              </a:cxn>
              <a:cxn ang="0">
                <a:pos x="T4" y="T5"/>
              </a:cxn>
              <a:cxn ang="0">
                <a:pos x="T6" y="T7"/>
              </a:cxn>
              <a:cxn ang="0">
                <a:pos x="T8" y="T9"/>
              </a:cxn>
              <a:cxn ang="0">
                <a:pos x="T10" y="T11"/>
              </a:cxn>
              <a:cxn ang="0">
                <a:pos x="T12" y="T13"/>
              </a:cxn>
            </a:cxnLst>
            <a:rect l="0" t="0" r="r" b="b"/>
            <a:pathLst>
              <a:path w="650" h="976">
                <a:moveTo>
                  <a:pt x="650" y="177"/>
                </a:moveTo>
                <a:cubicBezTo>
                  <a:pt x="467" y="177"/>
                  <a:pt x="319" y="325"/>
                  <a:pt x="319" y="507"/>
                </a:cubicBezTo>
                <a:cubicBezTo>
                  <a:pt x="319" y="684"/>
                  <a:pt x="458" y="828"/>
                  <a:pt x="632" y="837"/>
                </a:cubicBezTo>
                <a:cubicBezTo>
                  <a:pt x="472" y="842"/>
                  <a:pt x="324" y="892"/>
                  <a:pt x="200" y="976"/>
                </a:cubicBezTo>
                <a:cubicBezTo>
                  <a:pt x="77" y="858"/>
                  <a:pt x="0" y="692"/>
                  <a:pt x="0" y="507"/>
                </a:cubicBezTo>
                <a:cubicBezTo>
                  <a:pt x="0" y="302"/>
                  <a:pt x="95" y="119"/>
                  <a:pt x="244" y="0"/>
                </a:cubicBezTo>
                <a:cubicBezTo>
                  <a:pt x="349" y="113"/>
                  <a:pt x="495" y="177"/>
                  <a:pt x="650" y="177"/>
                </a:cubicBezTo>
                <a:close/>
              </a:path>
            </a:pathLst>
          </a:custGeom>
          <a:solidFill>
            <a:schemeClr val="accent2"/>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3" name="Freeform 8">
            <a:extLst>
              <a:ext uri="{FF2B5EF4-FFF2-40B4-BE49-F238E27FC236}">
                <a16:creationId xmlns:a16="http://schemas.microsoft.com/office/drawing/2014/main" id="{9E16D2FE-7AEF-4149-81E1-323355C730FB}"/>
              </a:ext>
            </a:extLst>
          </p:cNvPr>
          <p:cNvSpPr>
            <a:spLocks/>
          </p:cNvSpPr>
          <p:nvPr/>
        </p:nvSpPr>
        <p:spPr bwMode="auto">
          <a:xfrm rot="16200000" flipH="1">
            <a:off x="6751904" y="2340242"/>
            <a:ext cx="3219110" cy="3205140"/>
          </a:xfrm>
          <a:custGeom>
            <a:avLst/>
            <a:gdLst>
              <a:gd name="T0" fmla="*/ 800 w 1599"/>
              <a:gd name="T1" fmla="*/ 0 h 1598"/>
              <a:gd name="T2" fmla="*/ 0 w 1599"/>
              <a:gd name="T3" fmla="*/ 799 h 1598"/>
              <a:gd name="T4" fmla="*/ 800 w 1599"/>
              <a:gd name="T5" fmla="*/ 1598 h 1598"/>
              <a:gd name="T6" fmla="*/ 1599 w 1599"/>
              <a:gd name="T7" fmla="*/ 799 h 1598"/>
              <a:gd name="T8" fmla="*/ 1250 w 1599"/>
              <a:gd name="T9" fmla="*/ 138 h 1598"/>
              <a:gd name="T10" fmla="*/ 800 w 1599"/>
              <a:gd name="T11" fmla="*/ 319 h 1598"/>
              <a:gd name="T12" fmla="*/ 1279 w 1599"/>
              <a:gd name="T13" fmla="*/ 799 h 1598"/>
              <a:gd name="T14" fmla="*/ 800 w 1599"/>
              <a:gd name="T15" fmla="*/ 1279 h 1598"/>
              <a:gd name="T16" fmla="*/ 320 w 1599"/>
              <a:gd name="T17" fmla="*/ 799 h 1598"/>
              <a:gd name="T18" fmla="*/ 800 w 1599"/>
              <a:gd name="T19" fmla="*/ 319 h 1598"/>
              <a:gd name="T20" fmla="*/ 800 w 1599"/>
              <a:gd name="T21" fmla="*/ 0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9" h="1598">
                <a:moveTo>
                  <a:pt x="800" y="0"/>
                </a:moveTo>
                <a:cubicBezTo>
                  <a:pt x="358" y="0"/>
                  <a:pt x="0" y="358"/>
                  <a:pt x="0" y="799"/>
                </a:cubicBezTo>
                <a:cubicBezTo>
                  <a:pt x="0" y="1240"/>
                  <a:pt x="358" y="1598"/>
                  <a:pt x="800" y="1598"/>
                </a:cubicBezTo>
                <a:cubicBezTo>
                  <a:pt x="1241" y="1598"/>
                  <a:pt x="1599" y="1240"/>
                  <a:pt x="1599" y="799"/>
                </a:cubicBezTo>
                <a:cubicBezTo>
                  <a:pt x="1599" y="533"/>
                  <a:pt x="1468" y="287"/>
                  <a:pt x="1250" y="138"/>
                </a:cubicBezTo>
                <a:cubicBezTo>
                  <a:pt x="1133" y="250"/>
                  <a:pt x="974" y="319"/>
                  <a:pt x="800" y="319"/>
                </a:cubicBezTo>
                <a:cubicBezTo>
                  <a:pt x="1065" y="319"/>
                  <a:pt x="1279" y="534"/>
                  <a:pt x="1279" y="799"/>
                </a:cubicBezTo>
                <a:cubicBezTo>
                  <a:pt x="1279" y="1064"/>
                  <a:pt x="1065" y="1279"/>
                  <a:pt x="800" y="1279"/>
                </a:cubicBezTo>
                <a:cubicBezTo>
                  <a:pt x="535" y="1279"/>
                  <a:pt x="320" y="1064"/>
                  <a:pt x="320" y="799"/>
                </a:cubicBezTo>
                <a:cubicBezTo>
                  <a:pt x="320" y="534"/>
                  <a:pt x="535" y="319"/>
                  <a:pt x="800" y="319"/>
                </a:cubicBezTo>
                <a:cubicBezTo>
                  <a:pt x="800" y="0"/>
                  <a:pt x="800" y="0"/>
                  <a:pt x="800" y="0"/>
                </a:cubicBezTo>
                <a:close/>
              </a:path>
            </a:pathLst>
          </a:custGeom>
          <a:solidFill>
            <a:schemeClr val="accent1"/>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4" name="Oval 12">
            <a:extLst>
              <a:ext uri="{FF2B5EF4-FFF2-40B4-BE49-F238E27FC236}">
                <a16:creationId xmlns:a16="http://schemas.microsoft.com/office/drawing/2014/main" id="{7AA4203C-9A1D-4E8C-B875-DCA655618E15}"/>
              </a:ext>
            </a:extLst>
          </p:cNvPr>
          <p:cNvSpPr>
            <a:spLocks noChangeArrowheads="1"/>
          </p:cNvSpPr>
          <p:nvPr/>
        </p:nvSpPr>
        <p:spPr bwMode="auto">
          <a:xfrm rot="16200000" flipH="1">
            <a:off x="5569887" y="4447195"/>
            <a:ext cx="924936" cy="922141"/>
          </a:xfrm>
          <a:prstGeom prst="ellipse">
            <a:avLst/>
          </a:prstGeom>
          <a:solidFill>
            <a:schemeClr val="accent2">
              <a:lumMod val="75000"/>
            </a:schemeClr>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5" name="Oval 16">
            <a:extLst>
              <a:ext uri="{FF2B5EF4-FFF2-40B4-BE49-F238E27FC236}">
                <a16:creationId xmlns:a16="http://schemas.microsoft.com/office/drawing/2014/main" id="{B81BA03C-1006-4EFC-880E-74F94E98D029}"/>
              </a:ext>
            </a:extLst>
          </p:cNvPr>
          <p:cNvSpPr>
            <a:spLocks noChangeArrowheads="1"/>
          </p:cNvSpPr>
          <p:nvPr/>
        </p:nvSpPr>
        <p:spPr bwMode="auto">
          <a:xfrm rot="16200000" flipH="1">
            <a:off x="3440580" y="2806900"/>
            <a:ext cx="855076" cy="852283"/>
          </a:xfrm>
          <a:prstGeom prst="ellipse">
            <a:avLst/>
          </a:prstGeom>
          <a:solidFill>
            <a:schemeClr val="accent3">
              <a:lumMod val="75000"/>
            </a:schemeClr>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6" name="Oval 26">
            <a:extLst>
              <a:ext uri="{FF2B5EF4-FFF2-40B4-BE49-F238E27FC236}">
                <a16:creationId xmlns:a16="http://schemas.microsoft.com/office/drawing/2014/main" id="{D621CA7B-A220-44C6-ADF5-C81FAD35E50E}"/>
              </a:ext>
            </a:extLst>
          </p:cNvPr>
          <p:cNvSpPr>
            <a:spLocks noChangeArrowheads="1"/>
          </p:cNvSpPr>
          <p:nvPr/>
        </p:nvSpPr>
        <p:spPr bwMode="auto">
          <a:xfrm rot="16200000" flipH="1">
            <a:off x="7790011" y="2098529"/>
            <a:ext cx="1112158" cy="1106569"/>
          </a:xfrm>
          <a:prstGeom prst="ellipse">
            <a:avLst/>
          </a:prstGeom>
          <a:solidFill>
            <a:schemeClr val="tx1"/>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7" name="Freeform 27">
            <a:extLst>
              <a:ext uri="{FF2B5EF4-FFF2-40B4-BE49-F238E27FC236}">
                <a16:creationId xmlns:a16="http://schemas.microsoft.com/office/drawing/2014/main" id="{BABFE561-E180-48BB-9F02-B8CCAD6F2365}"/>
              </a:ext>
            </a:extLst>
          </p:cNvPr>
          <p:cNvSpPr>
            <a:spLocks/>
          </p:cNvSpPr>
          <p:nvPr/>
        </p:nvSpPr>
        <p:spPr bwMode="auto">
          <a:xfrm rot="16200000" flipH="1">
            <a:off x="6508794" y="4195700"/>
            <a:ext cx="726535" cy="438716"/>
          </a:xfrm>
          <a:custGeom>
            <a:avLst/>
            <a:gdLst>
              <a:gd name="T0" fmla="*/ 306 w 361"/>
              <a:gd name="T1" fmla="*/ 164 h 219"/>
              <a:gd name="T2" fmla="*/ 306 w 361"/>
              <a:gd name="T3" fmla="*/ 82 h 219"/>
              <a:gd name="T4" fmla="*/ 23 w 361"/>
              <a:gd name="T5" fmla="*/ 218 h 219"/>
              <a:gd name="T6" fmla="*/ 1 w 361"/>
              <a:gd name="T7" fmla="*/ 201 h 219"/>
              <a:gd name="T8" fmla="*/ 18 w 361"/>
              <a:gd name="T9" fmla="*/ 179 h 219"/>
              <a:gd name="T10" fmla="*/ 278 w 361"/>
              <a:gd name="T11" fmla="*/ 55 h 219"/>
              <a:gd name="T12" fmla="*/ 196 w 361"/>
              <a:gd name="T13" fmla="*/ 56 h 219"/>
              <a:gd name="T14" fmla="*/ 250 w 361"/>
              <a:gd name="T15" fmla="*/ 1 h 219"/>
              <a:gd name="T16" fmla="*/ 360 w 361"/>
              <a:gd name="T17" fmla="*/ 0 h 219"/>
              <a:gd name="T18" fmla="*/ 361 w 361"/>
              <a:gd name="T19" fmla="*/ 109 h 219"/>
              <a:gd name="T20" fmla="*/ 306 w 361"/>
              <a:gd name="T21" fmla="*/ 16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1" h="219">
                <a:moveTo>
                  <a:pt x="306" y="164"/>
                </a:moveTo>
                <a:cubicBezTo>
                  <a:pt x="306" y="82"/>
                  <a:pt x="306" y="82"/>
                  <a:pt x="306" y="82"/>
                </a:cubicBezTo>
                <a:cubicBezTo>
                  <a:pt x="228" y="155"/>
                  <a:pt x="129" y="203"/>
                  <a:pt x="23" y="218"/>
                </a:cubicBezTo>
                <a:cubicBezTo>
                  <a:pt x="12" y="219"/>
                  <a:pt x="3" y="212"/>
                  <a:pt x="1" y="201"/>
                </a:cubicBezTo>
                <a:cubicBezTo>
                  <a:pt x="0" y="190"/>
                  <a:pt x="7" y="181"/>
                  <a:pt x="18" y="179"/>
                </a:cubicBezTo>
                <a:cubicBezTo>
                  <a:pt x="115" y="166"/>
                  <a:pt x="206" y="122"/>
                  <a:pt x="278" y="55"/>
                </a:cubicBezTo>
                <a:cubicBezTo>
                  <a:pt x="196" y="56"/>
                  <a:pt x="196" y="56"/>
                  <a:pt x="196" y="56"/>
                </a:cubicBezTo>
                <a:cubicBezTo>
                  <a:pt x="250" y="1"/>
                  <a:pt x="250" y="1"/>
                  <a:pt x="250" y="1"/>
                </a:cubicBezTo>
                <a:cubicBezTo>
                  <a:pt x="360" y="0"/>
                  <a:pt x="360" y="0"/>
                  <a:pt x="360" y="0"/>
                </a:cubicBezTo>
                <a:cubicBezTo>
                  <a:pt x="361" y="109"/>
                  <a:pt x="361" y="109"/>
                  <a:pt x="361" y="109"/>
                </a:cubicBezTo>
                <a:cubicBezTo>
                  <a:pt x="306" y="164"/>
                  <a:pt x="306" y="164"/>
                  <a:pt x="306" y="1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8" name="Freeform 28">
            <a:extLst>
              <a:ext uri="{FF2B5EF4-FFF2-40B4-BE49-F238E27FC236}">
                <a16:creationId xmlns:a16="http://schemas.microsoft.com/office/drawing/2014/main" id="{27F8B371-8B3A-43F1-A5FC-AADCE43BCC7D}"/>
              </a:ext>
            </a:extLst>
          </p:cNvPr>
          <p:cNvSpPr>
            <a:spLocks/>
          </p:cNvSpPr>
          <p:nvPr/>
        </p:nvSpPr>
        <p:spPr bwMode="auto">
          <a:xfrm rot="16200000" flipH="1">
            <a:off x="4921593" y="4162168"/>
            <a:ext cx="653882" cy="466660"/>
          </a:xfrm>
          <a:custGeom>
            <a:avLst/>
            <a:gdLst>
              <a:gd name="T0" fmla="*/ 169 w 325"/>
              <a:gd name="T1" fmla="*/ 20 h 233"/>
              <a:gd name="T2" fmla="*/ 98 w 325"/>
              <a:gd name="T3" fmla="*/ 61 h 233"/>
              <a:gd name="T4" fmla="*/ 317 w 325"/>
              <a:gd name="T5" fmla="*/ 198 h 233"/>
              <a:gd name="T6" fmla="*/ 317 w 325"/>
              <a:gd name="T7" fmla="*/ 225 h 233"/>
              <a:gd name="T8" fmla="*/ 289 w 325"/>
              <a:gd name="T9" fmla="*/ 225 h 233"/>
              <a:gd name="T10" fmla="*/ 88 w 325"/>
              <a:gd name="T11" fmla="*/ 98 h 233"/>
              <a:gd name="T12" fmla="*/ 128 w 325"/>
              <a:gd name="T13" fmla="*/ 169 h 233"/>
              <a:gd name="T14" fmla="*/ 54 w 325"/>
              <a:gd name="T15" fmla="*/ 149 h 233"/>
              <a:gd name="T16" fmla="*/ 0 w 325"/>
              <a:gd name="T17" fmla="*/ 54 h 233"/>
              <a:gd name="T18" fmla="*/ 95 w 325"/>
              <a:gd name="T19" fmla="*/ 0 h 233"/>
              <a:gd name="T20" fmla="*/ 169 w 325"/>
              <a:gd name="T21" fmla="*/ 2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5" h="233">
                <a:moveTo>
                  <a:pt x="169" y="20"/>
                </a:moveTo>
                <a:cubicBezTo>
                  <a:pt x="98" y="61"/>
                  <a:pt x="98" y="61"/>
                  <a:pt x="98" y="61"/>
                </a:cubicBezTo>
                <a:cubicBezTo>
                  <a:pt x="181" y="87"/>
                  <a:pt x="257" y="135"/>
                  <a:pt x="317" y="198"/>
                </a:cubicBezTo>
                <a:cubicBezTo>
                  <a:pt x="325" y="206"/>
                  <a:pt x="324" y="218"/>
                  <a:pt x="317" y="225"/>
                </a:cubicBezTo>
                <a:cubicBezTo>
                  <a:pt x="309" y="233"/>
                  <a:pt x="297" y="232"/>
                  <a:pt x="289" y="225"/>
                </a:cubicBezTo>
                <a:cubicBezTo>
                  <a:pt x="234" y="166"/>
                  <a:pt x="165" y="123"/>
                  <a:pt x="88" y="98"/>
                </a:cubicBezTo>
                <a:cubicBezTo>
                  <a:pt x="128" y="169"/>
                  <a:pt x="128" y="169"/>
                  <a:pt x="128" y="169"/>
                </a:cubicBezTo>
                <a:cubicBezTo>
                  <a:pt x="54" y="149"/>
                  <a:pt x="54" y="149"/>
                  <a:pt x="54" y="149"/>
                </a:cubicBezTo>
                <a:cubicBezTo>
                  <a:pt x="0" y="54"/>
                  <a:pt x="0" y="54"/>
                  <a:pt x="0" y="54"/>
                </a:cubicBezTo>
                <a:cubicBezTo>
                  <a:pt x="95" y="0"/>
                  <a:pt x="95" y="0"/>
                  <a:pt x="95" y="0"/>
                </a:cubicBezTo>
                <a:cubicBezTo>
                  <a:pt x="169" y="20"/>
                  <a:pt x="169" y="20"/>
                  <a:pt x="169"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9" name="Freeform 31">
            <a:extLst>
              <a:ext uri="{FF2B5EF4-FFF2-40B4-BE49-F238E27FC236}">
                <a16:creationId xmlns:a16="http://schemas.microsoft.com/office/drawing/2014/main" id="{32ED39E9-A37B-40F0-8BAD-A6F9B5425975}"/>
              </a:ext>
            </a:extLst>
          </p:cNvPr>
          <p:cNvSpPr>
            <a:spLocks/>
          </p:cNvSpPr>
          <p:nvPr/>
        </p:nvSpPr>
        <p:spPr bwMode="auto">
          <a:xfrm rot="16200000" flipH="1">
            <a:off x="8245492" y="3462180"/>
            <a:ext cx="2260643" cy="1187607"/>
          </a:xfrm>
          <a:custGeom>
            <a:avLst/>
            <a:gdLst>
              <a:gd name="T0" fmla="*/ 1083 w 1123"/>
              <a:gd name="T1" fmla="*/ 15 h 592"/>
              <a:gd name="T2" fmla="*/ 1108 w 1123"/>
              <a:gd name="T3" fmla="*/ 4 h 592"/>
              <a:gd name="T4" fmla="*/ 1119 w 1123"/>
              <a:gd name="T5" fmla="*/ 29 h 592"/>
              <a:gd name="T6" fmla="*/ 55 w 1123"/>
              <a:gd name="T7" fmla="*/ 271 h 592"/>
              <a:gd name="T8" fmla="*/ 55 w 1123"/>
              <a:gd name="T9" fmla="*/ 354 h 592"/>
              <a:gd name="T10" fmla="*/ 0 w 1123"/>
              <a:gd name="T11" fmla="*/ 299 h 592"/>
              <a:gd name="T12" fmla="*/ 0 w 1123"/>
              <a:gd name="T13" fmla="*/ 190 h 592"/>
              <a:gd name="T14" fmla="*/ 109 w 1123"/>
              <a:gd name="T15" fmla="*/ 190 h 592"/>
              <a:gd name="T16" fmla="*/ 164 w 1123"/>
              <a:gd name="T17" fmla="*/ 244 h 592"/>
              <a:gd name="T18" fmla="*/ 83 w 1123"/>
              <a:gd name="T19" fmla="*/ 244 h 592"/>
              <a:gd name="T20" fmla="*/ 1083 w 1123"/>
              <a:gd name="T21" fmla="*/ 15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3" h="592">
                <a:moveTo>
                  <a:pt x="1083" y="15"/>
                </a:moveTo>
                <a:cubicBezTo>
                  <a:pt x="1087" y="5"/>
                  <a:pt x="1099" y="0"/>
                  <a:pt x="1108" y="4"/>
                </a:cubicBezTo>
                <a:cubicBezTo>
                  <a:pt x="1118" y="8"/>
                  <a:pt x="1123" y="19"/>
                  <a:pt x="1119" y="29"/>
                </a:cubicBezTo>
                <a:cubicBezTo>
                  <a:pt x="951" y="461"/>
                  <a:pt x="396" y="592"/>
                  <a:pt x="55" y="271"/>
                </a:cubicBezTo>
                <a:cubicBezTo>
                  <a:pt x="55" y="354"/>
                  <a:pt x="55" y="354"/>
                  <a:pt x="55" y="354"/>
                </a:cubicBezTo>
                <a:cubicBezTo>
                  <a:pt x="0" y="299"/>
                  <a:pt x="0" y="299"/>
                  <a:pt x="0" y="299"/>
                </a:cubicBezTo>
                <a:cubicBezTo>
                  <a:pt x="0" y="190"/>
                  <a:pt x="0" y="190"/>
                  <a:pt x="0" y="190"/>
                </a:cubicBezTo>
                <a:cubicBezTo>
                  <a:pt x="109" y="190"/>
                  <a:pt x="109" y="190"/>
                  <a:pt x="109" y="190"/>
                </a:cubicBezTo>
                <a:cubicBezTo>
                  <a:pt x="164" y="244"/>
                  <a:pt x="164" y="244"/>
                  <a:pt x="164" y="244"/>
                </a:cubicBezTo>
                <a:cubicBezTo>
                  <a:pt x="83" y="244"/>
                  <a:pt x="83" y="244"/>
                  <a:pt x="83" y="244"/>
                </a:cubicBezTo>
                <a:cubicBezTo>
                  <a:pt x="401" y="541"/>
                  <a:pt x="926" y="420"/>
                  <a:pt x="1083" y="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0" name="Freeform 29">
            <a:extLst>
              <a:ext uri="{FF2B5EF4-FFF2-40B4-BE49-F238E27FC236}">
                <a16:creationId xmlns:a16="http://schemas.microsoft.com/office/drawing/2014/main" id="{413CBF47-A29B-486C-85A0-8A2316EE9910}"/>
              </a:ext>
            </a:extLst>
          </p:cNvPr>
          <p:cNvSpPr>
            <a:spLocks/>
          </p:cNvSpPr>
          <p:nvPr/>
        </p:nvSpPr>
        <p:spPr bwMode="auto">
          <a:xfrm rot="4500000" flipV="1">
            <a:off x="4546928" y="3172083"/>
            <a:ext cx="452438" cy="371475"/>
          </a:xfrm>
          <a:custGeom>
            <a:avLst/>
            <a:gdLst>
              <a:gd name="T0" fmla="*/ 378 w 396"/>
              <a:gd name="T1" fmla="*/ 287 h 326"/>
              <a:gd name="T2" fmla="*/ 394 w 396"/>
              <a:gd name="T3" fmla="*/ 309 h 326"/>
              <a:gd name="T4" fmla="*/ 372 w 396"/>
              <a:gd name="T5" fmla="*/ 325 h 326"/>
              <a:gd name="T6" fmla="*/ 61 w 396"/>
              <a:gd name="T7" fmla="*/ 95 h 326"/>
              <a:gd name="T8" fmla="*/ 30 w 396"/>
              <a:gd name="T9" fmla="*/ 172 h 326"/>
              <a:gd name="T10" fmla="*/ 0 w 396"/>
              <a:gd name="T11" fmla="*/ 101 h 326"/>
              <a:gd name="T12" fmla="*/ 41 w 396"/>
              <a:gd name="T13" fmla="*/ 0 h 326"/>
              <a:gd name="T14" fmla="*/ 142 w 396"/>
              <a:gd name="T15" fmla="*/ 41 h 326"/>
              <a:gd name="T16" fmla="*/ 172 w 396"/>
              <a:gd name="T17" fmla="*/ 112 h 326"/>
              <a:gd name="T18" fmla="*/ 97 w 396"/>
              <a:gd name="T19" fmla="*/ 81 h 326"/>
              <a:gd name="T20" fmla="*/ 378 w 396"/>
              <a:gd name="T21" fmla="*/ 2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26">
                <a:moveTo>
                  <a:pt x="378" y="287"/>
                </a:moveTo>
                <a:cubicBezTo>
                  <a:pt x="388" y="288"/>
                  <a:pt x="396" y="298"/>
                  <a:pt x="394" y="309"/>
                </a:cubicBezTo>
                <a:cubicBezTo>
                  <a:pt x="392" y="319"/>
                  <a:pt x="383" y="326"/>
                  <a:pt x="372" y="325"/>
                </a:cubicBezTo>
                <a:cubicBezTo>
                  <a:pt x="237" y="305"/>
                  <a:pt x="120" y="219"/>
                  <a:pt x="61" y="95"/>
                </a:cubicBezTo>
                <a:cubicBezTo>
                  <a:pt x="30" y="172"/>
                  <a:pt x="30" y="172"/>
                  <a:pt x="30" y="172"/>
                </a:cubicBezTo>
                <a:cubicBezTo>
                  <a:pt x="0" y="101"/>
                  <a:pt x="0" y="101"/>
                  <a:pt x="0" y="101"/>
                </a:cubicBezTo>
                <a:cubicBezTo>
                  <a:pt x="41" y="0"/>
                  <a:pt x="41" y="0"/>
                  <a:pt x="41" y="0"/>
                </a:cubicBezTo>
                <a:cubicBezTo>
                  <a:pt x="142" y="41"/>
                  <a:pt x="142" y="41"/>
                  <a:pt x="142" y="41"/>
                </a:cubicBezTo>
                <a:cubicBezTo>
                  <a:pt x="172" y="112"/>
                  <a:pt x="172" y="112"/>
                  <a:pt x="172" y="112"/>
                </a:cubicBezTo>
                <a:cubicBezTo>
                  <a:pt x="97" y="81"/>
                  <a:pt x="97" y="81"/>
                  <a:pt x="97" y="81"/>
                </a:cubicBezTo>
                <a:cubicBezTo>
                  <a:pt x="151" y="191"/>
                  <a:pt x="255" y="268"/>
                  <a:pt x="378" y="2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1" name="Freeform 30">
            <a:extLst>
              <a:ext uri="{FF2B5EF4-FFF2-40B4-BE49-F238E27FC236}">
                <a16:creationId xmlns:a16="http://schemas.microsoft.com/office/drawing/2014/main" id="{11C5DF4C-2E96-480D-B721-86B62A284A54}"/>
              </a:ext>
            </a:extLst>
          </p:cNvPr>
          <p:cNvSpPr>
            <a:spLocks/>
          </p:cNvSpPr>
          <p:nvPr/>
        </p:nvSpPr>
        <p:spPr bwMode="auto">
          <a:xfrm rot="16200000" flipH="1">
            <a:off x="7082258" y="3013130"/>
            <a:ext cx="498475" cy="363538"/>
          </a:xfrm>
          <a:custGeom>
            <a:avLst/>
            <a:gdLst>
              <a:gd name="T0" fmla="*/ 37 w 436"/>
              <a:gd name="T1" fmla="*/ 308 h 318"/>
              <a:gd name="T2" fmla="*/ 10 w 436"/>
              <a:gd name="T3" fmla="*/ 312 h 318"/>
              <a:gd name="T4" fmla="*/ 7 w 436"/>
              <a:gd name="T5" fmla="*/ 284 h 318"/>
              <a:gd name="T6" fmla="*/ 338 w 436"/>
              <a:gd name="T7" fmla="*/ 61 h 318"/>
              <a:gd name="T8" fmla="*/ 267 w 436"/>
              <a:gd name="T9" fmla="*/ 20 h 318"/>
              <a:gd name="T10" fmla="*/ 342 w 436"/>
              <a:gd name="T11" fmla="*/ 0 h 318"/>
              <a:gd name="T12" fmla="*/ 436 w 436"/>
              <a:gd name="T13" fmla="*/ 55 h 318"/>
              <a:gd name="T14" fmla="*/ 381 w 436"/>
              <a:gd name="T15" fmla="*/ 150 h 318"/>
              <a:gd name="T16" fmla="*/ 306 w 436"/>
              <a:gd name="T17" fmla="*/ 169 h 318"/>
              <a:gd name="T18" fmla="*/ 347 w 436"/>
              <a:gd name="T19" fmla="*/ 99 h 318"/>
              <a:gd name="T20" fmla="*/ 37 w 436"/>
              <a:gd name="T21" fmla="*/ 30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6" h="318">
                <a:moveTo>
                  <a:pt x="37" y="308"/>
                </a:moveTo>
                <a:cubicBezTo>
                  <a:pt x="30" y="317"/>
                  <a:pt x="18" y="318"/>
                  <a:pt x="10" y="312"/>
                </a:cubicBezTo>
                <a:cubicBezTo>
                  <a:pt x="1" y="305"/>
                  <a:pt x="0" y="293"/>
                  <a:pt x="7" y="284"/>
                </a:cubicBezTo>
                <a:cubicBezTo>
                  <a:pt x="91" y="178"/>
                  <a:pt x="207" y="99"/>
                  <a:pt x="338" y="61"/>
                </a:cubicBezTo>
                <a:cubicBezTo>
                  <a:pt x="267" y="20"/>
                  <a:pt x="267" y="20"/>
                  <a:pt x="267" y="20"/>
                </a:cubicBezTo>
                <a:cubicBezTo>
                  <a:pt x="342" y="0"/>
                  <a:pt x="342" y="0"/>
                  <a:pt x="342" y="0"/>
                </a:cubicBezTo>
                <a:cubicBezTo>
                  <a:pt x="436" y="55"/>
                  <a:pt x="436" y="55"/>
                  <a:pt x="436" y="55"/>
                </a:cubicBezTo>
                <a:cubicBezTo>
                  <a:pt x="381" y="150"/>
                  <a:pt x="381" y="150"/>
                  <a:pt x="381" y="150"/>
                </a:cubicBezTo>
                <a:cubicBezTo>
                  <a:pt x="306" y="169"/>
                  <a:pt x="306" y="169"/>
                  <a:pt x="306" y="169"/>
                </a:cubicBezTo>
                <a:cubicBezTo>
                  <a:pt x="347" y="99"/>
                  <a:pt x="347" y="99"/>
                  <a:pt x="347" y="99"/>
                </a:cubicBezTo>
                <a:cubicBezTo>
                  <a:pt x="225" y="135"/>
                  <a:pt x="116" y="209"/>
                  <a:pt x="37" y="30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2" name="Freeform 851"/>
          <p:cNvSpPr>
            <a:spLocks noEditPoints="1"/>
          </p:cNvSpPr>
          <p:nvPr/>
        </p:nvSpPr>
        <p:spPr bwMode="auto">
          <a:xfrm>
            <a:off x="3700634" y="2997898"/>
            <a:ext cx="328539" cy="376247"/>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3" name="Freeform 1147"/>
          <p:cNvSpPr>
            <a:spLocks noEditPoints="1"/>
          </p:cNvSpPr>
          <p:nvPr/>
        </p:nvSpPr>
        <p:spPr bwMode="auto">
          <a:xfrm>
            <a:off x="8134281" y="2447807"/>
            <a:ext cx="380584" cy="382753"/>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4" name="Freeform 2123"/>
          <p:cNvSpPr>
            <a:spLocks noEditPoints="1"/>
          </p:cNvSpPr>
          <p:nvPr/>
        </p:nvSpPr>
        <p:spPr bwMode="auto">
          <a:xfrm>
            <a:off x="5852497" y="4722439"/>
            <a:ext cx="344803" cy="375162"/>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5" name="Oval 44"/>
          <p:cNvSpPr/>
          <p:nvPr/>
        </p:nvSpPr>
        <p:spPr>
          <a:xfrm>
            <a:off x="4150645" y="3756082"/>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3</a:t>
            </a:r>
          </a:p>
        </p:txBody>
      </p:sp>
      <p:sp>
        <p:nvSpPr>
          <p:cNvPr id="46" name="Oval 45"/>
          <p:cNvSpPr/>
          <p:nvPr/>
        </p:nvSpPr>
        <p:spPr>
          <a:xfrm>
            <a:off x="5916485" y="3756082"/>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2</a:t>
            </a:r>
          </a:p>
        </p:txBody>
      </p:sp>
      <p:sp>
        <p:nvSpPr>
          <p:cNvPr id="47" name="Oval 46"/>
          <p:cNvSpPr/>
          <p:nvPr/>
        </p:nvSpPr>
        <p:spPr>
          <a:xfrm>
            <a:off x="8188502" y="3756082"/>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1</a:t>
            </a:r>
          </a:p>
        </p:txBody>
      </p:sp>
      <p:sp>
        <p:nvSpPr>
          <p:cNvPr id="24" name="Text Placeholder 6">
            <a:extLst>
              <a:ext uri="{FF2B5EF4-FFF2-40B4-BE49-F238E27FC236}">
                <a16:creationId xmlns:a16="http://schemas.microsoft.com/office/drawing/2014/main" id="{301648EE-D4F7-0F48-BE1D-DB34A023F8C2}"/>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46235601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WOT analysis</a:t>
            </a:r>
            <a:br>
              <a:rPr lang="en-US"/>
            </a:br>
            <a:r>
              <a:rPr lang="en-US"/>
              <a:t>infographic</a:t>
            </a:r>
            <a:endParaRPr lang="en-US" dirty="0"/>
          </a:p>
        </p:txBody>
      </p:sp>
      <p:cxnSp>
        <p:nvCxnSpPr>
          <p:cNvPr id="4" name="Straight Connector 3"/>
          <p:cNvCxnSpPr/>
          <p:nvPr/>
        </p:nvCxnSpPr>
        <p:spPr>
          <a:xfrm>
            <a:off x="5548608" y="3640873"/>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5025286" y="2952141"/>
            <a:ext cx="1075362" cy="1075361"/>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tx1"/>
                </a:solidFill>
                <a:latin typeface="RBC Text" panose="02000000000000000000" pitchFamily="2" charset="77"/>
              </a:rPr>
              <a:t>S</a:t>
            </a:r>
          </a:p>
        </p:txBody>
      </p:sp>
      <p:sp>
        <p:nvSpPr>
          <p:cNvPr id="8" name="Oval 7"/>
          <p:cNvSpPr/>
          <p:nvPr/>
        </p:nvSpPr>
        <p:spPr>
          <a:xfrm>
            <a:off x="5391409" y="4292284"/>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9" name="TextBox 8"/>
          <p:cNvSpPr txBox="1"/>
          <p:nvPr/>
        </p:nvSpPr>
        <p:spPr>
          <a:xfrm>
            <a:off x="4629086" y="4837901"/>
            <a:ext cx="1883226"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a:t>
            </a:r>
          </a:p>
        </p:txBody>
      </p:sp>
      <p:cxnSp>
        <p:nvCxnSpPr>
          <p:cNvPr id="10" name="Straight Connector 9"/>
          <p:cNvCxnSpPr/>
          <p:nvPr/>
        </p:nvCxnSpPr>
        <p:spPr>
          <a:xfrm>
            <a:off x="7068710" y="2560168"/>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6528850" y="2952141"/>
            <a:ext cx="1075362" cy="1075361"/>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tx1"/>
                </a:solidFill>
                <a:latin typeface="RBC Text" panose="02000000000000000000" pitchFamily="2" charset="77"/>
              </a:rPr>
              <a:t>W</a:t>
            </a:r>
          </a:p>
        </p:txBody>
      </p:sp>
      <p:sp>
        <p:nvSpPr>
          <p:cNvPr id="14" name="Oval 13"/>
          <p:cNvSpPr/>
          <p:nvPr/>
        </p:nvSpPr>
        <p:spPr>
          <a:xfrm>
            <a:off x="6911511" y="2397553"/>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15" name="TextBox 14"/>
          <p:cNvSpPr txBox="1"/>
          <p:nvPr/>
        </p:nvSpPr>
        <p:spPr>
          <a:xfrm>
            <a:off x="6149188" y="1296832"/>
            <a:ext cx="1883226"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a:t>
            </a:r>
          </a:p>
        </p:txBody>
      </p:sp>
      <p:cxnSp>
        <p:nvCxnSpPr>
          <p:cNvPr id="16" name="Straight Connector 15"/>
          <p:cNvCxnSpPr/>
          <p:nvPr/>
        </p:nvCxnSpPr>
        <p:spPr>
          <a:xfrm>
            <a:off x="8564538" y="3640873"/>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8032414" y="2952141"/>
            <a:ext cx="1075362" cy="1075361"/>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tx1"/>
                </a:solidFill>
                <a:latin typeface="RBC Text" panose="02000000000000000000" pitchFamily="2" charset="77"/>
              </a:rPr>
              <a:t>O</a:t>
            </a:r>
          </a:p>
        </p:txBody>
      </p:sp>
      <p:sp>
        <p:nvSpPr>
          <p:cNvPr id="20" name="Oval 19"/>
          <p:cNvSpPr/>
          <p:nvPr/>
        </p:nvSpPr>
        <p:spPr>
          <a:xfrm>
            <a:off x="8398537" y="4292284"/>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21" name="TextBox 20"/>
          <p:cNvSpPr txBox="1"/>
          <p:nvPr/>
        </p:nvSpPr>
        <p:spPr>
          <a:xfrm>
            <a:off x="7622925" y="4837901"/>
            <a:ext cx="1883226"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a:t>
            </a:r>
          </a:p>
        </p:txBody>
      </p:sp>
      <p:cxnSp>
        <p:nvCxnSpPr>
          <p:cNvPr id="22" name="Straight Connector 21"/>
          <p:cNvCxnSpPr/>
          <p:nvPr/>
        </p:nvCxnSpPr>
        <p:spPr>
          <a:xfrm>
            <a:off x="10075837" y="2560168"/>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sp>
        <p:nvSpPr>
          <p:cNvPr id="25" name="Oval 24"/>
          <p:cNvSpPr/>
          <p:nvPr/>
        </p:nvSpPr>
        <p:spPr>
          <a:xfrm>
            <a:off x="9535978" y="2952141"/>
            <a:ext cx="1075362" cy="1075361"/>
          </a:xfrm>
          <a:prstGeom prst="ellipse">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tx1"/>
                </a:solidFill>
                <a:latin typeface="RBC Text" panose="02000000000000000000" pitchFamily="2" charset="77"/>
              </a:rPr>
              <a:t>T</a:t>
            </a:r>
          </a:p>
        </p:txBody>
      </p:sp>
      <p:sp>
        <p:nvSpPr>
          <p:cNvPr id="26" name="Oval 25"/>
          <p:cNvSpPr/>
          <p:nvPr/>
        </p:nvSpPr>
        <p:spPr>
          <a:xfrm>
            <a:off x="9918638" y="2397553"/>
            <a:ext cx="343116" cy="343114"/>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27" name="TextBox 26"/>
          <p:cNvSpPr txBox="1"/>
          <p:nvPr/>
        </p:nvSpPr>
        <p:spPr>
          <a:xfrm>
            <a:off x="9156315" y="1296832"/>
            <a:ext cx="1883226"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a:t>
            </a:r>
          </a:p>
        </p:txBody>
      </p:sp>
      <p:sp>
        <p:nvSpPr>
          <p:cNvPr id="23" name="TextBox 22"/>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24" name="Text Placeholder 6">
            <a:extLst>
              <a:ext uri="{FF2B5EF4-FFF2-40B4-BE49-F238E27FC236}">
                <a16:creationId xmlns:a16="http://schemas.microsoft.com/office/drawing/2014/main" id="{10C1281F-4379-9841-965A-77957303E461}"/>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42691885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p:cNvCxnSpPr/>
          <p:nvPr/>
        </p:nvCxnSpPr>
        <p:spPr>
          <a:xfrm>
            <a:off x="2671594" y="3537750"/>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994056" y="3537750"/>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198144" y="3537750"/>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528078" y="3537750"/>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0" y="4364148"/>
            <a:ext cx="12192000"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Timeline icons infographic</a:t>
            </a:r>
          </a:p>
        </p:txBody>
      </p:sp>
      <p:sp>
        <p:nvSpPr>
          <p:cNvPr id="6" name="Oval 5"/>
          <p:cNvSpPr/>
          <p:nvPr/>
        </p:nvSpPr>
        <p:spPr>
          <a:xfrm>
            <a:off x="2148272" y="2536784"/>
            <a:ext cx="1075362" cy="1075361"/>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tx1"/>
              </a:solidFill>
              <a:latin typeface="RBC Text" panose="02000000000000000000" pitchFamily="2" charset="77"/>
            </a:endParaRPr>
          </a:p>
        </p:txBody>
      </p:sp>
      <p:sp>
        <p:nvSpPr>
          <p:cNvPr id="9" name="Oval 8"/>
          <p:cNvSpPr/>
          <p:nvPr/>
        </p:nvSpPr>
        <p:spPr>
          <a:xfrm>
            <a:off x="4465364" y="2536784"/>
            <a:ext cx="1075362" cy="1075361"/>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tx1"/>
              </a:solidFill>
              <a:latin typeface="RBC Text" panose="02000000000000000000" pitchFamily="2" charset="77"/>
            </a:endParaRPr>
          </a:p>
        </p:txBody>
      </p:sp>
      <p:sp>
        <p:nvSpPr>
          <p:cNvPr id="12" name="Oval 11"/>
          <p:cNvSpPr/>
          <p:nvPr/>
        </p:nvSpPr>
        <p:spPr>
          <a:xfrm>
            <a:off x="6673305" y="2536784"/>
            <a:ext cx="1075362" cy="1075361"/>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tx1"/>
              </a:solidFill>
              <a:latin typeface="RBC Text" panose="02000000000000000000" pitchFamily="2" charset="77"/>
            </a:endParaRPr>
          </a:p>
        </p:txBody>
      </p:sp>
      <p:sp>
        <p:nvSpPr>
          <p:cNvPr id="15" name="Oval 14"/>
          <p:cNvSpPr/>
          <p:nvPr/>
        </p:nvSpPr>
        <p:spPr>
          <a:xfrm>
            <a:off x="8990397" y="2536784"/>
            <a:ext cx="1075362" cy="1075361"/>
          </a:xfrm>
          <a:prstGeom prst="ellipse">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tx1"/>
              </a:solidFill>
              <a:latin typeface="RBC Text" panose="02000000000000000000" pitchFamily="2" charset="77"/>
            </a:endParaRPr>
          </a:p>
        </p:txBody>
      </p:sp>
      <p:sp>
        <p:nvSpPr>
          <p:cNvPr id="16" name="Oval 15"/>
          <p:cNvSpPr/>
          <p:nvPr/>
        </p:nvSpPr>
        <p:spPr>
          <a:xfrm>
            <a:off x="2514395" y="4188183"/>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17" name="Oval 16"/>
          <p:cNvSpPr/>
          <p:nvPr/>
        </p:nvSpPr>
        <p:spPr>
          <a:xfrm>
            <a:off x="4831487" y="4188183"/>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18" name="Oval 17"/>
          <p:cNvSpPr/>
          <p:nvPr/>
        </p:nvSpPr>
        <p:spPr>
          <a:xfrm>
            <a:off x="7039428" y="4188183"/>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19" name="Oval 18"/>
          <p:cNvSpPr/>
          <p:nvPr/>
        </p:nvSpPr>
        <p:spPr>
          <a:xfrm>
            <a:off x="9356520" y="4188183"/>
            <a:ext cx="343116" cy="343114"/>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20" name="TextBox 19"/>
          <p:cNvSpPr txBox="1"/>
          <p:nvPr/>
        </p:nvSpPr>
        <p:spPr>
          <a:xfrm>
            <a:off x="1752072" y="4733800"/>
            <a:ext cx="1883226" cy="1121846"/>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sp>
        <p:nvSpPr>
          <p:cNvPr id="22" name="TextBox 21"/>
          <p:cNvSpPr txBox="1"/>
          <p:nvPr/>
        </p:nvSpPr>
        <p:spPr>
          <a:xfrm>
            <a:off x="4068293" y="4733800"/>
            <a:ext cx="1883226" cy="1121846"/>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sp>
        <p:nvSpPr>
          <p:cNvPr id="23" name="TextBox 22"/>
          <p:cNvSpPr txBox="1"/>
          <p:nvPr/>
        </p:nvSpPr>
        <p:spPr>
          <a:xfrm>
            <a:off x="6269373" y="4733800"/>
            <a:ext cx="1883226" cy="1121846"/>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sp>
        <p:nvSpPr>
          <p:cNvPr id="24" name="TextBox 23"/>
          <p:cNvSpPr txBox="1"/>
          <p:nvPr/>
        </p:nvSpPr>
        <p:spPr>
          <a:xfrm>
            <a:off x="8586465" y="4733800"/>
            <a:ext cx="1883226" cy="1121846"/>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sp>
        <p:nvSpPr>
          <p:cNvPr id="36" name="Freeform 851"/>
          <p:cNvSpPr>
            <a:spLocks noEditPoints="1"/>
          </p:cNvSpPr>
          <p:nvPr/>
        </p:nvSpPr>
        <p:spPr bwMode="auto">
          <a:xfrm>
            <a:off x="9373007" y="2862710"/>
            <a:ext cx="328539" cy="376247"/>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7" name="Freeform 1050"/>
          <p:cNvSpPr>
            <a:spLocks noEditPoints="1"/>
          </p:cNvSpPr>
          <p:nvPr/>
        </p:nvSpPr>
        <p:spPr bwMode="auto">
          <a:xfrm>
            <a:off x="2494857" y="2916467"/>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8" name="Freeform 1137"/>
          <p:cNvSpPr>
            <a:spLocks noEditPoints="1"/>
          </p:cNvSpPr>
          <p:nvPr/>
        </p:nvSpPr>
        <p:spPr bwMode="auto">
          <a:xfrm>
            <a:off x="7024488" y="2927206"/>
            <a:ext cx="372995" cy="33829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9" name="Freeform 1147"/>
          <p:cNvSpPr>
            <a:spLocks noEditPoints="1"/>
          </p:cNvSpPr>
          <p:nvPr/>
        </p:nvSpPr>
        <p:spPr bwMode="auto">
          <a:xfrm>
            <a:off x="4812753" y="2886066"/>
            <a:ext cx="380584" cy="382753"/>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6" name="Text Placeholder 6">
            <a:extLst>
              <a:ext uri="{FF2B5EF4-FFF2-40B4-BE49-F238E27FC236}">
                <a16:creationId xmlns:a16="http://schemas.microsoft.com/office/drawing/2014/main" id="{27870A3C-58A5-D94F-9F76-A07570690DCD}"/>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35731697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riangle 7"/>
          <p:cNvSpPr/>
          <p:nvPr/>
        </p:nvSpPr>
        <p:spPr>
          <a:xfrm>
            <a:off x="5678903" y="1187598"/>
            <a:ext cx="4807512" cy="4144406"/>
          </a:xfrm>
          <a:prstGeom prst="triangle">
            <a:avLst/>
          </a:prstGeom>
          <a:noFill/>
          <a:ln w="25400">
            <a:solidFill>
              <a:schemeClr val="tx1">
                <a:alpha val="2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 name="Title 1"/>
          <p:cNvSpPr>
            <a:spLocks noGrp="1"/>
          </p:cNvSpPr>
          <p:nvPr>
            <p:ph type="title"/>
          </p:nvPr>
        </p:nvSpPr>
        <p:spPr/>
        <p:txBody>
          <a:bodyPr/>
          <a:lstStyle/>
          <a:p>
            <a:r>
              <a:rPr lang="en-US"/>
              <a:t>Pyramid</a:t>
            </a:r>
            <a:br>
              <a:rPr lang="en-US"/>
            </a:br>
            <a:r>
              <a:rPr lang="en-US"/>
              <a:t>process</a:t>
            </a:r>
            <a:br>
              <a:rPr lang="en-US"/>
            </a:br>
            <a:r>
              <a:rPr lang="en-US"/>
              <a:t>infographic</a:t>
            </a:r>
            <a:endParaRPr lang="en-US" dirty="0"/>
          </a:p>
        </p:txBody>
      </p:sp>
      <p:sp>
        <p:nvSpPr>
          <p:cNvPr id="4" name="Triangle 3"/>
          <p:cNvSpPr/>
          <p:nvPr/>
        </p:nvSpPr>
        <p:spPr>
          <a:xfrm>
            <a:off x="7300068" y="765027"/>
            <a:ext cx="1565186" cy="1349298"/>
          </a:xfrm>
          <a:prstGeom prst="triangl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bIns="180000" rtlCol="0" anchor="b"/>
          <a:lstStyle/>
          <a:p>
            <a:pPr algn="ctr"/>
            <a:r>
              <a:rPr lang="en-US" sz="1400" dirty="0">
                <a:solidFill>
                  <a:schemeClr val="tx1"/>
                </a:solidFill>
                <a:latin typeface="RBC Text" panose="02000000000000000000" pitchFamily="2" charset="77"/>
              </a:rPr>
              <a:t>Step 3</a:t>
            </a:r>
          </a:p>
        </p:txBody>
      </p:sp>
      <p:sp>
        <p:nvSpPr>
          <p:cNvPr id="11" name="Triangle 10"/>
          <p:cNvSpPr/>
          <p:nvPr/>
        </p:nvSpPr>
        <p:spPr>
          <a:xfrm>
            <a:off x="4879583" y="4479694"/>
            <a:ext cx="1565186" cy="1349298"/>
          </a:xfrm>
          <a:prstGeom prst="triangl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0" bIns="180000" rtlCol="0" anchor="b"/>
          <a:lstStyle/>
          <a:p>
            <a:pPr algn="ctr"/>
            <a:r>
              <a:rPr lang="en-US" sz="1400" dirty="0">
                <a:solidFill>
                  <a:schemeClr val="tx1"/>
                </a:solidFill>
                <a:latin typeface="RBC Text" panose="02000000000000000000" pitchFamily="2" charset="77"/>
              </a:rPr>
              <a:t>Step 1</a:t>
            </a:r>
          </a:p>
        </p:txBody>
      </p:sp>
      <p:sp>
        <p:nvSpPr>
          <p:cNvPr id="15" name="Triangle 14"/>
          <p:cNvSpPr/>
          <p:nvPr/>
        </p:nvSpPr>
        <p:spPr>
          <a:xfrm>
            <a:off x="9687095" y="4513147"/>
            <a:ext cx="1565186" cy="1349298"/>
          </a:xfrm>
          <a:prstGeom prst="triangl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0" bIns="180000" rtlCol="0" anchor="b"/>
          <a:lstStyle/>
          <a:p>
            <a:pPr algn="ctr"/>
            <a:r>
              <a:rPr lang="en-US" sz="1400" dirty="0">
                <a:solidFill>
                  <a:schemeClr val="tx1"/>
                </a:solidFill>
                <a:latin typeface="RBC Text" panose="02000000000000000000" pitchFamily="2" charset="77"/>
              </a:rPr>
              <a:t>Step 5</a:t>
            </a:r>
          </a:p>
        </p:txBody>
      </p:sp>
      <p:sp>
        <p:nvSpPr>
          <p:cNvPr id="19" name="Triangle 18"/>
          <p:cNvSpPr/>
          <p:nvPr/>
        </p:nvSpPr>
        <p:spPr>
          <a:xfrm>
            <a:off x="8472053" y="2605464"/>
            <a:ext cx="1565186" cy="1349298"/>
          </a:xfrm>
          <a:prstGeom prst="triangle">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0" bIns="180000" rtlCol="0" anchor="b"/>
          <a:lstStyle/>
          <a:p>
            <a:pPr algn="ctr"/>
            <a:r>
              <a:rPr lang="en-US" sz="1400" dirty="0">
                <a:solidFill>
                  <a:schemeClr val="tx1"/>
                </a:solidFill>
                <a:latin typeface="RBC Text" panose="02000000000000000000" pitchFamily="2" charset="77"/>
              </a:rPr>
              <a:t>Step 4</a:t>
            </a:r>
          </a:p>
        </p:txBody>
      </p:sp>
      <p:sp>
        <p:nvSpPr>
          <p:cNvPr id="23" name="Triangle 22"/>
          <p:cNvSpPr/>
          <p:nvPr/>
        </p:nvSpPr>
        <p:spPr>
          <a:xfrm>
            <a:off x="6096844" y="2605464"/>
            <a:ext cx="1565186" cy="1349298"/>
          </a:xfrm>
          <a:prstGeom prst="triangl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0" bIns="180000" rtlCol="0" anchor="b"/>
          <a:lstStyle/>
          <a:p>
            <a:pPr algn="ctr"/>
            <a:r>
              <a:rPr lang="en-US" sz="1400" dirty="0">
                <a:solidFill>
                  <a:schemeClr val="tx1"/>
                </a:solidFill>
                <a:latin typeface="RBC Text" panose="02000000000000000000" pitchFamily="2" charset="77"/>
              </a:rPr>
              <a:t>Step 2</a:t>
            </a:r>
          </a:p>
        </p:txBody>
      </p:sp>
      <p:sp>
        <p:nvSpPr>
          <p:cNvPr id="27" name="Triangle 26"/>
          <p:cNvSpPr/>
          <p:nvPr/>
        </p:nvSpPr>
        <p:spPr>
          <a:xfrm>
            <a:off x="7277542" y="4513147"/>
            <a:ext cx="1565186" cy="1349298"/>
          </a:xfrm>
          <a:prstGeom prst="triangle">
            <a:avLst/>
          </a:prstGeom>
          <a:solidFill>
            <a:schemeClr val="bg1"/>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180000" rtlCol="0" anchor="b"/>
          <a:lstStyle/>
          <a:p>
            <a:pPr algn="ctr"/>
            <a:r>
              <a:rPr lang="en-US" sz="1400" dirty="0">
                <a:solidFill>
                  <a:schemeClr val="tx1"/>
                </a:solidFill>
                <a:latin typeface="RBC Text" panose="02000000000000000000" pitchFamily="2" charset="77"/>
              </a:rPr>
              <a:t>Step 6</a:t>
            </a:r>
          </a:p>
        </p:txBody>
      </p:sp>
      <p:sp>
        <p:nvSpPr>
          <p:cNvPr id="29" name="TextBox 28"/>
          <p:cNvSpPr txBox="1"/>
          <p:nvPr/>
        </p:nvSpPr>
        <p:spPr>
          <a:xfrm>
            <a:off x="7460741" y="2523804"/>
            <a:ext cx="1212600" cy="1015663"/>
          </a:xfrm>
          <a:prstGeom prst="rect">
            <a:avLst/>
          </a:prstGeom>
          <a:noFill/>
        </p:spPr>
        <p:txBody>
          <a:bodyPr wrap="square" lIns="0" rIns="0" rtlCol="0">
            <a:spAutoFit/>
          </a:bodyPr>
          <a:lstStyle/>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30" name="TextBox 29"/>
          <p:cNvSpPr txBox="1"/>
          <p:nvPr/>
        </p:nvSpPr>
        <p:spPr>
          <a:xfrm>
            <a:off x="8492231" y="4217538"/>
            <a:ext cx="1212600" cy="1007968"/>
          </a:xfrm>
          <a:prstGeom prst="rect">
            <a:avLst/>
          </a:prstGeom>
          <a:noFill/>
        </p:spPr>
        <p:txBody>
          <a:bodyPr wrap="square" lIns="0" rIns="0" rtlCol="0">
            <a:spAutoFit/>
          </a:bodyPr>
          <a:lstStyle/>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31" name="TextBox 30"/>
          <p:cNvSpPr txBox="1"/>
          <p:nvPr/>
        </p:nvSpPr>
        <p:spPr>
          <a:xfrm>
            <a:off x="6407285" y="4217538"/>
            <a:ext cx="1212600" cy="1007968"/>
          </a:xfrm>
          <a:prstGeom prst="rect">
            <a:avLst/>
          </a:prstGeom>
          <a:noFill/>
        </p:spPr>
        <p:txBody>
          <a:bodyPr wrap="square" lIns="0" rIns="0" rtlCol="0">
            <a:spAutoFit/>
          </a:bodyPr>
          <a:lstStyle/>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32" name="Freeform 851"/>
          <p:cNvSpPr>
            <a:spLocks noEditPoints="1"/>
          </p:cNvSpPr>
          <p:nvPr/>
        </p:nvSpPr>
        <p:spPr bwMode="auto">
          <a:xfrm>
            <a:off x="5499995" y="4966219"/>
            <a:ext cx="328539" cy="376247"/>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3" name="Freeform 1050"/>
          <p:cNvSpPr>
            <a:spLocks noEditPoints="1"/>
          </p:cNvSpPr>
          <p:nvPr/>
        </p:nvSpPr>
        <p:spPr bwMode="auto">
          <a:xfrm>
            <a:off x="7894288" y="1301103"/>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4" name="Freeform 1137"/>
          <p:cNvSpPr>
            <a:spLocks noEditPoints="1"/>
          </p:cNvSpPr>
          <p:nvPr/>
        </p:nvSpPr>
        <p:spPr bwMode="auto">
          <a:xfrm>
            <a:off x="9073634" y="3140657"/>
            <a:ext cx="372995" cy="33829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5" name="Freeform 1147"/>
          <p:cNvSpPr>
            <a:spLocks noEditPoints="1"/>
          </p:cNvSpPr>
          <p:nvPr/>
        </p:nvSpPr>
        <p:spPr bwMode="auto">
          <a:xfrm>
            <a:off x="6664168" y="3079929"/>
            <a:ext cx="380584" cy="382753"/>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6" name="Freeform 2123"/>
          <p:cNvSpPr>
            <a:spLocks noEditPoints="1"/>
          </p:cNvSpPr>
          <p:nvPr/>
        </p:nvSpPr>
        <p:spPr bwMode="auto">
          <a:xfrm>
            <a:off x="7883656" y="5000215"/>
            <a:ext cx="344803" cy="375162"/>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7" name="Freeform 1050"/>
          <p:cNvSpPr>
            <a:spLocks noEditPoints="1"/>
          </p:cNvSpPr>
          <p:nvPr/>
        </p:nvSpPr>
        <p:spPr bwMode="auto">
          <a:xfrm>
            <a:off x="10272039" y="5010435"/>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8" name="TextBox 37"/>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22" name="Text Placeholder 6">
            <a:extLst>
              <a:ext uri="{FF2B5EF4-FFF2-40B4-BE49-F238E27FC236}">
                <a16:creationId xmlns:a16="http://schemas.microsoft.com/office/drawing/2014/main" id="{70EB4CD2-9A46-6244-A9D9-BE30522995E1}"/>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06218904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onut chart infographic</a:t>
            </a:r>
            <a:endParaRPr lang="en-US" dirty="0"/>
          </a:p>
        </p:txBody>
      </p:sp>
      <p:sp>
        <p:nvSpPr>
          <p:cNvPr id="4" name="Donut 3"/>
          <p:cNvSpPr/>
          <p:nvPr/>
        </p:nvSpPr>
        <p:spPr>
          <a:xfrm>
            <a:off x="1857527" y="2437459"/>
            <a:ext cx="2289963" cy="2289963"/>
          </a:xfrm>
          <a:prstGeom prst="donut">
            <a:avLst>
              <a:gd name="adj" fmla="val 16119"/>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5" name="Block Arc 4"/>
          <p:cNvSpPr/>
          <p:nvPr/>
        </p:nvSpPr>
        <p:spPr>
          <a:xfrm>
            <a:off x="1714501" y="2294434"/>
            <a:ext cx="2576014" cy="2576012"/>
          </a:xfrm>
          <a:prstGeom prst="blockArc">
            <a:avLst>
              <a:gd name="adj1" fmla="val 7956242"/>
              <a:gd name="adj2" fmla="val 16234210"/>
              <a:gd name="adj3" fmla="val 25956"/>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12" name="TextBox 11"/>
          <p:cNvSpPr txBox="1"/>
          <p:nvPr/>
        </p:nvSpPr>
        <p:spPr>
          <a:xfrm>
            <a:off x="1901730" y="3170316"/>
            <a:ext cx="376898" cy="307777"/>
          </a:xfrm>
          <a:prstGeom prst="rect">
            <a:avLst/>
          </a:prstGeom>
          <a:noFill/>
        </p:spPr>
        <p:txBody>
          <a:bodyPr wrap="none" lIns="0" rIns="0" rtlCol="0">
            <a:spAutoFit/>
          </a:bodyPr>
          <a:lstStyle/>
          <a:p>
            <a:pPr algn="r"/>
            <a:r>
              <a:rPr lang="en-US" sz="1400" dirty="0">
                <a:latin typeface="RBC Text" panose="02000000000000000000" pitchFamily="2" charset="77"/>
              </a:rPr>
              <a:t>40%</a:t>
            </a:r>
          </a:p>
        </p:txBody>
      </p:sp>
      <p:sp>
        <p:nvSpPr>
          <p:cNvPr id="13" name="TextBox 12"/>
          <p:cNvSpPr txBox="1"/>
          <p:nvPr/>
        </p:nvSpPr>
        <p:spPr>
          <a:xfrm>
            <a:off x="1857837" y="5122448"/>
            <a:ext cx="2289343" cy="760208"/>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14" name="Freeform 1050"/>
          <p:cNvSpPr>
            <a:spLocks noEditPoints="1"/>
          </p:cNvSpPr>
          <p:nvPr/>
        </p:nvSpPr>
        <p:spPr bwMode="auto">
          <a:xfrm>
            <a:off x="2802718" y="3413292"/>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5" name="Donut 14"/>
          <p:cNvSpPr/>
          <p:nvPr/>
        </p:nvSpPr>
        <p:spPr>
          <a:xfrm>
            <a:off x="5019051" y="2437459"/>
            <a:ext cx="2289963" cy="2289963"/>
          </a:xfrm>
          <a:prstGeom prst="donut">
            <a:avLst>
              <a:gd name="adj" fmla="val 16119"/>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16" name="Block Arc 15"/>
          <p:cNvSpPr/>
          <p:nvPr/>
        </p:nvSpPr>
        <p:spPr>
          <a:xfrm>
            <a:off x="4876025" y="2294434"/>
            <a:ext cx="2576014" cy="2576012"/>
          </a:xfrm>
          <a:prstGeom prst="blockArc">
            <a:avLst>
              <a:gd name="adj1" fmla="val 21565779"/>
              <a:gd name="adj2" fmla="val 16234210"/>
              <a:gd name="adj3" fmla="val 25956"/>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17" name="TextBox 16"/>
          <p:cNvSpPr txBox="1"/>
          <p:nvPr/>
        </p:nvSpPr>
        <p:spPr>
          <a:xfrm>
            <a:off x="5219772" y="3962053"/>
            <a:ext cx="343043" cy="307777"/>
          </a:xfrm>
          <a:prstGeom prst="rect">
            <a:avLst/>
          </a:prstGeom>
          <a:noFill/>
        </p:spPr>
        <p:txBody>
          <a:bodyPr wrap="none" lIns="0" rIns="0" rtlCol="0">
            <a:spAutoFit/>
          </a:bodyPr>
          <a:lstStyle/>
          <a:p>
            <a:pPr algn="r"/>
            <a:r>
              <a:rPr lang="en-US" sz="1400" dirty="0">
                <a:latin typeface="RBC Text" panose="02000000000000000000" pitchFamily="2" charset="77"/>
              </a:rPr>
              <a:t>75%</a:t>
            </a:r>
          </a:p>
        </p:txBody>
      </p:sp>
      <p:sp>
        <p:nvSpPr>
          <p:cNvPr id="18" name="TextBox 17"/>
          <p:cNvSpPr txBox="1"/>
          <p:nvPr/>
        </p:nvSpPr>
        <p:spPr>
          <a:xfrm>
            <a:off x="5019361" y="5122448"/>
            <a:ext cx="2289343" cy="760208"/>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20" name="Donut 19"/>
          <p:cNvSpPr/>
          <p:nvPr/>
        </p:nvSpPr>
        <p:spPr>
          <a:xfrm>
            <a:off x="8230641" y="2437459"/>
            <a:ext cx="2289963" cy="2289963"/>
          </a:xfrm>
          <a:prstGeom prst="donut">
            <a:avLst>
              <a:gd name="adj" fmla="val 16119"/>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21" name="Block Arc 20"/>
          <p:cNvSpPr/>
          <p:nvPr/>
        </p:nvSpPr>
        <p:spPr>
          <a:xfrm>
            <a:off x="8087615" y="2294434"/>
            <a:ext cx="2576014" cy="2576012"/>
          </a:xfrm>
          <a:prstGeom prst="blockArc">
            <a:avLst>
              <a:gd name="adj1" fmla="val 5372625"/>
              <a:gd name="adj2" fmla="val 16234210"/>
              <a:gd name="adj3" fmla="val 25956"/>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23" name="TextBox 22"/>
          <p:cNvSpPr txBox="1"/>
          <p:nvPr/>
        </p:nvSpPr>
        <p:spPr>
          <a:xfrm>
            <a:off x="8230951" y="5122448"/>
            <a:ext cx="2289343" cy="760208"/>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25" name="Freeform 1137"/>
          <p:cNvSpPr>
            <a:spLocks noEditPoints="1"/>
          </p:cNvSpPr>
          <p:nvPr/>
        </p:nvSpPr>
        <p:spPr bwMode="auto">
          <a:xfrm>
            <a:off x="9189124" y="3424766"/>
            <a:ext cx="372995" cy="33829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6" name="Freeform 1147"/>
          <p:cNvSpPr>
            <a:spLocks noEditPoints="1"/>
          </p:cNvSpPr>
          <p:nvPr/>
        </p:nvSpPr>
        <p:spPr bwMode="auto">
          <a:xfrm>
            <a:off x="5994405" y="3402538"/>
            <a:ext cx="380584" cy="382753"/>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8" name="TextBox 27"/>
          <p:cNvSpPr txBox="1"/>
          <p:nvPr/>
        </p:nvSpPr>
        <p:spPr>
          <a:xfrm>
            <a:off x="8302178" y="3443811"/>
            <a:ext cx="360676" cy="307777"/>
          </a:xfrm>
          <a:prstGeom prst="rect">
            <a:avLst/>
          </a:prstGeom>
          <a:noFill/>
        </p:spPr>
        <p:txBody>
          <a:bodyPr wrap="none" lIns="0" rIns="0" rtlCol="0">
            <a:spAutoFit/>
          </a:bodyPr>
          <a:lstStyle/>
          <a:p>
            <a:pPr algn="r"/>
            <a:r>
              <a:rPr lang="en-US" sz="1400" dirty="0">
                <a:latin typeface="RBC Text" panose="02000000000000000000" pitchFamily="2" charset="77"/>
              </a:rPr>
              <a:t>50%</a:t>
            </a:r>
          </a:p>
        </p:txBody>
      </p:sp>
      <p:sp>
        <p:nvSpPr>
          <p:cNvPr id="19" name="Text Placeholder 6">
            <a:extLst>
              <a:ext uri="{FF2B5EF4-FFF2-40B4-BE49-F238E27FC236}">
                <a16:creationId xmlns:a16="http://schemas.microsoft.com/office/drawing/2014/main" id="{B7469761-4A6F-3D44-93C2-74B4E8A268AC}"/>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9245115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p:cNvSpPr/>
          <p:nvPr/>
        </p:nvSpPr>
        <p:spPr>
          <a:xfrm>
            <a:off x="1716721" y="1899903"/>
            <a:ext cx="3584390" cy="358438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tx1"/>
              </a:solidFill>
              <a:latin typeface="RBC Text" panose="02000000000000000000" pitchFamily="2" charset="77"/>
            </a:endParaRPr>
          </a:p>
        </p:txBody>
      </p:sp>
      <p:sp>
        <p:nvSpPr>
          <p:cNvPr id="17" name="Oval 16"/>
          <p:cNvSpPr/>
          <p:nvPr/>
        </p:nvSpPr>
        <p:spPr>
          <a:xfrm>
            <a:off x="7018452" y="1899903"/>
            <a:ext cx="3584390" cy="358438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tx1"/>
              </a:solidFill>
              <a:latin typeface="RBC Text" panose="02000000000000000000" pitchFamily="2" charset="77"/>
            </a:endParaRPr>
          </a:p>
        </p:txBody>
      </p:sp>
      <p:sp>
        <p:nvSpPr>
          <p:cNvPr id="18" name="Oval 17"/>
          <p:cNvSpPr/>
          <p:nvPr/>
        </p:nvSpPr>
        <p:spPr>
          <a:xfrm>
            <a:off x="4314956" y="1899903"/>
            <a:ext cx="3584390" cy="3584384"/>
          </a:xfrm>
          <a:prstGeom prst="ellipse">
            <a:avLst/>
          </a:prstGeom>
          <a:solidFill>
            <a:schemeClr val="accent2"/>
          </a:solidFill>
          <a:ln w="25400">
            <a:noFill/>
          </a:ln>
          <a:effectLst>
            <a:outerShdw dist="76200" dir="5400000" algn="t" rotWithShape="0">
              <a:prstClr val="black">
                <a:alpha val="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tx1"/>
              </a:solidFill>
              <a:latin typeface="RBC Text" panose="02000000000000000000" pitchFamily="2" charset="77"/>
            </a:endParaRPr>
          </a:p>
        </p:txBody>
      </p:sp>
      <p:sp>
        <p:nvSpPr>
          <p:cNvPr id="21" name="Freeform 1050"/>
          <p:cNvSpPr>
            <a:spLocks noEditPoints="1"/>
          </p:cNvSpPr>
          <p:nvPr/>
        </p:nvSpPr>
        <p:spPr bwMode="auto">
          <a:xfrm>
            <a:off x="3058711" y="2617451"/>
            <a:ext cx="485986" cy="44077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2" name="Freeform 1137"/>
          <p:cNvSpPr>
            <a:spLocks noEditPoints="1"/>
          </p:cNvSpPr>
          <p:nvPr/>
        </p:nvSpPr>
        <p:spPr bwMode="auto">
          <a:xfrm>
            <a:off x="8682843" y="2628925"/>
            <a:ext cx="485986" cy="44077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3" name="Freeform 1147"/>
          <p:cNvSpPr>
            <a:spLocks noEditPoints="1"/>
          </p:cNvSpPr>
          <p:nvPr/>
        </p:nvSpPr>
        <p:spPr bwMode="auto">
          <a:xfrm>
            <a:off x="5915273" y="2593231"/>
            <a:ext cx="495874" cy="498700"/>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4" name="TextBox 23"/>
          <p:cNvSpPr txBox="1"/>
          <p:nvPr/>
        </p:nvSpPr>
        <p:spPr>
          <a:xfrm>
            <a:off x="5636408" y="3258830"/>
            <a:ext cx="908903" cy="646331"/>
          </a:xfrm>
          <a:prstGeom prst="rect">
            <a:avLst/>
          </a:prstGeom>
          <a:noFill/>
        </p:spPr>
        <p:txBody>
          <a:bodyPr wrap="none" lIns="0" rIns="0" rtlCol="0">
            <a:spAutoFit/>
          </a:bodyPr>
          <a:lstStyle/>
          <a:p>
            <a:pPr algn="ctr"/>
            <a:r>
              <a:rPr lang="en-US" sz="3600" dirty="0">
                <a:solidFill>
                  <a:schemeClr val="bg1"/>
                </a:solidFill>
                <a:latin typeface="RBC Display" panose="02000000000000000000" pitchFamily="2" charset="77"/>
              </a:rPr>
              <a:t>50%</a:t>
            </a:r>
          </a:p>
        </p:txBody>
      </p:sp>
      <p:sp>
        <p:nvSpPr>
          <p:cNvPr id="25" name="TextBox 24"/>
          <p:cNvSpPr txBox="1"/>
          <p:nvPr/>
        </p:nvSpPr>
        <p:spPr>
          <a:xfrm>
            <a:off x="4951328" y="4029474"/>
            <a:ext cx="2289343" cy="1001428"/>
          </a:xfrm>
          <a:prstGeom prst="rect">
            <a:avLst/>
          </a:prstGeom>
          <a:noFill/>
        </p:spPr>
        <p:txBody>
          <a:bodyPr wrap="square" lIns="0" rIns="0" rtlCol="0">
            <a:spAutoFit/>
          </a:bodyPr>
          <a:lstStyle/>
          <a:p>
            <a:pPr algn="ctr">
              <a:lnSpc>
                <a:spcPct val="120000"/>
              </a:lnSpc>
              <a:spcBef>
                <a:spcPts val="600"/>
              </a:spcBef>
            </a:pPr>
            <a:r>
              <a:rPr lang="en-US" sz="1400" dirty="0">
                <a:solidFill>
                  <a:schemeClr val="bg1"/>
                </a:solidFill>
                <a:latin typeface="RBC Text" panose="02000000000000000000" pitchFamily="2" charset="77"/>
              </a:rPr>
              <a:t>Write title here</a:t>
            </a:r>
          </a:p>
          <a:p>
            <a:pPr algn="ctr">
              <a:lnSpc>
                <a:spcPct val="120000"/>
              </a:lnSpc>
              <a:spcBef>
                <a:spcPts val="600"/>
              </a:spcBef>
            </a:pPr>
            <a:r>
              <a:rPr lang="en-US" sz="1050" dirty="0">
                <a:solidFill>
                  <a:schemeClr val="bg1"/>
                </a:solidFill>
                <a:latin typeface="RBC Text" panose="02000000000000000000" pitchFamily="2" charset="77"/>
              </a:rPr>
              <a:t>A peep at some distant orb has power to raise and purify. A peep at some.</a:t>
            </a:r>
          </a:p>
        </p:txBody>
      </p:sp>
      <p:sp>
        <p:nvSpPr>
          <p:cNvPr id="26" name="TextBox 25"/>
          <p:cNvSpPr txBox="1"/>
          <p:nvPr/>
        </p:nvSpPr>
        <p:spPr>
          <a:xfrm>
            <a:off x="8471386" y="3258830"/>
            <a:ext cx="908903" cy="646331"/>
          </a:xfrm>
          <a:prstGeom prst="rect">
            <a:avLst/>
          </a:prstGeom>
          <a:noFill/>
        </p:spPr>
        <p:txBody>
          <a:bodyPr wrap="none" lIns="0" rIns="0" rtlCol="0">
            <a:spAutoFit/>
          </a:bodyPr>
          <a:lstStyle/>
          <a:p>
            <a:pPr algn="ctr"/>
            <a:r>
              <a:rPr lang="en-US" sz="3600" dirty="0">
                <a:solidFill>
                  <a:schemeClr val="bg1"/>
                </a:solidFill>
                <a:latin typeface="RBC Display" panose="02000000000000000000" pitchFamily="2" charset="77"/>
              </a:rPr>
              <a:t>70%</a:t>
            </a:r>
          </a:p>
        </p:txBody>
      </p:sp>
      <p:sp>
        <p:nvSpPr>
          <p:cNvPr id="27" name="TextBox 26"/>
          <p:cNvSpPr txBox="1"/>
          <p:nvPr/>
        </p:nvSpPr>
        <p:spPr>
          <a:xfrm>
            <a:off x="7786306" y="4029474"/>
            <a:ext cx="2289343" cy="1001428"/>
          </a:xfrm>
          <a:prstGeom prst="rect">
            <a:avLst/>
          </a:prstGeom>
          <a:noFill/>
        </p:spPr>
        <p:txBody>
          <a:bodyPr wrap="square" lIns="0" rIns="0" rtlCol="0">
            <a:spAutoFit/>
          </a:bodyPr>
          <a:lstStyle/>
          <a:p>
            <a:pPr algn="ctr">
              <a:lnSpc>
                <a:spcPct val="120000"/>
              </a:lnSpc>
              <a:spcBef>
                <a:spcPts val="600"/>
              </a:spcBef>
            </a:pPr>
            <a:r>
              <a:rPr lang="en-US" sz="1400" dirty="0">
                <a:solidFill>
                  <a:schemeClr val="bg1"/>
                </a:solidFill>
                <a:latin typeface="RBC Text" panose="02000000000000000000" pitchFamily="2" charset="77"/>
              </a:rPr>
              <a:t>Write title here</a:t>
            </a:r>
          </a:p>
          <a:p>
            <a:pPr algn="ctr">
              <a:lnSpc>
                <a:spcPct val="120000"/>
              </a:lnSpc>
              <a:spcBef>
                <a:spcPts val="600"/>
              </a:spcBef>
            </a:pPr>
            <a:r>
              <a:rPr lang="en-US" sz="1050" dirty="0">
                <a:solidFill>
                  <a:schemeClr val="bg1"/>
                </a:solidFill>
                <a:latin typeface="RBC Text" panose="02000000000000000000" pitchFamily="2" charset="77"/>
              </a:rPr>
              <a:t>A peep at some distant orb has power to raise and purify. A peep at some.</a:t>
            </a:r>
          </a:p>
        </p:txBody>
      </p:sp>
      <p:sp>
        <p:nvSpPr>
          <p:cNvPr id="28" name="TextBox 27"/>
          <p:cNvSpPr txBox="1"/>
          <p:nvPr/>
        </p:nvSpPr>
        <p:spPr>
          <a:xfrm>
            <a:off x="2825797" y="3258830"/>
            <a:ext cx="908903" cy="646331"/>
          </a:xfrm>
          <a:prstGeom prst="rect">
            <a:avLst/>
          </a:prstGeom>
          <a:noFill/>
        </p:spPr>
        <p:txBody>
          <a:bodyPr wrap="none" lIns="0" rIns="0" rtlCol="0">
            <a:spAutoFit/>
          </a:bodyPr>
          <a:lstStyle/>
          <a:p>
            <a:pPr algn="ctr"/>
            <a:r>
              <a:rPr lang="en-US" sz="3600" dirty="0">
                <a:solidFill>
                  <a:schemeClr val="bg1"/>
                </a:solidFill>
                <a:latin typeface="RBC Display" panose="02000000000000000000" pitchFamily="2" charset="77"/>
              </a:rPr>
              <a:t>30%</a:t>
            </a:r>
          </a:p>
        </p:txBody>
      </p:sp>
      <p:sp>
        <p:nvSpPr>
          <p:cNvPr id="29" name="TextBox 28"/>
          <p:cNvSpPr txBox="1"/>
          <p:nvPr/>
        </p:nvSpPr>
        <p:spPr>
          <a:xfrm>
            <a:off x="2140717" y="4029474"/>
            <a:ext cx="2289343" cy="1001428"/>
          </a:xfrm>
          <a:prstGeom prst="rect">
            <a:avLst/>
          </a:prstGeom>
          <a:noFill/>
        </p:spPr>
        <p:txBody>
          <a:bodyPr wrap="square" lIns="0" rIns="0" rtlCol="0">
            <a:spAutoFit/>
          </a:bodyPr>
          <a:lstStyle/>
          <a:p>
            <a:pPr algn="ctr">
              <a:lnSpc>
                <a:spcPct val="120000"/>
              </a:lnSpc>
              <a:spcBef>
                <a:spcPts val="600"/>
              </a:spcBef>
            </a:pPr>
            <a:r>
              <a:rPr lang="en-US" sz="1400" dirty="0">
                <a:solidFill>
                  <a:schemeClr val="bg1"/>
                </a:solidFill>
                <a:latin typeface="RBC Text" panose="02000000000000000000" pitchFamily="2" charset="77"/>
              </a:rPr>
              <a:t>Write title here</a:t>
            </a:r>
          </a:p>
          <a:p>
            <a:pPr algn="ctr">
              <a:lnSpc>
                <a:spcPct val="120000"/>
              </a:lnSpc>
              <a:spcBef>
                <a:spcPts val="600"/>
              </a:spcBef>
            </a:pPr>
            <a:r>
              <a:rPr lang="en-US" sz="1050" dirty="0">
                <a:solidFill>
                  <a:schemeClr val="bg1"/>
                </a:solidFill>
                <a:latin typeface="RBC Text" panose="02000000000000000000" pitchFamily="2" charset="77"/>
              </a:rPr>
              <a:t>A peep at some distant orb has power to raise and purify. A peep at some.</a:t>
            </a:r>
          </a:p>
        </p:txBody>
      </p:sp>
      <p:sp>
        <p:nvSpPr>
          <p:cNvPr id="14" name="Text Placeholder 6">
            <a:extLst>
              <a:ext uri="{FF2B5EF4-FFF2-40B4-BE49-F238E27FC236}">
                <a16:creationId xmlns:a16="http://schemas.microsoft.com/office/drawing/2014/main" id="{89DAFEF0-E293-2746-90C4-D0E6011EC861}"/>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67995945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nut chart infographic</a:t>
            </a:r>
          </a:p>
        </p:txBody>
      </p:sp>
      <p:sp>
        <p:nvSpPr>
          <p:cNvPr id="4" name="Oval 3"/>
          <p:cNvSpPr/>
          <p:nvPr/>
        </p:nvSpPr>
        <p:spPr>
          <a:xfrm>
            <a:off x="4225440" y="2532042"/>
            <a:ext cx="2226328" cy="2226324"/>
          </a:xfrm>
          <a:prstGeom prst="ellipse">
            <a:avLst/>
          </a:prstGeom>
          <a:solidFill>
            <a:schemeClr val="accent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latin typeface="RBC Text" panose="02000000000000000000" pitchFamily="2" charset="77"/>
            </a:endParaRPr>
          </a:p>
        </p:txBody>
      </p:sp>
      <p:sp>
        <p:nvSpPr>
          <p:cNvPr id="6" name="Chord 5"/>
          <p:cNvSpPr/>
          <p:nvPr/>
        </p:nvSpPr>
        <p:spPr>
          <a:xfrm>
            <a:off x="4225440" y="2532042"/>
            <a:ext cx="2226328" cy="2226324"/>
          </a:xfrm>
          <a:prstGeom prst="chord">
            <a:avLst>
              <a:gd name="adj1" fmla="val 21372060"/>
              <a:gd name="adj2" fmla="val 11056219"/>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1400" dirty="0">
              <a:solidFill>
                <a:schemeClr val="tx1"/>
              </a:solidFill>
              <a:latin typeface="RBC Text" panose="02000000000000000000" pitchFamily="2" charset="77"/>
            </a:endParaRPr>
          </a:p>
        </p:txBody>
      </p:sp>
      <p:sp>
        <p:nvSpPr>
          <p:cNvPr id="7" name="Oval 6"/>
          <p:cNvSpPr/>
          <p:nvPr/>
        </p:nvSpPr>
        <p:spPr>
          <a:xfrm>
            <a:off x="944524" y="2532042"/>
            <a:ext cx="2226328" cy="2226324"/>
          </a:xfrm>
          <a:prstGeom prst="ellipse">
            <a:avLst/>
          </a:prstGeom>
          <a:solidFill>
            <a:schemeClr val="accent1">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latin typeface="RBC Text" panose="02000000000000000000" pitchFamily="2" charset="77"/>
            </a:endParaRPr>
          </a:p>
        </p:txBody>
      </p:sp>
      <p:sp>
        <p:nvSpPr>
          <p:cNvPr id="8" name="Chord 7"/>
          <p:cNvSpPr/>
          <p:nvPr/>
        </p:nvSpPr>
        <p:spPr>
          <a:xfrm>
            <a:off x="944524" y="2532042"/>
            <a:ext cx="2226328" cy="2226324"/>
          </a:xfrm>
          <a:prstGeom prst="chord">
            <a:avLst>
              <a:gd name="adj1" fmla="val 1532504"/>
              <a:gd name="adj2" fmla="val 9212315"/>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1400" dirty="0">
              <a:solidFill>
                <a:srgbClr val="FFFFFF"/>
              </a:solidFill>
              <a:latin typeface="RBC Text" panose="02000000000000000000" pitchFamily="2" charset="77"/>
            </a:endParaRPr>
          </a:p>
        </p:txBody>
      </p:sp>
      <p:sp>
        <p:nvSpPr>
          <p:cNvPr id="9" name="Oval 8"/>
          <p:cNvSpPr/>
          <p:nvPr/>
        </p:nvSpPr>
        <p:spPr>
          <a:xfrm>
            <a:off x="7708658" y="2532042"/>
            <a:ext cx="2226328" cy="2226324"/>
          </a:xfrm>
          <a:prstGeom prst="ellipse">
            <a:avLst/>
          </a:prstGeom>
          <a:solidFill>
            <a:schemeClr val="accent3">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latin typeface="RBC Text" panose="02000000000000000000" pitchFamily="2" charset="77"/>
            </a:endParaRPr>
          </a:p>
        </p:txBody>
      </p:sp>
      <p:sp>
        <p:nvSpPr>
          <p:cNvPr id="10" name="Chord 9"/>
          <p:cNvSpPr/>
          <p:nvPr/>
        </p:nvSpPr>
        <p:spPr>
          <a:xfrm>
            <a:off x="7708658" y="2532042"/>
            <a:ext cx="2226328" cy="2226324"/>
          </a:xfrm>
          <a:prstGeom prst="chord">
            <a:avLst>
              <a:gd name="adj1" fmla="val 18619187"/>
              <a:gd name="adj2" fmla="val 13739532"/>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1400" dirty="0">
              <a:solidFill>
                <a:schemeClr val="tx1"/>
              </a:solidFill>
              <a:latin typeface="RBC Text" panose="02000000000000000000" pitchFamily="2" charset="77"/>
            </a:endParaRPr>
          </a:p>
        </p:txBody>
      </p:sp>
      <p:sp>
        <p:nvSpPr>
          <p:cNvPr id="11" name="TextBox 10"/>
          <p:cNvSpPr txBox="1"/>
          <p:nvPr/>
        </p:nvSpPr>
        <p:spPr>
          <a:xfrm>
            <a:off x="4977126" y="3846363"/>
            <a:ext cx="722955" cy="523220"/>
          </a:xfrm>
          <a:prstGeom prst="rect">
            <a:avLst/>
          </a:prstGeom>
          <a:noFill/>
        </p:spPr>
        <p:txBody>
          <a:bodyPr wrap="none" lIns="0" rIns="0" rtlCol="0">
            <a:spAutoFit/>
          </a:bodyPr>
          <a:lstStyle/>
          <a:p>
            <a:pPr algn="ctr"/>
            <a:r>
              <a:rPr lang="en-US" sz="2800" dirty="0">
                <a:solidFill>
                  <a:srgbClr val="FFFFFF"/>
                </a:solidFill>
                <a:latin typeface="RBC Text" panose="02000000000000000000" pitchFamily="2" charset="77"/>
              </a:rPr>
              <a:t>50%</a:t>
            </a:r>
          </a:p>
        </p:txBody>
      </p:sp>
      <p:sp>
        <p:nvSpPr>
          <p:cNvPr id="12" name="TextBox 11"/>
          <p:cNvSpPr txBox="1"/>
          <p:nvPr/>
        </p:nvSpPr>
        <p:spPr>
          <a:xfrm>
            <a:off x="1717711" y="4169748"/>
            <a:ext cx="724557" cy="523220"/>
          </a:xfrm>
          <a:prstGeom prst="rect">
            <a:avLst/>
          </a:prstGeom>
          <a:noFill/>
        </p:spPr>
        <p:txBody>
          <a:bodyPr wrap="none" lIns="0" rIns="0" rtlCol="0">
            <a:spAutoFit/>
          </a:bodyPr>
          <a:lstStyle/>
          <a:p>
            <a:pPr algn="ctr"/>
            <a:r>
              <a:rPr lang="en-US" sz="2800" dirty="0">
                <a:solidFill>
                  <a:srgbClr val="FFFFFF"/>
                </a:solidFill>
                <a:latin typeface="RBC Text" panose="02000000000000000000" pitchFamily="2" charset="77"/>
              </a:rPr>
              <a:t>30%</a:t>
            </a:r>
          </a:p>
        </p:txBody>
      </p:sp>
      <p:sp>
        <p:nvSpPr>
          <p:cNvPr id="13" name="TextBox 12"/>
          <p:cNvSpPr txBox="1"/>
          <p:nvPr/>
        </p:nvSpPr>
        <p:spPr>
          <a:xfrm>
            <a:off x="8454734" y="3417047"/>
            <a:ext cx="734175" cy="523220"/>
          </a:xfrm>
          <a:prstGeom prst="rect">
            <a:avLst/>
          </a:prstGeom>
          <a:noFill/>
        </p:spPr>
        <p:txBody>
          <a:bodyPr wrap="none" lIns="0" rIns="0" rtlCol="0">
            <a:spAutoFit/>
          </a:bodyPr>
          <a:lstStyle/>
          <a:p>
            <a:pPr algn="ctr"/>
            <a:r>
              <a:rPr lang="en-US" sz="2800" dirty="0">
                <a:solidFill>
                  <a:srgbClr val="FFFFFF"/>
                </a:solidFill>
                <a:latin typeface="RBC Text" panose="02000000000000000000" pitchFamily="2" charset="77"/>
              </a:rPr>
              <a:t>90%</a:t>
            </a:r>
          </a:p>
        </p:txBody>
      </p:sp>
      <p:sp>
        <p:nvSpPr>
          <p:cNvPr id="16" name="TextBox 15"/>
          <p:cNvSpPr txBox="1"/>
          <p:nvPr/>
        </p:nvSpPr>
        <p:spPr>
          <a:xfrm>
            <a:off x="913016" y="5012427"/>
            <a:ext cx="2289343"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17" name="TextBox 16"/>
          <p:cNvSpPr txBox="1"/>
          <p:nvPr/>
        </p:nvSpPr>
        <p:spPr>
          <a:xfrm>
            <a:off x="4171326" y="5012427"/>
            <a:ext cx="2289343"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18" name="TextBox 17"/>
          <p:cNvSpPr txBox="1"/>
          <p:nvPr/>
        </p:nvSpPr>
        <p:spPr>
          <a:xfrm>
            <a:off x="7677149" y="5012427"/>
            <a:ext cx="2289343"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15" name="Text Placeholder 6">
            <a:extLst>
              <a:ext uri="{FF2B5EF4-FFF2-40B4-BE49-F238E27FC236}">
                <a16:creationId xmlns:a16="http://schemas.microsoft.com/office/drawing/2014/main" id="{AA3F1180-6966-1641-B153-32E7F57CFD2F}"/>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30918309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3095341" y="3685478"/>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2572019" y="2996746"/>
            <a:ext cx="1075362" cy="1106902"/>
            <a:chOff x="4116511" y="1559959"/>
            <a:chExt cx="3958978" cy="4075093"/>
          </a:xfrm>
        </p:grpSpPr>
        <p:sp>
          <p:nvSpPr>
            <p:cNvPr id="6" name="Oval 5"/>
            <p:cNvSpPr/>
            <p:nvPr/>
          </p:nvSpPr>
          <p:spPr>
            <a:xfrm>
              <a:off x="4116511" y="1676078"/>
              <a:ext cx="3958978" cy="3958974"/>
            </a:xfrm>
            <a:prstGeom prst="ellipse">
              <a:avLst/>
            </a:prstGeom>
            <a:pattFill prst="wdUpDiag">
              <a:fgClr>
                <a:schemeClr val="bg1">
                  <a:lumMod val="65000"/>
                </a:schemeClr>
              </a:fgClr>
              <a:bgClr>
                <a:schemeClr val="bg1"/>
              </a:bgClr>
            </a:patt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7" name="Oval 6"/>
            <p:cNvSpPr/>
            <p:nvPr/>
          </p:nvSpPr>
          <p:spPr>
            <a:xfrm>
              <a:off x="4116511" y="1559959"/>
              <a:ext cx="3958978" cy="3958974"/>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tx1"/>
                  </a:solidFill>
                  <a:latin typeface="RBC Text" panose="02000000000000000000" pitchFamily="2" charset="77"/>
                </a:rPr>
                <a:t>S</a:t>
              </a:r>
            </a:p>
          </p:txBody>
        </p:sp>
      </p:grpSp>
      <p:sp>
        <p:nvSpPr>
          <p:cNvPr id="8" name="Oval 7"/>
          <p:cNvSpPr/>
          <p:nvPr/>
        </p:nvSpPr>
        <p:spPr>
          <a:xfrm>
            <a:off x="2938142" y="4336889"/>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9" name="TextBox 8"/>
          <p:cNvSpPr txBox="1"/>
          <p:nvPr/>
        </p:nvSpPr>
        <p:spPr>
          <a:xfrm>
            <a:off x="2175819" y="4882506"/>
            <a:ext cx="1883226" cy="1121846"/>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cxnSp>
        <p:nvCxnSpPr>
          <p:cNvPr id="10" name="Straight Connector 9"/>
          <p:cNvCxnSpPr/>
          <p:nvPr/>
        </p:nvCxnSpPr>
        <p:spPr>
          <a:xfrm>
            <a:off x="4615443" y="2604773"/>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075583" y="2996746"/>
            <a:ext cx="1075362" cy="1106902"/>
            <a:chOff x="4116511" y="1559959"/>
            <a:chExt cx="3958978" cy="4075093"/>
          </a:xfrm>
        </p:grpSpPr>
        <p:sp>
          <p:nvSpPr>
            <p:cNvPr id="12" name="Oval 11"/>
            <p:cNvSpPr/>
            <p:nvPr/>
          </p:nvSpPr>
          <p:spPr>
            <a:xfrm>
              <a:off x="4116511" y="1676078"/>
              <a:ext cx="3958978" cy="3958974"/>
            </a:xfrm>
            <a:prstGeom prst="ellipse">
              <a:avLst/>
            </a:prstGeom>
            <a:pattFill prst="wdUpDiag">
              <a:fgClr>
                <a:schemeClr val="bg1">
                  <a:lumMod val="65000"/>
                </a:schemeClr>
              </a:fgClr>
              <a:bgClr>
                <a:schemeClr val="bg1"/>
              </a:bgClr>
            </a:patt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3" name="Oval 12"/>
            <p:cNvSpPr/>
            <p:nvPr/>
          </p:nvSpPr>
          <p:spPr>
            <a:xfrm>
              <a:off x="4116511" y="1559959"/>
              <a:ext cx="3958978" cy="3958974"/>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tx1"/>
                  </a:solidFill>
                  <a:latin typeface="RBC Text" panose="02000000000000000000" pitchFamily="2" charset="77"/>
                </a:rPr>
                <a:t>T</a:t>
              </a:r>
            </a:p>
          </p:txBody>
        </p:sp>
      </p:grpSp>
      <p:sp>
        <p:nvSpPr>
          <p:cNvPr id="14" name="Oval 13"/>
          <p:cNvSpPr/>
          <p:nvPr/>
        </p:nvSpPr>
        <p:spPr>
          <a:xfrm>
            <a:off x="4458244" y="2442158"/>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15" name="TextBox 14"/>
          <p:cNvSpPr txBox="1"/>
          <p:nvPr/>
        </p:nvSpPr>
        <p:spPr>
          <a:xfrm>
            <a:off x="3586649" y="1341437"/>
            <a:ext cx="2101770"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cxnSp>
        <p:nvCxnSpPr>
          <p:cNvPr id="16" name="Straight Connector 15"/>
          <p:cNvCxnSpPr/>
          <p:nvPr/>
        </p:nvCxnSpPr>
        <p:spPr>
          <a:xfrm>
            <a:off x="6111271" y="3685478"/>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5579147" y="2996746"/>
            <a:ext cx="1075362" cy="1106902"/>
            <a:chOff x="4116511" y="1559959"/>
            <a:chExt cx="3958978" cy="4075093"/>
          </a:xfrm>
        </p:grpSpPr>
        <p:sp>
          <p:nvSpPr>
            <p:cNvPr id="18" name="Oval 17"/>
            <p:cNvSpPr/>
            <p:nvPr/>
          </p:nvSpPr>
          <p:spPr>
            <a:xfrm>
              <a:off x="4116511" y="1676078"/>
              <a:ext cx="3958978" cy="3958974"/>
            </a:xfrm>
            <a:prstGeom prst="ellipse">
              <a:avLst/>
            </a:prstGeom>
            <a:pattFill prst="wdUpDiag">
              <a:fgClr>
                <a:schemeClr val="bg1">
                  <a:lumMod val="65000"/>
                </a:schemeClr>
              </a:fgClr>
              <a:bgClr>
                <a:schemeClr val="bg1"/>
              </a:bgClr>
            </a:patt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9" name="Oval 18"/>
            <p:cNvSpPr/>
            <p:nvPr/>
          </p:nvSpPr>
          <p:spPr>
            <a:xfrm>
              <a:off x="4116511" y="1559959"/>
              <a:ext cx="3958978" cy="3958974"/>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tx1"/>
                  </a:solidFill>
                  <a:latin typeface="RBC Text" panose="02000000000000000000" pitchFamily="2" charset="77"/>
                </a:rPr>
                <a:t>A</a:t>
              </a:r>
            </a:p>
          </p:txBody>
        </p:sp>
      </p:grpSp>
      <p:sp>
        <p:nvSpPr>
          <p:cNvPr id="20" name="Oval 19"/>
          <p:cNvSpPr/>
          <p:nvPr/>
        </p:nvSpPr>
        <p:spPr>
          <a:xfrm>
            <a:off x="5945270" y="4336889"/>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21" name="TextBox 20"/>
          <p:cNvSpPr txBox="1"/>
          <p:nvPr/>
        </p:nvSpPr>
        <p:spPr>
          <a:xfrm>
            <a:off x="5169658" y="4882506"/>
            <a:ext cx="1883226" cy="1121846"/>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cxnSp>
        <p:nvCxnSpPr>
          <p:cNvPr id="22" name="Straight Connector 21"/>
          <p:cNvCxnSpPr/>
          <p:nvPr/>
        </p:nvCxnSpPr>
        <p:spPr>
          <a:xfrm>
            <a:off x="7622570" y="2604773"/>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7082711" y="2996746"/>
            <a:ext cx="1075362" cy="1106902"/>
            <a:chOff x="4116511" y="1559959"/>
            <a:chExt cx="3958978" cy="4075093"/>
          </a:xfrm>
        </p:grpSpPr>
        <p:sp>
          <p:nvSpPr>
            <p:cNvPr id="24" name="Oval 23"/>
            <p:cNvSpPr/>
            <p:nvPr/>
          </p:nvSpPr>
          <p:spPr>
            <a:xfrm>
              <a:off x="4116511" y="1676078"/>
              <a:ext cx="3958978" cy="3958974"/>
            </a:xfrm>
            <a:prstGeom prst="ellipse">
              <a:avLst/>
            </a:prstGeom>
            <a:pattFill prst="wdUpDiag">
              <a:fgClr>
                <a:schemeClr val="bg1">
                  <a:lumMod val="65000"/>
                </a:schemeClr>
              </a:fgClr>
              <a:bgClr>
                <a:schemeClr val="bg1"/>
              </a:bgClr>
            </a:patt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5" name="Oval 24"/>
            <p:cNvSpPr/>
            <p:nvPr/>
          </p:nvSpPr>
          <p:spPr>
            <a:xfrm>
              <a:off x="4116511" y="1559959"/>
              <a:ext cx="3958978" cy="3958974"/>
            </a:xfrm>
            <a:prstGeom prst="ellipse">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tx1"/>
                  </a:solidFill>
                  <a:latin typeface="RBC Text" panose="02000000000000000000" pitchFamily="2" charset="77"/>
                </a:rPr>
                <a:t>R</a:t>
              </a:r>
            </a:p>
          </p:txBody>
        </p:sp>
      </p:grpSp>
      <p:sp>
        <p:nvSpPr>
          <p:cNvPr id="26" name="Oval 25"/>
          <p:cNvSpPr/>
          <p:nvPr/>
        </p:nvSpPr>
        <p:spPr>
          <a:xfrm>
            <a:off x="7465371" y="2442158"/>
            <a:ext cx="343116" cy="343114"/>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27" name="TextBox 26"/>
          <p:cNvSpPr txBox="1"/>
          <p:nvPr/>
        </p:nvSpPr>
        <p:spPr>
          <a:xfrm>
            <a:off x="6602522" y="1341437"/>
            <a:ext cx="2084278"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cxnSp>
        <p:nvCxnSpPr>
          <p:cNvPr id="28" name="Straight Connector 27"/>
          <p:cNvCxnSpPr/>
          <p:nvPr/>
        </p:nvCxnSpPr>
        <p:spPr>
          <a:xfrm>
            <a:off x="9109596" y="3685478"/>
            <a:ext cx="0" cy="819615"/>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8586274" y="2996746"/>
            <a:ext cx="1075362" cy="1106902"/>
            <a:chOff x="4116511" y="1559959"/>
            <a:chExt cx="3958978" cy="4075093"/>
          </a:xfrm>
        </p:grpSpPr>
        <p:sp>
          <p:nvSpPr>
            <p:cNvPr id="30" name="Oval 29"/>
            <p:cNvSpPr/>
            <p:nvPr/>
          </p:nvSpPr>
          <p:spPr>
            <a:xfrm>
              <a:off x="4116511" y="1676078"/>
              <a:ext cx="3958978" cy="3958974"/>
            </a:xfrm>
            <a:prstGeom prst="ellipse">
              <a:avLst/>
            </a:prstGeom>
            <a:pattFill prst="wdUpDiag">
              <a:fgClr>
                <a:schemeClr val="bg1">
                  <a:lumMod val="65000"/>
                </a:schemeClr>
              </a:fgClr>
              <a:bgClr>
                <a:schemeClr val="bg1"/>
              </a:bgClr>
            </a:patt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31" name="Oval 30"/>
            <p:cNvSpPr/>
            <p:nvPr/>
          </p:nvSpPr>
          <p:spPr>
            <a:xfrm>
              <a:off x="4116511" y="1559959"/>
              <a:ext cx="3958978" cy="3958974"/>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tx1"/>
                  </a:solidFill>
                  <a:latin typeface="RBC Text" panose="02000000000000000000" pitchFamily="2" charset="77"/>
                </a:rPr>
                <a:t>T</a:t>
              </a:r>
            </a:p>
          </p:txBody>
        </p:sp>
      </p:grpSp>
      <p:sp>
        <p:nvSpPr>
          <p:cNvPr id="32" name="Oval 31"/>
          <p:cNvSpPr/>
          <p:nvPr/>
        </p:nvSpPr>
        <p:spPr>
          <a:xfrm>
            <a:off x="8952397" y="4336889"/>
            <a:ext cx="343116" cy="343114"/>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5</a:t>
            </a:r>
          </a:p>
        </p:txBody>
      </p:sp>
      <p:sp>
        <p:nvSpPr>
          <p:cNvPr id="33" name="TextBox 32"/>
          <p:cNvSpPr txBox="1"/>
          <p:nvPr/>
        </p:nvSpPr>
        <p:spPr>
          <a:xfrm>
            <a:off x="8190074" y="4882506"/>
            <a:ext cx="1883226" cy="1121846"/>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sp>
        <p:nvSpPr>
          <p:cNvPr id="34" name="Text Placeholder 6">
            <a:extLst>
              <a:ext uri="{FF2B5EF4-FFF2-40B4-BE49-F238E27FC236}">
                <a16:creationId xmlns:a16="http://schemas.microsoft.com/office/drawing/2014/main" id="{6E775E0E-BB40-624D-AF1D-497E76DE3A51}"/>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2435996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5CE6479-F059-9443-BD3F-20DA93724620}"/>
              </a:ext>
            </a:extLst>
          </p:cNvPr>
          <p:cNvSpPr>
            <a:spLocks noGrp="1"/>
          </p:cNvSpPr>
          <p:nvPr>
            <p:ph type="pic" sz="quarter" idx="21"/>
          </p:nvPr>
        </p:nvSpPr>
        <p:spPr/>
        <p:txBody>
          <a:bodyPr/>
          <a:lstStyle/>
          <a:p>
            <a:endParaRPr lang="en-CA"/>
          </a:p>
        </p:txBody>
      </p:sp>
      <p:sp>
        <p:nvSpPr>
          <p:cNvPr id="3" name="Text Placeholder 2">
            <a:extLst>
              <a:ext uri="{FF2B5EF4-FFF2-40B4-BE49-F238E27FC236}">
                <a16:creationId xmlns:a16="http://schemas.microsoft.com/office/drawing/2014/main" id="{529934C0-6212-394B-AE02-FA7F95B14BD7}"/>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2570AB4-7D73-5343-8DA3-5C561F1F728C}"/>
              </a:ext>
            </a:extLst>
          </p:cNvPr>
          <p:cNvSpPr>
            <a:spLocks noGrp="1"/>
          </p:cNvSpPr>
          <p:nvPr>
            <p:ph type="body" sz="quarter" idx="11"/>
          </p:nvPr>
        </p:nvSpPr>
        <p:spPr/>
        <p:txBody>
          <a:bodyPr/>
          <a:lstStyle/>
          <a:p>
            <a:endParaRPr lang="en-US"/>
          </a:p>
        </p:txBody>
      </p:sp>
      <p:sp>
        <p:nvSpPr>
          <p:cNvPr id="5" name="Text Placeholder 4">
            <a:extLst>
              <a:ext uri="{FF2B5EF4-FFF2-40B4-BE49-F238E27FC236}">
                <a16:creationId xmlns:a16="http://schemas.microsoft.com/office/drawing/2014/main" id="{C39E10BC-A78A-C24F-86CF-E855CE122CBB}"/>
              </a:ext>
            </a:extLst>
          </p:cNvPr>
          <p:cNvSpPr>
            <a:spLocks noGrp="1"/>
          </p:cNvSpPr>
          <p:nvPr>
            <p:ph type="body" sz="quarter" idx="14"/>
          </p:nvPr>
        </p:nvSpPr>
        <p:spPr/>
        <p:txBody>
          <a:bodyPr/>
          <a:lstStyle/>
          <a:p>
            <a:endParaRPr lang="en-US"/>
          </a:p>
        </p:txBody>
      </p:sp>
      <p:sp>
        <p:nvSpPr>
          <p:cNvPr id="6" name="Text Placeholder 5">
            <a:extLst>
              <a:ext uri="{FF2B5EF4-FFF2-40B4-BE49-F238E27FC236}">
                <a16:creationId xmlns:a16="http://schemas.microsoft.com/office/drawing/2014/main" id="{C9ED8F62-625B-3C4E-A754-A70965B1D5E5}"/>
              </a:ext>
            </a:extLst>
          </p:cNvPr>
          <p:cNvSpPr>
            <a:spLocks noGrp="1"/>
          </p:cNvSpPr>
          <p:nvPr>
            <p:ph type="body" sz="quarter" idx="18"/>
          </p:nvPr>
        </p:nvSpPr>
        <p:spPr/>
        <p:txBody>
          <a:bodyPr/>
          <a:lstStyle/>
          <a:p>
            <a:endParaRPr lang="en-US"/>
          </a:p>
        </p:txBody>
      </p:sp>
      <p:sp>
        <p:nvSpPr>
          <p:cNvPr id="7" name="Text Placeholder 6">
            <a:extLst>
              <a:ext uri="{FF2B5EF4-FFF2-40B4-BE49-F238E27FC236}">
                <a16:creationId xmlns:a16="http://schemas.microsoft.com/office/drawing/2014/main" id="{6540FF00-0116-A64A-B4EB-9E001913067A}"/>
              </a:ext>
            </a:extLst>
          </p:cNvPr>
          <p:cNvSpPr>
            <a:spLocks noGrp="1"/>
          </p:cNvSpPr>
          <p:nvPr>
            <p:ph type="body" sz="quarter" idx="19"/>
          </p:nvPr>
        </p:nvSpPr>
        <p:spPr/>
        <p:txBody>
          <a:bodyPr/>
          <a:lstStyle/>
          <a:p>
            <a:endParaRPr lang="en-US"/>
          </a:p>
        </p:txBody>
      </p:sp>
      <p:sp>
        <p:nvSpPr>
          <p:cNvPr id="8" name="Text Placeholder 7">
            <a:extLst>
              <a:ext uri="{FF2B5EF4-FFF2-40B4-BE49-F238E27FC236}">
                <a16:creationId xmlns:a16="http://schemas.microsoft.com/office/drawing/2014/main" id="{50B4E55A-BF5C-AF4D-BB71-8976CCEA29E6}"/>
              </a:ext>
            </a:extLst>
          </p:cNvPr>
          <p:cNvSpPr>
            <a:spLocks noGrp="1"/>
          </p:cNvSpPr>
          <p:nvPr>
            <p:ph type="body" sz="quarter" idx="20"/>
          </p:nvPr>
        </p:nvSpPr>
        <p:spPr/>
        <p:txBody>
          <a:bodyPr/>
          <a:lstStyle/>
          <a:p>
            <a:endParaRPr lang="en-US"/>
          </a:p>
        </p:txBody>
      </p:sp>
      <p:pic>
        <p:nvPicPr>
          <p:cNvPr id="9" name="Image" descr="Image">
            <a:extLst>
              <a:ext uri="{FF2B5EF4-FFF2-40B4-BE49-F238E27FC236}">
                <a16:creationId xmlns:a16="http://schemas.microsoft.com/office/drawing/2014/main" id="{975E5AF8-8508-9444-AF6D-408E8E64BFD0}"/>
              </a:ext>
            </a:extLst>
          </p:cNvPr>
          <p:cNvPicPr>
            <a:picLocks noChangeAspect="1"/>
          </p:cNvPicPr>
          <p:nvPr/>
        </p:nvPicPr>
        <p:blipFill>
          <a:blip r:embed="rId2"/>
          <a:stretch>
            <a:fillRect/>
          </a:stretch>
        </p:blipFill>
        <p:spPr>
          <a:xfrm>
            <a:off x="708213" y="3306753"/>
            <a:ext cx="831278" cy="831278"/>
          </a:xfrm>
          <a:prstGeom prst="rect">
            <a:avLst/>
          </a:prstGeom>
          <a:ln w="3175">
            <a:miter lim="400000"/>
          </a:ln>
        </p:spPr>
      </p:pic>
      <p:pic>
        <p:nvPicPr>
          <p:cNvPr id="10" name="Image" descr="Image">
            <a:extLst>
              <a:ext uri="{FF2B5EF4-FFF2-40B4-BE49-F238E27FC236}">
                <a16:creationId xmlns:a16="http://schemas.microsoft.com/office/drawing/2014/main" id="{AAE09465-3370-DA46-8845-E545D7714DB6}"/>
              </a:ext>
            </a:extLst>
          </p:cNvPr>
          <p:cNvPicPr>
            <a:picLocks noChangeAspect="1"/>
          </p:cNvPicPr>
          <p:nvPr/>
        </p:nvPicPr>
        <p:blipFill>
          <a:blip r:embed="rId3"/>
          <a:stretch>
            <a:fillRect/>
          </a:stretch>
        </p:blipFill>
        <p:spPr>
          <a:xfrm>
            <a:off x="3586092" y="3333548"/>
            <a:ext cx="831278" cy="794381"/>
          </a:xfrm>
          <a:prstGeom prst="rect">
            <a:avLst/>
          </a:prstGeom>
          <a:ln w="3175">
            <a:miter lim="400000"/>
          </a:ln>
        </p:spPr>
      </p:pic>
    </p:spTree>
    <p:extLst>
      <p:ext uri="{BB962C8B-B14F-4D97-AF65-F5344CB8AC3E}">
        <p14:creationId xmlns:p14="http://schemas.microsoft.com/office/powerpoint/2010/main" val="29402534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2806713" y="4289646"/>
            <a:ext cx="0" cy="538833"/>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5129175" y="4289646"/>
            <a:ext cx="0" cy="538833"/>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7333263" y="4289646"/>
            <a:ext cx="0" cy="538833"/>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663197" y="4289646"/>
            <a:ext cx="0" cy="538833"/>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4857564"/>
            <a:ext cx="12192000"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2580682" y="4612767"/>
            <a:ext cx="480780" cy="48077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2002</a:t>
            </a:r>
          </a:p>
        </p:txBody>
      </p:sp>
      <p:sp>
        <p:nvSpPr>
          <p:cNvPr id="11" name="Oval 10"/>
          <p:cNvSpPr/>
          <p:nvPr/>
        </p:nvSpPr>
        <p:spPr>
          <a:xfrm>
            <a:off x="4897774" y="4612767"/>
            <a:ext cx="480780" cy="480778"/>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2011</a:t>
            </a:r>
          </a:p>
        </p:txBody>
      </p:sp>
      <p:sp>
        <p:nvSpPr>
          <p:cNvPr id="12" name="Oval 11"/>
          <p:cNvSpPr/>
          <p:nvPr/>
        </p:nvSpPr>
        <p:spPr>
          <a:xfrm>
            <a:off x="7105715" y="4612767"/>
            <a:ext cx="480780" cy="480778"/>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2013</a:t>
            </a:r>
          </a:p>
        </p:txBody>
      </p:sp>
      <p:sp>
        <p:nvSpPr>
          <p:cNvPr id="13" name="Oval 12"/>
          <p:cNvSpPr/>
          <p:nvPr/>
        </p:nvSpPr>
        <p:spPr>
          <a:xfrm>
            <a:off x="9422807" y="4612767"/>
            <a:ext cx="480780" cy="480778"/>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2016</a:t>
            </a:r>
          </a:p>
        </p:txBody>
      </p:sp>
      <p:sp>
        <p:nvSpPr>
          <p:cNvPr id="14" name="TextBox 13"/>
          <p:cNvSpPr txBox="1"/>
          <p:nvPr/>
        </p:nvSpPr>
        <p:spPr>
          <a:xfrm>
            <a:off x="1887191" y="5227216"/>
            <a:ext cx="1883226" cy="760208"/>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t>
            </a:r>
          </a:p>
        </p:txBody>
      </p:sp>
      <p:sp>
        <p:nvSpPr>
          <p:cNvPr id="15" name="TextBox 14"/>
          <p:cNvSpPr txBox="1"/>
          <p:nvPr/>
        </p:nvSpPr>
        <p:spPr>
          <a:xfrm>
            <a:off x="4203412" y="5227216"/>
            <a:ext cx="1883226" cy="760208"/>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t>
            </a:r>
          </a:p>
        </p:txBody>
      </p:sp>
      <p:sp>
        <p:nvSpPr>
          <p:cNvPr id="16" name="TextBox 15"/>
          <p:cNvSpPr txBox="1"/>
          <p:nvPr/>
        </p:nvSpPr>
        <p:spPr>
          <a:xfrm>
            <a:off x="6404492" y="5227216"/>
            <a:ext cx="1883226" cy="760208"/>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t>
            </a:r>
          </a:p>
        </p:txBody>
      </p:sp>
      <p:sp>
        <p:nvSpPr>
          <p:cNvPr id="17" name="TextBox 16"/>
          <p:cNvSpPr txBox="1"/>
          <p:nvPr/>
        </p:nvSpPr>
        <p:spPr>
          <a:xfrm>
            <a:off x="8721584" y="5227216"/>
            <a:ext cx="1883226" cy="760208"/>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t>
            </a:r>
          </a:p>
        </p:txBody>
      </p:sp>
      <p:sp>
        <p:nvSpPr>
          <p:cNvPr id="3" name="Rectangle 2"/>
          <p:cNvSpPr/>
          <p:nvPr/>
        </p:nvSpPr>
        <p:spPr>
          <a:xfrm>
            <a:off x="1724526" y="4113411"/>
            <a:ext cx="2164374" cy="198537"/>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1" name="Rectangle 20"/>
          <p:cNvSpPr/>
          <p:nvPr/>
        </p:nvSpPr>
        <p:spPr>
          <a:xfrm>
            <a:off x="4015396" y="3864019"/>
            <a:ext cx="2164374" cy="447930"/>
          </a:xfrm>
          <a:prstGeom prst="rect">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2" name="Rectangle 21"/>
          <p:cNvSpPr/>
          <p:nvPr/>
        </p:nvSpPr>
        <p:spPr>
          <a:xfrm>
            <a:off x="6306266" y="3557239"/>
            <a:ext cx="2164374" cy="754709"/>
          </a:xfrm>
          <a:prstGeom prst="rect">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3" name="Rectangle 22"/>
          <p:cNvSpPr/>
          <p:nvPr/>
        </p:nvSpPr>
        <p:spPr>
          <a:xfrm>
            <a:off x="8597136" y="3232657"/>
            <a:ext cx="2164374" cy="1089246"/>
          </a:xfrm>
          <a:prstGeom prst="rect">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6" name="TextBox 25"/>
          <p:cNvSpPr txBox="1"/>
          <p:nvPr/>
        </p:nvSpPr>
        <p:spPr>
          <a:xfrm>
            <a:off x="1724526" y="2843039"/>
            <a:ext cx="1883226" cy="1121846"/>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sp>
        <p:nvSpPr>
          <p:cNvPr id="27" name="Freeform 851"/>
          <p:cNvSpPr>
            <a:spLocks noEditPoints="1"/>
          </p:cNvSpPr>
          <p:nvPr/>
        </p:nvSpPr>
        <p:spPr bwMode="auto">
          <a:xfrm>
            <a:off x="8597136" y="1263780"/>
            <a:ext cx="328539" cy="376247"/>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8" name="Freeform 1050"/>
          <p:cNvSpPr>
            <a:spLocks noEditPoints="1"/>
          </p:cNvSpPr>
          <p:nvPr/>
        </p:nvSpPr>
        <p:spPr bwMode="auto">
          <a:xfrm>
            <a:off x="1727093" y="2339071"/>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9" name="Freeform 1137"/>
          <p:cNvSpPr>
            <a:spLocks noEditPoints="1"/>
          </p:cNvSpPr>
          <p:nvPr/>
        </p:nvSpPr>
        <p:spPr bwMode="auto">
          <a:xfrm>
            <a:off x="6306266" y="1605507"/>
            <a:ext cx="372995" cy="33829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0" name="Freeform 1147"/>
          <p:cNvSpPr>
            <a:spLocks noEditPoints="1"/>
          </p:cNvSpPr>
          <p:nvPr/>
        </p:nvSpPr>
        <p:spPr bwMode="auto">
          <a:xfrm>
            <a:off x="4012885" y="1988466"/>
            <a:ext cx="380584" cy="382753"/>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1" name="TextBox 30"/>
          <p:cNvSpPr txBox="1"/>
          <p:nvPr/>
        </p:nvSpPr>
        <p:spPr>
          <a:xfrm>
            <a:off x="4015396" y="2549494"/>
            <a:ext cx="1883226" cy="1121846"/>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sp>
        <p:nvSpPr>
          <p:cNvPr id="34" name="TextBox 33"/>
          <p:cNvSpPr txBox="1"/>
          <p:nvPr/>
        </p:nvSpPr>
        <p:spPr>
          <a:xfrm>
            <a:off x="6306266" y="2174089"/>
            <a:ext cx="1883226" cy="1121846"/>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sp>
        <p:nvSpPr>
          <p:cNvPr id="35" name="TextBox 34"/>
          <p:cNvSpPr txBox="1"/>
          <p:nvPr/>
        </p:nvSpPr>
        <p:spPr>
          <a:xfrm>
            <a:off x="8597136" y="1842693"/>
            <a:ext cx="1883226" cy="1121846"/>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a:t>
            </a:r>
          </a:p>
        </p:txBody>
      </p:sp>
      <p:sp>
        <p:nvSpPr>
          <p:cNvPr id="32" name="Text Placeholder 6">
            <a:extLst>
              <a:ext uri="{FF2B5EF4-FFF2-40B4-BE49-F238E27FC236}">
                <a16:creationId xmlns:a16="http://schemas.microsoft.com/office/drawing/2014/main" id="{448C726B-26ED-4D47-978E-C04887FE4F5C}"/>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65120121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2817380" y="2521763"/>
            <a:ext cx="1995134" cy="1995130"/>
          </a:xfrm>
          <a:prstGeom prst="ellipse">
            <a:avLst/>
          </a:pr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latin typeface="RBC Text" panose="02000000000000000000" pitchFamily="2" charset="77"/>
            </a:endParaRPr>
          </a:p>
        </p:txBody>
      </p:sp>
      <p:sp>
        <p:nvSpPr>
          <p:cNvPr id="7" name="TextBox 6"/>
          <p:cNvSpPr txBox="1"/>
          <p:nvPr/>
        </p:nvSpPr>
        <p:spPr>
          <a:xfrm>
            <a:off x="2625416" y="4793595"/>
            <a:ext cx="2379062"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or a noble picture, or a passage from the grander poets. </a:t>
            </a:r>
          </a:p>
        </p:txBody>
      </p:sp>
      <p:sp>
        <p:nvSpPr>
          <p:cNvPr id="9" name="Oval 8"/>
          <p:cNvSpPr/>
          <p:nvPr/>
        </p:nvSpPr>
        <p:spPr>
          <a:xfrm>
            <a:off x="4380308" y="2521764"/>
            <a:ext cx="1995134" cy="1995130"/>
          </a:xfrm>
          <a:prstGeom prst="ellipse">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latin typeface="RBC Text" panose="02000000000000000000" pitchFamily="2" charset="77"/>
            </a:endParaRPr>
          </a:p>
        </p:txBody>
      </p:sp>
      <p:sp>
        <p:nvSpPr>
          <p:cNvPr id="11" name="Oval 10"/>
          <p:cNvSpPr/>
          <p:nvPr/>
        </p:nvSpPr>
        <p:spPr>
          <a:xfrm>
            <a:off x="5991495" y="2521765"/>
            <a:ext cx="1995134" cy="1995130"/>
          </a:xfrm>
          <a:prstGeom prst="ellipse">
            <a:avLst/>
          </a:prstGeom>
          <a:no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latin typeface="RBC Text" panose="02000000000000000000" pitchFamily="2" charset="77"/>
            </a:endParaRPr>
          </a:p>
        </p:txBody>
      </p:sp>
      <p:sp>
        <p:nvSpPr>
          <p:cNvPr id="13" name="Oval 12"/>
          <p:cNvSpPr/>
          <p:nvPr/>
        </p:nvSpPr>
        <p:spPr>
          <a:xfrm>
            <a:off x="7619441" y="2521765"/>
            <a:ext cx="1995134" cy="1995130"/>
          </a:xfrm>
          <a:prstGeom prst="ellipse">
            <a:avLst/>
          </a:prstGeom>
          <a:no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latin typeface="RBC Text" panose="02000000000000000000" pitchFamily="2" charset="77"/>
            </a:endParaRPr>
          </a:p>
        </p:txBody>
      </p:sp>
      <p:sp>
        <p:nvSpPr>
          <p:cNvPr id="14" name="Freeform 851"/>
          <p:cNvSpPr>
            <a:spLocks noEditPoints="1"/>
          </p:cNvSpPr>
          <p:nvPr/>
        </p:nvSpPr>
        <p:spPr bwMode="auto">
          <a:xfrm>
            <a:off x="8464070" y="3305839"/>
            <a:ext cx="328539" cy="376247"/>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5" name="Freeform 1050"/>
          <p:cNvSpPr>
            <a:spLocks noEditPoints="1"/>
          </p:cNvSpPr>
          <p:nvPr/>
        </p:nvSpPr>
        <p:spPr bwMode="auto">
          <a:xfrm>
            <a:off x="3599412" y="3366018"/>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6" name="Freeform 1137"/>
          <p:cNvSpPr>
            <a:spLocks noEditPoints="1"/>
          </p:cNvSpPr>
          <p:nvPr/>
        </p:nvSpPr>
        <p:spPr bwMode="auto">
          <a:xfrm>
            <a:off x="6806007" y="3366018"/>
            <a:ext cx="372995" cy="33829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7" name="Freeform 1147"/>
          <p:cNvSpPr>
            <a:spLocks noEditPoints="1"/>
          </p:cNvSpPr>
          <p:nvPr/>
        </p:nvSpPr>
        <p:spPr bwMode="auto">
          <a:xfrm>
            <a:off x="5170472" y="3343790"/>
            <a:ext cx="380584" cy="382753"/>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8" name="TextBox 17"/>
          <p:cNvSpPr txBox="1"/>
          <p:nvPr/>
        </p:nvSpPr>
        <p:spPr>
          <a:xfrm>
            <a:off x="5799531" y="4793595"/>
            <a:ext cx="2379062"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or a noble picture, or a passage from the grander poets. </a:t>
            </a:r>
          </a:p>
        </p:txBody>
      </p:sp>
      <p:sp>
        <p:nvSpPr>
          <p:cNvPr id="19" name="TextBox 18"/>
          <p:cNvSpPr txBox="1"/>
          <p:nvPr/>
        </p:nvSpPr>
        <p:spPr>
          <a:xfrm>
            <a:off x="4203055" y="1200765"/>
            <a:ext cx="2379062"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or a noble picture, or a passage from the grander poets. </a:t>
            </a:r>
          </a:p>
        </p:txBody>
      </p:sp>
      <p:sp>
        <p:nvSpPr>
          <p:cNvPr id="20" name="TextBox 19"/>
          <p:cNvSpPr txBox="1"/>
          <p:nvPr/>
        </p:nvSpPr>
        <p:spPr>
          <a:xfrm>
            <a:off x="7427477" y="1200765"/>
            <a:ext cx="2379062"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or a noble picture, or a passage from the grander poets. </a:t>
            </a:r>
          </a:p>
        </p:txBody>
      </p:sp>
      <p:sp>
        <p:nvSpPr>
          <p:cNvPr id="22" name="Oval 21"/>
          <p:cNvSpPr/>
          <p:nvPr/>
        </p:nvSpPr>
        <p:spPr>
          <a:xfrm>
            <a:off x="3654721" y="4343559"/>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23" name="Oval 22"/>
          <p:cNvSpPr/>
          <p:nvPr/>
        </p:nvSpPr>
        <p:spPr>
          <a:xfrm>
            <a:off x="6821667" y="4343559"/>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24" name="Oval 23"/>
          <p:cNvSpPr/>
          <p:nvPr/>
        </p:nvSpPr>
        <p:spPr>
          <a:xfrm>
            <a:off x="5215904" y="2357832"/>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25" name="Oval 24"/>
          <p:cNvSpPr/>
          <p:nvPr/>
        </p:nvSpPr>
        <p:spPr>
          <a:xfrm>
            <a:off x="8449756" y="2357832"/>
            <a:ext cx="343116" cy="343114"/>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26" name="Text Placeholder 6">
            <a:extLst>
              <a:ext uri="{FF2B5EF4-FFF2-40B4-BE49-F238E27FC236}">
                <a16:creationId xmlns:a16="http://schemas.microsoft.com/office/drawing/2014/main" id="{D673FCAE-6159-974D-A509-7221A015B362}"/>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9612242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E8723048-46CA-4322-819B-A9488182510C}"/>
              </a:ext>
            </a:extLst>
          </p:cNvPr>
          <p:cNvSpPr>
            <a:spLocks noChangeArrowheads="1"/>
          </p:cNvSpPr>
          <p:nvPr/>
        </p:nvSpPr>
        <p:spPr bwMode="auto">
          <a:xfrm>
            <a:off x="6493959" y="2409387"/>
            <a:ext cx="2834595" cy="2828755"/>
          </a:xfrm>
          <a:prstGeom prst="ellipse">
            <a:avLst/>
          </a:prstGeom>
          <a:noFill/>
          <a:ln w="12700">
            <a:solidFill>
              <a:schemeClr val="tx1">
                <a:alpha val="20000"/>
              </a:schemeClr>
            </a:solidFill>
          </a:ln>
        </p:spPr>
        <p:txBody>
          <a:bodyPr vert="horz" wrap="square" lIns="91440" tIns="45720" rIns="91440" bIns="45720" numCol="1" anchor="ctr" anchorCtr="0" compatLnSpc="1">
            <a:prstTxWarp prst="textNoShape">
              <a:avLst/>
            </a:prstTxWarp>
          </a:bodyPr>
          <a:lstStyle/>
          <a:p>
            <a:pPr algn="ctr"/>
            <a:r>
              <a:rPr lang="en-US" dirty="0">
                <a:latin typeface="RBC Text" panose="02000000000000000000" pitchFamily="2" charset="77"/>
              </a:rPr>
              <a:t>Core Values</a:t>
            </a:r>
          </a:p>
        </p:txBody>
      </p:sp>
      <p:sp>
        <p:nvSpPr>
          <p:cNvPr id="2" name="Title 1"/>
          <p:cNvSpPr>
            <a:spLocks noGrp="1"/>
          </p:cNvSpPr>
          <p:nvPr>
            <p:ph type="title"/>
          </p:nvPr>
        </p:nvSpPr>
        <p:spPr/>
        <p:txBody>
          <a:bodyPr/>
          <a:lstStyle/>
          <a:p>
            <a:r>
              <a:rPr lang="en-US"/>
              <a:t>Core values</a:t>
            </a:r>
            <a:br>
              <a:rPr lang="en-US"/>
            </a:br>
            <a:r>
              <a:rPr lang="en-US"/>
              <a:t>infographic</a:t>
            </a:r>
            <a:endParaRPr lang="en-US" dirty="0"/>
          </a:p>
        </p:txBody>
      </p:sp>
      <p:sp>
        <p:nvSpPr>
          <p:cNvPr id="5" name="AutoShape 3">
            <a:extLst>
              <a:ext uri="{FF2B5EF4-FFF2-40B4-BE49-F238E27FC236}">
                <a16:creationId xmlns:a16="http://schemas.microsoft.com/office/drawing/2014/main" id="{F21922E0-F438-49DA-AA1A-BB07318877A8}"/>
              </a:ext>
            </a:extLst>
          </p:cNvPr>
          <p:cNvSpPr>
            <a:spLocks noChangeAspect="1" noChangeArrowheads="1" noTextEdit="1"/>
          </p:cNvSpPr>
          <p:nvPr/>
        </p:nvSpPr>
        <p:spPr bwMode="auto">
          <a:xfrm>
            <a:off x="5255941" y="906246"/>
            <a:ext cx="5293112" cy="5045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7" name="Oval 6">
            <a:extLst>
              <a:ext uri="{FF2B5EF4-FFF2-40B4-BE49-F238E27FC236}">
                <a16:creationId xmlns:a16="http://schemas.microsoft.com/office/drawing/2014/main" id="{E9F052DC-205D-4295-B42E-10644EB12BAB}"/>
              </a:ext>
            </a:extLst>
          </p:cNvPr>
          <p:cNvSpPr>
            <a:spLocks noChangeArrowheads="1"/>
          </p:cNvSpPr>
          <p:nvPr/>
        </p:nvSpPr>
        <p:spPr bwMode="auto">
          <a:xfrm>
            <a:off x="8783125" y="3956910"/>
            <a:ext cx="1764760" cy="1761256"/>
          </a:xfrm>
          <a:prstGeom prst="ellipse">
            <a:avLst/>
          </a:prstGeom>
          <a:solidFill>
            <a:schemeClr val="bg1"/>
          </a:solidFill>
          <a:ln w="25400">
            <a:solidFill>
              <a:schemeClr val="accent3"/>
            </a:solidFill>
          </a:ln>
        </p:spPr>
        <p:txBody>
          <a:bodyPr vert="horz" wrap="square" lIns="0" tIns="360000" rIns="0" bIns="0" numCol="1" anchor="ctr" anchorCtr="0" compatLnSpc="1">
            <a:prstTxWarp prst="textNoShape">
              <a:avLst/>
            </a:prstTxWarp>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a:t>
            </a:r>
          </a:p>
        </p:txBody>
      </p:sp>
      <p:sp>
        <p:nvSpPr>
          <p:cNvPr id="8" name="Oval 7">
            <a:extLst>
              <a:ext uri="{FF2B5EF4-FFF2-40B4-BE49-F238E27FC236}">
                <a16:creationId xmlns:a16="http://schemas.microsoft.com/office/drawing/2014/main" id="{B6CFDBFF-32B2-4EFB-B9A2-494688E171E2}"/>
              </a:ext>
            </a:extLst>
          </p:cNvPr>
          <p:cNvSpPr>
            <a:spLocks noChangeArrowheads="1"/>
          </p:cNvSpPr>
          <p:nvPr/>
        </p:nvSpPr>
        <p:spPr bwMode="auto">
          <a:xfrm>
            <a:off x="5255941" y="3956910"/>
            <a:ext cx="1765928" cy="1761256"/>
          </a:xfrm>
          <a:prstGeom prst="ellipse">
            <a:avLst/>
          </a:prstGeom>
          <a:solidFill>
            <a:schemeClr val="bg1"/>
          </a:solidFill>
          <a:ln w="25400">
            <a:solidFill>
              <a:schemeClr val="accent1"/>
            </a:solidFill>
          </a:ln>
        </p:spPr>
        <p:txBody>
          <a:bodyPr vert="horz" wrap="square" lIns="0" tIns="360000" rIns="0" bIns="0" numCol="1" anchor="ctr" anchorCtr="0" compatLnSpc="1">
            <a:prstTxWarp prst="textNoShape">
              <a:avLst/>
            </a:prstTxWarp>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a:t>
            </a:r>
          </a:p>
        </p:txBody>
      </p:sp>
      <p:sp>
        <p:nvSpPr>
          <p:cNvPr id="9" name="Oval 8">
            <a:extLst>
              <a:ext uri="{FF2B5EF4-FFF2-40B4-BE49-F238E27FC236}">
                <a16:creationId xmlns:a16="http://schemas.microsoft.com/office/drawing/2014/main" id="{DE8303A8-B9A7-4062-A59A-0EF120E9F6B4}"/>
              </a:ext>
            </a:extLst>
          </p:cNvPr>
          <p:cNvSpPr>
            <a:spLocks noChangeArrowheads="1"/>
          </p:cNvSpPr>
          <p:nvPr/>
        </p:nvSpPr>
        <p:spPr bwMode="auto">
          <a:xfrm>
            <a:off x="7017197" y="906246"/>
            <a:ext cx="1764760" cy="1761256"/>
          </a:xfrm>
          <a:prstGeom prst="ellipse">
            <a:avLst/>
          </a:prstGeom>
          <a:solidFill>
            <a:schemeClr val="bg1"/>
          </a:solidFill>
          <a:ln w="25400">
            <a:solidFill>
              <a:schemeClr val="accent2"/>
            </a:solidFill>
          </a:ln>
        </p:spPr>
        <p:txBody>
          <a:bodyPr vert="horz" wrap="square" lIns="0" tIns="360000" rIns="0" bIns="0" numCol="1" anchor="ctr" anchorCtr="0" compatLnSpc="1">
            <a:prstTxWarp prst="textNoShape">
              <a:avLst/>
            </a:prstTxWarp>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a:t>
            </a:r>
          </a:p>
        </p:txBody>
      </p:sp>
      <p:sp>
        <p:nvSpPr>
          <p:cNvPr id="146" name="Freeform 145">
            <a:extLst>
              <a:ext uri="{FF2B5EF4-FFF2-40B4-BE49-F238E27FC236}">
                <a16:creationId xmlns:a16="http://schemas.microsoft.com/office/drawing/2014/main" id="{9467B36F-7098-4EA0-BA88-68D58345546D}"/>
              </a:ext>
            </a:extLst>
          </p:cNvPr>
          <p:cNvSpPr>
            <a:spLocks noEditPoints="1"/>
          </p:cNvSpPr>
          <p:nvPr/>
        </p:nvSpPr>
        <p:spPr bwMode="auto">
          <a:xfrm>
            <a:off x="6729883" y="5542974"/>
            <a:ext cx="2277486" cy="408780"/>
          </a:xfrm>
          <a:custGeom>
            <a:avLst/>
            <a:gdLst>
              <a:gd name="T0" fmla="*/ 11 w 1950"/>
              <a:gd name="T1" fmla="*/ 56 h 350"/>
              <a:gd name="T2" fmla="*/ 51 w 1950"/>
              <a:gd name="T3" fmla="*/ 24 h 350"/>
              <a:gd name="T4" fmla="*/ 1789 w 1950"/>
              <a:gd name="T5" fmla="*/ 36 h 350"/>
              <a:gd name="T6" fmla="*/ 1835 w 1950"/>
              <a:gd name="T7" fmla="*/ 150 h 350"/>
              <a:gd name="T8" fmla="*/ 1793 w 1950"/>
              <a:gd name="T9" fmla="*/ 115 h 350"/>
              <a:gd name="T10" fmla="*/ 1828 w 1950"/>
              <a:gd name="T11" fmla="*/ 98 h 350"/>
              <a:gd name="T12" fmla="*/ 1742 w 1950"/>
              <a:gd name="T13" fmla="*/ 194 h 350"/>
              <a:gd name="T14" fmla="*/ 1702 w 1950"/>
              <a:gd name="T15" fmla="*/ 157 h 350"/>
              <a:gd name="T16" fmla="*/ 1739 w 1950"/>
              <a:gd name="T17" fmla="*/ 142 h 350"/>
              <a:gd name="T18" fmla="*/ 1654 w 1950"/>
              <a:gd name="T19" fmla="*/ 230 h 350"/>
              <a:gd name="T20" fmla="*/ 1610 w 1950"/>
              <a:gd name="T21" fmla="*/ 194 h 350"/>
              <a:gd name="T22" fmla="*/ 1646 w 1950"/>
              <a:gd name="T23" fmla="*/ 180 h 350"/>
              <a:gd name="T24" fmla="*/ 1564 w 1950"/>
              <a:gd name="T25" fmla="*/ 262 h 350"/>
              <a:gd name="T26" fmla="*/ 1516 w 1950"/>
              <a:gd name="T27" fmla="*/ 225 h 350"/>
              <a:gd name="T28" fmla="*/ 1552 w 1950"/>
              <a:gd name="T29" fmla="*/ 214 h 350"/>
              <a:gd name="T30" fmla="*/ 1469 w 1950"/>
              <a:gd name="T31" fmla="*/ 290 h 350"/>
              <a:gd name="T32" fmla="*/ 1422 w 1950"/>
              <a:gd name="T33" fmla="*/ 250 h 350"/>
              <a:gd name="T34" fmla="*/ 1460 w 1950"/>
              <a:gd name="T35" fmla="*/ 241 h 350"/>
              <a:gd name="T36" fmla="*/ 1369 w 1950"/>
              <a:gd name="T37" fmla="*/ 313 h 350"/>
              <a:gd name="T38" fmla="*/ 1327 w 1950"/>
              <a:gd name="T39" fmla="*/ 270 h 350"/>
              <a:gd name="T40" fmla="*/ 1363 w 1950"/>
              <a:gd name="T41" fmla="*/ 264 h 350"/>
              <a:gd name="T42" fmla="*/ 1275 w 1950"/>
              <a:gd name="T43" fmla="*/ 329 h 350"/>
              <a:gd name="T44" fmla="*/ 1238 w 1950"/>
              <a:gd name="T45" fmla="*/ 334 h 350"/>
              <a:gd name="T46" fmla="*/ 1264 w 1950"/>
              <a:gd name="T47" fmla="*/ 281 h 350"/>
              <a:gd name="T48" fmla="*/ 1181 w 1950"/>
              <a:gd name="T49" fmla="*/ 341 h 350"/>
              <a:gd name="T50" fmla="*/ 1140 w 1950"/>
              <a:gd name="T51" fmla="*/ 344 h 350"/>
              <a:gd name="T52" fmla="*/ 1165 w 1950"/>
              <a:gd name="T53" fmla="*/ 293 h 350"/>
              <a:gd name="T54" fmla="*/ 1085 w 1950"/>
              <a:gd name="T55" fmla="*/ 348 h 350"/>
              <a:gd name="T56" fmla="*/ 1045 w 1950"/>
              <a:gd name="T57" fmla="*/ 349 h 350"/>
              <a:gd name="T58" fmla="*/ 1065 w 1950"/>
              <a:gd name="T59" fmla="*/ 299 h 350"/>
              <a:gd name="T60" fmla="*/ 987 w 1950"/>
              <a:gd name="T61" fmla="*/ 350 h 350"/>
              <a:gd name="T62" fmla="*/ 941 w 1950"/>
              <a:gd name="T63" fmla="*/ 349 h 350"/>
              <a:gd name="T64" fmla="*/ 976 w 1950"/>
              <a:gd name="T65" fmla="*/ 300 h 350"/>
              <a:gd name="T66" fmla="*/ 875 w 1950"/>
              <a:gd name="T67" fmla="*/ 345 h 350"/>
              <a:gd name="T68" fmla="*/ 846 w 1950"/>
              <a:gd name="T69" fmla="*/ 293 h 350"/>
              <a:gd name="T70" fmla="*/ 890 w 1950"/>
              <a:gd name="T71" fmla="*/ 296 h 350"/>
              <a:gd name="T72" fmla="*/ 763 w 1950"/>
              <a:gd name="T73" fmla="*/ 333 h 350"/>
              <a:gd name="T74" fmla="*/ 761 w 1950"/>
              <a:gd name="T75" fmla="*/ 284 h 350"/>
              <a:gd name="T76" fmla="*/ 700 w 1950"/>
              <a:gd name="T77" fmla="*/ 274 h 350"/>
              <a:gd name="T78" fmla="*/ 653 w 1950"/>
              <a:gd name="T79" fmla="*/ 316 h 350"/>
              <a:gd name="T80" fmla="*/ 678 w 1950"/>
              <a:gd name="T81" fmla="*/ 270 h 350"/>
              <a:gd name="T82" fmla="*/ 588 w 1950"/>
              <a:gd name="T83" fmla="*/ 301 h 350"/>
              <a:gd name="T84" fmla="*/ 545 w 1950"/>
              <a:gd name="T85" fmla="*/ 291 h 350"/>
              <a:gd name="T86" fmla="*/ 595 w 1950"/>
              <a:gd name="T87" fmla="*/ 253 h 350"/>
              <a:gd name="T88" fmla="*/ 480 w 1950"/>
              <a:gd name="T89" fmla="*/ 273 h 350"/>
              <a:gd name="T90" fmla="*/ 471 w 1950"/>
              <a:gd name="T91" fmla="*/ 219 h 350"/>
              <a:gd name="T92" fmla="*/ 510 w 1950"/>
              <a:gd name="T93" fmla="*/ 231 h 350"/>
              <a:gd name="T94" fmla="*/ 374 w 1950"/>
              <a:gd name="T95" fmla="*/ 237 h 350"/>
              <a:gd name="T96" fmla="*/ 391 w 1950"/>
              <a:gd name="T97" fmla="*/ 191 h 350"/>
              <a:gd name="T98" fmla="*/ 308 w 1950"/>
              <a:gd name="T99" fmla="*/ 212 h 350"/>
              <a:gd name="T100" fmla="*/ 270 w 1950"/>
              <a:gd name="T101" fmla="*/ 196 h 350"/>
              <a:gd name="T102" fmla="*/ 305 w 1950"/>
              <a:gd name="T103" fmla="*/ 157 h 350"/>
              <a:gd name="T104" fmla="*/ 214 w 1950"/>
              <a:gd name="T105" fmla="*/ 170 h 350"/>
              <a:gd name="T106" fmla="*/ 173 w 1950"/>
              <a:gd name="T107" fmla="*/ 150 h 350"/>
              <a:gd name="T108" fmla="*/ 224 w 1950"/>
              <a:gd name="T109" fmla="*/ 120 h 350"/>
              <a:gd name="T110" fmla="*/ 114 w 1950"/>
              <a:gd name="T111" fmla="*/ 118 h 350"/>
              <a:gd name="T112" fmla="*/ 110 w 1950"/>
              <a:gd name="T113" fmla="*/ 59 h 350"/>
              <a:gd name="T114" fmla="*/ 149 w 1950"/>
              <a:gd name="T115" fmla="*/ 8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50" h="350">
                <a:moveTo>
                  <a:pt x="68" y="34"/>
                </a:moveTo>
                <a:lnTo>
                  <a:pt x="42" y="76"/>
                </a:lnTo>
                <a:lnTo>
                  <a:pt x="39" y="74"/>
                </a:lnTo>
                <a:lnTo>
                  <a:pt x="35" y="72"/>
                </a:lnTo>
                <a:lnTo>
                  <a:pt x="31" y="70"/>
                </a:lnTo>
                <a:lnTo>
                  <a:pt x="28" y="67"/>
                </a:lnTo>
                <a:lnTo>
                  <a:pt x="25" y="65"/>
                </a:lnTo>
                <a:lnTo>
                  <a:pt x="21" y="63"/>
                </a:lnTo>
                <a:lnTo>
                  <a:pt x="18" y="61"/>
                </a:lnTo>
                <a:lnTo>
                  <a:pt x="14" y="58"/>
                </a:lnTo>
                <a:lnTo>
                  <a:pt x="11" y="56"/>
                </a:lnTo>
                <a:lnTo>
                  <a:pt x="7" y="54"/>
                </a:lnTo>
                <a:lnTo>
                  <a:pt x="3" y="52"/>
                </a:lnTo>
                <a:lnTo>
                  <a:pt x="0" y="50"/>
                </a:lnTo>
                <a:lnTo>
                  <a:pt x="27" y="8"/>
                </a:lnTo>
                <a:lnTo>
                  <a:pt x="30" y="11"/>
                </a:lnTo>
                <a:lnTo>
                  <a:pt x="34" y="13"/>
                </a:lnTo>
                <a:lnTo>
                  <a:pt x="37" y="15"/>
                </a:lnTo>
                <a:lnTo>
                  <a:pt x="41" y="17"/>
                </a:lnTo>
                <a:lnTo>
                  <a:pt x="44" y="19"/>
                </a:lnTo>
                <a:lnTo>
                  <a:pt x="48" y="22"/>
                </a:lnTo>
                <a:lnTo>
                  <a:pt x="51" y="24"/>
                </a:lnTo>
                <a:lnTo>
                  <a:pt x="55" y="26"/>
                </a:lnTo>
                <a:lnTo>
                  <a:pt x="58" y="28"/>
                </a:lnTo>
                <a:lnTo>
                  <a:pt x="61" y="30"/>
                </a:lnTo>
                <a:lnTo>
                  <a:pt x="65" y="32"/>
                </a:lnTo>
                <a:lnTo>
                  <a:pt x="68" y="34"/>
                </a:lnTo>
                <a:lnTo>
                  <a:pt x="68" y="34"/>
                </a:lnTo>
                <a:close/>
                <a:moveTo>
                  <a:pt x="1945" y="61"/>
                </a:moveTo>
                <a:lnTo>
                  <a:pt x="1950" y="171"/>
                </a:lnTo>
                <a:lnTo>
                  <a:pt x="1886" y="207"/>
                </a:lnTo>
                <a:lnTo>
                  <a:pt x="1880" y="98"/>
                </a:lnTo>
                <a:lnTo>
                  <a:pt x="1789" y="36"/>
                </a:lnTo>
                <a:lnTo>
                  <a:pt x="1853" y="0"/>
                </a:lnTo>
                <a:lnTo>
                  <a:pt x="1945" y="61"/>
                </a:lnTo>
                <a:lnTo>
                  <a:pt x="1945" y="61"/>
                </a:lnTo>
                <a:close/>
                <a:moveTo>
                  <a:pt x="1830" y="97"/>
                </a:moveTo>
                <a:lnTo>
                  <a:pt x="1853" y="140"/>
                </a:lnTo>
                <a:lnTo>
                  <a:pt x="1851" y="142"/>
                </a:lnTo>
                <a:lnTo>
                  <a:pt x="1848" y="143"/>
                </a:lnTo>
                <a:lnTo>
                  <a:pt x="1845" y="144"/>
                </a:lnTo>
                <a:lnTo>
                  <a:pt x="1842" y="146"/>
                </a:lnTo>
                <a:lnTo>
                  <a:pt x="1838" y="148"/>
                </a:lnTo>
                <a:lnTo>
                  <a:pt x="1835" y="150"/>
                </a:lnTo>
                <a:lnTo>
                  <a:pt x="1832" y="151"/>
                </a:lnTo>
                <a:lnTo>
                  <a:pt x="1828" y="153"/>
                </a:lnTo>
                <a:lnTo>
                  <a:pt x="1825" y="155"/>
                </a:lnTo>
                <a:lnTo>
                  <a:pt x="1822" y="156"/>
                </a:lnTo>
                <a:lnTo>
                  <a:pt x="1818" y="158"/>
                </a:lnTo>
                <a:lnTo>
                  <a:pt x="1815" y="160"/>
                </a:lnTo>
                <a:lnTo>
                  <a:pt x="1812" y="161"/>
                </a:lnTo>
                <a:lnTo>
                  <a:pt x="1809" y="163"/>
                </a:lnTo>
                <a:lnTo>
                  <a:pt x="1787" y="119"/>
                </a:lnTo>
                <a:lnTo>
                  <a:pt x="1790" y="117"/>
                </a:lnTo>
                <a:lnTo>
                  <a:pt x="1793" y="115"/>
                </a:lnTo>
                <a:lnTo>
                  <a:pt x="1797" y="114"/>
                </a:lnTo>
                <a:lnTo>
                  <a:pt x="1800" y="113"/>
                </a:lnTo>
                <a:lnTo>
                  <a:pt x="1803" y="111"/>
                </a:lnTo>
                <a:lnTo>
                  <a:pt x="1806" y="109"/>
                </a:lnTo>
                <a:lnTo>
                  <a:pt x="1810" y="108"/>
                </a:lnTo>
                <a:lnTo>
                  <a:pt x="1813" y="106"/>
                </a:lnTo>
                <a:lnTo>
                  <a:pt x="1816" y="104"/>
                </a:lnTo>
                <a:lnTo>
                  <a:pt x="1819" y="103"/>
                </a:lnTo>
                <a:lnTo>
                  <a:pt x="1822" y="101"/>
                </a:lnTo>
                <a:lnTo>
                  <a:pt x="1825" y="99"/>
                </a:lnTo>
                <a:lnTo>
                  <a:pt x="1828" y="98"/>
                </a:lnTo>
                <a:lnTo>
                  <a:pt x="1830" y="97"/>
                </a:lnTo>
                <a:lnTo>
                  <a:pt x="1830" y="97"/>
                </a:lnTo>
                <a:close/>
                <a:moveTo>
                  <a:pt x="1743" y="140"/>
                </a:moveTo>
                <a:lnTo>
                  <a:pt x="1764" y="184"/>
                </a:lnTo>
                <a:lnTo>
                  <a:pt x="1762" y="185"/>
                </a:lnTo>
                <a:lnTo>
                  <a:pt x="1759" y="186"/>
                </a:lnTo>
                <a:lnTo>
                  <a:pt x="1755" y="188"/>
                </a:lnTo>
                <a:lnTo>
                  <a:pt x="1752" y="189"/>
                </a:lnTo>
                <a:lnTo>
                  <a:pt x="1748" y="191"/>
                </a:lnTo>
                <a:lnTo>
                  <a:pt x="1746" y="193"/>
                </a:lnTo>
                <a:lnTo>
                  <a:pt x="1742" y="194"/>
                </a:lnTo>
                <a:lnTo>
                  <a:pt x="1739" y="196"/>
                </a:lnTo>
                <a:lnTo>
                  <a:pt x="1735" y="197"/>
                </a:lnTo>
                <a:lnTo>
                  <a:pt x="1732" y="199"/>
                </a:lnTo>
                <a:lnTo>
                  <a:pt x="1728" y="200"/>
                </a:lnTo>
                <a:lnTo>
                  <a:pt x="1725" y="201"/>
                </a:lnTo>
                <a:lnTo>
                  <a:pt x="1722" y="203"/>
                </a:lnTo>
                <a:lnTo>
                  <a:pt x="1718" y="204"/>
                </a:lnTo>
                <a:lnTo>
                  <a:pt x="1718" y="204"/>
                </a:lnTo>
                <a:lnTo>
                  <a:pt x="1699" y="159"/>
                </a:lnTo>
                <a:lnTo>
                  <a:pt x="1699" y="159"/>
                </a:lnTo>
                <a:lnTo>
                  <a:pt x="1702" y="157"/>
                </a:lnTo>
                <a:lnTo>
                  <a:pt x="1706" y="156"/>
                </a:lnTo>
                <a:lnTo>
                  <a:pt x="1709" y="155"/>
                </a:lnTo>
                <a:lnTo>
                  <a:pt x="1712" y="153"/>
                </a:lnTo>
                <a:lnTo>
                  <a:pt x="1715" y="152"/>
                </a:lnTo>
                <a:lnTo>
                  <a:pt x="1719" y="150"/>
                </a:lnTo>
                <a:lnTo>
                  <a:pt x="1722" y="149"/>
                </a:lnTo>
                <a:lnTo>
                  <a:pt x="1725" y="147"/>
                </a:lnTo>
                <a:lnTo>
                  <a:pt x="1729" y="146"/>
                </a:lnTo>
                <a:lnTo>
                  <a:pt x="1732" y="144"/>
                </a:lnTo>
                <a:lnTo>
                  <a:pt x="1735" y="143"/>
                </a:lnTo>
                <a:lnTo>
                  <a:pt x="1739" y="142"/>
                </a:lnTo>
                <a:lnTo>
                  <a:pt x="1742" y="140"/>
                </a:lnTo>
                <a:lnTo>
                  <a:pt x="1743" y="140"/>
                </a:lnTo>
                <a:lnTo>
                  <a:pt x="1743" y="140"/>
                </a:lnTo>
                <a:close/>
                <a:moveTo>
                  <a:pt x="1654" y="177"/>
                </a:moveTo>
                <a:lnTo>
                  <a:pt x="1672" y="223"/>
                </a:lnTo>
                <a:lnTo>
                  <a:pt x="1671" y="224"/>
                </a:lnTo>
                <a:lnTo>
                  <a:pt x="1667" y="225"/>
                </a:lnTo>
                <a:lnTo>
                  <a:pt x="1664" y="226"/>
                </a:lnTo>
                <a:lnTo>
                  <a:pt x="1661" y="228"/>
                </a:lnTo>
                <a:lnTo>
                  <a:pt x="1657" y="229"/>
                </a:lnTo>
                <a:lnTo>
                  <a:pt x="1654" y="230"/>
                </a:lnTo>
                <a:lnTo>
                  <a:pt x="1650" y="232"/>
                </a:lnTo>
                <a:lnTo>
                  <a:pt x="1647" y="232"/>
                </a:lnTo>
                <a:lnTo>
                  <a:pt x="1644" y="234"/>
                </a:lnTo>
                <a:lnTo>
                  <a:pt x="1640" y="235"/>
                </a:lnTo>
                <a:lnTo>
                  <a:pt x="1637" y="236"/>
                </a:lnTo>
                <a:lnTo>
                  <a:pt x="1633" y="238"/>
                </a:lnTo>
                <a:lnTo>
                  <a:pt x="1630" y="239"/>
                </a:lnTo>
                <a:lnTo>
                  <a:pt x="1626" y="240"/>
                </a:lnTo>
                <a:lnTo>
                  <a:pt x="1625" y="241"/>
                </a:lnTo>
                <a:lnTo>
                  <a:pt x="1609" y="195"/>
                </a:lnTo>
                <a:lnTo>
                  <a:pt x="1610" y="194"/>
                </a:lnTo>
                <a:lnTo>
                  <a:pt x="1613" y="193"/>
                </a:lnTo>
                <a:lnTo>
                  <a:pt x="1616" y="192"/>
                </a:lnTo>
                <a:lnTo>
                  <a:pt x="1619" y="190"/>
                </a:lnTo>
                <a:lnTo>
                  <a:pt x="1623" y="189"/>
                </a:lnTo>
                <a:lnTo>
                  <a:pt x="1626" y="188"/>
                </a:lnTo>
                <a:lnTo>
                  <a:pt x="1629" y="187"/>
                </a:lnTo>
                <a:lnTo>
                  <a:pt x="1633" y="185"/>
                </a:lnTo>
                <a:lnTo>
                  <a:pt x="1636" y="184"/>
                </a:lnTo>
                <a:lnTo>
                  <a:pt x="1640" y="183"/>
                </a:lnTo>
                <a:lnTo>
                  <a:pt x="1643" y="182"/>
                </a:lnTo>
                <a:lnTo>
                  <a:pt x="1646" y="180"/>
                </a:lnTo>
                <a:lnTo>
                  <a:pt x="1649" y="179"/>
                </a:lnTo>
                <a:lnTo>
                  <a:pt x="1653" y="178"/>
                </a:lnTo>
                <a:lnTo>
                  <a:pt x="1654" y="177"/>
                </a:lnTo>
                <a:lnTo>
                  <a:pt x="1654" y="177"/>
                </a:lnTo>
                <a:close/>
                <a:moveTo>
                  <a:pt x="1562" y="210"/>
                </a:moveTo>
                <a:lnTo>
                  <a:pt x="1578" y="257"/>
                </a:lnTo>
                <a:lnTo>
                  <a:pt x="1578" y="257"/>
                </a:lnTo>
                <a:lnTo>
                  <a:pt x="1574" y="258"/>
                </a:lnTo>
                <a:lnTo>
                  <a:pt x="1571" y="260"/>
                </a:lnTo>
                <a:lnTo>
                  <a:pt x="1567" y="261"/>
                </a:lnTo>
                <a:lnTo>
                  <a:pt x="1564" y="262"/>
                </a:lnTo>
                <a:lnTo>
                  <a:pt x="1560" y="263"/>
                </a:lnTo>
                <a:lnTo>
                  <a:pt x="1557" y="264"/>
                </a:lnTo>
                <a:lnTo>
                  <a:pt x="1553" y="265"/>
                </a:lnTo>
                <a:lnTo>
                  <a:pt x="1550" y="266"/>
                </a:lnTo>
                <a:lnTo>
                  <a:pt x="1547" y="267"/>
                </a:lnTo>
                <a:lnTo>
                  <a:pt x="1543" y="268"/>
                </a:lnTo>
                <a:lnTo>
                  <a:pt x="1539" y="269"/>
                </a:lnTo>
                <a:lnTo>
                  <a:pt x="1536" y="270"/>
                </a:lnTo>
                <a:lnTo>
                  <a:pt x="1532" y="271"/>
                </a:lnTo>
                <a:lnTo>
                  <a:pt x="1530" y="272"/>
                </a:lnTo>
                <a:lnTo>
                  <a:pt x="1516" y="225"/>
                </a:lnTo>
                <a:lnTo>
                  <a:pt x="1518" y="225"/>
                </a:lnTo>
                <a:lnTo>
                  <a:pt x="1521" y="223"/>
                </a:lnTo>
                <a:lnTo>
                  <a:pt x="1525" y="222"/>
                </a:lnTo>
                <a:lnTo>
                  <a:pt x="1528" y="221"/>
                </a:lnTo>
                <a:lnTo>
                  <a:pt x="1532" y="220"/>
                </a:lnTo>
                <a:lnTo>
                  <a:pt x="1535" y="219"/>
                </a:lnTo>
                <a:lnTo>
                  <a:pt x="1539" y="218"/>
                </a:lnTo>
                <a:lnTo>
                  <a:pt x="1542" y="217"/>
                </a:lnTo>
                <a:lnTo>
                  <a:pt x="1545" y="216"/>
                </a:lnTo>
                <a:lnTo>
                  <a:pt x="1548" y="215"/>
                </a:lnTo>
                <a:lnTo>
                  <a:pt x="1552" y="214"/>
                </a:lnTo>
                <a:lnTo>
                  <a:pt x="1555" y="213"/>
                </a:lnTo>
                <a:lnTo>
                  <a:pt x="1559" y="211"/>
                </a:lnTo>
                <a:lnTo>
                  <a:pt x="1562" y="210"/>
                </a:lnTo>
                <a:lnTo>
                  <a:pt x="1562" y="210"/>
                </a:lnTo>
                <a:lnTo>
                  <a:pt x="1562" y="210"/>
                </a:lnTo>
                <a:close/>
                <a:moveTo>
                  <a:pt x="1470" y="238"/>
                </a:moveTo>
                <a:lnTo>
                  <a:pt x="1482" y="286"/>
                </a:lnTo>
                <a:lnTo>
                  <a:pt x="1480" y="287"/>
                </a:lnTo>
                <a:lnTo>
                  <a:pt x="1476" y="288"/>
                </a:lnTo>
                <a:lnTo>
                  <a:pt x="1472" y="289"/>
                </a:lnTo>
                <a:lnTo>
                  <a:pt x="1469" y="290"/>
                </a:lnTo>
                <a:lnTo>
                  <a:pt x="1465" y="291"/>
                </a:lnTo>
                <a:lnTo>
                  <a:pt x="1462" y="291"/>
                </a:lnTo>
                <a:lnTo>
                  <a:pt x="1458" y="292"/>
                </a:lnTo>
                <a:lnTo>
                  <a:pt x="1454" y="293"/>
                </a:lnTo>
                <a:lnTo>
                  <a:pt x="1451" y="294"/>
                </a:lnTo>
                <a:lnTo>
                  <a:pt x="1448" y="295"/>
                </a:lnTo>
                <a:lnTo>
                  <a:pt x="1444" y="296"/>
                </a:lnTo>
                <a:lnTo>
                  <a:pt x="1441" y="296"/>
                </a:lnTo>
                <a:lnTo>
                  <a:pt x="1437" y="297"/>
                </a:lnTo>
                <a:lnTo>
                  <a:pt x="1434" y="298"/>
                </a:lnTo>
                <a:lnTo>
                  <a:pt x="1422" y="250"/>
                </a:lnTo>
                <a:lnTo>
                  <a:pt x="1425" y="250"/>
                </a:lnTo>
                <a:lnTo>
                  <a:pt x="1429" y="249"/>
                </a:lnTo>
                <a:lnTo>
                  <a:pt x="1432" y="248"/>
                </a:lnTo>
                <a:lnTo>
                  <a:pt x="1436" y="247"/>
                </a:lnTo>
                <a:lnTo>
                  <a:pt x="1439" y="246"/>
                </a:lnTo>
                <a:lnTo>
                  <a:pt x="1443" y="245"/>
                </a:lnTo>
                <a:lnTo>
                  <a:pt x="1446" y="244"/>
                </a:lnTo>
                <a:lnTo>
                  <a:pt x="1449" y="244"/>
                </a:lnTo>
                <a:lnTo>
                  <a:pt x="1453" y="243"/>
                </a:lnTo>
                <a:lnTo>
                  <a:pt x="1456" y="242"/>
                </a:lnTo>
                <a:lnTo>
                  <a:pt x="1460" y="241"/>
                </a:lnTo>
                <a:lnTo>
                  <a:pt x="1463" y="240"/>
                </a:lnTo>
                <a:lnTo>
                  <a:pt x="1467" y="239"/>
                </a:lnTo>
                <a:lnTo>
                  <a:pt x="1470" y="238"/>
                </a:lnTo>
                <a:lnTo>
                  <a:pt x="1470" y="238"/>
                </a:lnTo>
                <a:close/>
                <a:moveTo>
                  <a:pt x="1375" y="261"/>
                </a:moveTo>
                <a:lnTo>
                  <a:pt x="1385" y="309"/>
                </a:lnTo>
                <a:lnTo>
                  <a:pt x="1383" y="310"/>
                </a:lnTo>
                <a:lnTo>
                  <a:pt x="1380" y="310"/>
                </a:lnTo>
                <a:lnTo>
                  <a:pt x="1376" y="311"/>
                </a:lnTo>
                <a:lnTo>
                  <a:pt x="1373" y="312"/>
                </a:lnTo>
                <a:lnTo>
                  <a:pt x="1369" y="313"/>
                </a:lnTo>
                <a:lnTo>
                  <a:pt x="1365" y="313"/>
                </a:lnTo>
                <a:lnTo>
                  <a:pt x="1362" y="314"/>
                </a:lnTo>
                <a:lnTo>
                  <a:pt x="1358" y="315"/>
                </a:lnTo>
                <a:lnTo>
                  <a:pt x="1354" y="316"/>
                </a:lnTo>
                <a:lnTo>
                  <a:pt x="1351" y="316"/>
                </a:lnTo>
                <a:lnTo>
                  <a:pt x="1348" y="317"/>
                </a:lnTo>
                <a:lnTo>
                  <a:pt x="1344" y="318"/>
                </a:lnTo>
                <a:lnTo>
                  <a:pt x="1340" y="318"/>
                </a:lnTo>
                <a:lnTo>
                  <a:pt x="1337" y="319"/>
                </a:lnTo>
                <a:lnTo>
                  <a:pt x="1336" y="319"/>
                </a:lnTo>
                <a:lnTo>
                  <a:pt x="1327" y="270"/>
                </a:lnTo>
                <a:lnTo>
                  <a:pt x="1328" y="270"/>
                </a:lnTo>
                <a:lnTo>
                  <a:pt x="1331" y="270"/>
                </a:lnTo>
                <a:lnTo>
                  <a:pt x="1335" y="269"/>
                </a:lnTo>
                <a:lnTo>
                  <a:pt x="1338" y="268"/>
                </a:lnTo>
                <a:lnTo>
                  <a:pt x="1342" y="268"/>
                </a:lnTo>
                <a:lnTo>
                  <a:pt x="1345" y="267"/>
                </a:lnTo>
                <a:lnTo>
                  <a:pt x="1349" y="266"/>
                </a:lnTo>
                <a:lnTo>
                  <a:pt x="1352" y="266"/>
                </a:lnTo>
                <a:lnTo>
                  <a:pt x="1355" y="265"/>
                </a:lnTo>
                <a:lnTo>
                  <a:pt x="1359" y="264"/>
                </a:lnTo>
                <a:lnTo>
                  <a:pt x="1363" y="264"/>
                </a:lnTo>
                <a:lnTo>
                  <a:pt x="1366" y="263"/>
                </a:lnTo>
                <a:lnTo>
                  <a:pt x="1370" y="262"/>
                </a:lnTo>
                <a:lnTo>
                  <a:pt x="1373" y="262"/>
                </a:lnTo>
                <a:lnTo>
                  <a:pt x="1375" y="261"/>
                </a:lnTo>
                <a:lnTo>
                  <a:pt x="1375" y="261"/>
                </a:lnTo>
                <a:close/>
                <a:moveTo>
                  <a:pt x="1280" y="279"/>
                </a:moveTo>
                <a:lnTo>
                  <a:pt x="1287" y="327"/>
                </a:lnTo>
                <a:lnTo>
                  <a:pt x="1286" y="327"/>
                </a:lnTo>
                <a:lnTo>
                  <a:pt x="1283" y="328"/>
                </a:lnTo>
                <a:lnTo>
                  <a:pt x="1279" y="329"/>
                </a:lnTo>
                <a:lnTo>
                  <a:pt x="1275" y="329"/>
                </a:lnTo>
                <a:lnTo>
                  <a:pt x="1272" y="330"/>
                </a:lnTo>
                <a:lnTo>
                  <a:pt x="1268" y="330"/>
                </a:lnTo>
                <a:lnTo>
                  <a:pt x="1264" y="331"/>
                </a:lnTo>
                <a:lnTo>
                  <a:pt x="1260" y="331"/>
                </a:lnTo>
                <a:lnTo>
                  <a:pt x="1257" y="332"/>
                </a:lnTo>
                <a:lnTo>
                  <a:pt x="1253" y="332"/>
                </a:lnTo>
                <a:lnTo>
                  <a:pt x="1250" y="333"/>
                </a:lnTo>
                <a:lnTo>
                  <a:pt x="1246" y="333"/>
                </a:lnTo>
                <a:lnTo>
                  <a:pt x="1243" y="334"/>
                </a:lnTo>
                <a:lnTo>
                  <a:pt x="1239" y="334"/>
                </a:lnTo>
                <a:lnTo>
                  <a:pt x="1238" y="334"/>
                </a:lnTo>
                <a:lnTo>
                  <a:pt x="1232" y="286"/>
                </a:lnTo>
                <a:lnTo>
                  <a:pt x="1232" y="286"/>
                </a:lnTo>
                <a:lnTo>
                  <a:pt x="1236" y="285"/>
                </a:lnTo>
                <a:lnTo>
                  <a:pt x="1240" y="285"/>
                </a:lnTo>
                <a:lnTo>
                  <a:pt x="1243" y="284"/>
                </a:lnTo>
                <a:lnTo>
                  <a:pt x="1247" y="284"/>
                </a:lnTo>
                <a:lnTo>
                  <a:pt x="1250" y="283"/>
                </a:lnTo>
                <a:lnTo>
                  <a:pt x="1253" y="283"/>
                </a:lnTo>
                <a:lnTo>
                  <a:pt x="1257" y="282"/>
                </a:lnTo>
                <a:lnTo>
                  <a:pt x="1261" y="282"/>
                </a:lnTo>
                <a:lnTo>
                  <a:pt x="1264" y="281"/>
                </a:lnTo>
                <a:lnTo>
                  <a:pt x="1268" y="281"/>
                </a:lnTo>
                <a:lnTo>
                  <a:pt x="1271" y="280"/>
                </a:lnTo>
                <a:lnTo>
                  <a:pt x="1275" y="280"/>
                </a:lnTo>
                <a:lnTo>
                  <a:pt x="1279" y="279"/>
                </a:lnTo>
                <a:lnTo>
                  <a:pt x="1280" y="279"/>
                </a:lnTo>
                <a:lnTo>
                  <a:pt x="1280" y="279"/>
                </a:lnTo>
                <a:close/>
                <a:moveTo>
                  <a:pt x="1184" y="291"/>
                </a:moveTo>
                <a:lnTo>
                  <a:pt x="1188" y="340"/>
                </a:lnTo>
                <a:lnTo>
                  <a:pt x="1188" y="340"/>
                </a:lnTo>
                <a:lnTo>
                  <a:pt x="1184" y="341"/>
                </a:lnTo>
                <a:lnTo>
                  <a:pt x="1181" y="341"/>
                </a:lnTo>
                <a:lnTo>
                  <a:pt x="1177" y="341"/>
                </a:lnTo>
                <a:lnTo>
                  <a:pt x="1173" y="342"/>
                </a:lnTo>
                <a:lnTo>
                  <a:pt x="1169" y="342"/>
                </a:lnTo>
                <a:lnTo>
                  <a:pt x="1166" y="342"/>
                </a:lnTo>
                <a:lnTo>
                  <a:pt x="1162" y="343"/>
                </a:lnTo>
                <a:lnTo>
                  <a:pt x="1158" y="343"/>
                </a:lnTo>
                <a:lnTo>
                  <a:pt x="1155" y="343"/>
                </a:lnTo>
                <a:lnTo>
                  <a:pt x="1151" y="344"/>
                </a:lnTo>
                <a:lnTo>
                  <a:pt x="1148" y="344"/>
                </a:lnTo>
                <a:lnTo>
                  <a:pt x="1144" y="344"/>
                </a:lnTo>
                <a:lnTo>
                  <a:pt x="1140" y="344"/>
                </a:lnTo>
                <a:lnTo>
                  <a:pt x="1139" y="345"/>
                </a:lnTo>
                <a:lnTo>
                  <a:pt x="1135" y="295"/>
                </a:lnTo>
                <a:lnTo>
                  <a:pt x="1136" y="295"/>
                </a:lnTo>
                <a:lnTo>
                  <a:pt x="1140" y="295"/>
                </a:lnTo>
                <a:lnTo>
                  <a:pt x="1144" y="295"/>
                </a:lnTo>
                <a:lnTo>
                  <a:pt x="1147" y="294"/>
                </a:lnTo>
                <a:lnTo>
                  <a:pt x="1151" y="294"/>
                </a:lnTo>
                <a:lnTo>
                  <a:pt x="1154" y="294"/>
                </a:lnTo>
                <a:lnTo>
                  <a:pt x="1158" y="293"/>
                </a:lnTo>
                <a:lnTo>
                  <a:pt x="1161" y="293"/>
                </a:lnTo>
                <a:lnTo>
                  <a:pt x="1165" y="293"/>
                </a:lnTo>
                <a:lnTo>
                  <a:pt x="1169" y="292"/>
                </a:lnTo>
                <a:lnTo>
                  <a:pt x="1172" y="292"/>
                </a:lnTo>
                <a:lnTo>
                  <a:pt x="1176" y="292"/>
                </a:lnTo>
                <a:lnTo>
                  <a:pt x="1179" y="291"/>
                </a:lnTo>
                <a:lnTo>
                  <a:pt x="1183" y="291"/>
                </a:lnTo>
                <a:lnTo>
                  <a:pt x="1184" y="291"/>
                </a:lnTo>
                <a:lnTo>
                  <a:pt x="1184" y="291"/>
                </a:lnTo>
                <a:close/>
                <a:moveTo>
                  <a:pt x="1086" y="298"/>
                </a:moveTo>
                <a:lnTo>
                  <a:pt x="1089" y="348"/>
                </a:lnTo>
                <a:lnTo>
                  <a:pt x="1088" y="348"/>
                </a:lnTo>
                <a:lnTo>
                  <a:pt x="1085" y="348"/>
                </a:lnTo>
                <a:lnTo>
                  <a:pt x="1081" y="348"/>
                </a:lnTo>
                <a:lnTo>
                  <a:pt x="1078" y="348"/>
                </a:lnTo>
                <a:lnTo>
                  <a:pt x="1074" y="348"/>
                </a:lnTo>
                <a:lnTo>
                  <a:pt x="1070" y="348"/>
                </a:lnTo>
                <a:lnTo>
                  <a:pt x="1067" y="349"/>
                </a:lnTo>
                <a:lnTo>
                  <a:pt x="1063" y="349"/>
                </a:lnTo>
                <a:lnTo>
                  <a:pt x="1059" y="349"/>
                </a:lnTo>
                <a:lnTo>
                  <a:pt x="1055" y="349"/>
                </a:lnTo>
                <a:lnTo>
                  <a:pt x="1052" y="349"/>
                </a:lnTo>
                <a:lnTo>
                  <a:pt x="1048" y="349"/>
                </a:lnTo>
                <a:lnTo>
                  <a:pt x="1045" y="349"/>
                </a:lnTo>
                <a:lnTo>
                  <a:pt x="1041" y="349"/>
                </a:lnTo>
                <a:lnTo>
                  <a:pt x="1039" y="349"/>
                </a:lnTo>
                <a:lnTo>
                  <a:pt x="1038" y="300"/>
                </a:lnTo>
                <a:lnTo>
                  <a:pt x="1040" y="300"/>
                </a:lnTo>
                <a:lnTo>
                  <a:pt x="1043" y="300"/>
                </a:lnTo>
                <a:lnTo>
                  <a:pt x="1047" y="300"/>
                </a:lnTo>
                <a:lnTo>
                  <a:pt x="1051" y="300"/>
                </a:lnTo>
                <a:lnTo>
                  <a:pt x="1054" y="299"/>
                </a:lnTo>
                <a:lnTo>
                  <a:pt x="1058" y="299"/>
                </a:lnTo>
                <a:lnTo>
                  <a:pt x="1061" y="299"/>
                </a:lnTo>
                <a:lnTo>
                  <a:pt x="1065" y="299"/>
                </a:lnTo>
                <a:lnTo>
                  <a:pt x="1068" y="299"/>
                </a:lnTo>
                <a:lnTo>
                  <a:pt x="1072" y="299"/>
                </a:lnTo>
                <a:lnTo>
                  <a:pt x="1076" y="299"/>
                </a:lnTo>
                <a:lnTo>
                  <a:pt x="1079" y="299"/>
                </a:lnTo>
                <a:lnTo>
                  <a:pt x="1083" y="298"/>
                </a:lnTo>
                <a:lnTo>
                  <a:pt x="1086" y="298"/>
                </a:lnTo>
                <a:lnTo>
                  <a:pt x="1086" y="298"/>
                </a:lnTo>
                <a:lnTo>
                  <a:pt x="1086" y="298"/>
                </a:lnTo>
                <a:close/>
                <a:moveTo>
                  <a:pt x="989" y="300"/>
                </a:moveTo>
                <a:lnTo>
                  <a:pt x="989" y="350"/>
                </a:lnTo>
                <a:lnTo>
                  <a:pt x="987" y="350"/>
                </a:lnTo>
                <a:lnTo>
                  <a:pt x="983" y="350"/>
                </a:lnTo>
                <a:lnTo>
                  <a:pt x="979" y="349"/>
                </a:lnTo>
                <a:lnTo>
                  <a:pt x="975" y="349"/>
                </a:lnTo>
                <a:lnTo>
                  <a:pt x="970" y="349"/>
                </a:lnTo>
                <a:lnTo>
                  <a:pt x="966" y="349"/>
                </a:lnTo>
                <a:lnTo>
                  <a:pt x="962" y="349"/>
                </a:lnTo>
                <a:lnTo>
                  <a:pt x="958" y="349"/>
                </a:lnTo>
                <a:lnTo>
                  <a:pt x="954" y="349"/>
                </a:lnTo>
                <a:lnTo>
                  <a:pt x="950" y="349"/>
                </a:lnTo>
                <a:lnTo>
                  <a:pt x="946" y="349"/>
                </a:lnTo>
                <a:lnTo>
                  <a:pt x="941" y="349"/>
                </a:lnTo>
                <a:lnTo>
                  <a:pt x="939" y="348"/>
                </a:lnTo>
                <a:lnTo>
                  <a:pt x="941" y="299"/>
                </a:lnTo>
                <a:lnTo>
                  <a:pt x="943" y="299"/>
                </a:lnTo>
                <a:lnTo>
                  <a:pt x="947" y="299"/>
                </a:lnTo>
                <a:lnTo>
                  <a:pt x="951" y="299"/>
                </a:lnTo>
                <a:lnTo>
                  <a:pt x="955" y="299"/>
                </a:lnTo>
                <a:lnTo>
                  <a:pt x="959" y="300"/>
                </a:lnTo>
                <a:lnTo>
                  <a:pt x="963" y="300"/>
                </a:lnTo>
                <a:lnTo>
                  <a:pt x="967" y="300"/>
                </a:lnTo>
                <a:lnTo>
                  <a:pt x="971" y="300"/>
                </a:lnTo>
                <a:lnTo>
                  <a:pt x="976" y="300"/>
                </a:lnTo>
                <a:lnTo>
                  <a:pt x="980" y="300"/>
                </a:lnTo>
                <a:lnTo>
                  <a:pt x="984" y="300"/>
                </a:lnTo>
                <a:lnTo>
                  <a:pt x="987" y="300"/>
                </a:lnTo>
                <a:lnTo>
                  <a:pt x="989" y="300"/>
                </a:lnTo>
                <a:lnTo>
                  <a:pt x="989" y="300"/>
                </a:lnTo>
                <a:close/>
                <a:moveTo>
                  <a:pt x="892" y="297"/>
                </a:moveTo>
                <a:lnTo>
                  <a:pt x="889" y="346"/>
                </a:lnTo>
                <a:lnTo>
                  <a:pt x="887" y="346"/>
                </a:lnTo>
                <a:lnTo>
                  <a:pt x="883" y="346"/>
                </a:lnTo>
                <a:lnTo>
                  <a:pt x="879" y="345"/>
                </a:lnTo>
                <a:lnTo>
                  <a:pt x="875" y="345"/>
                </a:lnTo>
                <a:lnTo>
                  <a:pt x="871" y="345"/>
                </a:lnTo>
                <a:lnTo>
                  <a:pt x="866" y="344"/>
                </a:lnTo>
                <a:lnTo>
                  <a:pt x="862" y="344"/>
                </a:lnTo>
                <a:lnTo>
                  <a:pt x="858" y="344"/>
                </a:lnTo>
                <a:lnTo>
                  <a:pt x="854" y="343"/>
                </a:lnTo>
                <a:lnTo>
                  <a:pt x="850" y="343"/>
                </a:lnTo>
                <a:lnTo>
                  <a:pt x="846" y="343"/>
                </a:lnTo>
                <a:lnTo>
                  <a:pt x="842" y="342"/>
                </a:lnTo>
                <a:lnTo>
                  <a:pt x="840" y="342"/>
                </a:lnTo>
                <a:lnTo>
                  <a:pt x="844" y="293"/>
                </a:lnTo>
                <a:lnTo>
                  <a:pt x="846" y="293"/>
                </a:lnTo>
                <a:lnTo>
                  <a:pt x="850" y="293"/>
                </a:lnTo>
                <a:lnTo>
                  <a:pt x="854" y="294"/>
                </a:lnTo>
                <a:lnTo>
                  <a:pt x="858" y="294"/>
                </a:lnTo>
                <a:lnTo>
                  <a:pt x="862" y="294"/>
                </a:lnTo>
                <a:lnTo>
                  <a:pt x="866" y="295"/>
                </a:lnTo>
                <a:lnTo>
                  <a:pt x="870" y="295"/>
                </a:lnTo>
                <a:lnTo>
                  <a:pt x="874" y="295"/>
                </a:lnTo>
                <a:lnTo>
                  <a:pt x="878" y="296"/>
                </a:lnTo>
                <a:lnTo>
                  <a:pt x="882" y="296"/>
                </a:lnTo>
                <a:lnTo>
                  <a:pt x="886" y="296"/>
                </a:lnTo>
                <a:lnTo>
                  <a:pt x="890" y="296"/>
                </a:lnTo>
                <a:lnTo>
                  <a:pt x="892" y="297"/>
                </a:lnTo>
                <a:lnTo>
                  <a:pt x="892" y="297"/>
                </a:lnTo>
                <a:close/>
                <a:moveTo>
                  <a:pt x="796" y="288"/>
                </a:moveTo>
                <a:lnTo>
                  <a:pt x="790" y="337"/>
                </a:lnTo>
                <a:lnTo>
                  <a:pt x="788" y="337"/>
                </a:lnTo>
                <a:lnTo>
                  <a:pt x="784" y="336"/>
                </a:lnTo>
                <a:lnTo>
                  <a:pt x="780" y="336"/>
                </a:lnTo>
                <a:lnTo>
                  <a:pt x="775" y="335"/>
                </a:lnTo>
                <a:lnTo>
                  <a:pt x="771" y="335"/>
                </a:lnTo>
                <a:lnTo>
                  <a:pt x="767" y="334"/>
                </a:lnTo>
                <a:lnTo>
                  <a:pt x="763" y="333"/>
                </a:lnTo>
                <a:lnTo>
                  <a:pt x="759" y="333"/>
                </a:lnTo>
                <a:lnTo>
                  <a:pt x="755" y="332"/>
                </a:lnTo>
                <a:lnTo>
                  <a:pt x="751" y="332"/>
                </a:lnTo>
                <a:lnTo>
                  <a:pt x="747" y="331"/>
                </a:lnTo>
                <a:lnTo>
                  <a:pt x="743" y="331"/>
                </a:lnTo>
                <a:lnTo>
                  <a:pt x="740" y="330"/>
                </a:lnTo>
                <a:lnTo>
                  <a:pt x="748" y="282"/>
                </a:lnTo>
                <a:lnTo>
                  <a:pt x="750" y="282"/>
                </a:lnTo>
                <a:lnTo>
                  <a:pt x="754" y="283"/>
                </a:lnTo>
                <a:lnTo>
                  <a:pt x="757" y="283"/>
                </a:lnTo>
                <a:lnTo>
                  <a:pt x="761" y="284"/>
                </a:lnTo>
                <a:lnTo>
                  <a:pt x="765" y="284"/>
                </a:lnTo>
                <a:lnTo>
                  <a:pt x="770" y="285"/>
                </a:lnTo>
                <a:lnTo>
                  <a:pt x="774" y="285"/>
                </a:lnTo>
                <a:lnTo>
                  <a:pt x="778" y="286"/>
                </a:lnTo>
                <a:lnTo>
                  <a:pt x="782" y="286"/>
                </a:lnTo>
                <a:lnTo>
                  <a:pt x="786" y="287"/>
                </a:lnTo>
                <a:lnTo>
                  <a:pt x="789" y="288"/>
                </a:lnTo>
                <a:lnTo>
                  <a:pt x="793" y="288"/>
                </a:lnTo>
                <a:lnTo>
                  <a:pt x="796" y="288"/>
                </a:lnTo>
                <a:lnTo>
                  <a:pt x="796" y="288"/>
                </a:lnTo>
                <a:close/>
                <a:moveTo>
                  <a:pt x="700" y="274"/>
                </a:moveTo>
                <a:lnTo>
                  <a:pt x="691" y="322"/>
                </a:lnTo>
                <a:lnTo>
                  <a:pt x="689" y="322"/>
                </a:lnTo>
                <a:lnTo>
                  <a:pt x="685" y="321"/>
                </a:lnTo>
                <a:lnTo>
                  <a:pt x="681" y="321"/>
                </a:lnTo>
                <a:lnTo>
                  <a:pt x="677" y="320"/>
                </a:lnTo>
                <a:lnTo>
                  <a:pt x="673" y="319"/>
                </a:lnTo>
                <a:lnTo>
                  <a:pt x="669" y="319"/>
                </a:lnTo>
                <a:lnTo>
                  <a:pt x="665" y="318"/>
                </a:lnTo>
                <a:lnTo>
                  <a:pt x="661" y="317"/>
                </a:lnTo>
                <a:lnTo>
                  <a:pt x="656" y="316"/>
                </a:lnTo>
                <a:lnTo>
                  <a:pt x="653" y="316"/>
                </a:lnTo>
                <a:lnTo>
                  <a:pt x="649" y="315"/>
                </a:lnTo>
                <a:lnTo>
                  <a:pt x="645" y="314"/>
                </a:lnTo>
                <a:lnTo>
                  <a:pt x="642" y="313"/>
                </a:lnTo>
                <a:lnTo>
                  <a:pt x="652" y="265"/>
                </a:lnTo>
                <a:lnTo>
                  <a:pt x="654" y="265"/>
                </a:lnTo>
                <a:lnTo>
                  <a:pt x="658" y="266"/>
                </a:lnTo>
                <a:lnTo>
                  <a:pt x="662" y="267"/>
                </a:lnTo>
                <a:lnTo>
                  <a:pt x="666" y="268"/>
                </a:lnTo>
                <a:lnTo>
                  <a:pt x="670" y="269"/>
                </a:lnTo>
                <a:lnTo>
                  <a:pt x="674" y="269"/>
                </a:lnTo>
                <a:lnTo>
                  <a:pt x="678" y="270"/>
                </a:lnTo>
                <a:lnTo>
                  <a:pt x="682" y="271"/>
                </a:lnTo>
                <a:lnTo>
                  <a:pt x="686" y="272"/>
                </a:lnTo>
                <a:lnTo>
                  <a:pt x="690" y="272"/>
                </a:lnTo>
                <a:lnTo>
                  <a:pt x="694" y="273"/>
                </a:lnTo>
                <a:lnTo>
                  <a:pt x="698" y="274"/>
                </a:lnTo>
                <a:lnTo>
                  <a:pt x="700" y="274"/>
                </a:lnTo>
                <a:lnTo>
                  <a:pt x="700" y="274"/>
                </a:lnTo>
                <a:close/>
                <a:moveTo>
                  <a:pt x="604" y="255"/>
                </a:moveTo>
                <a:lnTo>
                  <a:pt x="593" y="303"/>
                </a:lnTo>
                <a:lnTo>
                  <a:pt x="592" y="302"/>
                </a:lnTo>
                <a:lnTo>
                  <a:pt x="588" y="301"/>
                </a:lnTo>
                <a:lnTo>
                  <a:pt x="584" y="300"/>
                </a:lnTo>
                <a:lnTo>
                  <a:pt x="580" y="299"/>
                </a:lnTo>
                <a:lnTo>
                  <a:pt x="576" y="299"/>
                </a:lnTo>
                <a:lnTo>
                  <a:pt x="572" y="298"/>
                </a:lnTo>
                <a:lnTo>
                  <a:pt x="568" y="297"/>
                </a:lnTo>
                <a:lnTo>
                  <a:pt x="564" y="296"/>
                </a:lnTo>
                <a:lnTo>
                  <a:pt x="560" y="294"/>
                </a:lnTo>
                <a:lnTo>
                  <a:pt x="556" y="293"/>
                </a:lnTo>
                <a:lnTo>
                  <a:pt x="552" y="292"/>
                </a:lnTo>
                <a:lnTo>
                  <a:pt x="548" y="291"/>
                </a:lnTo>
                <a:lnTo>
                  <a:pt x="545" y="291"/>
                </a:lnTo>
                <a:lnTo>
                  <a:pt x="557" y="243"/>
                </a:lnTo>
                <a:lnTo>
                  <a:pt x="560" y="244"/>
                </a:lnTo>
                <a:lnTo>
                  <a:pt x="564" y="245"/>
                </a:lnTo>
                <a:lnTo>
                  <a:pt x="568" y="246"/>
                </a:lnTo>
                <a:lnTo>
                  <a:pt x="572" y="247"/>
                </a:lnTo>
                <a:lnTo>
                  <a:pt x="576" y="248"/>
                </a:lnTo>
                <a:lnTo>
                  <a:pt x="580" y="249"/>
                </a:lnTo>
                <a:lnTo>
                  <a:pt x="584" y="250"/>
                </a:lnTo>
                <a:lnTo>
                  <a:pt x="588" y="251"/>
                </a:lnTo>
                <a:lnTo>
                  <a:pt x="591" y="252"/>
                </a:lnTo>
                <a:lnTo>
                  <a:pt x="595" y="253"/>
                </a:lnTo>
                <a:lnTo>
                  <a:pt x="599" y="254"/>
                </a:lnTo>
                <a:lnTo>
                  <a:pt x="603" y="255"/>
                </a:lnTo>
                <a:lnTo>
                  <a:pt x="604" y="255"/>
                </a:lnTo>
                <a:lnTo>
                  <a:pt x="604" y="255"/>
                </a:lnTo>
                <a:close/>
                <a:moveTo>
                  <a:pt x="510" y="231"/>
                </a:moveTo>
                <a:lnTo>
                  <a:pt x="497" y="278"/>
                </a:lnTo>
                <a:lnTo>
                  <a:pt x="496" y="277"/>
                </a:lnTo>
                <a:lnTo>
                  <a:pt x="492" y="276"/>
                </a:lnTo>
                <a:lnTo>
                  <a:pt x="488" y="275"/>
                </a:lnTo>
                <a:lnTo>
                  <a:pt x="484" y="274"/>
                </a:lnTo>
                <a:lnTo>
                  <a:pt x="480" y="273"/>
                </a:lnTo>
                <a:lnTo>
                  <a:pt x="476" y="272"/>
                </a:lnTo>
                <a:lnTo>
                  <a:pt x="472" y="270"/>
                </a:lnTo>
                <a:lnTo>
                  <a:pt x="468" y="269"/>
                </a:lnTo>
                <a:lnTo>
                  <a:pt x="464" y="268"/>
                </a:lnTo>
                <a:lnTo>
                  <a:pt x="460" y="267"/>
                </a:lnTo>
                <a:lnTo>
                  <a:pt x="456" y="265"/>
                </a:lnTo>
                <a:lnTo>
                  <a:pt x="452" y="264"/>
                </a:lnTo>
                <a:lnTo>
                  <a:pt x="449" y="263"/>
                </a:lnTo>
                <a:lnTo>
                  <a:pt x="464" y="216"/>
                </a:lnTo>
                <a:lnTo>
                  <a:pt x="467" y="217"/>
                </a:lnTo>
                <a:lnTo>
                  <a:pt x="471" y="219"/>
                </a:lnTo>
                <a:lnTo>
                  <a:pt x="475" y="220"/>
                </a:lnTo>
                <a:lnTo>
                  <a:pt x="479" y="221"/>
                </a:lnTo>
                <a:lnTo>
                  <a:pt x="483" y="222"/>
                </a:lnTo>
                <a:lnTo>
                  <a:pt x="487" y="223"/>
                </a:lnTo>
                <a:lnTo>
                  <a:pt x="490" y="225"/>
                </a:lnTo>
                <a:lnTo>
                  <a:pt x="494" y="226"/>
                </a:lnTo>
                <a:lnTo>
                  <a:pt x="498" y="227"/>
                </a:lnTo>
                <a:lnTo>
                  <a:pt x="502" y="228"/>
                </a:lnTo>
                <a:lnTo>
                  <a:pt x="506" y="229"/>
                </a:lnTo>
                <a:lnTo>
                  <a:pt x="510" y="230"/>
                </a:lnTo>
                <a:lnTo>
                  <a:pt x="510" y="231"/>
                </a:lnTo>
                <a:lnTo>
                  <a:pt x="510" y="231"/>
                </a:lnTo>
                <a:close/>
                <a:moveTo>
                  <a:pt x="418" y="201"/>
                </a:moveTo>
                <a:lnTo>
                  <a:pt x="402" y="247"/>
                </a:lnTo>
                <a:lnTo>
                  <a:pt x="401" y="247"/>
                </a:lnTo>
                <a:lnTo>
                  <a:pt x="397" y="246"/>
                </a:lnTo>
                <a:lnTo>
                  <a:pt x="393" y="245"/>
                </a:lnTo>
                <a:lnTo>
                  <a:pt x="390" y="243"/>
                </a:lnTo>
                <a:lnTo>
                  <a:pt x="386" y="242"/>
                </a:lnTo>
                <a:lnTo>
                  <a:pt x="382" y="240"/>
                </a:lnTo>
                <a:lnTo>
                  <a:pt x="378" y="239"/>
                </a:lnTo>
                <a:lnTo>
                  <a:pt x="374" y="237"/>
                </a:lnTo>
                <a:lnTo>
                  <a:pt x="370" y="236"/>
                </a:lnTo>
                <a:lnTo>
                  <a:pt x="366" y="234"/>
                </a:lnTo>
                <a:lnTo>
                  <a:pt x="362" y="233"/>
                </a:lnTo>
                <a:lnTo>
                  <a:pt x="358" y="232"/>
                </a:lnTo>
                <a:lnTo>
                  <a:pt x="355" y="231"/>
                </a:lnTo>
                <a:lnTo>
                  <a:pt x="372" y="184"/>
                </a:lnTo>
                <a:lnTo>
                  <a:pt x="376" y="186"/>
                </a:lnTo>
                <a:lnTo>
                  <a:pt x="380" y="187"/>
                </a:lnTo>
                <a:lnTo>
                  <a:pt x="384" y="189"/>
                </a:lnTo>
                <a:lnTo>
                  <a:pt x="387" y="190"/>
                </a:lnTo>
                <a:lnTo>
                  <a:pt x="391" y="191"/>
                </a:lnTo>
                <a:lnTo>
                  <a:pt x="395" y="193"/>
                </a:lnTo>
                <a:lnTo>
                  <a:pt x="398" y="194"/>
                </a:lnTo>
                <a:lnTo>
                  <a:pt x="402" y="196"/>
                </a:lnTo>
                <a:lnTo>
                  <a:pt x="406" y="197"/>
                </a:lnTo>
                <a:lnTo>
                  <a:pt x="410" y="198"/>
                </a:lnTo>
                <a:lnTo>
                  <a:pt x="414" y="200"/>
                </a:lnTo>
                <a:lnTo>
                  <a:pt x="418" y="201"/>
                </a:lnTo>
                <a:lnTo>
                  <a:pt x="418" y="201"/>
                </a:lnTo>
                <a:lnTo>
                  <a:pt x="418" y="201"/>
                </a:lnTo>
                <a:close/>
                <a:moveTo>
                  <a:pt x="327" y="167"/>
                </a:moveTo>
                <a:lnTo>
                  <a:pt x="308" y="212"/>
                </a:lnTo>
                <a:lnTo>
                  <a:pt x="308" y="212"/>
                </a:lnTo>
                <a:lnTo>
                  <a:pt x="304" y="210"/>
                </a:lnTo>
                <a:lnTo>
                  <a:pt x="301" y="209"/>
                </a:lnTo>
                <a:lnTo>
                  <a:pt x="297" y="207"/>
                </a:lnTo>
                <a:lnTo>
                  <a:pt x="293" y="205"/>
                </a:lnTo>
                <a:lnTo>
                  <a:pt x="289" y="204"/>
                </a:lnTo>
                <a:lnTo>
                  <a:pt x="286" y="203"/>
                </a:lnTo>
                <a:lnTo>
                  <a:pt x="282" y="201"/>
                </a:lnTo>
                <a:lnTo>
                  <a:pt x="278" y="199"/>
                </a:lnTo>
                <a:lnTo>
                  <a:pt x="274" y="198"/>
                </a:lnTo>
                <a:lnTo>
                  <a:pt x="270" y="196"/>
                </a:lnTo>
                <a:lnTo>
                  <a:pt x="266" y="194"/>
                </a:lnTo>
                <a:lnTo>
                  <a:pt x="262" y="193"/>
                </a:lnTo>
                <a:lnTo>
                  <a:pt x="262" y="193"/>
                </a:lnTo>
                <a:lnTo>
                  <a:pt x="283" y="147"/>
                </a:lnTo>
                <a:lnTo>
                  <a:pt x="283" y="147"/>
                </a:lnTo>
                <a:lnTo>
                  <a:pt x="286" y="149"/>
                </a:lnTo>
                <a:lnTo>
                  <a:pt x="290" y="151"/>
                </a:lnTo>
                <a:lnTo>
                  <a:pt x="293" y="152"/>
                </a:lnTo>
                <a:lnTo>
                  <a:pt x="297" y="154"/>
                </a:lnTo>
                <a:lnTo>
                  <a:pt x="301" y="156"/>
                </a:lnTo>
                <a:lnTo>
                  <a:pt x="305" y="157"/>
                </a:lnTo>
                <a:lnTo>
                  <a:pt x="309" y="159"/>
                </a:lnTo>
                <a:lnTo>
                  <a:pt x="312" y="160"/>
                </a:lnTo>
                <a:lnTo>
                  <a:pt x="316" y="162"/>
                </a:lnTo>
                <a:lnTo>
                  <a:pt x="320" y="164"/>
                </a:lnTo>
                <a:lnTo>
                  <a:pt x="324" y="165"/>
                </a:lnTo>
                <a:lnTo>
                  <a:pt x="327" y="167"/>
                </a:lnTo>
                <a:lnTo>
                  <a:pt x="327" y="167"/>
                </a:lnTo>
                <a:lnTo>
                  <a:pt x="327" y="167"/>
                </a:lnTo>
                <a:close/>
                <a:moveTo>
                  <a:pt x="238" y="127"/>
                </a:moveTo>
                <a:lnTo>
                  <a:pt x="217" y="172"/>
                </a:lnTo>
                <a:lnTo>
                  <a:pt x="214" y="170"/>
                </a:lnTo>
                <a:lnTo>
                  <a:pt x="210" y="168"/>
                </a:lnTo>
                <a:lnTo>
                  <a:pt x="206" y="166"/>
                </a:lnTo>
                <a:lnTo>
                  <a:pt x="202" y="165"/>
                </a:lnTo>
                <a:lnTo>
                  <a:pt x="199" y="163"/>
                </a:lnTo>
                <a:lnTo>
                  <a:pt x="195" y="161"/>
                </a:lnTo>
                <a:lnTo>
                  <a:pt x="192" y="159"/>
                </a:lnTo>
                <a:lnTo>
                  <a:pt x="188" y="157"/>
                </a:lnTo>
                <a:lnTo>
                  <a:pt x="184" y="155"/>
                </a:lnTo>
                <a:lnTo>
                  <a:pt x="180" y="153"/>
                </a:lnTo>
                <a:lnTo>
                  <a:pt x="176" y="151"/>
                </a:lnTo>
                <a:lnTo>
                  <a:pt x="173" y="150"/>
                </a:lnTo>
                <a:lnTo>
                  <a:pt x="172" y="149"/>
                </a:lnTo>
                <a:lnTo>
                  <a:pt x="195" y="106"/>
                </a:lnTo>
                <a:lnTo>
                  <a:pt x="195" y="106"/>
                </a:lnTo>
                <a:lnTo>
                  <a:pt x="199" y="108"/>
                </a:lnTo>
                <a:lnTo>
                  <a:pt x="202" y="110"/>
                </a:lnTo>
                <a:lnTo>
                  <a:pt x="206" y="112"/>
                </a:lnTo>
                <a:lnTo>
                  <a:pt x="210" y="113"/>
                </a:lnTo>
                <a:lnTo>
                  <a:pt x="213" y="115"/>
                </a:lnTo>
                <a:lnTo>
                  <a:pt x="217" y="117"/>
                </a:lnTo>
                <a:lnTo>
                  <a:pt x="221" y="118"/>
                </a:lnTo>
                <a:lnTo>
                  <a:pt x="224" y="120"/>
                </a:lnTo>
                <a:lnTo>
                  <a:pt x="228" y="122"/>
                </a:lnTo>
                <a:lnTo>
                  <a:pt x="231" y="124"/>
                </a:lnTo>
                <a:lnTo>
                  <a:pt x="235" y="126"/>
                </a:lnTo>
                <a:lnTo>
                  <a:pt x="238" y="127"/>
                </a:lnTo>
                <a:lnTo>
                  <a:pt x="238" y="127"/>
                </a:lnTo>
                <a:close/>
                <a:moveTo>
                  <a:pt x="152" y="83"/>
                </a:moveTo>
                <a:lnTo>
                  <a:pt x="128" y="126"/>
                </a:lnTo>
                <a:lnTo>
                  <a:pt x="125" y="124"/>
                </a:lnTo>
                <a:lnTo>
                  <a:pt x="122" y="122"/>
                </a:lnTo>
                <a:lnTo>
                  <a:pt x="118" y="120"/>
                </a:lnTo>
                <a:lnTo>
                  <a:pt x="114" y="118"/>
                </a:lnTo>
                <a:lnTo>
                  <a:pt x="110" y="116"/>
                </a:lnTo>
                <a:lnTo>
                  <a:pt x="107" y="115"/>
                </a:lnTo>
                <a:lnTo>
                  <a:pt x="103" y="113"/>
                </a:lnTo>
                <a:lnTo>
                  <a:pt x="99" y="110"/>
                </a:lnTo>
                <a:lnTo>
                  <a:pt x="96" y="108"/>
                </a:lnTo>
                <a:lnTo>
                  <a:pt x="93" y="106"/>
                </a:lnTo>
                <a:lnTo>
                  <a:pt x="89" y="104"/>
                </a:lnTo>
                <a:lnTo>
                  <a:pt x="85" y="102"/>
                </a:lnTo>
                <a:lnTo>
                  <a:pt x="85" y="102"/>
                </a:lnTo>
                <a:lnTo>
                  <a:pt x="110" y="59"/>
                </a:lnTo>
                <a:lnTo>
                  <a:pt x="110" y="59"/>
                </a:lnTo>
                <a:lnTo>
                  <a:pt x="113" y="61"/>
                </a:lnTo>
                <a:lnTo>
                  <a:pt x="117" y="63"/>
                </a:lnTo>
                <a:lnTo>
                  <a:pt x="121" y="66"/>
                </a:lnTo>
                <a:lnTo>
                  <a:pt x="124" y="68"/>
                </a:lnTo>
                <a:lnTo>
                  <a:pt x="127" y="70"/>
                </a:lnTo>
                <a:lnTo>
                  <a:pt x="131" y="72"/>
                </a:lnTo>
                <a:lnTo>
                  <a:pt x="134" y="74"/>
                </a:lnTo>
                <a:lnTo>
                  <a:pt x="138" y="76"/>
                </a:lnTo>
                <a:lnTo>
                  <a:pt x="142" y="78"/>
                </a:lnTo>
                <a:lnTo>
                  <a:pt x="145" y="80"/>
                </a:lnTo>
                <a:lnTo>
                  <a:pt x="149" y="82"/>
                </a:lnTo>
                <a:lnTo>
                  <a:pt x="152" y="83"/>
                </a:lnTo>
                <a:lnTo>
                  <a:pt x="152" y="83"/>
                </a:lnTo>
                <a:close/>
              </a:path>
            </a:pathLst>
          </a:custGeom>
          <a:solidFill>
            <a:schemeClr val="tx1">
              <a:alpha val="20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47" name="Freeform 146">
            <a:extLst>
              <a:ext uri="{FF2B5EF4-FFF2-40B4-BE49-F238E27FC236}">
                <a16:creationId xmlns:a16="http://schemas.microsoft.com/office/drawing/2014/main" id="{9FEE9F55-0D01-426D-910F-4441F42A9355}"/>
              </a:ext>
            </a:extLst>
          </p:cNvPr>
          <p:cNvSpPr>
            <a:spLocks noEditPoints="1"/>
          </p:cNvSpPr>
          <p:nvPr/>
        </p:nvSpPr>
        <p:spPr bwMode="auto">
          <a:xfrm>
            <a:off x="5682240" y="1977249"/>
            <a:ext cx="1181957" cy="1916592"/>
          </a:xfrm>
          <a:custGeom>
            <a:avLst/>
            <a:gdLst>
              <a:gd name="T0" fmla="*/ 968 w 1012"/>
              <a:gd name="T1" fmla="*/ 12 h 1641"/>
              <a:gd name="T2" fmla="*/ 999 w 1012"/>
              <a:gd name="T3" fmla="*/ 51 h 1641"/>
              <a:gd name="T4" fmla="*/ 970 w 1012"/>
              <a:gd name="T5" fmla="*/ 68 h 1641"/>
              <a:gd name="T6" fmla="*/ 197 w 1012"/>
              <a:gd name="T7" fmla="*/ 1518 h 1641"/>
              <a:gd name="T8" fmla="*/ 75 w 1012"/>
              <a:gd name="T9" fmla="*/ 1511 h 1641"/>
              <a:gd name="T10" fmla="*/ 78 w 1012"/>
              <a:gd name="T11" fmla="*/ 1465 h 1641"/>
              <a:gd name="T12" fmla="*/ 126 w 1012"/>
              <a:gd name="T13" fmla="*/ 1491 h 1641"/>
              <a:gd name="T14" fmla="*/ 131 w 1012"/>
              <a:gd name="T15" fmla="*/ 1418 h 1641"/>
              <a:gd name="T16" fmla="*/ 85 w 1012"/>
              <a:gd name="T17" fmla="*/ 1382 h 1641"/>
              <a:gd name="T18" fmla="*/ 134 w 1012"/>
              <a:gd name="T19" fmla="*/ 1380 h 1641"/>
              <a:gd name="T20" fmla="*/ 131 w 1012"/>
              <a:gd name="T21" fmla="*/ 1418 h 1641"/>
              <a:gd name="T22" fmla="*/ 97 w 1012"/>
              <a:gd name="T23" fmla="*/ 1293 h 1641"/>
              <a:gd name="T24" fmla="*/ 149 w 1012"/>
              <a:gd name="T25" fmla="*/ 1279 h 1641"/>
              <a:gd name="T26" fmla="*/ 142 w 1012"/>
              <a:gd name="T27" fmla="*/ 1322 h 1641"/>
              <a:gd name="T28" fmla="*/ 115 w 1012"/>
              <a:gd name="T29" fmla="*/ 1198 h 1641"/>
              <a:gd name="T30" fmla="*/ 169 w 1012"/>
              <a:gd name="T31" fmla="*/ 1179 h 1641"/>
              <a:gd name="T32" fmla="*/ 162 w 1012"/>
              <a:gd name="T33" fmla="*/ 1215 h 1641"/>
              <a:gd name="T34" fmla="*/ 133 w 1012"/>
              <a:gd name="T35" fmla="*/ 1118 h 1641"/>
              <a:gd name="T36" fmla="*/ 145 w 1012"/>
              <a:gd name="T37" fmla="*/ 1075 h 1641"/>
              <a:gd name="T38" fmla="*/ 187 w 1012"/>
              <a:gd name="T39" fmla="*/ 1110 h 1641"/>
              <a:gd name="T40" fmla="*/ 208 w 1012"/>
              <a:gd name="T41" fmla="*/ 1039 h 1641"/>
              <a:gd name="T42" fmla="*/ 172 w 1012"/>
              <a:gd name="T43" fmla="*/ 990 h 1641"/>
              <a:gd name="T44" fmla="*/ 217 w 1012"/>
              <a:gd name="T45" fmla="*/ 1013 h 1641"/>
              <a:gd name="T46" fmla="*/ 240 w 1012"/>
              <a:gd name="T47" fmla="*/ 947 h 1641"/>
              <a:gd name="T48" fmla="*/ 206 w 1012"/>
              <a:gd name="T49" fmla="*/ 900 h 1641"/>
              <a:gd name="T50" fmla="*/ 254 w 1012"/>
              <a:gd name="T51" fmla="*/ 911 h 1641"/>
              <a:gd name="T52" fmla="*/ 240 w 1012"/>
              <a:gd name="T53" fmla="*/ 947 h 1641"/>
              <a:gd name="T54" fmla="*/ 241 w 1012"/>
              <a:gd name="T55" fmla="*/ 818 h 1641"/>
              <a:gd name="T56" fmla="*/ 295 w 1012"/>
              <a:gd name="T57" fmla="*/ 819 h 1641"/>
              <a:gd name="T58" fmla="*/ 277 w 1012"/>
              <a:gd name="T59" fmla="*/ 858 h 1641"/>
              <a:gd name="T60" fmla="*/ 283 w 1012"/>
              <a:gd name="T61" fmla="*/ 732 h 1641"/>
              <a:gd name="T62" fmla="*/ 342 w 1012"/>
              <a:gd name="T63" fmla="*/ 728 h 1641"/>
              <a:gd name="T64" fmla="*/ 324 w 1012"/>
              <a:gd name="T65" fmla="*/ 761 h 1641"/>
              <a:gd name="T66" fmla="*/ 327 w 1012"/>
              <a:gd name="T67" fmla="*/ 655 h 1641"/>
              <a:gd name="T68" fmla="*/ 349 w 1012"/>
              <a:gd name="T69" fmla="*/ 618 h 1641"/>
              <a:gd name="T70" fmla="*/ 372 w 1012"/>
              <a:gd name="T71" fmla="*/ 673 h 1641"/>
              <a:gd name="T72" fmla="*/ 377 w 1012"/>
              <a:gd name="T73" fmla="*/ 574 h 1641"/>
              <a:gd name="T74" fmla="*/ 402 w 1012"/>
              <a:gd name="T75" fmla="*/ 537 h 1641"/>
              <a:gd name="T76" fmla="*/ 430 w 1012"/>
              <a:gd name="T77" fmla="*/ 582 h 1641"/>
              <a:gd name="T78" fmla="*/ 472 w 1012"/>
              <a:gd name="T79" fmla="*/ 523 h 1641"/>
              <a:gd name="T80" fmla="*/ 455 w 1012"/>
              <a:gd name="T81" fmla="*/ 465 h 1641"/>
              <a:gd name="T82" fmla="*/ 490 w 1012"/>
              <a:gd name="T83" fmla="*/ 501 h 1641"/>
              <a:gd name="T84" fmla="*/ 532 w 1012"/>
              <a:gd name="T85" fmla="*/ 447 h 1641"/>
              <a:gd name="T86" fmla="*/ 516 w 1012"/>
              <a:gd name="T87" fmla="*/ 391 h 1641"/>
              <a:gd name="T88" fmla="*/ 558 w 1012"/>
              <a:gd name="T89" fmla="*/ 417 h 1641"/>
              <a:gd name="T90" fmla="*/ 532 w 1012"/>
              <a:gd name="T91" fmla="*/ 447 h 1641"/>
              <a:gd name="T92" fmla="*/ 575 w 1012"/>
              <a:gd name="T93" fmla="*/ 325 h 1641"/>
              <a:gd name="T94" fmla="*/ 626 w 1012"/>
              <a:gd name="T95" fmla="*/ 343 h 1641"/>
              <a:gd name="T96" fmla="*/ 596 w 1012"/>
              <a:gd name="T97" fmla="*/ 375 h 1641"/>
              <a:gd name="T98" fmla="*/ 644 w 1012"/>
              <a:gd name="T99" fmla="*/ 257 h 1641"/>
              <a:gd name="T100" fmla="*/ 699 w 1012"/>
              <a:gd name="T101" fmla="*/ 272 h 1641"/>
              <a:gd name="T102" fmla="*/ 672 w 1012"/>
              <a:gd name="T103" fmla="*/ 297 h 1641"/>
              <a:gd name="T104" fmla="*/ 705 w 1012"/>
              <a:gd name="T105" fmla="*/ 201 h 1641"/>
              <a:gd name="T106" fmla="*/ 739 w 1012"/>
              <a:gd name="T107" fmla="*/ 172 h 1641"/>
              <a:gd name="T108" fmla="*/ 754 w 1012"/>
              <a:gd name="T109" fmla="*/ 224 h 1641"/>
              <a:gd name="T110" fmla="*/ 811 w 1012"/>
              <a:gd name="T111" fmla="*/ 178 h 1641"/>
              <a:gd name="T112" fmla="*/ 810 w 1012"/>
              <a:gd name="T113" fmla="*/ 117 h 1641"/>
              <a:gd name="T114" fmla="*/ 834 w 1012"/>
              <a:gd name="T115" fmla="*/ 161 h 1641"/>
              <a:gd name="T116" fmla="*/ 889 w 1012"/>
              <a:gd name="T117" fmla="*/ 121 h 1641"/>
              <a:gd name="T118" fmla="*/ 891 w 1012"/>
              <a:gd name="T119" fmla="*/ 60 h 1641"/>
              <a:gd name="T120" fmla="*/ 912 w 1012"/>
              <a:gd name="T121" fmla="*/ 106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12" h="1641">
                <a:moveTo>
                  <a:pt x="970" y="68"/>
                </a:moveTo>
                <a:lnTo>
                  <a:pt x="945" y="26"/>
                </a:lnTo>
                <a:lnTo>
                  <a:pt x="948" y="23"/>
                </a:lnTo>
                <a:lnTo>
                  <a:pt x="955" y="20"/>
                </a:lnTo>
                <a:lnTo>
                  <a:pt x="961" y="16"/>
                </a:lnTo>
                <a:lnTo>
                  <a:pt x="968" y="12"/>
                </a:lnTo>
                <a:lnTo>
                  <a:pt x="974" y="8"/>
                </a:lnTo>
                <a:lnTo>
                  <a:pt x="981" y="4"/>
                </a:lnTo>
                <a:lnTo>
                  <a:pt x="988" y="0"/>
                </a:lnTo>
                <a:lnTo>
                  <a:pt x="1012" y="43"/>
                </a:lnTo>
                <a:lnTo>
                  <a:pt x="1006" y="47"/>
                </a:lnTo>
                <a:lnTo>
                  <a:pt x="999" y="51"/>
                </a:lnTo>
                <a:lnTo>
                  <a:pt x="993" y="54"/>
                </a:lnTo>
                <a:lnTo>
                  <a:pt x="987" y="58"/>
                </a:lnTo>
                <a:lnTo>
                  <a:pt x="980" y="62"/>
                </a:lnTo>
                <a:lnTo>
                  <a:pt x="974" y="66"/>
                </a:lnTo>
                <a:lnTo>
                  <a:pt x="970" y="68"/>
                </a:lnTo>
                <a:lnTo>
                  <a:pt x="970" y="68"/>
                </a:lnTo>
                <a:close/>
                <a:moveTo>
                  <a:pt x="99" y="1641"/>
                </a:moveTo>
                <a:lnTo>
                  <a:pt x="0" y="1592"/>
                </a:lnTo>
                <a:lnTo>
                  <a:pt x="0" y="1518"/>
                </a:lnTo>
                <a:lnTo>
                  <a:pt x="91" y="1563"/>
                </a:lnTo>
                <a:lnTo>
                  <a:pt x="107" y="1563"/>
                </a:lnTo>
                <a:lnTo>
                  <a:pt x="197" y="1518"/>
                </a:lnTo>
                <a:lnTo>
                  <a:pt x="197" y="1592"/>
                </a:lnTo>
                <a:lnTo>
                  <a:pt x="99" y="1641"/>
                </a:lnTo>
                <a:lnTo>
                  <a:pt x="99" y="1641"/>
                </a:lnTo>
                <a:close/>
                <a:moveTo>
                  <a:pt x="125" y="1515"/>
                </a:moveTo>
                <a:lnTo>
                  <a:pt x="75" y="1513"/>
                </a:lnTo>
                <a:lnTo>
                  <a:pt x="75" y="1511"/>
                </a:lnTo>
                <a:lnTo>
                  <a:pt x="76" y="1503"/>
                </a:lnTo>
                <a:lnTo>
                  <a:pt x="76" y="1495"/>
                </a:lnTo>
                <a:lnTo>
                  <a:pt x="77" y="1488"/>
                </a:lnTo>
                <a:lnTo>
                  <a:pt x="77" y="1480"/>
                </a:lnTo>
                <a:lnTo>
                  <a:pt x="77" y="1473"/>
                </a:lnTo>
                <a:lnTo>
                  <a:pt x="78" y="1465"/>
                </a:lnTo>
                <a:lnTo>
                  <a:pt x="78" y="1463"/>
                </a:lnTo>
                <a:lnTo>
                  <a:pt x="127" y="1466"/>
                </a:lnTo>
                <a:lnTo>
                  <a:pt x="127" y="1468"/>
                </a:lnTo>
                <a:lnTo>
                  <a:pt x="127" y="1476"/>
                </a:lnTo>
                <a:lnTo>
                  <a:pt x="126" y="1483"/>
                </a:lnTo>
                <a:lnTo>
                  <a:pt x="126" y="1491"/>
                </a:lnTo>
                <a:lnTo>
                  <a:pt x="126" y="1498"/>
                </a:lnTo>
                <a:lnTo>
                  <a:pt x="125" y="1505"/>
                </a:lnTo>
                <a:lnTo>
                  <a:pt x="125" y="1513"/>
                </a:lnTo>
                <a:lnTo>
                  <a:pt x="125" y="1515"/>
                </a:lnTo>
                <a:lnTo>
                  <a:pt x="125" y="1515"/>
                </a:lnTo>
                <a:close/>
                <a:moveTo>
                  <a:pt x="131" y="1418"/>
                </a:moveTo>
                <a:lnTo>
                  <a:pt x="82" y="1413"/>
                </a:lnTo>
                <a:lnTo>
                  <a:pt x="82" y="1412"/>
                </a:lnTo>
                <a:lnTo>
                  <a:pt x="83" y="1405"/>
                </a:lnTo>
                <a:lnTo>
                  <a:pt x="83" y="1398"/>
                </a:lnTo>
                <a:lnTo>
                  <a:pt x="84" y="1390"/>
                </a:lnTo>
                <a:lnTo>
                  <a:pt x="85" y="1382"/>
                </a:lnTo>
                <a:lnTo>
                  <a:pt x="86" y="1375"/>
                </a:lnTo>
                <a:lnTo>
                  <a:pt x="87" y="1368"/>
                </a:lnTo>
                <a:lnTo>
                  <a:pt x="87" y="1364"/>
                </a:lnTo>
                <a:lnTo>
                  <a:pt x="136" y="1370"/>
                </a:lnTo>
                <a:lnTo>
                  <a:pt x="135" y="1373"/>
                </a:lnTo>
                <a:lnTo>
                  <a:pt x="134" y="1380"/>
                </a:lnTo>
                <a:lnTo>
                  <a:pt x="134" y="1388"/>
                </a:lnTo>
                <a:lnTo>
                  <a:pt x="133" y="1395"/>
                </a:lnTo>
                <a:lnTo>
                  <a:pt x="132" y="1403"/>
                </a:lnTo>
                <a:lnTo>
                  <a:pt x="131" y="1410"/>
                </a:lnTo>
                <a:lnTo>
                  <a:pt x="131" y="1417"/>
                </a:lnTo>
                <a:lnTo>
                  <a:pt x="131" y="1418"/>
                </a:lnTo>
                <a:lnTo>
                  <a:pt x="131" y="1418"/>
                </a:lnTo>
                <a:close/>
                <a:moveTo>
                  <a:pt x="142" y="1322"/>
                </a:moveTo>
                <a:lnTo>
                  <a:pt x="94" y="1315"/>
                </a:lnTo>
                <a:lnTo>
                  <a:pt x="95" y="1308"/>
                </a:lnTo>
                <a:lnTo>
                  <a:pt x="96" y="1301"/>
                </a:lnTo>
                <a:lnTo>
                  <a:pt x="97" y="1293"/>
                </a:lnTo>
                <a:lnTo>
                  <a:pt x="98" y="1286"/>
                </a:lnTo>
                <a:lnTo>
                  <a:pt x="99" y="1278"/>
                </a:lnTo>
                <a:lnTo>
                  <a:pt x="100" y="1271"/>
                </a:lnTo>
                <a:lnTo>
                  <a:pt x="101" y="1265"/>
                </a:lnTo>
                <a:lnTo>
                  <a:pt x="150" y="1274"/>
                </a:lnTo>
                <a:lnTo>
                  <a:pt x="149" y="1279"/>
                </a:lnTo>
                <a:lnTo>
                  <a:pt x="148" y="1287"/>
                </a:lnTo>
                <a:lnTo>
                  <a:pt x="147" y="1294"/>
                </a:lnTo>
                <a:lnTo>
                  <a:pt x="145" y="1301"/>
                </a:lnTo>
                <a:lnTo>
                  <a:pt x="144" y="1308"/>
                </a:lnTo>
                <a:lnTo>
                  <a:pt x="143" y="1316"/>
                </a:lnTo>
                <a:lnTo>
                  <a:pt x="142" y="1322"/>
                </a:lnTo>
                <a:lnTo>
                  <a:pt x="142" y="1322"/>
                </a:lnTo>
                <a:close/>
                <a:moveTo>
                  <a:pt x="159" y="1227"/>
                </a:moveTo>
                <a:lnTo>
                  <a:pt x="111" y="1216"/>
                </a:lnTo>
                <a:lnTo>
                  <a:pt x="112" y="1212"/>
                </a:lnTo>
                <a:lnTo>
                  <a:pt x="113" y="1205"/>
                </a:lnTo>
                <a:lnTo>
                  <a:pt x="115" y="1198"/>
                </a:lnTo>
                <a:lnTo>
                  <a:pt x="116" y="1190"/>
                </a:lnTo>
                <a:lnTo>
                  <a:pt x="118" y="1183"/>
                </a:lnTo>
                <a:lnTo>
                  <a:pt x="120" y="1176"/>
                </a:lnTo>
                <a:lnTo>
                  <a:pt x="121" y="1169"/>
                </a:lnTo>
                <a:lnTo>
                  <a:pt x="121" y="1168"/>
                </a:lnTo>
                <a:lnTo>
                  <a:pt x="169" y="1179"/>
                </a:lnTo>
                <a:lnTo>
                  <a:pt x="169" y="1179"/>
                </a:lnTo>
                <a:lnTo>
                  <a:pt x="167" y="1187"/>
                </a:lnTo>
                <a:lnTo>
                  <a:pt x="166" y="1194"/>
                </a:lnTo>
                <a:lnTo>
                  <a:pt x="164" y="1201"/>
                </a:lnTo>
                <a:lnTo>
                  <a:pt x="163" y="1208"/>
                </a:lnTo>
                <a:lnTo>
                  <a:pt x="162" y="1215"/>
                </a:lnTo>
                <a:lnTo>
                  <a:pt x="160" y="1222"/>
                </a:lnTo>
                <a:lnTo>
                  <a:pt x="159" y="1227"/>
                </a:lnTo>
                <a:lnTo>
                  <a:pt x="159" y="1227"/>
                </a:lnTo>
                <a:close/>
                <a:moveTo>
                  <a:pt x="181" y="1132"/>
                </a:moveTo>
                <a:lnTo>
                  <a:pt x="133" y="1119"/>
                </a:lnTo>
                <a:lnTo>
                  <a:pt x="133" y="1118"/>
                </a:lnTo>
                <a:lnTo>
                  <a:pt x="135" y="1110"/>
                </a:lnTo>
                <a:lnTo>
                  <a:pt x="137" y="1104"/>
                </a:lnTo>
                <a:lnTo>
                  <a:pt x="139" y="1096"/>
                </a:lnTo>
                <a:lnTo>
                  <a:pt x="141" y="1089"/>
                </a:lnTo>
                <a:lnTo>
                  <a:pt x="143" y="1082"/>
                </a:lnTo>
                <a:lnTo>
                  <a:pt x="145" y="1075"/>
                </a:lnTo>
                <a:lnTo>
                  <a:pt x="147" y="1071"/>
                </a:lnTo>
                <a:lnTo>
                  <a:pt x="194" y="1085"/>
                </a:lnTo>
                <a:lnTo>
                  <a:pt x="193" y="1088"/>
                </a:lnTo>
                <a:lnTo>
                  <a:pt x="191" y="1095"/>
                </a:lnTo>
                <a:lnTo>
                  <a:pt x="189" y="1102"/>
                </a:lnTo>
                <a:lnTo>
                  <a:pt x="187" y="1110"/>
                </a:lnTo>
                <a:lnTo>
                  <a:pt x="185" y="1116"/>
                </a:lnTo>
                <a:lnTo>
                  <a:pt x="183" y="1123"/>
                </a:lnTo>
                <a:lnTo>
                  <a:pt x="181" y="1130"/>
                </a:lnTo>
                <a:lnTo>
                  <a:pt x="181" y="1132"/>
                </a:lnTo>
                <a:lnTo>
                  <a:pt x="181" y="1132"/>
                </a:lnTo>
                <a:close/>
                <a:moveTo>
                  <a:pt x="208" y="1039"/>
                </a:moveTo>
                <a:lnTo>
                  <a:pt x="161" y="1023"/>
                </a:lnTo>
                <a:lnTo>
                  <a:pt x="163" y="1018"/>
                </a:lnTo>
                <a:lnTo>
                  <a:pt x="165" y="1011"/>
                </a:lnTo>
                <a:lnTo>
                  <a:pt x="167" y="1004"/>
                </a:lnTo>
                <a:lnTo>
                  <a:pt x="170" y="997"/>
                </a:lnTo>
                <a:lnTo>
                  <a:pt x="172" y="990"/>
                </a:lnTo>
                <a:lnTo>
                  <a:pt x="175" y="983"/>
                </a:lnTo>
                <a:lnTo>
                  <a:pt x="177" y="977"/>
                </a:lnTo>
                <a:lnTo>
                  <a:pt x="224" y="993"/>
                </a:lnTo>
                <a:lnTo>
                  <a:pt x="221" y="999"/>
                </a:lnTo>
                <a:lnTo>
                  <a:pt x="219" y="1006"/>
                </a:lnTo>
                <a:lnTo>
                  <a:pt x="217" y="1013"/>
                </a:lnTo>
                <a:lnTo>
                  <a:pt x="214" y="1020"/>
                </a:lnTo>
                <a:lnTo>
                  <a:pt x="212" y="1026"/>
                </a:lnTo>
                <a:lnTo>
                  <a:pt x="210" y="1033"/>
                </a:lnTo>
                <a:lnTo>
                  <a:pt x="208" y="1039"/>
                </a:lnTo>
                <a:lnTo>
                  <a:pt x="208" y="1039"/>
                </a:lnTo>
                <a:close/>
                <a:moveTo>
                  <a:pt x="240" y="947"/>
                </a:moveTo>
                <a:lnTo>
                  <a:pt x="194" y="930"/>
                </a:lnTo>
                <a:lnTo>
                  <a:pt x="195" y="927"/>
                </a:lnTo>
                <a:lnTo>
                  <a:pt x="197" y="920"/>
                </a:lnTo>
                <a:lnTo>
                  <a:pt x="200" y="913"/>
                </a:lnTo>
                <a:lnTo>
                  <a:pt x="203" y="906"/>
                </a:lnTo>
                <a:lnTo>
                  <a:pt x="206" y="900"/>
                </a:lnTo>
                <a:lnTo>
                  <a:pt x="209" y="893"/>
                </a:lnTo>
                <a:lnTo>
                  <a:pt x="211" y="886"/>
                </a:lnTo>
                <a:lnTo>
                  <a:pt x="213" y="883"/>
                </a:lnTo>
                <a:lnTo>
                  <a:pt x="258" y="903"/>
                </a:lnTo>
                <a:lnTo>
                  <a:pt x="257" y="905"/>
                </a:lnTo>
                <a:lnTo>
                  <a:pt x="254" y="911"/>
                </a:lnTo>
                <a:lnTo>
                  <a:pt x="252" y="918"/>
                </a:lnTo>
                <a:lnTo>
                  <a:pt x="249" y="925"/>
                </a:lnTo>
                <a:lnTo>
                  <a:pt x="246" y="932"/>
                </a:lnTo>
                <a:lnTo>
                  <a:pt x="244" y="938"/>
                </a:lnTo>
                <a:lnTo>
                  <a:pt x="241" y="945"/>
                </a:lnTo>
                <a:lnTo>
                  <a:pt x="240" y="947"/>
                </a:lnTo>
                <a:lnTo>
                  <a:pt x="240" y="947"/>
                </a:lnTo>
                <a:close/>
                <a:moveTo>
                  <a:pt x="277" y="858"/>
                </a:moveTo>
                <a:lnTo>
                  <a:pt x="232" y="838"/>
                </a:lnTo>
                <a:lnTo>
                  <a:pt x="235" y="832"/>
                </a:lnTo>
                <a:lnTo>
                  <a:pt x="238" y="825"/>
                </a:lnTo>
                <a:lnTo>
                  <a:pt x="241" y="818"/>
                </a:lnTo>
                <a:lnTo>
                  <a:pt x="244" y="812"/>
                </a:lnTo>
                <a:lnTo>
                  <a:pt x="247" y="805"/>
                </a:lnTo>
                <a:lnTo>
                  <a:pt x="250" y="798"/>
                </a:lnTo>
                <a:lnTo>
                  <a:pt x="253" y="792"/>
                </a:lnTo>
                <a:lnTo>
                  <a:pt x="297" y="814"/>
                </a:lnTo>
                <a:lnTo>
                  <a:pt x="295" y="819"/>
                </a:lnTo>
                <a:lnTo>
                  <a:pt x="292" y="826"/>
                </a:lnTo>
                <a:lnTo>
                  <a:pt x="289" y="832"/>
                </a:lnTo>
                <a:lnTo>
                  <a:pt x="286" y="839"/>
                </a:lnTo>
                <a:lnTo>
                  <a:pt x="283" y="846"/>
                </a:lnTo>
                <a:lnTo>
                  <a:pt x="280" y="852"/>
                </a:lnTo>
                <a:lnTo>
                  <a:pt x="277" y="858"/>
                </a:lnTo>
                <a:lnTo>
                  <a:pt x="277" y="858"/>
                </a:lnTo>
                <a:close/>
                <a:moveTo>
                  <a:pt x="319" y="770"/>
                </a:moveTo>
                <a:lnTo>
                  <a:pt x="275" y="748"/>
                </a:lnTo>
                <a:lnTo>
                  <a:pt x="277" y="745"/>
                </a:lnTo>
                <a:lnTo>
                  <a:pt x="280" y="739"/>
                </a:lnTo>
                <a:lnTo>
                  <a:pt x="283" y="732"/>
                </a:lnTo>
                <a:lnTo>
                  <a:pt x="287" y="726"/>
                </a:lnTo>
                <a:lnTo>
                  <a:pt x="290" y="719"/>
                </a:lnTo>
                <a:lnTo>
                  <a:pt x="294" y="713"/>
                </a:lnTo>
                <a:lnTo>
                  <a:pt x="297" y="706"/>
                </a:lnTo>
                <a:lnTo>
                  <a:pt x="298" y="704"/>
                </a:lnTo>
                <a:lnTo>
                  <a:pt x="342" y="728"/>
                </a:lnTo>
                <a:lnTo>
                  <a:pt x="340" y="730"/>
                </a:lnTo>
                <a:lnTo>
                  <a:pt x="337" y="736"/>
                </a:lnTo>
                <a:lnTo>
                  <a:pt x="334" y="742"/>
                </a:lnTo>
                <a:lnTo>
                  <a:pt x="330" y="749"/>
                </a:lnTo>
                <a:lnTo>
                  <a:pt x="327" y="755"/>
                </a:lnTo>
                <a:lnTo>
                  <a:pt x="324" y="761"/>
                </a:lnTo>
                <a:lnTo>
                  <a:pt x="320" y="768"/>
                </a:lnTo>
                <a:lnTo>
                  <a:pt x="319" y="770"/>
                </a:lnTo>
                <a:lnTo>
                  <a:pt x="319" y="770"/>
                </a:lnTo>
                <a:close/>
                <a:moveTo>
                  <a:pt x="365" y="685"/>
                </a:moveTo>
                <a:lnTo>
                  <a:pt x="323" y="661"/>
                </a:lnTo>
                <a:lnTo>
                  <a:pt x="327" y="655"/>
                </a:lnTo>
                <a:lnTo>
                  <a:pt x="330" y="648"/>
                </a:lnTo>
                <a:lnTo>
                  <a:pt x="334" y="642"/>
                </a:lnTo>
                <a:lnTo>
                  <a:pt x="338" y="636"/>
                </a:lnTo>
                <a:lnTo>
                  <a:pt x="342" y="630"/>
                </a:lnTo>
                <a:lnTo>
                  <a:pt x="346" y="623"/>
                </a:lnTo>
                <a:lnTo>
                  <a:pt x="349" y="618"/>
                </a:lnTo>
                <a:lnTo>
                  <a:pt x="391" y="644"/>
                </a:lnTo>
                <a:lnTo>
                  <a:pt x="388" y="649"/>
                </a:lnTo>
                <a:lnTo>
                  <a:pt x="384" y="655"/>
                </a:lnTo>
                <a:lnTo>
                  <a:pt x="380" y="661"/>
                </a:lnTo>
                <a:lnTo>
                  <a:pt x="376" y="668"/>
                </a:lnTo>
                <a:lnTo>
                  <a:pt x="372" y="673"/>
                </a:lnTo>
                <a:lnTo>
                  <a:pt x="369" y="680"/>
                </a:lnTo>
                <a:lnTo>
                  <a:pt x="365" y="685"/>
                </a:lnTo>
                <a:lnTo>
                  <a:pt x="365" y="685"/>
                </a:lnTo>
                <a:close/>
                <a:moveTo>
                  <a:pt x="417" y="603"/>
                </a:moveTo>
                <a:lnTo>
                  <a:pt x="376" y="576"/>
                </a:lnTo>
                <a:lnTo>
                  <a:pt x="377" y="574"/>
                </a:lnTo>
                <a:lnTo>
                  <a:pt x="381" y="567"/>
                </a:lnTo>
                <a:lnTo>
                  <a:pt x="386" y="561"/>
                </a:lnTo>
                <a:lnTo>
                  <a:pt x="390" y="555"/>
                </a:lnTo>
                <a:lnTo>
                  <a:pt x="394" y="549"/>
                </a:lnTo>
                <a:lnTo>
                  <a:pt x="398" y="543"/>
                </a:lnTo>
                <a:lnTo>
                  <a:pt x="402" y="537"/>
                </a:lnTo>
                <a:lnTo>
                  <a:pt x="404" y="535"/>
                </a:lnTo>
                <a:lnTo>
                  <a:pt x="444" y="563"/>
                </a:lnTo>
                <a:lnTo>
                  <a:pt x="443" y="565"/>
                </a:lnTo>
                <a:lnTo>
                  <a:pt x="438" y="571"/>
                </a:lnTo>
                <a:lnTo>
                  <a:pt x="434" y="577"/>
                </a:lnTo>
                <a:lnTo>
                  <a:pt x="430" y="582"/>
                </a:lnTo>
                <a:lnTo>
                  <a:pt x="427" y="589"/>
                </a:lnTo>
                <a:lnTo>
                  <a:pt x="423" y="595"/>
                </a:lnTo>
                <a:lnTo>
                  <a:pt x="418" y="601"/>
                </a:lnTo>
                <a:lnTo>
                  <a:pt x="417" y="603"/>
                </a:lnTo>
                <a:lnTo>
                  <a:pt x="417" y="603"/>
                </a:lnTo>
                <a:close/>
                <a:moveTo>
                  <a:pt x="472" y="523"/>
                </a:moveTo>
                <a:lnTo>
                  <a:pt x="433" y="494"/>
                </a:lnTo>
                <a:lnTo>
                  <a:pt x="437" y="489"/>
                </a:lnTo>
                <a:lnTo>
                  <a:pt x="441" y="483"/>
                </a:lnTo>
                <a:lnTo>
                  <a:pt x="446" y="477"/>
                </a:lnTo>
                <a:lnTo>
                  <a:pt x="450" y="471"/>
                </a:lnTo>
                <a:lnTo>
                  <a:pt x="455" y="465"/>
                </a:lnTo>
                <a:lnTo>
                  <a:pt x="460" y="460"/>
                </a:lnTo>
                <a:lnTo>
                  <a:pt x="463" y="455"/>
                </a:lnTo>
                <a:lnTo>
                  <a:pt x="502" y="485"/>
                </a:lnTo>
                <a:lnTo>
                  <a:pt x="498" y="490"/>
                </a:lnTo>
                <a:lnTo>
                  <a:pt x="494" y="495"/>
                </a:lnTo>
                <a:lnTo>
                  <a:pt x="490" y="501"/>
                </a:lnTo>
                <a:lnTo>
                  <a:pt x="485" y="507"/>
                </a:lnTo>
                <a:lnTo>
                  <a:pt x="481" y="513"/>
                </a:lnTo>
                <a:lnTo>
                  <a:pt x="476" y="518"/>
                </a:lnTo>
                <a:lnTo>
                  <a:pt x="472" y="523"/>
                </a:lnTo>
                <a:lnTo>
                  <a:pt x="472" y="523"/>
                </a:lnTo>
                <a:close/>
                <a:moveTo>
                  <a:pt x="532" y="447"/>
                </a:moveTo>
                <a:lnTo>
                  <a:pt x="494" y="416"/>
                </a:lnTo>
                <a:lnTo>
                  <a:pt x="496" y="413"/>
                </a:lnTo>
                <a:lnTo>
                  <a:pt x="501" y="408"/>
                </a:lnTo>
                <a:lnTo>
                  <a:pt x="506" y="402"/>
                </a:lnTo>
                <a:lnTo>
                  <a:pt x="511" y="397"/>
                </a:lnTo>
                <a:lnTo>
                  <a:pt x="516" y="391"/>
                </a:lnTo>
                <a:lnTo>
                  <a:pt x="521" y="385"/>
                </a:lnTo>
                <a:lnTo>
                  <a:pt x="526" y="379"/>
                </a:lnTo>
                <a:lnTo>
                  <a:pt x="527" y="378"/>
                </a:lnTo>
                <a:lnTo>
                  <a:pt x="564" y="410"/>
                </a:lnTo>
                <a:lnTo>
                  <a:pt x="562" y="412"/>
                </a:lnTo>
                <a:lnTo>
                  <a:pt x="558" y="417"/>
                </a:lnTo>
                <a:lnTo>
                  <a:pt x="553" y="423"/>
                </a:lnTo>
                <a:lnTo>
                  <a:pt x="548" y="428"/>
                </a:lnTo>
                <a:lnTo>
                  <a:pt x="544" y="434"/>
                </a:lnTo>
                <a:lnTo>
                  <a:pt x="539" y="439"/>
                </a:lnTo>
                <a:lnTo>
                  <a:pt x="534" y="445"/>
                </a:lnTo>
                <a:lnTo>
                  <a:pt x="532" y="447"/>
                </a:lnTo>
                <a:lnTo>
                  <a:pt x="532" y="447"/>
                </a:lnTo>
                <a:close/>
                <a:moveTo>
                  <a:pt x="596" y="375"/>
                </a:moveTo>
                <a:lnTo>
                  <a:pt x="560" y="341"/>
                </a:lnTo>
                <a:lnTo>
                  <a:pt x="565" y="336"/>
                </a:lnTo>
                <a:lnTo>
                  <a:pt x="570" y="330"/>
                </a:lnTo>
                <a:lnTo>
                  <a:pt x="575" y="325"/>
                </a:lnTo>
                <a:lnTo>
                  <a:pt x="581" y="319"/>
                </a:lnTo>
                <a:lnTo>
                  <a:pt x="586" y="314"/>
                </a:lnTo>
                <a:lnTo>
                  <a:pt x="591" y="309"/>
                </a:lnTo>
                <a:lnTo>
                  <a:pt x="594" y="305"/>
                </a:lnTo>
                <a:lnTo>
                  <a:pt x="630" y="339"/>
                </a:lnTo>
                <a:lnTo>
                  <a:pt x="626" y="343"/>
                </a:lnTo>
                <a:lnTo>
                  <a:pt x="621" y="348"/>
                </a:lnTo>
                <a:lnTo>
                  <a:pt x="616" y="353"/>
                </a:lnTo>
                <a:lnTo>
                  <a:pt x="611" y="359"/>
                </a:lnTo>
                <a:lnTo>
                  <a:pt x="606" y="364"/>
                </a:lnTo>
                <a:lnTo>
                  <a:pt x="601" y="369"/>
                </a:lnTo>
                <a:lnTo>
                  <a:pt x="596" y="375"/>
                </a:lnTo>
                <a:lnTo>
                  <a:pt x="596" y="375"/>
                </a:lnTo>
                <a:close/>
                <a:moveTo>
                  <a:pt x="664" y="305"/>
                </a:moveTo>
                <a:lnTo>
                  <a:pt x="630" y="270"/>
                </a:lnTo>
                <a:lnTo>
                  <a:pt x="633" y="267"/>
                </a:lnTo>
                <a:lnTo>
                  <a:pt x="638" y="261"/>
                </a:lnTo>
                <a:lnTo>
                  <a:pt x="644" y="257"/>
                </a:lnTo>
                <a:lnTo>
                  <a:pt x="649" y="251"/>
                </a:lnTo>
                <a:lnTo>
                  <a:pt x="655" y="246"/>
                </a:lnTo>
                <a:lnTo>
                  <a:pt x="660" y="241"/>
                </a:lnTo>
                <a:lnTo>
                  <a:pt x="665" y="236"/>
                </a:lnTo>
                <a:lnTo>
                  <a:pt x="666" y="235"/>
                </a:lnTo>
                <a:lnTo>
                  <a:pt x="699" y="272"/>
                </a:lnTo>
                <a:lnTo>
                  <a:pt x="699" y="272"/>
                </a:lnTo>
                <a:lnTo>
                  <a:pt x="693" y="277"/>
                </a:lnTo>
                <a:lnTo>
                  <a:pt x="688" y="282"/>
                </a:lnTo>
                <a:lnTo>
                  <a:pt x="683" y="287"/>
                </a:lnTo>
                <a:lnTo>
                  <a:pt x="678" y="292"/>
                </a:lnTo>
                <a:lnTo>
                  <a:pt x="672" y="297"/>
                </a:lnTo>
                <a:lnTo>
                  <a:pt x="667" y="302"/>
                </a:lnTo>
                <a:lnTo>
                  <a:pt x="664" y="305"/>
                </a:lnTo>
                <a:lnTo>
                  <a:pt x="664" y="305"/>
                </a:lnTo>
                <a:close/>
                <a:moveTo>
                  <a:pt x="736" y="239"/>
                </a:moveTo>
                <a:lnTo>
                  <a:pt x="703" y="202"/>
                </a:lnTo>
                <a:lnTo>
                  <a:pt x="705" y="201"/>
                </a:lnTo>
                <a:lnTo>
                  <a:pt x="710" y="197"/>
                </a:lnTo>
                <a:lnTo>
                  <a:pt x="716" y="192"/>
                </a:lnTo>
                <a:lnTo>
                  <a:pt x="722" y="187"/>
                </a:lnTo>
                <a:lnTo>
                  <a:pt x="727" y="182"/>
                </a:lnTo>
                <a:lnTo>
                  <a:pt x="733" y="177"/>
                </a:lnTo>
                <a:lnTo>
                  <a:pt x="739" y="172"/>
                </a:lnTo>
                <a:lnTo>
                  <a:pt x="742" y="170"/>
                </a:lnTo>
                <a:lnTo>
                  <a:pt x="773" y="208"/>
                </a:lnTo>
                <a:lnTo>
                  <a:pt x="770" y="210"/>
                </a:lnTo>
                <a:lnTo>
                  <a:pt x="765" y="215"/>
                </a:lnTo>
                <a:lnTo>
                  <a:pt x="759" y="220"/>
                </a:lnTo>
                <a:lnTo>
                  <a:pt x="754" y="224"/>
                </a:lnTo>
                <a:lnTo>
                  <a:pt x="748" y="229"/>
                </a:lnTo>
                <a:lnTo>
                  <a:pt x="742" y="234"/>
                </a:lnTo>
                <a:lnTo>
                  <a:pt x="737" y="238"/>
                </a:lnTo>
                <a:lnTo>
                  <a:pt x="736" y="239"/>
                </a:lnTo>
                <a:lnTo>
                  <a:pt x="736" y="239"/>
                </a:lnTo>
                <a:close/>
                <a:moveTo>
                  <a:pt x="811" y="178"/>
                </a:moveTo>
                <a:lnTo>
                  <a:pt x="781" y="139"/>
                </a:lnTo>
                <a:lnTo>
                  <a:pt x="786" y="135"/>
                </a:lnTo>
                <a:lnTo>
                  <a:pt x="792" y="130"/>
                </a:lnTo>
                <a:lnTo>
                  <a:pt x="798" y="126"/>
                </a:lnTo>
                <a:lnTo>
                  <a:pt x="804" y="121"/>
                </a:lnTo>
                <a:lnTo>
                  <a:pt x="810" y="117"/>
                </a:lnTo>
                <a:lnTo>
                  <a:pt x="816" y="112"/>
                </a:lnTo>
                <a:lnTo>
                  <a:pt x="821" y="109"/>
                </a:lnTo>
                <a:lnTo>
                  <a:pt x="850" y="149"/>
                </a:lnTo>
                <a:lnTo>
                  <a:pt x="845" y="152"/>
                </a:lnTo>
                <a:lnTo>
                  <a:pt x="839" y="156"/>
                </a:lnTo>
                <a:lnTo>
                  <a:pt x="834" y="161"/>
                </a:lnTo>
                <a:lnTo>
                  <a:pt x="828" y="165"/>
                </a:lnTo>
                <a:lnTo>
                  <a:pt x="822" y="170"/>
                </a:lnTo>
                <a:lnTo>
                  <a:pt x="816" y="174"/>
                </a:lnTo>
                <a:lnTo>
                  <a:pt x="811" y="178"/>
                </a:lnTo>
                <a:lnTo>
                  <a:pt x="811" y="178"/>
                </a:lnTo>
                <a:close/>
                <a:moveTo>
                  <a:pt x="889" y="121"/>
                </a:moveTo>
                <a:lnTo>
                  <a:pt x="861" y="80"/>
                </a:lnTo>
                <a:lnTo>
                  <a:pt x="865" y="77"/>
                </a:lnTo>
                <a:lnTo>
                  <a:pt x="872" y="73"/>
                </a:lnTo>
                <a:lnTo>
                  <a:pt x="878" y="69"/>
                </a:lnTo>
                <a:lnTo>
                  <a:pt x="884" y="64"/>
                </a:lnTo>
                <a:lnTo>
                  <a:pt x="891" y="60"/>
                </a:lnTo>
                <a:lnTo>
                  <a:pt x="897" y="56"/>
                </a:lnTo>
                <a:lnTo>
                  <a:pt x="902" y="52"/>
                </a:lnTo>
                <a:lnTo>
                  <a:pt x="929" y="94"/>
                </a:lnTo>
                <a:lnTo>
                  <a:pt x="924" y="97"/>
                </a:lnTo>
                <a:lnTo>
                  <a:pt x="918" y="101"/>
                </a:lnTo>
                <a:lnTo>
                  <a:pt x="912" y="106"/>
                </a:lnTo>
                <a:lnTo>
                  <a:pt x="905" y="110"/>
                </a:lnTo>
                <a:lnTo>
                  <a:pt x="899" y="113"/>
                </a:lnTo>
                <a:lnTo>
                  <a:pt x="893" y="118"/>
                </a:lnTo>
                <a:lnTo>
                  <a:pt x="889" y="121"/>
                </a:lnTo>
                <a:lnTo>
                  <a:pt x="889" y="121"/>
                </a:lnTo>
                <a:close/>
              </a:path>
            </a:pathLst>
          </a:custGeom>
          <a:solidFill>
            <a:schemeClr val="tx1">
              <a:alpha val="20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48" name="Freeform 147">
            <a:extLst>
              <a:ext uri="{FF2B5EF4-FFF2-40B4-BE49-F238E27FC236}">
                <a16:creationId xmlns:a16="http://schemas.microsoft.com/office/drawing/2014/main" id="{5EFC1C0A-E853-46B6-BA67-73DB5DFCCA8B}"/>
              </a:ext>
            </a:extLst>
          </p:cNvPr>
          <p:cNvSpPr>
            <a:spLocks noEditPoints="1"/>
          </p:cNvSpPr>
          <p:nvPr/>
        </p:nvSpPr>
        <p:spPr bwMode="auto">
          <a:xfrm>
            <a:off x="8880064" y="1893157"/>
            <a:ext cx="1155094" cy="2012363"/>
          </a:xfrm>
          <a:custGeom>
            <a:avLst/>
            <a:gdLst>
              <a:gd name="T0" fmla="*/ 6 w 989"/>
              <a:gd name="T1" fmla="*/ 61 h 1723"/>
              <a:gd name="T2" fmla="*/ 131 w 989"/>
              <a:gd name="T3" fmla="*/ 105 h 1723"/>
              <a:gd name="T4" fmla="*/ 117 w 989"/>
              <a:gd name="T5" fmla="*/ 154 h 1723"/>
              <a:gd name="T6" fmla="*/ 84 w 989"/>
              <a:gd name="T7" fmla="*/ 134 h 1723"/>
              <a:gd name="T8" fmla="*/ 219 w 989"/>
              <a:gd name="T9" fmla="*/ 164 h 1723"/>
              <a:gd name="T10" fmla="*/ 191 w 989"/>
              <a:gd name="T11" fmla="*/ 204 h 1723"/>
              <a:gd name="T12" fmla="*/ 244 w 989"/>
              <a:gd name="T13" fmla="*/ 243 h 1723"/>
              <a:gd name="T14" fmla="*/ 310 w 989"/>
              <a:gd name="T15" fmla="*/ 232 h 1723"/>
              <a:gd name="T16" fmla="*/ 256 w 989"/>
              <a:gd name="T17" fmla="*/ 252 h 1723"/>
              <a:gd name="T18" fmla="*/ 362 w 989"/>
              <a:gd name="T19" fmla="*/ 275 h 1723"/>
              <a:gd name="T20" fmla="*/ 351 w 989"/>
              <a:gd name="T21" fmla="*/ 332 h 1723"/>
              <a:gd name="T22" fmla="*/ 320 w 989"/>
              <a:gd name="T23" fmla="*/ 304 h 1723"/>
              <a:gd name="T24" fmla="*/ 449 w 989"/>
              <a:gd name="T25" fmla="*/ 357 h 1723"/>
              <a:gd name="T26" fmla="*/ 415 w 989"/>
              <a:gd name="T27" fmla="*/ 392 h 1723"/>
              <a:gd name="T28" fmla="*/ 460 w 989"/>
              <a:gd name="T29" fmla="*/ 438 h 1723"/>
              <a:gd name="T30" fmla="*/ 521 w 989"/>
              <a:gd name="T31" fmla="*/ 432 h 1723"/>
              <a:gd name="T32" fmla="*/ 475 w 989"/>
              <a:gd name="T33" fmla="*/ 454 h 1723"/>
              <a:gd name="T34" fmla="*/ 562 w 989"/>
              <a:gd name="T35" fmla="*/ 479 h 1723"/>
              <a:gd name="T36" fmla="*/ 593 w 989"/>
              <a:gd name="T37" fmla="*/ 517 h 1723"/>
              <a:gd name="T38" fmla="*/ 536 w 989"/>
              <a:gd name="T39" fmla="*/ 526 h 1723"/>
              <a:gd name="T40" fmla="*/ 625 w 989"/>
              <a:gd name="T41" fmla="*/ 559 h 1723"/>
              <a:gd name="T42" fmla="*/ 654 w 989"/>
              <a:gd name="T43" fmla="*/ 597 h 1723"/>
              <a:gd name="T44" fmla="*/ 590 w 989"/>
              <a:gd name="T45" fmla="*/ 594 h 1723"/>
              <a:gd name="T46" fmla="*/ 689 w 989"/>
              <a:gd name="T47" fmla="*/ 650 h 1723"/>
              <a:gd name="T48" fmla="*/ 664 w 989"/>
              <a:gd name="T49" fmla="*/ 701 h 1723"/>
              <a:gd name="T50" fmla="*/ 641 w 989"/>
              <a:gd name="T51" fmla="*/ 666 h 1723"/>
              <a:gd name="T52" fmla="*/ 751 w 989"/>
              <a:gd name="T53" fmla="*/ 750 h 1723"/>
              <a:gd name="T54" fmla="*/ 708 w 989"/>
              <a:gd name="T55" fmla="*/ 774 h 1723"/>
              <a:gd name="T56" fmla="*/ 740 w 989"/>
              <a:gd name="T57" fmla="*/ 832 h 1723"/>
              <a:gd name="T58" fmla="*/ 803 w 989"/>
              <a:gd name="T59" fmla="*/ 848 h 1723"/>
              <a:gd name="T60" fmla="*/ 746 w 989"/>
              <a:gd name="T61" fmla="*/ 844 h 1723"/>
              <a:gd name="T62" fmla="*/ 831 w 989"/>
              <a:gd name="T63" fmla="*/ 909 h 1723"/>
              <a:gd name="T64" fmla="*/ 801 w 989"/>
              <a:gd name="T65" fmla="*/ 964 h 1723"/>
              <a:gd name="T66" fmla="*/ 783 w 989"/>
              <a:gd name="T67" fmla="*/ 922 h 1723"/>
              <a:gd name="T68" fmla="*/ 873 w 989"/>
              <a:gd name="T69" fmla="*/ 1011 h 1723"/>
              <a:gd name="T70" fmla="*/ 832 w 989"/>
              <a:gd name="T71" fmla="*/ 1042 h 1723"/>
              <a:gd name="T72" fmla="*/ 853 w 989"/>
              <a:gd name="T73" fmla="*/ 1100 h 1723"/>
              <a:gd name="T74" fmla="*/ 911 w 989"/>
              <a:gd name="T75" fmla="*/ 1124 h 1723"/>
              <a:gd name="T76" fmla="*/ 860 w 989"/>
              <a:gd name="T77" fmla="*/ 1124 h 1723"/>
              <a:gd name="T78" fmla="*/ 928 w 989"/>
              <a:gd name="T79" fmla="*/ 1181 h 1723"/>
              <a:gd name="T80" fmla="*/ 939 w 989"/>
              <a:gd name="T81" fmla="*/ 1225 h 1723"/>
              <a:gd name="T82" fmla="*/ 884 w 989"/>
              <a:gd name="T83" fmla="*/ 1208 h 1723"/>
              <a:gd name="T84" fmla="*/ 952 w 989"/>
              <a:gd name="T85" fmla="*/ 1283 h 1723"/>
              <a:gd name="T86" fmla="*/ 912 w 989"/>
              <a:gd name="T87" fmla="*/ 1335 h 1723"/>
              <a:gd name="T88" fmla="*/ 902 w 989"/>
              <a:gd name="T89" fmla="*/ 1288 h 1723"/>
              <a:gd name="T90" fmla="*/ 972 w 989"/>
              <a:gd name="T91" fmla="*/ 1402 h 1723"/>
              <a:gd name="T92" fmla="*/ 926 w 989"/>
              <a:gd name="T93" fmla="*/ 1423 h 1723"/>
              <a:gd name="T94" fmla="*/ 920 w 989"/>
              <a:gd name="T95" fmla="*/ 1383 h 1723"/>
              <a:gd name="T96" fmla="*/ 984 w 989"/>
              <a:gd name="T97" fmla="*/ 1506 h 1723"/>
              <a:gd name="T98" fmla="*/ 934 w 989"/>
              <a:gd name="T99" fmla="*/ 1510 h 1723"/>
              <a:gd name="T100" fmla="*/ 939 w 989"/>
              <a:gd name="T101" fmla="*/ 1576 h 1723"/>
              <a:gd name="T102" fmla="*/ 989 w 989"/>
              <a:gd name="T103" fmla="*/ 1613 h 1723"/>
              <a:gd name="T104" fmla="*/ 939 w 989"/>
              <a:gd name="T105" fmla="*/ 1599 h 1723"/>
              <a:gd name="T106" fmla="*/ 989 w 989"/>
              <a:gd name="T107" fmla="*/ 1674 h 1723"/>
              <a:gd name="T108" fmla="*/ 989 w 989"/>
              <a:gd name="T109" fmla="*/ 1687 h 1723"/>
              <a:gd name="T110" fmla="*/ 989 w 989"/>
              <a:gd name="T111" fmla="*/ 1703 h 1723"/>
              <a:gd name="T112" fmla="*/ 988 w 989"/>
              <a:gd name="T113" fmla="*/ 1718 h 1723"/>
              <a:gd name="T114" fmla="*/ 939 w 989"/>
              <a:gd name="T115" fmla="*/ 1716 h 1723"/>
              <a:gd name="T116" fmla="*/ 939 w 989"/>
              <a:gd name="T117" fmla="*/ 1701 h 1723"/>
              <a:gd name="T118" fmla="*/ 940 w 989"/>
              <a:gd name="T119" fmla="*/ 1686 h 1723"/>
              <a:gd name="T120" fmla="*/ 940 w 989"/>
              <a:gd name="T121" fmla="*/ 1673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9" h="1723">
                <a:moveTo>
                  <a:pt x="6" y="61"/>
                </a:moveTo>
                <a:lnTo>
                  <a:pt x="98" y="0"/>
                </a:lnTo>
                <a:lnTo>
                  <a:pt x="162" y="36"/>
                </a:lnTo>
                <a:lnTo>
                  <a:pt x="71" y="97"/>
                </a:lnTo>
                <a:lnTo>
                  <a:pt x="64" y="207"/>
                </a:lnTo>
                <a:lnTo>
                  <a:pt x="0" y="170"/>
                </a:lnTo>
                <a:lnTo>
                  <a:pt x="6" y="61"/>
                </a:lnTo>
                <a:lnTo>
                  <a:pt x="6" y="61"/>
                </a:lnTo>
                <a:close/>
                <a:moveTo>
                  <a:pt x="84" y="134"/>
                </a:moveTo>
                <a:lnTo>
                  <a:pt x="109" y="92"/>
                </a:lnTo>
                <a:lnTo>
                  <a:pt x="111" y="93"/>
                </a:lnTo>
                <a:lnTo>
                  <a:pt x="118" y="97"/>
                </a:lnTo>
                <a:lnTo>
                  <a:pt x="125" y="101"/>
                </a:lnTo>
                <a:lnTo>
                  <a:pt x="131" y="105"/>
                </a:lnTo>
                <a:lnTo>
                  <a:pt x="137" y="109"/>
                </a:lnTo>
                <a:lnTo>
                  <a:pt x="144" y="113"/>
                </a:lnTo>
                <a:lnTo>
                  <a:pt x="150" y="117"/>
                </a:lnTo>
                <a:lnTo>
                  <a:pt x="152" y="119"/>
                </a:lnTo>
                <a:lnTo>
                  <a:pt x="125" y="159"/>
                </a:lnTo>
                <a:lnTo>
                  <a:pt x="124" y="159"/>
                </a:lnTo>
                <a:lnTo>
                  <a:pt x="117" y="154"/>
                </a:lnTo>
                <a:lnTo>
                  <a:pt x="111" y="151"/>
                </a:lnTo>
                <a:lnTo>
                  <a:pt x="105" y="147"/>
                </a:lnTo>
                <a:lnTo>
                  <a:pt x="99" y="143"/>
                </a:lnTo>
                <a:lnTo>
                  <a:pt x="92" y="139"/>
                </a:lnTo>
                <a:lnTo>
                  <a:pt x="86" y="135"/>
                </a:lnTo>
                <a:lnTo>
                  <a:pt x="84" y="134"/>
                </a:lnTo>
                <a:lnTo>
                  <a:pt x="84" y="134"/>
                </a:lnTo>
                <a:close/>
                <a:moveTo>
                  <a:pt x="166" y="186"/>
                </a:moveTo>
                <a:lnTo>
                  <a:pt x="194" y="146"/>
                </a:lnTo>
                <a:lnTo>
                  <a:pt x="195" y="147"/>
                </a:lnTo>
                <a:lnTo>
                  <a:pt x="201" y="151"/>
                </a:lnTo>
                <a:lnTo>
                  <a:pt x="207" y="155"/>
                </a:lnTo>
                <a:lnTo>
                  <a:pt x="213" y="159"/>
                </a:lnTo>
                <a:lnTo>
                  <a:pt x="219" y="164"/>
                </a:lnTo>
                <a:lnTo>
                  <a:pt x="226" y="168"/>
                </a:lnTo>
                <a:lnTo>
                  <a:pt x="232" y="173"/>
                </a:lnTo>
                <a:lnTo>
                  <a:pt x="235" y="175"/>
                </a:lnTo>
                <a:lnTo>
                  <a:pt x="205" y="214"/>
                </a:lnTo>
                <a:lnTo>
                  <a:pt x="203" y="212"/>
                </a:lnTo>
                <a:lnTo>
                  <a:pt x="197" y="209"/>
                </a:lnTo>
                <a:lnTo>
                  <a:pt x="191" y="204"/>
                </a:lnTo>
                <a:lnTo>
                  <a:pt x="185" y="200"/>
                </a:lnTo>
                <a:lnTo>
                  <a:pt x="179" y="196"/>
                </a:lnTo>
                <a:lnTo>
                  <a:pt x="173" y="191"/>
                </a:lnTo>
                <a:lnTo>
                  <a:pt x="167" y="187"/>
                </a:lnTo>
                <a:lnTo>
                  <a:pt x="166" y="186"/>
                </a:lnTo>
                <a:lnTo>
                  <a:pt x="166" y="186"/>
                </a:lnTo>
                <a:close/>
                <a:moveTo>
                  <a:pt x="244" y="243"/>
                </a:moveTo>
                <a:lnTo>
                  <a:pt x="274" y="204"/>
                </a:lnTo>
                <a:lnTo>
                  <a:pt x="280" y="209"/>
                </a:lnTo>
                <a:lnTo>
                  <a:pt x="286" y="213"/>
                </a:lnTo>
                <a:lnTo>
                  <a:pt x="292" y="218"/>
                </a:lnTo>
                <a:lnTo>
                  <a:pt x="298" y="223"/>
                </a:lnTo>
                <a:lnTo>
                  <a:pt x="304" y="227"/>
                </a:lnTo>
                <a:lnTo>
                  <a:pt x="310" y="232"/>
                </a:lnTo>
                <a:lnTo>
                  <a:pt x="313" y="235"/>
                </a:lnTo>
                <a:lnTo>
                  <a:pt x="282" y="273"/>
                </a:lnTo>
                <a:lnTo>
                  <a:pt x="279" y="271"/>
                </a:lnTo>
                <a:lnTo>
                  <a:pt x="273" y="266"/>
                </a:lnTo>
                <a:lnTo>
                  <a:pt x="268" y="261"/>
                </a:lnTo>
                <a:lnTo>
                  <a:pt x="262" y="257"/>
                </a:lnTo>
                <a:lnTo>
                  <a:pt x="256" y="252"/>
                </a:lnTo>
                <a:lnTo>
                  <a:pt x="250" y="248"/>
                </a:lnTo>
                <a:lnTo>
                  <a:pt x="244" y="243"/>
                </a:lnTo>
                <a:lnTo>
                  <a:pt x="244" y="243"/>
                </a:lnTo>
                <a:close/>
                <a:moveTo>
                  <a:pt x="320" y="304"/>
                </a:moveTo>
                <a:lnTo>
                  <a:pt x="352" y="267"/>
                </a:lnTo>
                <a:lnTo>
                  <a:pt x="356" y="271"/>
                </a:lnTo>
                <a:lnTo>
                  <a:pt x="362" y="275"/>
                </a:lnTo>
                <a:lnTo>
                  <a:pt x="368" y="280"/>
                </a:lnTo>
                <a:lnTo>
                  <a:pt x="373" y="285"/>
                </a:lnTo>
                <a:lnTo>
                  <a:pt x="378" y="290"/>
                </a:lnTo>
                <a:lnTo>
                  <a:pt x="384" y="296"/>
                </a:lnTo>
                <a:lnTo>
                  <a:pt x="389" y="300"/>
                </a:lnTo>
                <a:lnTo>
                  <a:pt x="356" y="336"/>
                </a:lnTo>
                <a:lnTo>
                  <a:pt x="351" y="332"/>
                </a:lnTo>
                <a:lnTo>
                  <a:pt x="346" y="327"/>
                </a:lnTo>
                <a:lnTo>
                  <a:pt x="340" y="322"/>
                </a:lnTo>
                <a:lnTo>
                  <a:pt x="335" y="317"/>
                </a:lnTo>
                <a:lnTo>
                  <a:pt x="330" y="313"/>
                </a:lnTo>
                <a:lnTo>
                  <a:pt x="324" y="308"/>
                </a:lnTo>
                <a:lnTo>
                  <a:pt x="320" y="304"/>
                </a:lnTo>
                <a:lnTo>
                  <a:pt x="320" y="304"/>
                </a:lnTo>
                <a:close/>
                <a:moveTo>
                  <a:pt x="392" y="369"/>
                </a:moveTo>
                <a:lnTo>
                  <a:pt x="426" y="334"/>
                </a:lnTo>
                <a:lnTo>
                  <a:pt x="428" y="336"/>
                </a:lnTo>
                <a:lnTo>
                  <a:pt x="434" y="341"/>
                </a:lnTo>
                <a:lnTo>
                  <a:pt x="439" y="346"/>
                </a:lnTo>
                <a:lnTo>
                  <a:pt x="444" y="352"/>
                </a:lnTo>
                <a:lnTo>
                  <a:pt x="449" y="357"/>
                </a:lnTo>
                <a:lnTo>
                  <a:pt x="455" y="362"/>
                </a:lnTo>
                <a:lnTo>
                  <a:pt x="460" y="367"/>
                </a:lnTo>
                <a:lnTo>
                  <a:pt x="462" y="369"/>
                </a:lnTo>
                <a:lnTo>
                  <a:pt x="426" y="403"/>
                </a:lnTo>
                <a:lnTo>
                  <a:pt x="425" y="402"/>
                </a:lnTo>
                <a:lnTo>
                  <a:pt x="420" y="397"/>
                </a:lnTo>
                <a:lnTo>
                  <a:pt x="415" y="392"/>
                </a:lnTo>
                <a:lnTo>
                  <a:pt x="409" y="387"/>
                </a:lnTo>
                <a:lnTo>
                  <a:pt x="404" y="382"/>
                </a:lnTo>
                <a:lnTo>
                  <a:pt x="399" y="377"/>
                </a:lnTo>
                <a:lnTo>
                  <a:pt x="394" y="371"/>
                </a:lnTo>
                <a:lnTo>
                  <a:pt x="392" y="369"/>
                </a:lnTo>
                <a:lnTo>
                  <a:pt x="392" y="369"/>
                </a:lnTo>
                <a:close/>
                <a:moveTo>
                  <a:pt x="460" y="438"/>
                </a:moveTo>
                <a:lnTo>
                  <a:pt x="496" y="405"/>
                </a:lnTo>
                <a:lnTo>
                  <a:pt x="496" y="405"/>
                </a:lnTo>
                <a:lnTo>
                  <a:pt x="501" y="411"/>
                </a:lnTo>
                <a:lnTo>
                  <a:pt x="506" y="416"/>
                </a:lnTo>
                <a:lnTo>
                  <a:pt x="511" y="421"/>
                </a:lnTo>
                <a:lnTo>
                  <a:pt x="516" y="427"/>
                </a:lnTo>
                <a:lnTo>
                  <a:pt x="521" y="432"/>
                </a:lnTo>
                <a:lnTo>
                  <a:pt x="526" y="438"/>
                </a:lnTo>
                <a:lnTo>
                  <a:pt x="530" y="442"/>
                </a:lnTo>
                <a:lnTo>
                  <a:pt x="493" y="474"/>
                </a:lnTo>
                <a:lnTo>
                  <a:pt x="490" y="471"/>
                </a:lnTo>
                <a:lnTo>
                  <a:pt x="485" y="465"/>
                </a:lnTo>
                <a:lnTo>
                  <a:pt x="480" y="460"/>
                </a:lnTo>
                <a:lnTo>
                  <a:pt x="475" y="454"/>
                </a:lnTo>
                <a:lnTo>
                  <a:pt x="470" y="449"/>
                </a:lnTo>
                <a:lnTo>
                  <a:pt x="465" y="444"/>
                </a:lnTo>
                <a:lnTo>
                  <a:pt x="460" y="439"/>
                </a:lnTo>
                <a:lnTo>
                  <a:pt x="460" y="438"/>
                </a:lnTo>
                <a:lnTo>
                  <a:pt x="460" y="438"/>
                </a:lnTo>
                <a:close/>
                <a:moveTo>
                  <a:pt x="524" y="511"/>
                </a:moveTo>
                <a:lnTo>
                  <a:pt x="562" y="479"/>
                </a:lnTo>
                <a:lnTo>
                  <a:pt x="565" y="483"/>
                </a:lnTo>
                <a:lnTo>
                  <a:pt x="570" y="489"/>
                </a:lnTo>
                <a:lnTo>
                  <a:pt x="575" y="494"/>
                </a:lnTo>
                <a:lnTo>
                  <a:pt x="579" y="500"/>
                </a:lnTo>
                <a:lnTo>
                  <a:pt x="584" y="506"/>
                </a:lnTo>
                <a:lnTo>
                  <a:pt x="589" y="511"/>
                </a:lnTo>
                <a:lnTo>
                  <a:pt x="593" y="517"/>
                </a:lnTo>
                <a:lnTo>
                  <a:pt x="594" y="518"/>
                </a:lnTo>
                <a:lnTo>
                  <a:pt x="555" y="548"/>
                </a:lnTo>
                <a:lnTo>
                  <a:pt x="555" y="548"/>
                </a:lnTo>
                <a:lnTo>
                  <a:pt x="550" y="542"/>
                </a:lnTo>
                <a:lnTo>
                  <a:pt x="546" y="536"/>
                </a:lnTo>
                <a:lnTo>
                  <a:pt x="541" y="531"/>
                </a:lnTo>
                <a:lnTo>
                  <a:pt x="536" y="526"/>
                </a:lnTo>
                <a:lnTo>
                  <a:pt x="532" y="520"/>
                </a:lnTo>
                <a:lnTo>
                  <a:pt x="528" y="514"/>
                </a:lnTo>
                <a:lnTo>
                  <a:pt x="524" y="511"/>
                </a:lnTo>
                <a:lnTo>
                  <a:pt x="524" y="511"/>
                </a:lnTo>
                <a:close/>
                <a:moveTo>
                  <a:pt x="585" y="587"/>
                </a:moveTo>
                <a:lnTo>
                  <a:pt x="624" y="557"/>
                </a:lnTo>
                <a:lnTo>
                  <a:pt x="625" y="559"/>
                </a:lnTo>
                <a:lnTo>
                  <a:pt x="630" y="565"/>
                </a:lnTo>
                <a:lnTo>
                  <a:pt x="634" y="570"/>
                </a:lnTo>
                <a:lnTo>
                  <a:pt x="638" y="576"/>
                </a:lnTo>
                <a:lnTo>
                  <a:pt x="643" y="582"/>
                </a:lnTo>
                <a:lnTo>
                  <a:pt x="647" y="589"/>
                </a:lnTo>
                <a:lnTo>
                  <a:pt x="651" y="595"/>
                </a:lnTo>
                <a:lnTo>
                  <a:pt x="654" y="597"/>
                </a:lnTo>
                <a:lnTo>
                  <a:pt x="613" y="626"/>
                </a:lnTo>
                <a:lnTo>
                  <a:pt x="611" y="623"/>
                </a:lnTo>
                <a:lnTo>
                  <a:pt x="607" y="617"/>
                </a:lnTo>
                <a:lnTo>
                  <a:pt x="603" y="611"/>
                </a:lnTo>
                <a:lnTo>
                  <a:pt x="599" y="605"/>
                </a:lnTo>
                <a:lnTo>
                  <a:pt x="594" y="599"/>
                </a:lnTo>
                <a:lnTo>
                  <a:pt x="590" y="594"/>
                </a:lnTo>
                <a:lnTo>
                  <a:pt x="586" y="588"/>
                </a:lnTo>
                <a:lnTo>
                  <a:pt x="585" y="587"/>
                </a:lnTo>
                <a:lnTo>
                  <a:pt x="585" y="587"/>
                </a:lnTo>
                <a:close/>
                <a:moveTo>
                  <a:pt x="641" y="666"/>
                </a:moveTo>
                <a:lnTo>
                  <a:pt x="682" y="639"/>
                </a:lnTo>
                <a:lnTo>
                  <a:pt x="685" y="643"/>
                </a:lnTo>
                <a:lnTo>
                  <a:pt x="689" y="650"/>
                </a:lnTo>
                <a:lnTo>
                  <a:pt x="693" y="655"/>
                </a:lnTo>
                <a:lnTo>
                  <a:pt x="697" y="662"/>
                </a:lnTo>
                <a:lnTo>
                  <a:pt x="701" y="668"/>
                </a:lnTo>
                <a:lnTo>
                  <a:pt x="705" y="674"/>
                </a:lnTo>
                <a:lnTo>
                  <a:pt x="709" y="681"/>
                </a:lnTo>
                <a:lnTo>
                  <a:pt x="667" y="707"/>
                </a:lnTo>
                <a:lnTo>
                  <a:pt x="664" y="701"/>
                </a:lnTo>
                <a:lnTo>
                  <a:pt x="660" y="694"/>
                </a:lnTo>
                <a:lnTo>
                  <a:pt x="656" y="688"/>
                </a:lnTo>
                <a:lnTo>
                  <a:pt x="652" y="683"/>
                </a:lnTo>
                <a:lnTo>
                  <a:pt x="648" y="677"/>
                </a:lnTo>
                <a:lnTo>
                  <a:pt x="644" y="670"/>
                </a:lnTo>
                <a:lnTo>
                  <a:pt x="641" y="666"/>
                </a:lnTo>
                <a:lnTo>
                  <a:pt x="641" y="666"/>
                </a:lnTo>
                <a:close/>
                <a:moveTo>
                  <a:pt x="693" y="748"/>
                </a:moveTo>
                <a:lnTo>
                  <a:pt x="735" y="723"/>
                </a:lnTo>
                <a:lnTo>
                  <a:pt x="736" y="725"/>
                </a:lnTo>
                <a:lnTo>
                  <a:pt x="740" y="731"/>
                </a:lnTo>
                <a:lnTo>
                  <a:pt x="743" y="738"/>
                </a:lnTo>
                <a:lnTo>
                  <a:pt x="747" y="744"/>
                </a:lnTo>
                <a:lnTo>
                  <a:pt x="751" y="750"/>
                </a:lnTo>
                <a:lnTo>
                  <a:pt x="755" y="757"/>
                </a:lnTo>
                <a:lnTo>
                  <a:pt x="758" y="763"/>
                </a:lnTo>
                <a:lnTo>
                  <a:pt x="760" y="766"/>
                </a:lnTo>
                <a:lnTo>
                  <a:pt x="717" y="790"/>
                </a:lnTo>
                <a:lnTo>
                  <a:pt x="715" y="787"/>
                </a:lnTo>
                <a:lnTo>
                  <a:pt x="712" y="781"/>
                </a:lnTo>
                <a:lnTo>
                  <a:pt x="708" y="774"/>
                </a:lnTo>
                <a:lnTo>
                  <a:pt x="704" y="769"/>
                </a:lnTo>
                <a:lnTo>
                  <a:pt x="701" y="762"/>
                </a:lnTo>
                <a:lnTo>
                  <a:pt x="698" y="756"/>
                </a:lnTo>
                <a:lnTo>
                  <a:pt x="694" y="750"/>
                </a:lnTo>
                <a:lnTo>
                  <a:pt x="693" y="748"/>
                </a:lnTo>
                <a:lnTo>
                  <a:pt x="693" y="748"/>
                </a:lnTo>
                <a:close/>
                <a:moveTo>
                  <a:pt x="740" y="832"/>
                </a:moveTo>
                <a:lnTo>
                  <a:pt x="783" y="810"/>
                </a:lnTo>
                <a:lnTo>
                  <a:pt x="786" y="815"/>
                </a:lnTo>
                <a:lnTo>
                  <a:pt x="790" y="822"/>
                </a:lnTo>
                <a:lnTo>
                  <a:pt x="793" y="829"/>
                </a:lnTo>
                <a:lnTo>
                  <a:pt x="796" y="835"/>
                </a:lnTo>
                <a:lnTo>
                  <a:pt x="799" y="842"/>
                </a:lnTo>
                <a:lnTo>
                  <a:pt x="803" y="848"/>
                </a:lnTo>
                <a:lnTo>
                  <a:pt x="806" y="855"/>
                </a:lnTo>
                <a:lnTo>
                  <a:pt x="762" y="876"/>
                </a:lnTo>
                <a:lnTo>
                  <a:pt x="759" y="870"/>
                </a:lnTo>
                <a:lnTo>
                  <a:pt x="756" y="863"/>
                </a:lnTo>
                <a:lnTo>
                  <a:pt x="752" y="857"/>
                </a:lnTo>
                <a:lnTo>
                  <a:pt x="749" y="851"/>
                </a:lnTo>
                <a:lnTo>
                  <a:pt x="746" y="844"/>
                </a:lnTo>
                <a:lnTo>
                  <a:pt x="742" y="838"/>
                </a:lnTo>
                <a:lnTo>
                  <a:pt x="740" y="832"/>
                </a:lnTo>
                <a:lnTo>
                  <a:pt x="740" y="832"/>
                </a:lnTo>
                <a:close/>
                <a:moveTo>
                  <a:pt x="782" y="920"/>
                </a:moveTo>
                <a:lnTo>
                  <a:pt x="827" y="900"/>
                </a:lnTo>
                <a:lnTo>
                  <a:pt x="828" y="902"/>
                </a:lnTo>
                <a:lnTo>
                  <a:pt x="831" y="909"/>
                </a:lnTo>
                <a:lnTo>
                  <a:pt x="834" y="916"/>
                </a:lnTo>
                <a:lnTo>
                  <a:pt x="837" y="922"/>
                </a:lnTo>
                <a:lnTo>
                  <a:pt x="840" y="929"/>
                </a:lnTo>
                <a:lnTo>
                  <a:pt x="843" y="936"/>
                </a:lnTo>
                <a:lnTo>
                  <a:pt x="846" y="943"/>
                </a:lnTo>
                <a:lnTo>
                  <a:pt x="847" y="946"/>
                </a:lnTo>
                <a:lnTo>
                  <a:pt x="801" y="964"/>
                </a:lnTo>
                <a:lnTo>
                  <a:pt x="800" y="962"/>
                </a:lnTo>
                <a:lnTo>
                  <a:pt x="798" y="955"/>
                </a:lnTo>
                <a:lnTo>
                  <a:pt x="795" y="948"/>
                </a:lnTo>
                <a:lnTo>
                  <a:pt x="792" y="942"/>
                </a:lnTo>
                <a:lnTo>
                  <a:pt x="789" y="935"/>
                </a:lnTo>
                <a:lnTo>
                  <a:pt x="786" y="929"/>
                </a:lnTo>
                <a:lnTo>
                  <a:pt x="783" y="922"/>
                </a:lnTo>
                <a:lnTo>
                  <a:pt x="782" y="920"/>
                </a:lnTo>
                <a:lnTo>
                  <a:pt x="782" y="920"/>
                </a:lnTo>
                <a:close/>
                <a:moveTo>
                  <a:pt x="820" y="1009"/>
                </a:moveTo>
                <a:lnTo>
                  <a:pt x="865" y="992"/>
                </a:lnTo>
                <a:lnTo>
                  <a:pt x="868" y="998"/>
                </a:lnTo>
                <a:lnTo>
                  <a:pt x="871" y="1005"/>
                </a:lnTo>
                <a:lnTo>
                  <a:pt x="873" y="1011"/>
                </a:lnTo>
                <a:lnTo>
                  <a:pt x="876" y="1018"/>
                </a:lnTo>
                <a:lnTo>
                  <a:pt x="878" y="1026"/>
                </a:lnTo>
                <a:lnTo>
                  <a:pt x="881" y="1033"/>
                </a:lnTo>
                <a:lnTo>
                  <a:pt x="883" y="1038"/>
                </a:lnTo>
                <a:lnTo>
                  <a:pt x="837" y="1055"/>
                </a:lnTo>
                <a:lnTo>
                  <a:pt x="835" y="1049"/>
                </a:lnTo>
                <a:lnTo>
                  <a:pt x="832" y="1042"/>
                </a:lnTo>
                <a:lnTo>
                  <a:pt x="830" y="1035"/>
                </a:lnTo>
                <a:lnTo>
                  <a:pt x="827" y="1029"/>
                </a:lnTo>
                <a:lnTo>
                  <a:pt x="825" y="1022"/>
                </a:lnTo>
                <a:lnTo>
                  <a:pt x="822" y="1015"/>
                </a:lnTo>
                <a:lnTo>
                  <a:pt x="820" y="1009"/>
                </a:lnTo>
                <a:lnTo>
                  <a:pt x="820" y="1009"/>
                </a:lnTo>
                <a:close/>
                <a:moveTo>
                  <a:pt x="853" y="1100"/>
                </a:moveTo>
                <a:lnTo>
                  <a:pt x="899" y="1085"/>
                </a:lnTo>
                <a:lnTo>
                  <a:pt x="900" y="1089"/>
                </a:lnTo>
                <a:lnTo>
                  <a:pt x="902" y="1096"/>
                </a:lnTo>
                <a:lnTo>
                  <a:pt x="905" y="1103"/>
                </a:lnTo>
                <a:lnTo>
                  <a:pt x="907" y="1110"/>
                </a:lnTo>
                <a:lnTo>
                  <a:pt x="909" y="1117"/>
                </a:lnTo>
                <a:lnTo>
                  <a:pt x="911" y="1124"/>
                </a:lnTo>
                <a:lnTo>
                  <a:pt x="914" y="1131"/>
                </a:lnTo>
                <a:lnTo>
                  <a:pt x="914" y="1133"/>
                </a:lnTo>
                <a:lnTo>
                  <a:pt x="867" y="1147"/>
                </a:lnTo>
                <a:lnTo>
                  <a:pt x="866" y="1145"/>
                </a:lnTo>
                <a:lnTo>
                  <a:pt x="865" y="1138"/>
                </a:lnTo>
                <a:lnTo>
                  <a:pt x="863" y="1131"/>
                </a:lnTo>
                <a:lnTo>
                  <a:pt x="860" y="1124"/>
                </a:lnTo>
                <a:lnTo>
                  <a:pt x="858" y="1118"/>
                </a:lnTo>
                <a:lnTo>
                  <a:pt x="856" y="1111"/>
                </a:lnTo>
                <a:lnTo>
                  <a:pt x="854" y="1104"/>
                </a:lnTo>
                <a:lnTo>
                  <a:pt x="853" y="1100"/>
                </a:lnTo>
                <a:lnTo>
                  <a:pt x="853" y="1100"/>
                </a:lnTo>
                <a:close/>
                <a:moveTo>
                  <a:pt x="880" y="1193"/>
                </a:moveTo>
                <a:lnTo>
                  <a:pt x="928" y="1181"/>
                </a:lnTo>
                <a:lnTo>
                  <a:pt x="928" y="1182"/>
                </a:lnTo>
                <a:lnTo>
                  <a:pt x="930" y="1189"/>
                </a:lnTo>
                <a:lnTo>
                  <a:pt x="931" y="1196"/>
                </a:lnTo>
                <a:lnTo>
                  <a:pt x="933" y="1203"/>
                </a:lnTo>
                <a:lnTo>
                  <a:pt x="935" y="1211"/>
                </a:lnTo>
                <a:lnTo>
                  <a:pt x="937" y="1217"/>
                </a:lnTo>
                <a:lnTo>
                  <a:pt x="939" y="1225"/>
                </a:lnTo>
                <a:lnTo>
                  <a:pt x="940" y="1229"/>
                </a:lnTo>
                <a:lnTo>
                  <a:pt x="892" y="1241"/>
                </a:lnTo>
                <a:lnTo>
                  <a:pt x="891" y="1237"/>
                </a:lnTo>
                <a:lnTo>
                  <a:pt x="889" y="1229"/>
                </a:lnTo>
                <a:lnTo>
                  <a:pt x="888" y="1222"/>
                </a:lnTo>
                <a:lnTo>
                  <a:pt x="886" y="1215"/>
                </a:lnTo>
                <a:lnTo>
                  <a:pt x="884" y="1208"/>
                </a:lnTo>
                <a:lnTo>
                  <a:pt x="882" y="1201"/>
                </a:lnTo>
                <a:lnTo>
                  <a:pt x="880" y="1194"/>
                </a:lnTo>
                <a:lnTo>
                  <a:pt x="880" y="1193"/>
                </a:lnTo>
                <a:lnTo>
                  <a:pt x="880" y="1193"/>
                </a:lnTo>
                <a:close/>
                <a:moveTo>
                  <a:pt x="902" y="1288"/>
                </a:moveTo>
                <a:lnTo>
                  <a:pt x="951" y="1278"/>
                </a:lnTo>
                <a:lnTo>
                  <a:pt x="952" y="1283"/>
                </a:lnTo>
                <a:lnTo>
                  <a:pt x="954" y="1291"/>
                </a:lnTo>
                <a:lnTo>
                  <a:pt x="955" y="1298"/>
                </a:lnTo>
                <a:lnTo>
                  <a:pt x="956" y="1305"/>
                </a:lnTo>
                <a:lnTo>
                  <a:pt x="958" y="1313"/>
                </a:lnTo>
                <a:lnTo>
                  <a:pt x="959" y="1320"/>
                </a:lnTo>
                <a:lnTo>
                  <a:pt x="961" y="1327"/>
                </a:lnTo>
                <a:lnTo>
                  <a:pt x="912" y="1335"/>
                </a:lnTo>
                <a:lnTo>
                  <a:pt x="911" y="1329"/>
                </a:lnTo>
                <a:lnTo>
                  <a:pt x="909" y="1322"/>
                </a:lnTo>
                <a:lnTo>
                  <a:pt x="908" y="1315"/>
                </a:lnTo>
                <a:lnTo>
                  <a:pt x="906" y="1307"/>
                </a:lnTo>
                <a:lnTo>
                  <a:pt x="905" y="1300"/>
                </a:lnTo>
                <a:lnTo>
                  <a:pt x="904" y="1293"/>
                </a:lnTo>
                <a:lnTo>
                  <a:pt x="902" y="1288"/>
                </a:lnTo>
                <a:lnTo>
                  <a:pt x="902" y="1288"/>
                </a:lnTo>
                <a:close/>
                <a:moveTo>
                  <a:pt x="920" y="1383"/>
                </a:moveTo>
                <a:lnTo>
                  <a:pt x="968" y="1376"/>
                </a:lnTo>
                <a:lnTo>
                  <a:pt x="969" y="1379"/>
                </a:lnTo>
                <a:lnTo>
                  <a:pt x="970" y="1387"/>
                </a:lnTo>
                <a:lnTo>
                  <a:pt x="971" y="1394"/>
                </a:lnTo>
                <a:lnTo>
                  <a:pt x="972" y="1402"/>
                </a:lnTo>
                <a:lnTo>
                  <a:pt x="973" y="1409"/>
                </a:lnTo>
                <a:lnTo>
                  <a:pt x="974" y="1417"/>
                </a:lnTo>
                <a:lnTo>
                  <a:pt x="975" y="1424"/>
                </a:lnTo>
                <a:lnTo>
                  <a:pt x="975" y="1425"/>
                </a:lnTo>
                <a:lnTo>
                  <a:pt x="927" y="1431"/>
                </a:lnTo>
                <a:lnTo>
                  <a:pt x="927" y="1430"/>
                </a:lnTo>
                <a:lnTo>
                  <a:pt x="926" y="1423"/>
                </a:lnTo>
                <a:lnTo>
                  <a:pt x="925" y="1416"/>
                </a:lnTo>
                <a:lnTo>
                  <a:pt x="924" y="1408"/>
                </a:lnTo>
                <a:lnTo>
                  <a:pt x="923" y="1401"/>
                </a:lnTo>
                <a:lnTo>
                  <a:pt x="922" y="1394"/>
                </a:lnTo>
                <a:lnTo>
                  <a:pt x="920" y="1387"/>
                </a:lnTo>
                <a:lnTo>
                  <a:pt x="920" y="1383"/>
                </a:lnTo>
                <a:lnTo>
                  <a:pt x="920" y="1383"/>
                </a:lnTo>
                <a:close/>
                <a:moveTo>
                  <a:pt x="932" y="1479"/>
                </a:moveTo>
                <a:lnTo>
                  <a:pt x="981" y="1475"/>
                </a:lnTo>
                <a:lnTo>
                  <a:pt x="981" y="1476"/>
                </a:lnTo>
                <a:lnTo>
                  <a:pt x="982" y="1484"/>
                </a:lnTo>
                <a:lnTo>
                  <a:pt x="982" y="1492"/>
                </a:lnTo>
                <a:lnTo>
                  <a:pt x="983" y="1499"/>
                </a:lnTo>
                <a:lnTo>
                  <a:pt x="984" y="1506"/>
                </a:lnTo>
                <a:lnTo>
                  <a:pt x="984" y="1514"/>
                </a:lnTo>
                <a:lnTo>
                  <a:pt x="985" y="1522"/>
                </a:lnTo>
                <a:lnTo>
                  <a:pt x="985" y="1524"/>
                </a:lnTo>
                <a:lnTo>
                  <a:pt x="936" y="1528"/>
                </a:lnTo>
                <a:lnTo>
                  <a:pt x="936" y="1525"/>
                </a:lnTo>
                <a:lnTo>
                  <a:pt x="935" y="1518"/>
                </a:lnTo>
                <a:lnTo>
                  <a:pt x="934" y="1510"/>
                </a:lnTo>
                <a:lnTo>
                  <a:pt x="934" y="1503"/>
                </a:lnTo>
                <a:lnTo>
                  <a:pt x="933" y="1496"/>
                </a:lnTo>
                <a:lnTo>
                  <a:pt x="933" y="1489"/>
                </a:lnTo>
                <a:lnTo>
                  <a:pt x="932" y="1481"/>
                </a:lnTo>
                <a:lnTo>
                  <a:pt x="932" y="1479"/>
                </a:lnTo>
                <a:lnTo>
                  <a:pt x="932" y="1479"/>
                </a:lnTo>
                <a:close/>
                <a:moveTo>
                  <a:pt x="939" y="1576"/>
                </a:moveTo>
                <a:lnTo>
                  <a:pt x="988" y="1574"/>
                </a:lnTo>
                <a:lnTo>
                  <a:pt x="988" y="1575"/>
                </a:lnTo>
                <a:lnTo>
                  <a:pt x="988" y="1583"/>
                </a:lnTo>
                <a:lnTo>
                  <a:pt x="989" y="1590"/>
                </a:lnTo>
                <a:lnTo>
                  <a:pt x="989" y="1598"/>
                </a:lnTo>
                <a:lnTo>
                  <a:pt x="989" y="1605"/>
                </a:lnTo>
                <a:lnTo>
                  <a:pt x="989" y="1613"/>
                </a:lnTo>
                <a:lnTo>
                  <a:pt x="989" y="1621"/>
                </a:lnTo>
                <a:lnTo>
                  <a:pt x="989" y="1623"/>
                </a:lnTo>
                <a:lnTo>
                  <a:pt x="940" y="1624"/>
                </a:lnTo>
                <a:lnTo>
                  <a:pt x="940" y="1622"/>
                </a:lnTo>
                <a:lnTo>
                  <a:pt x="940" y="1614"/>
                </a:lnTo>
                <a:lnTo>
                  <a:pt x="940" y="1607"/>
                </a:lnTo>
                <a:lnTo>
                  <a:pt x="939" y="1599"/>
                </a:lnTo>
                <a:lnTo>
                  <a:pt x="939" y="1592"/>
                </a:lnTo>
                <a:lnTo>
                  <a:pt x="939" y="1584"/>
                </a:lnTo>
                <a:lnTo>
                  <a:pt x="939" y="1577"/>
                </a:lnTo>
                <a:lnTo>
                  <a:pt x="939" y="1576"/>
                </a:lnTo>
                <a:lnTo>
                  <a:pt x="939" y="1576"/>
                </a:lnTo>
                <a:close/>
                <a:moveTo>
                  <a:pt x="940" y="1673"/>
                </a:moveTo>
                <a:lnTo>
                  <a:pt x="989" y="1674"/>
                </a:lnTo>
                <a:lnTo>
                  <a:pt x="989" y="1674"/>
                </a:lnTo>
                <a:lnTo>
                  <a:pt x="989" y="1676"/>
                </a:lnTo>
                <a:lnTo>
                  <a:pt x="989" y="1678"/>
                </a:lnTo>
                <a:lnTo>
                  <a:pt x="989" y="1680"/>
                </a:lnTo>
                <a:lnTo>
                  <a:pt x="989" y="1682"/>
                </a:lnTo>
                <a:lnTo>
                  <a:pt x="989" y="1684"/>
                </a:lnTo>
                <a:lnTo>
                  <a:pt x="989" y="1687"/>
                </a:lnTo>
                <a:lnTo>
                  <a:pt x="989" y="1689"/>
                </a:lnTo>
                <a:lnTo>
                  <a:pt x="989" y="1691"/>
                </a:lnTo>
                <a:lnTo>
                  <a:pt x="989" y="1694"/>
                </a:lnTo>
                <a:lnTo>
                  <a:pt x="989" y="1696"/>
                </a:lnTo>
                <a:lnTo>
                  <a:pt x="989" y="1698"/>
                </a:lnTo>
                <a:lnTo>
                  <a:pt x="989" y="1700"/>
                </a:lnTo>
                <a:lnTo>
                  <a:pt x="989" y="1703"/>
                </a:lnTo>
                <a:lnTo>
                  <a:pt x="989" y="1705"/>
                </a:lnTo>
                <a:lnTo>
                  <a:pt x="989" y="1707"/>
                </a:lnTo>
                <a:lnTo>
                  <a:pt x="989" y="1709"/>
                </a:lnTo>
                <a:lnTo>
                  <a:pt x="989" y="1711"/>
                </a:lnTo>
                <a:lnTo>
                  <a:pt x="989" y="1713"/>
                </a:lnTo>
                <a:lnTo>
                  <a:pt x="988" y="1716"/>
                </a:lnTo>
                <a:lnTo>
                  <a:pt x="988" y="1718"/>
                </a:lnTo>
                <a:lnTo>
                  <a:pt x="988" y="1720"/>
                </a:lnTo>
                <a:lnTo>
                  <a:pt x="988" y="1722"/>
                </a:lnTo>
                <a:lnTo>
                  <a:pt x="988" y="1723"/>
                </a:lnTo>
                <a:lnTo>
                  <a:pt x="939" y="1721"/>
                </a:lnTo>
                <a:lnTo>
                  <a:pt x="939" y="1721"/>
                </a:lnTo>
                <a:lnTo>
                  <a:pt x="939" y="1718"/>
                </a:lnTo>
                <a:lnTo>
                  <a:pt x="939" y="1716"/>
                </a:lnTo>
                <a:lnTo>
                  <a:pt x="939" y="1714"/>
                </a:lnTo>
                <a:lnTo>
                  <a:pt x="939" y="1712"/>
                </a:lnTo>
                <a:lnTo>
                  <a:pt x="939" y="1710"/>
                </a:lnTo>
                <a:lnTo>
                  <a:pt x="939" y="1708"/>
                </a:lnTo>
                <a:lnTo>
                  <a:pt x="939" y="1706"/>
                </a:lnTo>
                <a:lnTo>
                  <a:pt x="939" y="1703"/>
                </a:lnTo>
                <a:lnTo>
                  <a:pt x="939" y="1701"/>
                </a:lnTo>
                <a:lnTo>
                  <a:pt x="939" y="1699"/>
                </a:lnTo>
                <a:lnTo>
                  <a:pt x="940" y="1697"/>
                </a:lnTo>
                <a:lnTo>
                  <a:pt x="940" y="1695"/>
                </a:lnTo>
                <a:lnTo>
                  <a:pt x="940" y="1692"/>
                </a:lnTo>
                <a:lnTo>
                  <a:pt x="940" y="1690"/>
                </a:lnTo>
                <a:lnTo>
                  <a:pt x="940" y="1688"/>
                </a:lnTo>
                <a:lnTo>
                  <a:pt x="940" y="1686"/>
                </a:lnTo>
                <a:lnTo>
                  <a:pt x="940" y="1684"/>
                </a:lnTo>
                <a:lnTo>
                  <a:pt x="940" y="1682"/>
                </a:lnTo>
                <a:lnTo>
                  <a:pt x="940" y="1680"/>
                </a:lnTo>
                <a:lnTo>
                  <a:pt x="940" y="1677"/>
                </a:lnTo>
                <a:lnTo>
                  <a:pt x="940" y="1675"/>
                </a:lnTo>
                <a:lnTo>
                  <a:pt x="940" y="1673"/>
                </a:lnTo>
                <a:lnTo>
                  <a:pt x="940" y="1673"/>
                </a:lnTo>
                <a:lnTo>
                  <a:pt x="940" y="1673"/>
                </a:lnTo>
                <a:close/>
              </a:path>
            </a:pathLst>
          </a:custGeom>
          <a:solidFill>
            <a:schemeClr val="tx1">
              <a:alpha val="20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60" name="Oval 159"/>
          <p:cNvSpPr/>
          <p:nvPr/>
        </p:nvSpPr>
        <p:spPr>
          <a:xfrm>
            <a:off x="5967347" y="4169621"/>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161" name="Oval 160"/>
          <p:cNvSpPr/>
          <p:nvPr/>
        </p:nvSpPr>
        <p:spPr>
          <a:xfrm>
            <a:off x="7739698" y="1101239"/>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162" name="Oval 161"/>
          <p:cNvSpPr/>
          <p:nvPr/>
        </p:nvSpPr>
        <p:spPr>
          <a:xfrm>
            <a:off x="9493947" y="4169621"/>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15" name="TextBox 14"/>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6" name="Text Placeholder 6">
            <a:extLst>
              <a:ext uri="{FF2B5EF4-FFF2-40B4-BE49-F238E27FC236}">
                <a16:creationId xmlns:a16="http://schemas.microsoft.com/office/drawing/2014/main" id="{3E1C86BD-E67C-1443-B31D-4931C939DD80}"/>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95520119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e in handy</a:t>
            </a:r>
            <a:br>
              <a:rPr lang="en-US"/>
            </a:br>
            <a:r>
              <a:rPr lang="en-US"/>
              <a:t>infographic</a:t>
            </a:r>
            <a:endParaRPr lang="en-US" dirty="0"/>
          </a:p>
        </p:txBody>
      </p:sp>
      <p:grpSp>
        <p:nvGrpSpPr>
          <p:cNvPr id="15" name="Group 14"/>
          <p:cNvGrpSpPr/>
          <p:nvPr/>
        </p:nvGrpSpPr>
        <p:grpSpPr>
          <a:xfrm>
            <a:off x="6096000" y="3432684"/>
            <a:ext cx="1481498" cy="2397752"/>
            <a:chOff x="5767732" y="3718859"/>
            <a:chExt cx="1670299" cy="2703325"/>
          </a:xfrm>
        </p:grpSpPr>
        <p:grpSp>
          <p:nvGrpSpPr>
            <p:cNvPr id="6" name="Group 5"/>
            <p:cNvGrpSpPr/>
            <p:nvPr/>
          </p:nvGrpSpPr>
          <p:grpSpPr>
            <a:xfrm>
              <a:off x="5767732" y="4440188"/>
              <a:ext cx="1670299" cy="1981996"/>
              <a:chOff x="1087899" y="4611523"/>
              <a:chExt cx="1451310" cy="1693823"/>
            </a:xfrm>
          </p:grpSpPr>
          <p:sp>
            <p:nvSpPr>
              <p:cNvPr id="13" name="Freeform 12"/>
              <p:cNvSpPr/>
              <p:nvPr/>
            </p:nvSpPr>
            <p:spPr>
              <a:xfrm>
                <a:off x="1087899" y="4611523"/>
                <a:ext cx="1408919" cy="1637602"/>
              </a:xfrm>
              <a:custGeom>
                <a:avLst/>
                <a:gdLst>
                  <a:gd name="connsiteX0" fmla="*/ 461907 w 1404934"/>
                  <a:gd name="connsiteY0" fmla="*/ 1561582 h 1641864"/>
                  <a:gd name="connsiteX1" fmla="*/ 460409 w 1404934"/>
                  <a:gd name="connsiteY1" fmla="*/ 1562298 h 1641864"/>
                  <a:gd name="connsiteX2" fmla="*/ 464264 w 1404934"/>
                  <a:gd name="connsiteY2" fmla="*/ 1564031 h 1641864"/>
                  <a:gd name="connsiteX3" fmla="*/ 633532 w 1404934"/>
                  <a:gd name="connsiteY3" fmla="*/ 0 h 1641864"/>
                  <a:gd name="connsiteX4" fmla="*/ 642264 w 1404934"/>
                  <a:gd name="connsiteY4" fmla="*/ 89 h 1641864"/>
                  <a:gd name="connsiteX5" fmla="*/ 859611 w 1404934"/>
                  <a:gd name="connsiteY5" fmla="*/ 4927 h 1641864"/>
                  <a:gd name="connsiteX6" fmla="*/ 869679 w 1404934"/>
                  <a:gd name="connsiteY6" fmla="*/ 4849 h 1641864"/>
                  <a:gd name="connsiteX7" fmla="*/ 888124 w 1404934"/>
                  <a:gd name="connsiteY7" fmla="*/ 5035 h 1641864"/>
                  <a:gd name="connsiteX8" fmla="*/ 920629 w 1404934"/>
                  <a:gd name="connsiteY8" fmla="*/ 5097 h 1641864"/>
                  <a:gd name="connsiteX9" fmla="*/ 1028230 w 1404934"/>
                  <a:gd name="connsiteY9" fmla="*/ 154932 h 1641864"/>
                  <a:gd name="connsiteX10" fmla="*/ 1403068 w 1404934"/>
                  <a:gd name="connsiteY10" fmla="*/ 1061042 h 1641864"/>
                  <a:gd name="connsiteX11" fmla="*/ 817301 w 1404934"/>
                  <a:gd name="connsiteY11" fmla="*/ 1625687 h 1641864"/>
                  <a:gd name="connsiteX12" fmla="*/ 745274 w 1404934"/>
                  <a:gd name="connsiteY12" fmla="*/ 1632820 h 1641864"/>
                  <a:gd name="connsiteX13" fmla="*/ 710413 w 1404934"/>
                  <a:gd name="connsiteY13" fmla="*/ 1629831 h 1641864"/>
                  <a:gd name="connsiteX14" fmla="*/ 665846 w 1404934"/>
                  <a:gd name="connsiteY14" fmla="*/ 1622274 h 1641864"/>
                  <a:gd name="connsiteX15" fmla="*/ 660377 w 1404934"/>
                  <a:gd name="connsiteY15" fmla="*/ 1624890 h 1641864"/>
                  <a:gd name="connsiteX16" fmla="*/ 710412 w 1404934"/>
                  <a:gd name="connsiteY16" fmla="*/ 1633702 h 1641864"/>
                  <a:gd name="connsiteX17" fmla="*/ 745275 w 1404934"/>
                  <a:gd name="connsiteY17" fmla="*/ 1636691 h 1641864"/>
                  <a:gd name="connsiteX18" fmla="*/ 693045 w 1404934"/>
                  <a:gd name="connsiteY18" fmla="*/ 1641864 h 1641864"/>
                  <a:gd name="connsiteX19" fmla="*/ 327 w 1404934"/>
                  <a:gd name="connsiteY19" fmla="*/ 987094 h 1641864"/>
                  <a:gd name="connsiteX20" fmla="*/ 470498 w 1404934"/>
                  <a:gd name="connsiteY20" fmla="*/ 4261 h 1641864"/>
                  <a:gd name="connsiteX21" fmla="*/ 578637 w 1404934"/>
                  <a:gd name="connsiteY21" fmla="*/ 3616 h 1641864"/>
                  <a:gd name="connsiteX22" fmla="*/ 580705 w 1404934"/>
                  <a:gd name="connsiteY22" fmla="*/ 3620 h 1641864"/>
                  <a:gd name="connsiteX23" fmla="*/ 583039 w 1404934"/>
                  <a:gd name="connsiteY23" fmla="*/ 390 h 1641864"/>
                  <a:gd name="connsiteX0" fmla="*/ 464264 w 1404934"/>
                  <a:gd name="connsiteY0" fmla="*/ 1564031 h 1641864"/>
                  <a:gd name="connsiteX1" fmla="*/ 460409 w 1404934"/>
                  <a:gd name="connsiteY1" fmla="*/ 1562298 h 1641864"/>
                  <a:gd name="connsiteX2" fmla="*/ 464264 w 1404934"/>
                  <a:gd name="connsiteY2" fmla="*/ 1564031 h 1641864"/>
                  <a:gd name="connsiteX3" fmla="*/ 633532 w 1404934"/>
                  <a:gd name="connsiteY3" fmla="*/ 0 h 1641864"/>
                  <a:gd name="connsiteX4" fmla="*/ 642264 w 1404934"/>
                  <a:gd name="connsiteY4" fmla="*/ 89 h 1641864"/>
                  <a:gd name="connsiteX5" fmla="*/ 859611 w 1404934"/>
                  <a:gd name="connsiteY5" fmla="*/ 4927 h 1641864"/>
                  <a:gd name="connsiteX6" fmla="*/ 869679 w 1404934"/>
                  <a:gd name="connsiteY6" fmla="*/ 4849 h 1641864"/>
                  <a:gd name="connsiteX7" fmla="*/ 888124 w 1404934"/>
                  <a:gd name="connsiteY7" fmla="*/ 5035 h 1641864"/>
                  <a:gd name="connsiteX8" fmla="*/ 920629 w 1404934"/>
                  <a:gd name="connsiteY8" fmla="*/ 5097 h 1641864"/>
                  <a:gd name="connsiteX9" fmla="*/ 1028230 w 1404934"/>
                  <a:gd name="connsiteY9" fmla="*/ 154932 h 1641864"/>
                  <a:gd name="connsiteX10" fmla="*/ 1403068 w 1404934"/>
                  <a:gd name="connsiteY10" fmla="*/ 1061042 h 1641864"/>
                  <a:gd name="connsiteX11" fmla="*/ 817301 w 1404934"/>
                  <a:gd name="connsiteY11" fmla="*/ 1625687 h 1641864"/>
                  <a:gd name="connsiteX12" fmla="*/ 745274 w 1404934"/>
                  <a:gd name="connsiteY12" fmla="*/ 1632820 h 1641864"/>
                  <a:gd name="connsiteX13" fmla="*/ 710413 w 1404934"/>
                  <a:gd name="connsiteY13" fmla="*/ 1629831 h 1641864"/>
                  <a:gd name="connsiteX14" fmla="*/ 665846 w 1404934"/>
                  <a:gd name="connsiteY14" fmla="*/ 1622274 h 1641864"/>
                  <a:gd name="connsiteX15" fmla="*/ 660377 w 1404934"/>
                  <a:gd name="connsiteY15" fmla="*/ 1624890 h 1641864"/>
                  <a:gd name="connsiteX16" fmla="*/ 710412 w 1404934"/>
                  <a:gd name="connsiteY16" fmla="*/ 1633702 h 1641864"/>
                  <a:gd name="connsiteX17" fmla="*/ 745275 w 1404934"/>
                  <a:gd name="connsiteY17" fmla="*/ 1636691 h 1641864"/>
                  <a:gd name="connsiteX18" fmla="*/ 693045 w 1404934"/>
                  <a:gd name="connsiteY18" fmla="*/ 1641864 h 1641864"/>
                  <a:gd name="connsiteX19" fmla="*/ 327 w 1404934"/>
                  <a:gd name="connsiteY19" fmla="*/ 987094 h 1641864"/>
                  <a:gd name="connsiteX20" fmla="*/ 470498 w 1404934"/>
                  <a:gd name="connsiteY20" fmla="*/ 4261 h 1641864"/>
                  <a:gd name="connsiteX21" fmla="*/ 578637 w 1404934"/>
                  <a:gd name="connsiteY21" fmla="*/ 3616 h 1641864"/>
                  <a:gd name="connsiteX22" fmla="*/ 580705 w 1404934"/>
                  <a:gd name="connsiteY22" fmla="*/ 3620 h 1641864"/>
                  <a:gd name="connsiteX23" fmla="*/ 583039 w 1404934"/>
                  <a:gd name="connsiteY23" fmla="*/ 390 h 1641864"/>
                  <a:gd name="connsiteX24" fmla="*/ 633532 w 1404934"/>
                  <a:gd name="connsiteY24"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665846 w 1404934"/>
                  <a:gd name="connsiteY11" fmla="*/ 1622274 h 1641864"/>
                  <a:gd name="connsiteX12" fmla="*/ 660377 w 1404934"/>
                  <a:gd name="connsiteY12" fmla="*/ 1624890 h 1641864"/>
                  <a:gd name="connsiteX13" fmla="*/ 710412 w 1404934"/>
                  <a:gd name="connsiteY13" fmla="*/ 1633702 h 1641864"/>
                  <a:gd name="connsiteX14" fmla="*/ 745275 w 1404934"/>
                  <a:gd name="connsiteY14" fmla="*/ 1636691 h 1641864"/>
                  <a:gd name="connsiteX15" fmla="*/ 693045 w 1404934"/>
                  <a:gd name="connsiteY15" fmla="*/ 1641864 h 1641864"/>
                  <a:gd name="connsiteX16" fmla="*/ 327 w 1404934"/>
                  <a:gd name="connsiteY16" fmla="*/ 987094 h 1641864"/>
                  <a:gd name="connsiteX17" fmla="*/ 470498 w 1404934"/>
                  <a:gd name="connsiteY17" fmla="*/ 4261 h 1641864"/>
                  <a:gd name="connsiteX18" fmla="*/ 578637 w 1404934"/>
                  <a:gd name="connsiteY18" fmla="*/ 3616 h 1641864"/>
                  <a:gd name="connsiteX19" fmla="*/ 580705 w 1404934"/>
                  <a:gd name="connsiteY19" fmla="*/ 3620 h 1641864"/>
                  <a:gd name="connsiteX20" fmla="*/ 583039 w 1404934"/>
                  <a:gd name="connsiteY20" fmla="*/ 390 h 1641864"/>
                  <a:gd name="connsiteX21" fmla="*/ 633532 w 1404934"/>
                  <a:gd name="connsiteY21"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665846 w 1404934"/>
                  <a:gd name="connsiteY11" fmla="*/ 1622274 h 1641864"/>
                  <a:gd name="connsiteX12" fmla="*/ 710412 w 1404934"/>
                  <a:gd name="connsiteY12" fmla="*/ 1633702 h 1641864"/>
                  <a:gd name="connsiteX13" fmla="*/ 745275 w 1404934"/>
                  <a:gd name="connsiteY13" fmla="*/ 1636691 h 1641864"/>
                  <a:gd name="connsiteX14" fmla="*/ 693045 w 1404934"/>
                  <a:gd name="connsiteY14" fmla="*/ 1641864 h 1641864"/>
                  <a:gd name="connsiteX15" fmla="*/ 327 w 1404934"/>
                  <a:gd name="connsiteY15" fmla="*/ 987094 h 1641864"/>
                  <a:gd name="connsiteX16" fmla="*/ 470498 w 1404934"/>
                  <a:gd name="connsiteY16" fmla="*/ 4261 h 1641864"/>
                  <a:gd name="connsiteX17" fmla="*/ 578637 w 1404934"/>
                  <a:gd name="connsiteY17" fmla="*/ 3616 h 1641864"/>
                  <a:gd name="connsiteX18" fmla="*/ 580705 w 1404934"/>
                  <a:gd name="connsiteY18" fmla="*/ 3620 h 1641864"/>
                  <a:gd name="connsiteX19" fmla="*/ 583039 w 1404934"/>
                  <a:gd name="connsiteY19" fmla="*/ 390 h 1641864"/>
                  <a:gd name="connsiteX20" fmla="*/ 633532 w 1404934"/>
                  <a:gd name="connsiteY20"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710412 w 1404934"/>
                  <a:gd name="connsiteY11" fmla="*/ 1633702 h 1641864"/>
                  <a:gd name="connsiteX12" fmla="*/ 745275 w 1404934"/>
                  <a:gd name="connsiteY12" fmla="*/ 1636691 h 1641864"/>
                  <a:gd name="connsiteX13" fmla="*/ 693045 w 1404934"/>
                  <a:gd name="connsiteY13" fmla="*/ 1641864 h 1641864"/>
                  <a:gd name="connsiteX14" fmla="*/ 327 w 1404934"/>
                  <a:gd name="connsiteY14" fmla="*/ 987094 h 1641864"/>
                  <a:gd name="connsiteX15" fmla="*/ 470498 w 1404934"/>
                  <a:gd name="connsiteY15" fmla="*/ 4261 h 1641864"/>
                  <a:gd name="connsiteX16" fmla="*/ 578637 w 1404934"/>
                  <a:gd name="connsiteY16" fmla="*/ 3616 h 1641864"/>
                  <a:gd name="connsiteX17" fmla="*/ 580705 w 1404934"/>
                  <a:gd name="connsiteY17" fmla="*/ 3620 h 1641864"/>
                  <a:gd name="connsiteX18" fmla="*/ 583039 w 1404934"/>
                  <a:gd name="connsiteY18" fmla="*/ 390 h 1641864"/>
                  <a:gd name="connsiteX19" fmla="*/ 633532 w 1404934"/>
                  <a:gd name="connsiteY19"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745275 w 1404934"/>
                  <a:gd name="connsiteY11" fmla="*/ 1636691 h 1641864"/>
                  <a:gd name="connsiteX12" fmla="*/ 693045 w 1404934"/>
                  <a:gd name="connsiteY12" fmla="*/ 1641864 h 1641864"/>
                  <a:gd name="connsiteX13" fmla="*/ 327 w 1404934"/>
                  <a:gd name="connsiteY13" fmla="*/ 987094 h 1641864"/>
                  <a:gd name="connsiteX14" fmla="*/ 470498 w 1404934"/>
                  <a:gd name="connsiteY14" fmla="*/ 4261 h 1641864"/>
                  <a:gd name="connsiteX15" fmla="*/ 578637 w 1404934"/>
                  <a:gd name="connsiteY15" fmla="*/ 3616 h 1641864"/>
                  <a:gd name="connsiteX16" fmla="*/ 580705 w 1404934"/>
                  <a:gd name="connsiteY16" fmla="*/ 3620 h 1641864"/>
                  <a:gd name="connsiteX17" fmla="*/ 583039 w 1404934"/>
                  <a:gd name="connsiteY17" fmla="*/ 390 h 1641864"/>
                  <a:gd name="connsiteX18" fmla="*/ 633532 w 1404934"/>
                  <a:gd name="connsiteY18"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45275 w 1404934"/>
                  <a:gd name="connsiteY10" fmla="*/ 1636691 h 1641864"/>
                  <a:gd name="connsiteX11" fmla="*/ 693045 w 1404934"/>
                  <a:gd name="connsiteY11" fmla="*/ 1641864 h 1641864"/>
                  <a:gd name="connsiteX12" fmla="*/ 327 w 1404934"/>
                  <a:gd name="connsiteY12" fmla="*/ 987094 h 1641864"/>
                  <a:gd name="connsiteX13" fmla="*/ 470498 w 1404934"/>
                  <a:gd name="connsiteY13" fmla="*/ 4261 h 1641864"/>
                  <a:gd name="connsiteX14" fmla="*/ 578637 w 1404934"/>
                  <a:gd name="connsiteY14" fmla="*/ 3616 h 1641864"/>
                  <a:gd name="connsiteX15" fmla="*/ 580705 w 1404934"/>
                  <a:gd name="connsiteY15" fmla="*/ 3620 h 1641864"/>
                  <a:gd name="connsiteX16" fmla="*/ 583039 w 1404934"/>
                  <a:gd name="connsiteY16" fmla="*/ 390 h 1641864"/>
                  <a:gd name="connsiteX17" fmla="*/ 633532 w 1404934"/>
                  <a:gd name="connsiteY17"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45275 w 1404934"/>
                  <a:gd name="connsiteY10" fmla="*/ 1636691 h 1641864"/>
                  <a:gd name="connsiteX11" fmla="*/ 693045 w 1404934"/>
                  <a:gd name="connsiteY11" fmla="*/ 1641864 h 1641864"/>
                  <a:gd name="connsiteX12" fmla="*/ 327 w 1404934"/>
                  <a:gd name="connsiteY12" fmla="*/ 987094 h 1641864"/>
                  <a:gd name="connsiteX13" fmla="*/ 470498 w 1404934"/>
                  <a:gd name="connsiteY13" fmla="*/ 4261 h 1641864"/>
                  <a:gd name="connsiteX14" fmla="*/ 578637 w 1404934"/>
                  <a:gd name="connsiteY14" fmla="*/ 3616 h 1641864"/>
                  <a:gd name="connsiteX15" fmla="*/ 580705 w 1404934"/>
                  <a:gd name="connsiteY15" fmla="*/ 3620 h 1641864"/>
                  <a:gd name="connsiteX16" fmla="*/ 633532 w 1404934"/>
                  <a:gd name="connsiteY16" fmla="*/ 0 h 1641864"/>
                  <a:gd name="connsiteX0" fmla="*/ 580705 w 1404934"/>
                  <a:gd name="connsiteY0" fmla="*/ 3531 h 1641775"/>
                  <a:gd name="connsiteX1" fmla="*/ 642264 w 1404934"/>
                  <a:gd name="connsiteY1" fmla="*/ 0 h 1641775"/>
                  <a:gd name="connsiteX2" fmla="*/ 859611 w 1404934"/>
                  <a:gd name="connsiteY2" fmla="*/ 4838 h 1641775"/>
                  <a:gd name="connsiteX3" fmla="*/ 869679 w 1404934"/>
                  <a:gd name="connsiteY3" fmla="*/ 4760 h 1641775"/>
                  <a:gd name="connsiteX4" fmla="*/ 888124 w 1404934"/>
                  <a:gd name="connsiteY4" fmla="*/ 4946 h 1641775"/>
                  <a:gd name="connsiteX5" fmla="*/ 920629 w 1404934"/>
                  <a:gd name="connsiteY5" fmla="*/ 5008 h 1641775"/>
                  <a:gd name="connsiteX6" fmla="*/ 1028230 w 1404934"/>
                  <a:gd name="connsiteY6" fmla="*/ 154843 h 1641775"/>
                  <a:gd name="connsiteX7" fmla="*/ 1403068 w 1404934"/>
                  <a:gd name="connsiteY7" fmla="*/ 1060953 h 1641775"/>
                  <a:gd name="connsiteX8" fmla="*/ 817301 w 1404934"/>
                  <a:gd name="connsiteY8" fmla="*/ 1625598 h 1641775"/>
                  <a:gd name="connsiteX9" fmla="*/ 745274 w 1404934"/>
                  <a:gd name="connsiteY9" fmla="*/ 1632731 h 1641775"/>
                  <a:gd name="connsiteX10" fmla="*/ 745275 w 1404934"/>
                  <a:gd name="connsiteY10" fmla="*/ 1636602 h 1641775"/>
                  <a:gd name="connsiteX11" fmla="*/ 693045 w 1404934"/>
                  <a:gd name="connsiteY11" fmla="*/ 1641775 h 1641775"/>
                  <a:gd name="connsiteX12" fmla="*/ 327 w 1404934"/>
                  <a:gd name="connsiteY12" fmla="*/ 987005 h 1641775"/>
                  <a:gd name="connsiteX13" fmla="*/ 470498 w 1404934"/>
                  <a:gd name="connsiteY13" fmla="*/ 4172 h 1641775"/>
                  <a:gd name="connsiteX14" fmla="*/ 578637 w 1404934"/>
                  <a:gd name="connsiteY14" fmla="*/ 3527 h 1641775"/>
                  <a:gd name="connsiteX15" fmla="*/ 580705 w 1404934"/>
                  <a:gd name="connsiteY15" fmla="*/ 3531 h 1641775"/>
                  <a:gd name="connsiteX0" fmla="*/ 580705 w 1404934"/>
                  <a:gd name="connsiteY0" fmla="*/ 4 h 1638248"/>
                  <a:gd name="connsiteX1" fmla="*/ 859611 w 1404934"/>
                  <a:gd name="connsiteY1" fmla="*/ 1311 h 1638248"/>
                  <a:gd name="connsiteX2" fmla="*/ 869679 w 1404934"/>
                  <a:gd name="connsiteY2" fmla="*/ 1233 h 1638248"/>
                  <a:gd name="connsiteX3" fmla="*/ 888124 w 1404934"/>
                  <a:gd name="connsiteY3" fmla="*/ 1419 h 1638248"/>
                  <a:gd name="connsiteX4" fmla="*/ 920629 w 1404934"/>
                  <a:gd name="connsiteY4" fmla="*/ 1481 h 1638248"/>
                  <a:gd name="connsiteX5" fmla="*/ 1028230 w 1404934"/>
                  <a:gd name="connsiteY5" fmla="*/ 151316 h 1638248"/>
                  <a:gd name="connsiteX6" fmla="*/ 1403068 w 1404934"/>
                  <a:gd name="connsiteY6" fmla="*/ 1057426 h 1638248"/>
                  <a:gd name="connsiteX7" fmla="*/ 817301 w 1404934"/>
                  <a:gd name="connsiteY7" fmla="*/ 1622071 h 1638248"/>
                  <a:gd name="connsiteX8" fmla="*/ 745274 w 1404934"/>
                  <a:gd name="connsiteY8" fmla="*/ 1629204 h 1638248"/>
                  <a:gd name="connsiteX9" fmla="*/ 745275 w 1404934"/>
                  <a:gd name="connsiteY9" fmla="*/ 1633075 h 1638248"/>
                  <a:gd name="connsiteX10" fmla="*/ 693045 w 1404934"/>
                  <a:gd name="connsiteY10" fmla="*/ 1638248 h 1638248"/>
                  <a:gd name="connsiteX11" fmla="*/ 327 w 1404934"/>
                  <a:gd name="connsiteY11" fmla="*/ 983478 h 1638248"/>
                  <a:gd name="connsiteX12" fmla="*/ 470498 w 1404934"/>
                  <a:gd name="connsiteY12" fmla="*/ 645 h 1638248"/>
                  <a:gd name="connsiteX13" fmla="*/ 578637 w 1404934"/>
                  <a:gd name="connsiteY13" fmla="*/ 0 h 1638248"/>
                  <a:gd name="connsiteX14" fmla="*/ 580705 w 1404934"/>
                  <a:gd name="connsiteY14" fmla="*/ 4 h 1638248"/>
                  <a:gd name="connsiteX0" fmla="*/ 578637 w 1404934"/>
                  <a:gd name="connsiteY0" fmla="*/ 0 h 1638248"/>
                  <a:gd name="connsiteX1" fmla="*/ 859611 w 1404934"/>
                  <a:gd name="connsiteY1" fmla="*/ 1311 h 1638248"/>
                  <a:gd name="connsiteX2" fmla="*/ 869679 w 1404934"/>
                  <a:gd name="connsiteY2" fmla="*/ 1233 h 1638248"/>
                  <a:gd name="connsiteX3" fmla="*/ 888124 w 1404934"/>
                  <a:gd name="connsiteY3" fmla="*/ 1419 h 1638248"/>
                  <a:gd name="connsiteX4" fmla="*/ 920629 w 1404934"/>
                  <a:gd name="connsiteY4" fmla="*/ 1481 h 1638248"/>
                  <a:gd name="connsiteX5" fmla="*/ 1028230 w 1404934"/>
                  <a:gd name="connsiteY5" fmla="*/ 151316 h 1638248"/>
                  <a:gd name="connsiteX6" fmla="*/ 1403068 w 1404934"/>
                  <a:gd name="connsiteY6" fmla="*/ 1057426 h 1638248"/>
                  <a:gd name="connsiteX7" fmla="*/ 817301 w 1404934"/>
                  <a:gd name="connsiteY7" fmla="*/ 1622071 h 1638248"/>
                  <a:gd name="connsiteX8" fmla="*/ 745274 w 1404934"/>
                  <a:gd name="connsiteY8" fmla="*/ 1629204 h 1638248"/>
                  <a:gd name="connsiteX9" fmla="*/ 745275 w 1404934"/>
                  <a:gd name="connsiteY9" fmla="*/ 1633075 h 1638248"/>
                  <a:gd name="connsiteX10" fmla="*/ 693045 w 1404934"/>
                  <a:gd name="connsiteY10" fmla="*/ 1638248 h 1638248"/>
                  <a:gd name="connsiteX11" fmla="*/ 327 w 1404934"/>
                  <a:gd name="connsiteY11" fmla="*/ 983478 h 1638248"/>
                  <a:gd name="connsiteX12" fmla="*/ 470498 w 1404934"/>
                  <a:gd name="connsiteY12" fmla="*/ 645 h 1638248"/>
                  <a:gd name="connsiteX13" fmla="*/ 578637 w 1404934"/>
                  <a:gd name="connsiteY13" fmla="*/ 0 h 1638248"/>
                  <a:gd name="connsiteX0" fmla="*/ 470498 w 1404934"/>
                  <a:gd name="connsiteY0" fmla="*/ 0 h 1637603"/>
                  <a:gd name="connsiteX1" fmla="*/ 859611 w 1404934"/>
                  <a:gd name="connsiteY1" fmla="*/ 666 h 1637603"/>
                  <a:gd name="connsiteX2" fmla="*/ 869679 w 1404934"/>
                  <a:gd name="connsiteY2" fmla="*/ 588 h 1637603"/>
                  <a:gd name="connsiteX3" fmla="*/ 888124 w 1404934"/>
                  <a:gd name="connsiteY3" fmla="*/ 774 h 1637603"/>
                  <a:gd name="connsiteX4" fmla="*/ 920629 w 1404934"/>
                  <a:gd name="connsiteY4" fmla="*/ 836 h 1637603"/>
                  <a:gd name="connsiteX5" fmla="*/ 1028230 w 1404934"/>
                  <a:gd name="connsiteY5" fmla="*/ 150671 h 1637603"/>
                  <a:gd name="connsiteX6" fmla="*/ 1403068 w 1404934"/>
                  <a:gd name="connsiteY6" fmla="*/ 1056781 h 1637603"/>
                  <a:gd name="connsiteX7" fmla="*/ 817301 w 1404934"/>
                  <a:gd name="connsiteY7" fmla="*/ 1621426 h 1637603"/>
                  <a:gd name="connsiteX8" fmla="*/ 745274 w 1404934"/>
                  <a:gd name="connsiteY8" fmla="*/ 1628559 h 1637603"/>
                  <a:gd name="connsiteX9" fmla="*/ 745275 w 1404934"/>
                  <a:gd name="connsiteY9" fmla="*/ 1632430 h 1637603"/>
                  <a:gd name="connsiteX10" fmla="*/ 693045 w 1404934"/>
                  <a:gd name="connsiteY10" fmla="*/ 1637603 h 1637603"/>
                  <a:gd name="connsiteX11" fmla="*/ 327 w 1404934"/>
                  <a:gd name="connsiteY11" fmla="*/ 982833 h 1637603"/>
                  <a:gd name="connsiteX12" fmla="*/ 470498 w 1404934"/>
                  <a:gd name="connsiteY12" fmla="*/ 0 h 1637603"/>
                  <a:gd name="connsiteX0" fmla="*/ 470498 w 1404934"/>
                  <a:gd name="connsiteY0" fmla="*/ 0 h 1637603"/>
                  <a:gd name="connsiteX1" fmla="*/ 859611 w 1404934"/>
                  <a:gd name="connsiteY1" fmla="*/ 666 h 1637603"/>
                  <a:gd name="connsiteX2" fmla="*/ 888124 w 1404934"/>
                  <a:gd name="connsiteY2" fmla="*/ 774 h 1637603"/>
                  <a:gd name="connsiteX3" fmla="*/ 920629 w 1404934"/>
                  <a:gd name="connsiteY3" fmla="*/ 836 h 1637603"/>
                  <a:gd name="connsiteX4" fmla="*/ 1028230 w 1404934"/>
                  <a:gd name="connsiteY4" fmla="*/ 150671 h 1637603"/>
                  <a:gd name="connsiteX5" fmla="*/ 1403068 w 1404934"/>
                  <a:gd name="connsiteY5" fmla="*/ 1056781 h 1637603"/>
                  <a:gd name="connsiteX6" fmla="*/ 817301 w 1404934"/>
                  <a:gd name="connsiteY6" fmla="*/ 1621426 h 1637603"/>
                  <a:gd name="connsiteX7" fmla="*/ 745274 w 1404934"/>
                  <a:gd name="connsiteY7" fmla="*/ 1628559 h 1637603"/>
                  <a:gd name="connsiteX8" fmla="*/ 745275 w 1404934"/>
                  <a:gd name="connsiteY8" fmla="*/ 1632430 h 1637603"/>
                  <a:gd name="connsiteX9" fmla="*/ 693045 w 1404934"/>
                  <a:gd name="connsiteY9" fmla="*/ 1637603 h 1637603"/>
                  <a:gd name="connsiteX10" fmla="*/ 327 w 1404934"/>
                  <a:gd name="connsiteY10" fmla="*/ 982833 h 1637603"/>
                  <a:gd name="connsiteX11" fmla="*/ 470498 w 1404934"/>
                  <a:gd name="connsiteY11" fmla="*/ 0 h 1637603"/>
                  <a:gd name="connsiteX0" fmla="*/ 470498 w 1404934"/>
                  <a:gd name="connsiteY0" fmla="*/ 0 h 1637603"/>
                  <a:gd name="connsiteX1" fmla="*/ 888124 w 1404934"/>
                  <a:gd name="connsiteY1" fmla="*/ 774 h 1637603"/>
                  <a:gd name="connsiteX2" fmla="*/ 920629 w 1404934"/>
                  <a:gd name="connsiteY2" fmla="*/ 836 h 1637603"/>
                  <a:gd name="connsiteX3" fmla="*/ 1028230 w 1404934"/>
                  <a:gd name="connsiteY3" fmla="*/ 150671 h 1637603"/>
                  <a:gd name="connsiteX4" fmla="*/ 1403068 w 1404934"/>
                  <a:gd name="connsiteY4" fmla="*/ 1056781 h 1637603"/>
                  <a:gd name="connsiteX5" fmla="*/ 817301 w 1404934"/>
                  <a:gd name="connsiteY5" fmla="*/ 1621426 h 1637603"/>
                  <a:gd name="connsiteX6" fmla="*/ 745274 w 1404934"/>
                  <a:gd name="connsiteY6" fmla="*/ 1628559 h 1637603"/>
                  <a:gd name="connsiteX7" fmla="*/ 745275 w 1404934"/>
                  <a:gd name="connsiteY7" fmla="*/ 1632430 h 1637603"/>
                  <a:gd name="connsiteX8" fmla="*/ 693045 w 1404934"/>
                  <a:gd name="connsiteY8" fmla="*/ 1637603 h 1637603"/>
                  <a:gd name="connsiteX9" fmla="*/ 327 w 1404934"/>
                  <a:gd name="connsiteY9" fmla="*/ 982833 h 1637603"/>
                  <a:gd name="connsiteX10" fmla="*/ 470498 w 1404934"/>
                  <a:gd name="connsiteY10" fmla="*/ 0 h 1637603"/>
                  <a:gd name="connsiteX0" fmla="*/ 470498 w 1404934"/>
                  <a:gd name="connsiteY0" fmla="*/ 0 h 1637603"/>
                  <a:gd name="connsiteX1" fmla="*/ 920629 w 1404934"/>
                  <a:gd name="connsiteY1" fmla="*/ 836 h 1637603"/>
                  <a:gd name="connsiteX2" fmla="*/ 1028230 w 1404934"/>
                  <a:gd name="connsiteY2" fmla="*/ 150671 h 1637603"/>
                  <a:gd name="connsiteX3" fmla="*/ 1403068 w 1404934"/>
                  <a:gd name="connsiteY3" fmla="*/ 1056781 h 1637603"/>
                  <a:gd name="connsiteX4" fmla="*/ 817301 w 1404934"/>
                  <a:gd name="connsiteY4" fmla="*/ 1621426 h 1637603"/>
                  <a:gd name="connsiteX5" fmla="*/ 745274 w 1404934"/>
                  <a:gd name="connsiteY5" fmla="*/ 1628559 h 1637603"/>
                  <a:gd name="connsiteX6" fmla="*/ 745275 w 1404934"/>
                  <a:gd name="connsiteY6" fmla="*/ 1632430 h 1637603"/>
                  <a:gd name="connsiteX7" fmla="*/ 693045 w 1404934"/>
                  <a:gd name="connsiteY7" fmla="*/ 1637603 h 1637603"/>
                  <a:gd name="connsiteX8" fmla="*/ 327 w 1404934"/>
                  <a:gd name="connsiteY8" fmla="*/ 982833 h 1637603"/>
                  <a:gd name="connsiteX9" fmla="*/ 470498 w 1404934"/>
                  <a:gd name="connsiteY9" fmla="*/ 0 h 1637603"/>
                  <a:gd name="connsiteX0" fmla="*/ 470498 w 1404934"/>
                  <a:gd name="connsiteY0" fmla="*/ 0 h 1683754"/>
                  <a:gd name="connsiteX1" fmla="*/ 920629 w 1404934"/>
                  <a:gd name="connsiteY1" fmla="*/ 836 h 1683754"/>
                  <a:gd name="connsiteX2" fmla="*/ 1028230 w 1404934"/>
                  <a:gd name="connsiteY2" fmla="*/ 150671 h 1683754"/>
                  <a:gd name="connsiteX3" fmla="*/ 1403068 w 1404934"/>
                  <a:gd name="connsiteY3" fmla="*/ 1056781 h 1683754"/>
                  <a:gd name="connsiteX4" fmla="*/ 817301 w 1404934"/>
                  <a:gd name="connsiteY4" fmla="*/ 1621426 h 1683754"/>
                  <a:gd name="connsiteX5" fmla="*/ 745274 w 1404934"/>
                  <a:gd name="connsiteY5" fmla="*/ 1628559 h 1683754"/>
                  <a:gd name="connsiteX6" fmla="*/ 693045 w 1404934"/>
                  <a:gd name="connsiteY6" fmla="*/ 1637603 h 1683754"/>
                  <a:gd name="connsiteX7" fmla="*/ 327 w 1404934"/>
                  <a:gd name="connsiteY7" fmla="*/ 982833 h 1683754"/>
                  <a:gd name="connsiteX8" fmla="*/ 470498 w 1404934"/>
                  <a:gd name="connsiteY8" fmla="*/ 0 h 1683754"/>
                  <a:gd name="connsiteX0" fmla="*/ 470498 w 1404934"/>
                  <a:gd name="connsiteY0" fmla="*/ 0 h 1637603"/>
                  <a:gd name="connsiteX1" fmla="*/ 920629 w 1404934"/>
                  <a:gd name="connsiteY1" fmla="*/ 836 h 1637603"/>
                  <a:gd name="connsiteX2" fmla="*/ 1028230 w 1404934"/>
                  <a:gd name="connsiteY2" fmla="*/ 150671 h 1637603"/>
                  <a:gd name="connsiteX3" fmla="*/ 1403068 w 1404934"/>
                  <a:gd name="connsiteY3" fmla="*/ 1056781 h 1637603"/>
                  <a:gd name="connsiteX4" fmla="*/ 817301 w 1404934"/>
                  <a:gd name="connsiteY4" fmla="*/ 1621426 h 1637603"/>
                  <a:gd name="connsiteX5" fmla="*/ 693045 w 1404934"/>
                  <a:gd name="connsiteY5" fmla="*/ 1637603 h 1637603"/>
                  <a:gd name="connsiteX6" fmla="*/ 327 w 1404934"/>
                  <a:gd name="connsiteY6" fmla="*/ 982833 h 1637603"/>
                  <a:gd name="connsiteX7" fmla="*/ 470498 w 1404934"/>
                  <a:gd name="connsiteY7" fmla="*/ 0 h 1637603"/>
                  <a:gd name="connsiteX0" fmla="*/ 470498 w 1412889"/>
                  <a:gd name="connsiteY0" fmla="*/ 0 h 1637923"/>
                  <a:gd name="connsiteX1" fmla="*/ 920629 w 1412889"/>
                  <a:gd name="connsiteY1" fmla="*/ 836 h 1637923"/>
                  <a:gd name="connsiteX2" fmla="*/ 1028230 w 1412889"/>
                  <a:gd name="connsiteY2" fmla="*/ 150671 h 1637923"/>
                  <a:gd name="connsiteX3" fmla="*/ 1403068 w 1412889"/>
                  <a:gd name="connsiteY3" fmla="*/ 1056781 h 1637923"/>
                  <a:gd name="connsiteX4" fmla="*/ 693045 w 1412889"/>
                  <a:gd name="connsiteY4" fmla="*/ 1637603 h 1637923"/>
                  <a:gd name="connsiteX5" fmla="*/ 327 w 1412889"/>
                  <a:gd name="connsiteY5" fmla="*/ 982833 h 1637923"/>
                  <a:gd name="connsiteX6" fmla="*/ 470498 w 1412889"/>
                  <a:gd name="connsiteY6" fmla="*/ 0 h 1637923"/>
                  <a:gd name="connsiteX0" fmla="*/ 470498 w 1412889"/>
                  <a:gd name="connsiteY0" fmla="*/ 0 h 1637603"/>
                  <a:gd name="connsiteX1" fmla="*/ 920629 w 1412889"/>
                  <a:gd name="connsiteY1" fmla="*/ 836 h 1637603"/>
                  <a:gd name="connsiteX2" fmla="*/ 1028230 w 1412889"/>
                  <a:gd name="connsiteY2" fmla="*/ 150671 h 1637603"/>
                  <a:gd name="connsiteX3" fmla="*/ 1403068 w 1412889"/>
                  <a:gd name="connsiteY3" fmla="*/ 1056781 h 1637603"/>
                  <a:gd name="connsiteX4" fmla="*/ 693045 w 1412889"/>
                  <a:gd name="connsiteY4" fmla="*/ 1637603 h 1637603"/>
                  <a:gd name="connsiteX5" fmla="*/ 327 w 1412889"/>
                  <a:gd name="connsiteY5" fmla="*/ 982833 h 1637603"/>
                  <a:gd name="connsiteX6" fmla="*/ 470498 w 1412889"/>
                  <a:gd name="connsiteY6" fmla="*/ 0 h 1637603"/>
                  <a:gd name="connsiteX0" fmla="*/ 470498 w 1412889"/>
                  <a:gd name="connsiteY0" fmla="*/ 0 h 1637603"/>
                  <a:gd name="connsiteX1" fmla="*/ 920629 w 1412889"/>
                  <a:gd name="connsiteY1" fmla="*/ 836 h 1637603"/>
                  <a:gd name="connsiteX2" fmla="*/ 1028230 w 1412889"/>
                  <a:gd name="connsiteY2" fmla="*/ 150671 h 1637603"/>
                  <a:gd name="connsiteX3" fmla="*/ 1403068 w 1412889"/>
                  <a:gd name="connsiteY3" fmla="*/ 1056781 h 1637603"/>
                  <a:gd name="connsiteX4" fmla="*/ 693045 w 1412889"/>
                  <a:gd name="connsiteY4" fmla="*/ 1637603 h 1637603"/>
                  <a:gd name="connsiteX5" fmla="*/ 327 w 1412889"/>
                  <a:gd name="connsiteY5" fmla="*/ 982833 h 1637603"/>
                  <a:gd name="connsiteX6" fmla="*/ 470498 w 1412889"/>
                  <a:gd name="connsiteY6" fmla="*/ 0 h 1637603"/>
                  <a:gd name="connsiteX0" fmla="*/ 470498 w 1408919"/>
                  <a:gd name="connsiteY0" fmla="*/ 0 h 1637603"/>
                  <a:gd name="connsiteX1" fmla="*/ 920629 w 1408919"/>
                  <a:gd name="connsiteY1" fmla="*/ 836 h 1637603"/>
                  <a:gd name="connsiteX2" fmla="*/ 1028230 w 1408919"/>
                  <a:gd name="connsiteY2" fmla="*/ 150671 h 1637603"/>
                  <a:gd name="connsiteX3" fmla="*/ 1403068 w 1408919"/>
                  <a:gd name="connsiteY3" fmla="*/ 1056781 h 1637603"/>
                  <a:gd name="connsiteX4" fmla="*/ 693045 w 1408919"/>
                  <a:gd name="connsiteY4" fmla="*/ 1637603 h 1637603"/>
                  <a:gd name="connsiteX5" fmla="*/ 327 w 1408919"/>
                  <a:gd name="connsiteY5" fmla="*/ 982833 h 1637603"/>
                  <a:gd name="connsiteX6" fmla="*/ 470498 w 1408919"/>
                  <a:gd name="connsiteY6" fmla="*/ 0 h 1637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8919" h="1637603">
                    <a:moveTo>
                      <a:pt x="470498" y="0"/>
                    </a:moveTo>
                    <a:lnTo>
                      <a:pt x="920629" y="836"/>
                    </a:lnTo>
                    <a:lnTo>
                      <a:pt x="1028230" y="150671"/>
                    </a:lnTo>
                    <a:cubicBezTo>
                      <a:pt x="1268780" y="492095"/>
                      <a:pt x="1443594" y="808959"/>
                      <a:pt x="1403068" y="1056781"/>
                    </a:cubicBezTo>
                    <a:cubicBezTo>
                      <a:pt x="1362542" y="1304603"/>
                      <a:pt x="1181447" y="1607687"/>
                      <a:pt x="693045" y="1637603"/>
                    </a:cubicBezTo>
                    <a:cubicBezTo>
                      <a:pt x="461599" y="1626977"/>
                      <a:pt x="25694" y="1544153"/>
                      <a:pt x="327" y="982833"/>
                    </a:cubicBezTo>
                    <a:cubicBezTo>
                      <a:pt x="-10973" y="548122"/>
                      <a:pt x="272795" y="288164"/>
                      <a:pt x="470498" y="0"/>
                    </a:cubicBezTo>
                    <a:close/>
                  </a:path>
                </a:pathLst>
              </a:cu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14" name="Freeform 13"/>
              <p:cNvSpPr/>
              <p:nvPr/>
            </p:nvSpPr>
            <p:spPr>
              <a:xfrm rot="17518257">
                <a:off x="1254293" y="5020430"/>
                <a:ext cx="1599546" cy="970286"/>
              </a:xfrm>
              <a:custGeom>
                <a:avLst/>
                <a:gdLst>
                  <a:gd name="connsiteX0" fmla="*/ 1617639 w 1617639"/>
                  <a:gd name="connsiteY0" fmla="*/ 103706 h 970286"/>
                  <a:gd name="connsiteX1" fmla="*/ 818462 w 1617639"/>
                  <a:gd name="connsiteY1" fmla="*/ 946838 h 970286"/>
                  <a:gd name="connsiteX2" fmla="*/ 17768 w 1617639"/>
                  <a:gd name="connsiteY2" fmla="*/ 504238 h 970286"/>
                  <a:gd name="connsiteX3" fmla="*/ 0 w 1617639"/>
                  <a:gd name="connsiteY3" fmla="*/ 446371 h 970286"/>
                  <a:gd name="connsiteX4" fmla="*/ 33562 w 1617639"/>
                  <a:gd name="connsiteY4" fmla="*/ 510498 h 970286"/>
                  <a:gd name="connsiteX5" fmla="*/ 776356 w 1617639"/>
                  <a:gd name="connsiteY5" fmla="*/ 842469 h 970286"/>
                  <a:gd name="connsiteX6" fmla="*/ 1476418 w 1617639"/>
                  <a:gd name="connsiteY6" fmla="*/ 155845 h 970286"/>
                  <a:gd name="connsiteX7" fmla="*/ 1575113 w 1617639"/>
                  <a:gd name="connsiteY7" fmla="*/ 0 h 970286"/>
                  <a:gd name="connsiteX8" fmla="*/ 1576582 w 1617639"/>
                  <a:gd name="connsiteY8" fmla="*/ 3662 h 970286"/>
                  <a:gd name="connsiteX9" fmla="*/ 1617639 w 1617639"/>
                  <a:gd name="connsiteY9" fmla="*/ 103706 h 97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7639" h="970286">
                    <a:moveTo>
                      <a:pt x="1617639" y="103706"/>
                    </a:moveTo>
                    <a:cubicBezTo>
                      <a:pt x="1347232" y="537049"/>
                      <a:pt x="1132028" y="845983"/>
                      <a:pt x="818462" y="946838"/>
                    </a:cubicBezTo>
                    <a:cubicBezTo>
                      <a:pt x="504896" y="1047693"/>
                      <a:pt x="144395" y="808907"/>
                      <a:pt x="17768" y="504238"/>
                    </a:cubicBezTo>
                    <a:lnTo>
                      <a:pt x="0" y="446371"/>
                    </a:lnTo>
                    <a:lnTo>
                      <a:pt x="33562" y="510498"/>
                    </a:lnTo>
                    <a:cubicBezTo>
                      <a:pt x="191681" y="758928"/>
                      <a:pt x="501986" y="930717"/>
                      <a:pt x="776356" y="842469"/>
                    </a:cubicBezTo>
                    <a:cubicBezTo>
                      <a:pt x="1050726" y="754221"/>
                      <a:pt x="1249788" y="506663"/>
                      <a:pt x="1476418" y="155845"/>
                    </a:cubicBezTo>
                    <a:lnTo>
                      <a:pt x="1575113" y="0"/>
                    </a:lnTo>
                    <a:lnTo>
                      <a:pt x="1576582" y="3662"/>
                    </a:lnTo>
                    <a:cubicBezTo>
                      <a:pt x="1587014" y="29435"/>
                      <a:pt x="1600374" y="62025"/>
                      <a:pt x="1617639" y="103706"/>
                    </a:cubicBezTo>
                    <a:close/>
                  </a:path>
                </a:pathLst>
              </a:cu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grpSp>
        <p:sp>
          <p:nvSpPr>
            <p:cNvPr id="7" name="Freeform 6"/>
            <p:cNvSpPr/>
            <p:nvPr/>
          </p:nvSpPr>
          <p:spPr>
            <a:xfrm>
              <a:off x="6307089" y="4067153"/>
              <a:ext cx="985099" cy="443126"/>
            </a:xfrm>
            <a:custGeom>
              <a:avLst/>
              <a:gdLst>
                <a:gd name="connsiteX0" fmla="*/ 0 w 813575"/>
                <a:gd name="connsiteY0" fmla="*/ 227668 h 359952"/>
                <a:gd name="connsiteX1" fmla="*/ 0 w 813575"/>
                <a:gd name="connsiteY1" fmla="*/ 227669 h 359952"/>
                <a:gd name="connsiteX2" fmla="*/ 0 w 813575"/>
                <a:gd name="connsiteY2" fmla="*/ 227669 h 359952"/>
                <a:gd name="connsiteX3" fmla="*/ 754470 w 813575"/>
                <a:gd name="connsiteY3" fmla="*/ 0 h 359952"/>
                <a:gd name="connsiteX4" fmla="*/ 813575 w 813575"/>
                <a:gd name="connsiteY4" fmla="*/ 63104 h 359952"/>
                <a:gd name="connsiteX5" fmla="*/ 677979 w 813575"/>
                <a:gd name="connsiteY5" fmla="*/ 134209 h 359952"/>
                <a:gd name="connsiteX6" fmla="*/ 451952 w 813575"/>
                <a:gd name="connsiteY6" fmla="*/ 192967 h 359952"/>
                <a:gd name="connsiteX7" fmla="*/ 447885 w 813575"/>
                <a:gd name="connsiteY7" fmla="*/ 194508 h 359952"/>
                <a:gd name="connsiteX8" fmla="*/ 454205 w 813575"/>
                <a:gd name="connsiteY8" fmla="*/ 194498 h 359952"/>
                <a:gd name="connsiteX9" fmla="*/ 577761 w 813575"/>
                <a:gd name="connsiteY9" fmla="*/ 201824 h 359952"/>
                <a:gd name="connsiteX10" fmla="*/ 793638 w 813575"/>
                <a:gd name="connsiteY10" fmla="*/ 273694 h 359952"/>
                <a:gd name="connsiteX11" fmla="*/ 794913 w 813575"/>
                <a:gd name="connsiteY11" fmla="*/ 359952 h 359952"/>
                <a:gd name="connsiteX12" fmla="*/ 647385 w 813575"/>
                <a:gd name="connsiteY12" fmla="*/ 324697 h 359952"/>
                <a:gd name="connsiteX13" fmla="*/ 441503 w 813575"/>
                <a:gd name="connsiteY13" fmla="*/ 220904 h 359952"/>
                <a:gd name="connsiteX14" fmla="*/ 434139 w 813575"/>
                <a:gd name="connsiteY14" fmla="*/ 218156 h 359952"/>
                <a:gd name="connsiteX15" fmla="*/ 438079 w 813575"/>
                <a:gd name="connsiteY15" fmla="*/ 227669 h 359952"/>
                <a:gd name="connsiteX16" fmla="*/ 438078 w 813575"/>
                <a:gd name="connsiteY16" fmla="*/ 227669 h 359952"/>
                <a:gd name="connsiteX17" fmla="*/ 393972 w 813575"/>
                <a:gd name="connsiteY17" fmla="*/ 271775 h 359952"/>
                <a:gd name="connsiteX18" fmla="*/ 44106 w 813575"/>
                <a:gd name="connsiteY18" fmla="*/ 271774 h 359952"/>
                <a:gd name="connsiteX19" fmla="*/ 12918 w 813575"/>
                <a:gd name="connsiteY19" fmla="*/ 258856 h 359952"/>
                <a:gd name="connsiteX20" fmla="*/ 0 w 813575"/>
                <a:gd name="connsiteY20" fmla="*/ 227669 h 359952"/>
                <a:gd name="connsiteX21" fmla="*/ 12918 w 813575"/>
                <a:gd name="connsiteY21" fmla="*/ 196482 h 359952"/>
                <a:gd name="connsiteX22" fmla="*/ 44106 w 813575"/>
                <a:gd name="connsiteY22" fmla="*/ 183563 h 359952"/>
                <a:gd name="connsiteX23" fmla="*/ 393973 w 813575"/>
                <a:gd name="connsiteY23" fmla="*/ 183563 h 359952"/>
                <a:gd name="connsiteX24" fmla="*/ 415151 w 813575"/>
                <a:gd name="connsiteY24" fmla="*/ 192335 h 359952"/>
                <a:gd name="connsiteX25" fmla="*/ 413741 w 813575"/>
                <a:gd name="connsiteY25" fmla="*/ 191225 h 359952"/>
                <a:gd name="connsiteX26" fmla="*/ 542382 w 813575"/>
                <a:gd name="connsiteY26" fmla="*/ 89012 h 359952"/>
                <a:gd name="connsiteX27" fmla="*/ 754470 w 813575"/>
                <a:gd name="connsiteY27"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447885 w 813575"/>
                <a:gd name="connsiteY8" fmla="*/ 194508 h 359952"/>
                <a:gd name="connsiteX9" fmla="*/ 454205 w 813575"/>
                <a:gd name="connsiteY9" fmla="*/ 194498 h 359952"/>
                <a:gd name="connsiteX10" fmla="*/ 577761 w 813575"/>
                <a:gd name="connsiteY10" fmla="*/ 201824 h 359952"/>
                <a:gd name="connsiteX11" fmla="*/ 793638 w 813575"/>
                <a:gd name="connsiteY11" fmla="*/ 273694 h 359952"/>
                <a:gd name="connsiteX12" fmla="*/ 794913 w 813575"/>
                <a:gd name="connsiteY12" fmla="*/ 359952 h 359952"/>
                <a:gd name="connsiteX13" fmla="*/ 647385 w 813575"/>
                <a:gd name="connsiteY13" fmla="*/ 324697 h 359952"/>
                <a:gd name="connsiteX14" fmla="*/ 441503 w 813575"/>
                <a:gd name="connsiteY14" fmla="*/ 220904 h 359952"/>
                <a:gd name="connsiteX15" fmla="*/ 434139 w 813575"/>
                <a:gd name="connsiteY15" fmla="*/ 218156 h 359952"/>
                <a:gd name="connsiteX16" fmla="*/ 438079 w 813575"/>
                <a:gd name="connsiteY16" fmla="*/ 227669 h 359952"/>
                <a:gd name="connsiteX17" fmla="*/ 438078 w 813575"/>
                <a:gd name="connsiteY17" fmla="*/ 227669 h 359952"/>
                <a:gd name="connsiteX18" fmla="*/ 393972 w 813575"/>
                <a:gd name="connsiteY18" fmla="*/ 271775 h 359952"/>
                <a:gd name="connsiteX19" fmla="*/ 44106 w 813575"/>
                <a:gd name="connsiteY19" fmla="*/ 271774 h 359952"/>
                <a:gd name="connsiteX20" fmla="*/ 12918 w 813575"/>
                <a:gd name="connsiteY20" fmla="*/ 258856 h 359952"/>
                <a:gd name="connsiteX21" fmla="*/ 0 w 813575"/>
                <a:gd name="connsiteY21" fmla="*/ 227669 h 359952"/>
                <a:gd name="connsiteX22" fmla="*/ 12918 w 813575"/>
                <a:gd name="connsiteY22" fmla="*/ 196482 h 359952"/>
                <a:gd name="connsiteX23" fmla="*/ 44106 w 813575"/>
                <a:gd name="connsiteY23" fmla="*/ 183563 h 359952"/>
                <a:gd name="connsiteX24" fmla="*/ 393973 w 813575"/>
                <a:gd name="connsiteY24" fmla="*/ 183563 h 359952"/>
                <a:gd name="connsiteX25" fmla="*/ 415151 w 813575"/>
                <a:gd name="connsiteY25" fmla="*/ 192335 h 359952"/>
                <a:gd name="connsiteX26" fmla="*/ 542382 w 813575"/>
                <a:gd name="connsiteY26" fmla="*/ 89012 h 359952"/>
                <a:gd name="connsiteX27" fmla="*/ 754470 w 813575"/>
                <a:gd name="connsiteY27"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447885 w 813575"/>
                <a:gd name="connsiteY8" fmla="*/ 194508 h 359952"/>
                <a:gd name="connsiteX9" fmla="*/ 454205 w 813575"/>
                <a:gd name="connsiteY9" fmla="*/ 194498 h 359952"/>
                <a:gd name="connsiteX10" fmla="*/ 577761 w 813575"/>
                <a:gd name="connsiteY10" fmla="*/ 201824 h 359952"/>
                <a:gd name="connsiteX11" fmla="*/ 793638 w 813575"/>
                <a:gd name="connsiteY11" fmla="*/ 273694 h 359952"/>
                <a:gd name="connsiteX12" fmla="*/ 794913 w 813575"/>
                <a:gd name="connsiteY12" fmla="*/ 359952 h 359952"/>
                <a:gd name="connsiteX13" fmla="*/ 647385 w 813575"/>
                <a:gd name="connsiteY13" fmla="*/ 324697 h 359952"/>
                <a:gd name="connsiteX14" fmla="*/ 441503 w 813575"/>
                <a:gd name="connsiteY14" fmla="*/ 220904 h 359952"/>
                <a:gd name="connsiteX15" fmla="*/ 434139 w 813575"/>
                <a:gd name="connsiteY15" fmla="*/ 218156 h 359952"/>
                <a:gd name="connsiteX16" fmla="*/ 438079 w 813575"/>
                <a:gd name="connsiteY16" fmla="*/ 227669 h 359952"/>
                <a:gd name="connsiteX17" fmla="*/ 438078 w 813575"/>
                <a:gd name="connsiteY17" fmla="*/ 227669 h 359952"/>
                <a:gd name="connsiteX18" fmla="*/ 393972 w 813575"/>
                <a:gd name="connsiteY18" fmla="*/ 271775 h 359952"/>
                <a:gd name="connsiteX19" fmla="*/ 44106 w 813575"/>
                <a:gd name="connsiteY19" fmla="*/ 271774 h 359952"/>
                <a:gd name="connsiteX20" fmla="*/ 12918 w 813575"/>
                <a:gd name="connsiteY20" fmla="*/ 258856 h 359952"/>
                <a:gd name="connsiteX21" fmla="*/ 0 w 813575"/>
                <a:gd name="connsiteY21" fmla="*/ 227669 h 359952"/>
                <a:gd name="connsiteX22" fmla="*/ 12918 w 813575"/>
                <a:gd name="connsiteY22" fmla="*/ 196482 h 359952"/>
                <a:gd name="connsiteX23" fmla="*/ 44106 w 813575"/>
                <a:gd name="connsiteY23" fmla="*/ 183563 h 359952"/>
                <a:gd name="connsiteX24" fmla="*/ 393973 w 813575"/>
                <a:gd name="connsiteY24" fmla="*/ 183563 h 359952"/>
                <a:gd name="connsiteX25" fmla="*/ 542382 w 813575"/>
                <a:gd name="connsiteY25" fmla="*/ 89012 h 359952"/>
                <a:gd name="connsiteX26" fmla="*/ 754470 w 813575"/>
                <a:gd name="connsiteY26"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447885 w 813575"/>
                <a:gd name="connsiteY8" fmla="*/ 194508 h 359952"/>
                <a:gd name="connsiteX9" fmla="*/ 577761 w 813575"/>
                <a:gd name="connsiteY9" fmla="*/ 201824 h 359952"/>
                <a:gd name="connsiteX10" fmla="*/ 793638 w 813575"/>
                <a:gd name="connsiteY10" fmla="*/ 273694 h 359952"/>
                <a:gd name="connsiteX11" fmla="*/ 794913 w 813575"/>
                <a:gd name="connsiteY11" fmla="*/ 359952 h 359952"/>
                <a:gd name="connsiteX12" fmla="*/ 647385 w 813575"/>
                <a:gd name="connsiteY12" fmla="*/ 324697 h 359952"/>
                <a:gd name="connsiteX13" fmla="*/ 441503 w 813575"/>
                <a:gd name="connsiteY13" fmla="*/ 220904 h 359952"/>
                <a:gd name="connsiteX14" fmla="*/ 434139 w 813575"/>
                <a:gd name="connsiteY14" fmla="*/ 218156 h 359952"/>
                <a:gd name="connsiteX15" fmla="*/ 438079 w 813575"/>
                <a:gd name="connsiteY15" fmla="*/ 227669 h 359952"/>
                <a:gd name="connsiteX16" fmla="*/ 438078 w 813575"/>
                <a:gd name="connsiteY16" fmla="*/ 227669 h 359952"/>
                <a:gd name="connsiteX17" fmla="*/ 393972 w 813575"/>
                <a:gd name="connsiteY17" fmla="*/ 271775 h 359952"/>
                <a:gd name="connsiteX18" fmla="*/ 44106 w 813575"/>
                <a:gd name="connsiteY18" fmla="*/ 271774 h 359952"/>
                <a:gd name="connsiteX19" fmla="*/ 12918 w 813575"/>
                <a:gd name="connsiteY19" fmla="*/ 258856 h 359952"/>
                <a:gd name="connsiteX20" fmla="*/ 0 w 813575"/>
                <a:gd name="connsiteY20" fmla="*/ 227669 h 359952"/>
                <a:gd name="connsiteX21" fmla="*/ 12918 w 813575"/>
                <a:gd name="connsiteY21" fmla="*/ 196482 h 359952"/>
                <a:gd name="connsiteX22" fmla="*/ 44106 w 813575"/>
                <a:gd name="connsiteY22" fmla="*/ 183563 h 359952"/>
                <a:gd name="connsiteX23" fmla="*/ 393973 w 813575"/>
                <a:gd name="connsiteY23" fmla="*/ 183563 h 359952"/>
                <a:gd name="connsiteX24" fmla="*/ 542382 w 813575"/>
                <a:gd name="connsiteY24" fmla="*/ 89012 h 359952"/>
                <a:gd name="connsiteX25" fmla="*/ 754470 w 813575"/>
                <a:gd name="connsiteY25"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577761 w 813575"/>
                <a:gd name="connsiteY8" fmla="*/ 201824 h 359952"/>
                <a:gd name="connsiteX9" fmla="*/ 793638 w 813575"/>
                <a:gd name="connsiteY9" fmla="*/ 273694 h 359952"/>
                <a:gd name="connsiteX10" fmla="*/ 794913 w 813575"/>
                <a:gd name="connsiteY10" fmla="*/ 359952 h 359952"/>
                <a:gd name="connsiteX11" fmla="*/ 647385 w 813575"/>
                <a:gd name="connsiteY11" fmla="*/ 324697 h 359952"/>
                <a:gd name="connsiteX12" fmla="*/ 441503 w 813575"/>
                <a:gd name="connsiteY12" fmla="*/ 220904 h 359952"/>
                <a:gd name="connsiteX13" fmla="*/ 434139 w 813575"/>
                <a:gd name="connsiteY13" fmla="*/ 218156 h 359952"/>
                <a:gd name="connsiteX14" fmla="*/ 438079 w 813575"/>
                <a:gd name="connsiteY14" fmla="*/ 227669 h 359952"/>
                <a:gd name="connsiteX15" fmla="*/ 438078 w 813575"/>
                <a:gd name="connsiteY15" fmla="*/ 227669 h 359952"/>
                <a:gd name="connsiteX16" fmla="*/ 393972 w 813575"/>
                <a:gd name="connsiteY16" fmla="*/ 271775 h 359952"/>
                <a:gd name="connsiteX17" fmla="*/ 44106 w 813575"/>
                <a:gd name="connsiteY17" fmla="*/ 271774 h 359952"/>
                <a:gd name="connsiteX18" fmla="*/ 12918 w 813575"/>
                <a:gd name="connsiteY18" fmla="*/ 258856 h 359952"/>
                <a:gd name="connsiteX19" fmla="*/ 0 w 813575"/>
                <a:gd name="connsiteY19" fmla="*/ 227669 h 359952"/>
                <a:gd name="connsiteX20" fmla="*/ 12918 w 813575"/>
                <a:gd name="connsiteY20" fmla="*/ 196482 h 359952"/>
                <a:gd name="connsiteX21" fmla="*/ 44106 w 813575"/>
                <a:gd name="connsiteY21" fmla="*/ 183563 h 359952"/>
                <a:gd name="connsiteX22" fmla="*/ 393973 w 813575"/>
                <a:gd name="connsiteY22" fmla="*/ 183563 h 359952"/>
                <a:gd name="connsiteX23" fmla="*/ 542382 w 813575"/>
                <a:gd name="connsiteY23" fmla="*/ 89012 h 359952"/>
                <a:gd name="connsiteX24" fmla="*/ 754470 w 813575"/>
                <a:gd name="connsiteY24" fmla="*/ 0 h 35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13575" h="359952">
                  <a:moveTo>
                    <a:pt x="0" y="227668"/>
                  </a:moveTo>
                  <a:lnTo>
                    <a:pt x="0" y="227669"/>
                  </a:lnTo>
                  <a:lnTo>
                    <a:pt x="0" y="227669"/>
                  </a:lnTo>
                  <a:lnTo>
                    <a:pt x="0" y="227668"/>
                  </a:lnTo>
                  <a:close/>
                  <a:moveTo>
                    <a:pt x="754470" y="0"/>
                  </a:moveTo>
                  <a:lnTo>
                    <a:pt x="813575" y="63104"/>
                  </a:lnTo>
                  <a:cubicBezTo>
                    <a:pt x="768376" y="86806"/>
                    <a:pt x="754470" y="124415"/>
                    <a:pt x="677979" y="134209"/>
                  </a:cubicBezTo>
                  <a:cubicBezTo>
                    <a:pt x="477192" y="131723"/>
                    <a:pt x="497348" y="169166"/>
                    <a:pt x="451952" y="192967"/>
                  </a:cubicBezTo>
                  <a:lnTo>
                    <a:pt x="577761" y="201824"/>
                  </a:lnTo>
                  <a:cubicBezTo>
                    <a:pt x="666174" y="262297"/>
                    <a:pt x="707783" y="267086"/>
                    <a:pt x="793638" y="273694"/>
                  </a:cubicBezTo>
                  <a:lnTo>
                    <a:pt x="794913" y="359952"/>
                  </a:lnTo>
                  <a:cubicBezTo>
                    <a:pt x="745737" y="348200"/>
                    <a:pt x="710299" y="367425"/>
                    <a:pt x="647385" y="324697"/>
                  </a:cubicBezTo>
                  <a:cubicBezTo>
                    <a:pt x="501123" y="191298"/>
                    <a:pt x="490891" y="232710"/>
                    <a:pt x="441503" y="220904"/>
                  </a:cubicBezTo>
                  <a:lnTo>
                    <a:pt x="434139" y="218156"/>
                  </a:lnTo>
                  <a:lnTo>
                    <a:pt x="438079" y="227669"/>
                  </a:lnTo>
                  <a:lnTo>
                    <a:pt x="438078" y="227669"/>
                  </a:lnTo>
                  <a:cubicBezTo>
                    <a:pt x="438078" y="252028"/>
                    <a:pt x="418331" y="271775"/>
                    <a:pt x="393972" y="271775"/>
                  </a:cubicBezTo>
                  <a:lnTo>
                    <a:pt x="44106" y="271774"/>
                  </a:lnTo>
                  <a:cubicBezTo>
                    <a:pt x="31926" y="271774"/>
                    <a:pt x="20900" y="266837"/>
                    <a:pt x="12918" y="258856"/>
                  </a:cubicBezTo>
                  <a:lnTo>
                    <a:pt x="0" y="227669"/>
                  </a:lnTo>
                  <a:lnTo>
                    <a:pt x="12918" y="196482"/>
                  </a:lnTo>
                  <a:cubicBezTo>
                    <a:pt x="20900" y="188500"/>
                    <a:pt x="31926" y="183563"/>
                    <a:pt x="44106" y="183563"/>
                  </a:cubicBezTo>
                  <a:lnTo>
                    <a:pt x="393973" y="183563"/>
                  </a:lnTo>
                  <a:lnTo>
                    <a:pt x="542382" y="89012"/>
                  </a:lnTo>
                  <a:cubicBezTo>
                    <a:pt x="650164" y="75566"/>
                    <a:pt x="684933" y="51691"/>
                    <a:pt x="754470" y="0"/>
                  </a:cubicBezTo>
                  <a:close/>
                </a:path>
              </a:pathLst>
            </a:cu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9" name="Rectangle 3"/>
            <p:cNvSpPr/>
            <p:nvPr/>
          </p:nvSpPr>
          <p:spPr>
            <a:xfrm>
              <a:off x="6182227" y="3718859"/>
              <a:ext cx="762755" cy="536443"/>
            </a:xfrm>
            <a:custGeom>
              <a:avLst/>
              <a:gdLst>
                <a:gd name="connsiteX0" fmla="*/ 0 w 573057"/>
                <a:gd name="connsiteY0" fmla="*/ 0 h 313935"/>
                <a:gd name="connsiteX1" fmla="*/ 573057 w 573057"/>
                <a:gd name="connsiteY1" fmla="*/ 0 h 313935"/>
                <a:gd name="connsiteX2" fmla="*/ 573057 w 573057"/>
                <a:gd name="connsiteY2" fmla="*/ 313935 h 313935"/>
                <a:gd name="connsiteX3" fmla="*/ 0 w 573057"/>
                <a:gd name="connsiteY3" fmla="*/ 313935 h 313935"/>
                <a:gd name="connsiteX4" fmla="*/ 0 w 573057"/>
                <a:gd name="connsiteY4" fmla="*/ 0 h 313935"/>
                <a:gd name="connsiteX0" fmla="*/ 0 w 573057"/>
                <a:gd name="connsiteY0" fmla="*/ 0 h 316427"/>
                <a:gd name="connsiteX1" fmla="*/ 573057 w 573057"/>
                <a:gd name="connsiteY1" fmla="*/ 0 h 316427"/>
                <a:gd name="connsiteX2" fmla="*/ 573057 w 573057"/>
                <a:gd name="connsiteY2" fmla="*/ 313935 h 316427"/>
                <a:gd name="connsiteX3" fmla="*/ 171917 w 573057"/>
                <a:gd name="connsiteY3" fmla="*/ 316427 h 316427"/>
                <a:gd name="connsiteX4" fmla="*/ 0 w 573057"/>
                <a:gd name="connsiteY4" fmla="*/ 0 h 316427"/>
                <a:gd name="connsiteX0" fmla="*/ 0 w 573057"/>
                <a:gd name="connsiteY0" fmla="*/ 0 h 321410"/>
                <a:gd name="connsiteX1" fmla="*/ 573057 w 573057"/>
                <a:gd name="connsiteY1" fmla="*/ 0 h 321410"/>
                <a:gd name="connsiteX2" fmla="*/ 558108 w 573057"/>
                <a:gd name="connsiteY2" fmla="*/ 321410 h 321410"/>
                <a:gd name="connsiteX3" fmla="*/ 171917 w 573057"/>
                <a:gd name="connsiteY3" fmla="*/ 316427 h 321410"/>
                <a:gd name="connsiteX4" fmla="*/ 0 w 573057"/>
                <a:gd name="connsiteY4" fmla="*/ 0 h 321410"/>
                <a:gd name="connsiteX0" fmla="*/ 0 w 680194"/>
                <a:gd name="connsiteY0" fmla="*/ 9966 h 331376"/>
                <a:gd name="connsiteX1" fmla="*/ 680194 w 680194"/>
                <a:gd name="connsiteY1" fmla="*/ 0 h 331376"/>
                <a:gd name="connsiteX2" fmla="*/ 558108 w 680194"/>
                <a:gd name="connsiteY2" fmla="*/ 331376 h 331376"/>
                <a:gd name="connsiteX3" fmla="*/ 171917 w 680194"/>
                <a:gd name="connsiteY3" fmla="*/ 326393 h 331376"/>
                <a:gd name="connsiteX4" fmla="*/ 0 w 680194"/>
                <a:gd name="connsiteY4" fmla="*/ 9966 h 331376"/>
                <a:gd name="connsiteX0" fmla="*/ 0 w 680194"/>
                <a:gd name="connsiteY0" fmla="*/ 9966 h 331376"/>
                <a:gd name="connsiteX1" fmla="*/ 680194 w 680194"/>
                <a:gd name="connsiteY1" fmla="*/ 0 h 331376"/>
                <a:gd name="connsiteX2" fmla="*/ 558108 w 680194"/>
                <a:gd name="connsiteY2" fmla="*/ 331376 h 331376"/>
                <a:gd name="connsiteX3" fmla="*/ 171917 w 680194"/>
                <a:gd name="connsiteY3" fmla="*/ 326393 h 331376"/>
                <a:gd name="connsiteX4" fmla="*/ 0 w 680194"/>
                <a:gd name="connsiteY4" fmla="*/ 9966 h 331376"/>
                <a:gd name="connsiteX0" fmla="*/ 0 w 680194"/>
                <a:gd name="connsiteY0" fmla="*/ 9966 h 331376"/>
                <a:gd name="connsiteX1" fmla="*/ 498309 w 680194"/>
                <a:gd name="connsiteY1" fmla="*/ 2490 h 331376"/>
                <a:gd name="connsiteX2" fmla="*/ 680194 w 680194"/>
                <a:gd name="connsiteY2" fmla="*/ 0 h 331376"/>
                <a:gd name="connsiteX3" fmla="*/ 558108 w 680194"/>
                <a:gd name="connsiteY3" fmla="*/ 331376 h 331376"/>
                <a:gd name="connsiteX4" fmla="*/ 171917 w 680194"/>
                <a:gd name="connsiteY4" fmla="*/ 326393 h 331376"/>
                <a:gd name="connsiteX5" fmla="*/ 0 w 680194"/>
                <a:gd name="connsiteY5" fmla="*/ 9966 h 331376"/>
                <a:gd name="connsiteX0" fmla="*/ 0 w 680194"/>
                <a:gd name="connsiteY0" fmla="*/ 9966 h 331376"/>
                <a:gd name="connsiteX1" fmla="*/ 306460 w 680194"/>
                <a:gd name="connsiteY1" fmla="*/ 9965 h 331376"/>
                <a:gd name="connsiteX2" fmla="*/ 498309 w 680194"/>
                <a:gd name="connsiteY2" fmla="*/ 2490 h 331376"/>
                <a:gd name="connsiteX3" fmla="*/ 680194 w 680194"/>
                <a:gd name="connsiteY3" fmla="*/ 0 h 331376"/>
                <a:gd name="connsiteX4" fmla="*/ 558108 w 680194"/>
                <a:gd name="connsiteY4" fmla="*/ 331376 h 331376"/>
                <a:gd name="connsiteX5" fmla="*/ 171917 w 680194"/>
                <a:gd name="connsiteY5" fmla="*/ 326393 h 331376"/>
                <a:gd name="connsiteX6" fmla="*/ 0 w 680194"/>
                <a:gd name="connsiteY6" fmla="*/ 9966 h 331376"/>
                <a:gd name="connsiteX0" fmla="*/ 0 w 680194"/>
                <a:gd name="connsiteY0" fmla="*/ 134545 h 455955"/>
                <a:gd name="connsiteX1" fmla="*/ 470902 w 680194"/>
                <a:gd name="connsiteY1" fmla="*/ 0 h 455955"/>
                <a:gd name="connsiteX2" fmla="*/ 498309 w 680194"/>
                <a:gd name="connsiteY2" fmla="*/ 127069 h 455955"/>
                <a:gd name="connsiteX3" fmla="*/ 680194 w 680194"/>
                <a:gd name="connsiteY3" fmla="*/ 124579 h 455955"/>
                <a:gd name="connsiteX4" fmla="*/ 558108 w 680194"/>
                <a:gd name="connsiteY4" fmla="*/ 455955 h 455955"/>
                <a:gd name="connsiteX5" fmla="*/ 171917 w 680194"/>
                <a:gd name="connsiteY5" fmla="*/ 450972 h 455955"/>
                <a:gd name="connsiteX6" fmla="*/ 0 w 680194"/>
                <a:gd name="connsiteY6" fmla="*/ 134545 h 455955"/>
                <a:gd name="connsiteX0" fmla="*/ 0 w 680194"/>
                <a:gd name="connsiteY0" fmla="*/ 134545 h 455955"/>
                <a:gd name="connsiteX1" fmla="*/ 296493 w 680194"/>
                <a:gd name="connsiteY1" fmla="*/ 47340 h 455955"/>
                <a:gd name="connsiteX2" fmla="*/ 470902 w 680194"/>
                <a:gd name="connsiteY2" fmla="*/ 0 h 455955"/>
                <a:gd name="connsiteX3" fmla="*/ 498309 w 680194"/>
                <a:gd name="connsiteY3" fmla="*/ 127069 h 455955"/>
                <a:gd name="connsiteX4" fmla="*/ 680194 w 680194"/>
                <a:gd name="connsiteY4" fmla="*/ 124579 h 455955"/>
                <a:gd name="connsiteX5" fmla="*/ 558108 w 680194"/>
                <a:gd name="connsiteY5" fmla="*/ 455955 h 455955"/>
                <a:gd name="connsiteX6" fmla="*/ 171917 w 680194"/>
                <a:gd name="connsiteY6" fmla="*/ 450972 h 455955"/>
                <a:gd name="connsiteX7" fmla="*/ 0 w 680194"/>
                <a:gd name="connsiteY7" fmla="*/ 134545 h 455955"/>
                <a:gd name="connsiteX0" fmla="*/ 0 w 680194"/>
                <a:gd name="connsiteY0" fmla="*/ 134545 h 455955"/>
                <a:gd name="connsiteX1" fmla="*/ 281544 w 680194"/>
                <a:gd name="connsiteY1" fmla="*/ 79731 h 455955"/>
                <a:gd name="connsiteX2" fmla="*/ 470902 w 680194"/>
                <a:gd name="connsiteY2" fmla="*/ 0 h 455955"/>
                <a:gd name="connsiteX3" fmla="*/ 498309 w 680194"/>
                <a:gd name="connsiteY3" fmla="*/ 127069 h 455955"/>
                <a:gd name="connsiteX4" fmla="*/ 680194 w 680194"/>
                <a:gd name="connsiteY4" fmla="*/ 124579 h 455955"/>
                <a:gd name="connsiteX5" fmla="*/ 558108 w 680194"/>
                <a:gd name="connsiteY5" fmla="*/ 455955 h 455955"/>
                <a:gd name="connsiteX6" fmla="*/ 171917 w 680194"/>
                <a:gd name="connsiteY6" fmla="*/ 450972 h 455955"/>
                <a:gd name="connsiteX7" fmla="*/ 0 w 680194"/>
                <a:gd name="connsiteY7" fmla="*/ 134545 h 455955"/>
                <a:gd name="connsiteX0" fmla="*/ 0 w 680194"/>
                <a:gd name="connsiteY0" fmla="*/ 134545 h 455955"/>
                <a:gd name="connsiteX1" fmla="*/ 154475 w 680194"/>
                <a:gd name="connsiteY1" fmla="*/ 104646 h 455955"/>
                <a:gd name="connsiteX2" fmla="*/ 281544 w 680194"/>
                <a:gd name="connsiteY2" fmla="*/ 79731 h 455955"/>
                <a:gd name="connsiteX3" fmla="*/ 470902 w 680194"/>
                <a:gd name="connsiteY3" fmla="*/ 0 h 455955"/>
                <a:gd name="connsiteX4" fmla="*/ 498309 w 680194"/>
                <a:gd name="connsiteY4" fmla="*/ 127069 h 455955"/>
                <a:gd name="connsiteX5" fmla="*/ 680194 w 680194"/>
                <a:gd name="connsiteY5" fmla="*/ 124579 h 455955"/>
                <a:gd name="connsiteX6" fmla="*/ 558108 w 680194"/>
                <a:gd name="connsiteY6" fmla="*/ 455955 h 455955"/>
                <a:gd name="connsiteX7" fmla="*/ 171917 w 680194"/>
                <a:gd name="connsiteY7" fmla="*/ 450972 h 455955"/>
                <a:gd name="connsiteX8" fmla="*/ 0 w 680194"/>
                <a:gd name="connsiteY8" fmla="*/ 134545 h 455955"/>
                <a:gd name="connsiteX0" fmla="*/ 0 w 680194"/>
                <a:gd name="connsiteY0" fmla="*/ 134545 h 455955"/>
                <a:gd name="connsiteX1" fmla="*/ 149492 w 680194"/>
                <a:gd name="connsiteY1" fmla="*/ 49832 h 455955"/>
                <a:gd name="connsiteX2" fmla="*/ 281544 w 680194"/>
                <a:gd name="connsiteY2" fmla="*/ 79731 h 455955"/>
                <a:gd name="connsiteX3" fmla="*/ 470902 w 680194"/>
                <a:gd name="connsiteY3" fmla="*/ 0 h 455955"/>
                <a:gd name="connsiteX4" fmla="*/ 498309 w 680194"/>
                <a:gd name="connsiteY4" fmla="*/ 127069 h 455955"/>
                <a:gd name="connsiteX5" fmla="*/ 680194 w 680194"/>
                <a:gd name="connsiteY5" fmla="*/ 124579 h 455955"/>
                <a:gd name="connsiteX6" fmla="*/ 558108 w 680194"/>
                <a:gd name="connsiteY6" fmla="*/ 455955 h 455955"/>
                <a:gd name="connsiteX7" fmla="*/ 171917 w 680194"/>
                <a:gd name="connsiteY7" fmla="*/ 450972 h 455955"/>
                <a:gd name="connsiteX8" fmla="*/ 0 w 680194"/>
                <a:gd name="connsiteY8" fmla="*/ 134545 h 455955"/>
                <a:gd name="connsiteX0" fmla="*/ 0 w 662753"/>
                <a:gd name="connsiteY0" fmla="*/ 159460 h 455955"/>
                <a:gd name="connsiteX1" fmla="*/ 132051 w 662753"/>
                <a:gd name="connsiteY1" fmla="*/ 49832 h 455955"/>
                <a:gd name="connsiteX2" fmla="*/ 264103 w 662753"/>
                <a:gd name="connsiteY2" fmla="*/ 79731 h 455955"/>
                <a:gd name="connsiteX3" fmla="*/ 453461 w 662753"/>
                <a:gd name="connsiteY3" fmla="*/ 0 h 455955"/>
                <a:gd name="connsiteX4" fmla="*/ 480868 w 662753"/>
                <a:gd name="connsiteY4" fmla="*/ 127069 h 455955"/>
                <a:gd name="connsiteX5" fmla="*/ 662753 w 662753"/>
                <a:gd name="connsiteY5" fmla="*/ 124579 h 455955"/>
                <a:gd name="connsiteX6" fmla="*/ 540667 w 662753"/>
                <a:gd name="connsiteY6" fmla="*/ 455955 h 455955"/>
                <a:gd name="connsiteX7" fmla="*/ 154476 w 662753"/>
                <a:gd name="connsiteY7" fmla="*/ 450972 h 455955"/>
                <a:gd name="connsiteX8" fmla="*/ 0 w 662753"/>
                <a:gd name="connsiteY8" fmla="*/ 159460 h 455955"/>
                <a:gd name="connsiteX0" fmla="*/ 0 w 662753"/>
                <a:gd name="connsiteY0" fmla="*/ 161952 h 458447"/>
                <a:gd name="connsiteX1" fmla="*/ 132051 w 662753"/>
                <a:gd name="connsiteY1" fmla="*/ 52324 h 458447"/>
                <a:gd name="connsiteX2" fmla="*/ 264103 w 662753"/>
                <a:gd name="connsiteY2" fmla="*/ 82223 h 458447"/>
                <a:gd name="connsiteX3" fmla="*/ 448478 w 662753"/>
                <a:gd name="connsiteY3" fmla="*/ 0 h 458447"/>
                <a:gd name="connsiteX4" fmla="*/ 480868 w 662753"/>
                <a:gd name="connsiteY4" fmla="*/ 129561 h 458447"/>
                <a:gd name="connsiteX5" fmla="*/ 662753 w 662753"/>
                <a:gd name="connsiteY5" fmla="*/ 127071 h 458447"/>
                <a:gd name="connsiteX6" fmla="*/ 540667 w 662753"/>
                <a:gd name="connsiteY6" fmla="*/ 458447 h 458447"/>
                <a:gd name="connsiteX7" fmla="*/ 154476 w 662753"/>
                <a:gd name="connsiteY7" fmla="*/ 453464 h 458447"/>
                <a:gd name="connsiteX8" fmla="*/ 0 w 662753"/>
                <a:gd name="connsiteY8" fmla="*/ 161952 h 458447"/>
                <a:gd name="connsiteX0" fmla="*/ 0 w 662753"/>
                <a:gd name="connsiteY0" fmla="*/ 161952 h 458447"/>
                <a:gd name="connsiteX1" fmla="*/ 132051 w 662753"/>
                <a:gd name="connsiteY1" fmla="*/ 52324 h 458447"/>
                <a:gd name="connsiteX2" fmla="*/ 264103 w 662753"/>
                <a:gd name="connsiteY2" fmla="*/ 82223 h 458447"/>
                <a:gd name="connsiteX3" fmla="*/ 448478 w 662753"/>
                <a:gd name="connsiteY3" fmla="*/ 0 h 458447"/>
                <a:gd name="connsiteX4" fmla="*/ 473393 w 662753"/>
                <a:gd name="connsiteY4" fmla="*/ 132052 h 458447"/>
                <a:gd name="connsiteX5" fmla="*/ 662753 w 662753"/>
                <a:gd name="connsiteY5" fmla="*/ 127071 h 458447"/>
                <a:gd name="connsiteX6" fmla="*/ 540667 w 662753"/>
                <a:gd name="connsiteY6" fmla="*/ 458447 h 458447"/>
                <a:gd name="connsiteX7" fmla="*/ 154476 w 662753"/>
                <a:gd name="connsiteY7" fmla="*/ 453464 h 458447"/>
                <a:gd name="connsiteX8" fmla="*/ 0 w 662753"/>
                <a:gd name="connsiteY8" fmla="*/ 161952 h 458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753" h="458447">
                  <a:moveTo>
                    <a:pt x="0" y="161952"/>
                  </a:moveTo>
                  <a:lnTo>
                    <a:pt x="132051" y="52324"/>
                  </a:lnTo>
                  <a:lnTo>
                    <a:pt x="264103" y="82223"/>
                  </a:lnTo>
                  <a:lnTo>
                    <a:pt x="448478" y="0"/>
                  </a:lnTo>
                  <a:lnTo>
                    <a:pt x="473393" y="132052"/>
                  </a:lnTo>
                  <a:lnTo>
                    <a:pt x="662753" y="127071"/>
                  </a:lnTo>
                  <a:lnTo>
                    <a:pt x="540667" y="458447"/>
                  </a:lnTo>
                  <a:lnTo>
                    <a:pt x="154476" y="453464"/>
                  </a:lnTo>
                  <a:lnTo>
                    <a:pt x="0" y="161952"/>
                  </a:lnTo>
                  <a:close/>
                </a:path>
              </a:pathLst>
            </a:cu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10" name="Right Triangle 7"/>
            <p:cNvSpPr/>
            <p:nvPr/>
          </p:nvSpPr>
          <p:spPr>
            <a:xfrm flipH="1">
              <a:off x="6741541" y="3853771"/>
              <a:ext cx="193533" cy="384837"/>
            </a:xfrm>
            <a:custGeom>
              <a:avLst/>
              <a:gdLst>
                <a:gd name="connsiteX0" fmla="*/ 0 w 66004"/>
                <a:gd name="connsiteY0" fmla="*/ 276562 h 276562"/>
                <a:gd name="connsiteX1" fmla="*/ 0 w 66004"/>
                <a:gd name="connsiteY1" fmla="*/ 0 h 276562"/>
                <a:gd name="connsiteX2" fmla="*/ 66004 w 66004"/>
                <a:gd name="connsiteY2" fmla="*/ 276562 h 276562"/>
                <a:gd name="connsiteX3" fmla="*/ 0 w 66004"/>
                <a:gd name="connsiteY3" fmla="*/ 276562 h 276562"/>
                <a:gd name="connsiteX0" fmla="*/ 119595 w 185599"/>
                <a:gd name="connsiteY0" fmla="*/ 328884 h 328884"/>
                <a:gd name="connsiteX1" fmla="*/ 0 w 185599"/>
                <a:gd name="connsiteY1" fmla="*/ 0 h 328884"/>
                <a:gd name="connsiteX2" fmla="*/ 185599 w 185599"/>
                <a:gd name="connsiteY2" fmla="*/ 328884 h 328884"/>
                <a:gd name="connsiteX3" fmla="*/ 119595 w 18559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Lst>
              <a:ahLst/>
              <a:cxnLst>
                <a:cxn ang="0">
                  <a:pos x="connsiteX0" y="connsiteY0"/>
                </a:cxn>
                <a:cxn ang="0">
                  <a:pos x="connsiteX1" y="connsiteY1"/>
                </a:cxn>
                <a:cxn ang="0">
                  <a:pos x="connsiteX2" y="connsiteY2"/>
                </a:cxn>
                <a:cxn ang="0">
                  <a:pos x="connsiteX3" y="connsiteY3"/>
                </a:cxn>
              </a:cxnLst>
              <a:rect l="l" t="t" r="r" b="b"/>
              <a:pathLst>
                <a:path w="168159" h="328884">
                  <a:moveTo>
                    <a:pt x="119595" y="328884"/>
                  </a:moveTo>
                  <a:lnTo>
                    <a:pt x="0" y="0"/>
                  </a:lnTo>
                  <a:lnTo>
                    <a:pt x="168159" y="323900"/>
                  </a:lnTo>
                  <a:lnTo>
                    <a:pt x="119595" y="328884"/>
                  </a:lnTo>
                  <a:close/>
                </a:path>
              </a:pathLst>
            </a:cu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11" name="Right Triangle 7"/>
            <p:cNvSpPr/>
            <p:nvPr/>
          </p:nvSpPr>
          <p:spPr>
            <a:xfrm rot="9064593" flipH="1">
              <a:off x="6550770" y="3773605"/>
              <a:ext cx="224772" cy="290920"/>
            </a:xfrm>
            <a:custGeom>
              <a:avLst/>
              <a:gdLst>
                <a:gd name="connsiteX0" fmla="*/ 0 w 66004"/>
                <a:gd name="connsiteY0" fmla="*/ 276562 h 276562"/>
                <a:gd name="connsiteX1" fmla="*/ 0 w 66004"/>
                <a:gd name="connsiteY1" fmla="*/ 0 h 276562"/>
                <a:gd name="connsiteX2" fmla="*/ 66004 w 66004"/>
                <a:gd name="connsiteY2" fmla="*/ 276562 h 276562"/>
                <a:gd name="connsiteX3" fmla="*/ 0 w 66004"/>
                <a:gd name="connsiteY3" fmla="*/ 276562 h 276562"/>
                <a:gd name="connsiteX0" fmla="*/ 119595 w 185599"/>
                <a:gd name="connsiteY0" fmla="*/ 328884 h 328884"/>
                <a:gd name="connsiteX1" fmla="*/ 0 w 185599"/>
                <a:gd name="connsiteY1" fmla="*/ 0 h 328884"/>
                <a:gd name="connsiteX2" fmla="*/ 185599 w 185599"/>
                <a:gd name="connsiteY2" fmla="*/ 328884 h 328884"/>
                <a:gd name="connsiteX3" fmla="*/ 119595 w 18559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0 w 48564"/>
                <a:gd name="connsiteY0" fmla="*/ 132097 h 132097"/>
                <a:gd name="connsiteX1" fmla="*/ 3375 w 48564"/>
                <a:gd name="connsiteY1" fmla="*/ 0 h 132097"/>
                <a:gd name="connsiteX2" fmla="*/ 48564 w 48564"/>
                <a:gd name="connsiteY2" fmla="*/ 127113 h 132097"/>
                <a:gd name="connsiteX3" fmla="*/ 0 w 48564"/>
                <a:gd name="connsiteY3" fmla="*/ 132097 h 132097"/>
                <a:gd name="connsiteX0" fmla="*/ 0 w 48564"/>
                <a:gd name="connsiteY0" fmla="*/ 132097 h 132097"/>
                <a:gd name="connsiteX1" fmla="*/ 2631 w 48564"/>
                <a:gd name="connsiteY1" fmla="*/ 66384 h 132097"/>
                <a:gd name="connsiteX2" fmla="*/ 3375 w 48564"/>
                <a:gd name="connsiteY2" fmla="*/ 0 h 132097"/>
                <a:gd name="connsiteX3" fmla="*/ 48564 w 48564"/>
                <a:gd name="connsiteY3" fmla="*/ 127113 h 132097"/>
                <a:gd name="connsiteX4" fmla="*/ 0 w 48564"/>
                <a:gd name="connsiteY4" fmla="*/ 132097 h 132097"/>
                <a:gd name="connsiteX0" fmla="*/ 146739 w 195303"/>
                <a:gd name="connsiteY0" fmla="*/ 253606 h 253606"/>
                <a:gd name="connsiteX1" fmla="*/ 0 w 195303"/>
                <a:gd name="connsiteY1" fmla="*/ 0 h 253606"/>
                <a:gd name="connsiteX2" fmla="*/ 150114 w 195303"/>
                <a:gd name="connsiteY2" fmla="*/ 121509 h 253606"/>
                <a:gd name="connsiteX3" fmla="*/ 195303 w 195303"/>
                <a:gd name="connsiteY3" fmla="*/ 248622 h 253606"/>
                <a:gd name="connsiteX4" fmla="*/ 146739 w 195303"/>
                <a:gd name="connsiteY4" fmla="*/ 253606 h 253606"/>
                <a:gd name="connsiteX0" fmla="*/ 195303 w 195303"/>
                <a:gd name="connsiteY0" fmla="*/ 248622 h 248622"/>
                <a:gd name="connsiteX1" fmla="*/ 0 w 195303"/>
                <a:gd name="connsiteY1" fmla="*/ 0 h 248622"/>
                <a:gd name="connsiteX2" fmla="*/ 150114 w 195303"/>
                <a:gd name="connsiteY2" fmla="*/ 121509 h 248622"/>
                <a:gd name="connsiteX3" fmla="*/ 195303 w 195303"/>
                <a:gd name="connsiteY3" fmla="*/ 248622 h 248622"/>
                <a:gd name="connsiteX0" fmla="*/ 195303 w 195303"/>
                <a:gd name="connsiteY0" fmla="*/ 248622 h 248622"/>
                <a:gd name="connsiteX1" fmla="*/ 0 w 195303"/>
                <a:gd name="connsiteY1" fmla="*/ 0 h 248622"/>
                <a:gd name="connsiteX2" fmla="*/ 152524 w 195303"/>
                <a:gd name="connsiteY2" fmla="*/ 125870 h 248622"/>
                <a:gd name="connsiteX3" fmla="*/ 195303 w 195303"/>
                <a:gd name="connsiteY3" fmla="*/ 248622 h 248622"/>
              </a:gdLst>
              <a:ahLst/>
              <a:cxnLst>
                <a:cxn ang="0">
                  <a:pos x="connsiteX0" y="connsiteY0"/>
                </a:cxn>
                <a:cxn ang="0">
                  <a:pos x="connsiteX1" y="connsiteY1"/>
                </a:cxn>
                <a:cxn ang="0">
                  <a:pos x="connsiteX2" y="connsiteY2"/>
                </a:cxn>
                <a:cxn ang="0">
                  <a:pos x="connsiteX3" y="connsiteY3"/>
                </a:cxn>
              </a:cxnLst>
              <a:rect l="l" t="t" r="r" b="b"/>
              <a:pathLst>
                <a:path w="195303" h="248622">
                  <a:moveTo>
                    <a:pt x="195303" y="248622"/>
                  </a:moveTo>
                  <a:lnTo>
                    <a:pt x="0" y="0"/>
                  </a:lnTo>
                  <a:lnTo>
                    <a:pt x="152524" y="125870"/>
                  </a:lnTo>
                  <a:lnTo>
                    <a:pt x="195303" y="248622"/>
                  </a:lnTo>
                  <a:close/>
                </a:path>
              </a:pathLst>
            </a:cu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12" name="Right Triangle 7"/>
            <p:cNvSpPr/>
            <p:nvPr/>
          </p:nvSpPr>
          <p:spPr>
            <a:xfrm rot="9064593" flipH="1">
              <a:off x="6403363" y="3750557"/>
              <a:ext cx="115549" cy="300577"/>
            </a:xfrm>
            <a:custGeom>
              <a:avLst/>
              <a:gdLst>
                <a:gd name="connsiteX0" fmla="*/ 0 w 66004"/>
                <a:gd name="connsiteY0" fmla="*/ 276562 h 276562"/>
                <a:gd name="connsiteX1" fmla="*/ 0 w 66004"/>
                <a:gd name="connsiteY1" fmla="*/ 0 h 276562"/>
                <a:gd name="connsiteX2" fmla="*/ 66004 w 66004"/>
                <a:gd name="connsiteY2" fmla="*/ 276562 h 276562"/>
                <a:gd name="connsiteX3" fmla="*/ 0 w 66004"/>
                <a:gd name="connsiteY3" fmla="*/ 276562 h 276562"/>
                <a:gd name="connsiteX0" fmla="*/ 119595 w 185599"/>
                <a:gd name="connsiteY0" fmla="*/ 328884 h 328884"/>
                <a:gd name="connsiteX1" fmla="*/ 0 w 185599"/>
                <a:gd name="connsiteY1" fmla="*/ 0 h 328884"/>
                <a:gd name="connsiteX2" fmla="*/ 185599 w 185599"/>
                <a:gd name="connsiteY2" fmla="*/ 328884 h 328884"/>
                <a:gd name="connsiteX3" fmla="*/ 119595 w 18559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0 w 48564"/>
                <a:gd name="connsiteY0" fmla="*/ 132097 h 132097"/>
                <a:gd name="connsiteX1" fmla="*/ 3375 w 48564"/>
                <a:gd name="connsiteY1" fmla="*/ 0 h 132097"/>
                <a:gd name="connsiteX2" fmla="*/ 48564 w 48564"/>
                <a:gd name="connsiteY2" fmla="*/ 127113 h 132097"/>
                <a:gd name="connsiteX3" fmla="*/ 0 w 48564"/>
                <a:gd name="connsiteY3" fmla="*/ 132097 h 132097"/>
                <a:gd name="connsiteX0" fmla="*/ 0 w 48564"/>
                <a:gd name="connsiteY0" fmla="*/ 132097 h 132097"/>
                <a:gd name="connsiteX1" fmla="*/ 2631 w 48564"/>
                <a:gd name="connsiteY1" fmla="*/ 66384 h 132097"/>
                <a:gd name="connsiteX2" fmla="*/ 3375 w 48564"/>
                <a:gd name="connsiteY2" fmla="*/ 0 h 132097"/>
                <a:gd name="connsiteX3" fmla="*/ 48564 w 48564"/>
                <a:gd name="connsiteY3" fmla="*/ 127113 h 132097"/>
                <a:gd name="connsiteX4" fmla="*/ 0 w 48564"/>
                <a:gd name="connsiteY4" fmla="*/ 132097 h 132097"/>
                <a:gd name="connsiteX0" fmla="*/ 146739 w 195303"/>
                <a:gd name="connsiteY0" fmla="*/ 253606 h 253606"/>
                <a:gd name="connsiteX1" fmla="*/ 0 w 195303"/>
                <a:gd name="connsiteY1" fmla="*/ 0 h 253606"/>
                <a:gd name="connsiteX2" fmla="*/ 150114 w 195303"/>
                <a:gd name="connsiteY2" fmla="*/ 121509 h 253606"/>
                <a:gd name="connsiteX3" fmla="*/ 195303 w 195303"/>
                <a:gd name="connsiteY3" fmla="*/ 248622 h 253606"/>
                <a:gd name="connsiteX4" fmla="*/ 146739 w 195303"/>
                <a:gd name="connsiteY4" fmla="*/ 253606 h 253606"/>
                <a:gd name="connsiteX0" fmla="*/ 195303 w 195303"/>
                <a:gd name="connsiteY0" fmla="*/ 248622 h 248622"/>
                <a:gd name="connsiteX1" fmla="*/ 0 w 195303"/>
                <a:gd name="connsiteY1" fmla="*/ 0 h 248622"/>
                <a:gd name="connsiteX2" fmla="*/ 150114 w 195303"/>
                <a:gd name="connsiteY2" fmla="*/ 121509 h 248622"/>
                <a:gd name="connsiteX3" fmla="*/ 195303 w 195303"/>
                <a:gd name="connsiteY3" fmla="*/ 248622 h 248622"/>
                <a:gd name="connsiteX0" fmla="*/ 140496 w 140496"/>
                <a:gd name="connsiteY0" fmla="*/ 298833 h 298833"/>
                <a:gd name="connsiteX1" fmla="*/ 0 w 140496"/>
                <a:gd name="connsiteY1" fmla="*/ 0 h 298833"/>
                <a:gd name="connsiteX2" fmla="*/ 95307 w 140496"/>
                <a:gd name="connsiteY2" fmla="*/ 171720 h 298833"/>
                <a:gd name="connsiteX3" fmla="*/ 140496 w 140496"/>
                <a:gd name="connsiteY3" fmla="*/ 298833 h 298833"/>
                <a:gd name="connsiteX0" fmla="*/ 0 w 100400"/>
                <a:gd name="connsiteY0" fmla="*/ 256875 h 256875"/>
                <a:gd name="connsiteX1" fmla="*/ 5093 w 100400"/>
                <a:gd name="connsiteY1" fmla="*/ 0 h 256875"/>
                <a:gd name="connsiteX2" fmla="*/ 100400 w 100400"/>
                <a:gd name="connsiteY2" fmla="*/ 171720 h 256875"/>
                <a:gd name="connsiteX3" fmla="*/ 0 w 100400"/>
                <a:gd name="connsiteY3" fmla="*/ 256875 h 256875"/>
              </a:gdLst>
              <a:ahLst/>
              <a:cxnLst>
                <a:cxn ang="0">
                  <a:pos x="connsiteX0" y="connsiteY0"/>
                </a:cxn>
                <a:cxn ang="0">
                  <a:pos x="connsiteX1" y="connsiteY1"/>
                </a:cxn>
                <a:cxn ang="0">
                  <a:pos x="connsiteX2" y="connsiteY2"/>
                </a:cxn>
                <a:cxn ang="0">
                  <a:pos x="connsiteX3" y="connsiteY3"/>
                </a:cxn>
              </a:cxnLst>
              <a:rect l="l" t="t" r="r" b="b"/>
              <a:pathLst>
                <a:path w="100400" h="256875">
                  <a:moveTo>
                    <a:pt x="0" y="256875"/>
                  </a:moveTo>
                  <a:lnTo>
                    <a:pt x="5093" y="0"/>
                  </a:lnTo>
                  <a:lnTo>
                    <a:pt x="100400" y="171720"/>
                  </a:lnTo>
                  <a:lnTo>
                    <a:pt x="0" y="256875"/>
                  </a:lnTo>
                  <a:close/>
                </a:path>
              </a:pathLst>
            </a:cu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5" name="Text Placeholder 33"/>
            <p:cNvSpPr txBox="1">
              <a:spLocks/>
            </p:cNvSpPr>
            <p:nvPr/>
          </p:nvSpPr>
          <p:spPr>
            <a:xfrm>
              <a:off x="6184241" y="5093743"/>
              <a:ext cx="719116" cy="60909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AU" sz="5400" dirty="0">
                  <a:solidFill>
                    <a:schemeClr val="accent1"/>
                  </a:solidFill>
                  <a:latin typeface="RBC Display" panose="02000000000000000000" pitchFamily="2" charset="77"/>
                  <a:ea typeface="Adobe Heiti Std R" panose="020B0400000000000000" pitchFamily="34" charset="-128"/>
                </a:rPr>
                <a:t>$</a:t>
              </a:r>
            </a:p>
          </p:txBody>
        </p:sp>
      </p:grpSp>
      <p:grpSp>
        <p:nvGrpSpPr>
          <p:cNvPr id="36" name="Group 35"/>
          <p:cNvGrpSpPr/>
          <p:nvPr/>
        </p:nvGrpSpPr>
        <p:grpSpPr>
          <a:xfrm>
            <a:off x="8470900" y="3432684"/>
            <a:ext cx="1481498" cy="2397752"/>
            <a:chOff x="5767732" y="3718859"/>
            <a:chExt cx="1670299" cy="2703325"/>
          </a:xfrm>
        </p:grpSpPr>
        <p:grpSp>
          <p:nvGrpSpPr>
            <p:cNvPr id="37" name="Group 36"/>
            <p:cNvGrpSpPr/>
            <p:nvPr/>
          </p:nvGrpSpPr>
          <p:grpSpPr>
            <a:xfrm>
              <a:off x="5767732" y="4440188"/>
              <a:ext cx="1670299" cy="1981996"/>
              <a:chOff x="1087899" y="4611523"/>
              <a:chExt cx="1451310" cy="1693823"/>
            </a:xfrm>
          </p:grpSpPr>
          <p:sp>
            <p:nvSpPr>
              <p:cNvPr id="44" name="Freeform 43"/>
              <p:cNvSpPr/>
              <p:nvPr/>
            </p:nvSpPr>
            <p:spPr>
              <a:xfrm>
                <a:off x="1087899" y="4611523"/>
                <a:ext cx="1408919" cy="1637602"/>
              </a:xfrm>
              <a:custGeom>
                <a:avLst/>
                <a:gdLst>
                  <a:gd name="connsiteX0" fmla="*/ 461907 w 1404934"/>
                  <a:gd name="connsiteY0" fmla="*/ 1561582 h 1641864"/>
                  <a:gd name="connsiteX1" fmla="*/ 460409 w 1404934"/>
                  <a:gd name="connsiteY1" fmla="*/ 1562298 h 1641864"/>
                  <a:gd name="connsiteX2" fmla="*/ 464264 w 1404934"/>
                  <a:gd name="connsiteY2" fmla="*/ 1564031 h 1641864"/>
                  <a:gd name="connsiteX3" fmla="*/ 633532 w 1404934"/>
                  <a:gd name="connsiteY3" fmla="*/ 0 h 1641864"/>
                  <a:gd name="connsiteX4" fmla="*/ 642264 w 1404934"/>
                  <a:gd name="connsiteY4" fmla="*/ 89 h 1641864"/>
                  <a:gd name="connsiteX5" fmla="*/ 859611 w 1404934"/>
                  <a:gd name="connsiteY5" fmla="*/ 4927 h 1641864"/>
                  <a:gd name="connsiteX6" fmla="*/ 869679 w 1404934"/>
                  <a:gd name="connsiteY6" fmla="*/ 4849 h 1641864"/>
                  <a:gd name="connsiteX7" fmla="*/ 888124 w 1404934"/>
                  <a:gd name="connsiteY7" fmla="*/ 5035 h 1641864"/>
                  <a:gd name="connsiteX8" fmla="*/ 920629 w 1404934"/>
                  <a:gd name="connsiteY8" fmla="*/ 5097 h 1641864"/>
                  <a:gd name="connsiteX9" fmla="*/ 1028230 w 1404934"/>
                  <a:gd name="connsiteY9" fmla="*/ 154932 h 1641864"/>
                  <a:gd name="connsiteX10" fmla="*/ 1403068 w 1404934"/>
                  <a:gd name="connsiteY10" fmla="*/ 1061042 h 1641864"/>
                  <a:gd name="connsiteX11" fmla="*/ 817301 w 1404934"/>
                  <a:gd name="connsiteY11" fmla="*/ 1625687 h 1641864"/>
                  <a:gd name="connsiteX12" fmla="*/ 745274 w 1404934"/>
                  <a:gd name="connsiteY12" fmla="*/ 1632820 h 1641864"/>
                  <a:gd name="connsiteX13" fmla="*/ 710413 w 1404934"/>
                  <a:gd name="connsiteY13" fmla="*/ 1629831 h 1641864"/>
                  <a:gd name="connsiteX14" fmla="*/ 665846 w 1404934"/>
                  <a:gd name="connsiteY14" fmla="*/ 1622274 h 1641864"/>
                  <a:gd name="connsiteX15" fmla="*/ 660377 w 1404934"/>
                  <a:gd name="connsiteY15" fmla="*/ 1624890 h 1641864"/>
                  <a:gd name="connsiteX16" fmla="*/ 710412 w 1404934"/>
                  <a:gd name="connsiteY16" fmla="*/ 1633702 h 1641864"/>
                  <a:gd name="connsiteX17" fmla="*/ 745275 w 1404934"/>
                  <a:gd name="connsiteY17" fmla="*/ 1636691 h 1641864"/>
                  <a:gd name="connsiteX18" fmla="*/ 693045 w 1404934"/>
                  <a:gd name="connsiteY18" fmla="*/ 1641864 h 1641864"/>
                  <a:gd name="connsiteX19" fmla="*/ 327 w 1404934"/>
                  <a:gd name="connsiteY19" fmla="*/ 987094 h 1641864"/>
                  <a:gd name="connsiteX20" fmla="*/ 470498 w 1404934"/>
                  <a:gd name="connsiteY20" fmla="*/ 4261 h 1641864"/>
                  <a:gd name="connsiteX21" fmla="*/ 578637 w 1404934"/>
                  <a:gd name="connsiteY21" fmla="*/ 3616 h 1641864"/>
                  <a:gd name="connsiteX22" fmla="*/ 580705 w 1404934"/>
                  <a:gd name="connsiteY22" fmla="*/ 3620 h 1641864"/>
                  <a:gd name="connsiteX23" fmla="*/ 583039 w 1404934"/>
                  <a:gd name="connsiteY23" fmla="*/ 390 h 1641864"/>
                  <a:gd name="connsiteX0" fmla="*/ 464264 w 1404934"/>
                  <a:gd name="connsiteY0" fmla="*/ 1564031 h 1641864"/>
                  <a:gd name="connsiteX1" fmla="*/ 460409 w 1404934"/>
                  <a:gd name="connsiteY1" fmla="*/ 1562298 h 1641864"/>
                  <a:gd name="connsiteX2" fmla="*/ 464264 w 1404934"/>
                  <a:gd name="connsiteY2" fmla="*/ 1564031 h 1641864"/>
                  <a:gd name="connsiteX3" fmla="*/ 633532 w 1404934"/>
                  <a:gd name="connsiteY3" fmla="*/ 0 h 1641864"/>
                  <a:gd name="connsiteX4" fmla="*/ 642264 w 1404934"/>
                  <a:gd name="connsiteY4" fmla="*/ 89 h 1641864"/>
                  <a:gd name="connsiteX5" fmla="*/ 859611 w 1404934"/>
                  <a:gd name="connsiteY5" fmla="*/ 4927 h 1641864"/>
                  <a:gd name="connsiteX6" fmla="*/ 869679 w 1404934"/>
                  <a:gd name="connsiteY6" fmla="*/ 4849 h 1641864"/>
                  <a:gd name="connsiteX7" fmla="*/ 888124 w 1404934"/>
                  <a:gd name="connsiteY7" fmla="*/ 5035 h 1641864"/>
                  <a:gd name="connsiteX8" fmla="*/ 920629 w 1404934"/>
                  <a:gd name="connsiteY8" fmla="*/ 5097 h 1641864"/>
                  <a:gd name="connsiteX9" fmla="*/ 1028230 w 1404934"/>
                  <a:gd name="connsiteY9" fmla="*/ 154932 h 1641864"/>
                  <a:gd name="connsiteX10" fmla="*/ 1403068 w 1404934"/>
                  <a:gd name="connsiteY10" fmla="*/ 1061042 h 1641864"/>
                  <a:gd name="connsiteX11" fmla="*/ 817301 w 1404934"/>
                  <a:gd name="connsiteY11" fmla="*/ 1625687 h 1641864"/>
                  <a:gd name="connsiteX12" fmla="*/ 745274 w 1404934"/>
                  <a:gd name="connsiteY12" fmla="*/ 1632820 h 1641864"/>
                  <a:gd name="connsiteX13" fmla="*/ 710413 w 1404934"/>
                  <a:gd name="connsiteY13" fmla="*/ 1629831 h 1641864"/>
                  <a:gd name="connsiteX14" fmla="*/ 665846 w 1404934"/>
                  <a:gd name="connsiteY14" fmla="*/ 1622274 h 1641864"/>
                  <a:gd name="connsiteX15" fmla="*/ 660377 w 1404934"/>
                  <a:gd name="connsiteY15" fmla="*/ 1624890 h 1641864"/>
                  <a:gd name="connsiteX16" fmla="*/ 710412 w 1404934"/>
                  <a:gd name="connsiteY16" fmla="*/ 1633702 h 1641864"/>
                  <a:gd name="connsiteX17" fmla="*/ 745275 w 1404934"/>
                  <a:gd name="connsiteY17" fmla="*/ 1636691 h 1641864"/>
                  <a:gd name="connsiteX18" fmla="*/ 693045 w 1404934"/>
                  <a:gd name="connsiteY18" fmla="*/ 1641864 h 1641864"/>
                  <a:gd name="connsiteX19" fmla="*/ 327 w 1404934"/>
                  <a:gd name="connsiteY19" fmla="*/ 987094 h 1641864"/>
                  <a:gd name="connsiteX20" fmla="*/ 470498 w 1404934"/>
                  <a:gd name="connsiteY20" fmla="*/ 4261 h 1641864"/>
                  <a:gd name="connsiteX21" fmla="*/ 578637 w 1404934"/>
                  <a:gd name="connsiteY21" fmla="*/ 3616 h 1641864"/>
                  <a:gd name="connsiteX22" fmla="*/ 580705 w 1404934"/>
                  <a:gd name="connsiteY22" fmla="*/ 3620 h 1641864"/>
                  <a:gd name="connsiteX23" fmla="*/ 583039 w 1404934"/>
                  <a:gd name="connsiteY23" fmla="*/ 390 h 1641864"/>
                  <a:gd name="connsiteX24" fmla="*/ 633532 w 1404934"/>
                  <a:gd name="connsiteY24"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665846 w 1404934"/>
                  <a:gd name="connsiteY11" fmla="*/ 1622274 h 1641864"/>
                  <a:gd name="connsiteX12" fmla="*/ 660377 w 1404934"/>
                  <a:gd name="connsiteY12" fmla="*/ 1624890 h 1641864"/>
                  <a:gd name="connsiteX13" fmla="*/ 710412 w 1404934"/>
                  <a:gd name="connsiteY13" fmla="*/ 1633702 h 1641864"/>
                  <a:gd name="connsiteX14" fmla="*/ 745275 w 1404934"/>
                  <a:gd name="connsiteY14" fmla="*/ 1636691 h 1641864"/>
                  <a:gd name="connsiteX15" fmla="*/ 693045 w 1404934"/>
                  <a:gd name="connsiteY15" fmla="*/ 1641864 h 1641864"/>
                  <a:gd name="connsiteX16" fmla="*/ 327 w 1404934"/>
                  <a:gd name="connsiteY16" fmla="*/ 987094 h 1641864"/>
                  <a:gd name="connsiteX17" fmla="*/ 470498 w 1404934"/>
                  <a:gd name="connsiteY17" fmla="*/ 4261 h 1641864"/>
                  <a:gd name="connsiteX18" fmla="*/ 578637 w 1404934"/>
                  <a:gd name="connsiteY18" fmla="*/ 3616 h 1641864"/>
                  <a:gd name="connsiteX19" fmla="*/ 580705 w 1404934"/>
                  <a:gd name="connsiteY19" fmla="*/ 3620 h 1641864"/>
                  <a:gd name="connsiteX20" fmla="*/ 583039 w 1404934"/>
                  <a:gd name="connsiteY20" fmla="*/ 390 h 1641864"/>
                  <a:gd name="connsiteX21" fmla="*/ 633532 w 1404934"/>
                  <a:gd name="connsiteY21"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665846 w 1404934"/>
                  <a:gd name="connsiteY11" fmla="*/ 1622274 h 1641864"/>
                  <a:gd name="connsiteX12" fmla="*/ 710412 w 1404934"/>
                  <a:gd name="connsiteY12" fmla="*/ 1633702 h 1641864"/>
                  <a:gd name="connsiteX13" fmla="*/ 745275 w 1404934"/>
                  <a:gd name="connsiteY13" fmla="*/ 1636691 h 1641864"/>
                  <a:gd name="connsiteX14" fmla="*/ 693045 w 1404934"/>
                  <a:gd name="connsiteY14" fmla="*/ 1641864 h 1641864"/>
                  <a:gd name="connsiteX15" fmla="*/ 327 w 1404934"/>
                  <a:gd name="connsiteY15" fmla="*/ 987094 h 1641864"/>
                  <a:gd name="connsiteX16" fmla="*/ 470498 w 1404934"/>
                  <a:gd name="connsiteY16" fmla="*/ 4261 h 1641864"/>
                  <a:gd name="connsiteX17" fmla="*/ 578637 w 1404934"/>
                  <a:gd name="connsiteY17" fmla="*/ 3616 h 1641864"/>
                  <a:gd name="connsiteX18" fmla="*/ 580705 w 1404934"/>
                  <a:gd name="connsiteY18" fmla="*/ 3620 h 1641864"/>
                  <a:gd name="connsiteX19" fmla="*/ 583039 w 1404934"/>
                  <a:gd name="connsiteY19" fmla="*/ 390 h 1641864"/>
                  <a:gd name="connsiteX20" fmla="*/ 633532 w 1404934"/>
                  <a:gd name="connsiteY20"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710412 w 1404934"/>
                  <a:gd name="connsiteY11" fmla="*/ 1633702 h 1641864"/>
                  <a:gd name="connsiteX12" fmla="*/ 745275 w 1404934"/>
                  <a:gd name="connsiteY12" fmla="*/ 1636691 h 1641864"/>
                  <a:gd name="connsiteX13" fmla="*/ 693045 w 1404934"/>
                  <a:gd name="connsiteY13" fmla="*/ 1641864 h 1641864"/>
                  <a:gd name="connsiteX14" fmla="*/ 327 w 1404934"/>
                  <a:gd name="connsiteY14" fmla="*/ 987094 h 1641864"/>
                  <a:gd name="connsiteX15" fmla="*/ 470498 w 1404934"/>
                  <a:gd name="connsiteY15" fmla="*/ 4261 h 1641864"/>
                  <a:gd name="connsiteX16" fmla="*/ 578637 w 1404934"/>
                  <a:gd name="connsiteY16" fmla="*/ 3616 h 1641864"/>
                  <a:gd name="connsiteX17" fmla="*/ 580705 w 1404934"/>
                  <a:gd name="connsiteY17" fmla="*/ 3620 h 1641864"/>
                  <a:gd name="connsiteX18" fmla="*/ 583039 w 1404934"/>
                  <a:gd name="connsiteY18" fmla="*/ 390 h 1641864"/>
                  <a:gd name="connsiteX19" fmla="*/ 633532 w 1404934"/>
                  <a:gd name="connsiteY19"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745275 w 1404934"/>
                  <a:gd name="connsiteY11" fmla="*/ 1636691 h 1641864"/>
                  <a:gd name="connsiteX12" fmla="*/ 693045 w 1404934"/>
                  <a:gd name="connsiteY12" fmla="*/ 1641864 h 1641864"/>
                  <a:gd name="connsiteX13" fmla="*/ 327 w 1404934"/>
                  <a:gd name="connsiteY13" fmla="*/ 987094 h 1641864"/>
                  <a:gd name="connsiteX14" fmla="*/ 470498 w 1404934"/>
                  <a:gd name="connsiteY14" fmla="*/ 4261 h 1641864"/>
                  <a:gd name="connsiteX15" fmla="*/ 578637 w 1404934"/>
                  <a:gd name="connsiteY15" fmla="*/ 3616 h 1641864"/>
                  <a:gd name="connsiteX16" fmla="*/ 580705 w 1404934"/>
                  <a:gd name="connsiteY16" fmla="*/ 3620 h 1641864"/>
                  <a:gd name="connsiteX17" fmla="*/ 583039 w 1404934"/>
                  <a:gd name="connsiteY17" fmla="*/ 390 h 1641864"/>
                  <a:gd name="connsiteX18" fmla="*/ 633532 w 1404934"/>
                  <a:gd name="connsiteY18"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45275 w 1404934"/>
                  <a:gd name="connsiteY10" fmla="*/ 1636691 h 1641864"/>
                  <a:gd name="connsiteX11" fmla="*/ 693045 w 1404934"/>
                  <a:gd name="connsiteY11" fmla="*/ 1641864 h 1641864"/>
                  <a:gd name="connsiteX12" fmla="*/ 327 w 1404934"/>
                  <a:gd name="connsiteY12" fmla="*/ 987094 h 1641864"/>
                  <a:gd name="connsiteX13" fmla="*/ 470498 w 1404934"/>
                  <a:gd name="connsiteY13" fmla="*/ 4261 h 1641864"/>
                  <a:gd name="connsiteX14" fmla="*/ 578637 w 1404934"/>
                  <a:gd name="connsiteY14" fmla="*/ 3616 h 1641864"/>
                  <a:gd name="connsiteX15" fmla="*/ 580705 w 1404934"/>
                  <a:gd name="connsiteY15" fmla="*/ 3620 h 1641864"/>
                  <a:gd name="connsiteX16" fmla="*/ 583039 w 1404934"/>
                  <a:gd name="connsiteY16" fmla="*/ 390 h 1641864"/>
                  <a:gd name="connsiteX17" fmla="*/ 633532 w 1404934"/>
                  <a:gd name="connsiteY17"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45275 w 1404934"/>
                  <a:gd name="connsiteY10" fmla="*/ 1636691 h 1641864"/>
                  <a:gd name="connsiteX11" fmla="*/ 693045 w 1404934"/>
                  <a:gd name="connsiteY11" fmla="*/ 1641864 h 1641864"/>
                  <a:gd name="connsiteX12" fmla="*/ 327 w 1404934"/>
                  <a:gd name="connsiteY12" fmla="*/ 987094 h 1641864"/>
                  <a:gd name="connsiteX13" fmla="*/ 470498 w 1404934"/>
                  <a:gd name="connsiteY13" fmla="*/ 4261 h 1641864"/>
                  <a:gd name="connsiteX14" fmla="*/ 578637 w 1404934"/>
                  <a:gd name="connsiteY14" fmla="*/ 3616 h 1641864"/>
                  <a:gd name="connsiteX15" fmla="*/ 580705 w 1404934"/>
                  <a:gd name="connsiteY15" fmla="*/ 3620 h 1641864"/>
                  <a:gd name="connsiteX16" fmla="*/ 633532 w 1404934"/>
                  <a:gd name="connsiteY16" fmla="*/ 0 h 1641864"/>
                  <a:gd name="connsiteX0" fmla="*/ 580705 w 1404934"/>
                  <a:gd name="connsiteY0" fmla="*/ 3531 h 1641775"/>
                  <a:gd name="connsiteX1" fmla="*/ 642264 w 1404934"/>
                  <a:gd name="connsiteY1" fmla="*/ 0 h 1641775"/>
                  <a:gd name="connsiteX2" fmla="*/ 859611 w 1404934"/>
                  <a:gd name="connsiteY2" fmla="*/ 4838 h 1641775"/>
                  <a:gd name="connsiteX3" fmla="*/ 869679 w 1404934"/>
                  <a:gd name="connsiteY3" fmla="*/ 4760 h 1641775"/>
                  <a:gd name="connsiteX4" fmla="*/ 888124 w 1404934"/>
                  <a:gd name="connsiteY4" fmla="*/ 4946 h 1641775"/>
                  <a:gd name="connsiteX5" fmla="*/ 920629 w 1404934"/>
                  <a:gd name="connsiteY5" fmla="*/ 5008 h 1641775"/>
                  <a:gd name="connsiteX6" fmla="*/ 1028230 w 1404934"/>
                  <a:gd name="connsiteY6" fmla="*/ 154843 h 1641775"/>
                  <a:gd name="connsiteX7" fmla="*/ 1403068 w 1404934"/>
                  <a:gd name="connsiteY7" fmla="*/ 1060953 h 1641775"/>
                  <a:gd name="connsiteX8" fmla="*/ 817301 w 1404934"/>
                  <a:gd name="connsiteY8" fmla="*/ 1625598 h 1641775"/>
                  <a:gd name="connsiteX9" fmla="*/ 745274 w 1404934"/>
                  <a:gd name="connsiteY9" fmla="*/ 1632731 h 1641775"/>
                  <a:gd name="connsiteX10" fmla="*/ 745275 w 1404934"/>
                  <a:gd name="connsiteY10" fmla="*/ 1636602 h 1641775"/>
                  <a:gd name="connsiteX11" fmla="*/ 693045 w 1404934"/>
                  <a:gd name="connsiteY11" fmla="*/ 1641775 h 1641775"/>
                  <a:gd name="connsiteX12" fmla="*/ 327 w 1404934"/>
                  <a:gd name="connsiteY12" fmla="*/ 987005 h 1641775"/>
                  <a:gd name="connsiteX13" fmla="*/ 470498 w 1404934"/>
                  <a:gd name="connsiteY13" fmla="*/ 4172 h 1641775"/>
                  <a:gd name="connsiteX14" fmla="*/ 578637 w 1404934"/>
                  <a:gd name="connsiteY14" fmla="*/ 3527 h 1641775"/>
                  <a:gd name="connsiteX15" fmla="*/ 580705 w 1404934"/>
                  <a:gd name="connsiteY15" fmla="*/ 3531 h 1641775"/>
                  <a:gd name="connsiteX0" fmla="*/ 580705 w 1404934"/>
                  <a:gd name="connsiteY0" fmla="*/ 4 h 1638248"/>
                  <a:gd name="connsiteX1" fmla="*/ 859611 w 1404934"/>
                  <a:gd name="connsiteY1" fmla="*/ 1311 h 1638248"/>
                  <a:gd name="connsiteX2" fmla="*/ 869679 w 1404934"/>
                  <a:gd name="connsiteY2" fmla="*/ 1233 h 1638248"/>
                  <a:gd name="connsiteX3" fmla="*/ 888124 w 1404934"/>
                  <a:gd name="connsiteY3" fmla="*/ 1419 h 1638248"/>
                  <a:gd name="connsiteX4" fmla="*/ 920629 w 1404934"/>
                  <a:gd name="connsiteY4" fmla="*/ 1481 h 1638248"/>
                  <a:gd name="connsiteX5" fmla="*/ 1028230 w 1404934"/>
                  <a:gd name="connsiteY5" fmla="*/ 151316 h 1638248"/>
                  <a:gd name="connsiteX6" fmla="*/ 1403068 w 1404934"/>
                  <a:gd name="connsiteY6" fmla="*/ 1057426 h 1638248"/>
                  <a:gd name="connsiteX7" fmla="*/ 817301 w 1404934"/>
                  <a:gd name="connsiteY7" fmla="*/ 1622071 h 1638248"/>
                  <a:gd name="connsiteX8" fmla="*/ 745274 w 1404934"/>
                  <a:gd name="connsiteY8" fmla="*/ 1629204 h 1638248"/>
                  <a:gd name="connsiteX9" fmla="*/ 745275 w 1404934"/>
                  <a:gd name="connsiteY9" fmla="*/ 1633075 h 1638248"/>
                  <a:gd name="connsiteX10" fmla="*/ 693045 w 1404934"/>
                  <a:gd name="connsiteY10" fmla="*/ 1638248 h 1638248"/>
                  <a:gd name="connsiteX11" fmla="*/ 327 w 1404934"/>
                  <a:gd name="connsiteY11" fmla="*/ 983478 h 1638248"/>
                  <a:gd name="connsiteX12" fmla="*/ 470498 w 1404934"/>
                  <a:gd name="connsiteY12" fmla="*/ 645 h 1638248"/>
                  <a:gd name="connsiteX13" fmla="*/ 578637 w 1404934"/>
                  <a:gd name="connsiteY13" fmla="*/ 0 h 1638248"/>
                  <a:gd name="connsiteX14" fmla="*/ 580705 w 1404934"/>
                  <a:gd name="connsiteY14" fmla="*/ 4 h 1638248"/>
                  <a:gd name="connsiteX0" fmla="*/ 578637 w 1404934"/>
                  <a:gd name="connsiteY0" fmla="*/ 0 h 1638248"/>
                  <a:gd name="connsiteX1" fmla="*/ 859611 w 1404934"/>
                  <a:gd name="connsiteY1" fmla="*/ 1311 h 1638248"/>
                  <a:gd name="connsiteX2" fmla="*/ 869679 w 1404934"/>
                  <a:gd name="connsiteY2" fmla="*/ 1233 h 1638248"/>
                  <a:gd name="connsiteX3" fmla="*/ 888124 w 1404934"/>
                  <a:gd name="connsiteY3" fmla="*/ 1419 h 1638248"/>
                  <a:gd name="connsiteX4" fmla="*/ 920629 w 1404934"/>
                  <a:gd name="connsiteY4" fmla="*/ 1481 h 1638248"/>
                  <a:gd name="connsiteX5" fmla="*/ 1028230 w 1404934"/>
                  <a:gd name="connsiteY5" fmla="*/ 151316 h 1638248"/>
                  <a:gd name="connsiteX6" fmla="*/ 1403068 w 1404934"/>
                  <a:gd name="connsiteY6" fmla="*/ 1057426 h 1638248"/>
                  <a:gd name="connsiteX7" fmla="*/ 817301 w 1404934"/>
                  <a:gd name="connsiteY7" fmla="*/ 1622071 h 1638248"/>
                  <a:gd name="connsiteX8" fmla="*/ 745274 w 1404934"/>
                  <a:gd name="connsiteY8" fmla="*/ 1629204 h 1638248"/>
                  <a:gd name="connsiteX9" fmla="*/ 745275 w 1404934"/>
                  <a:gd name="connsiteY9" fmla="*/ 1633075 h 1638248"/>
                  <a:gd name="connsiteX10" fmla="*/ 693045 w 1404934"/>
                  <a:gd name="connsiteY10" fmla="*/ 1638248 h 1638248"/>
                  <a:gd name="connsiteX11" fmla="*/ 327 w 1404934"/>
                  <a:gd name="connsiteY11" fmla="*/ 983478 h 1638248"/>
                  <a:gd name="connsiteX12" fmla="*/ 470498 w 1404934"/>
                  <a:gd name="connsiteY12" fmla="*/ 645 h 1638248"/>
                  <a:gd name="connsiteX13" fmla="*/ 578637 w 1404934"/>
                  <a:gd name="connsiteY13" fmla="*/ 0 h 1638248"/>
                  <a:gd name="connsiteX0" fmla="*/ 470498 w 1404934"/>
                  <a:gd name="connsiteY0" fmla="*/ 0 h 1637603"/>
                  <a:gd name="connsiteX1" fmla="*/ 859611 w 1404934"/>
                  <a:gd name="connsiteY1" fmla="*/ 666 h 1637603"/>
                  <a:gd name="connsiteX2" fmla="*/ 869679 w 1404934"/>
                  <a:gd name="connsiteY2" fmla="*/ 588 h 1637603"/>
                  <a:gd name="connsiteX3" fmla="*/ 888124 w 1404934"/>
                  <a:gd name="connsiteY3" fmla="*/ 774 h 1637603"/>
                  <a:gd name="connsiteX4" fmla="*/ 920629 w 1404934"/>
                  <a:gd name="connsiteY4" fmla="*/ 836 h 1637603"/>
                  <a:gd name="connsiteX5" fmla="*/ 1028230 w 1404934"/>
                  <a:gd name="connsiteY5" fmla="*/ 150671 h 1637603"/>
                  <a:gd name="connsiteX6" fmla="*/ 1403068 w 1404934"/>
                  <a:gd name="connsiteY6" fmla="*/ 1056781 h 1637603"/>
                  <a:gd name="connsiteX7" fmla="*/ 817301 w 1404934"/>
                  <a:gd name="connsiteY7" fmla="*/ 1621426 h 1637603"/>
                  <a:gd name="connsiteX8" fmla="*/ 745274 w 1404934"/>
                  <a:gd name="connsiteY8" fmla="*/ 1628559 h 1637603"/>
                  <a:gd name="connsiteX9" fmla="*/ 745275 w 1404934"/>
                  <a:gd name="connsiteY9" fmla="*/ 1632430 h 1637603"/>
                  <a:gd name="connsiteX10" fmla="*/ 693045 w 1404934"/>
                  <a:gd name="connsiteY10" fmla="*/ 1637603 h 1637603"/>
                  <a:gd name="connsiteX11" fmla="*/ 327 w 1404934"/>
                  <a:gd name="connsiteY11" fmla="*/ 982833 h 1637603"/>
                  <a:gd name="connsiteX12" fmla="*/ 470498 w 1404934"/>
                  <a:gd name="connsiteY12" fmla="*/ 0 h 1637603"/>
                  <a:gd name="connsiteX0" fmla="*/ 470498 w 1404934"/>
                  <a:gd name="connsiteY0" fmla="*/ 0 h 1637603"/>
                  <a:gd name="connsiteX1" fmla="*/ 859611 w 1404934"/>
                  <a:gd name="connsiteY1" fmla="*/ 666 h 1637603"/>
                  <a:gd name="connsiteX2" fmla="*/ 888124 w 1404934"/>
                  <a:gd name="connsiteY2" fmla="*/ 774 h 1637603"/>
                  <a:gd name="connsiteX3" fmla="*/ 920629 w 1404934"/>
                  <a:gd name="connsiteY3" fmla="*/ 836 h 1637603"/>
                  <a:gd name="connsiteX4" fmla="*/ 1028230 w 1404934"/>
                  <a:gd name="connsiteY4" fmla="*/ 150671 h 1637603"/>
                  <a:gd name="connsiteX5" fmla="*/ 1403068 w 1404934"/>
                  <a:gd name="connsiteY5" fmla="*/ 1056781 h 1637603"/>
                  <a:gd name="connsiteX6" fmla="*/ 817301 w 1404934"/>
                  <a:gd name="connsiteY6" fmla="*/ 1621426 h 1637603"/>
                  <a:gd name="connsiteX7" fmla="*/ 745274 w 1404934"/>
                  <a:gd name="connsiteY7" fmla="*/ 1628559 h 1637603"/>
                  <a:gd name="connsiteX8" fmla="*/ 745275 w 1404934"/>
                  <a:gd name="connsiteY8" fmla="*/ 1632430 h 1637603"/>
                  <a:gd name="connsiteX9" fmla="*/ 693045 w 1404934"/>
                  <a:gd name="connsiteY9" fmla="*/ 1637603 h 1637603"/>
                  <a:gd name="connsiteX10" fmla="*/ 327 w 1404934"/>
                  <a:gd name="connsiteY10" fmla="*/ 982833 h 1637603"/>
                  <a:gd name="connsiteX11" fmla="*/ 470498 w 1404934"/>
                  <a:gd name="connsiteY11" fmla="*/ 0 h 1637603"/>
                  <a:gd name="connsiteX0" fmla="*/ 470498 w 1404934"/>
                  <a:gd name="connsiteY0" fmla="*/ 0 h 1637603"/>
                  <a:gd name="connsiteX1" fmla="*/ 888124 w 1404934"/>
                  <a:gd name="connsiteY1" fmla="*/ 774 h 1637603"/>
                  <a:gd name="connsiteX2" fmla="*/ 920629 w 1404934"/>
                  <a:gd name="connsiteY2" fmla="*/ 836 h 1637603"/>
                  <a:gd name="connsiteX3" fmla="*/ 1028230 w 1404934"/>
                  <a:gd name="connsiteY3" fmla="*/ 150671 h 1637603"/>
                  <a:gd name="connsiteX4" fmla="*/ 1403068 w 1404934"/>
                  <a:gd name="connsiteY4" fmla="*/ 1056781 h 1637603"/>
                  <a:gd name="connsiteX5" fmla="*/ 817301 w 1404934"/>
                  <a:gd name="connsiteY5" fmla="*/ 1621426 h 1637603"/>
                  <a:gd name="connsiteX6" fmla="*/ 745274 w 1404934"/>
                  <a:gd name="connsiteY6" fmla="*/ 1628559 h 1637603"/>
                  <a:gd name="connsiteX7" fmla="*/ 745275 w 1404934"/>
                  <a:gd name="connsiteY7" fmla="*/ 1632430 h 1637603"/>
                  <a:gd name="connsiteX8" fmla="*/ 693045 w 1404934"/>
                  <a:gd name="connsiteY8" fmla="*/ 1637603 h 1637603"/>
                  <a:gd name="connsiteX9" fmla="*/ 327 w 1404934"/>
                  <a:gd name="connsiteY9" fmla="*/ 982833 h 1637603"/>
                  <a:gd name="connsiteX10" fmla="*/ 470498 w 1404934"/>
                  <a:gd name="connsiteY10" fmla="*/ 0 h 1637603"/>
                  <a:gd name="connsiteX0" fmla="*/ 470498 w 1404934"/>
                  <a:gd name="connsiteY0" fmla="*/ 0 h 1637603"/>
                  <a:gd name="connsiteX1" fmla="*/ 920629 w 1404934"/>
                  <a:gd name="connsiteY1" fmla="*/ 836 h 1637603"/>
                  <a:gd name="connsiteX2" fmla="*/ 1028230 w 1404934"/>
                  <a:gd name="connsiteY2" fmla="*/ 150671 h 1637603"/>
                  <a:gd name="connsiteX3" fmla="*/ 1403068 w 1404934"/>
                  <a:gd name="connsiteY3" fmla="*/ 1056781 h 1637603"/>
                  <a:gd name="connsiteX4" fmla="*/ 817301 w 1404934"/>
                  <a:gd name="connsiteY4" fmla="*/ 1621426 h 1637603"/>
                  <a:gd name="connsiteX5" fmla="*/ 745274 w 1404934"/>
                  <a:gd name="connsiteY5" fmla="*/ 1628559 h 1637603"/>
                  <a:gd name="connsiteX6" fmla="*/ 745275 w 1404934"/>
                  <a:gd name="connsiteY6" fmla="*/ 1632430 h 1637603"/>
                  <a:gd name="connsiteX7" fmla="*/ 693045 w 1404934"/>
                  <a:gd name="connsiteY7" fmla="*/ 1637603 h 1637603"/>
                  <a:gd name="connsiteX8" fmla="*/ 327 w 1404934"/>
                  <a:gd name="connsiteY8" fmla="*/ 982833 h 1637603"/>
                  <a:gd name="connsiteX9" fmla="*/ 470498 w 1404934"/>
                  <a:gd name="connsiteY9" fmla="*/ 0 h 1637603"/>
                  <a:gd name="connsiteX0" fmla="*/ 470498 w 1404934"/>
                  <a:gd name="connsiteY0" fmla="*/ 0 h 1683754"/>
                  <a:gd name="connsiteX1" fmla="*/ 920629 w 1404934"/>
                  <a:gd name="connsiteY1" fmla="*/ 836 h 1683754"/>
                  <a:gd name="connsiteX2" fmla="*/ 1028230 w 1404934"/>
                  <a:gd name="connsiteY2" fmla="*/ 150671 h 1683754"/>
                  <a:gd name="connsiteX3" fmla="*/ 1403068 w 1404934"/>
                  <a:gd name="connsiteY3" fmla="*/ 1056781 h 1683754"/>
                  <a:gd name="connsiteX4" fmla="*/ 817301 w 1404934"/>
                  <a:gd name="connsiteY4" fmla="*/ 1621426 h 1683754"/>
                  <a:gd name="connsiteX5" fmla="*/ 745274 w 1404934"/>
                  <a:gd name="connsiteY5" fmla="*/ 1628559 h 1683754"/>
                  <a:gd name="connsiteX6" fmla="*/ 693045 w 1404934"/>
                  <a:gd name="connsiteY6" fmla="*/ 1637603 h 1683754"/>
                  <a:gd name="connsiteX7" fmla="*/ 327 w 1404934"/>
                  <a:gd name="connsiteY7" fmla="*/ 982833 h 1683754"/>
                  <a:gd name="connsiteX8" fmla="*/ 470498 w 1404934"/>
                  <a:gd name="connsiteY8" fmla="*/ 0 h 1683754"/>
                  <a:gd name="connsiteX0" fmla="*/ 470498 w 1404934"/>
                  <a:gd name="connsiteY0" fmla="*/ 0 h 1637603"/>
                  <a:gd name="connsiteX1" fmla="*/ 920629 w 1404934"/>
                  <a:gd name="connsiteY1" fmla="*/ 836 h 1637603"/>
                  <a:gd name="connsiteX2" fmla="*/ 1028230 w 1404934"/>
                  <a:gd name="connsiteY2" fmla="*/ 150671 h 1637603"/>
                  <a:gd name="connsiteX3" fmla="*/ 1403068 w 1404934"/>
                  <a:gd name="connsiteY3" fmla="*/ 1056781 h 1637603"/>
                  <a:gd name="connsiteX4" fmla="*/ 817301 w 1404934"/>
                  <a:gd name="connsiteY4" fmla="*/ 1621426 h 1637603"/>
                  <a:gd name="connsiteX5" fmla="*/ 693045 w 1404934"/>
                  <a:gd name="connsiteY5" fmla="*/ 1637603 h 1637603"/>
                  <a:gd name="connsiteX6" fmla="*/ 327 w 1404934"/>
                  <a:gd name="connsiteY6" fmla="*/ 982833 h 1637603"/>
                  <a:gd name="connsiteX7" fmla="*/ 470498 w 1404934"/>
                  <a:gd name="connsiteY7" fmla="*/ 0 h 1637603"/>
                  <a:gd name="connsiteX0" fmla="*/ 470498 w 1412889"/>
                  <a:gd name="connsiteY0" fmla="*/ 0 h 1637923"/>
                  <a:gd name="connsiteX1" fmla="*/ 920629 w 1412889"/>
                  <a:gd name="connsiteY1" fmla="*/ 836 h 1637923"/>
                  <a:gd name="connsiteX2" fmla="*/ 1028230 w 1412889"/>
                  <a:gd name="connsiteY2" fmla="*/ 150671 h 1637923"/>
                  <a:gd name="connsiteX3" fmla="*/ 1403068 w 1412889"/>
                  <a:gd name="connsiteY3" fmla="*/ 1056781 h 1637923"/>
                  <a:gd name="connsiteX4" fmla="*/ 693045 w 1412889"/>
                  <a:gd name="connsiteY4" fmla="*/ 1637603 h 1637923"/>
                  <a:gd name="connsiteX5" fmla="*/ 327 w 1412889"/>
                  <a:gd name="connsiteY5" fmla="*/ 982833 h 1637923"/>
                  <a:gd name="connsiteX6" fmla="*/ 470498 w 1412889"/>
                  <a:gd name="connsiteY6" fmla="*/ 0 h 1637923"/>
                  <a:gd name="connsiteX0" fmla="*/ 470498 w 1412889"/>
                  <a:gd name="connsiteY0" fmla="*/ 0 h 1637603"/>
                  <a:gd name="connsiteX1" fmla="*/ 920629 w 1412889"/>
                  <a:gd name="connsiteY1" fmla="*/ 836 h 1637603"/>
                  <a:gd name="connsiteX2" fmla="*/ 1028230 w 1412889"/>
                  <a:gd name="connsiteY2" fmla="*/ 150671 h 1637603"/>
                  <a:gd name="connsiteX3" fmla="*/ 1403068 w 1412889"/>
                  <a:gd name="connsiteY3" fmla="*/ 1056781 h 1637603"/>
                  <a:gd name="connsiteX4" fmla="*/ 693045 w 1412889"/>
                  <a:gd name="connsiteY4" fmla="*/ 1637603 h 1637603"/>
                  <a:gd name="connsiteX5" fmla="*/ 327 w 1412889"/>
                  <a:gd name="connsiteY5" fmla="*/ 982833 h 1637603"/>
                  <a:gd name="connsiteX6" fmla="*/ 470498 w 1412889"/>
                  <a:gd name="connsiteY6" fmla="*/ 0 h 1637603"/>
                  <a:gd name="connsiteX0" fmla="*/ 470498 w 1412889"/>
                  <a:gd name="connsiteY0" fmla="*/ 0 h 1637603"/>
                  <a:gd name="connsiteX1" fmla="*/ 920629 w 1412889"/>
                  <a:gd name="connsiteY1" fmla="*/ 836 h 1637603"/>
                  <a:gd name="connsiteX2" fmla="*/ 1028230 w 1412889"/>
                  <a:gd name="connsiteY2" fmla="*/ 150671 h 1637603"/>
                  <a:gd name="connsiteX3" fmla="*/ 1403068 w 1412889"/>
                  <a:gd name="connsiteY3" fmla="*/ 1056781 h 1637603"/>
                  <a:gd name="connsiteX4" fmla="*/ 693045 w 1412889"/>
                  <a:gd name="connsiteY4" fmla="*/ 1637603 h 1637603"/>
                  <a:gd name="connsiteX5" fmla="*/ 327 w 1412889"/>
                  <a:gd name="connsiteY5" fmla="*/ 982833 h 1637603"/>
                  <a:gd name="connsiteX6" fmla="*/ 470498 w 1412889"/>
                  <a:gd name="connsiteY6" fmla="*/ 0 h 1637603"/>
                  <a:gd name="connsiteX0" fmla="*/ 470498 w 1408919"/>
                  <a:gd name="connsiteY0" fmla="*/ 0 h 1637603"/>
                  <a:gd name="connsiteX1" fmla="*/ 920629 w 1408919"/>
                  <a:gd name="connsiteY1" fmla="*/ 836 h 1637603"/>
                  <a:gd name="connsiteX2" fmla="*/ 1028230 w 1408919"/>
                  <a:gd name="connsiteY2" fmla="*/ 150671 h 1637603"/>
                  <a:gd name="connsiteX3" fmla="*/ 1403068 w 1408919"/>
                  <a:gd name="connsiteY3" fmla="*/ 1056781 h 1637603"/>
                  <a:gd name="connsiteX4" fmla="*/ 693045 w 1408919"/>
                  <a:gd name="connsiteY4" fmla="*/ 1637603 h 1637603"/>
                  <a:gd name="connsiteX5" fmla="*/ 327 w 1408919"/>
                  <a:gd name="connsiteY5" fmla="*/ 982833 h 1637603"/>
                  <a:gd name="connsiteX6" fmla="*/ 470498 w 1408919"/>
                  <a:gd name="connsiteY6" fmla="*/ 0 h 1637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8919" h="1637603">
                    <a:moveTo>
                      <a:pt x="470498" y="0"/>
                    </a:moveTo>
                    <a:lnTo>
                      <a:pt x="920629" y="836"/>
                    </a:lnTo>
                    <a:lnTo>
                      <a:pt x="1028230" y="150671"/>
                    </a:lnTo>
                    <a:cubicBezTo>
                      <a:pt x="1268780" y="492095"/>
                      <a:pt x="1443594" y="808959"/>
                      <a:pt x="1403068" y="1056781"/>
                    </a:cubicBezTo>
                    <a:cubicBezTo>
                      <a:pt x="1362542" y="1304603"/>
                      <a:pt x="1181447" y="1607687"/>
                      <a:pt x="693045" y="1637603"/>
                    </a:cubicBezTo>
                    <a:cubicBezTo>
                      <a:pt x="461599" y="1626977"/>
                      <a:pt x="25694" y="1544153"/>
                      <a:pt x="327" y="982833"/>
                    </a:cubicBezTo>
                    <a:cubicBezTo>
                      <a:pt x="-10973" y="548122"/>
                      <a:pt x="272795" y="288164"/>
                      <a:pt x="470498" y="0"/>
                    </a:cubicBezTo>
                    <a:close/>
                  </a:path>
                </a:pathLst>
              </a:cu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45" name="Freeform 44"/>
              <p:cNvSpPr/>
              <p:nvPr/>
            </p:nvSpPr>
            <p:spPr>
              <a:xfrm rot="17518257">
                <a:off x="1254293" y="5020430"/>
                <a:ext cx="1599546" cy="970286"/>
              </a:xfrm>
              <a:custGeom>
                <a:avLst/>
                <a:gdLst>
                  <a:gd name="connsiteX0" fmla="*/ 1617639 w 1617639"/>
                  <a:gd name="connsiteY0" fmla="*/ 103706 h 970286"/>
                  <a:gd name="connsiteX1" fmla="*/ 818462 w 1617639"/>
                  <a:gd name="connsiteY1" fmla="*/ 946838 h 970286"/>
                  <a:gd name="connsiteX2" fmla="*/ 17768 w 1617639"/>
                  <a:gd name="connsiteY2" fmla="*/ 504238 h 970286"/>
                  <a:gd name="connsiteX3" fmla="*/ 0 w 1617639"/>
                  <a:gd name="connsiteY3" fmla="*/ 446371 h 970286"/>
                  <a:gd name="connsiteX4" fmla="*/ 33562 w 1617639"/>
                  <a:gd name="connsiteY4" fmla="*/ 510498 h 970286"/>
                  <a:gd name="connsiteX5" fmla="*/ 776356 w 1617639"/>
                  <a:gd name="connsiteY5" fmla="*/ 842469 h 970286"/>
                  <a:gd name="connsiteX6" fmla="*/ 1476418 w 1617639"/>
                  <a:gd name="connsiteY6" fmla="*/ 155845 h 970286"/>
                  <a:gd name="connsiteX7" fmla="*/ 1575113 w 1617639"/>
                  <a:gd name="connsiteY7" fmla="*/ 0 h 970286"/>
                  <a:gd name="connsiteX8" fmla="*/ 1576582 w 1617639"/>
                  <a:gd name="connsiteY8" fmla="*/ 3662 h 970286"/>
                  <a:gd name="connsiteX9" fmla="*/ 1617639 w 1617639"/>
                  <a:gd name="connsiteY9" fmla="*/ 103706 h 97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7639" h="970286">
                    <a:moveTo>
                      <a:pt x="1617639" y="103706"/>
                    </a:moveTo>
                    <a:cubicBezTo>
                      <a:pt x="1347232" y="537049"/>
                      <a:pt x="1132028" y="845983"/>
                      <a:pt x="818462" y="946838"/>
                    </a:cubicBezTo>
                    <a:cubicBezTo>
                      <a:pt x="504896" y="1047693"/>
                      <a:pt x="144395" y="808907"/>
                      <a:pt x="17768" y="504238"/>
                    </a:cubicBezTo>
                    <a:lnTo>
                      <a:pt x="0" y="446371"/>
                    </a:lnTo>
                    <a:lnTo>
                      <a:pt x="33562" y="510498"/>
                    </a:lnTo>
                    <a:cubicBezTo>
                      <a:pt x="191681" y="758928"/>
                      <a:pt x="501986" y="930717"/>
                      <a:pt x="776356" y="842469"/>
                    </a:cubicBezTo>
                    <a:cubicBezTo>
                      <a:pt x="1050726" y="754221"/>
                      <a:pt x="1249788" y="506663"/>
                      <a:pt x="1476418" y="155845"/>
                    </a:cubicBezTo>
                    <a:lnTo>
                      <a:pt x="1575113" y="0"/>
                    </a:lnTo>
                    <a:lnTo>
                      <a:pt x="1576582" y="3662"/>
                    </a:lnTo>
                    <a:cubicBezTo>
                      <a:pt x="1587014" y="29435"/>
                      <a:pt x="1600374" y="62025"/>
                      <a:pt x="1617639" y="103706"/>
                    </a:cubicBezTo>
                    <a:close/>
                  </a:path>
                </a:pathLst>
              </a:custGeom>
              <a:pattFill prst="wdUpDiag">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grpSp>
        <p:sp>
          <p:nvSpPr>
            <p:cNvPr id="38" name="Freeform 37"/>
            <p:cNvSpPr/>
            <p:nvPr/>
          </p:nvSpPr>
          <p:spPr>
            <a:xfrm>
              <a:off x="6307089" y="4067153"/>
              <a:ext cx="985099" cy="443126"/>
            </a:xfrm>
            <a:custGeom>
              <a:avLst/>
              <a:gdLst>
                <a:gd name="connsiteX0" fmla="*/ 0 w 813575"/>
                <a:gd name="connsiteY0" fmla="*/ 227668 h 359952"/>
                <a:gd name="connsiteX1" fmla="*/ 0 w 813575"/>
                <a:gd name="connsiteY1" fmla="*/ 227669 h 359952"/>
                <a:gd name="connsiteX2" fmla="*/ 0 w 813575"/>
                <a:gd name="connsiteY2" fmla="*/ 227669 h 359952"/>
                <a:gd name="connsiteX3" fmla="*/ 754470 w 813575"/>
                <a:gd name="connsiteY3" fmla="*/ 0 h 359952"/>
                <a:gd name="connsiteX4" fmla="*/ 813575 w 813575"/>
                <a:gd name="connsiteY4" fmla="*/ 63104 h 359952"/>
                <a:gd name="connsiteX5" fmla="*/ 677979 w 813575"/>
                <a:gd name="connsiteY5" fmla="*/ 134209 h 359952"/>
                <a:gd name="connsiteX6" fmla="*/ 451952 w 813575"/>
                <a:gd name="connsiteY6" fmla="*/ 192967 h 359952"/>
                <a:gd name="connsiteX7" fmla="*/ 447885 w 813575"/>
                <a:gd name="connsiteY7" fmla="*/ 194508 h 359952"/>
                <a:gd name="connsiteX8" fmla="*/ 454205 w 813575"/>
                <a:gd name="connsiteY8" fmla="*/ 194498 h 359952"/>
                <a:gd name="connsiteX9" fmla="*/ 577761 w 813575"/>
                <a:gd name="connsiteY9" fmla="*/ 201824 h 359952"/>
                <a:gd name="connsiteX10" fmla="*/ 793638 w 813575"/>
                <a:gd name="connsiteY10" fmla="*/ 273694 h 359952"/>
                <a:gd name="connsiteX11" fmla="*/ 794913 w 813575"/>
                <a:gd name="connsiteY11" fmla="*/ 359952 h 359952"/>
                <a:gd name="connsiteX12" fmla="*/ 647385 w 813575"/>
                <a:gd name="connsiteY12" fmla="*/ 324697 h 359952"/>
                <a:gd name="connsiteX13" fmla="*/ 441503 w 813575"/>
                <a:gd name="connsiteY13" fmla="*/ 220904 h 359952"/>
                <a:gd name="connsiteX14" fmla="*/ 434139 w 813575"/>
                <a:gd name="connsiteY14" fmla="*/ 218156 h 359952"/>
                <a:gd name="connsiteX15" fmla="*/ 438079 w 813575"/>
                <a:gd name="connsiteY15" fmla="*/ 227669 h 359952"/>
                <a:gd name="connsiteX16" fmla="*/ 438078 w 813575"/>
                <a:gd name="connsiteY16" fmla="*/ 227669 h 359952"/>
                <a:gd name="connsiteX17" fmla="*/ 393972 w 813575"/>
                <a:gd name="connsiteY17" fmla="*/ 271775 h 359952"/>
                <a:gd name="connsiteX18" fmla="*/ 44106 w 813575"/>
                <a:gd name="connsiteY18" fmla="*/ 271774 h 359952"/>
                <a:gd name="connsiteX19" fmla="*/ 12918 w 813575"/>
                <a:gd name="connsiteY19" fmla="*/ 258856 h 359952"/>
                <a:gd name="connsiteX20" fmla="*/ 0 w 813575"/>
                <a:gd name="connsiteY20" fmla="*/ 227669 h 359952"/>
                <a:gd name="connsiteX21" fmla="*/ 12918 w 813575"/>
                <a:gd name="connsiteY21" fmla="*/ 196482 h 359952"/>
                <a:gd name="connsiteX22" fmla="*/ 44106 w 813575"/>
                <a:gd name="connsiteY22" fmla="*/ 183563 h 359952"/>
                <a:gd name="connsiteX23" fmla="*/ 393973 w 813575"/>
                <a:gd name="connsiteY23" fmla="*/ 183563 h 359952"/>
                <a:gd name="connsiteX24" fmla="*/ 415151 w 813575"/>
                <a:gd name="connsiteY24" fmla="*/ 192335 h 359952"/>
                <a:gd name="connsiteX25" fmla="*/ 413741 w 813575"/>
                <a:gd name="connsiteY25" fmla="*/ 191225 h 359952"/>
                <a:gd name="connsiteX26" fmla="*/ 542382 w 813575"/>
                <a:gd name="connsiteY26" fmla="*/ 89012 h 359952"/>
                <a:gd name="connsiteX27" fmla="*/ 754470 w 813575"/>
                <a:gd name="connsiteY27"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447885 w 813575"/>
                <a:gd name="connsiteY8" fmla="*/ 194508 h 359952"/>
                <a:gd name="connsiteX9" fmla="*/ 454205 w 813575"/>
                <a:gd name="connsiteY9" fmla="*/ 194498 h 359952"/>
                <a:gd name="connsiteX10" fmla="*/ 577761 w 813575"/>
                <a:gd name="connsiteY10" fmla="*/ 201824 h 359952"/>
                <a:gd name="connsiteX11" fmla="*/ 793638 w 813575"/>
                <a:gd name="connsiteY11" fmla="*/ 273694 h 359952"/>
                <a:gd name="connsiteX12" fmla="*/ 794913 w 813575"/>
                <a:gd name="connsiteY12" fmla="*/ 359952 h 359952"/>
                <a:gd name="connsiteX13" fmla="*/ 647385 w 813575"/>
                <a:gd name="connsiteY13" fmla="*/ 324697 h 359952"/>
                <a:gd name="connsiteX14" fmla="*/ 441503 w 813575"/>
                <a:gd name="connsiteY14" fmla="*/ 220904 h 359952"/>
                <a:gd name="connsiteX15" fmla="*/ 434139 w 813575"/>
                <a:gd name="connsiteY15" fmla="*/ 218156 h 359952"/>
                <a:gd name="connsiteX16" fmla="*/ 438079 w 813575"/>
                <a:gd name="connsiteY16" fmla="*/ 227669 h 359952"/>
                <a:gd name="connsiteX17" fmla="*/ 438078 w 813575"/>
                <a:gd name="connsiteY17" fmla="*/ 227669 h 359952"/>
                <a:gd name="connsiteX18" fmla="*/ 393972 w 813575"/>
                <a:gd name="connsiteY18" fmla="*/ 271775 h 359952"/>
                <a:gd name="connsiteX19" fmla="*/ 44106 w 813575"/>
                <a:gd name="connsiteY19" fmla="*/ 271774 h 359952"/>
                <a:gd name="connsiteX20" fmla="*/ 12918 w 813575"/>
                <a:gd name="connsiteY20" fmla="*/ 258856 h 359952"/>
                <a:gd name="connsiteX21" fmla="*/ 0 w 813575"/>
                <a:gd name="connsiteY21" fmla="*/ 227669 h 359952"/>
                <a:gd name="connsiteX22" fmla="*/ 12918 w 813575"/>
                <a:gd name="connsiteY22" fmla="*/ 196482 h 359952"/>
                <a:gd name="connsiteX23" fmla="*/ 44106 w 813575"/>
                <a:gd name="connsiteY23" fmla="*/ 183563 h 359952"/>
                <a:gd name="connsiteX24" fmla="*/ 393973 w 813575"/>
                <a:gd name="connsiteY24" fmla="*/ 183563 h 359952"/>
                <a:gd name="connsiteX25" fmla="*/ 415151 w 813575"/>
                <a:gd name="connsiteY25" fmla="*/ 192335 h 359952"/>
                <a:gd name="connsiteX26" fmla="*/ 542382 w 813575"/>
                <a:gd name="connsiteY26" fmla="*/ 89012 h 359952"/>
                <a:gd name="connsiteX27" fmla="*/ 754470 w 813575"/>
                <a:gd name="connsiteY27"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447885 w 813575"/>
                <a:gd name="connsiteY8" fmla="*/ 194508 h 359952"/>
                <a:gd name="connsiteX9" fmla="*/ 454205 w 813575"/>
                <a:gd name="connsiteY9" fmla="*/ 194498 h 359952"/>
                <a:gd name="connsiteX10" fmla="*/ 577761 w 813575"/>
                <a:gd name="connsiteY10" fmla="*/ 201824 h 359952"/>
                <a:gd name="connsiteX11" fmla="*/ 793638 w 813575"/>
                <a:gd name="connsiteY11" fmla="*/ 273694 h 359952"/>
                <a:gd name="connsiteX12" fmla="*/ 794913 w 813575"/>
                <a:gd name="connsiteY12" fmla="*/ 359952 h 359952"/>
                <a:gd name="connsiteX13" fmla="*/ 647385 w 813575"/>
                <a:gd name="connsiteY13" fmla="*/ 324697 h 359952"/>
                <a:gd name="connsiteX14" fmla="*/ 441503 w 813575"/>
                <a:gd name="connsiteY14" fmla="*/ 220904 h 359952"/>
                <a:gd name="connsiteX15" fmla="*/ 434139 w 813575"/>
                <a:gd name="connsiteY15" fmla="*/ 218156 h 359952"/>
                <a:gd name="connsiteX16" fmla="*/ 438079 w 813575"/>
                <a:gd name="connsiteY16" fmla="*/ 227669 h 359952"/>
                <a:gd name="connsiteX17" fmla="*/ 438078 w 813575"/>
                <a:gd name="connsiteY17" fmla="*/ 227669 h 359952"/>
                <a:gd name="connsiteX18" fmla="*/ 393972 w 813575"/>
                <a:gd name="connsiteY18" fmla="*/ 271775 h 359952"/>
                <a:gd name="connsiteX19" fmla="*/ 44106 w 813575"/>
                <a:gd name="connsiteY19" fmla="*/ 271774 h 359952"/>
                <a:gd name="connsiteX20" fmla="*/ 12918 w 813575"/>
                <a:gd name="connsiteY20" fmla="*/ 258856 h 359952"/>
                <a:gd name="connsiteX21" fmla="*/ 0 w 813575"/>
                <a:gd name="connsiteY21" fmla="*/ 227669 h 359952"/>
                <a:gd name="connsiteX22" fmla="*/ 12918 w 813575"/>
                <a:gd name="connsiteY22" fmla="*/ 196482 h 359952"/>
                <a:gd name="connsiteX23" fmla="*/ 44106 w 813575"/>
                <a:gd name="connsiteY23" fmla="*/ 183563 h 359952"/>
                <a:gd name="connsiteX24" fmla="*/ 393973 w 813575"/>
                <a:gd name="connsiteY24" fmla="*/ 183563 h 359952"/>
                <a:gd name="connsiteX25" fmla="*/ 542382 w 813575"/>
                <a:gd name="connsiteY25" fmla="*/ 89012 h 359952"/>
                <a:gd name="connsiteX26" fmla="*/ 754470 w 813575"/>
                <a:gd name="connsiteY26"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447885 w 813575"/>
                <a:gd name="connsiteY8" fmla="*/ 194508 h 359952"/>
                <a:gd name="connsiteX9" fmla="*/ 577761 w 813575"/>
                <a:gd name="connsiteY9" fmla="*/ 201824 h 359952"/>
                <a:gd name="connsiteX10" fmla="*/ 793638 w 813575"/>
                <a:gd name="connsiteY10" fmla="*/ 273694 h 359952"/>
                <a:gd name="connsiteX11" fmla="*/ 794913 w 813575"/>
                <a:gd name="connsiteY11" fmla="*/ 359952 h 359952"/>
                <a:gd name="connsiteX12" fmla="*/ 647385 w 813575"/>
                <a:gd name="connsiteY12" fmla="*/ 324697 h 359952"/>
                <a:gd name="connsiteX13" fmla="*/ 441503 w 813575"/>
                <a:gd name="connsiteY13" fmla="*/ 220904 h 359952"/>
                <a:gd name="connsiteX14" fmla="*/ 434139 w 813575"/>
                <a:gd name="connsiteY14" fmla="*/ 218156 h 359952"/>
                <a:gd name="connsiteX15" fmla="*/ 438079 w 813575"/>
                <a:gd name="connsiteY15" fmla="*/ 227669 h 359952"/>
                <a:gd name="connsiteX16" fmla="*/ 438078 w 813575"/>
                <a:gd name="connsiteY16" fmla="*/ 227669 h 359952"/>
                <a:gd name="connsiteX17" fmla="*/ 393972 w 813575"/>
                <a:gd name="connsiteY17" fmla="*/ 271775 h 359952"/>
                <a:gd name="connsiteX18" fmla="*/ 44106 w 813575"/>
                <a:gd name="connsiteY18" fmla="*/ 271774 h 359952"/>
                <a:gd name="connsiteX19" fmla="*/ 12918 w 813575"/>
                <a:gd name="connsiteY19" fmla="*/ 258856 h 359952"/>
                <a:gd name="connsiteX20" fmla="*/ 0 w 813575"/>
                <a:gd name="connsiteY20" fmla="*/ 227669 h 359952"/>
                <a:gd name="connsiteX21" fmla="*/ 12918 w 813575"/>
                <a:gd name="connsiteY21" fmla="*/ 196482 h 359952"/>
                <a:gd name="connsiteX22" fmla="*/ 44106 w 813575"/>
                <a:gd name="connsiteY22" fmla="*/ 183563 h 359952"/>
                <a:gd name="connsiteX23" fmla="*/ 393973 w 813575"/>
                <a:gd name="connsiteY23" fmla="*/ 183563 h 359952"/>
                <a:gd name="connsiteX24" fmla="*/ 542382 w 813575"/>
                <a:gd name="connsiteY24" fmla="*/ 89012 h 359952"/>
                <a:gd name="connsiteX25" fmla="*/ 754470 w 813575"/>
                <a:gd name="connsiteY25"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577761 w 813575"/>
                <a:gd name="connsiteY8" fmla="*/ 201824 h 359952"/>
                <a:gd name="connsiteX9" fmla="*/ 793638 w 813575"/>
                <a:gd name="connsiteY9" fmla="*/ 273694 h 359952"/>
                <a:gd name="connsiteX10" fmla="*/ 794913 w 813575"/>
                <a:gd name="connsiteY10" fmla="*/ 359952 h 359952"/>
                <a:gd name="connsiteX11" fmla="*/ 647385 w 813575"/>
                <a:gd name="connsiteY11" fmla="*/ 324697 h 359952"/>
                <a:gd name="connsiteX12" fmla="*/ 441503 w 813575"/>
                <a:gd name="connsiteY12" fmla="*/ 220904 h 359952"/>
                <a:gd name="connsiteX13" fmla="*/ 434139 w 813575"/>
                <a:gd name="connsiteY13" fmla="*/ 218156 h 359952"/>
                <a:gd name="connsiteX14" fmla="*/ 438079 w 813575"/>
                <a:gd name="connsiteY14" fmla="*/ 227669 h 359952"/>
                <a:gd name="connsiteX15" fmla="*/ 438078 w 813575"/>
                <a:gd name="connsiteY15" fmla="*/ 227669 h 359952"/>
                <a:gd name="connsiteX16" fmla="*/ 393972 w 813575"/>
                <a:gd name="connsiteY16" fmla="*/ 271775 h 359952"/>
                <a:gd name="connsiteX17" fmla="*/ 44106 w 813575"/>
                <a:gd name="connsiteY17" fmla="*/ 271774 h 359952"/>
                <a:gd name="connsiteX18" fmla="*/ 12918 w 813575"/>
                <a:gd name="connsiteY18" fmla="*/ 258856 h 359952"/>
                <a:gd name="connsiteX19" fmla="*/ 0 w 813575"/>
                <a:gd name="connsiteY19" fmla="*/ 227669 h 359952"/>
                <a:gd name="connsiteX20" fmla="*/ 12918 w 813575"/>
                <a:gd name="connsiteY20" fmla="*/ 196482 h 359952"/>
                <a:gd name="connsiteX21" fmla="*/ 44106 w 813575"/>
                <a:gd name="connsiteY21" fmla="*/ 183563 h 359952"/>
                <a:gd name="connsiteX22" fmla="*/ 393973 w 813575"/>
                <a:gd name="connsiteY22" fmla="*/ 183563 h 359952"/>
                <a:gd name="connsiteX23" fmla="*/ 542382 w 813575"/>
                <a:gd name="connsiteY23" fmla="*/ 89012 h 359952"/>
                <a:gd name="connsiteX24" fmla="*/ 754470 w 813575"/>
                <a:gd name="connsiteY24" fmla="*/ 0 h 35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13575" h="359952">
                  <a:moveTo>
                    <a:pt x="0" y="227668"/>
                  </a:moveTo>
                  <a:lnTo>
                    <a:pt x="0" y="227669"/>
                  </a:lnTo>
                  <a:lnTo>
                    <a:pt x="0" y="227669"/>
                  </a:lnTo>
                  <a:lnTo>
                    <a:pt x="0" y="227668"/>
                  </a:lnTo>
                  <a:close/>
                  <a:moveTo>
                    <a:pt x="754470" y="0"/>
                  </a:moveTo>
                  <a:lnTo>
                    <a:pt x="813575" y="63104"/>
                  </a:lnTo>
                  <a:cubicBezTo>
                    <a:pt x="768376" y="86806"/>
                    <a:pt x="754470" y="124415"/>
                    <a:pt x="677979" y="134209"/>
                  </a:cubicBezTo>
                  <a:cubicBezTo>
                    <a:pt x="477192" y="131723"/>
                    <a:pt x="497348" y="169166"/>
                    <a:pt x="451952" y="192967"/>
                  </a:cubicBezTo>
                  <a:lnTo>
                    <a:pt x="577761" y="201824"/>
                  </a:lnTo>
                  <a:cubicBezTo>
                    <a:pt x="666174" y="262297"/>
                    <a:pt x="707783" y="267086"/>
                    <a:pt x="793638" y="273694"/>
                  </a:cubicBezTo>
                  <a:lnTo>
                    <a:pt x="794913" y="359952"/>
                  </a:lnTo>
                  <a:cubicBezTo>
                    <a:pt x="745737" y="348200"/>
                    <a:pt x="710299" y="367425"/>
                    <a:pt x="647385" y="324697"/>
                  </a:cubicBezTo>
                  <a:cubicBezTo>
                    <a:pt x="501123" y="191298"/>
                    <a:pt x="490891" y="232710"/>
                    <a:pt x="441503" y="220904"/>
                  </a:cubicBezTo>
                  <a:lnTo>
                    <a:pt x="434139" y="218156"/>
                  </a:lnTo>
                  <a:lnTo>
                    <a:pt x="438079" y="227669"/>
                  </a:lnTo>
                  <a:lnTo>
                    <a:pt x="438078" y="227669"/>
                  </a:lnTo>
                  <a:cubicBezTo>
                    <a:pt x="438078" y="252028"/>
                    <a:pt x="418331" y="271775"/>
                    <a:pt x="393972" y="271775"/>
                  </a:cubicBezTo>
                  <a:lnTo>
                    <a:pt x="44106" y="271774"/>
                  </a:lnTo>
                  <a:cubicBezTo>
                    <a:pt x="31926" y="271774"/>
                    <a:pt x="20900" y="266837"/>
                    <a:pt x="12918" y="258856"/>
                  </a:cubicBezTo>
                  <a:lnTo>
                    <a:pt x="0" y="227669"/>
                  </a:lnTo>
                  <a:lnTo>
                    <a:pt x="12918" y="196482"/>
                  </a:lnTo>
                  <a:cubicBezTo>
                    <a:pt x="20900" y="188500"/>
                    <a:pt x="31926" y="183563"/>
                    <a:pt x="44106" y="183563"/>
                  </a:cubicBezTo>
                  <a:lnTo>
                    <a:pt x="393973" y="183563"/>
                  </a:lnTo>
                  <a:lnTo>
                    <a:pt x="542382" y="89012"/>
                  </a:lnTo>
                  <a:cubicBezTo>
                    <a:pt x="650164" y="75566"/>
                    <a:pt x="684933" y="51691"/>
                    <a:pt x="754470" y="0"/>
                  </a:cubicBezTo>
                  <a:close/>
                </a:path>
              </a:pathLst>
            </a:cu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39" name="Rectangle 3"/>
            <p:cNvSpPr/>
            <p:nvPr/>
          </p:nvSpPr>
          <p:spPr>
            <a:xfrm>
              <a:off x="6182227" y="3718859"/>
              <a:ext cx="762755" cy="536443"/>
            </a:xfrm>
            <a:custGeom>
              <a:avLst/>
              <a:gdLst>
                <a:gd name="connsiteX0" fmla="*/ 0 w 573057"/>
                <a:gd name="connsiteY0" fmla="*/ 0 h 313935"/>
                <a:gd name="connsiteX1" fmla="*/ 573057 w 573057"/>
                <a:gd name="connsiteY1" fmla="*/ 0 h 313935"/>
                <a:gd name="connsiteX2" fmla="*/ 573057 w 573057"/>
                <a:gd name="connsiteY2" fmla="*/ 313935 h 313935"/>
                <a:gd name="connsiteX3" fmla="*/ 0 w 573057"/>
                <a:gd name="connsiteY3" fmla="*/ 313935 h 313935"/>
                <a:gd name="connsiteX4" fmla="*/ 0 w 573057"/>
                <a:gd name="connsiteY4" fmla="*/ 0 h 313935"/>
                <a:gd name="connsiteX0" fmla="*/ 0 w 573057"/>
                <a:gd name="connsiteY0" fmla="*/ 0 h 316427"/>
                <a:gd name="connsiteX1" fmla="*/ 573057 w 573057"/>
                <a:gd name="connsiteY1" fmla="*/ 0 h 316427"/>
                <a:gd name="connsiteX2" fmla="*/ 573057 w 573057"/>
                <a:gd name="connsiteY2" fmla="*/ 313935 h 316427"/>
                <a:gd name="connsiteX3" fmla="*/ 171917 w 573057"/>
                <a:gd name="connsiteY3" fmla="*/ 316427 h 316427"/>
                <a:gd name="connsiteX4" fmla="*/ 0 w 573057"/>
                <a:gd name="connsiteY4" fmla="*/ 0 h 316427"/>
                <a:gd name="connsiteX0" fmla="*/ 0 w 573057"/>
                <a:gd name="connsiteY0" fmla="*/ 0 h 321410"/>
                <a:gd name="connsiteX1" fmla="*/ 573057 w 573057"/>
                <a:gd name="connsiteY1" fmla="*/ 0 h 321410"/>
                <a:gd name="connsiteX2" fmla="*/ 558108 w 573057"/>
                <a:gd name="connsiteY2" fmla="*/ 321410 h 321410"/>
                <a:gd name="connsiteX3" fmla="*/ 171917 w 573057"/>
                <a:gd name="connsiteY3" fmla="*/ 316427 h 321410"/>
                <a:gd name="connsiteX4" fmla="*/ 0 w 573057"/>
                <a:gd name="connsiteY4" fmla="*/ 0 h 321410"/>
                <a:gd name="connsiteX0" fmla="*/ 0 w 680194"/>
                <a:gd name="connsiteY0" fmla="*/ 9966 h 331376"/>
                <a:gd name="connsiteX1" fmla="*/ 680194 w 680194"/>
                <a:gd name="connsiteY1" fmla="*/ 0 h 331376"/>
                <a:gd name="connsiteX2" fmla="*/ 558108 w 680194"/>
                <a:gd name="connsiteY2" fmla="*/ 331376 h 331376"/>
                <a:gd name="connsiteX3" fmla="*/ 171917 w 680194"/>
                <a:gd name="connsiteY3" fmla="*/ 326393 h 331376"/>
                <a:gd name="connsiteX4" fmla="*/ 0 w 680194"/>
                <a:gd name="connsiteY4" fmla="*/ 9966 h 331376"/>
                <a:gd name="connsiteX0" fmla="*/ 0 w 680194"/>
                <a:gd name="connsiteY0" fmla="*/ 9966 h 331376"/>
                <a:gd name="connsiteX1" fmla="*/ 680194 w 680194"/>
                <a:gd name="connsiteY1" fmla="*/ 0 h 331376"/>
                <a:gd name="connsiteX2" fmla="*/ 558108 w 680194"/>
                <a:gd name="connsiteY2" fmla="*/ 331376 h 331376"/>
                <a:gd name="connsiteX3" fmla="*/ 171917 w 680194"/>
                <a:gd name="connsiteY3" fmla="*/ 326393 h 331376"/>
                <a:gd name="connsiteX4" fmla="*/ 0 w 680194"/>
                <a:gd name="connsiteY4" fmla="*/ 9966 h 331376"/>
                <a:gd name="connsiteX0" fmla="*/ 0 w 680194"/>
                <a:gd name="connsiteY0" fmla="*/ 9966 h 331376"/>
                <a:gd name="connsiteX1" fmla="*/ 498309 w 680194"/>
                <a:gd name="connsiteY1" fmla="*/ 2490 h 331376"/>
                <a:gd name="connsiteX2" fmla="*/ 680194 w 680194"/>
                <a:gd name="connsiteY2" fmla="*/ 0 h 331376"/>
                <a:gd name="connsiteX3" fmla="*/ 558108 w 680194"/>
                <a:gd name="connsiteY3" fmla="*/ 331376 h 331376"/>
                <a:gd name="connsiteX4" fmla="*/ 171917 w 680194"/>
                <a:gd name="connsiteY4" fmla="*/ 326393 h 331376"/>
                <a:gd name="connsiteX5" fmla="*/ 0 w 680194"/>
                <a:gd name="connsiteY5" fmla="*/ 9966 h 331376"/>
                <a:gd name="connsiteX0" fmla="*/ 0 w 680194"/>
                <a:gd name="connsiteY0" fmla="*/ 9966 h 331376"/>
                <a:gd name="connsiteX1" fmla="*/ 306460 w 680194"/>
                <a:gd name="connsiteY1" fmla="*/ 9965 h 331376"/>
                <a:gd name="connsiteX2" fmla="*/ 498309 w 680194"/>
                <a:gd name="connsiteY2" fmla="*/ 2490 h 331376"/>
                <a:gd name="connsiteX3" fmla="*/ 680194 w 680194"/>
                <a:gd name="connsiteY3" fmla="*/ 0 h 331376"/>
                <a:gd name="connsiteX4" fmla="*/ 558108 w 680194"/>
                <a:gd name="connsiteY4" fmla="*/ 331376 h 331376"/>
                <a:gd name="connsiteX5" fmla="*/ 171917 w 680194"/>
                <a:gd name="connsiteY5" fmla="*/ 326393 h 331376"/>
                <a:gd name="connsiteX6" fmla="*/ 0 w 680194"/>
                <a:gd name="connsiteY6" fmla="*/ 9966 h 331376"/>
                <a:gd name="connsiteX0" fmla="*/ 0 w 680194"/>
                <a:gd name="connsiteY0" fmla="*/ 134545 h 455955"/>
                <a:gd name="connsiteX1" fmla="*/ 470902 w 680194"/>
                <a:gd name="connsiteY1" fmla="*/ 0 h 455955"/>
                <a:gd name="connsiteX2" fmla="*/ 498309 w 680194"/>
                <a:gd name="connsiteY2" fmla="*/ 127069 h 455955"/>
                <a:gd name="connsiteX3" fmla="*/ 680194 w 680194"/>
                <a:gd name="connsiteY3" fmla="*/ 124579 h 455955"/>
                <a:gd name="connsiteX4" fmla="*/ 558108 w 680194"/>
                <a:gd name="connsiteY4" fmla="*/ 455955 h 455955"/>
                <a:gd name="connsiteX5" fmla="*/ 171917 w 680194"/>
                <a:gd name="connsiteY5" fmla="*/ 450972 h 455955"/>
                <a:gd name="connsiteX6" fmla="*/ 0 w 680194"/>
                <a:gd name="connsiteY6" fmla="*/ 134545 h 455955"/>
                <a:gd name="connsiteX0" fmla="*/ 0 w 680194"/>
                <a:gd name="connsiteY0" fmla="*/ 134545 h 455955"/>
                <a:gd name="connsiteX1" fmla="*/ 296493 w 680194"/>
                <a:gd name="connsiteY1" fmla="*/ 47340 h 455955"/>
                <a:gd name="connsiteX2" fmla="*/ 470902 w 680194"/>
                <a:gd name="connsiteY2" fmla="*/ 0 h 455955"/>
                <a:gd name="connsiteX3" fmla="*/ 498309 w 680194"/>
                <a:gd name="connsiteY3" fmla="*/ 127069 h 455955"/>
                <a:gd name="connsiteX4" fmla="*/ 680194 w 680194"/>
                <a:gd name="connsiteY4" fmla="*/ 124579 h 455955"/>
                <a:gd name="connsiteX5" fmla="*/ 558108 w 680194"/>
                <a:gd name="connsiteY5" fmla="*/ 455955 h 455955"/>
                <a:gd name="connsiteX6" fmla="*/ 171917 w 680194"/>
                <a:gd name="connsiteY6" fmla="*/ 450972 h 455955"/>
                <a:gd name="connsiteX7" fmla="*/ 0 w 680194"/>
                <a:gd name="connsiteY7" fmla="*/ 134545 h 455955"/>
                <a:gd name="connsiteX0" fmla="*/ 0 w 680194"/>
                <a:gd name="connsiteY0" fmla="*/ 134545 h 455955"/>
                <a:gd name="connsiteX1" fmla="*/ 281544 w 680194"/>
                <a:gd name="connsiteY1" fmla="*/ 79731 h 455955"/>
                <a:gd name="connsiteX2" fmla="*/ 470902 w 680194"/>
                <a:gd name="connsiteY2" fmla="*/ 0 h 455955"/>
                <a:gd name="connsiteX3" fmla="*/ 498309 w 680194"/>
                <a:gd name="connsiteY3" fmla="*/ 127069 h 455955"/>
                <a:gd name="connsiteX4" fmla="*/ 680194 w 680194"/>
                <a:gd name="connsiteY4" fmla="*/ 124579 h 455955"/>
                <a:gd name="connsiteX5" fmla="*/ 558108 w 680194"/>
                <a:gd name="connsiteY5" fmla="*/ 455955 h 455955"/>
                <a:gd name="connsiteX6" fmla="*/ 171917 w 680194"/>
                <a:gd name="connsiteY6" fmla="*/ 450972 h 455955"/>
                <a:gd name="connsiteX7" fmla="*/ 0 w 680194"/>
                <a:gd name="connsiteY7" fmla="*/ 134545 h 455955"/>
                <a:gd name="connsiteX0" fmla="*/ 0 w 680194"/>
                <a:gd name="connsiteY0" fmla="*/ 134545 h 455955"/>
                <a:gd name="connsiteX1" fmla="*/ 154475 w 680194"/>
                <a:gd name="connsiteY1" fmla="*/ 104646 h 455955"/>
                <a:gd name="connsiteX2" fmla="*/ 281544 w 680194"/>
                <a:gd name="connsiteY2" fmla="*/ 79731 h 455955"/>
                <a:gd name="connsiteX3" fmla="*/ 470902 w 680194"/>
                <a:gd name="connsiteY3" fmla="*/ 0 h 455955"/>
                <a:gd name="connsiteX4" fmla="*/ 498309 w 680194"/>
                <a:gd name="connsiteY4" fmla="*/ 127069 h 455955"/>
                <a:gd name="connsiteX5" fmla="*/ 680194 w 680194"/>
                <a:gd name="connsiteY5" fmla="*/ 124579 h 455955"/>
                <a:gd name="connsiteX6" fmla="*/ 558108 w 680194"/>
                <a:gd name="connsiteY6" fmla="*/ 455955 h 455955"/>
                <a:gd name="connsiteX7" fmla="*/ 171917 w 680194"/>
                <a:gd name="connsiteY7" fmla="*/ 450972 h 455955"/>
                <a:gd name="connsiteX8" fmla="*/ 0 w 680194"/>
                <a:gd name="connsiteY8" fmla="*/ 134545 h 455955"/>
                <a:gd name="connsiteX0" fmla="*/ 0 w 680194"/>
                <a:gd name="connsiteY0" fmla="*/ 134545 h 455955"/>
                <a:gd name="connsiteX1" fmla="*/ 149492 w 680194"/>
                <a:gd name="connsiteY1" fmla="*/ 49832 h 455955"/>
                <a:gd name="connsiteX2" fmla="*/ 281544 w 680194"/>
                <a:gd name="connsiteY2" fmla="*/ 79731 h 455955"/>
                <a:gd name="connsiteX3" fmla="*/ 470902 w 680194"/>
                <a:gd name="connsiteY3" fmla="*/ 0 h 455955"/>
                <a:gd name="connsiteX4" fmla="*/ 498309 w 680194"/>
                <a:gd name="connsiteY4" fmla="*/ 127069 h 455955"/>
                <a:gd name="connsiteX5" fmla="*/ 680194 w 680194"/>
                <a:gd name="connsiteY5" fmla="*/ 124579 h 455955"/>
                <a:gd name="connsiteX6" fmla="*/ 558108 w 680194"/>
                <a:gd name="connsiteY6" fmla="*/ 455955 h 455955"/>
                <a:gd name="connsiteX7" fmla="*/ 171917 w 680194"/>
                <a:gd name="connsiteY7" fmla="*/ 450972 h 455955"/>
                <a:gd name="connsiteX8" fmla="*/ 0 w 680194"/>
                <a:gd name="connsiteY8" fmla="*/ 134545 h 455955"/>
                <a:gd name="connsiteX0" fmla="*/ 0 w 662753"/>
                <a:gd name="connsiteY0" fmla="*/ 159460 h 455955"/>
                <a:gd name="connsiteX1" fmla="*/ 132051 w 662753"/>
                <a:gd name="connsiteY1" fmla="*/ 49832 h 455955"/>
                <a:gd name="connsiteX2" fmla="*/ 264103 w 662753"/>
                <a:gd name="connsiteY2" fmla="*/ 79731 h 455955"/>
                <a:gd name="connsiteX3" fmla="*/ 453461 w 662753"/>
                <a:gd name="connsiteY3" fmla="*/ 0 h 455955"/>
                <a:gd name="connsiteX4" fmla="*/ 480868 w 662753"/>
                <a:gd name="connsiteY4" fmla="*/ 127069 h 455955"/>
                <a:gd name="connsiteX5" fmla="*/ 662753 w 662753"/>
                <a:gd name="connsiteY5" fmla="*/ 124579 h 455955"/>
                <a:gd name="connsiteX6" fmla="*/ 540667 w 662753"/>
                <a:gd name="connsiteY6" fmla="*/ 455955 h 455955"/>
                <a:gd name="connsiteX7" fmla="*/ 154476 w 662753"/>
                <a:gd name="connsiteY7" fmla="*/ 450972 h 455955"/>
                <a:gd name="connsiteX8" fmla="*/ 0 w 662753"/>
                <a:gd name="connsiteY8" fmla="*/ 159460 h 455955"/>
                <a:gd name="connsiteX0" fmla="*/ 0 w 662753"/>
                <a:gd name="connsiteY0" fmla="*/ 161952 h 458447"/>
                <a:gd name="connsiteX1" fmla="*/ 132051 w 662753"/>
                <a:gd name="connsiteY1" fmla="*/ 52324 h 458447"/>
                <a:gd name="connsiteX2" fmla="*/ 264103 w 662753"/>
                <a:gd name="connsiteY2" fmla="*/ 82223 h 458447"/>
                <a:gd name="connsiteX3" fmla="*/ 448478 w 662753"/>
                <a:gd name="connsiteY3" fmla="*/ 0 h 458447"/>
                <a:gd name="connsiteX4" fmla="*/ 480868 w 662753"/>
                <a:gd name="connsiteY4" fmla="*/ 129561 h 458447"/>
                <a:gd name="connsiteX5" fmla="*/ 662753 w 662753"/>
                <a:gd name="connsiteY5" fmla="*/ 127071 h 458447"/>
                <a:gd name="connsiteX6" fmla="*/ 540667 w 662753"/>
                <a:gd name="connsiteY6" fmla="*/ 458447 h 458447"/>
                <a:gd name="connsiteX7" fmla="*/ 154476 w 662753"/>
                <a:gd name="connsiteY7" fmla="*/ 453464 h 458447"/>
                <a:gd name="connsiteX8" fmla="*/ 0 w 662753"/>
                <a:gd name="connsiteY8" fmla="*/ 161952 h 458447"/>
                <a:gd name="connsiteX0" fmla="*/ 0 w 662753"/>
                <a:gd name="connsiteY0" fmla="*/ 161952 h 458447"/>
                <a:gd name="connsiteX1" fmla="*/ 132051 w 662753"/>
                <a:gd name="connsiteY1" fmla="*/ 52324 h 458447"/>
                <a:gd name="connsiteX2" fmla="*/ 264103 w 662753"/>
                <a:gd name="connsiteY2" fmla="*/ 82223 h 458447"/>
                <a:gd name="connsiteX3" fmla="*/ 448478 w 662753"/>
                <a:gd name="connsiteY3" fmla="*/ 0 h 458447"/>
                <a:gd name="connsiteX4" fmla="*/ 473393 w 662753"/>
                <a:gd name="connsiteY4" fmla="*/ 132052 h 458447"/>
                <a:gd name="connsiteX5" fmla="*/ 662753 w 662753"/>
                <a:gd name="connsiteY5" fmla="*/ 127071 h 458447"/>
                <a:gd name="connsiteX6" fmla="*/ 540667 w 662753"/>
                <a:gd name="connsiteY6" fmla="*/ 458447 h 458447"/>
                <a:gd name="connsiteX7" fmla="*/ 154476 w 662753"/>
                <a:gd name="connsiteY7" fmla="*/ 453464 h 458447"/>
                <a:gd name="connsiteX8" fmla="*/ 0 w 662753"/>
                <a:gd name="connsiteY8" fmla="*/ 161952 h 458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753" h="458447">
                  <a:moveTo>
                    <a:pt x="0" y="161952"/>
                  </a:moveTo>
                  <a:lnTo>
                    <a:pt x="132051" y="52324"/>
                  </a:lnTo>
                  <a:lnTo>
                    <a:pt x="264103" y="82223"/>
                  </a:lnTo>
                  <a:lnTo>
                    <a:pt x="448478" y="0"/>
                  </a:lnTo>
                  <a:lnTo>
                    <a:pt x="473393" y="132052"/>
                  </a:lnTo>
                  <a:lnTo>
                    <a:pt x="662753" y="127071"/>
                  </a:lnTo>
                  <a:lnTo>
                    <a:pt x="540667" y="458447"/>
                  </a:lnTo>
                  <a:lnTo>
                    <a:pt x="154476" y="453464"/>
                  </a:lnTo>
                  <a:lnTo>
                    <a:pt x="0" y="161952"/>
                  </a:lnTo>
                  <a:close/>
                </a:path>
              </a:pathLst>
            </a:cu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40" name="Right Triangle 7"/>
            <p:cNvSpPr/>
            <p:nvPr/>
          </p:nvSpPr>
          <p:spPr>
            <a:xfrm flipH="1">
              <a:off x="6741541" y="3853771"/>
              <a:ext cx="193533" cy="384837"/>
            </a:xfrm>
            <a:custGeom>
              <a:avLst/>
              <a:gdLst>
                <a:gd name="connsiteX0" fmla="*/ 0 w 66004"/>
                <a:gd name="connsiteY0" fmla="*/ 276562 h 276562"/>
                <a:gd name="connsiteX1" fmla="*/ 0 w 66004"/>
                <a:gd name="connsiteY1" fmla="*/ 0 h 276562"/>
                <a:gd name="connsiteX2" fmla="*/ 66004 w 66004"/>
                <a:gd name="connsiteY2" fmla="*/ 276562 h 276562"/>
                <a:gd name="connsiteX3" fmla="*/ 0 w 66004"/>
                <a:gd name="connsiteY3" fmla="*/ 276562 h 276562"/>
                <a:gd name="connsiteX0" fmla="*/ 119595 w 185599"/>
                <a:gd name="connsiteY0" fmla="*/ 328884 h 328884"/>
                <a:gd name="connsiteX1" fmla="*/ 0 w 185599"/>
                <a:gd name="connsiteY1" fmla="*/ 0 h 328884"/>
                <a:gd name="connsiteX2" fmla="*/ 185599 w 185599"/>
                <a:gd name="connsiteY2" fmla="*/ 328884 h 328884"/>
                <a:gd name="connsiteX3" fmla="*/ 119595 w 18559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Lst>
              <a:ahLst/>
              <a:cxnLst>
                <a:cxn ang="0">
                  <a:pos x="connsiteX0" y="connsiteY0"/>
                </a:cxn>
                <a:cxn ang="0">
                  <a:pos x="connsiteX1" y="connsiteY1"/>
                </a:cxn>
                <a:cxn ang="0">
                  <a:pos x="connsiteX2" y="connsiteY2"/>
                </a:cxn>
                <a:cxn ang="0">
                  <a:pos x="connsiteX3" y="connsiteY3"/>
                </a:cxn>
              </a:cxnLst>
              <a:rect l="l" t="t" r="r" b="b"/>
              <a:pathLst>
                <a:path w="168159" h="328884">
                  <a:moveTo>
                    <a:pt x="119595" y="328884"/>
                  </a:moveTo>
                  <a:lnTo>
                    <a:pt x="0" y="0"/>
                  </a:lnTo>
                  <a:lnTo>
                    <a:pt x="168159" y="323900"/>
                  </a:lnTo>
                  <a:lnTo>
                    <a:pt x="119595" y="328884"/>
                  </a:lnTo>
                  <a:close/>
                </a:path>
              </a:pathLst>
            </a:custGeom>
            <a:pattFill prst="wdUpDiag">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41" name="Right Triangle 7"/>
            <p:cNvSpPr/>
            <p:nvPr/>
          </p:nvSpPr>
          <p:spPr>
            <a:xfrm rot="9064593" flipH="1">
              <a:off x="6550770" y="3773605"/>
              <a:ext cx="224772" cy="290920"/>
            </a:xfrm>
            <a:custGeom>
              <a:avLst/>
              <a:gdLst>
                <a:gd name="connsiteX0" fmla="*/ 0 w 66004"/>
                <a:gd name="connsiteY0" fmla="*/ 276562 h 276562"/>
                <a:gd name="connsiteX1" fmla="*/ 0 w 66004"/>
                <a:gd name="connsiteY1" fmla="*/ 0 h 276562"/>
                <a:gd name="connsiteX2" fmla="*/ 66004 w 66004"/>
                <a:gd name="connsiteY2" fmla="*/ 276562 h 276562"/>
                <a:gd name="connsiteX3" fmla="*/ 0 w 66004"/>
                <a:gd name="connsiteY3" fmla="*/ 276562 h 276562"/>
                <a:gd name="connsiteX0" fmla="*/ 119595 w 185599"/>
                <a:gd name="connsiteY0" fmla="*/ 328884 h 328884"/>
                <a:gd name="connsiteX1" fmla="*/ 0 w 185599"/>
                <a:gd name="connsiteY1" fmla="*/ 0 h 328884"/>
                <a:gd name="connsiteX2" fmla="*/ 185599 w 185599"/>
                <a:gd name="connsiteY2" fmla="*/ 328884 h 328884"/>
                <a:gd name="connsiteX3" fmla="*/ 119595 w 18559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0 w 48564"/>
                <a:gd name="connsiteY0" fmla="*/ 132097 h 132097"/>
                <a:gd name="connsiteX1" fmla="*/ 3375 w 48564"/>
                <a:gd name="connsiteY1" fmla="*/ 0 h 132097"/>
                <a:gd name="connsiteX2" fmla="*/ 48564 w 48564"/>
                <a:gd name="connsiteY2" fmla="*/ 127113 h 132097"/>
                <a:gd name="connsiteX3" fmla="*/ 0 w 48564"/>
                <a:gd name="connsiteY3" fmla="*/ 132097 h 132097"/>
                <a:gd name="connsiteX0" fmla="*/ 0 w 48564"/>
                <a:gd name="connsiteY0" fmla="*/ 132097 h 132097"/>
                <a:gd name="connsiteX1" fmla="*/ 2631 w 48564"/>
                <a:gd name="connsiteY1" fmla="*/ 66384 h 132097"/>
                <a:gd name="connsiteX2" fmla="*/ 3375 w 48564"/>
                <a:gd name="connsiteY2" fmla="*/ 0 h 132097"/>
                <a:gd name="connsiteX3" fmla="*/ 48564 w 48564"/>
                <a:gd name="connsiteY3" fmla="*/ 127113 h 132097"/>
                <a:gd name="connsiteX4" fmla="*/ 0 w 48564"/>
                <a:gd name="connsiteY4" fmla="*/ 132097 h 132097"/>
                <a:gd name="connsiteX0" fmla="*/ 146739 w 195303"/>
                <a:gd name="connsiteY0" fmla="*/ 253606 h 253606"/>
                <a:gd name="connsiteX1" fmla="*/ 0 w 195303"/>
                <a:gd name="connsiteY1" fmla="*/ 0 h 253606"/>
                <a:gd name="connsiteX2" fmla="*/ 150114 w 195303"/>
                <a:gd name="connsiteY2" fmla="*/ 121509 h 253606"/>
                <a:gd name="connsiteX3" fmla="*/ 195303 w 195303"/>
                <a:gd name="connsiteY3" fmla="*/ 248622 h 253606"/>
                <a:gd name="connsiteX4" fmla="*/ 146739 w 195303"/>
                <a:gd name="connsiteY4" fmla="*/ 253606 h 253606"/>
                <a:gd name="connsiteX0" fmla="*/ 195303 w 195303"/>
                <a:gd name="connsiteY0" fmla="*/ 248622 h 248622"/>
                <a:gd name="connsiteX1" fmla="*/ 0 w 195303"/>
                <a:gd name="connsiteY1" fmla="*/ 0 h 248622"/>
                <a:gd name="connsiteX2" fmla="*/ 150114 w 195303"/>
                <a:gd name="connsiteY2" fmla="*/ 121509 h 248622"/>
                <a:gd name="connsiteX3" fmla="*/ 195303 w 195303"/>
                <a:gd name="connsiteY3" fmla="*/ 248622 h 248622"/>
                <a:gd name="connsiteX0" fmla="*/ 195303 w 195303"/>
                <a:gd name="connsiteY0" fmla="*/ 248622 h 248622"/>
                <a:gd name="connsiteX1" fmla="*/ 0 w 195303"/>
                <a:gd name="connsiteY1" fmla="*/ 0 h 248622"/>
                <a:gd name="connsiteX2" fmla="*/ 152524 w 195303"/>
                <a:gd name="connsiteY2" fmla="*/ 125870 h 248622"/>
                <a:gd name="connsiteX3" fmla="*/ 195303 w 195303"/>
                <a:gd name="connsiteY3" fmla="*/ 248622 h 248622"/>
              </a:gdLst>
              <a:ahLst/>
              <a:cxnLst>
                <a:cxn ang="0">
                  <a:pos x="connsiteX0" y="connsiteY0"/>
                </a:cxn>
                <a:cxn ang="0">
                  <a:pos x="connsiteX1" y="connsiteY1"/>
                </a:cxn>
                <a:cxn ang="0">
                  <a:pos x="connsiteX2" y="connsiteY2"/>
                </a:cxn>
                <a:cxn ang="0">
                  <a:pos x="connsiteX3" y="connsiteY3"/>
                </a:cxn>
              </a:cxnLst>
              <a:rect l="l" t="t" r="r" b="b"/>
              <a:pathLst>
                <a:path w="195303" h="248622">
                  <a:moveTo>
                    <a:pt x="195303" y="248622"/>
                  </a:moveTo>
                  <a:lnTo>
                    <a:pt x="0" y="0"/>
                  </a:lnTo>
                  <a:lnTo>
                    <a:pt x="152524" y="125870"/>
                  </a:lnTo>
                  <a:lnTo>
                    <a:pt x="195303" y="248622"/>
                  </a:lnTo>
                  <a:close/>
                </a:path>
              </a:pathLst>
            </a:custGeom>
            <a:pattFill prst="wdUpDiag">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42" name="Right Triangle 7"/>
            <p:cNvSpPr/>
            <p:nvPr/>
          </p:nvSpPr>
          <p:spPr>
            <a:xfrm rot="9064593" flipH="1">
              <a:off x="6403363" y="3750557"/>
              <a:ext cx="115549" cy="300577"/>
            </a:xfrm>
            <a:custGeom>
              <a:avLst/>
              <a:gdLst>
                <a:gd name="connsiteX0" fmla="*/ 0 w 66004"/>
                <a:gd name="connsiteY0" fmla="*/ 276562 h 276562"/>
                <a:gd name="connsiteX1" fmla="*/ 0 w 66004"/>
                <a:gd name="connsiteY1" fmla="*/ 0 h 276562"/>
                <a:gd name="connsiteX2" fmla="*/ 66004 w 66004"/>
                <a:gd name="connsiteY2" fmla="*/ 276562 h 276562"/>
                <a:gd name="connsiteX3" fmla="*/ 0 w 66004"/>
                <a:gd name="connsiteY3" fmla="*/ 276562 h 276562"/>
                <a:gd name="connsiteX0" fmla="*/ 119595 w 185599"/>
                <a:gd name="connsiteY0" fmla="*/ 328884 h 328884"/>
                <a:gd name="connsiteX1" fmla="*/ 0 w 185599"/>
                <a:gd name="connsiteY1" fmla="*/ 0 h 328884"/>
                <a:gd name="connsiteX2" fmla="*/ 185599 w 185599"/>
                <a:gd name="connsiteY2" fmla="*/ 328884 h 328884"/>
                <a:gd name="connsiteX3" fmla="*/ 119595 w 18559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0 w 48564"/>
                <a:gd name="connsiteY0" fmla="*/ 132097 h 132097"/>
                <a:gd name="connsiteX1" fmla="*/ 3375 w 48564"/>
                <a:gd name="connsiteY1" fmla="*/ 0 h 132097"/>
                <a:gd name="connsiteX2" fmla="*/ 48564 w 48564"/>
                <a:gd name="connsiteY2" fmla="*/ 127113 h 132097"/>
                <a:gd name="connsiteX3" fmla="*/ 0 w 48564"/>
                <a:gd name="connsiteY3" fmla="*/ 132097 h 132097"/>
                <a:gd name="connsiteX0" fmla="*/ 0 w 48564"/>
                <a:gd name="connsiteY0" fmla="*/ 132097 h 132097"/>
                <a:gd name="connsiteX1" fmla="*/ 2631 w 48564"/>
                <a:gd name="connsiteY1" fmla="*/ 66384 h 132097"/>
                <a:gd name="connsiteX2" fmla="*/ 3375 w 48564"/>
                <a:gd name="connsiteY2" fmla="*/ 0 h 132097"/>
                <a:gd name="connsiteX3" fmla="*/ 48564 w 48564"/>
                <a:gd name="connsiteY3" fmla="*/ 127113 h 132097"/>
                <a:gd name="connsiteX4" fmla="*/ 0 w 48564"/>
                <a:gd name="connsiteY4" fmla="*/ 132097 h 132097"/>
                <a:gd name="connsiteX0" fmla="*/ 146739 w 195303"/>
                <a:gd name="connsiteY0" fmla="*/ 253606 h 253606"/>
                <a:gd name="connsiteX1" fmla="*/ 0 w 195303"/>
                <a:gd name="connsiteY1" fmla="*/ 0 h 253606"/>
                <a:gd name="connsiteX2" fmla="*/ 150114 w 195303"/>
                <a:gd name="connsiteY2" fmla="*/ 121509 h 253606"/>
                <a:gd name="connsiteX3" fmla="*/ 195303 w 195303"/>
                <a:gd name="connsiteY3" fmla="*/ 248622 h 253606"/>
                <a:gd name="connsiteX4" fmla="*/ 146739 w 195303"/>
                <a:gd name="connsiteY4" fmla="*/ 253606 h 253606"/>
                <a:gd name="connsiteX0" fmla="*/ 195303 w 195303"/>
                <a:gd name="connsiteY0" fmla="*/ 248622 h 248622"/>
                <a:gd name="connsiteX1" fmla="*/ 0 w 195303"/>
                <a:gd name="connsiteY1" fmla="*/ 0 h 248622"/>
                <a:gd name="connsiteX2" fmla="*/ 150114 w 195303"/>
                <a:gd name="connsiteY2" fmla="*/ 121509 h 248622"/>
                <a:gd name="connsiteX3" fmla="*/ 195303 w 195303"/>
                <a:gd name="connsiteY3" fmla="*/ 248622 h 248622"/>
                <a:gd name="connsiteX0" fmla="*/ 140496 w 140496"/>
                <a:gd name="connsiteY0" fmla="*/ 298833 h 298833"/>
                <a:gd name="connsiteX1" fmla="*/ 0 w 140496"/>
                <a:gd name="connsiteY1" fmla="*/ 0 h 298833"/>
                <a:gd name="connsiteX2" fmla="*/ 95307 w 140496"/>
                <a:gd name="connsiteY2" fmla="*/ 171720 h 298833"/>
                <a:gd name="connsiteX3" fmla="*/ 140496 w 140496"/>
                <a:gd name="connsiteY3" fmla="*/ 298833 h 298833"/>
                <a:gd name="connsiteX0" fmla="*/ 0 w 100400"/>
                <a:gd name="connsiteY0" fmla="*/ 256875 h 256875"/>
                <a:gd name="connsiteX1" fmla="*/ 5093 w 100400"/>
                <a:gd name="connsiteY1" fmla="*/ 0 h 256875"/>
                <a:gd name="connsiteX2" fmla="*/ 100400 w 100400"/>
                <a:gd name="connsiteY2" fmla="*/ 171720 h 256875"/>
                <a:gd name="connsiteX3" fmla="*/ 0 w 100400"/>
                <a:gd name="connsiteY3" fmla="*/ 256875 h 256875"/>
              </a:gdLst>
              <a:ahLst/>
              <a:cxnLst>
                <a:cxn ang="0">
                  <a:pos x="connsiteX0" y="connsiteY0"/>
                </a:cxn>
                <a:cxn ang="0">
                  <a:pos x="connsiteX1" y="connsiteY1"/>
                </a:cxn>
                <a:cxn ang="0">
                  <a:pos x="connsiteX2" y="connsiteY2"/>
                </a:cxn>
                <a:cxn ang="0">
                  <a:pos x="connsiteX3" y="connsiteY3"/>
                </a:cxn>
              </a:cxnLst>
              <a:rect l="l" t="t" r="r" b="b"/>
              <a:pathLst>
                <a:path w="100400" h="256875">
                  <a:moveTo>
                    <a:pt x="0" y="256875"/>
                  </a:moveTo>
                  <a:lnTo>
                    <a:pt x="5093" y="0"/>
                  </a:lnTo>
                  <a:lnTo>
                    <a:pt x="100400" y="171720"/>
                  </a:lnTo>
                  <a:lnTo>
                    <a:pt x="0" y="256875"/>
                  </a:lnTo>
                  <a:close/>
                </a:path>
              </a:pathLst>
            </a:custGeom>
            <a:pattFill prst="wdUpDiag">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43" name="Text Placeholder 33"/>
            <p:cNvSpPr txBox="1">
              <a:spLocks/>
            </p:cNvSpPr>
            <p:nvPr/>
          </p:nvSpPr>
          <p:spPr>
            <a:xfrm>
              <a:off x="6184241" y="5093743"/>
              <a:ext cx="719116" cy="60909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AU" sz="5400" dirty="0">
                  <a:solidFill>
                    <a:schemeClr val="accent1"/>
                  </a:solidFill>
                  <a:latin typeface="RBC Display" panose="02000000000000000000" pitchFamily="2" charset="77"/>
                  <a:ea typeface="Adobe Heiti Std R" panose="020B0400000000000000" pitchFamily="34" charset="-128"/>
                </a:rPr>
                <a:t>$</a:t>
              </a:r>
            </a:p>
          </p:txBody>
        </p:sp>
      </p:grpSp>
      <p:grpSp>
        <p:nvGrpSpPr>
          <p:cNvPr id="46" name="Group 45"/>
          <p:cNvGrpSpPr/>
          <p:nvPr/>
        </p:nvGrpSpPr>
        <p:grpSpPr>
          <a:xfrm>
            <a:off x="7077037" y="3182558"/>
            <a:ext cx="1916140" cy="3101204"/>
            <a:chOff x="5767732" y="3718859"/>
            <a:chExt cx="1670299" cy="2703325"/>
          </a:xfrm>
        </p:grpSpPr>
        <p:grpSp>
          <p:nvGrpSpPr>
            <p:cNvPr id="47" name="Group 46"/>
            <p:cNvGrpSpPr/>
            <p:nvPr/>
          </p:nvGrpSpPr>
          <p:grpSpPr>
            <a:xfrm>
              <a:off x="5767732" y="4440188"/>
              <a:ext cx="1670299" cy="1981996"/>
              <a:chOff x="1087899" y="4611523"/>
              <a:chExt cx="1451310" cy="1693823"/>
            </a:xfrm>
          </p:grpSpPr>
          <p:sp>
            <p:nvSpPr>
              <p:cNvPr id="54" name="Freeform 53"/>
              <p:cNvSpPr/>
              <p:nvPr/>
            </p:nvSpPr>
            <p:spPr>
              <a:xfrm>
                <a:off x="1087899" y="4611523"/>
                <a:ext cx="1408919" cy="1637602"/>
              </a:xfrm>
              <a:custGeom>
                <a:avLst/>
                <a:gdLst>
                  <a:gd name="connsiteX0" fmla="*/ 461907 w 1404934"/>
                  <a:gd name="connsiteY0" fmla="*/ 1561582 h 1641864"/>
                  <a:gd name="connsiteX1" fmla="*/ 460409 w 1404934"/>
                  <a:gd name="connsiteY1" fmla="*/ 1562298 h 1641864"/>
                  <a:gd name="connsiteX2" fmla="*/ 464264 w 1404934"/>
                  <a:gd name="connsiteY2" fmla="*/ 1564031 h 1641864"/>
                  <a:gd name="connsiteX3" fmla="*/ 633532 w 1404934"/>
                  <a:gd name="connsiteY3" fmla="*/ 0 h 1641864"/>
                  <a:gd name="connsiteX4" fmla="*/ 642264 w 1404934"/>
                  <a:gd name="connsiteY4" fmla="*/ 89 h 1641864"/>
                  <a:gd name="connsiteX5" fmla="*/ 859611 w 1404934"/>
                  <a:gd name="connsiteY5" fmla="*/ 4927 h 1641864"/>
                  <a:gd name="connsiteX6" fmla="*/ 869679 w 1404934"/>
                  <a:gd name="connsiteY6" fmla="*/ 4849 h 1641864"/>
                  <a:gd name="connsiteX7" fmla="*/ 888124 w 1404934"/>
                  <a:gd name="connsiteY7" fmla="*/ 5035 h 1641864"/>
                  <a:gd name="connsiteX8" fmla="*/ 920629 w 1404934"/>
                  <a:gd name="connsiteY8" fmla="*/ 5097 h 1641864"/>
                  <a:gd name="connsiteX9" fmla="*/ 1028230 w 1404934"/>
                  <a:gd name="connsiteY9" fmla="*/ 154932 h 1641864"/>
                  <a:gd name="connsiteX10" fmla="*/ 1403068 w 1404934"/>
                  <a:gd name="connsiteY10" fmla="*/ 1061042 h 1641864"/>
                  <a:gd name="connsiteX11" fmla="*/ 817301 w 1404934"/>
                  <a:gd name="connsiteY11" fmla="*/ 1625687 h 1641864"/>
                  <a:gd name="connsiteX12" fmla="*/ 745274 w 1404934"/>
                  <a:gd name="connsiteY12" fmla="*/ 1632820 h 1641864"/>
                  <a:gd name="connsiteX13" fmla="*/ 710413 w 1404934"/>
                  <a:gd name="connsiteY13" fmla="*/ 1629831 h 1641864"/>
                  <a:gd name="connsiteX14" fmla="*/ 665846 w 1404934"/>
                  <a:gd name="connsiteY14" fmla="*/ 1622274 h 1641864"/>
                  <a:gd name="connsiteX15" fmla="*/ 660377 w 1404934"/>
                  <a:gd name="connsiteY15" fmla="*/ 1624890 h 1641864"/>
                  <a:gd name="connsiteX16" fmla="*/ 710412 w 1404934"/>
                  <a:gd name="connsiteY16" fmla="*/ 1633702 h 1641864"/>
                  <a:gd name="connsiteX17" fmla="*/ 745275 w 1404934"/>
                  <a:gd name="connsiteY17" fmla="*/ 1636691 h 1641864"/>
                  <a:gd name="connsiteX18" fmla="*/ 693045 w 1404934"/>
                  <a:gd name="connsiteY18" fmla="*/ 1641864 h 1641864"/>
                  <a:gd name="connsiteX19" fmla="*/ 327 w 1404934"/>
                  <a:gd name="connsiteY19" fmla="*/ 987094 h 1641864"/>
                  <a:gd name="connsiteX20" fmla="*/ 470498 w 1404934"/>
                  <a:gd name="connsiteY20" fmla="*/ 4261 h 1641864"/>
                  <a:gd name="connsiteX21" fmla="*/ 578637 w 1404934"/>
                  <a:gd name="connsiteY21" fmla="*/ 3616 h 1641864"/>
                  <a:gd name="connsiteX22" fmla="*/ 580705 w 1404934"/>
                  <a:gd name="connsiteY22" fmla="*/ 3620 h 1641864"/>
                  <a:gd name="connsiteX23" fmla="*/ 583039 w 1404934"/>
                  <a:gd name="connsiteY23" fmla="*/ 390 h 1641864"/>
                  <a:gd name="connsiteX0" fmla="*/ 464264 w 1404934"/>
                  <a:gd name="connsiteY0" fmla="*/ 1564031 h 1641864"/>
                  <a:gd name="connsiteX1" fmla="*/ 460409 w 1404934"/>
                  <a:gd name="connsiteY1" fmla="*/ 1562298 h 1641864"/>
                  <a:gd name="connsiteX2" fmla="*/ 464264 w 1404934"/>
                  <a:gd name="connsiteY2" fmla="*/ 1564031 h 1641864"/>
                  <a:gd name="connsiteX3" fmla="*/ 633532 w 1404934"/>
                  <a:gd name="connsiteY3" fmla="*/ 0 h 1641864"/>
                  <a:gd name="connsiteX4" fmla="*/ 642264 w 1404934"/>
                  <a:gd name="connsiteY4" fmla="*/ 89 h 1641864"/>
                  <a:gd name="connsiteX5" fmla="*/ 859611 w 1404934"/>
                  <a:gd name="connsiteY5" fmla="*/ 4927 h 1641864"/>
                  <a:gd name="connsiteX6" fmla="*/ 869679 w 1404934"/>
                  <a:gd name="connsiteY6" fmla="*/ 4849 h 1641864"/>
                  <a:gd name="connsiteX7" fmla="*/ 888124 w 1404934"/>
                  <a:gd name="connsiteY7" fmla="*/ 5035 h 1641864"/>
                  <a:gd name="connsiteX8" fmla="*/ 920629 w 1404934"/>
                  <a:gd name="connsiteY8" fmla="*/ 5097 h 1641864"/>
                  <a:gd name="connsiteX9" fmla="*/ 1028230 w 1404934"/>
                  <a:gd name="connsiteY9" fmla="*/ 154932 h 1641864"/>
                  <a:gd name="connsiteX10" fmla="*/ 1403068 w 1404934"/>
                  <a:gd name="connsiteY10" fmla="*/ 1061042 h 1641864"/>
                  <a:gd name="connsiteX11" fmla="*/ 817301 w 1404934"/>
                  <a:gd name="connsiteY11" fmla="*/ 1625687 h 1641864"/>
                  <a:gd name="connsiteX12" fmla="*/ 745274 w 1404934"/>
                  <a:gd name="connsiteY12" fmla="*/ 1632820 h 1641864"/>
                  <a:gd name="connsiteX13" fmla="*/ 710413 w 1404934"/>
                  <a:gd name="connsiteY13" fmla="*/ 1629831 h 1641864"/>
                  <a:gd name="connsiteX14" fmla="*/ 665846 w 1404934"/>
                  <a:gd name="connsiteY14" fmla="*/ 1622274 h 1641864"/>
                  <a:gd name="connsiteX15" fmla="*/ 660377 w 1404934"/>
                  <a:gd name="connsiteY15" fmla="*/ 1624890 h 1641864"/>
                  <a:gd name="connsiteX16" fmla="*/ 710412 w 1404934"/>
                  <a:gd name="connsiteY16" fmla="*/ 1633702 h 1641864"/>
                  <a:gd name="connsiteX17" fmla="*/ 745275 w 1404934"/>
                  <a:gd name="connsiteY17" fmla="*/ 1636691 h 1641864"/>
                  <a:gd name="connsiteX18" fmla="*/ 693045 w 1404934"/>
                  <a:gd name="connsiteY18" fmla="*/ 1641864 h 1641864"/>
                  <a:gd name="connsiteX19" fmla="*/ 327 w 1404934"/>
                  <a:gd name="connsiteY19" fmla="*/ 987094 h 1641864"/>
                  <a:gd name="connsiteX20" fmla="*/ 470498 w 1404934"/>
                  <a:gd name="connsiteY20" fmla="*/ 4261 h 1641864"/>
                  <a:gd name="connsiteX21" fmla="*/ 578637 w 1404934"/>
                  <a:gd name="connsiteY21" fmla="*/ 3616 h 1641864"/>
                  <a:gd name="connsiteX22" fmla="*/ 580705 w 1404934"/>
                  <a:gd name="connsiteY22" fmla="*/ 3620 h 1641864"/>
                  <a:gd name="connsiteX23" fmla="*/ 583039 w 1404934"/>
                  <a:gd name="connsiteY23" fmla="*/ 390 h 1641864"/>
                  <a:gd name="connsiteX24" fmla="*/ 633532 w 1404934"/>
                  <a:gd name="connsiteY24"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665846 w 1404934"/>
                  <a:gd name="connsiteY11" fmla="*/ 1622274 h 1641864"/>
                  <a:gd name="connsiteX12" fmla="*/ 660377 w 1404934"/>
                  <a:gd name="connsiteY12" fmla="*/ 1624890 h 1641864"/>
                  <a:gd name="connsiteX13" fmla="*/ 710412 w 1404934"/>
                  <a:gd name="connsiteY13" fmla="*/ 1633702 h 1641864"/>
                  <a:gd name="connsiteX14" fmla="*/ 745275 w 1404934"/>
                  <a:gd name="connsiteY14" fmla="*/ 1636691 h 1641864"/>
                  <a:gd name="connsiteX15" fmla="*/ 693045 w 1404934"/>
                  <a:gd name="connsiteY15" fmla="*/ 1641864 h 1641864"/>
                  <a:gd name="connsiteX16" fmla="*/ 327 w 1404934"/>
                  <a:gd name="connsiteY16" fmla="*/ 987094 h 1641864"/>
                  <a:gd name="connsiteX17" fmla="*/ 470498 w 1404934"/>
                  <a:gd name="connsiteY17" fmla="*/ 4261 h 1641864"/>
                  <a:gd name="connsiteX18" fmla="*/ 578637 w 1404934"/>
                  <a:gd name="connsiteY18" fmla="*/ 3616 h 1641864"/>
                  <a:gd name="connsiteX19" fmla="*/ 580705 w 1404934"/>
                  <a:gd name="connsiteY19" fmla="*/ 3620 h 1641864"/>
                  <a:gd name="connsiteX20" fmla="*/ 583039 w 1404934"/>
                  <a:gd name="connsiteY20" fmla="*/ 390 h 1641864"/>
                  <a:gd name="connsiteX21" fmla="*/ 633532 w 1404934"/>
                  <a:gd name="connsiteY21"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665846 w 1404934"/>
                  <a:gd name="connsiteY11" fmla="*/ 1622274 h 1641864"/>
                  <a:gd name="connsiteX12" fmla="*/ 710412 w 1404934"/>
                  <a:gd name="connsiteY12" fmla="*/ 1633702 h 1641864"/>
                  <a:gd name="connsiteX13" fmla="*/ 745275 w 1404934"/>
                  <a:gd name="connsiteY13" fmla="*/ 1636691 h 1641864"/>
                  <a:gd name="connsiteX14" fmla="*/ 693045 w 1404934"/>
                  <a:gd name="connsiteY14" fmla="*/ 1641864 h 1641864"/>
                  <a:gd name="connsiteX15" fmla="*/ 327 w 1404934"/>
                  <a:gd name="connsiteY15" fmla="*/ 987094 h 1641864"/>
                  <a:gd name="connsiteX16" fmla="*/ 470498 w 1404934"/>
                  <a:gd name="connsiteY16" fmla="*/ 4261 h 1641864"/>
                  <a:gd name="connsiteX17" fmla="*/ 578637 w 1404934"/>
                  <a:gd name="connsiteY17" fmla="*/ 3616 h 1641864"/>
                  <a:gd name="connsiteX18" fmla="*/ 580705 w 1404934"/>
                  <a:gd name="connsiteY18" fmla="*/ 3620 h 1641864"/>
                  <a:gd name="connsiteX19" fmla="*/ 583039 w 1404934"/>
                  <a:gd name="connsiteY19" fmla="*/ 390 h 1641864"/>
                  <a:gd name="connsiteX20" fmla="*/ 633532 w 1404934"/>
                  <a:gd name="connsiteY20"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710412 w 1404934"/>
                  <a:gd name="connsiteY11" fmla="*/ 1633702 h 1641864"/>
                  <a:gd name="connsiteX12" fmla="*/ 745275 w 1404934"/>
                  <a:gd name="connsiteY12" fmla="*/ 1636691 h 1641864"/>
                  <a:gd name="connsiteX13" fmla="*/ 693045 w 1404934"/>
                  <a:gd name="connsiteY13" fmla="*/ 1641864 h 1641864"/>
                  <a:gd name="connsiteX14" fmla="*/ 327 w 1404934"/>
                  <a:gd name="connsiteY14" fmla="*/ 987094 h 1641864"/>
                  <a:gd name="connsiteX15" fmla="*/ 470498 w 1404934"/>
                  <a:gd name="connsiteY15" fmla="*/ 4261 h 1641864"/>
                  <a:gd name="connsiteX16" fmla="*/ 578637 w 1404934"/>
                  <a:gd name="connsiteY16" fmla="*/ 3616 h 1641864"/>
                  <a:gd name="connsiteX17" fmla="*/ 580705 w 1404934"/>
                  <a:gd name="connsiteY17" fmla="*/ 3620 h 1641864"/>
                  <a:gd name="connsiteX18" fmla="*/ 583039 w 1404934"/>
                  <a:gd name="connsiteY18" fmla="*/ 390 h 1641864"/>
                  <a:gd name="connsiteX19" fmla="*/ 633532 w 1404934"/>
                  <a:gd name="connsiteY19"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10413 w 1404934"/>
                  <a:gd name="connsiteY10" fmla="*/ 1629831 h 1641864"/>
                  <a:gd name="connsiteX11" fmla="*/ 745275 w 1404934"/>
                  <a:gd name="connsiteY11" fmla="*/ 1636691 h 1641864"/>
                  <a:gd name="connsiteX12" fmla="*/ 693045 w 1404934"/>
                  <a:gd name="connsiteY12" fmla="*/ 1641864 h 1641864"/>
                  <a:gd name="connsiteX13" fmla="*/ 327 w 1404934"/>
                  <a:gd name="connsiteY13" fmla="*/ 987094 h 1641864"/>
                  <a:gd name="connsiteX14" fmla="*/ 470498 w 1404934"/>
                  <a:gd name="connsiteY14" fmla="*/ 4261 h 1641864"/>
                  <a:gd name="connsiteX15" fmla="*/ 578637 w 1404934"/>
                  <a:gd name="connsiteY15" fmla="*/ 3616 h 1641864"/>
                  <a:gd name="connsiteX16" fmla="*/ 580705 w 1404934"/>
                  <a:gd name="connsiteY16" fmla="*/ 3620 h 1641864"/>
                  <a:gd name="connsiteX17" fmla="*/ 583039 w 1404934"/>
                  <a:gd name="connsiteY17" fmla="*/ 390 h 1641864"/>
                  <a:gd name="connsiteX18" fmla="*/ 633532 w 1404934"/>
                  <a:gd name="connsiteY18"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45275 w 1404934"/>
                  <a:gd name="connsiteY10" fmla="*/ 1636691 h 1641864"/>
                  <a:gd name="connsiteX11" fmla="*/ 693045 w 1404934"/>
                  <a:gd name="connsiteY11" fmla="*/ 1641864 h 1641864"/>
                  <a:gd name="connsiteX12" fmla="*/ 327 w 1404934"/>
                  <a:gd name="connsiteY12" fmla="*/ 987094 h 1641864"/>
                  <a:gd name="connsiteX13" fmla="*/ 470498 w 1404934"/>
                  <a:gd name="connsiteY13" fmla="*/ 4261 h 1641864"/>
                  <a:gd name="connsiteX14" fmla="*/ 578637 w 1404934"/>
                  <a:gd name="connsiteY14" fmla="*/ 3616 h 1641864"/>
                  <a:gd name="connsiteX15" fmla="*/ 580705 w 1404934"/>
                  <a:gd name="connsiteY15" fmla="*/ 3620 h 1641864"/>
                  <a:gd name="connsiteX16" fmla="*/ 583039 w 1404934"/>
                  <a:gd name="connsiteY16" fmla="*/ 390 h 1641864"/>
                  <a:gd name="connsiteX17" fmla="*/ 633532 w 1404934"/>
                  <a:gd name="connsiteY17" fmla="*/ 0 h 1641864"/>
                  <a:gd name="connsiteX0" fmla="*/ 633532 w 1404934"/>
                  <a:gd name="connsiteY0" fmla="*/ 0 h 1641864"/>
                  <a:gd name="connsiteX1" fmla="*/ 642264 w 1404934"/>
                  <a:gd name="connsiteY1" fmla="*/ 89 h 1641864"/>
                  <a:gd name="connsiteX2" fmla="*/ 859611 w 1404934"/>
                  <a:gd name="connsiteY2" fmla="*/ 4927 h 1641864"/>
                  <a:gd name="connsiteX3" fmla="*/ 869679 w 1404934"/>
                  <a:gd name="connsiteY3" fmla="*/ 4849 h 1641864"/>
                  <a:gd name="connsiteX4" fmla="*/ 888124 w 1404934"/>
                  <a:gd name="connsiteY4" fmla="*/ 5035 h 1641864"/>
                  <a:gd name="connsiteX5" fmla="*/ 920629 w 1404934"/>
                  <a:gd name="connsiteY5" fmla="*/ 5097 h 1641864"/>
                  <a:gd name="connsiteX6" fmla="*/ 1028230 w 1404934"/>
                  <a:gd name="connsiteY6" fmla="*/ 154932 h 1641864"/>
                  <a:gd name="connsiteX7" fmla="*/ 1403068 w 1404934"/>
                  <a:gd name="connsiteY7" fmla="*/ 1061042 h 1641864"/>
                  <a:gd name="connsiteX8" fmla="*/ 817301 w 1404934"/>
                  <a:gd name="connsiteY8" fmla="*/ 1625687 h 1641864"/>
                  <a:gd name="connsiteX9" fmla="*/ 745274 w 1404934"/>
                  <a:gd name="connsiteY9" fmla="*/ 1632820 h 1641864"/>
                  <a:gd name="connsiteX10" fmla="*/ 745275 w 1404934"/>
                  <a:gd name="connsiteY10" fmla="*/ 1636691 h 1641864"/>
                  <a:gd name="connsiteX11" fmla="*/ 693045 w 1404934"/>
                  <a:gd name="connsiteY11" fmla="*/ 1641864 h 1641864"/>
                  <a:gd name="connsiteX12" fmla="*/ 327 w 1404934"/>
                  <a:gd name="connsiteY12" fmla="*/ 987094 h 1641864"/>
                  <a:gd name="connsiteX13" fmla="*/ 470498 w 1404934"/>
                  <a:gd name="connsiteY13" fmla="*/ 4261 h 1641864"/>
                  <a:gd name="connsiteX14" fmla="*/ 578637 w 1404934"/>
                  <a:gd name="connsiteY14" fmla="*/ 3616 h 1641864"/>
                  <a:gd name="connsiteX15" fmla="*/ 580705 w 1404934"/>
                  <a:gd name="connsiteY15" fmla="*/ 3620 h 1641864"/>
                  <a:gd name="connsiteX16" fmla="*/ 633532 w 1404934"/>
                  <a:gd name="connsiteY16" fmla="*/ 0 h 1641864"/>
                  <a:gd name="connsiteX0" fmla="*/ 580705 w 1404934"/>
                  <a:gd name="connsiteY0" fmla="*/ 3531 h 1641775"/>
                  <a:gd name="connsiteX1" fmla="*/ 642264 w 1404934"/>
                  <a:gd name="connsiteY1" fmla="*/ 0 h 1641775"/>
                  <a:gd name="connsiteX2" fmla="*/ 859611 w 1404934"/>
                  <a:gd name="connsiteY2" fmla="*/ 4838 h 1641775"/>
                  <a:gd name="connsiteX3" fmla="*/ 869679 w 1404934"/>
                  <a:gd name="connsiteY3" fmla="*/ 4760 h 1641775"/>
                  <a:gd name="connsiteX4" fmla="*/ 888124 w 1404934"/>
                  <a:gd name="connsiteY4" fmla="*/ 4946 h 1641775"/>
                  <a:gd name="connsiteX5" fmla="*/ 920629 w 1404934"/>
                  <a:gd name="connsiteY5" fmla="*/ 5008 h 1641775"/>
                  <a:gd name="connsiteX6" fmla="*/ 1028230 w 1404934"/>
                  <a:gd name="connsiteY6" fmla="*/ 154843 h 1641775"/>
                  <a:gd name="connsiteX7" fmla="*/ 1403068 w 1404934"/>
                  <a:gd name="connsiteY7" fmla="*/ 1060953 h 1641775"/>
                  <a:gd name="connsiteX8" fmla="*/ 817301 w 1404934"/>
                  <a:gd name="connsiteY8" fmla="*/ 1625598 h 1641775"/>
                  <a:gd name="connsiteX9" fmla="*/ 745274 w 1404934"/>
                  <a:gd name="connsiteY9" fmla="*/ 1632731 h 1641775"/>
                  <a:gd name="connsiteX10" fmla="*/ 745275 w 1404934"/>
                  <a:gd name="connsiteY10" fmla="*/ 1636602 h 1641775"/>
                  <a:gd name="connsiteX11" fmla="*/ 693045 w 1404934"/>
                  <a:gd name="connsiteY11" fmla="*/ 1641775 h 1641775"/>
                  <a:gd name="connsiteX12" fmla="*/ 327 w 1404934"/>
                  <a:gd name="connsiteY12" fmla="*/ 987005 h 1641775"/>
                  <a:gd name="connsiteX13" fmla="*/ 470498 w 1404934"/>
                  <a:gd name="connsiteY13" fmla="*/ 4172 h 1641775"/>
                  <a:gd name="connsiteX14" fmla="*/ 578637 w 1404934"/>
                  <a:gd name="connsiteY14" fmla="*/ 3527 h 1641775"/>
                  <a:gd name="connsiteX15" fmla="*/ 580705 w 1404934"/>
                  <a:gd name="connsiteY15" fmla="*/ 3531 h 1641775"/>
                  <a:gd name="connsiteX0" fmla="*/ 580705 w 1404934"/>
                  <a:gd name="connsiteY0" fmla="*/ 4 h 1638248"/>
                  <a:gd name="connsiteX1" fmla="*/ 859611 w 1404934"/>
                  <a:gd name="connsiteY1" fmla="*/ 1311 h 1638248"/>
                  <a:gd name="connsiteX2" fmla="*/ 869679 w 1404934"/>
                  <a:gd name="connsiteY2" fmla="*/ 1233 h 1638248"/>
                  <a:gd name="connsiteX3" fmla="*/ 888124 w 1404934"/>
                  <a:gd name="connsiteY3" fmla="*/ 1419 h 1638248"/>
                  <a:gd name="connsiteX4" fmla="*/ 920629 w 1404934"/>
                  <a:gd name="connsiteY4" fmla="*/ 1481 h 1638248"/>
                  <a:gd name="connsiteX5" fmla="*/ 1028230 w 1404934"/>
                  <a:gd name="connsiteY5" fmla="*/ 151316 h 1638248"/>
                  <a:gd name="connsiteX6" fmla="*/ 1403068 w 1404934"/>
                  <a:gd name="connsiteY6" fmla="*/ 1057426 h 1638248"/>
                  <a:gd name="connsiteX7" fmla="*/ 817301 w 1404934"/>
                  <a:gd name="connsiteY7" fmla="*/ 1622071 h 1638248"/>
                  <a:gd name="connsiteX8" fmla="*/ 745274 w 1404934"/>
                  <a:gd name="connsiteY8" fmla="*/ 1629204 h 1638248"/>
                  <a:gd name="connsiteX9" fmla="*/ 745275 w 1404934"/>
                  <a:gd name="connsiteY9" fmla="*/ 1633075 h 1638248"/>
                  <a:gd name="connsiteX10" fmla="*/ 693045 w 1404934"/>
                  <a:gd name="connsiteY10" fmla="*/ 1638248 h 1638248"/>
                  <a:gd name="connsiteX11" fmla="*/ 327 w 1404934"/>
                  <a:gd name="connsiteY11" fmla="*/ 983478 h 1638248"/>
                  <a:gd name="connsiteX12" fmla="*/ 470498 w 1404934"/>
                  <a:gd name="connsiteY12" fmla="*/ 645 h 1638248"/>
                  <a:gd name="connsiteX13" fmla="*/ 578637 w 1404934"/>
                  <a:gd name="connsiteY13" fmla="*/ 0 h 1638248"/>
                  <a:gd name="connsiteX14" fmla="*/ 580705 w 1404934"/>
                  <a:gd name="connsiteY14" fmla="*/ 4 h 1638248"/>
                  <a:gd name="connsiteX0" fmla="*/ 578637 w 1404934"/>
                  <a:gd name="connsiteY0" fmla="*/ 0 h 1638248"/>
                  <a:gd name="connsiteX1" fmla="*/ 859611 w 1404934"/>
                  <a:gd name="connsiteY1" fmla="*/ 1311 h 1638248"/>
                  <a:gd name="connsiteX2" fmla="*/ 869679 w 1404934"/>
                  <a:gd name="connsiteY2" fmla="*/ 1233 h 1638248"/>
                  <a:gd name="connsiteX3" fmla="*/ 888124 w 1404934"/>
                  <a:gd name="connsiteY3" fmla="*/ 1419 h 1638248"/>
                  <a:gd name="connsiteX4" fmla="*/ 920629 w 1404934"/>
                  <a:gd name="connsiteY4" fmla="*/ 1481 h 1638248"/>
                  <a:gd name="connsiteX5" fmla="*/ 1028230 w 1404934"/>
                  <a:gd name="connsiteY5" fmla="*/ 151316 h 1638248"/>
                  <a:gd name="connsiteX6" fmla="*/ 1403068 w 1404934"/>
                  <a:gd name="connsiteY6" fmla="*/ 1057426 h 1638248"/>
                  <a:gd name="connsiteX7" fmla="*/ 817301 w 1404934"/>
                  <a:gd name="connsiteY7" fmla="*/ 1622071 h 1638248"/>
                  <a:gd name="connsiteX8" fmla="*/ 745274 w 1404934"/>
                  <a:gd name="connsiteY8" fmla="*/ 1629204 h 1638248"/>
                  <a:gd name="connsiteX9" fmla="*/ 745275 w 1404934"/>
                  <a:gd name="connsiteY9" fmla="*/ 1633075 h 1638248"/>
                  <a:gd name="connsiteX10" fmla="*/ 693045 w 1404934"/>
                  <a:gd name="connsiteY10" fmla="*/ 1638248 h 1638248"/>
                  <a:gd name="connsiteX11" fmla="*/ 327 w 1404934"/>
                  <a:gd name="connsiteY11" fmla="*/ 983478 h 1638248"/>
                  <a:gd name="connsiteX12" fmla="*/ 470498 w 1404934"/>
                  <a:gd name="connsiteY12" fmla="*/ 645 h 1638248"/>
                  <a:gd name="connsiteX13" fmla="*/ 578637 w 1404934"/>
                  <a:gd name="connsiteY13" fmla="*/ 0 h 1638248"/>
                  <a:gd name="connsiteX0" fmla="*/ 470498 w 1404934"/>
                  <a:gd name="connsiteY0" fmla="*/ 0 h 1637603"/>
                  <a:gd name="connsiteX1" fmla="*/ 859611 w 1404934"/>
                  <a:gd name="connsiteY1" fmla="*/ 666 h 1637603"/>
                  <a:gd name="connsiteX2" fmla="*/ 869679 w 1404934"/>
                  <a:gd name="connsiteY2" fmla="*/ 588 h 1637603"/>
                  <a:gd name="connsiteX3" fmla="*/ 888124 w 1404934"/>
                  <a:gd name="connsiteY3" fmla="*/ 774 h 1637603"/>
                  <a:gd name="connsiteX4" fmla="*/ 920629 w 1404934"/>
                  <a:gd name="connsiteY4" fmla="*/ 836 h 1637603"/>
                  <a:gd name="connsiteX5" fmla="*/ 1028230 w 1404934"/>
                  <a:gd name="connsiteY5" fmla="*/ 150671 h 1637603"/>
                  <a:gd name="connsiteX6" fmla="*/ 1403068 w 1404934"/>
                  <a:gd name="connsiteY6" fmla="*/ 1056781 h 1637603"/>
                  <a:gd name="connsiteX7" fmla="*/ 817301 w 1404934"/>
                  <a:gd name="connsiteY7" fmla="*/ 1621426 h 1637603"/>
                  <a:gd name="connsiteX8" fmla="*/ 745274 w 1404934"/>
                  <a:gd name="connsiteY8" fmla="*/ 1628559 h 1637603"/>
                  <a:gd name="connsiteX9" fmla="*/ 745275 w 1404934"/>
                  <a:gd name="connsiteY9" fmla="*/ 1632430 h 1637603"/>
                  <a:gd name="connsiteX10" fmla="*/ 693045 w 1404934"/>
                  <a:gd name="connsiteY10" fmla="*/ 1637603 h 1637603"/>
                  <a:gd name="connsiteX11" fmla="*/ 327 w 1404934"/>
                  <a:gd name="connsiteY11" fmla="*/ 982833 h 1637603"/>
                  <a:gd name="connsiteX12" fmla="*/ 470498 w 1404934"/>
                  <a:gd name="connsiteY12" fmla="*/ 0 h 1637603"/>
                  <a:gd name="connsiteX0" fmla="*/ 470498 w 1404934"/>
                  <a:gd name="connsiteY0" fmla="*/ 0 h 1637603"/>
                  <a:gd name="connsiteX1" fmla="*/ 859611 w 1404934"/>
                  <a:gd name="connsiteY1" fmla="*/ 666 h 1637603"/>
                  <a:gd name="connsiteX2" fmla="*/ 888124 w 1404934"/>
                  <a:gd name="connsiteY2" fmla="*/ 774 h 1637603"/>
                  <a:gd name="connsiteX3" fmla="*/ 920629 w 1404934"/>
                  <a:gd name="connsiteY3" fmla="*/ 836 h 1637603"/>
                  <a:gd name="connsiteX4" fmla="*/ 1028230 w 1404934"/>
                  <a:gd name="connsiteY4" fmla="*/ 150671 h 1637603"/>
                  <a:gd name="connsiteX5" fmla="*/ 1403068 w 1404934"/>
                  <a:gd name="connsiteY5" fmla="*/ 1056781 h 1637603"/>
                  <a:gd name="connsiteX6" fmla="*/ 817301 w 1404934"/>
                  <a:gd name="connsiteY6" fmla="*/ 1621426 h 1637603"/>
                  <a:gd name="connsiteX7" fmla="*/ 745274 w 1404934"/>
                  <a:gd name="connsiteY7" fmla="*/ 1628559 h 1637603"/>
                  <a:gd name="connsiteX8" fmla="*/ 745275 w 1404934"/>
                  <a:gd name="connsiteY8" fmla="*/ 1632430 h 1637603"/>
                  <a:gd name="connsiteX9" fmla="*/ 693045 w 1404934"/>
                  <a:gd name="connsiteY9" fmla="*/ 1637603 h 1637603"/>
                  <a:gd name="connsiteX10" fmla="*/ 327 w 1404934"/>
                  <a:gd name="connsiteY10" fmla="*/ 982833 h 1637603"/>
                  <a:gd name="connsiteX11" fmla="*/ 470498 w 1404934"/>
                  <a:gd name="connsiteY11" fmla="*/ 0 h 1637603"/>
                  <a:gd name="connsiteX0" fmla="*/ 470498 w 1404934"/>
                  <a:gd name="connsiteY0" fmla="*/ 0 h 1637603"/>
                  <a:gd name="connsiteX1" fmla="*/ 888124 w 1404934"/>
                  <a:gd name="connsiteY1" fmla="*/ 774 h 1637603"/>
                  <a:gd name="connsiteX2" fmla="*/ 920629 w 1404934"/>
                  <a:gd name="connsiteY2" fmla="*/ 836 h 1637603"/>
                  <a:gd name="connsiteX3" fmla="*/ 1028230 w 1404934"/>
                  <a:gd name="connsiteY3" fmla="*/ 150671 h 1637603"/>
                  <a:gd name="connsiteX4" fmla="*/ 1403068 w 1404934"/>
                  <a:gd name="connsiteY4" fmla="*/ 1056781 h 1637603"/>
                  <a:gd name="connsiteX5" fmla="*/ 817301 w 1404934"/>
                  <a:gd name="connsiteY5" fmla="*/ 1621426 h 1637603"/>
                  <a:gd name="connsiteX6" fmla="*/ 745274 w 1404934"/>
                  <a:gd name="connsiteY6" fmla="*/ 1628559 h 1637603"/>
                  <a:gd name="connsiteX7" fmla="*/ 745275 w 1404934"/>
                  <a:gd name="connsiteY7" fmla="*/ 1632430 h 1637603"/>
                  <a:gd name="connsiteX8" fmla="*/ 693045 w 1404934"/>
                  <a:gd name="connsiteY8" fmla="*/ 1637603 h 1637603"/>
                  <a:gd name="connsiteX9" fmla="*/ 327 w 1404934"/>
                  <a:gd name="connsiteY9" fmla="*/ 982833 h 1637603"/>
                  <a:gd name="connsiteX10" fmla="*/ 470498 w 1404934"/>
                  <a:gd name="connsiteY10" fmla="*/ 0 h 1637603"/>
                  <a:gd name="connsiteX0" fmla="*/ 470498 w 1404934"/>
                  <a:gd name="connsiteY0" fmla="*/ 0 h 1637603"/>
                  <a:gd name="connsiteX1" fmla="*/ 920629 w 1404934"/>
                  <a:gd name="connsiteY1" fmla="*/ 836 h 1637603"/>
                  <a:gd name="connsiteX2" fmla="*/ 1028230 w 1404934"/>
                  <a:gd name="connsiteY2" fmla="*/ 150671 h 1637603"/>
                  <a:gd name="connsiteX3" fmla="*/ 1403068 w 1404934"/>
                  <a:gd name="connsiteY3" fmla="*/ 1056781 h 1637603"/>
                  <a:gd name="connsiteX4" fmla="*/ 817301 w 1404934"/>
                  <a:gd name="connsiteY4" fmla="*/ 1621426 h 1637603"/>
                  <a:gd name="connsiteX5" fmla="*/ 745274 w 1404934"/>
                  <a:gd name="connsiteY5" fmla="*/ 1628559 h 1637603"/>
                  <a:gd name="connsiteX6" fmla="*/ 745275 w 1404934"/>
                  <a:gd name="connsiteY6" fmla="*/ 1632430 h 1637603"/>
                  <a:gd name="connsiteX7" fmla="*/ 693045 w 1404934"/>
                  <a:gd name="connsiteY7" fmla="*/ 1637603 h 1637603"/>
                  <a:gd name="connsiteX8" fmla="*/ 327 w 1404934"/>
                  <a:gd name="connsiteY8" fmla="*/ 982833 h 1637603"/>
                  <a:gd name="connsiteX9" fmla="*/ 470498 w 1404934"/>
                  <a:gd name="connsiteY9" fmla="*/ 0 h 1637603"/>
                  <a:gd name="connsiteX0" fmla="*/ 470498 w 1404934"/>
                  <a:gd name="connsiteY0" fmla="*/ 0 h 1683754"/>
                  <a:gd name="connsiteX1" fmla="*/ 920629 w 1404934"/>
                  <a:gd name="connsiteY1" fmla="*/ 836 h 1683754"/>
                  <a:gd name="connsiteX2" fmla="*/ 1028230 w 1404934"/>
                  <a:gd name="connsiteY2" fmla="*/ 150671 h 1683754"/>
                  <a:gd name="connsiteX3" fmla="*/ 1403068 w 1404934"/>
                  <a:gd name="connsiteY3" fmla="*/ 1056781 h 1683754"/>
                  <a:gd name="connsiteX4" fmla="*/ 817301 w 1404934"/>
                  <a:gd name="connsiteY4" fmla="*/ 1621426 h 1683754"/>
                  <a:gd name="connsiteX5" fmla="*/ 745274 w 1404934"/>
                  <a:gd name="connsiteY5" fmla="*/ 1628559 h 1683754"/>
                  <a:gd name="connsiteX6" fmla="*/ 693045 w 1404934"/>
                  <a:gd name="connsiteY6" fmla="*/ 1637603 h 1683754"/>
                  <a:gd name="connsiteX7" fmla="*/ 327 w 1404934"/>
                  <a:gd name="connsiteY7" fmla="*/ 982833 h 1683754"/>
                  <a:gd name="connsiteX8" fmla="*/ 470498 w 1404934"/>
                  <a:gd name="connsiteY8" fmla="*/ 0 h 1683754"/>
                  <a:gd name="connsiteX0" fmla="*/ 470498 w 1404934"/>
                  <a:gd name="connsiteY0" fmla="*/ 0 h 1637603"/>
                  <a:gd name="connsiteX1" fmla="*/ 920629 w 1404934"/>
                  <a:gd name="connsiteY1" fmla="*/ 836 h 1637603"/>
                  <a:gd name="connsiteX2" fmla="*/ 1028230 w 1404934"/>
                  <a:gd name="connsiteY2" fmla="*/ 150671 h 1637603"/>
                  <a:gd name="connsiteX3" fmla="*/ 1403068 w 1404934"/>
                  <a:gd name="connsiteY3" fmla="*/ 1056781 h 1637603"/>
                  <a:gd name="connsiteX4" fmla="*/ 817301 w 1404934"/>
                  <a:gd name="connsiteY4" fmla="*/ 1621426 h 1637603"/>
                  <a:gd name="connsiteX5" fmla="*/ 693045 w 1404934"/>
                  <a:gd name="connsiteY5" fmla="*/ 1637603 h 1637603"/>
                  <a:gd name="connsiteX6" fmla="*/ 327 w 1404934"/>
                  <a:gd name="connsiteY6" fmla="*/ 982833 h 1637603"/>
                  <a:gd name="connsiteX7" fmla="*/ 470498 w 1404934"/>
                  <a:gd name="connsiteY7" fmla="*/ 0 h 1637603"/>
                  <a:gd name="connsiteX0" fmla="*/ 470498 w 1412889"/>
                  <a:gd name="connsiteY0" fmla="*/ 0 h 1637923"/>
                  <a:gd name="connsiteX1" fmla="*/ 920629 w 1412889"/>
                  <a:gd name="connsiteY1" fmla="*/ 836 h 1637923"/>
                  <a:gd name="connsiteX2" fmla="*/ 1028230 w 1412889"/>
                  <a:gd name="connsiteY2" fmla="*/ 150671 h 1637923"/>
                  <a:gd name="connsiteX3" fmla="*/ 1403068 w 1412889"/>
                  <a:gd name="connsiteY3" fmla="*/ 1056781 h 1637923"/>
                  <a:gd name="connsiteX4" fmla="*/ 693045 w 1412889"/>
                  <a:gd name="connsiteY4" fmla="*/ 1637603 h 1637923"/>
                  <a:gd name="connsiteX5" fmla="*/ 327 w 1412889"/>
                  <a:gd name="connsiteY5" fmla="*/ 982833 h 1637923"/>
                  <a:gd name="connsiteX6" fmla="*/ 470498 w 1412889"/>
                  <a:gd name="connsiteY6" fmla="*/ 0 h 1637923"/>
                  <a:gd name="connsiteX0" fmla="*/ 470498 w 1412889"/>
                  <a:gd name="connsiteY0" fmla="*/ 0 h 1637603"/>
                  <a:gd name="connsiteX1" fmla="*/ 920629 w 1412889"/>
                  <a:gd name="connsiteY1" fmla="*/ 836 h 1637603"/>
                  <a:gd name="connsiteX2" fmla="*/ 1028230 w 1412889"/>
                  <a:gd name="connsiteY2" fmla="*/ 150671 h 1637603"/>
                  <a:gd name="connsiteX3" fmla="*/ 1403068 w 1412889"/>
                  <a:gd name="connsiteY3" fmla="*/ 1056781 h 1637603"/>
                  <a:gd name="connsiteX4" fmla="*/ 693045 w 1412889"/>
                  <a:gd name="connsiteY4" fmla="*/ 1637603 h 1637603"/>
                  <a:gd name="connsiteX5" fmla="*/ 327 w 1412889"/>
                  <a:gd name="connsiteY5" fmla="*/ 982833 h 1637603"/>
                  <a:gd name="connsiteX6" fmla="*/ 470498 w 1412889"/>
                  <a:gd name="connsiteY6" fmla="*/ 0 h 1637603"/>
                  <a:gd name="connsiteX0" fmla="*/ 470498 w 1412889"/>
                  <a:gd name="connsiteY0" fmla="*/ 0 h 1637603"/>
                  <a:gd name="connsiteX1" fmla="*/ 920629 w 1412889"/>
                  <a:gd name="connsiteY1" fmla="*/ 836 h 1637603"/>
                  <a:gd name="connsiteX2" fmla="*/ 1028230 w 1412889"/>
                  <a:gd name="connsiteY2" fmla="*/ 150671 h 1637603"/>
                  <a:gd name="connsiteX3" fmla="*/ 1403068 w 1412889"/>
                  <a:gd name="connsiteY3" fmla="*/ 1056781 h 1637603"/>
                  <a:gd name="connsiteX4" fmla="*/ 693045 w 1412889"/>
                  <a:gd name="connsiteY4" fmla="*/ 1637603 h 1637603"/>
                  <a:gd name="connsiteX5" fmla="*/ 327 w 1412889"/>
                  <a:gd name="connsiteY5" fmla="*/ 982833 h 1637603"/>
                  <a:gd name="connsiteX6" fmla="*/ 470498 w 1412889"/>
                  <a:gd name="connsiteY6" fmla="*/ 0 h 1637603"/>
                  <a:gd name="connsiteX0" fmla="*/ 470498 w 1408919"/>
                  <a:gd name="connsiteY0" fmla="*/ 0 h 1637603"/>
                  <a:gd name="connsiteX1" fmla="*/ 920629 w 1408919"/>
                  <a:gd name="connsiteY1" fmla="*/ 836 h 1637603"/>
                  <a:gd name="connsiteX2" fmla="*/ 1028230 w 1408919"/>
                  <a:gd name="connsiteY2" fmla="*/ 150671 h 1637603"/>
                  <a:gd name="connsiteX3" fmla="*/ 1403068 w 1408919"/>
                  <a:gd name="connsiteY3" fmla="*/ 1056781 h 1637603"/>
                  <a:gd name="connsiteX4" fmla="*/ 693045 w 1408919"/>
                  <a:gd name="connsiteY4" fmla="*/ 1637603 h 1637603"/>
                  <a:gd name="connsiteX5" fmla="*/ 327 w 1408919"/>
                  <a:gd name="connsiteY5" fmla="*/ 982833 h 1637603"/>
                  <a:gd name="connsiteX6" fmla="*/ 470498 w 1408919"/>
                  <a:gd name="connsiteY6" fmla="*/ 0 h 1637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8919" h="1637603">
                    <a:moveTo>
                      <a:pt x="470498" y="0"/>
                    </a:moveTo>
                    <a:lnTo>
                      <a:pt x="920629" y="836"/>
                    </a:lnTo>
                    <a:lnTo>
                      <a:pt x="1028230" y="150671"/>
                    </a:lnTo>
                    <a:cubicBezTo>
                      <a:pt x="1268780" y="492095"/>
                      <a:pt x="1443594" y="808959"/>
                      <a:pt x="1403068" y="1056781"/>
                    </a:cubicBezTo>
                    <a:cubicBezTo>
                      <a:pt x="1362542" y="1304603"/>
                      <a:pt x="1181447" y="1607687"/>
                      <a:pt x="693045" y="1637603"/>
                    </a:cubicBezTo>
                    <a:cubicBezTo>
                      <a:pt x="461599" y="1626977"/>
                      <a:pt x="25694" y="1544153"/>
                      <a:pt x="327" y="982833"/>
                    </a:cubicBezTo>
                    <a:cubicBezTo>
                      <a:pt x="-10973" y="548122"/>
                      <a:pt x="272795" y="288164"/>
                      <a:pt x="470498" y="0"/>
                    </a:cubicBezTo>
                    <a:close/>
                  </a:path>
                </a:pathLst>
              </a:cu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55" name="Freeform 54"/>
              <p:cNvSpPr/>
              <p:nvPr/>
            </p:nvSpPr>
            <p:spPr>
              <a:xfrm rot="17518257">
                <a:off x="1254293" y="5020430"/>
                <a:ext cx="1599546" cy="970286"/>
              </a:xfrm>
              <a:custGeom>
                <a:avLst/>
                <a:gdLst>
                  <a:gd name="connsiteX0" fmla="*/ 1617639 w 1617639"/>
                  <a:gd name="connsiteY0" fmla="*/ 103706 h 970286"/>
                  <a:gd name="connsiteX1" fmla="*/ 818462 w 1617639"/>
                  <a:gd name="connsiteY1" fmla="*/ 946838 h 970286"/>
                  <a:gd name="connsiteX2" fmla="*/ 17768 w 1617639"/>
                  <a:gd name="connsiteY2" fmla="*/ 504238 h 970286"/>
                  <a:gd name="connsiteX3" fmla="*/ 0 w 1617639"/>
                  <a:gd name="connsiteY3" fmla="*/ 446371 h 970286"/>
                  <a:gd name="connsiteX4" fmla="*/ 33562 w 1617639"/>
                  <a:gd name="connsiteY4" fmla="*/ 510498 h 970286"/>
                  <a:gd name="connsiteX5" fmla="*/ 776356 w 1617639"/>
                  <a:gd name="connsiteY5" fmla="*/ 842469 h 970286"/>
                  <a:gd name="connsiteX6" fmla="*/ 1476418 w 1617639"/>
                  <a:gd name="connsiteY6" fmla="*/ 155845 h 970286"/>
                  <a:gd name="connsiteX7" fmla="*/ 1575113 w 1617639"/>
                  <a:gd name="connsiteY7" fmla="*/ 0 h 970286"/>
                  <a:gd name="connsiteX8" fmla="*/ 1576582 w 1617639"/>
                  <a:gd name="connsiteY8" fmla="*/ 3662 h 970286"/>
                  <a:gd name="connsiteX9" fmla="*/ 1617639 w 1617639"/>
                  <a:gd name="connsiteY9" fmla="*/ 103706 h 97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7639" h="970286">
                    <a:moveTo>
                      <a:pt x="1617639" y="103706"/>
                    </a:moveTo>
                    <a:cubicBezTo>
                      <a:pt x="1347232" y="537049"/>
                      <a:pt x="1132028" y="845983"/>
                      <a:pt x="818462" y="946838"/>
                    </a:cubicBezTo>
                    <a:cubicBezTo>
                      <a:pt x="504896" y="1047693"/>
                      <a:pt x="144395" y="808907"/>
                      <a:pt x="17768" y="504238"/>
                    </a:cubicBezTo>
                    <a:lnTo>
                      <a:pt x="0" y="446371"/>
                    </a:lnTo>
                    <a:lnTo>
                      <a:pt x="33562" y="510498"/>
                    </a:lnTo>
                    <a:cubicBezTo>
                      <a:pt x="191681" y="758928"/>
                      <a:pt x="501986" y="930717"/>
                      <a:pt x="776356" y="842469"/>
                    </a:cubicBezTo>
                    <a:cubicBezTo>
                      <a:pt x="1050726" y="754221"/>
                      <a:pt x="1249788" y="506663"/>
                      <a:pt x="1476418" y="155845"/>
                    </a:cubicBezTo>
                    <a:lnTo>
                      <a:pt x="1575113" y="0"/>
                    </a:lnTo>
                    <a:lnTo>
                      <a:pt x="1576582" y="3662"/>
                    </a:lnTo>
                    <a:cubicBezTo>
                      <a:pt x="1587014" y="29435"/>
                      <a:pt x="1600374" y="62025"/>
                      <a:pt x="1617639" y="103706"/>
                    </a:cubicBezTo>
                    <a:close/>
                  </a:path>
                </a:pathLst>
              </a:custGeom>
              <a:pattFill prst="wdUpDiag">
                <a:fgClr>
                  <a:schemeClr val="accent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grpSp>
        <p:sp>
          <p:nvSpPr>
            <p:cNvPr id="48" name="Freeform 47"/>
            <p:cNvSpPr/>
            <p:nvPr/>
          </p:nvSpPr>
          <p:spPr>
            <a:xfrm>
              <a:off x="6307089" y="4067153"/>
              <a:ext cx="985099" cy="443126"/>
            </a:xfrm>
            <a:custGeom>
              <a:avLst/>
              <a:gdLst>
                <a:gd name="connsiteX0" fmla="*/ 0 w 813575"/>
                <a:gd name="connsiteY0" fmla="*/ 227668 h 359952"/>
                <a:gd name="connsiteX1" fmla="*/ 0 w 813575"/>
                <a:gd name="connsiteY1" fmla="*/ 227669 h 359952"/>
                <a:gd name="connsiteX2" fmla="*/ 0 w 813575"/>
                <a:gd name="connsiteY2" fmla="*/ 227669 h 359952"/>
                <a:gd name="connsiteX3" fmla="*/ 754470 w 813575"/>
                <a:gd name="connsiteY3" fmla="*/ 0 h 359952"/>
                <a:gd name="connsiteX4" fmla="*/ 813575 w 813575"/>
                <a:gd name="connsiteY4" fmla="*/ 63104 h 359952"/>
                <a:gd name="connsiteX5" fmla="*/ 677979 w 813575"/>
                <a:gd name="connsiteY5" fmla="*/ 134209 h 359952"/>
                <a:gd name="connsiteX6" fmla="*/ 451952 w 813575"/>
                <a:gd name="connsiteY6" fmla="*/ 192967 h 359952"/>
                <a:gd name="connsiteX7" fmla="*/ 447885 w 813575"/>
                <a:gd name="connsiteY7" fmla="*/ 194508 h 359952"/>
                <a:gd name="connsiteX8" fmla="*/ 454205 w 813575"/>
                <a:gd name="connsiteY8" fmla="*/ 194498 h 359952"/>
                <a:gd name="connsiteX9" fmla="*/ 577761 w 813575"/>
                <a:gd name="connsiteY9" fmla="*/ 201824 h 359952"/>
                <a:gd name="connsiteX10" fmla="*/ 793638 w 813575"/>
                <a:gd name="connsiteY10" fmla="*/ 273694 h 359952"/>
                <a:gd name="connsiteX11" fmla="*/ 794913 w 813575"/>
                <a:gd name="connsiteY11" fmla="*/ 359952 h 359952"/>
                <a:gd name="connsiteX12" fmla="*/ 647385 w 813575"/>
                <a:gd name="connsiteY12" fmla="*/ 324697 h 359952"/>
                <a:gd name="connsiteX13" fmla="*/ 441503 w 813575"/>
                <a:gd name="connsiteY13" fmla="*/ 220904 h 359952"/>
                <a:gd name="connsiteX14" fmla="*/ 434139 w 813575"/>
                <a:gd name="connsiteY14" fmla="*/ 218156 h 359952"/>
                <a:gd name="connsiteX15" fmla="*/ 438079 w 813575"/>
                <a:gd name="connsiteY15" fmla="*/ 227669 h 359952"/>
                <a:gd name="connsiteX16" fmla="*/ 438078 w 813575"/>
                <a:gd name="connsiteY16" fmla="*/ 227669 h 359952"/>
                <a:gd name="connsiteX17" fmla="*/ 393972 w 813575"/>
                <a:gd name="connsiteY17" fmla="*/ 271775 h 359952"/>
                <a:gd name="connsiteX18" fmla="*/ 44106 w 813575"/>
                <a:gd name="connsiteY18" fmla="*/ 271774 h 359952"/>
                <a:gd name="connsiteX19" fmla="*/ 12918 w 813575"/>
                <a:gd name="connsiteY19" fmla="*/ 258856 h 359952"/>
                <a:gd name="connsiteX20" fmla="*/ 0 w 813575"/>
                <a:gd name="connsiteY20" fmla="*/ 227669 h 359952"/>
                <a:gd name="connsiteX21" fmla="*/ 12918 w 813575"/>
                <a:gd name="connsiteY21" fmla="*/ 196482 h 359952"/>
                <a:gd name="connsiteX22" fmla="*/ 44106 w 813575"/>
                <a:gd name="connsiteY22" fmla="*/ 183563 h 359952"/>
                <a:gd name="connsiteX23" fmla="*/ 393973 w 813575"/>
                <a:gd name="connsiteY23" fmla="*/ 183563 h 359952"/>
                <a:gd name="connsiteX24" fmla="*/ 415151 w 813575"/>
                <a:gd name="connsiteY24" fmla="*/ 192335 h 359952"/>
                <a:gd name="connsiteX25" fmla="*/ 413741 w 813575"/>
                <a:gd name="connsiteY25" fmla="*/ 191225 h 359952"/>
                <a:gd name="connsiteX26" fmla="*/ 542382 w 813575"/>
                <a:gd name="connsiteY26" fmla="*/ 89012 h 359952"/>
                <a:gd name="connsiteX27" fmla="*/ 754470 w 813575"/>
                <a:gd name="connsiteY27"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447885 w 813575"/>
                <a:gd name="connsiteY8" fmla="*/ 194508 h 359952"/>
                <a:gd name="connsiteX9" fmla="*/ 454205 w 813575"/>
                <a:gd name="connsiteY9" fmla="*/ 194498 h 359952"/>
                <a:gd name="connsiteX10" fmla="*/ 577761 w 813575"/>
                <a:gd name="connsiteY10" fmla="*/ 201824 h 359952"/>
                <a:gd name="connsiteX11" fmla="*/ 793638 w 813575"/>
                <a:gd name="connsiteY11" fmla="*/ 273694 h 359952"/>
                <a:gd name="connsiteX12" fmla="*/ 794913 w 813575"/>
                <a:gd name="connsiteY12" fmla="*/ 359952 h 359952"/>
                <a:gd name="connsiteX13" fmla="*/ 647385 w 813575"/>
                <a:gd name="connsiteY13" fmla="*/ 324697 h 359952"/>
                <a:gd name="connsiteX14" fmla="*/ 441503 w 813575"/>
                <a:gd name="connsiteY14" fmla="*/ 220904 h 359952"/>
                <a:gd name="connsiteX15" fmla="*/ 434139 w 813575"/>
                <a:gd name="connsiteY15" fmla="*/ 218156 h 359952"/>
                <a:gd name="connsiteX16" fmla="*/ 438079 w 813575"/>
                <a:gd name="connsiteY16" fmla="*/ 227669 h 359952"/>
                <a:gd name="connsiteX17" fmla="*/ 438078 w 813575"/>
                <a:gd name="connsiteY17" fmla="*/ 227669 h 359952"/>
                <a:gd name="connsiteX18" fmla="*/ 393972 w 813575"/>
                <a:gd name="connsiteY18" fmla="*/ 271775 h 359952"/>
                <a:gd name="connsiteX19" fmla="*/ 44106 w 813575"/>
                <a:gd name="connsiteY19" fmla="*/ 271774 h 359952"/>
                <a:gd name="connsiteX20" fmla="*/ 12918 w 813575"/>
                <a:gd name="connsiteY20" fmla="*/ 258856 h 359952"/>
                <a:gd name="connsiteX21" fmla="*/ 0 w 813575"/>
                <a:gd name="connsiteY21" fmla="*/ 227669 h 359952"/>
                <a:gd name="connsiteX22" fmla="*/ 12918 w 813575"/>
                <a:gd name="connsiteY22" fmla="*/ 196482 h 359952"/>
                <a:gd name="connsiteX23" fmla="*/ 44106 w 813575"/>
                <a:gd name="connsiteY23" fmla="*/ 183563 h 359952"/>
                <a:gd name="connsiteX24" fmla="*/ 393973 w 813575"/>
                <a:gd name="connsiteY24" fmla="*/ 183563 h 359952"/>
                <a:gd name="connsiteX25" fmla="*/ 415151 w 813575"/>
                <a:gd name="connsiteY25" fmla="*/ 192335 h 359952"/>
                <a:gd name="connsiteX26" fmla="*/ 542382 w 813575"/>
                <a:gd name="connsiteY26" fmla="*/ 89012 h 359952"/>
                <a:gd name="connsiteX27" fmla="*/ 754470 w 813575"/>
                <a:gd name="connsiteY27"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447885 w 813575"/>
                <a:gd name="connsiteY8" fmla="*/ 194508 h 359952"/>
                <a:gd name="connsiteX9" fmla="*/ 454205 w 813575"/>
                <a:gd name="connsiteY9" fmla="*/ 194498 h 359952"/>
                <a:gd name="connsiteX10" fmla="*/ 577761 w 813575"/>
                <a:gd name="connsiteY10" fmla="*/ 201824 h 359952"/>
                <a:gd name="connsiteX11" fmla="*/ 793638 w 813575"/>
                <a:gd name="connsiteY11" fmla="*/ 273694 h 359952"/>
                <a:gd name="connsiteX12" fmla="*/ 794913 w 813575"/>
                <a:gd name="connsiteY12" fmla="*/ 359952 h 359952"/>
                <a:gd name="connsiteX13" fmla="*/ 647385 w 813575"/>
                <a:gd name="connsiteY13" fmla="*/ 324697 h 359952"/>
                <a:gd name="connsiteX14" fmla="*/ 441503 w 813575"/>
                <a:gd name="connsiteY14" fmla="*/ 220904 h 359952"/>
                <a:gd name="connsiteX15" fmla="*/ 434139 w 813575"/>
                <a:gd name="connsiteY15" fmla="*/ 218156 h 359952"/>
                <a:gd name="connsiteX16" fmla="*/ 438079 w 813575"/>
                <a:gd name="connsiteY16" fmla="*/ 227669 h 359952"/>
                <a:gd name="connsiteX17" fmla="*/ 438078 w 813575"/>
                <a:gd name="connsiteY17" fmla="*/ 227669 h 359952"/>
                <a:gd name="connsiteX18" fmla="*/ 393972 w 813575"/>
                <a:gd name="connsiteY18" fmla="*/ 271775 h 359952"/>
                <a:gd name="connsiteX19" fmla="*/ 44106 w 813575"/>
                <a:gd name="connsiteY19" fmla="*/ 271774 h 359952"/>
                <a:gd name="connsiteX20" fmla="*/ 12918 w 813575"/>
                <a:gd name="connsiteY20" fmla="*/ 258856 h 359952"/>
                <a:gd name="connsiteX21" fmla="*/ 0 w 813575"/>
                <a:gd name="connsiteY21" fmla="*/ 227669 h 359952"/>
                <a:gd name="connsiteX22" fmla="*/ 12918 w 813575"/>
                <a:gd name="connsiteY22" fmla="*/ 196482 h 359952"/>
                <a:gd name="connsiteX23" fmla="*/ 44106 w 813575"/>
                <a:gd name="connsiteY23" fmla="*/ 183563 h 359952"/>
                <a:gd name="connsiteX24" fmla="*/ 393973 w 813575"/>
                <a:gd name="connsiteY24" fmla="*/ 183563 h 359952"/>
                <a:gd name="connsiteX25" fmla="*/ 542382 w 813575"/>
                <a:gd name="connsiteY25" fmla="*/ 89012 h 359952"/>
                <a:gd name="connsiteX26" fmla="*/ 754470 w 813575"/>
                <a:gd name="connsiteY26"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447885 w 813575"/>
                <a:gd name="connsiteY8" fmla="*/ 194508 h 359952"/>
                <a:gd name="connsiteX9" fmla="*/ 577761 w 813575"/>
                <a:gd name="connsiteY9" fmla="*/ 201824 h 359952"/>
                <a:gd name="connsiteX10" fmla="*/ 793638 w 813575"/>
                <a:gd name="connsiteY10" fmla="*/ 273694 h 359952"/>
                <a:gd name="connsiteX11" fmla="*/ 794913 w 813575"/>
                <a:gd name="connsiteY11" fmla="*/ 359952 h 359952"/>
                <a:gd name="connsiteX12" fmla="*/ 647385 w 813575"/>
                <a:gd name="connsiteY12" fmla="*/ 324697 h 359952"/>
                <a:gd name="connsiteX13" fmla="*/ 441503 w 813575"/>
                <a:gd name="connsiteY13" fmla="*/ 220904 h 359952"/>
                <a:gd name="connsiteX14" fmla="*/ 434139 w 813575"/>
                <a:gd name="connsiteY14" fmla="*/ 218156 h 359952"/>
                <a:gd name="connsiteX15" fmla="*/ 438079 w 813575"/>
                <a:gd name="connsiteY15" fmla="*/ 227669 h 359952"/>
                <a:gd name="connsiteX16" fmla="*/ 438078 w 813575"/>
                <a:gd name="connsiteY16" fmla="*/ 227669 h 359952"/>
                <a:gd name="connsiteX17" fmla="*/ 393972 w 813575"/>
                <a:gd name="connsiteY17" fmla="*/ 271775 h 359952"/>
                <a:gd name="connsiteX18" fmla="*/ 44106 w 813575"/>
                <a:gd name="connsiteY18" fmla="*/ 271774 h 359952"/>
                <a:gd name="connsiteX19" fmla="*/ 12918 w 813575"/>
                <a:gd name="connsiteY19" fmla="*/ 258856 h 359952"/>
                <a:gd name="connsiteX20" fmla="*/ 0 w 813575"/>
                <a:gd name="connsiteY20" fmla="*/ 227669 h 359952"/>
                <a:gd name="connsiteX21" fmla="*/ 12918 w 813575"/>
                <a:gd name="connsiteY21" fmla="*/ 196482 h 359952"/>
                <a:gd name="connsiteX22" fmla="*/ 44106 w 813575"/>
                <a:gd name="connsiteY22" fmla="*/ 183563 h 359952"/>
                <a:gd name="connsiteX23" fmla="*/ 393973 w 813575"/>
                <a:gd name="connsiteY23" fmla="*/ 183563 h 359952"/>
                <a:gd name="connsiteX24" fmla="*/ 542382 w 813575"/>
                <a:gd name="connsiteY24" fmla="*/ 89012 h 359952"/>
                <a:gd name="connsiteX25" fmla="*/ 754470 w 813575"/>
                <a:gd name="connsiteY25" fmla="*/ 0 h 359952"/>
                <a:gd name="connsiteX0" fmla="*/ 0 w 813575"/>
                <a:gd name="connsiteY0" fmla="*/ 227668 h 359952"/>
                <a:gd name="connsiteX1" fmla="*/ 0 w 813575"/>
                <a:gd name="connsiteY1" fmla="*/ 227669 h 359952"/>
                <a:gd name="connsiteX2" fmla="*/ 0 w 813575"/>
                <a:gd name="connsiteY2" fmla="*/ 227669 h 359952"/>
                <a:gd name="connsiteX3" fmla="*/ 0 w 813575"/>
                <a:gd name="connsiteY3" fmla="*/ 227668 h 359952"/>
                <a:gd name="connsiteX4" fmla="*/ 754470 w 813575"/>
                <a:gd name="connsiteY4" fmla="*/ 0 h 359952"/>
                <a:gd name="connsiteX5" fmla="*/ 813575 w 813575"/>
                <a:gd name="connsiteY5" fmla="*/ 63104 h 359952"/>
                <a:gd name="connsiteX6" fmla="*/ 677979 w 813575"/>
                <a:gd name="connsiteY6" fmla="*/ 134209 h 359952"/>
                <a:gd name="connsiteX7" fmla="*/ 451952 w 813575"/>
                <a:gd name="connsiteY7" fmla="*/ 192967 h 359952"/>
                <a:gd name="connsiteX8" fmla="*/ 577761 w 813575"/>
                <a:gd name="connsiteY8" fmla="*/ 201824 h 359952"/>
                <a:gd name="connsiteX9" fmla="*/ 793638 w 813575"/>
                <a:gd name="connsiteY9" fmla="*/ 273694 h 359952"/>
                <a:gd name="connsiteX10" fmla="*/ 794913 w 813575"/>
                <a:gd name="connsiteY10" fmla="*/ 359952 h 359952"/>
                <a:gd name="connsiteX11" fmla="*/ 647385 w 813575"/>
                <a:gd name="connsiteY11" fmla="*/ 324697 h 359952"/>
                <a:gd name="connsiteX12" fmla="*/ 441503 w 813575"/>
                <a:gd name="connsiteY12" fmla="*/ 220904 h 359952"/>
                <a:gd name="connsiteX13" fmla="*/ 434139 w 813575"/>
                <a:gd name="connsiteY13" fmla="*/ 218156 h 359952"/>
                <a:gd name="connsiteX14" fmla="*/ 438079 w 813575"/>
                <a:gd name="connsiteY14" fmla="*/ 227669 h 359952"/>
                <a:gd name="connsiteX15" fmla="*/ 438078 w 813575"/>
                <a:gd name="connsiteY15" fmla="*/ 227669 h 359952"/>
                <a:gd name="connsiteX16" fmla="*/ 393972 w 813575"/>
                <a:gd name="connsiteY16" fmla="*/ 271775 h 359952"/>
                <a:gd name="connsiteX17" fmla="*/ 44106 w 813575"/>
                <a:gd name="connsiteY17" fmla="*/ 271774 h 359952"/>
                <a:gd name="connsiteX18" fmla="*/ 12918 w 813575"/>
                <a:gd name="connsiteY18" fmla="*/ 258856 h 359952"/>
                <a:gd name="connsiteX19" fmla="*/ 0 w 813575"/>
                <a:gd name="connsiteY19" fmla="*/ 227669 h 359952"/>
                <a:gd name="connsiteX20" fmla="*/ 12918 w 813575"/>
                <a:gd name="connsiteY20" fmla="*/ 196482 h 359952"/>
                <a:gd name="connsiteX21" fmla="*/ 44106 w 813575"/>
                <a:gd name="connsiteY21" fmla="*/ 183563 h 359952"/>
                <a:gd name="connsiteX22" fmla="*/ 393973 w 813575"/>
                <a:gd name="connsiteY22" fmla="*/ 183563 h 359952"/>
                <a:gd name="connsiteX23" fmla="*/ 542382 w 813575"/>
                <a:gd name="connsiteY23" fmla="*/ 89012 h 359952"/>
                <a:gd name="connsiteX24" fmla="*/ 754470 w 813575"/>
                <a:gd name="connsiteY24" fmla="*/ 0 h 35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13575" h="359952">
                  <a:moveTo>
                    <a:pt x="0" y="227668"/>
                  </a:moveTo>
                  <a:lnTo>
                    <a:pt x="0" y="227669"/>
                  </a:lnTo>
                  <a:lnTo>
                    <a:pt x="0" y="227669"/>
                  </a:lnTo>
                  <a:lnTo>
                    <a:pt x="0" y="227668"/>
                  </a:lnTo>
                  <a:close/>
                  <a:moveTo>
                    <a:pt x="754470" y="0"/>
                  </a:moveTo>
                  <a:lnTo>
                    <a:pt x="813575" y="63104"/>
                  </a:lnTo>
                  <a:cubicBezTo>
                    <a:pt x="768376" y="86806"/>
                    <a:pt x="754470" y="124415"/>
                    <a:pt x="677979" y="134209"/>
                  </a:cubicBezTo>
                  <a:cubicBezTo>
                    <a:pt x="477192" y="131723"/>
                    <a:pt x="497348" y="169166"/>
                    <a:pt x="451952" y="192967"/>
                  </a:cubicBezTo>
                  <a:lnTo>
                    <a:pt x="577761" y="201824"/>
                  </a:lnTo>
                  <a:cubicBezTo>
                    <a:pt x="666174" y="262297"/>
                    <a:pt x="707783" y="267086"/>
                    <a:pt x="793638" y="273694"/>
                  </a:cubicBezTo>
                  <a:lnTo>
                    <a:pt x="794913" y="359952"/>
                  </a:lnTo>
                  <a:cubicBezTo>
                    <a:pt x="745737" y="348200"/>
                    <a:pt x="710299" y="367425"/>
                    <a:pt x="647385" y="324697"/>
                  </a:cubicBezTo>
                  <a:cubicBezTo>
                    <a:pt x="501123" y="191298"/>
                    <a:pt x="490891" y="232710"/>
                    <a:pt x="441503" y="220904"/>
                  </a:cubicBezTo>
                  <a:lnTo>
                    <a:pt x="434139" y="218156"/>
                  </a:lnTo>
                  <a:lnTo>
                    <a:pt x="438079" y="227669"/>
                  </a:lnTo>
                  <a:lnTo>
                    <a:pt x="438078" y="227669"/>
                  </a:lnTo>
                  <a:cubicBezTo>
                    <a:pt x="438078" y="252028"/>
                    <a:pt x="418331" y="271775"/>
                    <a:pt x="393972" y="271775"/>
                  </a:cubicBezTo>
                  <a:lnTo>
                    <a:pt x="44106" y="271774"/>
                  </a:lnTo>
                  <a:cubicBezTo>
                    <a:pt x="31926" y="271774"/>
                    <a:pt x="20900" y="266837"/>
                    <a:pt x="12918" y="258856"/>
                  </a:cubicBezTo>
                  <a:lnTo>
                    <a:pt x="0" y="227669"/>
                  </a:lnTo>
                  <a:lnTo>
                    <a:pt x="12918" y="196482"/>
                  </a:lnTo>
                  <a:cubicBezTo>
                    <a:pt x="20900" y="188500"/>
                    <a:pt x="31926" y="183563"/>
                    <a:pt x="44106" y="183563"/>
                  </a:cubicBezTo>
                  <a:lnTo>
                    <a:pt x="393973" y="183563"/>
                  </a:lnTo>
                  <a:lnTo>
                    <a:pt x="542382" y="89012"/>
                  </a:lnTo>
                  <a:cubicBezTo>
                    <a:pt x="650164" y="75566"/>
                    <a:pt x="684933" y="51691"/>
                    <a:pt x="754470" y="0"/>
                  </a:cubicBezTo>
                  <a:close/>
                </a:path>
              </a:pathLst>
            </a:cu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49" name="Rectangle 3"/>
            <p:cNvSpPr/>
            <p:nvPr/>
          </p:nvSpPr>
          <p:spPr>
            <a:xfrm>
              <a:off x="6182227" y="3718859"/>
              <a:ext cx="762755" cy="536443"/>
            </a:xfrm>
            <a:custGeom>
              <a:avLst/>
              <a:gdLst>
                <a:gd name="connsiteX0" fmla="*/ 0 w 573057"/>
                <a:gd name="connsiteY0" fmla="*/ 0 h 313935"/>
                <a:gd name="connsiteX1" fmla="*/ 573057 w 573057"/>
                <a:gd name="connsiteY1" fmla="*/ 0 h 313935"/>
                <a:gd name="connsiteX2" fmla="*/ 573057 w 573057"/>
                <a:gd name="connsiteY2" fmla="*/ 313935 h 313935"/>
                <a:gd name="connsiteX3" fmla="*/ 0 w 573057"/>
                <a:gd name="connsiteY3" fmla="*/ 313935 h 313935"/>
                <a:gd name="connsiteX4" fmla="*/ 0 w 573057"/>
                <a:gd name="connsiteY4" fmla="*/ 0 h 313935"/>
                <a:gd name="connsiteX0" fmla="*/ 0 w 573057"/>
                <a:gd name="connsiteY0" fmla="*/ 0 h 316427"/>
                <a:gd name="connsiteX1" fmla="*/ 573057 w 573057"/>
                <a:gd name="connsiteY1" fmla="*/ 0 h 316427"/>
                <a:gd name="connsiteX2" fmla="*/ 573057 w 573057"/>
                <a:gd name="connsiteY2" fmla="*/ 313935 h 316427"/>
                <a:gd name="connsiteX3" fmla="*/ 171917 w 573057"/>
                <a:gd name="connsiteY3" fmla="*/ 316427 h 316427"/>
                <a:gd name="connsiteX4" fmla="*/ 0 w 573057"/>
                <a:gd name="connsiteY4" fmla="*/ 0 h 316427"/>
                <a:gd name="connsiteX0" fmla="*/ 0 w 573057"/>
                <a:gd name="connsiteY0" fmla="*/ 0 h 321410"/>
                <a:gd name="connsiteX1" fmla="*/ 573057 w 573057"/>
                <a:gd name="connsiteY1" fmla="*/ 0 h 321410"/>
                <a:gd name="connsiteX2" fmla="*/ 558108 w 573057"/>
                <a:gd name="connsiteY2" fmla="*/ 321410 h 321410"/>
                <a:gd name="connsiteX3" fmla="*/ 171917 w 573057"/>
                <a:gd name="connsiteY3" fmla="*/ 316427 h 321410"/>
                <a:gd name="connsiteX4" fmla="*/ 0 w 573057"/>
                <a:gd name="connsiteY4" fmla="*/ 0 h 321410"/>
                <a:gd name="connsiteX0" fmla="*/ 0 w 680194"/>
                <a:gd name="connsiteY0" fmla="*/ 9966 h 331376"/>
                <a:gd name="connsiteX1" fmla="*/ 680194 w 680194"/>
                <a:gd name="connsiteY1" fmla="*/ 0 h 331376"/>
                <a:gd name="connsiteX2" fmla="*/ 558108 w 680194"/>
                <a:gd name="connsiteY2" fmla="*/ 331376 h 331376"/>
                <a:gd name="connsiteX3" fmla="*/ 171917 w 680194"/>
                <a:gd name="connsiteY3" fmla="*/ 326393 h 331376"/>
                <a:gd name="connsiteX4" fmla="*/ 0 w 680194"/>
                <a:gd name="connsiteY4" fmla="*/ 9966 h 331376"/>
                <a:gd name="connsiteX0" fmla="*/ 0 w 680194"/>
                <a:gd name="connsiteY0" fmla="*/ 9966 h 331376"/>
                <a:gd name="connsiteX1" fmla="*/ 680194 w 680194"/>
                <a:gd name="connsiteY1" fmla="*/ 0 h 331376"/>
                <a:gd name="connsiteX2" fmla="*/ 558108 w 680194"/>
                <a:gd name="connsiteY2" fmla="*/ 331376 h 331376"/>
                <a:gd name="connsiteX3" fmla="*/ 171917 w 680194"/>
                <a:gd name="connsiteY3" fmla="*/ 326393 h 331376"/>
                <a:gd name="connsiteX4" fmla="*/ 0 w 680194"/>
                <a:gd name="connsiteY4" fmla="*/ 9966 h 331376"/>
                <a:gd name="connsiteX0" fmla="*/ 0 w 680194"/>
                <a:gd name="connsiteY0" fmla="*/ 9966 h 331376"/>
                <a:gd name="connsiteX1" fmla="*/ 498309 w 680194"/>
                <a:gd name="connsiteY1" fmla="*/ 2490 h 331376"/>
                <a:gd name="connsiteX2" fmla="*/ 680194 w 680194"/>
                <a:gd name="connsiteY2" fmla="*/ 0 h 331376"/>
                <a:gd name="connsiteX3" fmla="*/ 558108 w 680194"/>
                <a:gd name="connsiteY3" fmla="*/ 331376 h 331376"/>
                <a:gd name="connsiteX4" fmla="*/ 171917 w 680194"/>
                <a:gd name="connsiteY4" fmla="*/ 326393 h 331376"/>
                <a:gd name="connsiteX5" fmla="*/ 0 w 680194"/>
                <a:gd name="connsiteY5" fmla="*/ 9966 h 331376"/>
                <a:gd name="connsiteX0" fmla="*/ 0 w 680194"/>
                <a:gd name="connsiteY0" fmla="*/ 9966 h 331376"/>
                <a:gd name="connsiteX1" fmla="*/ 306460 w 680194"/>
                <a:gd name="connsiteY1" fmla="*/ 9965 h 331376"/>
                <a:gd name="connsiteX2" fmla="*/ 498309 w 680194"/>
                <a:gd name="connsiteY2" fmla="*/ 2490 h 331376"/>
                <a:gd name="connsiteX3" fmla="*/ 680194 w 680194"/>
                <a:gd name="connsiteY3" fmla="*/ 0 h 331376"/>
                <a:gd name="connsiteX4" fmla="*/ 558108 w 680194"/>
                <a:gd name="connsiteY4" fmla="*/ 331376 h 331376"/>
                <a:gd name="connsiteX5" fmla="*/ 171917 w 680194"/>
                <a:gd name="connsiteY5" fmla="*/ 326393 h 331376"/>
                <a:gd name="connsiteX6" fmla="*/ 0 w 680194"/>
                <a:gd name="connsiteY6" fmla="*/ 9966 h 331376"/>
                <a:gd name="connsiteX0" fmla="*/ 0 w 680194"/>
                <a:gd name="connsiteY0" fmla="*/ 134545 h 455955"/>
                <a:gd name="connsiteX1" fmla="*/ 470902 w 680194"/>
                <a:gd name="connsiteY1" fmla="*/ 0 h 455955"/>
                <a:gd name="connsiteX2" fmla="*/ 498309 w 680194"/>
                <a:gd name="connsiteY2" fmla="*/ 127069 h 455955"/>
                <a:gd name="connsiteX3" fmla="*/ 680194 w 680194"/>
                <a:gd name="connsiteY3" fmla="*/ 124579 h 455955"/>
                <a:gd name="connsiteX4" fmla="*/ 558108 w 680194"/>
                <a:gd name="connsiteY4" fmla="*/ 455955 h 455955"/>
                <a:gd name="connsiteX5" fmla="*/ 171917 w 680194"/>
                <a:gd name="connsiteY5" fmla="*/ 450972 h 455955"/>
                <a:gd name="connsiteX6" fmla="*/ 0 w 680194"/>
                <a:gd name="connsiteY6" fmla="*/ 134545 h 455955"/>
                <a:gd name="connsiteX0" fmla="*/ 0 w 680194"/>
                <a:gd name="connsiteY0" fmla="*/ 134545 h 455955"/>
                <a:gd name="connsiteX1" fmla="*/ 296493 w 680194"/>
                <a:gd name="connsiteY1" fmla="*/ 47340 h 455955"/>
                <a:gd name="connsiteX2" fmla="*/ 470902 w 680194"/>
                <a:gd name="connsiteY2" fmla="*/ 0 h 455955"/>
                <a:gd name="connsiteX3" fmla="*/ 498309 w 680194"/>
                <a:gd name="connsiteY3" fmla="*/ 127069 h 455955"/>
                <a:gd name="connsiteX4" fmla="*/ 680194 w 680194"/>
                <a:gd name="connsiteY4" fmla="*/ 124579 h 455955"/>
                <a:gd name="connsiteX5" fmla="*/ 558108 w 680194"/>
                <a:gd name="connsiteY5" fmla="*/ 455955 h 455955"/>
                <a:gd name="connsiteX6" fmla="*/ 171917 w 680194"/>
                <a:gd name="connsiteY6" fmla="*/ 450972 h 455955"/>
                <a:gd name="connsiteX7" fmla="*/ 0 w 680194"/>
                <a:gd name="connsiteY7" fmla="*/ 134545 h 455955"/>
                <a:gd name="connsiteX0" fmla="*/ 0 w 680194"/>
                <a:gd name="connsiteY0" fmla="*/ 134545 h 455955"/>
                <a:gd name="connsiteX1" fmla="*/ 281544 w 680194"/>
                <a:gd name="connsiteY1" fmla="*/ 79731 h 455955"/>
                <a:gd name="connsiteX2" fmla="*/ 470902 w 680194"/>
                <a:gd name="connsiteY2" fmla="*/ 0 h 455955"/>
                <a:gd name="connsiteX3" fmla="*/ 498309 w 680194"/>
                <a:gd name="connsiteY3" fmla="*/ 127069 h 455955"/>
                <a:gd name="connsiteX4" fmla="*/ 680194 w 680194"/>
                <a:gd name="connsiteY4" fmla="*/ 124579 h 455955"/>
                <a:gd name="connsiteX5" fmla="*/ 558108 w 680194"/>
                <a:gd name="connsiteY5" fmla="*/ 455955 h 455955"/>
                <a:gd name="connsiteX6" fmla="*/ 171917 w 680194"/>
                <a:gd name="connsiteY6" fmla="*/ 450972 h 455955"/>
                <a:gd name="connsiteX7" fmla="*/ 0 w 680194"/>
                <a:gd name="connsiteY7" fmla="*/ 134545 h 455955"/>
                <a:gd name="connsiteX0" fmla="*/ 0 w 680194"/>
                <a:gd name="connsiteY0" fmla="*/ 134545 h 455955"/>
                <a:gd name="connsiteX1" fmla="*/ 154475 w 680194"/>
                <a:gd name="connsiteY1" fmla="*/ 104646 h 455955"/>
                <a:gd name="connsiteX2" fmla="*/ 281544 w 680194"/>
                <a:gd name="connsiteY2" fmla="*/ 79731 h 455955"/>
                <a:gd name="connsiteX3" fmla="*/ 470902 w 680194"/>
                <a:gd name="connsiteY3" fmla="*/ 0 h 455955"/>
                <a:gd name="connsiteX4" fmla="*/ 498309 w 680194"/>
                <a:gd name="connsiteY4" fmla="*/ 127069 h 455955"/>
                <a:gd name="connsiteX5" fmla="*/ 680194 w 680194"/>
                <a:gd name="connsiteY5" fmla="*/ 124579 h 455955"/>
                <a:gd name="connsiteX6" fmla="*/ 558108 w 680194"/>
                <a:gd name="connsiteY6" fmla="*/ 455955 h 455955"/>
                <a:gd name="connsiteX7" fmla="*/ 171917 w 680194"/>
                <a:gd name="connsiteY7" fmla="*/ 450972 h 455955"/>
                <a:gd name="connsiteX8" fmla="*/ 0 w 680194"/>
                <a:gd name="connsiteY8" fmla="*/ 134545 h 455955"/>
                <a:gd name="connsiteX0" fmla="*/ 0 w 680194"/>
                <a:gd name="connsiteY0" fmla="*/ 134545 h 455955"/>
                <a:gd name="connsiteX1" fmla="*/ 149492 w 680194"/>
                <a:gd name="connsiteY1" fmla="*/ 49832 h 455955"/>
                <a:gd name="connsiteX2" fmla="*/ 281544 w 680194"/>
                <a:gd name="connsiteY2" fmla="*/ 79731 h 455955"/>
                <a:gd name="connsiteX3" fmla="*/ 470902 w 680194"/>
                <a:gd name="connsiteY3" fmla="*/ 0 h 455955"/>
                <a:gd name="connsiteX4" fmla="*/ 498309 w 680194"/>
                <a:gd name="connsiteY4" fmla="*/ 127069 h 455955"/>
                <a:gd name="connsiteX5" fmla="*/ 680194 w 680194"/>
                <a:gd name="connsiteY5" fmla="*/ 124579 h 455955"/>
                <a:gd name="connsiteX6" fmla="*/ 558108 w 680194"/>
                <a:gd name="connsiteY6" fmla="*/ 455955 h 455955"/>
                <a:gd name="connsiteX7" fmla="*/ 171917 w 680194"/>
                <a:gd name="connsiteY7" fmla="*/ 450972 h 455955"/>
                <a:gd name="connsiteX8" fmla="*/ 0 w 680194"/>
                <a:gd name="connsiteY8" fmla="*/ 134545 h 455955"/>
                <a:gd name="connsiteX0" fmla="*/ 0 w 662753"/>
                <a:gd name="connsiteY0" fmla="*/ 159460 h 455955"/>
                <a:gd name="connsiteX1" fmla="*/ 132051 w 662753"/>
                <a:gd name="connsiteY1" fmla="*/ 49832 h 455955"/>
                <a:gd name="connsiteX2" fmla="*/ 264103 w 662753"/>
                <a:gd name="connsiteY2" fmla="*/ 79731 h 455955"/>
                <a:gd name="connsiteX3" fmla="*/ 453461 w 662753"/>
                <a:gd name="connsiteY3" fmla="*/ 0 h 455955"/>
                <a:gd name="connsiteX4" fmla="*/ 480868 w 662753"/>
                <a:gd name="connsiteY4" fmla="*/ 127069 h 455955"/>
                <a:gd name="connsiteX5" fmla="*/ 662753 w 662753"/>
                <a:gd name="connsiteY5" fmla="*/ 124579 h 455955"/>
                <a:gd name="connsiteX6" fmla="*/ 540667 w 662753"/>
                <a:gd name="connsiteY6" fmla="*/ 455955 h 455955"/>
                <a:gd name="connsiteX7" fmla="*/ 154476 w 662753"/>
                <a:gd name="connsiteY7" fmla="*/ 450972 h 455955"/>
                <a:gd name="connsiteX8" fmla="*/ 0 w 662753"/>
                <a:gd name="connsiteY8" fmla="*/ 159460 h 455955"/>
                <a:gd name="connsiteX0" fmla="*/ 0 w 662753"/>
                <a:gd name="connsiteY0" fmla="*/ 161952 h 458447"/>
                <a:gd name="connsiteX1" fmla="*/ 132051 w 662753"/>
                <a:gd name="connsiteY1" fmla="*/ 52324 h 458447"/>
                <a:gd name="connsiteX2" fmla="*/ 264103 w 662753"/>
                <a:gd name="connsiteY2" fmla="*/ 82223 h 458447"/>
                <a:gd name="connsiteX3" fmla="*/ 448478 w 662753"/>
                <a:gd name="connsiteY3" fmla="*/ 0 h 458447"/>
                <a:gd name="connsiteX4" fmla="*/ 480868 w 662753"/>
                <a:gd name="connsiteY4" fmla="*/ 129561 h 458447"/>
                <a:gd name="connsiteX5" fmla="*/ 662753 w 662753"/>
                <a:gd name="connsiteY5" fmla="*/ 127071 h 458447"/>
                <a:gd name="connsiteX6" fmla="*/ 540667 w 662753"/>
                <a:gd name="connsiteY6" fmla="*/ 458447 h 458447"/>
                <a:gd name="connsiteX7" fmla="*/ 154476 w 662753"/>
                <a:gd name="connsiteY7" fmla="*/ 453464 h 458447"/>
                <a:gd name="connsiteX8" fmla="*/ 0 w 662753"/>
                <a:gd name="connsiteY8" fmla="*/ 161952 h 458447"/>
                <a:gd name="connsiteX0" fmla="*/ 0 w 662753"/>
                <a:gd name="connsiteY0" fmla="*/ 161952 h 458447"/>
                <a:gd name="connsiteX1" fmla="*/ 132051 w 662753"/>
                <a:gd name="connsiteY1" fmla="*/ 52324 h 458447"/>
                <a:gd name="connsiteX2" fmla="*/ 264103 w 662753"/>
                <a:gd name="connsiteY2" fmla="*/ 82223 h 458447"/>
                <a:gd name="connsiteX3" fmla="*/ 448478 w 662753"/>
                <a:gd name="connsiteY3" fmla="*/ 0 h 458447"/>
                <a:gd name="connsiteX4" fmla="*/ 473393 w 662753"/>
                <a:gd name="connsiteY4" fmla="*/ 132052 h 458447"/>
                <a:gd name="connsiteX5" fmla="*/ 662753 w 662753"/>
                <a:gd name="connsiteY5" fmla="*/ 127071 h 458447"/>
                <a:gd name="connsiteX6" fmla="*/ 540667 w 662753"/>
                <a:gd name="connsiteY6" fmla="*/ 458447 h 458447"/>
                <a:gd name="connsiteX7" fmla="*/ 154476 w 662753"/>
                <a:gd name="connsiteY7" fmla="*/ 453464 h 458447"/>
                <a:gd name="connsiteX8" fmla="*/ 0 w 662753"/>
                <a:gd name="connsiteY8" fmla="*/ 161952 h 458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753" h="458447">
                  <a:moveTo>
                    <a:pt x="0" y="161952"/>
                  </a:moveTo>
                  <a:lnTo>
                    <a:pt x="132051" y="52324"/>
                  </a:lnTo>
                  <a:lnTo>
                    <a:pt x="264103" y="82223"/>
                  </a:lnTo>
                  <a:lnTo>
                    <a:pt x="448478" y="0"/>
                  </a:lnTo>
                  <a:lnTo>
                    <a:pt x="473393" y="132052"/>
                  </a:lnTo>
                  <a:lnTo>
                    <a:pt x="662753" y="127071"/>
                  </a:lnTo>
                  <a:lnTo>
                    <a:pt x="540667" y="458447"/>
                  </a:lnTo>
                  <a:lnTo>
                    <a:pt x="154476" y="453464"/>
                  </a:lnTo>
                  <a:lnTo>
                    <a:pt x="0" y="161952"/>
                  </a:lnTo>
                  <a:close/>
                </a:path>
              </a:pathLst>
            </a:cu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50" name="Right Triangle 7"/>
            <p:cNvSpPr/>
            <p:nvPr/>
          </p:nvSpPr>
          <p:spPr>
            <a:xfrm flipH="1">
              <a:off x="6741541" y="3853771"/>
              <a:ext cx="193533" cy="384837"/>
            </a:xfrm>
            <a:custGeom>
              <a:avLst/>
              <a:gdLst>
                <a:gd name="connsiteX0" fmla="*/ 0 w 66004"/>
                <a:gd name="connsiteY0" fmla="*/ 276562 h 276562"/>
                <a:gd name="connsiteX1" fmla="*/ 0 w 66004"/>
                <a:gd name="connsiteY1" fmla="*/ 0 h 276562"/>
                <a:gd name="connsiteX2" fmla="*/ 66004 w 66004"/>
                <a:gd name="connsiteY2" fmla="*/ 276562 h 276562"/>
                <a:gd name="connsiteX3" fmla="*/ 0 w 66004"/>
                <a:gd name="connsiteY3" fmla="*/ 276562 h 276562"/>
                <a:gd name="connsiteX0" fmla="*/ 119595 w 185599"/>
                <a:gd name="connsiteY0" fmla="*/ 328884 h 328884"/>
                <a:gd name="connsiteX1" fmla="*/ 0 w 185599"/>
                <a:gd name="connsiteY1" fmla="*/ 0 h 328884"/>
                <a:gd name="connsiteX2" fmla="*/ 185599 w 185599"/>
                <a:gd name="connsiteY2" fmla="*/ 328884 h 328884"/>
                <a:gd name="connsiteX3" fmla="*/ 119595 w 18559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Lst>
              <a:ahLst/>
              <a:cxnLst>
                <a:cxn ang="0">
                  <a:pos x="connsiteX0" y="connsiteY0"/>
                </a:cxn>
                <a:cxn ang="0">
                  <a:pos x="connsiteX1" y="connsiteY1"/>
                </a:cxn>
                <a:cxn ang="0">
                  <a:pos x="connsiteX2" y="connsiteY2"/>
                </a:cxn>
                <a:cxn ang="0">
                  <a:pos x="connsiteX3" y="connsiteY3"/>
                </a:cxn>
              </a:cxnLst>
              <a:rect l="l" t="t" r="r" b="b"/>
              <a:pathLst>
                <a:path w="168159" h="328884">
                  <a:moveTo>
                    <a:pt x="119595" y="328884"/>
                  </a:moveTo>
                  <a:lnTo>
                    <a:pt x="0" y="0"/>
                  </a:lnTo>
                  <a:lnTo>
                    <a:pt x="168159" y="323900"/>
                  </a:lnTo>
                  <a:lnTo>
                    <a:pt x="119595" y="328884"/>
                  </a:lnTo>
                  <a:close/>
                </a:path>
              </a:pathLst>
            </a:custGeom>
            <a:pattFill prst="wdUpDiag">
              <a:fgClr>
                <a:schemeClr val="accent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51" name="Right Triangle 7"/>
            <p:cNvSpPr/>
            <p:nvPr/>
          </p:nvSpPr>
          <p:spPr>
            <a:xfrm rot="9064593" flipH="1">
              <a:off x="6550770" y="3773605"/>
              <a:ext cx="224772" cy="290920"/>
            </a:xfrm>
            <a:custGeom>
              <a:avLst/>
              <a:gdLst>
                <a:gd name="connsiteX0" fmla="*/ 0 w 66004"/>
                <a:gd name="connsiteY0" fmla="*/ 276562 h 276562"/>
                <a:gd name="connsiteX1" fmla="*/ 0 w 66004"/>
                <a:gd name="connsiteY1" fmla="*/ 0 h 276562"/>
                <a:gd name="connsiteX2" fmla="*/ 66004 w 66004"/>
                <a:gd name="connsiteY2" fmla="*/ 276562 h 276562"/>
                <a:gd name="connsiteX3" fmla="*/ 0 w 66004"/>
                <a:gd name="connsiteY3" fmla="*/ 276562 h 276562"/>
                <a:gd name="connsiteX0" fmla="*/ 119595 w 185599"/>
                <a:gd name="connsiteY0" fmla="*/ 328884 h 328884"/>
                <a:gd name="connsiteX1" fmla="*/ 0 w 185599"/>
                <a:gd name="connsiteY1" fmla="*/ 0 h 328884"/>
                <a:gd name="connsiteX2" fmla="*/ 185599 w 185599"/>
                <a:gd name="connsiteY2" fmla="*/ 328884 h 328884"/>
                <a:gd name="connsiteX3" fmla="*/ 119595 w 18559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0 w 48564"/>
                <a:gd name="connsiteY0" fmla="*/ 132097 h 132097"/>
                <a:gd name="connsiteX1" fmla="*/ 3375 w 48564"/>
                <a:gd name="connsiteY1" fmla="*/ 0 h 132097"/>
                <a:gd name="connsiteX2" fmla="*/ 48564 w 48564"/>
                <a:gd name="connsiteY2" fmla="*/ 127113 h 132097"/>
                <a:gd name="connsiteX3" fmla="*/ 0 w 48564"/>
                <a:gd name="connsiteY3" fmla="*/ 132097 h 132097"/>
                <a:gd name="connsiteX0" fmla="*/ 0 w 48564"/>
                <a:gd name="connsiteY0" fmla="*/ 132097 h 132097"/>
                <a:gd name="connsiteX1" fmla="*/ 2631 w 48564"/>
                <a:gd name="connsiteY1" fmla="*/ 66384 h 132097"/>
                <a:gd name="connsiteX2" fmla="*/ 3375 w 48564"/>
                <a:gd name="connsiteY2" fmla="*/ 0 h 132097"/>
                <a:gd name="connsiteX3" fmla="*/ 48564 w 48564"/>
                <a:gd name="connsiteY3" fmla="*/ 127113 h 132097"/>
                <a:gd name="connsiteX4" fmla="*/ 0 w 48564"/>
                <a:gd name="connsiteY4" fmla="*/ 132097 h 132097"/>
                <a:gd name="connsiteX0" fmla="*/ 146739 w 195303"/>
                <a:gd name="connsiteY0" fmla="*/ 253606 h 253606"/>
                <a:gd name="connsiteX1" fmla="*/ 0 w 195303"/>
                <a:gd name="connsiteY1" fmla="*/ 0 h 253606"/>
                <a:gd name="connsiteX2" fmla="*/ 150114 w 195303"/>
                <a:gd name="connsiteY2" fmla="*/ 121509 h 253606"/>
                <a:gd name="connsiteX3" fmla="*/ 195303 w 195303"/>
                <a:gd name="connsiteY3" fmla="*/ 248622 h 253606"/>
                <a:gd name="connsiteX4" fmla="*/ 146739 w 195303"/>
                <a:gd name="connsiteY4" fmla="*/ 253606 h 253606"/>
                <a:gd name="connsiteX0" fmla="*/ 195303 w 195303"/>
                <a:gd name="connsiteY0" fmla="*/ 248622 h 248622"/>
                <a:gd name="connsiteX1" fmla="*/ 0 w 195303"/>
                <a:gd name="connsiteY1" fmla="*/ 0 h 248622"/>
                <a:gd name="connsiteX2" fmla="*/ 150114 w 195303"/>
                <a:gd name="connsiteY2" fmla="*/ 121509 h 248622"/>
                <a:gd name="connsiteX3" fmla="*/ 195303 w 195303"/>
                <a:gd name="connsiteY3" fmla="*/ 248622 h 248622"/>
                <a:gd name="connsiteX0" fmla="*/ 195303 w 195303"/>
                <a:gd name="connsiteY0" fmla="*/ 248622 h 248622"/>
                <a:gd name="connsiteX1" fmla="*/ 0 w 195303"/>
                <a:gd name="connsiteY1" fmla="*/ 0 h 248622"/>
                <a:gd name="connsiteX2" fmla="*/ 152524 w 195303"/>
                <a:gd name="connsiteY2" fmla="*/ 125870 h 248622"/>
                <a:gd name="connsiteX3" fmla="*/ 195303 w 195303"/>
                <a:gd name="connsiteY3" fmla="*/ 248622 h 248622"/>
              </a:gdLst>
              <a:ahLst/>
              <a:cxnLst>
                <a:cxn ang="0">
                  <a:pos x="connsiteX0" y="connsiteY0"/>
                </a:cxn>
                <a:cxn ang="0">
                  <a:pos x="connsiteX1" y="connsiteY1"/>
                </a:cxn>
                <a:cxn ang="0">
                  <a:pos x="connsiteX2" y="connsiteY2"/>
                </a:cxn>
                <a:cxn ang="0">
                  <a:pos x="connsiteX3" y="connsiteY3"/>
                </a:cxn>
              </a:cxnLst>
              <a:rect l="l" t="t" r="r" b="b"/>
              <a:pathLst>
                <a:path w="195303" h="248622">
                  <a:moveTo>
                    <a:pt x="195303" y="248622"/>
                  </a:moveTo>
                  <a:lnTo>
                    <a:pt x="0" y="0"/>
                  </a:lnTo>
                  <a:lnTo>
                    <a:pt x="152524" y="125870"/>
                  </a:lnTo>
                  <a:lnTo>
                    <a:pt x="195303" y="248622"/>
                  </a:lnTo>
                  <a:close/>
                </a:path>
              </a:pathLst>
            </a:custGeom>
            <a:pattFill prst="wdUpDiag">
              <a:fgClr>
                <a:schemeClr val="accent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52" name="Right Triangle 7"/>
            <p:cNvSpPr/>
            <p:nvPr/>
          </p:nvSpPr>
          <p:spPr>
            <a:xfrm rot="9064593" flipH="1">
              <a:off x="6403363" y="3750557"/>
              <a:ext cx="115549" cy="300577"/>
            </a:xfrm>
            <a:custGeom>
              <a:avLst/>
              <a:gdLst>
                <a:gd name="connsiteX0" fmla="*/ 0 w 66004"/>
                <a:gd name="connsiteY0" fmla="*/ 276562 h 276562"/>
                <a:gd name="connsiteX1" fmla="*/ 0 w 66004"/>
                <a:gd name="connsiteY1" fmla="*/ 0 h 276562"/>
                <a:gd name="connsiteX2" fmla="*/ 66004 w 66004"/>
                <a:gd name="connsiteY2" fmla="*/ 276562 h 276562"/>
                <a:gd name="connsiteX3" fmla="*/ 0 w 66004"/>
                <a:gd name="connsiteY3" fmla="*/ 276562 h 276562"/>
                <a:gd name="connsiteX0" fmla="*/ 119595 w 185599"/>
                <a:gd name="connsiteY0" fmla="*/ 328884 h 328884"/>
                <a:gd name="connsiteX1" fmla="*/ 0 w 185599"/>
                <a:gd name="connsiteY1" fmla="*/ 0 h 328884"/>
                <a:gd name="connsiteX2" fmla="*/ 185599 w 185599"/>
                <a:gd name="connsiteY2" fmla="*/ 328884 h 328884"/>
                <a:gd name="connsiteX3" fmla="*/ 119595 w 18559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119595 w 168159"/>
                <a:gd name="connsiteY0" fmla="*/ 328884 h 328884"/>
                <a:gd name="connsiteX1" fmla="*/ 0 w 168159"/>
                <a:gd name="connsiteY1" fmla="*/ 0 h 328884"/>
                <a:gd name="connsiteX2" fmla="*/ 168159 w 168159"/>
                <a:gd name="connsiteY2" fmla="*/ 323900 h 328884"/>
                <a:gd name="connsiteX3" fmla="*/ 119595 w 168159"/>
                <a:gd name="connsiteY3" fmla="*/ 328884 h 328884"/>
                <a:gd name="connsiteX0" fmla="*/ 0 w 48564"/>
                <a:gd name="connsiteY0" fmla="*/ 132097 h 132097"/>
                <a:gd name="connsiteX1" fmla="*/ 3375 w 48564"/>
                <a:gd name="connsiteY1" fmla="*/ 0 h 132097"/>
                <a:gd name="connsiteX2" fmla="*/ 48564 w 48564"/>
                <a:gd name="connsiteY2" fmla="*/ 127113 h 132097"/>
                <a:gd name="connsiteX3" fmla="*/ 0 w 48564"/>
                <a:gd name="connsiteY3" fmla="*/ 132097 h 132097"/>
                <a:gd name="connsiteX0" fmla="*/ 0 w 48564"/>
                <a:gd name="connsiteY0" fmla="*/ 132097 h 132097"/>
                <a:gd name="connsiteX1" fmla="*/ 2631 w 48564"/>
                <a:gd name="connsiteY1" fmla="*/ 66384 h 132097"/>
                <a:gd name="connsiteX2" fmla="*/ 3375 w 48564"/>
                <a:gd name="connsiteY2" fmla="*/ 0 h 132097"/>
                <a:gd name="connsiteX3" fmla="*/ 48564 w 48564"/>
                <a:gd name="connsiteY3" fmla="*/ 127113 h 132097"/>
                <a:gd name="connsiteX4" fmla="*/ 0 w 48564"/>
                <a:gd name="connsiteY4" fmla="*/ 132097 h 132097"/>
                <a:gd name="connsiteX0" fmla="*/ 146739 w 195303"/>
                <a:gd name="connsiteY0" fmla="*/ 253606 h 253606"/>
                <a:gd name="connsiteX1" fmla="*/ 0 w 195303"/>
                <a:gd name="connsiteY1" fmla="*/ 0 h 253606"/>
                <a:gd name="connsiteX2" fmla="*/ 150114 w 195303"/>
                <a:gd name="connsiteY2" fmla="*/ 121509 h 253606"/>
                <a:gd name="connsiteX3" fmla="*/ 195303 w 195303"/>
                <a:gd name="connsiteY3" fmla="*/ 248622 h 253606"/>
                <a:gd name="connsiteX4" fmla="*/ 146739 w 195303"/>
                <a:gd name="connsiteY4" fmla="*/ 253606 h 253606"/>
                <a:gd name="connsiteX0" fmla="*/ 195303 w 195303"/>
                <a:gd name="connsiteY0" fmla="*/ 248622 h 248622"/>
                <a:gd name="connsiteX1" fmla="*/ 0 w 195303"/>
                <a:gd name="connsiteY1" fmla="*/ 0 h 248622"/>
                <a:gd name="connsiteX2" fmla="*/ 150114 w 195303"/>
                <a:gd name="connsiteY2" fmla="*/ 121509 h 248622"/>
                <a:gd name="connsiteX3" fmla="*/ 195303 w 195303"/>
                <a:gd name="connsiteY3" fmla="*/ 248622 h 248622"/>
                <a:gd name="connsiteX0" fmla="*/ 140496 w 140496"/>
                <a:gd name="connsiteY0" fmla="*/ 298833 h 298833"/>
                <a:gd name="connsiteX1" fmla="*/ 0 w 140496"/>
                <a:gd name="connsiteY1" fmla="*/ 0 h 298833"/>
                <a:gd name="connsiteX2" fmla="*/ 95307 w 140496"/>
                <a:gd name="connsiteY2" fmla="*/ 171720 h 298833"/>
                <a:gd name="connsiteX3" fmla="*/ 140496 w 140496"/>
                <a:gd name="connsiteY3" fmla="*/ 298833 h 298833"/>
                <a:gd name="connsiteX0" fmla="*/ 0 w 100400"/>
                <a:gd name="connsiteY0" fmla="*/ 256875 h 256875"/>
                <a:gd name="connsiteX1" fmla="*/ 5093 w 100400"/>
                <a:gd name="connsiteY1" fmla="*/ 0 h 256875"/>
                <a:gd name="connsiteX2" fmla="*/ 100400 w 100400"/>
                <a:gd name="connsiteY2" fmla="*/ 171720 h 256875"/>
                <a:gd name="connsiteX3" fmla="*/ 0 w 100400"/>
                <a:gd name="connsiteY3" fmla="*/ 256875 h 256875"/>
              </a:gdLst>
              <a:ahLst/>
              <a:cxnLst>
                <a:cxn ang="0">
                  <a:pos x="connsiteX0" y="connsiteY0"/>
                </a:cxn>
                <a:cxn ang="0">
                  <a:pos x="connsiteX1" y="connsiteY1"/>
                </a:cxn>
                <a:cxn ang="0">
                  <a:pos x="connsiteX2" y="connsiteY2"/>
                </a:cxn>
                <a:cxn ang="0">
                  <a:pos x="connsiteX3" y="connsiteY3"/>
                </a:cxn>
              </a:cxnLst>
              <a:rect l="l" t="t" r="r" b="b"/>
              <a:pathLst>
                <a:path w="100400" h="256875">
                  <a:moveTo>
                    <a:pt x="0" y="256875"/>
                  </a:moveTo>
                  <a:lnTo>
                    <a:pt x="5093" y="0"/>
                  </a:lnTo>
                  <a:lnTo>
                    <a:pt x="100400" y="171720"/>
                  </a:lnTo>
                  <a:lnTo>
                    <a:pt x="0" y="256875"/>
                  </a:lnTo>
                  <a:close/>
                </a:path>
              </a:pathLst>
            </a:custGeom>
            <a:pattFill prst="wdUpDiag">
              <a:fgClr>
                <a:schemeClr val="accent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latin typeface="RBC Text" panose="02000000000000000000" pitchFamily="2" charset="77"/>
              </a:endParaRPr>
            </a:p>
          </p:txBody>
        </p:sp>
        <p:sp>
          <p:nvSpPr>
            <p:cNvPr id="53" name="Text Placeholder 33"/>
            <p:cNvSpPr txBox="1">
              <a:spLocks/>
            </p:cNvSpPr>
            <p:nvPr/>
          </p:nvSpPr>
          <p:spPr>
            <a:xfrm>
              <a:off x="6184241" y="5093743"/>
              <a:ext cx="719116" cy="60909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AU" sz="5400" dirty="0">
                  <a:solidFill>
                    <a:schemeClr val="accent1"/>
                  </a:solidFill>
                  <a:latin typeface="RBC Display" panose="02000000000000000000" pitchFamily="2" charset="77"/>
                  <a:ea typeface="Adobe Heiti Std R" panose="020B0400000000000000" pitchFamily="34" charset="-128"/>
                </a:rPr>
                <a:t>$</a:t>
              </a:r>
            </a:p>
          </p:txBody>
        </p:sp>
      </p:grpSp>
      <p:grpSp>
        <p:nvGrpSpPr>
          <p:cNvPr id="82" name="Group 81"/>
          <p:cNvGrpSpPr/>
          <p:nvPr/>
        </p:nvGrpSpPr>
        <p:grpSpPr>
          <a:xfrm>
            <a:off x="8403493" y="-272731"/>
            <a:ext cx="3940600" cy="3348462"/>
            <a:chOff x="2536378" y="1175466"/>
            <a:chExt cx="3940600" cy="3348462"/>
          </a:xfrm>
        </p:grpSpPr>
        <p:sp>
          <p:nvSpPr>
            <p:cNvPr id="80" name="Freeform 79"/>
            <p:cNvSpPr>
              <a:spLocks/>
            </p:cNvSpPr>
            <p:nvPr/>
          </p:nvSpPr>
          <p:spPr bwMode="auto">
            <a:xfrm>
              <a:off x="2536378" y="1787382"/>
              <a:ext cx="3571666" cy="2736546"/>
            </a:xfrm>
            <a:custGeom>
              <a:avLst/>
              <a:gdLst>
                <a:gd name="connsiteX0" fmla="*/ 3261426 w 3571666"/>
                <a:gd name="connsiteY0" fmla="*/ 0 h 2736546"/>
                <a:gd name="connsiteX1" fmla="*/ 3571666 w 3571666"/>
                <a:gd name="connsiteY1" fmla="*/ 287025 h 2736546"/>
                <a:gd name="connsiteX2" fmla="*/ 2608736 w 3571666"/>
                <a:gd name="connsiteY2" fmla="*/ 1329583 h 2736546"/>
                <a:gd name="connsiteX3" fmla="*/ 2608551 w 3571666"/>
                <a:gd name="connsiteY3" fmla="*/ 1330967 h 2736546"/>
                <a:gd name="connsiteX4" fmla="*/ 2600110 w 3571666"/>
                <a:gd name="connsiteY4" fmla="*/ 1364735 h 2736546"/>
                <a:gd name="connsiteX5" fmla="*/ 2591668 w 3571666"/>
                <a:gd name="connsiteY5" fmla="*/ 1400613 h 2736546"/>
                <a:gd name="connsiteX6" fmla="*/ 2581115 w 3571666"/>
                <a:gd name="connsiteY6" fmla="*/ 1438601 h 2736546"/>
                <a:gd name="connsiteX7" fmla="*/ 2570563 w 3571666"/>
                <a:gd name="connsiteY7" fmla="*/ 1478700 h 2736546"/>
                <a:gd name="connsiteX8" fmla="*/ 2555789 w 3571666"/>
                <a:gd name="connsiteY8" fmla="*/ 1518800 h 2736546"/>
                <a:gd name="connsiteX9" fmla="*/ 2538906 w 3571666"/>
                <a:gd name="connsiteY9" fmla="*/ 1558899 h 2736546"/>
                <a:gd name="connsiteX10" fmla="*/ 2522022 w 3571666"/>
                <a:gd name="connsiteY10" fmla="*/ 1601108 h 2736546"/>
                <a:gd name="connsiteX11" fmla="*/ 2503028 w 3571666"/>
                <a:gd name="connsiteY11" fmla="*/ 1641207 h 2736546"/>
                <a:gd name="connsiteX12" fmla="*/ 2481923 w 3571666"/>
                <a:gd name="connsiteY12" fmla="*/ 1681306 h 2736546"/>
                <a:gd name="connsiteX13" fmla="*/ 2460818 w 3571666"/>
                <a:gd name="connsiteY13" fmla="*/ 1721406 h 2736546"/>
                <a:gd name="connsiteX14" fmla="*/ 2437603 w 3571666"/>
                <a:gd name="connsiteY14" fmla="*/ 1759394 h 2736546"/>
                <a:gd name="connsiteX15" fmla="*/ 2412277 w 3571666"/>
                <a:gd name="connsiteY15" fmla="*/ 1795272 h 2736546"/>
                <a:gd name="connsiteX16" fmla="*/ 2386951 w 3571666"/>
                <a:gd name="connsiteY16" fmla="*/ 1829040 h 2736546"/>
                <a:gd name="connsiteX17" fmla="*/ 2359515 w 3571666"/>
                <a:gd name="connsiteY17" fmla="*/ 1860697 h 2736546"/>
                <a:gd name="connsiteX18" fmla="*/ 1838227 w 3571666"/>
                <a:gd name="connsiteY18" fmla="*/ 2430527 h 2736546"/>
                <a:gd name="connsiteX19" fmla="*/ 1827675 w 3571666"/>
                <a:gd name="connsiteY19" fmla="*/ 2443190 h 2736546"/>
                <a:gd name="connsiteX20" fmla="*/ 1815012 w 3571666"/>
                <a:gd name="connsiteY20" fmla="*/ 2451631 h 2736546"/>
                <a:gd name="connsiteX21" fmla="*/ 1791796 w 3571666"/>
                <a:gd name="connsiteY21" fmla="*/ 2468515 h 2736546"/>
                <a:gd name="connsiteX22" fmla="*/ 1766471 w 3571666"/>
                <a:gd name="connsiteY22" fmla="*/ 2481178 h 2736546"/>
                <a:gd name="connsiteX23" fmla="*/ 1739034 w 3571666"/>
                <a:gd name="connsiteY23" fmla="*/ 2487510 h 2736546"/>
                <a:gd name="connsiteX24" fmla="*/ 1711598 w 3571666"/>
                <a:gd name="connsiteY24" fmla="*/ 2491731 h 2736546"/>
                <a:gd name="connsiteX25" fmla="*/ 1686272 w 3571666"/>
                <a:gd name="connsiteY25" fmla="*/ 2489620 h 2736546"/>
                <a:gd name="connsiteX26" fmla="*/ 1658836 w 3571666"/>
                <a:gd name="connsiteY26" fmla="*/ 2485399 h 2736546"/>
                <a:gd name="connsiteX27" fmla="*/ 1633511 w 3571666"/>
                <a:gd name="connsiteY27" fmla="*/ 2479068 h 2736546"/>
                <a:gd name="connsiteX28" fmla="*/ 1610295 w 3571666"/>
                <a:gd name="connsiteY28" fmla="*/ 2468515 h 2736546"/>
                <a:gd name="connsiteX29" fmla="*/ 1587080 w 3571666"/>
                <a:gd name="connsiteY29" fmla="*/ 2453742 h 2736546"/>
                <a:gd name="connsiteX30" fmla="*/ 1568086 w 3571666"/>
                <a:gd name="connsiteY30" fmla="*/ 2436858 h 2736546"/>
                <a:gd name="connsiteX31" fmla="*/ 1551202 w 3571666"/>
                <a:gd name="connsiteY31" fmla="*/ 2417864 h 2736546"/>
                <a:gd name="connsiteX32" fmla="*/ 1538539 w 3571666"/>
                <a:gd name="connsiteY32" fmla="*/ 2396759 h 2736546"/>
                <a:gd name="connsiteX33" fmla="*/ 1530097 w 3571666"/>
                <a:gd name="connsiteY33" fmla="*/ 2373544 h 2736546"/>
                <a:gd name="connsiteX34" fmla="*/ 1525876 w 3571666"/>
                <a:gd name="connsiteY34" fmla="*/ 2348218 h 2736546"/>
                <a:gd name="connsiteX35" fmla="*/ 1525876 w 3571666"/>
                <a:gd name="connsiteY35" fmla="*/ 2335555 h 2736546"/>
                <a:gd name="connsiteX36" fmla="*/ 1525876 w 3571666"/>
                <a:gd name="connsiteY36" fmla="*/ 2320782 h 2736546"/>
                <a:gd name="connsiteX37" fmla="*/ 1500550 w 3571666"/>
                <a:gd name="connsiteY37" fmla="*/ 2333445 h 2736546"/>
                <a:gd name="connsiteX38" fmla="*/ 1473114 w 3571666"/>
                <a:gd name="connsiteY38" fmla="*/ 2341887 h 2736546"/>
                <a:gd name="connsiteX39" fmla="*/ 1447788 w 3571666"/>
                <a:gd name="connsiteY39" fmla="*/ 2346108 h 2736546"/>
                <a:gd name="connsiteX40" fmla="*/ 1420352 w 3571666"/>
                <a:gd name="connsiteY40" fmla="*/ 2346108 h 2736546"/>
                <a:gd name="connsiteX41" fmla="*/ 1392916 w 3571666"/>
                <a:gd name="connsiteY41" fmla="*/ 2343997 h 2736546"/>
                <a:gd name="connsiteX42" fmla="*/ 1367590 w 3571666"/>
                <a:gd name="connsiteY42" fmla="*/ 2337666 h 2736546"/>
                <a:gd name="connsiteX43" fmla="*/ 1342264 w 3571666"/>
                <a:gd name="connsiteY43" fmla="*/ 2329224 h 2736546"/>
                <a:gd name="connsiteX44" fmla="*/ 1319049 w 3571666"/>
                <a:gd name="connsiteY44" fmla="*/ 2316561 h 2736546"/>
                <a:gd name="connsiteX45" fmla="*/ 1297944 w 3571666"/>
                <a:gd name="connsiteY45" fmla="*/ 2301787 h 2736546"/>
                <a:gd name="connsiteX46" fmla="*/ 1281061 w 3571666"/>
                <a:gd name="connsiteY46" fmla="*/ 2284904 h 2736546"/>
                <a:gd name="connsiteX47" fmla="*/ 1264177 w 3571666"/>
                <a:gd name="connsiteY47" fmla="*/ 2263799 h 2736546"/>
                <a:gd name="connsiteX48" fmla="*/ 1251514 w 3571666"/>
                <a:gd name="connsiteY48" fmla="*/ 2242694 h 2736546"/>
                <a:gd name="connsiteX49" fmla="*/ 1243072 w 3571666"/>
                <a:gd name="connsiteY49" fmla="*/ 2219479 h 2736546"/>
                <a:gd name="connsiteX50" fmla="*/ 1238851 w 3571666"/>
                <a:gd name="connsiteY50" fmla="*/ 2194153 h 2736546"/>
                <a:gd name="connsiteX51" fmla="*/ 1238851 w 3571666"/>
                <a:gd name="connsiteY51" fmla="*/ 2166717 h 2736546"/>
                <a:gd name="connsiteX52" fmla="*/ 1245182 w 3571666"/>
                <a:gd name="connsiteY52" fmla="*/ 2139281 h 2736546"/>
                <a:gd name="connsiteX53" fmla="*/ 1219857 w 3571666"/>
                <a:gd name="connsiteY53" fmla="*/ 2156164 h 2736546"/>
                <a:gd name="connsiteX54" fmla="*/ 1194531 w 3571666"/>
                <a:gd name="connsiteY54" fmla="*/ 2170938 h 2736546"/>
                <a:gd name="connsiteX55" fmla="*/ 1167095 w 3571666"/>
                <a:gd name="connsiteY55" fmla="*/ 2179380 h 2736546"/>
                <a:gd name="connsiteX56" fmla="*/ 1139659 w 3571666"/>
                <a:gd name="connsiteY56" fmla="*/ 2183601 h 2736546"/>
                <a:gd name="connsiteX57" fmla="*/ 1112222 w 3571666"/>
                <a:gd name="connsiteY57" fmla="*/ 2185711 h 2736546"/>
                <a:gd name="connsiteX58" fmla="*/ 1084786 w 3571666"/>
                <a:gd name="connsiteY58" fmla="*/ 2181490 h 2736546"/>
                <a:gd name="connsiteX59" fmla="*/ 1059460 w 3571666"/>
                <a:gd name="connsiteY59" fmla="*/ 2177269 h 2736546"/>
                <a:gd name="connsiteX60" fmla="*/ 1034135 w 3571666"/>
                <a:gd name="connsiteY60" fmla="*/ 2166717 h 2736546"/>
                <a:gd name="connsiteX61" fmla="*/ 1008809 w 3571666"/>
                <a:gd name="connsiteY61" fmla="*/ 2154054 h 2736546"/>
                <a:gd name="connsiteX62" fmla="*/ 987704 w 3571666"/>
                <a:gd name="connsiteY62" fmla="*/ 2139281 h 2736546"/>
                <a:gd name="connsiteX63" fmla="*/ 968710 w 3571666"/>
                <a:gd name="connsiteY63" fmla="*/ 2120286 h 2736546"/>
                <a:gd name="connsiteX64" fmla="*/ 953936 w 3571666"/>
                <a:gd name="connsiteY64" fmla="*/ 2101292 h 2736546"/>
                <a:gd name="connsiteX65" fmla="*/ 941273 w 3571666"/>
                <a:gd name="connsiteY65" fmla="*/ 2078077 h 2736546"/>
                <a:gd name="connsiteX66" fmla="*/ 932832 w 3571666"/>
                <a:gd name="connsiteY66" fmla="*/ 2052751 h 2736546"/>
                <a:gd name="connsiteX67" fmla="*/ 928611 w 3571666"/>
                <a:gd name="connsiteY67" fmla="*/ 2027425 h 2736546"/>
                <a:gd name="connsiteX68" fmla="*/ 928611 w 3571666"/>
                <a:gd name="connsiteY68" fmla="*/ 2012652 h 2736546"/>
                <a:gd name="connsiteX69" fmla="*/ 930721 w 3571666"/>
                <a:gd name="connsiteY69" fmla="*/ 1999989 h 2736546"/>
                <a:gd name="connsiteX70" fmla="*/ 310240 w 3571666"/>
                <a:gd name="connsiteY70" fmla="*/ 2675342 h 2736546"/>
                <a:gd name="connsiteX71" fmla="*/ 295467 w 3571666"/>
                <a:gd name="connsiteY71" fmla="*/ 2690116 h 2736546"/>
                <a:gd name="connsiteX72" fmla="*/ 280694 w 3571666"/>
                <a:gd name="connsiteY72" fmla="*/ 2700668 h 2736546"/>
                <a:gd name="connsiteX73" fmla="*/ 265920 w 3571666"/>
                <a:gd name="connsiteY73" fmla="*/ 2711220 h 2736546"/>
                <a:gd name="connsiteX74" fmla="*/ 249036 w 3571666"/>
                <a:gd name="connsiteY74" fmla="*/ 2719662 h 2736546"/>
                <a:gd name="connsiteX75" fmla="*/ 232153 w 3571666"/>
                <a:gd name="connsiteY75" fmla="*/ 2728104 h 2736546"/>
                <a:gd name="connsiteX76" fmla="*/ 217379 w 3571666"/>
                <a:gd name="connsiteY76" fmla="*/ 2732325 h 2736546"/>
                <a:gd name="connsiteX77" fmla="*/ 200495 w 3571666"/>
                <a:gd name="connsiteY77" fmla="*/ 2734436 h 2736546"/>
                <a:gd name="connsiteX78" fmla="*/ 183612 w 3571666"/>
                <a:gd name="connsiteY78" fmla="*/ 2736546 h 2736546"/>
                <a:gd name="connsiteX79" fmla="*/ 166728 w 3571666"/>
                <a:gd name="connsiteY79" fmla="*/ 2736546 h 2736546"/>
                <a:gd name="connsiteX80" fmla="*/ 149844 w 3571666"/>
                <a:gd name="connsiteY80" fmla="*/ 2734436 h 2736546"/>
                <a:gd name="connsiteX81" fmla="*/ 132960 w 3571666"/>
                <a:gd name="connsiteY81" fmla="*/ 2730215 h 2736546"/>
                <a:gd name="connsiteX82" fmla="*/ 118187 w 3571666"/>
                <a:gd name="connsiteY82" fmla="*/ 2725994 h 2736546"/>
                <a:gd name="connsiteX83" fmla="*/ 101303 w 3571666"/>
                <a:gd name="connsiteY83" fmla="*/ 2719662 h 2736546"/>
                <a:gd name="connsiteX84" fmla="*/ 86530 w 3571666"/>
                <a:gd name="connsiteY84" fmla="*/ 2713331 h 2736546"/>
                <a:gd name="connsiteX85" fmla="*/ 73867 w 3571666"/>
                <a:gd name="connsiteY85" fmla="*/ 2704889 h 2736546"/>
                <a:gd name="connsiteX86" fmla="*/ 61204 w 3571666"/>
                <a:gd name="connsiteY86" fmla="*/ 2694337 h 2736546"/>
                <a:gd name="connsiteX87" fmla="*/ 48541 w 3571666"/>
                <a:gd name="connsiteY87" fmla="*/ 2683784 h 2736546"/>
                <a:gd name="connsiteX88" fmla="*/ 37989 w 3571666"/>
                <a:gd name="connsiteY88" fmla="*/ 2671121 h 2736546"/>
                <a:gd name="connsiteX89" fmla="*/ 27436 w 3571666"/>
                <a:gd name="connsiteY89" fmla="*/ 2658458 h 2736546"/>
                <a:gd name="connsiteX90" fmla="*/ 18994 w 3571666"/>
                <a:gd name="connsiteY90" fmla="*/ 2645796 h 2736546"/>
                <a:gd name="connsiteX91" fmla="*/ 12663 w 3571666"/>
                <a:gd name="connsiteY91" fmla="*/ 2631022 h 2736546"/>
                <a:gd name="connsiteX92" fmla="*/ 6331 w 3571666"/>
                <a:gd name="connsiteY92" fmla="*/ 2616249 h 2736546"/>
                <a:gd name="connsiteX93" fmla="*/ 2110 w 3571666"/>
                <a:gd name="connsiteY93" fmla="*/ 2599365 h 2736546"/>
                <a:gd name="connsiteX94" fmla="*/ 0 w 3571666"/>
                <a:gd name="connsiteY94" fmla="*/ 2582481 h 2736546"/>
                <a:gd name="connsiteX95" fmla="*/ 0 w 3571666"/>
                <a:gd name="connsiteY95" fmla="*/ 2565597 h 2736546"/>
                <a:gd name="connsiteX96" fmla="*/ 2110 w 3571666"/>
                <a:gd name="connsiteY96" fmla="*/ 2548714 h 2736546"/>
                <a:gd name="connsiteX97" fmla="*/ 6331 w 3571666"/>
                <a:gd name="connsiteY97" fmla="*/ 2531830 h 2736546"/>
                <a:gd name="connsiteX98" fmla="*/ 12663 w 3571666"/>
                <a:gd name="connsiteY98" fmla="*/ 2512835 h 2736546"/>
                <a:gd name="connsiteX99" fmla="*/ 21105 w 3571666"/>
                <a:gd name="connsiteY99" fmla="*/ 2495952 h 2736546"/>
                <a:gd name="connsiteX100" fmla="*/ 31657 w 3571666"/>
                <a:gd name="connsiteY100" fmla="*/ 2476957 h 2736546"/>
                <a:gd name="connsiteX101" fmla="*/ 46431 w 3571666"/>
                <a:gd name="connsiteY101" fmla="*/ 2457963 h 2736546"/>
                <a:gd name="connsiteX102" fmla="*/ 61204 w 3571666"/>
                <a:gd name="connsiteY102" fmla="*/ 2438969 h 2736546"/>
                <a:gd name="connsiteX103" fmla="*/ 882009 w 3571666"/>
                <a:gd name="connsiteY103" fmla="*/ 1550456 h 2736546"/>
                <a:gd name="connsiteX104" fmla="*/ 877959 w 3571666"/>
                <a:gd name="connsiteY104" fmla="*/ 1550456 h 2736546"/>
                <a:gd name="connsiteX105" fmla="*/ 856854 w 3571666"/>
                <a:gd name="connsiteY105" fmla="*/ 1548346 h 2736546"/>
                <a:gd name="connsiteX106" fmla="*/ 837860 w 3571666"/>
                <a:gd name="connsiteY106" fmla="*/ 1544125 h 2736546"/>
                <a:gd name="connsiteX107" fmla="*/ 818865 w 3571666"/>
                <a:gd name="connsiteY107" fmla="*/ 1539904 h 2736546"/>
                <a:gd name="connsiteX108" fmla="*/ 801982 w 3571666"/>
                <a:gd name="connsiteY108" fmla="*/ 1533572 h 2736546"/>
                <a:gd name="connsiteX109" fmla="*/ 785098 w 3571666"/>
                <a:gd name="connsiteY109" fmla="*/ 1525130 h 2736546"/>
                <a:gd name="connsiteX110" fmla="*/ 770324 w 3571666"/>
                <a:gd name="connsiteY110" fmla="*/ 1516688 h 2736546"/>
                <a:gd name="connsiteX111" fmla="*/ 755551 w 3571666"/>
                <a:gd name="connsiteY111" fmla="*/ 1508247 h 2736546"/>
                <a:gd name="connsiteX112" fmla="*/ 742888 w 3571666"/>
                <a:gd name="connsiteY112" fmla="*/ 1499805 h 2736546"/>
                <a:gd name="connsiteX113" fmla="*/ 734446 w 3571666"/>
                <a:gd name="connsiteY113" fmla="*/ 1489252 h 2736546"/>
                <a:gd name="connsiteX114" fmla="*/ 726004 w 3571666"/>
                <a:gd name="connsiteY114" fmla="*/ 1478700 h 2736546"/>
                <a:gd name="connsiteX115" fmla="*/ 719673 w 3571666"/>
                <a:gd name="connsiteY115" fmla="*/ 1468147 h 2736546"/>
                <a:gd name="connsiteX116" fmla="*/ 713341 w 3571666"/>
                <a:gd name="connsiteY116" fmla="*/ 1457595 h 2736546"/>
                <a:gd name="connsiteX117" fmla="*/ 709120 w 3571666"/>
                <a:gd name="connsiteY117" fmla="*/ 1444932 h 2736546"/>
                <a:gd name="connsiteX118" fmla="*/ 707010 w 3571666"/>
                <a:gd name="connsiteY118" fmla="*/ 1432269 h 2736546"/>
                <a:gd name="connsiteX119" fmla="*/ 707010 w 3571666"/>
                <a:gd name="connsiteY119" fmla="*/ 1419606 h 2736546"/>
                <a:gd name="connsiteX120" fmla="*/ 707010 w 3571666"/>
                <a:gd name="connsiteY120" fmla="*/ 1406944 h 2736546"/>
                <a:gd name="connsiteX121" fmla="*/ 709120 w 3571666"/>
                <a:gd name="connsiteY121" fmla="*/ 1394281 h 2736546"/>
                <a:gd name="connsiteX122" fmla="*/ 711231 w 3571666"/>
                <a:gd name="connsiteY122" fmla="*/ 1381618 h 2736546"/>
                <a:gd name="connsiteX123" fmla="*/ 717562 w 3571666"/>
                <a:gd name="connsiteY123" fmla="*/ 1368955 h 2736546"/>
                <a:gd name="connsiteX124" fmla="*/ 723894 w 3571666"/>
                <a:gd name="connsiteY124" fmla="*/ 1358403 h 2736546"/>
                <a:gd name="connsiteX125" fmla="*/ 730225 w 3571666"/>
                <a:gd name="connsiteY125" fmla="*/ 1347850 h 2736546"/>
                <a:gd name="connsiteX126" fmla="*/ 740778 w 3571666"/>
                <a:gd name="connsiteY126" fmla="*/ 1337298 h 2736546"/>
                <a:gd name="connsiteX127" fmla="*/ 751330 w 3571666"/>
                <a:gd name="connsiteY127" fmla="*/ 1328856 h 2736546"/>
                <a:gd name="connsiteX128" fmla="*/ 1287392 w 3571666"/>
                <a:gd name="connsiteY128" fmla="*/ 934196 h 2736546"/>
                <a:gd name="connsiteX129" fmla="*/ 1306386 w 3571666"/>
                <a:gd name="connsiteY129" fmla="*/ 921534 h 2736546"/>
                <a:gd name="connsiteX130" fmla="*/ 1329601 w 3571666"/>
                <a:gd name="connsiteY130" fmla="*/ 908871 h 2736546"/>
                <a:gd name="connsiteX131" fmla="*/ 1392916 w 3571666"/>
                <a:gd name="connsiteY131" fmla="*/ 877214 h 2736546"/>
                <a:gd name="connsiteX132" fmla="*/ 1468893 w 3571666"/>
                <a:gd name="connsiteY132" fmla="*/ 847667 h 2736546"/>
                <a:gd name="connsiteX133" fmla="*/ 1508992 w 3571666"/>
                <a:gd name="connsiteY133" fmla="*/ 832894 h 2736546"/>
                <a:gd name="connsiteX134" fmla="*/ 1551202 w 3571666"/>
                <a:gd name="connsiteY134" fmla="*/ 818120 h 2736546"/>
                <a:gd name="connsiteX135" fmla="*/ 1593411 w 3571666"/>
                <a:gd name="connsiteY135" fmla="*/ 805457 h 2736546"/>
                <a:gd name="connsiteX136" fmla="*/ 1597058 w 3571666"/>
                <a:gd name="connsiteY136" fmla="*/ 804689 h 2736546"/>
                <a:gd name="connsiteX137" fmla="*/ 1608185 w 3571666"/>
                <a:gd name="connsiteY137" fmla="*/ 799126 h 2736546"/>
                <a:gd name="connsiteX138" fmla="*/ 1629289 w 3571666"/>
                <a:gd name="connsiteY138" fmla="*/ 790684 h 2736546"/>
                <a:gd name="connsiteX139" fmla="*/ 1673609 w 3571666"/>
                <a:gd name="connsiteY139" fmla="*/ 773800 h 2736546"/>
                <a:gd name="connsiteX140" fmla="*/ 1724261 w 3571666"/>
                <a:gd name="connsiteY140" fmla="*/ 759027 h 2736546"/>
                <a:gd name="connsiteX141" fmla="*/ 1779133 w 3571666"/>
                <a:gd name="connsiteY141" fmla="*/ 746364 h 2736546"/>
                <a:gd name="connsiteX142" fmla="*/ 1890023 w 3571666"/>
                <a:gd name="connsiteY142" fmla="*/ 719128 h 2736546"/>
                <a:gd name="connsiteX143" fmla="*/ 2480549 w 3571666"/>
                <a:gd name="connsiteY143" fmla="*/ 80198 h 273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3571666" h="2736546">
                  <a:moveTo>
                    <a:pt x="3261426" y="0"/>
                  </a:moveTo>
                  <a:lnTo>
                    <a:pt x="3571666" y="287025"/>
                  </a:lnTo>
                  <a:lnTo>
                    <a:pt x="2608736" y="1329583"/>
                  </a:lnTo>
                  <a:lnTo>
                    <a:pt x="2608551" y="1330967"/>
                  </a:lnTo>
                  <a:lnTo>
                    <a:pt x="2600110" y="1364735"/>
                  </a:lnTo>
                  <a:lnTo>
                    <a:pt x="2591668" y="1400613"/>
                  </a:lnTo>
                  <a:lnTo>
                    <a:pt x="2581115" y="1438601"/>
                  </a:lnTo>
                  <a:lnTo>
                    <a:pt x="2570563" y="1478700"/>
                  </a:lnTo>
                  <a:lnTo>
                    <a:pt x="2555789" y="1518800"/>
                  </a:lnTo>
                  <a:lnTo>
                    <a:pt x="2538906" y="1558899"/>
                  </a:lnTo>
                  <a:lnTo>
                    <a:pt x="2522022" y="1601108"/>
                  </a:lnTo>
                  <a:lnTo>
                    <a:pt x="2503028" y="1641207"/>
                  </a:lnTo>
                  <a:lnTo>
                    <a:pt x="2481923" y="1681306"/>
                  </a:lnTo>
                  <a:lnTo>
                    <a:pt x="2460818" y="1721406"/>
                  </a:lnTo>
                  <a:lnTo>
                    <a:pt x="2437603" y="1759394"/>
                  </a:lnTo>
                  <a:lnTo>
                    <a:pt x="2412277" y="1795272"/>
                  </a:lnTo>
                  <a:lnTo>
                    <a:pt x="2386951" y="1829040"/>
                  </a:lnTo>
                  <a:lnTo>
                    <a:pt x="2359515" y="1860697"/>
                  </a:lnTo>
                  <a:lnTo>
                    <a:pt x="1838227" y="2430527"/>
                  </a:lnTo>
                  <a:lnTo>
                    <a:pt x="1827675" y="2443190"/>
                  </a:lnTo>
                  <a:lnTo>
                    <a:pt x="1815012" y="2451631"/>
                  </a:lnTo>
                  <a:lnTo>
                    <a:pt x="1791796" y="2468515"/>
                  </a:lnTo>
                  <a:lnTo>
                    <a:pt x="1766471" y="2481178"/>
                  </a:lnTo>
                  <a:lnTo>
                    <a:pt x="1739034" y="2487510"/>
                  </a:lnTo>
                  <a:lnTo>
                    <a:pt x="1711598" y="2491731"/>
                  </a:lnTo>
                  <a:lnTo>
                    <a:pt x="1686272" y="2489620"/>
                  </a:lnTo>
                  <a:lnTo>
                    <a:pt x="1658836" y="2485399"/>
                  </a:lnTo>
                  <a:lnTo>
                    <a:pt x="1633511" y="2479068"/>
                  </a:lnTo>
                  <a:lnTo>
                    <a:pt x="1610295" y="2468515"/>
                  </a:lnTo>
                  <a:lnTo>
                    <a:pt x="1587080" y="2453742"/>
                  </a:lnTo>
                  <a:lnTo>
                    <a:pt x="1568086" y="2436858"/>
                  </a:lnTo>
                  <a:lnTo>
                    <a:pt x="1551202" y="2417864"/>
                  </a:lnTo>
                  <a:lnTo>
                    <a:pt x="1538539" y="2396759"/>
                  </a:lnTo>
                  <a:lnTo>
                    <a:pt x="1530097" y="2373544"/>
                  </a:lnTo>
                  <a:lnTo>
                    <a:pt x="1525876" y="2348218"/>
                  </a:lnTo>
                  <a:lnTo>
                    <a:pt x="1525876" y="2335555"/>
                  </a:lnTo>
                  <a:lnTo>
                    <a:pt x="1525876" y="2320782"/>
                  </a:lnTo>
                  <a:lnTo>
                    <a:pt x="1500550" y="2333445"/>
                  </a:lnTo>
                  <a:lnTo>
                    <a:pt x="1473114" y="2341887"/>
                  </a:lnTo>
                  <a:lnTo>
                    <a:pt x="1447788" y="2346108"/>
                  </a:lnTo>
                  <a:lnTo>
                    <a:pt x="1420352" y="2346108"/>
                  </a:lnTo>
                  <a:lnTo>
                    <a:pt x="1392916" y="2343997"/>
                  </a:lnTo>
                  <a:lnTo>
                    <a:pt x="1367590" y="2337666"/>
                  </a:lnTo>
                  <a:lnTo>
                    <a:pt x="1342264" y="2329224"/>
                  </a:lnTo>
                  <a:lnTo>
                    <a:pt x="1319049" y="2316561"/>
                  </a:lnTo>
                  <a:lnTo>
                    <a:pt x="1297944" y="2301787"/>
                  </a:lnTo>
                  <a:lnTo>
                    <a:pt x="1281061" y="2284904"/>
                  </a:lnTo>
                  <a:lnTo>
                    <a:pt x="1264177" y="2263799"/>
                  </a:lnTo>
                  <a:lnTo>
                    <a:pt x="1251514" y="2242694"/>
                  </a:lnTo>
                  <a:lnTo>
                    <a:pt x="1243072" y="2219479"/>
                  </a:lnTo>
                  <a:lnTo>
                    <a:pt x="1238851" y="2194153"/>
                  </a:lnTo>
                  <a:lnTo>
                    <a:pt x="1238851" y="2166717"/>
                  </a:lnTo>
                  <a:lnTo>
                    <a:pt x="1245182" y="2139281"/>
                  </a:lnTo>
                  <a:lnTo>
                    <a:pt x="1219857" y="2156164"/>
                  </a:lnTo>
                  <a:lnTo>
                    <a:pt x="1194531" y="2170938"/>
                  </a:lnTo>
                  <a:lnTo>
                    <a:pt x="1167095" y="2179380"/>
                  </a:lnTo>
                  <a:lnTo>
                    <a:pt x="1139659" y="2183601"/>
                  </a:lnTo>
                  <a:lnTo>
                    <a:pt x="1112222" y="2185711"/>
                  </a:lnTo>
                  <a:lnTo>
                    <a:pt x="1084786" y="2181490"/>
                  </a:lnTo>
                  <a:lnTo>
                    <a:pt x="1059460" y="2177269"/>
                  </a:lnTo>
                  <a:lnTo>
                    <a:pt x="1034135" y="2166717"/>
                  </a:lnTo>
                  <a:lnTo>
                    <a:pt x="1008809" y="2154054"/>
                  </a:lnTo>
                  <a:lnTo>
                    <a:pt x="987704" y="2139281"/>
                  </a:lnTo>
                  <a:lnTo>
                    <a:pt x="968710" y="2120286"/>
                  </a:lnTo>
                  <a:lnTo>
                    <a:pt x="953936" y="2101292"/>
                  </a:lnTo>
                  <a:lnTo>
                    <a:pt x="941273" y="2078077"/>
                  </a:lnTo>
                  <a:lnTo>
                    <a:pt x="932832" y="2052751"/>
                  </a:lnTo>
                  <a:lnTo>
                    <a:pt x="928611" y="2027425"/>
                  </a:lnTo>
                  <a:lnTo>
                    <a:pt x="928611" y="2012652"/>
                  </a:lnTo>
                  <a:lnTo>
                    <a:pt x="930721" y="1999989"/>
                  </a:lnTo>
                  <a:lnTo>
                    <a:pt x="310240" y="2675342"/>
                  </a:lnTo>
                  <a:lnTo>
                    <a:pt x="295467" y="2690116"/>
                  </a:lnTo>
                  <a:lnTo>
                    <a:pt x="280694" y="2700668"/>
                  </a:lnTo>
                  <a:lnTo>
                    <a:pt x="265920" y="2711220"/>
                  </a:lnTo>
                  <a:lnTo>
                    <a:pt x="249036" y="2719662"/>
                  </a:lnTo>
                  <a:lnTo>
                    <a:pt x="232153" y="2728104"/>
                  </a:lnTo>
                  <a:lnTo>
                    <a:pt x="217379" y="2732325"/>
                  </a:lnTo>
                  <a:lnTo>
                    <a:pt x="200495" y="2734436"/>
                  </a:lnTo>
                  <a:lnTo>
                    <a:pt x="183612" y="2736546"/>
                  </a:lnTo>
                  <a:lnTo>
                    <a:pt x="166728" y="2736546"/>
                  </a:lnTo>
                  <a:lnTo>
                    <a:pt x="149844" y="2734436"/>
                  </a:lnTo>
                  <a:lnTo>
                    <a:pt x="132960" y="2730215"/>
                  </a:lnTo>
                  <a:lnTo>
                    <a:pt x="118187" y="2725994"/>
                  </a:lnTo>
                  <a:lnTo>
                    <a:pt x="101303" y="2719662"/>
                  </a:lnTo>
                  <a:lnTo>
                    <a:pt x="86530" y="2713331"/>
                  </a:lnTo>
                  <a:lnTo>
                    <a:pt x="73867" y="2704889"/>
                  </a:lnTo>
                  <a:lnTo>
                    <a:pt x="61204" y="2694337"/>
                  </a:lnTo>
                  <a:lnTo>
                    <a:pt x="48541" y="2683784"/>
                  </a:lnTo>
                  <a:lnTo>
                    <a:pt x="37989" y="2671121"/>
                  </a:lnTo>
                  <a:lnTo>
                    <a:pt x="27436" y="2658458"/>
                  </a:lnTo>
                  <a:lnTo>
                    <a:pt x="18994" y="2645796"/>
                  </a:lnTo>
                  <a:lnTo>
                    <a:pt x="12663" y="2631022"/>
                  </a:lnTo>
                  <a:lnTo>
                    <a:pt x="6331" y="2616249"/>
                  </a:lnTo>
                  <a:lnTo>
                    <a:pt x="2110" y="2599365"/>
                  </a:lnTo>
                  <a:lnTo>
                    <a:pt x="0" y="2582481"/>
                  </a:lnTo>
                  <a:lnTo>
                    <a:pt x="0" y="2565597"/>
                  </a:lnTo>
                  <a:lnTo>
                    <a:pt x="2110" y="2548714"/>
                  </a:lnTo>
                  <a:lnTo>
                    <a:pt x="6331" y="2531830"/>
                  </a:lnTo>
                  <a:lnTo>
                    <a:pt x="12663" y="2512835"/>
                  </a:lnTo>
                  <a:lnTo>
                    <a:pt x="21105" y="2495952"/>
                  </a:lnTo>
                  <a:lnTo>
                    <a:pt x="31657" y="2476957"/>
                  </a:lnTo>
                  <a:lnTo>
                    <a:pt x="46431" y="2457963"/>
                  </a:lnTo>
                  <a:lnTo>
                    <a:pt x="61204" y="2438969"/>
                  </a:lnTo>
                  <a:lnTo>
                    <a:pt x="882009" y="1550456"/>
                  </a:lnTo>
                  <a:lnTo>
                    <a:pt x="877959" y="1550456"/>
                  </a:lnTo>
                  <a:lnTo>
                    <a:pt x="856854" y="1548346"/>
                  </a:lnTo>
                  <a:lnTo>
                    <a:pt x="837860" y="1544125"/>
                  </a:lnTo>
                  <a:lnTo>
                    <a:pt x="818865" y="1539904"/>
                  </a:lnTo>
                  <a:lnTo>
                    <a:pt x="801982" y="1533572"/>
                  </a:lnTo>
                  <a:lnTo>
                    <a:pt x="785098" y="1525130"/>
                  </a:lnTo>
                  <a:lnTo>
                    <a:pt x="770324" y="1516688"/>
                  </a:lnTo>
                  <a:lnTo>
                    <a:pt x="755551" y="1508247"/>
                  </a:lnTo>
                  <a:lnTo>
                    <a:pt x="742888" y="1499805"/>
                  </a:lnTo>
                  <a:lnTo>
                    <a:pt x="734446" y="1489252"/>
                  </a:lnTo>
                  <a:lnTo>
                    <a:pt x="726004" y="1478700"/>
                  </a:lnTo>
                  <a:lnTo>
                    <a:pt x="719673" y="1468147"/>
                  </a:lnTo>
                  <a:lnTo>
                    <a:pt x="713341" y="1457595"/>
                  </a:lnTo>
                  <a:lnTo>
                    <a:pt x="709120" y="1444932"/>
                  </a:lnTo>
                  <a:lnTo>
                    <a:pt x="707010" y="1432269"/>
                  </a:lnTo>
                  <a:lnTo>
                    <a:pt x="707010" y="1419606"/>
                  </a:lnTo>
                  <a:lnTo>
                    <a:pt x="707010" y="1406944"/>
                  </a:lnTo>
                  <a:lnTo>
                    <a:pt x="709120" y="1394281"/>
                  </a:lnTo>
                  <a:lnTo>
                    <a:pt x="711231" y="1381618"/>
                  </a:lnTo>
                  <a:lnTo>
                    <a:pt x="717562" y="1368955"/>
                  </a:lnTo>
                  <a:lnTo>
                    <a:pt x="723894" y="1358403"/>
                  </a:lnTo>
                  <a:lnTo>
                    <a:pt x="730225" y="1347850"/>
                  </a:lnTo>
                  <a:lnTo>
                    <a:pt x="740778" y="1337298"/>
                  </a:lnTo>
                  <a:lnTo>
                    <a:pt x="751330" y="1328856"/>
                  </a:lnTo>
                  <a:lnTo>
                    <a:pt x="1287392" y="934196"/>
                  </a:lnTo>
                  <a:lnTo>
                    <a:pt x="1306386" y="921534"/>
                  </a:lnTo>
                  <a:lnTo>
                    <a:pt x="1329601" y="908871"/>
                  </a:lnTo>
                  <a:lnTo>
                    <a:pt x="1392916" y="877214"/>
                  </a:lnTo>
                  <a:lnTo>
                    <a:pt x="1468893" y="847667"/>
                  </a:lnTo>
                  <a:lnTo>
                    <a:pt x="1508992" y="832894"/>
                  </a:lnTo>
                  <a:lnTo>
                    <a:pt x="1551202" y="818120"/>
                  </a:lnTo>
                  <a:lnTo>
                    <a:pt x="1593411" y="805457"/>
                  </a:lnTo>
                  <a:lnTo>
                    <a:pt x="1597058" y="804689"/>
                  </a:lnTo>
                  <a:lnTo>
                    <a:pt x="1608185" y="799126"/>
                  </a:lnTo>
                  <a:lnTo>
                    <a:pt x="1629289" y="790684"/>
                  </a:lnTo>
                  <a:lnTo>
                    <a:pt x="1673609" y="773800"/>
                  </a:lnTo>
                  <a:lnTo>
                    <a:pt x="1724261" y="759027"/>
                  </a:lnTo>
                  <a:lnTo>
                    <a:pt x="1779133" y="746364"/>
                  </a:lnTo>
                  <a:lnTo>
                    <a:pt x="1890023" y="719128"/>
                  </a:lnTo>
                  <a:lnTo>
                    <a:pt x="2480549" y="80198"/>
                  </a:lnTo>
                  <a:close/>
                </a:path>
              </a:pathLst>
            </a:custGeom>
            <a:solidFill>
              <a:schemeClr val="bg1"/>
            </a:solidFill>
            <a:ln w="25400">
              <a:solidFill>
                <a:schemeClr val="tx1"/>
              </a:solidFill>
            </a:ln>
          </p:spPr>
          <p:txBody>
            <a:bodyPr vert="horz" wrap="square" lIns="91440" tIns="45720" rIns="91440" bIns="45720" numCol="1" anchor="t" anchorCtr="0" compatLnSpc="1">
              <a:prstTxWarp prst="textNoShape">
                <a:avLst/>
              </a:prstTxWarp>
              <a:noAutofit/>
            </a:bodyPr>
            <a:lstStyle/>
            <a:p>
              <a:endParaRPr lang="en-AU" dirty="0">
                <a:latin typeface="RBC Text" panose="02000000000000000000" pitchFamily="2" charset="77"/>
              </a:endParaRPr>
            </a:p>
          </p:txBody>
        </p:sp>
        <p:sp>
          <p:nvSpPr>
            <p:cNvPr id="61" name="Freeform 379"/>
            <p:cNvSpPr>
              <a:spLocks/>
            </p:cNvSpPr>
            <p:nvPr/>
          </p:nvSpPr>
          <p:spPr bwMode="auto">
            <a:xfrm>
              <a:off x="4653189" y="1706439"/>
              <a:ext cx="1483667" cy="1205084"/>
            </a:xfrm>
            <a:custGeom>
              <a:avLst/>
              <a:gdLst>
                <a:gd name="T0" fmla="*/ 758 w 1406"/>
                <a:gd name="T1" fmla="*/ 1142 h 1142"/>
                <a:gd name="T2" fmla="*/ 1396 w 1406"/>
                <a:gd name="T3" fmla="*/ 438 h 1142"/>
                <a:gd name="T4" fmla="*/ 1406 w 1406"/>
                <a:gd name="T5" fmla="*/ 248 h 1142"/>
                <a:gd name="T6" fmla="*/ 1138 w 1406"/>
                <a:gd name="T7" fmla="*/ 0 h 1142"/>
                <a:gd name="T8" fmla="*/ 322 w 1406"/>
                <a:gd name="T9" fmla="*/ 88 h 1142"/>
                <a:gd name="T10" fmla="*/ 0 w 1406"/>
                <a:gd name="T11" fmla="*/ 444 h 1142"/>
                <a:gd name="T12" fmla="*/ 758 w 1406"/>
                <a:gd name="T13" fmla="*/ 1142 h 1142"/>
              </a:gdLst>
              <a:ahLst/>
              <a:cxnLst>
                <a:cxn ang="0">
                  <a:pos x="T0" y="T1"/>
                </a:cxn>
                <a:cxn ang="0">
                  <a:pos x="T2" y="T3"/>
                </a:cxn>
                <a:cxn ang="0">
                  <a:pos x="T4" y="T5"/>
                </a:cxn>
                <a:cxn ang="0">
                  <a:pos x="T6" y="T7"/>
                </a:cxn>
                <a:cxn ang="0">
                  <a:pos x="T8" y="T9"/>
                </a:cxn>
                <a:cxn ang="0">
                  <a:pos x="T10" y="T11"/>
                </a:cxn>
                <a:cxn ang="0">
                  <a:pos x="T12" y="T13"/>
                </a:cxn>
              </a:cxnLst>
              <a:rect l="0" t="0" r="r" b="b"/>
              <a:pathLst>
                <a:path w="1406" h="1142">
                  <a:moveTo>
                    <a:pt x="758" y="1142"/>
                  </a:moveTo>
                  <a:lnTo>
                    <a:pt x="1396" y="438"/>
                  </a:lnTo>
                  <a:lnTo>
                    <a:pt x="1406" y="248"/>
                  </a:lnTo>
                  <a:lnTo>
                    <a:pt x="1138" y="0"/>
                  </a:lnTo>
                  <a:lnTo>
                    <a:pt x="322" y="88"/>
                  </a:lnTo>
                  <a:lnTo>
                    <a:pt x="0" y="444"/>
                  </a:lnTo>
                  <a:lnTo>
                    <a:pt x="758" y="1142"/>
                  </a:lnTo>
                  <a:close/>
                </a:path>
              </a:pathLst>
            </a:custGeom>
            <a:solidFill>
              <a:schemeClr val="bg1"/>
            </a:solidFill>
            <a:ln w="25400">
              <a:solidFill>
                <a:schemeClr val="tx1"/>
              </a:solidFill>
            </a:ln>
          </p:spPr>
          <p:txBody>
            <a:bodyPr vert="horz" wrap="square" lIns="91440" tIns="45720" rIns="91440" bIns="45720" numCol="1" anchor="t" anchorCtr="0" compatLnSpc="1">
              <a:prstTxWarp prst="textNoShape">
                <a:avLst/>
              </a:prstTxWarp>
            </a:bodyPr>
            <a:lstStyle/>
            <a:p>
              <a:endParaRPr lang="en-AU" dirty="0">
                <a:latin typeface="RBC Text" panose="02000000000000000000" pitchFamily="2" charset="77"/>
              </a:endParaRPr>
            </a:p>
          </p:txBody>
        </p:sp>
        <p:sp>
          <p:nvSpPr>
            <p:cNvPr id="63" name="Freeform 381"/>
            <p:cNvSpPr>
              <a:spLocks/>
            </p:cNvSpPr>
            <p:nvPr/>
          </p:nvSpPr>
          <p:spPr bwMode="auto">
            <a:xfrm>
              <a:off x="4931772" y="1175466"/>
              <a:ext cx="1545206" cy="1438479"/>
            </a:xfrm>
            <a:custGeom>
              <a:avLst/>
              <a:gdLst>
                <a:gd name="T0" fmla="*/ 1432 w 2042"/>
                <a:gd name="T1" fmla="*/ 0 h 2314"/>
                <a:gd name="T2" fmla="*/ 0 w 2042"/>
                <a:gd name="T3" fmla="*/ 1586 h 2314"/>
                <a:gd name="T4" fmla="*/ 796 w 2042"/>
                <a:gd name="T5" fmla="*/ 2314 h 2314"/>
                <a:gd name="T6" fmla="*/ 2042 w 2042"/>
                <a:gd name="T7" fmla="*/ 934 h 2314"/>
                <a:gd name="T8" fmla="*/ 2042 w 2042"/>
                <a:gd name="T9" fmla="*/ 0 h 2314"/>
                <a:gd name="T10" fmla="*/ 1432 w 2042"/>
                <a:gd name="T11" fmla="*/ 0 h 2314"/>
                <a:gd name="connsiteX0" fmla="*/ 7013 w 10000"/>
                <a:gd name="connsiteY0" fmla="*/ 0 h 10000"/>
                <a:gd name="connsiteX1" fmla="*/ 0 w 10000"/>
                <a:gd name="connsiteY1" fmla="*/ 6854 h 10000"/>
                <a:gd name="connsiteX2" fmla="*/ 3898 w 10000"/>
                <a:gd name="connsiteY2" fmla="*/ 10000 h 10000"/>
                <a:gd name="connsiteX3" fmla="*/ 7171 w 10000"/>
                <a:gd name="connsiteY3" fmla="*/ 6272 h 10000"/>
                <a:gd name="connsiteX4" fmla="*/ 10000 w 10000"/>
                <a:gd name="connsiteY4" fmla="*/ 0 h 10000"/>
                <a:gd name="connsiteX5" fmla="*/ 7013 w 10000"/>
                <a:gd name="connsiteY5" fmla="*/ 0 h 10000"/>
                <a:gd name="connsiteX0" fmla="*/ 2769 w 10000"/>
                <a:gd name="connsiteY0" fmla="*/ 4109 h 10000"/>
                <a:gd name="connsiteX1" fmla="*/ 0 w 10000"/>
                <a:gd name="connsiteY1" fmla="*/ 6854 h 10000"/>
                <a:gd name="connsiteX2" fmla="*/ 3898 w 10000"/>
                <a:gd name="connsiteY2" fmla="*/ 10000 h 10000"/>
                <a:gd name="connsiteX3" fmla="*/ 7171 w 10000"/>
                <a:gd name="connsiteY3" fmla="*/ 6272 h 10000"/>
                <a:gd name="connsiteX4" fmla="*/ 10000 w 10000"/>
                <a:gd name="connsiteY4" fmla="*/ 0 h 10000"/>
                <a:gd name="connsiteX5" fmla="*/ 2769 w 10000"/>
                <a:gd name="connsiteY5" fmla="*/ 4109 h 10000"/>
                <a:gd name="connsiteX0" fmla="*/ 2769 w 7171"/>
                <a:gd name="connsiteY0" fmla="*/ 0 h 5891"/>
                <a:gd name="connsiteX1" fmla="*/ 0 w 7171"/>
                <a:gd name="connsiteY1" fmla="*/ 2745 h 5891"/>
                <a:gd name="connsiteX2" fmla="*/ 3898 w 7171"/>
                <a:gd name="connsiteY2" fmla="*/ 5891 h 5891"/>
                <a:gd name="connsiteX3" fmla="*/ 7171 w 7171"/>
                <a:gd name="connsiteY3" fmla="*/ 2163 h 5891"/>
                <a:gd name="connsiteX4" fmla="*/ 7112 w 7171"/>
                <a:gd name="connsiteY4" fmla="*/ 52 h 5891"/>
                <a:gd name="connsiteX5" fmla="*/ 2769 w 7171"/>
                <a:gd name="connsiteY5" fmla="*/ 0 h 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71" h="5891">
                  <a:moveTo>
                    <a:pt x="2769" y="0"/>
                  </a:moveTo>
                  <a:lnTo>
                    <a:pt x="0" y="2745"/>
                  </a:lnTo>
                  <a:lnTo>
                    <a:pt x="3898" y="5891"/>
                  </a:lnTo>
                  <a:lnTo>
                    <a:pt x="7171" y="2163"/>
                  </a:lnTo>
                  <a:cubicBezTo>
                    <a:pt x="7151" y="1459"/>
                    <a:pt x="7132" y="756"/>
                    <a:pt x="7112" y="52"/>
                  </a:cubicBezTo>
                  <a:lnTo>
                    <a:pt x="2769" y="0"/>
                  </a:lnTo>
                  <a:close/>
                </a:path>
              </a:pathLst>
            </a:custGeom>
            <a:solidFill>
              <a:schemeClr val="bg1"/>
            </a:solidFill>
            <a:ln w="25400">
              <a:solidFill>
                <a:schemeClr val="tx1"/>
              </a:solidFill>
            </a:ln>
          </p:spPr>
          <p:txBody>
            <a:bodyPr vert="horz" wrap="square" lIns="91440" tIns="45720" rIns="91440" bIns="45720" numCol="1" anchor="t" anchorCtr="0" compatLnSpc="1">
              <a:prstTxWarp prst="textNoShape">
                <a:avLst/>
              </a:prstTxWarp>
            </a:bodyPr>
            <a:lstStyle/>
            <a:p>
              <a:endParaRPr lang="en-AU" dirty="0">
                <a:latin typeface="RBC Text" panose="02000000000000000000" pitchFamily="2" charset="77"/>
              </a:endParaRPr>
            </a:p>
          </p:txBody>
        </p:sp>
        <p:sp>
          <p:nvSpPr>
            <p:cNvPr id="71" name="Freeform 390"/>
            <p:cNvSpPr>
              <a:spLocks noEditPoints="1"/>
            </p:cNvSpPr>
            <p:nvPr/>
          </p:nvSpPr>
          <p:spPr bwMode="auto">
            <a:xfrm>
              <a:off x="3477690" y="3502420"/>
              <a:ext cx="787209" cy="618370"/>
            </a:xfrm>
            <a:custGeom>
              <a:avLst/>
              <a:gdLst>
                <a:gd name="T0" fmla="*/ 746 w 746"/>
                <a:gd name="T1" fmla="*/ 380 h 586"/>
                <a:gd name="T2" fmla="*/ 746 w 746"/>
                <a:gd name="T3" fmla="*/ 380 h 586"/>
                <a:gd name="T4" fmla="*/ 566 w 746"/>
                <a:gd name="T5" fmla="*/ 586 h 586"/>
                <a:gd name="T6" fmla="*/ 566 w 746"/>
                <a:gd name="T7" fmla="*/ 586 h 586"/>
                <a:gd name="T8" fmla="*/ 566 w 746"/>
                <a:gd name="T9" fmla="*/ 562 h 586"/>
                <a:gd name="T10" fmla="*/ 566 w 746"/>
                <a:gd name="T11" fmla="*/ 562 h 586"/>
                <a:gd name="T12" fmla="*/ 550 w 746"/>
                <a:gd name="T13" fmla="*/ 572 h 586"/>
                <a:gd name="T14" fmla="*/ 532 w 746"/>
                <a:gd name="T15" fmla="*/ 578 h 586"/>
                <a:gd name="T16" fmla="*/ 532 w 746"/>
                <a:gd name="T17" fmla="*/ 578 h 586"/>
                <a:gd name="T18" fmla="*/ 676 w 746"/>
                <a:gd name="T19" fmla="*/ 446 h 586"/>
                <a:gd name="T20" fmla="*/ 746 w 746"/>
                <a:gd name="T21" fmla="*/ 380 h 586"/>
                <a:gd name="T22" fmla="*/ 0 w 746"/>
                <a:gd name="T23" fmla="*/ 262 h 586"/>
                <a:gd name="T24" fmla="*/ 0 w 746"/>
                <a:gd name="T25" fmla="*/ 262 h 586"/>
                <a:gd name="T26" fmla="*/ 0 w 746"/>
                <a:gd name="T27" fmla="*/ 280 h 586"/>
                <a:gd name="T28" fmla="*/ 2 w 746"/>
                <a:gd name="T29" fmla="*/ 298 h 586"/>
                <a:gd name="T30" fmla="*/ 2 w 746"/>
                <a:gd name="T31" fmla="*/ 298 h 586"/>
                <a:gd name="T32" fmla="*/ 82 w 746"/>
                <a:gd name="T33" fmla="*/ 206 h 586"/>
                <a:gd name="T34" fmla="*/ 164 w 746"/>
                <a:gd name="T35" fmla="*/ 110 h 586"/>
                <a:gd name="T36" fmla="*/ 256 w 746"/>
                <a:gd name="T37" fmla="*/ 0 h 586"/>
                <a:gd name="T38" fmla="*/ 256 w 746"/>
                <a:gd name="T39" fmla="*/ 0 h 586"/>
                <a:gd name="T40" fmla="*/ 156 w 746"/>
                <a:gd name="T41" fmla="*/ 100 h 586"/>
                <a:gd name="T42" fmla="*/ 72 w 746"/>
                <a:gd name="T43" fmla="*/ 184 h 586"/>
                <a:gd name="T44" fmla="*/ 2 w 746"/>
                <a:gd name="T45" fmla="*/ 258 h 586"/>
                <a:gd name="T46" fmla="*/ 2 w 746"/>
                <a:gd name="T47" fmla="*/ 258 h 586"/>
                <a:gd name="T48" fmla="*/ 2 w 746"/>
                <a:gd name="T49" fmla="*/ 258 h 586"/>
                <a:gd name="T50" fmla="*/ 0 w 746"/>
                <a:gd name="T51" fmla="*/ 262 h 586"/>
                <a:gd name="T52" fmla="*/ 244 w 746"/>
                <a:gd name="T53" fmla="*/ 422 h 586"/>
                <a:gd name="T54" fmla="*/ 244 w 746"/>
                <a:gd name="T55" fmla="*/ 422 h 586"/>
                <a:gd name="T56" fmla="*/ 258 w 746"/>
                <a:gd name="T57" fmla="*/ 416 h 586"/>
                <a:gd name="T58" fmla="*/ 274 w 746"/>
                <a:gd name="T59" fmla="*/ 408 h 586"/>
                <a:gd name="T60" fmla="*/ 286 w 746"/>
                <a:gd name="T61" fmla="*/ 400 h 586"/>
                <a:gd name="T62" fmla="*/ 300 w 746"/>
                <a:gd name="T63" fmla="*/ 390 h 586"/>
                <a:gd name="T64" fmla="*/ 300 w 746"/>
                <a:gd name="T65" fmla="*/ 390 h 586"/>
                <a:gd name="T66" fmla="*/ 296 w 746"/>
                <a:gd name="T67" fmla="*/ 404 h 586"/>
                <a:gd name="T68" fmla="*/ 294 w 746"/>
                <a:gd name="T69" fmla="*/ 418 h 586"/>
                <a:gd name="T70" fmla="*/ 294 w 746"/>
                <a:gd name="T71" fmla="*/ 418 h 586"/>
                <a:gd name="T72" fmla="*/ 508 w 746"/>
                <a:gd name="T73" fmla="*/ 180 h 586"/>
                <a:gd name="T74" fmla="*/ 508 w 746"/>
                <a:gd name="T75" fmla="*/ 180 h 586"/>
                <a:gd name="T76" fmla="*/ 414 w 746"/>
                <a:gd name="T77" fmla="*/ 266 h 586"/>
                <a:gd name="T78" fmla="*/ 328 w 746"/>
                <a:gd name="T79" fmla="*/ 344 h 586"/>
                <a:gd name="T80" fmla="*/ 244 w 746"/>
                <a:gd name="T81" fmla="*/ 42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6" h="586">
                  <a:moveTo>
                    <a:pt x="746" y="380"/>
                  </a:moveTo>
                  <a:lnTo>
                    <a:pt x="746" y="380"/>
                  </a:lnTo>
                  <a:lnTo>
                    <a:pt x="566" y="586"/>
                  </a:lnTo>
                  <a:lnTo>
                    <a:pt x="566" y="586"/>
                  </a:lnTo>
                  <a:lnTo>
                    <a:pt x="566" y="562"/>
                  </a:lnTo>
                  <a:lnTo>
                    <a:pt x="566" y="562"/>
                  </a:lnTo>
                  <a:lnTo>
                    <a:pt x="550" y="572"/>
                  </a:lnTo>
                  <a:lnTo>
                    <a:pt x="532" y="578"/>
                  </a:lnTo>
                  <a:lnTo>
                    <a:pt x="532" y="578"/>
                  </a:lnTo>
                  <a:lnTo>
                    <a:pt x="676" y="446"/>
                  </a:lnTo>
                  <a:lnTo>
                    <a:pt x="746" y="380"/>
                  </a:lnTo>
                  <a:close/>
                  <a:moveTo>
                    <a:pt x="0" y="262"/>
                  </a:moveTo>
                  <a:lnTo>
                    <a:pt x="0" y="262"/>
                  </a:lnTo>
                  <a:lnTo>
                    <a:pt x="0" y="280"/>
                  </a:lnTo>
                  <a:lnTo>
                    <a:pt x="2" y="298"/>
                  </a:lnTo>
                  <a:lnTo>
                    <a:pt x="2" y="298"/>
                  </a:lnTo>
                  <a:lnTo>
                    <a:pt x="82" y="206"/>
                  </a:lnTo>
                  <a:lnTo>
                    <a:pt x="164" y="110"/>
                  </a:lnTo>
                  <a:lnTo>
                    <a:pt x="256" y="0"/>
                  </a:lnTo>
                  <a:lnTo>
                    <a:pt x="256" y="0"/>
                  </a:lnTo>
                  <a:lnTo>
                    <a:pt x="156" y="100"/>
                  </a:lnTo>
                  <a:lnTo>
                    <a:pt x="72" y="184"/>
                  </a:lnTo>
                  <a:lnTo>
                    <a:pt x="2" y="258"/>
                  </a:lnTo>
                  <a:lnTo>
                    <a:pt x="2" y="258"/>
                  </a:lnTo>
                  <a:lnTo>
                    <a:pt x="2" y="258"/>
                  </a:lnTo>
                  <a:lnTo>
                    <a:pt x="0" y="262"/>
                  </a:lnTo>
                  <a:close/>
                  <a:moveTo>
                    <a:pt x="244" y="422"/>
                  </a:moveTo>
                  <a:lnTo>
                    <a:pt x="244" y="422"/>
                  </a:lnTo>
                  <a:lnTo>
                    <a:pt x="258" y="416"/>
                  </a:lnTo>
                  <a:lnTo>
                    <a:pt x="274" y="408"/>
                  </a:lnTo>
                  <a:lnTo>
                    <a:pt x="286" y="400"/>
                  </a:lnTo>
                  <a:lnTo>
                    <a:pt x="300" y="390"/>
                  </a:lnTo>
                  <a:lnTo>
                    <a:pt x="300" y="390"/>
                  </a:lnTo>
                  <a:lnTo>
                    <a:pt x="296" y="404"/>
                  </a:lnTo>
                  <a:lnTo>
                    <a:pt x="294" y="418"/>
                  </a:lnTo>
                  <a:lnTo>
                    <a:pt x="294" y="418"/>
                  </a:lnTo>
                  <a:lnTo>
                    <a:pt x="508" y="180"/>
                  </a:lnTo>
                  <a:lnTo>
                    <a:pt x="508" y="180"/>
                  </a:lnTo>
                  <a:lnTo>
                    <a:pt x="414" y="266"/>
                  </a:lnTo>
                  <a:lnTo>
                    <a:pt x="328" y="344"/>
                  </a:lnTo>
                  <a:lnTo>
                    <a:pt x="244" y="4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dirty="0">
                <a:latin typeface="RBC Text" panose="02000000000000000000" pitchFamily="2" charset="77"/>
              </a:endParaRPr>
            </a:p>
          </p:txBody>
        </p:sp>
        <p:sp>
          <p:nvSpPr>
            <p:cNvPr id="77" name="Freeform 396"/>
            <p:cNvSpPr>
              <a:spLocks/>
            </p:cNvSpPr>
            <p:nvPr/>
          </p:nvSpPr>
          <p:spPr bwMode="auto">
            <a:xfrm>
              <a:off x="5288294" y="2468025"/>
              <a:ext cx="257480" cy="257480"/>
            </a:xfrm>
            <a:custGeom>
              <a:avLst/>
              <a:gdLst>
                <a:gd name="T0" fmla="*/ 94 w 116"/>
                <a:gd name="T1" fmla="*/ 14 h 116"/>
                <a:gd name="T2" fmla="*/ 94 w 116"/>
                <a:gd name="T3" fmla="*/ 14 h 116"/>
                <a:gd name="T4" fmla="*/ 102 w 116"/>
                <a:gd name="T5" fmla="*/ 22 h 116"/>
                <a:gd name="T6" fmla="*/ 110 w 116"/>
                <a:gd name="T7" fmla="*/ 32 h 116"/>
                <a:gd name="T8" fmla="*/ 114 w 116"/>
                <a:gd name="T9" fmla="*/ 42 h 116"/>
                <a:gd name="T10" fmla="*/ 116 w 116"/>
                <a:gd name="T11" fmla="*/ 52 h 116"/>
                <a:gd name="T12" fmla="*/ 116 w 116"/>
                <a:gd name="T13" fmla="*/ 64 h 116"/>
                <a:gd name="T14" fmla="*/ 114 w 116"/>
                <a:gd name="T15" fmla="*/ 76 h 116"/>
                <a:gd name="T16" fmla="*/ 110 w 116"/>
                <a:gd name="T17" fmla="*/ 86 h 116"/>
                <a:gd name="T18" fmla="*/ 102 w 116"/>
                <a:gd name="T19" fmla="*/ 96 h 116"/>
                <a:gd name="T20" fmla="*/ 102 w 116"/>
                <a:gd name="T21" fmla="*/ 96 h 116"/>
                <a:gd name="T22" fmla="*/ 94 w 116"/>
                <a:gd name="T23" fmla="*/ 104 h 116"/>
                <a:gd name="T24" fmla="*/ 84 w 116"/>
                <a:gd name="T25" fmla="*/ 110 h 116"/>
                <a:gd name="T26" fmla="*/ 74 w 116"/>
                <a:gd name="T27" fmla="*/ 114 h 116"/>
                <a:gd name="T28" fmla="*/ 64 w 116"/>
                <a:gd name="T29" fmla="*/ 116 h 116"/>
                <a:gd name="T30" fmla="*/ 52 w 116"/>
                <a:gd name="T31" fmla="*/ 116 h 116"/>
                <a:gd name="T32" fmla="*/ 40 w 116"/>
                <a:gd name="T33" fmla="*/ 114 h 116"/>
                <a:gd name="T34" fmla="*/ 30 w 116"/>
                <a:gd name="T35" fmla="*/ 110 h 116"/>
                <a:gd name="T36" fmla="*/ 20 w 116"/>
                <a:gd name="T37" fmla="*/ 104 h 116"/>
                <a:gd name="T38" fmla="*/ 20 w 116"/>
                <a:gd name="T39" fmla="*/ 104 h 116"/>
                <a:gd name="T40" fmla="*/ 12 w 116"/>
                <a:gd name="T41" fmla="*/ 96 h 116"/>
                <a:gd name="T42" fmla="*/ 6 w 116"/>
                <a:gd name="T43" fmla="*/ 86 h 116"/>
                <a:gd name="T44" fmla="*/ 2 w 116"/>
                <a:gd name="T45" fmla="*/ 76 h 116"/>
                <a:gd name="T46" fmla="*/ 0 w 116"/>
                <a:gd name="T47" fmla="*/ 64 h 116"/>
                <a:gd name="T48" fmla="*/ 0 w 116"/>
                <a:gd name="T49" fmla="*/ 54 h 116"/>
                <a:gd name="T50" fmla="*/ 2 w 116"/>
                <a:gd name="T51" fmla="*/ 42 h 116"/>
                <a:gd name="T52" fmla="*/ 6 w 116"/>
                <a:gd name="T53" fmla="*/ 32 h 116"/>
                <a:gd name="T54" fmla="*/ 12 w 116"/>
                <a:gd name="T55" fmla="*/ 22 h 116"/>
                <a:gd name="T56" fmla="*/ 12 w 116"/>
                <a:gd name="T57" fmla="*/ 22 h 116"/>
                <a:gd name="T58" fmla="*/ 20 w 116"/>
                <a:gd name="T59" fmla="*/ 14 h 116"/>
                <a:gd name="T60" fmla="*/ 30 w 116"/>
                <a:gd name="T61" fmla="*/ 6 h 116"/>
                <a:gd name="T62" fmla="*/ 40 w 116"/>
                <a:gd name="T63" fmla="*/ 2 h 116"/>
                <a:gd name="T64" fmla="*/ 52 w 116"/>
                <a:gd name="T65" fmla="*/ 0 h 116"/>
                <a:gd name="T66" fmla="*/ 62 w 116"/>
                <a:gd name="T67" fmla="*/ 0 h 116"/>
                <a:gd name="T68" fmla="*/ 74 w 116"/>
                <a:gd name="T69" fmla="*/ 2 h 116"/>
                <a:gd name="T70" fmla="*/ 84 w 116"/>
                <a:gd name="T71" fmla="*/ 6 h 116"/>
                <a:gd name="T72" fmla="*/ 94 w 116"/>
                <a:gd name="T73" fmla="*/ 1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94" y="14"/>
                  </a:moveTo>
                  <a:lnTo>
                    <a:pt x="94" y="14"/>
                  </a:lnTo>
                  <a:lnTo>
                    <a:pt x="102" y="22"/>
                  </a:lnTo>
                  <a:lnTo>
                    <a:pt x="110" y="32"/>
                  </a:lnTo>
                  <a:lnTo>
                    <a:pt x="114" y="42"/>
                  </a:lnTo>
                  <a:lnTo>
                    <a:pt x="116" y="52"/>
                  </a:lnTo>
                  <a:lnTo>
                    <a:pt x="116" y="64"/>
                  </a:lnTo>
                  <a:lnTo>
                    <a:pt x="114" y="76"/>
                  </a:lnTo>
                  <a:lnTo>
                    <a:pt x="110" y="86"/>
                  </a:lnTo>
                  <a:lnTo>
                    <a:pt x="102" y="96"/>
                  </a:lnTo>
                  <a:lnTo>
                    <a:pt x="102" y="96"/>
                  </a:lnTo>
                  <a:lnTo>
                    <a:pt x="94" y="104"/>
                  </a:lnTo>
                  <a:lnTo>
                    <a:pt x="84" y="110"/>
                  </a:lnTo>
                  <a:lnTo>
                    <a:pt x="74" y="114"/>
                  </a:lnTo>
                  <a:lnTo>
                    <a:pt x="64" y="116"/>
                  </a:lnTo>
                  <a:lnTo>
                    <a:pt x="52" y="116"/>
                  </a:lnTo>
                  <a:lnTo>
                    <a:pt x="40" y="114"/>
                  </a:lnTo>
                  <a:lnTo>
                    <a:pt x="30" y="110"/>
                  </a:lnTo>
                  <a:lnTo>
                    <a:pt x="20" y="104"/>
                  </a:lnTo>
                  <a:lnTo>
                    <a:pt x="20" y="104"/>
                  </a:lnTo>
                  <a:lnTo>
                    <a:pt x="12" y="96"/>
                  </a:lnTo>
                  <a:lnTo>
                    <a:pt x="6" y="86"/>
                  </a:lnTo>
                  <a:lnTo>
                    <a:pt x="2" y="76"/>
                  </a:lnTo>
                  <a:lnTo>
                    <a:pt x="0" y="64"/>
                  </a:lnTo>
                  <a:lnTo>
                    <a:pt x="0" y="54"/>
                  </a:lnTo>
                  <a:lnTo>
                    <a:pt x="2" y="42"/>
                  </a:lnTo>
                  <a:lnTo>
                    <a:pt x="6" y="32"/>
                  </a:lnTo>
                  <a:lnTo>
                    <a:pt x="12" y="22"/>
                  </a:lnTo>
                  <a:lnTo>
                    <a:pt x="12" y="22"/>
                  </a:lnTo>
                  <a:lnTo>
                    <a:pt x="20" y="14"/>
                  </a:lnTo>
                  <a:lnTo>
                    <a:pt x="30" y="6"/>
                  </a:lnTo>
                  <a:lnTo>
                    <a:pt x="40" y="2"/>
                  </a:lnTo>
                  <a:lnTo>
                    <a:pt x="52" y="0"/>
                  </a:lnTo>
                  <a:lnTo>
                    <a:pt x="62" y="0"/>
                  </a:lnTo>
                  <a:lnTo>
                    <a:pt x="74" y="2"/>
                  </a:lnTo>
                  <a:lnTo>
                    <a:pt x="84" y="6"/>
                  </a:lnTo>
                  <a:lnTo>
                    <a:pt x="94" y="14"/>
                  </a:lnTo>
                  <a:close/>
                </a:path>
              </a:pathLst>
            </a:custGeom>
            <a:pattFill prst="wdUpDiag">
              <a:fgClr>
                <a:schemeClr val="tx1"/>
              </a:fgClr>
              <a:bgClr>
                <a:schemeClr val="bg1"/>
              </a:bgClr>
            </a:pattFill>
            <a:ln w="25400">
              <a:solidFill>
                <a:schemeClr val="tx1"/>
              </a:solidFill>
            </a:ln>
          </p:spPr>
          <p:txBody>
            <a:bodyPr vert="horz" wrap="square" lIns="91440" tIns="45720" rIns="91440" bIns="45720" numCol="1" anchor="t" anchorCtr="0" compatLnSpc="1">
              <a:prstTxWarp prst="textNoShape">
                <a:avLst/>
              </a:prstTxWarp>
            </a:bodyPr>
            <a:lstStyle/>
            <a:p>
              <a:endParaRPr lang="en-AU" dirty="0">
                <a:latin typeface="RBC Text" panose="02000000000000000000" pitchFamily="2" charset="77"/>
              </a:endParaRPr>
            </a:p>
          </p:txBody>
        </p:sp>
        <p:sp>
          <p:nvSpPr>
            <p:cNvPr id="79" name="Freeform 398"/>
            <p:cNvSpPr>
              <a:spLocks/>
            </p:cNvSpPr>
            <p:nvPr/>
          </p:nvSpPr>
          <p:spPr bwMode="auto">
            <a:xfrm>
              <a:off x="3376387" y="2856688"/>
              <a:ext cx="548724" cy="510736"/>
            </a:xfrm>
            <a:custGeom>
              <a:avLst/>
              <a:gdLst>
                <a:gd name="T0" fmla="*/ 40 w 520"/>
                <a:gd name="T1" fmla="*/ 480 h 484"/>
                <a:gd name="T2" fmla="*/ 520 w 520"/>
                <a:gd name="T3" fmla="*/ 0 h 484"/>
                <a:gd name="T4" fmla="*/ 0 w 520"/>
                <a:gd name="T5" fmla="*/ 484 h 484"/>
                <a:gd name="T6" fmla="*/ 40 w 520"/>
                <a:gd name="T7" fmla="*/ 480 h 484"/>
              </a:gdLst>
              <a:ahLst/>
              <a:cxnLst>
                <a:cxn ang="0">
                  <a:pos x="T0" y="T1"/>
                </a:cxn>
                <a:cxn ang="0">
                  <a:pos x="T2" y="T3"/>
                </a:cxn>
                <a:cxn ang="0">
                  <a:pos x="T4" y="T5"/>
                </a:cxn>
                <a:cxn ang="0">
                  <a:pos x="T6" y="T7"/>
                </a:cxn>
              </a:cxnLst>
              <a:rect l="0" t="0" r="r" b="b"/>
              <a:pathLst>
                <a:path w="520" h="484">
                  <a:moveTo>
                    <a:pt x="40" y="480"/>
                  </a:moveTo>
                  <a:lnTo>
                    <a:pt x="520" y="0"/>
                  </a:lnTo>
                  <a:lnTo>
                    <a:pt x="0" y="484"/>
                  </a:lnTo>
                  <a:lnTo>
                    <a:pt x="40" y="48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dirty="0">
                <a:latin typeface="RBC Text" panose="02000000000000000000" pitchFamily="2" charset="77"/>
              </a:endParaRPr>
            </a:p>
          </p:txBody>
        </p:sp>
      </p:grpSp>
      <p:sp>
        <p:nvSpPr>
          <p:cNvPr id="84" name="TextBox 83"/>
          <p:cNvSpPr txBox="1"/>
          <p:nvPr/>
        </p:nvSpPr>
        <p:spPr>
          <a:xfrm>
            <a:off x="1437452" y="3092267"/>
            <a:ext cx="2875005" cy="834074"/>
          </a:xfrm>
          <a:prstGeom prst="rect">
            <a:avLst/>
          </a:prstGeom>
          <a:noFill/>
        </p:spPr>
        <p:txBody>
          <a:bodyPr wrap="square" lIns="0" rIns="0" rtlCol="0">
            <a:spAutoFit/>
          </a:bodyPr>
          <a:lstStyle/>
          <a:p>
            <a:pPr>
              <a:lnSpc>
                <a:spcPct val="120000"/>
              </a:lnSpc>
              <a:spcBef>
                <a:spcPts val="600"/>
              </a:spcBef>
            </a:pPr>
            <a:r>
              <a:rPr lang="en-US" sz="1200" dirty="0">
                <a:latin typeface="RBC Display"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 peep at some.</a:t>
            </a:r>
          </a:p>
        </p:txBody>
      </p:sp>
      <p:sp>
        <p:nvSpPr>
          <p:cNvPr id="85" name="Oval 84"/>
          <p:cNvSpPr/>
          <p:nvPr/>
        </p:nvSpPr>
        <p:spPr>
          <a:xfrm>
            <a:off x="911726" y="3182558"/>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86" name="TextBox 85"/>
          <p:cNvSpPr txBox="1"/>
          <p:nvPr/>
        </p:nvSpPr>
        <p:spPr>
          <a:xfrm>
            <a:off x="1437452" y="4039835"/>
            <a:ext cx="2875005" cy="834074"/>
          </a:xfrm>
          <a:prstGeom prst="rect">
            <a:avLst/>
          </a:prstGeom>
          <a:noFill/>
        </p:spPr>
        <p:txBody>
          <a:bodyPr wrap="square" lIns="0" rIns="0" rtlCol="0">
            <a:spAutoFit/>
          </a:bodyPr>
          <a:lstStyle/>
          <a:p>
            <a:pPr>
              <a:lnSpc>
                <a:spcPct val="120000"/>
              </a:lnSpc>
              <a:spcBef>
                <a:spcPts val="600"/>
              </a:spcBef>
            </a:pPr>
            <a:r>
              <a:rPr lang="en-US" sz="1200" dirty="0">
                <a:latin typeface="RBC Display"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 peep at some.</a:t>
            </a:r>
          </a:p>
        </p:txBody>
      </p:sp>
      <p:sp>
        <p:nvSpPr>
          <p:cNvPr id="87" name="Oval 86"/>
          <p:cNvSpPr/>
          <p:nvPr/>
        </p:nvSpPr>
        <p:spPr>
          <a:xfrm>
            <a:off x="911726" y="4130126"/>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88" name="TextBox 87"/>
          <p:cNvSpPr txBox="1"/>
          <p:nvPr/>
        </p:nvSpPr>
        <p:spPr>
          <a:xfrm>
            <a:off x="1437452" y="4987403"/>
            <a:ext cx="2875005" cy="834074"/>
          </a:xfrm>
          <a:prstGeom prst="rect">
            <a:avLst/>
          </a:prstGeom>
          <a:noFill/>
        </p:spPr>
        <p:txBody>
          <a:bodyPr wrap="square" lIns="0" rIns="0" rtlCol="0">
            <a:spAutoFit/>
          </a:bodyPr>
          <a:lstStyle/>
          <a:p>
            <a:pPr>
              <a:lnSpc>
                <a:spcPct val="120000"/>
              </a:lnSpc>
              <a:spcBef>
                <a:spcPts val="600"/>
              </a:spcBef>
            </a:pPr>
            <a:r>
              <a:rPr lang="en-US" sz="1200" dirty="0">
                <a:latin typeface="RBC Display"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 peep at some.</a:t>
            </a:r>
          </a:p>
        </p:txBody>
      </p:sp>
      <p:sp>
        <p:nvSpPr>
          <p:cNvPr id="89" name="Oval 88"/>
          <p:cNvSpPr/>
          <p:nvPr/>
        </p:nvSpPr>
        <p:spPr>
          <a:xfrm>
            <a:off x="911726" y="5077694"/>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56" name="Text Placeholder 6">
            <a:extLst>
              <a:ext uri="{FF2B5EF4-FFF2-40B4-BE49-F238E27FC236}">
                <a16:creationId xmlns:a16="http://schemas.microsoft.com/office/drawing/2014/main" id="{A57EB86C-2ADA-754A-88A8-359915A137E4}"/>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84304825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orld</a:t>
            </a:r>
            <a:br>
              <a:rPr lang="en-US"/>
            </a:br>
            <a:r>
              <a:rPr lang="en-US"/>
              <a:t>Map</a:t>
            </a:r>
            <a:endParaRPr lang="en-US" dirty="0"/>
          </a:p>
        </p:txBody>
      </p:sp>
      <p:sp>
        <p:nvSpPr>
          <p:cNvPr id="6" name="Freeform 8"/>
          <p:cNvSpPr>
            <a:spLocks noEditPoints="1"/>
          </p:cNvSpPr>
          <p:nvPr/>
        </p:nvSpPr>
        <p:spPr bwMode="auto">
          <a:xfrm>
            <a:off x="2969778" y="1046033"/>
            <a:ext cx="9222222" cy="5234519"/>
          </a:xfrm>
          <a:custGeom>
            <a:avLst/>
            <a:gdLst>
              <a:gd name="T0" fmla="*/ 1980 w 2360"/>
              <a:gd name="T1" fmla="*/ 591 h 1390"/>
              <a:gd name="T2" fmla="*/ 2125 w 2360"/>
              <a:gd name="T3" fmla="*/ 273 h 1390"/>
              <a:gd name="T4" fmla="*/ 2069 w 2360"/>
              <a:gd name="T5" fmla="*/ 121 h 1390"/>
              <a:gd name="T6" fmla="*/ 1645 w 2360"/>
              <a:gd name="T7" fmla="*/ 111 h 1390"/>
              <a:gd name="T8" fmla="*/ 1488 w 2360"/>
              <a:gd name="T9" fmla="*/ 279 h 1390"/>
              <a:gd name="T10" fmla="*/ 1216 w 2360"/>
              <a:gd name="T11" fmla="*/ 297 h 1390"/>
              <a:gd name="T12" fmla="*/ 1247 w 2360"/>
              <a:gd name="T13" fmla="*/ 440 h 1390"/>
              <a:gd name="T14" fmla="*/ 1226 w 2360"/>
              <a:gd name="T15" fmla="*/ 611 h 1390"/>
              <a:gd name="T16" fmla="*/ 1001 w 2360"/>
              <a:gd name="T17" fmla="*/ 742 h 1390"/>
              <a:gd name="T18" fmla="*/ 1369 w 2360"/>
              <a:gd name="T19" fmla="*/ 751 h 1390"/>
              <a:gd name="T20" fmla="*/ 1767 w 2360"/>
              <a:gd name="T21" fmla="*/ 750 h 1390"/>
              <a:gd name="T22" fmla="*/ 1249 w 2360"/>
              <a:gd name="T23" fmla="*/ 285 h 1390"/>
              <a:gd name="T24" fmla="*/ 1352 w 2360"/>
              <a:gd name="T25" fmla="*/ 909 h 1390"/>
              <a:gd name="T26" fmla="*/ 1426 w 2360"/>
              <a:gd name="T27" fmla="*/ 462 h 1390"/>
              <a:gd name="T28" fmla="*/ 1667 w 2360"/>
              <a:gd name="T29" fmla="*/ 144 h 1390"/>
              <a:gd name="T30" fmla="*/ 186 w 2360"/>
              <a:gd name="T31" fmla="*/ 316 h 1390"/>
              <a:gd name="T32" fmla="*/ 530 w 2360"/>
              <a:gd name="T33" fmla="*/ 702 h 1390"/>
              <a:gd name="T34" fmla="*/ 703 w 2360"/>
              <a:gd name="T35" fmla="*/ 406 h 1390"/>
              <a:gd name="T36" fmla="*/ 587 w 2360"/>
              <a:gd name="T37" fmla="*/ 249 h 1390"/>
              <a:gd name="T38" fmla="*/ 385 w 2360"/>
              <a:gd name="T39" fmla="*/ 193 h 1390"/>
              <a:gd name="T40" fmla="*/ 94 w 2360"/>
              <a:gd name="T41" fmla="*/ 294 h 1390"/>
              <a:gd name="T42" fmla="*/ 260 w 2360"/>
              <a:gd name="T43" fmla="*/ 381 h 1390"/>
              <a:gd name="T44" fmla="*/ 327 w 2360"/>
              <a:gd name="T45" fmla="*/ 726 h 1390"/>
              <a:gd name="T46" fmla="*/ 615 w 2360"/>
              <a:gd name="T47" fmla="*/ 1325 h 1390"/>
              <a:gd name="T48" fmla="*/ 711 w 2360"/>
              <a:gd name="T49" fmla="*/ 1185 h 1390"/>
              <a:gd name="T50" fmla="*/ 568 w 2360"/>
              <a:gd name="T51" fmla="*/ 546 h 1390"/>
              <a:gd name="T52" fmla="*/ 481 w 2360"/>
              <a:gd name="T53" fmla="*/ 443 h 1390"/>
              <a:gd name="T54" fmla="*/ 258 w 2360"/>
              <a:gd name="T55" fmla="*/ 397 h 1390"/>
              <a:gd name="T56" fmla="*/ 386 w 2360"/>
              <a:gd name="T57" fmla="*/ 343 h 1390"/>
              <a:gd name="T58" fmla="*/ 761 w 2360"/>
              <a:gd name="T59" fmla="*/ 934 h 1390"/>
              <a:gd name="T60" fmla="*/ 1011 w 2360"/>
              <a:gd name="T61" fmla="*/ 73 h 1390"/>
              <a:gd name="T62" fmla="*/ 765 w 2360"/>
              <a:gd name="T63" fmla="*/ 130 h 1390"/>
              <a:gd name="T64" fmla="*/ 810 w 2360"/>
              <a:gd name="T65" fmla="*/ 385 h 1390"/>
              <a:gd name="T66" fmla="*/ 2069 w 2360"/>
              <a:gd name="T67" fmla="*/ 1009 h 1390"/>
              <a:gd name="T68" fmla="*/ 710 w 2360"/>
              <a:gd name="T69" fmla="*/ 90 h 1390"/>
              <a:gd name="T70" fmla="*/ 779 w 2360"/>
              <a:gd name="T71" fmla="*/ 8 h 1390"/>
              <a:gd name="T72" fmla="*/ 674 w 2360"/>
              <a:gd name="T73" fmla="*/ 277 h 1390"/>
              <a:gd name="T74" fmla="*/ 642 w 2360"/>
              <a:gd name="T75" fmla="*/ 225 h 1390"/>
              <a:gd name="T76" fmla="*/ 519 w 2360"/>
              <a:gd name="T77" fmla="*/ 194 h 1390"/>
              <a:gd name="T78" fmla="*/ 1463 w 2360"/>
              <a:gd name="T79" fmla="*/ 1013 h 1390"/>
              <a:gd name="T80" fmla="*/ 2045 w 2360"/>
              <a:gd name="T81" fmla="*/ 623 h 1390"/>
              <a:gd name="T82" fmla="*/ 438 w 2360"/>
              <a:gd name="T83" fmla="*/ 178 h 1390"/>
              <a:gd name="T84" fmla="*/ 1210 w 2360"/>
              <a:gd name="T85" fmla="*/ 170 h 1390"/>
              <a:gd name="T86" fmla="*/ 565 w 2360"/>
              <a:gd name="T87" fmla="*/ 109 h 1390"/>
              <a:gd name="T88" fmla="*/ 2345 w 2360"/>
              <a:gd name="T89" fmla="*/ 1261 h 1390"/>
              <a:gd name="T90" fmla="*/ 1978 w 2360"/>
              <a:gd name="T91" fmla="*/ 962 h 1390"/>
              <a:gd name="T92" fmla="*/ 1229 w 2360"/>
              <a:gd name="T93" fmla="*/ 115 h 1390"/>
              <a:gd name="T94" fmla="*/ 611 w 2360"/>
              <a:gd name="T95" fmla="*/ 70 h 1390"/>
              <a:gd name="T96" fmla="*/ 1999 w 2360"/>
              <a:gd name="T97" fmla="*/ 860 h 1390"/>
              <a:gd name="T98" fmla="*/ 611 w 2360"/>
              <a:gd name="T99" fmla="*/ 155 h 1390"/>
              <a:gd name="T100" fmla="*/ 2019 w 2360"/>
              <a:gd name="T101" fmla="*/ 841 h 1390"/>
              <a:gd name="T102" fmla="*/ 1175 w 2360"/>
              <a:gd name="T103" fmla="*/ 592 h 1390"/>
              <a:gd name="T104" fmla="*/ 2120 w 2360"/>
              <a:gd name="T105" fmla="*/ 507 h 1390"/>
              <a:gd name="T106" fmla="*/ 2074 w 2360"/>
              <a:gd name="T107" fmla="*/ 1222 h 1390"/>
              <a:gd name="T108" fmla="*/ 2016 w 2360"/>
              <a:gd name="T109" fmla="*/ 934 h 1390"/>
              <a:gd name="T110" fmla="*/ 543 w 2360"/>
              <a:gd name="T111" fmla="*/ 92 h 1390"/>
              <a:gd name="T112" fmla="*/ 673 w 2360"/>
              <a:gd name="T113" fmla="*/ 273 h 1390"/>
              <a:gd name="T114" fmla="*/ 619 w 2360"/>
              <a:gd name="T115" fmla="*/ 248 h 1390"/>
              <a:gd name="T116" fmla="*/ 587 w 2360"/>
              <a:gd name="T117" fmla="*/ 749 h 1390"/>
              <a:gd name="T118" fmla="*/ 482 w 2360"/>
              <a:gd name="T119" fmla="*/ 695 h 1390"/>
              <a:gd name="T120" fmla="*/ 1089 w 2360"/>
              <a:gd name="T121" fmla="*/ 434 h 1390"/>
              <a:gd name="T122" fmla="*/ 1995 w 2360"/>
              <a:gd name="T123" fmla="*/ 960 h 1390"/>
              <a:gd name="T124" fmla="*/ 100 w 2360"/>
              <a:gd name="T125" fmla="*/ 355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0" h="1390">
                <a:moveTo>
                  <a:pt x="1809" y="794"/>
                </a:moveTo>
                <a:cubicBezTo>
                  <a:pt x="1810" y="794"/>
                  <a:pt x="1811" y="794"/>
                  <a:pt x="1811" y="794"/>
                </a:cubicBezTo>
                <a:cubicBezTo>
                  <a:pt x="1813" y="795"/>
                  <a:pt x="1815" y="796"/>
                  <a:pt x="1815" y="799"/>
                </a:cubicBezTo>
                <a:cubicBezTo>
                  <a:pt x="1816" y="801"/>
                  <a:pt x="1816" y="803"/>
                  <a:pt x="1817" y="805"/>
                </a:cubicBezTo>
                <a:cubicBezTo>
                  <a:pt x="1818" y="810"/>
                  <a:pt x="1819" y="815"/>
                  <a:pt x="1822" y="820"/>
                </a:cubicBezTo>
                <a:cubicBezTo>
                  <a:pt x="1823" y="820"/>
                  <a:pt x="1823" y="822"/>
                  <a:pt x="1824" y="823"/>
                </a:cubicBezTo>
                <a:cubicBezTo>
                  <a:pt x="1824" y="824"/>
                  <a:pt x="1824" y="825"/>
                  <a:pt x="1824" y="826"/>
                </a:cubicBezTo>
                <a:cubicBezTo>
                  <a:pt x="1826" y="831"/>
                  <a:pt x="1826" y="835"/>
                  <a:pt x="1824" y="839"/>
                </a:cubicBezTo>
                <a:cubicBezTo>
                  <a:pt x="1824" y="840"/>
                  <a:pt x="1824" y="842"/>
                  <a:pt x="1824" y="843"/>
                </a:cubicBezTo>
                <a:cubicBezTo>
                  <a:pt x="1825" y="846"/>
                  <a:pt x="1825" y="849"/>
                  <a:pt x="1824" y="852"/>
                </a:cubicBezTo>
                <a:cubicBezTo>
                  <a:pt x="1822" y="856"/>
                  <a:pt x="1823" y="858"/>
                  <a:pt x="1827" y="860"/>
                </a:cubicBezTo>
                <a:cubicBezTo>
                  <a:pt x="1827" y="860"/>
                  <a:pt x="1827" y="860"/>
                  <a:pt x="1827" y="860"/>
                </a:cubicBezTo>
                <a:cubicBezTo>
                  <a:pt x="1831" y="865"/>
                  <a:pt x="1834" y="869"/>
                  <a:pt x="1838" y="873"/>
                </a:cubicBezTo>
                <a:cubicBezTo>
                  <a:pt x="1839" y="875"/>
                  <a:pt x="1839" y="878"/>
                  <a:pt x="1839" y="881"/>
                </a:cubicBezTo>
                <a:cubicBezTo>
                  <a:pt x="1840" y="881"/>
                  <a:pt x="1840" y="882"/>
                  <a:pt x="1840" y="882"/>
                </a:cubicBezTo>
                <a:cubicBezTo>
                  <a:pt x="1841" y="884"/>
                  <a:pt x="1841" y="886"/>
                  <a:pt x="1841" y="887"/>
                </a:cubicBezTo>
                <a:cubicBezTo>
                  <a:pt x="1841" y="889"/>
                  <a:pt x="1842" y="891"/>
                  <a:pt x="1843" y="892"/>
                </a:cubicBezTo>
                <a:cubicBezTo>
                  <a:pt x="1845" y="894"/>
                  <a:pt x="1847" y="896"/>
                  <a:pt x="1847" y="899"/>
                </a:cubicBezTo>
                <a:cubicBezTo>
                  <a:pt x="1847" y="899"/>
                  <a:pt x="1848" y="900"/>
                  <a:pt x="1849" y="901"/>
                </a:cubicBezTo>
                <a:cubicBezTo>
                  <a:pt x="1850" y="901"/>
                  <a:pt x="1851" y="902"/>
                  <a:pt x="1852" y="903"/>
                </a:cubicBezTo>
                <a:cubicBezTo>
                  <a:pt x="1853" y="905"/>
                  <a:pt x="1855" y="906"/>
                  <a:pt x="1858" y="908"/>
                </a:cubicBezTo>
                <a:cubicBezTo>
                  <a:pt x="1861" y="909"/>
                  <a:pt x="1863" y="910"/>
                  <a:pt x="1866" y="912"/>
                </a:cubicBezTo>
                <a:cubicBezTo>
                  <a:pt x="1866" y="912"/>
                  <a:pt x="1866" y="912"/>
                  <a:pt x="1866" y="912"/>
                </a:cubicBezTo>
                <a:cubicBezTo>
                  <a:pt x="1866" y="912"/>
                  <a:pt x="1866" y="912"/>
                  <a:pt x="1867" y="912"/>
                </a:cubicBezTo>
                <a:cubicBezTo>
                  <a:pt x="1866" y="912"/>
                  <a:pt x="1866" y="912"/>
                  <a:pt x="1866" y="912"/>
                </a:cubicBezTo>
                <a:cubicBezTo>
                  <a:pt x="1867" y="911"/>
                  <a:pt x="1867" y="911"/>
                  <a:pt x="1868" y="910"/>
                </a:cubicBezTo>
                <a:cubicBezTo>
                  <a:pt x="1869" y="910"/>
                  <a:pt x="1869" y="909"/>
                  <a:pt x="1869" y="907"/>
                </a:cubicBezTo>
                <a:cubicBezTo>
                  <a:pt x="1868" y="905"/>
                  <a:pt x="1867" y="902"/>
                  <a:pt x="1865" y="901"/>
                </a:cubicBezTo>
                <a:cubicBezTo>
                  <a:pt x="1863" y="898"/>
                  <a:pt x="1863" y="895"/>
                  <a:pt x="1863" y="893"/>
                </a:cubicBezTo>
                <a:cubicBezTo>
                  <a:pt x="1863" y="891"/>
                  <a:pt x="1863" y="889"/>
                  <a:pt x="1863" y="887"/>
                </a:cubicBezTo>
                <a:cubicBezTo>
                  <a:pt x="1863" y="885"/>
                  <a:pt x="1862" y="883"/>
                  <a:pt x="1861" y="882"/>
                </a:cubicBezTo>
                <a:cubicBezTo>
                  <a:pt x="1859" y="879"/>
                  <a:pt x="1856" y="877"/>
                  <a:pt x="1854" y="874"/>
                </a:cubicBezTo>
                <a:cubicBezTo>
                  <a:pt x="1850" y="873"/>
                  <a:pt x="1848" y="870"/>
                  <a:pt x="1845" y="868"/>
                </a:cubicBezTo>
                <a:cubicBezTo>
                  <a:pt x="1842" y="867"/>
                  <a:pt x="1840" y="865"/>
                  <a:pt x="1840" y="862"/>
                </a:cubicBezTo>
                <a:cubicBezTo>
                  <a:pt x="1840" y="860"/>
                  <a:pt x="1840" y="858"/>
                  <a:pt x="1839" y="857"/>
                </a:cubicBezTo>
                <a:cubicBezTo>
                  <a:pt x="1837" y="855"/>
                  <a:pt x="1836" y="853"/>
                  <a:pt x="1835" y="851"/>
                </a:cubicBezTo>
                <a:cubicBezTo>
                  <a:pt x="1832" y="850"/>
                  <a:pt x="1831" y="849"/>
                  <a:pt x="1830" y="846"/>
                </a:cubicBezTo>
                <a:cubicBezTo>
                  <a:pt x="1830" y="844"/>
                  <a:pt x="1830" y="843"/>
                  <a:pt x="1831" y="841"/>
                </a:cubicBezTo>
                <a:cubicBezTo>
                  <a:pt x="1833" y="834"/>
                  <a:pt x="1835" y="828"/>
                  <a:pt x="1835" y="821"/>
                </a:cubicBezTo>
                <a:cubicBezTo>
                  <a:pt x="1835" y="821"/>
                  <a:pt x="1836" y="821"/>
                  <a:pt x="1836" y="821"/>
                </a:cubicBezTo>
                <a:cubicBezTo>
                  <a:pt x="1836" y="820"/>
                  <a:pt x="1837" y="820"/>
                  <a:pt x="1837" y="820"/>
                </a:cubicBezTo>
                <a:cubicBezTo>
                  <a:pt x="1838" y="820"/>
                  <a:pt x="1838" y="820"/>
                  <a:pt x="1839" y="820"/>
                </a:cubicBezTo>
                <a:cubicBezTo>
                  <a:pt x="1839" y="821"/>
                  <a:pt x="1840" y="821"/>
                  <a:pt x="1840" y="822"/>
                </a:cubicBezTo>
                <a:cubicBezTo>
                  <a:pt x="1840" y="825"/>
                  <a:pt x="1842" y="826"/>
                  <a:pt x="1845" y="826"/>
                </a:cubicBezTo>
                <a:cubicBezTo>
                  <a:pt x="1846" y="826"/>
                  <a:pt x="1847" y="826"/>
                  <a:pt x="1848" y="827"/>
                </a:cubicBezTo>
                <a:cubicBezTo>
                  <a:pt x="1851" y="829"/>
                  <a:pt x="1854" y="830"/>
                  <a:pt x="1856" y="834"/>
                </a:cubicBezTo>
                <a:cubicBezTo>
                  <a:pt x="1858" y="838"/>
                  <a:pt x="1862" y="841"/>
                  <a:pt x="1865" y="844"/>
                </a:cubicBezTo>
                <a:cubicBezTo>
                  <a:pt x="1866" y="844"/>
                  <a:pt x="1867" y="843"/>
                  <a:pt x="1868" y="843"/>
                </a:cubicBezTo>
                <a:cubicBezTo>
                  <a:pt x="1869" y="844"/>
                  <a:pt x="1871" y="845"/>
                  <a:pt x="1871" y="848"/>
                </a:cubicBezTo>
                <a:cubicBezTo>
                  <a:pt x="1871" y="850"/>
                  <a:pt x="1871" y="852"/>
                  <a:pt x="1871" y="855"/>
                </a:cubicBezTo>
                <a:cubicBezTo>
                  <a:pt x="1871" y="855"/>
                  <a:pt x="1873" y="856"/>
                  <a:pt x="1873" y="855"/>
                </a:cubicBezTo>
                <a:cubicBezTo>
                  <a:pt x="1874" y="855"/>
                  <a:pt x="1874" y="855"/>
                  <a:pt x="1874" y="855"/>
                </a:cubicBezTo>
                <a:cubicBezTo>
                  <a:pt x="1878" y="852"/>
                  <a:pt x="1881" y="849"/>
                  <a:pt x="1884" y="845"/>
                </a:cubicBezTo>
                <a:cubicBezTo>
                  <a:pt x="1885" y="845"/>
                  <a:pt x="1886" y="844"/>
                  <a:pt x="1887" y="843"/>
                </a:cubicBezTo>
                <a:cubicBezTo>
                  <a:pt x="1892" y="842"/>
                  <a:pt x="1895" y="839"/>
                  <a:pt x="1898" y="837"/>
                </a:cubicBezTo>
                <a:cubicBezTo>
                  <a:pt x="1900" y="835"/>
                  <a:pt x="1901" y="833"/>
                  <a:pt x="1902" y="830"/>
                </a:cubicBezTo>
                <a:cubicBezTo>
                  <a:pt x="1903" y="826"/>
                  <a:pt x="1903" y="822"/>
                  <a:pt x="1902" y="818"/>
                </a:cubicBezTo>
                <a:cubicBezTo>
                  <a:pt x="1902" y="818"/>
                  <a:pt x="1902" y="817"/>
                  <a:pt x="1902" y="817"/>
                </a:cubicBezTo>
                <a:cubicBezTo>
                  <a:pt x="1901" y="812"/>
                  <a:pt x="1899" y="807"/>
                  <a:pt x="1897" y="802"/>
                </a:cubicBezTo>
                <a:cubicBezTo>
                  <a:pt x="1896" y="800"/>
                  <a:pt x="1894" y="799"/>
                  <a:pt x="1893" y="797"/>
                </a:cubicBezTo>
                <a:cubicBezTo>
                  <a:pt x="1890" y="794"/>
                  <a:pt x="1887" y="792"/>
                  <a:pt x="1883" y="790"/>
                </a:cubicBezTo>
                <a:cubicBezTo>
                  <a:pt x="1881" y="788"/>
                  <a:pt x="1879" y="787"/>
                  <a:pt x="1878" y="784"/>
                </a:cubicBezTo>
                <a:cubicBezTo>
                  <a:pt x="1878" y="783"/>
                  <a:pt x="1877" y="781"/>
                  <a:pt x="1876" y="781"/>
                </a:cubicBezTo>
                <a:cubicBezTo>
                  <a:pt x="1875" y="780"/>
                  <a:pt x="1874" y="779"/>
                  <a:pt x="1873" y="778"/>
                </a:cubicBezTo>
                <a:cubicBezTo>
                  <a:pt x="1873" y="778"/>
                  <a:pt x="1872" y="777"/>
                  <a:pt x="1872" y="777"/>
                </a:cubicBezTo>
                <a:cubicBezTo>
                  <a:pt x="1872" y="774"/>
                  <a:pt x="1871" y="770"/>
                  <a:pt x="1874" y="768"/>
                </a:cubicBezTo>
                <a:cubicBezTo>
                  <a:pt x="1876" y="767"/>
                  <a:pt x="1877" y="765"/>
                  <a:pt x="1877" y="763"/>
                </a:cubicBezTo>
                <a:cubicBezTo>
                  <a:pt x="1877" y="762"/>
                  <a:pt x="1878" y="761"/>
                  <a:pt x="1879" y="760"/>
                </a:cubicBezTo>
                <a:cubicBezTo>
                  <a:pt x="1882" y="759"/>
                  <a:pt x="1885" y="757"/>
                  <a:pt x="1889" y="755"/>
                </a:cubicBezTo>
                <a:cubicBezTo>
                  <a:pt x="1889" y="755"/>
                  <a:pt x="1890" y="755"/>
                  <a:pt x="1891" y="755"/>
                </a:cubicBezTo>
                <a:cubicBezTo>
                  <a:pt x="1892" y="755"/>
                  <a:pt x="1893" y="755"/>
                  <a:pt x="1894" y="756"/>
                </a:cubicBezTo>
                <a:cubicBezTo>
                  <a:pt x="1896" y="756"/>
                  <a:pt x="1897" y="757"/>
                  <a:pt x="1898" y="760"/>
                </a:cubicBezTo>
                <a:cubicBezTo>
                  <a:pt x="1898" y="761"/>
                  <a:pt x="1899" y="763"/>
                  <a:pt x="1901" y="764"/>
                </a:cubicBezTo>
                <a:cubicBezTo>
                  <a:pt x="1902" y="765"/>
                  <a:pt x="1905" y="764"/>
                  <a:pt x="1905" y="762"/>
                </a:cubicBezTo>
                <a:cubicBezTo>
                  <a:pt x="1905" y="761"/>
                  <a:pt x="1905" y="760"/>
                  <a:pt x="1905" y="760"/>
                </a:cubicBezTo>
                <a:cubicBezTo>
                  <a:pt x="1905" y="760"/>
                  <a:pt x="1905" y="760"/>
                  <a:pt x="1905" y="760"/>
                </a:cubicBezTo>
                <a:cubicBezTo>
                  <a:pt x="1905" y="759"/>
                  <a:pt x="1905" y="759"/>
                  <a:pt x="1905" y="759"/>
                </a:cubicBezTo>
                <a:cubicBezTo>
                  <a:pt x="1905" y="760"/>
                  <a:pt x="1905" y="760"/>
                  <a:pt x="1905" y="760"/>
                </a:cubicBezTo>
                <a:cubicBezTo>
                  <a:pt x="1905" y="759"/>
                  <a:pt x="1904" y="759"/>
                  <a:pt x="1904" y="758"/>
                </a:cubicBezTo>
                <a:cubicBezTo>
                  <a:pt x="1904" y="758"/>
                  <a:pt x="1905" y="757"/>
                  <a:pt x="1905" y="757"/>
                </a:cubicBezTo>
                <a:cubicBezTo>
                  <a:pt x="1909" y="756"/>
                  <a:pt x="1913" y="754"/>
                  <a:pt x="1917" y="753"/>
                </a:cubicBezTo>
                <a:cubicBezTo>
                  <a:pt x="1920" y="752"/>
                  <a:pt x="1923" y="750"/>
                  <a:pt x="1925" y="747"/>
                </a:cubicBezTo>
                <a:cubicBezTo>
                  <a:pt x="1925" y="746"/>
                  <a:pt x="1926" y="746"/>
                  <a:pt x="1927" y="746"/>
                </a:cubicBezTo>
                <a:cubicBezTo>
                  <a:pt x="1927" y="747"/>
                  <a:pt x="1928" y="748"/>
                  <a:pt x="1930" y="747"/>
                </a:cubicBezTo>
                <a:cubicBezTo>
                  <a:pt x="1932" y="746"/>
                  <a:pt x="1935" y="745"/>
                  <a:pt x="1937" y="745"/>
                </a:cubicBezTo>
                <a:cubicBezTo>
                  <a:pt x="1939" y="744"/>
                  <a:pt x="1941" y="744"/>
                  <a:pt x="1943" y="743"/>
                </a:cubicBezTo>
                <a:cubicBezTo>
                  <a:pt x="1945" y="742"/>
                  <a:pt x="1947" y="741"/>
                  <a:pt x="1947" y="739"/>
                </a:cubicBezTo>
                <a:cubicBezTo>
                  <a:pt x="1947" y="738"/>
                  <a:pt x="1948" y="738"/>
                  <a:pt x="1949" y="737"/>
                </a:cubicBezTo>
                <a:cubicBezTo>
                  <a:pt x="1952" y="735"/>
                  <a:pt x="1955" y="734"/>
                  <a:pt x="1956" y="730"/>
                </a:cubicBezTo>
                <a:cubicBezTo>
                  <a:pt x="1956" y="730"/>
                  <a:pt x="1956" y="729"/>
                  <a:pt x="1957" y="729"/>
                </a:cubicBezTo>
                <a:cubicBezTo>
                  <a:pt x="1959" y="728"/>
                  <a:pt x="1960" y="726"/>
                  <a:pt x="1961" y="723"/>
                </a:cubicBezTo>
                <a:cubicBezTo>
                  <a:pt x="1961" y="722"/>
                  <a:pt x="1962" y="722"/>
                  <a:pt x="1963" y="722"/>
                </a:cubicBezTo>
                <a:cubicBezTo>
                  <a:pt x="1965" y="721"/>
                  <a:pt x="1965" y="721"/>
                  <a:pt x="1965" y="719"/>
                </a:cubicBezTo>
                <a:cubicBezTo>
                  <a:pt x="1964" y="717"/>
                  <a:pt x="1964" y="715"/>
                  <a:pt x="1964" y="712"/>
                </a:cubicBezTo>
                <a:cubicBezTo>
                  <a:pt x="1964" y="711"/>
                  <a:pt x="1964" y="710"/>
                  <a:pt x="1965" y="709"/>
                </a:cubicBezTo>
                <a:cubicBezTo>
                  <a:pt x="1968" y="707"/>
                  <a:pt x="1970" y="705"/>
                  <a:pt x="1970" y="702"/>
                </a:cubicBezTo>
                <a:cubicBezTo>
                  <a:pt x="1970" y="700"/>
                  <a:pt x="1971" y="698"/>
                  <a:pt x="1972" y="697"/>
                </a:cubicBezTo>
                <a:cubicBezTo>
                  <a:pt x="1974" y="696"/>
                  <a:pt x="1975" y="694"/>
                  <a:pt x="1975" y="691"/>
                </a:cubicBezTo>
                <a:cubicBezTo>
                  <a:pt x="1975" y="690"/>
                  <a:pt x="1975" y="688"/>
                  <a:pt x="1976" y="687"/>
                </a:cubicBezTo>
                <a:cubicBezTo>
                  <a:pt x="1977" y="684"/>
                  <a:pt x="1976" y="682"/>
                  <a:pt x="1975" y="681"/>
                </a:cubicBezTo>
                <a:cubicBezTo>
                  <a:pt x="1974" y="680"/>
                  <a:pt x="1973" y="679"/>
                  <a:pt x="1971" y="678"/>
                </a:cubicBezTo>
                <a:cubicBezTo>
                  <a:pt x="1971" y="677"/>
                  <a:pt x="1969" y="677"/>
                  <a:pt x="1968" y="677"/>
                </a:cubicBezTo>
                <a:cubicBezTo>
                  <a:pt x="1968" y="677"/>
                  <a:pt x="1968" y="677"/>
                  <a:pt x="1968" y="677"/>
                </a:cubicBezTo>
                <a:cubicBezTo>
                  <a:pt x="1968" y="677"/>
                  <a:pt x="1968" y="677"/>
                  <a:pt x="1968" y="677"/>
                </a:cubicBezTo>
                <a:cubicBezTo>
                  <a:pt x="1968" y="677"/>
                  <a:pt x="1968" y="677"/>
                  <a:pt x="1968" y="677"/>
                </a:cubicBezTo>
                <a:cubicBezTo>
                  <a:pt x="1968" y="677"/>
                  <a:pt x="1968" y="677"/>
                  <a:pt x="1968" y="677"/>
                </a:cubicBezTo>
                <a:cubicBezTo>
                  <a:pt x="1969" y="676"/>
                  <a:pt x="1969" y="675"/>
                  <a:pt x="1969" y="675"/>
                </a:cubicBezTo>
                <a:cubicBezTo>
                  <a:pt x="1970" y="674"/>
                  <a:pt x="1971" y="673"/>
                  <a:pt x="1972" y="672"/>
                </a:cubicBezTo>
                <a:cubicBezTo>
                  <a:pt x="1973" y="671"/>
                  <a:pt x="1973" y="670"/>
                  <a:pt x="1972" y="669"/>
                </a:cubicBezTo>
                <a:cubicBezTo>
                  <a:pt x="1971" y="667"/>
                  <a:pt x="1970" y="666"/>
                  <a:pt x="1968" y="665"/>
                </a:cubicBezTo>
                <a:cubicBezTo>
                  <a:pt x="1968" y="665"/>
                  <a:pt x="1968" y="665"/>
                  <a:pt x="1968" y="665"/>
                </a:cubicBezTo>
                <a:cubicBezTo>
                  <a:pt x="1968" y="665"/>
                  <a:pt x="1968" y="665"/>
                  <a:pt x="1968" y="665"/>
                </a:cubicBezTo>
                <a:cubicBezTo>
                  <a:pt x="1968" y="665"/>
                  <a:pt x="1968" y="665"/>
                  <a:pt x="1968" y="665"/>
                </a:cubicBezTo>
                <a:cubicBezTo>
                  <a:pt x="1968" y="665"/>
                  <a:pt x="1968" y="665"/>
                  <a:pt x="1968" y="665"/>
                </a:cubicBezTo>
                <a:cubicBezTo>
                  <a:pt x="1969" y="665"/>
                  <a:pt x="1969" y="665"/>
                  <a:pt x="1970" y="665"/>
                </a:cubicBezTo>
                <a:cubicBezTo>
                  <a:pt x="1972" y="664"/>
                  <a:pt x="1972" y="662"/>
                  <a:pt x="1971" y="660"/>
                </a:cubicBezTo>
                <a:cubicBezTo>
                  <a:pt x="1970" y="659"/>
                  <a:pt x="1969" y="658"/>
                  <a:pt x="1968" y="657"/>
                </a:cubicBezTo>
                <a:cubicBezTo>
                  <a:pt x="1965" y="656"/>
                  <a:pt x="1964" y="655"/>
                  <a:pt x="1963" y="652"/>
                </a:cubicBezTo>
                <a:cubicBezTo>
                  <a:pt x="1962" y="649"/>
                  <a:pt x="1960" y="647"/>
                  <a:pt x="1959" y="644"/>
                </a:cubicBezTo>
                <a:cubicBezTo>
                  <a:pt x="1958" y="642"/>
                  <a:pt x="1956" y="640"/>
                  <a:pt x="1954" y="639"/>
                </a:cubicBezTo>
                <a:cubicBezTo>
                  <a:pt x="1953" y="639"/>
                  <a:pt x="1952" y="638"/>
                  <a:pt x="1951" y="638"/>
                </a:cubicBezTo>
                <a:cubicBezTo>
                  <a:pt x="1949" y="637"/>
                  <a:pt x="1948" y="635"/>
                  <a:pt x="1948" y="632"/>
                </a:cubicBezTo>
                <a:cubicBezTo>
                  <a:pt x="1949" y="630"/>
                  <a:pt x="1949" y="629"/>
                  <a:pt x="1950" y="627"/>
                </a:cubicBezTo>
                <a:cubicBezTo>
                  <a:pt x="1951" y="626"/>
                  <a:pt x="1952" y="625"/>
                  <a:pt x="1952" y="623"/>
                </a:cubicBezTo>
                <a:cubicBezTo>
                  <a:pt x="1953" y="621"/>
                  <a:pt x="1955" y="619"/>
                  <a:pt x="1958" y="618"/>
                </a:cubicBezTo>
                <a:cubicBezTo>
                  <a:pt x="1960" y="616"/>
                  <a:pt x="1962" y="615"/>
                  <a:pt x="1965" y="615"/>
                </a:cubicBezTo>
                <a:cubicBezTo>
                  <a:pt x="1966" y="615"/>
                  <a:pt x="1966" y="614"/>
                  <a:pt x="1967" y="614"/>
                </a:cubicBezTo>
                <a:cubicBezTo>
                  <a:pt x="1967" y="613"/>
                  <a:pt x="1967" y="612"/>
                  <a:pt x="1967" y="611"/>
                </a:cubicBezTo>
                <a:cubicBezTo>
                  <a:pt x="1967" y="610"/>
                  <a:pt x="1966" y="608"/>
                  <a:pt x="1964" y="608"/>
                </a:cubicBezTo>
                <a:cubicBezTo>
                  <a:pt x="1963" y="608"/>
                  <a:pt x="1962" y="608"/>
                  <a:pt x="1960" y="608"/>
                </a:cubicBezTo>
                <a:cubicBezTo>
                  <a:pt x="1959" y="608"/>
                  <a:pt x="1958" y="608"/>
                  <a:pt x="1957" y="608"/>
                </a:cubicBezTo>
                <a:cubicBezTo>
                  <a:pt x="1956" y="607"/>
                  <a:pt x="1955" y="606"/>
                  <a:pt x="1954" y="606"/>
                </a:cubicBezTo>
                <a:cubicBezTo>
                  <a:pt x="1952" y="605"/>
                  <a:pt x="1951" y="606"/>
                  <a:pt x="1950" y="606"/>
                </a:cubicBezTo>
                <a:cubicBezTo>
                  <a:pt x="1948" y="607"/>
                  <a:pt x="1947" y="609"/>
                  <a:pt x="1945" y="611"/>
                </a:cubicBezTo>
                <a:cubicBezTo>
                  <a:pt x="1945" y="612"/>
                  <a:pt x="1944" y="612"/>
                  <a:pt x="1943" y="612"/>
                </a:cubicBezTo>
                <a:cubicBezTo>
                  <a:pt x="1942" y="612"/>
                  <a:pt x="1940" y="612"/>
                  <a:pt x="1940" y="610"/>
                </a:cubicBezTo>
                <a:cubicBezTo>
                  <a:pt x="1939" y="608"/>
                  <a:pt x="1938" y="606"/>
                  <a:pt x="1935" y="605"/>
                </a:cubicBezTo>
                <a:cubicBezTo>
                  <a:pt x="1932" y="605"/>
                  <a:pt x="1931" y="603"/>
                  <a:pt x="1929" y="601"/>
                </a:cubicBezTo>
                <a:cubicBezTo>
                  <a:pt x="1927" y="599"/>
                  <a:pt x="1929" y="595"/>
                  <a:pt x="1931" y="595"/>
                </a:cubicBezTo>
                <a:cubicBezTo>
                  <a:pt x="1932" y="595"/>
                  <a:pt x="1933" y="595"/>
                  <a:pt x="1933" y="595"/>
                </a:cubicBezTo>
                <a:cubicBezTo>
                  <a:pt x="1935" y="595"/>
                  <a:pt x="1937" y="594"/>
                  <a:pt x="1937" y="592"/>
                </a:cubicBezTo>
                <a:cubicBezTo>
                  <a:pt x="1938" y="588"/>
                  <a:pt x="1939" y="585"/>
                  <a:pt x="1943" y="583"/>
                </a:cubicBezTo>
                <a:cubicBezTo>
                  <a:pt x="1943" y="583"/>
                  <a:pt x="1944" y="582"/>
                  <a:pt x="1944" y="581"/>
                </a:cubicBezTo>
                <a:cubicBezTo>
                  <a:pt x="1945" y="579"/>
                  <a:pt x="1946" y="577"/>
                  <a:pt x="1947" y="576"/>
                </a:cubicBezTo>
                <a:cubicBezTo>
                  <a:pt x="1947" y="575"/>
                  <a:pt x="1948" y="575"/>
                  <a:pt x="1949" y="575"/>
                </a:cubicBezTo>
                <a:cubicBezTo>
                  <a:pt x="1951" y="574"/>
                  <a:pt x="1953" y="575"/>
                  <a:pt x="1954" y="577"/>
                </a:cubicBezTo>
                <a:cubicBezTo>
                  <a:pt x="1956" y="578"/>
                  <a:pt x="1955" y="579"/>
                  <a:pt x="1955" y="581"/>
                </a:cubicBezTo>
                <a:cubicBezTo>
                  <a:pt x="1954" y="581"/>
                  <a:pt x="1954" y="582"/>
                  <a:pt x="1954" y="582"/>
                </a:cubicBezTo>
                <a:cubicBezTo>
                  <a:pt x="1953" y="584"/>
                  <a:pt x="1952" y="586"/>
                  <a:pt x="1953" y="588"/>
                </a:cubicBezTo>
                <a:cubicBezTo>
                  <a:pt x="1954" y="589"/>
                  <a:pt x="1954" y="590"/>
                  <a:pt x="1954" y="591"/>
                </a:cubicBezTo>
                <a:cubicBezTo>
                  <a:pt x="1955" y="592"/>
                  <a:pt x="1954" y="593"/>
                  <a:pt x="1953" y="594"/>
                </a:cubicBezTo>
                <a:cubicBezTo>
                  <a:pt x="1953" y="594"/>
                  <a:pt x="1953" y="594"/>
                  <a:pt x="1953" y="594"/>
                </a:cubicBezTo>
                <a:cubicBezTo>
                  <a:pt x="1953" y="595"/>
                  <a:pt x="1953" y="596"/>
                  <a:pt x="1953" y="596"/>
                </a:cubicBezTo>
                <a:cubicBezTo>
                  <a:pt x="1953" y="596"/>
                  <a:pt x="1954" y="596"/>
                  <a:pt x="1955" y="596"/>
                </a:cubicBezTo>
                <a:cubicBezTo>
                  <a:pt x="1957" y="595"/>
                  <a:pt x="1958" y="594"/>
                  <a:pt x="1959" y="592"/>
                </a:cubicBezTo>
                <a:cubicBezTo>
                  <a:pt x="1962" y="588"/>
                  <a:pt x="1967" y="586"/>
                  <a:pt x="1972" y="585"/>
                </a:cubicBezTo>
                <a:cubicBezTo>
                  <a:pt x="1973" y="585"/>
                  <a:pt x="1973" y="585"/>
                  <a:pt x="1974" y="586"/>
                </a:cubicBezTo>
                <a:cubicBezTo>
                  <a:pt x="1975" y="586"/>
                  <a:pt x="1976" y="586"/>
                  <a:pt x="1977" y="586"/>
                </a:cubicBezTo>
                <a:cubicBezTo>
                  <a:pt x="1980" y="588"/>
                  <a:pt x="1980" y="588"/>
                  <a:pt x="1980" y="591"/>
                </a:cubicBezTo>
                <a:cubicBezTo>
                  <a:pt x="1980" y="594"/>
                  <a:pt x="1980" y="597"/>
                  <a:pt x="1980" y="600"/>
                </a:cubicBezTo>
                <a:cubicBezTo>
                  <a:pt x="1980" y="601"/>
                  <a:pt x="1981" y="603"/>
                  <a:pt x="1982" y="604"/>
                </a:cubicBezTo>
                <a:cubicBezTo>
                  <a:pt x="1983" y="605"/>
                  <a:pt x="1984" y="605"/>
                  <a:pt x="1985" y="605"/>
                </a:cubicBezTo>
                <a:cubicBezTo>
                  <a:pt x="1986" y="605"/>
                  <a:pt x="1986" y="604"/>
                  <a:pt x="1987" y="604"/>
                </a:cubicBezTo>
                <a:cubicBezTo>
                  <a:pt x="1989" y="604"/>
                  <a:pt x="1990" y="604"/>
                  <a:pt x="1991" y="605"/>
                </a:cubicBezTo>
                <a:cubicBezTo>
                  <a:pt x="1993" y="606"/>
                  <a:pt x="1994" y="607"/>
                  <a:pt x="1994" y="608"/>
                </a:cubicBezTo>
                <a:cubicBezTo>
                  <a:pt x="1995" y="609"/>
                  <a:pt x="1995" y="610"/>
                  <a:pt x="1994" y="612"/>
                </a:cubicBezTo>
                <a:cubicBezTo>
                  <a:pt x="1993" y="613"/>
                  <a:pt x="1992" y="614"/>
                  <a:pt x="1993" y="615"/>
                </a:cubicBezTo>
                <a:cubicBezTo>
                  <a:pt x="1997" y="618"/>
                  <a:pt x="1998" y="622"/>
                  <a:pt x="1997" y="626"/>
                </a:cubicBezTo>
                <a:cubicBezTo>
                  <a:pt x="1997" y="627"/>
                  <a:pt x="1997" y="628"/>
                  <a:pt x="1997" y="630"/>
                </a:cubicBezTo>
                <a:cubicBezTo>
                  <a:pt x="1997" y="632"/>
                  <a:pt x="1998" y="634"/>
                  <a:pt x="1999" y="636"/>
                </a:cubicBezTo>
                <a:cubicBezTo>
                  <a:pt x="2000" y="636"/>
                  <a:pt x="2000" y="636"/>
                  <a:pt x="2000" y="636"/>
                </a:cubicBezTo>
                <a:cubicBezTo>
                  <a:pt x="2002" y="636"/>
                  <a:pt x="2003" y="635"/>
                  <a:pt x="2004" y="634"/>
                </a:cubicBezTo>
                <a:cubicBezTo>
                  <a:pt x="2005" y="633"/>
                  <a:pt x="2007" y="632"/>
                  <a:pt x="2009" y="632"/>
                </a:cubicBezTo>
                <a:cubicBezTo>
                  <a:pt x="2010" y="632"/>
                  <a:pt x="2011" y="632"/>
                  <a:pt x="2012" y="632"/>
                </a:cubicBezTo>
                <a:cubicBezTo>
                  <a:pt x="2014" y="632"/>
                  <a:pt x="2015" y="631"/>
                  <a:pt x="2016" y="630"/>
                </a:cubicBezTo>
                <a:cubicBezTo>
                  <a:pt x="2019" y="627"/>
                  <a:pt x="2020" y="623"/>
                  <a:pt x="2018" y="620"/>
                </a:cubicBezTo>
                <a:cubicBezTo>
                  <a:pt x="2018" y="618"/>
                  <a:pt x="2017" y="616"/>
                  <a:pt x="2017" y="615"/>
                </a:cubicBezTo>
                <a:cubicBezTo>
                  <a:pt x="2015" y="608"/>
                  <a:pt x="2015" y="608"/>
                  <a:pt x="2010" y="603"/>
                </a:cubicBezTo>
                <a:cubicBezTo>
                  <a:pt x="2008" y="601"/>
                  <a:pt x="2007" y="599"/>
                  <a:pt x="2005" y="596"/>
                </a:cubicBezTo>
                <a:cubicBezTo>
                  <a:pt x="2004" y="594"/>
                  <a:pt x="2003" y="593"/>
                  <a:pt x="2001" y="591"/>
                </a:cubicBezTo>
                <a:cubicBezTo>
                  <a:pt x="1999" y="590"/>
                  <a:pt x="1998" y="589"/>
                  <a:pt x="1996" y="588"/>
                </a:cubicBezTo>
                <a:cubicBezTo>
                  <a:pt x="1995" y="587"/>
                  <a:pt x="1994" y="584"/>
                  <a:pt x="1996" y="583"/>
                </a:cubicBezTo>
                <a:cubicBezTo>
                  <a:pt x="1996" y="582"/>
                  <a:pt x="1997" y="581"/>
                  <a:pt x="1998" y="580"/>
                </a:cubicBezTo>
                <a:cubicBezTo>
                  <a:pt x="2000" y="579"/>
                  <a:pt x="2001" y="577"/>
                  <a:pt x="2002" y="576"/>
                </a:cubicBezTo>
                <a:cubicBezTo>
                  <a:pt x="2005" y="572"/>
                  <a:pt x="2007" y="568"/>
                  <a:pt x="2005" y="563"/>
                </a:cubicBezTo>
                <a:cubicBezTo>
                  <a:pt x="2004" y="559"/>
                  <a:pt x="2005" y="556"/>
                  <a:pt x="2008" y="554"/>
                </a:cubicBezTo>
                <a:cubicBezTo>
                  <a:pt x="2009" y="553"/>
                  <a:pt x="2010" y="552"/>
                  <a:pt x="2010" y="551"/>
                </a:cubicBezTo>
                <a:cubicBezTo>
                  <a:pt x="2011" y="550"/>
                  <a:pt x="2012" y="550"/>
                  <a:pt x="2013" y="549"/>
                </a:cubicBezTo>
                <a:cubicBezTo>
                  <a:pt x="2014" y="547"/>
                  <a:pt x="2014" y="545"/>
                  <a:pt x="2016" y="544"/>
                </a:cubicBezTo>
                <a:cubicBezTo>
                  <a:pt x="2018" y="544"/>
                  <a:pt x="2019" y="546"/>
                  <a:pt x="2021" y="547"/>
                </a:cubicBezTo>
                <a:cubicBezTo>
                  <a:pt x="2023" y="548"/>
                  <a:pt x="2025" y="548"/>
                  <a:pt x="2027" y="547"/>
                </a:cubicBezTo>
                <a:cubicBezTo>
                  <a:pt x="2029" y="546"/>
                  <a:pt x="2030" y="545"/>
                  <a:pt x="2032" y="543"/>
                </a:cubicBezTo>
                <a:cubicBezTo>
                  <a:pt x="2034" y="541"/>
                  <a:pt x="2036" y="537"/>
                  <a:pt x="2037" y="534"/>
                </a:cubicBezTo>
                <a:cubicBezTo>
                  <a:pt x="2039" y="529"/>
                  <a:pt x="2042" y="524"/>
                  <a:pt x="2043" y="519"/>
                </a:cubicBezTo>
                <a:cubicBezTo>
                  <a:pt x="2043" y="518"/>
                  <a:pt x="2043" y="516"/>
                  <a:pt x="2044" y="516"/>
                </a:cubicBezTo>
                <a:cubicBezTo>
                  <a:pt x="2048" y="511"/>
                  <a:pt x="2048" y="505"/>
                  <a:pt x="2049" y="500"/>
                </a:cubicBezTo>
                <a:cubicBezTo>
                  <a:pt x="2049" y="495"/>
                  <a:pt x="2051" y="491"/>
                  <a:pt x="2051" y="486"/>
                </a:cubicBezTo>
                <a:cubicBezTo>
                  <a:pt x="2051" y="485"/>
                  <a:pt x="2051" y="484"/>
                  <a:pt x="2052" y="484"/>
                </a:cubicBezTo>
                <a:cubicBezTo>
                  <a:pt x="2054" y="481"/>
                  <a:pt x="2053" y="478"/>
                  <a:pt x="2053" y="474"/>
                </a:cubicBezTo>
                <a:cubicBezTo>
                  <a:pt x="2052" y="468"/>
                  <a:pt x="2050" y="463"/>
                  <a:pt x="2047" y="458"/>
                </a:cubicBezTo>
                <a:cubicBezTo>
                  <a:pt x="2046" y="456"/>
                  <a:pt x="2046" y="454"/>
                  <a:pt x="2045" y="451"/>
                </a:cubicBezTo>
                <a:cubicBezTo>
                  <a:pt x="2045" y="446"/>
                  <a:pt x="2045" y="441"/>
                  <a:pt x="2045" y="436"/>
                </a:cubicBezTo>
                <a:cubicBezTo>
                  <a:pt x="2045" y="436"/>
                  <a:pt x="2045" y="435"/>
                  <a:pt x="2046" y="435"/>
                </a:cubicBezTo>
                <a:cubicBezTo>
                  <a:pt x="2046" y="435"/>
                  <a:pt x="2046" y="435"/>
                  <a:pt x="2046" y="435"/>
                </a:cubicBezTo>
                <a:cubicBezTo>
                  <a:pt x="2048" y="438"/>
                  <a:pt x="2050" y="440"/>
                  <a:pt x="2053" y="443"/>
                </a:cubicBezTo>
                <a:cubicBezTo>
                  <a:pt x="2055" y="445"/>
                  <a:pt x="2054" y="449"/>
                  <a:pt x="2056" y="452"/>
                </a:cubicBezTo>
                <a:cubicBezTo>
                  <a:pt x="2057" y="453"/>
                  <a:pt x="2057" y="454"/>
                  <a:pt x="2058" y="456"/>
                </a:cubicBezTo>
                <a:cubicBezTo>
                  <a:pt x="2059" y="459"/>
                  <a:pt x="2061" y="462"/>
                  <a:pt x="2061" y="466"/>
                </a:cubicBezTo>
                <a:cubicBezTo>
                  <a:pt x="2061" y="466"/>
                  <a:pt x="2061" y="467"/>
                  <a:pt x="2061" y="467"/>
                </a:cubicBezTo>
                <a:cubicBezTo>
                  <a:pt x="2062" y="471"/>
                  <a:pt x="2062" y="475"/>
                  <a:pt x="2065" y="479"/>
                </a:cubicBezTo>
                <a:cubicBezTo>
                  <a:pt x="2066" y="480"/>
                  <a:pt x="2067" y="482"/>
                  <a:pt x="2067" y="484"/>
                </a:cubicBezTo>
                <a:cubicBezTo>
                  <a:pt x="2067" y="487"/>
                  <a:pt x="2068" y="490"/>
                  <a:pt x="2070" y="493"/>
                </a:cubicBezTo>
                <a:cubicBezTo>
                  <a:pt x="2071" y="495"/>
                  <a:pt x="2071" y="496"/>
                  <a:pt x="2071" y="499"/>
                </a:cubicBezTo>
                <a:cubicBezTo>
                  <a:pt x="2071" y="499"/>
                  <a:pt x="2071" y="500"/>
                  <a:pt x="2071" y="501"/>
                </a:cubicBezTo>
                <a:cubicBezTo>
                  <a:pt x="2072" y="503"/>
                  <a:pt x="2073" y="505"/>
                  <a:pt x="2075" y="506"/>
                </a:cubicBezTo>
                <a:cubicBezTo>
                  <a:pt x="2075" y="506"/>
                  <a:pt x="2076" y="505"/>
                  <a:pt x="2076" y="505"/>
                </a:cubicBezTo>
                <a:cubicBezTo>
                  <a:pt x="2076" y="504"/>
                  <a:pt x="2076" y="503"/>
                  <a:pt x="2076" y="502"/>
                </a:cubicBezTo>
                <a:cubicBezTo>
                  <a:pt x="2076" y="500"/>
                  <a:pt x="2077" y="499"/>
                  <a:pt x="2079" y="500"/>
                </a:cubicBezTo>
                <a:cubicBezTo>
                  <a:pt x="2081" y="500"/>
                  <a:pt x="2082" y="501"/>
                  <a:pt x="2083" y="502"/>
                </a:cubicBezTo>
                <a:cubicBezTo>
                  <a:pt x="2084" y="502"/>
                  <a:pt x="2084" y="502"/>
                  <a:pt x="2084" y="502"/>
                </a:cubicBezTo>
                <a:cubicBezTo>
                  <a:pt x="2085" y="502"/>
                  <a:pt x="2085" y="501"/>
                  <a:pt x="2085" y="501"/>
                </a:cubicBezTo>
                <a:cubicBezTo>
                  <a:pt x="2085" y="499"/>
                  <a:pt x="2084" y="496"/>
                  <a:pt x="2082" y="495"/>
                </a:cubicBezTo>
                <a:cubicBezTo>
                  <a:pt x="2078" y="494"/>
                  <a:pt x="2078" y="489"/>
                  <a:pt x="2074" y="487"/>
                </a:cubicBezTo>
                <a:cubicBezTo>
                  <a:pt x="2073" y="485"/>
                  <a:pt x="2072" y="483"/>
                  <a:pt x="2072" y="481"/>
                </a:cubicBezTo>
                <a:cubicBezTo>
                  <a:pt x="2071" y="478"/>
                  <a:pt x="2071" y="475"/>
                  <a:pt x="2070" y="472"/>
                </a:cubicBezTo>
                <a:cubicBezTo>
                  <a:pt x="2070" y="471"/>
                  <a:pt x="2070" y="471"/>
                  <a:pt x="2070" y="470"/>
                </a:cubicBezTo>
                <a:cubicBezTo>
                  <a:pt x="2070" y="469"/>
                  <a:pt x="2071" y="467"/>
                  <a:pt x="2072" y="467"/>
                </a:cubicBezTo>
                <a:cubicBezTo>
                  <a:pt x="2074" y="467"/>
                  <a:pt x="2075" y="467"/>
                  <a:pt x="2077" y="467"/>
                </a:cubicBezTo>
                <a:cubicBezTo>
                  <a:pt x="2077" y="465"/>
                  <a:pt x="2076" y="464"/>
                  <a:pt x="2076" y="463"/>
                </a:cubicBezTo>
                <a:cubicBezTo>
                  <a:pt x="2070" y="454"/>
                  <a:pt x="2066" y="444"/>
                  <a:pt x="2059" y="436"/>
                </a:cubicBezTo>
                <a:cubicBezTo>
                  <a:pt x="2057" y="434"/>
                  <a:pt x="2056" y="431"/>
                  <a:pt x="2056" y="427"/>
                </a:cubicBezTo>
                <a:cubicBezTo>
                  <a:pt x="2056" y="426"/>
                  <a:pt x="2055" y="424"/>
                  <a:pt x="2055" y="423"/>
                </a:cubicBezTo>
                <a:cubicBezTo>
                  <a:pt x="2052" y="419"/>
                  <a:pt x="2051" y="414"/>
                  <a:pt x="2047" y="412"/>
                </a:cubicBezTo>
                <a:cubicBezTo>
                  <a:pt x="2046" y="410"/>
                  <a:pt x="2046" y="408"/>
                  <a:pt x="2045" y="407"/>
                </a:cubicBezTo>
                <a:cubicBezTo>
                  <a:pt x="2044" y="405"/>
                  <a:pt x="2042" y="405"/>
                  <a:pt x="2041" y="404"/>
                </a:cubicBezTo>
                <a:cubicBezTo>
                  <a:pt x="2040" y="404"/>
                  <a:pt x="2040" y="405"/>
                  <a:pt x="2039" y="405"/>
                </a:cubicBezTo>
                <a:cubicBezTo>
                  <a:pt x="2039" y="405"/>
                  <a:pt x="2039" y="406"/>
                  <a:pt x="2039" y="406"/>
                </a:cubicBezTo>
                <a:cubicBezTo>
                  <a:pt x="2039" y="407"/>
                  <a:pt x="2040" y="407"/>
                  <a:pt x="2040" y="408"/>
                </a:cubicBezTo>
                <a:cubicBezTo>
                  <a:pt x="2043" y="411"/>
                  <a:pt x="2043" y="411"/>
                  <a:pt x="2040" y="415"/>
                </a:cubicBezTo>
                <a:cubicBezTo>
                  <a:pt x="2040" y="416"/>
                  <a:pt x="2040" y="417"/>
                  <a:pt x="2040" y="417"/>
                </a:cubicBezTo>
                <a:cubicBezTo>
                  <a:pt x="2040" y="418"/>
                  <a:pt x="2041" y="419"/>
                  <a:pt x="2041" y="420"/>
                </a:cubicBezTo>
                <a:cubicBezTo>
                  <a:pt x="2043" y="423"/>
                  <a:pt x="2044" y="426"/>
                  <a:pt x="2044" y="429"/>
                </a:cubicBezTo>
                <a:cubicBezTo>
                  <a:pt x="2044" y="430"/>
                  <a:pt x="2044" y="430"/>
                  <a:pt x="2044" y="431"/>
                </a:cubicBezTo>
                <a:cubicBezTo>
                  <a:pt x="2043" y="431"/>
                  <a:pt x="2042" y="431"/>
                  <a:pt x="2042" y="430"/>
                </a:cubicBezTo>
                <a:cubicBezTo>
                  <a:pt x="2041" y="428"/>
                  <a:pt x="2041" y="426"/>
                  <a:pt x="2040" y="425"/>
                </a:cubicBezTo>
                <a:cubicBezTo>
                  <a:pt x="2039" y="424"/>
                  <a:pt x="2038" y="423"/>
                  <a:pt x="2039" y="422"/>
                </a:cubicBezTo>
                <a:cubicBezTo>
                  <a:pt x="2039" y="419"/>
                  <a:pt x="2037" y="417"/>
                  <a:pt x="2035" y="416"/>
                </a:cubicBezTo>
                <a:cubicBezTo>
                  <a:pt x="2032" y="414"/>
                  <a:pt x="2028" y="412"/>
                  <a:pt x="2025" y="409"/>
                </a:cubicBezTo>
                <a:cubicBezTo>
                  <a:pt x="2024" y="409"/>
                  <a:pt x="2023" y="409"/>
                  <a:pt x="2022" y="409"/>
                </a:cubicBezTo>
                <a:cubicBezTo>
                  <a:pt x="2021" y="409"/>
                  <a:pt x="2020" y="409"/>
                  <a:pt x="2018" y="409"/>
                </a:cubicBezTo>
                <a:cubicBezTo>
                  <a:pt x="2016" y="409"/>
                  <a:pt x="2015" y="410"/>
                  <a:pt x="2015" y="412"/>
                </a:cubicBezTo>
                <a:cubicBezTo>
                  <a:pt x="2015" y="414"/>
                  <a:pt x="2014" y="415"/>
                  <a:pt x="2012" y="417"/>
                </a:cubicBezTo>
                <a:cubicBezTo>
                  <a:pt x="2012" y="417"/>
                  <a:pt x="2012" y="417"/>
                  <a:pt x="2012" y="417"/>
                </a:cubicBezTo>
                <a:cubicBezTo>
                  <a:pt x="2010" y="414"/>
                  <a:pt x="2009" y="412"/>
                  <a:pt x="2008" y="410"/>
                </a:cubicBezTo>
                <a:cubicBezTo>
                  <a:pt x="2008" y="410"/>
                  <a:pt x="2008" y="409"/>
                  <a:pt x="2008" y="409"/>
                </a:cubicBezTo>
                <a:cubicBezTo>
                  <a:pt x="2007" y="409"/>
                  <a:pt x="2007" y="410"/>
                  <a:pt x="2006" y="410"/>
                </a:cubicBezTo>
                <a:cubicBezTo>
                  <a:pt x="2005" y="411"/>
                  <a:pt x="2005" y="412"/>
                  <a:pt x="2006" y="413"/>
                </a:cubicBezTo>
                <a:cubicBezTo>
                  <a:pt x="2006" y="414"/>
                  <a:pt x="2005" y="415"/>
                  <a:pt x="2005" y="415"/>
                </a:cubicBezTo>
                <a:cubicBezTo>
                  <a:pt x="2005" y="415"/>
                  <a:pt x="2004" y="415"/>
                  <a:pt x="2004" y="414"/>
                </a:cubicBezTo>
                <a:cubicBezTo>
                  <a:pt x="2003" y="412"/>
                  <a:pt x="2002" y="410"/>
                  <a:pt x="2001" y="408"/>
                </a:cubicBezTo>
                <a:cubicBezTo>
                  <a:pt x="2000" y="406"/>
                  <a:pt x="1999" y="405"/>
                  <a:pt x="1997" y="406"/>
                </a:cubicBezTo>
                <a:cubicBezTo>
                  <a:pt x="1996" y="406"/>
                  <a:pt x="1995" y="407"/>
                  <a:pt x="1995" y="407"/>
                </a:cubicBezTo>
                <a:cubicBezTo>
                  <a:pt x="1994" y="407"/>
                  <a:pt x="1993" y="407"/>
                  <a:pt x="1992" y="407"/>
                </a:cubicBezTo>
                <a:cubicBezTo>
                  <a:pt x="1990" y="407"/>
                  <a:pt x="1989" y="405"/>
                  <a:pt x="1990" y="404"/>
                </a:cubicBezTo>
                <a:cubicBezTo>
                  <a:pt x="1990" y="403"/>
                  <a:pt x="1990" y="402"/>
                  <a:pt x="1991" y="401"/>
                </a:cubicBezTo>
                <a:cubicBezTo>
                  <a:pt x="1992" y="399"/>
                  <a:pt x="1993" y="396"/>
                  <a:pt x="1995" y="394"/>
                </a:cubicBezTo>
                <a:cubicBezTo>
                  <a:pt x="1996" y="391"/>
                  <a:pt x="1998" y="388"/>
                  <a:pt x="1998" y="385"/>
                </a:cubicBezTo>
                <a:cubicBezTo>
                  <a:pt x="1999" y="379"/>
                  <a:pt x="2001" y="373"/>
                  <a:pt x="2003" y="368"/>
                </a:cubicBezTo>
                <a:cubicBezTo>
                  <a:pt x="2005" y="364"/>
                  <a:pt x="2007" y="361"/>
                  <a:pt x="2006" y="356"/>
                </a:cubicBezTo>
                <a:cubicBezTo>
                  <a:pt x="2005" y="354"/>
                  <a:pt x="2006" y="353"/>
                  <a:pt x="2007" y="351"/>
                </a:cubicBezTo>
                <a:cubicBezTo>
                  <a:pt x="2008" y="349"/>
                  <a:pt x="2009" y="347"/>
                  <a:pt x="2008" y="344"/>
                </a:cubicBezTo>
                <a:cubicBezTo>
                  <a:pt x="2008" y="343"/>
                  <a:pt x="2008" y="342"/>
                  <a:pt x="2009" y="341"/>
                </a:cubicBezTo>
                <a:cubicBezTo>
                  <a:pt x="2010" y="338"/>
                  <a:pt x="2012" y="337"/>
                  <a:pt x="2015" y="336"/>
                </a:cubicBezTo>
                <a:cubicBezTo>
                  <a:pt x="2018" y="335"/>
                  <a:pt x="2021" y="334"/>
                  <a:pt x="2025" y="333"/>
                </a:cubicBezTo>
                <a:cubicBezTo>
                  <a:pt x="2026" y="332"/>
                  <a:pt x="2027" y="332"/>
                  <a:pt x="2029" y="333"/>
                </a:cubicBezTo>
                <a:cubicBezTo>
                  <a:pt x="2030" y="334"/>
                  <a:pt x="2032" y="334"/>
                  <a:pt x="2032" y="332"/>
                </a:cubicBezTo>
                <a:cubicBezTo>
                  <a:pt x="2034" y="330"/>
                  <a:pt x="2036" y="329"/>
                  <a:pt x="2038" y="329"/>
                </a:cubicBezTo>
                <a:cubicBezTo>
                  <a:pt x="2041" y="330"/>
                  <a:pt x="2044" y="328"/>
                  <a:pt x="2047" y="328"/>
                </a:cubicBezTo>
                <a:cubicBezTo>
                  <a:pt x="2047" y="328"/>
                  <a:pt x="2048" y="327"/>
                  <a:pt x="2048" y="327"/>
                </a:cubicBezTo>
                <a:cubicBezTo>
                  <a:pt x="2049" y="326"/>
                  <a:pt x="2049" y="324"/>
                  <a:pt x="2049" y="323"/>
                </a:cubicBezTo>
                <a:cubicBezTo>
                  <a:pt x="2050" y="321"/>
                  <a:pt x="2051" y="320"/>
                  <a:pt x="2053" y="320"/>
                </a:cubicBezTo>
                <a:cubicBezTo>
                  <a:pt x="2057" y="321"/>
                  <a:pt x="2061" y="321"/>
                  <a:pt x="2065" y="322"/>
                </a:cubicBezTo>
                <a:cubicBezTo>
                  <a:pt x="2065" y="322"/>
                  <a:pt x="2066" y="322"/>
                  <a:pt x="2067" y="323"/>
                </a:cubicBezTo>
                <a:cubicBezTo>
                  <a:pt x="2067" y="323"/>
                  <a:pt x="2067" y="324"/>
                  <a:pt x="2067" y="324"/>
                </a:cubicBezTo>
                <a:cubicBezTo>
                  <a:pt x="2067" y="325"/>
                  <a:pt x="2067" y="325"/>
                  <a:pt x="2066" y="326"/>
                </a:cubicBezTo>
                <a:cubicBezTo>
                  <a:pt x="2066" y="327"/>
                  <a:pt x="2066" y="328"/>
                  <a:pt x="2067" y="329"/>
                </a:cubicBezTo>
                <a:cubicBezTo>
                  <a:pt x="2068" y="330"/>
                  <a:pt x="2069" y="330"/>
                  <a:pt x="2070" y="330"/>
                </a:cubicBezTo>
                <a:cubicBezTo>
                  <a:pt x="2073" y="328"/>
                  <a:pt x="2077" y="327"/>
                  <a:pt x="2079" y="324"/>
                </a:cubicBezTo>
                <a:cubicBezTo>
                  <a:pt x="2079" y="323"/>
                  <a:pt x="2080" y="323"/>
                  <a:pt x="2082" y="323"/>
                </a:cubicBezTo>
                <a:cubicBezTo>
                  <a:pt x="2083" y="323"/>
                  <a:pt x="2084" y="323"/>
                  <a:pt x="2085" y="322"/>
                </a:cubicBezTo>
                <a:cubicBezTo>
                  <a:pt x="2086" y="321"/>
                  <a:pt x="2088" y="320"/>
                  <a:pt x="2088" y="318"/>
                </a:cubicBezTo>
                <a:cubicBezTo>
                  <a:pt x="2087" y="316"/>
                  <a:pt x="2085" y="316"/>
                  <a:pt x="2083" y="316"/>
                </a:cubicBezTo>
                <a:cubicBezTo>
                  <a:pt x="2083" y="316"/>
                  <a:pt x="2083" y="316"/>
                  <a:pt x="2083" y="316"/>
                </a:cubicBezTo>
                <a:cubicBezTo>
                  <a:pt x="2082" y="315"/>
                  <a:pt x="2081" y="315"/>
                  <a:pt x="2081" y="314"/>
                </a:cubicBezTo>
                <a:cubicBezTo>
                  <a:pt x="2079" y="311"/>
                  <a:pt x="2079" y="308"/>
                  <a:pt x="2080" y="305"/>
                </a:cubicBezTo>
                <a:cubicBezTo>
                  <a:pt x="2081" y="304"/>
                  <a:pt x="2081" y="303"/>
                  <a:pt x="2081" y="303"/>
                </a:cubicBezTo>
                <a:cubicBezTo>
                  <a:pt x="2082" y="300"/>
                  <a:pt x="2082" y="298"/>
                  <a:pt x="2082" y="295"/>
                </a:cubicBezTo>
                <a:cubicBezTo>
                  <a:pt x="2082" y="292"/>
                  <a:pt x="2082" y="288"/>
                  <a:pt x="2082" y="285"/>
                </a:cubicBezTo>
                <a:cubicBezTo>
                  <a:pt x="2082" y="282"/>
                  <a:pt x="2083" y="280"/>
                  <a:pt x="2086" y="279"/>
                </a:cubicBezTo>
                <a:cubicBezTo>
                  <a:pt x="2087" y="279"/>
                  <a:pt x="2089" y="278"/>
                  <a:pt x="2091" y="277"/>
                </a:cubicBezTo>
                <a:cubicBezTo>
                  <a:pt x="2093" y="276"/>
                  <a:pt x="2095" y="276"/>
                  <a:pt x="2097" y="276"/>
                </a:cubicBezTo>
                <a:cubicBezTo>
                  <a:pt x="2098" y="277"/>
                  <a:pt x="2099" y="276"/>
                  <a:pt x="2100" y="275"/>
                </a:cubicBezTo>
                <a:cubicBezTo>
                  <a:pt x="2101" y="275"/>
                  <a:pt x="2102" y="275"/>
                  <a:pt x="2102" y="276"/>
                </a:cubicBezTo>
                <a:cubicBezTo>
                  <a:pt x="2102" y="278"/>
                  <a:pt x="2103" y="280"/>
                  <a:pt x="2103" y="282"/>
                </a:cubicBezTo>
                <a:cubicBezTo>
                  <a:pt x="2103" y="284"/>
                  <a:pt x="2104" y="285"/>
                  <a:pt x="2106" y="286"/>
                </a:cubicBezTo>
                <a:cubicBezTo>
                  <a:pt x="2107" y="287"/>
                  <a:pt x="2109" y="288"/>
                  <a:pt x="2111" y="289"/>
                </a:cubicBezTo>
                <a:cubicBezTo>
                  <a:pt x="2111" y="289"/>
                  <a:pt x="2112" y="289"/>
                  <a:pt x="2112" y="289"/>
                </a:cubicBezTo>
                <a:cubicBezTo>
                  <a:pt x="2113" y="288"/>
                  <a:pt x="2113" y="287"/>
                  <a:pt x="2114" y="286"/>
                </a:cubicBezTo>
                <a:cubicBezTo>
                  <a:pt x="2114" y="283"/>
                  <a:pt x="2115" y="280"/>
                  <a:pt x="2115" y="276"/>
                </a:cubicBezTo>
                <a:cubicBezTo>
                  <a:pt x="2116" y="274"/>
                  <a:pt x="2117" y="273"/>
                  <a:pt x="2119" y="272"/>
                </a:cubicBezTo>
                <a:cubicBezTo>
                  <a:pt x="2120" y="271"/>
                  <a:pt x="2120" y="270"/>
                  <a:pt x="2120" y="269"/>
                </a:cubicBezTo>
                <a:cubicBezTo>
                  <a:pt x="2120" y="269"/>
                  <a:pt x="2120" y="269"/>
                  <a:pt x="2120" y="269"/>
                </a:cubicBezTo>
                <a:cubicBezTo>
                  <a:pt x="2116" y="265"/>
                  <a:pt x="2115" y="261"/>
                  <a:pt x="2114" y="256"/>
                </a:cubicBezTo>
                <a:cubicBezTo>
                  <a:pt x="2114" y="256"/>
                  <a:pt x="2114" y="256"/>
                  <a:pt x="2114" y="256"/>
                </a:cubicBezTo>
                <a:cubicBezTo>
                  <a:pt x="2115" y="254"/>
                  <a:pt x="2118" y="253"/>
                  <a:pt x="2120" y="254"/>
                </a:cubicBezTo>
                <a:cubicBezTo>
                  <a:pt x="2121" y="254"/>
                  <a:pt x="2122" y="255"/>
                  <a:pt x="2121" y="256"/>
                </a:cubicBezTo>
                <a:cubicBezTo>
                  <a:pt x="2120" y="259"/>
                  <a:pt x="2120" y="261"/>
                  <a:pt x="2122" y="263"/>
                </a:cubicBezTo>
                <a:cubicBezTo>
                  <a:pt x="2123" y="266"/>
                  <a:pt x="2125" y="269"/>
                  <a:pt x="2125" y="273"/>
                </a:cubicBezTo>
                <a:cubicBezTo>
                  <a:pt x="2125" y="274"/>
                  <a:pt x="2125" y="274"/>
                  <a:pt x="2126" y="275"/>
                </a:cubicBezTo>
                <a:cubicBezTo>
                  <a:pt x="2128" y="277"/>
                  <a:pt x="2127" y="280"/>
                  <a:pt x="2128" y="283"/>
                </a:cubicBezTo>
                <a:cubicBezTo>
                  <a:pt x="2127" y="285"/>
                  <a:pt x="2126" y="286"/>
                  <a:pt x="2124" y="288"/>
                </a:cubicBezTo>
                <a:cubicBezTo>
                  <a:pt x="2124" y="288"/>
                  <a:pt x="2124" y="288"/>
                  <a:pt x="2124" y="289"/>
                </a:cubicBezTo>
                <a:cubicBezTo>
                  <a:pt x="2123" y="290"/>
                  <a:pt x="2122" y="291"/>
                  <a:pt x="2122" y="293"/>
                </a:cubicBezTo>
                <a:cubicBezTo>
                  <a:pt x="2122" y="298"/>
                  <a:pt x="2123" y="303"/>
                  <a:pt x="2121" y="307"/>
                </a:cubicBezTo>
                <a:cubicBezTo>
                  <a:pt x="2120" y="308"/>
                  <a:pt x="2121" y="309"/>
                  <a:pt x="2120" y="311"/>
                </a:cubicBezTo>
                <a:cubicBezTo>
                  <a:pt x="2120" y="315"/>
                  <a:pt x="2120" y="319"/>
                  <a:pt x="2120" y="324"/>
                </a:cubicBezTo>
                <a:cubicBezTo>
                  <a:pt x="2121" y="327"/>
                  <a:pt x="2120" y="331"/>
                  <a:pt x="2118" y="333"/>
                </a:cubicBezTo>
                <a:cubicBezTo>
                  <a:pt x="2117" y="334"/>
                  <a:pt x="2117" y="335"/>
                  <a:pt x="2116" y="336"/>
                </a:cubicBezTo>
                <a:cubicBezTo>
                  <a:pt x="2116" y="336"/>
                  <a:pt x="2115" y="337"/>
                  <a:pt x="2114" y="337"/>
                </a:cubicBezTo>
                <a:cubicBezTo>
                  <a:pt x="2112" y="339"/>
                  <a:pt x="2112" y="339"/>
                  <a:pt x="2113" y="341"/>
                </a:cubicBezTo>
                <a:cubicBezTo>
                  <a:pt x="2115" y="343"/>
                  <a:pt x="2115" y="346"/>
                  <a:pt x="2115" y="349"/>
                </a:cubicBezTo>
                <a:cubicBezTo>
                  <a:pt x="2115" y="350"/>
                  <a:pt x="2114" y="351"/>
                  <a:pt x="2114" y="353"/>
                </a:cubicBezTo>
                <a:cubicBezTo>
                  <a:pt x="2113" y="355"/>
                  <a:pt x="2113" y="357"/>
                  <a:pt x="2113" y="359"/>
                </a:cubicBezTo>
                <a:cubicBezTo>
                  <a:pt x="2113" y="362"/>
                  <a:pt x="2115" y="365"/>
                  <a:pt x="2116" y="369"/>
                </a:cubicBezTo>
                <a:cubicBezTo>
                  <a:pt x="2119" y="380"/>
                  <a:pt x="2126" y="389"/>
                  <a:pt x="2132" y="399"/>
                </a:cubicBezTo>
                <a:cubicBezTo>
                  <a:pt x="2133" y="402"/>
                  <a:pt x="2135" y="404"/>
                  <a:pt x="2137" y="407"/>
                </a:cubicBezTo>
                <a:cubicBezTo>
                  <a:pt x="2138" y="409"/>
                  <a:pt x="2139" y="411"/>
                  <a:pt x="2140" y="412"/>
                </a:cubicBezTo>
                <a:cubicBezTo>
                  <a:pt x="2142" y="414"/>
                  <a:pt x="2144" y="416"/>
                  <a:pt x="2145" y="418"/>
                </a:cubicBezTo>
                <a:cubicBezTo>
                  <a:pt x="2146" y="421"/>
                  <a:pt x="2147" y="423"/>
                  <a:pt x="2148" y="426"/>
                </a:cubicBezTo>
                <a:cubicBezTo>
                  <a:pt x="2149" y="428"/>
                  <a:pt x="2151" y="429"/>
                  <a:pt x="2153" y="431"/>
                </a:cubicBezTo>
                <a:cubicBezTo>
                  <a:pt x="2153" y="431"/>
                  <a:pt x="2154" y="430"/>
                  <a:pt x="2154" y="430"/>
                </a:cubicBezTo>
                <a:cubicBezTo>
                  <a:pt x="2156" y="429"/>
                  <a:pt x="2156" y="427"/>
                  <a:pt x="2157" y="425"/>
                </a:cubicBezTo>
                <a:cubicBezTo>
                  <a:pt x="2159" y="420"/>
                  <a:pt x="2159" y="416"/>
                  <a:pt x="2158" y="411"/>
                </a:cubicBezTo>
                <a:cubicBezTo>
                  <a:pt x="2156" y="405"/>
                  <a:pt x="2155" y="404"/>
                  <a:pt x="2161" y="401"/>
                </a:cubicBezTo>
                <a:cubicBezTo>
                  <a:pt x="2161" y="401"/>
                  <a:pt x="2162" y="401"/>
                  <a:pt x="2162" y="400"/>
                </a:cubicBezTo>
                <a:cubicBezTo>
                  <a:pt x="2163" y="400"/>
                  <a:pt x="2163" y="399"/>
                  <a:pt x="2162" y="398"/>
                </a:cubicBezTo>
                <a:cubicBezTo>
                  <a:pt x="2162" y="397"/>
                  <a:pt x="2161" y="396"/>
                  <a:pt x="2160" y="395"/>
                </a:cubicBezTo>
                <a:cubicBezTo>
                  <a:pt x="2159" y="394"/>
                  <a:pt x="2159" y="392"/>
                  <a:pt x="2159" y="391"/>
                </a:cubicBezTo>
                <a:cubicBezTo>
                  <a:pt x="2159" y="389"/>
                  <a:pt x="2159" y="386"/>
                  <a:pt x="2159" y="383"/>
                </a:cubicBezTo>
                <a:cubicBezTo>
                  <a:pt x="2160" y="382"/>
                  <a:pt x="2161" y="380"/>
                  <a:pt x="2163" y="380"/>
                </a:cubicBezTo>
                <a:cubicBezTo>
                  <a:pt x="2164" y="379"/>
                  <a:pt x="2165" y="378"/>
                  <a:pt x="2166" y="378"/>
                </a:cubicBezTo>
                <a:cubicBezTo>
                  <a:pt x="2168" y="377"/>
                  <a:pt x="2168" y="375"/>
                  <a:pt x="2167" y="374"/>
                </a:cubicBezTo>
                <a:cubicBezTo>
                  <a:pt x="2166" y="372"/>
                  <a:pt x="2165" y="371"/>
                  <a:pt x="2163" y="369"/>
                </a:cubicBezTo>
                <a:cubicBezTo>
                  <a:pt x="2159" y="365"/>
                  <a:pt x="2158" y="361"/>
                  <a:pt x="2159" y="356"/>
                </a:cubicBezTo>
                <a:cubicBezTo>
                  <a:pt x="2159" y="355"/>
                  <a:pt x="2160" y="354"/>
                  <a:pt x="2161" y="354"/>
                </a:cubicBezTo>
                <a:cubicBezTo>
                  <a:pt x="2162" y="354"/>
                  <a:pt x="2162" y="354"/>
                  <a:pt x="2163" y="354"/>
                </a:cubicBezTo>
                <a:cubicBezTo>
                  <a:pt x="2164" y="354"/>
                  <a:pt x="2166" y="352"/>
                  <a:pt x="2165" y="351"/>
                </a:cubicBezTo>
                <a:cubicBezTo>
                  <a:pt x="2164" y="349"/>
                  <a:pt x="2163" y="347"/>
                  <a:pt x="2162" y="345"/>
                </a:cubicBezTo>
                <a:cubicBezTo>
                  <a:pt x="2161" y="343"/>
                  <a:pt x="2160" y="342"/>
                  <a:pt x="2158" y="343"/>
                </a:cubicBezTo>
                <a:cubicBezTo>
                  <a:pt x="2157" y="343"/>
                  <a:pt x="2156" y="342"/>
                  <a:pt x="2156" y="342"/>
                </a:cubicBezTo>
                <a:cubicBezTo>
                  <a:pt x="2155" y="340"/>
                  <a:pt x="2154" y="337"/>
                  <a:pt x="2155" y="334"/>
                </a:cubicBezTo>
                <a:cubicBezTo>
                  <a:pt x="2155" y="334"/>
                  <a:pt x="2155" y="333"/>
                  <a:pt x="2155" y="332"/>
                </a:cubicBezTo>
                <a:cubicBezTo>
                  <a:pt x="2155" y="331"/>
                  <a:pt x="2155" y="330"/>
                  <a:pt x="2154" y="330"/>
                </a:cubicBezTo>
                <a:cubicBezTo>
                  <a:pt x="2153" y="328"/>
                  <a:pt x="2151" y="328"/>
                  <a:pt x="2149" y="327"/>
                </a:cubicBezTo>
                <a:cubicBezTo>
                  <a:pt x="2149" y="327"/>
                  <a:pt x="2148" y="328"/>
                  <a:pt x="2148" y="328"/>
                </a:cubicBezTo>
                <a:cubicBezTo>
                  <a:pt x="2147" y="329"/>
                  <a:pt x="2147" y="329"/>
                  <a:pt x="2147" y="330"/>
                </a:cubicBezTo>
                <a:cubicBezTo>
                  <a:pt x="2147" y="330"/>
                  <a:pt x="2147" y="330"/>
                  <a:pt x="2147" y="330"/>
                </a:cubicBezTo>
                <a:cubicBezTo>
                  <a:pt x="2147" y="330"/>
                  <a:pt x="2147" y="330"/>
                  <a:pt x="2147" y="330"/>
                </a:cubicBezTo>
                <a:cubicBezTo>
                  <a:pt x="2147" y="330"/>
                  <a:pt x="2147" y="330"/>
                  <a:pt x="2147" y="330"/>
                </a:cubicBezTo>
                <a:cubicBezTo>
                  <a:pt x="2147" y="331"/>
                  <a:pt x="2147" y="331"/>
                  <a:pt x="2147" y="330"/>
                </a:cubicBezTo>
                <a:cubicBezTo>
                  <a:pt x="2147" y="330"/>
                  <a:pt x="2147" y="330"/>
                  <a:pt x="2147" y="330"/>
                </a:cubicBezTo>
                <a:cubicBezTo>
                  <a:pt x="2147" y="330"/>
                  <a:pt x="2147" y="330"/>
                  <a:pt x="2147" y="330"/>
                </a:cubicBezTo>
                <a:cubicBezTo>
                  <a:pt x="2145" y="329"/>
                  <a:pt x="2144" y="328"/>
                  <a:pt x="2143" y="326"/>
                </a:cubicBezTo>
                <a:cubicBezTo>
                  <a:pt x="2142" y="323"/>
                  <a:pt x="2142" y="320"/>
                  <a:pt x="2142" y="317"/>
                </a:cubicBezTo>
                <a:cubicBezTo>
                  <a:pt x="2142" y="312"/>
                  <a:pt x="2142" y="307"/>
                  <a:pt x="2139" y="303"/>
                </a:cubicBezTo>
                <a:cubicBezTo>
                  <a:pt x="2139" y="302"/>
                  <a:pt x="2139" y="301"/>
                  <a:pt x="2138" y="301"/>
                </a:cubicBezTo>
                <a:cubicBezTo>
                  <a:pt x="2138" y="298"/>
                  <a:pt x="2139" y="295"/>
                  <a:pt x="2142" y="294"/>
                </a:cubicBezTo>
                <a:cubicBezTo>
                  <a:pt x="2143" y="294"/>
                  <a:pt x="2144" y="295"/>
                  <a:pt x="2144" y="294"/>
                </a:cubicBezTo>
                <a:cubicBezTo>
                  <a:pt x="2146" y="294"/>
                  <a:pt x="2146" y="294"/>
                  <a:pt x="2147" y="293"/>
                </a:cubicBezTo>
                <a:cubicBezTo>
                  <a:pt x="2147" y="291"/>
                  <a:pt x="2147" y="290"/>
                  <a:pt x="2148" y="289"/>
                </a:cubicBezTo>
                <a:cubicBezTo>
                  <a:pt x="2149" y="288"/>
                  <a:pt x="2150" y="288"/>
                  <a:pt x="2150" y="288"/>
                </a:cubicBezTo>
                <a:cubicBezTo>
                  <a:pt x="2151" y="290"/>
                  <a:pt x="2151" y="291"/>
                  <a:pt x="2152" y="292"/>
                </a:cubicBezTo>
                <a:cubicBezTo>
                  <a:pt x="2152" y="293"/>
                  <a:pt x="2153" y="293"/>
                  <a:pt x="2154" y="293"/>
                </a:cubicBezTo>
                <a:cubicBezTo>
                  <a:pt x="2154" y="293"/>
                  <a:pt x="2155" y="292"/>
                  <a:pt x="2155" y="292"/>
                </a:cubicBezTo>
                <a:cubicBezTo>
                  <a:pt x="2155" y="290"/>
                  <a:pt x="2156" y="289"/>
                  <a:pt x="2156" y="287"/>
                </a:cubicBezTo>
                <a:cubicBezTo>
                  <a:pt x="2156" y="285"/>
                  <a:pt x="2157" y="284"/>
                  <a:pt x="2159" y="282"/>
                </a:cubicBezTo>
                <a:cubicBezTo>
                  <a:pt x="2161" y="280"/>
                  <a:pt x="2163" y="279"/>
                  <a:pt x="2166" y="279"/>
                </a:cubicBezTo>
                <a:cubicBezTo>
                  <a:pt x="2168" y="278"/>
                  <a:pt x="2169" y="280"/>
                  <a:pt x="2170" y="281"/>
                </a:cubicBezTo>
                <a:cubicBezTo>
                  <a:pt x="2172" y="281"/>
                  <a:pt x="2173" y="283"/>
                  <a:pt x="2175" y="284"/>
                </a:cubicBezTo>
                <a:cubicBezTo>
                  <a:pt x="2175" y="284"/>
                  <a:pt x="2176" y="284"/>
                  <a:pt x="2176" y="284"/>
                </a:cubicBezTo>
                <a:cubicBezTo>
                  <a:pt x="2177" y="285"/>
                  <a:pt x="2178" y="285"/>
                  <a:pt x="2179" y="285"/>
                </a:cubicBezTo>
                <a:cubicBezTo>
                  <a:pt x="2180" y="285"/>
                  <a:pt x="2180" y="284"/>
                  <a:pt x="2180" y="283"/>
                </a:cubicBezTo>
                <a:cubicBezTo>
                  <a:pt x="2180" y="281"/>
                  <a:pt x="2179" y="279"/>
                  <a:pt x="2179" y="277"/>
                </a:cubicBezTo>
                <a:cubicBezTo>
                  <a:pt x="2180" y="275"/>
                  <a:pt x="2180" y="273"/>
                  <a:pt x="2181" y="271"/>
                </a:cubicBezTo>
                <a:cubicBezTo>
                  <a:pt x="2181" y="269"/>
                  <a:pt x="2182" y="266"/>
                  <a:pt x="2182" y="263"/>
                </a:cubicBezTo>
                <a:cubicBezTo>
                  <a:pt x="2182" y="258"/>
                  <a:pt x="2184" y="254"/>
                  <a:pt x="2186" y="250"/>
                </a:cubicBezTo>
                <a:cubicBezTo>
                  <a:pt x="2187" y="248"/>
                  <a:pt x="2188" y="246"/>
                  <a:pt x="2189" y="243"/>
                </a:cubicBezTo>
                <a:cubicBezTo>
                  <a:pt x="2191" y="240"/>
                  <a:pt x="2193" y="236"/>
                  <a:pt x="2196" y="234"/>
                </a:cubicBezTo>
                <a:cubicBezTo>
                  <a:pt x="2197" y="233"/>
                  <a:pt x="2199" y="232"/>
                  <a:pt x="2200" y="232"/>
                </a:cubicBezTo>
                <a:cubicBezTo>
                  <a:pt x="2202" y="232"/>
                  <a:pt x="2204" y="232"/>
                  <a:pt x="2206" y="232"/>
                </a:cubicBezTo>
                <a:cubicBezTo>
                  <a:pt x="2207" y="232"/>
                  <a:pt x="2208" y="232"/>
                  <a:pt x="2209" y="232"/>
                </a:cubicBezTo>
                <a:cubicBezTo>
                  <a:pt x="2210" y="232"/>
                  <a:pt x="2210" y="231"/>
                  <a:pt x="2210" y="231"/>
                </a:cubicBezTo>
                <a:cubicBezTo>
                  <a:pt x="2210" y="227"/>
                  <a:pt x="2210" y="223"/>
                  <a:pt x="2207" y="220"/>
                </a:cubicBezTo>
                <a:cubicBezTo>
                  <a:pt x="2206" y="220"/>
                  <a:pt x="2206" y="219"/>
                  <a:pt x="2205" y="218"/>
                </a:cubicBezTo>
                <a:cubicBezTo>
                  <a:pt x="2205" y="217"/>
                  <a:pt x="2204" y="216"/>
                  <a:pt x="2203" y="216"/>
                </a:cubicBezTo>
                <a:cubicBezTo>
                  <a:pt x="2200" y="215"/>
                  <a:pt x="2198" y="212"/>
                  <a:pt x="2194" y="211"/>
                </a:cubicBezTo>
                <a:cubicBezTo>
                  <a:pt x="2194" y="211"/>
                  <a:pt x="2194" y="211"/>
                  <a:pt x="2194" y="211"/>
                </a:cubicBezTo>
                <a:cubicBezTo>
                  <a:pt x="2194" y="211"/>
                  <a:pt x="2194" y="211"/>
                  <a:pt x="2194" y="211"/>
                </a:cubicBezTo>
                <a:cubicBezTo>
                  <a:pt x="2194" y="211"/>
                  <a:pt x="2194" y="211"/>
                  <a:pt x="2194" y="211"/>
                </a:cubicBezTo>
                <a:cubicBezTo>
                  <a:pt x="2194" y="211"/>
                  <a:pt x="2194" y="211"/>
                  <a:pt x="2194" y="211"/>
                </a:cubicBezTo>
                <a:cubicBezTo>
                  <a:pt x="2194" y="210"/>
                  <a:pt x="2194" y="209"/>
                  <a:pt x="2193" y="208"/>
                </a:cubicBezTo>
                <a:cubicBezTo>
                  <a:pt x="2193" y="206"/>
                  <a:pt x="2191" y="204"/>
                  <a:pt x="2189" y="204"/>
                </a:cubicBezTo>
                <a:cubicBezTo>
                  <a:pt x="2188" y="204"/>
                  <a:pt x="2188" y="204"/>
                  <a:pt x="2187" y="204"/>
                </a:cubicBezTo>
                <a:cubicBezTo>
                  <a:pt x="2187" y="203"/>
                  <a:pt x="2187" y="203"/>
                  <a:pt x="2187" y="202"/>
                </a:cubicBezTo>
                <a:cubicBezTo>
                  <a:pt x="2186" y="200"/>
                  <a:pt x="2185" y="199"/>
                  <a:pt x="2182" y="199"/>
                </a:cubicBezTo>
                <a:cubicBezTo>
                  <a:pt x="2179" y="200"/>
                  <a:pt x="2178" y="198"/>
                  <a:pt x="2176" y="197"/>
                </a:cubicBezTo>
                <a:cubicBezTo>
                  <a:pt x="2176" y="196"/>
                  <a:pt x="2176" y="195"/>
                  <a:pt x="2177" y="195"/>
                </a:cubicBezTo>
                <a:cubicBezTo>
                  <a:pt x="2178" y="194"/>
                  <a:pt x="2179" y="194"/>
                  <a:pt x="2180" y="194"/>
                </a:cubicBezTo>
                <a:cubicBezTo>
                  <a:pt x="2183" y="193"/>
                  <a:pt x="2185" y="190"/>
                  <a:pt x="2185" y="187"/>
                </a:cubicBezTo>
                <a:cubicBezTo>
                  <a:pt x="2185" y="184"/>
                  <a:pt x="2185" y="180"/>
                  <a:pt x="2185" y="177"/>
                </a:cubicBezTo>
                <a:cubicBezTo>
                  <a:pt x="2185" y="176"/>
                  <a:pt x="2185" y="174"/>
                  <a:pt x="2185" y="173"/>
                </a:cubicBezTo>
                <a:cubicBezTo>
                  <a:pt x="2184" y="172"/>
                  <a:pt x="2183" y="171"/>
                  <a:pt x="2183" y="169"/>
                </a:cubicBezTo>
                <a:cubicBezTo>
                  <a:pt x="2182" y="167"/>
                  <a:pt x="2180" y="166"/>
                  <a:pt x="2178" y="166"/>
                </a:cubicBezTo>
                <a:cubicBezTo>
                  <a:pt x="2176" y="165"/>
                  <a:pt x="2174" y="164"/>
                  <a:pt x="2173" y="162"/>
                </a:cubicBezTo>
                <a:cubicBezTo>
                  <a:pt x="2173" y="162"/>
                  <a:pt x="2172" y="161"/>
                  <a:pt x="2173" y="160"/>
                </a:cubicBezTo>
                <a:cubicBezTo>
                  <a:pt x="2173" y="159"/>
                  <a:pt x="2174" y="158"/>
                  <a:pt x="2174" y="158"/>
                </a:cubicBezTo>
                <a:cubicBezTo>
                  <a:pt x="2175" y="156"/>
                  <a:pt x="2176" y="156"/>
                  <a:pt x="2176" y="157"/>
                </a:cubicBezTo>
                <a:cubicBezTo>
                  <a:pt x="2177" y="159"/>
                  <a:pt x="2179" y="161"/>
                  <a:pt x="2180" y="162"/>
                </a:cubicBezTo>
                <a:cubicBezTo>
                  <a:pt x="2186" y="164"/>
                  <a:pt x="2186" y="164"/>
                  <a:pt x="2189" y="159"/>
                </a:cubicBezTo>
                <a:cubicBezTo>
                  <a:pt x="2189" y="158"/>
                  <a:pt x="2189" y="157"/>
                  <a:pt x="2189" y="157"/>
                </a:cubicBezTo>
                <a:cubicBezTo>
                  <a:pt x="2190" y="155"/>
                  <a:pt x="2192" y="155"/>
                  <a:pt x="2194" y="154"/>
                </a:cubicBezTo>
                <a:cubicBezTo>
                  <a:pt x="2195" y="154"/>
                  <a:pt x="2196" y="155"/>
                  <a:pt x="2197" y="156"/>
                </a:cubicBezTo>
                <a:cubicBezTo>
                  <a:pt x="2198" y="157"/>
                  <a:pt x="2199" y="158"/>
                  <a:pt x="2200" y="159"/>
                </a:cubicBezTo>
                <a:cubicBezTo>
                  <a:pt x="2201" y="161"/>
                  <a:pt x="2203" y="161"/>
                  <a:pt x="2205" y="160"/>
                </a:cubicBezTo>
                <a:cubicBezTo>
                  <a:pt x="2207" y="159"/>
                  <a:pt x="2209" y="158"/>
                  <a:pt x="2211" y="158"/>
                </a:cubicBezTo>
                <a:cubicBezTo>
                  <a:pt x="2212" y="158"/>
                  <a:pt x="2214" y="159"/>
                  <a:pt x="2215" y="159"/>
                </a:cubicBezTo>
                <a:cubicBezTo>
                  <a:pt x="2216" y="159"/>
                  <a:pt x="2218" y="158"/>
                  <a:pt x="2219" y="158"/>
                </a:cubicBezTo>
                <a:cubicBezTo>
                  <a:pt x="2219" y="158"/>
                  <a:pt x="2220" y="157"/>
                  <a:pt x="2220" y="157"/>
                </a:cubicBezTo>
                <a:cubicBezTo>
                  <a:pt x="2221" y="157"/>
                  <a:pt x="2221" y="156"/>
                  <a:pt x="2221" y="156"/>
                </a:cubicBezTo>
                <a:cubicBezTo>
                  <a:pt x="2221" y="153"/>
                  <a:pt x="2221" y="150"/>
                  <a:pt x="2217" y="149"/>
                </a:cubicBezTo>
                <a:cubicBezTo>
                  <a:pt x="2215" y="149"/>
                  <a:pt x="2215" y="148"/>
                  <a:pt x="2215" y="147"/>
                </a:cubicBezTo>
                <a:cubicBezTo>
                  <a:pt x="2214" y="146"/>
                  <a:pt x="2214" y="145"/>
                  <a:pt x="2215" y="145"/>
                </a:cubicBezTo>
                <a:cubicBezTo>
                  <a:pt x="2215" y="142"/>
                  <a:pt x="2214" y="140"/>
                  <a:pt x="2211" y="138"/>
                </a:cubicBezTo>
                <a:cubicBezTo>
                  <a:pt x="2210" y="138"/>
                  <a:pt x="2209" y="136"/>
                  <a:pt x="2208" y="135"/>
                </a:cubicBezTo>
                <a:cubicBezTo>
                  <a:pt x="2207" y="134"/>
                  <a:pt x="2207" y="133"/>
                  <a:pt x="2209" y="132"/>
                </a:cubicBezTo>
                <a:cubicBezTo>
                  <a:pt x="2211" y="130"/>
                  <a:pt x="2212" y="128"/>
                  <a:pt x="2213" y="126"/>
                </a:cubicBezTo>
                <a:cubicBezTo>
                  <a:pt x="2213" y="125"/>
                  <a:pt x="2213" y="124"/>
                  <a:pt x="2212" y="123"/>
                </a:cubicBezTo>
                <a:cubicBezTo>
                  <a:pt x="2210" y="120"/>
                  <a:pt x="2209" y="117"/>
                  <a:pt x="2209" y="113"/>
                </a:cubicBezTo>
                <a:cubicBezTo>
                  <a:pt x="2209" y="112"/>
                  <a:pt x="2208" y="112"/>
                  <a:pt x="2207" y="112"/>
                </a:cubicBezTo>
                <a:cubicBezTo>
                  <a:pt x="2207" y="112"/>
                  <a:pt x="2206" y="112"/>
                  <a:pt x="2205" y="112"/>
                </a:cubicBezTo>
                <a:cubicBezTo>
                  <a:pt x="2202" y="111"/>
                  <a:pt x="2199" y="110"/>
                  <a:pt x="2196" y="110"/>
                </a:cubicBezTo>
                <a:cubicBezTo>
                  <a:pt x="2195" y="110"/>
                  <a:pt x="2194" y="109"/>
                  <a:pt x="2193" y="108"/>
                </a:cubicBezTo>
                <a:cubicBezTo>
                  <a:pt x="2191" y="107"/>
                  <a:pt x="2190" y="108"/>
                  <a:pt x="2188" y="109"/>
                </a:cubicBezTo>
                <a:cubicBezTo>
                  <a:pt x="2186" y="111"/>
                  <a:pt x="2185" y="113"/>
                  <a:pt x="2182" y="114"/>
                </a:cubicBezTo>
                <a:cubicBezTo>
                  <a:pt x="2182" y="114"/>
                  <a:pt x="2181" y="114"/>
                  <a:pt x="2181" y="115"/>
                </a:cubicBezTo>
                <a:cubicBezTo>
                  <a:pt x="2180" y="116"/>
                  <a:pt x="2180" y="117"/>
                  <a:pt x="2181" y="118"/>
                </a:cubicBezTo>
                <a:cubicBezTo>
                  <a:pt x="2182" y="120"/>
                  <a:pt x="2183" y="121"/>
                  <a:pt x="2185" y="123"/>
                </a:cubicBezTo>
                <a:cubicBezTo>
                  <a:pt x="2185" y="124"/>
                  <a:pt x="2185" y="125"/>
                  <a:pt x="2185" y="126"/>
                </a:cubicBezTo>
                <a:cubicBezTo>
                  <a:pt x="2185" y="126"/>
                  <a:pt x="2184" y="127"/>
                  <a:pt x="2184" y="127"/>
                </a:cubicBezTo>
                <a:cubicBezTo>
                  <a:pt x="2183" y="127"/>
                  <a:pt x="2183" y="127"/>
                  <a:pt x="2183" y="127"/>
                </a:cubicBezTo>
                <a:cubicBezTo>
                  <a:pt x="2181" y="123"/>
                  <a:pt x="2176" y="120"/>
                  <a:pt x="2174" y="116"/>
                </a:cubicBezTo>
                <a:cubicBezTo>
                  <a:pt x="2171" y="113"/>
                  <a:pt x="2168" y="111"/>
                  <a:pt x="2163" y="112"/>
                </a:cubicBezTo>
                <a:cubicBezTo>
                  <a:pt x="2162" y="112"/>
                  <a:pt x="2160" y="112"/>
                  <a:pt x="2158" y="112"/>
                </a:cubicBezTo>
                <a:cubicBezTo>
                  <a:pt x="2156" y="111"/>
                  <a:pt x="2153" y="111"/>
                  <a:pt x="2150" y="111"/>
                </a:cubicBezTo>
                <a:cubicBezTo>
                  <a:pt x="2147" y="111"/>
                  <a:pt x="2144" y="110"/>
                  <a:pt x="2141" y="109"/>
                </a:cubicBezTo>
                <a:cubicBezTo>
                  <a:pt x="2138" y="108"/>
                  <a:pt x="2135" y="108"/>
                  <a:pt x="2132" y="109"/>
                </a:cubicBezTo>
                <a:cubicBezTo>
                  <a:pt x="2130" y="110"/>
                  <a:pt x="2129" y="110"/>
                  <a:pt x="2127" y="108"/>
                </a:cubicBezTo>
                <a:cubicBezTo>
                  <a:pt x="2125" y="107"/>
                  <a:pt x="2123" y="106"/>
                  <a:pt x="2121" y="106"/>
                </a:cubicBezTo>
                <a:cubicBezTo>
                  <a:pt x="2115" y="105"/>
                  <a:pt x="2109" y="103"/>
                  <a:pt x="2102" y="104"/>
                </a:cubicBezTo>
                <a:cubicBezTo>
                  <a:pt x="2101" y="104"/>
                  <a:pt x="2100" y="104"/>
                  <a:pt x="2100" y="104"/>
                </a:cubicBezTo>
                <a:cubicBezTo>
                  <a:pt x="2095" y="102"/>
                  <a:pt x="2091" y="104"/>
                  <a:pt x="2088" y="105"/>
                </a:cubicBezTo>
                <a:cubicBezTo>
                  <a:pt x="2085" y="106"/>
                  <a:pt x="2082" y="108"/>
                  <a:pt x="2080" y="108"/>
                </a:cubicBezTo>
                <a:cubicBezTo>
                  <a:pt x="2076" y="108"/>
                  <a:pt x="2073" y="109"/>
                  <a:pt x="2070" y="109"/>
                </a:cubicBezTo>
                <a:cubicBezTo>
                  <a:pt x="2069" y="109"/>
                  <a:pt x="2067" y="110"/>
                  <a:pt x="2066" y="110"/>
                </a:cubicBezTo>
                <a:cubicBezTo>
                  <a:pt x="2065" y="110"/>
                  <a:pt x="2065" y="110"/>
                  <a:pt x="2065" y="111"/>
                </a:cubicBezTo>
                <a:cubicBezTo>
                  <a:pt x="2065" y="114"/>
                  <a:pt x="2068" y="116"/>
                  <a:pt x="2067" y="119"/>
                </a:cubicBezTo>
                <a:cubicBezTo>
                  <a:pt x="2067" y="120"/>
                  <a:pt x="2068" y="121"/>
                  <a:pt x="2069" y="121"/>
                </a:cubicBezTo>
                <a:cubicBezTo>
                  <a:pt x="2071" y="122"/>
                  <a:pt x="2074" y="122"/>
                  <a:pt x="2075" y="124"/>
                </a:cubicBezTo>
                <a:cubicBezTo>
                  <a:pt x="2077" y="126"/>
                  <a:pt x="2079" y="128"/>
                  <a:pt x="2080" y="130"/>
                </a:cubicBezTo>
                <a:cubicBezTo>
                  <a:pt x="2081" y="131"/>
                  <a:pt x="2081" y="133"/>
                  <a:pt x="2080" y="133"/>
                </a:cubicBezTo>
                <a:cubicBezTo>
                  <a:pt x="2079" y="134"/>
                  <a:pt x="2078" y="135"/>
                  <a:pt x="2077" y="136"/>
                </a:cubicBezTo>
                <a:cubicBezTo>
                  <a:pt x="2076" y="137"/>
                  <a:pt x="2074" y="137"/>
                  <a:pt x="2074" y="135"/>
                </a:cubicBezTo>
                <a:cubicBezTo>
                  <a:pt x="2072" y="132"/>
                  <a:pt x="2069" y="131"/>
                  <a:pt x="2065" y="130"/>
                </a:cubicBezTo>
                <a:cubicBezTo>
                  <a:pt x="2065" y="130"/>
                  <a:pt x="2064" y="130"/>
                  <a:pt x="2063" y="130"/>
                </a:cubicBezTo>
                <a:cubicBezTo>
                  <a:pt x="2063" y="130"/>
                  <a:pt x="2062" y="129"/>
                  <a:pt x="2061" y="128"/>
                </a:cubicBezTo>
                <a:cubicBezTo>
                  <a:pt x="2061" y="128"/>
                  <a:pt x="2060" y="126"/>
                  <a:pt x="2060" y="125"/>
                </a:cubicBezTo>
                <a:cubicBezTo>
                  <a:pt x="2059" y="125"/>
                  <a:pt x="2059" y="124"/>
                  <a:pt x="2060" y="124"/>
                </a:cubicBezTo>
                <a:cubicBezTo>
                  <a:pt x="2062" y="122"/>
                  <a:pt x="2061" y="120"/>
                  <a:pt x="2060" y="118"/>
                </a:cubicBezTo>
                <a:cubicBezTo>
                  <a:pt x="2059" y="116"/>
                  <a:pt x="2057" y="116"/>
                  <a:pt x="2055" y="116"/>
                </a:cubicBezTo>
                <a:cubicBezTo>
                  <a:pt x="2054" y="116"/>
                  <a:pt x="2052" y="118"/>
                  <a:pt x="2052" y="119"/>
                </a:cubicBezTo>
                <a:cubicBezTo>
                  <a:pt x="2052" y="122"/>
                  <a:pt x="2052" y="124"/>
                  <a:pt x="2052" y="126"/>
                </a:cubicBezTo>
                <a:cubicBezTo>
                  <a:pt x="2052" y="128"/>
                  <a:pt x="2051" y="129"/>
                  <a:pt x="2049" y="129"/>
                </a:cubicBezTo>
                <a:cubicBezTo>
                  <a:pt x="2046" y="130"/>
                  <a:pt x="2043" y="130"/>
                  <a:pt x="2041" y="131"/>
                </a:cubicBezTo>
                <a:cubicBezTo>
                  <a:pt x="2039" y="131"/>
                  <a:pt x="2037" y="132"/>
                  <a:pt x="2035" y="131"/>
                </a:cubicBezTo>
                <a:cubicBezTo>
                  <a:pt x="2034" y="131"/>
                  <a:pt x="2033" y="131"/>
                  <a:pt x="2033" y="131"/>
                </a:cubicBezTo>
                <a:cubicBezTo>
                  <a:pt x="2030" y="133"/>
                  <a:pt x="2026" y="135"/>
                  <a:pt x="2023" y="137"/>
                </a:cubicBezTo>
                <a:cubicBezTo>
                  <a:pt x="2018" y="140"/>
                  <a:pt x="2013" y="141"/>
                  <a:pt x="2008" y="141"/>
                </a:cubicBezTo>
                <a:cubicBezTo>
                  <a:pt x="2007" y="140"/>
                  <a:pt x="2006" y="140"/>
                  <a:pt x="2005" y="138"/>
                </a:cubicBezTo>
                <a:cubicBezTo>
                  <a:pt x="2005" y="138"/>
                  <a:pt x="2005" y="138"/>
                  <a:pt x="2005" y="138"/>
                </a:cubicBezTo>
                <a:cubicBezTo>
                  <a:pt x="2004" y="132"/>
                  <a:pt x="2001" y="128"/>
                  <a:pt x="1996" y="125"/>
                </a:cubicBezTo>
                <a:cubicBezTo>
                  <a:pt x="1996" y="125"/>
                  <a:pt x="1995" y="125"/>
                  <a:pt x="1995" y="124"/>
                </a:cubicBezTo>
                <a:cubicBezTo>
                  <a:pt x="1990" y="121"/>
                  <a:pt x="1984" y="119"/>
                  <a:pt x="1978" y="122"/>
                </a:cubicBezTo>
                <a:cubicBezTo>
                  <a:pt x="1977" y="123"/>
                  <a:pt x="1976" y="123"/>
                  <a:pt x="1975" y="123"/>
                </a:cubicBezTo>
                <a:cubicBezTo>
                  <a:pt x="1971" y="125"/>
                  <a:pt x="1966" y="127"/>
                  <a:pt x="1962" y="130"/>
                </a:cubicBezTo>
                <a:cubicBezTo>
                  <a:pt x="1960" y="132"/>
                  <a:pt x="1958" y="133"/>
                  <a:pt x="1955" y="135"/>
                </a:cubicBezTo>
                <a:cubicBezTo>
                  <a:pt x="1954" y="136"/>
                  <a:pt x="1952" y="135"/>
                  <a:pt x="1951" y="133"/>
                </a:cubicBezTo>
                <a:cubicBezTo>
                  <a:pt x="1950" y="131"/>
                  <a:pt x="1949" y="130"/>
                  <a:pt x="1947" y="129"/>
                </a:cubicBezTo>
                <a:cubicBezTo>
                  <a:pt x="1946" y="129"/>
                  <a:pt x="1944" y="128"/>
                  <a:pt x="1943" y="127"/>
                </a:cubicBezTo>
                <a:cubicBezTo>
                  <a:pt x="1941" y="127"/>
                  <a:pt x="1940" y="127"/>
                  <a:pt x="1939" y="128"/>
                </a:cubicBezTo>
                <a:cubicBezTo>
                  <a:pt x="1938" y="129"/>
                  <a:pt x="1938" y="129"/>
                  <a:pt x="1936" y="128"/>
                </a:cubicBezTo>
                <a:cubicBezTo>
                  <a:pt x="1935" y="128"/>
                  <a:pt x="1934" y="127"/>
                  <a:pt x="1933" y="127"/>
                </a:cubicBezTo>
                <a:cubicBezTo>
                  <a:pt x="1932" y="128"/>
                  <a:pt x="1931" y="128"/>
                  <a:pt x="1931" y="127"/>
                </a:cubicBezTo>
                <a:cubicBezTo>
                  <a:pt x="1929" y="126"/>
                  <a:pt x="1928" y="125"/>
                  <a:pt x="1926" y="125"/>
                </a:cubicBezTo>
                <a:cubicBezTo>
                  <a:pt x="1925" y="125"/>
                  <a:pt x="1925" y="124"/>
                  <a:pt x="1926" y="123"/>
                </a:cubicBezTo>
                <a:cubicBezTo>
                  <a:pt x="1927" y="121"/>
                  <a:pt x="1927" y="120"/>
                  <a:pt x="1926" y="118"/>
                </a:cubicBezTo>
                <a:cubicBezTo>
                  <a:pt x="1925" y="118"/>
                  <a:pt x="1925" y="118"/>
                  <a:pt x="1925" y="118"/>
                </a:cubicBezTo>
                <a:cubicBezTo>
                  <a:pt x="1922" y="116"/>
                  <a:pt x="1918" y="114"/>
                  <a:pt x="1914" y="115"/>
                </a:cubicBezTo>
                <a:cubicBezTo>
                  <a:pt x="1913" y="115"/>
                  <a:pt x="1911" y="116"/>
                  <a:pt x="1909" y="116"/>
                </a:cubicBezTo>
                <a:cubicBezTo>
                  <a:pt x="1908" y="117"/>
                  <a:pt x="1907" y="117"/>
                  <a:pt x="1906" y="118"/>
                </a:cubicBezTo>
                <a:cubicBezTo>
                  <a:pt x="1904" y="121"/>
                  <a:pt x="1902" y="121"/>
                  <a:pt x="1899" y="120"/>
                </a:cubicBezTo>
                <a:cubicBezTo>
                  <a:pt x="1896" y="119"/>
                  <a:pt x="1893" y="119"/>
                  <a:pt x="1890" y="119"/>
                </a:cubicBezTo>
                <a:cubicBezTo>
                  <a:pt x="1886" y="120"/>
                  <a:pt x="1882" y="120"/>
                  <a:pt x="1879" y="120"/>
                </a:cubicBezTo>
                <a:cubicBezTo>
                  <a:pt x="1875" y="121"/>
                  <a:pt x="1871" y="121"/>
                  <a:pt x="1867" y="120"/>
                </a:cubicBezTo>
                <a:cubicBezTo>
                  <a:pt x="1867" y="120"/>
                  <a:pt x="1866" y="121"/>
                  <a:pt x="1865" y="121"/>
                </a:cubicBezTo>
                <a:cubicBezTo>
                  <a:pt x="1865" y="121"/>
                  <a:pt x="1864" y="122"/>
                  <a:pt x="1864" y="122"/>
                </a:cubicBezTo>
                <a:cubicBezTo>
                  <a:pt x="1864" y="123"/>
                  <a:pt x="1864" y="123"/>
                  <a:pt x="1865" y="123"/>
                </a:cubicBezTo>
                <a:cubicBezTo>
                  <a:pt x="1866" y="124"/>
                  <a:pt x="1867" y="124"/>
                  <a:pt x="1869" y="125"/>
                </a:cubicBezTo>
                <a:cubicBezTo>
                  <a:pt x="1869" y="125"/>
                  <a:pt x="1870" y="125"/>
                  <a:pt x="1870" y="126"/>
                </a:cubicBezTo>
                <a:cubicBezTo>
                  <a:pt x="1870" y="126"/>
                  <a:pt x="1869" y="128"/>
                  <a:pt x="1869" y="128"/>
                </a:cubicBezTo>
                <a:cubicBezTo>
                  <a:pt x="1868" y="128"/>
                  <a:pt x="1867" y="128"/>
                  <a:pt x="1866" y="129"/>
                </a:cubicBezTo>
                <a:cubicBezTo>
                  <a:pt x="1864" y="130"/>
                  <a:pt x="1864" y="131"/>
                  <a:pt x="1864" y="133"/>
                </a:cubicBezTo>
                <a:cubicBezTo>
                  <a:pt x="1864" y="135"/>
                  <a:pt x="1865" y="136"/>
                  <a:pt x="1867" y="136"/>
                </a:cubicBezTo>
                <a:cubicBezTo>
                  <a:pt x="1868" y="136"/>
                  <a:pt x="1869" y="136"/>
                  <a:pt x="1870" y="136"/>
                </a:cubicBezTo>
                <a:cubicBezTo>
                  <a:pt x="1870" y="136"/>
                  <a:pt x="1870" y="136"/>
                  <a:pt x="1870" y="136"/>
                </a:cubicBezTo>
                <a:cubicBezTo>
                  <a:pt x="1870" y="135"/>
                  <a:pt x="1870" y="135"/>
                  <a:pt x="1870" y="135"/>
                </a:cubicBezTo>
                <a:cubicBezTo>
                  <a:pt x="1870" y="136"/>
                  <a:pt x="1870" y="136"/>
                  <a:pt x="1870" y="136"/>
                </a:cubicBezTo>
                <a:cubicBezTo>
                  <a:pt x="1870" y="136"/>
                  <a:pt x="1870" y="136"/>
                  <a:pt x="1870" y="136"/>
                </a:cubicBezTo>
                <a:cubicBezTo>
                  <a:pt x="1870" y="138"/>
                  <a:pt x="1870" y="139"/>
                  <a:pt x="1871" y="140"/>
                </a:cubicBezTo>
                <a:cubicBezTo>
                  <a:pt x="1872" y="142"/>
                  <a:pt x="1873" y="144"/>
                  <a:pt x="1875" y="145"/>
                </a:cubicBezTo>
                <a:cubicBezTo>
                  <a:pt x="1876" y="146"/>
                  <a:pt x="1876" y="147"/>
                  <a:pt x="1876" y="148"/>
                </a:cubicBezTo>
                <a:cubicBezTo>
                  <a:pt x="1875" y="148"/>
                  <a:pt x="1874" y="149"/>
                  <a:pt x="1873" y="148"/>
                </a:cubicBezTo>
                <a:cubicBezTo>
                  <a:pt x="1872" y="147"/>
                  <a:pt x="1870" y="147"/>
                  <a:pt x="1868" y="148"/>
                </a:cubicBezTo>
                <a:cubicBezTo>
                  <a:pt x="1867" y="149"/>
                  <a:pt x="1865" y="149"/>
                  <a:pt x="1864" y="150"/>
                </a:cubicBezTo>
                <a:cubicBezTo>
                  <a:pt x="1863" y="152"/>
                  <a:pt x="1861" y="152"/>
                  <a:pt x="1859" y="152"/>
                </a:cubicBezTo>
                <a:cubicBezTo>
                  <a:pt x="1858" y="151"/>
                  <a:pt x="1856" y="151"/>
                  <a:pt x="1855" y="151"/>
                </a:cubicBezTo>
                <a:cubicBezTo>
                  <a:pt x="1853" y="152"/>
                  <a:pt x="1851" y="153"/>
                  <a:pt x="1850" y="155"/>
                </a:cubicBezTo>
                <a:cubicBezTo>
                  <a:pt x="1850" y="157"/>
                  <a:pt x="1848" y="158"/>
                  <a:pt x="1846" y="158"/>
                </a:cubicBezTo>
                <a:cubicBezTo>
                  <a:pt x="1842" y="159"/>
                  <a:pt x="1838" y="158"/>
                  <a:pt x="1835" y="155"/>
                </a:cubicBezTo>
                <a:cubicBezTo>
                  <a:pt x="1834" y="154"/>
                  <a:pt x="1834" y="154"/>
                  <a:pt x="1834" y="154"/>
                </a:cubicBezTo>
                <a:cubicBezTo>
                  <a:pt x="1834" y="154"/>
                  <a:pt x="1833" y="154"/>
                  <a:pt x="1833" y="154"/>
                </a:cubicBezTo>
                <a:cubicBezTo>
                  <a:pt x="1833" y="155"/>
                  <a:pt x="1833" y="155"/>
                  <a:pt x="1833" y="155"/>
                </a:cubicBezTo>
                <a:cubicBezTo>
                  <a:pt x="1833" y="158"/>
                  <a:pt x="1833" y="160"/>
                  <a:pt x="1835" y="163"/>
                </a:cubicBezTo>
                <a:cubicBezTo>
                  <a:pt x="1836" y="166"/>
                  <a:pt x="1837" y="169"/>
                  <a:pt x="1838" y="173"/>
                </a:cubicBezTo>
                <a:cubicBezTo>
                  <a:pt x="1838" y="174"/>
                  <a:pt x="1837" y="174"/>
                  <a:pt x="1836" y="174"/>
                </a:cubicBezTo>
                <a:cubicBezTo>
                  <a:pt x="1834" y="174"/>
                  <a:pt x="1833" y="174"/>
                  <a:pt x="1831" y="173"/>
                </a:cubicBezTo>
                <a:cubicBezTo>
                  <a:pt x="1826" y="171"/>
                  <a:pt x="1823" y="167"/>
                  <a:pt x="1818" y="164"/>
                </a:cubicBezTo>
                <a:cubicBezTo>
                  <a:pt x="1818" y="164"/>
                  <a:pt x="1818" y="164"/>
                  <a:pt x="1818" y="164"/>
                </a:cubicBezTo>
                <a:cubicBezTo>
                  <a:pt x="1817" y="161"/>
                  <a:pt x="1817" y="161"/>
                  <a:pt x="1816" y="162"/>
                </a:cubicBezTo>
                <a:cubicBezTo>
                  <a:pt x="1814" y="163"/>
                  <a:pt x="1813" y="163"/>
                  <a:pt x="1812" y="162"/>
                </a:cubicBezTo>
                <a:cubicBezTo>
                  <a:pt x="1811" y="162"/>
                  <a:pt x="1811" y="161"/>
                  <a:pt x="1811" y="160"/>
                </a:cubicBezTo>
                <a:cubicBezTo>
                  <a:pt x="1810" y="160"/>
                  <a:pt x="1810" y="160"/>
                  <a:pt x="1810" y="160"/>
                </a:cubicBezTo>
                <a:cubicBezTo>
                  <a:pt x="1810" y="160"/>
                  <a:pt x="1810" y="160"/>
                  <a:pt x="1810" y="160"/>
                </a:cubicBezTo>
                <a:cubicBezTo>
                  <a:pt x="1809" y="160"/>
                  <a:pt x="1809" y="160"/>
                  <a:pt x="1808" y="159"/>
                </a:cubicBezTo>
                <a:cubicBezTo>
                  <a:pt x="1809" y="159"/>
                  <a:pt x="1809" y="159"/>
                  <a:pt x="1809" y="159"/>
                </a:cubicBezTo>
                <a:cubicBezTo>
                  <a:pt x="1809" y="159"/>
                  <a:pt x="1810" y="160"/>
                  <a:pt x="1810" y="160"/>
                </a:cubicBezTo>
                <a:cubicBezTo>
                  <a:pt x="1810" y="160"/>
                  <a:pt x="1810" y="160"/>
                  <a:pt x="1811" y="160"/>
                </a:cubicBezTo>
                <a:cubicBezTo>
                  <a:pt x="1811" y="160"/>
                  <a:pt x="1811" y="160"/>
                  <a:pt x="1811" y="160"/>
                </a:cubicBezTo>
                <a:cubicBezTo>
                  <a:pt x="1811" y="160"/>
                  <a:pt x="1812" y="159"/>
                  <a:pt x="1813" y="159"/>
                </a:cubicBezTo>
                <a:cubicBezTo>
                  <a:pt x="1814" y="158"/>
                  <a:pt x="1814" y="158"/>
                  <a:pt x="1814" y="157"/>
                </a:cubicBezTo>
                <a:cubicBezTo>
                  <a:pt x="1814" y="155"/>
                  <a:pt x="1812" y="153"/>
                  <a:pt x="1811" y="152"/>
                </a:cubicBezTo>
                <a:cubicBezTo>
                  <a:pt x="1810" y="151"/>
                  <a:pt x="1808" y="151"/>
                  <a:pt x="1807" y="151"/>
                </a:cubicBezTo>
                <a:cubicBezTo>
                  <a:pt x="1806" y="150"/>
                  <a:pt x="1805" y="150"/>
                  <a:pt x="1806" y="149"/>
                </a:cubicBezTo>
                <a:cubicBezTo>
                  <a:pt x="1806" y="148"/>
                  <a:pt x="1807" y="147"/>
                  <a:pt x="1806" y="146"/>
                </a:cubicBezTo>
                <a:cubicBezTo>
                  <a:pt x="1803" y="143"/>
                  <a:pt x="1801" y="141"/>
                  <a:pt x="1799" y="139"/>
                </a:cubicBezTo>
                <a:cubicBezTo>
                  <a:pt x="1797" y="137"/>
                  <a:pt x="1789" y="135"/>
                  <a:pt x="1786" y="135"/>
                </a:cubicBezTo>
                <a:cubicBezTo>
                  <a:pt x="1786" y="135"/>
                  <a:pt x="1785" y="135"/>
                  <a:pt x="1785" y="136"/>
                </a:cubicBezTo>
                <a:cubicBezTo>
                  <a:pt x="1784" y="137"/>
                  <a:pt x="1783" y="137"/>
                  <a:pt x="1781" y="136"/>
                </a:cubicBezTo>
                <a:cubicBezTo>
                  <a:pt x="1777" y="135"/>
                  <a:pt x="1773" y="135"/>
                  <a:pt x="1770" y="136"/>
                </a:cubicBezTo>
                <a:cubicBezTo>
                  <a:pt x="1769" y="136"/>
                  <a:pt x="1768" y="137"/>
                  <a:pt x="1767" y="137"/>
                </a:cubicBezTo>
                <a:cubicBezTo>
                  <a:pt x="1765" y="139"/>
                  <a:pt x="1765" y="140"/>
                  <a:pt x="1765" y="142"/>
                </a:cubicBezTo>
                <a:cubicBezTo>
                  <a:pt x="1767" y="144"/>
                  <a:pt x="1768" y="146"/>
                  <a:pt x="1769" y="148"/>
                </a:cubicBezTo>
                <a:cubicBezTo>
                  <a:pt x="1769" y="149"/>
                  <a:pt x="1769" y="150"/>
                  <a:pt x="1769" y="150"/>
                </a:cubicBezTo>
                <a:cubicBezTo>
                  <a:pt x="1765" y="152"/>
                  <a:pt x="1762" y="153"/>
                  <a:pt x="1758" y="154"/>
                </a:cubicBezTo>
                <a:cubicBezTo>
                  <a:pt x="1756" y="155"/>
                  <a:pt x="1754" y="155"/>
                  <a:pt x="1752" y="153"/>
                </a:cubicBezTo>
                <a:cubicBezTo>
                  <a:pt x="1750" y="152"/>
                  <a:pt x="1750" y="152"/>
                  <a:pt x="1749" y="153"/>
                </a:cubicBezTo>
                <a:cubicBezTo>
                  <a:pt x="1745" y="156"/>
                  <a:pt x="1741" y="155"/>
                  <a:pt x="1740" y="150"/>
                </a:cubicBezTo>
                <a:cubicBezTo>
                  <a:pt x="1740" y="150"/>
                  <a:pt x="1740" y="149"/>
                  <a:pt x="1740" y="149"/>
                </a:cubicBezTo>
                <a:cubicBezTo>
                  <a:pt x="1740" y="147"/>
                  <a:pt x="1738" y="146"/>
                  <a:pt x="1737" y="147"/>
                </a:cubicBezTo>
                <a:cubicBezTo>
                  <a:pt x="1732" y="147"/>
                  <a:pt x="1728" y="148"/>
                  <a:pt x="1723" y="149"/>
                </a:cubicBezTo>
                <a:cubicBezTo>
                  <a:pt x="1722" y="150"/>
                  <a:pt x="1720" y="150"/>
                  <a:pt x="1718" y="151"/>
                </a:cubicBezTo>
                <a:cubicBezTo>
                  <a:pt x="1716" y="152"/>
                  <a:pt x="1715" y="153"/>
                  <a:pt x="1713" y="154"/>
                </a:cubicBezTo>
                <a:cubicBezTo>
                  <a:pt x="1711" y="153"/>
                  <a:pt x="1710" y="152"/>
                  <a:pt x="1708" y="152"/>
                </a:cubicBezTo>
                <a:cubicBezTo>
                  <a:pt x="1708" y="151"/>
                  <a:pt x="1707" y="152"/>
                  <a:pt x="1707" y="152"/>
                </a:cubicBezTo>
                <a:cubicBezTo>
                  <a:pt x="1707" y="152"/>
                  <a:pt x="1707" y="153"/>
                  <a:pt x="1707" y="153"/>
                </a:cubicBezTo>
                <a:cubicBezTo>
                  <a:pt x="1705" y="156"/>
                  <a:pt x="1702" y="157"/>
                  <a:pt x="1700" y="155"/>
                </a:cubicBezTo>
                <a:cubicBezTo>
                  <a:pt x="1699" y="154"/>
                  <a:pt x="1698" y="153"/>
                  <a:pt x="1698" y="152"/>
                </a:cubicBezTo>
                <a:cubicBezTo>
                  <a:pt x="1697" y="151"/>
                  <a:pt x="1697" y="151"/>
                  <a:pt x="1696" y="151"/>
                </a:cubicBezTo>
                <a:cubicBezTo>
                  <a:pt x="1695" y="152"/>
                  <a:pt x="1693" y="152"/>
                  <a:pt x="1692" y="152"/>
                </a:cubicBezTo>
                <a:cubicBezTo>
                  <a:pt x="1690" y="152"/>
                  <a:pt x="1689" y="153"/>
                  <a:pt x="1689" y="154"/>
                </a:cubicBezTo>
                <a:cubicBezTo>
                  <a:pt x="1688" y="155"/>
                  <a:pt x="1688" y="156"/>
                  <a:pt x="1688" y="157"/>
                </a:cubicBezTo>
                <a:cubicBezTo>
                  <a:pt x="1688" y="158"/>
                  <a:pt x="1689" y="159"/>
                  <a:pt x="1690" y="160"/>
                </a:cubicBezTo>
                <a:cubicBezTo>
                  <a:pt x="1691" y="160"/>
                  <a:pt x="1692" y="160"/>
                  <a:pt x="1693" y="160"/>
                </a:cubicBezTo>
                <a:cubicBezTo>
                  <a:pt x="1693" y="160"/>
                  <a:pt x="1693" y="160"/>
                  <a:pt x="1693" y="160"/>
                </a:cubicBezTo>
                <a:cubicBezTo>
                  <a:pt x="1693" y="160"/>
                  <a:pt x="1693" y="160"/>
                  <a:pt x="1693" y="160"/>
                </a:cubicBezTo>
                <a:cubicBezTo>
                  <a:pt x="1693" y="160"/>
                  <a:pt x="1693" y="159"/>
                  <a:pt x="1693" y="159"/>
                </a:cubicBezTo>
                <a:cubicBezTo>
                  <a:pt x="1693" y="159"/>
                  <a:pt x="1694" y="158"/>
                  <a:pt x="1694" y="158"/>
                </a:cubicBezTo>
                <a:cubicBezTo>
                  <a:pt x="1694" y="158"/>
                  <a:pt x="1695" y="158"/>
                  <a:pt x="1694" y="159"/>
                </a:cubicBezTo>
                <a:cubicBezTo>
                  <a:pt x="1694" y="159"/>
                  <a:pt x="1694" y="159"/>
                  <a:pt x="1694" y="159"/>
                </a:cubicBezTo>
                <a:cubicBezTo>
                  <a:pt x="1694" y="160"/>
                  <a:pt x="1693" y="160"/>
                  <a:pt x="1693" y="160"/>
                </a:cubicBezTo>
                <a:cubicBezTo>
                  <a:pt x="1693" y="160"/>
                  <a:pt x="1693" y="160"/>
                  <a:pt x="1693" y="160"/>
                </a:cubicBezTo>
                <a:cubicBezTo>
                  <a:pt x="1693" y="160"/>
                  <a:pt x="1693" y="160"/>
                  <a:pt x="1693" y="160"/>
                </a:cubicBezTo>
                <a:cubicBezTo>
                  <a:pt x="1693" y="161"/>
                  <a:pt x="1693" y="162"/>
                  <a:pt x="1692" y="163"/>
                </a:cubicBezTo>
                <a:cubicBezTo>
                  <a:pt x="1690" y="164"/>
                  <a:pt x="1689" y="166"/>
                  <a:pt x="1688" y="167"/>
                </a:cubicBezTo>
                <a:cubicBezTo>
                  <a:pt x="1686" y="171"/>
                  <a:pt x="1683" y="172"/>
                  <a:pt x="1680" y="172"/>
                </a:cubicBezTo>
                <a:cubicBezTo>
                  <a:pt x="1678" y="173"/>
                  <a:pt x="1678" y="172"/>
                  <a:pt x="1678" y="171"/>
                </a:cubicBezTo>
                <a:cubicBezTo>
                  <a:pt x="1679" y="169"/>
                  <a:pt x="1679" y="168"/>
                  <a:pt x="1680" y="166"/>
                </a:cubicBezTo>
                <a:cubicBezTo>
                  <a:pt x="1680" y="164"/>
                  <a:pt x="1682" y="164"/>
                  <a:pt x="1683" y="162"/>
                </a:cubicBezTo>
                <a:cubicBezTo>
                  <a:pt x="1683" y="161"/>
                  <a:pt x="1684" y="160"/>
                  <a:pt x="1684" y="160"/>
                </a:cubicBezTo>
                <a:cubicBezTo>
                  <a:pt x="1683" y="157"/>
                  <a:pt x="1684" y="155"/>
                  <a:pt x="1685" y="152"/>
                </a:cubicBezTo>
                <a:cubicBezTo>
                  <a:pt x="1685" y="151"/>
                  <a:pt x="1686" y="150"/>
                  <a:pt x="1686" y="149"/>
                </a:cubicBezTo>
                <a:cubicBezTo>
                  <a:pt x="1685" y="148"/>
                  <a:pt x="1685" y="147"/>
                  <a:pt x="1686" y="145"/>
                </a:cubicBezTo>
                <a:cubicBezTo>
                  <a:pt x="1687" y="143"/>
                  <a:pt x="1688" y="140"/>
                  <a:pt x="1689" y="137"/>
                </a:cubicBezTo>
                <a:cubicBezTo>
                  <a:pt x="1690" y="135"/>
                  <a:pt x="1690" y="132"/>
                  <a:pt x="1691" y="129"/>
                </a:cubicBezTo>
                <a:cubicBezTo>
                  <a:pt x="1692" y="126"/>
                  <a:pt x="1692" y="124"/>
                  <a:pt x="1691" y="121"/>
                </a:cubicBezTo>
                <a:cubicBezTo>
                  <a:pt x="1690" y="119"/>
                  <a:pt x="1688" y="116"/>
                  <a:pt x="1687" y="113"/>
                </a:cubicBezTo>
                <a:cubicBezTo>
                  <a:pt x="1687" y="113"/>
                  <a:pt x="1687" y="112"/>
                  <a:pt x="1686" y="112"/>
                </a:cubicBezTo>
                <a:cubicBezTo>
                  <a:pt x="1683" y="111"/>
                  <a:pt x="1682" y="108"/>
                  <a:pt x="1679" y="105"/>
                </a:cubicBezTo>
                <a:cubicBezTo>
                  <a:pt x="1679" y="105"/>
                  <a:pt x="1678" y="105"/>
                  <a:pt x="1677" y="105"/>
                </a:cubicBezTo>
                <a:cubicBezTo>
                  <a:pt x="1677" y="106"/>
                  <a:pt x="1677" y="108"/>
                  <a:pt x="1675" y="106"/>
                </a:cubicBezTo>
                <a:cubicBezTo>
                  <a:pt x="1674" y="104"/>
                  <a:pt x="1671" y="103"/>
                  <a:pt x="1669" y="102"/>
                </a:cubicBezTo>
                <a:cubicBezTo>
                  <a:pt x="1667" y="101"/>
                  <a:pt x="1665" y="100"/>
                  <a:pt x="1663" y="99"/>
                </a:cubicBezTo>
                <a:cubicBezTo>
                  <a:pt x="1661" y="97"/>
                  <a:pt x="1659" y="97"/>
                  <a:pt x="1657" y="98"/>
                </a:cubicBezTo>
                <a:cubicBezTo>
                  <a:pt x="1654" y="100"/>
                  <a:pt x="1650" y="102"/>
                  <a:pt x="1646" y="103"/>
                </a:cubicBezTo>
                <a:cubicBezTo>
                  <a:pt x="1645" y="104"/>
                  <a:pt x="1645" y="105"/>
                  <a:pt x="1645" y="105"/>
                </a:cubicBezTo>
                <a:cubicBezTo>
                  <a:pt x="1645" y="106"/>
                  <a:pt x="1646" y="107"/>
                  <a:pt x="1646" y="108"/>
                </a:cubicBezTo>
                <a:cubicBezTo>
                  <a:pt x="1647" y="109"/>
                  <a:pt x="1646" y="110"/>
                  <a:pt x="1645" y="111"/>
                </a:cubicBezTo>
                <a:cubicBezTo>
                  <a:pt x="1643" y="112"/>
                  <a:pt x="1641" y="112"/>
                  <a:pt x="1641" y="110"/>
                </a:cubicBezTo>
                <a:cubicBezTo>
                  <a:pt x="1641" y="108"/>
                  <a:pt x="1641" y="107"/>
                  <a:pt x="1641" y="105"/>
                </a:cubicBezTo>
                <a:cubicBezTo>
                  <a:pt x="1641" y="104"/>
                  <a:pt x="1641" y="102"/>
                  <a:pt x="1640" y="101"/>
                </a:cubicBezTo>
                <a:cubicBezTo>
                  <a:pt x="1640" y="100"/>
                  <a:pt x="1638" y="99"/>
                  <a:pt x="1637" y="99"/>
                </a:cubicBezTo>
                <a:cubicBezTo>
                  <a:pt x="1636" y="99"/>
                  <a:pt x="1635" y="99"/>
                  <a:pt x="1634" y="100"/>
                </a:cubicBezTo>
                <a:cubicBezTo>
                  <a:pt x="1632" y="100"/>
                  <a:pt x="1630" y="100"/>
                  <a:pt x="1628" y="99"/>
                </a:cubicBezTo>
                <a:cubicBezTo>
                  <a:pt x="1627" y="98"/>
                  <a:pt x="1627" y="98"/>
                  <a:pt x="1627" y="96"/>
                </a:cubicBezTo>
                <a:cubicBezTo>
                  <a:pt x="1627" y="93"/>
                  <a:pt x="1626" y="92"/>
                  <a:pt x="1624" y="91"/>
                </a:cubicBezTo>
                <a:cubicBezTo>
                  <a:pt x="1620" y="91"/>
                  <a:pt x="1618" y="89"/>
                  <a:pt x="1614" y="89"/>
                </a:cubicBezTo>
                <a:cubicBezTo>
                  <a:pt x="1614" y="89"/>
                  <a:pt x="1613" y="90"/>
                  <a:pt x="1612" y="90"/>
                </a:cubicBezTo>
                <a:cubicBezTo>
                  <a:pt x="1612" y="90"/>
                  <a:pt x="1611" y="91"/>
                  <a:pt x="1611" y="91"/>
                </a:cubicBezTo>
                <a:cubicBezTo>
                  <a:pt x="1609" y="96"/>
                  <a:pt x="1608" y="101"/>
                  <a:pt x="1608" y="107"/>
                </a:cubicBezTo>
                <a:cubicBezTo>
                  <a:pt x="1608" y="110"/>
                  <a:pt x="1608" y="114"/>
                  <a:pt x="1612" y="116"/>
                </a:cubicBezTo>
                <a:cubicBezTo>
                  <a:pt x="1614" y="117"/>
                  <a:pt x="1613" y="119"/>
                  <a:pt x="1614" y="121"/>
                </a:cubicBezTo>
                <a:cubicBezTo>
                  <a:pt x="1614" y="122"/>
                  <a:pt x="1614" y="123"/>
                  <a:pt x="1613" y="123"/>
                </a:cubicBezTo>
                <a:cubicBezTo>
                  <a:pt x="1611" y="123"/>
                  <a:pt x="1609" y="123"/>
                  <a:pt x="1607" y="124"/>
                </a:cubicBezTo>
                <a:cubicBezTo>
                  <a:pt x="1606" y="125"/>
                  <a:pt x="1606" y="125"/>
                  <a:pt x="1606" y="126"/>
                </a:cubicBezTo>
                <a:cubicBezTo>
                  <a:pt x="1606" y="127"/>
                  <a:pt x="1606" y="128"/>
                  <a:pt x="1606" y="129"/>
                </a:cubicBezTo>
                <a:cubicBezTo>
                  <a:pt x="1605" y="131"/>
                  <a:pt x="1604" y="132"/>
                  <a:pt x="1603" y="134"/>
                </a:cubicBezTo>
                <a:cubicBezTo>
                  <a:pt x="1603" y="134"/>
                  <a:pt x="1602" y="135"/>
                  <a:pt x="1602" y="135"/>
                </a:cubicBezTo>
                <a:cubicBezTo>
                  <a:pt x="1600" y="136"/>
                  <a:pt x="1598" y="136"/>
                  <a:pt x="1596" y="137"/>
                </a:cubicBezTo>
                <a:cubicBezTo>
                  <a:pt x="1596" y="137"/>
                  <a:pt x="1595" y="137"/>
                  <a:pt x="1595" y="136"/>
                </a:cubicBezTo>
                <a:cubicBezTo>
                  <a:pt x="1596" y="135"/>
                  <a:pt x="1596" y="134"/>
                  <a:pt x="1596" y="133"/>
                </a:cubicBezTo>
                <a:cubicBezTo>
                  <a:pt x="1597" y="131"/>
                  <a:pt x="1595" y="130"/>
                  <a:pt x="1594" y="131"/>
                </a:cubicBezTo>
                <a:cubicBezTo>
                  <a:pt x="1592" y="131"/>
                  <a:pt x="1591" y="131"/>
                  <a:pt x="1590" y="133"/>
                </a:cubicBezTo>
                <a:cubicBezTo>
                  <a:pt x="1590" y="134"/>
                  <a:pt x="1589" y="135"/>
                  <a:pt x="1588" y="135"/>
                </a:cubicBezTo>
                <a:cubicBezTo>
                  <a:pt x="1587" y="135"/>
                  <a:pt x="1586" y="136"/>
                  <a:pt x="1585" y="136"/>
                </a:cubicBezTo>
                <a:cubicBezTo>
                  <a:pt x="1583" y="136"/>
                  <a:pt x="1581" y="137"/>
                  <a:pt x="1580" y="139"/>
                </a:cubicBezTo>
                <a:cubicBezTo>
                  <a:pt x="1579" y="140"/>
                  <a:pt x="1579" y="141"/>
                  <a:pt x="1580" y="143"/>
                </a:cubicBezTo>
                <a:cubicBezTo>
                  <a:pt x="1581" y="144"/>
                  <a:pt x="1581" y="145"/>
                  <a:pt x="1580" y="145"/>
                </a:cubicBezTo>
                <a:cubicBezTo>
                  <a:pt x="1578" y="147"/>
                  <a:pt x="1576" y="148"/>
                  <a:pt x="1574" y="149"/>
                </a:cubicBezTo>
                <a:cubicBezTo>
                  <a:pt x="1571" y="150"/>
                  <a:pt x="1569" y="151"/>
                  <a:pt x="1568" y="153"/>
                </a:cubicBezTo>
                <a:cubicBezTo>
                  <a:pt x="1567" y="155"/>
                  <a:pt x="1565" y="156"/>
                  <a:pt x="1564" y="159"/>
                </a:cubicBezTo>
                <a:cubicBezTo>
                  <a:pt x="1563" y="160"/>
                  <a:pt x="1562" y="162"/>
                  <a:pt x="1560" y="162"/>
                </a:cubicBezTo>
                <a:cubicBezTo>
                  <a:pt x="1558" y="163"/>
                  <a:pt x="1559" y="166"/>
                  <a:pt x="1557" y="167"/>
                </a:cubicBezTo>
                <a:cubicBezTo>
                  <a:pt x="1556" y="168"/>
                  <a:pt x="1555" y="169"/>
                  <a:pt x="1555" y="170"/>
                </a:cubicBezTo>
                <a:cubicBezTo>
                  <a:pt x="1554" y="172"/>
                  <a:pt x="1555" y="174"/>
                  <a:pt x="1555" y="176"/>
                </a:cubicBezTo>
                <a:cubicBezTo>
                  <a:pt x="1555" y="177"/>
                  <a:pt x="1556" y="178"/>
                  <a:pt x="1557" y="178"/>
                </a:cubicBezTo>
                <a:cubicBezTo>
                  <a:pt x="1559" y="180"/>
                  <a:pt x="1561" y="181"/>
                  <a:pt x="1563" y="182"/>
                </a:cubicBezTo>
                <a:cubicBezTo>
                  <a:pt x="1566" y="183"/>
                  <a:pt x="1569" y="184"/>
                  <a:pt x="1571" y="187"/>
                </a:cubicBezTo>
                <a:cubicBezTo>
                  <a:pt x="1571" y="187"/>
                  <a:pt x="1571" y="188"/>
                  <a:pt x="1571" y="188"/>
                </a:cubicBezTo>
                <a:cubicBezTo>
                  <a:pt x="1571" y="189"/>
                  <a:pt x="1571" y="189"/>
                  <a:pt x="1570" y="190"/>
                </a:cubicBezTo>
                <a:cubicBezTo>
                  <a:pt x="1569" y="190"/>
                  <a:pt x="1569" y="189"/>
                  <a:pt x="1569" y="189"/>
                </a:cubicBezTo>
                <a:cubicBezTo>
                  <a:pt x="1568" y="188"/>
                  <a:pt x="1568" y="187"/>
                  <a:pt x="1567" y="187"/>
                </a:cubicBezTo>
                <a:cubicBezTo>
                  <a:pt x="1566" y="187"/>
                  <a:pt x="1564" y="187"/>
                  <a:pt x="1563" y="188"/>
                </a:cubicBezTo>
                <a:cubicBezTo>
                  <a:pt x="1561" y="190"/>
                  <a:pt x="1557" y="191"/>
                  <a:pt x="1554" y="193"/>
                </a:cubicBezTo>
                <a:cubicBezTo>
                  <a:pt x="1551" y="194"/>
                  <a:pt x="1548" y="195"/>
                  <a:pt x="1544" y="196"/>
                </a:cubicBezTo>
                <a:cubicBezTo>
                  <a:pt x="1543" y="197"/>
                  <a:pt x="1542" y="197"/>
                  <a:pt x="1541" y="197"/>
                </a:cubicBezTo>
                <a:cubicBezTo>
                  <a:pt x="1538" y="198"/>
                  <a:pt x="1537" y="201"/>
                  <a:pt x="1539" y="204"/>
                </a:cubicBezTo>
                <a:cubicBezTo>
                  <a:pt x="1539" y="205"/>
                  <a:pt x="1540" y="207"/>
                  <a:pt x="1541" y="208"/>
                </a:cubicBezTo>
                <a:cubicBezTo>
                  <a:pt x="1542" y="209"/>
                  <a:pt x="1544" y="211"/>
                  <a:pt x="1544" y="213"/>
                </a:cubicBezTo>
                <a:cubicBezTo>
                  <a:pt x="1544" y="214"/>
                  <a:pt x="1545" y="215"/>
                  <a:pt x="1545" y="216"/>
                </a:cubicBezTo>
                <a:cubicBezTo>
                  <a:pt x="1546" y="217"/>
                  <a:pt x="1547" y="218"/>
                  <a:pt x="1548" y="219"/>
                </a:cubicBezTo>
                <a:cubicBezTo>
                  <a:pt x="1550" y="220"/>
                  <a:pt x="1552" y="219"/>
                  <a:pt x="1555" y="219"/>
                </a:cubicBezTo>
                <a:cubicBezTo>
                  <a:pt x="1557" y="221"/>
                  <a:pt x="1558" y="223"/>
                  <a:pt x="1560" y="225"/>
                </a:cubicBezTo>
                <a:cubicBezTo>
                  <a:pt x="1561" y="225"/>
                  <a:pt x="1561" y="225"/>
                  <a:pt x="1562" y="225"/>
                </a:cubicBezTo>
                <a:cubicBezTo>
                  <a:pt x="1563" y="226"/>
                  <a:pt x="1565" y="226"/>
                  <a:pt x="1566" y="227"/>
                </a:cubicBezTo>
                <a:cubicBezTo>
                  <a:pt x="1567" y="228"/>
                  <a:pt x="1568" y="228"/>
                  <a:pt x="1568" y="230"/>
                </a:cubicBezTo>
                <a:cubicBezTo>
                  <a:pt x="1569" y="233"/>
                  <a:pt x="1570" y="237"/>
                  <a:pt x="1572" y="240"/>
                </a:cubicBezTo>
                <a:cubicBezTo>
                  <a:pt x="1573" y="241"/>
                  <a:pt x="1572" y="242"/>
                  <a:pt x="1571" y="242"/>
                </a:cubicBezTo>
                <a:cubicBezTo>
                  <a:pt x="1570" y="243"/>
                  <a:pt x="1569" y="243"/>
                  <a:pt x="1568" y="244"/>
                </a:cubicBezTo>
                <a:cubicBezTo>
                  <a:pt x="1568" y="244"/>
                  <a:pt x="1568" y="244"/>
                  <a:pt x="1569" y="244"/>
                </a:cubicBezTo>
                <a:cubicBezTo>
                  <a:pt x="1568" y="244"/>
                  <a:pt x="1568" y="245"/>
                  <a:pt x="1568" y="245"/>
                </a:cubicBezTo>
                <a:cubicBezTo>
                  <a:pt x="1568" y="245"/>
                  <a:pt x="1568" y="245"/>
                  <a:pt x="1568" y="245"/>
                </a:cubicBezTo>
                <a:cubicBezTo>
                  <a:pt x="1568" y="245"/>
                  <a:pt x="1568" y="244"/>
                  <a:pt x="1568" y="244"/>
                </a:cubicBezTo>
                <a:cubicBezTo>
                  <a:pt x="1568" y="244"/>
                  <a:pt x="1568" y="244"/>
                  <a:pt x="1568" y="244"/>
                </a:cubicBezTo>
                <a:cubicBezTo>
                  <a:pt x="1568" y="244"/>
                  <a:pt x="1568" y="243"/>
                  <a:pt x="1568" y="243"/>
                </a:cubicBezTo>
                <a:cubicBezTo>
                  <a:pt x="1565" y="240"/>
                  <a:pt x="1564" y="237"/>
                  <a:pt x="1566" y="233"/>
                </a:cubicBezTo>
                <a:cubicBezTo>
                  <a:pt x="1567" y="233"/>
                  <a:pt x="1567" y="232"/>
                  <a:pt x="1567" y="231"/>
                </a:cubicBezTo>
                <a:cubicBezTo>
                  <a:pt x="1567" y="230"/>
                  <a:pt x="1565" y="228"/>
                  <a:pt x="1563" y="228"/>
                </a:cubicBezTo>
                <a:cubicBezTo>
                  <a:pt x="1562" y="228"/>
                  <a:pt x="1561" y="228"/>
                  <a:pt x="1559" y="228"/>
                </a:cubicBezTo>
                <a:cubicBezTo>
                  <a:pt x="1556" y="229"/>
                  <a:pt x="1554" y="229"/>
                  <a:pt x="1552" y="227"/>
                </a:cubicBezTo>
                <a:cubicBezTo>
                  <a:pt x="1551" y="226"/>
                  <a:pt x="1549" y="224"/>
                  <a:pt x="1548" y="224"/>
                </a:cubicBezTo>
                <a:cubicBezTo>
                  <a:pt x="1545" y="222"/>
                  <a:pt x="1542" y="221"/>
                  <a:pt x="1540" y="220"/>
                </a:cubicBezTo>
                <a:cubicBezTo>
                  <a:pt x="1537" y="220"/>
                  <a:pt x="1534" y="219"/>
                  <a:pt x="1531" y="218"/>
                </a:cubicBezTo>
                <a:cubicBezTo>
                  <a:pt x="1531" y="218"/>
                  <a:pt x="1529" y="218"/>
                  <a:pt x="1529" y="219"/>
                </a:cubicBezTo>
                <a:cubicBezTo>
                  <a:pt x="1528" y="220"/>
                  <a:pt x="1527" y="221"/>
                  <a:pt x="1527" y="223"/>
                </a:cubicBezTo>
                <a:cubicBezTo>
                  <a:pt x="1527" y="224"/>
                  <a:pt x="1527" y="224"/>
                  <a:pt x="1528" y="225"/>
                </a:cubicBezTo>
                <a:cubicBezTo>
                  <a:pt x="1528" y="225"/>
                  <a:pt x="1529" y="225"/>
                  <a:pt x="1530" y="225"/>
                </a:cubicBezTo>
                <a:cubicBezTo>
                  <a:pt x="1530" y="225"/>
                  <a:pt x="1530" y="225"/>
                  <a:pt x="1530" y="225"/>
                </a:cubicBezTo>
                <a:cubicBezTo>
                  <a:pt x="1530" y="225"/>
                  <a:pt x="1530" y="225"/>
                  <a:pt x="1530" y="225"/>
                </a:cubicBezTo>
                <a:cubicBezTo>
                  <a:pt x="1530" y="225"/>
                  <a:pt x="1530" y="225"/>
                  <a:pt x="1530" y="225"/>
                </a:cubicBezTo>
                <a:cubicBezTo>
                  <a:pt x="1531" y="226"/>
                  <a:pt x="1531" y="226"/>
                  <a:pt x="1532" y="227"/>
                </a:cubicBezTo>
                <a:cubicBezTo>
                  <a:pt x="1533" y="227"/>
                  <a:pt x="1533" y="227"/>
                  <a:pt x="1534" y="227"/>
                </a:cubicBezTo>
                <a:cubicBezTo>
                  <a:pt x="1535" y="228"/>
                  <a:pt x="1536" y="229"/>
                  <a:pt x="1535" y="230"/>
                </a:cubicBezTo>
                <a:cubicBezTo>
                  <a:pt x="1535" y="231"/>
                  <a:pt x="1534" y="232"/>
                  <a:pt x="1533" y="232"/>
                </a:cubicBezTo>
                <a:cubicBezTo>
                  <a:pt x="1532" y="231"/>
                  <a:pt x="1531" y="231"/>
                  <a:pt x="1530" y="230"/>
                </a:cubicBezTo>
                <a:cubicBezTo>
                  <a:pt x="1529" y="230"/>
                  <a:pt x="1528" y="229"/>
                  <a:pt x="1527" y="229"/>
                </a:cubicBezTo>
                <a:cubicBezTo>
                  <a:pt x="1526" y="229"/>
                  <a:pt x="1525" y="230"/>
                  <a:pt x="1524" y="231"/>
                </a:cubicBezTo>
                <a:cubicBezTo>
                  <a:pt x="1524" y="231"/>
                  <a:pt x="1524" y="232"/>
                  <a:pt x="1524" y="233"/>
                </a:cubicBezTo>
                <a:cubicBezTo>
                  <a:pt x="1525" y="236"/>
                  <a:pt x="1528" y="239"/>
                  <a:pt x="1531" y="240"/>
                </a:cubicBezTo>
                <a:cubicBezTo>
                  <a:pt x="1533" y="240"/>
                  <a:pt x="1535" y="241"/>
                  <a:pt x="1537" y="241"/>
                </a:cubicBezTo>
                <a:cubicBezTo>
                  <a:pt x="1538" y="241"/>
                  <a:pt x="1539" y="242"/>
                  <a:pt x="1540" y="242"/>
                </a:cubicBezTo>
                <a:cubicBezTo>
                  <a:pt x="1540" y="242"/>
                  <a:pt x="1540" y="242"/>
                  <a:pt x="1540" y="242"/>
                </a:cubicBezTo>
                <a:cubicBezTo>
                  <a:pt x="1540" y="243"/>
                  <a:pt x="1540" y="244"/>
                  <a:pt x="1539" y="243"/>
                </a:cubicBezTo>
                <a:cubicBezTo>
                  <a:pt x="1538" y="243"/>
                  <a:pt x="1537" y="242"/>
                  <a:pt x="1535" y="242"/>
                </a:cubicBezTo>
                <a:cubicBezTo>
                  <a:pt x="1533" y="243"/>
                  <a:pt x="1530" y="242"/>
                  <a:pt x="1527" y="242"/>
                </a:cubicBezTo>
                <a:cubicBezTo>
                  <a:pt x="1526" y="242"/>
                  <a:pt x="1525" y="242"/>
                  <a:pt x="1524" y="240"/>
                </a:cubicBezTo>
                <a:cubicBezTo>
                  <a:pt x="1524" y="240"/>
                  <a:pt x="1523" y="239"/>
                  <a:pt x="1523" y="239"/>
                </a:cubicBezTo>
                <a:cubicBezTo>
                  <a:pt x="1521" y="236"/>
                  <a:pt x="1520" y="233"/>
                  <a:pt x="1519" y="229"/>
                </a:cubicBezTo>
                <a:cubicBezTo>
                  <a:pt x="1519" y="226"/>
                  <a:pt x="1518" y="223"/>
                  <a:pt x="1516" y="221"/>
                </a:cubicBezTo>
                <a:cubicBezTo>
                  <a:pt x="1516" y="220"/>
                  <a:pt x="1515" y="220"/>
                  <a:pt x="1514" y="219"/>
                </a:cubicBezTo>
                <a:cubicBezTo>
                  <a:pt x="1514" y="219"/>
                  <a:pt x="1514" y="219"/>
                  <a:pt x="1513" y="219"/>
                </a:cubicBezTo>
                <a:cubicBezTo>
                  <a:pt x="1513" y="219"/>
                  <a:pt x="1513" y="220"/>
                  <a:pt x="1513" y="220"/>
                </a:cubicBezTo>
                <a:cubicBezTo>
                  <a:pt x="1514" y="222"/>
                  <a:pt x="1514" y="224"/>
                  <a:pt x="1515" y="227"/>
                </a:cubicBezTo>
                <a:cubicBezTo>
                  <a:pt x="1515" y="228"/>
                  <a:pt x="1515" y="230"/>
                  <a:pt x="1514" y="232"/>
                </a:cubicBezTo>
                <a:cubicBezTo>
                  <a:pt x="1514" y="232"/>
                  <a:pt x="1514" y="233"/>
                  <a:pt x="1513" y="233"/>
                </a:cubicBezTo>
                <a:cubicBezTo>
                  <a:pt x="1512" y="235"/>
                  <a:pt x="1511" y="236"/>
                  <a:pt x="1512" y="239"/>
                </a:cubicBezTo>
                <a:cubicBezTo>
                  <a:pt x="1512" y="241"/>
                  <a:pt x="1511" y="243"/>
                  <a:pt x="1513" y="245"/>
                </a:cubicBezTo>
                <a:cubicBezTo>
                  <a:pt x="1514" y="246"/>
                  <a:pt x="1515" y="248"/>
                  <a:pt x="1517" y="249"/>
                </a:cubicBezTo>
                <a:cubicBezTo>
                  <a:pt x="1518" y="250"/>
                  <a:pt x="1519" y="251"/>
                  <a:pt x="1520" y="252"/>
                </a:cubicBezTo>
                <a:cubicBezTo>
                  <a:pt x="1522" y="253"/>
                  <a:pt x="1523" y="255"/>
                  <a:pt x="1523" y="257"/>
                </a:cubicBezTo>
                <a:cubicBezTo>
                  <a:pt x="1523" y="259"/>
                  <a:pt x="1523" y="262"/>
                  <a:pt x="1523" y="264"/>
                </a:cubicBezTo>
                <a:cubicBezTo>
                  <a:pt x="1524" y="269"/>
                  <a:pt x="1527" y="272"/>
                  <a:pt x="1528" y="276"/>
                </a:cubicBezTo>
                <a:cubicBezTo>
                  <a:pt x="1529" y="277"/>
                  <a:pt x="1530" y="278"/>
                  <a:pt x="1531" y="277"/>
                </a:cubicBezTo>
                <a:cubicBezTo>
                  <a:pt x="1534" y="277"/>
                  <a:pt x="1536" y="277"/>
                  <a:pt x="1537" y="275"/>
                </a:cubicBezTo>
                <a:cubicBezTo>
                  <a:pt x="1539" y="272"/>
                  <a:pt x="1541" y="273"/>
                  <a:pt x="1544" y="274"/>
                </a:cubicBezTo>
                <a:cubicBezTo>
                  <a:pt x="1544" y="275"/>
                  <a:pt x="1544" y="275"/>
                  <a:pt x="1544" y="275"/>
                </a:cubicBezTo>
                <a:cubicBezTo>
                  <a:pt x="1544" y="275"/>
                  <a:pt x="1544" y="275"/>
                  <a:pt x="1544" y="276"/>
                </a:cubicBezTo>
                <a:cubicBezTo>
                  <a:pt x="1541" y="277"/>
                  <a:pt x="1539" y="279"/>
                  <a:pt x="1537" y="281"/>
                </a:cubicBezTo>
                <a:cubicBezTo>
                  <a:pt x="1535" y="283"/>
                  <a:pt x="1534" y="286"/>
                  <a:pt x="1536" y="288"/>
                </a:cubicBezTo>
                <a:cubicBezTo>
                  <a:pt x="1537" y="289"/>
                  <a:pt x="1538" y="290"/>
                  <a:pt x="1539" y="291"/>
                </a:cubicBezTo>
                <a:cubicBezTo>
                  <a:pt x="1540" y="293"/>
                  <a:pt x="1541" y="295"/>
                  <a:pt x="1540" y="297"/>
                </a:cubicBezTo>
                <a:cubicBezTo>
                  <a:pt x="1539" y="300"/>
                  <a:pt x="1538" y="303"/>
                  <a:pt x="1538" y="306"/>
                </a:cubicBezTo>
                <a:cubicBezTo>
                  <a:pt x="1539" y="307"/>
                  <a:pt x="1538" y="309"/>
                  <a:pt x="1537" y="310"/>
                </a:cubicBezTo>
                <a:cubicBezTo>
                  <a:pt x="1536" y="312"/>
                  <a:pt x="1533" y="315"/>
                  <a:pt x="1533" y="318"/>
                </a:cubicBezTo>
                <a:cubicBezTo>
                  <a:pt x="1533" y="318"/>
                  <a:pt x="1532" y="319"/>
                  <a:pt x="1532" y="319"/>
                </a:cubicBezTo>
                <a:cubicBezTo>
                  <a:pt x="1528" y="319"/>
                  <a:pt x="1525" y="318"/>
                  <a:pt x="1521" y="318"/>
                </a:cubicBezTo>
                <a:cubicBezTo>
                  <a:pt x="1521" y="318"/>
                  <a:pt x="1520" y="317"/>
                  <a:pt x="1520" y="317"/>
                </a:cubicBezTo>
                <a:cubicBezTo>
                  <a:pt x="1519" y="316"/>
                  <a:pt x="1520" y="315"/>
                  <a:pt x="1520" y="315"/>
                </a:cubicBezTo>
                <a:cubicBezTo>
                  <a:pt x="1520" y="315"/>
                  <a:pt x="1520" y="315"/>
                  <a:pt x="1519" y="314"/>
                </a:cubicBezTo>
                <a:cubicBezTo>
                  <a:pt x="1519" y="314"/>
                  <a:pt x="1519" y="314"/>
                  <a:pt x="1519" y="314"/>
                </a:cubicBezTo>
                <a:cubicBezTo>
                  <a:pt x="1519" y="314"/>
                  <a:pt x="1519" y="314"/>
                  <a:pt x="1520" y="314"/>
                </a:cubicBezTo>
                <a:cubicBezTo>
                  <a:pt x="1520" y="314"/>
                  <a:pt x="1520" y="315"/>
                  <a:pt x="1520" y="315"/>
                </a:cubicBezTo>
                <a:cubicBezTo>
                  <a:pt x="1520" y="315"/>
                  <a:pt x="1521" y="315"/>
                  <a:pt x="1522" y="316"/>
                </a:cubicBezTo>
                <a:cubicBezTo>
                  <a:pt x="1525" y="317"/>
                  <a:pt x="1527" y="316"/>
                  <a:pt x="1528" y="313"/>
                </a:cubicBezTo>
                <a:cubicBezTo>
                  <a:pt x="1530" y="308"/>
                  <a:pt x="1531" y="302"/>
                  <a:pt x="1532" y="297"/>
                </a:cubicBezTo>
                <a:cubicBezTo>
                  <a:pt x="1532" y="296"/>
                  <a:pt x="1532" y="295"/>
                  <a:pt x="1532" y="294"/>
                </a:cubicBezTo>
                <a:cubicBezTo>
                  <a:pt x="1531" y="292"/>
                  <a:pt x="1530" y="290"/>
                  <a:pt x="1531" y="288"/>
                </a:cubicBezTo>
                <a:cubicBezTo>
                  <a:pt x="1531" y="286"/>
                  <a:pt x="1530" y="285"/>
                  <a:pt x="1529" y="284"/>
                </a:cubicBezTo>
                <a:cubicBezTo>
                  <a:pt x="1528" y="283"/>
                  <a:pt x="1526" y="282"/>
                  <a:pt x="1525" y="282"/>
                </a:cubicBezTo>
                <a:cubicBezTo>
                  <a:pt x="1523" y="280"/>
                  <a:pt x="1522" y="279"/>
                  <a:pt x="1522" y="277"/>
                </a:cubicBezTo>
                <a:cubicBezTo>
                  <a:pt x="1519" y="270"/>
                  <a:pt x="1517" y="264"/>
                  <a:pt x="1515" y="257"/>
                </a:cubicBezTo>
                <a:cubicBezTo>
                  <a:pt x="1514" y="253"/>
                  <a:pt x="1512" y="249"/>
                  <a:pt x="1508" y="247"/>
                </a:cubicBezTo>
                <a:cubicBezTo>
                  <a:pt x="1506" y="246"/>
                  <a:pt x="1505" y="244"/>
                  <a:pt x="1505" y="242"/>
                </a:cubicBezTo>
                <a:cubicBezTo>
                  <a:pt x="1506" y="236"/>
                  <a:pt x="1505" y="230"/>
                  <a:pt x="1503" y="225"/>
                </a:cubicBezTo>
                <a:cubicBezTo>
                  <a:pt x="1503" y="223"/>
                  <a:pt x="1502" y="222"/>
                  <a:pt x="1501" y="222"/>
                </a:cubicBezTo>
                <a:cubicBezTo>
                  <a:pt x="1496" y="220"/>
                  <a:pt x="1492" y="219"/>
                  <a:pt x="1487" y="221"/>
                </a:cubicBezTo>
                <a:cubicBezTo>
                  <a:pt x="1486" y="221"/>
                  <a:pt x="1485" y="221"/>
                  <a:pt x="1484" y="221"/>
                </a:cubicBezTo>
                <a:cubicBezTo>
                  <a:pt x="1483" y="221"/>
                  <a:pt x="1482" y="222"/>
                  <a:pt x="1482" y="223"/>
                </a:cubicBezTo>
                <a:cubicBezTo>
                  <a:pt x="1482" y="224"/>
                  <a:pt x="1482" y="225"/>
                  <a:pt x="1482" y="227"/>
                </a:cubicBezTo>
                <a:cubicBezTo>
                  <a:pt x="1482" y="232"/>
                  <a:pt x="1482" y="236"/>
                  <a:pt x="1483" y="241"/>
                </a:cubicBezTo>
                <a:cubicBezTo>
                  <a:pt x="1483" y="243"/>
                  <a:pt x="1482" y="246"/>
                  <a:pt x="1481" y="247"/>
                </a:cubicBezTo>
                <a:cubicBezTo>
                  <a:pt x="1479" y="249"/>
                  <a:pt x="1478" y="252"/>
                  <a:pt x="1478" y="255"/>
                </a:cubicBezTo>
                <a:cubicBezTo>
                  <a:pt x="1478" y="257"/>
                  <a:pt x="1479" y="258"/>
                  <a:pt x="1480" y="259"/>
                </a:cubicBezTo>
                <a:cubicBezTo>
                  <a:pt x="1482" y="260"/>
                  <a:pt x="1483" y="262"/>
                  <a:pt x="1484" y="263"/>
                </a:cubicBezTo>
                <a:cubicBezTo>
                  <a:pt x="1484" y="266"/>
                  <a:pt x="1486" y="268"/>
                  <a:pt x="1484" y="271"/>
                </a:cubicBezTo>
                <a:cubicBezTo>
                  <a:pt x="1484" y="271"/>
                  <a:pt x="1484" y="272"/>
                  <a:pt x="1485" y="273"/>
                </a:cubicBezTo>
                <a:cubicBezTo>
                  <a:pt x="1486" y="275"/>
                  <a:pt x="1487" y="277"/>
                  <a:pt x="1488" y="279"/>
                </a:cubicBezTo>
                <a:cubicBezTo>
                  <a:pt x="1489" y="279"/>
                  <a:pt x="1490" y="279"/>
                  <a:pt x="1490" y="279"/>
                </a:cubicBezTo>
                <a:cubicBezTo>
                  <a:pt x="1491" y="278"/>
                  <a:pt x="1493" y="278"/>
                  <a:pt x="1494" y="279"/>
                </a:cubicBezTo>
                <a:cubicBezTo>
                  <a:pt x="1496" y="282"/>
                  <a:pt x="1498" y="285"/>
                  <a:pt x="1502" y="286"/>
                </a:cubicBezTo>
                <a:cubicBezTo>
                  <a:pt x="1502" y="286"/>
                  <a:pt x="1503" y="287"/>
                  <a:pt x="1503" y="287"/>
                </a:cubicBezTo>
                <a:cubicBezTo>
                  <a:pt x="1503" y="289"/>
                  <a:pt x="1503" y="290"/>
                  <a:pt x="1503" y="291"/>
                </a:cubicBezTo>
                <a:cubicBezTo>
                  <a:pt x="1503" y="292"/>
                  <a:pt x="1501" y="293"/>
                  <a:pt x="1501" y="292"/>
                </a:cubicBezTo>
                <a:cubicBezTo>
                  <a:pt x="1499" y="291"/>
                  <a:pt x="1497" y="290"/>
                  <a:pt x="1496" y="289"/>
                </a:cubicBezTo>
                <a:cubicBezTo>
                  <a:pt x="1494" y="288"/>
                  <a:pt x="1493" y="287"/>
                  <a:pt x="1492" y="287"/>
                </a:cubicBezTo>
                <a:cubicBezTo>
                  <a:pt x="1490" y="286"/>
                  <a:pt x="1488" y="285"/>
                  <a:pt x="1485" y="284"/>
                </a:cubicBezTo>
                <a:cubicBezTo>
                  <a:pt x="1483" y="284"/>
                  <a:pt x="1482" y="283"/>
                  <a:pt x="1480" y="282"/>
                </a:cubicBezTo>
                <a:cubicBezTo>
                  <a:pt x="1477" y="282"/>
                  <a:pt x="1476" y="280"/>
                  <a:pt x="1474" y="279"/>
                </a:cubicBezTo>
                <a:cubicBezTo>
                  <a:pt x="1470" y="277"/>
                  <a:pt x="1465" y="276"/>
                  <a:pt x="1461" y="277"/>
                </a:cubicBezTo>
                <a:cubicBezTo>
                  <a:pt x="1460" y="277"/>
                  <a:pt x="1460" y="277"/>
                  <a:pt x="1459" y="277"/>
                </a:cubicBezTo>
                <a:cubicBezTo>
                  <a:pt x="1454" y="277"/>
                  <a:pt x="1449" y="276"/>
                  <a:pt x="1445" y="273"/>
                </a:cubicBezTo>
                <a:cubicBezTo>
                  <a:pt x="1443" y="271"/>
                  <a:pt x="1441" y="270"/>
                  <a:pt x="1439" y="268"/>
                </a:cubicBezTo>
                <a:cubicBezTo>
                  <a:pt x="1438" y="268"/>
                  <a:pt x="1437" y="268"/>
                  <a:pt x="1437" y="269"/>
                </a:cubicBezTo>
                <a:cubicBezTo>
                  <a:pt x="1437" y="269"/>
                  <a:pt x="1436" y="270"/>
                  <a:pt x="1436" y="270"/>
                </a:cubicBezTo>
                <a:cubicBezTo>
                  <a:pt x="1435" y="272"/>
                  <a:pt x="1436" y="274"/>
                  <a:pt x="1438" y="276"/>
                </a:cubicBezTo>
                <a:cubicBezTo>
                  <a:pt x="1440" y="278"/>
                  <a:pt x="1444" y="278"/>
                  <a:pt x="1446" y="281"/>
                </a:cubicBezTo>
                <a:cubicBezTo>
                  <a:pt x="1446" y="281"/>
                  <a:pt x="1447" y="281"/>
                  <a:pt x="1447" y="281"/>
                </a:cubicBezTo>
                <a:cubicBezTo>
                  <a:pt x="1448" y="281"/>
                  <a:pt x="1449" y="282"/>
                  <a:pt x="1450" y="283"/>
                </a:cubicBezTo>
                <a:cubicBezTo>
                  <a:pt x="1452" y="285"/>
                  <a:pt x="1453" y="287"/>
                  <a:pt x="1455" y="289"/>
                </a:cubicBezTo>
                <a:cubicBezTo>
                  <a:pt x="1456" y="290"/>
                  <a:pt x="1456" y="291"/>
                  <a:pt x="1455" y="292"/>
                </a:cubicBezTo>
                <a:cubicBezTo>
                  <a:pt x="1453" y="294"/>
                  <a:pt x="1451" y="295"/>
                  <a:pt x="1450" y="297"/>
                </a:cubicBezTo>
                <a:cubicBezTo>
                  <a:pt x="1450" y="298"/>
                  <a:pt x="1450" y="298"/>
                  <a:pt x="1450" y="298"/>
                </a:cubicBezTo>
                <a:cubicBezTo>
                  <a:pt x="1449" y="297"/>
                  <a:pt x="1449" y="297"/>
                  <a:pt x="1448" y="297"/>
                </a:cubicBezTo>
                <a:cubicBezTo>
                  <a:pt x="1448" y="296"/>
                  <a:pt x="1448" y="294"/>
                  <a:pt x="1447" y="293"/>
                </a:cubicBezTo>
                <a:cubicBezTo>
                  <a:pt x="1447" y="292"/>
                  <a:pt x="1445" y="291"/>
                  <a:pt x="1444" y="292"/>
                </a:cubicBezTo>
                <a:cubicBezTo>
                  <a:pt x="1442" y="293"/>
                  <a:pt x="1440" y="294"/>
                  <a:pt x="1437" y="294"/>
                </a:cubicBezTo>
                <a:cubicBezTo>
                  <a:pt x="1437" y="294"/>
                  <a:pt x="1437" y="294"/>
                  <a:pt x="1437" y="294"/>
                </a:cubicBezTo>
                <a:cubicBezTo>
                  <a:pt x="1436" y="297"/>
                  <a:pt x="1434" y="297"/>
                  <a:pt x="1432" y="297"/>
                </a:cubicBezTo>
                <a:cubicBezTo>
                  <a:pt x="1430" y="297"/>
                  <a:pt x="1428" y="298"/>
                  <a:pt x="1426" y="299"/>
                </a:cubicBezTo>
                <a:cubicBezTo>
                  <a:pt x="1425" y="301"/>
                  <a:pt x="1422" y="301"/>
                  <a:pt x="1421" y="303"/>
                </a:cubicBezTo>
                <a:cubicBezTo>
                  <a:pt x="1420" y="303"/>
                  <a:pt x="1419" y="303"/>
                  <a:pt x="1418" y="303"/>
                </a:cubicBezTo>
                <a:cubicBezTo>
                  <a:pt x="1418" y="302"/>
                  <a:pt x="1418" y="302"/>
                  <a:pt x="1418" y="301"/>
                </a:cubicBezTo>
                <a:cubicBezTo>
                  <a:pt x="1418" y="299"/>
                  <a:pt x="1418" y="297"/>
                  <a:pt x="1416" y="295"/>
                </a:cubicBezTo>
                <a:cubicBezTo>
                  <a:pt x="1414" y="295"/>
                  <a:pt x="1413" y="295"/>
                  <a:pt x="1412" y="298"/>
                </a:cubicBezTo>
                <a:cubicBezTo>
                  <a:pt x="1412" y="298"/>
                  <a:pt x="1411" y="299"/>
                  <a:pt x="1411" y="299"/>
                </a:cubicBezTo>
                <a:cubicBezTo>
                  <a:pt x="1409" y="299"/>
                  <a:pt x="1409" y="300"/>
                  <a:pt x="1407" y="301"/>
                </a:cubicBezTo>
                <a:cubicBezTo>
                  <a:pt x="1406" y="302"/>
                  <a:pt x="1405" y="302"/>
                  <a:pt x="1403" y="302"/>
                </a:cubicBezTo>
                <a:cubicBezTo>
                  <a:pt x="1401" y="303"/>
                  <a:pt x="1400" y="304"/>
                  <a:pt x="1398" y="305"/>
                </a:cubicBezTo>
                <a:cubicBezTo>
                  <a:pt x="1395" y="309"/>
                  <a:pt x="1392" y="313"/>
                  <a:pt x="1388" y="316"/>
                </a:cubicBezTo>
                <a:cubicBezTo>
                  <a:pt x="1387" y="316"/>
                  <a:pt x="1386" y="317"/>
                  <a:pt x="1386" y="318"/>
                </a:cubicBezTo>
                <a:cubicBezTo>
                  <a:pt x="1386" y="320"/>
                  <a:pt x="1385" y="321"/>
                  <a:pt x="1385" y="323"/>
                </a:cubicBezTo>
                <a:cubicBezTo>
                  <a:pt x="1385" y="323"/>
                  <a:pt x="1385" y="324"/>
                  <a:pt x="1384" y="324"/>
                </a:cubicBezTo>
                <a:cubicBezTo>
                  <a:pt x="1382" y="327"/>
                  <a:pt x="1377" y="327"/>
                  <a:pt x="1375" y="325"/>
                </a:cubicBezTo>
                <a:cubicBezTo>
                  <a:pt x="1374" y="324"/>
                  <a:pt x="1373" y="322"/>
                  <a:pt x="1372" y="321"/>
                </a:cubicBezTo>
                <a:cubicBezTo>
                  <a:pt x="1371" y="320"/>
                  <a:pt x="1371" y="318"/>
                  <a:pt x="1372" y="317"/>
                </a:cubicBezTo>
                <a:cubicBezTo>
                  <a:pt x="1373" y="316"/>
                  <a:pt x="1375" y="315"/>
                  <a:pt x="1376" y="314"/>
                </a:cubicBezTo>
                <a:cubicBezTo>
                  <a:pt x="1377" y="314"/>
                  <a:pt x="1377" y="312"/>
                  <a:pt x="1377" y="311"/>
                </a:cubicBezTo>
                <a:cubicBezTo>
                  <a:pt x="1375" y="310"/>
                  <a:pt x="1374" y="309"/>
                  <a:pt x="1373" y="307"/>
                </a:cubicBezTo>
                <a:cubicBezTo>
                  <a:pt x="1371" y="305"/>
                  <a:pt x="1369" y="304"/>
                  <a:pt x="1366" y="304"/>
                </a:cubicBezTo>
                <a:cubicBezTo>
                  <a:pt x="1363" y="305"/>
                  <a:pt x="1361" y="305"/>
                  <a:pt x="1359" y="304"/>
                </a:cubicBezTo>
                <a:cubicBezTo>
                  <a:pt x="1358" y="304"/>
                  <a:pt x="1358" y="304"/>
                  <a:pt x="1358" y="304"/>
                </a:cubicBezTo>
                <a:cubicBezTo>
                  <a:pt x="1358" y="305"/>
                  <a:pt x="1358" y="305"/>
                  <a:pt x="1358" y="306"/>
                </a:cubicBezTo>
                <a:cubicBezTo>
                  <a:pt x="1362" y="309"/>
                  <a:pt x="1363" y="313"/>
                  <a:pt x="1363" y="318"/>
                </a:cubicBezTo>
                <a:cubicBezTo>
                  <a:pt x="1363" y="319"/>
                  <a:pt x="1363" y="321"/>
                  <a:pt x="1363" y="322"/>
                </a:cubicBezTo>
                <a:cubicBezTo>
                  <a:pt x="1363" y="323"/>
                  <a:pt x="1363" y="324"/>
                  <a:pt x="1364" y="325"/>
                </a:cubicBezTo>
                <a:cubicBezTo>
                  <a:pt x="1366" y="326"/>
                  <a:pt x="1367" y="327"/>
                  <a:pt x="1367" y="330"/>
                </a:cubicBezTo>
                <a:cubicBezTo>
                  <a:pt x="1367" y="331"/>
                  <a:pt x="1367" y="332"/>
                  <a:pt x="1367" y="333"/>
                </a:cubicBezTo>
                <a:cubicBezTo>
                  <a:pt x="1367" y="334"/>
                  <a:pt x="1365" y="335"/>
                  <a:pt x="1364" y="335"/>
                </a:cubicBezTo>
                <a:cubicBezTo>
                  <a:pt x="1363" y="335"/>
                  <a:pt x="1361" y="334"/>
                  <a:pt x="1359" y="334"/>
                </a:cubicBezTo>
                <a:cubicBezTo>
                  <a:pt x="1357" y="333"/>
                  <a:pt x="1355" y="334"/>
                  <a:pt x="1353" y="336"/>
                </a:cubicBezTo>
                <a:cubicBezTo>
                  <a:pt x="1352" y="337"/>
                  <a:pt x="1351" y="338"/>
                  <a:pt x="1350" y="339"/>
                </a:cubicBezTo>
                <a:cubicBezTo>
                  <a:pt x="1348" y="340"/>
                  <a:pt x="1347" y="342"/>
                  <a:pt x="1346" y="343"/>
                </a:cubicBezTo>
                <a:cubicBezTo>
                  <a:pt x="1343" y="347"/>
                  <a:pt x="1342" y="348"/>
                  <a:pt x="1346" y="353"/>
                </a:cubicBezTo>
                <a:cubicBezTo>
                  <a:pt x="1347" y="354"/>
                  <a:pt x="1347" y="354"/>
                  <a:pt x="1347" y="355"/>
                </a:cubicBezTo>
                <a:cubicBezTo>
                  <a:pt x="1348" y="356"/>
                  <a:pt x="1347" y="357"/>
                  <a:pt x="1347" y="358"/>
                </a:cubicBezTo>
                <a:cubicBezTo>
                  <a:pt x="1346" y="359"/>
                  <a:pt x="1344" y="360"/>
                  <a:pt x="1344" y="359"/>
                </a:cubicBezTo>
                <a:cubicBezTo>
                  <a:pt x="1339" y="357"/>
                  <a:pt x="1335" y="356"/>
                  <a:pt x="1331" y="353"/>
                </a:cubicBezTo>
                <a:cubicBezTo>
                  <a:pt x="1330" y="353"/>
                  <a:pt x="1329" y="353"/>
                  <a:pt x="1329" y="352"/>
                </a:cubicBezTo>
                <a:cubicBezTo>
                  <a:pt x="1328" y="352"/>
                  <a:pt x="1327" y="353"/>
                  <a:pt x="1326" y="353"/>
                </a:cubicBezTo>
                <a:cubicBezTo>
                  <a:pt x="1326" y="354"/>
                  <a:pt x="1326" y="356"/>
                  <a:pt x="1325" y="357"/>
                </a:cubicBezTo>
                <a:cubicBezTo>
                  <a:pt x="1325" y="358"/>
                  <a:pt x="1325" y="359"/>
                  <a:pt x="1326" y="360"/>
                </a:cubicBezTo>
                <a:cubicBezTo>
                  <a:pt x="1328" y="362"/>
                  <a:pt x="1329" y="364"/>
                  <a:pt x="1332" y="364"/>
                </a:cubicBezTo>
                <a:cubicBezTo>
                  <a:pt x="1333" y="364"/>
                  <a:pt x="1333" y="364"/>
                  <a:pt x="1334" y="364"/>
                </a:cubicBezTo>
                <a:cubicBezTo>
                  <a:pt x="1335" y="365"/>
                  <a:pt x="1335" y="366"/>
                  <a:pt x="1335" y="366"/>
                </a:cubicBezTo>
                <a:cubicBezTo>
                  <a:pt x="1335" y="368"/>
                  <a:pt x="1333" y="369"/>
                  <a:pt x="1332" y="369"/>
                </a:cubicBezTo>
                <a:cubicBezTo>
                  <a:pt x="1329" y="369"/>
                  <a:pt x="1326" y="368"/>
                  <a:pt x="1324" y="366"/>
                </a:cubicBezTo>
                <a:cubicBezTo>
                  <a:pt x="1323" y="364"/>
                  <a:pt x="1321" y="364"/>
                  <a:pt x="1320" y="363"/>
                </a:cubicBezTo>
                <a:cubicBezTo>
                  <a:pt x="1319" y="363"/>
                  <a:pt x="1318" y="362"/>
                  <a:pt x="1317" y="361"/>
                </a:cubicBezTo>
                <a:cubicBezTo>
                  <a:pt x="1317" y="359"/>
                  <a:pt x="1316" y="356"/>
                  <a:pt x="1314" y="354"/>
                </a:cubicBezTo>
                <a:cubicBezTo>
                  <a:pt x="1313" y="352"/>
                  <a:pt x="1314" y="351"/>
                  <a:pt x="1314" y="349"/>
                </a:cubicBezTo>
                <a:cubicBezTo>
                  <a:pt x="1314" y="345"/>
                  <a:pt x="1313" y="342"/>
                  <a:pt x="1309" y="341"/>
                </a:cubicBezTo>
                <a:cubicBezTo>
                  <a:pt x="1307" y="340"/>
                  <a:pt x="1306" y="339"/>
                  <a:pt x="1305" y="338"/>
                </a:cubicBezTo>
                <a:cubicBezTo>
                  <a:pt x="1303" y="337"/>
                  <a:pt x="1301" y="336"/>
                  <a:pt x="1301" y="334"/>
                </a:cubicBezTo>
                <a:cubicBezTo>
                  <a:pt x="1300" y="334"/>
                  <a:pt x="1300" y="334"/>
                  <a:pt x="1300" y="334"/>
                </a:cubicBezTo>
                <a:cubicBezTo>
                  <a:pt x="1300" y="334"/>
                  <a:pt x="1300" y="334"/>
                  <a:pt x="1300" y="333"/>
                </a:cubicBezTo>
                <a:cubicBezTo>
                  <a:pt x="1300" y="333"/>
                  <a:pt x="1299" y="333"/>
                  <a:pt x="1299" y="332"/>
                </a:cubicBezTo>
                <a:cubicBezTo>
                  <a:pt x="1299" y="332"/>
                  <a:pt x="1299" y="332"/>
                  <a:pt x="1298" y="332"/>
                </a:cubicBezTo>
                <a:cubicBezTo>
                  <a:pt x="1298" y="332"/>
                  <a:pt x="1298" y="332"/>
                  <a:pt x="1298" y="332"/>
                </a:cubicBezTo>
                <a:cubicBezTo>
                  <a:pt x="1299" y="332"/>
                  <a:pt x="1299" y="332"/>
                  <a:pt x="1299" y="332"/>
                </a:cubicBezTo>
                <a:cubicBezTo>
                  <a:pt x="1299" y="332"/>
                  <a:pt x="1299" y="332"/>
                  <a:pt x="1299" y="332"/>
                </a:cubicBezTo>
                <a:cubicBezTo>
                  <a:pt x="1300" y="333"/>
                  <a:pt x="1300" y="333"/>
                  <a:pt x="1300" y="333"/>
                </a:cubicBezTo>
                <a:cubicBezTo>
                  <a:pt x="1300" y="334"/>
                  <a:pt x="1300" y="334"/>
                  <a:pt x="1300" y="334"/>
                </a:cubicBezTo>
                <a:cubicBezTo>
                  <a:pt x="1300" y="334"/>
                  <a:pt x="1301" y="334"/>
                  <a:pt x="1301" y="334"/>
                </a:cubicBezTo>
                <a:cubicBezTo>
                  <a:pt x="1303" y="334"/>
                  <a:pt x="1305" y="335"/>
                  <a:pt x="1308" y="336"/>
                </a:cubicBezTo>
                <a:cubicBezTo>
                  <a:pt x="1314" y="338"/>
                  <a:pt x="1320" y="340"/>
                  <a:pt x="1327" y="341"/>
                </a:cubicBezTo>
                <a:cubicBezTo>
                  <a:pt x="1332" y="342"/>
                  <a:pt x="1337" y="341"/>
                  <a:pt x="1342" y="339"/>
                </a:cubicBezTo>
                <a:cubicBezTo>
                  <a:pt x="1342" y="339"/>
                  <a:pt x="1343" y="338"/>
                  <a:pt x="1344" y="338"/>
                </a:cubicBezTo>
                <a:cubicBezTo>
                  <a:pt x="1347" y="335"/>
                  <a:pt x="1349" y="331"/>
                  <a:pt x="1349" y="327"/>
                </a:cubicBezTo>
                <a:cubicBezTo>
                  <a:pt x="1349" y="326"/>
                  <a:pt x="1349" y="324"/>
                  <a:pt x="1349" y="324"/>
                </a:cubicBezTo>
                <a:cubicBezTo>
                  <a:pt x="1347" y="321"/>
                  <a:pt x="1345" y="318"/>
                  <a:pt x="1342" y="317"/>
                </a:cubicBezTo>
                <a:cubicBezTo>
                  <a:pt x="1341" y="316"/>
                  <a:pt x="1340" y="315"/>
                  <a:pt x="1339" y="314"/>
                </a:cubicBezTo>
                <a:cubicBezTo>
                  <a:pt x="1338" y="313"/>
                  <a:pt x="1336" y="312"/>
                  <a:pt x="1334" y="312"/>
                </a:cubicBezTo>
                <a:cubicBezTo>
                  <a:pt x="1332" y="311"/>
                  <a:pt x="1329" y="310"/>
                  <a:pt x="1327" y="308"/>
                </a:cubicBezTo>
                <a:cubicBezTo>
                  <a:pt x="1324" y="306"/>
                  <a:pt x="1322" y="305"/>
                  <a:pt x="1319" y="303"/>
                </a:cubicBezTo>
                <a:cubicBezTo>
                  <a:pt x="1312" y="299"/>
                  <a:pt x="1310" y="298"/>
                  <a:pt x="1302" y="298"/>
                </a:cubicBezTo>
                <a:cubicBezTo>
                  <a:pt x="1301" y="298"/>
                  <a:pt x="1300" y="299"/>
                  <a:pt x="1299" y="299"/>
                </a:cubicBezTo>
                <a:cubicBezTo>
                  <a:pt x="1297" y="299"/>
                  <a:pt x="1296" y="299"/>
                  <a:pt x="1294" y="298"/>
                </a:cubicBezTo>
                <a:cubicBezTo>
                  <a:pt x="1293" y="298"/>
                  <a:pt x="1294" y="297"/>
                  <a:pt x="1294" y="296"/>
                </a:cubicBezTo>
                <a:cubicBezTo>
                  <a:pt x="1294" y="295"/>
                  <a:pt x="1294" y="294"/>
                  <a:pt x="1293" y="294"/>
                </a:cubicBezTo>
                <a:cubicBezTo>
                  <a:pt x="1292" y="293"/>
                  <a:pt x="1291" y="293"/>
                  <a:pt x="1290" y="292"/>
                </a:cubicBezTo>
                <a:cubicBezTo>
                  <a:pt x="1289" y="292"/>
                  <a:pt x="1288" y="292"/>
                  <a:pt x="1287" y="293"/>
                </a:cubicBezTo>
                <a:cubicBezTo>
                  <a:pt x="1286" y="294"/>
                  <a:pt x="1284" y="295"/>
                  <a:pt x="1282" y="294"/>
                </a:cubicBezTo>
                <a:cubicBezTo>
                  <a:pt x="1281" y="293"/>
                  <a:pt x="1279" y="294"/>
                  <a:pt x="1277" y="294"/>
                </a:cubicBezTo>
                <a:cubicBezTo>
                  <a:pt x="1277" y="294"/>
                  <a:pt x="1276" y="294"/>
                  <a:pt x="1275" y="293"/>
                </a:cubicBezTo>
                <a:cubicBezTo>
                  <a:pt x="1275" y="293"/>
                  <a:pt x="1274" y="292"/>
                  <a:pt x="1274" y="292"/>
                </a:cubicBezTo>
                <a:cubicBezTo>
                  <a:pt x="1274" y="291"/>
                  <a:pt x="1275" y="291"/>
                  <a:pt x="1275" y="291"/>
                </a:cubicBezTo>
                <a:cubicBezTo>
                  <a:pt x="1277" y="291"/>
                  <a:pt x="1278" y="290"/>
                  <a:pt x="1279" y="289"/>
                </a:cubicBezTo>
                <a:cubicBezTo>
                  <a:pt x="1280" y="288"/>
                  <a:pt x="1282" y="287"/>
                  <a:pt x="1283" y="286"/>
                </a:cubicBezTo>
                <a:cubicBezTo>
                  <a:pt x="1283" y="286"/>
                  <a:pt x="1283" y="285"/>
                  <a:pt x="1282" y="284"/>
                </a:cubicBezTo>
                <a:cubicBezTo>
                  <a:pt x="1279" y="282"/>
                  <a:pt x="1274" y="281"/>
                  <a:pt x="1270" y="279"/>
                </a:cubicBezTo>
                <a:cubicBezTo>
                  <a:pt x="1270" y="279"/>
                  <a:pt x="1269" y="280"/>
                  <a:pt x="1268" y="280"/>
                </a:cubicBezTo>
                <a:cubicBezTo>
                  <a:pt x="1267" y="281"/>
                  <a:pt x="1267" y="281"/>
                  <a:pt x="1267" y="282"/>
                </a:cubicBezTo>
                <a:cubicBezTo>
                  <a:pt x="1266" y="282"/>
                  <a:pt x="1266" y="283"/>
                  <a:pt x="1266" y="282"/>
                </a:cubicBezTo>
                <a:cubicBezTo>
                  <a:pt x="1266" y="282"/>
                  <a:pt x="1265" y="282"/>
                  <a:pt x="1265" y="282"/>
                </a:cubicBezTo>
                <a:cubicBezTo>
                  <a:pt x="1265" y="281"/>
                  <a:pt x="1266" y="280"/>
                  <a:pt x="1265" y="279"/>
                </a:cubicBezTo>
                <a:cubicBezTo>
                  <a:pt x="1265" y="277"/>
                  <a:pt x="1264" y="276"/>
                  <a:pt x="1263" y="276"/>
                </a:cubicBezTo>
                <a:cubicBezTo>
                  <a:pt x="1262" y="275"/>
                  <a:pt x="1261" y="276"/>
                  <a:pt x="1260" y="277"/>
                </a:cubicBezTo>
                <a:cubicBezTo>
                  <a:pt x="1259" y="277"/>
                  <a:pt x="1258" y="278"/>
                  <a:pt x="1258" y="280"/>
                </a:cubicBezTo>
                <a:cubicBezTo>
                  <a:pt x="1258" y="280"/>
                  <a:pt x="1258" y="281"/>
                  <a:pt x="1257" y="282"/>
                </a:cubicBezTo>
                <a:cubicBezTo>
                  <a:pt x="1257" y="282"/>
                  <a:pt x="1257" y="283"/>
                  <a:pt x="1256" y="283"/>
                </a:cubicBezTo>
                <a:cubicBezTo>
                  <a:pt x="1256" y="283"/>
                  <a:pt x="1256" y="283"/>
                  <a:pt x="1256" y="282"/>
                </a:cubicBezTo>
                <a:cubicBezTo>
                  <a:pt x="1255" y="281"/>
                  <a:pt x="1255" y="280"/>
                  <a:pt x="1253" y="280"/>
                </a:cubicBezTo>
                <a:cubicBezTo>
                  <a:pt x="1252" y="280"/>
                  <a:pt x="1252" y="279"/>
                  <a:pt x="1252" y="278"/>
                </a:cubicBezTo>
                <a:cubicBezTo>
                  <a:pt x="1251" y="276"/>
                  <a:pt x="1249" y="275"/>
                  <a:pt x="1248" y="276"/>
                </a:cubicBezTo>
                <a:cubicBezTo>
                  <a:pt x="1247" y="279"/>
                  <a:pt x="1244" y="279"/>
                  <a:pt x="1242" y="281"/>
                </a:cubicBezTo>
                <a:cubicBezTo>
                  <a:pt x="1240" y="281"/>
                  <a:pt x="1239" y="283"/>
                  <a:pt x="1236" y="284"/>
                </a:cubicBezTo>
                <a:cubicBezTo>
                  <a:pt x="1236" y="284"/>
                  <a:pt x="1236" y="284"/>
                  <a:pt x="1236" y="284"/>
                </a:cubicBezTo>
                <a:cubicBezTo>
                  <a:pt x="1236" y="284"/>
                  <a:pt x="1236" y="284"/>
                  <a:pt x="1236" y="284"/>
                </a:cubicBezTo>
                <a:cubicBezTo>
                  <a:pt x="1235" y="285"/>
                  <a:pt x="1235" y="285"/>
                  <a:pt x="1235" y="285"/>
                </a:cubicBezTo>
                <a:cubicBezTo>
                  <a:pt x="1236" y="284"/>
                  <a:pt x="1236" y="284"/>
                  <a:pt x="1236" y="284"/>
                </a:cubicBezTo>
                <a:cubicBezTo>
                  <a:pt x="1236" y="284"/>
                  <a:pt x="1236" y="284"/>
                  <a:pt x="1236" y="284"/>
                </a:cubicBezTo>
                <a:cubicBezTo>
                  <a:pt x="1236" y="284"/>
                  <a:pt x="1236" y="283"/>
                  <a:pt x="1235" y="283"/>
                </a:cubicBezTo>
                <a:cubicBezTo>
                  <a:pt x="1235" y="283"/>
                  <a:pt x="1235" y="283"/>
                  <a:pt x="1235" y="283"/>
                </a:cubicBezTo>
                <a:cubicBezTo>
                  <a:pt x="1231" y="283"/>
                  <a:pt x="1231" y="283"/>
                  <a:pt x="1232" y="286"/>
                </a:cubicBezTo>
                <a:cubicBezTo>
                  <a:pt x="1232" y="287"/>
                  <a:pt x="1232" y="287"/>
                  <a:pt x="1232" y="288"/>
                </a:cubicBezTo>
                <a:cubicBezTo>
                  <a:pt x="1232" y="288"/>
                  <a:pt x="1232" y="288"/>
                  <a:pt x="1232" y="288"/>
                </a:cubicBezTo>
                <a:cubicBezTo>
                  <a:pt x="1232" y="288"/>
                  <a:pt x="1232" y="288"/>
                  <a:pt x="1232" y="288"/>
                </a:cubicBezTo>
                <a:cubicBezTo>
                  <a:pt x="1232" y="288"/>
                  <a:pt x="1232" y="288"/>
                  <a:pt x="1232" y="288"/>
                </a:cubicBezTo>
                <a:cubicBezTo>
                  <a:pt x="1232" y="288"/>
                  <a:pt x="1232" y="288"/>
                  <a:pt x="1232" y="288"/>
                </a:cubicBezTo>
                <a:cubicBezTo>
                  <a:pt x="1228" y="288"/>
                  <a:pt x="1225" y="290"/>
                  <a:pt x="1222" y="291"/>
                </a:cubicBezTo>
                <a:cubicBezTo>
                  <a:pt x="1222" y="291"/>
                  <a:pt x="1222" y="292"/>
                  <a:pt x="1222" y="293"/>
                </a:cubicBezTo>
                <a:cubicBezTo>
                  <a:pt x="1222" y="293"/>
                  <a:pt x="1223" y="294"/>
                  <a:pt x="1223" y="295"/>
                </a:cubicBezTo>
                <a:cubicBezTo>
                  <a:pt x="1222" y="296"/>
                  <a:pt x="1221" y="295"/>
                  <a:pt x="1220" y="296"/>
                </a:cubicBezTo>
                <a:cubicBezTo>
                  <a:pt x="1219" y="296"/>
                  <a:pt x="1218" y="297"/>
                  <a:pt x="1216" y="297"/>
                </a:cubicBezTo>
                <a:cubicBezTo>
                  <a:pt x="1216" y="297"/>
                  <a:pt x="1216" y="297"/>
                  <a:pt x="1216" y="297"/>
                </a:cubicBezTo>
                <a:cubicBezTo>
                  <a:pt x="1216" y="297"/>
                  <a:pt x="1216" y="297"/>
                  <a:pt x="1216" y="297"/>
                </a:cubicBezTo>
                <a:cubicBezTo>
                  <a:pt x="1216" y="297"/>
                  <a:pt x="1216" y="297"/>
                  <a:pt x="1216" y="297"/>
                </a:cubicBezTo>
                <a:cubicBezTo>
                  <a:pt x="1216" y="297"/>
                  <a:pt x="1216" y="297"/>
                  <a:pt x="1215" y="297"/>
                </a:cubicBezTo>
                <a:cubicBezTo>
                  <a:pt x="1216" y="297"/>
                  <a:pt x="1216" y="297"/>
                  <a:pt x="1216" y="297"/>
                </a:cubicBezTo>
                <a:cubicBezTo>
                  <a:pt x="1216" y="296"/>
                  <a:pt x="1216" y="295"/>
                  <a:pt x="1216" y="294"/>
                </a:cubicBezTo>
                <a:cubicBezTo>
                  <a:pt x="1216" y="293"/>
                  <a:pt x="1215" y="293"/>
                  <a:pt x="1214" y="293"/>
                </a:cubicBezTo>
                <a:cubicBezTo>
                  <a:pt x="1214" y="293"/>
                  <a:pt x="1213" y="294"/>
                  <a:pt x="1213" y="294"/>
                </a:cubicBezTo>
                <a:cubicBezTo>
                  <a:pt x="1214" y="295"/>
                  <a:pt x="1214" y="296"/>
                  <a:pt x="1215" y="297"/>
                </a:cubicBezTo>
                <a:cubicBezTo>
                  <a:pt x="1214" y="297"/>
                  <a:pt x="1214" y="297"/>
                  <a:pt x="1214" y="297"/>
                </a:cubicBezTo>
                <a:cubicBezTo>
                  <a:pt x="1215" y="297"/>
                  <a:pt x="1215" y="297"/>
                  <a:pt x="1215" y="297"/>
                </a:cubicBezTo>
                <a:cubicBezTo>
                  <a:pt x="1212" y="297"/>
                  <a:pt x="1210" y="298"/>
                  <a:pt x="1209" y="300"/>
                </a:cubicBezTo>
                <a:cubicBezTo>
                  <a:pt x="1209" y="300"/>
                  <a:pt x="1209" y="300"/>
                  <a:pt x="1209" y="300"/>
                </a:cubicBezTo>
                <a:cubicBezTo>
                  <a:pt x="1209" y="300"/>
                  <a:pt x="1210" y="301"/>
                  <a:pt x="1209" y="300"/>
                </a:cubicBezTo>
                <a:cubicBezTo>
                  <a:pt x="1209" y="300"/>
                  <a:pt x="1209" y="300"/>
                  <a:pt x="1209" y="300"/>
                </a:cubicBezTo>
                <a:cubicBezTo>
                  <a:pt x="1209" y="300"/>
                  <a:pt x="1208" y="300"/>
                  <a:pt x="1207" y="300"/>
                </a:cubicBezTo>
                <a:cubicBezTo>
                  <a:pt x="1205" y="300"/>
                  <a:pt x="1204" y="301"/>
                  <a:pt x="1204" y="303"/>
                </a:cubicBezTo>
                <a:cubicBezTo>
                  <a:pt x="1203" y="304"/>
                  <a:pt x="1203" y="306"/>
                  <a:pt x="1205" y="307"/>
                </a:cubicBezTo>
                <a:cubicBezTo>
                  <a:pt x="1205" y="308"/>
                  <a:pt x="1206" y="308"/>
                  <a:pt x="1206" y="308"/>
                </a:cubicBezTo>
                <a:cubicBezTo>
                  <a:pt x="1207" y="309"/>
                  <a:pt x="1206" y="310"/>
                  <a:pt x="1205" y="310"/>
                </a:cubicBezTo>
                <a:cubicBezTo>
                  <a:pt x="1205" y="311"/>
                  <a:pt x="1204" y="312"/>
                  <a:pt x="1202" y="311"/>
                </a:cubicBezTo>
                <a:cubicBezTo>
                  <a:pt x="1201" y="311"/>
                  <a:pt x="1200" y="311"/>
                  <a:pt x="1198" y="311"/>
                </a:cubicBezTo>
                <a:cubicBezTo>
                  <a:pt x="1197" y="311"/>
                  <a:pt x="1196" y="310"/>
                  <a:pt x="1197" y="310"/>
                </a:cubicBezTo>
                <a:cubicBezTo>
                  <a:pt x="1197" y="308"/>
                  <a:pt x="1198" y="307"/>
                  <a:pt x="1198" y="305"/>
                </a:cubicBezTo>
                <a:cubicBezTo>
                  <a:pt x="1198" y="305"/>
                  <a:pt x="1198" y="305"/>
                  <a:pt x="1198" y="305"/>
                </a:cubicBezTo>
                <a:cubicBezTo>
                  <a:pt x="1198" y="305"/>
                  <a:pt x="1197" y="305"/>
                  <a:pt x="1197" y="305"/>
                </a:cubicBezTo>
                <a:cubicBezTo>
                  <a:pt x="1195" y="307"/>
                  <a:pt x="1193" y="309"/>
                  <a:pt x="1191" y="311"/>
                </a:cubicBezTo>
                <a:cubicBezTo>
                  <a:pt x="1190" y="312"/>
                  <a:pt x="1191" y="313"/>
                  <a:pt x="1192" y="313"/>
                </a:cubicBezTo>
                <a:cubicBezTo>
                  <a:pt x="1192" y="315"/>
                  <a:pt x="1192" y="316"/>
                  <a:pt x="1191" y="316"/>
                </a:cubicBezTo>
                <a:cubicBezTo>
                  <a:pt x="1191" y="317"/>
                  <a:pt x="1191" y="317"/>
                  <a:pt x="1190" y="318"/>
                </a:cubicBezTo>
                <a:cubicBezTo>
                  <a:pt x="1191" y="318"/>
                  <a:pt x="1192" y="318"/>
                  <a:pt x="1193" y="318"/>
                </a:cubicBezTo>
                <a:cubicBezTo>
                  <a:pt x="1195" y="317"/>
                  <a:pt x="1197" y="317"/>
                  <a:pt x="1199" y="316"/>
                </a:cubicBezTo>
                <a:cubicBezTo>
                  <a:pt x="1200" y="316"/>
                  <a:pt x="1202" y="316"/>
                  <a:pt x="1203" y="317"/>
                </a:cubicBezTo>
                <a:cubicBezTo>
                  <a:pt x="1203" y="317"/>
                  <a:pt x="1203" y="317"/>
                  <a:pt x="1203" y="317"/>
                </a:cubicBezTo>
                <a:cubicBezTo>
                  <a:pt x="1203" y="317"/>
                  <a:pt x="1203" y="317"/>
                  <a:pt x="1203" y="318"/>
                </a:cubicBezTo>
                <a:cubicBezTo>
                  <a:pt x="1202" y="318"/>
                  <a:pt x="1201" y="319"/>
                  <a:pt x="1200" y="319"/>
                </a:cubicBezTo>
                <a:cubicBezTo>
                  <a:pt x="1199" y="319"/>
                  <a:pt x="1199" y="319"/>
                  <a:pt x="1198" y="320"/>
                </a:cubicBezTo>
                <a:cubicBezTo>
                  <a:pt x="1196" y="320"/>
                  <a:pt x="1196" y="321"/>
                  <a:pt x="1197" y="322"/>
                </a:cubicBezTo>
                <a:cubicBezTo>
                  <a:pt x="1196" y="323"/>
                  <a:pt x="1195" y="323"/>
                  <a:pt x="1194" y="324"/>
                </a:cubicBezTo>
                <a:cubicBezTo>
                  <a:pt x="1194" y="325"/>
                  <a:pt x="1194" y="326"/>
                  <a:pt x="1194" y="327"/>
                </a:cubicBezTo>
                <a:cubicBezTo>
                  <a:pt x="1194" y="328"/>
                  <a:pt x="1194" y="328"/>
                  <a:pt x="1193" y="329"/>
                </a:cubicBezTo>
                <a:cubicBezTo>
                  <a:pt x="1193" y="330"/>
                  <a:pt x="1192" y="330"/>
                  <a:pt x="1192" y="331"/>
                </a:cubicBezTo>
                <a:cubicBezTo>
                  <a:pt x="1192" y="333"/>
                  <a:pt x="1191" y="334"/>
                  <a:pt x="1190" y="334"/>
                </a:cubicBezTo>
                <a:cubicBezTo>
                  <a:pt x="1189" y="335"/>
                  <a:pt x="1187" y="336"/>
                  <a:pt x="1187" y="338"/>
                </a:cubicBezTo>
                <a:cubicBezTo>
                  <a:pt x="1187" y="340"/>
                  <a:pt x="1185" y="341"/>
                  <a:pt x="1185" y="343"/>
                </a:cubicBezTo>
                <a:cubicBezTo>
                  <a:pt x="1185" y="345"/>
                  <a:pt x="1185" y="346"/>
                  <a:pt x="1183" y="346"/>
                </a:cubicBezTo>
                <a:cubicBezTo>
                  <a:pt x="1182" y="347"/>
                  <a:pt x="1182" y="348"/>
                  <a:pt x="1182" y="348"/>
                </a:cubicBezTo>
                <a:cubicBezTo>
                  <a:pt x="1183" y="350"/>
                  <a:pt x="1183" y="352"/>
                  <a:pt x="1182" y="354"/>
                </a:cubicBezTo>
                <a:cubicBezTo>
                  <a:pt x="1181" y="355"/>
                  <a:pt x="1181" y="357"/>
                  <a:pt x="1181" y="359"/>
                </a:cubicBezTo>
                <a:cubicBezTo>
                  <a:pt x="1181" y="360"/>
                  <a:pt x="1180" y="361"/>
                  <a:pt x="1179" y="361"/>
                </a:cubicBezTo>
                <a:cubicBezTo>
                  <a:pt x="1178" y="361"/>
                  <a:pt x="1177" y="362"/>
                  <a:pt x="1176" y="362"/>
                </a:cubicBezTo>
                <a:cubicBezTo>
                  <a:pt x="1176" y="362"/>
                  <a:pt x="1175" y="363"/>
                  <a:pt x="1175" y="363"/>
                </a:cubicBezTo>
                <a:cubicBezTo>
                  <a:pt x="1175" y="365"/>
                  <a:pt x="1175" y="366"/>
                  <a:pt x="1174" y="367"/>
                </a:cubicBezTo>
                <a:cubicBezTo>
                  <a:pt x="1171" y="369"/>
                  <a:pt x="1169" y="372"/>
                  <a:pt x="1168" y="375"/>
                </a:cubicBezTo>
                <a:cubicBezTo>
                  <a:pt x="1167" y="376"/>
                  <a:pt x="1167" y="377"/>
                  <a:pt x="1166" y="378"/>
                </a:cubicBezTo>
                <a:cubicBezTo>
                  <a:pt x="1166" y="379"/>
                  <a:pt x="1165" y="379"/>
                  <a:pt x="1164" y="379"/>
                </a:cubicBezTo>
                <a:cubicBezTo>
                  <a:pt x="1162" y="379"/>
                  <a:pt x="1161" y="379"/>
                  <a:pt x="1160" y="379"/>
                </a:cubicBezTo>
                <a:cubicBezTo>
                  <a:pt x="1160" y="379"/>
                  <a:pt x="1160" y="379"/>
                  <a:pt x="1159" y="379"/>
                </a:cubicBezTo>
                <a:cubicBezTo>
                  <a:pt x="1159" y="380"/>
                  <a:pt x="1159" y="380"/>
                  <a:pt x="1159" y="381"/>
                </a:cubicBezTo>
                <a:cubicBezTo>
                  <a:pt x="1160" y="381"/>
                  <a:pt x="1160" y="381"/>
                  <a:pt x="1160" y="381"/>
                </a:cubicBezTo>
                <a:cubicBezTo>
                  <a:pt x="1160" y="382"/>
                  <a:pt x="1160" y="383"/>
                  <a:pt x="1160" y="383"/>
                </a:cubicBezTo>
                <a:cubicBezTo>
                  <a:pt x="1157" y="384"/>
                  <a:pt x="1155" y="387"/>
                  <a:pt x="1153" y="386"/>
                </a:cubicBezTo>
                <a:cubicBezTo>
                  <a:pt x="1151" y="388"/>
                  <a:pt x="1149" y="389"/>
                  <a:pt x="1147" y="390"/>
                </a:cubicBezTo>
                <a:cubicBezTo>
                  <a:pt x="1147" y="391"/>
                  <a:pt x="1147" y="391"/>
                  <a:pt x="1147" y="391"/>
                </a:cubicBezTo>
                <a:cubicBezTo>
                  <a:pt x="1147" y="393"/>
                  <a:pt x="1146" y="394"/>
                  <a:pt x="1145" y="394"/>
                </a:cubicBezTo>
                <a:cubicBezTo>
                  <a:pt x="1144" y="394"/>
                  <a:pt x="1142" y="395"/>
                  <a:pt x="1141" y="395"/>
                </a:cubicBezTo>
                <a:cubicBezTo>
                  <a:pt x="1141" y="395"/>
                  <a:pt x="1140" y="396"/>
                  <a:pt x="1140" y="397"/>
                </a:cubicBezTo>
                <a:cubicBezTo>
                  <a:pt x="1139" y="398"/>
                  <a:pt x="1140" y="399"/>
                  <a:pt x="1139" y="400"/>
                </a:cubicBezTo>
                <a:cubicBezTo>
                  <a:pt x="1139" y="403"/>
                  <a:pt x="1140" y="407"/>
                  <a:pt x="1139" y="410"/>
                </a:cubicBezTo>
                <a:cubicBezTo>
                  <a:pt x="1139" y="410"/>
                  <a:pt x="1139" y="410"/>
                  <a:pt x="1139" y="411"/>
                </a:cubicBezTo>
                <a:cubicBezTo>
                  <a:pt x="1140" y="413"/>
                  <a:pt x="1141" y="414"/>
                  <a:pt x="1142" y="417"/>
                </a:cubicBezTo>
                <a:cubicBezTo>
                  <a:pt x="1143" y="418"/>
                  <a:pt x="1144" y="419"/>
                  <a:pt x="1144" y="421"/>
                </a:cubicBezTo>
                <a:cubicBezTo>
                  <a:pt x="1144" y="421"/>
                  <a:pt x="1144" y="422"/>
                  <a:pt x="1143" y="423"/>
                </a:cubicBezTo>
                <a:cubicBezTo>
                  <a:pt x="1143" y="424"/>
                  <a:pt x="1142" y="425"/>
                  <a:pt x="1141" y="426"/>
                </a:cubicBezTo>
                <a:cubicBezTo>
                  <a:pt x="1141" y="426"/>
                  <a:pt x="1141" y="428"/>
                  <a:pt x="1142" y="428"/>
                </a:cubicBezTo>
                <a:cubicBezTo>
                  <a:pt x="1142" y="428"/>
                  <a:pt x="1143" y="429"/>
                  <a:pt x="1144" y="429"/>
                </a:cubicBezTo>
                <a:cubicBezTo>
                  <a:pt x="1145" y="429"/>
                  <a:pt x="1145" y="430"/>
                  <a:pt x="1145" y="431"/>
                </a:cubicBezTo>
                <a:cubicBezTo>
                  <a:pt x="1144" y="432"/>
                  <a:pt x="1143" y="433"/>
                  <a:pt x="1143" y="434"/>
                </a:cubicBezTo>
                <a:cubicBezTo>
                  <a:pt x="1142" y="434"/>
                  <a:pt x="1142" y="436"/>
                  <a:pt x="1143" y="437"/>
                </a:cubicBezTo>
                <a:cubicBezTo>
                  <a:pt x="1146" y="440"/>
                  <a:pt x="1150" y="442"/>
                  <a:pt x="1153" y="443"/>
                </a:cubicBezTo>
                <a:cubicBezTo>
                  <a:pt x="1154" y="443"/>
                  <a:pt x="1155" y="444"/>
                  <a:pt x="1155" y="443"/>
                </a:cubicBezTo>
                <a:cubicBezTo>
                  <a:pt x="1159" y="442"/>
                  <a:pt x="1162" y="442"/>
                  <a:pt x="1165" y="438"/>
                </a:cubicBezTo>
                <a:cubicBezTo>
                  <a:pt x="1166" y="437"/>
                  <a:pt x="1167" y="435"/>
                  <a:pt x="1168" y="434"/>
                </a:cubicBezTo>
                <a:cubicBezTo>
                  <a:pt x="1170" y="432"/>
                  <a:pt x="1174" y="432"/>
                  <a:pt x="1175" y="429"/>
                </a:cubicBezTo>
                <a:cubicBezTo>
                  <a:pt x="1175" y="429"/>
                  <a:pt x="1175" y="429"/>
                  <a:pt x="1176" y="429"/>
                </a:cubicBezTo>
                <a:cubicBezTo>
                  <a:pt x="1176" y="430"/>
                  <a:pt x="1178" y="430"/>
                  <a:pt x="1178" y="431"/>
                </a:cubicBezTo>
                <a:cubicBezTo>
                  <a:pt x="1179" y="433"/>
                  <a:pt x="1178" y="435"/>
                  <a:pt x="1179" y="436"/>
                </a:cubicBezTo>
                <a:cubicBezTo>
                  <a:pt x="1179" y="438"/>
                  <a:pt x="1181" y="440"/>
                  <a:pt x="1181" y="442"/>
                </a:cubicBezTo>
                <a:cubicBezTo>
                  <a:pt x="1181" y="445"/>
                  <a:pt x="1183" y="448"/>
                  <a:pt x="1184" y="451"/>
                </a:cubicBezTo>
                <a:cubicBezTo>
                  <a:pt x="1186" y="453"/>
                  <a:pt x="1187" y="456"/>
                  <a:pt x="1189" y="458"/>
                </a:cubicBezTo>
                <a:cubicBezTo>
                  <a:pt x="1190" y="459"/>
                  <a:pt x="1189" y="460"/>
                  <a:pt x="1189" y="461"/>
                </a:cubicBezTo>
                <a:cubicBezTo>
                  <a:pt x="1189" y="461"/>
                  <a:pt x="1188" y="462"/>
                  <a:pt x="1188" y="463"/>
                </a:cubicBezTo>
                <a:cubicBezTo>
                  <a:pt x="1188" y="463"/>
                  <a:pt x="1188" y="463"/>
                  <a:pt x="1188" y="463"/>
                </a:cubicBezTo>
                <a:cubicBezTo>
                  <a:pt x="1188" y="463"/>
                  <a:pt x="1188" y="463"/>
                  <a:pt x="1188" y="464"/>
                </a:cubicBezTo>
                <a:cubicBezTo>
                  <a:pt x="1189" y="464"/>
                  <a:pt x="1189" y="465"/>
                  <a:pt x="1190" y="465"/>
                </a:cubicBezTo>
                <a:cubicBezTo>
                  <a:pt x="1192" y="471"/>
                  <a:pt x="1193" y="470"/>
                  <a:pt x="1198" y="469"/>
                </a:cubicBezTo>
                <a:cubicBezTo>
                  <a:pt x="1199" y="469"/>
                  <a:pt x="1200" y="468"/>
                  <a:pt x="1200" y="467"/>
                </a:cubicBezTo>
                <a:cubicBezTo>
                  <a:pt x="1200" y="465"/>
                  <a:pt x="1202" y="464"/>
                  <a:pt x="1203" y="463"/>
                </a:cubicBezTo>
                <a:cubicBezTo>
                  <a:pt x="1204" y="463"/>
                  <a:pt x="1205" y="463"/>
                  <a:pt x="1206" y="463"/>
                </a:cubicBezTo>
                <a:cubicBezTo>
                  <a:pt x="1208" y="463"/>
                  <a:pt x="1211" y="463"/>
                  <a:pt x="1212" y="460"/>
                </a:cubicBezTo>
                <a:cubicBezTo>
                  <a:pt x="1216" y="461"/>
                  <a:pt x="1216" y="458"/>
                  <a:pt x="1216" y="455"/>
                </a:cubicBezTo>
                <a:cubicBezTo>
                  <a:pt x="1216" y="455"/>
                  <a:pt x="1216" y="454"/>
                  <a:pt x="1216" y="454"/>
                </a:cubicBezTo>
                <a:cubicBezTo>
                  <a:pt x="1216" y="453"/>
                  <a:pt x="1216" y="452"/>
                  <a:pt x="1214" y="452"/>
                </a:cubicBezTo>
                <a:cubicBezTo>
                  <a:pt x="1214" y="452"/>
                  <a:pt x="1214" y="452"/>
                  <a:pt x="1214" y="452"/>
                </a:cubicBezTo>
                <a:cubicBezTo>
                  <a:pt x="1213" y="452"/>
                  <a:pt x="1213" y="452"/>
                  <a:pt x="1213" y="452"/>
                </a:cubicBezTo>
                <a:cubicBezTo>
                  <a:pt x="1213" y="449"/>
                  <a:pt x="1213" y="446"/>
                  <a:pt x="1214" y="443"/>
                </a:cubicBezTo>
                <a:cubicBezTo>
                  <a:pt x="1214" y="442"/>
                  <a:pt x="1215" y="440"/>
                  <a:pt x="1215" y="439"/>
                </a:cubicBezTo>
                <a:cubicBezTo>
                  <a:pt x="1215" y="436"/>
                  <a:pt x="1216" y="434"/>
                  <a:pt x="1218" y="433"/>
                </a:cubicBezTo>
                <a:cubicBezTo>
                  <a:pt x="1219" y="432"/>
                  <a:pt x="1221" y="431"/>
                  <a:pt x="1222" y="430"/>
                </a:cubicBezTo>
                <a:cubicBezTo>
                  <a:pt x="1224" y="429"/>
                  <a:pt x="1225" y="427"/>
                  <a:pt x="1225" y="425"/>
                </a:cubicBezTo>
                <a:cubicBezTo>
                  <a:pt x="1225" y="424"/>
                  <a:pt x="1225" y="423"/>
                  <a:pt x="1225" y="421"/>
                </a:cubicBezTo>
                <a:cubicBezTo>
                  <a:pt x="1225" y="421"/>
                  <a:pt x="1225" y="420"/>
                  <a:pt x="1224" y="419"/>
                </a:cubicBezTo>
                <a:cubicBezTo>
                  <a:pt x="1222" y="416"/>
                  <a:pt x="1220" y="413"/>
                  <a:pt x="1217" y="412"/>
                </a:cubicBezTo>
                <a:cubicBezTo>
                  <a:pt x="1215" y="411"/>
                  <a:pt x="1214" y="409"/>
                  <a:pt x="1215" y="408"/>
                </a:cubicBezTo>
                <a:cubicBezTo>
                  <a:pt x="1215" y="403"/>
                  <a:pt x="1215" y="398"/>
                  <a:pt x="1215" y="394"/>
                </a:cubicBezTo>
                <a:cubicBezTo>
                  <a:pt x="1215" y="393"/>
                  <a:pt x="1215" y="392"/>
                  <a:pt x="1216" y="391"/>
                </a:cubicBezTo>
                <a:cubicBezTo>
                  <a:pt x="1218" y="387"/>
                  <a:pt x="1221" y="384"/>
                  <a:pt x="1225" y="381"/>
                </a:cubicBezTo>
                <a:cubicBezTo>
                  <a:pt x="1227" y="380"/>
                  <a:pt x="1228" y="378"/>
                  <a:pt x="1230" y="376"/>
                </a:cubicBezTo>
                <a:cubicBezTo>
                  <a:pt x="1233" y="373"/>
                  <a:pt x="1233" y="373"/>
                  <a:pt x="1235" y="368"/>
                </a:cubicBezTo>
                <a:cubicBezTo>
                  <a:pt x="1236" y="367"/>
                  <a:pt x="1236" y="366"/>
                  <a:pt x="1236" y="364"/>
                </a:cubicBezTo>
                <a:cubicBezTo>
                  <a:pt x="1235" y="361"/>
                  <a:pt x="1236" y="357"/>
                  <a:pt x="1237" y="354"/>
                </a:cubicBezTo>
                <a:cubicBezTo>
                  <a:pt x="1238" y="352"/>
                  <a:pt x="1240" y="349"/>
                  <a:pt x="1244" y="350"/>
                </a:cubicBezTo>
                <a:cubicBezTo>
                  <a:pt x="1248" y="349"/>
                  <a:pt x="1252" y="350"/>
                  <a:pt x="1256" y="352"/>
                </a:cubicBezTo>
                <a:cubicBezTo>
                  <a:pt x="1257" y="353"/>
                  <a:pt x="1257" y="355"/>
                  <a:pt x="1256" y="356"/>
                </a:cubicBezTo>
                <a:cubicBezTo>
                  <a:pt x="1255" y="357"/>
                  <a:pt x="1254" y="357"/>
                  <a:pt x="1254" y="359"/>
                </a:cubicBezTo>
                <a:cubicBezTo>
                  <a:pt x="1254" y="360"/>
                  <a:pt x="1253" y="361"/>
                  <a:pt x="1253" y="362"/>
                </a:cubicBezTo>
                <a:cubicBezTo>
                  <a:pt x="1250" y="366"/>
                  <a:pt x="1248" y="371"/>
                  <a:pt x="1244" y="375"/>
                </a:cubicBezTo>
                <a:cubicBezTo>
                  <a:pt x="1243" y="376"/>
                  <a:pt x="1242" y="377"/>
                  <a:pt x="1242" y="378"/>
                </a:cubicBezTo>
                <a:cubicBezTo>
                  <a:pt x="1241" y="380"/>
                  <a:pt x="1240" y="381"/>
                  <a:pt x="1238" y="380"/>
                </a:cubicBezTo>
                <a:cubicBezTo>
                  <a:pt x="1237" y="380"/>
                  <a:pt x="1236" y="381"/>
                  <a:pt x="1236" y="382"/>
                </a:cubicBezTo>
                <a:cubicBezTo>
                  <a:pt x="1237" y="384"/>
                  <a:pt x="1236" y="385"/>
                  <a:pt x="1236" y="386"/>
                </a:cubicBezTo>
                <a:cubicBezTo>
                  <a:pt x="1236" y="387"/>
                  <a:pt x="1236" y="389"/>
                  <a:pt x="1236" y="390"/>
                </a:cubicBezTo>
                <a:cubicBezTo>
                  <a:pt x="1236" y="391"/>
                  <a:pt x="1237" y="392"/>
                  <a:pt x="1237" y="393"/>
                </a:cubicBezTo>
                <a:cubicBezTo>
                  <a:pt x="1238" y="398"/>
                  <a:pt x="1239" y="402"/>
                  <a:pt x="1239" y="407"/>
                </a:cubicBezTo>
                <a:cubicBezTo>
                  <a:pt x="1239" y="408"/>
                  <a:pt x="1239" y="408"/>
                  <a:pt x="1239" y="409"/>
                </a:cubicBezTo>
                <a:cubicBezTo>
                  <a:pt x="1239" y="411"/>
                  <a:pt x="1240" y="412"/>
                  <a:pt x="1241" y="413"/>
                </a:cubicBezTo>
                <a:cubicBezTo>
                  <a:pt x="1242" y="413"/>
                  <a:pt x="1243" y="414"/>
                  <a:pt x="1244" y="414"/>
                </a:cubicBezTo>
                <a:cubicBezTo>
                  <a:pt x="1244" y="414"/>
                  <a:pt x="1244" y="414"/>
                  <a:pt x="1244" y="414"/>
                </a:cubicBezTo>
                <a:cubicBezTo>
                  <a:pt x="1244" y="414"/>
                  <a:pt x="1244" y="414"/>
                  <a:pt x="1244" y="414"/>
                </a:cubicBezTo>
                <a:cubicBezTo>
                  <a:pt x="1245" y="414"/>
                  <a:pt x="1245" y="414"/>
                  <a:pt x="1245" y="414"/>
                </a:cubicBezTo>
                <a:cubicBezTo>
                  <a:pt x="1244" y="414"/>
                  <a:pt x="1244" y="414"/>
                  <a:pt x="1244" y="414"/>
                </a:cubicBezTo>
                <a:cubicBezTo>
                  <a:pt x="1245" y="415"/>
                  <a:pt x="1246" y="415"/>
                  <a:pt x="1246" y="415"/>
                </a:cubicBezTo>
                <a:cubicBezTo>
                  <a:pt x="1248" y="415"/>
                  <a:pt x="1250" y="416"/>
                  <a:pt x="1251" y="418"/>
                </a:cubicBezTo>
                <a:cubicBezTo>
                  <a:pt x="1252" y="419"/>
                  <a:pt x="1253" y="420"/>
                  <a:pt x="1255" y="419"/>
                </a:cubicBezTo>
                <a:cubicBezTo>
                  <a:pt x="1257" y="419"/>
                  <a:pt x="1258" y="418"/>
                  <a:pt x="1260" y="417"/>
                </a:cubicBezTo>
                <a:cubicBezTo>
                  <a:pt x="1265" y="414"/>
                  <a:pt x="1271" y="413"/>
                  <a:pt x="1277" y="413"/>
                </a:cubicBezTo>
                <a:cubicBezTo>
                  <a:pt x="1279" y="413"/>
                  <a:pt x="1281" y="412"/>
                  <a:pt x="1283" y="412"/>
                </a:cubicBezTo>
                <a:cubicBezTo>
                  <a:pt x="1283" y="412"/>
                  <a:pt x="1284" y="412"/>
                  <a:pt x="1284" y="413"/>
                </a:cubicBezTo>
                <a:cubicBezTo>
                  <a:pt x="1285" y="415"/>
                  <a:pt x="1288" y="415"/>
                  <a:pt x="1290" y="416"/>
                </a:cubicBezTo>
                <a:cubicBezTo>
                  <a:pt x="1290" y="416"/>
                  <a:pt x="1290" y="416"/>
                  <a:pt x="1291" y="416"/>
                </a:cubicBezTo>
                <a:cubicBezTo>
                  <a:pt x="1291" y="417"/>
                  <a:pt x="1291" y="417"/>
                  <a:pt x="1291" y="417"/>
                </a:cubicBezTo>
                <a:cubicBezTo>
                  <a:pt x="1290" y="418"/>
                  <a:pt x="1289" y="418"/>
                  <a:pt x="1288" y="419"/>
                </a:cubicBezTo>
                <a:cubicBezTo>
                  <a:pt x="1286" y="420"/>
                  <a:pt x="1284" y="420"/>
                  <a:pt x="1284" y="422"/>
                </a:cubicBezTo>
                <a:cubicBezTo>
                  <a:pt x="1282" y="425"/>
                  <a:pt x="1279" y="425"/>
                  <a:pt x="1276" y="424"/>
                </a:cubicBezTo>
                <a:cubicBezTo>
                  <a:pt x="1274" y="423"/>
                  <a:pt x="1272" y="423"/>
                  <a:pt x="1270" y="422"/>
                </a:cubicBezTo>
                <a:cubicBezTo>
                  <a:pt x="1269" y="422"/>
                  <a:pt x="1268" y="422"/>
                  <a:pt x="1268" y="422"/>
                </a:cubicBezTo>
                <a:cubicBezTo>
                  <a:pt x="1265" y="423"/>
                  <a:pt x="1262" y="424"/>
                  <a:pt x="1259" y="425"/>
                </a:cubicBezTo>
                <a:cubicBezTo>
                  <a:pt x="1257" y="426"/>
                  <a:pt x="1255" y="428"/>
                  <a:pt x="1254" y="431"/>
                </a:cubicBezTo>
                <a:cubicBezTo>
                  <a:pt x="1254" y="433"/>
                  <a:pt x="1253" y="434"/>
                  <a:pt x="1252" y="434"/>
                </a:cubicBezTo>
                <a:cubicBezTo>
                  <a:pt x="1251" y="435"/>
                  <a:pt x="1249" y="435"/>
                  <a:pt x="1248" y="435"/>
                </a:cubicBezTo>
                <a:cubicBezTo>
                  <a:pt x="1246" y="436"/>
                  <a:pt x="1246" y="437"/>
                  <a:pt x="1247" y="440"/>
                </a:cubicBezTo>
                <a:cubicBezTo>
                  <a:pt x="1247" y="440"/>
                  <a:pt x="1248" y="440"/>
                  <a:pt x="1248" y="440"/>
                </a:cubicBezTo>
                <a:cubicBezTo>
                  <a:pt x="1250" y="440"/>
                  <a:pt x="1252" y="439"/>
                  <a:pt x="1254" y="437"/>
                </a:cubicBezTo>
                <a:cubicBezTo>
                  <a:pt x="1255" y="436"/>
                  <a:pt x="1255" y="436"/>
                  <a:pt x="1257" y="437"/>
                </a:cubicBezTo>
                <a:cubicBezTo>
                  <a:pt x="1258" y="438"/>
                  <a:pt x="1259" y="439"/>
                  <a:pt x="1260" y="439"/>
                </a:cubicBezTo>
                <a:cubicBezTo>
                  <a:pt x="1260" y="440"/>
                  <a:pt x="1261" y="440"/>
                  <a:pt x="1261" y="441"/>
                </a:cubicBezTo>
                <a:cubicBezTo>
                  <a:pt x="1261" y="443"/>
                  <a:pt x="1261" y="446"/>
                  <a:pt x="1261" y="448"/>
                </a:cubicBezTo>
                <a:cubicBezTo>
                  <a:pt x="1261" y="449"/>
                  <a:pt x="1260" y="450"/>
                  <a:pt x="1259" y="451"/>
                </a:cubicBezTo>
                <a:cubicBezTo>
                  <a:pt x="1258" y="451"/>
                  <a:pt x="1257" y="450"/>
                  <a:pt x="1257" y="450"/>
                </a:cubicBezTo>
                <a:cubicBezTo>
                  <a:pt x="1255" y="449"/>
                  <a:pt x="1254" y="447"/>
                  <a:pt x="1253" y="446"/>
                </a:cubicBezTo>
                <a:cubicBezTo>
                  <a:pt x="1252" y="445"/>
                  <a:pt x="1251" y="444"/>
                  <a:pt x="1249" y="445"/>
                </a:cubicBezTo>
                <a:cubicBezTo>
                  <a:pt x="1247" y="446"/>
                  <a:pt x="1245" y="447"/>
                  <a:pt x="1244" y="449"/>
                </a:cubicBezTo>
                <a:cubicBezTo>
                  <a:pt x="1244" y="451"/>
                  <a:pt x="1243" y="453"/>
                  <a:pt x="1243" y="454"/>
                </a:cubicBezTo>
                <a:cubicBezTo>
                  <a:pt x="1242" y="456"/>
                  <a:pt x="1242" y="459"/>
                  <a:pt x="1242" y="461"/>
                </a:cubicBezTo>
                <a:cubicBezTo>
                  <a:pt x="1243" y="464"/>
                  <a:pt x="1243" y="467"/>
                  <a:pt x="1243" y="470"/>
                </a:cubicBezTo>
                <a:cubicBezTo>
                  <a:pt x="1244" y="470"/>
                  <a:pt x="1243" y="471"/>
                  <a:pt x="1243" y="471"/>
                </a:cubicBezTo>
                <a:cubicBezTo>
                  <a:pt x="1241" y="472"/>
                  <a:pt x="1240" y="472"/>
                  <a:pt x="1239" y="473"/>
                </a:cubicBezTo>
                <a:cubicBezTo>
                  <a:pt x="1237" y="473"/>
                  <a:pt x="1236" y="474"/>
                  <a:pt x="1236" y="476"/>
                </a:cubicBezTo>
                <a:cubicBezTo>
                  <a:pt x="1236" y="479"/>
                  <a:pt x="1230" y="479"/>
                  <a:pt x="1229" y="477"/>
                </a:cubicBezTo>
                <a:cubicBezTo>
                  <a:pt x="1229" y="477"/>
                  <a:pt x="1228" y="476"/>
                  <a:pt x="1228" y="476"/>
                </a:cubicBezTo>
                <a:cubicBezTo>
                  <a:pt x="1227" y="474"/>
                  <a:pt x="1226" y="474"/>
                  <a:pt x="1225" y="474"/>
                </a:cubicBezTo>
                <a:cubicBezTo>
                  <a:pt x="1222" y="474"/>
                  <a:pt x="1219" y="475"/>
                  <a:pt x="1216" y="476"/>
                </a:cubicBezTo>
                <a:cubicBezTo>
                  <a:pt x="1213" y="478"/>
                  <a:pt x="1209" y="481"/>
                  <a:pt x="1206" y="482"/>
                </a:cubicBezTo>
                <a:cubicBezTo>
                  <a:pt x="1204" y="483"/>
                  <a:pt x="1204" y="484"/>
                  <a:pt x="1202" y="485"/>
                </a:cubicBezTo>
                <a:cubicBezTo>
                  <a:pt x="1202" y="486"/>
                  <a:pt x="1200" y="486"/>
                  <a:pt x="1200" y="485"/>
                </a:cubicBezTo>
                <a:cubicBezTo>
                  <a:pt x="1199" y="484"/>
                  <a:pt x="1197" y="483"/>
                  <a:pt x="1196" y="481"/>
                </a:cubicBezTo>
                <a:cubicBezTo>
                  <a:pt x="1196" y="480"/>
                  <a:pt x="1196" y="479"/>
                  <a:pt x="1196" y="478"/>
                </a:cubicBezTo>
                <a:cubicBezTo>
                  <a:pt x="1196" y="478"/>
                  <a:pt x="1194" y="477"/>
                  <a:pt x="1194" y="478"/>
                </a:cubicBezTo>
                <a:cubicBezTo>
                  <a:pt x="1192" y="479"/>
                  <a:pt x="1191" y="480"/>
                  <a:pt x="1189" y="480"/>
                </a:cubicBezTo>
                <a:cubicBezTo>
                  <a:pt x="1187" y="480"/>
                  <a:pt x="1184" y="482"/>
                  <a:pt x="1182" y="483"/>
                </a:cubicBezTo>
                <a:cubicBezTo>
                  <a:pt x="1182" y="483"/>
                  <a:pt x="1181" y="483"/>
                  <a:pt x="1181" y="483"/>
                </a:cubicBezTo>
                <a:cubicBezTo>
                  <a:pt x="1180" y="482"/>
                  <a:pt x="1179" y="481"/>
                  <a:pt x="1177" y="480"/>
                </a:cubicBezTo>
                <a:cubicBezTo>
                  <a:pt x="1176" y="480"/>
                  <a:pt x="1174" y="480"/>
                  <a:pt x="1173" y="479"/>
                </a:cubicBezTo>
                <a:cubicBezTo>
                  <a:pt x="1172" y="478"/>
                  <a:pt x="1172" y="476"/>
                  <a:pt x="1171" y="475"/>
                </a:cubicBezTo>
                <a:cubicBezTo>
                  <a:pt x="1171" y="475"/>
                  <a:pt x="1172" y="474"/>
                  <a:pt x="1172" y="474"/>
                </a:cubicBezTo>
                <a:cubicBezTo>
                  <a:pt x="1172" y="473"/>
                  <a:pt x="1172" y="473"/>
                  <a:pt x="1173" y="473"/>
                </a:cubicBezTo>
                <a:cubicBezTo>
                  <a:pt x="1175" y="474"/>
                  <a:pt x="1177" y="475"/>
                  <a:pt x="1180" y="477"/>
                </a:cubicBezTo>
                <a:cubicBezTo>
                  <a:pt x="1182" y="479"/>
                  <a:pt x="1185" y="478"/>
                  <a:pt x="1186" y="475"/>
                </a:cubicBezTo>
                <a:cubicBezTo>
                  <a:pt x="1188" y="471"/>
                  <a:pt x="1189" y="468"/>
                  <a:pt x="1188" y="464"/>
                </a:cubicBezTo>
                <a:cubicBezTo>
                  <a:pt x="1188" y="463"/>
                  <a:pt x="1188" y="463"/>
                  <a:pt x="1188" y="463"/>
                </a:cubicBezTo>
                <a:cubicBezTo>
                  <a:pt x="1188" y="463"/>
                  <a:pt x="1188" y="463"/>
                  <a:pt x="1188" y="463"/>
                </a:cubicBezTo>
                <a:cubicBezTo>
                  <a:pt x="1185" y="463"/>
                  <a:pt x="1183" y="464"/>
                  <a:pt x="1181" y="466"/>
                </a:cubicBezTo>
                <a:cubicBezTo>
                  <a:pt x="1180" y="467"/>
                  <a:pt x="1180" y="469"/>
                  <a:pt x="1180" y="470"/>
                </a:cubicBezTo>
                <a:cubicBezTo>
                  <a:pt x="1181" y="471"/>
                  <a:pt x="1182" y="471"/>
                  <a:pt x="1182" y="473"/>
                </a:cubicBezTo>
                <a:cubicBezTo>
                  <a:pt x="1182" y="473"/>
                  <a:pt x="1182" y="474"/>
                  <a:pt x="1182" y="474"/>
                </a:cubicBezTo>
                <a:cubicBezTo>
                  <a:pt x="1182" y="474"/>
                  <a:pt x="1181" y="474"/>
                  <a:pt x="1180" y="474"/>
                </a:cubicBezTo>
                <a:cubicBezTo>
                  <a:pt x="1180" y="474"/>
                  <a:pt x="1180" y="474"/>
                  <a:pt x="1180" y="473"/>
                </a:cubicBezTo>
                <a:cubicBezTo>
                  <a:pt x="1178" y="472"/>
                  <a:pt x="1177" y="469"/>
                  <a:pt x="1174" y="468"/>
                </a:cubicBezTo>
                <a:cubicBezTo>
                  <a:pt x="1174" y="468"/>
                  <a:pt x="1174" y="467"/>
                  <a:pt x="1174" y="466"/>
                </a:cubicBezTo>
                <a:cubicBezTo>
                  <a:pt x="1175" y="464"/>
                  <a:pt x="1176" y="462"/>
                  <a:pt x="1178" y="462"/>
                </a:cubicBezTo>
                <a:cubicBezTo>
                  <a:pt x="1178" y="461"/>
                  <a:pt x="1178" y="461"/>
                  <a:pt x="1178" y="460"/>
                </a:cubicBezTo>
                <a:cubicBezTo>
                  <a:pt x="1178" y="460"/>
                  <a:pt x="1177" y="460"/>
                  <a:pt x="1177" y="459"/>
                </a:cubicBezTo>
                <a:cubicBezTo>
                  <a:pt x="1174" y="458"/>
                  <a:pt x="1174" y="456"/>
                  <a:pt x="1175" y="453"/>
                </a:cubicBezTo>
                <a:cubicBezTo>
                  <a:pt x="1175" y="451"/>
                  <a:pt x="1176" y="450"/>
                  <a:pt x="1176" y="449"/>
                </a:cubicBezTo>
                <a:cubicBezTo>
                  <a:pt x="1175" y="448"/>
                  <a:pt x="1175" y="447"/>
                  <a:pt x="1174" y="447"/>
                </a:cubicBezTo>
                <a:cubicBezTo>
                  <a:pt x="1173" y="447"/>
                  <a:pt x="1173" y="447"/>
                  <a:pt x="1172" y="447"/>
                </a:cubicBezTo>
                <a:cubicBezTo>
                  <a:pt x="1169" y="449"/>
                  <a:pt x="1167" y="453"/>
                  <a:pt x="1163" y="454"/>
                </a:cubicBezTo>
                <a:cubicBezTo>
                  <a:pt x="1162" y="454"/>
                  <a:pt x="1162" y="455"/>
                  <a:pt x="1162" y="455"/>
                </a:cubicBezTo>
                <a:cubicBezTo>
                  <a:pt x="1162" y="459"/>
                  <a:pt x="1160" y="462"/>
                  <a:pt x="1161" y="465"/>
                </a:cubicBezTo>
                <a:cubicBezTo>
                  <a:pt x="1161" y="466"/>
                  <a:pt x="1161" y="466"/>
                  <a:pt x="1161" y="467"/>
                </a:cubicBezTo>
                <a:cubicBezTo>
                  <a:pt x="1160" y="468"/>
                  <a:pt x="1161" y="469"/>
                  <a:pt x="1161" y="470"/>
                </a:cubicBezTo>
                <a:cubicBezTo>
                  <a:pt x="1162" y="471"/>
                  <a:pt x="1163" y="471"/>
                  <a:pt x="1163" y="472"/>
                </a:cubicBezTo>
                <a:cubicBezTo>
                  <a:pt x="1164" y="476"/>
                  <a:pt x="1165" y="479"/>
                  <a:pt x="1165" y="483"/>
                </a:cubicBezTo>
                <a:cubicBezTo>
                  <a:pt x="1165" y="485"/>
                  <a:pt x="1163" y="488"/>
                  <a:pt x="1161" y="488"/>
                </a:cubicBezTo>
                <a:cubicBezTo>
                  <a:pt x="1158" y="487"/>
                  <a:pt x="1156" y="487"/>
                  <a:pt x="1154" y="488"/>
                </a:cubicBezTo>
                <a:cubicBezTo>
                  <a:pt x="1152" y="489"/>
                  <a:pt x="1150" y="490"/>
                  <a:pt x="1148" y="490"/>
                </a:cubicBezTo>
                <a:cubicBezTo>
                  <a:pt x="1146" y="491"/>
                  <a:pt x="1144" y="492"/>
                  <a:pt x="1141" y="494"/>
                </a:cubicBezTo>
                <a:cubicBezTo>
                  <a:pt x="1139" y="495"/>
                  <a:pt x="1138" y="496"/>
                  <a:pt x="1137" y="499"/>
                </a:cubicBezTo>
                <a:cubicBezTo>
                  <a:pt x="1135" y="507"/>
                  <a:pt x="1135" y="507"/>
                  <a:pt x="1128" y="511"/>
                </a:cubicBezTo>
                <a:cubicBezTo>
                  <a:pt x="1127" y="512"/>
                  <a:pt x="1125" y="513"/>
                  <a:pt x="1124" y="514"/>
                </a:cubicBezTo>
                <a:cubicBezTo>
                  <a:pt x="1123" y="514"/>
                  <a:pt x="1123" y="515"/>
                  <a:pt x="1122" y="516"/>
                </a:cubicBezTo>
                <a:cubicBezTo>
                  <a:pt x="1122" y="517"/>
                  <a:pt x="1122" y="518"/>
                  <a:pt x="1121" y="519"/>
                </a:cubicBezTo>
                <a:cubicBezTo>
                  <a:pt x="1121" y="521"/>
                  <a:pt x="1120" y="522"/>
                  <a:pt x="1118" y="523"/>
                </a:cubicBezTo>
                <a:cubicBezTo>
                  <a:pt x="1117" y="523"/>
                  <a:pt x="1116" y="523"/>
                  <a:pt x="1115" y="524"/>
                </a:cubicBezTo>
                <a:cubicBezTo>
                  <a:pt x="1114" y="524"/>
                  <a:pt x="1113" y="525"/>
                  <a:pt x="1112" y="526"/>
                </a:cubicBezTo>
                <a:cubicBezTo>
                  <a:pt x="1111" y="528"/>
                  <a:pt x="1109" y="528"/>
                  <a:pt x="1108" y="528"/>
                </a:cubicBezTo>
                <a:cubicBezTo>
                  <a:pt x="1106" y="528"/>
                  <a:pt x="1105" y="527"/>
                  <a:pt x="1104" y="526"/>
                </a:cubicBezTo>
                <a:cubicBezTo>
                  <a:pt x="1103" y="526"/>
                  <a:pt x="1102" y="526"/>
                  <a:pt x="1101" y="526"/>
                </a:cubicBezTo>
                <a:cubicBezTo>
                  <a:pt x="1101" y="526"/>
                  <a:pt x="1099" y="527"/>
                  <a:pt x="1100" y="527"/>
                </a:cubicBezTo>
                <a:cubicBezTo>
                  <a:pt x="1100" y="529"/>
                  <a:pt x="1100" y="531"/>
                  <a:pt x="1101" y="532"/>
                </a:cubicBezTo>
                <a:cubicBezTo>
                  <a:pt x="1101" y="534"/>
                  <a:pt x="1100" y="535"/>
                  <a:pt x="1099" y="535"/>
                </a:cubicBezTo>
                <a:cubicBezTo>
                  <a:pt x="1097" y="535"/>
                  <a:pt x="1095" y="535"/>
                  <a:pt x="1093" y="534"/>
                </a:cubicBezTo>
                <a:cubicBezTo>
                  <a:pt x="1092" y="533"/>
                  <a:pt x="1091" y="533"/>
                  <a:pt x="1089" y="533"/>
                </a:cubicBezTo>
                <a:cubicBezTo>
                  <a:pt x="1087" y="534"/>
                  <a:pt x="1085" y="535"/>
                  <a:pt x="1083" y="535"/>
                </a:cubicBezTo>
                <a:cubicBezTo>
                  <a:pt x="1082" y="536"/>
                  <a:pt x="1081" y="537"/>
                  <a:pt x="1082" y="537"/>
                </a:cubicBezTo>
                <a:cubicBezTo>
                  <a:pt x="1082" y="540"/>
                  <a:pt x="1082" y="543"/>
                  <a:pt x="1086" y="543"/>
                </a:cubicBezTo>
                <a:cubicBezTo>
                  <a:pt x="1088" y="544"/>
                  <a:pt x="1090" y="545"/>
                  <a:pt x="1091" y="545"/>
                </a:cubicBezTo>
                <a:cubicBezTo>
                  <a:pt x="1094" y="546"/>
                  <a:pt x="1096" y="548"/>
                  <a:pt x="1097" y="550"/>
                </a:cubicBezTo>
                <a:cubicBezTo>
                  <a:pt x="1098" y="553"/>
                  <a:pt x="1099" y="555"/>
                  <a:pt x="1102" y="556"/>
                </a:cubicBezTo>
                <a:cubicBezTo>
                  <a:pt x="1103" y="557"/>
                  <a:pt x="1104" y="559"/>
                  <a:pt x="1104" y="561"/>
                </a:cubicBezTo>
                <a:cubicBezTo>
                  <a:pt x="1104" y="565"/>
                  <a:pt x="1103" y="570"/>
                  <a:pt x="1103" y="575"/>
                </a:cubicBezTo>
                <a:cubicBezTo>
                  <a:pt x="1103" y="576"/>
                  <a:pt x="1102" y="578"/>
                  <a:pt x="1102" y="580"/>
                </a:cubicBezTo>
                <a:cubicBezTo>
                  <a:pt x="1101" y="581"/>
                  <a:pt x="1099" y="583"/>
                  <a:pt x="1097" y="582"/>
                </a:cubicBezTo>
                <a:cubicBezTo>
                  <a:pt x="1094" y="581"/>
                  <a:pt x="1091" y="582"/>
                  <a:pt x="1088" y="581"/>
                </a:cubicBezTo>
                <a:cubicBezTo>
                  <a:pt x="1087" y="581"/>
                  <a:pt x="1086" y="580"/>
                  <a:pt x="1086" y="581"/>
                </a:cubicBezTo>
                <a:cubicBezTo>
                  <a:pt x="1083" y="582"/>
                  <a:pt x="1080" y="581"/>
                  <a:pt x="1077" y="581"/>
                </a:cubicBezTo>
                <a:cubicBezTo>
                  <a:pt x="1074" y="580"/>
                  <a:pt x="1071" y="579"/>
                  <a:pt x="1068" y="580"/>
                </a:cubicBezTo>
                <a:cubicBezTo>
                  <a:pt x="1067" y="580"/>
                  <a:pt x="1066" y="580"/>
                  <a:pt x="1065" y="580"/>
                </a:cubicBezTo>
                <a:cubicBezTo>
                  <a:pt x="1061" y="578"/>
                  <a:pt x="1058" y="578"/>
                  <a:pt x="1056" y="582"/>
                </a:cubicBezTo>
                <a:cubicBezTo>
                  <a:pt x="1055" y="582"/>
                  <a:pt x="1054" y="582"/>
                  <a:pt x="1053" y="583"/>
                </a:cubicBezTo>
                <a:cubicBezTo>
                  <a:pt x="1053" y="583"/>
                  <a:pt x="1052" y="583"/>
                  <a:pt x="1052" y="583"/>
                </a:cubicBezTo>
                <a:cubicBezTo>
                  <a:pt x="1051" y="584"/>
                  <a:pt x="1050" y="585"/>
                  <a:pt x="1050" y="586"/>
                </a:cubicBezTo>
                <a:cubicBezTo>
                  <a:pt x="1052" y="589"/>
                  <a:pt x="1053" y="592"/>
                  <a:pt x="1052" y="595"/>
                </a:cubicBezTo>
                <a:cubicBezTo>
                  <a:pt x="1052" y="596"/>
                  <a:pt x="1052" y="596"/>
                  <a:pt x="1052" y="596"/>
                </a:cubicBezTo>
                <a:cubicBezTo>
                  <a:pt x="1054" y="603"/>
                  <a:pt x="1052" y="609"/>
                  <a:pt x="1050" y="615"/>
                </a:cubicBezTo>
                <a:cubicBezTo>
                  <a:pt x="1049" y="616"/>
                  <a:pt x="1048" y="618"/>
                  <a:pt x="1048" y="620"/>
                </a:cubicBezTo>
                <a:cubicBezTo>
                  <a:pt x="1047" y="621"/>
                  <a:pt x="1047" y="622"/>
                  <a:pt x="1048" y="623"/>
                </a:cubicBezTo>
                <a:cubicBezTo>
                  <a:pt x="1051" y="626"/>
                  <a:pt x="1052" y="629"/>
                  <a:pt x="1051" y="633"/>
                </a:cubicBezTo>
                <a:cubicBezTo>
                  <a:pt x="1051" y="634"/>
                  <a:pt x="1051" y="635"/>
                  <a:pt x="1052" y="635"/>
                </a:cubicBezTo>
                <a:cubicBezTo>
                  <a:pt x="1052" y="636"/>
                  <a:pt x="1052" y="636"/>
                  <a:pt x="1052" y="637"/>
                </a:cubicBezTo>
                <a:cubicBezTo>
                  <a:pt x="1055" y="637"/>
                  <a:pt x="1057" y="638"/>
                  <a:pt x="1059" y="638"/>
                </a:cubicBezTo>
                <a:cubicBezTo>
                  <a:pt x="1060" y="637"/>
                  <a:pt x="1062" y="637"/>
                  <a:pt x="1063" y="637"/>
                </a:cubicBezTo>
                <a:cubicBezTo>
                  <a:pt x="1064" y="637"/>
                  <a:pt x="1066" y="638"/>
                  <a:pt x="1066" y="639"/>
                </a:cubicBezTo>
                <a:cubicBezTo>
                  <a:pt x="1068" y="641"/>
                  <a:pt x="1069" y="643"/>
                  <a:pt x="1070" y="644"/>
                </a:cubicBezTo>
                <a:cubicBezTo>
                  <a:pt x="1071" y="646"/>
                  <a:pt x="1074" y="646"/>
                  <a:pt x="1075" y="645"/>
                </a:cubicBezTo>
                <a:cubicBezTo>
                  <a:pt x="1077" y="645"/>
                  <a:pt x="1078" y="644"/>
                  <a:pt x="1079" y="643"/>
                </a:cubicBezTo>
                <a:cubicBezTo>
                  <a:pt x="1082" y="641"/>
                  <a:pt x="1085" y="640"/>
                  <a:pt x="1089" y="641"/>
                </a:cubicBezTo>
                <a:cubicBezTo>
                  <a:pt x="1091" y="641"/>
                  <a:pt x="1094" y="640"/>
                  <a:pt x="1097" y="640"/>
                </a:cubicBezTo>
                <a:cubicBezTo>
                  <a:pt x="1098" y="640"/>
                  <a:pt x="1100" y="639"/>
                  <a:pt x="1100" y="638"/>
                </a:cubicBezTo>
                <a:cubicBezTo>
                  <a:pt x="1101" y="637"/>
                  <a:pt x="1103" y="636"/>
                  <a:pt x="1104" y="635"/>
                </a:cubicBezTo>
                <a:cubicBezTo>
                  <a:pt x="1106" y="635"/>
                  <a:pt x="1107" y="633"/>
                  <a:pt x="1108" y="632"/>
                </a:cubicBezTo>
                <a:cubicBezTo>
                  <a:pt x="1109" y="629"/>
                  <a:pt x="1110" y="627"/>
                  <a:pt x="1112" y="625"/>
                </a:cubicBezTo>
                <a:cubicBezTo>
                  <a:pt x="1113" y="624"/>
                  <a:pt x="1113" y="623"/>
                  <a:pt x="1113" y="622"/>
                </a:cubicBezTo>
                <a:cubicBezTo>
                  <a:pt x="1109" y="618"/>
                  <a:pt x="1111" y="614"/>
                  <a:pt x="1114" y="611"/>
                </a:cubicBezTo>
                <a:cubicBezTo>
                  <a:pt x="1115" y="610"/>
                  <a:pt x="1116" y="609"/>
                  <a:pt x="1116" y="608"/>
                </a:cubicBezTo>
                <a:cubicBezTo>
                  <a:pt x="1119" y="606"/>
                  <a:pt x="1121" y="603"/>
                  <a:pt x="1125" y="603"/>
                </a:cubicBezTo>
                <a:cubicBezTo>
                  <a:pt x="1128" y="601"/>
                  <a:pt x="1131" y="598"/>
                  <a:pt x="1132" y="593"/>
                </a:cubicBezTo>
                <a:cubicBezTo>
                  <a:pt x="1132" y="592"/>
                  <a:pt x="1132" y="590"/>
                  <a:pt x="1132" y="588"/>
                </a:cubicBezTo>
                <a:cubicBezTo>
                  <a:pt x="1132" y="587"/>
                  <a:pt x="1132" y="587"/>
                  <a:pt x="1133" y="586"/>
                </a:cubicBezTo>
                <a:cubicBezTo>
                  <a:pt x="1133" y="584"/>
                  <a:pt x="1136" y="582"/>
                  <a:pt x="1138" y="582"/>
                </a:cubicBezTo>
                <a:cubicBezTo>
                  <a:pt x="1142" y="583"/>
                  <a:pt x="1146" y="583"/>
                  <a:pt x="1150" y="585"/>
                </a:cubicBezTo>
                <a:cubicBezTo>
                  <a:pt x="1151" y="586"/>
                  <a:pt x="1153" y="586"/>
                  <a:pt x="1154" y="585"/>
                </a:cubicBezTo>
                <a:cubicBezTo>
                  <a:pt x="1157" y="582"/>
                  <a:pt x="1159" y="580"/>
                  <a:pt x="1163" y="579"/>
                </a:cubicBezTo>
                <a:cubicBezTo>
                  <a:pt x="1164" y="578"/>
                  <a:pt x="1165" y="577"/>
                  <a:pt x="1165" y="576"/>
                </a:cubicBezTo>
                <a:cubicBezTo>
                  <a:pt x="1167" y="574"/>
                  <a:pt x="1170" y="574"/>
                  <a:pt x="1173" y="575"/>
                </a:cubicBezTo>
                <a:cubicBezTo>
                  <a:pt x="1175" y="576"/>
                  <a:pt x="1177" y="577"/>
                  <a:pt x="1178" y="580"/>
                </a:cubicBezTo>
                <a:cubicBezTo>
                  <a:pt x="1179" y="582"/>
                  <a:pt x="1180" y="584"/>
                  <a:pt x="1181" y="586"/>
                </a:cubicBezTo>
                <a:cubicBezTo>
                  <a:pt x="1185" y="589"/>
                  <a:pt x="1189" y="593"/>
                  <a:pt x="1192" y="596"/>
                </a:cubicBezTo>
                <a:cubicBezTo>
                  <a:pt x="1194" y="599"/>
                  <a:pt x="1197" y="601"/>
                  <a:pt x="1201" y="602"/>
                </a:cubicBezTo>
                <a:cubicBezTo>
                  <a:pt x="1205" y="603"/>
                  <a:pt x="1207" y="606"/>
                  <a:pt x="1211" y="608"/>
                </a:cubicBezTo>
                <a:cubicBezTo>
                  <a:pt x="1212" y="610"/>
                  <a:pt x="1214" y="612"/>
                  <a:pt x="1216" y="613"/>
                </a:cubicBezTo>
                <a:cubicBezTo>
                  <a:pt x="1217" y="613"/>
                  <a:pt x="1217" y="614"/>
                  <a:pt x="1218" y="614"/>
                </a:cubicBezTo>
                <a:cubicBezTo>
                  <a:pt x="1219" y="617"/>
                  <a:pt x="1219" y="619"/>
                  <a:pt x="1220" y="621"/>
                </a:cubicBezTo>
                <a:cubicBezTo>
                  <a:pt x="1220" y="621"/>
                  <a:pt x="1220" y="622"/>
                  <a:pt x="1220" y="623"/>
                </a:cubicBezTo>
                <a:cubicBezTo>
                  <a:pt x="1219" y="625"/>
                  <a:pt x="1219" y="627"/>
                  <a:pt x="1215" y="628"/>
                </a:cubicBezTo>
                <a:cubicBezTo>
                  <a:pt x="1210" y="629"/>
                  <a:pt x="1205" y="630"/>
                  <a:pt x="1200" y="629"/>
                </a:cubicBezTo>
                <a:cubicBezTo>
                  <a:pt x="1199" y="629"/>
                  <a:pt x="1198" y="630"/>
                  <a:pt x="1197" y="630"/>
                </a:cubicBezTo>
                <a:cubicBezTo>
                  <a:pt x="1197" y="630"/>
                  <a:pt x="1196" y="631"/>
                  <a:pt x="1196" y="631"/>
                </a:cubicBezTo>
                <a:cubicBezTo>
                  <a:pt x="1196" y="632"/>
                  <a:pt x="1196" y="633"/>
                  <a:pt x="1197" y="633"/>
                </a:cubicBezTo>
                <a:cubicBezTo>
                  <a:pt x="1198" y="634"/>
                  <a:pt x="1200" y="635"/>
                  <a:pt x="1202" y="636"/>
                </a:cubicBezTo>
                <a:cubicBezTo>
                  <a:pt x="1205" y="638"/>
                  <a:pt x="1209" y="640"/>
                  <a:pt x="1213" y="642"/>
                </a:cubicBezTo>
                <a:cubicBezTo>
                  <a:pt x="1213" y="642"/>
                  <a:pt x="1215" y="641"/>
                  <a:pt x="1215" y="641"/>
                </a:cubicBezTo>
                <a:cubicBezTo>
                  <a:pt x="1215" y="640"/>
                  <a:pt x="1216" y="639"/>
                  <a:pt x="1216" y="638"/>
                </a:cubicBezTo>
                <a:cubicBezTo>
                  <a:pt x="1216" y="637"/>
                  <a:pt x="1215" y="636"/>
                  <a:pt x="1215" y="635"/>
                </a:cubicBezTo>
                <a:cubicBezTo>
                  <a:pt x="1215" y="633"/>
                  <a:pt x="1217" y="631"/>
                  <a:pt x="1219" y="632"/>
                </a:cubicBezTo>
                <a:cubicBezTo>
                  <a:pt x="1221" y="632"/>
                  <a:pt x="1222" y="631"/>
                  <a:pt x="1223" y="629"/>
                </a:cubicBezTo>
                <a:cubicBezTo>
                  <a:pt x="1224" y="627"/>
                  <a:pt x="1226" y="624"/>
                  <a:pt x="1227" y="622"/>
                </a:cubicBezTo>
                <a:cubicBezTo>
                  <a:pt x="1228" y="620"/>
                  <a:pt x="1228" y="618"/>
                  <a:pt x="1227" y="617"/>
                </a:cubicBezTo>
                <a:cubicBezTo>
                  <a:pt x="1226" y="616"/>
                  <a:pt x="1226" y="615"/>
                  <a:pt x="1225" y="615"/>
                </a:cubicBezTo>
                <a:cubicBezTo>
                  <a:pt x="1225" y="613"/>
                  <a:pt x="1225" y="612"/>
                  <a:pt x="1226" y="611"/>
                </a:cubicBezTo>
                <a:cubicBezTo>
                  <a:pt x="1226" y="609"/>
                  <a:pt x="1228" y="609"/>
                  <a:pt x="1230" y="610"/>
                </a:cubicBezTo>
                <a:cubicBezTo>
                  <a:pt x="1231" y="610"/>
                  <a:pt x="1233" y="612"/>
                  <a:pt x="1234" y="613"/>
                </a:cubicBezTo>
                <a:cubicBezTo>
                  <a:pt x="1234" y="613"/>
                  <a:pt x="1235" y="613"/>
                  <a:pt x="1235" y="612"/>
                </a:cubicBezTo>
                <a:cubicBezTo>
                  <a:pt x="1237" y="611"/>
                  <a:pt x="1236" y="608"/>
                  <a:pt x="1235" y="608"/>
                </a:cubicBezTo>
                <a:cubicBezTo>
                  <a:pt x="1231" y="605"/>
                  <a:pt x="1227" y="601"/>
                  <a:pt x="1222" y="600"/>
                </a:cubicBezTo>
                <a:cubicBezTo>
                  <a:pt x="1220" y="599"/>
                  <a:pt x="1220" y="598"/>
                  <a:pt x="1219" y="597"/>
                </a:cubicBezTo>
                <a:cubicBezTo>
                  <a:pt x="1219" y="596"/>
                  <a:pt x="1219" y="595"/>
                  <a:pt x="1218" y="595"/>
                </a:cubicBezTo>
                <a:cubicBezTo>
                  <a:pt x="1217" y="595"/>
                  <a:pt x="1216" y="595"/>
                  <a:pt x="1215" y="595"/>
                </a:cubicBezTo>
                <a:cubicBezTo>
                  <a:pt x="1212" y="595"/>
                  <a:pt x="1210" y="593"/>
                  <a:pt x="1208" y="591"/>
                </a:cubicBezTo>
                <a:cubicBezTo>
                  <a:pt x="1207" y="590"/>
                  <a:pt x="1206" y="588"/>
                  <a:pt x="1205" y="586"/>
                </a:cubicBezTo>
                <a:cubicBezTo>
                  <a:pt x="1203" y="583"/>
                  <a:pt x="1201" y="580"/>
                  <a:pt x="1198" y="578"/>
                </a:cubicBezTo>
                <a:cubicBezTo>
                  <a:pt x="1197" y="577"/>
                  <a:pt x="1196" y="576"/>
                  <a:pt x="1195" y="576"/>
                </a:cubicBezTo>
                <a:cubicBezTo>
                  <a:pt x="1193" y="574"/>
                  <a:pt x="1193" y="573"/>
                  <a:pt x="1193" y="571"/>
                </a:cubicBezTo>
                <a:cubicBezTo>
                  <a:pt x="1193" y="569"/>
                  <a:pt x="1193" y="568"/>
                  <a:pt x="1193" y="567"/>
                </a:cubicBezTo>
                <a:cubicBezTo>
                  <a:pt x="1193" y="566"/>
                  <a:pt x="1194" y="565"/>
                  <a:pt x="1194" y="565"/>
                </a:cubicBezTo>
                <a:cubicBezTo>
                  <a:pt x="1196" y="564"/>
                  <a:pt x="1197" y="563"/>
                  <a:pt x="1198" y="563"/>
                </a:cubicBezTo>
                <a:cubicBezTo>
                  <a:pt x="1199" y="563"/>
                  <a:pt x="1200" y="563"/>
                  <a:pt x="1200" y="564"/>
                </a:cubicBezTo>
                <a:cubicBezTo>
                  <a:pt x="1200" y="565"/>
                  <a:pt x="1200" y="566"/>
                  <a:pt x="1201" y="568"/>
                </a:cubicBezTo>
                <a:cubicBezTo>
                  <a:pt x="1201" y="569"/>
                  <a:pt x="1202" y="570"/>
                  <a:pt x="1203" y="570"/>
                </a:cubicBezTo>
                <a:cubicBezTo>
                  <a:pt x="1205" y="569"/>
                  <a:pt x="1206" y="571"/>
                  <a:pt x="1208" y="571"/>
                </a:cubicBezTo>
                <a:cubicBezTo>
                  <a:pt x="1209" y="571"/>
                  <a:pt x="1210" y="572"/>
                  <a:pt x="1211" y="573"/>
                </a:cubicBezTo>
                <a:cubicBezTo>
                  <a:pt x="1212" y="577"/>
                  <a:pt x="1215" y="579"/>
                  <a:pt x="1218" y="581"/>
                </a:cubicBezTo>
                <a:cubicBezTo>
                  <a:pt x="1221" y="583"/>
                  <a:pt x="1223" y="585"/>
                  <a:pt x="1226" y="585"/>
                </a:cubicBezTo>
                <a:cubicBezTo>
                  <a:pt x="1228" y="586"/>
                  <a:pt x="1229" y="588"/>
                  <a:pt x="1231" y="588"/>
                </a:cubicBezTo>
                <a:cubicBezTo>
                  <a:pt x="1233" y="588"/>
                  <a:pt x="1235" y="590"/>
                  <a:pt x="1236" y="591"/>
                </a:cubicBezTo>
                <a:cubicBezTo>
                  <a:pt x="1238" y="593"/>
                  <a:pt x="1239" y="595"/>
                  <a:pt x="1241" y="596"/>
                </a:cubicBezTo>
                <a:cubicBezTo>
                  <a:pt x="1242" y="597"/>
                  <a:pt x="1242" y="598"/>
                  <a:pt x="1242" y="599"/>
                </a:cubicBezTo>
                <a:cubicBezTo>
                  <a:pt x="1242" y="601"/>
                  <a:pt x="1242" y="603"/>
                  <a:pt x="1242" y="605"/>
                </a:cubicBezTo>
                <a:cubicBezTo>
                  <a:pt x="1242" y="608"/>
                  <a:pt x="1242" y="610"/>
                  <a:pt x="1245" y="612"/>
                </a:cubicBezTo>
                <a:cubicBezTo>
                  <a:pt x="1245" y="612"/>
                  <a:pt x="1245" y="613"/>
                  <a:pt x="1245" y="613"/>
                </a:cubicBezTo>
                <a:cubicBezTo>
                  <a:pt x="1244" y="616"/>
                  <a:pt x="1246" y="617"/>
                  <a:pt x="1248" y="618"/>
                </a:cubicBezTo>
                <a:cubicBezTo>
                  <a:pt x="1249" y="619"/>
                  <a:pt x="1250" y="620"/>
                  <a:pt x="1252" y="621"/>
                </a:cubicBezTo>
                <a:cubicBezTo>
                  <a:pt x="1252" y="624"/>
                  <a:pt x="1255" y="625"/>
                  <a:pt x="1255" y="628"/>
                </a:cubicBezTo>
                <a:cubicBezTo>
                  <a:pt x="1256" y="629"/>
                  <a:pt x="1256" y="629"/>
                  <a:pt x="1255" y="630"/>
                </a:cubicBezTo>
                <a:cubicBezTo>
                  <a:pt x="1255" y="630"/>
                  <a:pt x="1255" y="631"/>
                  <a:pt x="1255" y="632"/>
                </a:cubicBezTo>
                <a:cubicBezTo>
                  <a:pt x="1257" y="633"/>
                  <a:pt x="1260" y="635"/>
                  <a:pt x="1260" y="638"/>
                </a:cubicBezTo>
                <a:cubicBezTo>
                  <a:pt x="1260" y="639"/>
                  <a:pt x="1261" y="640"/>
                  <a:pt x="1262" y="640"/>
                </a:cubicBezTo>
                <a:cubicBezTo>
                  <a:pt x="1264" y="641"/>
                  <a:pt x="1266" y="641"/>
                  <a:pt x="1269" y="641"/>
                </a:cubicBezTo>
                <a:cubicBezTo>
                  <a:pt x="1270" y="641"/>
                  <a:pt x="1270" y="641"/>
                  <a:pt x="1270" y="640"/>
                </a:cubicBezTo>
                <a:cubicBezTo>
                  <a:pt x="1269" y="637"/>
                  <a:pt x="1272" y="635"/>
                  <a:pt x="1272" y="632"/>
                </a:cubicBezTo>
                <a:cubicBezTo>
                  <a:pt x="1272" y="632"/>
                  <a:pt x="1272" y="632"/>
                  <a:pt x="1272" y="632"/>
                </a:cubicBezTo>
                <a:cubicBezTo>
                  <a:pt x="1275" y="633"/>
                  <a:pt x="1276" y="631"/>
                  <a:pt x="1278" y="630"/>
                </a:cubicBezTo>
                <a:cubicBezTo>
                  <a:pt x="1279" y="630"/>
                  <a:pt x="1279" y="630"/>
                  <a:pt x="1279" y="629"/>
                </a:cubicBezTo>
                <a:cubicBezTo>
                  <a:pt x="1278" y="627"/>
                  <a:pt x="1277" y="625"/>
                  <a:pt x="1275" y="623"/>
                </a:cubicBezTo>
                <a:cubicBezTo>
                  <a:pt x="1274" y="623"/>
                  <a:pt x="1273" y="622"/>
                  <a:pt x="1272" y="621"/>
                </a:cubicBezTo>
                <a:cubicBezTo>
                  <a:pt x="1270" y="618"/>
                  <a:pt x="1268" y="615"/>
                  <a:pt x="1266" y="612"/>
                </a:cubicBezTo>
                <a:cubicBezTo>
                  <a:pt x="1265" y="612"/>
                  <a:pt x="1265" y="611"/>
                  <a:pt x="1265" y="610"/>
                </a:cubicBezTo>
                <a:cubicBezTo>
                  <a:pt x="1265" y="610"/>
                  <a:pt x="1266" y="610"/>
                  <a:pt x="1266" y="609"/>
                </a:cubicBezTo>
                <a:cubicBezTo>
                  <a:pt x="1266" y="609"/>
                  <a:pt x="1267" y="609"/>
                  <a:pt x="1267" y="609"/>
                </a:cubicBezTo>
                <a:cubicBezTo>
                  <a:pt x="1268" y="610"/>
                  <a:pt x="1268" y="610"/>
                  <a:pt x="1268" y="610"/>
                </a:cubicBezTo>
                <a:cubicBezTo>
                  <a:pt x="1271" y="613"/>
                  <a:pt x="1273" y="612"/>
                  <a:pt x="1274" y="609"/>
                </a:cubicBezTo>
                <a:cubicBezTo>
                  <a:pt x="1275" y="608"/>
                  <a:pt x="1275" y="607"/>
                  <a:pt x="1276" y="606"/>
                </a:cubicBezTo>
                <a:cubicBezTo>
                  <a:pt x="1276" y="605"/>
                  <a:pt x="1277" y="605"/>
                  <a:pt x="1277" y="605"/>
                </a:cubicBezTo>
                <a:cubicBezTo>
                  <a:pt x="1278" y="606"/>
                  <a:pt x="1279" y="606"/>
                  <a:pt x="1280" y="605"/>
                </a:cubicBezTo>
                <a:cubicBezTo>
                  <a:pt x="1282" y="604"/>
                  <a:pt x="1284" y="604"/>
                  <a:pt x="1285" y="604"/>
                </a:cubicBezTo>
                <a:cubicBezTo>
                  <a:pt x="1288" y="604"/>
                  <a:pt x="1290" y="606"/>
                  <a:pt x="1290" y="609"/>
                </a:cubicBezTo>
                <a:cubicBezTo>
                  <a:pt x="1290" y="612"/>
                  <a:pt x="1290" y="616"/>
                  <a:pt x="1289" y="619"/>
                </a:cubicBezTo>
                <a:cubicBezTo>
                  <a:pt x="1288" y="620"/>
                  <a:pt x="1289" y="621"/>
                  <a:pt x="1290" y="621"/>
                </a:cubicBezTo>
                <a:cubicBezTo>
                  <a:pt x="1291" y="621"/>
                  <a:pt x="1292" y="621"/>
                  <a:pt x="1293" y="621"/>
                </a:cubicBezTo>
                <a:cubicBezTo>
                  <a:pt x="1293" y="621"/>
                  <a:pt x="1293" y="621"/>
                  <a:pt x="1294" y="621"/>
                </a:cubicBezTo>
                <a:cubicBezTo>
                  <a:pt x="1294" y="621"/>
                  <a:pt x="1294" y="621"/>
                  <a:pt x="1294" y="621"/>
                </a:cubicBezTo>
                <a:cubicBezTo>
                  <a:pt x="1294" y="622"/>
                  <a:pt x="1294" y="623"/>
                  <a:pt x="1294" y="623"/>
                </a:cubicBezTo>
                <a:cubicBezTo>
                  <a:pt x="1293" y="625"/>
                  <a:pt x="1291" y="624"/>
                  <a:pt x="1290" y="625"/>
                </a:cubicBezTo>
                <a:cubicBezTo>
                  <a:pt x="1289" y="625"/>
                  <a:pt x="1289" y="626"/>
                  <a:pt x="1289" y="626"/>
                </a:cubicBezTo>
                <a:cubicBezTo>
                  <a:pt x="1289" y="626"/>
                  <a:pt x="1289" y="627"/>
                  <a:pt x="1290" y="627"/>
                </a:cubicBezTo>
                <a:cubicBezTo>
                  <a:pt x="1291" y="628"/>
                  <a:pt x="1292" y="628"/>
                  <a:pt x="1293" y="629"/>
                </a:cubicBezTo>
                <a:cubicBezTo>
                  <a:pt x="1293" y="629"/>
                  <a:pt x="1294" y="630"/>
                  <a:pt x="1295" y="630"/>
                </a:cubicBezTo>
                <a:cubicBezTo>
                  <a:pt x="1296" y="631"/>
                  <a:pt x="1294" y="632"/>
                  <a:pt x="1295" y="633"/>
                </a:cubicBezTo>
                <a:cubicBezTo>
                  <a:pt x="1296" y="634"/>
                  <a:pt x="1298" y="635"/>
                  <a:pt x="1299" y="636"/>
                </a:cubicBezTo>
                <a:cubicBezTo>
                  <a:pt x="1299" y="638"/>
                  <a:pt x="1301" y="639"/>
                  <a:pt x="1302" y="640"/>
                </a:cubicBezTo>
                <a:cubicBezTo>
                  <a:pt x="1303" y="641"/>
                  <a:pt x="1304" y="641"/>
                  <a:pt x="1305" y="641"/>
                </a:cubicBezTo>
                <a:cubicBezTo>
                  <a:pt x="1308" y="640"/>
                  <a:pt x="1310" y="641"/>
                  <a:pt x="1311" y="643"/>
                </a:cubicBezTo>
                <a:cubicBezTo>
                  <a:pt x="1312" y="644"/>
                  <a:pt x="1313" y="644"/>
                  <a:pt x="1314" y="645"/>
                </a:cubicBezTo>
                <a:cubicBezTo>
                  <a:pt x="1314" y="645"/>
                  <a:pt x="1315" y="645"/>
                  <a:pt x="1315" y="645"/>
                </a:cubicBezTo>
                <a:cubicBezTo>
                  <a:pt x="1318" y="645"/>
                  <a:pt x="1321" y="645"/>
                  <a:pt x="1323" y="642"/>
                </a:cubicBezTo>
                <a:cubicBezTo>
                  <a:pt x="1325" y="640"/>
                  <a:pt x="1326" y="640"/>
                  <a:pt x="1328" y="641"/>
                </a:cubicBezTo>
                <a:cubicBezTo>
                  <a:pt x="1331" y="641"/>
                  <a:pt x="1332" y="642"/>
                  <a:pt x="1334" y="644"/>
                </a:cubicBezTo>
                <a:cubicBezTo>
                  <a:pt x="1336" y="646"/>
                  <a:pt x="1339" y="646"/>
                  <a:pt x="1342" y="645"/>
                </a:cubicBezTo>
                <a:cubicBezTo>
                  <a:pt x="1345" y="645"/>
                  <a:pt x="1348" y="643"/>
                  <a:pt x="1350" y="641"/>
                </a:cubicBezTo>
                <a:cubicBezTo>
                  <a:pt x="1351" y="640"/>
                  <a:pt x="1352" y="639"/>
                  <a:pt x="1353" y="640"/>
                </a:cubicBezTo>
                <a:cubicBezTo>
                  <a:pt x="1355" y="641"/>
                  <a:pt x="1358" y="640"/>
                  <a:pt x="1360" y="641"/>
                </a:cubicBezTo>
                <a:cubicBezTo>
                  <a:pt x="1360" y="641"/>
                  <a:pt x="1360" y="641"/>
                  <a:pt x="1360" y="640"/>
                </a:cubicBezTo>
                <a:cubicBezTo>
                  <a:pt x="1360" y="640"/>
                  <a:pt x="1360" y="640"/>
                  <a:pt x="1360" y="640"/>
                </a:cubicBezTo>
                <a:cubicBezTo>
                  <a:pt x="1360" y="641"/>
                  <a:pt x="1360" y="641"/>
                  <a:pt x="1360" y="641"/>
                </a:cubicBezTo>
                <a:cubicBezTo>
                  <a:pt x="1360" y="641"/>
                  <a:pt x="1360" y="641"/>
                  <a:pt x="1360" y="641"/>
                </a:cubicBezTo>
                <a:cubicBezTo>
                  <a:pt x="1359" y="644"/>
                  <a:pt x="1359" y="647"/>
                  <a:pt x="1360" y="650"/>
                </a:cubicBezTo>
                <a:cubicBezTo>
                  <a:pt x="1360" y="653"/>
                  <a:pt x="1360" y="656"/>
                  <a:pt x="1359" y="659"/>
                </a:cubicBezTo>
                <a:cubicBezTo>
                  <a:pt x="1359" y="661"/>
                  <a:pt x="1358" y="663"/>
                  <a:pt x="1357" y="665"/>
                </a:cubicBezTo>
                <a:cubicBezTo>
                  <a:pt x="1356" y="668"/>
                  <a:pt x="1355" y="671"/>
                  <a:pt x="1354" y="674"/>
                </a:cubicBezTo>
                <a:cubicBezTo>
                  <a:pt x="1354" y="677"/>
                  <a:pt x="1352" y="680"/>
                  <a:pt x="1350" y="682"/>
                </a:cubicBezTo>
                <a:cubicBezTo>
                  <a:pt x="1349" y="683"/>
                  <a:pt x="1348" y="684"/>
                  <a:pt x="1347" y="684"/>
                </a:cubicBezTo>
                <a:cubicBezTo>
                  <a:pt x="1343" y="684"/>
                  <a:pt x="1338" y="685"/>
                  <a:pt x="1334" y="683"/>
                </a:cubicBezTo>
                <a:cubicBezTo>
                  <a:pt x="1333" y="682"/>
                  <a:pt x="1331" y="682"/>
                  <a:pt x="1329" y="682"/>
                </a:cubicBezTo>
                <a:cubicBezTo>
                  <a:pt x="1325" y="682"/>
                  <a:pt x="1322" y="683"/>
                  <a:pt x="1318" y="685"/>
                </a:cubicBezTo>
                <a:cubicBezTo>
                  <a:pt x="1317" y="686"/>
                  <a:pt x="1315" y="686"/>
                  <a:pt x="1313" y="685"/>
                </a:cubicBezTo>
                <a:cubicBezTo>
                  <a:pt x="1307" y="684"/>
                  <a:pt x="1301" y="682"/>
                  <a:pt x="1294" y="682"/>
                </a:cubicBezTo>
                <a:cubicBezTo>
                  <a:pt x="1292" y="681"/>
                  <a:pt x="1290" y="681"/>
                  <a:pt x="1288" y="680"/>
                </a:cubicBezTo>
                <a:cubicBezTo>
                  <a:pt x="1285" y="678"/>
                  <a:pt x="1282" y="678"/>
                  <a:pt x="1279" y="677"/>
                </a:cubicBezTo>
                <a:cubicBezTo>
                  <a:pt x="1276" y="677"/>
                  <a:pt x="1274" y="676"/>
                  <a:pt x="1272" y="674"/>
                </a:cubicBezTo>
                <a:cubicBezTo>
                  <a:pt x="1271" y="673"/>
                  <a:pt x="1270" y="672"/>
                  <a:pt x="1269" y="672"/>
                </a:cubicBezTo>
                <a:cubicBezTo>
                  <a:pt x="1264" y="671"/>
                  <a:pt x="1259" y="671"/>
                  <a:pt x="1254" y="673"/>
                </a:cubicBezTo>
                <a:cubicBezTo>
                  <a:pt x="1251" y="675"/>
                  <a:pt x="1248" y="679"/>
                  <a:pt x="1250" y="683"/>
                </a:cubicBezTo>
                <a:cubicBezTo>
                  <a:pt x="1250" y="684"/>
                  <a:pt x="1250" y="685"/>
                  <a:pt x="1251" y="686"/>
                </a:cubicBezTo>
                <a:cubicBezTo>
                  <a:pt x="1251" y="687"/>
                  <a:pt x="1250" y="688"/>
                  <a:pt x="1250" y="689"/>
                </a:cubicBezTo>
                <a:cubicBezTo>
                  <a:pt x="1249" y="690"/>
                  <a:pt x="1249" y="691"/>
                  <a:pt x="1248" y="691"/>
                </a:cubicBezTo>
                <a:cubicBezTo>
                  <a:pt x="1246" y="693"/>
                  <a:pt x="1244" y="693"/>
                  <a:pt x="1242" y="692"/>
                </a:cubicBezTo>
                <a:cubicBezTo>
                  <a:pt x="1241" y="692"/>
                  <a:pt x="1240" y="691"/>
                  <a:pt x="1239" y="690"/>
                </a:cubicBezTo>
                <a:cubicBezTo>
                  <a:pt x="1238" y="689"/>
                  <a:pt x="1237" y="688"/>
                  <a:pt x="1235" y="687"/>
                </a:cubicBezTo>
                <a:cubicBezTo>
                  <a:pt x="1231" y="685"/>
                  <a:pt x="1228" y="684"/>
                  <a:pt x="1223" y="684"/>
                </a:cubicBezTo>
                <a:cubicBezTo>
                  <a:pt x="1222" y="684"/>
                  <a:pt x="1220" y="683"/>
                  <a:pt x="1219" y="681"/>
                </a:cubicBezTo>
                <a:cubicBezTo>
                  <a:pt x="1219" y="680"/>
                  <a:pt x="1219" y="679"/>
                  <a:pt x="1218" y="678"/>
                </a:cubicBezTo>
                <a:cubicBezTo>
                  <a:pt x="1218" y="676"/>
                  <a:pt x="1216" y="675"/>
                  <a:pt x="1215" y="674"/>
                </a:cubicBezTo>
                <a:cubicBezTo>
                  <a:pt x="1210" y="673"/>
                  <a:pt x="1205" y="671"/>
                  <a:pt x="1199" y="672"/>
                </a:cubicBezTo>
                <a:cubicBezTo>
                  <a:pt x="1196" y="672"/>
                  <a:pt x="1194" y="671"/>
                  <a:pt x="1191" y="670"/>
                </a:cubicBezTo>
                <a:cubicBezTo>
                  <a:pt x="1191" y="669"/>
                  <a:pt x="1190" y="669"/>
                  <a:pt x="1190" y="669"/>
                </a:cubicBezTo>
                <a:cubicBezTo>
                  <a:pt x="1188" y="667"/>
                  <a:pt x="1186" y="666"/>
                  <a:pt x="1183" y="665"/>
                </a:cubicBezTo>
                <a:cubicBezTo>
                  <a:pt x="1182" y="664"/>
                  <a:pt x="1181" y="662"/>
                  <a:pt x="1182" y="661"/>
                </a:cubicBezTo>
                <a:cubicBezTo>
                  <a:pt x="1183" y="660"/>
                  <a:pt x="1184" y="659"/>
                  <a:pt x="1186" y="657"/>
                </a:cubicBezTo>
                <a:cubicBezTo>
                  <a:pt x="1187" y="655"/>
                  <a:pt x="1187" y="653"/>
                  <a:pt x="1186" y="651"/>
                </a:cubicBezTo>
                <a:cubicBezTo>
                  <a:pt x="1186" y="649"/>
                  <a:pt x="1185" y="648"/>
                  <a:pt x="1184" y="647"/>
                </a:cubicBezTo>
                <a:cubicBezTo>
                  <a:pt x="1184" y="647"/>
                  <a:pt x="1184" y="646"/>
                  <a:pt x="1184" y="646"/>
                </a:cubicBezTo>
                <a:cubicBezTo>
                  <a:pt x="1184" y="644"/>
                  <a:pt x="1185" y="642"/>
                  <a:pt x="1186" y="641"/>
                </a:cubicBezTo>
                <a:cubicBezTo>
                  <a:pt x="1186" y="640"/>
                  <a:pt x="1185" y="639"/>
                  <a:pt x="1184" y="639"/>
                </a:cubicBezTo>
                <a:cubicBezTo>
                  <a:pt x="1183" y="640"/>
                  <a:pt x="1182" y="640"/>
                  <a:pt x="1180" y="638"/>
                </a:cubicBezTo>
                <a:cubicBezTo>
                  <a:pt x="1179" y="636"/>
                  <a:pt x="1176" y="636"/>
                  <a:pt x="1174" y="637"/>
                </a:cubicBezTo>
                <a:cubicBezTo>
                  <a:pt x="1172" y="637"/>
                  <a:pt x="1170" y="638"/>
                  <a:pt x="1167" y="639"/>
                </a:cubicBezTo>
                <a:cubicBezTo>
                  <a:pt x="1166" y="639"/>
                  <a:pt x="1165" y="639"/>
                  <a:pt x="1163" y="639"/>
                </a:cubicBezTo>
                <a:cubicBezTo>
                  <a:pt x="1161" y="638"/>
                  <a:pt x="1159" y="640"/>
                  <a:pt x="1156" y="639"/>
                </a:cubicBezTo>
                <a:cubicBezTo>
                  <a:pt x="1154" y="638"/>
                  <a:pt x="1152" y="640"/>
                  <a:pt x="1150" y="640"/>
                </a:cubicBezTo>
                <a:cubicBezTo>
                  <a:pt x="1148" y="640"/>
                  <a:pt x="1146" y="640"/>
                  <a:pt x="1145" y="640"/>
                </a:cubicBezTo>
                <a:cubicBezTo>
                  <a:pt x="1140" y="639"/>
                  <a:pt x="1136" y="640"/>
                  <a:pt x="1132" y="641"/>
                </a:cubicBezTo>
                <a:cubicBezTo>
                  <a:pt x="1129" y="642"/>
                  <a:pt x="1127" y="642"/>
                  <a:pt x="1125" y="642"/>
                </a:cubicBezTo>
                <a:cubicBezTo>
                  <a:pt x="1123" y="642"/>
                  <a:pt x="1121" y="642"/>
                  <a:pt x="1119" y="643"/>
                </a:cubicBezTo>
                <a:cubicBezTo>
                  <a:pt x="1116" y="645"/>
                  <a:pt x="1113" y="647"/>
                  <a:pt x="1109" y="648"/>
                </a:cubicBezTo>
                <a:cubicBezTo>
                  <a:pt x="1107" y="649"/>
                  <a:pt x="1105" y="650"/>
                  <a:pt x="1103" y="652"/>
                </a:cubicBezTo>
                <a:cubicBezTo>
                  <a:pt x="1100" y="654"/>
                  <a:pt x="1097" y="654"/>
                  <a:pt x="1095" y="653"/>
                </a:cubicBezTo>
                <a:cubicBezTo>
                  <a:pt x="1092" y="652"/>
                  <a:pt x="1090" y="652"/>
                  <a:pt x="1088" y="652"/>
                </a:cubicBezTo>
                <a:cubicBezTo>
                  <a:pt x="1086" y="653"/>
                  <a:pt x="1083" y="653"/>
                  <a:pt x="1081" y="652"/>
                </a:cubicBezTo>
                <a:cubicBezTo>
                  <a:pt x="1080" y="652"/>
                  <a:pt x="1079" y="652"/>
                  <a:pt x="1078" y="651"/>
                </a:cubicBezTo>
                <a:cubicBezTo>
                  <a:pt x="1077" y="651"/>
                  <a:pt x="1077" y="650"/>
                  <a:pt x="1077" y="650"/>
                </a:cubicBezTo>
                <a:cubicBezTo>
                  <a:pt x="1074" y="647"/>
                  <a:pt x="1072" y="648"/>
                  <a:pt x="1071" y="651"/>
                </a:cubicBezTo>
                <a:cubicBezTo>
                  <a:pt x="1070" y="653"/>
                  <a:pt x="1070" y="654"/>
                  <a:pt x="1069" y="656"/>
                </a:cubicBezTo>
                <a:cubicBezTo>
                  <a:pt x="1068" y="660"/>
                  <a:pt x="1066" y="663"/>
                  <a:pt x="1062" y="665"/>
                </a:cubicBezTo>
                <a:cubicBezTo>
                  <a:pt x="1059" y="666"/>
                  <a:pt x="1056" y="668"/>
                  <a:pt x="1053" y="670"/>
                </a:cubicBezTo>
                <a:cubicBezTo>
                  <a:pt x="1051" y="672"/>
                  <a:pt x="1048" y="674"/>
                  <a:pt x="1048" y="677"/>
                </a:cubicBezTo>
                <a:cubicBezTo>
                  <a:pt x="1048" y="679"/>
                  <a:pt x="1047" y="680"/>
                  <a:pt x="1046" y="681"/>
                </a:cubicBezTo>
                <a:cubicBezTo>
                  <a:pt x="1045" y="683"/>
                  <a:pt x="1044" y="685"/>
                  <a:pt x="1044" y="688"/>
                </a:cubicBezTo>
                <a:cubicBezTo>
                  <a:pt x="1044" y="690"/>
                  <a:pt x="1044" y="691"/>
                  <a:pt x="1044" y="693"/>
                </a:cubicBezTo>
                <a:cubicBezTo>
                  <a:pt x="1045" y="695"/>
                  <a:pt x="1044" y="696"/>
                  <a:pt x="1043" y="697"/>
                </a:cubicBezTo>
                <a:cubicBezTo>
                  <a:pt x="1042" y="699"/>
                  <a:pt x="1041" y="701"/>
                  <a:pt x="1040" y="702"/>
                </a:cubicBezTo>
                <a:cubicBezTo>
                  <a:pt x="1039" y="703"/>
                  <a:pt x="1038" y="704"/>
                  <a:pt x="1037" y="705"/>
                </a:cubicBezTo>
                <a:cubicBezTo>
                  <a:pt x="1036" y="706"/>
                  <a:pt x="1034" y="706"/>
                  <a:pt x="1033" y="707"/>
                </a:cubicBezTo>
                <a:cubicBezTo>
                  <a:pt x="1031" y="709"/>
                  <a:pt x="1029" y="710"/>
                  <a:pt x="1027" y="710"/>
                </a:cubicBezTo>
                <a:cubicBezTo>
                  <a:pt x="1024" y="710"/>
                  <a:pt x="1023" y="712"/>
                  <a:pt x="1022" y="714"/>
                </a:cubicBezTo>
                <a:cubicBezTo>
                  <a:pt x="1021" y="714"/>
                  <a:pt x="1020" y="715"/>
                  <a:pt x="1020" y="716"/>
                </a:cubicBezTo>
                <a:cubicBezTo>
                  <a:pt x="1019" y="719"/>
                  <a:pt x="1017" y="720"/>
                  <a:pt x="1015" y="721"/>
                </a:cubicBezTo>
                <a:cubicBezTo>
                  <a:pt x="1013" y="723"/>
                  <a:pt x="1011" y="725"/>
                  <a:pt x="1010" y="727"/>
                </a:cubicBezTo>
                <a:cubicBezTo>
                  <a:pt x="1008" y="731"/>
                  <a:pt x="1006" y="736"/>
                  <a:pt x="1003" y="739"/>
                </a:cubicBezTo>
                <a:cubicBezTo>
                  <a:pt x="1002" y="740"/>
                  <a:pt x="1001" y="741"/>
                  <a:pt x="1001" y="742"/>
                </a:cubicBezTo>
                <a:cubicBezTo>
                  <a:pt x="999" y="746"/>
                  <a:pt x="996" y="751"/>
                  <a:pt x="994" y="755"/>
                </a:cubicBezTo>
                <a:cubicBezTo>
                  <a:pt x="992" y="757"/>
                  <a:pt x="992" y="759"/>
                  <a:pt x="992" y="761"/>
                </a:cubicBezTo>
                <a:cubicBezTo>
                  <a:pt x="991" y="763"/>
                  <a:pt x="992" y="765"/>
                  <a:pt x="994" y="767"/>
                </a:cubicBezTo>
                <a:cubicBezTo>
                  <a:pt x="996" y="768"/>
                  <a:pt x="997" y="770"/>
                  <a:pt x="996" y="772"/>
                </a:cubicBezTo>
                <a:cubicBezTo>
                  <a:pt x="996" y="774"/>
                  <a:pt x="996" y="776"/>
                  <a:pt x="996" y="778"/>
                </a:cubicBezTo>
                <a:cubicBezTo>
                  <a:pt x="998" y="783"/>
                  <a:pt x="998" y="788"/>
                  <a:pt x="996" y="793"/>
                </a:cubicBezTo>
                <a:cubicBezTo>
                  <a:pt x="995" y="794"/>
                  <a:pt x="995" y="794"/>
                  <a:pt x="995" y="795"/>
                </a:cubicBezTo>
                <a:cubicBezTo>
                  <a:pt x="994" y="800"/>
                  <a:pt x="993" y="805"/>
                  <a:pt x="989" y="809"/>
                </a:cubicBezTo>
                <a:cubicBezTo>
                  <a:pt x="989" y="809"/>
                  <a:pt x="989" y="810"/>
                  <a:pt x="989" y="811"/>
                </a:cubicBezTo>
                <a:cubicBezTo>
                  <a:pt x="990" y="812"/>
                  <a:pt x="991" y="814"/>
                  <a:pt x="992" y="815"/>
                </a:cubicBezTo>
                <a:cubicBezTo>
                  <a:pt x="993" y="817"/>
                  <a:pt x="993" y="818"/>
                  <a:pt x="993" y="820"/>
                </a:cubicBezTo>
                <a:cubicBezTo>
                  <a:pt x="991" y="823"/>
                  <a:pt x="992" y="825"/>
                  <a:pt x="993" y="827"/>
                </a:cubicBezTo>
                <a:cubicBezTo>
                  <a:pt x="994" y="829"/>
                  <a:pt x="996" y="831"/>
                  <a:pt x="998" y="832"/>
                </a:cubicBezTo>
                <a:cubicBezTo>
                  <a:pt x="999" y="832"/>
                  <a:pt x="1001" y="833"/>
                  <a:pt x="1003" y="833"/>
                </a:cubicBezTo>
                <a:cubicBezTo>
                  <a:pt x="1003" y="833"/>
                  <a:pt x="1003" y="833"/>
                  <a:pt x="1003" y="833"/>
                </a:cubicBezTo>
                <a:cubicBezTo>
                  <a:pt x="1003" y="833"/>
                  <a:pt x="1003" y="833"/>
                  <a:pt x="1003" y="833"/>
                </a:cubicBezTo>
                <a:cubicBezTo>
                  <a:pt x="1003" y="833"/>
                  <a:pt x="1003" y="833"/>
                  <a:pt x="1003" y="833"/>
                </a:cubicBezTo>
                <a:cubicBezTo>
                  <a:pt x="1003" y="833"/>
                  <a:pt x="1003" y="833"/>
                  <a:pt x="1003" y="833"/>
                </a:cubicBezTo>
                <a:cubicBezTo>
                  <a:pt x="1003" y="835"/>
                  <a:pt x="1003" y="837"/>
                  <a:pt x="1005" y="838"/>
                </a:cubicBezTo>
                <a:cubicBezTo>
                  <a:pt x="1006" y="839"/>
                  <a:pt x="1007" y="840"/>
                  <a:pt x="1008" y="842"/>
                </a:cubicBezTo>
                <a:cubicBezTo>
                  <a:pt x="1008" y="843"/>
                  <a:pt x="1009" y="844"/>
                  <a:pt x="1010" y="844"/>
                </a:cubicBezTo>
                <a:cubicBezTo>
                  <a:pt x="1013" y="845"/>
                  <a:pt x="1015" y="847"/>
                  <a:pt x="1016" y="849"/>
                </a:cubicBezTo>
                <a:cubicBezTo>
                  <a:pt x="1017" y="850"/>
                  <a:pt x="1018" y="851"/>
                  <a:pt x="1018" y="852"/>
                </a:cubicBezTo>
                <a:cubicBezTo>
                  <a:pt x="1018" y="856"/>
                  <a:pt x="1020" y="859"/>
                  <a:pt x="1022" y="862"/>
                </a:cubicBezTo>
                <a:cubicBezTo>
                  <a:pt x="1023" y="865"/>
                  <a:pt x="1026" y="867"/>
                  <a:pt x="1029" y="869"/>
                </a:cubicBezTo>
                <a:cubicBezTo>
                  <a:pt x="1032" y="870"/>
                  <a:pt x="1034" y="871"/>
                  <a:pt x="1036" y="873"/>
                </a:cubicBezTo>
                <a:cubicBezTo>
                  <a:pt x="1041" y="876"/>
                  <a:pt x="1045" y="880"/>
                  <a:pt x="1051" y="884"/>
                </a:cubicBezTo>
                <a:cubicBezTo>
                  <a:pt x="1053" y="885"/>
                  <a:pt x="1056" y="886"/>
                  <a:pt x="1059" y="887"/>
                </a:cubicBezTo>
                <a:cubicBezTo>
                  <a:pt x="1059" y="887"/>
                  <a:pt x="1060" y="887"/>
                  <a:pt x="1061" y="887"/>
                </a:cubicBezTo>
                <a:cubicBezTo>
                  <a:pt x="1063" y="886"/>
                  <a:pt x="1065" y="885"/>
                  <a:pt x="1067" y="884"/>
                </a:cubicBezTo>
                <a:cubicBezTo>
                  <a:pt x="1070" y="883"/>
                  <a:pt x="1073" y="882"/>
                  <a:pt x="1077" y="882"/>
                </a:cubicBezTo>
                <a:cubicBezTo>
                  <a:pt x="1079" y="882"/>
                  <a:pt x="1081" y="882"/>
                  <a:pt x="1084" y="882"/>
                </a:cubicBezTo>
                <a:cubicBezTo>
                  <a:pt x="1087" y="881"/>
                  <a:pt x="1091" y="881"/>
                  <a:pt x="1094" y="883"/>
                </a:cubicBezTo>
                <a:cubicBezTo>
                  <a:pt x="1095" y="883"/>
                  <a:pt x="1096" y="883"/>
                  <a:pt x="1096" y="884"/>
                </a:cubicBezTo>
                <a:cubicBezTo>
                  <a:pt x="1098" y="884"/>
                  <a:pt x="1100" y="884"/>
                  <a:pt x="1102" y="884"/>
                </a:cubicBezTo>
                <a:cubicBezTo>
                  <a:pt x="1103" y="883"/>
                  <a:pt x="1105" y="882"/>
                  <a:pt x="1107" y="882"/>
                </a:cubicBezTo>
                <a:cubicBezTo>
                  <a:pt x="1109" y="881"/>
                  <a:pt x="1111" y="880"/>
                  <a:pt x="1112" y="879"/>
                </a:cubicBezTo>
                <a:cubicBezTo>
                  <a:pt x="1114" y="878"/>
                  <a:pt x="1117" y="877"/>
                  <a:pt x="1119" y="876"/>
                </a:cubicBezTo>
                <a:cubicBezTo>
                  <a:pt x="1122" y="875"/>
                  <a:pt x="1124" y="874"/>
                  <a:pt x="1127" y="874"/>
                </a:cubicBezTo>
                <a:cubicBezTo>
                  <a:pt x="1130" y="874"/>
                  <a:pt x="1134" y="872"/>
                  <a:pt x="1138" y="872"/>
                </a:cubicBezTo>
                <a:cubicBezTo>
                  <a:pt x="1139" y="873"/>
                  <a:pt x="1140" y="873"/>
                  <a:pt x="1140" y="873"/>
                </a:cubicBezTo>
                <a:cubicBezTo>
                  <a:pt x="1144" y="874"/>
                  <a:pt x="1146" y="876"/>
                  <a:pt x="1148" y="880"/>
                </a:cubicBezTo>
                <a:cubicBezTo>
                  <a:pt x="1149" y="881"/>
                  <a:pt x="1149" y="883"/>
                  <a:pt x="1150" y="885"/>
                </a:cubicBezTo>
                <a:cubicBezTo>
                  <a:pt x="1151" y="888"/>
                  <a:pt x="1154" y="889"/>
                  <a:pt x="1157" y="889"/>
                </a:cubicBezTo>
                <a:cubicBezTo>
                  <a:pt x="1158" y="889"/>
                  <a:pt x="1159" y="889"/>
                  <a:pt x="1160" y="889"/>
                </a:cubicBezTo>
                <a:cubicBezTo>
                  <a:pt x="1163" y="888"/>
                  <a:pt x="1167" y="888"/>
                  <a:pt x="1171" y="887"/>
                </a:cubicBezTo>
                <a:cubicBezTo>
                  <a:pt x="1173" y="886"/>
                  <a:pt x="1175" y="886"/>
                  <a:pt x="1176" y="888"/>
                </a:cubicBezTo>
                <a:cubicBezTo>
                  <a:pt x="1177" y="889"/>
                  <a:pt x="1178" y="890"/>
                  <a:pt x="1178" y="891"/>
                </a:cubicBezTo>
                <a:cubicBezTo>
                  <a:pt x="1182" y="893"/>
                  <a:pt x="1182" y="896"/>
                  <a:pt x="1182" y="899"/>
                </a:cubicBezTo>
                <a:cubicBezTo>
                  <a:pt x="1182" y="901"/>
                  <a:pt x="1181" y="903"/>
                  <a:pt x="1181" y="905"/>
                </a:cubicBezTo>
                <a:cubicBezTo>
                  <a:pt x="1180" y="907"/>
                  <a:pt x="1179" y="908"/>
                  <a:pt x="1179" y="910"/>
                </a:cubicBezTo>
                <a:cubicBezTo>
                  <a:pt x="1178" y="912"/>
                  <a:pt x="1179" y="914"/>
                  <a:pt x="1178" y="916"/>
                </a:cubicBezTo>
                <a:cubicBezTo>
                  <a:pt x="1178" y="919"/>
                  <a:pt x="1177" y="922"/>
                  <a:pt x="1175" y="925"/>
                </a:cubicBezTo>
                <a:cubicBezTo>
                  <a:pt x="1175" y="925"/>
                  <a:pt x="1175" y="926"/>
                  <a:pt x="1175" y="926"/>
                </a:cubicBezTo>
                <a:cubicBezTo>
                  <a:pt x="1175" y="926"/>
                  <a:pt x="1175" y="927"/>
                  <a:pt x="1175" y="927"/>
                </a:cubicBezTo>
                <a:cubicBezTo>
                  <a:pt x="1179" y="936"/>
                  <a:pt x="1180" y="938"/>
                  <a:pt x="1188" y="945"/>
                </a:cubicBezTo>
                <a:cubicBezTo>
                  <a:pt x="1189" y="947"/>
                  <a:pt x="1190" y="948"/>
                  <a:pt x="1191" y="949"/>
                </a:cubicBezTo>
                <a:cubicBezTo>
                  <a:pt x="1194" y="951"/>
                  <a:pt x="1195" y="953"/>
                  <a:pt x="1196" y="956"/>
                </a:cubicBezTo>
                <a:cubicBezTo>
                  <a:pt x="1197" y="957"/>
                  <a:pt x="1198" y="959"/>
                  <a:pt x="1198" y="960"/>
                </a:cubicBezTo>
                <a:cubicBezTo>
                  <a:pt x="1199" y="963"/>
                  <a:pt x="1200" y="967"/>
                  <a:pt x="1202" y="970"/>
                </a:cubicBezTo>
                <a:cubicBezTo>
                  <a:pt x="1204" y="973"/>
                  <a:pt x="1204" y="977"/>
                  <a:pt x="1205" y="981"/>
                </a:cubicBezTo>
                <a:cubicBezTo>
                  <a:pt x="1206" y="982"/>
                  <a:pt x="1205" y="983"/>
                  <a:pt x="1205" y="984"/>
                </a:cubicBezTo>
                <a:cubicBezTo>
                  <a:pt x="1205" y="985"/>
                  <a:pt x="1204" y="986"/>
                  <a:pt x="1205" y="987"/>
                </a:cubicBezTo>
                <a:cubicBezTo>
                  <a:pt x="1205" y="990"/>
                  <a:pt x="1206" y="992"/>
                  <a:pt x="1207" y="995"/>
                </a:cubicBezTo>
                <a:cubicBezTo>
                  <a:pt x="1208" y="996"/>
                  <a:pt x="1208" y="997"/>
                  <a:pt x="1209" y="998"/>
                </a:cubicBezTo>
                <a:cubicBezTo>
                  <a:pt x="1210" y="1002"/>
                  <a:pt x="1210" y="1007"/>
                  <a:pt x="1205" y="1011"/>
                </a:cubicBezTo>
                <a:cubicBezTo>
                  <a:pt x="1204" y="1012"/>
                  <a:pt x="1202" y="1014"/>
                  <a:pt x="1201" y="1016"/>
                </a:cubicBezTo>
                <a:cubicBezTo>
                  <a:pt x="1199" y="1018"/>
                  <a:pt x="1198" y="1020"/>
                  <a:pt x="1198" y="1022"/>
                </a:cubicBezTo>
                <a:cubicBezTo>
                  <a:pt x="1197" y="1026"/>
                  <a:pt x="1196" y="1029"/>
                  <a:pt x="1195" y="1033"/>
                </a:cubicBezTo>
                <a:cubicBezTo>
                  <a:pt x="1194" y="1035"/>
                  <a:pt x="1193" y="1037"/>
                  <a:pt x="1193" y="1039"/>
                </a:cubicBezTo>
                <a:cubicBezTo>
                  <a:pt x="1193" y="1042"/>
                  <a:pt x="1193" y="1046"/>
                  <a:pt x="1193" y="1049"/>
                </a:cubicBezTo>
                <a:cubicBezTo>
                  <a:pt x="1193" y="1051"/>
                  <a:pt x="1194" y="1053"/>
                  <a:pt x="1195" y="1054"/>
                </a:cubicBezTo>
                <a:cubicBezTo>
                  <a:pt x="1198" y="1057"/>
                  <a:pt x="1201" y="1061"/>
                  <a:pt x="1202" y="1066"/>
                </a:cubicBezTo>
                <a:cubicBezTo>
                  <a:pt x="1204" y="1071"/>
                  <a:pt x="1206" y="1075"/>
                  <a:pt x="1208" y="1079"/>
                </a:cubicBezTo>
                <a:cubicBezTo>
                  <a:pt x="1210" y="1083"/>
                  <a:pt x="1211" y="1086"/>
                  <a:pt x="1211" y="1089"/>
                </a:cubicBezTo>
                <a:cubicBezTo>
                  <a:pt x="1211" y="1093"/>
                  <a:pt x="1212" y="1097"/>
                  <a:pt x="1213" y="1100"/>
                </a:cubicBezTo>
                <a:cubicBezTo>
                  <a:pt x="1213" y="1102"/>
                  <a:pt x="1214" y="1103"/>
                  <a:pt x="1214" y="1105"/>
                </a:cubicBezTo>
                <a:cubicBezTo>
                  <a:pt x="1214" y="1109"/>
                  <a:pt x="1215" y="1113"/>
                  <a:pt x="1216" y="1117"/>
                </a:cubicBezTo>
                <a:cubicBezTo>
                  <a:pt x="1217" y="1121"/>
                  <a:pt x="1219" y="1125"/>
                  <a:pt x="1221" y="1128"/>
                </a:cubicBezTo>
                <a:cubicBezTo>
                  <a:pt x="1223" y="1130"/>
                  <a:pt x="1224" y="1132"/>
                  <a:pt x="1226" y="1134"/>
                </a:cubicBezTo>
                <a:cubicBezTo>
                  <a:pt x="1227" y="1136"/>
                  <a:pt x="1228" y="1138"/>
                  <a:pt x="1229" y="1140"/>
                </a:cubicBezTo>
                <a:cubicBezTo>
                  <a:pt x="1230" y="1145"/>
                  <a:pt x="1231" y="1149"/>
                  <a:pt x="1233" y="1153"/>
                </a:cubicBezTo>
                <a:cubicBezTo>
                  <a:pt x="1234" y="1154"/>
                  <a:pt x="1234" y="1156"/>
                  <a:pt x="1235" y="1157"/>
                </a:cubicBezTo>
                <a:cubicBezTo>
                  <a:pt x="1236" y="1159"/>
                  <a:pt x="1236" y="1162"/>
                  <a:pt x="1234" y="1164"/>
                </a:cubicBezTo>
                <a:cubicBezTo>
                  <a:pt x="1233" y="1165"/>
                  <a:pt x="1233" y="1166"/>
                  <a:pt x="1234" y="1167"/>
                </a:cubicBezTo>
                <a:cubicBezTo>
                  <a:pt x="1235" y="1169"/>
                  <a:pt x="1235" y="1172"/>
                  <a:pt x="1236" y="1175"/>
                </a:cubicBezTo>
                <a:cubicBezTo>
                  <a:pt x="1236" y="1175"/>
                  <a:pt x="1236" y="1176"/>
                  <a:pt x="1236" y="1176"/>
                </a:cubicBezTo>
                <a:cubicBezTo>
                  <a:pt x="1239" y="1178"/>
                  <a:pt x="1243" y="1180"/>
                  <a:pt x="1246" y="1181"/>
                </a:cubicBezTo>
                <a:cubicBezTo>
                  <a:pt x="1246" y="1182"/>
                  <a:pt x="1247" y="1181"/>
                  <a:pt x="1248" y="1181"/>
                </a:cubicBezTo>
                <a:cubicBezTo>
                  <a:pt x="1251" y="1180"/>
                  <a:pt x="1254" y="1178"/>
                  <a:pt x="1257" y="1179"/>
                </a:cubicBezTo>
                <a:cubicBezTo>
                  <a:pt x="1259" y="1179"/>
                  <a:pt x="1260" y="1178"/>
                  <a:pt x="1262" y="1178"/>
                </a:cubicBezTo>
                <a:cubicBezTo>
                  <a:pt x="1264" y="1177"/>
                  <a:pt x="1266" y="1176"/>
                  <a:pt x="1269" y="1176"/>
                </a:cubicBezTo>
                <a:cubicBezTo>
                  <a:pt x="1272" y="1176"/>
                  <a:pt x="1275" y="1175"/>
                  <a:pt x="1278" y="1177"/>
                </a:cubicBezTo>
                <a:cubicBezTo>
                  <a:pt x="1278" y="1177"/>
                  <a:pt x="1280" y="1177"/>
                  <a:pt x="1280" y="1177"/>
                </a:cubicBezTo>
                <a:cubicBezTo>
                  <a:pt x="1283" y="1175"/>
                  <a:pt x="1286" y="1177"/>
                  <a:pt x="1288" y="1174"/>
                </a:cubicBezTo>
                <a:cubicBezTo>
                  <a:pt x="1289" y="1174"/>
                  <a:pt x="1290" y="1173"/>
                  <a:pt x="1291" y="1173"/>
                </a:cubicBezTo>
                <a:cubicBezTo>
                  <a:pt x="1295" y="1173"/>
                  <a:pt x="1299" y="1171"/>
                  <a:pt x="1302" y="1169"/>
                </a:cubicBezTo>
                <a:cubicBezTo>
                  <a:pt x="1307" y="1166"/>
                  <a:pt x="1311" y="1162"/>
                  <a:pt x="1315" y="1158"/>
                </a:cubicBezTo>
                <a:cubicBezTo>
                  <a:pt x="1318" y="1155"/>
                  <a:pt x="1321" y="1152"/>
                  <a:pt x="1323" y="1149"/>
                </a:cubicBezTo>
                <a:cubicBezTo>
                  <a:pt x="1325" y="1146"/>
                  <a:pt x="1327" y="1143"/>
                  <a:pt x="1329" y="1140"/>
                </a:cubicBezTo>
                <a:cubicBezTo>
                  <a:pt x="1330" y="1138"/>
                  <a:pt x="1332" y="1136"/>
                  <a:pt x="1333" y="1135"/>
                </a:cubicBezTo>
                <a:cubicBezTo>
                  <a:pt x="1337" y="1133"/>
                  <a:pt x="1339" y="1130"/>
                  <a:pt x="1340" y="1126"/>
                </a:cubicBezTo>
                <a:cubicBezTo>
                  <a:pt x="1341" y="1123"/>
                  <a:pt x="1342" y="1120"/>
                  <a:pt x="1343" y="1117"/>
                </a:cubicBezTo>
                <a:cubicBezTo>
                  <a:pt x="1343" y="1116"/>
                  <a:pt x="1343" y="1114"/>
                  <a:pt x="1342" y="1113"/>
                </a:cubicBezTo>
                <a:cubicBezTo>
                  <a:pt x="1341" y="1111"/>
                  <a:pt x="1342" y="1110"/>
                  <a:pt x="1343" y="1108"/>
                </a:cubicBezTo>
                <a:cubicBezTo>
                  <a:pt x="1345" y="1107"/>
                  <a:pt x="1347" y="1105"/>
                  <a:pt x="1350" y="1105"/>
                </a:cubicBezTo>
                <a:cubicBezTo>
                  <a:pt x="1353" y="1104"/>
                  <a:pt x="1356" y="1103"/>
                  <a:pt x="1358" y="1101"/>
                </a:cubicBezTo>
                <a:cubicBezTo>
                  <a:pt x="1360" y="1100"/>
                  <a:pt x="1362" y="1098"/>
                  <a:pt x="1362" y="1096"/>
                </a:cubicBezTo>
                <a:cubicBezTo>
                  <a:pt x="1362" y="1093"/>
                  <a:pt x="1363" y="1090"/>
                  <a:pt x="1363" y="1087"/>
                </a:cubicBezTo>
                <a:cubicBezTo>
                  <a:pt x="1363" y="1086"/>
                  <a:pt x="1363" y="1084"/>
                  <a:pt x="1363" y="1083"/>
                </a:cubicBezTo>
                <a:cubicBezTo>
                  <a:pt x="1362" y="1078"/>
                  <a:pt x="1360" y="1074"/>
                  <a:pt x="1359" y="1069"/>
                </a:cubicBezTo>
                <a:cubicBezTo>
                  <a:pt x="1359" y="1068"/>
                  <a:pt x="1359" y="1066"/>
                  <a:pt x="1360" y="1065"/>
                </a:cubicBezTo>
                <a:cubicBezTo>
                  <a:pt x="1366" y="1060"/>
                  <a:pt x="1373" y="1055"/>
                  <a:pt x="1379" y="1050"/>
                </a:cubicBezTo>
                <a:cubicBezTo>
                  <a:pt x="1381" y="1048"/>
                  <a:pt x="1383" y="1047"/>
                  <a:pt x="1385" y="1046"/>
                </a:cubicBezTo>
                <a:cubicBezTo>
                  <a:pt x="1387" y="1045"/>
                  <a:pt x="1390" y="1044"/>
                  <a:pt x="1392" y="1043"/>
                </a:cubicBezTo>
                <a:cubicBezTo>
                  <a:pt x="1397" y="1040"/>
                  <a:pt x="1400" y="1036"/>
                  <a:pt x="1402" y="1030"/>
                </a:cubicBezTo>
                <a:cubicBezTo>
                  <a:pt x="1403" y="1028"/>
                  <a:pt x="1404" y="1026"/>
                  <a:pt x="1404" y="1023"/>
                </a:cubicBezTo>
                <a:cubicBezTo>
                  <a:pt x="1403" y="1020"/>
                  <a:pt x="1404" y="1018"/>
                  <a:pt x="1404" y="1015"/>
                </a:cubicBezTo>
                <a:cubicBezTo>
                  <a:pt x="1404" y="1013"/>
                  <a:pt x="1404" y="1011"/>
                  <a:pt x="1404" y="1009"/>
                </a:cubicBezTo>
                <a:cubicBezTo>
                  <a:pt x="1403" y="1005"/>
                  <a:pt x="1403" y="1002"/>
                  <a:pt x="1404" y="998"/>
                </a:cubicBezTo>
                <a:cubicBezTo>
                  <a:pt x="1405" y="997"/>
                  <a:pt x="1404" y="995"/>
                  <a:pt x="1402" y="994"/>
                </a:cubicBezTo>
                <a:cubicBezTo>
                  <a:pt x="1399" y="992"/>
                  <a:pt x="1398" y="989"/>
                  <a:pt x="1397" y="986"/>
                </a:cubicBezTo>
                <a:cubicBezTo>
                  <a:pt x="1396" y="982"/>
                  <a:pt x="1396" y="978"/>
                  <a:pt x="1396" y="974"/>
                </a:cubicBezTo>
                <a:cubicBezTo>
                  <a:pt x="1396" y="973"/>
                  <a:pt x="1396" y="972"/>
                  <a:pt x="1396" y="972"/>
                </a:cubicBezTo>
                <a:cubicBezTo>
                  <a:pt x="1397" y="970"/>
                  <a:pt x="1397" y="968"/>
                  <a:pt x="1396" y="967"/>
                </a:cubicBezTo>
                <a:cubicBezTo>
                  <a:pt x="1392" y="965"/>
                  <a:pt x="1392" y="962"/>
                  <a:pt x="1394" y="958"/>
                </a:cubicBezTo>
                <a:cubicBezTo>
                  <a:pt x="1395" y="956"/>
                  <a:pt x="1396" y="953"/>
                  <a:pt x="1398" y="951"/>
                </a:cubicBezTo>
                <a:cubicBezTo>
                  <a:pt x="1400" y="948"/>
                  <a:pt x="1401" y="945"/>
                  <a:pt x="1403" y="942"/>
                </a:cubicBezTo>
                <a:cubicBezTo>
                  <a:pt x="1404" y="940"/>
                  <a:pt x="1404" y="939"/>
                  <a:pt x="1406" y="938"/>
                </a:cubicBezTo>
                <a:cubicBezTo>
                  <a:pt x="1409" y="936"/>
                  <a:pt x="1411" y="934"/>
                  <a:pt x="1413" y="931"/>
                </a:cubicBezTo>
                <a:cubicBezTo>
                  <a:pt x="1418" y="925"/>
                  <a:pt x="1424" y="919"/>
                  <a:pt x="1431" y="913"/>
                </a:cubicBezTo>
                <a:cubicBezTo>
                  <a:pt x="1434" y="910"/>
                  <a:pt x="1437" y="906"/>
                  <a:pt x="1442" y="904"/>
                </a:cubicBezTo>
                <a:cubicBezTo>
                  <a:pt x="1443" y="904"/>
                  <a:pt x="1443" y="903"/>
                  <a:pt x="1444" y="903"/>
                </a:cubicBezTo>
                <a:cubicBezTo>
                  <a:pt x="1455" y="894"/>
                  <a:pt x="1463" y="884"/>
                  <a:pt x="1469" y="871"/>
                </a:cubicBezTo>
                <a:cubicBezTo>
                  <a:pt x="1471" y="866"/>
                  <a:pt x="1473" y="862"/>
                  <a:pt x="1476" y="857"/>
                </a:cubicBezTo>
                <a:cubicBezTo>
                  <a:pt x="1478" y="855"/>
                  <a:pt x="1480" y="851"/>
                  <a:pt x="1481" y="848"/>
                </a:cubicBezTo>
                <a:cubicBezTo>
                  <a:pt x="1482" y="843"/>
                  <a:pt x="1482" y="839"/>
                  <a:pt x="1482" y="834"/>
                </a:cubicBezTo>
                <a:cubicBezTo>
                  <a:pt x="1482" y="833"/>
                  <a:pt x="1480" y="831"/>
                  <a:pt x="1479" y="832"/>
                </a:cubicBezTo>
                <a:cubicBezTo>
                  <a:pt x="1478" y="832"/>
                  <a:pt x="1478" y="832"/>
                  <a:pt x="1478" y="832"/>
                </a:cubicBezTo>
                <a:cubicBezTo>
                  <a:pt x="1474" y="835"/>
                  <a:pt x="1470" y="836"/>
                  <a:pt x="1466" y="836"/>
                </a:cubicBezTo>
                <a:cubicBezTo>
                  <a:pt x="1461" y="837"/>
                  <a:pt x="1455" y="837"/>
                  <a:pt x="1449" y="840"/>
                </a:cubicBezTo>
                <a:cubicBezTo>
                  <a:pt x="1449" y="840"/>
                  <a:pt x="1448" y="840"/>
                  <a:pt x="1447" y="840"/>
                </a:cubicBezTo>
                <a:cubicBezTo>
                  <a:pt x="1443" y="840"/>
                  <a:pt x="1440" y="841"/>
                  <a:pt x="1438" y="842"/>
                </a:cubicBezTo>
                <a:cubicBezTo>
                  <a:pt x="1437" y="843"/>
                  <a:pt x="1436" y="843"/>
                  <a:pt x="1435" y="843"/>
                </a:cubicBezTo>
                <a:cubicBezTo>
                  <a:pt x="1434" y="843"/>
                  <a:pt x="1433" y="843"/>
                  <a:pt x="1432" y="843"/>
                </a:cubicBezTo>
                <a:cubicBezTo>
                  <a:pt x="1431" y="842"/>
                  <a:pt x="1430" y="842"/>
                  <a:pt x="1430" y="841"/>
                </a:cubicBezTo>
                <a:cubicBezTo>
                  <a:pt x="1428" y="839"/>
                  <a:pt x="1426" y="837"/>
                  <a:pt x="1424" y="835"/>
                </a:cubicBezTo>
                <a:cubicBezTo>
                  <a:pt x="1423" y="834"/>
                  <a:pt x="1423" y="833"/>
                  <a:pt x="1423" y="833"/>
                </a:cubicBezTo>
                <a:cubicBezTo>
                  <a:pt x="1425" y="829"/>
                  <a:pt x="1425" y="828"/>
                  <a:pt x="1423" y="827"/>
                </a:cubicBezTo>
                <a:cubicBezTo>
                  <a:pt x="1421" y="825"/>
                  <a:pt x="1420" y="824"/>
                  <a:pt x="1418" y="822"/>
                </a:cubicBezTo>
                <a:cubicBezTo>
                  <a:pt x="1416" y="819"/>
                  <a:pt x="1412" y="816"/>
                  <a:pt x="1409" y="813"/>
                </a:cubicBezTo>
                <a:cubicBezTo>
                  <a:pt x="1408" y="811"/>
                  <a:pt x="1405" y="810"/>
                  <a:pt x="1403" y="808"/>
                </a:cubicBezTo>
                <a:cubicBezTo>
                  <a:pt x="1399" y="806"/>
                  <a:pt x="1395" y="803"/>
                  <a:pt x="1394" y="798"/>
                </a:cubicBezTo>
                <a:cubicBezTo>
                  <a:pt x="1393" y="796"/>
                  <a:pt x="1393" y="793"/>
                  <a:pt x="1392" y="791"/>
                </a:cubicBezTo>
                <a:cubicBezTo>
                  <a:pt x="1391" y="788"/>
                  <a:pt x="1389" y="786"/>
                  <a:pt x="1387" y="785"/>
                </a:cubicBezTo>
                <a:cubicBezTo>
                  <a:pt x="1385" y="783"/>
                  <a:pt x="1384" y="782"/>
                  <a:pt x="1382" y="780"/>
                </a:cubicBezTo>
                <a:cubicBezTo>
                  <a:pt x="1380" y="779"/>
                  <a:pt x="1379" y="777"/>
                  <a:pt x="1379" y="776"/>
                </a:cubicBezTo>
                <a:cubicBezTo>
                  <a:pt x="1379" y="771"/>
                  <a:pt x="1378" y="766"/>
                  <a:pt x="1377" y="761"/>
                </a:cubicBezTo>
                <a:cubicBezTo>
                  <a:pt x="1376" y="756"/>
                  <a:pt x="1373" y="753"/>
                  <a:pt x="1369" y="751"/>
                </a:cubicBezTo>
                <a:cubicBezTo>
                  <a:pt x="1368" y="750"/>
                  <a:pt x="1368" y="750"/>
                  <a:pt x="1367" y="750"/>
                </a:cubicBezTo>
                <a:cubicBezTo>
                  <a:pt x="1366" y="749"/>
                  <a:pt x="1366" y="748"/>
                  <a:pt x="1365" y="748"/>
                </a:cubicBezTo>
                <a:cubicBezTo>
                  <a:pt x="1365" y="747"/>
                  <a:pt x="1365" y="746"/>
                  <a:pt x="1365" y="745"/>
                </a:cubicBezTo>
                <a:cubicBezTo>
                  <a:pt x="1365" y="742"/>
                  <a:pt x="1364" y="739"/>
                  <a:pt x="1362" y="737"/>
                </a:cubicBezTo>
                <a:cubicBezTo>
                  <a:pt x="1362" y="736"/>
                  <a:pt x="1361" y="735"/>
                  <a:pt x="1360" y="733"/>
                </a:cubicBezTo>
                <a:cubicBezTo>
                  <a:pt x="1357" y="728"/>
                  <a:pt x="1353" y="723"/>
                  <a:pt x="1352" y="716"/>
                </a:cubicBezTo>
                <a:cubicBezTo>
                  <a:pt x="1351" y="715"/>
                  <a:pt x="1351" y="714"/>
                  <a:pt x="1350" y="713"/>
                </a:cubicBezTo>
                <a:cubicBezTo>
                  <a:pt x="1350" y="712"/>
                  <a:pt x="1350" y="711"/>
                  <a:pt x="1351" y="711"/>
                </a:cubicBezTo>
                <a:cubicBezTo>
                  <a:pt x="1352" y="711"/>
                  <a:pt x="1354" y="712"/>
                  <a:pt x="1355" y="711"/>
                </a:cubicBezTo>
                <a:cubicBezTo>
                  <a:pt x="1355" y="710"/>
                  <a:pt x="1356" y="709"/>
                  <a:pt x="1358" y="709"/>
                </a:cubicBezTo>
                <a:cubicBezTo>
                  <a:pt x="1359" y="709"/>
                  <a:pt x="1360" y="710"/>
                  <a:pt x="1361" y="711"/>
                </a:cubicBezTo>
                <a:cubicBezTo>
                  <a:pt x="1362" y="712"/>
                  <a:pt x="1362" y="713"/>
                  <a:pt x="1363" y="714"/>
                </a:cubicBezTo>
                <a:cubicBezTo>
                  <a:pt x="1367" y="718"/>
                  <a:pt x="1369" y="723"/>
                  <a:pt x="1372" y="727"/>
                </a:cubicBezTo>
                <a:cubicBezTo>
                  <a:pt x="1374" y="730"/>
                  <a:pt x="1375" y="732"/>
                  <a:pt x="1376" y="735"/>
                </a:cubicBezTo>
                <a:cubicBezTo>
                  <a:pt x="1376" y="737"/>
                  <a:pt x="1377" y="738"/>
                  <a:pt x="1379" y="739"/>
                </a:cubicBezTo>
                <a:cubicBezTo>
                  <a:pt x="1383" y="740"/>
                  <a:pt x="1385" y="742"/>
                  <a:pt x="1386" y="746"/>
                </a:cubicBezTo>
                <a:cubicBezTo>
                  <a:pt x="1387" y="747"/>
                  <a:pt x="1387" y="748"/>
                  <a:pt x="1388" y="749"/>
                </a:cubicBezTo>
                <a:cubicBezTo>
                  <a:pt x="1389" y="751"/>
                  <a:pt x="1389" y="753"/>
                  <a:pt x="1389" y="755"/>
                </a:cubicBezTo>
                <a:cubicBezTo>
                  <a:pt x="1389" y="756"/>
                  <a:pt x="1389" y="757"/>
                  <a:pt x="1389" y="758"/>
                </a:cubicBezTo>
                <a:cubicBezTo>
                  <a:pt x="1390" y="762"/>
                  <a:pt x="1392" y="766"/>
                  <a:pt x="1396" y="769"/>
                </a:cubicBezTo>
                <a:cubicBezTo>
                  <a:pt x="1397" y="770"/>
                  <a:pt x="1399" y="770"/>
                  <a:pt x="1400" y="771"/>
                </a:cubicBezTo>
                <a:cubicBezTo>
                  <a:pt x="1402" y="773"/>
                  <a:pt x="1404" y="775"/>
                  <a:pt x="1405" y="778"/>
                </a:cubicBezTo>
                <a:cubicBezTo>
                  <a:pt x="1406" y="782"/>
                  <a:pt x="1408" y="785"/>
                  <a:pt x="1410" y="787"/>
                </a:cubicBezTo>
                <a:cubicBezTo>
                  <a:pt x="1412" y="789"/>
                  <a:pt x="1414" y="792"/>
                  <a:pt x="1416" y="794"/>
                </a:cubicBezTo>
                <a:cubicBezTo>
                  <a:pt x="1418" y="797"/>
                  <a:pt x="1419" y="800"/>
                  <a:pt x="1419" y="804"/>
                </a:cubicBezTo>
                <a:cubicBezTo>
                  <a:pt x="1418" y="805"/>
                  <a:pt x="1418" y="806"/>
                  <a:pt x="1419" y="807"/>
                </a:cubicBezTo>
                <a:cubicBezTo>
                  <a:pt x="1421" y="811"/>
                  <a:pt x="1421" y="816"/>
                  <a:pt x="1423" y="820"/>
                </a:cubicBezTo>
                <a:cubicBezTo>
                  <a:pt x="1423" y="821"/>
                  <a:pt x="1424" y="823"/>
                  <a:pt x="1425" y="824"/>
                </a:cubicBezTo>
                <a:cubicBezTo>
                  <a:pt x="1425" y="826"/>
                  <a:pt x="1427" y="826"/>
                  <a:pt x="1428" y="826"/>
                </a:cubicBezTo>
                <a:cubicBezTo>
                  <a:pt x="1430" y="826"/>
                  <a:pt x="1431" y="826"/>
                  <a:pt x="1433" y="826"/>
                </a:cubicBezTo>
                <a:cubicBezTo>
                  <a:pt x="1435" y="826"/>
                  <a:pt x="1437" y="825"/>
                  <a:pt x="1438" y="824"/>
                </a:cubicBezTo>
                <a:cubicBezTo>
                  <a:pt x="1440" y="821"/>
                  <a:pt x="1442" y="821"/>
                  <a:pt x="1445" y="821"/>
                </a:cubicBezTo>
                <a:cubicBezTo>
                  <a:pt x="1448" y="821"/>
                  <a:pt x="1451" y="821"/>
                  <a:pt x="1454" y="819"/>
                </a:cubicBezTo>
                <a:cubicBezTo>
                  <a:pt x="1456" y="818"/>
                  <a:pt x="1458" y="817"/>
                  <a:pt x="1460" y="817"/>
                </a:cubicBezTo>
                <a:cubicBezTo>
                  <a:pt x="1462" y="817"/>
                  <a:pt x="1463" y="816"/>
                  <a:pt x="1464" y="815"/>
                </a:cubicBezTo>
                <a:cubicBezTo>
                  <a:pt x="1466" y="813"/>
                  <a:pt x="1468" y="812"/>
                  <a:pt x="1470" y="811"/>
                </a:cubicBezTo>
                <a:cubicBezTo>
                  <a:pt x="1473" y="810"/>
                  <a:pt x="1476" y="810"/>
                  <a:pt x="1479" y="808"/>
                </a:cubicBezTo>
                <a:cubicBezTo>
                  <a:pt x="1481" y="808"/>
                  <a:pt x="1483" y="806"/>
                  <a:pt x="1486" y="805"/>
                </a:cubicBezTo>
                <a:cubicBezTo>
                  <a:pt x="1487" y="805"/>
                  <a:pt x="1488" y="804"/>
                  <a:pt x="1488" y="803"/>
                </a:cubicBezTo>
                <a:cubicBezTo>
                  <a:pt x="1489" y="800"/>
                  <a:pt x="1491" y="798"/>
                  <a:pt x="1493" y="797"/>
                </a:cubicBezTo>
                <a:cubicBezTo>
                  <a:pt x="1497" y="796"/>
                  <a:pt x="1500" y="795"/>
                  <a:pt x="1504" y="795"/>
                </a:cubicBezTo>
                <a:cubicBezTo>
                  <a:pt x="1507" y="794"/>
                  <a:pt x="1509" y="793"/>
                  <a:pt x="1509" y="790"/>
                </a:cubicBezTo>
                <a:cubicBezTo>
                  <a:pt x="1510" y="789"/>
                  <a:pt x="1510" y="788"/>
                  <a:pt x="1512" y="788"/>
                </a:cubicBezTo>
                <a:cubicBezTo>
                  <a:pt x="1515" y="787"/>
                  <a:pt x="1517" y="786"/>
                  <a:pt x="1518" y="782"/>
                </a:cubicBezTo>
                <a:cubicBezTo>
                  <a:pt x="1519" y="781"/>
                  <a:pt x="1520" y="780"/>
                  <a:pt x="1522" y="780"/>
                </a:cubicBezTo>
                <a:cubicBezTo>
                  <a:pt x="1523" y="779"/>
                  <a:pt x="1524" y="779"/>
                  <a:pt x="1525" y="779"/>
                </a:cubicBezTo>
                <a:cubicBezTo>
                  <a:pt x="1526" y="778"/>
                  <a:pt x="1526" y="777"/>
                  <a:pt x="1526" y="777"/>
                </a:cubicBezTo>
                <a:cubicBezTo>
                  <a:pt x="1527" y="775"/>
                  <a:pt x="1526" y="773"/>
                  <a:pt x="1527" y="771"/>
                </a:cubicBezTo>
                <a:cubicBezTo>
                  <a:pt x="1527" y="770"/>
                  <a:pt x="1527" y="769"/>
                  <a:pt x="1529" y="768"/>
                </a:cubicBezTo>
                <a:cubicBezTo>
                  <a:pt x="1533" y="765"/>
                  <a:pt x="1536" y="761"/>
                  <a:pt x="1538" y="756"/>
                </a:cubicBezTo>
                <a:cubicBezTo>
                  <a:pt x="1539" y="754"/>
                  <a:pt x="1539" y="752"/>
                  <a:pt x="1536" y="750"/>
                </a:cubicBezTo>
                <a:cubicBezTo>
                  <a:pt x="1535" y="748"/>
                  <a:pt x="1533" y="746"/>
                  <a:pt x="1532" y="744"/>
                </a:cubicBezTo>
                <a:cubicBezTo>
                  <a:pt x="1531" y="743"/>
                  <a:pt x="1530" y="742"/>
                  <a:pt x="1528" y="741"/>
                </a:cubicBezTo>
                <a:cubicBezTo>
                  <a:pt x="1525" y="741"/>
                  <a:pt x="1523" y="741"/>
                  <a:pt x="1521" y="740"/>
                </a:cubicBezTo>
                <a:cubicBezTo>
                  <a:pt x="1520" y="740"/>
                  <a:pt x="1518" y="739"/>
                  <a:pt x="1517" y="738"/>
                </a:cubicBezTo>
                <a:cubicBezTo>
                  <a:pt x="1515" y="736"/>
                  <a:pt x="1513" y="734"/>
                  <a:pt x="1513" y="731"/>
                </a:cubicBezTo>
                <a:cubicBezTo>
                  <a:pt x="1513" y="728"/>
                  <a:pt x="1512" y="725"/>
                  <a:pt x="1512" y="723"/>
                </a:cubicBezTo>
                <a:cubicBezTo>
                  <a:pt x="1512" y="723"/>
                  <a:pt x="1512" y="722"/>
                  <a:pt x="1512" y="722"/>
                </a:cubicBezTo>
                <a:cubicBezTo>
                  <a:pt x="1511" y="722"/>
                  <a:pt x="1510" y="722"/>
                  <a:pt x="1510" y="723"/>
                </a:cubicBezTo>
                <a:cubicBezTo>
                  <a:pt x="1507" y="726"/>
                  <a:pt x="1503" y="730"/>
                  <a:pt x="1500" y="734"/>
                </a:cubicBezTo>
                <a:cubicBezTo>
                  <a:pt x="1498" y="737"/>
                  <a:pt x="1495" y="739"/>
                  <a:pt x="1492" y="738"/>
                </a:cubicBezTo>
                <a:cubicBezTo>
                  <a:pt x="1489" y="738"/>
                  <a:pt x="1486" y="738"/>
                  <a:pt x="1483" y="739"/>
                </a:cubicBezTo>
                <a:cubicBezTo>
                  <a:pt x="1482" y="740"/>
                  <a:pt x="1481" y="739"/>
                  <a:pt x="1480" y="738"/>
                </a:cubicBezTo>
                <a:cubicBezTo>
                  <a:pt x="1479" y="737"/>
                  <a:pt x="1478" y="736"/>
                  <a:pt x="1478" y="735"/>
                </a:cubicBezTo>
                <a:cubicBezTo>
                  <a:pt x="1478" y="732"/>
                  <a:pt x="1477" y="729"/>
                  <a:pt x="1477" y="726"/>
                </a:cubicBezTo>
                <a:cubicBezTo>
                  <a:pt x="1477" y="725"/>
                  <a:pt x="1477" y="725"/>
                  <a:pt x="1476" y="724"/>
                </a:cubicBezTo>
                <a:cubicBezTo>
                  <a:pt x="1476" y="724"/>
                  <a:pt x="1476" y="723"/>
                  <a:pt x="1475" y="723"/>
                </a:cubicBezTo>
                <a:cubicBezTo>
                  <a:pt x="1475" y="723"/>
                  <a:pt x="1474" y="724"/>
                  <a:pt x="1474" y="724"/>
                </a:cubicBezTo>
                <a:cubicBezTo>
                  <a:pt x="1473" y="725"/>
                  <a:pt x="1473" y="726"/>
                  <a:pt x="1472" y="727"/>
                </a:cubicBezTo>
                <a:cubicBezTo>
                  <a:pt x="1471" y="728"/>
                  <a:pt x="1470" y="728"/>
                  <a:pt x="1469" y="727"/>
                </a:cubicBezTo>
                <a:cubicBezTo>
                  <a:pt x="1468" y="726"/>
                  <a:pt x="1467" y="724"/>
                  <a:pt x="1467" y="722"/>
                </a:cubicBezTo>
                <a:cubicBezTo>
                  <a:pt x="1467" y="719"/>
                  <a:pt x="1465" y="717"/>
                  <a:pt x="1463" y="715"/>
                </a:cubicBezTo>
                <a:cubicBezTo>
                  <a:pt x="1462" y="713"/>
                  <a:pt x="1460" y="712"/>
                  <a:pt x="1459" y="710"/>
                </a:cubicBezTo>
                <a:cubicBezTo>
                  <a:pt x="1458" y="710"/>
                  <a:pt x="1457" y="709"/>
                  <a:pt x="1457" y="709"/>
                </a:cubicBezTo>
                <a:cubicBezTo>
                  <a:pt x="1455" y="706"/>
                  <a:pt x="1453" y="703"/>
                  <a:pt x="1452" y="700"/>
                </a:cubicBezTo>
                <a:cubicBezTo>
                  <a:pt x="1451" y="699"/>
                  <a:pt x="1452" y="698"/>
                  <a:pt x="1452" y="697"/>
                </a:cubicBezTo>
                <a:cubicBezTo>
                  <a:pt x="1452" y="696"/>
                  <a:pt x="1452" y="695"/>
                  <a:pt x="1452" y="694"/>
                </a:cubicBezTo>
                <a:cubicBezTo>
                  <a:pt x="1453" y="693"/>
                  <a:pt x="1453" y="693"/>
                  <a:pt x="1454" y="693"/>
                </a:cubicBezTo>
                <a:cubicBezTo>
                  <a:pt x="1455" y="692"/>
                  <a:pt x="1457" y="692"/>
                  <a:pt x="1459" y="692"/>
                </a:cubicBezTo>
                <a:cubicBezTo>
                  <a:pt x="1460" y="692"/>
                  <a:pt x="1462" y="692"/>
                  <a:pt x="1464" y="693"/>
                </a:cubicBezTo>
                <a:cubicBezTo>
                  <a:pt x="1465" y="694"/>
                  <a:pt x="1465" y="695"/>
                  <a:pt x="1466" y="696"/>
                </a:cubicBezTo>
                <a:cubicBezTo>
                  <a:pt x="1468" y="700"/>
                  <a:pt x="1471" y="703"/>
                  <a:pt x="1473" y="707"/>
                </a:cubicBezTo>
                <a:cubicBezTo>
                  <a:pt x="1474" y="708"/>
                  <a:pt x="1475" y="709"/>
                  <a:pt x="1477" y="710"/>
                </a:cubicBezTo>
                <a:cubicBezTo>
                  <a:pt x="1478" y="710"/>
                  <a:pt x="1478" y="710"/>
                  <a:pt x="1479" y="710"/>
                </a:cubicBezTo>
                <a:cubicBezTo>
                  <a:pt x="1481" y="711"/>
                  <a:pt x="1483" y="712"/>
                  <a:pt x="1484" y="713"/>
                </a:cubicBezTo>
                <a:cubicBezTo>
                  <a:pt x="1485" y="715"/>
                  <a:pt x="1487" y="715"/>
                  <a:pt x="1488" y="716"/>
                </a:cubicBezTo>
                <a:cubicBezTo>
                  <a:pt x="1491" y="718"/>
                  <a:pt x="1495" y="719"/>
                  <a:pt x="1499" y="720"/>
                </a:cubicBezTo>
                <a:cubicBezTo>
                  <a:pt x="1500" y="720"/>
                  <a:pt x="1501" y="720"/>
                  <a:pt x="1503" y="719"/>
                </a:cubicBezTo>
                <a:cubicBezTo>
                  <a:pt x="1505" y="718"/>
                  <a:pt x="1507" y="717"/>
                  <a:pt x="1509" y="716"/>
                </a:cubicBezTo>
                <a:cubicBezTo>
                  <a:pt x="1512" y="715"/>
                  <a:pt x="1514" y="716"/>
                  <a:pt x="1515" y="718"/>
                </a:cubicBezTo>
                <a:cubicBezTo>
                  <a:pt x="1516" y="720"/>
                  <a:pt x="1517" y="722"/>
                  <a:pt x="1517" y="724"/>
                </a:cubicBezTo>
                <a:cubicBezTo>
                  <a:pt x="1518" y="726"/>
                  <a:pt x="1520" y="726"/>
                  <a:pt x="1521" y="727"/>
                </a:cubicBezTo>
                <a:cubicBezTo>
                  <a:pt x="1530" y="727"/>
                  <a:pt x="1538" y="729"/>
                  <a:pt x="1546" y="730"/>
                </a:cubicBezTo>
                <a:cubicBezTo>
                  <a:pt x="1549" y="731"/>
                  <a:pt x="1551" y="731"/>
                  <a:pt x="1554" y="731"/>
                </a:cubicBezTo>
                <a:cubicBezTo>
                  <a:pt x="1559" y="730"/>
                  <a:pt x="1564" y="729"/>
                  <a:pt x="1569" y="730"/>
                </a:cubicBezTo>
                <a:cubicBezTo>
                  <a:pt x="1570" y="730"/>
                  <a:pt x="1571" y="730"/>
                  <a:pt x="1572" y="729"/>
                </a:cubicBezTo>
                <a:cubicBezTo>
                  <a:pt x="1576" y="728"/>
                  <a:pt x="1579" y="728"/>
                  <a:pt x="1583" y="728"/>
                </a:cubicBezTo>
                <a:cubicBezTo>
                  <a:pt x="1584" y="728"/>
                  <a:pt x="1585" y="729"/>
                  <a:pt x="1586" y="730"/>
                </a:cubicBezTo>
                <a:cubicBezTo>
                  <a:pt x="1586" y="731"/>
                  <a:pt x="1587" y="732"/>
                  <a:pt x="1588" y="733"/>
                </a:cubicBezTo>
                <a:cubicBezTo>
                  <a:pt x="1589" y="733"/>
                  <a:pt x="1590" y="735"/>
                  <a:pt x="1590" y="736"/>
                </a:cubicBezTo>
                <a:cubicBezTo>
                  <a:pt x="1591" y="739"/>
                  <a:pt x="1593" y="741"/>
                  <a:pt x="1596" y="741"/>
                </a:cubicBezTo>
                <a:cubicBezTo>
                  <a:pt x="1598" y="741"/>
                  <a:pt x="1599" y="743"/>
                  <a:pt x="1601" y="745"/>
                </a:cubicBezTo>
                <a:cubicBezTo>
                  <a:pt x="1603" y="748"/>
                  <a:pt x="1606" y="749"/>
                  <a:pt x="1610" y="749"/>
                </a:cubicBezTo>
                <a:cubicBezTo>
                  <a:pt x="1610" y="749"/>
                  <a:pt x="1611" y="749"/>
                  <a:pt x="1612" y="749"/>
                </a:cubicBezTo>
                <a:cubicBezTo>
                  <a:pt x="1612" y="749"/>
                  <a:pt x="1612" y="749"/>
                  <a:pt x="1612" y="749"/>
                </a:cubicBezTo>
                <a:cubicBezTo>
                  <a:pt x="1612" y="749"/>
                  <a:pt x="1612" y="749"/>
                  <a:pt x="1612" y="749"/>
                </a:cubicBezTo>
                <a:cubicBezTo>
                  <a:pt x="1612" y="749"/>
                  <a:pt x="1612" y="749"/>
                  <a:pt x="1612" y="749"/>
                </a:cubicBezTo>
                <a:cubicBezTo>
                  <a:pt x="1612" y="749"/>
                  <a:pt x="1612" y="749"/>
                  <a:pt x="1612" y="749"/>
                </a:cubicBezTo>
                <a:cubicBezTo>
                  <a:pt x="1611" y="751"/>
                  <a:pt x="1609" y="752"/>
                  <a:pt x="1606" y="751"/>
                </a:cubicBezTo>
                <a:cubicBezTo>
                  <a:pt x="1606" y="751"/>
                  <a:pt x="1605" y="752"/>
                  <a:pt x="1605" y="752"/>
                </a:cubicBezTo>
                <a:cubicBezTo>
                  <a:pt x="1605" y="752"/>
                  <a:pt x="1605" y="753"/>
                  <a:pt x="1605" y="753"/>
                </a:cubicBezTo>
                <a:cubicBezTo>
                  <a:pt x="1608" y="756"/>
                  <a:pt x="1610" y="759"/>
                  <a:pt x="1613" y="761"/>
                </a:cubicBezTo>
                <a:cubicBezTo>
                  <a:pt x="1618" y="766"/>
                  <a:pt x="1620" y="766"/>
                  <a:pt x="1626" y="762"/>
                </a:cubicBezTo>
                <a:cubicBezTo>
                  <a:pt x="1628" y="761"/>
                  <a:pt x="1630" y="759"/>
                  <a:pt x="1630" y="756"/>
                </a:cubicBezTo>
                <a:cubicBezTo>
                  <a:pt x="1630" y="756"/>
                  <a:pt x="1630" y="756"/>
                  <a:pt x="1630" y="756"/>
                </a:cubicBezTo>
                <a:cubicBezTo>
                  <a:pt x="1630" y="756"/>
                  <a:pt x="1630" y="756"/>
                  <a:pt x="1630" y="756"/>
                </a:cubicBezTo>
                <a:cubicBezTo>
                  <a:pt x="1630" y="756"/>
                  <a:pt x="1630" y="756"/>
                  <a:pt x="1630" y="756"/>
                </a:cubicBezTo>
                <a:cubicBezTo>
                  <a:pt x="1630" y="756"/>
                  <a:pt x="1630" y="756"/>
                  <a:pt x="1630" y="756"/>
                </a:cubicBezTo>
                <a:cubicBezTo>
                  <a:pt x="1630" y="756"/>
                  <a:pt x="1630" y="757"/>
                  <a:pt x="1630" y="757"/>
                </a:cubicBezTo>
                <a:cubicBezTo>
                  <a:pt x="1632" y="761"/>
                  <a:pt x="1633" y="764"/>
                  <a:pt x="1633" y="768"/>
                </a:cubicBezTo>
                <a:cubicBezTo>
                  <a:pt x="1633" y="770"/>
                  <a:pt x="1633" y="772"/>
                  <a:pt x="1633" y="774"/>
                </a:cubicBezTo>
                <a:cubicBezTo>
                  <a:pt x="1635" y="778"/>
                  <a:pt x="1636" y="782"/>
                  <a:pt x="1637" y="786"/>
                </a:cubicBezTo>
                <a:cubicBezTo>
                  <a:pt x="1638" y="791"/>
                  <a:pt x="1640" y="794"/>
                  <a:pt x="1640" y="799"/>
                </a:cubicBezTo>
                <a:cubicBezTo>
                  <a:pt x="1640" y="800"/>
                  <a:pt x="1641" y="800"/>
                  <a:pt x="1641" y="801"/>
                </a:cubicBezTo>
                <a:cubicBezTo>
                  <a:pt x="1643" y="804"/>
                  <a:pt x="1644" y="806"/>
                  <a:pt x="1646" y="809"/>
                </a:cubicBezTo>
                <a:cubicBezTo>
                  <a:pt x="1648" y="812"/>
                  <a:pt x="1649" y="815"/>
                  <a:pt x="1650" y="818"/>
                </a:cubicBezTo>
                <a:cubicBezTo>
                  <a:pt x="1651" y="820"/>
                  <a:pt x="1651" y="822"/>
                  <a:pt x="1652" y="823"/>
                </a:cubicBezTo>
                <a:cubicBezTo>
                  <a:pt x="1653" y="827"/>
                  <a:pt x="1654" y="830"/>
                  <a:pt x="1657" y="832"/>
                </a:cubicBezTo>
                <a:cubicBezTo>
                  <a:pt x="1658" y="834"/>
                  <a:pt x="1659" y="836"/>
                  <a:pt x="1660" y="837"/>
                </a:cubicBezTo>
                <a:cubicBezTo>
                  <a:pt x="1662" y="841"/>
                  <a:pt x="1664" y="845"/>
                  <a:pt x="1665" y="850"/>
                </a:cubicBezTo>
                <a:cubicBezTo>
                  <a:pt x="1665" y="852"/>
                  <a:pt x="1666" y="855"/>
                  <a:pt x="1668" y="857"/>
                </a:cubicBezTo>
                <a:cubicBezTo>
                  <a:pt x="1669" y="858"/>
                  <a:pt x="1669" y="858"/>
                  <a:pt x="1670" y="859"/>
                </a:cubicBezTo>
                <a:cubicBezTo>
                  <a:pt x="1672" y="861"/>
                  <a:pt x="1676" y="861"/>
                  <a:pt x="1677" y="858"/>
                </a:cubicBezTo>
                <a:cubicBezTo>
                  <a:pt x="1678" y="858"/>
                  <a:pt x="1678" y="857"/>
                  <a:pt x="1679" y="856"/>
                </a:cubicBezTo>
                <a:cubicBezTo>
                  <a:pt x="1679" y="855"/>
                  <a:pt x="1680" y="854"/>
                  <a:pt x="1682" y="853"/>
                </a:cubicBezTo>
                <a:cubicBezTo>
                  <a:pt x="1683" y="852"/>
                  <a:pt x="1684" y="851"/>
                  <a:pt x="1685" y="849"/>
                </a:cubicBezTo>
                <a:cubicBezTo>
                  <a:pt x="1686" y="847"/>
                  <a:pt x="1687" y="845"/>
                  <a:pt x="1689" y="844"/>
                </a:cubicBezTo>
                <a:cubicBezTo>
                  <a:pt x="1691" y="843"/>
                  <a:pt x="1691" y="842"/>
                  <a:pt x="1691" y="840"/>
                </a:cubicBezTo>
                <a:cubicBezTo>
                  <a:pt x="1691" y="839"/>
                  <a:pt x="1690" y="837"/>
                  <a:pt x="1690" y="836"/>
                </a:cubicBezTo>
                <a:cubicBezTo>
                  <a:pt x="1690" y="834"/>
                  <a:pt x="1690" y="832"/>
                  <a:pt x="1691" y="831"/>
                </a:cubicBezTo>
                <a:cubicBezTo>
                  <a:pt x="1691" y="830"/>
                  <a:pt x="1691" y="829"/>
                  <a:pt x="1692" y="828"/>
                </a:cubicBezTo>
                <a:cubicBezTo>
                  <a:pt x="1693" y="825"/>
                  <a:pt x="1693" y="823"/>
                  <a:pt x="1692" y="820"/>
                </a:cubicBezTo>
                <a:cubicBezTo>
                  <a:pt x="1691" y="819"/>
                  <a:pt x="1691" y="817"/>
                  <a:pt x="1691" y="816"/>
                </a:cubicBezTo>
                <a:cubicBezTo>
                  <a:pt x="1691" y="813"/>
                  <a:pt x="1691" y="809"/>
                  <a:pt x="1691" y="806"/>
                </a:cubicBezTo>
                <a:cubicBezTo>
                  <a:pt x="1691" y="804"/>
                  <a:pt x="1692" y="803"/>
                  <a:pt x="1694" y="802"/>
                </a:cubicBezTo>
                <a:cubicBezTo>
                  <a:pt x="1695" y="802"/>
                  <a:pt x="1696" y="802"/>
                  <a:pt x="1697" y="802"/>
                </a:cubicBezTo>
                <a:cubicBezTo>
                  <a:pt x="1698" y="799"/>
                  <a:pt x="1701" y="798"/>
                  <a:pt x="1703" y="797"/>
                </a:cubicBezTo>
                <a:cubicBezTo>
                  <a:pt x="1704" y="797"/>
                  <a:pt x="1705" y="796"/>
                  <a:pt x="1705" y="795"/>
                </a:cubicBezTo>
                <a:cubicBezTo>
                  <a:pt x="1706" y="793"/>
                  <a:pt x="1706" y="792"/>
                  <a:pt x="1707" y="791"/>
                </a:cubicBezTo>
                <a:cubicBezTo>
                  <a:pt x="1711" y="789"/>
                  <a:pt x="1713" y="785"/>
                  <a:pt x="1716" y="783"/>
                </a:cubicBezTo>
                <a:cubicBezTo>
                  <a:pt x="1718" y="782"/>
                  <a:pt x="1719" y="781"/>
                  <a:pt x="1720" y="779"/>
                </a:cubicBezTo>
                <a:cubicBezTo>
                  <a:pt x="1721" y="777"/>
                  <a:pt x="1722" y="776"/>
                  <a:pt x="1724" y="774"/>
                </a:cubicBezTo>
                <a:cubicBezTo>
                  <a:pt x="1725" y="773"/>
                  <a:pt x="1726" y="773"/>
                  <a:pt x="1727" y="772"/>
                </a:cubicBezTo>
                <a:cubicBezTo>
                  <a:pt x="1732" y="770"/>
                  <a:pt x="1735" y="766"/>
                  <a:pt x="1735" y="761"/>
                </a:cubicBezTo>
                <a:cubicBezTo>
                  <a:pt x="1735" y="759"/>
                  <a:pt x="1737" y="758"/>
                  <a:pt x="1738" y="757"/>
                </a:cubicBezTo>
                <a:cubicBezTo>
                  <a:pt x="1740" y="756"/>
                  <a:pt x="1742" y="756"/>
                  <a:pt x="1745" y="756"/>
                </a:cubicBezTo>
                <a:cubicBezTo>
                  <a:pt x="1750" y="756"/>
                  <a:pt x="1755" y="755"/>
                  <a:pt x="1760" y="752"/>
                </a:cubicBezTo>
                <a:cubicBezTo>
                  <a:pt x="1761" y="751"/>
                  <a:pt x="1764" y="751"/>
                  <a:pt x="1766" y="749"/>
                </a:cubicBezTo>
                <a:cubicBezTo>
                  <a:pt x="1766" y="749"/>
                  <a:pt x="1767" y="749"/>
                  <a:pt x="1767" y="750"/>
                </a:cubicBezTo>
                <a:cubicBezTo>
                  <a:pt x="1768" y="751"/>
                  <a:pt x="1768" y="753"/>
                  <a:pt x="1769" y="755"/>
                </a:cubicBezTo>
                <a:cubicBezTo>
                  <a:pt x="1771" y="761"/>
                  <a:pt x="1774" y="765"/>
                  <a:pt x="1779" y="768"/>
                </a:cubicBezTo>
                <a:cubicBezTo>
                  <a:pt x="1780" y="768"/>
                  <a:pt x="1781" y="769"/>
                  <a:pt x="1782" y="769"/>
                </a:cubicBezTo>
                <a:cubicBezTo>
                  <a:pt x="1783" y="770"/>
                  <a:pt x="1783" y="771"/>
                  <a:pt x="1783" y="773"/>
                </a:cubicBezTo>
                <a:cubicBezTo>
                  <a:pt x="1782" y="776"/>
                  <a:pt x="1783" y="776"/>
                  <a:pt x="1785" y="778"/>
                </a:cubicBezTo>
                <a:cubicBezTo>
                  <a:pt x="1787" y="778"/>
                  <a:pt x="1788" y="779"/>
                  <a:pt x="1789" y="781"/>
                </a:cubicBezTo>
                <a:cubicBezTo>
                  <a:pt x="1789" y="781"/>
                  <a:pt x="1789" y="781"/>
                  <a:pt x="1789" y="782"/>
                </a:cubicBezTo>
                <a:cubicBezTo>
                  <a:pt x="1791" y="785"/>
                  <a:pt x="1792" y="789"/>
                  <a:pt x="1791" y="793"/>
                </a:cubicBezTo>
                <a:cubicBezTo>
                  <a:pt x="1790" y="795"/>
                  <a:pt x="1791" y="796"/>
                  <a:pt x="1791" y="798"/>
                </a:cubicBezTo>
                <a:cubicBezTo>
                  <a:pt x="1791" y="799"/>
                  <a:pt x="1793" y="801"/>
                  <a:pt x="1794" y="801"/>
                </a:cubicBezTo>
                <a:cubicBezTo>
                  <a:pt x="1797" y="800"/>
                  <a:pt x="1800" y="800"/>
                  <a:pt x="1803" y="798"/>
                </a:cubicBezTo>
                <a:cubicBezTo>
                  <a:pt x="1805" y="797"/>
                  <a:pt x="1807" y="795"/>
                  <a:pt x="1809" y="794"/>
                </a:cubicBezTo>
                <a:close/>
                <a:moveTo>
                  <a:pt x="1960" y="668"/>
                </a:moveTo>
                <a:cubicBezTo>
                  <a:pt x="1961" y="668"/>
                  <a:pt x="1961" y="668"/>
                  <a:pt x="1961" y="669"/>
                </a:cubicBezTo>
                <a:cubicBezTo>
                  <a:pt x="1961" y="669"/>
                  <a:pt x="1961" y="669"/>
                  <a:pt x="1961" y="670"/>
                </a:cubicBezTo>
                <a:cubicBezTo>
                  <a:pt x="1961" y="670"/>
                  <a:pt x="1961" y="670"/>
                  <a:pt x="1961" y="670"/>
                </a:cubicBezTo>
                <a:cubicBezTo>
                  <a:pt x="1961" y="670"/>
                  <a:pt x="1961" y="670"/>
                  <a:pt x="1961" y="670"/>
                </a:cubicBezTo>
                <a:cubicBezTo>
                  <a:pt x="1961" y="670"/>
                  <a:pt x="1961" y="670"/>
                  <a:pt x="1961" y="670"/>
                </a:cubicBezTo>
                <a:cubicBezTo>
                  <a:pt x="1961" y="670"/>
                  <a:pt x="1961" y="670"/>
                  <a:pt x="1961" y="670"/>
                </a:cubicBezTo>
                <a:cubicBezTo>
                  <a:pt x="1960" y="670"/>
                  <a:pt x="1960" y="669"/>
                  <a:pt x="1960" y="669"/>
                </a:cubicBezTo>
                <a:cubicBezTo>
                  <a:pt x="1959" y="669"/>
                  <a:pt x="1960" y="668"/>
                  <a:pt x="1960" y="668"/>
                </a:cubicBezTo>
                <a:close/>
                <a:moveTo>
                  <a:pt x="1945" y="649"/>
                </a:moveTo>
                <a:cubicBezTo>
                  <a:pt x="1946" y="650"/>
                  <a:pt x="1946" y="650"/>
                  <a:pt x="1946" y="650"/>
                </a:cubicBezTo>
                <a:cubicBezTo>
                  <a:pt x="1946" y="650"/>
                  <a:pt x="1946" y="650"/>
                  <a:pt x="1945" y="650"/>
                </a:cubicBezTo>
                <a:cubicBezTo>
                  <a:pt x="1945" y="650"/>
                  <a:pt x="1945" y="650"/>
                  <a:pt x="1945" y="650"/>
                </a:cubicBezTo>
                <a:cubicBezTo>
                  <a:pt x="1944" y="650"/>
                  <a:pt x="1945" y="649"/>
                  <a:pt x="1945" y="649"/>
                </a:cubicBezTo>
                <a:close/>
                <a:moveTo>
                  <a:pt x="1937" y="689"/>
                </a:moveTo>
                <a:cubicBezTo>
                  <a:pt x="1937" y="689"/>
                  <a:pt x="1937" y="689"/>
                  <a:pt x="1937" y="689"/>
                </a:cubicBezTo>
                <a:cubicBezTo>
                  <a:pt x="1938" y="689"/>
                  <a:pt x="1938" y="690"/>
                  <a:pt x="1938" y="691"/>
                </a:cubicBezTo>
                <a:cubicBezTo>
                  <a:pt x="1938" y="691"/>
                  <a:pt x="1937" y="691"/>
                  <a:pt x="1937" y="691"/>
                </a:cubicBezTo>
                <a:cubicBezTo>
                  <a:pt x="1937" y="690"/>
                  <a:pt x="1937" y="690"/>
                  <a:pt x="1936" y="689"/>
                </a:cubicBezTo>
                <a:cubicBezTo>
                  <a:pt x="1936" y="689"/>
                  <a:pt x="1937" y="689"/>
                  <a:pt x="1937" y="689"/>
                </a:cubicBezTo>
                <a:close/>
                <a:moveTo>
                  <a:pt x="2013" y="521"/>
                </a:moveTo>
                <a:cubicBezTo>
                  <a:pt x="2013" y="521"/>
                  <a:pt x="2015" y="522"/>
                  <a:pt x="2015" y="522"/>
                </a:cubicBezTo>
                <a:cubicBezTo>
                  <a:pt x="2015" y="523"/>
                  <a:pt x="2015" y="524"/>
                  <a:pt x="2015" y="525"/>
                </a:cubicBezTo>
                <a:cubicBezTo>
                  <a:pt x="2015" y="525"/>
                  <a:pt x="2014" y="526"/>
                  <a:pt x="2014" y="527"/>
                </a:cubicBezTo>
                <a:cubicBezTo>
                  <a:pt x="2014" y="527"/>
                  <a:pt x="2013" y="527"/>
                  <a:pt x="2013" y="527"/>
                </a:cubicBezTo>
                <a:cubicBezTo>
                  <a:pt x="2012" y="526"/>
                  <a:pt x="2011" y="525"/>
                  <a:pt x="2011" y="523"/>
                </a:cubicBezTo>
                <a:cubicBezTo>
                  <a:pt x="2011" y="522"/>
                  <a:pt x="2012" y="521"/>
                  <a:pt x="2013" y="521"/>
                </a:cubicBezTo>
                <a:close/>
                <a:moveTo>
                  <a:pt x="2168" y="194"/>
                </a:moveTo>
                <a:cubicBezTo>
                  <a:pt x="2169" y="194"/>
                  <a:pt x="2170" y="193"/>
                  <a:pt x="2171" y="193"/>
                </a:cubicBezTo>
                <a:cubicBezTo>
                  <a:pt x="2171" y="193"/>
                  <a:pt x="2172" y="193"/>
                  <a:pt x="2172" y="193"/>
                </a:cubicBezTo>
                <a:cubicBezTo>
                  <a:pt x="2172" y="194"/>
                  <a:pt x="2172" y="194"/>
                  <a:pt x="2172" y="194"/>
                </a:cubicBezTo>
                <a:cubicBezTo>
                  <a:pt x="2171" y="195"/>
                  <a:pt x="2170" y="196"/>
                  <a:pt x="2169" y="196"/>
                </a:cubicBezTo>
                <a:cubicBezTo>
                  <a:pt x="2169" y="196"/>
                  <a:pt x="2168" y="196"/>
                  <a:pt x="2167" y="195"/>
                </a:cubicBezTo>
                <a:cubicBezTo>
                  <a:pt x="2167" y="194"/>
                  <a:pt x="2167" y="194"/>
                  <a:pt x="2168" y="194"/>
                </a:cubicBezTo>
                <a:close/>
                <a:moveTo>
                  <a:pt x="2021" y="143"/>
                </a:moveTo>
                <a:cubicBezTo>
                  <a:pt x="2021" y="143"/>
                  <a:pt x="2021" y="143"/>
                  <a:pt x="2021" y="143"/>
                </a:cubicBezTo>
                <a:cubicBezTo>
                  <a:pt x="2022" y="143"/>
                  <a:pt x="2022" y="143"/>
                  <a:pt x="2022" y="144"/>
                </a:cubicBezTo>
                <a:cubicBezTo>
                  <a:pt x="2022" y="144"/>
                  <a:pt x="2022" y="144"/>
                  <a:pt x="2022" y="144"/>
                </a:cubicBezTo>
                <a:cubicBezTo>
                  <a:pt x="2021" y="144"/>
                  <a:pt x="2021" y="143"/>
                  <a:pt x="2021" y="143"/>
                </a:cubicBezTo>
                <a:cubicBezTo>
                  <a:pt x="2021" y="143"/>
                  <a:pt x="2021" y="143"/>
                  <a:pt x="2021" y="143"/>
                </a:cubicBezTo>
                <a:cubicBezTo>
                  <a:pt x="2020" y="143"/>
                  <a:pt x="2020" y="143"/>
                  <a:pt x="2020" y="142"/>
                </a:cubicBezTo>
                <a:cubicBezTo>
                  <a:pt x="2020" y="142"/>
                  <a:pt x="2021" y="143"/>
                  <a:pt x="2021" y="143"/>
                </a:cubicBezTo>
                <a:close/>
                <a:moveTo>
                  <a:pt x="1942" y="418"/>
                </a:moveTo>
                <a:cubicBezTo>
                  <a:pt x="1942" y="417"/>
                  <a:pt x="1942" y="417"/>
                  <a:pt x="1942" y="417"/>
                </a:cubicBezTo>
                <a:cubicBezTo>
                  <a:pt x="1943" y="417"/>
                  <a:pt x="1943" y="417"/>
                  <a:pt x="1943" y="417"/>
                </a:cubicBezTo>
                <a:cubicBezTo>
                  <a:pt x="1943" y="417"/>
                  <a:pt x="1943" y="417"/>
                  <a:pt x="1943" y="417"/>
                </a:cubicBezTo>
                <a:cubicBezTo>
                  <a:pt x="1943" y="417"/>
                  <a:pt x="1943" y="417"/>
                  <a:pt x="1942" y="417"/>
                </a:cubicBezTo>
                <a:cubicBezTo>
                  <a:pt x="1942" y="418"/>
                  <a:pt x="1942" y="418"/>
                  <a:pt x="1942" y="418"/>
                </a:cubicBezTo>
                <a:cubicBezTo>
                  <a:pt x="1941" y="418"/>
                  <a:pt x="1941" y="418"/>
                  <a:pt x="1941" y="418"/>
                </a:cubicBezTo>
                <a:lnTo>
                  <a:pt x="1942" y="418"/>
                </a:lnTo>
                <a:close/>
                <a:moveTo>
                  <a:pt x="1907" y="691"/>
                </a:moveTo>
                <a:cubicBezTo>
                  <a:pt x="1907" y="691"/>
                  <a:pt x="1907" y="691"/>
                  <a:pt x="1907" y="691"/>
                </a:cubicBezTo>
                <a:cubicBezTo>
                  <a:pt x="1908" y="691"/>
                  <a:pt x="1909" y="691"/>
                  <a:pt x="1910" y="690"/>
                </a:cubicBezTo>
                <a:cubicBezTo>
                  <a:pt x="1911" y="690"/>
                  <a:pt x="1911" y="690"/>
                  <a:pt x="1911" y="691"/>
                </a:cubicBezTo>
                <a:cubicBezTo>
                  <a:pt x="1911" y="691"/>
                  <a:pt x="1911" y="692"/>
                  <a:pt x="1910" y="692"/>
                </a:cubicBezTo>
                <a:cubicBezTo>
                  <a:pt x="1909" y="693"/>
                  <a:pt x="1908" y="692"/>
                  <a:pt x="1907" y="691"/>
                </a:cubicBezTo>
                <a:cubicBezTo>
                  <a:pt x="1907" y="691"/>
                  <a:pt x="1907" y="691"/>
                  <a:pt x="1906" y="691"/>
                </a:cubicBezTo>
                <a:cubicBezTo>
                  <a:pt x="1906" y="691"/>
                  <a:pt x="1906" y="691"/>
                  <a:pt x="1906" y="691"/>
                </a:cubicBezTo>
                <a:cubicBezTo>
                  <a:pt x="1907" y="691"/>
                  <a:pt x="1907" y="691"/>
                  <a:pt x="1907" y="691"/>
                </a:cubicBezTo>
                <a:close/>
                <a:moveTo>
                  <a:pt x="1903" y="127"/>
                </a:moveTo>
                <a:cubicBezTo>
                  <a:pt x="1903" y="126"/>
                  <a:pt x="1903" y="126"/>
                  <a:pt x="1903" y="126"/>
                </a:cubicBezTo>
                <a:cubicBezTo>
                  <a:pt x="1903" y="127"/>
                  <a:pt x="1903" y="127"/>
                  <a:pt x="1903" y="127"/>
                </a:cubicBezTo>
                <a:cubicBezTo>
                  <a:pt x="1903" y="127"/>
                  <a:pt x="1903" y="127"/>
                  <a:pt x="1903" y="127"/>
                </a:cubicBezTo>
                <a:cubicBezTo>
                  <a:pt x="1905" y="128"/>
                  <a:pt x="1905" y="129"/>
                  <a:pt x="1905" y="130"/>
                </a:cubicBezTo>
                <a:cubicBezTo>
                  <a:pt x="1905" y="131"/>
                  <a:pt x="1904" y="132"/>
                  <a:pt x="1904" y="133"/>
                </a:cubicBezTo>
                <a:cubicBezTo>
                  <a:pt x="1904" y="133"/>
                  <a:pt x="1903" y="133"/>
                  <a:pt x="1903" y="133"/>
                </a:cubicBezTo>
                <a:cubicBezTo>
                  <a:pt x="1903" y="133"/>
                  <a:pt x="1903" y="133"/>
                  <a:pt x="1903" y="133"/>
                </a:cubicBezTo>
                <a:cubicBezTo>
                  <a:pt x="1903" y="131"/>
                  <a:pt x="1903" y="129"/>
                  <a:pt x="1903" y="127"/>
                </a:cubicBezTo>
                <a:cubicBezTo>
                  <a:pt x="1903" y="127"/>
                  <a:pt x="1903" y="127"/>
                  <a:pt x="1903" y="127"/>
                </a:cubicBezTo>
                <a:close/>
                <a:moveTo>
                  <a:pt x="1895" y="491"/>
                </a:moveTo>
                <a:cubicBezTo>
                  <a:pt x="1895" y="491"/>
                  <a:pt x="1895" y="491"/>
                  <a:pt x="1895" y="491"/>
                </a:cubicBezTo>
                <a:cubicBezTo>
                  <a:pt x="1895" y="490"/>
                  <a:pt x="1895" y="490"/>
                  <a:pt x="1895" y="489"/>
                </a:cubicBezTo>
                <a:cubicBezTo>
                  <a:pt x="1895" y="489"/>
                  <a:pt x="1896" y="490"/>
                  <a:pt x="1896" y="490"/>
                </a:cubicBezTo>
                <a:cubicBezTo>
                  <a:pt x="1896" y="490"/>
                  <a:pt x="1895" y="491"/>
                  <a:pt x="1895" y="491"/>
                </a:cubicBezTo>
                <a:close/>
                <a:moveTo>
                  <a:pt x="1896" y="122"/>
                </a:moveTo>
                <a:cubicBezTo>
                  <a:pt x="1896" y="122"/>
                  <a:pt x="1897" y="123"/>
                  <a:pt x="1897" y="123"/>
                </a:cubicBezTo>
                <a:cubicBezTo>
                  <a:pt x="1897" y="123"/>
                  <a:pt x="1897" y="123"/>
                  <a:pt x="1897" y="123"/>
                </a:cubicBezTo>
                <a:cubicBezTo>
                  <a:pt x="1896" y="124"/>
                  <a:pt x="1896" y="125"/>
                  <a:pt x="1895" y="125"/>
                </a:cubicBezTo>
                <a:cubicBezTo>
                  <a:pt x="1895" y="125"/>
                  <a:pt x="1895" y="125"/>
                  <a:pt x="1894" y="126"/>
                </a:cubicBezTo>
                <a:cubicBezTo>
                  <a:pt x="1894" y="126"/>
                  <a:pt x="1893" y="125"/>
                  <a:pt x="1893" y="125"/>
                </a:cubicBezTo>
                <a:cubicBezTo>
                  <a:pt x="1893" y="123"/>
                  <a:pt x="1894" y="122"/>
                  <a:pt x="1896" y="122"/>
                </a:cubicBezTo>
                <a:close/>
                <a:moveTo>
                  <a:pt x="1867" y="153"/>
                </a:moveTo>
                <a:cubicBezTo>
                  <a:pt x="1868" y="153"/>
                  <a:pt x="1869" y="154"/>
                  <a:pt x="1870" y="154"/>
                </a:cubicBezTo>
                <a:cubicBezTo>
                  <a:pt x="1870" y="154"/>
                  <a:pt x="1870" y="154"/>
                  <a:pt x="1870" y="155"/>
                </a:cubicBezTo>
                <a:cubicBezTo>
                  <a:pt x="1870" y="155"/>
                  <a:pt x="1870" y="156"/>
                  <a:pt x="1869" y="156"/>
                </a:cubicBezTo>
                <a:cubicBezTo>
                  <a:pt x="1868" y="156"/>
                  <a:pt x="1867" y="156"/>
                  <a:pt x="1866" y="154"/>
                </a:cubicBezTo>
                <a:cubicBezTo>
                  <a:pt x="1866" y="154"/>
                  <a:pt x="1866" y="153"/>
                  <a:pt x="1867" y="153"/>
                </a:cubicBezTo>
                <a:close/>
                <a:moveTo>
                  <a:pt x="1864" y="823"/>
                </a:moveTo>
                <a:cubicBezTo>
                  <a:pt x="1864" y="823"/>
                  <a:pt x="1865" y="823"/>
                  <a:pt x="1865" y="823"/>
                </a:cubicBezTo>
                <a:cubicBezTo>
                  <a:pt x="1864" y="823"/>
                  <a:pt x="1864" y="823"/>
                  <a:pt x="1864" y="823"/>
                </a:cubicBezTo>
                <a:cubicBezTo>
                  <a:pt x="1864" y="823"/>
                  <a:pt x="1864" y="823"/>
                  <a:pt x="1864" y="823"/>
                </a:cubicBezTo>
                <a:close/>
                <a:moveTo>
                  <a:pt x="1684" y="116"/>
                </a:moveTo>
                <a:cubicBezTo>
                  <a:pt x="1684" y="116"/>
                  <a:pt x="1684" y="117"/>
                  <a:pt x="1685" y="117"/>
                </a:cubicBezTo>
                <a:cubicBezTo>
                  <a:pt x="1684" y="117"/>
                  <a:pt x="1684" y="117"/>
                  <a:pt x="1684" y="116"/>
                </a:cubicBezTo>
                <a:cubicBezTo>
                  <a:pt x="1684" y="116"/>
                  <a:pt x="1684" y="116"/>
                  <a:pt x="1684" y="116"/>
                </a:cubicBezTo>
                <a:close/>
                <a:moveTo>
                  <a:pt x="1172" y="380"/>
                </a:moveTo>
                <a:cubicBezTo>
                  <a:pt x="1172" y="380"/>
                  <a:pt x="1172" y="380"/>
                  <a:pt x="1172" y="380"/>
                </a:cubicBezTo>
                <a:cubicBezTo>
                  <a:pt x="1173" y="380"/>
                  <a:pt x="1173" y="380"/>
                  <a:pt x="1173" y="380"/>
                </a:cubicBezTo>
                <a:lnTo>
                  <a:pt x="1172" y="380"/>
                </a:lnTo>
                <a:close/>
                <a:moveTo>
                  <a:pt x="1195" y="434"/>
                </a:moveTo>
                <a:cubicBezTo>
                  <a:pt x="1195" y="435"/>
                  <a:pt x="1194" y="436"/>
                  <a:pt x="1192" y="437"/>
                </a:cubicBezTo>
                <a:cubicBezTo>
                  <a:pt x="1191" y="437"/>
                  <a:pt x="1190" y="437"/>
                  <a:pt x="1188" y="437"/>
                </a:cubicBezTo>
                <a:cubicBezTo>
                  <a:pt x="1188" y="437"/>
                  <a:pt x="1188" y="437"/>
                  <a:pt x="1188" y="437"/>
                </a:cubicBezTo>
                <a:cubicBezTo>
                  <a:pt x="1188" y="437"/>
                  <a:pt x="1188" y="437"/>
                  <a:pt x="1188" y="437"/>
                </a:cubicBezTo>
                <a:cubicBezTo>
                  <a:pt x="1188" y="437"/>
                  <a:pt x="1188" y="437"/>
                  <a:pt x="1188" y="437"/>
                </a:cubicBezTo>
                <a:cubicBezTo>
                  <a:pt x="1188" y="437"/>
                  <a:pt x="1188" y="437"/>
                  <a:pt x="1188" y="437"/>
                </a:cubicBezTo>
                <a:cubicBezTo>
                  <a:pt x="1188" y="435"/>
                  <a:pt x="1188" y="433"/>
                  <a:pt x="1191" y="432"/>
                </a:cubicBezTo>
                <a:cubicBezTo>
                  <a:pt x="1191" y="432"/>
                  <a:pt x="1191" y="431"/>
                  <a:pt x="1192" y="430"/>
                </a:cubicBezTo>
                <a:cubicBezTo>
                  <a:pt x="1193" y="429"/>
                  <a:pt x="1193" y="429"/>
                  <a:pt x="1194" y="429"/>
                </a:cubicBezTo>
                <a:cubicBezTo>
                  <a:pt x="1194" y="430"/>
                  <a:pt x="1195" y="430"/>
                  <a:pt x="1195" y="431"/>
                </a:cubicBezTo>
                <a:cubicBezTo>
                  <a:pt x="1195" y="432"/>
                  <a:pt x="1195" y="433"/>
                  <a:pt x="1195" y="434"/>
                </a:cubicBezTo>
                <a:close/>
                <a:moveTo>
                  <a:pt x="1201" y="438"/>
                </a:moveTo>
                <a:cubicBezTo>
                  <a:pt x="1201" y="438"/>
                  <a:pt x="1201" y="439"/>
                  <a:pt x="1201" y="439"/>
                </a:cubicBezTo>
                <a:cubicBezTo>
                  <a:pt x="1200" y="439"/>
                  <a:pt x="1200" y="439"/>
                  <a:pt x="1200" y="439"/>
                </a:cubicBezTo>
                <a:cubicBezTo>
                  <a:pt x="1200" y="439"/>
                  <a:pt x="1200" y="440"/>
                  <a:pt x="1200" y="440"/>
                </a:cubicBezTo>
                <a:cubicBezTo>
                  <a:pt x="1200" y="439"/>
                  <a:pt x="1200" y="439"/>
                  <a:pt x="1200" y="438"/>
                </a:cubicBezTo>
                <a:cubicBezTo>
                  <a:pt x="1200" y="438"/>
                  <a:pt x="1200" y="438"/>
                  <a:pt x="1201" y="438"/>
                </a:cubicBezTo>
                <a:cubicBezTo>
                  <a:pt x="1201" y="438"/>
                  <a:pt x="1201" y="437"/>
                  <a:pt x="1201" y="437"/>
                </a:cubicBezTo>
                <a:cubicBezTo>
                  <a:pt x="1201" y="437"/>
                  <a:pt x="1201" y="437"/>
                  <a:pt x="1201" y="437"/>
                </a:cubicBezTo>
                <a:cubicBezTo>
                  <a:pt x="1201" y="438"/>
                  <a:pt x="1201" y="438"/>
                  <a:pt x="1201" y="438"/>
                </a:cubicBezTo>
                <a:close/>
                <a:moveTo>
                  <a:pt x="1215" y="425"/>
                </a:moveTo>
                <a:cubicBezTo>
                  <a:pt x="1215" y="425"/>
                  <a:pt x="1215" y="425"/>
                  <a:pt x="1216" y="425"/>
                </a:cubicBezTo>
                <a:cubicBezTo>
                  <a:pt x="1216" y="425"/>
                  <a:pt x="1217" y="425"/>
                  <a:pt x="1217" y="426"/>
                </a:cubicBezTo>
                <a:cubicBezTo>
                  <a:pt x="1217" y="426"/>
                  <a:pt x="1217" y="426"/>
                  <a:pt x="1217" y="426"/>
                </a:cubicBezTo>
                <a:cubicBezTo>
                  <a:pt x="1217" y="426"/>
                  <a:pt x="1216" y="426"/>
                  <a:pt x="1215" y="426"/>
                </a:cubicBezTo>
                <a:cubicBezTo>
                  <a:pt x="1215" y="426"/>
                  <a:pt x="1214" y="426"/>
                  <a:pt x="1215" y="425"/>
                </a:cubicBezTo>
                <a:close/>
                <a:moveTo>
                  <a:pt x="1228" y="294"/>
                </a:moveTo>
                <a:cubicBezTo>
                  <a:pt x="1228" y="294"/>
                  <a:pt x="1228" y="294"/>
                  <a:pt x="1227" y="294"/>
                </a:cubicBezTo>
                <a:cubicBezTo>
                  <a:pt x="1227" y="295"/>
                  <a:pt x="1226" y="295"/>
                  <a:pt x="1226" y="294"/>
                </a:cubicBezTo>
                <a:cubicBezTo>
                  <a:pt x="1226" y="294"/>
                  <a:pt x="1226" y="293"/>
                  <a:pt x="1226" y="293"/>
                </a:cubicBezTo>
                <a:cubicBezTo>
                  <a:pt x="1226" y="293"/>
                  <a:pt x="1227" y="292"/>
                  <a:pt x="1227" y="292"/>
                </a:cubicBezTo>
                <a:cubicBezTo>
                  <a:pt x="1228" y="292"/>
                  <a:pt x="1229" y="294"/>
                  <a:pt x="1228" y="294"/>
                </a:cubicBezTo>
                <a:close/>
                <a:moveTo>
                  <a:pt x="1237" y="288"/>
                </a:moveTo>
                <a:cubicBezTo>
                  <a:pt x="1237" y="289"/>
                  <a:pt x="1237" y="289"/>
                  <a:pt x="1237" y="289"/>
                </a:cubicBezTo>
                <a:cubicBezTo>
                  <a:pt x="1237" y="289"/>
                  <a:pt x="1237" y="290"/>
                  <a:pt x="1236" y="290"/>
                </a:cubicBezTo>
                <a:cubicBezTo>
                  <a:pt x="1236" y="290"/>
                  <a:pt x="1236" y="289"/>
                  <a:pt x="1236" y="289"/>
                </a:cubicBezTo>
                <a:cubicBezTo>
                  <a:pt x="1236" y="289"/>
                  <a:pt x="1237" y="289"/>
                  <a:pt x="1237" y="289"/>
                </a:cubicBezTo>
                <a:cubicBezTo>
                  <a:pt x="1237" y="288"/>
                  <a:pt x="1237" y="288"/>
                  <a:pt x="1237" y="288"/>
                </a:cubicBezTo>
                <a:cubicBezTo>
                  <a:pt x="1238" y="288"/>
                  <a:pt x="1238" y="288"/>
                  <a:pt x="1238" y="288"/>
                </a:cubicBezTo>
                <a:lnTo>
                  <a:pt x="1237" y="288"/>
                </a:lnTo>
                <a:close/>
                <a:moveTo>
                  <a:pt x="1250" y="284"/>
                </a:moveTo>
                <a:cubicBezTo>
                  <a:pt x="1250" y="284"/>
                  <a:pt x="1250" y="285"/>
                  <a:pt x="1250" y="285"/>
                </a:cubicBezTo>
                <a:cubicBezTo>
                  <a:pt x="1249" y="285"/>
                  <a:pt x="1249" y="285"/>
                  <a:pt x="1249" y="285"/>
                </a:cubicBezTo>
                <a:cubicBezTo>
                  <a:pt x="1249" y="286"/>
                  <a:pt x="1249" y="288"/>
                  <a:pt x="1249" y="289"/>
                </a:cubicBezTo>
                <a:cubicBezTo>
                  <a:pt x="1249" y="289"/>
                  <a:pt x="1249" y="289"/>
                  <a:pt x="1249" y="289"/>
                </a:cubicBezTo>
                <a:cubicBezTo>
                  <a:pt x="1249" y="289"/>
                  <a:pt x="1248" y="289"/>
                  <a:pt x="1248" y="289"/>
                </a:cubicBezTo>
                <a:cubicBezTo>
                  <a:pt x="1248" y="287"/>
                  <a:pt x="1249" y="286"/>
                  <a:pt x="1249" y="285"/>
                </a:cubicBezTo>
                <a:cubicBezTo>
                  <a:pt x="1249" y="285"/>
                  <a:pt x="1249" y="285"/>
                  <a:pt x="1249" y="284"/>
                </a:cubicBezTo>
                <a:cubicBezTo>
                  <a:pt x="1250" y="284"/>
                  <a:pt x="1250" y="284"/>
                  <a:pt x="1250" y="284"/>
                </a:cubicBezTo>
                <a:cubicBezTo>
                  <a:pt x="1250" y="284"/>
                  <a:pt x="1250" y="284"/>
                  <a:pt x="1250" y="284"/>
                </a:cubicBezTo>
                <a:cubicBezTo>
                  <a:pt x="1250" y="284"/>
                  <a:pt x="1250" y="284"/>
                  <a:pt x="1250" y="284"/>
                </a:cubicBezTo>
                <a:close/>
                <a:moveTo>
                  <a:pt x="1264" y="399"/>
                </a:moveTo>
                <a:cubicBezTo>
                  <a:pt x="1265" y="398"/>
                  <a:pt x="1265" y="398"/>
                  <a:pt x="1265" y="398"/>
                </a:cubicBezTo>
                <a:cubicBezTo>
                  <a:pt x="1265" y="399"/>
                  <a:pt x="1265" y="399"/>
                  <a:pt x="1265" y="399"/>
                </a:cubicBezTo>
                <a:lnTo>
                  <a:pt x="1264" y="399"/>
                </a:lnTo>
                <a:close/>
                <a:moveTo>
                  <a:pt x="1266" y="306"/>
                </a:moveTo>
                <a:cubicBezTo>
                  <a:pt x="1266" y="305"/>
                  <a:pt x="1267" y="305"/>
                  <a:pt x="1267" y="304"/>
                </a:cubicBezTo>
                <a:cubicBezTo>
                  <a:pt x="1267" y="304"/>
                  <a:pt x="1267" y="304"/>
                  <a:pt x="1267" y="304"/>
                </a:cubicBezTo>
                <a:cubicBezTo>
                  <a:pt x="1267" y="303"/>
                  <a:pt x="1267" y="303"/>
                  <a:pt x="1267" y="303"/>
                </a:cubicBezTo>
                <a:cubicBezTo>
                  <a:pt x="1267" y="304"/>
                  <a:pt x="1267" y="304"/>
                  <a:pt x="1267" y="304"/>
                </a:cubicBezTo>
                <a:cubicBezTo>
                  <a:pt x="1267" y="304"/>
                  <a:pt x="1267" y="304"/>
                  <a:pt x="1267" y="304"/>
                </a:cubicBezTo>
                <a:cubicBezTo>
                  <a:pt x="1267" y="305"/>
                  <a:pt x="1268" y="306"/>
                  <a:pt x="1268" y="306"/>
                </a:cubicBezTo>
                <a:cubicBezTo>
                  <a:pt x="1268" y="307"/>
                  <a:pt x="1267" y="307"/>
                  <a:pt x="1267" y="307"/>
                </a:cubicBezTo>
                <a:cubicBezTo>
                  <a:pt x="1267" y="308"/>
                  <a:pt x="1266" y="308"/>
                  <a:pt x="1266" y="307"/>
                </a:cubicBezTo>
                <a:cubicBezTo>
                  <a:pt x="1266" y="307"/>
                  <a:pt x="1265" y="306"/>
                  <a:pt x="1266" y="306"/>
                </a:cubicBezTo>
                <a:close/>
                <a:moveTo>
                  <a:pt x="1269" y="386"/>
                </a:moveTo>
                <a:cubicBezTo>
                  <a:pt x="1269" y="386"/>
                  <a:pt x="1268" y="386"/>
                  <a:pt x="1268" y="386"/>
                </a:cubicBezTo>
                <a:cubicBezTo>
                  <a:pt x="1267" y="386"/>
                  <a:pt x="1266" y="386"/>
                  <a:pt x="1266" y="385"/>
                </a:cubicBezTo>
                <a:cubicBezTo>
                  <a:pt x="1266" y="385"/>
                  <a:pt x="1267" y="384"/>
                  <a:pt x="1267" y="384"/>
                </a:cubicBezTo>
                <a:cubicBezTo>
                  <a:pt x="1267" y="384"/>
                  <a:pt x="1268" y="385"/>
                  <a:pt x="1268" y="385"/>
                </a:cubicBezTo>
                <a:cubicBezTo>
                  <a:pt x="1269" y="385"/>
                  <a:pt x="1269" y="385"/>
                  <a:pt x="1269" y="385"/>
                </a:cubicBezTo>
                <a:cubicBezTo>
                  <a:pt x="1269" y="385"/>
                  <a:pt x="1269" y="386"/>
                  <a:pt x="1270" y="386"/>
                </a:cubicBezTo>
                <a:cubicBezTo>
                  <a:pt x="1269" y="386"/>
                  <a:pt x="1269" y="386"/>
                  <a:pt x="1269" y="386"/>
                </a:cubicBezTo>
                <a:close/>
                <a:moveTo>
                  <a:pt x="1273" y="367"/>
                </a:moveTo>
                <a:cubicBezTo>
                  <a:pt x="1273" y="367"/>
                  <a:pt x="1272" y="368"/>
                  <a:pt x="1272" y="368"/>
                </a:cubicBezTo>
                <a:cubicBezTo>
                  <a:pt x="1271" y="367"/>
                  <a:pt x="1271" y="367"/>
                  <a:pt x="1270" y="366"/>
                </a:cubicBezTo>
                <a:cubicBezTo>
                  <a:pt x="1270" y="366"/>
                  <a:pt x="1271" y="365"/>
                  <a:pt x="1271" y="365"/>
                </a:cubicBezTo>
                <a:cubicBezTo>
                  <a:pt x="1272" y="365"/>
                  <a:pt x="1273" y="365"/>
                  <a:pt x="1273" y="366"/>
                </a:cubicBezTo>
                <a:cubicBezTo>
                  <a:pt x="1273" y="367"/>
                  <a:pt x="1273" y="367"/>
                  <a:pt x="1273" y="367"/>
                </a:cubicBezTo>
                <a:close/>
                <a:moveTo>
                  <a:pt x="1282" y="392"/>
                </a:moveTo>
                <a:cubicBezTo>
                  <a:pt x="1282" y="393"/>
                  <a:pt x="1282" y="393"/>
                  <a:pt x="1282" y="393"/>
                </a:cubicBezTo>
                <a:cubicBezTo>
                  <a:pt x="1281" y="392"/>
                  <a:pt x="1281" y="392"/>
                  <a:pt x="1281" y="392"/>
                </a:cubicBezTo>
                <a:lnTo>
                  <a:pt x="1282" y="392"/>
                </a:lnTo>
                <a:close/>
                <a:moveTo>
                  <a:pt x="1284" y="400"/>
                </a:moveTo>
                <a:cubicBezTo>
                  <a:pt x="1284" y="400"/>
                  <a:pt x="1283" y="401"/>
                  <a:pt x="1284" y="402"/>
                </a:cubicBezTo>
                <a:cubicBezTo>
                  <a:pt x="1284" y="403"/>
                  <a:pt x="1284" y="404"/>
                  <a:pt x="1283" y="404"/>
                </a:cubicBezTo>
                <a:cubicBezTo>
                  <a:pt x="1283" y="404"/>
                  <a:pt x="1282" y="404"/>
                  <a:pt x="1281" y="403"/>
                </a:cubicBezTo>
                <a:cubicBezTo>
                  <a:pt x="1280" y="403"/>
                  <a:pt x="1280" y="401"/>
                  <a:pt x="1280" y="400"/>
                </a:cubicBezTo>
                <a:cubicBezTo>
                  <a:pt x="1281" y="399"/>
                  <a:pt x="1283" y="398"/>
                  <a:pt x="1284" y="397"/>
                </a:cubicBezTo>
                <a:cubicBezTo>
                  <a:pt x="1284" y="397"/>
                  <a:pt x="1284" y="397"/>
                  <a:pt x="1284" y="397"/>
                </a:cubicBezTo>
                <a:cubicBezTo>
                  <a:pt x="1285" y="398"/>
                  <a:pt x="1285" y="398"/>
                  <a:pt x="1285" y="398"/>
                </a:cubicBezTo>
                <a:cubicBezTo>
                  <a:pt x="1285" y="399"/>
                  <a:pt x="1285" y="399"/>
                  <a:pt x="1284" y="400"/>
                </a:cubicBezTo>
                <a:close/>
                <a:moveTo>
                  <a:pt x="1286" y="379"/>
                </a:moveTo>
                <a:cubicBezTo>
                  <a:pt x="1287" y="378"/>
                  <a:pt x="1287" y="378"/>
                  <a:pt x="1287" y="378"/>
                </a:cubicBezTo>
                <a:cubicBezTo>
                  <a:pt x="1287" y="378"/>
                  <a:pt x="1288" y="378"/>
                  <a:pt x="1288" y="379"/>
                </a:cubicBezTo>
                <a:cubicBezTo>
                  <a:pt x="1289" y="379"/>
                  <a:pt x="1289" y="379"/>
                  <a:pt x="1289" y="379"/>
                </a:cubicBezTo>
                <a:cubicBezTo>
                  <a:pt x="1289" y="379"/>
                  <a:pt x="1288" y="380"/>
                  <a:pt x="1288" y="380"/>
                </a:cubicBezTo>
                <a:cubicBezTo>
                  <a:pt x="1288" y="379"/>
                  <a:pt x="1287" y="379"/>
                  <a:pt x="1286" y="379"/>
                </a:cubicBezTo>
                <a:close/>
                <a:moveTo>
                  <a:pt x="1289" y="390"/>
                </a:moveTo>
                <a:cubicBezTo>
                  <a:pt x="1289" y="390"/>
                  <a:pt x="1289" y="390"/>
                  <a:pt x="1289" y="389"/>
                </a:cubicBezTo>
                <a:cubicBezTo>
                  <a:pt x="1289" y="389"/>
                  <a:pt x="1289" y="389"/>
                  <a:pt x="1289" y="389"/>
                </a:cubicBezTo>
                <a:cubicBezTo>
                  <a:pt x="1289" y="389"/>
                  <a:pt x="1289" y="389"/>
                  <a:pt x="1289" y="390"/>
                </a:cubicBezTo>
                <a:cubicBezTo>
                  <a:pt x="1289" y="390"/>
                  <a:pt x="1289" y="390"/>
                  <a:pt x="1289" y="390"/>
                </a:cubicBezTo>
                <a:close/>
                <a:moveTo>
                  <a:pt x="1282" y="434"/>
                </a:moveTo>
                <a:cubicBezTo>
                  <a:pt x="1282" y="434"/>
                  <a:pt x="1281" y="434"/>
                  <a:pt x="1281" y="434"/>
                </a:cubicBezTo>
                <a:cubicBezTo>
                  <a:pt x="1280" y="435"/>
                  <a:pt x="1280" y="434"/>
                  <a:pt x="1280" y="434"/>
                </a:cubicBezTo>
                <a:cubicBezTo>
                  <a:pt x="1279" y="433"/>
                  <a:pt x="1279" y="432"/>
                  <a:pt x="1280" y="431"/>
                </a:cubicBezTo>
                <a:cubicBezTo>
                  <a:pt x="1280" y="431"/>
                  <a:pt x="1281" y="431"/>
                  <a:pt x="1281" y="431"/>
                </a:cubicBezTo>
                <a:cubicBezTo>
                  <a:pt x="1282" y="432"/>
                  <a:pt x="1282" y="433"/>
                  <a:pt x="1282" y="434"/>
                </a:cubicBezTo>
                <a:close/>
                <a:moveTo>
                  <a:pt x="1285" y="441"/>
                </a:moveTo>
                <a:cubicBezTo>
                  <a:pt x="1284" y="440"/>
                  <a:pt x="1284" y="440"/>
                  <a:pt x="1284" y="440"/>
                </a:cubicBezTo>
                <a:cubicBezTo>
                  <a:pt x="1285" y="440"/>
                  <a:pt x="1285" y="440"/>
                  <a:pt x="1285" y="440"/>
                </a:cubicBezTo>
                <a:cubicBezTo>
                  <a:pt x="1285" y="441"/>
                  <a:pt x="1285" y="441"/>
                  <a:pt x="1285" y="441"/>
                </a:cubicBezTo>
                <a:close/>
                <a:moveTo>
                  <a:pt x="1107" y="856"/>
                </a:moveTo>
                <a:cubicBezTo>
                  <a:pt x="1108" y="856"/>
                  <a:pt x="1108" y="856"/>
                  <a:pt x="1108" y="856"/>
                </a:cubicBezTo>
                <a:cubicBezTo>
                  <a:pt x="1108" y="856"/>
                  <a:pt x="1108" y="856"/>
                  <a:pt x="1108" y="857"/>
                </a:cubicBezTo>
                <a:cubicBezTo>
                  <a:pt x="1108" y="856"/>
                  <a:pt x="1108" y="856"/>
                  <a:pt x="1107" y="856"/>
                </a:cubicBezTo>
                <a:close/>
                <a:moveTo>
                  <a:pt x="1109" y="857"/>
                </a:moveTo>
                <a:cubicBezTo>
                  <a:pt x="1109" y="857"/>
                  <a:pt x="1109" y="857"/>
                  <a:pt x="1109" y="857"/>
                </a:cubicBezTo>
                <a:cubicBezTo>
                  <a:pt x="1109" y="857"/>
                  <a:pt x="1109" y="857"/>
                  <a:pt x="1110" y="857"/>
                </a:cubicBezTo>
                <a:cubicBezTo>
                  <a:pt x="1110" y="858"/>
                  <a:pt x="1110" y="858"/>
                  <a:pt x="1110" y="858"/>
                </a:cubicBezTo>
                <a:lnTo>
                  <a:pt x="1109" y="857"/>
                </a:lnTo>
                <a:close/>
                <a:moveTo>
                  <a:pt x="1114" y="864"/>
                </a:moveTo>
                <a:cubicBezTo>
                  <a:pt x="1114" y="864"/>
                  <a:pt x="1114" y="863"/>
                  <a:pt x="1114" y="863"/>
                </a:cubicBezTo>
                <a:cubicBezTo>
                  <a:pt x="1114" y="862"/>
                  <a:pt x="1114" y="862"/>
                  <a:pt x="1115" y="862"/>
                </a:cubicBezTo>
                <a:cubicBezTo>
                  <a:pt x="1115" y="863"/>
                  <a:pt x="1115" y="863"/>
                  <a:pt x="1115" y="863"/>
                </a:cubicBezTo>
                <a:cubicBezTo>
                  <a:pt x="1115" y="864"/>
                  <a:pt x="1115" y="864"/>
                  <a:pt x="1114" y="864"/>
                </a:cubicBezTo>
                <a:close/>
                <a:moveTo>
                  <a:pt x="1290" y="1148"/>
                </a:moveTo>
                <a:cubicBezTo>
                  <a:pt x="1290" y="1147"/>
                  <a:pt x="1290" y="1147"/>
                  <a:pt x="1290" y="1147"/>
                </a:cubicBezTo>
                <a:cubicBezTo>
                  <a:pt x="1290" y="1148"/>
                  <a:pt x="1290" y="1148"/>
                  <a:pt x="1290" y="1148"/>
                </a:cubicBezTo>
                <a:close/>
                <a:moveTo>
                  <a:pt x="1314" y="1041"/>
                </a:moveTo>
                <a:cubicBezTo>
                  <a:pt x="1314" y="1041"/>
                  <a:pt x="1314" y="1040"/>
                  <a:pt x="1314" y="1040"/>
                </a:cubicBezTo>
                <a:cubicBezTo>
                  <a:pt x="1315" y="1041"/>
                  <a:pt x="1315" y="1041"/>
                  <a:pt x="1315" y="1041"/>
                </a:cubicBezTo>
                <a:cubicBezTo>
                  <a:pt x="1314" y="1041"/>
                  <a:pt x="1314" y="1041"/>
                  <a:pt x="1314" y="1041"/>
                </a:cubicBezTo>
                <a:close/>
                <a:moveTo>
                  <a:pt x="1322" y="933"/>
                </a:moveTo>
                <a:cubicBezTo>
                  <a:pt x="1322" y="934"/>
                  <a:pt x="1322" y="934"/>
                  <a:pt x="1322" y="934"/>
                </a:cubicBezTo>
                <a:cubicBezTo>
                  <a:pt x="1322" y="933"/>
                  <a:pt x="1322" y="933"/>
                  <a:pt x="1322" y="933"/>
                </a:cubicBezTo>
                <a:close/>
                <a:moveTo>
                  <a:pt x="1319" y="985"/>
                </a:moveTo>
                <a:cubicBezTo>
                  <a:pt x="1318" y="985"/>
                  <a:pt x="1318" y="986"/>
                  <a:pt x="1317" y="986"/>
                </a:cubicBezTo>
                <a:cubicBezTo>
                  <a:pt x="1317" y="986"/>
                  <a:pt x="1317" y="985"/>
                  <a:pt x="1317" y="985"/>
                </a:cubicBezTo>
                <a:cubicBezTo>
                  <a:pt x="1317" y="984"/>
                  <a:pt x="1318" y="984"/>
                  <a:pt x="1319" y="984"/>
                </a:cubicBezTo>
                <a:cubicBezTo>
                  <a:pt x="1319" y="984"/>
                  <a:pt x="1319" y="984"/>
                  <a:pt x="1319" y="984"/>
                </a:cubicBezTo>
                <a:cubicBezTo>
                  <a:pt x="1319" y="985"/>
                  <a:pt x="1319" y="985"/>
                  <a:pt x="1319" y="985"/>
                </a:cubicBezTo>
                <a:close/>
                <a:moveTo>
                  <a:pt x="1325" y="1000"/>
                </a:moveTo>
                <a:cubicBezTo>
                  <a:pt x="1325" y="1000"/>
                  <a:pt x="1325" y="1000"/>
                  <a:pt x="1325" y="1000"/>
                </a:cubicBezTo>
                <a:cubicBezTo>
                  <a:pt x="1324" y="1000"/>
                  <a:pt x="1324" y="1001"/>
                  <a:pt x="1324" y="1001"/>
                </a:cubicBezTo>
                <a:cubicBezTo>
                  <a:pt x="1324" y="1001"/>
                  <a:pt x="1324" y="1001"/>
                  <a:pt x="1324" y="1001"/>
                </a:cubicBezTo>
                <a:cubicBezTo>
                  <a:pt x="1324" y="1000"/>
                  <a:pt x="1324" y="1000"/>
                  <a:pt x="1325" y="1000"/>
                </a:cubicBezTo>
                <a:cubicBezTo>
                  <a:pt x="1325" y="1000"/>
                  <a:pt x="1325" y="1000"/>
                  <a:pt x="1325" y="999"/>
                </a:cubicBezTo>
                <a:cubicBezTo>
                  <a:pt x="1325" y="999"/>
                  <a:pt x="1325" y="999"/>
                  <a:pt x="1325" y="999"/>
                </a:cubicBezTo>
                <a:lnTo>
                  <a:pt x="1325" y="1000"/>
                </a:lnTo>
                <a:close/>
                <a:moveTo>
                  <a:pt x="1333" y="981"/>
                </a:moveTo>
                <a:cubicBezTo>
                  <a:pt x="1333" y="981"/>
                  <a:pt x="1333" y="981"/>
                  <a:pt x="1333" y="981"/>
                </a:cubicBezTo>
                <a:cubicBezTo>
                  <a:pt x="1332" y="979"/>
                  <a:pt x="1332" y="978"/>
                  <a:pt x="1332" y="977"/>
                </a:cubicBezTo>
                <a:cubicBezTo>
                  <a:pt x="1332" y="977"/>
                  <a:pt x="1332" y="977"/>
                  <a:pt x="1332" y="977"/>
                </a:cubicBezTo>
                <a:cubicBezTo>
                  <a:pt x="1332" y="977"/>
                  <a:pt x="1332" y="976"/>
                  <a:pt x="1332" y="976"/>
                </a:cubicBezTo>
                <a:cubicBezTo>
                  <a:pt x="1330" y="975"/>
                  <a:pt x="1330" y="973"/>
                  <a:pt x="1329" y="972"/>
                </a:cubicBezTo>
                <a:cubicBezTo>
                  <a:pt x="1328" y="971"/>
                  <a:pt x="1327" y="970"/>
                  <a:pt x="1326" y="969"/>
                </a:cubicBezTo>
                <a:cubicBezTo>
                  <a:pt x="1325" y="968"/>
                  <a:pt x="1324" y="966"/>
                  <a:pt x="1324" y="965"/>
                </a:cubicBezTo>
                <a:cubicBezTo>
                  <a:pt x="1323" y="960"/>
                  <a:pt x="1321" y="955"/>
                  <a:pt x="1322" y="950"/>
                </a:cubicBezTo>
                <a:cubicBezTo>
                  <a:pt x="1322" y="949"/>
                  <a:pt x="1322" y="949"/>
                  <a:pt x="1323" y="949"/>
                </a:cubicBezTo>
                <a:cubicBezTo>
                  <a:pt x="1323" y="949"/>
                  <a:pt x="1324" y="949"/>
                  <a:pt x="1324" y="950"/>
                </a:cubicBezTo>
                <a:cubicBezTo>
                  <a:pt x="1325" y="953"/>
                  <a:pt x="1325" y="956"/>
                  <a:pt x="1326" y="960"/>
                </a:cubicBezTo>
                <a:cubicBezTo>
                  <a:pt x="1325" y="963"/>
                  <a:pt x="1326" y="966"/>
                  <a:pt x="1329" y="968"/>
                </a:cubicBezTo>
                <a:cubicBezTo>
                  <a:pt x="1331" y="969"/>
                  <a:pt x="1331" y="971"/>
                  <a:pt x="1331" y="972"/>
                </a:cubicBezTo>
                <a:cubicBezTo>
                  <a:pt x="1332" y="974"/>
                  <a:pt x="1332" y="975"/>
                  <a:pt x="1332" y="976"/>
                </a:cubicBezTo>
                <a:cubicBezTo>
                  <a:pt x="1332" y="976"/>
                  <a:pt x="1332" y="977"/>
                  <a:pt x="1332" y="977"/>
                </a:cubicBezTo>
                <a:cubicBezTo>
                  <a:pt x="1332" y="977"/>
                  <a:pt x="1332" y="977"/>
                  <a:pt x="1332" y="977"/>
                </a:cubicBezTo>
                <a:cubicBezTo>
                  <a:pt x="1333" y="977"/>
                  <a:pt x="1334" y="979"/>
                  <a:pt x="1334" y="980"/>
                </a:cubicBezTo>
                <a:cubicBezTo>
                  <a:pt x="1334" y="980"/>
                  <a:pt x="1334" y="981"/>
                  <a:pt x="1333" y="981"/>
                </a:cubicBezTo>
                <a:close/>
                <a:moveTo>
                  <a:pt x="1335" y="906"/>
                </a:moveTo>
                <a:cubicBezTo>
                  <a:pt x="1335" y="907"/>
                  <a:pt x="1335" y="907"/>
                  <a:pt x="1335" y="907"/>
                </a:cubicBezTo>
                <a:cubicBezTo>
                  <a:pt x="1335" y="906"/>
                  <a:pt x="1335" y="906"/>
                  <a:pt x="1335" y="906"/>
                </a:cubicBezTo>
                <a:cubicBezTo>
                  <a:pt x="1336" y="906"/>
                  <a:pt x="1336" y="906"/>
                  <a:pt x="1336" y="906"/>
                </a:cubicBezTo>
                <a:lnTo>
                  <a:pt x="1335" y="906"/>
                </a:lnTo>
                <a:close/>
                <a:moveTo>
                  <a:pt x="1381" y="830"/>
                </a:moveTo>
                <a:cubicBezTo>
                  <a:pt x="1381" y="830"/>
                  <a:pt x="1382" y="830"/>
                  <a:pt x="1382" y="831"/>
                </a:cubicBezTo>
                <a:cubicBezTo>
                  <a:pt x="1382" y="831"/>
                  <a:pt x="1382" y="832"/>
                  <a:pt x="1381" y="831"/>
                </a:cubicBezTo>
                <a:cubicBezTo>
                  <a:pt x="1381" y="831"/>
                  <a:pt x="1381" y="831"/>
                  <a:pt x="1380" y="831"/>
                </a:cubicBezTo>
                <a:cubicBezTo>
                  <a:pt x="1380" y="830"/>
                  <a:pt x="1381" y="830"/>
                  <a:pt x="1381" y="830"/>
                </a:cubicBezTo>
                <a:close/>
                <a:moveTo>
                  <a:pt x="1346" y="706"/>
                </a:moveTo>
                <a:cubicBezTo>
                  <a:pt x="1346" y="706"/>
                  <a:pt x="1347" y="706"/>
                  <a:pt x="1347" y="706"/>
                </a:cubicBezTo>
                <a:cubicBezTo>
                  <a:pt x="1347" y="706"/>
                  <a:pt x="1347" y="707"/>
                  <a:pt x="1346" y="707"/>
                </a:cubicBezTo>
                <a:cubicBezTo>
                  <a:pt x="1346" y="707"/>
                  <a:pt x="1346" y="707"/>
                  <a:pt x="1346" y="707"/>
                </a:cubicBezTo>
                <a:cubicBezTo>
                  <a:pt x="1346" y="706"/>
                  <a:pt x="1346" y="706"/>
                  <a:pt x="1346" y="706"/>
                </a:cubicBezTo>
                <a:close/>
                <a:moveTo>
                  <a:pt x="1342" y="702"/>
                </a:moveTo>
                <a:cubicBezTo>
                  <a:pt x="1342" y="702"/>
                  <a:pt x="1343" y="702"/>
                  <a:pt x="1343" y="702"/>
                </a:cubicBezTo>
                <a:cubicBezTo>
                  <a:pt x="1343" y="702"/>
                  <a:pt x="1343" y="702"/>
                  <a:pt x="1343" y="702"/>
                </a:cubicBezTo>
                <a:cubicBezTo>
                  <a:pt x="1343" y="702"/>
                  <a:pt x="1343" y="702"/>
                  <a:pt x="1343" y="702"/>
                </a:cubicBezTo>
                <a:cubicBezTo>
                  <a:pt x="1342" y="702"/>
                  <a:pt x="1342" y="702"/>
                  <a:pt x="1342" y="702"/>
                </a:cubicBezTo>
                <a:close/>
                <a:moveTo>
                  <a:pt x="1360" y="996"/>
                </a:moveTo>
                <a:cubicBezTo>
                  <a:pt x="1360" y="998"/>
                  <a:pt x="1360" y="1000"/>
                  <a:pt x="1361" y="1001"/>
                </a:cubicBezTo>
                <a:cubicBezTo>
                  <a:pt x="1362" y="1003"/>
                  <a:pt x="1362" y="1006"/>
                  <a:pt x="1361" y="1008"/>
                </a:cubicBezTo>
                <a:cubicBezTo>
                  <a:pt x="1360" y="1010"/>
                  <a:pt x="1360" y="1012"/>
                  <a:pt x="1361" y="1015"/>
                </a:cubicBezTo>
                <a:cubicBezTo>
                  <a:pt x="1361" y="1016"/>
                  <a:pt x="1361" y="1018"/>
                  <a:pt x="1362" y="1020"/>
                </a:cubicBezTo>
                <a:cubicBezTo>
                  <a:pt x="1362" y="1020"/>
                  <a:pt x="1362" y="1021"/>
                  <a:pt x="1361" y="1021"/>
                </a:cubicBezTo>
                <a:cubicBezTo>
                  <a:pt x="1361" y="1022"/>
                  <a:pt x="1360" y="1021"/>
                  <a:pt x="1360" y="1021"/>
                </a:cubicBezTo>
                <a:cubicBezTo>
                  <a:pt x="1358" y="1018"/>
                  <a:pt x="1357" y="1014"/>
                  <a:pt x="1357" y="1011"/>
                </a:cubicBezTo>
                <a:cubicBezTo>
                  <a:pt x="1356" y="1010"/>
                  <a:pt x="1356" y="1008"/>
                  <a:pt x="1357" y="1007"/>
                </a:cubicBezTo>
                <a:cubicBezTo>
                  <a:pt x="1358" y="1004"/>
                  <a:pt x="1358" y="1001"/>
                  <a:pt x="1357" y="998"/>
                </a:cubicBezTo>
                <a:cubicBezTo>
                  <a:pt x="1357" y="996"/>
                  <a:pt x="1357" y="995"/>
                  <a:pt x="1357" y="993"/>
                </a:cubicBezTo>
                <a:cubicBezTo>
                  <a:pt x="1357" y="993"/>
                  <a:pt x="1357" y="992"/>
                  <a:pt x="1357" y="992"/>
                </a:cubicBezTo>
                <a:cubicBezTo>
                  <a:pt x="1358" y="992"/>
                  <a:pt x="1359" y="993"/>
                  <a:pt x="1359" y="993"/>
                </a:cubicBezTo>
                <a:cubicBezTo>
                  <a:pt x="1359" y="994"/>
                  <a:pt x="1359" y="995"/>
                  <a:pt x="1360" y="996"/>
                </a:cubicBezTo>
                <a:close/>
                <a:moveTo>
                  <a:pt x="1351" y="909"/>
                </a:moveTo>
                <a:cubicBezTo>
                  <a:pt x="1352" y="909"/>
                  <a:pt x="1352" y="909"/>
                  <a:pt x="1352" y="909"/>
                </a:cubicBezTo>
                <a:cubicBezTo>
                  <a:pt x="1351" y="909"/>
                  <a:pt x="1351" y="909"/>
                  <a:pt x="1351" y="909"/>
                </a:cubicBezTo>
                <a:close/>
                <a:moveTo>
                  <a:pt x="1353" y="918"/>
                </a:moveTo>
                <a:cubicBezTo>
                  <a:pt x="1355" y="918"/>
                  <a:pt x="1357" y="919"/>
                  <a:pt x="1358" y="921"/>
                </a:cubicBezTo>
                <a:cubicBezTo>
                  <a:pt x="1358" y="921"/>
                  <a:pt x="1359" y="922"/>
                  <a:pt x="1358" y="922"/>
                </a:cubicBezTo>
                <a:cubicBezTo>
                  <a:pt x="1357" y="926"/>
                  <a:pt x="1355" y="929"/>
                  <a:pt x="1353" y="931"/>
                </a:cubicBezTo>
                <a:cubicBezTo>
                  <a:pt x="1352" y="932"/>
                  <a:pt x="1352" y="933"/>
                  <a:pt x="1352" y="934"/>
                </a:cubicBezTo>
                <a:cubicBezTo>
                  <a:pt x="1352" y="935"/>
                  <a:pt x="1352" y="936"/>
                  <a:pt x="1351" y="936"/>
                </a:cubicBezTo>
                <a:cubicBezTo>
                  <a:pt x="1351" y="936"/>
                  <a:pt x="1350" y="937"/>
                  <a:pt x="1349" y="937"/>
                </a:cubicBezTo>
                <a:cubicBezTo>
                  <a:pt x="1349" y="937"/>
                  <a:pt x="1348" y="937"/>
                  <a:pt x="1348" y="937"/>
                </a:cubicBezTo>
                <a:cubicBezTo>
                  <a:pt x="1347" y="937"/>
                  <a:pt x="1346" y="937"/>
                  <a:pt x="1346" y="937"/>
                </a:cubicBezTo>
                <a:cubicBezTo>
                  <a:pt x="1345" y="937"/>
                  <a:pt x="1344" y="937"/>
                  <a:pt x="1342" y="937"/>
                </a:cubicBezTo>
                <a:cubicBezTo>
                  <a:pt x="1342" y="937"/>
                  <a:pt x="1342" y="936"/>
                  <a:pt x="1341" y="936"/>
                </a:cubicBezTo>
                <a:cubicBezTo>
                  <a:pt x="1341" y="935"/>
                  <a:pt x="1341" y="934"/>
                  <a:pt x="1341" y="934"/>
                </a:cubicBezTo>
                <a:cubicBezTo>
                  <a:pt x="1342" y="931"/>
                  <a:pt x="1343" y="927"/>
                  <a:pt x="1342" y="924"/>
                </a:cubicBezTo>
                <a:cubicBezTo>
                  <a:pt x="1342" y="923"/>
                  <a:pt x="1343" y="922"/>
                  <a:pt x="1343" y="921"/>
                </a:cubicBezTo>
                <a:cubicBezTo>
                  <a:pt x="1343" y="920"/>
                  <a:pt x="1344" y="920"/>
                  <a:pt x="1345" y="919"/>
                </a:cubicBezTo>
                <a:cubicBezTo>
                  <a:pt x="1347" y="919"/>
                  <a:pt x="1350" y="918"/>
                  <a:pt x="1353" y="918"/>
                </a:cubicBezTo>
                <a:close/>
                <a:moveTo>
                  <a:pt x="1347" y="428"/>
                </a:moveTo>
                <a:cubicBezTo>
                  <a:pt x="1347" y="428"/>
                  <a:pt x="1347" y="428"/>
                  <a:pt x="1347" y="428"/>
                </a:cubicBezTo>
                <a:cubicBezTo>
                  <a:pt x="1348" y="428"/>
                  <a:pt x="1348" y="428"/>
                  <a:pt x="1348" y="428"/>
                </a:cubicBezTo>
                <a:cubicBezTo>
                  <a:pt x="1348" y="428"/>
                  <a:pt x="1348" y="428"/>
                  <a:pt x="1348" y="428"/>
                </a:cubicBezTo>
                <a:cubicBezTo>
                  <a:pt x="1349" y="430"/>
                  <a:pt x="1351" y="431"/>
                  <a:pt x="1352" y="432"/>
                </a:cubicBezTo>
                <a:cubicBezTo>
                  <a:pt x="1353" y="433"/>
                  <a:pt x="1352" y="434"/>
                  <a:pt x="1352" y="435"/>
                </a:cubicBezTo>
                <a:cubicBezTo>
                  <a:pt x="1350" y="435"/>
                  <a:pt x="1349" y="435"/>
                  <a:pt x="1348" y="434"/>
                </a:cubicBezTo>
                <a:cubicBezTo>
                  <a:pt x="1347" y="433"/>
                  <a:pt x="1347" y="432"/>
                  <a:pt x="1347" y="431"/>
                </a:cubicBezTo>
                <a:cubicBezTo>
                  <a:pt x="1348" y="431"/>
                  <a:pt x="1348" y="431"/>
                  <a:pt x="1348" y="431"/>
                </a:cubicBezTo>
                <a:cubicBezTo>
                  <a:pt x="1348" y="430"/>
                  <a:pt x="1348" y="429"/>
                  <a:pt x="1348" y="428"/>
                </a:cubicBezTo>
                <a:cubicBezTo>
                  <a:pt x="1348" y="428"/>
                  <a:pt x="1348" y="428"/>
                  <a:pt x="1348" y="428"/>
                </a:cubicBezTo>
                <a:cubicBezTo>
                  <a:pt x="1348" y="428"/>
                  <a:pt x="1348" y="428"/>
                  <a:pt x="1347" y="428"/>
                </a:cubicBezTo>
                <a:cubicBezTo>
                  <a:pt x="1347" y="428"/>
                  <a:pt x="1347" y="428"/>
                  <a:pt x="1346" y="428"/>
                </a:cubicBezTo>
                <a:cubicBezTo>
                  <a:pt x="1346" y="427"/>
                  <a:pt x="1346" y="427"/>
                  <a:pt x="1347" y="428"/>
                </a:cubicBezTo>
                <a:close/>
                <a:moveTo>
                  <a:pt x="1342" y="412"/>
                </a:moveTo>
                <a:cubicBezTo>
                  <a:pt x="1342" y="412"/>
                  <a:pt x="1342" y="412"/>
                  <a:pt x="1343" y="412"/>
                </a:cubicBezTo>
                <a:cubicBezTo>
                  <a:pt x="1343" y="413"/>
                  <a:pt x="1343" y="413"/>
                  <a:pt x="1342" y="413"/>
                </a:cubicBezTo>
                <a:cubicBezTo>
                  <a:pt x="1342" y="413"/>
                  <a:pt x="1342" y="413"/>
                  <a:pt x="1342" y="413"/>
                </a:cubicBezTo>
                <a:cubicBezTo>
                  <a:pt x="1342" y="413"/>
                  <a:pt x="1342" y="412"/>
                  <a:pt x="1342" y="412"/>
                </a:cubicBezTo>
                <a:close/>
                <a:moveTo>
                  <a:pt x="1343" y="541"/>
                </a:moveTo>
                <a:cubicBezTo>
                  <a:pt x="1343" y="541"/>
                  <a:pt x="1343" y="542"/>
                  <a:pt x="1343" y="542"/>
                </a:cubicBezTo>
                <a:cubicBezTo>
                  <a:pt x="1343" y="542"/>
                  <a:pt x="1343" y="542"/>
                  <a:pt x="1342" y="541"/>
                </a:cubicBezTo>
                <a:cubicBezTo>
                  <a:pt x="1342" y="541"/>
                  <a:pt x="1342" y="541"/>
                  <a:pt x="1343" y="541"/>
                </a:cubicBezTo>
                <a:cubicBezTo>
                  <a:pt x="1343" y="541"/>
                  <a:pt x="1343" y="541"/>
                  <a:pt x="1343" y="541"/>
                </a:cubicBezTo>
                <a:close/>
                <a:moveTo>
                  <a:pt x="1322" y="391"/>
                </a:moveTo>
                <a:cubicBezTo>
                  <a:pt x="1323" y="391"/>
                  <a:pt x="1324" y="391"/>
                  <a:pt x="1325" y="390"/>
                </a:cubicBezTo>
                <a:cubicBezTo>
                  <a:pt x="1325" y="389"/>
                  <a:pt x="1326" y="389"/>
                  <a:pt x="1326" y="389"/>
                </a:cubicBezTo>
                <a:cubicBezTo>
                  <a:pt x="1326" y="389"/>
                  <a:pt x="1326" y="389"/>
                  <a:pt x="1326" y="389"/>
                </a:cubicBezTo>
                <a:cubicBezTo>
                  <a:pt x="1327" y="393"/>
                  <a:pt x="1329" y="395"/>
                  <a:pt x="1330" y="398"/>
                </a:cubicBezTo>
                <a:cubicBezTo>
                  <a:pt x="1331" y="399"/>
                  <a:pt x="1331" y="400"/>
                  <a:pt x="1332" y="401"/>
                </a:cubicBezTo>
                <a:cubicBezTo>
                  <a:pt x="1331" y="402"/>
                  <a:pt x="1331" y="403"/>
                  <a:pt x="1330" y="404"/>
                </a:cubicBezTo>
                <a:cubicBezTo>
                  <a:pt x="1330" y="404"/>
                  <a:pt x="1329" y="404"/>
                  <a:pt x="1329" y="404"/>
                </a:cubicBezTo>
                <a:cubicBezTo>
                  <a:pt x="1328" y="405"/>
                  <a:pt x="1328" y="404"/>
                  <a:pt x="1328" y="403"/>
                </a:cubicBezTo>
                <a:cubicBezTo>
                  <a:pt x="1328" y="401"/>
                  <a:pt x="1326" y="399"/>
                  <a:pt x="1324" y="398"/>
                </a:cubicBezTo>
                <a:cubicBezTo>
                  <a:pt x="1322" y="397"/>
                  <a:pt x="1321" y="396"/>
                  <a:pt x="1320" y="394"/>
                </a:cubicBezTo>
                <a:cubicBezTo>
                  <a:pt x="1320" y="392"/>
                  <a:pt x="1320" y="391"/>
                  <a:pt x="1322" y="391"/>
                </a:cubicBezTo>
                <a:close/>
                <a:moveTo>
                  <a:pt x="1327" y="527"/>
                </a:moveTo>
                <a:cubicBezTo>
                  <a:pt x="1327" y="527"/>
                  <a:pt x="1326" y="527"/>
                  <a:pt x="1326" y="527"/>
                </a:cubicBezTo>
                <a:cubicBezTo>
                  <a:pt x="1326" y="527"/>
                  <a:pt x="1326" y="527"/>
                  <a:pt x="1326" y="527"/>
                </a:cubicBezTo>
                <a:cubicBezTo>
                  <a:pt x="1326" y="527"/>
                  <a:pt x="1326" y="526"/>
                  <a:pt x="1326" y="526"/>
                </a:cubicBezTo>
                <a:cubicBezTo>
                  <a:pt x="1327" y="527"/>
                  <a:pt x="1327" y="527"/>
                  <a:pt x="1327" y="527"/>
                </a:cubicBezTo>
                <a:close/>
                <a:moveTo>
                  <a:pt x="1317" y="372"/>
                </a:moveTo>
                <a:cubicBezTo>
                  <a:pt x="1318" y="372"/>
                  <a:pt x="1318" y="372"/>
                  <a:pt x="1318" y="372"/>
                </a:cubicBezTo>
                <a:cubicBezTo>
                  <a:pt x="1319" y="373"/>
                  <a:pt x="1319" y="373"/>
                  <a:pt x="1319" y="374"/>
                </a:cubicBezTo>
                <a:cubicBezTo>
                  <a:pt x="1319" y="374"/>
                  <a:pt x="1318" y="374"/>
                  <a:pt x="1318" y="374"/>
                </a:cubicBezTo>
                <a:cubicBezTo>
                  <a:pt x="1318" y="374"/>
                  <a:pt x="1317" y="374"/>
                  <a:pt x="1317" y="373"/>
                </a:cubicBezTo>
                <a:cubicBezTo>
                  <a:pt x="1317" y="373"/>
                  <a:pt x="1317" y="372"/>
                  <a:pt x="1317" y="372"/>
                </a:cubicBezTo>
                <a:close/>
                <a:moveTo>
                  <a:pt x="1299" y="323"/>
                </a:moveTo>
                <a:cubicBezTo>
                  <a:pt x="1299" y="322"/>
                  <a:pt x="1299" y="322"/>
                  <a:pt x="1299" y="322"/>
                </a:cubicBezTo>
                <a:cubicBezTo>
                  <a:pt x="1299" y="322"/>
                  <a:pt x="1299" y="323"/>
                  <a:pt x="1299" y="323"/>
                </a:cubicBezTo>
                <a:cubicBezTo>
                  <a:pt x="1299" y="324"/>
                  <a:pt x="1299" y="324"/>
                  <a:pt x="1298" y="323"/>
                </a:cubicBezTo>
                <a:cubicBezTo>
                  <a:pt x="1298" y="323"/>
                  <a:pt x="1298" y="323"/>
                  <a:pt x="1299" y="323"/>
                </a:cubicBezTo>
                <a:close/>
                <a:moveTo>
                  <a:pt x="1297" y="348"/>
                </a:moveTo>
                <a:cubicBezTo>
                  <a:pt x="1297" y="348"/>
                  <a:pt x="1297" y="348"/>
                  <a:pt x="1297" y="348"/>
                </a:cubicBezTo>
                <a:cubicBezTo>
                  <a:pt x="1297" y="348"/>
                  <a:pt x="1297" y="348"/>
                  <a:pt x="1298" y="348"/>
                </a:cubicBezTo>
                <a:cubicBezTo>
                  <a:pt x="1297" y="348"/>
                  <a:pt x="1297" y="348"/>
                  <a:pt x="1297" y="348"/>
                </a:cubicBezTo>
                <a:cubicBezTo>
                  <a:pt x="1297" y="348"/>
                  <a:pt x="1297" y="348"/>
                  <a:pt x="1297" y="348"/>
                </a:cubicBezTo>
                <a:cubicBezTo>
                  <a:pt x="1297" y="347"/>
                  <a:pt x="1297" y="347"/>
                  <a:pt x="1297" y="347"/>
                </a:cubicBezTo>
                <a:lnTo>
                  <a:pt x="1297" y="348"/>
                </a:lnTo>
                <a:close/>
                <a:moveTo>
                  <a:pt x="1296" y="404"/>
                </a:moveTo>
                <a:cubicBezTo>
                  <a:pt x="1295" y="404"/>
                  <a:pt x="1295" y="403"/>
                  <a:pt x="1295" y="403"/>
                </a:cubicBezTo>
                <a:cubicBezTo>
                  <a:pt x="1296" y="401"/>
                  <a:pt x="1297" y="399"/>
                  <a:pt x="1299" y="398"/>
                </a:cubicBezTo>
                <a:cubicBezTo>
                  <a:pt x="1299" y="398"/>
                  <a:pt x="1299" y="398"/>
                  <a:pt x="1300" y="398"/>
                </a:cubicBezTo>
                <a:cubicBezTo>
                  <a:pt x="1300" y="398"/>
                  <a:pt x="1301" y="398"/>
                  <a:pt x="1301" y="398"/>
                </a:cubicBezTo>
                <a:cubicBezTo>
                  <a:pt x="1303" y="400"/>
                  <a:pt x="1305" y="401"/>
                  <a:pt x="1307" y="403"/>
                </a:cubicBezTo>
                <a:cubicBezTo>
                  <a:pt x="1307" y="403"/>
                  <a:pt x="1307" y="403"/>
                  <a:pt x="1308" y="404"/>
                </a:cubicBezTo>
                <a:cubicBezTo>
                  <a:pt x="1312" y="408"/>
                  <a:pt x="1311" y="411"/>
                  <a:pt x="1306" y="414"/>
                </a:cubicBezTo>
                <a:cubicBezTo>
                  <a:pt x="1306" y="414"/>
                  <a:pt x="1306" y="414"/>
                  <a:pt x="1306" y="415"/>
                </a:cubicBezTo>
                <a:cubicBezTo>
                  <a:pt x="1304" y="415"/>
                  <a:pt x="1303" y="415"/>
                  <a:pt x="1303" y="414"/>
                </a:cubicBezTo>
                <a:cubicBezTo>
                  <a:pt x="1300" y="411"/>
                  <a:pt x="1298" y="408"/>
                  <a:pt x="1296" y="404"/>
                </a:cubicBezTo>
                <a:close/>
                <a:moveTo>
                  <a:pt x="1307" y="607"/>
                </a:moveTo>
                <a:cubicBezTo>
                  <a:pt x="1307" y="607"/>
                  <a:pt x="1306" y="608"/>
                  <a:pt x="1305" y="608"/>
                </a:cubicBezTo>
                <a:cubicBezTo>
                  <a:pt x="1305" y="608"/>
                  <a:pt x="1304" y="608"/>
                  <a:pt x="1303" y="608"/>
                </a:cubicBezTo>
                <a:cubicBezTo>
                  <a:pt x="1303" y="608"/>
                  <a:pt x="1302" y="608"/>
                  <a:pt x="1302" y="608"/>
                </a:cubicBezTo>
                <a:cubicBezTo>
                  <a:pt x="1301" y="608"/>
                  <a:pt x="1300" y="608"/>
                  <a:pt x="1299" y="608"/>
                </a:cubicBezTo>
                <a:cubicBezTo>
                  <a:pt x="1298" y="608"/>
                  <a:pt x="1297" y="607"/>
                  <a:pt x="1297" y="607"/>
                </a:cubicBezTo>
                <a:cubicBezTo>
                  <a:pt x="1298" y="606"/>
                  <a:pt x="1298" y="605"/>
                  <a:pt x="1299" y="605"/>
                </a:cubicBezTo>
                <a:cubicBezTo>
                  <a:pt x="1301" y="603"/>
                  <a:pt x="1304" y="603"/>
                  <a:pt x="1306" y="604"/>
                </a:cubicBezTo>
                <a:cubicBezTo>
                  <a:pt x="1308" y="604"/>
                  <a:pt x="1308" y="605"/>
                  <a:pt x="1307" y="607"/>
                </a:cubicBezTo>
                <a:close/>
                <a:moveTo>
                  <a:pt x="1391" y="598"/>
                </a:moveTo>
                <a:cubicBezTo>
                  <a:pt x="1390" y="598"/>
                  <a:pt x="1389" y="599"/>
                  <a:pt x="1388" y="600"/>
                </a:cubicBezTo>
                <a:cubicBezTo>
                  <a:pt x="1386" y="601"/>
                  <a:pt x="1384" y="601"/>
                  <a:pt x="1382" y="601"/>
                </a:cubicBezTo>
                <a:cubicBezTo>
                  <a:pt x="1380" y="600"/>
                  <a:pt x="1377" y="600"/>
                  <a:pt x="1375" y="601"/>
                </a:cubicBezTo>
                <a:cubicBezTo>
                  <a:pt x="1373" y="602"/>
                  <a:pt x="1371" y="601"/>
                  <a:pt x="1369" y="601"/>
                </a:cubicBezTo>
                <a:cubicBezTo>
                  <a:pt x="1366" y="600"/>
                  <a:pt x="1363" y="599"/>
                  <a:pt x="1359" y="598"/>
                </a:cubicBezTo>
                <a:cubicBezTo>
                  <a:pt x="1359" y="597"/>
                  <a:pt x="1358" y="597"/>
                  <a:pt x="1357" y="596"/>
                </a:cubicBezTo>
                <a:cubicBezTo>
                  <a:pt x="1357" y="596"/>
                  <a:pt x="1356" y="595"/>
                  <a:pt x="1356" y="595"/>
                </a:cubicBezTo>
                <a:cubicBezTo>
                  <a:pt x="1353" y="595"/>
                  <a:pt x="1350" y="593"/>
                  <a:pt x="1347" y="593"/>
                </a:cubicBezTo>
                <a:cubicBezTo>
                  <a:pt x="1341" y="592"/>
                  <a:pt x="1335" y="593"/>
                  <a:pt x="1330" y="595"/>
                </a:cubicBezTo>
                <a:cubicBezTo>
                  <a:pt x="1328" y="596"/>
                  <a:pt x="1326" y="597"/>
                  <a:pt x="1324" y="599"/>
                </a:cubicBezTo>
                <a:cubicBezTo>
                  <a:pt x="1323" y="600"/>
                  <a:pt x="1322" y="601"/>
                  <a:pt x="1320" y="600"/>
                </a:cubicBezTo>
                <a:cubicBezTo>
                  <a:pt x="1317" y="599"/>
                  <a:pt x="1314" y="600"/>
                  <a:pt x="1311" y="600"/>
                </a:cubicBezTo>
                <a:cubicBezTo>
                  <a:pt x="1306" y="600"/>
                  <a:pt x="1303" y="598"/>
                  <a:pt x="1301" y="594"/>
                </a:cubicBezTo>
                <a:cubicBezTo>
                  <a:pt x="1301" y="593"/>
                  <a:pt x="1300" y="591"/>
                  <a:pt x="1299" y="590"/>
                </a:cubicBezTo>
                <a:cubicBezTo>
                  <a:pt x="1299" y="589"/>
                  <a:pt x="1299" y="588"/>
                  <a:pt x="1299" y="587"/>
                </a:cubicBezTo>
                <a:cubicBezTo>
                  <a:pt x="1300" y="586"/>
                  <a:pt x="1300" y="583"/>
                  <a:pt x="1302" y="582"/>
                </a:cubicBezTo>
                <a:cubicBezTo>
                  <a:pt x="1303" y="581"/>
                  <a:pt x="1304" y="579"/>
                  <a:pt x="1304" y="577"/>
                </a:cubicBezTo>
                <a:cubicBezTo>
                  <a:pt x="1304" y="575"/>
                  <a:pt x="1304" y="573"/>
                  <a:pt x="1304" y="571"/>
                </a:cubicBezTo>
                <a:cubicBezTo>
                  <a:pt x="1305" y="570"/>
                  <a:pt x="1305" y="569"/>
                  <a:pt x="1306" y="569"/>
                </a:cubicBezTo>
                <a:cubicBezTo>
                  <a:pt x="1309" y="568"/>
                  <a:pt x="1310" y="567"/>
                  <a:pt x="1310" y="564"/>
                </a:cubicBezTo>
                <a:cubicBezTo>
                  <a:pt x="1310" y="563"/>
                  <a:pt x="1310" y="562"/>
                  <a:pt x="1311" y="561"/>
                </a:cubicBezTo>
                <a:cubicBezTo>
                  <a:pt x="1313" y="558"/>
                  <a:pt x="1315" y="556"/>
                  <a:pt x="1317" y="553"/>
                </a:cubicBezTo>
                <a:cubicBezTo>
                  <a:pt x="1317" y="552"/>
                  <a:pt x="1319" y="552"/>
                  <a:pt x="1321" y="552"/>
                </a:cubicBezTo>
                <a:cubicBezTo>
                  <a:pt x="1321" y="553"/>
                  <a:pt x="1321" y="553"/>
                  <a:pt x="1321" y="553"/>
                </a:cubicBezTo>
                <a:cubicBezTo>
                  <a:pt x="1324" y="555"/>
                  <a:pt x="1328" y="557"/>
                  <a:pt x="1332" y="557"/>
                </a:cubicBezTo>
                <a:cubicBezTo>
                  <a:pt x="1333" y="557"/>
                  <a:pt x="1333" y="558"/>
                  <a:pt x="1333" y="559"/>
                </a:cubicBezTo>
                <a:cubicBezTo>
                  <a:pt x="1332" y="560"/>
                  <a:pt x="1331" y="560"/>
                  <a:pt x="1330" y="561"/>
                </a:cubicBezTo>
                <a:cubicBezTo>
                  <a:pt x="1330" y="562"/>
                  <a:pt x="1330" y="563"/>
                  <a:pt x="1331" y="563"/>
                </a:cubicBezTo>
                <a:cubicBezTo>
                  <a:pt x="1331" y="564"/>
                  <a:pt x="1332" y="564"/>
                  <a:pt x="1332" y="564"/>
                </a:cubicBezTo>
                <a:cubicBezTo>
                  <a:pt x="1334" y="565"/>
                  <a:pt x="1335" y="566"/>
                  <a:pt x="1335" y="568"/>
                </a:cubicBezTo>
                <a:cubicBezTo>
                  <a:pt x="1336" y="570"/>
                  <a:pt x="1338" y="571"/>
                  <a:pt x="1340" y="570"/>
                </a:cubicBezTo>
                <a:cubicBezTo>
                  <a:pt x="1340" y="570"/>
                  <a:pt x="1341" y="570"/>
                  <a:pt x="1342" y="569"/>
                </a:cubicBezTo>
                <a:cubicBezTo>
                  <a:pt x="1344" y="569"/>
                  <a:pt x="1345" y="568"/>
                  <a:pt x="1347" y="567"/>
                </a:cubicBezTo>
                <a:cubicBezTo>
                  <a:pt x="1349" y="566"/>
                  <a:pt x="1351" y="565"/>
                  <a:pt x="1353" y="565"/>
                </a:cubicBezTo>
                <a:cubicBezTo>
                  <a:pt x="1354" y="565"/>
                  <a:pt x="1354" y="565"/>
                  <a:pt x="1355" y="564"/>
                </a:cubicBezTo>
                <a:cubicBezTo>
                  <a:pt x="1356" y="564"/>
                  <a:pt x="1356" y="563"/>
                  <a:pt x="1356" y="562"/>
                </a:cubicBezTo>
                <a:cubicBezTo>
                  <a:pt x="1356" y="561"/>
                  <a:pt x="1355" y="561"/>
                  <a:pt x="1354" y="561"/>
                </a:cubicBezTo>
                <a:cubicBezTo>
                  <a:pt x="1354" y="561"/>
                  <a:pt x="1353" y="561"/>
                  <a:pt x="1353" y="561"/>
                </a:cubicBezTo>
                <a:cubicBezTo>
                  <a:pt x="1347" y="562"/>
                  <a:pt x="1346" y="561"/>
                  <a:pt x="1343" y="556"/>
                </a:cubicBezTo>
                <a:cubicBezTo>
                  <a:pt x="1342" y="556"/>
                  <a:pt x="1342" y="556"/>
                  <a:pt x="1342" y="556"/>
                </a:cubicBezTo>
                <a:cubicBezTo>
                  <a:pt x="1342" y="556"/>
                  <a:pt x="1342" y="556"/>
                  <a:pt x="1342" y="556"/>
                </a:cubicBezTo>
                <a:cubicBezTo>
                  <a:pt x="1343" y="556"/>
                  <a:pt x="1343" y="556"/>
                  <a:pt x="1343" y="556"/>
                </a:cubicBezTo>
                <a:cubicBezTo>
                  <a:pt x="1343" y="556"/>
                  <a:pt x="1343" y="556"/>
                  <a:pt x="1343" y="556"/>
                </a:cubicBezTo>
                <a:cubicBezTo>
                  <a:pt x="1345" y="554"/>
                  <a:pt x="1348" y="552"/>
                  <a:pt x="1351" y="551"/>
                </a:cubicBezTo>
                <a:cubicBezTo>
                  <a:pt x="1353" y="551"/>
                  <a:pt x="1355" y="550"/>
                  <a:pt x="1357" y="549"/>
                </a:cubicBezTo>
                <a:cubicBezTo>
                  <a:pt x="1360" y="546"/>
                  <a:pt x="1363" y="545"/>
                  <a:pt x="1367" y="546"/>
                </a:cubicBezTo>
                <a:cubicBezTo>
                  <a:pt x="1367" y="546"/>
                  <a:pt x="1368" y="546"/>
                  <a:pt x="1368" y="546"/>
                </a:cubicBezTo>
                <a:cubicBezTo>
                  <a:pt x="1368" y="546"/>
                  <a:pt x="1368" y="546"/>
                  <a:pt x="1369" y="546"/>
                </a:cubicBezTo>
                <a:cubicBezTo>
                  <a:pt x="1369" y="545"/>
                  <a:pt x="1369" y="545"/>
                  <a:pt x="1369" y="545"/>
                </a:cubicBezTo>
                <a:cubicBezTo>
                  <a:pt x="1369" y="546"/>
                  <a:pt x="1369" y="546"/>
                  <a:pt x="1369" y="546"/>
                </a:cubicBezTo>
                <a:cubicBezTo>
                  <a:pt x="1369" y="546"/>
                  <a:pt x="1368" y="546"/>
                  <a:pt x="1368" y="546"/>
                </a:cubicBezTo>
                <a:cubicBezTo>
                  <a:pt x="1367" y="547"/>
                  <a:pt x="1366" y="549"/>
                  <a:pt x="1364" y="550"/>
                </a:cubicBezTo>
                <a:cubicBezTo>
                  <a:pt x="1363" y="551"/>
                  <a:pt x="1363" y="552"/>
                  <a:pt x="1364" y="553"/>
                </a:cubicBezTo>
                <a:cubicBezTo>
                  <a:pt x="1364" y="554"/>
                  <a:pt x="1364" y="555"/>
                  <a:pt x="1364" y="556"/>
                </a:cubicBezTo>
                <a:cubicBezTo>
                  <a:pt x="1362" y="558"/>
                  <a:pt x="1361" y="561"/>
                  <a:pt x="1359" y="562"/>
                </a:cubicBezTo>
                <a:cubicBezTo>
                  <a:pt x="1359" y="563"/>
                  <a:pt x="1358" y="564"/>
                  <a:pt x="1359" y="564"/>
                </a:cubicBezTo>
                <a:cubicBezTo>
                  <a:pt x="1360" y="566"/>
                  <a:pt x="1362" y="568"/>
                  <a:pt x="1365" y="569"/>
                </a:cubicBezTo>
                <a:cubicBezTo>
                  <a:pt x="1369" y="570"/>
                  <a:pt x="1372" y="572"/>
                  <a:pt x="1375" y="575"/>
                </a:cubicBezTo>
                <a:cubicBezTo>
                  <a:pt x="1378" y="578"/>
                  <a:pt x="1382" y="581"/>
                  <a:pt x="1386" y="583"/>
                </a:cubicBezTo>
                <a:cubicBezTo>
                  <a:pt x="1391" y="585"/>
                  <a:pt x="1393" y="589"/>
                  <a:pt x="1393" y="593"/>
                </a:cubicBezTo>
                <a:cubicBezTo>
                  <a:pt x="1393" y="595"/>
                  <a:pt x="1393" y="597"/>
                  <a:pt x="1391" y="598"/>
                </a:cubicBezTo>
                <a:close/>
                <a:moveTo>
                  <a:pt x="1426" y="462"/>
                </a:moveTo>
                <a:cubicBezTo>
                  <a:pt x="1426" y="461"/>
                  <a:pt x="1426" y="461"/>
                  <a:pt x="1426" y="461"/>
                </a:cubicBezTo>
                <a:cubicBezTo>
                  <a:pt x="1427" y="462"/>
                  <a:pt x="1427" y="462"/>
                  <a:pt x="1427" y="462"/>
                </a:cubicBezTo>
                <a:lnTo>
                  <a:pt x="1426" y="462"/>
                </a:lnTo>
                <a:close/>
                <a:moveTo>
                  <a:pt x="1485" y="635"/>
                </a:moveTo>
                <a:cubicBezTo>
                  <a:pt x="1481" y="636"/>
                  <a:pt x="1477" y="636"/>
                  <a:pt x="1473" y="637"/>
                </a:cubicBezTo>
                <a:cubicBezTo>
                  <a:pt x="1473" y="637"/>
                  <a:pt x="1472" y="637"/>
                  <a:pt x="1471" y="637"/>
                </a:cubicBezTo>
                <a:cubicBezTo>
                  <a:pt x="1467" y="637"/>
                  <a:pt x="1463" y="636"/>
                  <a:pt x="1460" y="633"/>
                </a:cubicBezTo>
                <a:cubicBezTo>
                  <a:pt x="1459" y="632"/>
                  <a:pt x="1457" y="631"/>
                  <a:pt x="1456" y="631"/>
                </a:cubicBezTo>
                <a:cubicBezTo>
                  <a:pt x="1455" y="631"/>
                  <a:pt x="1453" y="631"/>
                  <a:pt x="1452" y="630"/>
                </a:cubicBezTo>
                <a:cubicBezTo>
                  <a:pt x="1452" y="630"/>
                  <a:pt x="1451" y="629"/>
                  <a:pt x="1450" y="629"/>
                </a:cubicBezTo>
                <a:cubicBezTo>
                  <a:pt x="1449" y="625"/>
                  <a:pt x="1447" y="621"/>
                  <a:pt x="1449" y="617"/>
                </a:cubicBezTo>
                <a:cubicBezTo>
                  <a:pt x="1450" y="615"/>
                  <a:pt x="1450" y="613"/>
                  <a:pt x="1451" y="611"/>
                </a:cubicBezTo>
                <a:cubicBezTo>
                  <a:pt x="1451" y="608"/>
                  <a:pt x="1452" y="606"/>
                  <a:pt x="1455" y="605"/>
                </a:cubicBezTo>
                <a:cubicBezTo>
                  <a:pt x="1455" y="605"/>
                  <a:pt x="1455" y="604"/>
                  <a:pt x="1455" y="603"/>
                </a:cubicBezTo>
                <a:cubicBezTo>
                  <a:pt x="1454" y="603"/>
                  <a:pt x="1454" y="603"/>
                  <a:pt x="1453" y="602"/>
                </a:cubicBezTo>
                <a:cubicBezTo>
                  <a:pt x="1450" y="601"/>
                  <a:pt x="1448" y="599"/>
                  <a:pt x="1447" y="597"/>
                </a:cubicBezTo>
                <a:cubicBezTo>
                  <a:pt x="1446" y="594"/>
                  <a:pt x="1444" y="591"/>
                  <a:pt x="1441" y="589"/>
                </a:cubicBezTo>
                <a:cubicBezTo>
                  <a:pt x="1437" y="587"/>
                  <a:pt x="1435" y="583"/>
                  <a:pt x="1434" y="579"/>
                </a:cubicBezTo>
                <a:cubicBezTo>
                  <a:pt x="1433" y="575"/>
                  <a:pt x="1431" y="572"/>
                  <a:pt x="1428" y="569"/>
                </a:cubicBezTo>
                <a:cubicBezTo>
                  <a:pt x="1427" y="568"/>
                  <a:pt x="1426" y="566"/>
                  <a:pt x="1427" y="565"/>
                </a:cubicBezTo>
                <a:cubicBezTo>
                  <a:pt x="1427" y="563"/>
                  <a:pt x="1428" y="561"/>
                  <a:pt x="1429" y="560"/>
                </a:cubicBezTo>
                <a:cubicBezTo>
                  <a:pt x="1429" y="558"/>
                  <a:pt x="1430" y="557"/>
                  <a:pt x="1432" y="557"/>
                </a:cubicBezTo>
                <a:cubicBezTo>
                  <a:pt x="1435" y="555"/>
                  <a:pt x="1437" y="554"/>
                  <a:pt x="1439" y="551"/>
                </a:cubicBezTo>
                <a:cubicBezTo>
                  <a:pt x="1440" y="550"/>
                  <a:pt x="1440" y="550"/>
                  <a:pt x="1441" y="549"/>
                </a:cubicBezTo>
                <a:cubicBezTo>
                  <a:pt x="1444" y="547"/>
                  <a:pt x="1448" y="545"/>
                  <a:pt x="1451" y="544"/>
                </a:cubicBezTo>
                <a:cubicBezTo>
                  <a:pt x="1452" y="543"/>
                  <a:pt x="1453" y="543"/>
                  <a:pt x="1453" y="543"/>
                </a:cubicBezTo>
                <a:cubicBezTo>
                  <a:pt x="1456" y="544"/>
                  <a:pt x="1459" y="545"/>
                  <a:pt x="1462" y="544"/>
                </a:cubicBezTo>
                <a:cubicBezTo>
                  <a:pt x="1463" y="544"/>
                  <a:pt x="1464" y="545"/>
                  <a:pt x="1465" y="546"/>
                </a:cubicBezTo>
                <a:cubicBezTo>
                  <a:pt x="1466" y="548"/>
                  <a:pt x="1466" y="549"/>
                  <a:pt x="1466" y="551"/>
                </a:cubicBezTo>
                <a:cubicBezTo>
                  <a:pt x="1466" y="552"/>
                  <a:pt x="1465" y="554"/>
                  <a:pt x="1465" y="556"/>
                </a:cubicBezTo>
                <a:cubicBezTo>
                  <a:pt x="1465" y="557"/>
                  <a:pt x="1465" y="557"/>
                  <a:pt x="1464" y="557"/>
                </a:cubicBezTo>
                <a:cubicBezTo>
                  <a:pt x="1462" y="558"/>
                  <a:pt x="1461" y="557"/>
                  <a:pt x="1459" y="558"/>
                </a:cubicBezTo>
                <a:cubicBezTo>
                  <a:pt x="1456" y="558"/>
                  <a:pt x="1455" y="559"/>
                  <a:pt x="1455" y="563"/>
                </a:cubicBezTo>
                <a:cubicBezTo>
                  <a:pt x="1455" y="565"/>
                  <a:pt x="1455" y="566"/>
                  <a:pt x="1454" y="566"/>
                </a:cubicBezTo>
                <a:cubicBezTo>
                  <a:pt x="1453" y="566"/>
                  <a:pt x="1453" y="566"/>
                  <a:pt x="1453" y="566"/>
                </a:cubicBezTo>
                <a:cubicBezTo>
                  <a:pt x="1450" y="567"/>
                  <a:pt x="1450" y="567"/>
                  <a:pt x="1451" y="569"/>
                </a:cubicBezTo>
                <a:cubicBezTo>
                  <a:pt x="1453" y="571"/>
                  <a:pt x="1455" y="573"/>
                  <a:pt x="1456" y="575"/>
                </a:cubicBezTo>
                <a:cubicBezTo>
                  <a:pt x="1458" y="579"/>
                  <a:pt x="1462" y="582"/>
                  <a:pt x="1466" y="583"/>
                </a:cubicBezTo>
                <a:cubicBezTo>
                  <a:pt x="1467" y="583"/>
                  <a:pt x="1468" y="584"/>
                  <a:pt x="1468" y="585"/>
                </a:cubicBezTo>
                <a:cubicBezTo>
                  <a:pt x="1468" y="586"/>
                  <a:pt x="1468" y="586"/>
                  <a:pt x="1468" y="587"/>
                </a:cubicBezTo>
                <a:cubicBezTo>
                  <a:pt x="1467" y="590"/>
                  <a:pt x="1468" y="592"/>
                  <a:pt x="1470" y="594"/>
                </a:cubicBezTo>
                <a:cubicBezTo>
                  <a:pt x="1472" y="597"/>
                  <a:pt x="1472" y="600"/>
                  <a:pt x="1472" y="603"/>
                </a:cubicBezTo>
                <a:cubicBezTo>
                  <a:pt x="1472" y="604"/>
                  <a:pt x="1472" y="605"/>
                  <a:pt x="1472" y="606"/>
                </a:cubicBezTo>
                <a:cubicBezTo>
                  <a:pt x="1473" y="608"/>
                  <a:pt x="1474" y="609"/>
                  <a:pt x="1476" y="609"/>
                </a:cubicBezTo>
                <a:cubicBezTo>
                  <a:pt x="1477" y="609"/>
                  <a:pt x="1477" y="609"/>
                  <a:pt x="1478" y="610"/>
                </a:cubicBezTo>
                <a:cubicBezTo>
                  <a:pt x="1479" y="611"/>
                  <a:pt x="1478" y="612"/>
                  <a:pt x="1478" y="613"/>
                </a:cubicBezTo>
                <a:cubicBezTo>
                  <a:pt x="1478" y="613"/>
                  <a:pt x="1478" y="613"/>
                  <a:pt x="1478" y="613"/>
                </a:cubicBezTo>
                <a:cubicBezTo>
                  <a:pt x="1478" y="614"/>
                  <a:pt x="1479" y="615"/>
                  <a:pt x="1479" y="615"/>
                </a:cubicBezTo>
                <a:cubicBezTo>
                  <a:pt x="1481" y="617"/>
                  <a:pt x="1483" y="619"/>
                  <a:pt x="1482" y="621"/>
                </a:cubicBezTo>
                <a:cubicBezTo>
                  <a:pt x="1482" y="626"/>
                  <a:pt x="1484" y="630"/>
                  <a:pt x="1485" y="634"/>
                </a:cubicBezTo>
                <a:cubicBezTo>
                  <a:pt x="1486" y="635"/>
                  <a:pt x="1485" y="635"/>
                  <a:pt x="1485" y="635"/>
                </a:cubicBezTo>
                <a:close/>
                <a:moveTo>
                  <a:pt x="1504" y="265"/>
                </a:moveTo>
                <a:cubicBezTo>
                  <a:pt x="1503" y="264"/>
                  <a:pt x="1503" y="264"/>
                  <a:pt x="1503" y="264"/>
                </a:cubicBezTo>
                <a:cubicBezTo>
                  <a:pt x="1504" y="264"/>
                  <a:pt x="1504" y="264"/>
                  <a:pt x="1504" y="264"/>
                </a:cubicBezTo>
                <a:lnTo>
                  <a:pt x="1504" y="265"/>
                </a:lnTo>
                <a:close/>
                <a:moveTo>
                  <a:pt x="1519" y="564"/>
                </a:moveTo>
                <a:cubicBezTo>
                  <a:pt x="1518" y="565"/>
                  <a:pt x="1515" y="567"/>
                  <a:pt x="1514" y="566"/>
                </a:cubicBezTo>
                <a:cubicBezTo>
                  <a:pt x="1512" y="566"/>
                  <a:pt x="1510" y="565"/>
                  <a:pt x="1508" y="564"/>
                </a:cubicBezTo>
                <a:cubicBezTo>
                  <a:pt x="1507" y="564"/>
                  <a:pt x="1506" y="563"/>
                  <a:pt x="1506" y="562"/>
                </a:cubicBezTo>
                <a:cubicBezTo>
                  <a:pt x="1506" y="556"/>
                  <a:pt x="1511" y="551"/>
                  <a:pt x="1516" y="551"/>
                </a:cubicBezTo>
                <a:cubicBezTo>
                  <a:pt x="1518" y="552"/>
                  <a:pt x="1519" y="552"/>
                  <a:pt x="1519" y="553"/>
                </a:cubicBezTo>
                <a:cubicBezTo>
                  <a:pt x="1520" y="554"/>
                  <a:pt x="1520" y="556"/>
                  <a:pt x="1521" y="557"/>
                </a:cubicBezTo>
                <a:cubicBezTo>
                  <a:pt x="1520" y="559"/>
                  <a:pt x="1519" y="562"/>
                  <a:pt x="1519" y="564"/>
                </a:cubicBezTo>
                <a:close/>
                <a:moveTo>
                  <a:pt x="1556" y="287"/>
                </a:moveTo>
                <a:cubicBezTo>
                  <a:pt x="1555" y="287"/>
                  <a:pt x="1555" y="287"/>
                  <a:pt x="1555" y="287"/>
                </a:cubicBezTo>
                <a:cubicBezTo>
                  <a:pt x="1553" y="284"/>
                  <a:pt x="1550" y="282"/>
                  <a:pt x="1548" y="279"/>
                </a:cubicBezTo>
                <a:cubicBezTo>
                  <a:pt x="1548" y="278"/>
                  <a:pt x="1548" y="278"/>
                  <a:pt x="1548" y="278"/>
                </a:cubicBezTo>
                <a:cubicBezTo>
                  <a:pt x="1549" y="278"/>
                  <a:pt x="1549" y="277"/>
                  <a:pt x="1550" y="277"/>
                </a:cubicBezTo>
                <a:cubicBezTo>
                  <a:pt x="1551" y="277"/>
                  <a:pt x="1552" y="278"/>
                  <a:pt x="1553" y="279"/>
                </a:cubicBezTo>
                <a:cubicBezTo>
                  <a:pt x="1554" y="280"/>
                  <a:pt x="1555" y="281"/>
                  <a:pt x="1556" y="282"/>
                </a:cubicBezTo>
                <a:cubicBezTo>
                  <a:pt x="1557" y="283"/>
                  <a:pt x="1557" y="286"/>
                  <a:pt x="1556" y="287"/>
                </a:cubicBezTo>
                <a:close/>
                <a:moveTo>
                  <a:pt x="1558" y="294"/>
                </a:moveTo>
                <a:cubicBezTo>
                  <a:pt x="1558" y="294"/>
                  <a:pt x="1557" y="294"/>
                  <a:pt x="1557" y="294"/>
                </a:cubicBezTo>
                <a:cubicBezTo>
                  <a:pt x="1557" y="293"/>
                  <a:pt x="1558" y="293"/>
                  <a:pt x="1558" y="294"/>
                </a:cubicBezTo>
                <a:cubicBezTo>
                  <a:pt x="1558" y="294"/>
                  <a:pt x="1558" y="294"/>
                  <a:pt x="1558" y="294"/>
                </a:cubicBezTo>
                <a:close/>
                <a:moveTo>
                  <a:pt x="1571" y="595"/>
                </a:moveTo>
                <a:cubicBezTo>
                  <a:pt x="1571" y="595"/>
                  <a:pt x="1571" y="595"/>
                  <a:pt x="1571" y="595"/>
                </a:cubicBezTo>
                <a:cubicBezTo>
                  <a:pt x="1571" y="595"/>
                  <a:pt x="1571" y="595"/>
                  <a:pt x="1571" y="595"/>
                </a:cubicBezTo>
                <a:close/>
                <a:moveTo>
                  <a:pt x="1575" y="251"/>
                </a:moveTo>
                <a:cubicBezTo>
                  <a:pt x="1575" y="252"/>
                  <a:pt x="1574" y="253"/>
                  <a:pt x="1574" y="252"/>
                </a:cubicBezTo>
                <a:cubicBezTo>
                  <a:pt x="1573" y="252"/>
                  <a:pt x="1573" y="251"/>
                  <a:pt x="1573" y="251"/>
                </a:cubicBezTo>
                <a:cubicBezTo>
                  <a:pt x="1574" y="250"/>
                  <a:pt x="1575" y="250"/>
                  <a:pt x="1575" y="250"/>
                </a:cubicBezTo>
                <a:cubicBezTo>
                  <a:pt x="1575" y="250"/>
                  <a:pt x="1576" y="250"/>
                  <a:pt x="1576" y="251"/>
                </a:cubicBezTo>
                <a:cubicBezTo>
                  <a:pt x="1576" y="251"/>
                  <a:pt x="1575" y="251"/>
                  <a:pt x="1575" y="251"/>
                </a:cubicBezTo>
                <a:close/>
                <a:moveTo>
                  <a:pt x="1612" y="130"/>
                </a:moveTo>
                <a:cubicBezTo>
                  <a:pt x="1613" y="131"/>
                  <a:pt x="1613" y="131"/>
                  <a:pt x="1614" y="132"/>
                </a:cubicBezTo>
                <a:cubicBezTo>
                  <a:pt x="1614" y="132"/>
                  <a:pt x="1614" y="132"/>
                  <a:pt x="1614" y="132"/>
                </a:cubicBezTo>
                <a:cubicBezTo>
                  <a:pt x="1614" y="132"/>
                  <a:pt x="1614" y="132"/>
                  <a:pt x="1614" y="132"/>
                </a:cubicBezTo>
                <a:cubicBezTo>
                  <a:pt x="1613" y="131"/>
                  <a:pt x="1613" y="131"/>
                  <a:pt x="1612" y="130"/>
                </a:cubicBezTo>
                <a:cubicBezTo>
                  <a:pt x="1612" y="130"/>
                  <a:pt x="1612" y="130"/>
                  <a:pt x="1612" y="130"/>
                </a:cubicBezTo>
                <a:cubicBezTo>
                  <a:pt x="1612" y="130"/>
                  <a:pt x="1612" y="130"/>
                  <a:pt x="1612" y="130"/>
                </a:cubicBezTo>
                <a:close/>
                <a:moveTo>
                  <a:pt x="1612" y="453"/>
                </a:moveTo>
                <a:cubicBezTo>
                  <a:pt x="1612" y="453"/>
                  <a:pt x="1612" y="453"/>
                  <a:pt x="1612" y="454"/>
                </a:cubicBezTo>
                <a:cubicBezTo>
                  <a:pt x="1612" y="454"/>
                  <a:pt x="1612" y="454"/>
                  <a:pt x="1611" y="454"/>
                </a:cubicBezTo>
                <a:cubicBezTo>
                  <a:pt x="1611" y="454"/>
                  <a:pt x="1610" y="454"/>
                  <a:pt x="1610" y="454"/>
                </a:cubicBezTo>
                <a:cubicBezTo>
                  <a:pt x="1610" y="454"/>
                  <a:pt x="1609" y="454"/>
                  <a:pt x="1609" y="454"/>
                </a:cubicBezTo>
                <a:cubicBezTo>
                  <a:pt x="1610" y="453"/>
                  <a:pt x="1611" y="453"/>
                  <a:pt x="1612" y="453"/>
                </a:cubicBezTo>
                <a:close/>
                <a:moveTo>
                  <a:pt x="1614" y="542"/>
                </a:moveTo>
                <a:cubicBezTo>
                  <a:pt x="1612" y="544"/>
                  <a:pt x="1611" y="546"/>
                  <a:pt x="1610" y="549"/>
                </a:cubicBezTo>
                <a:cubicBezTo>
                  <a:pt x="1610" y="549"/>
                  <a:pt x="1609" y="550"/>
                  <a:pt x="1609" y="550"/>
                </a:cubicBezTo>
                <a:cubicBezTo>
                  <a:pt x="1608" y="550"/>
                  <a:pt x="1607" y="549"/>
                  <a:pt x="1607" y="548"/>
                </a:cubicBezTo>
                <a:cubicBezTo>
                  <a:pt x="1607" y="548"/>
                  <a:pt x="1607" y="548"/>
                  <a:pt x="1607" y="548"/>
                </a:cubicBezTo>
                <a:cubicBezTo>
                  <a:pt x="1607" y="545"/>
                  <a:pt x="1608" y="543"/>
                  <a:pt x="1609" y="541"/>
                </a:cubicBezTo>
                <a:cubicBezTo>
                  <a:pt x="1610" y="540"/>
                  <a:pt x="1611" y="539"/>
                  <a:pt x="1612" y="538"/>
                </a:cubicBezTo>
                <a:cubicBezTo>
                  <a:pt x="1613" y="538"/>
                  <a:pt x="1614" y="538"/>
                  <a:pt x="1615" y="538"/>
                </a:cubicBezTo>
                <a:cubicBezTo>
                  <a:pt x="1615" y="538"/>
                  <a:pt x="1616" y="538"/>
                  <a:pt x="1616" y="539"/>
                </a:cubicBezTo>
                <a:cubicBezTo>
                  <a:pt x="1615" y="540"/>
                  <a:pt x="1615" y="541"/>
                  <a:pt x="1614" y="542"/>
                </a:cubicBezTo>
                <a:close/>
                <a:moveTo>
                  <a:pt x="1625" y="102"/>
                </a:moveTo>
                <a:cubicBezTo>
                  <a:pt x="1625" y="101"/>
                  <a:pt x="1625" y="101"/>
                  <a:pt x="1625" y="101"/>
                </a:cubicBezTo>
                <a:cubicBezTo>
                  <a:pt x="1625" y="101"/>
                  <a:pt x="1625" y="101"/>
                  <a:pt x="1625" y="101"/>
                </a:cubicBezTo>
                <a:lnTo>
                  <a:pt x="1625" y="102"/>
                </a:lnTo>
                <a:close/>
                <a:moveTo>
                  <a:pt x="1644" y="152"/>
                </a:moveTo>
                <a:cubicBezTo>
                  <a:pt x="1644" y="152"/>
                  <a:pt x="1644" y="152"/>
                  <a:pt x="1644" y="152"/>
                </a:cubicBezTo>
                <a:cubicBezTo>
                  <a:pt x="1643" y="153"/>
                  <a:pt x="1643" y="155"/>
                  <a:pt x="1643" y="157"/>
                </a:cubicBezTo>
                <a:cubicBezTo>
                  <a:pt x="1642" y="158"/>
                  <a:pt x="1642" y="158"/>
                  <a:pt x="1641" y="158"/>
                </a:cubicBezTo>
                <a:cubicBezTo>
                  <a:pt x="1639" y="159"/>
                  <a:pt x="1639" y="160"/>
                  <a:pt x="1638" y="162"/>
                </a:cubicBezTo>
                <a:cubicBezTo>
                  <a:pt x="1638" y="162"/>
                  <a:pt x="1638" y="162"/>
                  <a:pt x="1639" y="162"/>
                </a:cubicBezTo>
                <a:cubicBezTo>
                  <a:pt x="1639" y="162"/>
                  <a:pt x="1640" y="163"/>
                  <a:pt x="1640" y="164"/>
                </a:cubicBezTo>
                <a:cubicBezTo>
                  <a:pt x="1641" y="164"/>
                  <a:pt x="1642" y="165"/>
                  <a:pt x="1642" y="165"/>
                </a:cubicBezTo>
                <a:cubicBezTo>
                  <a:pt x="1642" y="166"/>
                  <a:pt x="1642" y="166"/>
                  <a:pt x="1642" y="166"/>
                </a:cubicBezTo>
                <a:cubicBezTo>
                  <a:pt x="1642" y="165"/>
                  <a:pt x="1642" y="165"/>
                  <a:pt x="1642" y="165"/>
                </a:cubicBezTo>
                <a:cubicBezTo>
                  <a:pt x="1641" y="165"/>
                  <a:pt x="1641" y="164"/>
                  <a:pt x="1640" y="164"/>
                </a:cubicBezTo>
                <a:cubicBezTo>
                  <a:pt x="1639" y="163"/>
                  <a:pt x="1639" y="163"/>
                  <a:pt x="1638" y="162"/>
                </a:cubicBezTo>
                <a:cubicBezTo>
                  <a:pt x="1638" y="162"/>
                  <a:pt x="1638" y="162"/>
                  <a:pt x="1638" y="162"/>
                </a:cubicBezTo>
                <a:cubicBezTo>
                  <a:pt x="1637" y="160"/>
                  <a:pt x="1635" y="160"/>
                  <a:pt x="1634" y="159"/>
                </a:cubicBezTo>
                <a:cubicBezTo>
                  <a:pt x="1633" y="157"/>
                  <a:pt x="1633" y="155"/>
                  <a:pt x="1632" y="154"/>
                </a:cubicBezTo>
                <a:cubicBezTo>
                  <a:pt x="1632" y="153"/>
                  <a:pt x="1632" y="152"/>
                  <a:pt x="1632" y="152"/>
                </a:cubicBezTo>
                <a:cubicBezTo>
                  <a:pt x="1632" y="151"/>
                  <a:pt x="1632" y="151"/>
                  <a:pt x="1632" y="151"/>
                </a:cubicBezTo>
                <a:cubicBezTo>
                  <a:pt x="1631" y="151"/>
                  <a:pt x="1631" y="151"/>
                  <a:pt x="1631" y="151"/>
                </a:cubicBezTo>
                <a:cubicBezTo>
                  <a:pt x="1632" y="151"/>
                  <a:pt x="1632" y="151"/>
                  <a:pt x="1632" y="151"/>
                </a:cubicBezTo>
                <a:cubicBezTo>
                  <a:pt x="1632" y="151"/>
                  <a:pt x="1632" y="151"/>
                  <a:pt x="1632" y="152"/>
                </a:cubicBezTo>
                <a:cubicBezTo>
                  <a:pt x="1633" y="152"/>
                  <a:pt x="1634" y="153"/>
                  <a:pt x="1635" y="153"/>
                </a:cubicBezTo>
                <a:cubicBezTo>
                  <a:pt x="1636" y="154"/>
                  <a:pt x="1638" y="154"/>
                  <a:pt x="1640" y="153"/>
                </a:cubicBezTo>
                <a:cubicBezTo>
                  <a:pt x="1641" y="152"/>
                  <a:pt x="1642" y="152"/>
                  <a:pt x="1644" y="152"/>
                </a:cubicBezTo>
                <a:cubicBezTo>
                  <a:pt x="1644" y="152"/>
                  <a:pt x="1644" y="151"/>
                  <a:pt x="1644" y="151"/>
                </a:cubicBezTo>
                <a:cubicBezTo>
                  <a:pt x="1644" y="151"/>
                  <a:pt x="1644" y="151"/>
                  <a:pt x="1644" y="151"/>
                </a:cubicBezTo>
                <a:cubicBezTo>
                  <a:pt x="1644" y="151"/>
                  <a:pt x="1644" y="151"/>
                  <a:pt x="1644" y="152"/>
                </a:cubicBezTo>
                <a:close/>
                <a:moveTo>
                  <a:pt x="1654" y="145"/>
                </a:moveTo>
                <a:cubicBezTo>
                  <a:pt x="1652" y="146"/>
                  <a:pt x="1650" y="147"/>
                  <a:pt x="1648" y="149"/>
                </a:cubicBezTo>
                <a:cubicBezTo>
                  <a:pt x="1647" y="149"/>
                  <a:pt x="1647" y="149"/>
                  <a:pt x="1646" y="149"/>
                </a:cubicBezTo>
                <a:cubicBezTo>
                  <a:pt x="1646" y="150"/>
                  <a:pt x="1646" y="150"/>
                  <a:pt x="1646" y="150"/>
                </a:cubicBezTo>
                <a:cubicBezTo>
                  <a:pt x="1646" y="150"/>
                  <a:pt x="1645" y="150"/>
                  <a:pt x="1645" y="150"/>
                </a:cubicBezTo>
                <a:cubicBezTo>
                  <a:pt x="1645" y="150"/>
                  <a:pt x="1645" y="150"/>
                  <a:pt x="1645" y="149"/>
                </a:cubicBezTo>
                <a:cubicBezTo>
                  <a:pt x="1646" y="149"/>
                  <a:pt x="1646" y="149"/>
                  <a:pt x="1646" y="149"/>
                </a:cubicBezTo>
                <a:cubicBezTo>
                  <a:pt x="1646" y="149"/>
                  <a:pt x="1647" y="148"/>
                  <a:pt x="1647" y="147"/>
                </a:cubicBezTo>
                <a:cubicBezTo>
                  <a:pt x="1649" y="145"/>
                  <a:pt x="1650" y="144"/>
                  <a:pt x="1651" y="143"/>
                </a:cubicBezTo>
                <a:cubicBezTo>
                  <a:pt x="1651" y="143"/>
                  <a:pt x="1651" y="143"/>
                  <a:pt x="1651" y="143"/>
                </a:cubicBezTo>
                <a:cubicBezTo>
                  <a:pt x="1651" y="143"/>
                  <a:pt x="1651" y="142"/>
                  <a:pt x="1651" y="142"/>
                </a:cubicBezTo>
                <a:cubicBezTo>
                  <a:pt x="1649" y="142"/>
                  <a:pt x="1647" y="142"/>
                  <a:pt x="1647" y="140"/>
                </a:cubicBezTo>
                <a:cubicBezTo>
                  <a:pt x="1647" y="139"/>
                  <a:pt x="1647" y="139"/>
                  <a:pt x="1647" y="139"/>
                </a:cubicBezTo>
                <a:cubicBezTo>
                  <a:pt x="1647" y="138"/>
                  <a:pt x="1648" y="139"/>
                  <a:pt x="1648" y="139"/>
                </a:cubicBezTo>
                <a:cubicBezTo>
                  <a:pt x="1648" y="139"/>
                  <a:pt x="1649" y="139"/>
                  <a:pt x="1649" y="140"/>
                </a:cubicBezTo>
                <a:cubicBezTo>
                  <a:pt x="1650" y="141"/>
                  <a:pt x="1650" y="142"/>
                  <a:pt x="1651" y="142"/>
                </a:cubicBezTo>
                <a:cubicBezTo>
                  <a:pt x="1651" y="142"/>
                  <a:pt x="1651" y="142"/>
                  <a:pt x="1651" y="142"/>
                </a:cubicBezTo>
                <a:cubicBezTo>
                  <a:pt x="1651" y="142"/>
                  <a:pt x="1651" y="143"/>
                  <a:pt x="1651" y="143"/>
                </a:cubicBezTo>
                <a:cubicBezTo>
                  <a:pt x="1652" y="143"/>
                  <a:pt x="1653" y="143"/>
                  <a:pt x="1653" y="143"/>
                </a:cubicBezTo>
                <a:cubicBezTo>
                  <a:pt x="1654" y="143"/>
                  <a:pt x="1654" y="144"/>
                  <a:pt x="1655" y="144"/>
                </a:cubicBezTo>
                <a:cubicBezTo>
                  <a:pt x="1655" y="144"/>
                  <a:pt x="1654" y="145"/>
                  <a:pt x="1654" y="145"/>
                </a:cubicBezTo>
                <a:close/>
                <a:moveTo>
                  <a:pt x="1667" y="144"/>
                </a:moveTo>
                <a:cubicBezTo>
                  <a:pt x="1666" y="144"/>
                  <a:pt x="1666" y="144"/>
                  <a:pt x="1666" y="144"/>
                </a:cubicBezTo>
                <a:cubicBezTo>
                  <a:pt x="1667" y="143"/>
                  <a:pt x="1667" y="143"/>
                  <a:pt x="1667" y="143"/>
                </a:cubicBezTo>
                <a:lnTo>
                  <a:pt x="1667" y="144"/>
                </a:lnTo>
                <a:close/>
                <a:moveTo>
                  <a:pt x="1679" y="523"/>
                </a:moveTo>
                <a:cubicBezTo>
                  <a:pt x="1679" y="524"/>
                  <a:pt x="1678" y="524"/>
                  <a:pt x="1677" y="524"/>
                </a:cubicBezTo>
                <a:cubicBezTo>
                  <a:pt x="1674" y="523"/>
                  <a:pt x="1671" y="522"/>
                  <a:pt x="1669" y="521"/>
                </a:cubicBezTo>
                <a:cubicBezTo>
                  <a:pt x="1668" y="520"/>
                  <a:pt x="1668" y="519"/>
                  <a:pt x="1668" y="518"/>
                </a:cubicBezTo>
                <a:cubicBezTo>
                  <a:pt x="1668" y="517"/>
                  <a:pt x="1668" y="516"/>
                  <a:pt x="1668" y="515"/>
                </a:cubicBezTo>
                <a:cubicBezTo>
                  <a:pt x="1669" y="515"/>
                  <a:pt x="1670" y="516"/>
                  <a:pt x="1670" y="517"/>
                </a:cubicBezTo>
                <a:cubicBezTo>
                  <a:pt x="1671" y="518"/>
                  <a:pt x="1673" y="519"/>
                  <a:pt x="1675" y="520"/>
                </a:cubicBezTo>
                <a:cubicBezTo>
                  <a:pt x="1676" y="520"/>
                  <a:pt x="1678" y="521"/>
                  <a:pt x="1679" y="522"/>
                </a:cubicBezTo>
                <a:cubicBezTo>
                  <a:pt x="1679" y="522"/>
                  <a:pt x="1679" y="522"/>
                  <a:pt x="1679" y="522"/>
                </a:cubicBezTo>
                <a:cubicBezTo>
                  <a:pt x="1679" y="523"/>
                  <a:pt x="1679" y="523"/>
                  <a:pt x="1679" y="523"/>
                </a:cubicBezTo>
                <a:close/>
                <a:moveTo>
                  <a:pt x="1679" y="178"/>
                </a:moveTo>
                <a:cubicBezTo>
                  <a:pt x="1679" y="178"/>
                  <a:pt x="1679" y="178"/>
                  <a:pt x="1679" y="178"/>
                </a:cubicBezTo>
                <a:cubicBezTo>
                  <a:pt x="1679" y="177"/>
                  <a:pt x="1679" y="177"/>
                  <a:pt x="1679" y="177"/>
                </a:cubicBezTo>
                <a:cubicBezTo>
                  <a:pt x="1679" y="177"/>
                  <a:pt x="1679" y="177"/>
                  <a:pt x="1679" y="177"/>
                </a:cubicBezTo>
                <a:cubicBezTo>
                  <a:pt x="1679" y="178"/>
                  <a:pt x="1679" y="178"/>
                  <a:pt x="1679" y="178"/>
                </a:cubicBezTo>
                <a:cubicBezTo>
                  <a:pt x="1679" y="178"/>
                  <a:pt x="1679" y="178"/>
                  <a:pt x="1679" y="178"/>
                </a:cubicBezTo>
                <a:cubicBezTo>
                  <a:pt x="1679" y="178"/>
                  <a:pt x="1679" y="178"/>
                  <a:pt x="1679" y="178"/>
                </a:cubicBezTo>
                <a:close/>
                <a:moveTo>
                  <a:pt x="1726" y="495"/>
                </a:moveTo>
                <a:cubicBezTo>
                  <a:pt x="1725" y="496"/>
                  <a:pt x="1724" y="496"/>
                  <a:pt x="1724" y="495"/>
                </a:cubicBezTo>
                <a:cubicBezTo>
                  <a:pt x="1723" y="494"/>
                  <a:pt x="1723" y="493"/>
                  <a:pt x="1723" y="493"/>
                </a:cubicBezTo>
                <a:cubicBezTo>
                  <a:pt x="1723" y="492"/>
                  <a:pt x="1724" y="492"/>
                  <a:pt x="1724" y="491"/>
                </a:cubicBezTo>
                <a:cubicBezTo>
                  <a:pt x="1725" y="491"/>
                  <a:pt x="1726" y="491"/>
                  <a:pt x="1726" y="492"/>
                </a:cubicBezTo>
                <a:cubicBezTo>
                  <a:pt x="1727" y="493"/>
                  <a:pt x="1727" y="493"/>
                  <a:pt x="1727" y="494"/>
                </a:cubicBezTo>
                <a:cubicBezTo>
                  <a:pt x="1726" y="494"/>
                  <a:pt x="1726" y="495"/>
                  <a:pt x="1726" y="495"/>
                </a:cubicBezTo>
                <a:close/>
                <a:moveTo>
                  <a:pt x="1730" y="517"/>
                </a:moveTo>
                <a:cubicBezTo>
                  <a:pt x="1730" y="517"/>
                  <a:pt x="1729" y="517"/>
                  <a:pt x="1729" y="517"/>
                </a:cubicBezTo>
                <a:cubicBezTo>
                  <a:pt x="1729" y="518"/>
                  <a:pt x="1728" y="518"/>
                  <a:pt x="1728" y="518"/>
                </a:cubicBezTo>
                <a:cubicBezTo>
                  <a:pt x="1728" y="518"/>
                  <a:pt x="1728" y="517"/>
                  <a:pt x="1728" y="517"/>
                </a:cubicBezTo>
                <a:cubicBezTo>
                  <a:pt x="1728" y="517"/>
                  <a:pt x="1728" y="516"/>
                  <a:pt x="1728" y="516"/>
                </a:cubicBezTo>
                <a:cubicBezTo>
                  <a:pt x="1728" y="515"/>
                  <a:pt x="1729" y="514"/>
                  <a:pt x="1729" y="515"/>
                </a:cubicBezTo>
                <a:cubicBezTo>
                  <a:pt x="1730" y="516"/>
                  <a:pt x="1730" y="516"/>
                  <a:pt x="1730" y="517"/>
                </a:cubicBezTo>
                <a:close/>
                <a:moveTo>
                  <a:pt x="1733" y="506"/>
                </a:moveTo>
                <a:cubicBezTo>
                  <a:pt x="1733" y="505"/>
                  <a:pt x="1733" y="505"/>
                  <a:pt x="1733" y="505"/>
                </a:cubicBezTo>
                <a:cubicBezTo>
                  <a:pt x="1733" y="506"/>
                  <a:pt x="1733" y="506"/>
                  <a:pt x="1733" y="506"/>
                </a:cubicBezTo>
                <a:cubicBezTo>
                  <a:pt x="1733" y="506"/>
                  <a:pt x="1733" y="506"/>
                  <a:pt x="1733" y="506"/>
                </a:cubicBezTo>
                <a:close/>
                <a:moveTo>
                  <a:pt x="1768" y="427"/>
                </a:moveTo>
                <a:cubicBezTo>
                  <a:pt x="1768" y="427"/>
                  <a:pt x="1767" y="428"/>
                  <a:pt x="1767" y="427"/>
                </a:cubicBezTo>
                <a:cubicBezTo>
                  <a:pt x="1766" y="426"/>
                  <a:pt x="1764" y="425"/>
                  <a:pt x="1764" y="423"/>
                </a:cubicBezTo>
                <a:cubicBezTo>
                  <a:pt x="1763" y="422"/>
                  <a:pt x="1764" y="422"/>
                  <a:pt x="1764" y="422"/>
                </a:cubicBezTo>
                <a:cubicBezTo>
                  <a:pt x="1764" y="421"/>
                  <a:pt x="1764" y="421"/>
                  <a:pt x="1765" y="422"/>
                </a:cubicBezTo>
                <a:cubicBezTo>
                  <a:pt x="1765" y="422"/>
                  <a:pt x="1766" y="423"/>
                  <a:pt x="1766" y="424"/>
                </a:cubicBezTo>
                <a:cubicBezTo>
                  <a:pt x="1767" y="425"/>
                  <a:pt x="1767" y="426"/>
                  <a:pt x="1768" y="427"/>
                </a:cubicBezTo>
                <a:cubicBezTo>
                  <a:pt x="1768" y="427"/>
                  <a:pt x="1768" y="427"/>
                  <a:pt x="1768" y="427"/>
                </a:cubicBezTo>
                <a:close/>
                <a:moveTo>
                  <a:pt x="1768" y="419"/>
                </a:moveTo>
                <a:cubicBezTo>
                  <a:pt x="1767" y="419"/>
                  <a:pt x="1768" y="418"/>
                  <a:pt x="1768" y="418"/>
                </a:cubicBezTo>
                <a:cubicBezTo>
                  <a:pt x="1768" y="418"/>
                  <a:pt x="1769" y="419"/>
                  <a:pt x="1769" y="419"/>
                </a:cubicBezTo>
                <a:cubicBezTo>
                  <a:pt x="1768" y="419"/>
                  <a:pt x="1768" y="419"/>
                  <a:pt x="1768" y="419"/>
                </a:cubicBezTo>
                <a:close/>
                <a:moveTo>
                  <a:pt x="1775" y="481"/>
                </a:moveTo>
                <a:cubicBezTo>
                  <a:pt x="1775" y="481"/>
                  <a:pt x="1774" y="482"/>
                  <a:pt x="1774" y="482"/>
                </a:cubicBezTo>
                <a:cubicBezTo>
                  <a:pt x="1774" y="481"/>
                  <a:pt x="1774" y="481"/>
                  <a:pt x="1774" y="481"/>
                </a:cubicBezTo>
                <a:cubicBezTo>
                  <a:pt x="1774" y="480"/>
                  <a:pt x="1773" y="479"/>
                  <a:pt x="1773" y="479"/>
                </a:cubicBezTo>
                <a:cubicBezTo>
                  <a:pt x="1773" y="479"/>
                  <a:pt x="1774" y="478"/>
                  <a:pt x="1774" y="478"/>
                </a:cubicBezTo>
                <a:cubicBezTo>
                  <a:pt x="1774" y="478"/>
                  <a:pt x="1775" y="478"/>
                  <a:pt x="1775" y="479"/>
                </a:cubicBezTo>
                <a:cubicBezTo>
                  <a:pt x="1775" y="480"/>
                  <a:pt x="1775" y="480"/>
                  <a:pt x="1775" y="481"/>
                </a:cubicBezTo>
                <a:close/>
                <a:moveTo>
                  <a:pt x="1798" y="471"/>
                </a:moveTo>
                <a:cubicBezTo>
                  <a:pt x="1798" y="471"/>
                  <a:pt x="1798" y="471"/>
                  <a:pt x="1798" y="471"/>
                </a:cubicBezTo>
                <a:cubicBezTo>
                  <a:pt x="1799" y="469"/>
                  <a:pt x="1799" y="468"/>
                  <a:pt x="1800" y="467"/>
                </a:cubicBezTo>
                <a:cubicBezTo>
                  <a:pt x="1800" y="467"/>
                  <a:pt x="1800" y="467"/>
                  <a:pt x="1800" y="467"/>
                </a:cubicBezTo>
                <a:cubicBezTo>
                  <a:pt x="1799" y="467"/>
                  <a:pt x="1799" y="467"/>
                  <a:pt x="1800" y="466"/>
                </a:cubicBezTo>
                <a:cubicBezTo>
                  <a:pt x="1800" y="466"/>
                  <a:pt x="1800" y="467"/>
                  <a:pt x="1800" y="467"/>
                </a:cubicBezTo>
                <a:cubicBezTo>
                  <a:pt x="1800" y="467"/>
                  <a:pt x="1800" y="467"/>
                  <a:pt x="1800" y="467"/>
                </a:cubicBezTo>
                <a:cubicBezTo>
                  <a:pt x="1801" y="468"/>
                  <a:pt x="1802" y="468"/>
                  <a:pt x="1803" y="468"/>
                </a:cubicBezTo>
                <a:cubicBezTo>
                  <a:pt x="1804" y="467"/>
                  <a:pt x="1805" y="466"/>
                  <a:pt x="1805" y="466"/>
                </a:cubicBezTo>
                <a:cubicBezTo>
                  <a:pt x="1806" y="463"/>
                  <a:pt x="1807" y="460"/>
                  <a:pt x="1809" y="458"/>
                </a:cubicBezTo>
                <a:cubicBezTo>
                  <a:pt x="1809" y="457"/>
                  <a:pt x="1810" y="456"/>
                  <a:pt x="1810" y="455"/>
                </a:cubicBezTo>
                <a:cubicBezTo>
                  <a:pt x="1811" y="453"/>
                  <a:pt x="1811" y="451"/>
                  <a:pt x="1812" y="449"/>
                </a:cubicBezTo>
                <a:cubicBezTo>
                  <a:pt x="1816" y="441"/>
                  <a:pt x="1817" y="432"/>
                  <a:pt x="1816" y="424"/>
                </a:cubicBezTo>
                <a:cubicBezTo>
                  <a:pt x="1815" y="423"/>
                  <a:pt x="1816" y="422"/>
                  <a:pt x="1816" y="422"/>
                </a:cubicBezTo>
                <a:cubicBezTo>
                  <a:pt x="1816" y="422"/>
                  <a:pt x="1816" y="421"/>
                  <a:pt x="1816" y="421"/>
                </a:cubicBezTo>
                <a:cubicBezTo>
                  <a:pt x="1817" y="421"/>
                  <a:pt x="1818" y="421"/>
                  <a:pt x="1818" y="422"/>
                </a:cubicBezTo>
                <a:cubicBezTo>
                  <a:pt x="1819" y="425"/>
                  <a:pt x="1820" y="428"/>
                  <a:pt x="1820" y="432"/>
                </a:cubicBezTo>
                <a:cubicBezTo>
                  <a:pt x="1821" y="434"/>
                  <a:pt x="1821" y="436"/>
                  <a:pt x="1822" y="438"/>
                </a:cubicBezTo>
                <a:cubicBezTo>
                  <a:pt x="1823" y="440"/>
                  <a:pt x="1822" y="442"/>
                  <a:pt x="1821" y="443"/>
                </a:cubicBezTo>
                <a:cubicBezTo>
                  <a:pt x="1820" y="444"/>
                  <a:pt x="1819" y="445"/>
                  <a:pt x="1820" y="447"/>
                </a:cubicBezTo>
                <a:cubicBezTo>
                  <a:pt x="1821" y="448"/>
                  <a:pt x="1821" y="448"/>
                  <a:pt x="1820" y="450"/>
                </a:cubicBezTo>
                <a:cubicBezTo>
                  <a:pt x="1818" y="454"/>
                  <a:pt x="1815" y="458"/>
                  <a:pt x="1811" y="461"/>
                </a:cubicBezTo>
                <a:cubicBezTo>
                  <a:pt x="1809" y="462"/>
                  <a:pt x="1808" y="464"/>
                  <a:pt x="1808" y="466"/>
                </a:cubicBezTo>
                <a:cubicBezTo>
                  <a:pt x="1808" y="468"/>
                  <a:pt x="1807" y="469"/>
                  <a:pt x="1805" y="470"/>
                </a:cubicBezTo>
                <a:cubicBezTo>
                  <a:pt x="1803" y="471"/>
                  <a:pt x="1802" y="472"/>
                  <a:pt x="1799" y="472"/>
                </a:cubicBezTo>
                <a:cubicBezTo>
                  <a:pt x="1799" y="472"/>
                  <a:pt x="1798" y="472"/>
                  <a:pt x="1798" y="471"/>
                </a:cubicBezTo>
                <a:close/>
                <a:moveTo>
                  <a:pt x="1835" y="851"/>
                </a:moveTo>
                <a:cubicBezTo>
                  <a:pt x="1835" y="851"/>
                  <a:pt x="1835" y="851"/>
                  <a:pt x="1835" y="851"/>
                </a:cubicBezTo>
                <a:cubicBezTo>
                  <a:pt x="1835" y="851"/>
                  <a:pt x="1835" y="851"/>
                  <a:pt x="1835" y="851"/>
                </a:cubicBezTo>
                <a:close/>
                <a:moveTo>
                  <a:pt x="1255" y="628"/>
                </a:moveTo>
                <a:cubicBezTo>
                  <a:pt x="1255" y="628"/>
                  <a:pt x="1255" y="628"/>
                  <a:pt x="1255" y="628"/>
                </a:cubicBezTo>
                <a:cubicBezTo>
                  <a:pt x="1255" y="628"/>
                  <a:pt x="1255" y="628"/>
                  <a:pt x="1255" y="628"/>
                </a:cubicBezTo>
                <a:cubicBezTo>
                  <a:pt x="1255" y="628"/>
                  <a:pt x="1255" y="628"/>
                  <a:pt x="1255" y="628"/>
                </a:cubicBezTo>
                <a:cubicBezTo>
                  <a:pt x="1255" y="628"/>
                  <a:pt x="1255" y="628"/>
                  <a:pt x="1255" y="628"/>
                </a:cubicBezTo>
                <a:close/>
                <a:moveTo>
                  <a:pt x="759" y="919"/>
                </a:moveTo>
                <a:cubicBezTo>
                  <a:pt x="759" y="919"/>
                  <a:pt x="759" y="919"/>
                  <a:pt x="759" y="919"/>
                </a:cubicBezTo>
                <a:cubicBezTo>
                  <a:pt x="759" y="919"/>
                  <a:pt x="759" y="919"/>
                  <a:pt x="759" y="919"/>
                </a:cubicBezTo>
                <a:cubicBezTo>
                  <a:pt x="759" y="919"/>
                  <a:pt x="759" y="919"/>
                  <a:pt x="759" y="919"/>
                </a:cubicBezTo>
                <a:cubicBezTo>
                  <a:pt x="759" y="919"/>
                  <a:pt x="759" y="919"/>
                  <a:pt x="759" y="919"/>
                </a:cubicBezTo>
                <a:close/>
                <a:moveTo>
                  <a:pt x="570" y="246"/>
                </a:moveTo>
                <a:cubicBezTo>
                  <a:pt x="570" y="246"/>
                  <a:pt x="570" y="246"/>
                  <a:pt x="570" y="246"/>
                </a:cubicBezTo>
                <a:cubicBezTo>
                  <a:pt x="570" y="246"/>
                  <a:pt x="570" y="246"/>
                  <a:pt x="570" y="246"/>
                </a:cubicBezTo>
                <a:cubicBezTo>
                  <a:pt x="570" y="246"/>
                  <a:pt x="570" y="246"/>
                  <a:pt x="570" y="246"/>
                </a:cubicBezTo>
                <a:cubicBezTo>
                  <a:pt x="570" y="246"/>
                  <a:pt x="570" y="246"/>
                  <a:pt x="570" y="246"/>
                </a:cubicBezTo>
                <a:close/>
                <a:moveTo>
                  <a:pt x="599" y="313"/>
                </a:moveTo>
                <a:cubicBezTo>
                  <a:pt x="599" y="313"/>
                  <a:pt x="599" y="313"/>
                  <a:pt x="599" y="313"/>
                </a:cubicBezTo>
                <a:cubicBezTo>
                  <a:pt x="600" y="313"/>
                  <a:pt x="600" y="313"/>
                  <a:pt x="600" y="313"/>
                </a:cubicBezTo>
                <a:cubicBezTo>
                  <a:pt x="599" y="314"/>
                  <a:pt x="599" y="316"/>
                  <a:pt x="598" y="318"/>
                </a:cubicBezTo>
                <a:cubicBezTo>
                  <a:pt x="596" y="323"/>
                  <a:pt x="593" y="327"/>
                  <a:pt x="592" y="333"/>
                </a:cubicBezTo>
                <a:cubicBezTo>
                  <a:pt x="591" y="334"/>
                  <a:pt x="591" y="335"/>
                  <a:pt x="590" y="335"/>
                </a:cubicBezTo>
                <a:cubicBezTo>
                  <a:pt x="589" y="336"/>
                  <a:pt x="588" y="336"/>
                  <a:pt x="588" y="337"/>
                </a:cubicBezTo>
                <a:cubicBezTo>
                  <a:pt x="587" y="338"/>
                  <a:pt x="587" y="340"/>
                  <a:pt x="588" y="341"/>
                </a:cubicBezTo>
                <a:cubicBezTo>
                  <a:pt x="589" y="341"/>
                  <a:pt x="590" y="341"/>
                  <a:pt x="590" y="341"/>
                </a:cubicBezTo>
                <a:cubicBezTo>
                  <a:pt x="591" y="342"/>
                  <a:pt x="592" y="343"/>
                  <a:pt x="592" y="344"/>
                </a:cubicBezTo>
                <a:cubicBezTo>
                  <a:pt x="592" y="345"/>
                  <a:pt x="592" y="345"/>
                  <a:pt x="592" y="346"/>
                </a:cubicBezTo>
                <a:cubicBezTo>
                  <a:pt x="592" y="348"/>
                  <a:pt x="593" y="349"/>
                  <a:pt x="595" y="348"/>
                </a:cubicBezTo>
                <a:cubicBezTo>
                  <a:pt x="596" y="348"/>
                  <a:pt x="598" y="348"/>
                  <a:pt x="598" y="347"/>
                </a:cubicBezTo>
                <a:cubicBezTo>
                  <a:pt x="601" y="344"/>
                  <a:pt x="606" y="343"/>
                  <a:pt x="608" y="338"/>
                </a:cubicBezTo>
                <a:cubicBezTo>
                  <a:pt x="608" y="338"/>
                  <a:pt x="609" y="338"/>
                  <a:pt x="609" y="338"/>
                </a:cubicBezTo>
                <a:cubicBezTo>
                  <a:pt x="611" y="339"/>
                  <a:pt x="613" y="340"/>
                  <a:pt x="613" y="342"/>
                </a:cubicBezTo>
                <a:cubicBezTo>
                  <a:pt x="613" y="343"/>
                  <a:pt x="613" y="344"/>
                  <a:pt x="614" y="345"/>
                </a:cubicBezTo>
                <a:cubicBezTo>
                  <a:pt x="616" y="345"/>
                  <a:pt x="618" y="346"/>
                  <a:pt x="621" y="347"/>
                </a:cubicBezTo>
                <a:cubicBezTo>
                  <a:pt x="621" y="347"/>
                  <a:pt x="622" y="347"/>
                  <a:pt x="622" y="347"/>
                </a:cubicBezTo>
                <a:cubicBezTo>
                  <a:pt x="623" y="346"/>
                  <a:pt x="625" y="345"/>
                  <a:pt x="625" y="344"/>
                </a:cubicBezTo>
                <a:cubicBezTo>
                  <a:pt x="626" y="343"/>
                  <a:pt x="626" y="341"/>
                  <a:pt x="624" y="340"/>
                </a:cubicBezTo>
                <a:cubicBezTo>
                  <a:pt x="624" y="340"/>
                  <a:pt x="624" y="340"/>
                  <a:pt x="624" y="340"/>
                </a:cubicBezTo>
                <a:cubicBezTo>
                  <a:pt x="622" y="339"/>
                  <a:pt x="621" y="338"/>
                  <a:pt x="621" y="336"/>
                </a:cubicBezTo>
                <a:cubicBezTo>
                  <a:pt x="621" y="333"/>
                  <a:pt x="620" y="331"/>
                  <a:pt x="618" y="330"/>
                </a:cubicBezTo>
                <a:cubicBezTo>
                  <a:pt x="617" y="329"/>
                  <a:pt x="616" y="327"/>
                  <a:pt x="616" y="326"/>
                </a:cubicBezTo>
                <a:cubicBezTo>
                  <a:pt x="614" y="323"/>
                  <a:pt x="610" y="322"/>
                  <a:pt x="609" y="318"/>
                </a:cubicBezTo>
                <a:cubicBezTo>
                  <a:pt x="609" y="318"/>
                  <a:pt x="608" y="318"/>
                  <a:pt x="607" y="318"/>
                </a:cubicBezTo>
                <a:cubicBezTo>
                  <a:pt x="605" y="317"/>
                  <a:pt x="605" y="317"/>
                  <a:pt x="607" y="316"/>
                </a:cubicBezTo>
                <a:cubicBezTo>
                  <a:pt x="607" y="315"/>
                  <a:pt x="609" y="314"/>
                  <a:pt x="609" y="313"/>
                </a:cubicBezTo>
                <a:cubicBezTo>
                  <a:pt x="610" y="312"/>
                  <a:pt x="609" y="311"/>
                  <a:pt x="609" y="311"/>
                </a:cubicBezTo>
                <a:cubicBezTo>
                  <a:pt x="609" y="310"/>
                  <a:pt x="608" y="310"/>
                  <a:pt x="608" y="311"/>
                </a:cubicBezTo>
                <a:cubicBezTo>
                  <a:pt x="607" y="311"/>
                  <a:pt x="606" y="312"/>
                  <a:pt x="605" y="311"/>
                </a:cubicBezTo>
                <a:cubicBezTo>
                  <a:pt x="603" y="311"/>
                  <a:pt x="602" y="311"/>
                  <a:pt x="601" y="311"/>
                </a:cubicBezTo>
                <a:cubicBezTo>
                  <a:pt x="601" y="311"/>
                  <a:pt x="600" y="312"/>
                  <a:pt x="600" y="313"/>
                </a:cubicBezTo>
                <a:cubicBezTo>
                  <a:pt x="600" y="313"/>
                  <a:pt x="599" y="313"/>
                  <a:pt x="599" y="313"/>
                </a:cubicBezTo>
                <a:close/>
                <a:moveTo>
                  <a:pt x="647" y="1376"/>
                </a:moveTo>
                <a:cubicBezTo>
                  <a:pt x="647" y="1376"/>
                  <a:pt x="647" y="1376"/>
                  <a:pt x="647" y="1376"/>
                </a:cubicBezTo>
                <a:cubicBezTo>
                  <a:pt x="647" y="1376"/>
                  <a:pt x="647" y="1376"/>
                  <a:pt x="647" y="1376"/>
                </a:cubicBezTo>
                <a:cubicBezTo>
                  <a:pt x="647" y="1376"/>
                  <a:pt x="647" y="1376"/>
                  <a:pt x="647" y="1376"/>
                </a:cubicBezTo>
                <a:cubicBezTo>
                  <a:pt x="647" y="1376"/>
                  <a:pt x="647" y="1376"/>
                  <a:pt x="647" y="1376"/>
                </a:cubicBezTo>
                <a:close/>
                <a:moveTo>
                  <a:pt x="638" y="255"/>
                </a:moveTo>
                <a:cubicBezTo>
                  <a:pt x="638" y="255"/>
                  <a:pt x="638" y="255"/>
                  <a:pt x="638" y="255"/>
                </a:cubicBezTo>
                <a:cubicBezTo>
                  <a:pt x="638" y="255"/>
                  <a:pt x="638" y="255"/>
                  <a:pt x="638" y="255"/>
                </a:cubicBezTo>
                <a:cubicBezTo>
                  <a:pt x="638" y="255"/>
                  <a:pt x="638" y="255"/>
                  <a:pt x="638" y="255"/>
                </a:cubicBezTo>
                <a:cubicBezTo>
                  <a:pt x="638" y="255"/>
                  <a:pt x="638" y="255"/>
                  <a:pt x="638" y="255"/>
                </a:cubicBezTo>
                <a:close/>
                <a:moveTo>
                  <a:pt x="694" y="551"/>
                </a:moveTo>
                <a:cubicBezTo>
                  <a:pt x="694" y="551"/>
                  <a:pt x="694" y="551"/>
                  <a:pt x="694" y="551"/>
                </a:cubicBezTo>
                <a:cubicBezTo>
                  <a:pt x="694" y="551"/>
                  <a:pt x="694" y="551"/>
                  <a:pt x="694" y="551"/>
                </a:cubicBezTo>
                <a:cubicBezTo>
                  <a:pt x="694" y="551"/>
                  <a:pt x="694" y="551"/>
                  <a:pt x="694" y="551"/>
                </a:cubicBezTo>
                <a:cubicBezTo>
                  <a:pt x="694" y="551"/>
                  <a:pt x="694" y="551"/>
                  <a:pt x="694" y="551"/>
                </a:cubicBezTo>
                <a:close/>
                <a:moveTo>
                  <a:pt x="661" y="1387"/>
                </a:moveTo>
                <a:cubicBezTo>
                  <a:pt x="661" y="1387"/>
                  <a:pt x="661" y="1387"/>
                  <a:pt x="661" y="1387"/>
                </a:cubicBezTo>
                <a:cubicBezTo>
                  <a:pt x="661" y="1387"/>
                  <a:pt x="661" y="1387"/>
                  <a:pt x="661" y="1387"/>
                </a:cubicBezTo>
                <a:close/>
                <a:moveTo>
                  <a:pt x="186" y="316"/>
                </a:moveTo>
                <a:cubicBezTo>
                  <a:pt x="186" y="316"/>
                  <a:pt x="186" y="316"/>
                  <a:pt x="186" y="316"/>
                </a:cubicBezTo>
                <a:cubicBezTo>
                  <a:pt x="186" y="316"/>
                  <a:pt x="186" y="316"/>
                  <a:pt x="186" y="316"/>
                </a:cubicBezTo>
                <a:cubicBezTo>
                  <a:pt x="186" y="316"/>
                  <a:pt x="186" y="316"/>
                  <a:pt x="186" y="316"/>
                </a:cubicBezTo>
                <a:cubicBezTo>
                  <a:pt x="186" y="316"/>
                  <a:pt x="186" y="316"/>
                  <a:pt x="186" y="316"/>
                </a:cubicBezTo>
                <a:close/>
                <a:moveTo>
                  <a:pt x="862" y="959"/>
                </a:moveTo>
                <a:cubicBezTo>
                  <a:pt x="862" y="959"/>
                  <a:pt x="861" y="958"/>
                  <a:pt x="860" y="958"/>
                </a:cubicBezTo>
                <a:cubicBezTo>
                  <a:pt x="859" y="957"/>
                  <a:pt x="858" y="956"/>
                  <a:pt x="856" y="957"/>
                </a:cubicBezTo>
                <a:cubicBezTo>
                  <a:pt x="854" y="957"/>
                  <a:pt x="852" y="956"/>
                  <a:pt x="850" y="954"/>
                </a:cubicBezTo>
                <a:cubicBezTo>
                  <a:pt x="848" y="953"/>
                  <a:pt x="844" y="952"/>
                  <a:pt x="843" y="949"/>
                </a:cubicBezTo>
                <a:cubicBezTo>
                  <a:pt x="840" y="945"/>
                  <a:pt x="836" y="943"/>
                  <a:pt x="832" y="941"/>
                </a:cubicBezTo>
                <a:cubicBezTo>
                  <a:pt x="830" y="940"/>
                  <a:pt x="828" y="940"/>
                  <a:pt x="826" y="940"/>
                </a:cubicBezTo>
                <a:cubicBezTo>
                  <a:pt x="819" y="940"/>
                  <a:pt x="812" y="939"/>
                  <a:pt x="805" y="937"/>
                </a:cubicBezTo>
                <a:cubicBezTo>
                  <a:pt x="804" y="937"/>
                  <a:pt x="803" y="937"/>
                  <a:pt x="803" y="937"/>
                </a:cubicBezTo>
                <a:cubicBezTo>
                  <a:pt x="802" y="937"/>
                  <a:pt x="801" y="938"/>
                  <a:pt x="799" y="939"/>
                </a:cubicBezTo>
                <a:cubicBezTo>
                  <a:pt x="799" y="939"/>
                  <a:pt x="798" y="939"/>
                  <a:pt x="797" y="938"/>
                </a:cubicBezTo>
                <a:cubicBezTo>
                  <a:pt x="797" y="936"/>
                  <a:pt x="797" y="935"/>
                  <a:pt x="796" y="933"/>
                </a:cubicBezTo>
                <a:cubicBezTo>
                  <a:pt x="795" y="933"/>
                  <a:pt x="794" y="931"/>
                  <a:pt x="793" y="931"/>
                </a:cubicBezTo>
                <a:cubicBezTo>
                  <a:pt x="789" y="931"/>
                  <a:pt x="786" y="929"/>
                  <a:pt x="783" y="927"/>
                </a:cubicBezTo>
                <a:cubicBezTo>
                  <a:pt x="780" y="926"/>
                  <a:pt x="778" y="925"/>
                  <a:pt x="775" y="925"/>
                </a:cubicBezTo>
                <a:cubicBezTo>
                  <a:pt x="772" y="925"/>
                  <a:pt x="770" y="925"/>
                  <a:pt x="769" y="928"/>
                </a:cubicBezTo>
                <a:cubicBezTo>
                  <a:pt x="769" y="928"/>
                  <a:pt x="768" y="928"/>
                  <a:pt x="768" y="928"/>
                </a:cubicBezTo>
                <a:cubicBezTo>
                  <a:pt x="767" y="928"/>
                  <a:pt x="767" y="928"/>
                  <a:pt x="767" y="927"/>
                </a:cubicBezTo>
                <a:cubicBezTo>
                  <a:pt x="768" y="927"/>
                  <a:pt x="768" y="926"/>
                  <a:pt x="768" y="925"/>
                </a:cubicBezTo>
                <a:cubicBezTo>
                  <a:pt x="768" y="923"/>
                  <a:pt x="767" y="922"/>
                  <a:pt x="766" y="921"/>
                </a:cubicBezTo>
                <a:cubicBezTo>
                  <a:pt x="763" y="920"/>
                  <a:pt x="761" y="920"/>
                  <a:pt x="759" y="919"/>
                </a:cubicBezTo>
                <a:cubicBezTo>
                  <a:pt x="759" y="920"/>
                  <a:pt x="759" y="920"/>
                  <a:pt x="759" y="921"/>
                </a:cubicBezTo>
                <a:cubicBezTo>
                  <a:pt x="759" y="921"/>
                  <a:pt x="759" y="921"/>
                  <a:pt x="759" y="921"/>
                </a:cubicBezTo>
                <a:cubicBezTo>
                  <a:pt x="759" y="921"/>
                  <a:pt x="759" y="921"/>
                  <a:pt x="759" y="921"/>
                </a:cubicBezTo>
                <a:cubicBezTo>
                  <a:pt x="759" y="921"/>
                  <a:pt x="759" y="921"/>
                  <a:pt x="759" y="921"/>
                </a:cubicBezTo>
                <a:cubicBezTo>
                  <a:pt x="759" y="921"/>
                  <a:pt x="759" y="921"/>
                  <a:pt x="759" y="921"/>
                </a:cubicBezTo>
                <a:cubicBezTo>
                  <a:pt x="756" y="920"/>
                  <a:pt x="754" y="920"/>
                  <a:pt x="752" y="922"/>
                </a:cubicBezTo>
                <a:cubicBezTo>
                  <a:pt x="751" y="921"/>
                  <a:pt x="750" y="921"/>
                  <a:pt x="749" y="921"/>
                </a:cubicBezTo>
                <a:cubicBezTo>
                  <a:pt x="750" y="919"/>
                  <a:pt x="753" y="918"/>
                  <a:pt x="755" y="917"/>
                </a:cubicBezTo>
                <a:cubicBezTo>
                  <a:pt x="756" y="915"/>
                  <a:pt x="757" y="913"/>
                  <a:pt x="757" y="911"/>
                </a:cubicBezTo>
                <a:cubicBezTo>
                  <a:pt x="757" y="909"/>
                  <a:pt x="757" y="908"/>
                  <a:pt x="756" y="906"/>
                </a:cubicBezTo>
                <a:cubicBezTo>
                  <a:pt x="755" y="905"/>
                  <a:pt x="755" y="903"/>
                  <a:pt x="753" y="902"/>
                </a:cubicBezTo>
                <a:cubicBezTo>
                  <a:pt x="751" y="900"/>
                  <a:pt x="749" y="896"/>
                  <a:pt x="749" y="893"/>
                </a:cubicBezTo>
                <a:cubicBezTo>
                  <a:pt x="748" y="891"/>
                  <a:pt x="748" y="890"/>
                  <a:pt x="746" y="888"/>
                </a:cubicBezTo>
                <a:cubicBezTo>
                  <a:pt x="742" y="884"/>
                  <a:pt x="737" y="879"/>
                  <a:pt x="730" y="877"/>
                </a:cubicBezTo>
                <a:cubicBezTo>
                  <a:pt x="729" y="877"/>
                  <a:pt x="728" y="877"/>
                  <a:pt x="727" y="876"/>
                </a:cubicBezTo>
                <a:cubicBezTo>
                  <a:pt x="724" y="875"/>
                  <a:pt x="721" y="875"/>
                  <a:pt x="718" y="875"/>
                </a:cubicBezTo>
                <a:cubicBezTo>
                  <a:pt x="715" y="875"/>
                  <a:pt x="712" y="875"/>
                  <a:pt x="708" y="875"/>
                </a:cubicBezTo>
                <a:cubicBezTo>
                  <a:pt x="708" y="875"/>
                  <a:pt x="707" y="874"/>
                  <a:pt x="706" y="874"/>
                </a:cubicBezTo>
                <a:cubicBezTo>
                  <a:pt x="703" y="872"/>
                  <a:pt x="701" y="869"/>
                  <a:pt x="697" y="869"/>
                </a:cubicBezTo>
                <a:cubicBezTo>
                  <a:pt x="697" y="869"/>
                  <a:pt x="696" y="868"/>
                  <a:pt x="696" y="867"/>
                </a:cubicBezTo>
                <a:cubicBezTo>
                  <a:pt x="696" y="866"/>
                  <a:pt x="695" y="865"/>
                  <a:pt x="694" y="864"/>
                </a:cubicBezTo>
                <a:cubicBezTo>
                  <a:pt x="692" y="862"/>
                  <a:pt x="690" y="860"/>
                  <a:pt x="688" y="858"/>
                </a:cubicBezTo>
                <a:cubicBezTo>
                  <a:pt x="687" y="857"/>
                  <a:pt x="685" y="856"/>
                  <a:pt x="684" y="856"/>
                </a:cubicBezTo>
                <a:cubicBezTo>
                  <a:pt x="682" y="855"/>
                  <a:pt x="681" y="855"/>
                  <a:pt x="679" y="855"/>
                </a:cubicBezTo>
                <a:cubicBezTo>
                  <a:pt x="678" y="855"/>
                  <a:pt x="678" y="855"/>
                  <a:pt x="678" y="854"/>
                </a:cubicBezTo>
                <a:cubicBezTo>
                  <a:pt x="678" y="851"/>
                  <a:pt x="676" y="849"/>
                  <a:pt x="674" y="848"/>
                </a:cubicBezTo>
                <a:cubicBezTo>
                  <a:pt x="672" y="847"/>
                  <a:pt x="670" y="846"/>
                  <a:pt x="668" y="845"/>
                </a:cubicBezTo>
                <a:cubicBezTo>
                  <a:pt x="667" y="845"/>
                  <a:pt x="666" y="844"/>
                  <a:pt x="666" y="844"/>
                </a:cubicBezTo>
                <a:cubicBezTo>
                  <a:pt x="666" y="842"/>
                  <a:pt x="667" y="842"/>
                  <a:pt x="668" y="842"/>
                </a:cubicBezTo>
                <a:cubicBezTo>
                  <a:pt x="668" y="842"/>
                  <a:pt x="668" y="842"/>
                  <a:pt x="668" y="842"/>
                </a:cubicBezTo>
                <a:cubicBezTo>
                  <a:pt x="669" y="842"/>
                  <a:pt x="669" y="841"/>
                  <a:pt x="669" y="841"/>
                </a:cubicBezTo>
                <a:cubicBezTo>
                  <a:pt x="669" y="840"/>
                  <a:pt x="669" y="840"/>
                  <a:pt x="668" y="840"/>
                </a:cubicBezTo>
                <a:cubicBezTo>
                  <a:pt x="666" y="839"/>
                  <a:pt x="663" y="840"/>
                  <a:pt x="661" y="840"/>
                </a:cubicBezTo>
                <a:cubicBezTo>
                  <a:pt x="659" y="840"/>
                  <a:pt x="658" y="839"/>
                  <a:pt x="657" y="838"/>
                </a:cubicBezTo>
                <a:cubicBezTo>
                  <a:pt x="656" y="838"/>
                  <a:pt x="655" y="838"/>
                  <a:pt x="655" y="838"/>
                </a:cubicBezTo>
                <a:cubicBezTo>
                  <a:pt x="655" y="839"/>
                  <a:pt x="655" y="840"/>
                  <a:pt x="654" y="841"/>
                </a:cubicBezTo>
                <a:cubicBezTo>
                  <a:pt x="652" y="843"/>
                  <a:pt x="647" y="845"/>
                  <a:pt x="644" y="843"/>
                </a:cubicBezTo>
                <a:cubicBezTo>
                  <a:pt x="642" y="841"/>
                  <a:pt x="640" y="841"/>
                  <a:pt x="637" y="841"/>
                </a:cubicBezTo>
                <a:cubicBezTo>
                  <a:pt x="635" y="841"/>
                  <a:pt x="632" y="842"/>
                  <a:pt x="629" y="842"/>
                </a:cubicBezTo>
                <a:cubicBezTo>
                  <a:pt x="628" y="842"/>
                  <a:pt x="627" y="841"/>
                  <a:pt x="627" y="840"/>
                </a:cubicBezTo>
                <a:cubicBezTo>
                  <a:pt x="627" y="840"/>
                  <a:pt x="627" y="839"/>
                  <a:pt x="627" y="839"/>
                </a:cubicBezTo>
                <a:cubicBezTo>
                  <a:pt x="626" y="837"/>
                  <a:pt x="625" y="836"/>
                  <a:pt x="623" y="836"/>
                </a:cubicBezTo>
                <a:cubicBezTo>
                  <a:pt x="622" y="835"/>
                  <a:pt x="621" y="835"/>
                  <a:pt x="620" y="835"/>
                </a:cubicBezTo>
                <a:cubicBezTo>
                  <a:pt x="617" y="835"/>
                  <a:pt x="616" y="833"/>
                  <a:pt x="615" y="831"/>
                </a:cubicBezTo>
                <a:cubicBezTo>
                  <a:pt x="615" y="830"/>
                  <a:pt x="615" y="830"/>
                  <a:pt x="614" y="830"/>
                </a:cubicBezTo>
                <a:cubicBezTo>
                  <a:pt x="613" y="830"/>
                  <a:pt x="611" y="830"/>
                  <a:pt x="611" y="831"/>
                </a:cubicBezTo>
                <a:cubicBezTo>
                  <a:pt x="611" y="832"/>
                  <a:pt x="610" y="832"/>
                  <a:pt x="610" y="833"/>
                </a:cubicBezTo>
                <a:cubicBezTo>
                  <a:pt x="610" y="835"/>
                  <a:pt x="609" y="836"/>
                  <a:pt x="607" y="837"/>
                </a:cubicBezTo>
                <a:cubicBezTo>
                  <a:pt x="606" y="837"/>
                  <a:pt x="604" y="838"/>
                  <a:pt x="603" y="838"/>
                </a:cubicBezTo>
                <a:cubicBezTo>
                  <a:pt x="602" y="839"/>
                  <a:pt x="602" y="838"/>
                  <a:pt x="601" y="837"/>
                </a:cubicBezTo>
                <a:cubicBezTo>
                  <a:pt x="601" y="837"/>
                  <a:pt x="600" y="836"/>
                  <a:pt x="601" y="835"/>
                </a:cubicBezTo>
                <a:cubicBezTo>
                  <a:pt x="602" y="834"/>
                  <a:pt x="603" y="833"/>
                  <a:pt x="605" y="831"/>
                </a:cubicBezTo>
                <a:cubicBezTo>
                  <a:pt x="605" y="831"/>
                  <a:pt x="605" y="829"/>
                  <a:pt x="604" y="828"/>
                </a:cubicBezTo>
                <a:cubicBezTo>
                  <a:pt x="603" y="828"/>
                  <a:pt x="602" y="828"/>
                  <a:pt x="601" y="828"/>
                </a:cubicBezTo>
                <a:cubicBezTo>
                  <a:pt x="599" y="828"/>
                  <a:pt x="597" y="829"/>
                  <a:pt x="596" y="830"/>
                </a:cubicBezTo>
                <a:cubicBezTo>
                  <a:pt x="594" y="832"/>
                  <a:pt x="592" y="834"/>
                  <a:pt x="589" y="835"/>
                </a:cubicBezTo>
                <a:cubicBezTo>
                  <a:pt x="586" y="835"/>
                  <a:pt x="583" y="835"/>
                  <a:pt x="581" y="837"/>
                </a:cubicBezTo>
                <a:cubicBezTo>
                  <a:pt x="581" y="838"/>
                  <a:pt x="580" y="837"/>
                  <a:pt x="579" y="837"/>
                </a:cubicBezTo>
                <a:cubicBezTo>
                  <a:pt x="577" y="837"/>
                  <a:pt x="576" y="838"/>
                  <a:pt x="575" y="839"/>
                </a:cubicBezTo>
                <a:cubicBezTo>
                  <a:pt x="573" y="841"/>
                  <a:pt x="572" y="843"/>
                  <a:pt x="571" y="845"/>
                </a:cubicBezTo>
                <a:cubicBezTo>
                  <a:pt x="571" y="847"/>
                  <a:pt x="570" y="849"/>
                  <a:pt x="568" y="850"/>
                </a:cubicBezTo>
                <a:cubicBezTo>
                  <a:pt x="567" y="851"/>
                  <a:pt x="565" y="853"/>
                  <a:pt x="564" y="854"/>
                </a:cubicBezTo>
                <a:cubicBezTo>
                  <a:pt x="563" y="855"/>
                  <a:pt x="563" y="856"/>
                  <a:pt x="563" y="857"/>
                </a:cubicBezTo>
                <a:cubicBezTo>
                  <a:pt x="563" y="857"/>
                  <a:pt x="563" y="857"/>
                  <a:pt x="563" y="857"/>
                </a:cubicBezTo>
                <a:cubicBezTo>
                  <a:pt x="563" y="858"/>
                  <a:pt x="563" y="858"/>
                  <a:pt x="563" y="858"/>
                </a:cubicBezTo>
                <a:cubicBezTo>
                  <a:pt x="563" y="857"/>
                  <a:pt x="563" y="857"/>
                  <a:pt x="563" y="857"/>
                </a:cubicBezTo>
                <a:cubicBezTo>
                  <a:pt x="563" y="857"/>
                  <a:pt x="563" y="857"/>
                  <a:pt x="563" y="857"/>
                </a:cubicBezTo>
                <a:cubicBezTo>
                  <a:pt x="562" y="857"/>
                  <a:pt x="562" y="857"/>
                  <a:pt x="561" y="857"/>
                </a:cubicBezTo>
                <a:cubicBezTo>
                  <a:pt x="560" y="855"/>
                  <a:pt x="558" y="854"/>
                  <a:pt x="557" y="853"/>
                </a:cubicBezTo>
                <a:cubicBezTo>
                  <a:pt x="555" y="851"/>
                  <a:pt x="553" y="850"/>
                  <a:pt x="550" y="849"/>
                </a:cubicBezTo>
                <a:cubicBezTo>
                  <a:pt x="546" y="848"/>
                  <a:pt x="543" y="848"/>
                  <a:pt x="540" y="850"/>
                </a:cubicBezTo>
                <a:cubicBezTo>
                  <a:pt x="539" y="851"/>
                  <a:pt x="538" y="851"/>
                  <a:pt x="537" y="852"/>
                </a:cubicBezTo>
                <a:cubicBezTo>
                  <a:pt x="534" y="853"/>
                  <a:pt x="532" y="854"/>
                  <a:pt x="529" y="852"/>
                </a:cubicBezTo>
                <a:cubicBezTo>
                  <a:pt x="525" y="852"/>
                  <a:pt x="522" y="849"/>
                  <a:pt x="519" y="845"/>
                </a:cubicBezTo>
                <a:cubicBezTo>
                  <a:pt x="517" y="843"/>
                  <a:pt x="516" y="841"/>
                  <a:pt x="515" y="839"/>
                </a:cubicBezTo>
                <a:cubicBezTo>
                  <a:pt x="514" y="838"/>
                  <a:pt x="514" y="837"/>
                  <a:pt x="514" y="836"/>
                </a:cubicBezTo>
                <a:cubicBezTo>
                  <a:pt x="514" y="833"/>
                  <a:pt x="514" y="830"/>
                  <a:pt x="516" y="828"/>
                </a:cubicBezTo>
                <a:cubicBezTo>
                  <a:pt x="517" y="827"/>
                  <a:pt x="517" y="826"/>
                  <a:pt x="517" y="825"/>
                </a:cubicBezTo>
                <a:cubicBezTo>
                  <a:pt x="517" y="822"/>
                  <a:pt x="518" y="819"/>
                  <a:pt x="519" y="816"/>
                </a:cubicBezTo>
                <a:cubicBezTo>
                  <a:pt x="520" y="813"/>
                  <a:pt x="519" y="810"/>
                  <a:pt x="519" y="808"/>
                </a:cubicBezTo>
                <a:cubicBezTo>
                  <a:pt x="519" y="807"/>
                  <a:pt x="519" y="806"/>
                  <a:pt x="519" y="806"/>
                </a:cubicBezTo>
                <a:cubicBezTo>
                  <a:pt x="518" y="806"/>
                  <a:pt x="516" y="805"/>
                  <a:pt x="515" y="805"/>
                </a:cubicBezTo>
                <a:cubicBezTo>
                  <a:pt x="515" y="805"/>
                  <a:pt x="515" y="805"/>
                  <a:pt x="515" y="805"/>
                </a:cubicBezTo>
                <a:cubicBezTo>
                  <a:pt x="515" y="805"/>
                  <a:pt x="515" y="805"/>
                  <a:pt x="516" y="805"/>
                </a:cubicBezTo>
                <a:cubicBezTo>
                  <a:pt x="515" y="805"/>
                  <a:pt x="515" y="805"/>
                  <a:pt x="515" y="805"/>
                </a:cubicBezTo>
                <a:cubicBezTo>
                  <a:pt x="515" y="805"/>
                  <a:pt x="515" y="805"/>
                  <a:pt x="515" y="805"/>
                </a:cubicBezTo>
                <a:cubicBezTo>
                  <a:pt x="513" y="803"/>
                  <a:pt x="511" y="802"/>
                  <a:pt x="509" y="802"/>
                </a:cubicBezTo>
                <a:cubicBezTo>
                  <a:pt x="506" y="802"/>
                  <a:pt x="503" y="801"/>
                  <a:pt x="501" y="801"/>
                </a:cubicBezTo>
                <a:cubicBezTo>
                  <a:pt x="498" y="800"/>
                  <a:pt x="495" y="802"/>
                  <a:pt x="492" y="802"/>
                </a:cubicBezTo>
                <a:cubicBezTo>
                  <a:pt x="490" y="801"/>
                  <a:pt x="488" y="802"/>
                  <a:pt x="485" y="802"/>
                </a:cubicBezTo>
                <a:cubicBezTo>
                  <a:pt x="484" y="802"/>
                  <a:pt x="482" y="802"/>
                  <a:pt x="481" y="801"/>
                </a:cubicBezTo>
                <a:cubicBezTo>
                  <a:pt x="480" y="801"/>
                  <a:pt x="480" y="800"/>
                  <a:pt x="480" y="800"/>
                </a:cubicBezTo>
                <a:cubicBezTo>
                  <a:pt x="483" y="797"/>
                  <a:pt x="484" y="794"/>
                  <a:pt x="484" y="791"/>
                </a:cubicBezTo>
                <a:cubicBezTo>
                  <a:pt x="484" y="789"/>
                  <a:pt x="484" y="787"/>
                  <a:pt x="485" y="785"/>
                </a:cubicBezTo>
                <a:cubicBezTo>
                  <a:pt x="485" y="785"/>
                  <a:pt x="485" y="784"/>
                  <a:pt x="486" y="784"/>
                </a:cubicBezTo>
                <a:cubicBezTo>
                  <a:pt x="488" y="784"/>
                  <a:pt x="489" y="782"/>
                  <a:pt x="490" y="781"/>
                </a:cubicBezTo>
                <a:cubicBezTo>
                  <a:pt x="490" y="779"/>
                  <a:pt x="491" y="776"/>
                  <a:pt x="490" y="775"/>
                </a:cubicBezTo>
                <a:cubicBezTo>
                  <a:pt x="490" y="772"/>
                  <a:pt x="491" y="769"/>
                  <a:pt x="493" y="767"/>
                </a:cubicBezTo>
                <a:cubicBezTo>
                  <a:pt x="494" y="766"/>
                  <a:pt x="495" y="765"/>
                  <a:pt x="496" y="763"/>
                </a:cubicBezTo>
                <a:cubicBezTo>
                  <a:pt x="497" y="763"/>
                  <a:pt x="497" y="762"/>
                  <a:pt x="497" y="761"/>
                </a:cubicBezTo>
                <a:cubicBezTo>
                  <a:pt x="498" y="759"/>
                  <a:pt x="496" y="757"/>
                  <a:pt x="494" y="757"/>
                </a:cubicBezTo>
                <a:cubicBezTo>
                  <a:pt x="491" y="757"/>
                  <a:pt x="487" y="756"/>
                  <a:pt x="484" y="758"/>
                </a:cubicBezTo>
                <a:cubicBezTo>
                  <a:pt x="481" y="759"/>
                  <a:pt x="479" y="759"/>
                  <a:pt x="476" y="759"/>
                </a:cubicBezTo>
                <a:cubicBezTo>
                  <a:pt x="473" y="759"/>
                  <a:pt x="471" y="761"/>
                  <a:pt x="470" y="763"/>
                </a:cubicBezTo>
                <a:cubicBezTo>
                  <a:pt x="470" y="764"/>
                  <a:pt x="469" y="766"/>
                  <a:pt x="469" y="767"/>
                </a:cubicBezTo>
                <a:cubicBezTo>
                  <a:pt x="468" y="771"/>
                  <a:pt x="466" y="775"/>
                  <a:pt x="463" y="778"/>
                </a:cubicBezTo>
                <a:cubicBezTo>
                  <a:pt x="461" y="782"/>
                  <a:pt x="459" y="782"/>
                  <a:pt x="456" y="781"/>
                </a:cubicBezTo>
                <a:cubicBezTo>
                  <a:pt x="455" y="780"/>
                  <a:pt x="454" y="780"/>
                  <a:pt x="452" y="781"/>
                </a:cubicBezTo>
                <a:cubicBezTo>
                  <a:pt x="449" y="781"/>
                  <a:pt x="447" y="783"/>
                  <a:pt x="444" y="783"/>
                </a:cubicBezTo>
                <a:cubicBezTo>
                  <a:pt x="442" y="784"/>
                  <a:pt x="439" y="784"/>
                  <a:pt x="437" y="782"/>
                </a:cubicBezTo>
                <a:cubicBezTo>
                  <a:pt x="436" y="780"/>
                  <a:pt x="434" y="779"/>
                  <a:pt x="432" y="779"/>
                </a:cubicBezTo>
                <a:cubicBezTo>
                  <a:pt x="430" y="778"/>
                  <a:pt x="428" y="776"/>
                  <a:pt x="427" y="774"/>
                </a:cubicBezTo>
                <a:cubicBezTo>
                  <a:pt x="426" y="771"/>
                  <a:pt x="425" y="768"/>
                  <a:pt x="422" y="766"/>
                </a:cubicBezTo>
                <a:cubicBezTo>
                  <a:pt x="421" y="765"/>
                  <a:pt x="421" y="763"/>
                  <a:pt x="421" y="762"/>
                </a:cubicBezTo>
                <a:cubicBezTo>
                  <a:pt x="420" y="759"/>
                  <a:pt x="420" y="757"/>
                  <a:pt x="419" y="754"/>
                </a:cubicBezTo>
                <a:cubicBezTo>
                  <a:pt x="419" y="752"/>
                  <a:pt x="419" y="751"/>
                  <a:pt x="419" y="749"/>
                </a:cubicBezTo>
                <a:cubicBezTo>
                  <a:pt x="419" y="743"/>
                  <a:pt x="420" y="737"/>
                  <a:pt x="421" y="731"/>
                </a:cubicBezTo>
                <a:cubicBezTo>
                  <a:pt x="422" y="730"/>
                  <a:pt x="422" y="728"/>
                  <a:pt x="423" y="728"/>
                </a:cubicBezTo>
                <a:cubicBezTo>
                  <a:pt x="425" y="725"/>
                  <a:pt x="425" y="722"/>
                  <a:pt x="425" y="719"/>
                </a:cubicBezTo>
                <a:cubicBezTo>
                  <a:pt x="424" y="715"/>
                  <a:pt x="425" y="711"/>
                  <a:pt x="427" y="707"/>
                </a:cubicBezTo>
                <a:cubicBezTo>
                  <a:pt x="428" y="704"/>
                  <a:pt x="430" y="701"/>
                  <a:pt x="434" y="700"/>
                </a:cubicBezTo>
                <a:cubicBezTo>
                  <a:pt x="438" y="700"/>
                  <a:pt x="441" y="698"/>
                  <a:pt x="445" y="695"/>
                </a:cubicBezTo>
                <a:cubicBezTo>
                  <a:pt x="447" y="693"/>
                  <a:pt x="450" y="693"/>
                  <a:pt x="452" y="692"/>
                </a:cubicBezTo>
                <a:cubicBezTo>
                  <a:pt x="454" y="691"/>
                  <a:pt x="457" y="691"/>
                  <a:pt x="459" y="692"/>
                </a:cubicBezTo>
                <a:cubicBezTo>
                  <a:pt x="461" y="693"/>
                  <a:pt x="463" y="693"/>
                  <a:pt x="464" y="692"/>
                </a:cubicBezTo>
                <a:cubicBezTo>
                  <a:pt x="466" y="692"/>
                  <a:pt x="468" y="692"/>
                  <a:pt x="469" y="694"/>
                </a:cubicBezTo>
                <a:cubicBezTo>
                  <a:pt x="471" y="697"/>
                  <a:pt x="474" y="697"/>
                  <a:pt x="477" y="696"/>
                </a:cubicBezTo>
                <a:cubicBezTo>
                  <a:pt x="479" y="696"/>
                  <a:pt x="480" y="695"/>
                  <a:pt x="482" y="695"/>
                </a:cubicBezTo>
                <a:cubicBezTo>
                  <a:pt x="482" y="693"/>
                  <a:pt x="483" y="691"/>
                  <a:pt x="483" y="690"/>
                </a:cubicBezTo>
                <a:cubicBezTo>
                  <a:pt x="483" y="688"/>
                  <a:pt x="485" y="687"/>
                  <a:pt x="486" y="687"/>
                </a:cubicBezTo>
                <a:cubicBezTo>
                  <a:pt x="487" y="686"/>
                  <a:pt x="488" y="686"/>
                  <a:pt x="489" y="686"/>
                </a:cubicBezTo>
                <a:cubicBezTo>
                  <a:pt x="493" y="685"/>
                  <a:pt x="497" y="686"/>
                  <a:pt x="502" y="686"/>
                </a:cubicBezTo>
                <a:cubicBezTo>
                  <a:pt x="506" y="686"/>
                  <a:pt x="510" y="687"/>
                  <a:pt x="513" y="691"/>
                </a:cubicBezTo>
                <a:cubicBezTo>
                  <a:pt x="514" y="692"/>
                  <a:pt x="516" y="692"/>
                  <a:pt x="517" y="691"/>
                </a:cubicBezTo>
                <a:cubicBezTo>
                  <a:pt x="519" y="691"/>
                  <a:pt x="520" y="690"/>
                  <a:pt x="521" y="690"/>
                </a:cubicBezTo>
                <a:cubicBezTo>
                  <a:pt x="522" y="689"/>
                  <a:pt x="523" y="690"/>
                  <a:pt x="524" y="691"/>
                </a:cubicBezTo>
                <a:cubicBezTo>
                  <a:pt x="526" y="693"/>
                  <a:pt x="528" y="695"/>
                  <a:pt x="529" y="697"/>
                </a:cubicBezTo>
                <a:cubicBezTo>
                  <a:pt x="530" y="699"/>
                  <a:pt x="530" y="700"/>
                  <a:pt x="530" y="702"/>
                </a:cubicBezTo>
                <a:cubicBezTo>
                  <a:pt x="530" y="702"/>
                  <a:pt x="529" y="703"/>
                  <a:pt x="529" y="704"/>
                </a:cubicBezTo>
                <a:cubicBezTo>
                  <a:pt x="528" y="706"/>
                  <a:pt x="528" y="707"/>
                  <a:pt x="530" y="709"/>
                </a:cubicBezTo>
                <a:cubicBezTo>
                  <a:pt x="531" y="714"/>
                  <a:pt x="533" y="718"/>
                  <a:pt x="535" y="722"/>
                </a:cubicBezTo>
                <a:cubicBezTo>
                  <a:pt x="536" y="725"/>
                  <a:pt x="538" y="726"/>
                  <a:pt x="539" y="728"/>
                </a:cubicBezTo>
                <a:cubicBezTo>
                  <a:pt x="541" y="730"/>
                  <a:pt x="544" y="729"/>
                  <a:pt x="545" y="728"/>
                </a:cubicBezTo>
                <a:cubicBezTo>
                  <a:pt x="547" y="724"/>
                  <a:pt x="548" y="720"/>
                  <a:pt x="548" y="716"/>
                </a:cubicBezTo>
                <a:cubicBezTo>
                  <a:pt x="549" y="715"/>
                  <a:pt x="549" y="715"/>
                  <a:pt x="548" y="714"/>
                </a:cubicBezTo>
                <a:cubicBezTo>
                  <a:pt x="548" y="712"/>
                  <a:pt x="547" y="710"/>
                  <a:pt x="546" y="708"/>
                </a:cubicBezTo>
                <a:cubicBezTo>
                  <a:pt x="546" y="705"/>
                  <a:pt x="546" y="703"/>
                  <a:pt x="546" y="701"/>
                </a:cubicBezTo>
                <a:cubicBezTo>
                  <a:pt x="545" y="700"/>
                  <a:pt x="545" y="700"/>
                  <a:pt x="545" y="700"/>
                </a:cubicBezTo>
                <a:cubicBezTo>
                  <a:pt x="543" y="693"/>
                  <a:pt x="543" y="686"/>
                  <a:pt x="544" y="679"/>
                </a:cubicBezTo>
                <a:cubicBezTo>
                  <a:pt x="544" y="678"/>
                  <a:pt x="544" y="677"/>
                  <a:pt x="545" y="676"/>
                </a:cubicBezTo>
                <a:cubicBezTo>
                  <a:pt x="548" y="673"/>
                  <a:pt x="551" y="669"/>
                  <a:pt x="555" y="667"/>
                </a:cubicBezTo>
                <a:cubicBezTo>
                  <a:pt x="556" y="667"/>
                  <a:pt x="557" y="667"/>
                  <a:pt x="557" y="667"/>
                </a:cubicBezTo>
                <a:cubicBezTo>
                  <a:pt x="559" y="666"/>
                  <a:pt x="560" y="665"/>
                  <a:pt x="561" y="664"/>
                </a:cubicBezTo>
                <a:cubicBezTo>
                  <a:pt x="562" y="663"/>
                  <a:pt x="563" y="661"/>
                  <a:pt x="564" y="660"/>
                </a:cubicBezTo>
                <a:cubicBezTo>
                  <a:pt x="565" y="660"/>
                  <a:pt x="566" y="659"/>
                  <a:pt x="567" y="658"/>
                </a:cubicBezTo>
                <a:cubicBezTo>
                  <a:pt x="569" y="658"/>
                  <a:pt x="570" y="656"/>
                  <a:pt x="572" y="655"/>
                </a:cubicBezTo>
                <a:cubicBezTo>
                  <a:pt x="574" y="653"/>
                  <a:pt x="577" y="651"/>
                  <a:pt x="580" y="650"/>
                </a:cubicBezTo>
                <a:cubicBezTo>
                  <a:pt x="582" y="650"/>
                  <a:pt x="583" y="649"/>
                  <a:pt x="583" y="647"/>
                </a:cubicBezTo>
                <a:cubicBezTo>
                  <a:pt x="583" y="646"/>
                  <a:pt x="584" y="646"/>
                  <a:pt x="584" y="646"/>
                </a:cubicBezTo>
                <a:cubicBezTo>
                  <a:pt x="585" y="645"/>
                  <a:pt x="586" y="644"/>
                  <a:pt x="587" y="643"/>
                </a:cubicBezTo>
                <a:cubicBezTo>
                  <a:pt x="588" y="643"/>
                  <a:pt x="588" y="642"/>
                  <a:pt x="588" y="641"/>
                </a:cubicBezTo>
                <a:cubicBezTo>
                  <a:pt x="587" y="640"/>
                  <a:pt x="586" y="639"/>
                  <a:pt x="587" y="637"/>
                </a:cubicBezTo>
                <a:cubicBezTo>
                  <a:pt x="588" y="635"/>
                  <a:pt x="588" y="633"/>
                  <a:pt x="587" y="631"/>
                </a:cubicBezTo>
                <a:cubicBezTo>
                  <a:pt x="586" y="630"/>
                  <a:pt x="586" y="629"/>
                  <a:pt x="586" y="628"/>
                </a:cubicBezTo>
                <a:cubicBezTo>
                  <a:pt x="586" y="625"/>
                  <a:pt x="587" y="623"/>
                  <a:pt x="587" y="620"/>
                </a:cubicBezTo>
                <a:cubicBezTo>
                  <a:pt x="587" y="620"/>
                  <a:pt x="587" y="620"/>
                  <a:pt x="588" y="620"/>
                </a:cubicBezTo>
                <a:cubicBezTo>
                  <a:pt x="588" y="620"/>
                  <a:pt x="588" y="620"/>
                  <a:pt x="588" y="620"/>
                </a:cubicBezTo>
                <a:cubicBezTo>
                  <a:pt x="590" y="621"/>
                  <a:pt x="589" y="623"/>
                  <a:pt x="589" y="624"/>
                </a:cubicBezTo>
                <a:cubicBezTo>
                  <a:pt x="589" y="625"/>
                  <a:pt x="590" y="625"/>
                  <a:pt x="590" y="625"/>
                </a:cubicBezTo>
                <a:cubicBezTo>
                  <a:pt x="590" y="625"/>
                  <a:pt x="591" y="625"/>
                  <a:pt x="591" y="625"/>
                </a:cubicBezTo>
                <a:cubicBezTo>
                  <a:pt x="593" y="623"/>
                  <a:pt x="594" y="621"/>
                  <a:pt x="596" y="619"/>
                </a:cubicBezTo>
                <a:cubicBezTo>
                  <a:pt x="596" y="618"/>
                  <a:pt x="596" y="616"/>
                  <a:pt x="596" y="615"/>
                </a:cubicBezTo>
                <a:cubicBezTo>
                  <a:pt x="597" y="614"/>
                  <a:pt x="596" y="614"/>
                  <a:pt x="596" y="613"/>
                </a:cubicBezTo>
                <a:cubicBezTo>
                  <a:pt x="596" y="612"/>
                  <a:pt x="597" y="612"/>
                  <a:pt x="598" y="612"/>
                </a:cubicBezTo>
                <a:cubicBezTo>
                  <a:pt x="599" y="612"/>
                  <a:pt x="600" y="611"/>
                  <a:pt x="601" y="610"/>
                </a:cubicBezTo>
                <a:cubicBezTo>
                  <a:pt x="604" y="607"/>
                  <a:pt x="606" y="604"/>
                  <a:pt x="606" y="601"/>
                </a:cubicBezTo>
                <a:cubicBezTo>
                  <a:pt x="607" y="598"/>
                  <a:pt x="609" y="597"/>
                  <a:pt x="611" y="597"/>
                </a:cubicBezTo>
                <a:cubicBezTo>
                  <a:pt x="613" y="597"/>
                  <a:pt x="615" y="596"/>
                  <a:pt x="616" y="596"/>
                </a:cubicBezTo>
                <a:cubicBezTo>
                  <a:pt x="617" y="596"/>
                  <a:pt x="618" y="595"/>
                  <a:pt x="619" y="595"/>
                </a:cubicBezTo>
                <a:cubicBezTo>
                  <a:pt x="619" y="595"/>
                  <a:pt x="619" y="594"/>
                  <a:pt x="619" y="594"/>
                </a:cubicBezTo>
                <a:cubicBezTo>
                  <a:pt x="619" y="594"/>
                  <a:pt x="619" y="593"/>
                  <a:pt x="619" y="593"/>
                </a:cubicBezTo>
                <a:cubicBezTo>
                  <a:pt x="618" y="593"/>
                  <a:pt x="618" y="593"/>
                  <a:pt x="617" y="593"/>
                </a:cubicBezTo>
                <a:cubicBezTo>
                  <a:pt x="616" y="593"/>
                  <a:pt x="616" y="593"/>
                  <a:pt x="616" y="592"/>
                </a:cubicBezTo>
                <a:cubicBezTo>
                  <a:pt x="616" y="592"/>
                  <a:pt x="617" y="592"/>
                  <a:pt x="617" y="592"/>
                </a:cubicBezTo>
                <a:cubicBezTo>
                  <a:pt x="617" y="592"/>
                  <a:pt x="617" y="592"/>
                  <a:pt x="618" y="592"/>
                </a:cubicBezTo>
                <a:cubicBezTo>
                  <a:pt x="623" y="592"/>
                  <a:pt x="627" y="590"/>
                  <a:pt x="632" y="590"/>
                </a:cubicBezTo>
                <a:cubicBezTo>
                  <a:pt x="633" y="590"/>
                  <a:pt x="634" y="589"/>
                  <a:pt x="635" y="589"/>
                </a:cubicBezTo>
                <a:cubicBezTo>
                  <a:pt x="636" y="587"/>
                  <a:pt x="636" y="587"/>
                  <a:pt x="634" y="585"/>
                </a:cubicBezTo>
                <a:cubicBezTo>
                  <a:pt x="633" y="584"/>
                  <a:pt x="632" y="582"/>
                  <a:pt x="632" y="581"/>
                </a:cubicBezTo>
                <a:cubicBezTo>
                  <a:pt x="633" y="579"/>
                  <a:pt x="633" y="577"/>
                  <a:pt x="634" y="575"/>
                </a:cubicBezTo>
                <a:cubicBezTo>
                  <a:pt x="635" y="572"/>
                  <a:pt x="638" y="569"/>
                  <a:pt x="641" y="568"/>
                </a:cubicBezTo>
                <a:cubicBezTo>
                  <a:pt x="643" y="567"/>
                  <a:pt x="645" y="566"/>
                  <a:pt x="647" y="565"/>
                </a:cubicBezTo>
                <a:cubicBezTo>
                  <a:pt x="648" y="564"/>
                  <a:pt x="649" y="563"/>
                  <a:pt x="651" y="564"/>
                </a:cubicBezTo>
                <a:cubicBezTo>
                  <a:pt x="654" y="564"/>
                  <a:pt x="658" y="562"/>
                  <a:pt x="662" y="561"/>
                </a:cubicBezTo>
                <a:cubicBezTo>
                  <a:pt x="663" y="561"/>
                  <a:pt x="663" y="560"/>
                  <a:pt x="664" y="559"/>
                </a:cubicBezTo>
                <a:cubicBezTo>
                  <a:pt x="664" y="558"/>
                  <a:pt x="665" y="557"/>
                  <a:pt x="665" y="557"/>
                </a:cubicBezTo>
                <a:cubicBezTo>
                  <a:pt x="668" y="556"/>
                  <a:pt x="671" y="556"/>
                  <a:pt x="674" y="555"/>
                </a:cubicBezTo>
                <a:cubicBezTo>
                  <a:pt x="674" y="555"/>
                  <a:pt x="675" y="556"/>
                  <a:pt x="675" y="556"/>
                </a:cubicBezTo>
                <a:cubicBezTo>
                  <a:pt x="674" y="556"/>
                  <a:pt x="674" y="557"/>
                  <a:pt x="674" y="557"/>
                </a:cubicBezTo>
                <a:cubicBezTo>
                  <a:pt x="673" y="558"/>
                  <a:pt x="672" y="558"/>
                  <a:pt x="671" y="558"/>
                </a:cubicBezTo>
                <a:cubicBezTo>
                  <a:pt x="668" y="560"/>
                  <a:pt x="667" y="561"/>
                  <a:pt x="666" y="564"/>
                </a:cubicBezTo>
                <a:cubicBezTo>
                  <a:pt x="665" y="565"/>
                  <a:pt x="665" y="566"/>
                  <a:pt x="665" y="567"/>
                </a:cubicBezTo>
                <a:cubicBezTo>
                  <a:pt x="665" y="569"/>
                  <a:pt x="667" y="570"/>
                  <a:pt x="668" y="571"/>
                </a:cubicBezTo>
                <a:cubicBezTo>
                  <a:pt x="669" y="572"/>
                  <a:pt x="669" y="572"/>
                  <a:pt x="670" y="572"/>
                </a:cubicBezTo>
                <a:cubicBezTo>
                  <a:pt x="673" y="570"/>
                  <a:pt x="677" y="568"/>
                  <a:pt x="679" y="565"/>
                </a:cubicBezTo>
                <a:cubicBezTo>
                  <a:pt x="680" y="563"/>
                  <a:pt x="682" y="562"/>
                  <a:pt x="684" y="563"/>
                </a:cubicBezTo>
                <a:cubicBezTo>
                  <a:pt x="688" y="561"/>
                  <a:pt x="693" y="560"/>
                  <a:pt x="697" y="558"/>
                </a:cubicBezTo>
                <a:cubicBezTo>
                  <a:pt x="699" y="558"/>
                  <a:pt x="700" y="558"/>
                  <a:pt x="701" y="557"/>
                </a:cubicBezTo>
                <a:cubicBezTo>
                  <a:pt x="702" y="554"/>
                  <a:pt x="705" y="555"/>
                  <a:pt x="707" y="554"/>
                </a:cubicBezTo>
                <a:cubicBezTo>
                  <a:pt x="708" y="553"/>
                  <a:pt x="709" y="553"/>
                  <a:pt x="709" y="553"/>
                </a:cubicBezTo>
                <a:cubicBezTo>
                  <a:pt x="710" y="552"/>
                  <a:pt x="710" y="552"/>
                  <a:pt x="711" y="552"/>
                </a:cubicBezTo>
                <a:cubicBezTo>
                  <a:pt x="711" y="551"/>
                  <a:pt x="712" y="550"/>
                  <a:pt x="711" y="549"/>
                </a:cubicBezTo>
                <a:cubicBezTo>
                  <a:pt x="709" y="548"/>
                  <a:pt x="708" y="546"/>
                  <a:pt x="709" y="543"/>
                </a:cubicBezTo>
                <a:cubicBezTo>
                  <a:pt x="709" y="543"/>
                  <a:pt x="709" y="543"/>
                  <a:pt x="709" y="543"/>
                </a:cubicBezTo>
                <a:cubicBezTo>
                  <a:pt x="709" y="542"/>
                  <a:pt x="707" y="541"/>
                  <a:pt x="707" y="542"/>
                </a:cubicBezTo>
                <a:cubicBezTo>
                  <a:pt x="704" y="544"/>
                  <a:pt x="701" y="547"/>
                  <a:pt x="699" y="550"/>
                </a:cubicBezTo>
                <a:cubicBezTo>
                  <a:pt x="699" y="552"/>
                  <a:pt x="698" y="552"/>
                  <a:pt x="697" y="552"/>
                </a:cubicBezTo>
                <a:cubicBezTo>
                  <a:pt x="696" y="551"/>
                  <a:pt x="695" y="551"/>
                  <a:pt x="694" y="551"/>
                </a:cubicBezTo>
                <a:cubicBezTo>
                  <a:pt x="694" y="552"/>
                  <a:pt x="693" y="552"/>
                  <a:pt x="692" y="552"/>
                </a:cubicBezTo>
                <a:cubicBezTo>
                  <a:pt x="692" y="552"/>
                  <a:pt x="691" y="551"/>
                  <a:pt x="691" y="551"/>
                </a:cubicBezTo>
                <a:cubicBezTo>
                  <a:pt x="690" y="551"/>
                  <a:pt x="689" y="551"/>
                  <a:pt x="688" y="551"/>
                </a:cubicBezTo>
                <a:cubicBezTo>
                  <a:pt x="686" y="551"/>
                  <a:pt x="685" y="549"/>
                  <a:pt x="685" y="547"/>
                </a:cubicBezTo>
                <a:cubicBezTo>
                  <a:pt x="682" y="547"/>
                  <a:pt x="680" y="545"/>
                  <a:pt x="680" y="542"/>
                </a:cubicBezTo>
                <a:cubicBezTo>
                  <a:pt x="680" y="539"/>
                  <a:pt x="680" y="537"/>
                  <a:pt x="681" y="534"/>
                </a:cubicBezTo>
                <a:cubicBezTo>
                  <a:pt x="681" y="533"/>
                  <a:pt x="681" y="532"/>
                  <a:pt x="679" y="531"/>
                </a:cubicBezTo>
                <a:cubicBezTo>
                  <a:pt x="679" y="531"/>
                  <a:pt x="678" y="531"/>
                  <a:pt x="677" y="531"/>
                </a:cubicBezTo>
                <a:cubicBezTo>
                  <a:pt x="677" y="531"/>
                  <a:pt x="677" y="531"/>
                  <a:pt x="677" y="531"/>
                </a:cubicBezTo>
                <a:cubicBezTo>
                  <a:pt x="677" y="531"/>
                  <a:pt x="678" y="530"/>
                  <a:pt x="678" y="530"/>
                </a:cubicBezTo>
                <a:cubicBezTo>
                  <a:pt x="680" y="529"/>
                  <a:pt x="682" y="528"/>
                  <a:pt x="684" y="527"/>
                </a:cubicBezTo>
                <a:cubicBezTo>
                  <a:pt x="685" y="526"/>
                  <a:pt x="686" y="524"/>
                  <a:pt x="685" y="523"/>
                </a:cubicBezTo>
                <a:cubicBezTo>
                  <a:pt x="684" y="522"/>
                  <a:pt x="684" y="521"/>
                  <a:pt x="683" y="520"/>
                </a:cubicBezTo>
                <a:cubicBezTo>
                  <a:pt x="681" y="518"/>
                  <a:pt x="678" y="517"/>
                  <a:pt x="675" y="518"/>
                </a:cubicBezTo>
                <a:cubicBezTo>
                  <a:pt x="667" y="520"/>
                  <a:pt x="659" y="522"/>
                  <a:pt x="652" y="526"/>
                </a:cubicBezTo>
                <a:cubicBezTo>
                  <a:pt x="652" y="526"/>
                  <a:pt x="652" y="527"/>
                  <a:pt x="652" y="527"/>
                </a:cubicBezTo>
                <a:cubicBezTo>
                  <a:pt x="652" y="527"/>
                  <a:pt x="652" y="527"/>
                  <a:pt x="652" y="527"/>
                </a:cubicBezTo>
                <a:cubicBezTo>
                  <a:pt x="651" y="528"/>
                  <a:pt x="650" y="529"/>
                  <a:pt x="649" y="530"/>
                </a:cubicBezTo>
                <a:cubicBezTo>
                  <a:pt x="649" y="530"/>
                  <a:pt x="649" y="530"/>
                  <a:pt x="649" y="530"/>
                </a:cubicBezTo>
                <a:cubicBezTo>
                  <a:pt x="648" y="531"/>
                  <a:pt x="646" y="531"/>
                  <a:pt x="645" y="532"/>
                </a:cubicBezTo>
                <a:cubicBezTo>
                  <a:pt x="645" y="532"/>
                  <a:pt x="644" y="533"/>
                  <a:pt x="643" y="533"/>
                </a:cubicBezTo>
                <a:cubicBezTo>
                  <a:pt x="643" y="534"/>
                  <a:pt x="643" y="534"/>
                  <a:pt x="643" y="534"/>
                </a:cubicBezTo>
                <a:cubicBezTo>
                  <a:pt x="643" y="533"/>
                  <a:pt x="643" y="533"/>
                  <a:pt x="643" y="533"/>
                </a:cubicBezTo>
                <a:cubicBezTo>
                  <a:pt x="644" y="532"/>
                  <a:pt x="644" y="532"/>
                  <a:pt x="645" y="531"/>
                </a:cubicBezTo>
                <a:cubicBezTo>
                  <a:pt x="646" y="531"/>
                  <a:pt x="648" y="530"/>
                  <a:pt x="649" y="530"/>
                </a:cubicBezTo>
                <a:cubicBezTo>
                  <a:pt x="649" y="530"/>
                  <a:pt x="649" y="530"/>
                  <a:pt x="649" y="530"/>
                </a:cubicBezTo>
                <a:cubicBezTo>
                  <a:pt x="649" y="527"/>
                  <a:pt x="650" y="527"/>
                  <a:pt x="652" y="527"/>
                </a:cubicBezTo>
                <a:cubicBezTo>
                  <a:pt x="652" y="527"/>
                  <a:pt x="652" y="527"/>
                  <a:pt x="652" y="526"/>
                </a:cubicBezTo>
                <a:cubicBezTo>
                  <a:pt x="652" y="526"/>
                  <a:pt x="652" y="526"/>
                  <a:pt x="652" y="526"/>
                </a:cubicBezTo>
                <a:cubicBezTo>
                  <a:pt x="652" y="525"/>
                  <a:pt x="653" y="524"/>
                  <a:pt x="654" y="523"/>
                </a:cubicBezTo>
                <a:cubicBezTo>
                  <a:pt x="657" y="520"/>
                  <a:pt x="660" y="518"/>
                  <a:pt x="664" y="517"/>
                </a:cubicBezTo>
                <a:cubicBezTo>
                  <a:pt x="666" y="517"/>
                  <a:pt x="668" y="516"/>
                  <a:pt x="669" y="513"/>
                </a:cubicBezTo>
                <a:cubicBezTo>
                  <a:pt x="669" y="513"/>
                  <a:pt x="670" y="512"/>
                  <a:pt x="670" y="512"/>
                </a:cubicBezTo>
                <a:cubicBezTo>
                  <a:pt x="672" y="510"/>
                  <a:pt x="673" y="509"/>
                  <a:pt x="675" y="507"/>
                </a:cubicBezTo>
                <a:cubicBezTo>
                  <a:pt x="677" y="506"/>
                  <a:pt x="679" y="507"/>
                  <a:pt x="681" y="508"/>
                </a:cubicBezTo>
                <a:cubicBezTo>
                  <a:pt x="690" y="508"/>
                  <a:pt x="698" y="509"/>
                  <a:pt x="706" y="510"/>
                </a:cubicBezTo>
                <a:cubicBezTo>
                  <a:pt x="709" y="510"/>
                  <a:pt x="712" y="509"/>
                  <a:pt x="716" y="509"/>
                </a:cubicBezTo>
                <a:cubicBezTo>
                  <a:pt x="717" y="510"/>
                  <a:pt x="718" y="509"/>
                  <a:pt x="719" y="509"/>
                </a:cubicBezTo>
                <a:cubicBezTo>
                  <a:pt x="719" y="509"/>
                  <a:pt x="720" y="508"/>
                  <a:pt x="721" y="508"/>
                </a:cubicBezTo>
                <a:cubicBezTo>
                  <a:pt x="723" y="507"/>
                  <a:pt x="725" y="505"/>
                  <a:pt x="727" y="503"/>
                </a:cubicBezTo>
                <a:cubicBezTo>
                  <a:pt x="728" y="501"/>
                  <a:pt x="730" y="500"/>
                  <a:pt x="732" y="500"/>
                </a:cubicBezTo>
                <a:cubicBezTo>
                  <a:pt x="733" y="500"/>
                  <a:pt x="735" y="499"/>
                  <a:pt x="736" y="499"/>
                </a:cubicBezTo>
                <a:cubicBezTo>
                  <a:pt x="740" y="499"/>
                  <a:pt x="744" y="497"/>
                  <a:pt x="747" y="494"/>
                </a:cubicBezTo>
                <a:cubicBezTo>
                  <a:pt x="749" y="493"/>
                  <a:pt x="750" y="491"/>
                  <a:pt x="749" y="489"/>
                </a:cubicBezTo>
                <a:cubicBezTo>
                  <a:pt x="748" y="488"/>
                  <a:pt x="748" y="486"/>
                  <a:pt x="749" y="485"/>
                </a:cubicBezTo>
                <a:cubicBezTo>
                  <a:pt x="749" y="484"/>
                  <a:pt x="750" y="483"/>
                  <a:pt x="750" y="482"/>
                </a:cubicBezTo>
                <a:cubicBezTo>
                  <a:pt x="750" y="481"/>
                  <a:pt x="750" y="480"/>
                  <a:pt x="750" y="479"/>
                </a:cubicBezTo>
                <a:cubicBezTo>
                  <a:pt x="748" y="477"/>
                  <a:pt x="746" y="475"/>
                  <a:pt x="743" y="476"/>
                </a:cubicBezTo>
                <a:cubicBezTo>
                  <a:pt x="743" y="476"/>
                  <a:pt x="743" y="476"/>
                  <a:pt x="743" y="476"/>
                </a:cubicBezTo>
                <a:cubicBezTo>
                  <a:pt x="743" y="476"/>
                  <a:pt x="743" y="476"/>
                  <a:pt x="743" y="476"/>
                </a:cubicBezTo>
                <a:cubicBezTo>
                  <a:pt x="743" y="476"/>
                  <a:pt x="743" y="476"/>
                  <a:pt x="743" y="476"/>
                </a:cubicBezTo>
                <a:cubicBezTo>
                  <a:pt x="743" y="476"/>
                  <a:pt x="743" y="476"/>
                  <a:pt x="743" y="476"/>
                </a:cubicBezTo>
                <a:cubicBezTo>
                  <a:pt x="743" y="475"/>
                  <a:pt x="743" y="474"/>
                  <a:pt x="743" y="473"/>
                </a:cubicBezTo>
                <a:cubicBezTo>
                  <a:pt x="743" y="472"/>
                  <a:pt x="742" y="470"/>
                  <a:pt x="740" y="470"/>
                </a:cubicBezTo>
                <a:cubicBezTo>
                  <a:pt x="739" y="470"/>
                  <a:pt x="738" y="470"/>
                  <a:pt x="737" y="470"/>
                </a:cubicBezTo>
                <a:cubicBezTo>
                  <a:pt x="737" y="470"/>
                  <a:pt x="737" y="470"/>
                  <a:pt x="737" y="470"/>
                </a:cubicBezTo>
                <a:cubicBezTo>
                  <a:pt x="737" y="469"/>
                  <a:pt x="737" y="469"/>
                  <a:pt x="738" y="469"/>
                </a:cubicBezTo>
                <a:cubicBezTo>
                  <a:pt x="738" y="469"/>
                  <a:pt x="739" y="468"/>
                  <a:pt x="740" y="468"/>
                </a:cubicBezTo>
                <a:cubicBezTo>
                  <a:pt x="741" y="467"/>
                  <a:pt x="741" y="466"/>
                  <a:pt x="741" y="465"/>
                </a:cubicBezTo>
                <a:cubicBezTo>
                  <a:pt x="740" y="464"/>
                  <a:pt x="739" y="463"/>
                  <a:pt x="737" y="463"/>
                </a:cubicBezTo>
                <a:cubicBezTo>
                  <a:pt x="737" y="463"/>
                  <a:pt x="736" y="463"/>
                  <a:pt x="735" y="463"/>
                </a:cubicBezTo>
                <a:cubicBezTo>
                  <a:pt x="733" y="460"/>
                  <a:pt x="730" y="459"/>
                  <a:pt x="727" y="458"/>
                </a:cubicBezTo>
                <a:cubicBezTo>
                  <a:pt x="727" y="457"/>
                  <a:pt x="726" y="457"/>
                  <a:pt x="726" y="457"/>
                </a:cubicBezTo>
                <a:cubicBezTo>
                  <a:pt x="726" y="453"/>
                  <a:pt x="723" y="452"/>
                  <a:pt x="721" y="450"/>
                </a:cubicBezTo>
                <a:cubicBezTo>
                  <a:pt x="720" y="449"/>
                  <a:pt x="719" y="447"/>
                  <a:pt x="718" y="446"/>
                </a:cubicBezTo>
                <a:cubicBezTo>
                  <a:pt x="717" y="445"/>
                  <a:pt x="717" y="444"/>
                  <a:pt x="718" y="443"/>
                </a:cubicBezTo>
                <a:cubicBezTo>
                  <a:pt x="719" y="442"/>
                  <a:pt x="720" y="441"/>
                  <a:pt x="721" y="440"/>
                </a:cubicBezTo>
                <a:cubicBezTo>
                  <a:pt x="722" y="439"/>
                  <a:pt x="722" y="438"/>
                  <a:pt x="722" y="437"/>
                </a:cubicBezTo>
                <a:cubicBezTo>
                  <a:pt x="720" y="435"/>
                  <a:pt x="719" y="433"/>
                  <a:pt x="720" y="430"/>
                </a:cubicBezTo>
                <a:cubicBezTo>
                  <a:pt x="720" y="430"/>
                  <a:pt x="719" y="429"/>
                  <a:pt x="719" y="428"/>
                </a:cubicBezTo>
                <a:cubicBezTo>
                  <a:pt x="718" y="427"/>
                  <a:pt x="718" y="425"/>
                  <a:pt x="717" y="424"/>
                </a:cubicBezTo>
                <a:cubicBezTo>
                  <a:pt x="716" y="424"/>
                  <a:pt x="717" y="422"/>
                  <a:pt x="716" y="421"/>
                </a:cubicBezTo>
                <a:cubicBezTo>
                  <a:pt x="716" y="420"/>
                  <a:pt x="716" y="418"/>
                  <a:pt x="716" y="417"/>
                </a:cubicBezTo>
                <a:cubicBezTo>
                  <a:pt x="716" y="415"/>
                  <a:pt x="715" y="414"/>
                  <a:pt x="715" y="412"/>
                </a:cubicBezTo>
                <a:cubicBezTo>
                  <a:pt x="713" y="408"/>
                  <a:pt x="713" y="404"/>
                  <a:pt x="712" y="400"/>
                </a:cubicBezTo>
                <a:cubicBezTo>
                  <a:pt x="712" y="399"/>
                  <a:pt x="712" y="398"/>
                  <a:pt x="711" y="397"/>
                </a:cubicBezTo>
                <a:cubicBezTo>
                  <a:pt x="711" y="396"/>
                  <a:pt x="711" y="396"/>
                  <a:pt x="710" y="396"/>
                </a:cubicBezTo>
                <a:cubicBezTo>
                  <a:pt x="710" y="396"/>
                  <a:pt x="710" y="396"/>
                  <a:pt x="709" y="396"/>
                </a:cubicBezTo>
                <a:cubicBezTo>
                  <a:pt x="707" y="399"/>
                  <a:pt x="704" y="402"/>
                  <a:pt x="703" y="406"/>
                </a:cubicBezTo>
                <a:cubicBezTo>
                  <a:pt x="701" y="410"/>
                  <a:pt x="699" y="413"/>
                  <a:pt x="695" y="415"/>
                </a:cubicBezTo>
                <a:cubicBezTo>
                  <a:pt x="694" y="415"/>
                  <a:pt x="693" y="416"/>
                  <a:pt x="692" y="417"/>
                </a:cubicBezTo>
                <a:cubicBezTo>
                  <a:pt x="691" y="418"/>
                  <a:pt x="689" y="418"/>
                  <a:pt x="688" y="419"/>
                </a:cubicBezTo>
                <a:cubicBezTo>
                  <a:pt x="687" y="419"/>
                  <a:pt x="685" y="419"/>
                  <a:pt x="684" y="418"/>
                </a:cubicBezTo>
                <a:cubicBezTo>
                  <a:pt x="683" y="417"/>
                  <a:pt x="682" y="416"/>
                  <a:pt x="682" y="415"/>
                </a:cubicBezTo>
                <a:cubicBezTo>
                  <a:pt x="682" y="414"/>
                  <a:pt x="680" y="413"/>
                  <a:pt x="679" y="412"/>
                </a:cubicBezTo>
                <a:cubicBezTo>
                  <a:pt x="677" y="411"/>
                  <a:pt x="677" y="409"/>
                  <a:pt x="677" y="408"/>
                </a:cubicBezTo>
                <a:cubicBezTo>
                  <a:pt x="677" y="405"/>
                  <a:pt x="679" y="402"/>
                  <a:pt x="678" y="399"/>
                </a:cubicBezTo>
                <a:cubicBezTo>
                  <a:pt x="678" y="398"/>
                  <a:pt x="678" y="397"/>
                  <a:pt x="679" y="397"/>
                </a:cubicBezTo>
                <a:cubicBezTo>
                  <a:pt x="680" y="394"/>
                  <a:pt x="681" y="391"/>
                  <a:pt x="682" y="389"/>
                </a:cubicBezTo>
                <a:cubicBezTo>
                  <a:pt x="683" y="388"/>
                  <a:pt x="682" y="387"/>
                  <a:pt x="681" y="387"/>
                </a:cubicBezTo>
                <a:cubicBezTo>
                  <a:pt x="679" y="386"/>
                  <a:pt x="677" y="384"/>
                  <a:pt x="674" y="384"/>
                </a:cubicBezTo>
                <a:cubicBezTo>
                  <a:pt x="673" y="384"/>
                  <a:pt x="672" y="383"/>
                  <a:pt x="671" y="382"/>
                </a:cubicBezTo>
                <a:cubicBezTo>
                  <a:pt x="670" y="382"/>
                  <a:pt x="670" y="381"/>
                  <a:pt x="670" y="380"/>
                </a:cubicBezTo>
                <a:cubicBezTo>
                  <a:pt x="670" y="379"/>
                  <a:pt x="670" y="378"/>
                  <a:pt x="670" y="378"/>
                </a:cubicBezTo>
                <a:cubicBezTo>
                  <a:pt x="668" y="376"/>
                  <a:pt x="667" y="374"/>
                  <a:pt x="666" y="372"/>
                </a:cubicBezTo>
                <a:cubicBezTo>
                  <a:pt x="666" y="370"/>
                  <a:pt x="665" y="369"/>
                  <a:pt x="664" y="368"/>
                </a:cubicBezTo>
                <a:cubicBezTo>
                  <a:pt x="662" y="366"/>
                  <a:pt x="661" y="365"/>
                  <a:pt x="658" y="366"/>
                </a:cubicBezTo>
                <a:cubicBezTo>
                  <a:pt x="657" y="366"/>
                  <a:pt x="656" y="366"/>
                  <a:pt x="655" y="366"/>
                </a:cubicBezTo>
                <a:cubicBezTo>
                  <a:pt x="651" y="365"/>
                  <a:pt x="648" y="366"/>
                  <a:pt x="645" y="363"/>
                </a:cubicBezTo>
                <a:cubicBezTo>
                  <a:pt x="644" y="362"/>
                  <a:pt x="642" y="362"/>
                  <a:pt x="641" y="362"/>
                </a:cubicBezTo>
                <a:cubicBezTo>
                  <a:pt x="637" y="361"/>
                  <a:pt x="633" y="363"/>
                  <a:pt x="632" y="366"/>
                </a:cubicBezTo>
                <a:cubicBezTo>
                  <a:pt x="631" y="368"/>
                  <a:pt x="631" y="370"/>
                  <a:pt x="632" y="372"/>
                </a:cubicBezTo>
                <a:cubicBezTo>
                  <a:pt x="633" y="373"/>
                  <a:pt x="633" y="375"/>
                  <a:pt x="632" y="376"/>
                </a:cubicBezTo>
                <a:cubicBezTo>
                  <a:pt x="631" y="378"/>
                  <a:pt x="629" y="380"/>
                  <a:pt x="628" y="382"/>
                </a:cubicBezTo>
                <a:cubicBezTo>
                  <a:pt x="627" y="384"/>
                  <a:pt x="630" y="387"/>
                  <a:pt x="629" y="389"/>
                </a:cubicBezTo>
                <a:cubicBezTo>
                  <a:pt x="629" y="390"/>
                  <a:pt x="629" y="392"/>
                  <a:pt x="629" y="393"/>
                </a:cubicBezTo>
                <a:cubicBezTo>
                  <a:pt x="630" y="395"/>
                  <a:pt x="629" y="396"/>
                  <a:pt x="627" y="397"/>
                </a:cubicBezTo>
                <a:cubicBezTo>
                  <a:pt x="627" y="398"/>
                  <a:pt x="626" y="398"/>
                  <a:pt x="625" y="399"/>
                </a:cubicBezTo>
                <a:cubicBezTo>
                  <a:pt x="624" y="402"/>
                  <a:pt x="620" y="404"/>
                  <a:pt x="618" y="407"/>
                </a:cubicBezTo>
                <a:cubicBezTo>
                  <a:pt x="617" y="409"/>
                  <a:pt x="617" y="410"/>
                  <a:pt x="618" y="412"/>
                </a:cubicBezTo>
                <a:cubicBezTo>
                  <a:pt x="619" y="413"/>
                  <a:pt x="620" y="414"/>
                  <a:pt x="621" y="415"/>
                </a:cubicBezTo>
                <a:cubicBezTo>
                  <a:pt x="621" y="416"/>
                  <a:pt x="622" y="417"/>
                  <a:pt x="622" y="419"/>
                </a:cubicBezTo>
                <a:cubicBezTo>
                  <a:pt x="623" y="422"/>
                  <a:pt x="623" y="425"/>
                  <a:pt x="623" y="428"/>
                </a:cubicBezTo>
                <a:cubicBezTo>
                  <a:pt x="624" y="432"/>
                  <a:pt x="622" y="435"/>
                  <a:pt x="623" y="438"/>
                </a:cubicBezTo>
                <a:cubicBezTo>
                  <a:pt x="623" y="439"/>
                  <a:pt x="623" y="439"/>
                  <a:pt x="622" y="440"/>
                </a:cubicBezTo>
                <a:cubicBezTo>
                  <a:pt x="621" y="441"/>
                  <a:pt x="620" y="441"/>
                  <a:pt x="619" y="442"/>
                </a:cubicBezTo>
                <a:cubicBezTo>
                  <a:pt x="615" y="446"/>
                  <a:pt x="611" y="448"/>
                  <a:pt x="606" y="450"/>
                </a:cubicBezTo>
                <a:cubicBezTo>
                  <a:pt x="604" y="451"/>
                  <a:pt x="602" y="452"/>
                  <a:pt x="600" y="453"/>
                </a:cubicBezTo>
                <a:cubicBezTo>
                  <a:pt x="598" y="453"/>
                  <a:pt x="597" y="454"/>
                  <a:pt x="597" y="456"/>
                </a:cubicBezTo>
                <a:cubicBezTo>
                  <a:pt x="597" y="460"/>
                  <a:pt x="598" y="463"/>
                  <a:pt x="597" y="466"/>
                </a:cubicBezTo>
                <a:cubicBezTo>
                  <a:pt x="597" y="469"/>
                  <a:pt x="597" y="471"/>
                  <a:pt x="596" y="473"/>
                </a:cubicBezTo>
                <a:cubicBezTo>
                  <a:pt x="596" y="476"/>
                  <a:pt x="597" y="478"/>
                  <a:pt x="597" y="480"/>
                </a:cubicBezTo>
                <a:cubicBezTo>
                  <a:pt x="597" y="481"/>
                  <a:pt x="597" y="482"/>
                  <a:pt x="596" y="483"/>
                </a:cubicBezTo>
                <a:cubicBezTo>
                  <a:pt x="596" y="484"/>
                  <a:pt x="595" y="486"/>
                  <a:pt x="594" y="487"/>
                </a:cubicBezTo>
                <a:cubicBezTo>
                  <a:pt x="594" y="488"/>
                  <a:pt x="593" y="488"/>
                  <a:pt x="593" y="488"/>
                </a:cubicBezTo>
                <a:cubicBezTo>
                  <a:pt x="590" y="488"/>
                  <a:pt x="589" y="489"/>
                  <a:pt x="588" y="490"/>
                </a:cubicBezTo>
                <a:cubicBezTo>
                  <a:pt x="587" y="491"/>
                  <a:pt x="585" y="491"/>
                  <a:pt x="585" y="490"/>
                </a:cubicBezTo>
                <a:cubicBezTo>
                  <a:pt x="585" y="489"/>
                  <a:pt x="584" y="488"/>
                  <a:pt x="584" y="487"/>
                </a:cubicBezTo>
                <a:cubicBezTo>
                  <a:pt x="583" y="486"/>
                  <a:pt x="583" y="484"/>
                  <a:pt x="582" y="483"/>
                </a:cubicBezTo>
                <a:cubicBezTo>
                  <a:pt x="579" y="481"/>
                  <a:pt x="578" y="477"/>
                  <a:pt x="576" y="474"/>
                </a:cubicBezTo>
                <a:cubicBezTo>
                  <a:pt x="576" y="473"/>
                  <a:pt x="576" y="472"/>
                  <a:pt x="576" y="470"/>
                </a:cubicBezTo>
                <a:cubicBezTo>
                  <a:pt x="578" y="467"/>
                  <a:pt x="580" y="463"/>
                  <a:pt x="580" y="458"/>
                </a:cubicBezTo>
                <a:cubicBezTo>
                  <a:pt x="580" y="457"/>
                  <a:pt x="581" y="455"/>
                  <a:pt x="581" y="454"/>
                </a:cubicBezTo>
                <a:cubicBezTo>
                  <a:pt x="582" y="452"/>
                  <a:pt x="582" y="451"/>
                  <a:pt x="582" y="450"/>
                </a:cubicBezTo>
                <a:cubicBezTo>
                  <a:pt x="583" y="449"/>
                  <a:pt x="582" y="448"/>
                  <a:pt x="581" y="448"/>
                </a:cubicBezTo>
                <a:cubicBezTo>
                  <a:pt x="577" y="447"/>
                  <a:pt x="572" y="445"/>
                  <a:pt x="568" y="445"/>
                </a:cubicBezTo>
                <a:cubicBezTo>
                  <a:pt x="566" y="445"/>
                  <a:pt x="565" y="445"/>
                  <a:pt x="565" y="444"/>
                </a:cubicBezTo>
                <a:cubicBezTo>
                  <a:pt x="562" y="441"/>
                  <a:pt x="560" y="439"/>
                  <a:pt x="557" y="437"/>
                </a:cubicBezTo>
                <a:cubicBezTo>
                  <a:pt x="554" y="436"/>
                  <a:pt x="551" y="434"/>
                  <a:pt x="550" y="431"/>
                </a:cubicBezTo>
                <a:cubicBezTo>
                  <a:pt x="548" y="427"/>
                  <a:pt x="546" y="425"/>
                  <a:pt x="542" y="423"/>
                </a:cubicBezTo>
                <a:cubicBezTo>
                  <a:pt x="540" y="422"/>
                  <a:pt x="537" y="420"/>
                  <a:pt x="534" y="419"/>
                </a:cubicBezTo>
                <a:cubicBezTo>
                  <a:pt x="533" y="418"/>
                  <a:pt x="531" y="418"/>
                  <a:pt x="530" y="418"/>
                </a:cubicBezTo>
                <a:cubicBezTo>
                  <a:pt x="527" y="419"/>
                  <a:pt x="525" y="420"/>
                  <a:pt x="523" y="419"/>
                </a:cubicBezTo>
                <a:cubicBezTo>
                  <a:pt x="523" y="419"/>
                  <a:pt x="522" y="419"/>
                  <a:pt x="522" y="419"/>
                </a:cubicBezTo>
                <a:cubicBezTo>
                  <a:pt x="522" y="420"/>
                  <a:pt x="522" y="420"/>
                  <a:pt x="522" y="420"/>
                </a:cubicBezTo>
                <a:cubicBezTo>
                  <a:pt x="522" y="419"/>
                  <a:pt x="522" y="419"/>
                  <a:pt x="522" y="419"/>
                </a:cubicBezTo>
                <a:cubicBezTo>
                  <a:pt x="522" y="419"/>
                  <a:pt x="522" y="419"/>
                  <a:pt x="523" y="419"/>
                </a:cubicBezTo>
                <a:cubicBezTo>
                  <a:pt x="524" y="417"/>
                  <a:pt x="525" y="415"/>
                  <a:pt x="525" y="412"/>
                </a:cubicBezTo>
                <a:cubicBezTo>
                  <a:pt x="524" y="409"/>
                  <a:pt x="525" y="406"/>
                  <a:pt x="524" y="403"/>
                </a:cubicBezTo>
                <a:cubicBezTo>
                  <a:pt x="524" y="401"/>
                  <a:pt x="524" y="400"/>
                  <a:pt x="524" y="399"/>
                </a:cubicBezTo>
                <a:cubicBezTo>
                  <a:pt x="524" y="399"/>
                  <a:pt x="523" y="398"/>
                  <a:pt x="523" y="398"/>
                </a:cubicBezTo>
                <a:cubicBezTo>
                  <a:pt x="522" y="398"/>
                  <a:pt x="520" y="398"/>
                  <a:pt x="519" y="398"/>
                </a:cubicBezTo>
                <a:cubicBezTo>
                  <a:pt x="518" y="398"/>
                  <a:pt x="517" y="397"/>
                  <a:pt x="517" y="396"/>
                </a:cubicBezTo>
                <a:cubicBezTo>
                  <a:pt x="517" y="395"/>
                  <a:pt x="516" y="394"/>
                  <a:pt x="517" y="393"/>
                </a:cubicBezTo>
                <a:cubicBezTo>
                  <a:pt x="517" y="392"/>
                  <a:pt x="518" y="390"/>
                  <a:pt x="518" y="388"/>
                </a:cubicBezTo>
                <a:cubicBezTo>
                  <a:pt x="520" y="381"/>
                  <a:pt x="523" y="375"/>
                  <a:pt x="529" y="370"/>
                </a:cubicBezTo>
                <a:cubicBezTo>
                  <a:pt x="530" y="369"/>
                  <a:pt x="531" y="367"/>
                  <a:pt x="532" y="366"/>
                </a:cubicBezTo>
                <a:cubicBezTo>
                  <a:pt x="535" y="362"/>
                  <a:pt x="538" y="357"/>
                  <a:pt x="543" y="356"/>
                </a:cubicBezTo>
                <a:cubicBezTo>
                  <a:pt x="545" y="353"/>
                  <a:pt x="548" y="352"/>
                  <a:pt x="549" y="348"/>
                </a:cubicBezTo>
                <a:cubicBezTo>
                  <a:pt x="549" y="348"/>
                  <a:pt x="550" y="347"/>
                  <a:pt x="551" y="347"/>
                </a:cubicBezTo>
                <a:cubicBezTo>
                  <a:pt x="552" y="347"/>
                  <a:pt x="553" y="348"/>
                  <a:pt x="554" y="348"/>
                </a:cubicBezTo>
                <a:cubicBezTo>
                  <a:pt x="557" y="348"/>
                  <a:pt x="560" y="346"/>
                  <a:pt x="560" y="343"/>
                </a:cubicBezTo>
                <a:cubicBezTo>
                  <a:pt x="560" y="342"/>
                  <a:pt x="560" y="340"/>
                  <a:pt x="559" y="339"/>
                </a:cubicBezTo>
                <a:cubicBezTo>
                  <a:pt x="559" y="339"/>
                  <a:pt x="559" y="339"/>
                  <a:pt x="559" y="339"/>
                </a:cubicBezTo>
                <a:cubicBezTo>
                  <a:pt x="559" y="339"/>
                  <a:pt x="559" y="339"/>
                  <a:pt x="559" y="339"/>
                </a:cubicBezTo>
                <a:cubicBezTo>
                  <a:pt x="559" y="339"/>
                  <a:pt x="559" y="339"/>
                  <a:pt x="559" y="339"/>
                </a:cubicBezTo>
                <a:cubicBezTo>
                  <a:pt x="559" y="339"/>
                  <a:pt x="559" y="339"/>
                  <a:pt x="559" y="339"/>
                </a:cubicBezTo>
                <a:cubicBezTo>
                  <a:pt x="563" y="339"/>
                  <a:pt x="567" y="338"/>
                  <a:pt x="568" y="334"/>
                </a:cubicBezTo>
                <a:cubicBezTo>
                  <a:pt x="569" y="333"/>
                  <a:pt x="570" y="333"/>
                  <a:pt x="570" y="333"/>
                </a:cubicBezTo>
                <a:cubicBezTo>
                  <a:pt x="572" y="334"/>
                  <a:pt x="573" y="335"/>
                  <a:pt x="574" y="335"/>
                </a:cubicBezTo>
                <a:cubicBezTo>
                  <a:pt x="576" y="335"/>
                  <a:pt x="577" y="336"/>
                  <a:pt x="579" y="334"/>
                </a:cubicBezTo>
                <a:cubicBezTo>
                  <a:pt x="583" y="330"/>
                  <a:pt x="587" y="326"/>
                  <a:pt x="592" y="322"/>
                </a:cubicBezTo>
                <a:cubicBezTo>
                  <a:pt x="592" y="322"/>
                  <a:pt x="592" y="321"/>
                  <a:pt x="592" y="320"/>
                </a:cubicBezTo>
                <a:cubicBezTo>
                  <a:pt x="592" y="319"/>
                  <a:pt x="593" y="318"/>
                  <a:pt x="594" y="317"/>
                </a:cubicBezTo>
                <a:cubicBezTo>
                  <a:pt x="596" y="316"/>
                  <a:pt x="598" y="314"/>
                  <a:pt x="599" y="313"/>
                </a:cubicBezTo>
                <a:cubicBezTo>
                  <a:pt x="600" y="312"/>
                  <a:pt x="601" y="312"/>
                  <a:pt x="601" y="311"/>
                </a:cubicBezTo>
                <a:cubicBezTo>
                  <a:pt x="601" y="311"/>
                  <a:pt x="601" y="311"/>
                  <a:pt x="601" y="311"/>
                </a:cubicBezTo>
                <a:cubicBezTo>
                  <a:pt x="602" y="310"/>
                  <a:pt x="602" y="310"/>
                  <a:pt x="602" y="310"/>
                </a:cubicBezTo>
                <a:cubicBezTo>
                  <a:pt x="605" y="308"/>
                  <a:pt x="605" y="308"/>
                  <a:pt x="603" y="305"/>
                </a:cubicBezTo>
                <a:cubicBezTo>
                  <a:pt x="603" y="304"/>
                  <a:pt x="603" y="304"/>
                  <a:pt x="603" y="304"/>
                </a:cubicBezTo>
                <a:cubicBezTo>
                  <a:pt x="602" y="303"/>
                  <a:pt x="603" y="303"/>
                  <a:pt x="603" y="303"/>
                </a:cubicBezTo>
                <a:cubicBezTo>
                  <a:pt x="606" y="302"/>
                  <a:pt x="609" y="302"/>
                  <a:pt x="610" y="305"/>
                </a:cubicBezTo>
                <a:cubicBezTo>
                  <a:pt x="610" y="305"/>
                  <a:pt x="610" y="306"/>
                  <a:pt x="610" y="306"/>
                </a:cubicBezTo>
                <a:cubicBezTo>
                  <a:pt x="614" y="308"/>
                  <a:pt x="619" y="308"/>
                  <a:pt x="623" y="306"/>
                </a:cubicBezTo>
                <a:cubicBezTo>
                  <a:pt x="626" y="305"/>
                  <a:pt x="629" y="303"/>
                  <a:pt x="631" y="301"/>
                </a:cubicBezTo>
                <a:cubicBezTo>
                  <a:pt x="632" y="300"/>
                  <a:pt x="633" y="299"/>
                  <a:pt x="634" y="299"/>
                </a:cubicBezTo>
                <a:cubicBezTo>
                  <a:pt x="636" y="299"/>
                  <a:pt x="637" y="297"/>
                  <a:pt x="638" y="295"/>
                </a:cubicBezTo>
                <a:cubicBezTo>
                  <a:pt x="639" y="294"/>
                  <a:pt x="639" y="292"/>
                  <a:pt x="639" y="291"/>
                </a:cubicBezTo>
                <a:cubicBezTo>
                  <a:pt x="638" y="290"/>
                  <a:pt x="638" y="289"/>
                  <a:pt x="638" y="288"/>
                </a:cubicBezTo>
                <a:cubicBezTo>
                  <a:pt x="637" y="286"/>
                  <a:pt x="637" y="284"/>
                  <a:pt x="637" y="283"/>
                </a:cubicBezTo>
                <a:cubicBezTo>
                  <a:pt x="638" y="281"/>
                  <a:pt x="638" y="279"/>
                  <a:pt x="638" y="278"/>
                </a:cubicBezTo>
                <a:cubicBezTo>
                  <a:pt x="638" y="278"/>
                  <a:pt x="638" y="277"/>
                  <a:pt x="638" y="277"/>
                </a:cubicBezTo>
                <a:cubicBezTo>
                  <a:pt x="638" y="277"/>
                  <a:pt x="638" y="277"/>
                  <a:pt x="638" y="277"/>
                </a:cubicBezTo>
                <a:cubicBezTo>
                  <a:pt x="638" y="277"/>
                  <a:pt x="638" y="277"/>
                  <a:pt x="638" y="277"/>
                </a:cubicBezTo>
                <a:cubicBezTo>
                  <a:pt x="638" y="277"/>
                  <a:pt x="638" y="277"/>
                  <a:pt x="638" y="278"/>
                </a:cubicBezTo>
                <a:cubicBezTo>
                  <a:pt x="639" y="278"/>
                  <a:pt x="641" y="278"/>
                  <a:pt x="642" y="278"/>
                </a:cubicBezTo>
                <a:cubicBezTo>
                  <a:pt x="645" y="278"/>
                  <a:pt x="646" y="277"/>
                  <a:pt x="646" y="273"/>
                </a:cubicBezTo>
                <a:cubicBezTo>
                  <a:pt x="646" y="272"/>
                  <a:pt x="646" y="271"/>
                  <a:pt x="647" y="270"/>
                </a:cubicBezTo>
                <a:cubicBezTo>
                  <a:pt x="649" y="268"/>
                  <a:pt x="648" y="267"/>
                  <a:pt x="647" y="266"/>
                </a:cubicBezTo>
                <a:cubicBezTo>
                  <a:pt x="645" y="265"/>
                  <a:pt x="643" y="263"/>
                  <a:pt x="643" y="260"/>
                </a:cubicBezTo>
                <a:cubicBezTo>
                  <a:pt x="643" y="259"/>
                  <a:pt x="642" y="257"/>
                  <a:pt x="640" y="258"/>
                </a:cubicBezTo>
                <a:cubicBezTo>
                  <a:pt x="639" y="258"/>
                  <a:pt x="638" y="256"/>
                  <a:pt x="638" y="255"/>
                </a:cubicBezTo>
                <a:cubicBezTo>
                  <a:pt x="636" y="255"/>
                  <a:pt x="634" y="254"/>
                  <a:pt x="633" y="253"/>
                </a:cubicBezTo>
                <a:cubicBezTo>
                  <a:pt x="633" y="253"/>
                  <a:pt x="633" y="253"/>
                  <a:pt x="633" y="253"/>
                </a:cubicBezTo>
                <a:cubicBezTo>
                  <a:pt x="633" y="253"/>
                  <a:pt x="633" y="253"/>
                  <a:pt x="633" y="253"/>
                </a:cubicBezTo>
                <a:cubicBezTo>
                  <a:pt x="633" y="253"/>
                  <a:pt x="633" y="253"/>
                  <a:pt x="633" y="253"/>
                </a:cubicBezTo>
                <a:cubicBezTo>
                  <a:pt x="632" y="253"/>
                  <a:pt x="632" y="254"/>
                  <a:pt x="631" y="254"/>
                </a:cubicBezTo>
                <a:cubicBezTo>
                  <a:pt x="628" y="254"/>
                  <a:pt x="627" y="255"/>
                  <a:pt x="626" y="257"/>
                </a:cubicBezTo>
                <a:cubicBezTo>
                  <a:pt x="626" y="260"/>
                  <a:pt x="624" y="262"/>
                  <a:pt x="625" y="265"/>
                </a:cubicBezTo>
                <a:cubicBezTo>
                  <a:pt x="625" y="266"/>
                  <a:pt x="625" y="266"/>
                  <a:pt x="624" y="267"/>
                </a:cubicBezTo>
                <a:cubicBezTo>
                  <a:pt x="623" y="267"/>
                  <a:pt x="622" y="269"/>
                  <a:pt x="621" y="270"/>
                </a:cubicBezTo>
                <a:cubicBezTo>
                  <a:pt x="619" y="270"/>
                  <a:pt x="618" y="272"/>
                  <a:pt x="617" y="274"/>
                </a:cubicBezTo>
                <a:cubicBezTo>
                  <a:pt x="616" y="275"/>
                  <a:pt x="615" y="276"/>
                  <a:pt x="615" y="278"/>
                </a:cubicBezTo>
                <a:cubicBezTo>
                  <a:pt x="614" y="279"/>
                  <a:pt x="613" y="279"/>
                  <a:pt x="612" y="279"/>
                </a:cubicBezTo>
                <a:cubicBezTo>
                  <a:pt x="612" y="279"/>
                  <a:pt x="612" y="279"/>
                  <a:pt x="612" y="279"/>
                </a:cubicBezTo>
                <a:cubicBezTo>
                  <a:pt x="612" y="279"/>
                  <a:pt x="612" y="280"/>
                  <a:pt x="611" y="280"/>
                </a:cubicBezTo>
                <a:cubicBezTo>
                  <a:pt x="612" y="280"/>
                  <a:pt x="612" y="279"/>
                  <a:pt x="612" y="279"/>
                </a:cubicBezTo>
                <a:cubicBezTo>
                  <a:pt x="612" y="279"/>
                  <a:pt x="612" y="279"/>
                  <a:pt x="612" y="279"/>
                </a:cubicBezTo>
                <a:cubicBezTo>
                  <a:pt x="611" y="278"/>
                  <a:pt x="611" y="277"/>
                  <a:pt x="610" y="277"/>
                </a:cubicBezTo>
                <a:cubicBezTo>
                  <a:pt x="609" y="277"/>
                  <a:pt x="608" y="278"/>
                  <a:pt x="607" y="280"/>
                </a:cubicBezTo>
                <a:cubicBezTo>
                  <a:pt x="607" y="281"/>
                  <a:pt x="607" y="282"/>
                  <a:pt x="608" y="283"/>
                </a:cubicBezTo>
                <a:cubicBezTo>
                  <a:pt x="608" y="285"/>
                  <a:pt x="608" y="286"/>
                  <a:pt x="607" y="287"/>
                </a:cubicBezTo>
                <a:cubicBezTo>
                  <a:pt x="606" y="287"/>
                  <a:pt x="605" y="288"/>
                  <a:pt x="604" y="288"/>
                </a:cubicBezTo>
                <a:cubicBezTo>
                  <a:pt x="603" y="287"/>
                  <a:pt x="602" y="287"/>
                  <a:pt x="602" y="286"/>
                </a:cubicBezTo>
                <a:cubicBezTo>
                  <a:pt x="601" y="284"/>
                  <a:pt x="601" y="283"/>
                  <a:pt x="601" y="281"/>
                </a:cubicBezTo>
                <a:cubicBezTo>
                  <a:pt x="600" y="278"/>
                  <a:pt x="601" y="275"/>
                  <a:pt x="604" y="272"/>
                </a:cubicBezTo>
                <a:cubicBezTo>
                  <a:pt x="605" y="272"/>
                  <a:pt x="605" y="270"/>
                  <a:pt x="605" y="269"/>
                </a:cubicBezTo>
                <a:cubicBezTo>
                  <a:pt x="606" y="265"/>
                  <a:pt x="604" y="262"/>
                  <a:pt x="603" y="258"/>
                </a:cubicBezTo>
                <a:cubicBezTo>
                  <a:pt x="602" y="258"/>
                  <a:pt x="601" y="258"/>
                  <a:pt x="600" y="259"/>
                </a:cubicBezTo>
                <a:cubicBezTo>
                  <a:pt x="599" y="261"/>
                  <a:pt x="597" y="262"/>
                  <a:pt x="596" y="265"/>
                </a:cubicBezTo>
                <a:cubicBezTo>
                  <a:pt x="595" y="266"/>
                  <a:pt x="594" y="267"/>
                  <a:pt x="593" y="268"/>
                </a:cubicBezTo>
                <a:cubicBezTo>
                  <a:pt x="593" y="269"/>
                  <a:pt x="593" y="269"/>
                  <a:pt x="592" y="269"/>
                </a:cubicBezTo>
                <a:cubicBezTo>
                  <a:pt x="592" y="269"/>
                  <a:pt x="591" y="268"/>
                  <a:pt x="592" y="268"/>
                </a:cubicBezTo>
                <a:cubicBezTo>
                  <a:pt x="593" y="265"/>
                  <a:pt x="593" y="262"/>
                  <a:pt x="593" y="259"/>
                </a:cubicBezTo>
                <a:cubicBezTo>
                  <a:pt x="593" y="258"/>
                  <a:pt x="594" y="257"/>
                  <a:pt x="595" y="257"/>
                </a:cubicBezTo>
                <a:cubicBezTo>
                  <a:pt x="597" y="256"/>
                  <a:pt x="597" y="255"/>
                  <a:pt x="596" y="254"/>
                </a:cubicBezTo>
                <a:cubicBezTo>
                  <a:pt x="594" y="253"/>
                  <a:pt x="593" y="251"/>
                  <a:pt x="591" y="251"/>
                </a:cubicBezTo>
                <a:cubicBezTo>
                  <a:pt x="590" y="251"/>
                  <a:pt x="588" y="250"/>
                  <a:pt x="587" y="249"/>
                </a:cubicBezTo>
                <a:cubicBezTo>
                  <a:pt x="587" y="249"/>
                  <a:pt x="586" y="248"/>
                  <a:pt x="587" y="248"/>
                </a:cubicBezTo>
                <a:cubicBezTo>
                  <a:pt x="588" y="246"/>
                  <a:pt x="590" y="244"/>
                  <a:pt x="592" y="243"/>
                </a:cubicBezTo>
                <a:cubicBezTo>
                  <a:pt x="592" y="242"/>
                  <a:pt x="593" y="242"/>
                  <a:pt x="593" y="242"/>
                </a:cubicBezTo>
                <a:cubicBezTo>
                  <a:pt x="595" y="241"/>
                  <a:pt x="596" y="241"/>
                  <a:pt x="595" y="239"/>
                </a:cubicBezTo>
                <a:cubicBezTo>
                  <a:pt x="594" y="234"/>
                  <a:pt x="593" y="229"/>
                  <a:pt x="596" y="223"/>
                </a:cubicBezTo>
                <a:cubicBezTo>
                  <a:pt x="596" y="222"/>
                  <a:pt x="596" y="221"/>
                  <a:pt x="596" y="221"/>
                </a:cubicBezTo>
                <a:cubicBezTo>
                  <a:pt x="594" y="217"/>
                  <a:pt x="595" y="214"/>
                  <a:pt x="593" y="210"/>
                </a:cubicBezTo>
                <a:cubicBezTo>
                  <a:pt x="593" y="209"/>
                  <a:pt x="593" y="208"/>
                  <a:pt x="594" y="208"/>
                </a:cubicBezTo>
                <a:cubicBezTo>
                  <a:pt x="597" y="206"/>
                  <a:pt x="599" y="204"/>
                  <a:pt x="601" y="203"/>
                </a:cubicBezTo>
                <a:cubicBezTo>
                  <a:pt x="602" y="202"/>
                  <a:pt x="603" y="200"/>
                  <a:pt x="603" y="198"/>
                </a:cubicBezTo>
                <a:cubicBezTo>
                  <a:pt x="603" y="198"/>
                  <a:pt x="603" y="197"/>
                  <a:pt x="604" y="197"/>
                </a:cubicBezTo>
                <a:cubicBezTo>
                  <a:pt x="604" y="196"/>
                  <a:pt x="605" y="196"/>
                  <a:pt x="605" y="196"/>
                </a:cubicBezTo>
                <a:cubicBezTo>
                  <a:pt x="607" y="196"/>
                  <a:pt x="608" y="197"/>
                  <a:pt x="609" y="198"/>
                </a:cubicBezTo>
                <a:cubicBezTo>
                  <a:pt x="611" y="199"/>
                  <a:pt x="612" y="198"/>
                  <a:pt x="614" y="197"/>
                </a:cubicBezTo>
                <a:cubicBezTo>
                  <a:pt x="615" y="197"/>
                  <a:pt x="616" y="196"/>
                  <a:pt x="617" y="195"/>
                </a:cubicBezTo>
                <a:cubicBezTo>
                  <a:pt x="621" y="191"/>
                  <a:pt x="625" y="188"/>
                  <a:pt x="629" y="184"/>
                </a:cubicBezTo>
                <a:cubicBezTo>
                  <a:pt x="630" y="183"/>
                  <a:pt x="630" y="182"/>
                  <a:pt x="631" y="181"/>
                </a:cubicBezTo>
                <a:cubicBezTo>
                  <a:pt x="632" y="180"/>
                  <a:pt x="631" y="177"/>
                  <a:pt x="630" y="176"/>
                </a:cubicBezTo>
                <a:cubicBezTo>
                  <a:pt x="629" y="176"/>
                  <a:pt x="629" y="176"/>
                  <a:pt x="629" y="176"/>
                </a:cubicBezTo>
                <a:cubicBezTo>
                  <a:pt x="625" y="176"/>
                  <a:pt x="622" y="174"/>
                  <a:pt x="619" y="172"/>
                </a:cubicBezTo>
                <a:cubicBezTo>
                  <a:pt x="619" y="171"/>
                  <a:pt x="617" y="171"/>
                  <a:pt x="616" y="171"/>
                </a:cubicBezTo>
                <a:cubicBezTo>
                  <a:pt x="614" y="170"/>
                  <a:pt x="611" y="170"/>
                  <a:pt x="608" y="170"/>
                </a:cubicBezTo>
                <a:cubicBezTo>
                  <a:pt x="608" y="171"/>
                  <a:pt x="607" y="171"/>
                  <a:pt x="606" y="172"/>
                </a:cubicBezTo>
                <a:cubicBezTo>
                  <a:pt x="605" y="173"/>
                  <a:pt x="604" y="175"/>
                  <a:pt x="602" y="176"/>
                </a:cubicBezTo>
                <a:cubicBezTo>
                  <a:pt x="601" y="177"/>
                  <a:pt x="600" y="179"/>
                  <a:pt x="599" y="181"/>
                </a:cubicBezTo>
                <a:cubicBezTo>
                  <a:pt x="597" y="184"/>
                  <a:pt x="596" y="186"/>
                  <a:pt x="594" y="189"/>
                </a:cubicBezTo>
                <a:cubicBezTo>
                  <a:pt x="593" y="191"/>
                  <a:pt x="593" y="193"/>
                  <a:pt x="593" y="194"/>
                </a:cubicBezTo>
                <a:cubicBezTo>
                  <a:pt x="593" y="198"/>
                  <a:pt x="591" y="202"/>
                  <a:pt x="590" y="205"/>
                </a:cubicBezTo>
                <a:cubicBezTo>
                  <a:pt x="589" y="206"/>
                  <a:pt x="589" y="207"/>
                  <a:pt x="588" y="207"/>
                </a:cubicBezTo>
                <a:cubicBezTo>
                  <a:pt x="586" y="208"/>
                  <a:pt x="585" y="209"/>
                  <a:pt x="583" y="211"/>
                </a:cubicBezTo>
                <a:cubicBezTo>
                  <a:pt x="582" y="212"/>
                  <a:pt x="582" y="213"/>
                  <a:pt x="582" y="214"/>
                </a:cubicBezTo>
                <a:cubicBezTo>
                  <a:pt x="582" y="214"/>
                  <a:pt x="582" y="214"/>
                  <a:pt x="582" y="214"/>
                </a:cubicBezTo>
                <a:cubicBezTo>
                  <a:pt x="582" y="214"/>
                  <a:pt x="582" y="215"/>
                  <a:pt x="582" y="215"/>
                </a:cubicBezTo>
                <a:cubicBezTo>
                  <a:pt x="582" y="215"/>
                  <a:pt x="582" y="215"/>
                  <a:pt x="582" y="215"/>
                </a:cubicBezTo>
                <a:cubicBezTo>
                  <a:pt x="582" y="215"/>
                  <a:pt x="582" y="215"/>
                  <a:pt x="582" y="215"/>
                </a:cubicBezTo>
                <a:cubicBezTo>
                  <a:pt x="582" y="215"/>
                  <a:pt x="582" y="215"/>
                  <a:pt x="582" y="214"/>
                </a:cubicBezTo>
                <a:cubicBezTo>
                  <a:pt x="582" y="214"/>
                  <a:pt x="582" y="214"/>
                  <a:pt x="582" y="214"/>
                </a:cubicBezTo>
                <a:cubicBezTo>
                  <a:pt x="581" y="215"/>
                  <a:pt x="579" y="215"/>
                  <a:pt x="578" y="216"/>
                </a:cubicBezTo>
                <a:cubicBezTo>
                  <a:pt x="574" y="218"/>
                  <a:pt x="572" y="222"/>
                  <a:pt x="571" y="226"/>
                </a:cubicBezTo>
                <a:cubicBezTo>
                  <a:pt x="571" y="228"/>
                  <a:pt x="571" y="229"/>
                  <a:pt x="569" y="231"/>
                </a:cubicBezTo>
                <a:cubicBezTo>
                  <a:pt x="569" y="231"/>
                  <a:pt x="569" y="231"/>
                  <a:pt x="568" y="232"/>
                </a:cubicBezTo>
                <a:cubicBezTo>
                  <a:pt x="567" y="233"/>
                  <a:pt x="566" y="235"/>
                  <a:pt x="566" y="237"/>
                </a:cubicBezTo>
                <a:cubicBezTo>
                  <a:pt x="567" y="239"/>
                  <a:pt x="567" y="241"/>
                  <a:pt x="568" y="243"/>
                </a:cubicBezTo>
                <a:cubicBezTo>
                  <a:pt x="569" y="244"/>
                  <a:pt x="569" y="245"/>
                  <a:pt x="570" y="246"/>
                </a:cubicBezTo>
                <a:cubicBezTo>
                  <a:pt x="571" y="246"/>
                  <a:pt x="571" y="246"/>
                  <a:pt x="572" y="247"/>
                </a:cubicBezTo>
                <a:cubicBezTo>
                  <a:pt x="574" y="248"/>
                  <a:pt x="575" y="249"/>
                  <a:pt x="577" y="250"/>
                </a:cubicBezTo>
                <a:cubicBezTo>
                  <a:pt x="577" y="250"/>
                  <a:pt x="577" y="250"/>
                  <a:pt x="577" y="251"/>
                </a:cubicBezTo>
                <a:cubicBezTo>
                  <a:pt x="577" y="251"/>
                  <a:pt x="577" y="251"/>
                  <a:pt x="576" y="251"/>
                </a:cubicBezTo>
                <a:cubicBezTo>
                  <a:pt x="576" y="252"/>
                  <a:pt x="575" y="252"/>
                  <a:pt x="574" y="252"/>
                </a:cubicBezTo>
                <a:cubicBezTo>
                  <a:pt x="573" y="254"/>
                  <a:pt x="572" y="255"/>
                  <a:pt x="570" y="257"/>
                </a:cubicBezTo>
                <a:cubicBezTo>
                  <a:pt x="570" y="258"/>
                  <a:pt x="570" y="259"/>
                  <a:pt x="571" y="260"/>
                </a:cubicBezTo>
                <a:cubicBezTo>
                  <a:pt x="572" y="260"/>
                  <a:pt x="572" y="260"/>
                  <a:pt x="573" y="260"/>
                </a:cubicBezTo>
                <a:cubicBezTo>
                  <a:pt x="573" y="260"/>
                  <a:pt x="573" y="260"/>
                  <a:pt x="573" y="260"/>
                </a:cubicBezTo>
                <a:cubicBezTo>
                  <a:pt x="574" y="260"/>
                  <a:pt x="574" y="260"/>
                  <a:pt x="574" y="260"/>
                </a:cubicBezTo>
                <a:cubicBezTo>
                  <a:pt x="573" y="260"/>
                  <a:pt x="573" y="260"/>
                  <a:pt x="573" y="260"/>
                </a:cubicBezTo>
                <a:cubicBezTo>
                  <a:pt x="573" y="260"/>
                  <a:pt x="573" y="260"/>
                  <a:pt x="573" y="260"/>
                </a:cubicBezTo>
                <a:cubicBezTo>
                  <a:pt x="573" y="261"/>
                  <a:pt x="573" y="262"/>
                  <a:pt x="572" y="263"/>
                </a:cubicBezTo>
                <a:cubicBezTo>
                  <a:pt x="571" y="265"/>
                  <a:pt x="569" y="266"/>
                  <a:pt x="568" y="267"/>
                </a:cubicBezTo>
                <a:cubicBezTo>
                  <a:pt x="566" y="269"/>
                  <a:pt x="564" y="270"/>
                  <a:pt x="562" y="270"/>
                </a:cubicBezTo>
                <a:cubicBezTo>
                  <a:pt x="558" y="270"/>
                  <a:pt x="557" y="272"/>
                  <a:pt x="556" y="275"/>
                </a:cubicBezTo>
                <a:cubicBezTo>
                  <a:pt x="556" y="277"/>
                  <a:pt x="556" y="279"/>
                  <a:pt x="555" y="281"/>
                </a:cubicBezTo>
                <a:cubicBezTo>
                  <a:pt x="555" y="281"/>
                  <a:pt x="555" y="282"/>
                  <a:pt x="555" y="282"/>
                </a:cubicBezTo>
                <a:cubicBezTo>
                  <a:pt x="554" y="282"/>
                  <a:pt x="554" y="282"/>
                  <a:pt x="554" y="282"/>
                </a:cubicBezTo>
                <a:cubicBezTo>
                  <a:pt x="553" y="281"/>
                  <a:pt x="553" y="280"/>
                  <a:pt x="552" y="279"/>
                </a:cubicBezTo>
                <a:cubicBezTo>
                  <a:pt x="551" y="277"/>
                  <a:pt x="551" y="276"/>
                  <a:pt x="552" y="275"/>
                </a:cubicBezTo>
                <a:cubicBezTo>
                  <a:pt x="554" y="273"/>
                  <a:pt x="555" y="271"/>
                  <a:pt x="557" y="269"/>
                </a:cubicBezTo>
                <a:cubicBezTo>
                  <a:pt x="557" y="268"/>
                  <a:pt x="557" y="266"/>
                  <a:pt x="556" y="266"/>
                </a:cubicBezTo>
                <a:cubicBezTo>
                  <a:pt x="553" y="266"/>
                  <a:pt x="552" y="264"/>
                  <a:pt x="552" y="262"/>
                </a:cubicBezTo>
                <a:cubicBezTo>
                  <a:pt x="552" y="261"/>
                  <a:pt x="552" y="261"/>
                  <a:pt x="551" y="261"/>
                </a:cubicBezTo>
                <a:cubicBezTo>
                  <a:pt x="552" y="261"/>
                  <a:pt x="552" y="261"/>
                  <a:pt x="552" y="262"/>
                </a:cubicBezTo>
                <a:cubicBezTo>
                  <a:pt x="552" y="262"/>
                  <a:pt x="552" y="262"/>
                  <a:pt x="552" y="262"/>
                </a:cubicBezTo>
                <a:cubicBezTo>
                  <a:pt x="552" y="262"/>
                  <a:pt x="552" y="262"/>
                  <a:pt x="552" y="262"/>
                </a:cubicBezTo>
                <a:cubicBezTo>
                  <a:pt x="552" y="262"/>
                  <a:pt x="552" y="262"/>
                  <a:pt x="552" y="262"/>
                </a:cubicBezTo>
                <a:cubicBezTo>
                  <a:pt x="553" y="262"/>
                  <a:pt x="554" y="262"/>
                  <a:pt x="555" y="263"/>
                </a:cubicBezTo>
                <a:cubicBezTo>
                  <a:pt x="557" y="263"/>
                  <a:pt x="558" y="263"/>
                  <a:pt x="559" y="263"/>
                </a:cubicBezTo>
                <a:cubicBezTo>
                  <a:pt x="561" y="262"/>
                  <a:pt x="562" y="261"/>
                  <a:pt x="564" y="260"/>
                </a:cubicBezTo>
                <a:cubicBezTo>
                  <a:pt x="565" y="260"/>
                  <a:pt x="565" y="259"/>
                  <a:pt x="565" y="259"/>
                </a:cubicBezTo>
                <a:cubicBezTo>
                  <a:pt x="565" y="257"/>
                  <a:pt x="565" y="255"/>
                  <a:pt x="565" y="253"/>
                </a:cubicBezTo>
                <a:cubicBezTo>
                  <a:pt x="565" y="251"/>
                  <a:pt x="565" y="251"/>
                  <a:pt x="567" y="250"/>
                </a:cubicBezTo>
                <a:cubicBezTo>
                  <a:pt x="569" y="250"/>
                  <a:pt x="569" y="248"/>
                  <a:pt x="570" y="246"/>
                </a:cubicBezTo>
                <a:cubicBezTo>
                  <a:pt x="569" y="246"/>
                  <a:pt x="569" y="246"/>
                  <a:pt x="568" y="246"/>
                </a:cubicBezTo>
                <a:cubicBezTo>
                  <a:pt x="564" y="246"/>
                  <a:pt x="561" y="245"/>
                  <a:pt x="560" y="241"/>
                </a:cubicBezTo>
                <a:cubicBezTo>
                  <a:pt x="560" y="241"/>
                  <a:pt x="559" y="240"/>
                  <a:pt x="559" y="240"/>
                </a:cubicBezTo>
                <a:cubicBezTo>
                  <a:pt x="559" y="239"/>
                  <a:pt x="557" y="239"/>
                  <a:pt x="557" y="239"/>
                </a:cubicBezTo>
                <a:cubicBezTo>
                  <a:pt x="556" y="240"/>
                  <a:pt x="555" y="241"/>
                  <a:pt x="554" y="242"/>
                </a:cubicBezTo>
                <a:cubicBezTo>
                  <a:pt x="551" y="245"/>
                  <a:pt x="549" y="248"/>
                  <a:pt x="545" y="248"/>
                </a:cubicBezTo>
                <a:cubicBezTo>
                  <a:pt x="544" y="249"/>
                  <a:pt x="544" y="249"/>
                  <a:pt x="543" y="249"/>
                </a:cubicBezTo>
                <a:cubicBezTo>
                  <a:pt x="543" y="250"/>
                  <a:pt x="543" y="250"/>
                  <a:pt x="543" y="250"/>
                </a:cubicBezTo>
                <a:cubicBezTo>
                  <a:pt x="542" y="250"/>
                  <a:pt x="542" y="252"/>
                  <a:pt x="543" y="252"/>
                </a:cubicBezTo>
                <a:cubicBezTo>
                  <a:pt x="546" y="255"/>
                  <a:pt x="549" y="256"/>
                  <a:pt x="551" y="260"/>
                </a:cubicBezTo>
                <a:cubicBezTo>
                  <a:pt x="550" y="260"/>
                  <a:pt x="550" y="260"/>
                  <a:pt x="550" y="260"/>
                </a:cubicBezTo>
                <a:cubicBezTo>
                  <a:pt x="550" y="260"/>
                  <a:pt x="550" y="260"/>
                  <a:pt x="550" y="260"/>
                </a:cubicBezTo>
                <a:cubicBezTo>
                  <a:pt x="549" y="260"/>
                  <a:pt x="548" y="261"/>
                  <a:pt x="546" y="261"/>
                </a:cubicBezTo>
                <a:cubicBezTo>
                  <a:pt x="545" y="261"/>
                  <a:pt x="544" y="261"/>
                  <a:pt x="543" y="263"/>
                </a:cubicBezTo>
                <a:cubicBezTo>
                  <a:pt x="542" y="264"/>
                  <a:pt x="541" y="264"/>
                  <a:pt x="541" y="265"/>
                </a:cubicBezTo>
                <a:cubicBezTo>
                  <a:pt x="540" y="266"/>
                  <a:pt x="539" y="266"/>
                  <a:pt x="539" y="267"/>
                </a:cubicBezTo>
                <a:cubicBezTo>
                  <a:pt x="539" y="268"/>
                  <a:pt x="539" y="269"/>
                  <a:pt x="538" y="270"/>
                </a:cubicBezTo>
                <a:cubicBezTo>
                  <a:pt x="537" y="270"/>
                  <a:pt x="536" y="270"/>
                  <a:pt x="535" y="270"/>
                </a:cubicBezTo>
                <a:cubicBezTo>
                  <a:pt x="534" y="269"/>
                  <a:pt x="533" y="269"/>
                  <a:pt x="532" y="268"/>
                </a:cubicBezTo>
                <a:cubicBezTo>
                  <a:pt x="530" y="267"/>
                  <a:pt x="528" y="267"/>
                  <a:pt x="526" y="268"/>
                </a:cubicBezTo>
                <a:cubicBezTo>
                  <a:pt x="525" y="268"/>
                  <a:pt x="524" y="268"/>
                  <a:pt x="523" y="269"/>
                </a:cubicBezTo>
                <a:cubicBezTo>
                  <a:pt x="522" y="269"/>
                  <a:pt x="521" y="269"/>
                  <a:pt x="520" y="268"/>
                </a:cubicBezTo>
                <a:cubicBezTo>
                  <a:pt x="518" y="267"/>
                  <a:pt x="516" y="266"/>
                  <a:pt x="516" y="264"/>
                </a:cubicBezTo>
                <a:cubicBezTo>
                  <a:pt x="514" y="262"/>
                  <a:pt x="512" y="260"/>
                  <a:pt x="510" y="260"/>
                </a:cubicBezTo>
                <a:cubicBezTo>
                  <a:pt x="508" y="259"/>
                  <a:pt x="507" y="259"/>
                  <a:pt x="507" y="257"/>
                </a:cubicBezTo>
                <a:cubicBezTo>
                  <a:pt x="506" y="255"/>
                  <a:pt x="505" y="252"/>
                  <a:pt x="505" y="249"/>
                </a:cubicBezTo>
                <a:cubicBezTo>
                  <a:pt x="505" y="248"/>
                  <a:pt x="505" y="247"/>
                  <a:pt x="505" y="246"/>
                </a:cubicBezTo>
                <a:cubicBezTo>
                  <a:pt x="505" y="244"/>
                  <a:pt x="503" y="242"/>
                  <a:pt x="501" y="243"/>
                </a:cubicBezTo>
                <a:cubicBezTo>
                  <a:pt x="497" y="243"/>
                  <a:pt x="493" y="244"/>
                  <a:pt x="489" y="244"/>
                </a:cubicBezTo>
                <a:cubicBezTo>
                  <a:pt x="487" y="244"/>
                  <a:pt x="486" y="246"/>
                  <a:pt x="485" y="248"/>
                </a:cubicBezTo>
                <a:cubicBezTo>
                  <a:pt x="485" y="249"/>
                  <a:pt x="485" y="250"/>
                  <a:pt x="486" y="251"/>
                </a:cubicBezTo>
                <a:cubicBezTo>
                  <a:pt x="487" y="252"/>
                  <a:pt x="488" y="252"/>
                  <a:pt x="489" y="252"/>
                </a:cubicBezTo>
                <a:cubicBezTo>
                  <a:pt x="489" y="251"/>
                  <a:pt x="490" y="251"/>
                  <a:pt x="490" y="251"/>
                </a:cubicBezTo>
                <a:cubicBezTo>
                  <a:pt x="492" y="250"/>
                  <a:pt x="494" y="250"/>
                  <a:pt x="495" y="250"/>
                </a:cubicBezTo>
                <a:cubicBezTo>
                  <a:pt x="497" y="250"/>
                  <a:pt x="499" y="249"/>
                  <a:pt x="500" y="248"/>
                </a:cubicBezTo>
                <a:cubicBezTo>
                  <a:pt x="501" y="248"/>
                  <a:pt x="501" y="249"/>
                  <a:pt x="501" y="249"/>
                </a:cubicBezTo>
                <a:cubicBezTo>
                  <a:pt x="502" y="249"/>
                  <a:pt x="501" y="250"/>
                  <a:pt x="501" y="250"/>
                </a:cubicBezTo>
                <a:cubicBezTo>
                  <a:pt x="499" y="251"/>
                  <a:pt x="498" y="251"/>
                  <a:pt x="496" y="252"/>
                </a:cubicBezTo>
                <a:cubicBezTo>
                  <a:pt x="494" y="253"/>
                  <a:pt x="492" y="254"/>
                  <a:pt x="490" y="255"/>
                </a:cubicBezTo>
                <a:cubicBezTo>
                  <a:pt x="489" y="255"/>
                  <a:pt x="488" y="255"/>
                  <a:pt x="487" y="256"/>
                </a:cubicBezTo>
                <a:cubicBezTo>
                  <a:pt x="485" y="256"/>
                  <a:pt x="484" y="257"/>
                  <a:pt x="483" y="259"/>
                </a:cubicBezTo>
                <a:cubicBezTo>
                  <a:pt x="482" y="262"/>
                  <a:pt x="482" y="265"/>
                  <a:pt x="481" y="268"/>
                </a:cubicBezTo>
                <a:cubicBezTo>
                  <a:pt x="481" y="269"/>
                  <a:pt x="481" y="269"/>
                  <a:pt x="480" y="270"/>
                </a:cubicBezTo>
                <a:cubicBezTo>
                  <a:pt x="479" y="271"/>
                  <a:pt x="478" y="271"/>
                  <a:pt x="478" y="271"/>
                </a:cubicBezTo>
                <a:cubicBezTo>
                  <a:pt x="477" y="271"/>
                  <a:pt x="477" y="270"/>
                  <a:pt x="478" y="269"/>
                </a:cubicBezTo>
                <a:cubicBezTo>
                  <a:pt x="479" y="267"/>
                  <a:pt x="479" y="266"/>
                  <a:pt x="478" y="265"/>
                </a:cubicBezTo>
                <a:cubicBezTo>
                  <a:pt x="477" y="263"/>
                  <a:pt x="476" y="261"/>
                  <a:pt x="475" y="259"/>
                </a:cubicBezTo>
                <a:cubicBezTo>
                  <a:pt x="475" y="258"/>
                  <a:pt x="474" y="256"/>
                  <a:pt x="473" y="254"/>
                </a:cubicBezTo>
                <a:cubicBezTo>
                  <a:pt x="473" y="254"/>
                  <a:pt x="471" y="253"/>
                  <a:pt x="470" y="253"/>
                </a:cubicBezTo>
                <a:cubicBezTo>
                  <a:pt x="469" y="253"/>
                  <a:pt x="468" y="254"/>
                  <a:pt x="467" y="254"/>
                </a:cubicBezTo>
                <a:cubicBezTo>
                  <a:pt x="458" y="256"/>
                  <a:pt x="450" y="254"/>
                  <a:pt x="443" y="248"/>
                </a:cubicBezTo>
                <a:cubicBezTo>
                  <a:pt x="442" y="248"/>
                  <a:pt x="442" y="247"/>
                  <a:pt x="443" y="246"/>
                </a:cubicBezTo>
                <a:cubicBezTo>
                  <a:pt x="444" y="244"/>
                  <a:pt x="445" y="243"/>
                  <a:pt x="447" y="243"/>
                </a:cubicBezTo>
                <a:cubicBezTo>
                  <a:pt x="448" y="243"/>
                  <a:pt x="449" y="243"/>
                  <a:pt x="450" y="243"/>
                </a:cubicBezTo>
                <a:cubicBezTo>
                  <a:pt x="453" y="243"/>
                  <a:pt x="455" y="241"/>
                  <a:pt x="454" y="238"/>
                </a:cubicBezTo>
                <a:cubicBezTo>
                  <a:pt x="454" y="236"/>
                  <a:pt x="453" y="234"/>
                  <a:pt x="452" y="233"/>
                </a:cubicBezTo>
                <a:cubicBezTo>
                  <a:pt x="451" y="231"/>
                  <a:pt x="449" y="229"/>
                  <a:pt x="447" y="229"/>
                </a:cubicBezTo>
                <a:cubicBezTo>
                  <a:pt x="443" y="230"/>
                  <a:pt x="441" y="229"/>
                  <a:pt x="439" y="227"/>
                </a:cubicBezTo>
                <a:cubicBezTo>
                  <a:pt x="435" y="224"/>
                  <a:pt x="432" y="222"/>
                  <a:pt x="429" y="219"/>
                </a:cubicBezTo>
                <a:cubicBezTo>
                  <a:pt x="427" y="218"/>
                  <a:pt x="425" y="216"/>
                  <a:pt x="425" y="213"/>
                </a:cubicBezTo>
                <a:cubicBezTo>
                  <a:pt x="424" y="209"/>
                  <a:pt x="422" y="208"/>
                  <a:pt x="418" y="206"/>
                </a:cubicBezTo>
                <a:cubicBezTo>
                  <a:pt x="416" y="205"/>
                  <a:pt x="413" y="205"/>
                  <a:pt x="411" y="208"/>
                </a:cubicBezTo>
                <a:cubicBezTo>
                  <a:pt x="411" y="209"/>
                  <a:pt x="410" y="210"/>
                  <a:pt x="409" y="210"/>
                </a:cubicBezTo>
                <a:cubicBezTo>
                  <a:pt x="408" y="210"/>
                  <a:pt x="407" y="210"/>
                  <a:pt x="406" y="211"/>
                </a:cubicBezTo>
                <a:cubicBezTo>
                  <a:pt x="405" y="211"/>
                  <a:pt x="404" y="209"/>
                  <a:pt x="405" y="209"/>
                </a:cubicBezTo>
                <a:cubicBezTo>
                  <a:pt x="407" y="206"/>
                  <a:pt x="408" y="203"/>
                  <a:pt x="408" y="199"/>
                </a:cubicBezTo>
                <a:cubicBezTo>
                  <a:pt x="408" y="199"/>
                  <a:pt x="408" y="199"/>
                  <a:pt x="408" y="199"/>
                </a:cubicBezTo>
                <a:cubicBezTo>
                  <a:pt x="408" y="198"/>
                  <a:pt x="407" y="198"/>
                  <a:pt x="407" y="198"/>
                </a:cubicBezTo>
                <a:cubicBezTo>
                  <a:pt x="406" y="199"/>
                  <a:pt x="406" y="199"/>
                  <a:pt x="405" y="200"/>
                </a:cubicBezTo>
                <a:cubicBezTo>
                  <a:pt x="402" y="202"/>
                  <a:pt x="400" y="204"/>
                  <a:pt x="398" y="206"/>
                </a:cubicBezTo>
                <a:cubicBezTo>
                  <a:pt x="397" y="206"/>
                  <a:pt x="396" y="206"/>
                  <a:pt x="396" y="206"/>
                </a:cubicBezTo>
                <a:cubicBezTo>
                  <a:pt x="396" y="206"/>
                  <a:pt x="395" y="205"/>
                  <a:pt x="395" y="205"/>
                </a:cubicBezTo>
                <a:cubicBezTo>
                  <a:pt x="395" y="202"/>
                  <a:pt x="395" y="200"/>
                  <a:pt x="395" y="198"/>
                </a:cubicBezTo>
                <a:cubicBezTo>
                  <a:pt x="396" y="194"/>
                  <a:pt x="397" y="190"/>
                  <a:pt x="396" y="186"/>
                </a:cubicBezTo>
                <a:cubicBezTo>
                  <a:pt x="396" y="185"/>
                  <a:pt x="396" y="184"/>
                  <a:pt x="396" y="183"/>
                </a:cubicBezTo>
                <a:cubicBezTo>
                  <a:pt x="395" y="183"/>
                  <a:pt x="394" y="183"/>
                  <a:pt x="394" y="183"/>
                </a:cubicBezTo>
                <a:cubicBezTo>
                  <a:pt x="393" y="184"/>
                  <a:pt x="392" y="185"/>
                  <a:pt x="392" y="187"/>
                </a:cubicBezTo>
                <a:cubicBezTo>
                  <a:pt x="392" y="188"/>
                  <a:pt x="392" y="190"/>
                  <a:pt x="390" y="190"/>
                </a:cubicBezTo>
                <a:cubicBezTo>
                  <a:pt x="388" y="191"/>
                  <a:pt x="387" y="192"/>
                  <a:pt x="385" y="193"/>
                </a:cubicBezTo>
                <a:cubicBezTo>
                  <a:pt x="384" y="194"/>
                  <a:pt x="383" y="194"/>
                  <a:pt x="382" y="193"/>
                </a:cubicBezTo>
                <a:cubicBezTo>
                  <a:pt x="381" y="192"/>
                  <a:pt x="381" y="192"/>
                  <a:pt x="381" y="192"/>
                </a:cubicBezTo>
                <a:cubicBezTo>
                  <a:pt x="381" y="192"/>
                  <a:pt x="381" y="192"/>
                  <a:pt x="381" y="192"/>
                </a:cubicBezTo>
                <a:cubicBezTo>
                  <a:pt x="380" y="192"/>
                  <a:pt x="380" y="192"/>
                  <a:pt x="380" y="192"/>
                </a:cubicBezTo>
                <a:cubicBezTo>
                  <a:pt x="379" y="192"/>
                  <a:pt x="379" y="193"/>
                  <a:pt x="378" y="193"/>
                </a:cubicBezTo>
                <a:cubicBezTo>
                  <a:pt x="378" y="193"/>
                  <a:pt x="378" y="193"/>
                  <a:pt x="378" y="193"/>
                </a:cubicBezTo>
                <a:cubicBezTo>
                  <a:pt x="377" y="192"/>
                  <a:pt x="377" y="192"/>
                  <a:pt x="378" y="192"/>
                </a:cubicBezTo>
                <a:cubicBezTo>
                  <a:pt x="379" y="192"/>
                  <a:pt x="379" y="192"/>
                  <a:pt x="380" y="192"/>
                </a:cubicBezTo>
                <a:cubicBezTo>
                  <a:pt x="380" y="192"/>
                  <a:pt x="380" y="192"/>
                  <a:pt x="380" y="192"/>
                </a:cubicBezTo>
                <a:cubicBezTo>
                  <a:pt x="380" y="192"/>
                  <a:pt x="381" y="192"/>
                  <a:pt x="381" y="192"/>
                </a:cubicBezTo>
                <a:cubicBezTo>
                  <a:pt x="381" y="191"/>
                  <a:pt x="381" y="190"/>
                  <a:pt x="381" y="189"/>
                </a:cubicBezTo>
                <a:cubicBezTo>
                  <a:pt x="382" y="188"/>
                  <a:pt x="381" y="187"/>
                  <a:pt x="380" y="187"/>
                </a:cubicBezTo>
                <a:cubicBezTo>
                  <a:pt x="378" y="187"/>
                  <a:pt x="376" y="186"/>
                  <a:pt x="374" y="187"/>
                </a:cubicBezTo>
                <a:cubicBezTo>
                  <a:pt x="370" y="189"/>
                  <a:pt x="366" y="190"/>
                  <a:pt x="361" y="190"/>
                </a:cubicBezTo>
                <a:cubicBezTo>
                  <a:pt x="360" y="190"/>
                  <a:pt x="358" y="191"/>
                  <a:pt x="357" y="192"/>
                </a:cubicBezTo>
                <a:cubicBezTo>
                  <a:pt x="354" y="194"/>
                  <a:pt x="352" y="193"/>
                  <a:pt x="349" y="193"/>
                </a:cubicBezTo>
                <a:cubicBezTo>
                  <a:pt x="349" y="193"/>
                  <a:pt x="349" y="193"/>
                  <a:pt x="349" y="193"/>
                </a:cubicBezTo>
                <a:cubicBezTo>
                  <a:pt x="349" y="194"/>
                  <a:pt x="349" y="194"/>
                  <a:pt x="349" y="194"/>
                </a:cubicBezTo>
                <a:cubicBezTo>
                  <a:pt x="349" y="193"/>
                  <a:pt x="349" y="193"/>
                  <a:pt x="349" y="193"/>
                </a:cubicBezTo>
                <a:cubicBezTo>
                  <a:pt x="349" y="193"/>
                  <a:pt x="349" y="193"/>
                  <a:pt x="349" y="193"/>
                </a:cubicBezTo>
                <a:cubicBezTo>
                  <a:pt x="349" y="193"/>
                  <a:pt x="349" y="193"/>
                  <a:pt x="349" y="193"/>
                </a:cubicBezTo>
                <a:cubicBezTo>
                  <a:pt x="350" y="192"/>
                  <a:pt x="350" y="191"/>
                  <a:pt x="350" y="190"/>
                </a:cubicBezTo>
                <a:cubicBezTo>
                  <a:pt x="349" y="189"/>
                  <a:pt x="348" y="188"/>
                  <a:pt x="347" y="189"/>
                </a:cubicBezTo>
                <a:cubicBezTo>
                  <a:pt x="346" y="190"/>
                  <a:pt x="345" y="190"/>
                  <a:pt x="343" y="191"/>
                </a:cubicBezTo>
                <a:cubicBezTo>
                  <a:pt x="342" y="191"/>
                  <a:pt x="340" y="191"/>
                  <a:pt x="338" y="192"/>
                </a:cubicBezTo>
                <a:cubicBezTo>
                  <a:pt x="335" y="193"/>
                  <a:pt x="334" y="194"/>
                  <a:pt x="333" y="197"/>
                </a:cubicBezTo>
                <a:cubicBezTo>
                  <a:pt x="333" y="198"/>
                  <a:pt x="332" y="198"/>
                  <a:pt x="332" y="198"/>
                </a:cubicBezTo>
                <a:cubicBezTo>
                  <a:pt x="330" y="197"/>
                  <a:pt x="329" y="196"/>
                  <a:pt x="328" y="196"/>
                </a:cubicBezTo>
                <a:cubicBezTo>
                  <a:pt x="326" y="194"/>
                  <a:pt x="325" y="193"/>
                  <a:pt x="324" y="191"/>
                </a:cubicBezTo>
                <a:cubicBezTo>
                  <a:pt x="324" y="189"/>
                  <a:pt x="323" y="187"/>
                  <a:pt x="323" y="185"/>
                </a:cubicBezTo>
                <a:cubicBezTo>
                  <a:pt x="322" y="184"/>
                  <a:pt x="321" y="182"/>
                  <a:pt x="321" y="181"/>
                </a:cubicBezTo>
                <a:cubicBezTo>
                  <a:pt x="319" y="179"/>
                  <a:pt x="316" y="178"/>
                  <a:pt x="314" y="176"/>
                </a:cubicBezTo>
                <a:cubicBezTo>
                  <a:pt x="310" y="174"/>
                  <a:pt x="307" y="171"/>
                  <a:pt x="305" y="167"/>
                </a:cubicBezTo>
                <a:cubicBezTo>
                  <a:pt x="305" y="166"/>
                  <a:pt x="305" y="166"/>
                  <a:pt x="304" y="165"/>
                </a:cubicBezTo>
                <a:cubicBezTo>
                  <a:pt x="303" y="164"/>
                  <a:pt x="303" y="164"/>
                  <a:pt x="301" y="164"/>
                </a:cubicBezTo>
                <a:cubicBezTo>
                  <a:pt x="300" y="163"/>
                  <a:pt x="299" y="163"/>
                  <a:pt x="298" y="163"/>
                </a:cubicBezTo>
                <a:cubicBezTo>
                  <a:pt x="295" y="163"/>
                  <a:pt x="293" y="162"/>
                  <a:pt x="291" y="161"/>
                </a:cubicBezTo>
                <a:cubicBezTo>
                  <a:pt x="289" y="159"/>
                  <a:pt x="286" y="156"/>
                  <a:pt x="283" y="155"/>
                </a:cubicBezTo>
                <a:cubicBezTo>
                  <a:pt x="281" y="155"/>
                  <a:pt x="280" y="153"/>
                  <a:pt x="279" y="152"/>
                </a:cubicBezTo>
                <a:cubicBezTo>
                  <a:pt x="277" y="151"/>
                  <a:pt x="276" y="149"/>
                  <a:pt x="275" y="147"/>
                </a:cubicBezTo>
                <a:cubicBezTo>
                  <a:pt x="274" y="145"/>
                  <a:pt x="272" y="144"/>
                  <a:pt x="270" y="145"/>
                </a:cubicBezTo>
                <a:cubicBezTo>
                  <a:pt x="269" y="145"/>
                  <a:pt x="267" y="145"/>
                  <a:pt x="266" y="146"/>
                </a:cubicBezTo>
                <a:cubicBezTo>
                  <a:pt x="265" y="146"/>
                  <a:pt x="264" y="145"/>
                  <a:pt x="264" y="145"/>
                </a:cubicBezTo>
                <a:cubicBezTo>
                  <a:pt x="262" y="142"/>
                  <a:pt x="262" y="140"/>
                  <a:pt x="261" y="137"/>
                </a:cubicBezTo>
                <a:cubicBezTo>
                  <a:pt x="261" y="137"/>
                  <a:pt x="261" y="136"/>
                  <a:pt x="262" y="136"/>
                </a:cubicBezTo>
                <a:cubicBezTo>
                  <a:pt x="262" y="135"/>
                  <a:pt x="262" y="134"/>
                  <a:pt x="262" y="133"/>
                </a:cubicBezTo>
                <a:cubicBezTo>
                  <a:pt x="262" y="133"/>
                  <a:pt x="261" y="132"/>
                  <a:pt x="260" y="132"/>
                </a:cubicBezTo>
                <a:cubicBezTo>
                  <a:pt x="259" y="131"/>
                  <a:pt x="258" y="130"/>
                  <a:pt x="256" y="130"/>
                </a:cubicBezTo>
                <a:cubicBezTo>
                  <a:pt x="256" y="130"/>
                  <a:pt x="255" y="130"/>
                  <a:pt x="254" y="130"/>
                </a:cubicBezTo>
                <a:cubicBezTo>
                  <a:pt x="253" y="129"/>
                  <a:pt x="252" y="129"/>
                  <a:pt x="252" y="127"/>
                </a:cubicBezTo>
                <a:cubicBezTo>
                  <a:pt x="253" y="126"/>
                  <a:pt x="253" y="124"/>
                  <a:pt x="251" y="124"/>
                </a:cubicBezTo>
                <a:cubicBezTo>
                  <a:pt x="251" y="124"/>
                  <a:pt x="251" y="124"/>
                  <a:pt x="251" y="124"/>
                </a:cubicBezTo>
                <a:cubicBezTo>
                  <a:pt x="251" y="124"/>
                  <a:pt x="251" y="124"/>
                  <a:pt x="251" y="124"/>
                </a:cubicBezTo>
                <a:cubicBezTo>
                  <a:pt x="250" y="124"/>
                  <a:pt x="249" y="124"/>
                  <a:pt x="248" y="125"/>
                </a:cubicBezTo>
                <a:cubicBezTo>
                  <a:pt x="248" y="125"/>
                  <a:pt x="247" y="125"/>
                  <a:pt x="247" y="125"/>
                </a:cubicBezTo>
                <a:cubicBezTo>
                  <a:pt x="247" y="125"/>
                  <a:pt x="247" y="125"/>
                  <a:pt x="247" y="125"/>
                </a:cubicBezTo>
                <a:cubicBezTo>
                  <a:pt x="247" y="126"/>
                  <a:pt x="247" y="126"/>
                  <a:pt x="247" y="127"/>
                </a:cubicBezTo>
                <a:cubicBezTo>
                  <a:pt x="246" y="128"/>
                  <a:pt x="245" y="128"/>
                  <a:pt x="244" y="127"/>
                </a:cubicBezTo>
                <a:cubicBezTo>
                  <a:pt x="243" y="127"/>
                  <a:pt x="243" y="127"/>
                  <a:pt x="243" y="126"/>
                </a:cubicBezTo>
                <a:cubicBezTo>
                  <a:pt x="243" y="126"/>
                  <a:pt x="243" y="126"/>
                  <a:pt x="244" y="126"/>
                </a:cubicBezTo>
                <a:cubicBezTo>
                  <a:pt x="245" y="125"/>
                  <a:pt x="246" y="125"/>
                  <a:pt x="247" y="125"/>
                </a:cubicBezTo>
                <a:cubicBezTo>
                  <a:pt x="247" y="125"/>
                  <a:pt x="247" y="125"/>
                  <a:pt x="247" y="125"/>
                </a:cubicBezTo>
                <a:cubicBezTo>
                  <a:pt x="247" y="125"/>
                  <a:pt x="248" y="125"/>
                  <a:pt x="248" y="125"/>
                </a:cubicBezTo>
                <a:cubicBezTo>
                  <a:pt x="249" y="124"/>
                  <a:pt x="250" y="124"/>
                  <a:pt x="251" y="124"/>
                </a:cubicBezTo>
                <a:cubicBezTo>
                  <a:pt x="251" y="124"/>
                  <a:pt x="251" y="124"/>
                  <a:pt x="251" y="124"/>
                </a:cubicBezTo>
                <a:cubicBezTo>
                  <a:pt x="251" y="124"/>
                  <a:pt x="251" y="124"/>
                  <a:pt x="251" y="124"/>
                </a:cubicBezTo>
                <a:cubicBezTo>
                  <a:pt x="250" y="121"/>
                  <a:pt x="249" y="119"/>
                  <a:pt x="248" y="118"/>
                </a:cubicBezTo>
                <a:cubicBezTo>
                  <a:pt x="247" y="117"/>
                  <a:pt x="246" y="117"/>
                  <a:pt x="245" y="117"/>
                </a:cubicBezTo>
                <a:cubicBezTo>
                  <a:pt x="243" y="118"/>
                  <a:pt x="241" y="118"/>
                  <a:pt x="239" y="120"/>
                </a:cubicBezTo>
                <a:cubicBezTo>
                  <a:pt x="236" y="122"/>
                  <a:pt x="234" y="122"/>
                  <a:pt x="231" y="121"/>
                </a:cubicBezTo>
                <a:cubicBezTo>
                  <a:pt x="229" y="120"/>
                  <a:pt x="227" y="120"/>
                  <a:pt x="226" y="119"/>
                </a:cubicBezTo>
                <a:cubicBezTo>
                  <a:pt x="223" y="119"/>
                  <a:pt x="221" y="120"/>
                  <a:pt x="219" y="122"/>
                </a:cubicBezTo>
                <a:cubicBezTo>
                  <a:pt x="218" y="122"/>
                  <a:pt x="218" y="123"/>
                  <a:pt x="217" y="124"/>
                </a:cubicBezTo>
                <a:cubicBezTo>
                  <a:pt x="217" y="125"/>
                  <a:pt x="216" y="125"/>
                  <a:pt x="215" y="126"/>
                </a:cubicBezTo>
                <a:cubicBezTo>
                  <a:pt x="213" y="126"/>
                  <a:pt x="211" y="127"/>
                  <a:pt x="208" y="126"/>
                </a:cubicBezTo>
                <a:cubicBezTo>
                  <a:pt x="205" y="125"/>
                  <a:pt x="202" y="126"/>
                  <a:pt x="199" y="128"/>
                </a:cubicBezTo>
                <a:cubicBezTo>
                  <a:pt x="194" y="131"/>
                  <a:pt x="189" y="134"/>
                  <a:pt x="184" y="139"/>
                </a:cubicBezTo>
                <a:cubicBezTo>
                  <a:pt x="184" y="139"/>
                  <a:pt x="183" y="140"/>
                  <a:pt x="182" y="140"/>
                </a:cubicBezTo>
                <a:cubicBezTo>
                  <a:pt x="177" y="143"/>
                  <a:pt x="171" y="146"/>
                  <a:pt x="164" y="143"/>
                </a:cubicBezTo>
                <a:cubicBezTo>
                  <a:pt x="164" y="143"/>
                  <a:pt x="164" y="142"/>
                  <a:pt x="163" y="142"/>
                </a:cubicBezTo>
                <a:cubicBezTo>
                  <a:pt x="161" y="141"/>
                  <a:pt x="159" y="142"/>
                  <a:pt x="157" y="144"/>
                </a:cubicBezTo>
                <a:cubicBezTo>
                  <a:pt x="156" y="146"/>
                  <a:pt x="155" y="147"/>
                  <a:pt x="153" y="149"/>
                </a:cubicBezTo>
                <a:cubicBezTo>
                  <a:pt x="151" y="151"/>
                  <a:pt x="150" y="153"/>
                  <a:pt x="152" y="156"/>
                </a:cubicBezTo>
                <a:cubicBezTo>
                  <a:pt x="152" y="158"/>
                  <a:pt x="153" y="160"/>
                  <a:pt x="153" y="162"/>
                </a:cubicBezTo>
                <a:cubicBezTo>
                  <a:pt x="155" y="167"/>
                  <a:pt x="156" y="172"/>
                  <a:pt x="153" y="178"/>
                </a:cubicBezTo>
                <a:cubicBezTo>
                  <a:pt x="152" y="179"/>
                  <a:pt x="153" y="181"/>
                  <a:pt x="154" y="181"/>
                </a:cubicBezTo>
                <a:cubicBezTo>
                  <a:pt x="156" y="182"/>
                  <a:pt x="157" y="183"/>
                  <a:pt x="159" y="184"/>
                </a:cubicBezTo>
                <a:cubicBezTo>
                  <a:pt x="159" y="184"/>
                  <a:pt x="159" y="185"/>
                  <a:pt x="159" y="185"/>
                </a:cubicBezTo>
                <a:cubicBezTo>
                  <a:pt x="159" y="186"/>
                  <a:pt x="159" y="186"/>
                  <a:pt x="158" y="186"/>
                </a:cubicBezTo>
                <a:cubicBezTo>
                  <a:pt x="157" y="186"/>
                  <a:pt x="156" y="186"/>
                  <a:pt x="156" y="187"/>
                </a:cubicBezTo>
                <a:cubicBezTo>
                  <a:pt x="156" y="189"/>
                  <a:pt x="156" y="192"/>
                  <a:pt x="156" y="194"/>
                </a:cubicBezTo>
                <a:cubicBezTo>
                  <a:pt x="156" y="194"/>
                  <a:pt x="157" y="195"/>
                  <a:pt x="157" y="195"/>
                </a:cubicBezTo>
                <a:cubicBezTo>
                  <a:pt x="158" y="195"/>
                  <a:pt x="159" y="195"/>
                  <a:pt x="159" y="195"/>
                </a:cubicBezTo>
                <a:cubicBezTo>
                  <a:pt x="159" y="195"/>
                  <a:pt x="159" y="195"/>
                  <a:pt x="159" y="195"/>
                </a:cubicBezTo>
                <a:cubicBezTo>
                  <a:pt x="159" y="195"/>
                  <a:pt x="160" y="195"/>
                  <a:pt x="160" y="195"/>
                </a:cubicBezTo>
                <a:cubicBezTo>
                  <a:pt x="160" y="195"/>
                  <a:pt x="160" y="194"/>
                  <a:pt x="160" y="194"/>
                </a:cubicBezTo>
                <a:cubicBezTo>
                  <a:pt x="160" y="194"/>
                  <a:pt x="160" y="194"/>
                  <a:pt x="160" y="194"/>
                </a:cubicBezTo>
                <a:cubicBezTo>
                  <a:pt x="159" y="193"/>
                  <a:pt x="159" y="193"/>
                  <a:pt x="159" y="193"/>
                </a:cubicBezTo>
                <a:cubicBezTo>
                  <a:pt x="160" y="193"/>
                  <a:pt x="160" y="193"/>
                  <a:pt x="160" y="193"/>
                </a:cubicBezTo>
                <a:cubicBezTo>
                  <a:pt x="160" y="194"/>
                  <a:pt x="160" y="194"/>
                  <a:pt x="160" y="194"/>
                </a:cubicBezTo>
                <a:cubicBezTo>
                  <a:pt x="162" y="193"/>
                  <a:pt x="165" y="193"/>
                  <a:pt x="167" y="194"/>
                </a:cubicBezTo>
                <a:cubicBezTo>
                  <a:pt x="168" y="195"/>
                  <a:pt x="168" y="196"/>
                  <a:pt x="168" y="196"/>
                </a:cubicBezTo>
                <a:cubicBezTo>
                  <a:pt x="167" y="197"/>
                  <a:pt x="167" y="197"/>
                  <a:pt x="167" y="197"/>
                </a:cubicBezTo>
                <a:cubicBezTo>
                  <a:pt x="164" y="197"/>
                  <a:pt x="162" y="196"/>
                  <a:pt x="160" y="195"/>
                </a:cubicBezTo>
                <a:cubicBezTo>
                  <a:pt x="160" y="195"/>
                  <a:pt x="160" y="195"/>
                  <a:pt x="160" y="195"/>
                </a:cubicBezTo>
                <a:cubicBezTo>
                  <a:pt x="159" y="195"/>
                  <a:pt x="159" y="195"/>
                  <a:pt x="159" y="195"/>
                </a:cubicBezTo>
                <a:cubicBezTo>
                  <a:pt x="159" y="196"/>
                  <a:pt x="159" y="198"/>
                  <a:pt x="158" y="198"/>
                </a:cubicBezTo>
                <a:cubicBezTo>
                  <a:pt x="156" y="198"/>
                  <a:pt x="154" y="198"/>
                  <a:pt x="153" y="200"/>
                </a:cubicBezTo>
                <a:cubicBezTo>
                  <a:pt x="151" y="201"/>
                  <a:pt x="150" y="201"/>
                  <a:pt x="148" y="200"/>
                </a:cubicBezTo>
                <a:cubicBezTo>
                  <a:pt x="146" y="199"/>
                  <a:pt x="144" y="198"/>
                  <a:pt x="143" y="197"/>
                </a:cubicBezTo>
                <a:cubicBezTo>
                  <a:pt x="141" y="196"/>
                  <a:pt x="141" y="195"/>
                  <a:pt x="142" y="194"/>
                </a:cubicBezTo>
                <a:cubicBezTo>
                  <a:pt x="142" y="193"/>
                  <a:pt x="143" y="192"/>
                  <a:pt x="144" y="191"/>
                </a:cubicBezTo>
                <a:cubicBezTo>
                  <a:pt x="145" y="189"/>
                  <a:pt x="143" y="187"/>
                  <a:pt x="141" y="187"/>
                </a:cubicBezTo>
                <a:cubicBezTo>
                  <a:pt x="139" y="187"/>
                  <a:pt x="136" y="187"/>
                  <a:pt x="134" y="187"/>
                </a:cubicBezTo>
                <a:cubicBezTo>
                  <a:pt x="133" y="187"/>
                  <a:pt x="131" y="188"/>
                  <a:pt x="130" y="189"/>
                </a:cubicBezTo>
                <a:cubicBezTo>
                  <a:pt x="129" y="190"/>
                  <a:pt x="128" y="190"/>
                  <a:pt x="126" y="190"/>
                </a:cubicBezTo>
                <a:cubicBezTo>
                  <a:pt x="124" y="190"/>
                  <a:pt x="123" y="191"/>
                  <a:pt x="122" y="191"/>
                </a:cubicBezTo>
                <a:cubicBezTo>
                  <a:pt x="117" y="191"/>
                  <a:pt x="114" y="194"/>
                  <a:pt x="110" y="196"/>
                </a:cubicBezTo>
                <a:cubicBezTo>
                  <a:pt x="109" y="196"/>
                  <a:pt x="109" y="198"/>
                  <a:pt x="109" y="199"/>
                </a:cubicBezTo>
                <a:cubicBezTo>
                  <a:pt x="111" y="201"/>
                  <a:pt x="112" y="203"/>
                  <a:pt x="113" y="205"/>
                </a:cubicBezTo>
                <a:cubicBezTo>
                  <a:pt x="114" y="206"/>
                  <a:pt x="114" y="206"/>
                  <a:pt x="112" y="207"/>
                </a:cubicBezTo>
                <a:cubicBezTo>
                  <a:pt x="112" y="207"/>
                  <a:pt x="111" y="207"/>
                  <a:pt x="111" y="207"/>
                </a:cubicBezTo>
                <a:cubicBezTo>
                  <a:pt x="110" y="210"/>
                  <a:pt x="109" y="213"/>
                  <a:pt x="108" y="216"/>
                </a:cubicBezTo>
                <a:cubicBezTo>
                  <a:pt x="108" y="217"/>
                  <a:pt x="108" y="218"/>
                  <a:pt x="108" y="219"/>
                </a:cubicBezTo>
                <a:cubicBezTo>
                  <a:pt x="110" y="222"/>
                  <a:pt x="113" y="224"/>
                  <a:pt x="117" y="224"/>
                </a:cubicBezTo>
                <a:cubicBezTo>
                  <a:pt x="120" y="223"/>
                  <a:pt x="123" y="223"/>
                  <a:pt x="126" y="226"/>
                </a:cubicBezTo>
                <a:cubicBezTo>
                  <a:pt x="127" y="227"/>
                  <a:pt x="129" y="227"/>
                  <a:pt x="131" y="226"/>
                </a:cubicBezTo>
                <a:cubicBezTo>
                  <a:pt x="134" y="225"/>
                  <a:pt x="137" y="223"/>
                  <a:pt x="140" y="222"/>
                </a:cubicBezTo>
                <a:cubicBezTo>
                  <a:pt x="140" y="222"/>
                  <a:pt x="141" y="222"/>
                  <a:pt x="142" y="223"/>
                </a:cubicBezTo>
                <a:cubicBezTo>
                  <a:pt x="142" y="223"/>
                  <a:pt x="143" y="223"/>
                  <a:pt x="143" y="223"/>
                </a:cubicBezTo>
                <a:cubicBezTo>
                  <a:pt x="143" y="223"/>
                  <a:pt x="143" y="224"/>
                  <a:pt x="143" y="224"/>
                </a:cubicBezTo>
                <a:cubicBezTo>
                  <a:pt x="142" y="224"/>
                  <a:pt x="142" y="225"/>
                  <a:pt x="141" y="225"/>
                </a:cubicBezTo>
                <a:cubicBezTo>
                  <a:pt x="140" y="225"/>
                  <a:pt x="138" y="226"/>
                  <a:pt x="139" y="228"/>
                </a:cubicBezTo>
                <a:cubicBezTo>
                  <a:pt x="139" y="229"/>
                  <a:pt x="139" y="230"/>
                  <a:pt x="139" y="230"/>
                </a:cubicBezTo>
                <a:cubicBezTo>
                  <a:pt x="138" y="233"/>
                  <a:pt x="137" y="235"/>
                  <a:pt x="136" y="238"/>
                </a:cubicBezTo>
                <a:cubicBezTo>
                  <a:pt x="136" y="240"/>
                  <a:pt x="131" y="243"/>
                  <a:pt x="128" y="243"/>
                </a:cubicBezTo>
                <a:cubicBezTo>
                  <a:pt x="128" y="243"/>
                  <a:pt x="127" y="243"/>
                  <a:pt x="127" y="243"/>
                </a:cubicBezTo>
                <a:cubicBezTo>
                  <a:pt x="126" y="242"/>
                  <a:pt x="125" y="242"/>
                  <a:pt x="124" y="241"/>
                </a:cubicBezTo>
                <a:cubicBezTo>
                  <a:pt x="123" y="240"/>
                  <a:pt x="123" y="239"/>
                  <a:pt x="122" y="239"/>
                </a:cubicBezTo>
                <a:cubicBezTo>
                  <a:pt x="121" y="239"/>
                  <a:pt x="121" y="240"/>
                  <a:pt x="121" y="241"/>
                </a:cubicBezTo>
                <a:cubicBezTo>
                  <a:pt x="120" y="244"/>
                  <a:pt x="117" y="246"/>
                  <a:pt x="114" y="247"/>
                </a:cubicBezTo>
                <a:cubicBezTo>
                  <a:pt x="113" y="247"/>
                  <a:pt x="113" y="246"/>
                  <a:pt x="112" y="246"/>
                </a:cubicBezTo>
                <a:cubicBezTo>
                  <a:pt x="112" y="246"/>
                  <a:pt x="112" y="245"/>
                  <a:pt x="111" y="245"/>
                </a:cubicBezTo>
                <a:cubicBezTo>
                  <a:pt x="110" y="242"/>
                  <a:pt x="108" y="242"/>
                  <a:pt x="106" y="243"/>
                </a:cubicBezTo>
                <a:cubicBezTo>
                  <a:pt x="103" y="245"/>
                  <a:pt x="99" y="247"/>
                  <a:pt x="98" y="251"/>
                </a:cubicBezTo>
                <a:cubicBezTo>
                  <a:pt x="98" y="251"/>
                  <a:pt x="98" y="252"/>
                  <a:pt x="97" y="252"/>
                </a:cubicBezTo>
                <a:cubicBezTo>
                  <a:pt x="92" y="255"/>
                  <a:pt x="89" y="260"/>
                  <a:pt x="84" y="263"/>
                </a:cubicBezTo>
                <a:cubicBezTo>
                  <a:pt x="81" y="265"/>
                  <a:pt x="80" y="269"/>
                  <a:pt x="81" y="272"/>
                </a:cubicBezTo>
                <a:cubicBezTo>
                  <a:pt x="81" y="274"/>
                  <a:pt x="81" y="275"/>
                  <a:pt x="82" y="277"/>
                </a:cubicBezTo>
                <a:cubicBezTo>
                  <a:pt x="82" y="278"/>
                  <a:pt x="82" y="279"/>
                  <a:pt x="81" y="281"/>
                </a:cubicBezTo>
                <a:cubicBezTo>
                  <a:pt x="78" y="283"/>
                  <a:pt x="78" y="286"/>
                  <a:pt x="79" y="289"/>
                </a:cubicBezTo>
                <a:cubicBezTo>
                  <a:pt x="80" y="291"/>
                  <a:pt x="80" y="293"/>
                  <a:pt x="81" y="295"/>
                </a:cubicBezTo>
                <a:cubicBezTo>
                  <a:pt x="81" y="297"/>
                  <a:pt x="82" y="297"/>
                  <a:pt x="83" y="298"/>
                </a:cubicBezTo>
                <a:cubicBezTo>
                  <a:pt x="84" y="298"/>
                  <a:pt x="85" y="298"/>
                  <a:pt x="87" y="298"/>
                </a:cubicBezTo>
                <a:cubicBezTo>
                  <a:pt x="89" y="298"/>
                  <a:pt x="91" y="297"/>
                  <a:pt x="93" y="297"/>
                </a:cubicBezTo>
                <a:cubicBezTo>
                  <a:pt x="93" y="297"/>
                  <a:pt x="93" y="297"/>
                  <a:pt x="93" y="297"/>
                </a:cubicBezTo>
                <a:cubicBezTo>
                  <a:pt x="93" y="297"/>
                  <a:pt x="93" y="297"/>
                  <a:pt x="93" y="297"/>
                </a:cubicBezTo>
                <a:cubicBezTo>
                  <a:pt x="93" y="296"/>
                  <a:pt x="94" y="295"/>
                  <a:pt x="94" y="295"/>
                </a:cubicBezTo>
                <a:cubicBezTo>
                  <a:pt x="94" y="295"/>
                  <a:pt x="94" y="294"/>
                  <a:pt x="94" y="294"/>
                </a:cubicBezTo>
                <a:cubicBezTo>
                  <a:pt x="94" y="294"/>
                  <a:pt x="94" y="294"/>
                  <a:pt x="94" y="295"/>
                </a:cubicBezTo>
                <a:cubicBezTo>
                  <a:pt x="94" y="295"/>
                  <a:pt x="94" y="296"/>
                  <a:pt x="93" y="297"/>
                </a:cubicBezTo>
                <a:cubicBezTo>
                  <a:pt x="93" y="297"/>
                  <a:pt x="93" y="297"/>
                  <a:pt x="93" y="297"/>
                </a:cubicBezTo>
                <a:cubicBezTo>
                  <a:pt x="93" y="297"/>
                  <a:pt x="93" y="297"/>
                  <a:pt x="93" y="297"/>
                </a:cubicBezTo>
                <a:cubicBezTo>
                  <a:pt x="93" y="299"/>
                  <a:pt x="93" y="300"/>
                  <a:pt x="93" y="301"/>
                </a:cubicBezTo>
                <a:cubicBezTo>
                  <a:pt x="93" y="304"/>
                  <a:pt x="91" y="305"/>
                  <a:pt x="90" y="307"/>
                </a:cubicBezTo>
                <a:cubicBezTo>
                  <a:pt x="89" y="308"/>
                  <a:pt x="89" y="309"/>
                  <a:pt x="89" y="311"/>
                </a:cubicBezTo>
                <a:cubicBezTo>
                  <a:pt x="90" y="312"/>
                  <a:pt x="90" y="313"/>
                  <a:pt x="89" y="314"/>
                </a:cubicBezTo>
                <a:cubicBezTo>
                  <a:pt x="89" y="315"/>
                  <a:pt x="88" y="315"/>
                  <a:pt x="88" y="316"/>
                </a:cubicBezTo>
                <a:cubicBezTo>
                  <a:pt x="87" y="317"/>
                  <a:pt x="87" y="318"/>
                  <a:pt x="88" y="318"/>
                </a:cubicBezTo>
                <a:cubicBezTo>
                  <a:pt x="91" y="319"/>
                  <a:pt x="93" y="320"/>
                  <a:pt x="95" y="316"/>
                </a:cubicBezTo>
                <a:cubicBezTo>
                  <a:pt x="95" y="316"/>
                  <a:pt x="96" y="316"/>
                  <a:pt x="96" y="316"/>
                </a:cubicBezTo>
                <a:cubicBezTo>
                  <a:pt x="98" y="318"/>
                  <a:pt x="101" y="320"/>
                  <a:pt x="102" y="323"/>
                </a:cubicBezTo>
                <a:cubicBezTo>
                  <a:pt x="102" y="324"/>
                  <a:pt x="103" y="324"/>
                  <a:pt x="104" y="323"/>
                </a:cubicBezTo>
                <a:cubicBezTo>
                  <a:pt x="104" y="323"/>
                  <a:pt x="104" y="323"/>
                  <a:pt x="104" y="323"/>
                </a:cubicBezTo>
                <a:cubicBezTo>
                  <a:pt x="106" y="321"/>
                  <a:pt x="106" y="321"/>
                  <a:pt x="108" y="322"/>
                </a:cubicBezTo>
                <a:cubicBezTo>
                  <a:pt x="109" y="322"/>
                  <a:pt x="110" y="323"/>
                  <a:pt x="111" y="322"/>
                </a:cubicBezTo>
                <a:cubicBezTo>
                  <a:pt x="112" y="322"/>
                  <a:pt x="112" y="322"/>
                  <a:pt x="113" y="322"/>
                </a:cubicBezTo>
                <a:cubicBezTo>
                  <a:pt x="114" y="322"/>
                  <a:pt x="114" y="322"/>
                  <a:pt x="114" y="322"/>
                </a:cubicBezTo>
                <a:cubicBezTo>
                  <a:pt x="115" y="323"/>
                  <a:pt x="115" y="323"/>
                  <a:pt x="114" y="324"/>
                </a:cubicBezTo>
                <a:cubicBezTo>
                  <a:pt x="112" y="325"/>
                  <a:pt x="110" y="328"/>
                  <a:pt x="109" y="330"/>
                </a:cubicBezTo>
                <a:cubicBezTo>
                  <a:pt x="106" y="336"/>
                  <a:pt x="102" y="342"/>
                  <a:pt x="95" y="345"/>
                </a:cubicBezTo>
                <a:cubicBezTo>
                  <a:pt x="93" y="346"/>
                  <a:pt x="92" y="347"/>
                  <a:pt x="89" y="348"/>
                </a:cubicBezTo>
                <a:cubicBezTo>
                  <a:pt x="86" y="350"/>
                  <a:pt x="83" y="352"/>
                  <a:pt x="79" y="354"/>
                </a:cubicBezTo>
                <a:cubicBezTo>
                  <a:pt x="77" y="355"/>
                  <a:pt x="75" y="356"/>
                  <a:pt x="74" y="358"/>
                </a:cubicBezTo>
                <a:cubicBezTo>
                  <a:pt x="73" y="359"/>
                  <a:pt x="72" y="359"/>
                  <a:pt x="71" y="359"/>
                </a:cubicBezTo>
                <a:cubicBezTo>
                  <a:pt x="68" y="358"/>
                  <a:pt x="66" y="359"/>
                  <a:pt x="64" y="360"/>
                </a:cubicBezTo>
                <a:cubicBezTo>
                  <a:pt x="62" y="361"/>
                  <a:pt x="60" y="363"/>
                  <a:pt x="58" y="364"/>
                </a:cubicBezTo>
                <a:cubicBezTo>
                  <a:pt x="55" y="367"/>
                  <a:pt x="52" y="368"/>
                  <a:pt x="48" y="369"/>
                </a:cubicBezTo>
                <a:cubicBezTo>
                  <a:pt x="46" y="369"/>
                  <a:pt x="45" y="369"/>
                  <a:pt x="43" y="369"/>
                </a:cubicBezTo>
                <a:cubicBezTo>
                  <a:pt x="40" y="369"/>
                  <a:pt x="39" y="371"/>
                  <a:pt x="37" y="373"/>
                </a:cubicBezTo>
                <a:cubicBezTo>
                  <a:pt x="37" y="374"/>
                  <a:pt x="37" y="375"/>
                  <a:pt x="37" y="375"/>
                </a:cubicBezTo>
                <a:cubicBezTo>
                  <a:pt x="38" y="375"/>
                  <a:pt x="38" y="376"/>
                  <a:pt x="39" y="376"/>
                </a:cubicBezTo>
                <a:cubicBezTo>
                  <a:pt x="40" y="376"/>
                  <a:pt x="40" y="376"/>
                  <a:pt x="41" y="375"/>
                </a:cubicBezTo>
                <a:cubicBezTo>
                  <a:pt x="43" y="375"/>
                  <a:pt x="45" y="375"/>
                  <a:pt x="46" y="375"/>
                </a:cubicBezTo>
                <a:cubicBezTo>
                  <a:pt x="48" y="375"/>
                  <a:pt x="49" y="374"/>
                  <a:pt x="50" y="374"/>
                </a:cubicBezTo>
                <a:cubicBezTo>
                  <a:pt x="52" y="371"/>
                  <a:pt x="54" y="371"/>
                  <a:pt x="57" y="371"/>
                </a:cubicBezTo>
                <a:cubicBezTo>
                  <a:pt x="60" y="371"/>
                  <a:pt x="63" y="369"/>
                  <a:pt x="65" y="365"/>
                </a:cubicBezTo>
                <a:cubicBezTo>
                  <a:pt x="65" y="365"/>
                  <a:pt x="65" y="365"/>
                  <a:pt x="65" y="365"/>
                </a:cubicBezTo>
                <a:cubicBezTo>
                  <a:pt x="65" y="365"/>
                  <a:pt x="65" y="365"/>
                  <a:pt x="65" y="365"/>
                </a:cubicBezTo>
                <a:cubicBezTo>
                  <a:pt x="65" y="365"/>
                  <a:pt x="65" y="365"/>
                  <a:pt x="65" y="365"/>
                </a:cubicBezTo>
                <a:cubicBezTo>
                  <a:pt x="65" y="365"/>
                  <a:pt x="65" y="365"/>
                  <a:pt x="65" y="365"/>
                </a:cubicBezTo>
                <a:cubicBezTo>
                  <a:pt x="66" y="367"/>
                  <a:pt x="66" y="368"/>
                  <a:pt x="67" y="369"/>
                </a:cubicBezTo>
                <a:cubicBezTo>
                  <a:pt x="68" y="370"/>
                  <a:pt x="68" y="370"/>
                  <a:pt x="68" y="368"/>
                </a:cubicBezTo>
                <a:cubicBezTo>
                  <a:pt x="69" y="368"/>
                  <a:pt x="69" y="367"/>
                  <a:pt x="69" y="367"/>
                </a:cubicBezTo>
                <a:cubicBezTo>
                  <a:pt x="72" y="366"/>
                  <a:pt x="74" y="365"/>
                  <a:pt x="77" y="365"/>
                </a:cubicBezTo>
                <a:cubicBezTo>
                  <a:pt x="78" y="365"/>
                  <a:pt x="79" y="366"/>
                  <a:pt x="80" y="365"/>
                </a:cubicBezTo>
                <a:cubicBezTo>
                  <a:pt x="81" y="364"/>
                  <a:pt x="83" y="363"/>
                  <a:pt x="85" y="363"/>
                </a:cubicBezTo>
                <a:cubicBezTo>
                  <a:pt x="87" y="361"/>
                  <a:pt x="90" y="361"/>
                  <a:pt x="91" y="358"/>
                </a:cubicBezTo>
                <a:cubicBezTo>
                  <a:pt x="93" y="357"/>
                  <a:pt x="95" y="355"/>
                  <a:pt x="97" y="354"/>
                </a:cubicBezTo>
                <a:cubicBezTo>
                  <a:pt x="98" y="354"/>
                  <a:pt x="99" y="354"/>
                  <a:pt x="100" y="355"/>
                </a:cubicBezTo>
                <a:cubicBezTo>
                  <a:pt x="100" y="354"/>
                  <a:pt x="101" y="353"/>
                  <a:pt x="101" y="353"/>
                </a:cubicBezTo>
                <a:cubicBezTo>
                  <a:pt x="103" y="352"/>
                  <a:pt x="105" y="351"/>
                  <a:pt x="107" y="350"/>
                </a:cubicBezTo>
                <a:cubicBezTo>
                  <a:pt x="109" y="349"/>
                  <a:pt x="110" y="348"/>
                  <a:pt x="111" y="346"/>
                </a:cubicBezTo>
                <a:cubicBezTo>
                  <a:pt x="111" y="345"/>
                  <a:pt x="112" y="345"/>
                  <a:pt x="113" y="344"/>
                </a:cubicBezTo>
                <a:cubicBezTo>
                  <a:pt x="117" y="342"/>
                  <a:pt x="121" y="339"/>
                  <a:pt x="125" y="338"/>
                </a:cubicBezTo>
                <a:cubicBezTo>
                  <a:pt x="129" y="337"/>
                  <a:pt x="131" y="336"/>
                  <a:pt x="133" y="333"/>
                </a:cubicBezTo>
                <a:cubicBezTo>
                  <a:pt x="134" y="332"/>
                  <a:pt x="135" y="331"/>
                  <a:pt x="136" y="331"/>
                </a:cubicBezTo>
                <a:cubicBezTo>
                  <a:pt x="137" y="330"/>
                  <a:pt x="138" y="329"/>
                  <a:pt x="139" y="329"/>
                </a:cubicBezTo>
                <a:cubicBezTo>
                  <a:pt x="141" y="328"/>
                  <a:pt x="142" y="326"/>
                  <a:pt x="141" y="324"/>
                </a:cubicBezTo>
                <a:cubicBezTo>
                  <a:pt x="140" y="324"/>
                  <a:pt x="140" y="323"/>
                  <a:pt x="140" y="322"/>
                </a:cubicBezTo>
                <a:cubicBezTo>
                  <a:pt x="139" y="321"/>
                  <a:pt x="139" y="320"/>
                  <a:pt x="140" y="319"/>
                </a:cubicBezTo>
                <a:cubicBezTo>
                  <a:pt x="142" y="317"/>
                  <a:pt x="144" y="316"/>
                  <a:pt x="146" y="317"/>
                </a:cubicBezTo>
                <a:cubicBezTo>
                  <a:pt x="148" y="317"/>
                  <a:pt x="149" y="317"/>
                  <a:pt x="150" y="316"/>
                </a:cubicBezTo>
                <a:cubicBezTo>
                  <a:pt x="152" y="314"/>
                  <a:pt x="154" y="313"/>
                  <a:pt x="155" y="311"/>
                </a:cubicBezTo>
                <a:cubicBezTo>
                  <a:pt x="155" y="309"/>
                  <a:pt x="156" y="308"/>
                  <a:pt x="158" y="308"/>
                </a:cubicBezTo>
                <a:cubicBezTo>
                  <a:pt x="159" y="308"/>
                  <a:pt x="160" y="308"/>
                  <a:pt x="161" y="307"/>
                </a:cubicBezTo>
                <a:cubicBezTo>
                  <a:pt x="164" y="301"/>
                  <a:pt x="169" y="300"/>
                  <a:pt x="174" y="297"/>
                </a:cubicBezTo>
                <a:cubicBezTo>
                  <a:pt x="176" y="296"/>
                  <a:pt x="178" y="298"/>
                  <a:pt x="178" y="300"/>
                </a:cubicBezTo>
                <a:cubicBezTo>
                  <a:pt x="178" y="301"/>
                  <a:pt x="178" y="302"/>
                  <a:pt x="178" y="302"/>
                </a:cubicBezTo>
                <a:cubicBezTo>
                  <a:pt x="178" y="303"/>
                  <a:pt x="177" y="303"/>
                  <a:pt x="176" y="303"/>
                </a:cubicBezTo>
                <a:cubicBezTo>
                  <a:pt x="173" y="301"/>
                  <a:pt x="170" y="302"/>
                  <a:pt x="167" y="304"/>
                </a:cubicBezTo>
                <a:cubicBezTo>
                  <a:pt x="166" y="304"/>
                  <a:pt x="165" y="305"/>
                  <a:pt x="165" y="306"/>
                </a:cubicBezTo>
                <a:cubicBezTo>
                  <a:pt x="163" y="310"/>
                  <a:pt x="160" y="313"/>
                  <a:pt x="157" y="316"/>
                </a:cubicBezTo>
                <a:cubicBezTo>
                  <a:pt x="156" y="317"/>
                  <a:pt x="156" y="319"/>
                  <a:pt x="157" y="320"/>
                </a:cubicBezTo>
                <a:cubicBezTo>
                  <a:pt x="158" y="320"/>
                  <a:pt x="158" y="321"/>
                  <a:pt x="157" y="321"/>
                </a:cubicBezTo>
                <a:cubicBezTo>
                  <a:pt x="156" y="322"/>
                  <a:pt x="154" y="323"/>
                  <a:pt x="152" y="324"/>
                </a:cubicBezTo>
                <a:cubicBezTo>
                  <a:pt x="152" y="324"/>
                  <a:pt x="151" y="325"/>
                  <a:pt x="152" y="326"/>
                </a:cubicBezTo>
                <a:cubicBezTo>
                  <a:pt x="152" y="327"/>
                  <a:pt x="153" y="327"/>
                  <a:pt x="154" y="327"/>
                </a:cubicBezTo>
                <a:cubicBezTo>
                  <a:pt x="155" y="327"/>
                  <a:pt x="157" y="327"/>
                  <a:pt x="158" y="326"/>
                </a:cubicBezTo>
                <a:cubicBezTo>
                  <a:pt x="161" y="325"/>
                  <a:pt x="163" y="324"/>
                  <a:pt x="166" y="323"/>
                </a:cubicBezTo>
                <a:cubicBezTo>
                  <a:pt x="167" y="323"/>
                  <a:pt x="168" y="322"/>
                  <a:pt x="169" y="322"/>
                </a:cubicBezTo>
                <a:cubicBezTo>
                  <a:pt x="172" y="321"/>
                  <a:pt x="174" y="319"/>
                  <a:pt x="178" y="320"/>
                </a:cubicBezTo>
                <a:cubicBezTo>
                  <a:pt x="178" y="320"/>
                  <a:pt x="179" y="319"/>
                  <a:pt x="180" y="319"/>
                </a:cubicBezTo>
                <a:cubicBezTo>
                  <a:pt x="181" y="318"/>
                  <a:pt x="182" y="317"/>
                  <a:pt x="183" y="316"/>
                </a:cubicBezTo>
                <a:cubicBezTo>
                  <a:pt x="184" y="315"/>
                  <a:pt x="185" y="315"/>
                  <a:pt x="186" y="316"/>
                </a:cubicBezTo>
                <a:cubicBezTo>
                  <a:pt x="186" y="316"/>
                  <a:pt x="187" y="316"/>
                  <a:pt x="188" y="316"/>
                </a:cubicBezTo>
                <a:cubicBezTo>
                  <a:pt x="188" y="315"/>
                  <a:pt x="189" y="314"/>
                  <a:pt x="187" y="313"/>
                </a:cubicBezTo>
                <a:cubicBezTo>
                  <a:pt x="186" y="312"/>
                  <a:pt x="186" y="311"/>
                  <a:pt x="185" y="310"/>
                </a:cubicBezTo>
                <a:cubicBezTo>
                  <a:pt x="184" y="308"/>
                  <a:pt x="185" y="306"/>
                  <a:pt x="186" y="305"/>
                </a:cubicBezTo>
                <a:cubicBezTo>
                  <a:pt x="187" y="305"/>
                  <a:pt x="188" y="304"/>
                  <a:pt x="189" y="305"/>
                </a:cubicBezTo>
                <a:cubicBezTo>
                  <a:pt x="189" y="307"/>
                  <a:pt x="190" y="308"/>
                  <a:pt x="192" y="308"/>
                </a:cubicBezTo>
                <a:cubicBezTo>
                  <a:pt x="194" y="308"/>
                  <a:pt x="195" y="308"/>
                  <a:pt x="196" y="308"/>
                </a:cubicBezTo>
                <a:cubicBezTo>
                  <a:pt x="196" y="308"/>
                  <a:pt x="196" y="308"/>
                  <a:pt x="196" y="307"/>
                </a:cubicBezTo>
                <a:cubicBezTo>
                  <a:pt x="197" y="307"/>
                  <a:pt x="197" y="307"/>
                  <a:pt x="197" y="307"/>
                </a:cubicBezTo>
                <a:cubicBezTo>
                  <a:pt x="196" y="308"/>
                  <a:pt x="196" y="308"/>
                  <a:pt x="196" y="308"/>
                </a:cubicBezTo>
                <a:cubicBezTo>
                  <a:pt x="196" y="308"/>
                  <a:pt x="196" y="308"/>
                  <a:pt x="196" y="308"/>
                </a:cubicBezTo>
                <a:cubicBezTo>
                  <a:pt x="196" y="308"/>
                  <a:pt x="196" y="309"/>
                  <a:pt x="196" y="310"/>
                </a:cubicBezTo>
                <a:cubicBezTo>
                  <a:pt x="197" y="313"/>
                  <a:pt x="198" y="316"/>
                  <a:pt x="202" y="317"/>
                </a:cubicBezTo>
                <a:cubicBezTo>
                  <a:pt x="204" y="318"/>
                  <a:pt x="205" y="320"/>
                  <a:pt x="206" y="321"/>
                </a:cubicBezTo>
                <a:cubicBezTo>
                  <a:pt x="207" y="322"/>
                  <a:pt x="207" y="323"/>
                  <a:pt x="207" y="324"/>
                </a:cubicBezTo>
                <a:cubicBezTo>
                  <a:pt x="208" y="325"/>
                  <a:pt x="209" y="326"/>
                  <a:pt x="210" y="326"/>
                </a:cubicBezTo>
                <a:cubicBezTo>
                  <a:pt x="211" y="326"/>
                  <a:pt x="212" y="326"/>
                  <a:pt x="213" y="326"/>
                </a:cubicBezTo>
                <a:cubicBezTo>
                  <a:pt x="216" y="326"/>
                  <a:pt x="218" y="327"/>
                  <a:pt x="220" y="329"/>
                </a:cubicBezTo>
                <a:cubicBezTo>
                  <a:pt x="221" y="330"/>
                  <a:pt x="222" y="330"/>
                  <a:pt x="223" y="330"/>
                </a:cubicBezTo>
                <a:cubicBezTo>
                  <a:pt x="223" y="330"/>
                  <a:pt x="223" y="330"/>
                  <a:pt x="223" y="330"/>
                </a:cubicBezTo>
                <a:cubicBezTo>
                  <a:pt x="223" y="330"/>
                  <a:pt x="223" y="330"/>
                  <a:pt x="223" y="330"/>
                </a:cubicBezTo>
                <a:cubicBezTo>
                  <a:pt x="223" y="330"/>
                  <a:pt x="223" y="330"/>
                  <a:pt x="223" y="330"/>
                </a:cubicBezTo>
                <a:cubicBezTo>
                  <a:pt x="223" y="330"/>
                  <a:pt x="223" y="330"/>
                  <a:pt x="223" y="330"/>
                </a:cubicBezTo>
                <a:cubicBezTo>
                  <a:pt x="223" y="331"/>
                  <a:pt x="224" y="332"/>
                  <a:pt x="224" y="332"/>
                </a:cubicBezTo>
                <a:cubicBezTo>
                  <a:pt x="226" y="334"/>
                  <a:pt x="228" y="336"/>
                  <a:pt x="231" y="335"/>
                </a:cubicBezTo>
                <a:cubicBezTo>
                  <a:pt x="231" y="335"/>
                  <a:pt x="232" y="335"/>
                  <a:pt x="232" y="335"/>
                </a:cubicBezTo>
                <a:cubicBezTo>
                  <a:pt x="233" y="335"/>
                  <a:pt x="233" y="336"/>
                  <a:pt x="232" y="336"/>
                </a:cubicBezTo>
                <a:cubicBezTo>
                  <a:pt x="231" y="338"/>
                  <a:pt x="231" y="340"/>
                  <a:pt x="233" y="342"/>
                </a:cubicBezTo>
                <a:cubicBezTo>
                  <a:pt x="233" y="342"/>
                  <a:pt x="234" y="344"/>
                  <a:pt x="235" y="344"/>
                </a:cubicBezTo>
                <a:cubicBezTo>
                  <a:pt x="236" y="345"/>
                  <a:pt x="237" y="345"/>
                  <a:pt x="237" y="347"/>
                </a:cubicBezTo>
                <a:cubicBezTo>
                  <a:pt x="237" y="348"/>
                  <a:pt x="237" y="350"/>
                  <a:pt x="238" y="351"/>
                </a:cubicBezTo>
                <a:cubicBezTo>
                  <a:pt x="238" y="353"/>
                  <a:pt x="239" y="356"/>
                  <a:pt x="241" y="358"/>
                </a:cubicBezTo>
                <a:cubicBezTo>
                  <a:pt x="242" y="359"/>
                  <a:pt x="243" y="359"/>
                  <a:pt x="245" y="359"/>
                </a:cubicBezTo>
                <a:cubicBezTo>
                  <a:pt x="246" y="359"/>
                  <a:pt x="247" y="358"/>
                  <a:pt x="247" y="357"/>
                </a:cubicBezTo>
                <a:cubicBezTo>
                  <a:pt x="247" y="356"/>
                  <a:pt x="246" y="355"/>
                  <a:pt x="246" y="354"/>
                </a:cubicBezTo>
                <a:cubicBezTo>
                  <a:pt x="246" y="354"/>
                  <a:pt x="246" y="354"/>
                  <a:pt x="246" y="353"/>
                </a:cubicBezTo>
                <a:cubicBezTo>
                  <a:pt x="247" y="353"/>
                  <a:pt x="247" y="353"/>
                  <a:pt x="247" y="354"/>
                </a:cubicBezTo>
                <a:cubicBezTo>
                  <a:pt x="248" y="355"/>
                  <a:pt x="248" y="356"/>
                  <a:pt x="248" y="357"/>
                </a:cubicBezTo>
                <a:cubicBezTo>
                  <a:pt x="249" y="359"/>
                  <a:pt x="250" y="360"/>
                  <a:pt x="251" y="361"/>
                </a:cubicBezTo>
                <a:cubicBezTo>
                  <a:pt x="251" y="362"/>
                  <a:pt x="251" y="362"/>
                  <a:pt x="251" y="362"/>
                </a:cubicBezTo>
                <a:cubicBezTo>
                  <a:pt x="251" y="363"/>
                  <a:pt x="250" y="363"/>
                  <a:pt x="250" y="362"/>
                </a:cubicBezTo>
                <a:cubicBezTo>
                  <a:pt x="249" y="362"/>
                  <a:pt x="249" y="362"/>
                  <a:pt x="248" y="362"/>
                </a:cubicBezTo>
                <a:cubicBezTo>
                  <a:pt x="246" y="361"/>
                  <a:pt x="244" y="362"/>
                  <a:pt x="244" y="364"/>
                </a:cubicBezTo>
                <a:cubicBezTo>
                  <a:pt x="243" y="365"/>
                  <a:pt x="242" y="367"/>
                  <a:pt x="243" y="369"/>
                </a:cubicBezTo>
                <a:cubicBezTo>
                  <a:pt x="243" y="370"/>
                  <a:pt x="243" y="372"/>
                  <a:pt x="244" y="374"/>
                </a:cubicBezTo>
                <a:cubicBezTo>
                  <a:pt x="243" y="374"/>
                  <a:pt x="243" y="374"/>
                  <a:pt x="243" y="374"/>
                </a:cubicBezTo>
                <a:cubicBezTo>
                  <a:pt x="243" y="374"/>
                  <a:pt x="243" y="374"/>
                  <a:pt x="243" y="374"/>
                </a:cubicBezTo>
                <a:cubicBezTo>
                  <a:pt x="244" y="374"/>
                  <a:pt x="244" y="374"/>
                  <a:pt x="244" y="374"/>
                </a:cubicBezTo>
                <a:cubicBezTo>
                  <a:pt x="245" y="375"/>
                  <a:pt x="245" y="377"/>
                  <a:pt x="245" y="378"/>
                </a:cubicBezTo>
                <a:cubicBezTo>
                  <a:pt x="244" y="381"/>
                  <a:pt x="243" y="384"/>
                  <a:pt x="244" y="387"/>
                </a:cubicBezTo>
                <a:cubicBezTo>
                  <a:pt x="244" y="387"/>
                  <a:pt x="244" y="388"/>
                  <a:pt x="244" y="388"/>
                </a:cubicBezTo>
                <a:cubicBezTo>
                  <a:pt x="245" y="388"/>
                  <a:pt x="246" y="388"/>
                  <a:pt x="246" y="387"/>
                </a:cubicBezTo>
                <a:cubicBezTo>
                  <a:pt x="247" y="385"/>
                  <a:pt x="248" y="383"/>
                  <a:pt x="249" y="382"/>
                </a:cubicBezTo>
                <a:cubicBezTo>
                  <a:pt x="249" y="381"/>
                  <a:pt x="249" y="381"/>
                  <a:pt x="249" y="381"/>
                </a:cubicBezTo>
                <a:cubicBezTo>
                  <a:pt x="249" y="381"/>
                  <a:pt x="249" y="381"/>
                  <a:pt x="249" y="381"/>
                </a:cubicBezTo>
                <a:cubicBezTo>
                  <a:pt x="250" y="380"/>
                  <a:pt x="251" y="379"/>
                  <a:pt x="252" y="379"/>
                </a:cubicBezTo>
                <a:cubicBezTo>
                  <a:pt x="252" y="379"/>
                  <a:pt x="253" y="379"/>
                  <a:pt x="253" y="379"/>
                </a:cubicBezTo>
                <a:cubicBezTo>
                  <a:pt x="253" y="379"/>
                  <a:pt x="253" y="379"/>
                  <a:pt x="253" y="379"/>
                </a:cubicBezTo>
                <a:cubicBezTo>
                  <a:pt x="253" y="379"/>
                  <a:pt x="253" y="379"/>
                  <a:pt x="253" y="379"/>
                </a:cubicBezTo>
                <a:cubicBezTo>
                  <a:pt x="255" y="375"/>
                  <a:pt x="258" y="372"/>
                  <a:pt x="259" y="368"/>
                </a:cubicBezTo>
                <a:cubicBezTo>
                  <a:pt x="259" y="368"/>
                  <a:pt x="260" y="368"/>
                  <a:pt x="260" y="368"/>
                </a:cubicBezTo>
                <a:cubicBezTo>
                  <a:pt x="261" y="368"/>
                  <a:pt x="261" y="369"/>
                  <a:pt x="261" y="369"/>
                </a:cubicBezTo>
                <a:cubicBezTo>
                  <a:pt x="261" y="370"/>
                  <a:pt x="261" y="371"/>
                  <a:pt x="261" y="371"/>
                </a:cubicBezTo>
                <a:cubicBezTo>
                  <a:pt x="260" y="373"/>
                  <a:pt x="259" y="375"/>
                  <a:pt x="259" y="377"/>
                </a:cubicBezTo>
                <a:cubicBezTo>
                  <a:pt x="258" y="378"/>
                  <a:pt x="259" y="379"/>
                  <a:pt x="259" y="381"/>
                </a:cubicBezTo>
                <a:cubicBezTo>
                  <a:pt x="260" y="381"/>
                  <a:pt x="260" y="381"/>
                  <a:pt x="260" y="381"/>
                </a:cubicBezTo>
                <a:cubicBezTo>
                  <a:pt x="260" y="381"/>
                  <a:pt x="260" y="381"/>
                  <a:pt x="260" y="381"/>
                </a:cubicBezTo>
                <a:cubicBezTo>
                  <a:pt x="260" y="382"/>
                  <a:pt x="261" y="383"/>
                  <a:pt x="261" y="384"/>
                </a:cubicBezTo>
                <a:cubicBezTo>
                  <a:pt x="261" y="384"/>
                  <a:pt x="261" y="384"/>
                  <a:pt x="261" y="384"/>
                </a:cubicBezTo>
                <a:cubicBezTo>
                  <a:pt x="261" y="385"/>
                  <a:pt x="261" y="385"/>
                  <a:pt x="261" y="385"/>
                </a:cubicBezTo>
                <a:cubicBezTo>
                  <a:pt x="261" y="384"/>
                  <a:pt x="261" y="384"/>
                  <a:pt x="261" y="384"/>
                </a:cubicBezTo>
                <a:cubicBezTo>
                  <a:pt x="261" y="384"/>
                  <a:pt x="261" y="384"/>
                  <a:pt x="261" y="384"/>
                </a:cubicBezTo>
                <a:cubicBezTo>
                  <a:pt x="260" y="383"/>
                  <a:pt x="260" y="382"/>
                  <a:pt x="260" y="381"/>
                </a:cubicBezTo>
                <a:cubicBezTo>
                  <a:pt x="260" y="381"/>
                  <a:pt x="260" y="381"/>
                  <a:pt x="260" y="381"/>
                </a:cubicBezTo>
                <a:cubicBezTo>
                  <a:pt x="260" y="381"/>
                  <a:pt x="260" y="381"/>
                  <a:pt x="259" y="381"/>
                </a:cubicBezTo>
                <a:cubicBezTo>
                  <a:pt x="258" y="380"/>
                  <a:pt x="257" y="380"/>
                  <a:pt x="257" y="380"/>
                </a:cubicBezTo>
                <a:cubicBezTo>
                  <a:pt x="255" y="379"/>
                  <a:pt x="254" y="379"/>
                  <a:pt x="253" y="379"/>
                </a:cubicBezTo>
                <a:cubicBezTo>
                  <a:pt x="253" y="379"/>
                  <a:pt x="253" y="379"/>
                  <a:pt x="253" y="379"/>
                </a:cubicBezTo>
                <a:cubicBezTo>
                  <a:pt x="253" y="379"/>
                  <a:pt x="253" y="379"/>
                  <a:pt x="252" y="379"/>
                </a:cubicBezTo>
                <a:cubicBezTo>
                  <a:pt x="252" y="381"/>
                  <a:pt x="250" y="381"/>
                  <a:pt x="249" y="381"/>
                </a:cubicBezTo>
                <a:cubicBezTo>
                  <a:pt x="249" y="381"/>
                  <a:pt x="249" y="381"/>
                  <a:pt x="249" y="381"/>
                </a:cubicBezTo>
                <a:cubicBezTo>
                  <a:pt x="249" y="381"/>
                  <a:pt x="249" y="381"/>
                  <a:pt x="249" y="382"/>
                </a:cubicBezTo>
                <a:cubicBezTo>
                  <a:pt x="248" y="384"/>
                  <a:pt x="249" y="387"/>
                  <a:pt x="248" y="389"/>
                </a:cubicBezTo>
                <a:cubicBezTo>
                  <a:pt x="247" y="390"/>
                  <a:pt x="248" y="391"/>
                  <a:pt x="249" y="392"/>
                </a:cubicBezTo>
                <a:cubicBezTo>
                  <a:pt x="250" y="392"/>
                  <a:pt x="250" y="392"/>
                  <a:pt x="251" y="392"/>
                </a:cubicBezTo>
                <a:cubicBezTo>
                  <a:pt x="251" y="392"/>
                  <a:pt x="251" y="392"/>
                  <a:pt x="251" y="392"/>
                </a:cubicBezTo>
                <a:cubicBezTo>
                  <a:pt x="251" y="391"/>
                  <a:pt x="251" y="391"/>
                  <a:pt x="251" y="391"/>
                </a:cubicBezTo>
                <a:cubicBezTo>
                  <a:pt x="251" y="391"/>
                  <a:pt x="251" y="390"/>
                  <a:pt x="252" y="390"/>
                </a:cubicBezTo>
                <a:cubicBezTo>
                  <a:pt x="252" y="390"/>
                  <a:pt x="252" y="390"/>
                  <a:pt x="252" y="390"/>
                </a:cubicBezTo>
                <a:cubicBezTo>
                  <a:pt x="252" y="391"/>
                  <a:pt x="251" y="391"/>
                  <a:pt x="251" y="391"/>
                </a:cubicBezTo>
                <a:cubicBezTo>
                  <a:pt x="251" y="391"/>
                  <a:pt x="251" y="392"/>
                  <a:pt x="251" y="392"/>
                </a:cubicBezTo>
                <a:cubicBezTo>
                  <a:pt x="251" y="392"/>
                  <a:pt x="251" y="392"/>
                  <a:pt x="251" y="392"/>
                </a:cubicBezTo>
                <a:cubicBezTo>
                  <a:pt x="250" y="393"/>
                  <a:pt x="250" y="394"/>
                  <a:pt x="250" y="394"/>
                </a:cubicBezTo>
                <a:cubicBezTo>
                  <a:pt x="251" y="395"/>
                  <a:pt x="252" y="396"/>
                  <a:pt x="251" y="398"/>
                </a:cubicBezTo>
                <a:cubicBezTo>
                  <a:pt x="251" y="399"/>
                  <a:pt x="251" y="400"/>
                  <a:pt x="250" y="401"/>
                </a:cubicBezTo>
                <a:cubicBezTo>
                  <a:pt x="250" y="402"/>
                  <a:pt x="250" y="403"/>
                  <a:pt x="250" y="404"/>
                </a:cubicBezTo>
                <a:cubicBezTo>
                  <a:pt x="252" y="406"/>
                  <a:pt x="252" y="408"/>
                  <a:pt x="253" y="410"/>
                </a:cubicBezTo>
                <a:cubicBezTo>
                  <a:pt x="253" y="411"/>
                  <a:pt x="254" y="411"/>
                  <a:pt x="254" y="411"/>
                </a:cubicBezTo>
                <a:cubicBezTo>
                  <a:pt x="254" y="411"/>
                  <a:pt x="255" y="411"/>
                  <a:pt x="255" y="410"/>
                </a:cubicBezTo>
                <a:cubicBezTo>
                  <a:pt x="256" y="408"/>
                  <a:pt x="258" y="405"/>
                  <a:pt x="258" y="402"/>
                </a:cubicBezTo>
                <a:cubicBezTo>
                  <a:pt x="258" y="402"/>
                  <a:pt x="258" y="402"/>
                  <a:pt x="258" y="402"/>
                </a:cubicBezTo>
                <a:cubicBezTo>
                  <a:pt x="258" y="402"/>
                  <a:pt x="258" y="402"/>
                  <a:pt x="258" y="402"/>
                </a:cubicBezTo>
                <a:cubicBezTo>
                  <a:pt x="257" y="402"/>
                  <a:pt x="257" y="401"/>
                  <a:pt x="257" y="401"/>
                </a:cubicBezTo>
                <a:cubicBezTo>
                  <a:pt x="257" y="401"/>
                  <a:pt x="258" y="401"/>
                  <a:pt x="258" y="401"/>
                </a:cubicBezTo>
                <a:cubicBezTo>
                  <a:pt x="258" y="402"/>
                  <a:pt x="258" y="402"/>
                  <a:pt x="258" y="402"/>
                </a:cubicBezTo>
                <a:cubicBezTo>
                  <a:pt x="258" y="402"/>
                  <a:pt x="258" y="402"/>
                  <a:pt x="258" y="402"/>
                </a:cubicBezTo>
                <a:cubicBezTo>
                  <a:pt x="258" y="402"/>
                  <a:pt x="258" y="402"/>
                  <a:pt x="258" y="402"/>
                </a:cubicBezTo>
                <a:cubicBezTo>
                  <a:pt x="258" y="402"/>
                  <a:pt x="259" y="402"/>
                  <a:pt x="259" y="402"/>
                </a:cubicBezTo>
                <a:cubicBezTo>
                  <a:pt x="259" y="402"/>
                  <a:pt x="259" y="402"/>
                  <a:pt x="259" y="402"/>
                </a:cubicBezTo>
                <a:cubicBezTo>
                  <a:pt x="259" y="402"/>
                  <a:pt x="260" y="402"/>
                  <a:pt x="260" y="402"/>
                </a:cubicBezTo>
                <a:cubicBezTo>
                  <a:pt x="260" y="402"/>
                  <a:pt x="260" y="402"/>
                  <a:pt x="260" y="402"/>
                </a:cubicBezTo>
                <a:cubicBezTo>
                  <a:pt x="260" y="402"/>
                  <a:pt x="260" y="402"/>
                  <a:pt x="259" y="402"/>
                </a:cubicBezTo>
                <a:cubicBezTo>
                  <a:pt x="260" y="403"/>
                  <a:pt x="261" y="404"/>
                  <a:pt x="261" y="405"/>
                </a:cubicBezTo>
                <a:cubicBezTo>
                  <a:pt x="261" y="405"/>
                  <a:pt x="261" y="405"/>
                  <a:pt x="262" y="405"/>
                </a:cubicBezTo>
                <a:cubicBezTo>
                  <a:pt x="262" y="405"/>
                  <a:pt x="262" y="406"/>
                  <a:pt x="262" y="406"/>
                </a:cubicBezTo>
                <a:cubicBezTo>
                  <a:pt x="262" y="406"/>
                  <a:pt x="262" y="406"/>
                  <a:pt x="262" y="407"/>
                </a:cubicBezTo>
                <a:cubicBezTo>
                  <a:pt x="262" y="408"/>
                  <a:pt x="262" y="408"/>
                  <a:pt x="262" y="407"/>
                </a:cubicBezTo>
                <a:cubicBezTo>
                  <a:pt x="262" y="407"/>
                  <a:pt x="262" y="406"/>
                  <a:pt x="262" y="406"/>
                </a:cubicBezTo>
                <a:cubicBezTo>
                  <a:pt x="262" y="406"/>
                  <a:pt x="262" y="406"/>
                  <a:pt x="262" y="406"/>
                </a:cubicBezTo>
                <a:cubicBezTo>
                  <a:pt x="262" y="406"/>
                  <a:pt x="261" y="405"/>
                  <a:pt x="261" y="405"/>
                </a:cubicBezTo>
                <a:cubicBezTo>
                  <a:pt x="261" y="405"/>
                  <a:pt x="261" y="405"/>
                  <a:pt x="261" y="405"/>
                </a:cubicBezTo>
                <a:cubicBezTo>
                  <a:pt x="260" y="406"/>
                  <a:pt x="260" y="407"/>
                  <a:pt x="260" y="409"/>
                </a:cubicBezTo>
                <a:cubicBezTo>
                  <a:pt x="260" y="410"/>
                  <a:pt x="261" y="411"/>
                  <a:pt x="262" y="411"/>
                </a:cubicBezTo>
                <a:cubicBezTo>
                  <a:pt x="263" y="412"/>
                  <a:pt x="264" y="412"/>
                  <a:pt x="264" y="412"/>
                </a:cubicBezTo>
                <a:cubicBezTo>
                  <a:pt x="266" y="412"/>
                  <a:pt x="266" y="413"/>
                  <a:pt x="265" y="414"/>
                </a:cubicBezTo>
                <a:cubicBezTo>
                  <a:pt x="264" y="415"/>
                  <a:pt x="262" y="417"/>
                  <a:pt x="262" y="420"/>
                </a:cubicBezTo>
                <a:cubicBezTo>
                  <a:pt x="262" y="421"/>
                  <a:pt x="261" y="421"/>
                  <a:pt x="260" y="421"/>
                </a:cubicBezTo>
                <a:cubicBezTo>
                  <a:pt x="259" y="422"/>
                  <a:pt x="259" y="422"/>
                  <a:pt x="260" y="423"/>
                </a:cubicBezTo>
                <a:cubicBezTo>
                  <a:pt x="262" y="425"/>
                  <a:pt x="262" y="426"/>
                  <a:pt x="259" y="427"/>
                </a:cubicBezTo>
                <a:cubicBezTo>
                  <a:pt x="259" y="428"/>
                  <a:pt x="258" y="428"/>
                  <a:pt x="258" y="428"/>
                </a:cubicBezTo>
                <a:cubicBezTo>
                  <a:pt x="259" y="430"/>
                  <a:pt x="260" y="432"/>
                  <a:pt x="262" y="431"/>
                </a:cubicBezTo>
                <a:cubicBezTo>
                  <a:pt x="264" y="431"/>
                  <a:pt x="266" y="430"/>
                  <a:pt x="268" y="430"/>
                </a:cubicBezTo>
                <a:cubicBezTo>
                  <a:pt x="268" y="430"/>
                  <a:pt x="269" y="430"/>
                  <a:pt x="269" y="430"/>
                </a:cubicBezTo>
                <a:cubicBezTo>
                  <a:pt x="269" y="431"/>
                  <a:pt x="269" y="431"/>
                  <a:pt x="268" y="432"/>
                </a:cubicBezTo>
                <a:cubicBezTo>
                  <a:pt x="268" y="432"/>
                  <a:pt x="267" y="433"/>
                  <a:pt x="266" y="434"/>
                </a:cubicBezTo>
                <a:cubicBezTo>
                  <a:pt x="264" y="435"/>
                  <a:pt x="264" y="437"/>
                  <a:pt x="264" y="439"/>
                </a:cubicBezTo>
                <a:cubicBezTo>
                  <a:pt x="264" y="440"/>
                  <a:pt x="264" y="440"/>
                  <a:pt x="265" y="441"/>
                </a:cubicBezTo>
                <a:cubicBezTo>
                  <a:pt x="265" y="441"/>
                  <a:pt x="265" y="441"/>
                  <a:pt x="265" y="441"/>
                </a:cubicBezTo>
                <a:cubicBezTo>
                  <a:pt x="265" y="441"/>
                  <a:pt x="265" y="440"/>
                  <a:pt x="265" y="440"/>
                </a:cubicBezTo>
                <a:cubicBezTo>
                  <a:pt x="265" y="440"/>
                  <a:pt x="265" y="440"/>
                  <a:pt x="265" y="440"/>
                </a:cubicBezTo>
                <a:cubicBezTo>
                  <a:pt x="265" y="440"/>
                  <a:pt x="265" y="440"/>
                  <a:pt x="265" y="440"/>
                </a:cubicBezTo>
                <a:cubicBezTo>
                  <a:pt x="266" y="440"/>
                  <a:pt x="265" y="440"/>
                  <a:pt x="265" y="440"/>
                </a:cubicBezTo>
                <a:cubicBezTo>
                  <a:pt x="265" y="440"/>
                  <a:pt x="265" y="441"/>
                  <a:pt x="265" y="441"/>
                </a:cubicBezTo>
                <a:cubicBezTo>
                  <a:pt x="266" y="442"/>
                  <a:pt x="268" y="444"/>
                  <a:pt x="269" y="445"/>
                </a:cubicBezTo>
                <a:cubicBezTo>
                  <a:pt x="270" y="446"/>
                  <a:pt x="270" y="447"/>
                  <a:pt x="270" y="448"/>
                </a:cubicBezTo>
                <a:cubicBezTo>
                  <a:pt x="269" y="449"/>
                  <a:pt x="269" y="450"/>
                  <a:pt x="268" y="451"/>
                </a:cubicBezTo>
                <a:cubicBezTo>
                  <a:pt x="268" y="451"/>
                  <a:pt x="268" y="451"/>
                  <a:pt x="268" y="451"/>
                </a:cubicBezTo>
                <a:cubicBezTo>
                  <a:pt x="268" y="451"/>
                  <a:pt x="268" y="451"/>
                  <a:pt x="268" y="451"/>
                </a:cubicBezTo>
                <a:cubicBezTo>
                  <a:pt x="268" y="451"/>
                  <a:pt x="268" y="451"/>
                  <a:pt x="268" y="451"/>
                </a:cubicBezTo>
                <a:cubicBezTo>
                  <a:pt x="268" y="452"/>
                  <a:pt x="268" y="453"/>
                  <a:pt x="268" y="454"/>
                </a:cubicBezTo>
                <a:cubicBezTo>
                  <a:pt x="269" y="455"/>
                  <a:pt x="269" y="456"/>
                  <a:pt x="268" y="458"/>
                </a:cubicBezTo>
                <a:cubicBezTo>
                  <a:pt x="268" y="458"/>
                  <a:pt x="267" y="458"/>
                  <a:pt x="267" y="458"/>
                </a:cubicBezTo>
                <a:cubicBezTo>
                  <a:pt x="270" y="464"/>
                  <a:pt x="270" y="464"/>
                  <a:pt x="270" y="464"/>
                </a:cubicBezTo>
                <a:cubicBezTo>
                  <a:pt x="271" y="464"/>
                  <a:pt x="273" y="465"/>
                  <a:pt x="274" y="467"/>
                </a:cubicBezTo>
                <a:cubicBezTo>
                  <a:pt x="275" y="468"/>
                  <a:pt x="276" y="469"/>
                  <a:pt x="278" y="470"/>
                </a:cubicBezTo>
                <a:cubicBezTo>
                  <a:pt x="279" y="470"/>
                  <a:pt x="281" y="471"/>
                  <a:pt x="282" y="472"/>
                </a:cubicBezTo>
                <a:cubicBezTo>
                  <a:pt x="283" y="472"/>
                  <a:pt x="283" y="473"/>
                  <a:pt x="283" y="474"/>
                </a:cubicBezTo>
                <a:cubicBezTo>
                  <a:pt x="282" y="475"/>
                  <a:pt x="282" y="477"/>
                  <a:pt x="283" y="479"/>
                </a:cubicBezTo>
                <a:cubicBezTo>
                  <a:pt x="283" y="480"/>
                  <a:pt x="283" y="480"/>
                  <a:pt x="284" y="481"/>
                </a:cubicBezTo>
                <a:cubicBezTo>
                  <a:pt x="284" y="481"/>
                  <a:pt x="284" y="481"/>
                  <a:pt x="284" y="481"/>
                </a:cubicBezTo>
                <a:cubicBezTo>
                  <a:pt x="284" y="481"/>
                  <a:pt x="284" y="481"/>
                  <a:pt x="284" y="481"/>
                </a:cubicBezTo>
                <a:cubicBezTo>
                  <a:pt x="284" y="481"/>
                  <a:pt x="284" y="481"/>
                  <a:pt x="284" y="481"/>
                </a:cubicBezTo>
                <a:cubicBezTo>
                  <a:pt x="284" y="481"/>
                  <a:pt x="284" y="481"/>
                  <a:pt x="284" y="481"/>
                </a:cubicBezTo>
                <a:cubicBezTo>
                  <a:pt x="284" y="481"/>
                  <a:pt x="284" y="482"/>
                  <a:pt x="284" y="483"/>
                </a:cubicBezTo>
                <a:cubicBezTo>
                  <a:pt x="285" y="483"/>
                  <a:pt x="286" y="483"/>
                  <a:pt x="286" y="483"/>
                </a:cubicBezTo>
                <a:cubicBezTo>
                  <a:pt x="288" y="483"/>
                  <a:pt x="289" y="484"/>
                  <a:pt x="289" y="485"/>
                </a:cubicBezTo>
                <a:cubicBezTo>
                  <a:pt x="290" y="487"/>
                  <a:pt x="290" y="489"/>
                  <a:pt x="291" y="491"/>
                </a:cubicBezTo>
                <a:cubicBezTo>
                  <a:pt x="292" y="492"/>
                  <a:pt x="291" y="494"/>
                  <a:pt x="291" y="496"/>
                </a:cubicBezTo>
                <a:cubicBezTo>
                  <a:pt x="290" y="496"/>
                  <a:pt x="290" y="497"/>
                  <a:pt x="290" y="497"/>
                </a:cubicBezTo>
                <a:cubicBezTo>
                  <a:pt x="289" y="497"/>
                  <a:pt x="288" y="498"/>
                  <a:pt x="287" y="498"/>
                </a:cubicBezTo>
                <a:cubicBezTo>
                  <a:pt x="285" y="497"/>
                  <a:pt x="282" y="497"/>
                  <a:pt x="280" y="495"/>
                </a:cubicBezTo>
                <a:cubicBezTo>
                  <a:pt x="281" y="495"/>
                  <a:pt x="281" y="495"/>
                  <a:pt x="281" y="495"/>
                </a:cubicBezTo>
                <a:cubicBezTo>
                  <a:pt x="281" y="495"/>
                  <a:pt x="281" y="495"/>
                  <a:pt x="280" y="495"/>
                </a:cubicBezTo>
                <a:cubicBezTo>
                  <a:pt x="281" y="495"/>
                  <a:pt x="282" y="495"/>
                  <a:pt x="283" y="495"/>
                </a:cubicBezTo>
                <a:cubicBezTo>
                  <a:pt x="285" y="495"/>
                  <a:pt x="286" y="494"/>
                  <a:pt x="286" y="493"/>
                </a:cubicBezTo>
                <a:cubicBezTo>
                  <a:pt x="286" y="489"/>
                  <a:pt x="285" y="486"/>
                  <a:pt x="284" y="483"/>
                </a:cubicBezTo>
                <a:cubicBezTo>
                  <a:pt x="283" y="482"/>
                  <a:pt x="281" y="482"/>
                  <a:pt x="281" y="480"/>
                </a:cubicBezTo>
                <a:cubicBezTo>
                  <a:pt x="281" y="479"/>
                  <a:pt x="280" y="477"/>
                  <a:pt x="280" y="476"/>
                </a:cubicBezTo>
                <a:cubicBezTo>
                  <a:pt x="279" y="473"/>
                  <a:pt x="277" y="471"/>
                  <a:pt x="274" y="470"/>
                </a:cubicBezTo>
                <a:cubicBezTo>
                  <a:pt x="272" y="469"/>
                  <a:pt x="270" y="468"/>
                  <a:pt x="268" y="466"/>
                </a:cubicBezTo>
                <a:cubicBezTo>
                  <a:pt x="267" y="466"/>
                  <a:pt x="266" y="465"/>
                  <a:pt x="265" y="464"/>
                </a:cubicBezTo>
                <a:cubicBezTo>
                  <a:pt x="264" y="463"/>
                  <a:pt x="263" y="463"/>
                  <a:pt x="262" y="463"/>
                </a:cubicBezTo>
                <a:cubicBezTo>
                  <a:pt x="261" y="463"/>
                  <a:pt x="260" y="464"/>
                  <a:pt x="260" y="465"/>
                </a:cubicBezTo>
                <a:cubicBezTo>
                  <a:pt x="261" y="466"/>
                  <a:pt x="261" y="468"/>
                  <a:pt x="261" y="470"/>
                </a:cubicBezTo>
                <a:cubicBezTo>
                  <a:pt x="261" y="471"/>
                  <a:pt x="261" y="472"/>
                  <a:pt x="262" y="472"/>
                </a:cubicBezTo>
                <a:cubicBezTo>
                  <a:pt x="263" y="474"/>
                  <a:pt x="265" y="475"/>
                  <a:pt x="266" y="477"/>
                </a:cubicBezTo>
                <a:cubicBezTo>
                  <a:pt x="269" y="482"/>
                  <a:pt x="274" y="486"/>
                  <a:pt x="277" y="491"/>
                </a:cubicBezTo>
                <a:cubicBezTo>
                  <a:pt x="277" y="492"/>
                  <a:pt x="278" y="493"/>
                  <a:pt x="279" y="493"/>
                </a:cubicBezTo>
                <a:cubicBezTo>
                  <a:pt x="279" y="493"/>
                  <a:pt x="279" y="493"/>
                  <a:pt x="279" y="493"/>
                </a:cubicBezTo>
                <a:cubicBezTo>
                  <a:pt x="279" y="493"/>
                  <a:pt x="279" y="493"/>
                  <a:pt x="279" y="493"/>
                </a:cubicBezTo>
                <a:cubicBezTo>
                  <a:pt x="277" y="494"/>
                  <a:pt x="275" y="496"/>
                  <a:pt x="275" y="498"/>
                </a:cubicBezTo>
                <a:cubicBezTo>
                  <a:pt x="275" y="502"/>
                  <a:pt x="275" y="506"/>
                  <a:pt x="275" y="510"/>
                </a:cubicBezTo>
                <a:cubicBezTo>
                  <a:pt x="275" y="515"/>
                  <a:pt x="274" y="519"/>
                  <a:pt x="273" y="523"/>
                </a:cubicBezTo>
                <a:cubicBezTo>
                  <a:pt x="271" y="528"/>
                  <a:pt x="269" y="532"/>
                  <a:pt x="268" y="537"/>
                </a:cubicBezTo>
                <a:cubicBezTo>
                  <a:pt x="267" y="542"/>
                  <a:pt x="265" y="546"/>
                  <a:pt x="262" y="550"/>
                </a:cubicBezTo>
                <a:cubicBezTo>
                  <a:pt x="260" y="554"/>
                  <a:pt x="259" y="558"/>
                  <a:pt x="259" y="562"/>
                </a:cubicBezTo>
                <a:cubicBezTo>
                  <a:pt x="259" y="563"/>
                  <a:pt x="259" y="564"/>
                  <a:pt x="259" y="564"/>
                </a:cubicBezTo>
                <a:cubicBezTo>
                  <a:pt x="260" y="569"/>
                  <a:pt x="259" y="574"/>
                  <a:pt x="256" y="578"/>
                </a:cubicBezTo>
                <a:cubicBezTo>
                  <a:pt x="255" y="579"/>
                  <a:pt x="255" y="581"/>
                  <a:pt x="256" y="582"/>
                </a:cubicBezTo>
                <a:cubicBezTo>
                  <a:pt x="257" y="585"/>
                  <a:pt x="258" y="588"/>
                  <a:pt x="257" y="591"/>
                </a:cubicBezTo>
                <a:cubicBezTo>
                  <a:pt x="256" y="593"/>
                  <a:pt x="257" y="594"/>
                  <a:pt x="257" y="596"/>
                </a:cubicBezTo>
                <a:cubicBezTo>
                  <a:pt x="257" y="596"/>
                  <a:pt x="257" y="597"/>
                  <a:pt x="257" y="598"/>
                </a:cubicBezTo>
                <a:cubicBezTo>
                  <a:pt x="258" y="601"/>
                  <a:pt x="259" y="603"/>
                  <a:pt x="260" y="605"/>
                </a:cubicBezTo>
                <a:cubicBezTo>
                  <a:pt x="261" y="606"/>
                  <a:pt x="261" y="606"/>
                  <a:pt x="262" y="607"/>
                </a:cubicBezTo>
                <a:cubicBezTo>
                  <a:pt x="264" y="608"/>
                  <a:pt x="264" y="608"/>
                  <a:pt x="263" y="609"/>
                </a:cubicBezTo>
                <a:cubicBezTo>
                  <a:pt x="263" y="610"/>
                  <a:pt x="262" y="611"/>
                  <a:pt x="262" y="612"/>
                </a:cubicBezTo>
                <a:cubicBezTo>
                  <a:pt x="262" y="613"/>
                  <a:pt x="262" y="613"/>
                  <a:pt x="262" y="614"/>
                </a:cubicBezTo>
                <a:cubicBezTo>
                  <a:pt x="263" y="617"/>
                  <a:pt x="264" y="619"/>
                  <a:pt x="263" y="622"/>
                </a:cubicBezTo>
                <a:cubicBezTo>
                  <a:pt x="263" y="622"/>
                  <a:pt x="264" y="623"/>
                  <a:pt x="264" y="624"/>
                </a:cubicBezTo>
                <a:cubicBezTo>
                  <a:pt x="265" y="627"/>
                  <a:pt x="267" y="631"/>
                  <a:pt x="268" y="634"/>
                </a:cubicBezTo>
                <a:cubicBezTo>
                  <a:pt x="269" y="635"/>
                  <a:pt x="269" y="637"/>
                  <a:pt x="269" y="639"/>
                </a:cubicBezTo>
                <a:cubicBezTo>
                  <a:pt x="269" y="641"/>
                  <a:pt x="270" y="642"/>
                  <a:pt x="271" y="642"/>
                </a:cubicBezTo>
                <a:cubicBezTo>
                  <a:pt x="276" y="643"/>
                  <a:pt x="280" y="646"/>
                  <a:pt x="284" y="649"/>
                </a:cubicBezTo>
                <a:cubicBezTo>
                  <a:pt x="288" y="651"/>
                  <a:pt x="290" y="654"/>
                  <a:pt x="290" y="658"/>
                </a:cubicBezTo>
                <a:cubicBezTo>
                  <a:pt x="290" y="661"/>
                  <a:pt x="291" y="664"/>
                  <a:pt x="292" y="667"/>
                </a:cubicBezTo>
                <a:cubicBezTo>
                  <a:pt x="293" y="673"/>
                  <a:pt x="296" y="678"/>
                  <a:pt x="297" y="683"/>
                </a:cubicBezTo>
                <a:cubicBezTo>
                  <a:pt x="297" y="685"/>
                  <a:pt x="298" y="686"/>
                  <a:pt x="299" y="688"/>
                </a:cubicBezTo>
                <a:cubicBezTo>
                  <a:pt x="302" y="690"/>
                  <a:pt x="304" y="693"/>
                  <a:pt x="306" y="696"/>
                </a:cubicBezTo>
                <a:cubicBezTo>
                  <a:pt x="307" y="698"/>
                  <a:pt x="306" y="699"/>
                  <a:pt x="305" y="701"/>
                </a:cubicBezTo>
                <a:cubicBezTo>
                  <a:pt x="305" y="702"/>
                  <a:pt x="304" y="702"/>
                  <a:pt x="302" y="702"/>
                </a:cubicBezTo>
                <a:cubicBezTo>
                  <a:pt x="302" y="702"/>
                  <a:pt x="302" y="702"/>
                  <a:pt x="302" y="702"/>
                </a:cubicBezTo>
                <a:cubicBezTo>
                  <a:pt x="301" y="703"/>
                  <a:pt x="300" y="704"/>
                  <a:pt x="301" y="705"/>
                </a:cubicBezTo>
                <a:cubicBezTo>
                  <a:pt x="302" y="707"/>
                  <a:pt x="304" y="709"/>
                  <a:pt x="307" y="711"/>
                </a:cubicBezTo>
                <a:cubicBezTo>
                  <a:pt x="310" y="712"/>
                  <a:pt x="313" y="715"/>
                  <a:pt x="315" y="718"/>
                </a:cubicBezTo>
                <a:cubicBezTo>
                  <a:pt x="317" y="719"/>
                  <a:pt x="317" y="720"/>
                  <a:pt x="317" y="722"/>
                </a:cubicBezTo>
                <a:cubicBezTo>
                  <a:pt x="317" y="723"/>
                  <a:pt x="317" y="724"/>
                  <a:pt x="317" y="726"/>
                </a:cubicBezTo>
                <a:cubicBezTo>
                  <a:pt x="316" y="728"/>
                  <a:pt x="317" y="729"/>
                  <a:pt x="318" y="731"/>
                </a:cubicBezTo>
                <a:cubicBezTo>
                  <a:pt x="322" y="735"/>
                  <a:pt x="328" y="738"/>
                  <a:pt x="330" y="744"/>
                </a:cubicBezTo>
                <a:cubicBezTo>
                  <a:pt x="331" y="745"/>
                  <a:pt x="332" y="745"/>
                  <a:pt x="333" y="744"/>
                </a:cubicBezTo>
                <a:cubicBezTo>
                  <a:pt x="335" y="743"/>
                  <a:pt x="335" y="742"/>
                  <a:pt x="335" y="740"/>
                </a:cubicBezTo>
                <a:cubicBezTo>
                  <a:pt x="334" y="738"/>
                  <a:pt x="333" y="737"/>
                  <a:pt x="332" y="735"/>
                </a:cubicBezTo>
                <a:cubicBezTo>
                  <a:pt x="331" y="734"/>
                  <a:pt x="327" y="728"/>
                  <a:pt x="327" y="726"/>
                </a:cubicBezTo>
                <a:cubicBezTo>
                  <a:pt x="326" y="725"/>
                  <a:pt x="326" y="723"/>
                  <a:pt x="325" y="722"/>
                </a:cubicBezTo>
                <a:cubicBezTo>
                  <a:pt x="325" y="720"/>
                  <a:pt x="325" y="717"/>
                  <a:pt x="324" y="715"/>
                </a:cubicBezTo>
                <a:cubicBezTo>
                  <a:pt x="324" y="712"/>
                  <a:pt x="321" y="711"/>
                  <a:pt x="320" y="708"/>
                </a:cubicBezTo>
                <a:cubicBezTo>
                  <a:pt x="319" y="705"/>
                  <a:pt x="317" y="701"/>
                  <a:pt x="315" y="697"/>
                </a:cubicBezTo>
                <a:cubicBezTo>
                  <a:pt x="313" y="694"/>
                  <a:pt x="311" y="690"/>
                  <a:pt x="308" y="686"/>
                </a:cubicBezTo>
                <a:cubicBezTo>
                  <a:pt x="308" y="686"/>
                  <a:pt x="307" y="685"/>
                  <a:pt x="307" y="684"/>
                </a:cubicBezTo>
                <a:cubicBezTo>
                  <a:pt x="307" y="680"/>
                  <a:pt x="306" y="675"/>
                  <a:pt x="307" y="671"/>
                </a:cubicBezTo>
                <a:cubicBezTo>
                  <a:pt x="307" y="670"/>
                  <a:pt x="308" y="670"/>
                  <a:pt x="308" y="670"/>
                </a:cubicBezTo>
                <a:cubicBezTo>
                  <a:pt x="310" y="671"/>
                  <a:pt x="312" y="672"/>
                  <a:pt x="313" y="672"/>
                </a:cubicBezTo>
                <a:cubicBezTo>
                  <a:pt x="315" y="673"/>
                  <a:pt x="316" y="674"/>
                  <a:pt x="316" y="676"/>
                </a:cubicBezTo>
                <a:cubicBezTo>
                  <a:pt x="317" y="680"/>
                  <a:pt x="317" y="684"/>
                  <a:pt x="319" y="687"/>
                </a:cubicBezTo>
                <a:cubicBezTo>
                  <a:pt x="321" y="693"/>
                  <a:pt x="324" y="698"/>
                  <a:pt x="327" y="702"/>
                </a:cubicBezTo>
                <a:cubicBezTo>
                  <a:pt x="328" y="703"/>
                  <a:pt x="329" y="704"/>
                  <a:pt x="329" y="705"/>
                </a:cubicBezTo>
                <a:cubicBezTo>
                  <a:pt x="330" y="708"/>
                  <a:pt x="332" y="710"/>
                  <a:pt x="334" y="711"/>
                </a:cubicBezTo>
                <a:cubicBezTo>
                  <a:pt x="335" y="712"/>
                  <a:pt x="337" y="713"/>
                  <a:pt x="338" y="715"/>
                </a:cubicBezTo>
                <a:cubicBezTo>
                  <a:pt x="339" y="715"/>
                  <a:pt x="339" y="716"/>
                  <a:pt x="338" y="717"/>
                </a:cubicBezTo>
                <a:cubicBezTo>
                  <a:pt x="338" y="718"/>
                  <a:pt x="338" y="718"/>
                  <a:pt x="337" y="719"/>
                </a:cubicBezTo>
                <a:cubicBezTo>
                  <a:pt x="336" y="720"/>
                  <a:pt x="337" y="722"/>
                  <a:pt x="338" y="723"/>
                </a:cubicBezTo>
                <a:cubicBezTo>
                  <a:pt x="339" y="724"/>
                  <a:pt x="341" y="725"/>
                  <a:pt x="343" y="726"/>
                </a:cubicBezTo>
                <a:cubicBezTo>
                  <a:pt x="345" y="727"/>
                  <a:pt x="346" y="728"/>
                  <a:pt x="346" y="731"/>
                </a:cubicBezTo>
                <a:cubicBezTo>
                  <a:pt x="346" y="732"/>
                  <a:pt x="347" y="733"/>
                  <a:pt x="348" y="733"/>
                </a:cubicBezTo>
                <a:cubicBezTo>
                  <a:pt x="357" y="743"/>
                  <a:pt x="360" y="747"/>
                  <a:pt x="362" y="758"/>
                </a:cubicBezTo>
                <a:cubicBezTo>
                  <a:pt x="362" y="759"/>
                  <a:pt x="362" y="760"/>
                  <a:pt x="362" y="761"/>
                </a:cubicBezTo>
                <a:cubicBezTo>
                  <a:pt x="362" y="762"/>
                  <a:pt x="361" y="763"/>
                  <a:pt x="361" y="764"/>
                </a:cubicBezTo>
                <a:cubicBezTo>
                  <a:pt x="359" y="767"/>
                  <a:pt x="360" y="769"/>
                  <a:pt x="361" y="772"/>
                </a:cubicBezTo>
                <a:cubicBezTo>
                  <a:pt x="362" y="774"/>
                  <a:pt x="364" y="776"/>
                  <a:pt x="367" y="777"/>
                </a:cubicBezTo>
                <a:cubicBezTo>
                  <a:pt x="369" y="778"/>
                  <a:pt x="371" y="779"/>
                  <a:pt x="373" y="782"/>
                </a:cubicBezTo>
                <a:cubicBezTo>
                  <a:pt x="374" y="784"/>
                  <a:pt x="377" y="785"/>
                  <a:pt x="379" y="786"/>
                </a:cubicBezTo>
                <a:cubicBezTo>
                  <a:pt x="380" y="786"/>
                  <a:pt x="382" y="786"/>
                  <a:pt x="383" y="786"/>
                </a:cubicBezTo>
                <a:cubicBezTo>
                  <a:pt x="384" y="787"/>
                  <a:pt x="385" y="787"/>
                  <a:pt x="386" y="788"/>
                </a:cubicBezTo>
                <a:cubicBezTo>
                  <a:pt x="390" y="791"/>
                  <a:pt x="394" y="794"/>
                  <a:pt x="399" y="795"/>
                </a:cubicBezTo>
                <a:cubicBezTo>
                  <a:pt x="401" y="796"/>
                  <a:pt x="404" y="797"/>
                  <a:pt x="406" y="798"/>
                </a:cubicBezTo>
                <a:cubicBezTo>
                  <a:pt x="408" y="800"/>
                  <a:pt x="411" y="801"/>
                  <a:pt x="414" y="801"/>
                </a:cubicBezTo>
                <a:cubicBezTo>
                  <a:pt x="424" y="804"/>
                  <a:pt x="424" y="804"/>
                  <a:pt x="433" y="801"/>
                </a:cubicBezTo>
                <a:cubicBezTo>
                  <a:pt x="436" y="800"/>
                  <a:pt x="439" y="800"/>
                  <a:pt x="441" y="802"/>
                </a:cubicBezTo>
                <a:cubicBezTo>
                  <a:pt x="445" y="806"/>
                  <a:pt x="450" y="809"/>
                  <a:pt x="454" y="814"/>
                </a:cubicBezTo>
                <a:cubicBezTo>
                  <a:pt x="456" y="816"/>
                  <a:pt x="458" y="818"/>
                  <a:pt x="461" y="818"/>
                </a:cubicBezTo>
                <a:cubicBezTo>
                  <a:pt x="465" y="818"/>
                  <a:pt x="468" y="819"/>
                  <a:pt x="472" y="821"/>
                </a:cubicBezTo>
                <a:cubicBezTo>
                  <a:pt x="476" y="822"/>
                  <a:pt x="480" y="824"/>
                  <a:pt x="485" y="823"/>
                </a:cubicBezTo>
                <a:cubicBezTo>
                  <a:pt x="486" y="823"/>
                  <a:pt x="486" y="824"/>
                  <a:pt x="487" y="825"/>
                </a:cubicBezTo>
                <a:cubicBezTo>
                  <a:pt x="488" y="827"/>
                  <a:pt x="490" y="829"/>
                  <a:pt x="491" y="831"/>
                </a:cubicBezTo>
                <a:cubicBezTo>
                  <a:pt x="493" y="833"/>
                  <a:pt x="495" y="835"/>
                  <a:pt x="497" y="838"/>
                </a:cubicBezTo>
                <a:cubicBezTo>
                  <a:pt x="498" y="839"/>
                  <a:pt x="499" y="841"/>
                  <a:pt x="498" y="843"/>
                </a:cubicBezTo>
                <a:cubicBezTo>
                  <a:pt x="497" y="845"/>
                  <a:pt x="499" y="847"/>
                  <a:pt x="501" y="848"/>
                </a:cubicBezTo>
                <a:cubicBezTo>
                  <a:pt x="503" y="848"/>
                  <a:pt x="504" y="848"/>
                  <a:pt x="505" y="848"/>
                </a:cubicBezTo>
                <a:cubicBezTo>
                  <a:pt x="506" y="848"/>
                  <a:pt x="507" y="848"/>
                  <a:pt x="507" y="849"/>
                </a:cubicBezTo>
                <a:cubicBezTo>
                  <a:pt x="509" y="851"/>
                  <a:pt x="512" y="852"/>
                  <a:pt x="512" y="855"/>
                </a:cubicBezTo>
                <a:cubicBezTo>
                  <a:pt x="513" y="858"/>
                  <a:pt x="515" y="859"/>
                  <a:pt x="518" y="859"/>
                </a:cubicBezTo>
                <a:cubicBezTo>
                  <a:pt x="519" y="859"/>
                  <a:pt x="520" y="859"/>
                  <a:pt x="521" y="859"/>
                </a:cubicBezTo>
                <a:cubicBezTo>
                  <a:pt x="523" y="858"/>
                  <a:pt x="526" y="859"/>
                  <a:pt x="528" y="861"/>
                </a:cubicBezTo>
                <a:cubicBezTo>
                  <a:pt x="529" y="863"/>
                  <a:pt x="532" y="864"/>
                  <a:pt x="533" y="865"/>
                </a:cubicBezTo>
                <a:cubicBezTo>
                  <a:pt x="535" y="867"/>
                  <a:pt x="536" y="867"/>
                  <a:pt x="539" y="865"/>
                </a:cubicBezTo>
                <a:cubicBezTo>
                  <a:pt x="540" y="864"/>
                  <a:pt x="540" y="863"/>
                  <a:pt x="539" y="862"/>
                </a:cubicBezTo>
                <a:cubicBezTo>
                  <a:pt x="539" y="861"/>
                  <a:pt x="539" y="860"/>
                  <a:pt x="539" y="859"/>
                </a:cubicBezTo>
                <a:cubicBezTo>
                  <a:pt x="542" y="858"/>
                  <a:pt x="543" y="856"/>
                  <a:pt x="545" y="854"/>
                </a:cubicBezTo>
                <a:cubicBezTo>
                  <a:pt x="545" y="853"/>
                  <a:pt x="546" y="853"/>
                  <a:pt x="547" y="854"/>
                </a:cubicBezTo>
                <a:cubicBezTo>
                  <a:pt x="550" y="855"/>
                  <a:pt x="551" y="857"/>
                  <a:pt x="552" y="859"/>
                </a:cubicBezTo>
                <a:cubicBezTo>
                  <a:pt x="552" y="862"/>
                  <a:pt x="552" y="863"/>
                  <a:pt x="554" y="865"/>
                </a:cubicBezTo>
                <a:cubicBezTo>
                  <a:pt x="555" y="867"/>
                  <a:pt x="556" y="870"/>
                  <a:pt x="558" y="872"/>
                </a:cubicBezTo>
                <a:cubicBezTo>
                  <a:pt x="558" y="872"/>
                  <a:pt x="558" y="873"/>
                  <a:pt x="558" y="874"/>
                </a:cubicBezTo>
                <a:cubicBezTo>
                  <a:pt x="558" y="878"/>
                  <a:pt x="558" y="882"/>
                  <a:pt x="558" y="886"/>
                </a:cubicBezTo>
                <a:cubicBezTo>
                  <a:pt x="558" y="888"/>
                  <a:pt x="558" y="890"/>
                  <a:pt x="559" y="891"/>
                </a:cubicBezTo>
                <a:cubicBezTo>
                  <a:pt x="560" y="892"/>
                  <a:pt x="560" y="893"/>
                  <a:pt x="559" y="894"/>
                </a:cubicBezTo>
                <a:cubicBezTo>
                  <a:pt x="557" y="896"/>
                  <a:pt x="556" y="899"/>
                  <a:pt x="553" y="901"/>
                </a:cubicBezTo>
                <a:cubicBezTo>
                  <a:pt x="549" y="902"/>
                  <a:pt x="548" y="904"/>
                  <a:pt x="547" y="908"/>
                </a:cubicBezTo>
                <a:cubicBezTo>
                  <a:pt x="546" y="909"/>
                  <a:pt x="545" y="911"/>
                  <a:pt x="544" y="912"/>
                </a:cubicBezTo>
                <a:cubicBezTo>
                  <a:pt x="542" y="912"/>
                  <a:pt x="540" y="913"/>
                  <a:pt x="539" y="914"/>
                </a:cubicBezTo>
                <a:cubicBezTo>
                  <a:pt x="539" y="914"/>
                  <a:pt x="538" y="915"/>
                  <a:pt x="538" y="916"/>
                </a:cubicBezTo>
                <a:cubicBezTo>
                  <a:pt x="536" y="923"/>
                  <a:pt x="536" y="923"/>
                  <a:pt x="534" y="928"/>
                </a:cubicBezTo>
                <a:cubicBezTo>
                  <a:pt x="533" y="928"/>
                  <a:pt x="533" y="929"/>
                  <a:pt x="533" y="929"/>
                </a:cubicBezTo>
                <a:cubicBezTo>
                  <a:pt x="533" y="932"/>
                  <a:pt x="532" y="935"/>
                  <a:pt x="533" y="938"/>
                </a:cubicBezTo>
                <a:cubicBezTo>
                  <a:pt x="533" y="940"/>
                  <a:pt x="535" y="941"/>
                  <a:pt x="537" y="942"/>
                </a:cubicBezTo>
                <a:cubicBezTo>
                  <a:pt x="537" y="942"/>
                  <a:pt x="538" y="942"/>
                  <a:pt x="538" y="942"/>
                </a:cubicBezTo>
                <a:cubicBezTo>
                  <a:pt x="538" y="941"/>
                  <a:pt x="539" y="941"/>
                  <a:pt x="539" y="940"/>
                </a:cubicBezTo>
                <a:cubicBezTo>
                  <a:pt x="539" y="941"/>
                  <a:pt x="539" y="941"/>
                  <a:pt x="539" y="942"/>
                </a:cubicBezTo>
                <a:cubicBezTo>
                  <a:pt x="539" y="943"/>
                  <a:pt x="539" y="945"/>
                  <a:pt x="538" y="946"/>
                </a:cubicBezTo>
                <a:cubicBezTo>
                  <a:pt x="536" y="947"/>
                  <a:pt x="534" y="948"/>
                  <a:pt x="533" y="949"/>
                </a:cubicBezTo>
                <a:cubicBezTo>
                  <a:pt x="530" y="951"/>
                  <a:pt x="529" y="954"/>
                  <a:pt x="530" y="957"/>
                </a:cubicBezTo>
                <a:cubicBezTo>
                  <a:pt x="530" y="958"/>
                  <a:pt x="531" y="960"/>
                  <a:pt x="531" y="961"/>
                </a:cubicBezTo>
                <a:cubicBezTo>
                  <a:pt x="531" y="962"/>
                  <a:pt x="531" y="963"/>
                  <a:pt x="531" y="964"/>
                </a:cubicBezTo>
                <a:cubicBezTo>
                  <a:pt x="530" y="965"/>
                  <a:pt x="531" y="967"/>
                  <a:pt x="532" y="967"/>
                </a:cubicBezTo>
                <a:cubicBezTo>
                  <a:pt x="534" y="968"/>
                  <a:pt x="536" y="969"/>
                  <a:pt x="537" y="970"/>
                </a:cubicBezTo>
                <a:cubicBezTo>
                  <a:pt x="539" y="971"/>
                  <a:pt x="541" y="973"/>
                  <a:pt x="542" y="975"/>
                </a:cubicBezTo>
                <a:cubicBezTo>
                  <a:pt x="543" y="977"/>
                  <a:pt x="544" y="979"/>
                  <a:pt x="546" y="980"/>
                </a:cubicBezTo>
                <a:cubicBezTo>
                  <a:pt x="547" y="981"/>
                  <a:pt x="547" y="982"/>
                  <a:pt x="548" y="983"/>
                </a:cubicBezTo>
                <a:cubicBezTo>
                  <a:pt x="549" y="987"/>
                  <a:pt x="551" y="990"/>
                  <a:pt x="552" y="993"/>
                </a:cubicBezTo>
                <a:cubicBezTo>
                  <a:pt x="554" y="998"/>
                  <a:pt x="557" y="1002"/>
                  <a:pt x="559" y="1006"/>
                </a:cubicBezTo>
                <a:cubicBezTo>
                  <a:pt x="562" y="1010"/>
                  <a:pt x="565" y="1015"/>
                  <a:pt x="568" y="1020"/>
                </a:cubicBezTo>
                <a:cubicBezTo>
                  <a:pt x="568" y="1020"/>
                  <a:pt x="568" y="1021"/>
                  <a:pt x="568" y="1022"/>
                </a:cubicBezTo>
                <a:cubicBezTo>
                  <a:pt x="568" y="1025"/>
                  <a:pt x="569" y="1026"/>
                  <a:pt x="571" y="1028"/>
                </a:cubicBezTo>
                <a:cubicBezTo>
                  <a:pt x="576" y="1034"/>
                  <a:pt x="582" y="1037"/>
                  <a:pt x="588" y="1041"/>
                </a:cubicBezTo>
                <a:cubicBezTo>
                  <a:pt x="589" y="1042"/>
                  <a:pt x="591" y="1042"/>
                  <a:pt x="592" y="1043"/>
                </a:cubicBezTo>
                <a:cubicBezTo>
                  <a:pt x="595" y="1044"/>
                  <a:pt x="599" y="1046"/>
                  <a:pt x="601" y="1048"/>
                </a:cubicBezTo>
                <a:cubicBezTo>
                  <a:pt x="604" y="1052"/>
                  <a:pt x="608" y="1055"/>
                  <a:pt x="611" y="1058"/>
                </a:cubicBezTo>
                <a:cubicBezTo>
                  <a:pt x="612" y="1058"/>
                  <a:pt x="613" y="1060"/>
                  <a:pt x="613" y="1061"/>
                </a:cubicBezTo>
                <a:cubicBezTo>
                  <a:pt x="613" y="1062"/>
                  <a:pt x="613" y="1064"/>
                  <a:pt x="613" y="1065"/>
                </a:cubicBezTo>
                <a:cubicBezTo>
                  <a:pt x="614" y="1068"/>
                  <a:pt x="615" y="1071"/>
                  <a:pt x="614" y="1074"/>
                </a:cubicBezTo>
                <a:cubicBezTo>
                  <a:pt x="613" y="1075"/>
                  <a:pt x="614" y="1076"/>
                  <a:pt x="614" y="1077"/>
                </a:cubicBezTo>
                <a:cubicBezTo>
                  <a:pt x="616" y="1083"/>
                  <a:pt x="615" y="1089"/>
                  <a:pt x="614" y="1094"/>
                </a:cubicBezTo>
                <a:cubicBezTo>
                  <a:pt x="614" y="1095"/>
                  <a:pt x="614" y="1096"/>
                  <a:pt x="614" y="1097"/>
                </a:cubicBezTo>
                <a:cubicBezTo>
                  <a:pt x="616" y="1105"/>
                  <a:pt x="615" y="1114"/>
                  <a:pt x="615" y="1123"/>
                </a:cubicBezTo>
                <a:cubicBezTo>
                  <a:pt x="615" y="1125"/>
                  <a:pt x="615" y="1128"/>
                  <a:pt x="614" y="1130"/>
                </a:cubicBezTo>
                <a:cubicBezTo>
                  <a:pt x="614" y="1133"/>
                  <a:pt x="613" y="1136"/>
                  <a:pt x="612" y="1138"/>
                </a:cubicBezTo>
                <a:cubicBezTo>
                  <a:pt x="612" y="1140"/>
                  <a:pt x="612" y="1142"/>
                  <a:pt x="613" y="1143"/>
                </a:cubicBezTo>
                <a:cubicBezTo>
                  <a:pt x="613" y="1146"/>
                  <a:pt x="613" y="1149"/>
                  <a:pt x="612" y="1151"/>
                </a:cubicBezTo>
                <a:cubicBezTo>
                  <a:pt x="611" y="1154"/>
                  <a:pt x="611" y="1156"/>
                  <a:pt x="612" y="1159"/>
                </a:cubicBezTo>
                <a:cubicBezTo>
                  <a:pt x="614" y="1162"/>
                  <a:pt x="613" y="1166"/>
                  <a:pt x="614" y="1169"/>
                </a:cubicBezTo>
                <a:cubicBezTo>
                  <a:pt x="615" y="1171"/>
                  <a:pt x="614" y="1173"/>
                  <a:pt x="614" y="1174"/>
                </a:cubicBezTo>
                <a:cubicBezTo>
                  <a:pt x="614" y="1176"/>
                  <a:pt x="614" y="1177"/>
                  <a:pt x="615" y="1179"/>
                </a:cubicBezTo>
                <a:cubicBezTo>
                  <a:pt x="615" y="1180"/>
                  <a:pt x="615" y="1181"/>
                  <a:pt x="615" y="1183"/>
                </a:cubicBezTo>
                <a:cubicBezTo>
                  <a:pt x="614" y="1185"/>
                  <a:pt x="613" y="1187"/>
                  <a:pt x="613" y="1189"/>
                </a:cubicBezTo>
                <a:cubicBezTo>
                  <a:pt x="611" y="1195"/>
                  <a:pt x="610" y="1202"/>
                  <a:pt x="608" y="1208"/>
                </a:cubicBezTo>
                <a:cubicBezTo>
                  <a:pt x="608" y="1210"/>
                  <a:pt x="608" y="1211"/>
                  <a:pt x="607" y="1211"/>
                </a:cubicBezTo>
                <a:cubicBezTo>
                  <a:pt x="605" y="1213"/>
                  <a:pt x="605" y="1215"/>
                  <a:pt x="606" y="1217"/>
                </a:cubicBezTo>
                <a:cubicBezTo>
                  <a:pt x="608" y="1220"/>
                  <a:pt x="608" y="1224"/>
                  <a:pt x="610" y="1227"/>
                </a:cubicBezTo>
                <a:cubicBezTo>
                  <a:pt x="612" y="1229"/>
                  <a:pt x="612" y="1232"/>
                  <a:pt x="610" y="1235"/>
                </a:cubicBezTo>
                <a:cubicBezTo>
                  <a:pt x="609" y="1237"/>
                  <a:pt x="609" y="1238"/>
                  <a:pt x="609" y="1240"/>
                </a:cubicBezTo>
                <a:cubicBezTo>
                  <a:pt x="609" y="1242"/>
                  <a:pt x="609" y="1243"/>
                  <a:pt x="609" y="1245"/>
                </a:cubicBezTo>
                <a:cubicBezTo>
                  <a:pt x="609" y="1247"/>
                  <a:pt x="610" y="1249"/>
                  <a:pt x="611" y="1251"/>
                </a:cubicBezTo>
                <a:cubicBezTo>
                  <a:pt x="612" y="1252"/>
                  <a:pt x="613" y="1253"/>
                  <a:pt x="613" y="1254"/>
                </a:cubicBezTo>
                <a:cubicBezTo>
                  <a:pt x="610" y="1253"/>
                  <a:pt x="610" y="1254"/>
                  <a:pt x="609" y="1256"/>
                </a:cubicBezTo>
                <a:cubicBezTo>
                  <a:pt x="609" y="1257"/>
                  <a:pt x="609" y="1258"/>
                  <a:pt x="609" y="1259"/>
                </a:cubicBezTo>
                <a:cubicBezTo>
                  <a:pt x="609" y="1262"/>
                  <a:pt x="610" y="1264"/>
                  <a:pt x="610" y="1267"/>
                </a:cubicBezTo>
                <a:cubicBezTo>
                  <a:pt x="610" y="1268"/>
                  <a:pt x="612" y="1269"/>
                  <a:pt x="613" y="1268"/>
                </a:cubicBezTo>
                <a:cubicBezTo>
                  <a:pt x="614" y="1267"/>
                  <a:pt x="615" y="1266"/>
                  <a:pt x="615" y="1264"/>
                </a:cubicBezTo>
                <a:cubicBezTo>
                  <a:pt x="615" y="1262"/>
                  <a:pt x="615" y="1260"/>
                  <a:pt x="615" y="1258"/>
                </a:cubicBezTo>
                <a:cubicBezTo>
                  <a:pt x="615" y="1257"/>
                  <a:pt x="615" y="1255"/>
                  <a:pt x="614" y="1254"/>
                </a:cubicBezTo>
                <a:cubicBezTo>
                  <a:pt x="615" y="1254"/>
                  <a:pt x="616" y="1254"/>
                  <a:pt x="618" y="1253"/>
                </a:cubicBezTo>
                <a:cubicBezTo>
                  <a:pt x="619" y="1252"/>
                  <a:pt x="619" y="1253"/>
                  <a:pt x="619" y="1254"/>
                </a:cubicBezTo>
                <a:cubicBezTo>
                  <a:pt x="619" y="1255"/>
                  <a:pt x="620" y="1256"/>
                  <a:pt x="620" y="1256"/>
                </a:cubicBezTo>
                <a:cubicBezTo>
                  <a:pt x="620" y="1260"/>
                  <a:pt x="619" y="1264"/>
                  <a:pt x="619" y="1268"/>
                </a:cubicBezTo>
                <a:cubicBezTo>
                  <a:pt x="619" y="1271"/>
                  <a:pt x="619" y="1275"/>
                  <a:pt x="618" y="1279"/>
                </a:cubicBezTo>
                <a:cubicBezTo>
                  <a:pt x="618" y="1280"/>
                  <a:pt x="618" y="1281"/>
                  <a:pt x="619" y="1282"/>
                </a:cubicBezTo>
                <a:cubicBezTo>
                  <a:pt x="621" y="1285"/>
                  <a:pt x="620" y="1289"/>
                  <a:pt x="618" y="1292"/>
                </a:cubicBezTo>
                <a:cubicBezTo>
                  <a:pt x="618" y="1293"/>
                  <a:pt x="618" y="1293"/>
                  <a:pt x="617" y="1292"/>
                </a:cubicBezTo>
                <a:cubicBezTo>
                  <a:pt x="617" y="1292"/>
                  <a:pt x="616" y="1292"/>
                  <a:pt x="616" y="1292"/>
                </a:cubicBezTo>
                <a:cubicBezTo>
                  <a:pt x="616" y="1291"/>
                  <a:pt x="616" y="1290"/>
                  <a:pt x="615" y="1289"/>
                </a:cubicBezTo>
                <a:cubicBezTo>
                  <a:pt x="613" y="1289"/>
                  <a:pt x="611" y="1290"/>
                  <a:pt x="610" y="1292"/>
                </a:cubicBezTo>
                <a:cubicBezTo>
                  <a:pt x="610" y="1295"/>
                  <a:pt x="608" y="1298"/>
                  <a:pt x="607" y="1300"/>
                </a:cubicBezTo>
                <a:cubicBezTo>
                  <a:pt x="607" y="1301"/>
                  <a:pt x="607" y="1301"/>
                  <a:pt x="607" y="1302"/>
                </a:cubicBezTo>
                <a:cubicBezTo>
                  <a:pt x="608" y="1302"/>
                  <a:pt x="608" y="1302"/>
                  <a:pt x="609" y="1302"/>
                </a:cubicBezTo>
                <a:cubicBezTo>
                  <a:pt x="610" y="1302"/>
                  <a:pt x="610" y="1301"/>
                  <a:pt x="611" y="1301"/>
                </a:cubicBezTo>
                <a:cubicBezTo>
                  <a:pt x="613" y="1301"/>
                  <a:pt x="614" y="1301"/>
                  <a:pt x="616" y="1302"/>
                </a:cubicBezTo>
                <a:cubicBezTo>
                  <a:pt x="617" y="1302"/>
                  <a:pt x="618" y="1304"/>
                  <a:pt x="617" y="1305"/>
                </a:cubicBezTo>
                <a:cubicBezTo>
                  <a:pt x="617" y="1307"/>
                  <a:pt x="616" y="1309"/>
                  <a:pt x="617" y="1311"/>
                </a:cubicBezTo>
                <a:cubicBezTo>
                  <a:pt x="617" y="1311"/>
                  <a:pt x="617" y="1311"/>
                  <a:pt x="617" y="1311"/>
                </a:cubicBezTo>
                <a:cubicBezTo>
                  <a:pt x="617" y="1311"/>
                  <a:pt x="617" y="1311"/>
                  <a:pt x="617" y="1312"/>
                </a:cubicBezTo>
                <a:cubicBezTo>
                  <a:pt x="617" y="1312"/>
                  <a:pt x="618" y="1312"/>
                  <a:pt x="617" y="1312"/>
                </a:cubicBezTo>
                <a:cubicBezTo>
                  <a:pt x="617" y="1312"/>
                  <a:pt x="617" y="1312"/>
                  <a:pt x="617" y="1312"/>
                </a:cubicBezTo>
                <a:cubicBezTo>
                  <a:pt x="617" y="1312"/>
                  <a:pt x="617" y="1312"/>
                  <a:pt x="617" y="1311"/>
                </a:cubicBezTo>
                <a:cubicBezTo>
                  <a:pt x="617" y="1311"/>
                  <a:pt x="617" y="1311"/>
                  <a:pt x="617" y="1311"/>
                </a:cubicBezTo>
                <a:cubicBezTo>
                  <a:pt x="615" y="1312"/>
                  <a:pt x="614" y="1312"/>
                  <a:pt x="612" y="1313"/>
                </a:cubicBezTo>
                <a:cubicBezTo>
                  <a:pt x="611" y="1314"/>
                  <a:pt x="611" y="1315"/>
                  <a:pt x="611" y="1316"/>
                </a:cubicBezTo>
                <a:cubicBezTo>
                  <a:pt x="611" y="1317"/>
                  <a:pt x="612" y="1318"/>
                  <a:pt x="612" y="1319"/>
                </a:cubicBezTo>
                <a:cubicBezTo>
                  <a:pt x="612" y="1320"/>
                  <a:pt x="613" y="1321"/>
                  <a:pt x="613" y="1321"/>
                </a:cubicBezTo>
                <a:cubicBezTo>
                  <a:pt x="613" y="1322"/>
                  <a:pt x="613" y="1324"/>
                  <a:pt x="614" y="1325"/>
                </a:cubicBezTo>
                <a:cubicBezTo>
                  <a:pt x="614" y="1325"/>
                  <a:pt x="615" y="1325"/>
                  <a:pt x="615" y="1325"/>
                </a:cubicBezTo>
                <a:cubicBezTo>
                  <a:pt x="615" y="1325"/>
                  <a:pt x="615" y="1325"/>
                  <a:pt x="615" y="1325"/>
                </a:cubicBezTo>
                <a:cubicBezTo>
                  <a:pt x="615" y="1325"/>
                  <a:pt x="615" y="1325"/>
                  <a:pt x="615" y="1325"/>
                </a:cubicBezTo>
                <a:cubicBezTo>
                  <a:pt x="615" y="1326"/>
                  <a:pt x="615" y="1326"/>
                  <a:pt x="615" y="1326"/>
                </a:cubicBezTo>
                <a:cubicBezTo>
                  <a:pt x="615" y="1326"/>
                  <a:pt x="615" y="1326"/>
                  <a:pt x="615" y="1325"/>
                </a:cubicBezTo>
                <a:cubicBezTo>
                  <a:pt x="615" y="1326"/>
                  <a:pt x="615" y="1327"/>
                  <a:pt x="615" y="1328"/>
                </a:cubicBezTo>
                <a:cubicBezTo>
                  <a:pt x="614" y="1330"/>
                  <a:pt x="614" y="1330"/>
                  <a:pt x="617" y="1332"/>
                </a:cubicBezTo>
                <a:cubicBezTo>
                  <a:pt x="618" y="1332"/>
                  <a:pt x="619" y="1333"/>
                  <a:pt x="620" y="1334"/>
                </a:cubicBezTo>
                <a:cubicBezTo>
                  <a:pt x="620" y="1334"/>
                  <a:pt x="620" y="1334"/>
                  <a:pt x="620" y="1334"/>
                </a:cubicBezTo>
                <a:cubicBezTo>
                  <a:pt x="620" y="1334"/>
                  <a:pt x="620" y="1334"/>
                  <a:pt x="621" y="1334"/>
                </a:cubicBezTo>
                <a:cubicBezTo>
                  <a:pt x="622" y="1336"/>
                  <a:pt x="622" y="1336"/>
                  <a:pt x="621" y="1338"/>
                </a:cubicBezTo>
                <a:cubicBezTo>
                  <a:pt x="621" y="1338"/>
                  <a:pt x="620" y="1338"/>
                  <a:pt x="620" y="1338"/>
                </a:cubicBezTo>
                <a:cubicBezTo>
                  <a:pt x="620" y="1338"/>
                  <a:pt x="620" y="1338"/>
                  <a:pt x="620" y="1338"/>
                </a:cubicBezTo>
                <a:cubicBezTo>
                  <a:pt x="621" y="1338"/>
                  <a:pt x="621" y="1338"/>
                  <a:pt x="621" y="1338"/>
                </a:cubicBezTo>
                <a:cubicBezTo>
                  <a:pt x="621" y="1340"/>
                  <a:pt x="622" y="1343"/>
                  <a:pt x="621" y="1346"/>
                </a:cubicBezTo>
                <a:cubicBezTo>
                  <a:pt x="620" y="1347"/>
                  <a:pt x="621" y="1348"/>
                  <a:pt x="623" y="1348"/>
                </a:cubicBezTo>
                <a:cubicBezTo>
                  <a:pt x="624" y="1348"/>
                  <a:pt x="625" y="1348"/>
                  <a:pt x="625" y="1346"/>
                </a:cubicBezTo>
                <a:cubicBezTo>
                  <a:pt x="625" y="1344"/>
                  <a:pt x="625" y="1342"/>
                  <a:pt x="626" y="1340"/>
                </a:cubicBezTo>
                <a:cubicBezTo>
                  <a:pt x="626" y="1340"/>
                  <a:pt x="626" y="1340"/>
                  <a:pt x="626" y="1340"/>
                </a:cubicBezTo>
                <a:cubicBezTo>
                  <a:pt x="625" y="1339"/>
                  <a:pt x="625" y="1339"/>
                  <a:pt x="625" y="1339"/>
                </a:cubicBezTo>
                <a:cubicBezTo>
                  <a:pt x="626" y="1339"/>
                  <a:pt x="626" y="1339"/>
                  <a:pt x="626" y="1339"/>
                </a:cubicBezTo>
                <a:cubicBezTo>
                  <a:pt x="626" y="1340"/>
                  <a:pt x="626" y="1340"/>
                  <a:pt x="626" y="1340"/>
                </a:cubicBezTo>
                <a:cubicBezTo>
                  <a:pt x="627" y="1341"/>
                  <a:pt x="627" y="1342"/>
                  <a:pt x="627" y="1343"/>
                </a:cubicBezTo>
                <a:cubicBezTo>
                  <a:pt x="627" y="1344"/>
                  <a:pt x="628" y="1345"/>
                  <a:pt x="628" y="1346"/>
                </a:cubicBezTo>
                <a:cubicBezTo>
                  <a:pt x="629" y="1347"/>
                  <a:pt x="630" y="1348"/>
                  <a:pt x="629" y="1349"/>
                </a:cubicBezTo>
                <a:cubicBezTo>
                  <a:pt x="628" y="1350"/>
                  <a:pt x="627" y="1351"/>
                  <a:pt x="626" y="1351"/>
                </a:cubicBezTo>
                <a:cubicBezTo>
                  <a:pt x="625" y="1351"/>
                  <a:pt x="625" y="1351"/>
                  <a:pt x="624" y="1351"/>
                </a:cubicBezTo>
                <a:cubicBezTo>
                  <a:pt x="624" y="1351"/>
                  <a:pt x="623" y="1351"/>
                  <a:pt x="623" y="1352"/>
                </a:cubicBezTo>
                <a:cubicBezTo>
                  <a:pt x="623" y="1352"/>
                  <a:pt x="623" y="1353"/>
                  <a:pt x="624" y="1353"/>
                </a:cubicBezTo>
                <a:cubicBezTo>
                  <a:pt x="624" y="1353"/>
                  <a:pt x="625" y="1354"/>
                  <a:pt x="626" y="1354"/>
                </a:cubicBezTo>
                <a:cubicBezTo>
                  <a:pt x="629" y="1354"/>
                  <a:pt x="630" y="1356"/>
                  <a:pt x="631" y="1358"/>
                </a:cubicBezTo>
                <a:cubicBezTo>
                  <a:pt x="630" y="1360"/>
                  <a:pt x="631" y="1361"/>
                  <a:pt x="632" y="1362"/>
                </a:cubicBezTo>
                <a:cubicBezTo>
                  <a:pt x="634" y="1363"/>
                  <a:pt x="636" y="1364"/>
                  <a:pt x="638" y="1366"/>
                </a:cubicBezTo>
                <a:cubicBezTo>
                  <a:pt x="638" y="1366"/>
                  <a:pt x="638" y="1366"/>
                  <a:pt x="638" y="1366"/>
                </a:cubicBezTo>
                <a:cubicBezTo>
                  <a:pt x="638" y="1366"/>
                  <a:pt x="638" y="1366"/>
                  <a:pt x="638" y="1366"/>
                </a:cubicBezTo>
                <a:cubicBezTo>
                  <a:pt x="639" y="1366"/>
                  <a:pt x="639" y="1367"/>
                  <a:pt x="639" y="1367"/>
                </a:cubicBezTo>
                <a:cubicBezTo>
                  <a:pt x="640" y="1367"/>
                  <a:pt x="640" y="1367"/>
                  <a:pt x="640" y="1367"/>
                </a:cubicBezTo>
                <a:cubicBezTo>
                  <a:pt x="640" y="1368"/>
                  <a:pt x="640" y="1368"/>
                  <a:pt x="640" y="1368"/>
                </a:cubicBezTo>
                <a:cubicBezTo>
                  <a:pt x="640" y="1367"/>
                  <a:pt x="640" y="1367"/>
                  <a:pt x="640" y="1367"/>
                </a:cubicBezTo>
                <a:cubicBezTo>
                  <a:pt x="640" y="1367"/>
                  <a:pt x="639" y="1367"/>
                  <a:pt x="639" y="1367"/>
                </a:cubicBezTo>
                <a:cubicBezTo>
                  <a:pt x="639" y="1367"/>
                  <a:pt x="638" y="1367"/>
                  <a:pt x="638" y="1366"/>
                </a:cubicBezTo>
                <a:cubicBezTo>
                  <a:pt x="638" y="1366"/>
                  <a:pt x="638" y="1366"/>
                  <a:pt x="638" y="1366"/>
                </a:cubicBezTo>
                <a:cubicBezTo>
                  <a:pt x="638" y="1366"/>
                  <a:pt x="638" y="1366"/>
                  <a:pt x="638" y="1366"/>
                </a:cubicBezTo>
                <a:cubicBezTo>
                  <a:pt x="635" y="1366"/>
                  <a:pt x="633" y="1365"/>
                  <a:pt x="631" y="1364"/>
                </a:cubicBezTo>
                <a:cubicBezTo>
                  <a:pt x="630" y="1364"/>
                  <a:pt x="630" y="1364"/>
                  <a:pt x="629" y="1364"/>
                </a:cubicBezTo>
                <a:cubicBezTo>
                  <a:pt x="629" y="1364"/>
                  <a:pt x="628" y="1364"/>
                  <a:pt x="628" y="1364"/>
                </a:cubicBezTo>
                <a:cubicBezTo>
                  <a:pt x="628" y="1365"/>
                  <a:pt x="629" y="1366"/>
                  <a:pt x="629" y="1366"/>
                </a:cubicBezTo>
                <a:cubicBezTo>
                  <a:pt x="632" y="1368"/>
                  <a:pt x="636" y="1371"/>
                  <a:pt x="639" y="1374"/>
                </a:cubicBezTo>
                <a:cubicBezTo>
                  <a:pt x="640" y="1375"/>
                  <a:pt x="642" y="1376"/>
                  <a:pt x="643" y="1376"/>
                </a:cubicBezTo>
                <a:cubicBezTo>
                  <a:pt x="644" y="1376"/>
                  <a:pt x="646" y="1376"/>
                  <a:pt x="647" y="1376"/>
                </a:cubicBezTo>
                <a:cubicBezTo>
                  <a:pt x="647" y="1376"/>
                  <a:pt x="647" y="1375"/>
                  <a:pt x="648" y="1374"/>
                </a:cubicBezTo>
                <a:cubicBezTo>
                  <a:pt x="648" y="1374"/>
                  <a:pt x="648" y="1374"/>
                  <a:pt x="648" y="1374"/>
                </a:cubicBezTo>
                <a:cubicBezTo>
                  <a:pt x="649" y="1374"/>
                  <a:pt x="649" y="1374"/>
                  <a:pt x="649" y="1375"/>
                </a:cubicBezTo>
                <a:cubicBezTo>
                  <a:pt x="649" y="1375"/>
                  <a:pt x="649" y="1376"/>
                  <a:pt x="649" y="1376"/>
                </a:cubicBezTo>
                <a:cubicBezTo>
                  <a:pt x="649" y="1376"/>
                  <a:pt x="650" y="1377"/>
                  <a:pt x="650" y="1377"/>
                </a:cubicBezTo>
                <a:cubicBezTo>
                  <a:pt x="652" y="1377"/>
                  <a:pt x="653" y="1378"/>
                  <a:pt x="653" y="1380"/>
                </a:cubicBezTo>
                <a:cubicBezTo>
                  <a:pt x="653" y="1381"/>
                  <a:pt x="653" y="1381"/>
                  <a:pt x="654" y="1381"/>
                </a:cubicBezTo>
                <a:cubicBezTo>
                  <a:pt x="656" y="1382"/>
                  <a:pt x="657" y="1383"/>
                  <a:pt x="658" y="1385"/>
                </a:cubicBezTo>
                <a:cubicBezTo>
                  <a:pt x="658" y="1386"/>
                  <a:pt x="660" y="1387"/>
                  <a:pt x="661" y="1387"/>
                </a:cubicBezTo>
                <a:cubicBezTo>
                  <a:pt x="662" y="1385"/>
                  <a:pt x="662" y="1384"/>
                  <a:pt x="664" y="1383"/>
                </a:cubicBezTo>
                <a:cubicBezTo>
                  <a:pt x="665" y="1383"/>
                  <a:pt x="665" y="1383"/>
                  <a:pt x="665" y="1384"/>
                </a:cubicBezTo>
                <a:cubicBezTo>
                  <a:pt x="666" y="1384"/>
                  <a:pt x="666" y="1385"/>
                  <a:pt x="666" y="1385"/>
                </a:cubicBezTo>
                <a:cubicBezTo>
                  <a:pt x="665" y="1386"/>
                  <a:pt x="665" y="1388"/>
                  <a:pt x="666" y="1388"/>
                </a:cubicBezTo>
                <a:cubicBezTo>
                  <a:pt x="667" y="1389"/>
                  <a:pt x="668" y="1389"/>
                  <a:pt x="669" y="1390"/>
                </a:cubicBezTo>
                <a:cubicBezTo>
                  <a:pt x="670" y="1390"/>
                  <a:pt x="671" y="1389"/>
                  <a:pt x="672" y="1389"/>
                </a:cubicBezTo>
                <a:cubicBezTo>
                  <a:pt x="673" y="1389"/>
                  <a:pt x="674" y="1389"/>
                  <a:pt x="675" y="1389"/>
                </a:cubicBezTo>
                <a:cubicBezTo>
                  <a:pt x="677" y="1390"/>
                  <a:pt x="677" y="1390"/>
                  <a:pt x="677" y="1387"/>
                </a:cubicBezTo>
                <a:cubicBezTo>
                  <a:pt x="677" y="1387"/>
                  <a:pt x="676" y="1387"/>
                  <a:pt x="676" y="1387"/>
                </a:cubicBezTo>
                <a:cubicBezTo>
                  <a:pt x="676" y="1387"/>
                  <a:pt x="676" y="1387"/>
                  <a:pt x="676" y="1387"/>
                </a:cubicBezTo>
                <a:cubicBezTo>
                  <a:pt x="676" y="1387"/>
                  <a:pt x="676" y="1386"/>
                  <a:pt x="676" y="1386"/>
                </a:cubicBezTo>
                <a:cubicBezTo>
                  <a:pt x="676" y="1386"/>
                  <a:pt x="676" y="1386"/>
                  <a:pt x="676" y="1387"/>
                </a:cubicBezTo>
                <a:cubicBezTo>
                  <a:pt x="676" y="1387"/>
                  <a:pt x="677" y="1387"/>
                  <a:pt x="677" y="1387"/>
                </a:cubicBezTo>
                <a:cubicBezTo>
                  <a:pt x="677" y="1387"/>
                  <a:pt x="677" y="1387"/>
                  <a:pt x="677" y="1387"/>
                </a:cubicBezTo>
                <a:cubicBezTo>
                  <a:pt x="678" y="1387"/>
                  <a:pt x="680" y="1386"/>
                  <a:pt x="681" y="1386"/>
                </a:cubicBezTo>
                <a:cubicBezTo>
                  <a:pt x="683" y="1385"/>
                  <a:pt x="683" y="1384"/>
                  <a:pt x="683" y="1383"/>
                </a:cubicBezTo>
                <a:cubicBezTo>
                  <a:pt x="684" y="1382"/>
                  <a:pt x="684" y="1382"/>
                  <a:pt x="685" y="1382"/>
                </a:cubicBezTo>
                <a:cubicBezTo>
                  <a:pt x="686" y="1383"/>
                  <a:pt x="687" y="1383"/>
                  <a:pt x="688" y="1383"/>
                </a:cubicBezTo>
                <a:cubicBezTo>
                  <a:pt x="690" y="1382"/>
                  <a:pt x="692" y="1380"/>
                  <a:pt x="694" y="1379"/>
                </a:cubicBezTo>
                <a:cubicBezTo>
                  <a:pt x="694" y="1379"/>
                  <a:pt x="694" y="1378"/>
                  <a:pt x="693" y="1378"/>
                </a:cubicBezTo>
                <a:cubicBezTo>
                  <a:pt x="693" y="1377"/>
                  <a:pt x="691" y="1378"/>
                  <a:pt x="690" y="1377"/>
                </a:cubicBezTo>
                <a:cubicBezTo>
                  <a:pt x="687" y="1376"/>
                  <a:pt x="683" y="1374"/>
                  <a:pt x="679" y="1372"/>
                </a:cubicBezTo>
                <a:cubicBezTo>
                  <a:pt x="679" y="1372"/>
                  <a:pt x="678" y="1372"/>
                  <a:pt x="678" y="1371"/>
                </a:cubicBezTo>
                <a:cubicBezTo>
                  <a:pt x="676" y="1369"/>
                  <a:pt x="674" y="1368"/>
                  <a:pt x="672" y="1366"/>
                </a:cubicBezTo>
                <a:cubicBezTo>
                  <a:pt x="671" y="1365"/>
                  <a:pt x="671" y="1364"/>
                  <a:pt x="671" y="1362"/>
                </a:cubicBezTo>
                <a:cubicBezTo>
                  <a:pt x="670" y="1358"/>
                  <a:pt x="668" y="1357"/>
                  <a:pt x="664" y="1357"/>
                </a:cubicBezTo>
                <a:cubicBezTo>
                  <a:pt x="663" y="1357"/>
                  <a:pt x="662" y="1357"/>
                  <a:pt x="661" y="1357"/>
                </a:cubicBezTo>
                <a:cubicBezTo>
                  <a:pt x="661" y="1357"/>
                  <a:pt x="661" y="1357"/>
                  <a:pt x="661" y="1357"/>
                </a:cubicBezTo>
                <a:cubicBezTo>
                  <a:pt x="661" y="1357"/>
                  <a:pt x="661" y="1357"/>
                  <a:pt x="661" y="1357"/>
                </a:cubicBezTo>
                <a:cubicBezTo>
                  <a:pt x="660" y="1358"/>
                  <a:pt x="660" y="1359"/>
                  <a:pt x="660" y="1359"/>
                </a:cubicBezTo>
                <a:cubicBezTo>
                  <a:pt x="657" y="1361"/>
                  <a:pt x="657" y="1363"/>
                  <a:pt x="657" y="1366"/>
                </a:cubicBezTo>
                <a:cubicBezTo>
                  <a:pt x="657" y="1366"/>
                  <a:pt x="657" y="1366"/>
                  <a:pt x="657" y="1367"/>
                </a:cubicBezTo>
                <a:cubicBezTo>
                  <a:pt x="657" y="1367"/>
                  <a:pt x="656" y="1367"/>
                  <a:pt x="656" y="1367"/>
                </a:cubicBezTo>
                <a:cubicBezTo>
                  <a:pt x="656" y="1367"/>
                  <a:pt x="656" y="1367"/>
                  <a:pt x="656" y="1366"/>
                </a:cubicBezTo>
                <a:cubicBezTo>
                  <a:pt x="656" y="1365"/>
                  <a:pt x="655" y="1364"/>
                  <a:pt x="656" y="1363"/>
                </a:cubicBezTo>
                <a:cubicBezTo>
                  <a:pt x="656" y="1360"/>
                  <a:pt x="658" y="1358"/>
                  <a:pt x="661" y="1357"/>
                </a:cubicBezTo>
                <a:cubicBezTo>
                  <a:pt x="661" y="1357"/>
                  <a:pt x="661" y="1357"/>
                  <a:pt x="661" y="1357"/>
                </a:cubicBezTo>
                <a:cubicBezTo>
                  <a:pt x="661" y="1357"/>
                  <a:pt x="661" y="1357"/>
                  <a:pt x="661" y="1357"/>
                </a:cubicBezTo>
                <a:cubicBezTo>
                  <a:pt x="662" y="1355"/>
                  <a:pt x="663" y="1354"/>
                  <a:pt x="665" y="1354"/>
                </a:cubicBezTo>
                <a:cubicBezTo>
                  <a:pt x="665" y="1355"/>
                  <a:pt x="665" y="1355"/>
                  <a:pt x="666" y="1355"/>
                </a:cubicBezTo>
                <a:cubicBezTo>
                  <a:pt x="666" y="1354"/>
                  <a:pt x="667" y="1354"/>
                  <a:pt x="667" y="1354"/>
                </a:cubicBezTo>
                <a:cubicBezTo>
                  <a:pt x="667" y="1353"/>
                  <a:pt x="667" y="1353"/>
                  <a:pt x="667" y="1352"/>
                </a:cubicBezTo>
                <a:cubicBezTo>
                  <a:pt x="666" y="1350"/>
                  <a:pt x="664" y="1349"/>
                  <a:pt x="663" y="1347"/>
                </a:cubicBezTo>
                <a:cubicBezTo>
                  <a:pt x="662" y="1345"/>
                  <a:pt x="662" y="1342"/>
                  <a:pt x="661" y="1340"/>
                </a:cubicBezTo>
                <a:cubicBezTo>
                  <a:pt x="660" y="1338"/>
                  <a:pt x="661" y="1335"/>
                  <a:pt x="662" y="1334"/>
                </a:cubicBezTo>
                <a:cubicBezTo>
                  <a:pt x="663" y="1333"/>
                  <a:pt x="664" y="1332"/>
                  <a:pt x="665" y="1331"/>
                </a:cubicBezTo>
                <a:cubicBezTo>
                  <a:pt x="667" y="1329"/>
                  <a:pt x="668" y="1327"/>
                  <a:pt x="668" y="1324"/>
                </a:cubicBezTo>
                <a:cubicBezTo>
                  <a:pt x="668" y="1322"/>
                  <a:pt x="668" y="1320"/>
                  <a:pt x="670" y="1318"/>
                </a:cubicBezTo>
                <a:cubicBezTo>
                  <a:pt x="672" y="1316"/>
                  <a:pt x="674" y="1314"/>
                  <a:pt x="675" y="1312"/>
                </a:cubicBezTo>
                <a:cubicBezTo>
                  <a:pt x="676" y="1311"/>
                  <a:pt x="677" y="1309"/>
                  <a:pt x="676" y="1308"/>
                </a:cubicBezTo>
                <a:cubicBezTo>
                  <a:pt x="676" y="1307"/>
                  <a:pt x="676" y="1306"/>
                  <a:pt x="676" y="1305"/>
                </a:cubicBezTo>
                <a:cubicBezTo>
                  <a:pt x="675" y="1303"/>
                  <a:pt x="675" y="1301"/>
                  <a:pt x="672" y="1301"/>
                </a:cubicBezTo>
                <a:cubicBezTo>
                  <a:pt x="670" y="1301"/>
                  <a:pt x="669" y="1300"/>
                  <a:pt x="668" y="1299"/>
                </a:cubicBezTo>
                <a:cubicBezTo>
                  <a:pt x="666" y="1298"/>
                  <a:pt x="665" y="1297"/>
                  <a:pt x="664" y="1296"/>
                </a:cubicBezTo>
                <a:cubicBezTo>
                  <a:pt x="661" y="1293"/>
                  <a:pt x="661" y="1290"/>
                  <a:pt x="663" y="1287"/>
                </a:cubicBezTo>
                <a:cubicBezTo>
                  <a:pt x="664" y="1286"/>
                  <a:pt x="665" y="1285"/>
                  <a:pt x="666" y="1284"/>
                </a:cubicBezTo>
                <a:cubicBezTo>
                  <a:pt x="668" y="1283"/>
                  <a:pt x="670" y="1283"/>
                  <a:pt x="671" y="1282"/>
                </a:cubicBezTo>
                <a:cubicBezTo>
                  <a:pt x="672" y="1282"/>
                  <a:pt x="673" y="1281"/>
                  <a:pt x="673" y="1281"/>
                </a:cubicBezTo>
                <a:cubicBezTo>
                  <a:pt x="673" y="1278"/>
                  <a:pt x="675" y="1276"/>
                  <a:pt x="674" y="1273"/>
                </a:cubicBezTo>
                <a:cubicBezTo>
                  <a:pt x="673" y="1273"/>
                  <a:pt x="673" y="1272"/>
                  <a:pt x="673" y="1271"/>
                </a:cubicBezTo>
                <a:cubicBezTo>
                  <a:pt x="673" y="1268"/>
                  <a:pt x="674" y="1266"/>
                  <a:pt x="675" y="1264"/>
                </a:cubicBezTo>
                <a:cubicBezTo>
                  <a:pt x="677" y="1263"/>
                  <a:pt x="677" y="1262"/>
                  <a:pt x="678" y="1261"/>
                </a:cubicBezTo>
                <a:cubicBezTo>
                  <a:pt x="678" y="1261"/>
                  <a:pt x="678" y="1261"/>
                  <a:pt x="678" y="1261"/>
                </a:cubicBezTo>
                <a:cubicBezTo>
                  <a:pt x="678" y="1261"/>
                  <a:pt x="678" y="1260"/>
                  <a:pt x="678" y="1260"/>
                </a:cubicBezTo>
                <a:cubicBezTo>
                  <a:pt x="677" y="1260"/>
                  <a:pt x="677" y="1260"/>
                  <a:pt x="676" y="1260"/>
                </a:cubicBezTo>
                <a:cubicBezTo>
                  <a:pt x="676" y="1260"/>
                  <a:pt x="676" y="1259"/>
                  <a:pt x="676" y="1259"/>
                </a:cubicBezTo>
                <a:cubicBezTo>
                  <a:pt x="676" y="1259"/>
                  <a:pt x="677" y="1259"/>
                  <a:pt x="677" y="1259"/>
                </a:cubicBezTo>
                <a:cubicBezTo>
                  <a:pt x="677" y="1259"/>
                  <a:pt x="678" y="1260"/>
                  <a:pt x="678" y="1260"/>
                </a:cubicBezTo>
                <a:cubicBezTo>
                  <a:pt x="678" y="1260"/>
                  <a:pt x="678" y="1260"/>
                  <a:pt x="679" y="1260"/>
                </a:cubicBezTo>
                <a:cubicBezTo>
                  <a:pt x="679" y="1260"/>
                  <a:pt x="678" y="1261"/>
                  <a:pt x="678" y="1261"/>
                </a:cubicBezTo>
                <a:cubicBezTo>
                  <a:pt x="679" y="1261"/>
                  <a:pt x="680" y="1261"/>
                  <a:pt x="680" y="1261"/>
                </a:cubicBezTo>
                <a:cubicBezTo>
                  <a:pt x="682" y="1261"/>
                  <a:pt x="684" y="1259"/>
                  <a:pt x="683" y="1258"/>
                </a:cubicBezTo>
                <a:cubicBezTo>
                  <a:pt x="683" y="1256"/>
                  <a:pt x="682" y="1255"/>
                  <a:pt x="682" y="1253"/>
                </a:cubicBezTo>
                <a:cubicBezTo>
                  <a:pt x="682" y="1253"/>
                  <a:pt x="681" y="1252"/>
                  <a:pt x="680" y="1253"/>
                </a:cubicBezTo>
                <a:cubicBezTo>
                  <a:pt x="679" y="1253"/>
                  <a:pt x="679" y="1253"/>
                  <a:pt x="678" y="1253"/>
                </a:cubicBezTo>
                <a:cubicBezTo>
                  <a:pt x="676" y="1255"/>
                  <a:pt x="673" y="1253"/>
                  <a:pt x="672" y="1251"/>
                </a:cubicBezTo>
                <a:cubicBezTo>
                  <a:pt x="672" y="1249"/>
                  <a:pt x="671" y="1247"/>
                  <a:pt x="671" y="1245"/>
                </a:cubicBezTo>
                <a:cubicBezTo>
                  <a:pt x="671" y="1245"/>
                  <a:pt x="671" y="1244"/>
                  <a:pt x="671" y="1244"/>
                </a:cubicBezTo>
                <a:cubicBezTo>
                  <a:pt x="670" y="1243"/>
                  <a:pt x="672" y="1242"/>
                  <a:pt x="673" y="1242"/>
                </a:cubicBezTo>
                <a:cubicBezTo>
                  <a:pt x="675" y="1243"/>
                  <a:pt x="676" y="1243"/>
                  <a:pt x="678" y="1244"/>
                </a:cubicBezTo>
                <a:cubicBezTo>
                  <a:pt x="680" y="1245"/>
                  <a:pt x="682" y="1245"/>
                  <a:pt x="685" y="1245"/>
                </a:cubicBezTo>
                <a:cubicBezTo>
                  <a:pt x="687" y="1245"/>
                  <a:pt x="690" y="1242"/>
                  <a:pt x="690" y="1240"/>
                </a:cubicBezTo>
                <a:cubicBezTo>
                  <a:pt x="690" y="1238"/>
                  <a:pt x="689" y="1236"/>
                  <a:pt x="689" y="1235"/>
                </a:cubicBezTo>
                <a:cubicBezTo>
                  <a:pt x="689" y="1233"/>
                  <a:pt x="690" y="1231"/>
                  <a:pt x="690" y="1229"/>
                </a:cubicBezTo>
                <a:cubicBezTo>
                  <a:pt x="690" y="1228"/>
                  <a:pt x="690" y="1228"/>
                  <a:pt x="690" y="1228"/>
                </a:cubicBezTo>
                <a:cubicBezTo>
                  <a:pt x="689" y="1227"/>
                  <a:pt x="689" y="1227"/>
                  <a:pt x="689" y="1226"/>
                </a:cubicBezTo>
                <a:cubicBezTo>
                  <a:pt x="689" y="1224"/>
                  <a:pt x="690" y="1223"/>
                  <a:pt x="691" y="1224"/>
                </a:cubicBezTo>
                <a:cubicBezTo>
                  <a:pt x="698" y="1225"/>
                  <a:pt x="704" y="1224"/>
                  <a:pt x="710" y="1222"/>
                </a:cubicBezTo>
                <a:cubicBezTo>
                  <a:pt x="712" y="1221"/>
                  <a:pt x="714" y="1221"/>
                  <a:pt x="715" y="1220"/>
                </a:cubicBezTo>
                <a:cubicBezTo>
                  <a:pt x="718" y="1219"/>
                  <a:pt x="720" y="1217"/>
                  <a:pt x="721" y="1214"/>
                </a:cubicBezTo>
                <a:cubicBezTo>
                  <a:pt x="721" y="1212"/>
                  <a:pt x="722" y="1210"/>
                  <a:pt x="723" y="1208"/>
                </a:cubicBezTo>
                <a:cubicBezTo>
                  <a:pt x="724" y="1207"/>
                  <a:pt x="724" y="1206"/>
                  <a:pt x="724" y="1205"/>
                </a:cubicBezTo>
                <a:cubicBezTo>
                  <a:pt x="724" y="1204"/>
                  <a:pt x="724" y="1202"/>
                  <a:pt x="723" y="1201"/>
                </a:cubicBezTo>
                <a:cubicBezTo>
                  <a:pt x="722" y="1201"/>
                  <a:pt x="721" y="1201"/>
                  <a:pt x="720" y="1200"/>
                </a:cubicBezTo>
                <a:cubicBezTo>
                  <a:pt x="719" y="1200"/>
                  <a:pt x="719" y="1199"/>
                  <a:pt x="719" y="1198"/>
                </a:cubicBezTo>
                <a:cubicBezTo>
                  <a:pt x="719" y="1197"/>
                  <a:pt x="719" y="1196"/>
                  <a:pt x="720" y="1195"/>
                </a:cubicBezTo>
                <a:cubicBezTo>
                  <a:pt x="721" y="1193"/>
                  <a:pt x="719" y="1191"/>
                  <a:pt x="718" y="1190"/>
                </a:cubicBezTo>
                <a:cubicBezTo>
                  <a:pt x="716" y="1188"/>
                  <a:pt x="714" y="1187"/>
                  <a:pt x="712" y="1186"/>
                </a:cubicBezTo>
                <a:cubicBezTo>
                  <a:pt x="712" y="1186"/>
                  <a:pt x="712" y="1185"/>
                  <a:pt x="711" y="1185"/>
                </a:cubicBezTo>
                <a:cubicBezTo>
                  <a:pt x="711" y="1185"/>
                  <a:pt x="711" y="1185"/>
                  <a:pt x="711" y="1185"/>
                </a:cubicBezTo>
                <a:cubicBezTo>
                  <a:pt x="711" y="1185"/>
                  <a:pt x="711" y="1185"/>
                  <a:pt x="711" y="1185"/>
                </a:cubicBezTo>
                <a:cubicBezTo>
                  <a:pt x="711" y="1185"/>
                  <a:pt x="711" y="1185"/>
                  <a:pt x="711" y="1185"/>
                </a:cubicBezTo>
                <a:cubicBezTo>
                  <a:pt x="711" y="1185"/>
                  <a:pt x="711" y="1185"/>
                  <a:pt x="711" y="1185"/>
                </a:cubicBezTo>
                <a:cubicBezTo>
                  <a:pt x="712" y="1185"/>
                  <a:pt x="712" y="1185"/>
                  <a:pt x="712" y="1185"/>
                </a:cubicBezTo>
                <a:cubicBezTo>
                  <a:pt x="712" y="1185"/>
                  <a:pt x="712" y="1185"/>
                  <a:pt x="712" y="1186"/>
                </a:cubicBezTo>
                <a:cubicBezTo>
                  <a:pt x="716" y="1186"/>
                  <a:pt x="720" y="1186"/>
                  <a:pt x="724" y="1188"/>
                </a:cubicBezTo>
                <a:cubicBezTo>
                  <a:pt x="725" y="1189"/>
                  <a:pt x="726" y="1189"/>
                  <a:pt x="727" y="1189"/>
                </a:cubicBezTo>
                <a:cubicBezTo>
                  <a:pt x="728" y="1189"/>
                  <a:pt x="730" y="1189"/>
                  <a:pt x="732" y="1189"/>
                </a:cubicBezTo>
                <a:cubicBezTo>
                  <a:pt x="736" y="1189"/>
                  <a:pt x="740" y="1187"/>
                  <a:pt x="742" y="1183"/>
                </a:cubicBezTo>
                <a:cubicBezTo>
                  <a:pt x="743" y="1181"/>
                  <a:pt x="744" y="1179"/>
                  <a:pt x="746" y="1178"/>
                </a:cubicBezTo>
                <a:cubicBezTo>
                  <a:pt x="748" y="1176"/>
                  <a:pt x="749" y="1173"/>
                  <a:pt x="750" y="1171"/>
                </a:cubicBezTo>
                <a:cubicBezTo>
                  <a:pt x="750" y="1168"/>
                  <a:pt x="751" y="1165"/>
                  <a:pt x="752" y="1162"/>
                </a:cubicBezTo>
                <a:cubicBezTo>
                  <a:pt x="752" y="1163"/>
                  <a:pt x="752" y="1163"/>
                  <a:pt x="752" y="1163"/>
                </a:cubicBezTo>
                <a:cubicBezTo>
                  <a:pt x="752" y="1163"/>
                  <a:pt x="752" y="1162"/>
                  <a:pt x="752" y="1162"/>
                </a:cubicBezTo>
                <a:cubicBezTo>
                  <a:pt x="752" y="1162"/>
                  <a:pt x="752" y="1162"/>
                  <a:pt x="752" y="1162"/>
                </a:cubicBezTo>
                <a:cubicBezTo>
                  <a:pt x="751" y="1160"/>
                  <a:pt x="751" y="1159"/>
                  <a:pt x="753" y="1158"/>
                </a:cubicBezTo>
                <a:cubicBezTo>
                  <a:pt x="754" y="1157"/>
                  <a:pt x="755" y="1157"/>
                  <a:pt x="755" y="1157"/>
                </a:cubicBezTo>
                <a:cubicBezTo>
                  <a:pt x="756" y="1155"/>
                  <a:pt x="757" y="1153"/>
                  <a:pt x="758" y="1151"/>
                </a:cubicBezTo>
                <a:cubicBezTo>
                  <a:pt x="758" y="1151"/>
                  <a:pt x="759" y="1150"/>
                  <a:pt x="759" y="1150"/>
                </a:cubicBezTo>
                <a:cubicBezTo>
                  <a:pt x="760" y="1150"/>
                  <a:pt x="760" y="1151"/>
                  <a:pt x="760" y="1151"/>
                </a:cubicBezTo>
                <a:cubicBezTo>
                  <a:pt x="760" y="1152"/>
                  <a:pt x="761" y="1153"/>
                  <a:pt x="761" y="1154"/>
                </a:cubicBezTo>
                <a:cubicBezTo>
                  <a:pt x="762" y="1153"/>
                  <a:pt x="763" y="1152"/>
                  <a:pt x="764" y="1151"/>
                </a:cubicBezTo>
                <a:cubicBezTo>
                  <a:pt x="766" y="1145"/>
                  <a:pt x="769" y="1140"/>
                  <a:pt x="772" y="1135"/>
                </a:cubicBezTo>
                <a:cubicBezTo>
                  <a:pt x="775" y="1131"/>
                  <a:pt x="776" y="1127"/>
                  <a:pt x="774" y="1123"/>
                </a:cubicBezTo>
                <a:cubicBezTo>
                  <a:pt x="773" y="1123"/>
                  <a:pt x="773" y="1122"/>
                  <a:pt x="773" y="1121"/>
                </a:cubicBezTo>
                <a:cubicBezTo>
                  <a:pt x="772" y="1116"/>
                  <a:pt x="773" y="1112"/>
                  <a:pt x="778" y="1108"/>
                </a:cubicBezTo>
                <a:cubicBezTo>
                  <a:pt x="779" y="1107"/>
                  <a:pt x="781" y="1105"/>
                  <a:pt x="783" y="1103"/>
                </a:cubicBezTo>
                <a:cubicBezTo>
                  <a:pt x="785" y="1101"/>
                  <a:pt x="789" y="1099"/>
                  <a:pt x="792" y="1097"/>
                </a:cubicBezTo>
                <a:cubicBezTo>
                  <a:pt x="794" y="1097"/>
                  <a:pt x="796" y="1096"/>
                  <a:pt x="797" y="1094"/>
                </a:cubicBezTo>
                <a:cubicBezTo>
                  <a:pt x="799" y="1093"/>
                  <a:pt x="800" y="1092"/>
                  <a:pt x="801" y="1091"/>
                </a:cubicBezTo>
                <a:cubicBezTo>
                  <a:pt x="801" y="1090"/>
                  <a:pt x="802" y="1090"/>
                  <a:pt x="802" y="1090"/>
                </a:cubicBezTo>
                <a:cubicBezTo>
                  <a:pt x="804" y="1090"/>
                  <a:pt x="806" y="1090"/>
                  <a:pt x="807" y="1090"/>
                </a:cubicBezTo>
                <a:cubicBezTo>
                  <a:pt x="809" y="1089"/>
                  <a:pt x="811" y="1090"/>
                  <a:pt x="812" y="1090"/>
                </a:cubicBezTo>
                <a:cubicBezTo>
                  <a:pt x="816" y="1090"/>
                  <a:pt x="819" y="1089"/>
                  <a:pt x="821" y="1086"/>
                </a:cubicBezTo>
                <a:cubicBezTo>
                  <a:pt x="822" y="1085"/>
                  <a:pt x="824" y="1084"/>
                  <a:pt x="825" y="1083"/>
                </a:cubicBezTo>
                <a:cubicBezTo>
                  <a:pt x="826" y="1083"/>
                  <a:pt x="827" y="1082"/>
                  <a:pt x="826" y="1080"/>
                </a:cubicBezTo>
                <a:cubicBezTo>
                  <a:pt x="826" y="1079"/>
                  <a:pt x="826" y="1077"/>
                  <a:pt x="827" y="1076"/>
                </a:cubicBezTo>
                <a:cubicBezTo>
                  <a:pt x="829" y="1073"/>
                  <a:pt x="830" y="1070"/>
                  <a:pt x="832" y="1067"/>
                </a:cubicBezTo>
                <a:cubicBezTo>
                  <a:pt x="834" y="1065"/>
                  <a:pt x="834" y="1062"/>
                  <a:pt x="834" y="1060"/>
                </a:cubicBezTo>
                <a:cubicBezTo>
                  <a:pt x="834" y="1057"/>
                  <a:pt x="834" y="1055"/>
                  <a:pt x="835" y="1054"/>
                </a:cubicBezTo>
                <a:cubicBezTo>
                  <a:pt x="837" y="1050"/>
                  <a:pt x="838" y="1047"/>
                  <a:pt x="838" y="1043"/>
                </a:cubicBezTo>
                <a:cubicBezTo>
                  <a:pt x="838" y="1038"/>
                  <a:pt x="838" y="1033"/>
                  <a:pt x="838" y="1029"/>
                </a:cubicBezTo>
                <a:cubicBezTo>
                  <a:pt x="838" y="1026"/>
                  <a:pt x="838" y="1022"/>
                  <a:pt x="838" y="1019"/>
                </a:cubicBezTo>
                <a:cubicBezTo>
                  <a:pt x="838" y="1018"/>
                  <a:pt x="838" y="1016"/>
                  <a:pt x="840" y="1015"/>
                </a:cubicBezTo>
                <a:cubicBezTo>
                  <a:pt x="844" y="1014"/>
                  <a:pt x="846" y="1010"/>
                  <a:pt x="847" y="1006"/>
                </a:cubicBezTo>
                <a:cubicBezTo>
                  <a:pt x="848" y="1006"/>
                  <a:pt x="848" y="1005"/>
                  <a:pt x="849" y="1004"/>
                </a:cubicBezTo>
                <a:cubicBezTo>
                  <a:pt x="850" y="1002"/>
                  <a:pt x="851" y="1000"/>
                  <a:pt x="853" y="998"/>
                </a:cubicBezTo>
                <a:cubicBezTo>
                  <a:pt x="856" y="996"/>
                  <a:pt x="858" y="993"/>
                  <a:pt x="860" y="991"/>
                </a:cubicBezTo>
                <a:cubicBezTo>
                  <a:pt x="862" y="989"/>
                  <a:pt x="864" y="986"/>
                  <a:pt x="865" y="983"/>
                </a:cubicBezTo>
                <a:cubicBezTo>
                  <a:pt x="866" y="980"/>
                  <a:pt x="867" y="973"/>
                  <a:pt x="866" y="971"/>
                </a:cubicBezTo>
                <a:cubicBezTo>
                  <a:pt x="865" y="967"/>
                  <a:pt x="864" y="963"/>
                  <a:pt x="862" y="959"/>
                </a:cubicBezTo>
                <a:close/>
                <a:moveTo>
                  <a:pt x="729" y="473"/>
                </a:moveTo>
                <a:cubicBezTo>
                  <a:pt x="729" y="473"/>
                  <a:pt x="729" y="473"/>
                  <a:pt x="729" y="473"/>
                </a:cubicBezTo>
                <a:cubicBezTo>
                  <a:pt x="728" y="476"/>
                  <a:pt x="726" y="476"/>
                  <a:pt x="725" y="477"/>
                </a:cubicBezTo>
                <a:cubicBezTo>
                  <a:pt x="724" y="476"/>
                  <a:pt x="724" y="476"/>
                  <a:pt x="724" y="476"/>
                </a:cubicBezTo>
                <a:cubicBezTo>
                  <a:pt x="725" y="474"/>
                  <a:pt x="727" y="473"/>
                  <a:pt x="729" y="473"/>
                </a:cubicBezTo>
                <a:close/>
                <a:moveTo>
                  <a:pt x="691" y="484"/>
                </a:moveTo>
                <a:cubicBezTo>
                  <a:pt x="691" y="484"/>
                  <a:pt x="691" y="484"/>
                  <a:pt x="691" y="484"/>
                </a:cubicBezTo>
                <a:cubicBezTo>
                  <a:pt x="692" y="484"/>
                  <a:pt x="692" y="484"/>
                  <a:pt x="692" y="484"/>
                </a:cubicBezTo>
                <a:lnTo>
                  <a:pt x="691" y="484"/>
                </a:lnTo>
                <a:close/>
                <a:moveTo>
                  <a:pt x="689" y="468"/>
                </a:moveTo>
                <a:cubicBezTo>
                  <a:pt x="691" y="467"/>
                  <a:pt x="692" y="468"/>
                  <a:pt x="693" y="467"/>
                </a:cubicBezTo>
                <a:cubicBezTo>
                  <a:pt x="696" y="466"/>
                  <a:pt x="699" y="467"/>
                  <a:pt x="702" y="468"/>
                </a:cubicBezTo>
                <a:cubicBezTo>
                  <a:pt x="702" y="468"/>
                  <a:pt x="702" y="469"/>
                  <a:pt x="702" y="469"/>
                </a:cubicBezTo>
                <a:cubicBezTo>
                  <a:pt x="702" y="469"/>
                  <a:pt x="702" y="470"/>
                  <a:pt x="702" y="470"/>
                </a:cubicBezTo>
                <a:cubicBezTo>
                  <a:pt x="701" y="470"/>
                  <a:pt x="699" y="471"/>
                  <a:pt x="699" y="471"/>
                </a:cubicBezTo>
                <a:cubicBezTo>
                  <a:pt x="696" y="470"/>
                  <a:pt x="694" y="470"/>
                  <a:pt x="692" y="470"/>
                </a:cubicBezTo>
                <a:cubicBezTo>
                  <a:pt x="691" y="470"/>
                  <a:pt x="690" y="470"/>
                  <a:pt x="689" y="469"/>
                </a:cubicBezTo>
                <a:cubicBezTo>
                  <a:pt x="689" y="469"/>
                  <a:pt x="689" y="469"/>
                  <a:pt x="689" y="468"/>
                </a:cubicBezTo>
                <a:cubicBezTo>
                  <a:pt x="689" y="468"/>
                  <a:pt x="689" y="468"/>
                  <a:pt x="689" y="468"/>
                </a:cubicBezTo>
                <a:close/>
                <a:moveTo>
                  <a:pt x="687" y="483"/>
                </a:moveTo>
                <a:cubicBezTo>
                  <a:pt x="687" y="483"/>
                  <a:pt x="687" y="483"/>
                  <a:pt x="687" y="483"/>
                </a:cubicBezTo>
                <a:cubicBezTo>
                  <a:pt x="687" y="483"/>
                  <a:pt x="687" y="483"/>
                  <a:pt x="687" y="483"/>
                </a:cubicBezTo>
                <a:close/>
                <a:moveTo>
                  <a:pt x="666" y="459"/>
                </a:moveTo>
                <a:cubicBezTo>
                  <a:pt x="666" y="459"/>
                  <a:pt x="666" y="460"/>
                  <a:pt x="666" y="460"/>
                </a:cubicBezTo>
                <a:cubicBezTo>
                  <a:pt x="667" y="460"/>
                  <a:pt x="667" y="461"/>
                  <a:pt x="667" y="461"/>
                </a:cubicBezTo>
                <a:cubicBezTo>
                  <a:pt x="667" y="461"/>
                  <a:pt x="666" y="460"/>
                  <a:pt x="666" y="460"/>
                </a:cubicBezTo>
                <a:cubicBezTo>
                  <a:pt x="666" y="460"/>
                  <a:pt x="666" y="460"/>
                  <a:pt x="666" y="459"/>
                </a:cubicBezTo>
                <a:close/>
                <a:moveTo>
                  <a:pt x="660" y="462"/>
                </a:moveTo>
                <a:cubicBezTo>
                  <a:pt x="661" y="461"/>
                  <a:pt x="661" y="461"/>
                  <a:pt x="662" y="460"/>
                </a:cubicBezTo>
                <a:cubicBezTo>
                  <a:pt x="662" y="461"/>
                  <a:pt x="662" y="461"/>
                  <a:pt x="662" y="462"/>
                </a:cubicBezTo>
                <a:cubicBezTo>
                  <a:pt x="662" y="462"/>
                  <a:pt x="662" y="463"/>
                  <a:pt x="663" y="464"/>
                </a:cubicBezTo>
                <a:cubicBezTo>
                  <a:pt x="663" y="464"/>
                  <a:pt x="663" y="465"/>
                  <a:pt x="662" y="466"/>
                </a:cubicBezTo>
                <a:cubicBezTo>
                  <a:pt x="662" y="466"/>
                  <a:pt x="662" y="466"/>
                  <a:pt x="662" y="466"/>
                </a:cubicBezTo>
                <a:cubicBezTo>
                  <a:pt x="660" y="466"/>
                  <a:pt x="659" y="464"/>
                  <a:pt x="660" y="462"/>
                </a:cubicBezTo>
                <a:close/>
                <a:moveTo>
                  <a:pt x="644" y="454"/>
                </a:moveTo>
                <a:cubicBezTo>
                  <a:pt x="645" y="454"/>
                  <a:pt x="645" y="454"/>
                  <a:pt x="644" y="454"/>
                </a:cubicBezTo>
                <a:cubicBezTo>
                  <a:pt x="644" y="454"/>
                  <a:pt x="644" y="454"/>
                  <a:pt x="643" y="454"/>
                </a:cubicBezTo>
                <a:cubicBezTo>
                  <a:pt x="644" y="454"/>
                  <a:pt x="644" y="453"/>
                  <a:pt x="644" y="454"/>
                </a:cubicBezTo>
                <a:close/>
                <a:moveTo>
                  <a:pt x="630" y="495"/>
                </a:moveTo>
                <a:cubicBezTo>
                  <a:pt x="630" y="495"/>
                  <a:pt x="631" y="495"/>
                  <a:pt x="631" y="496"/>
                </a:cubicBezTo>
                <a:cubicBezTo>
                  <a:pt x="631" y="496"/>
                  <a:pt x="631" y="496"/>
                  <a:pt x="631" y="496"/>
                </a:cubicBezTo>
                <a:cubicBezTo>
                  <a:pt x="630" y="497"/>
                  <a:pt x="629" y="498"/>
                  <a:pt x="627" y="498"/>
                </a:cubicBezTo>
                <a:cubicBezTo>
                  <a:pt x="627" y="498"/>
                  <a:pt x="627" y="498"/>
                  <a:pt x="627" y="498"/>
                </a:cubicBezTo>
                <a:cubicBezTo>
                  <a:pt x="628" y="496"/>
                  <a:pt x="629" y="495"/>
                  <a:pt x="630" y="495"/>
                </a:cubicBezTo>
                <a:close/>
                <a:moveTo>
                  <a:pt x="615" y="520"/>
                </a:moveTo>
                <a:cubicBezTo>
                  <a:pt x="615" y="520"/>
                  <a:pt x="615" y="520"/>
                  <a:pt x="616" y="520"/>
                </a:cubicBezTo>
                <a:cubicBezTo>
                  <a:pt x="616" y="520"/>
                  <a:pt x="616" y="520"/>
                  <a:pt x="616" y="521"/>
                </a:cubicBezTo>
                <a:cubicBezTo>
                  <a:pt x="615" y="521"/>
                  <a:pt x="615" y="521"/>
                  <a:pt x="615" y="521"/>
                </a:cubicBezTo>
                <a:cubicBezTo>
                  <a:pt x="615" y="521"/>
                  <a:pt x="615" y="520"/>
                  <a:pt x="614" y="520"/>
                </a:cubicBezTo>
                <a:cubicBezTo>
                  <a:pt x="615" y="520"/>
                  <a:pt x="615" y="520"/>
                  <a:pt x="615" y="520"/>
                </a:cubicBezTo>
                <a:close/>
                <a:moveTo>
                  <a:pt x="580" y="309"/>
                </a:moveTo>
                <a:cubicBezTo>
                  <a:pt x="580" y="309"/>
                  <a:pt x="581" y="309"/>
                  <a:pt x="581" y="309"/>
                </a:cubicBezTo>
                <a:cubicBezTo>
                  <a:pt x="583" y="311"/>
                  <a:pt x="584" y="314"/>
                  <a:pt x="586" y="316"/>
                </a:cubicBezTo>
                <a:cubicBezTo>
                  <a:pt x="586" y="316"/>
                  <a:pt x="586" y="316"/>
                  <a:pt x="586" y="317"/>
                </a:cubicBezTo>
                <a:cubicBezTo>
                  <a:pt x="585" y="317"/>
                  <a:pt x="585" y="317"/>
                  <a:pt x="585" y="317"/>
                </a:cubicBezTo>
                <a:cubicBezTo>
                  <a:pt x="584" y="317"/>
                  <a:pt x="583" y="317"/>
                  <a:pt x="583" y="316"/>
                </a:cubicBezTo>
                <a:cubicBezTo>
                  <a:pt x="581" y="314"/>
                  <a:pt x="580" y="312"/>
                  <a:pt x="579" y="310"/>
                </a:cubicBezTo>
                <a:cubicBezTo>
                  <a:pt x="579" y="310"/>
                  <a:pt x="579" y="309"/>
                  <a:pt x="580" y="309"/>
                </a:cubicBezTo>
                <a:close/>
                <a:moveTo>
                  <a:pt x="534" y="323"/>
                </a:moveTo>
                <a:cubicBezTo>
                  <a:pt x="534" y="323"/>
                  <a:pt x="535" y="323"/>
                  <a:pt x="535" y="323"/>
                </a:cubicBezTo>
                <a:cubicBezTo>
                  <a:pt x="536" y="323"/>
                  <a:pt x="537" y="324"/>
                  <a:pt x="538" y="325"/>
                </a:cubicBezTo>
                <a:cubicBezTo>
                  <a:pt x="538" y="325"/>
                  <a:pt x="538" y="325"/>
                  <a:pt x="538" y="325"/>
                </a:cubicBezTo>
                <a:cubicBezTo>
                  <a:pt x="538" y="325"/>
                  <a:pt x="538" y="325"/>
                  <a:pt x="538" y="325"/>
                </a:cubicBezTo>
                <a:cubicBezTo>
                  <a:pt x="539" y="325"/>
                  <a:pt x="540" y="326"/>
                  <a:pt x="541" y="326"/>
                </a:cubicBezTo>
                <a:cubicBezTo>
                  <a:pt x="541" y="326"/>
                  <a:pt x="542" y="326"/>
                  <a:pt x="542" y="326"/>
                </a:cubicBezTo>
                <a:cubicBezTo>
                  <a:pt x="542" y="327"/>
                  <a:pt x="542" y="327"/>
                  <a:pt x="542" y="327"/>
                </a:cubicBezTo>
                <a:cubicBezTo>
                  <a:pt x="542" y="327"/>
                  <a:pt x="542" y="327"/>
                  <a:pt x="542" y="327"/>
                </a:cubicBezTo>
                <a:cubicBezTo>
                  <a:pt x="541" y="326"/>
                  <a:pt x="541" y="326"/>
                  <a:pt x="541" y="326"/>
                </a:cubicBezTo>
                <a:cubicBezTo>
                  <a:pt x="540" y="326"/>
                  <a:pt x="539" y="326"/>
                  <a:pt x="538" y="325"/>
                </a:cubicBezTo>
                <a:cubicBezTo>
                  <a:pt x="538" y="325"/>
                  <a:pt x="538" y="325"/>
                  <a:pt x="538" y="325"/>
                </a:cubicBezTo>
                <a:cubicBezTo>
                  <a:pt x="538" y="325"/>
                  <a:pt x="538" y="325"/>
                  <a:pt x="538" y="325"/>
                </a:cubicBezTo>
                <a:cubicBezTo>
                  <a:pt x="535" y="326"/>
                  <a:pt x="535" y="326"/>
                  <a:pt x="534" y="324"/>
                </a:cubicBezTo>
                <a:cubicBezTo>
                  <a:pt x="534" y="324"/>
                  <a:pt x="534" y="323"/>
                  <a:pt x="534" y="323"/>
                </a:cubicBezTo>
                <a:close/>
                <a:moveTo>
                  <a:pt x="517" y="317"/>
                </a:moveTo>
                <a:cubicBezTo>
                  <a:pt x="517" y="317"/>
                  <a:pt x="518" y="317"/>
                  <a:pt x="518" y="317"/>
                </a:cubicBezTo>
                <a:cubicBezTo>
                  <a:pt x="518" y="317"/>
                  <a:pt x="517" y="317"/>
                  <a:pt x="517" y="317"/>
                </a:cubicBezTo>
                <a:cubicBezTo>
                  <a:pt x="516" y="317"/>
                  <a:pt x="517" y="317"/>
                  <a:pt x="517" y="317"/>
                </a:cubicBezTo>
                <a:close/>
                <a:moveTo>
                  <a:pt x="581" y="516"/>
                </a:moveTo>
                <a:cubicBezTo>
                  <a:pt x="581" y="516"/>
                  <a:pt x="581" y="516"/>
                  <a:pt x="582" y="516"/>
                </a:cubicBezTo>
                <a:cubicBezTo>
                  <a:pt x="582" y="516"/>
                  <a:pt x="582" y="516"/>
                  <a:pt x="582" y="516"/>
                </a:cubicBezTo>
                <a:cubicBezTo>
                  <a:pt x="582" y="517"/>
                  <a:pt x="582" y="517"/>
                  <a:pt x="581" y="517"/>
                </a:cubicBezTo>
                <a:cubicBezTo>
                  <a:pt x="581" y="517"/>
                  <a:pt x="581" y="517"/>
                  <a:pt x="581" y="517"/>
                </a:cubicBezTo>
                <a:cubicBezTo>
                  <a:pt x="581" y="516"/>
                  <a:pt x="581" y="516"/>
                  <a:pt x="581" y="516"/>
                </a:cubicBezTo>
                <a:close/>
                <a:moveTo>
                  <a:pt x="575" y="568"/>
                </a:moveTo>
                <a:cubicBezTo>
                  <a:pt x="575" y="567"/>
                  <a:pt x="575" y="567"/>
                  <a:pt x="576" y="567"/>
                </a:cubicBezTo>
                <a:cubicBezTo>
                  <a:pt x="577" y="567"/>
                  <a:pt x="578" y="566"/>
                  <a:pt x="580" y="566"/>
                </a:cubicBezTo>
                <a:cubicBezTo>
                  <a:pt x="583" y="565"/>
                  <a:pt x="586" y="565"/>
                  <a:pt x="588" y="565"/>
                </a:cubicBezTo>
                <a:cubicBezTo>
                  <a:pt x="590" y="565"/>
                  <a:pt x="592" y="564"/>
                  <a:pt x="593" y="563"/>
                </a:cubicBezTo>
                <a:cubicBezTo>
                  <a:pt x="593" y="563"/>
                  <a:pt x="594" y="563"/>
                  <a:pt x="595" y="563"/>
                </a:cubicBezTo>
                <a:cubicBezTo>
                  <a:pt x="595" y="563"/>
                  <a:pt x="595" y="563"/>
                  <a:pt x="595" y="563"/>
                </a:cubicBezTo>
                <a:cubicBezTo>
                  <a:pt x="596" y="565"/>
                  <a:pt x="596" y="567"/>
                  <a:pt x="595" y="568"/>
                </a:cubicBezTo>
                <a:cubicBezTo>
                  <a:pt x="593" y="570"/>
                  <a:pt x="591" y="572"/>
                  <a:pt x="588" y="571"/>
                </a:cubicBezTo>
                <a:cubicBezTo>
                  <a:pt x="584" y="569"/>
                  <a:pt x="579" y="570"/>
                  <a:pt x="575" y="570"/>
                </a:cubicBezTo>
                <a:cubicBezTo>
                  <a:pt x="575" y="570"/>
                  <a:pt x="575" y="569"/>
                  <a:pt x="574" y="569"/>
                </a:cubicBezTo>
                <a:cubicBezTo>
                  <a:pt x="574" y="569"/>
                  <a:pt x="575" y="568"/>
                  <a:pt x="575" y="568"/>
                </a:cubicBezTo>
                <a:close/>
                <a:moveTo>
                  <a:pt x="574" y="576"/>
                </a:moveTo>
                <a:cubicBezTo>
                  <a:pt x="574" y="576"/>
                  <a:pt x="573" y="577"/>
                  <a:pt x="573" y="577"/>
                </a:cubicBezTo>
                <a:cubicBezTo>
                  <a:pt x="570" y="579"/>
                  <a:pt x="567" y="580"/>
                  <a:pt x="564" y="582"/>
                </a:cubicBezTo>
                <a:cubicBezTo>
                  <a:pt x="561" y="583"/>
                  <a:pt x="559" y="583"/>
                  <a:pt x="557" y="585"/>
                </a:cubicBezTo>
                <a:cubicBezTo>
                  <a:pt x="554" y="586"/>
                  <a:pt x="552" y="587"/>
                  <a:pt x="549" y="587"/>
                </a:cubicBezTo>
                <a:cubicBezTo>
                  <a:pt x="548" y="586"/>
                  <a:pt x="547" y="586"/>
                  <a:pt x="546" y="585"/>
                </a:cubicBezTo>
                <a:cubicBezTo>
                  <a:pt x="545" y="585"/>
                  <a:pt x="546" y="583"/>
                  <a:pt x="547" y="582"/>
                </a:cubicBezTo>
                <a:cubicBezTo>
                  <a:pt x="547" y="582"/>
                  <a:pt x="547" y="582"/>
                  <a:pt x="547" y="582"/>
                </a:cubicBezTo>
                <a:cubicBezTo>
                  <a:pt x="551" y="581"/>
                  <a:pt x="555" y="579"/>
                  <a:pt x="558" y="577"/>
                </a:cubicBezTo>
                <a:cubicBezTo>
                  <a:pt x="560" y="576"/>
                  <a:pt x="561" y="576"/>
                  <a:pt x="563" y="577"/>
                </a:cubicBezTo>
                <a:cubicBezTo>
                  <a:pt x="564" y="577"/>
                  <a:pt x="566" y="577"/>
                  <a:pt x="568" y="576"/>
                </a:cubicBezTo>
                <a:cubicBezTo>
                  <a:pt x="569" y="575"/>
                  <a:pt x="570" y="575"/>
                  <a:pt x="572" y="575"/>
                </a:cubicBezTo>
                <a:cubicBezTo>
                  <a:pt x="572" y="574"/>
                  <a:pt x="574" y="575"/>
                  <a:pt x="574" y="576"/>
                </a:cubicBezTo>
                <a:close/>
                <a:moveTo>
                  <a:pt x="549" y="540"/>
                </a:moveTo>
                <a:cubicBezTo>
                  <a:pt x="555" y="541"/>
                  <a:pt x="561" y="542"/>
                  <a:pt x="566" y="544"/>
                </a:cubicBezTo>
                <a:cubicBezTo>
                  <a:pt x="567" y="545"/>
                  <a:pt x="568" y="545"/>
                  <a:pt x="568" y="546"/>
                </a:cubicBezTo>
                <a:cubicBezTo>
                  <a:pt x="570" y="548"/>
                  <a:pt x="571" y="550"/>
                  <a:pt x="572" y="553"/>
                </a:cubicBezTo>
                <a:cubicBezTo>
                  <a:pt x="573" y="554"/>
                  <a:pt x="572" y="555"/>
                  <a:pt x="571" y="556"/>
                </a:cubicBezTo>
                <a:cubicBezTo>
                  <a:pt x="571" y="557"/>
                  <a:pt x="570" y="557"/>
                  <a:pt x="569" y="557"/>
                </a:cubicBezTo>
                <a:cubicBezTo>
                  <a:pt x="567" y="556"/>
                  <a:pt x="566" y="554"/>
                  <a:pt x="565" y="553"/>
                </a:cubicBezTo>
                <a:cubicBezTo>
                  <a:pt x="564" y="552"/>
                  <a:pt x="564" y="552"/>
                  <a:pt x="563" y="552"/>
                </a:cubicBezTo>
                <a:cubicBezTo>
                  <a:pt x="563" y="552"/>
                  <a:pt x="563" y="553"/>
                  <a:pt x="563" y="553"/>
                </a:cubicBezTo>
                <a:cubicBezTo>
                  <a:pt x="563" y="554"/>
                  <a:pt x="563" y="555"/>
                  <a:pt x="562" y="556"/>
                </a:cubicBezTo>
                <a:cubicBezTo>
                  <a:pt x="560" y="559"/>
                  <a:pt x="559" y="564"/>
                  <a:pt x="557" y="568"/>
                </a:cubicBezTo>
                <a:cubicBezTo>
                  <a:pt x="557" y="568"/>
                  <a:pt x="557" y="569"/>
                  <a:pt x="556" y="569"/>
                </a:cubicBezTo>
                <a:cubicBezTo>
                  <a:pt x="556" y="570"/>
                  <a:pt x="554" y="569"/>
                  <a:pt x="554" y="568"/>
                </a:cubicBezTo>
                <a:cubicBezTo>
                  <a:pt x="554" y="567"/>
                  <a:pt x="554" y="565"/>
                  <a:pt x="553" y="563"/>
                </a:cubicBezTo>
                <a:cubicBezTo>
                  <a:pt x="553" y="562"/>
                  <a:pt x="551" y="561"/>
                  <a:pt x="550" y="562"/>
                </a:cubicBezTo>
                <a:cubicBezTo>
                  <a:pt x="549" y="562"/>
                  <a:pt x="548" y="563"/>
                  <a:pt x="548" y="563"/>
                </a:cubicBezTo>
                <a:cubicBezTo>
                  <a:pt x="547" y="563"/>
                  <a:pt x="546" y="564"/>
                  <a:pt x="546" y="563"/>
                </a:cubicBezTo>
                <a:cubicBezTo>
                  <a:pt x="546" y="563"/>
                  <a:pt x="546" y="563"/>
                  <a:pt x="546" y="562"/>
                </a:cubicBezTo>
                <a:cubicBezTo>
                  <a:pt x="547" y="561"/>
                  <a:pt x="548" y="560"/>
                  <a:pt x="549" y="559"/>
                </a:cubicBezTo>
                <a:cubicBezTo>
                  <a:pt x="550" y="557"/>
                  <a:pt x="551" y="554"/>
                  <a:pt x="550" y="551"/>
                </a:cubicBezTo>
                <a:cubicBezTo>
                  <a:pt x="549" y="550"/>
                  <a:pt x="549" y="549"/>
                  <a:pt x="548" y="549"/>
                </a:cubicBezTo>
                <a:cubicBezTo>
                  <a:pt x="546" y="547"/>
                  <a:pt x="545" y="547"/>
                  <a:pt x="543" y="546"/>
                </a:cubicBezTo>
                <a:cubicBezTo>
                  <a:pt x="543" y="545"/>
                  <a:pt x="542" y="544"/>
                  <a:pt x="542" y="544"/>
                </a:cubicBezTo>
                <a:cubicBezTo>
                  <a:pt x="542" y="544"/>
                  <a:pt x="542" y="544"/>
                  <a:pt x="542" y="544"/>
                </a:cubicBezTo>
                <a:cubicBezTo>
                  <a:pt x="542" y="544"/>
                  <a:pt x="542" y="544"/>
                  <a:pt x="542" y="544"/>
                </a:cubicBezTo>
                <a:cubicBezTo>
                  <a:pt x="540" y="545"/>
                  <a:pt x="539" y="546"/>
                  <a:pt x="538" y="548"/>
                </a:cubicBezTo>
                <a:cubicBezTo>
                  <a:pt x="537" y="549"/>
                  <a:pt x="536" y="550"/>
                  <a:pt x="534" y="550"/>
                </a:cubicBezTo>
                <a:cubicBezTo>
                  <a:pt x="532" y="550"/>
                  <a:pt x="531" y="552"/>
                  <a:pt x="530" y="553"/>
                </a:cubicBezTo>
                <a:cubicBezTo>
                  <a:pt x="528" y="558"/>
                  <a:pt x="526" y="563"/>
                  <a:pt x="526" y="569"/>
                </a:cubicBezTo>
                <a:cubicBezTo>
                  <a:pt x="526" y="574"/>
                  <a:pt x="523" y="578"/>
                  <a:pt x="519" y="581"/>
                </a:cubicBezTo>
                <a:cubicBezTo>
                  <a:pt x="518" y="582"/>
                  <a:pt x="516" y="581"/>
                  <a:pt x="516" y="580"/>
                </a:cubicBezTo>
                <a:cubicBezTo>
                  <a:pt x="515" y="575"/>
                  <a:pt x="515" y="570"/>
                  <a:pt x="517" y="565"/>
                </a:cubicBezTo>
                <a:cubicBezTo>
                  <a:pt x="519" y="563"/>
                  <a:pt x="520" y="559"/>
                  <a:pt x="521" y="557"/>
                </a:cubicBezTo>
                <a:cubicBezTo>
                  <a:pt x="521" y="555"/>
                  <a:pt x="521" y="554"/>
                  <a:pt x="521" y="552"/>
                </a:cubicBezTo>
                <a:cubicBezTo>
                  <a:pt x="520" y="552"/>
                  <a:pt x="521" y="551"/>
                  <a:pt x="521" y="551"/>
                </a:cubicBezTo>
                <a:cubicBezTo>
                  <a:pt x="521" y="550"/>
                  <a:pt x="521" y="550"/>
                  <a:pt x="521" y="550"/>
                </a:cubicBezTo>
                <a:cubicBezTo>
                  <a:pt x="528" y="542"/>
                  <a:pt x="526" y="543"/>
                  <a:pt x="536" y="542"/>
                </a:cubicBezTo>
                <a:cubicBezTo>
                  <a:pt x="539" y="541"/>
                  <a:pt x="540" y="542"/>
                  <a:pt x="542" y="544"/>
                </a:cubicBezTo>
                <a:cubicBezTo>
                  <a:pt x="542" y="544"/>
                  <a:pt x="542" y="544"/>
                  <a:pt x="542" y="544"/>
                </a:cubicBezTo>
                <a:cubicBezTo>
                  <a:pt x="542" y="544"/>
                  <a:pt x="542" y="544"/>
                  <a:pt x="542" y="544"/>
                </a:cubicBezTo>
                <a:cubicBezTo>
                  <a:pt x="544" y="543"/>
                  <a:pt x="545" y="543"/>
                  <a:pt x="547" y="542"/>
                </a:cubicBezTo>
                <a:cubicBezTo>
                  <a:pt x="547" y="542"/>
                  <a:pt x="547" y="541"/>
                  <a:pt x="548" y="541"/>
                </a:cubicBezTo>
                <a:cubicBezTo>
                  <a:pt x="548" y="540"/>
                  <a:pt x="548" y="540"/>
                  <a:pt x="549" y="540"/>
                </a:cubicBezTo>
                <a:close/>
                <a:moveTo>
                  <a:pt x="547" y="463"/>
                </a:moveTo>
                <a:cubicBezTo>
                  <a:pt x="547" y="463"/>
                  <a:pt x="547" y="463"/>
                  <a:pt x="547" y="463"/>
                </a:cubicBezTo>
                <a:cubicBezTo>
                  <a:pt x="547" y="462"/>
                  <a:pt x="547" y="462"/>
                  <a:pt x="547" y="461"/>
                </a:cubicBezTo>
                <a:cubicBezTo>
                  <a:pt x="547" y="460"/>
                  <a:pt x="548" y="460"/>
                  <a:pt x="548" y="460"/>
                </a:cubicBezTo>
                <a:cubicBezTo>
                  <a:pt x="548" y="461"/>
                  <a:pt x="548" y="461"/>
                  <a:pt x="548" y="461"/>
                </a:cubicBezTo>
                <a:cubicBezTo>
                  <a:pt x="548" y="462"/>
                  <a:pt x="548" y="462"/>
                  <a:pt x="547" y="463"/>
                </a:cubicBezTo>
                <a:cubicBezTo>
                  <a:pt x="547" y="463"/>
                  <a:pt x="547" y="463"/>
                  <a:pt x="547" y="463"/>
                </a:cubicBezTo>
                <a:cubicBezTo>
                  <a:pt x="546" y="464"/>
                  <a:pt x="546" y="464"/>
                  <a:pt x="546" y="464"/>
                </a:cubicBezTo>
                <a:lnTo>
                  <a:pt x="547" y="463"/>
                </a:lnTo>
                <a:close/>
                <a:moveTo>
                  <a:pt x="525" y="499"/>
                </a:moveTo>
                <a:cubicBezTo>
                  <a:pt x="525" y="499"/>
                  <a:pt x="526" y="499"/>
                  <a:pt x="526" y="499"/>
                </a:cubicBezTo>
                <a:cubicBezTo>
                  <a:pt x="526" y="500"/>
                  <a:pt x="527" y="500"/>
                  <a:pt x="527" y="500"/>
                </a:cubicBezTo>
                <a:cubicBezTo>
                  <a:pt x="528" y="502"/>
                  <a:pt x="528" y="503"/>
                  <a:pt x="527" y="504"/>
                </a:cubicBezTo>
                <a:cubicBezTo>
                  <a:pt x="527" y="504"/>
                  <a:pt x="526" y="504"/>
                  <a:pt x="526" y="505"/>
                </a:cubicBezTo>
                <a:cubicBezTo>
                  <a:pt x="525" y="505"/>
                  <a:pt x="525" y="505"/>
                  <a:pt x="525" y="504"/>
                </a:cubicBezTo>
                <a:cubicBezTo>
                  <a:pt x="524" y="502"/>
                  <a:pt x="524" y="501"/>
                  <a:pt x="525" y="499"/>
                </a:cubicBezTo>
                <a:close/>
                <a:moveTo>
                  <a:pt x="517" y="487"/>
                </a:moveTo>
                <a:cubicBezTo>
                  <a:pt x="517" y="487"/>
                  <a:pt x="517" y="487"/>
                  <a:pt x="517" y="487"/>
                </a:cubicBezTo>
                <a:cubicBezTo>
                  <a:pt x="516" y="487"/>
                  <a:pt x="516" y="487"/>
                  <a:pt x="516" y="487"/>
                </a:cubicBezTo>
                <a:lnTo>
                  <a:pt x="517" y="487"/>
                </a:lnTo>
                <a:close/>
                <a:moveTo>
                  <a:pt x="512" y="342"/>
                </a:moveTo>
                <a:cubicBezTo>
                  <a:pt x="512" y="342"/>
                  <a:pt x="513" y="342"/>
                  <a:pt x="513" y="342"/>
                </a:cubicBezTo>
                <a:cubicBezTo>
                  <a:pt x="514" y="342"/>
                  <a:pt x="514" y="342"/>
                  <a:pt x="514" y="343"/>
                </a:cubicBezTo>
                <a:cubicBezTo>
                  <a:pt x="515" y="344"/>
                  <a:pt x="515" y="344"/>
                  <a:pt x="515" y="345"/>
                </a:cubicBezTo>
                <a:cubicBezTo>
                  <a:pt x="514" y="346"/>
                  <a:pt x="514" y="346"/>
                  <a:pt x="513" y="346"/>
                </a:cubicBezTo>
                <a:cubicBezTo>
                  <a:pt x="513" y="345"/>
                  <a:pt x="512" y="345"/>
                  <a:pt x="512" y="344"/>
                </a:cubicBezTo>
                <a:cubicBezTo>
                  <a:pt x="511" y="344"/>
                  <a:pt x="511" y="343"/>
                  <a:pt x="512" y="342"/>
                </a:cubicBezTo>
                <a:close/>
                <a:moveTo>
                  <a:pt x="506" y="337"/>
                </a:moveTo>
                <a:cubicBezTo>
                  <a:pt x="506" y="337"/>
                  <a:pt x="506" y="337"/>
                  <a:pt x="506" y="338"/>
                </a:cubicBezTo>
                <a:cubicBezTo>
                  <a:pt x="506" y="338"/>
                  <a:pt x="506" y="338"/>
                  <a:pt x="506" y="338"/>
                </a:cubicBezTo>
                <a:cubicBezTo>
                  <a:pt x="506" y="338"/>
                  <a:pt x="505" y="338"/>
                  <a:pt x="505" y="337"/>
                </a:cubicBezTo>
                <a:cubicBezTo>
                  <a:pt x="505" y="337"/>
                  <a:pt x="506" y="337"/>
                  <a:pt x="506" y="337"/>
                </a:cubicBezTo>
                <a:close/>
                <a:moveTo>
                  <a:pt x="503" y="445"/>
                </a:moveTo>
                <a:cubicBezTo>
                  <a:pt x="503" y="445"/>
                  <a:pt x="503" y="445"/>
                  <a:pt x="504" y="445"/>
                </a:cubicBezTo>
                <a:cubicBezTo>
                  <a:pt x="503" y="445"/>
                  <a:pt x="503" y="445"/>
                  <a:pt x="503" y="445"/>
                </a:cubicBezTo>
                <a:cubicBezTo>
                  <a:pt x="503" y="445"/>
                  <a:pt x="503" y="445"/>
                  <a:pt x="503" y="445"/>
                </a:cubicBezTo>
                <a:cubicBezTo>
                  <a:pt x="503" y="445"/>
                  <a:pt x="503" y="445"/>
                  <a:pt x="503" y="445"/>
                </a:cubicBezTo>
                <a:close/>
                <a:moveTo>
                  <a:pt x="500" y="493"/>
                </a:moveTo>
                <a:cubicBezTo>
                  <a:pt x="500" y="493"/>
                  <a:pt x="500" y="493"/>
                  <a:pt x="500" y="493"/>
                </a:cubicBezTo>
                <a:cubicBezTo>
                  <a:pt x="500" y="493"/>
                  <a:pt x="500" y="493"/>
                  <a:pt x="500" y="493"/>
                </a:cubicBezTo>
                <a:cubicBezTo>
                  <a:pt x="502" y="493"/>
                  <a:pt x="503" y="493"/>
                  <a:pt x="505" y="494"/>
                </a:cubicBezTo>
                <a:cubicBezTo>
                  <a:pt x="505" y="494"/>
                  <a:pt x="505" y="495"/>
                  <a:pt x="505" y="495"/>
                </a:cubicBezTo>
                <a:cubicBezTo>
                  <a:pt x="505" y="495"/>
                  <a:pt x="504" y="496"/>
                  <a:pt x="504" y="495"/>
                </a:cubicBezTo>
                <a:cubicBezTo>
                  <a:pt x="503" y="495"/>
                  <a:pt x="501" y="494"/>
                  <a:pt x="500" y="493"/>
                </a:cubicBezTo>
                <a:cubicBezTo>
                  <a:pt x="500" y="493"/>
                  <a:pt x="500" y="493"/>
                  <a:pt x="500" y="493"/>
                </a:cubicBezTo>
                <a:cubicBezTo>
                  <a:pt x="499" y="493"/>
                  <a:pt x="499" y="493"/>
                  <a:pt x="500" y="493"/>
                </a:cubicBezTo>
                <a:close/>
                <a:moveTo>
                  <a:pt x="507" y="523"/>
                </a:moveTo>
                <a:cubicBezTo>
                  <a:pt x="510" y="522"/>
                  <a:pt x="514" y="521"/>
                  <a:pt x="517" y="518"/>
                </a:cubicBezTo>
                <a:cubicBezTo>
                  <a:pt x="520" y="516"/>
                  <a:pt x="524" y="516"/>
                  <a:pt x="526" y="513"/>
                </a:cubicBezTo>
                <a:cubicBezTo>
                  <a:pt x="527" y="513"/>
                  <a:pt x="528" y="513"/>
                  <a:pt x="529" y="513"/>
                </a:cubicBezTo>
                <a:cubicBezTo>
                  <a:pt x="530" y="513"/>
                  <a:pt x="531" y="514"/>
                  <a:pt x="532" y="514"/>
                </a:cubicBezTo>
                <a:cubicBezTo>
                  <a:pt x="535" y="514"/>
                  <a:pt x="537" y="516"/>
                  <a:pt x="538" y="519"/>
                </a:cubicBezTo>
                <a:cubicBezTo>
                  <a:pt x="538" y="521"/>
                  <a:pt x="540" y="522"/>
                  <a:pt x="541" y="523"/>
                </a:cubicBezTo>
                <a:cubicBezTo>
                  <a:pt x="544" y="523"/>
                  <a:pt x="544" y="524"/>
                  <a:pt x="544" y="526"/>
                </a:cubicBezTo>
                <a:cubicBezTo>
                  <a:pt x="544" y="529"/>
                  <a:pt x="545" y="532"/>
                  <a:pt x="545" y="534"/>
                </a:cubicBezTo>
                <a:cubicBezTo>
                  <a:pt x="545" y="535"/>
                  <a:pt x="544" y="536"/>
                  <a:pt x="542" y="536"/>
                </a:cubicBezTo>
                <a:cubicBezTo>
                  <a:pt x="541" y="535"/>
                  <a:pt x="540" y="534"/>
                  <a:pt x="539" y="535"/>
                </a:cubicBezTo>
                <a:cubicBezTo>
                  <a:pt x="537" y="535"/>
                  <a:pt x="534" y="535"/>
                  <a:pt x="532" y="535"/>
                </a:cubicBezTo>
                <a:cubicBezTo>
                  <a:pt x="529" y="536"/>
                  <a:pt x="527" y="535"/>
                  <a:pt x="525" y="533"/>
                </a:cubicBezTo>
                <a:cubicBezTo>
                  <a:pt x="525" y="532"/>
                  <a:pt x="525" y="532"/>
                  <a:pt x="524" y="532"/>
                </a:cubicBezTo>
                <a:cubicBezTo>
                  <a:pt x="523" y="531"/>
                  <a:pt x="522" y="531"/>
                  <a:pt x="522" y="530"/>
                </a:cubicBezTo>
                <a:cubicBezTo>
                  <a:pt x="523" y="529"/>
                  <a:pt x="523" y="529"/>
                  <a:pt x="524" y="528"/>
                </a:cubicBezTo>
                <a:cubicBezTo>
                  <a:pt x="524" y="528"/>
                  <a:pt x="524" y="527"/>
                  <a:pt x="524" y="527"/>
                </a:cubicBezTo>
                <a:cubicBezTo>
                  <a:pt x="524" y="526"/>
                  <a:pt x="523" y="526"/>
                  <a:pt x="523" y="526"/>
                </a:cubicBezTo>
                <a:cubicBezTo>
                  <a:pt x="522" y="526"/>
                  <a:pt x="522" y="526"/>
                  <a:pt x="521" y="526"/>
                </a:cubicBezTo>
                <a:cubicBezTo>
                  <a:pt x="521" y="527"/>
                  <a:pt x="520" y="527"/>
                  <a:pt x="520" y="527"/>
                </a:cubicBezTo>
                <a:cubicBezTo>
                  <a:pt x="516" y="530"/>
                  <a:pt x="513" y="531"/>
                  <a:pt x="509" y="532"/>
                </a:cubicBezTo>
                <a:cubicBezTo>
                  <a:pt x="506" y="533"/>
                  <a:pt x="504" y="534"/>
                  <a:pt x="503" y="531"/>
                </a:cubicBezTo>
                <a:cubicBezTo>
                  <a:pt x="502" y="529"/>
                  <a:pt x="500" y="530"/>
                  <a:pt x="498" y="530"/>
                </a:cubicBezTo>
                <a:cubicBezTo>
                  <a:pt x="498" y="530"/>
                  <a:pt x="498" y="530"/>
                  <a:pt x="498" y="530"/>
                </a:cubicBezTo>
                <a:cubicBezTo>
                  <a:pt x="498" y="530"/>
                  <a:pt x="498" y="530"/>
                  <a:pt x="498" y="530"/>
                </a:cubicBezTo>
                <a:cubicBezTo>
                  <a:pt x="497" y="530"/>
                  <a:pt x="497" y="530"/>
                  <a:pt x="497" y="531"/>
                </a:cubicBezTo>
                <a:cubicBezTo>
                  <a:pt x="497" y="530"/>
                  <a:pt x="497" y="530"/>
                  <a:pt x="497" y="530"/>
                </a:cubicBezTo>
                <a:cubicBezTo>
                  <a:pt x="497" y="530"/>
                  <a:pt x="497" y="530"/>
                  <a:pt x="498" y="530"/>
                </a:cubicBezTo>
                <a:cubicBezTo>
                  <a:pt x="498" y="530"/>
                  <a:pt x="498" y="530"/>
                  <a:pt x="498" y="530"/>
                </a:cubicBezTo>
                <a:cubicBezTo>
                  <a:pt x="498" y="530"/>
                  <a:pt x="498" y="530"/>
                  <a:pt x="498" y="530"/>
                </a:cubicBezTo>
                <a:cubicBezTo>
                  <a:pt x="500" y="527"/>
                  <a:pt x="503" y="525"/>
                  <a:pt x="507" y="523"/>
                </a:cubicBezTo>
                <a:close/>
                <a:moveTo>
                  <a:pt x="497" y="456"/>
                </a:moveTo>
                <a:cubicBezTo>
                  <a:pt x="497" y="455"/>
                  <a:pt x="496" y="455"/>
                  <a:pt x="497" y="454"/>
                </a:cubicBezTo>
                <a:cubicBezTo>
                  <a:pt x="497" y="454"/>
                  <a:pt x="497" y="454"/>
                  <a:pt x="497" y="454"/>
                </a:cubicBezTo>
                <a:cubicBezTo>
                  <a:pt x="498" y="455"/>
                  <a:pt x="498" y="455"/>
                  <a:pt x="498" y="455"/>
                </a:cubicBezTo>
                <a:cubicBezTo>
                  <a:pt x="498" y="455"/>
                  <a:pt x="497" y="456"/>
                  <a:pt x="497" y="456"/>
                </a:cubicBezTo>
                <a:close/>
                <a:moveTo>
                  <a:pt x="493" y="331"/>
                </a:moveTo>
                <a:cubicBezTo>
                  <a:pt x="494" y="331"/>
                  <a:pt x="495" y="330"/>
                  <a:pt x="496" y="330"/>
                </a:cubicBezTo>
                <a:cubicBezTo>
                  <a:pt x="497" y="330"/>
                  <a:pt x="497" y="331"/>
                  <a:pt x="498" y="331"/>
                </a:cubicBezTo>
                <a:cubicBezTo>
                  <a:pt x="496" y="333"/>
                  <a:pt x="496" y="335"/>
                  <a:pt x="496" y="338"/>
                </a:cubicBezTo>
                <a:cubicBezTo>
                  <a:pt x="495" y="339"/>
                  <a:pt x="493" y="340"/>
                  <a:pt x="492" y="338"/>
                </a:cubicBezTo>
                <a:cubicBezTo>
                  <a:pt x="489" y="335"/>
                  <a:pt x="489" y="333"/>
                  <a:pt x="493" y="331"/>
                </a:cubicBezTo>
                <a:close/>
                <a:moveTo>
                  <a:pt x="491" y="374"/>
                </a:moveTo>
                <a:cubicBezTo>
                  <a:pt x="491" y="374"/>
                  <a:pt x="491" y="373"/>
                  <a:pt x="491" y="373"/>
                </a:cubicBezTo>
                <a:cubicBezTo>
                  <a:pt x="491" y="373"/>
                  <a:pt x="491" y="373"/>
                  <a:pt x="491" y="372"/>
                </a:cubicBezTo>
                <a:cubicBezTo>
                  <a:pt x="492" y="372"/>
                  <a:pt x="492" y="372"/>
                  <a:pt x="492" y="373"/>
                </a:cubicBezTo>
                <a:cubicBezTo>
                  <a:pt x="492" y="373"/>
                  <a:pt x="491" y="373"/>
                  <a:pt x="491" y="373"/>
                </a:cubicBezTo>
                <a:cubicBezTo>
                  <a:pt x="491" y="373"/>
                  <a:pt x="491" y="374"/>
                  <a:pt x="491" y="374"/>
                </a:cubicBezTo>
                <a:cubicBezTo>
                  <a:pt x="490" y="375"/>
                  <a:pt x="490" y="375"/>
                  <a:pt x="489" y="376"/>
                </a:cubicBezTo>
                <a:cubicBezTo>
                  <a:pt x="489" y="376"/>
                  <a:pt x="489" y="376"/>
                  <a:pt x="489" y="376"/>
                </a:cubicBezTo>
                <a:cubicBezTo>
                  <a:pt x="489" y="376"/>
                  <a:pt x="489" y="376"/>
                  <a:pt x="489" y="376"/>
                </a:cubicBezTo>
                <a:cubicBezTo>
                  <a:pt x="489" y="375"/>
                  <a:pt x="490" y="374"/>
                  <a:pt x="491" y="374"/>
                </a:cubicBezTo>
                <a:close/>
                <a:moveTo>
                  <a:pt x="489" y="345"/>
                </a:moveTo>
                <a:cubicBezTo>
                  <a:pt x="489" y="345"/>
                  <a:pt x="489" y="345"/>
                  <a:pt x="489" y="345"/>
                </a:cubicBezTo>
                <a:cubicBezTo>
                  <a:pt x="488" y="345"/>
                  <a:pt x="488" y="345"/>
                  <a:pt x="488" y="345"/>
                </a:cubicBezTo>
                <a:lnTo>
                  <a:pt x="489" y="345"/>
                </a:lnTo>
                <a:close/>
                <a:moveTo>
                  <a:pt x="485" y="412"/>
                </a:moveTo>
                <a:cubicBezTo>
                  <a:pt x="485" y="413"/>
                  <a:pt x="485" y="413"/>
                  <a:pt x="485" y="413"/>
                </a:cubicBezTo>
                <a:cubicBezTo>
                  <a:pt x="485" y="413"/>
                  <a:pt x="485" y="413"/>
                  <a:pt x="485" y="413"/>
                </a:cubicBezTo>
                <a:lnTo>
                  <a:pt x="485" y="412"/>
                </a:lnTo>
                <a:close/>
                <a:moveTo>
                  <a:pt x="482" y="506"/>
                </a:moveTo>
                <a:cubicBezTo>
                  <a:pt x="482" y="504"/>
                  <a:pt x="482" y="503"/>
                  <a:pt x="484" y="502"/>
                </a:cubicBezTo>
                <a:cubicBezTo>
                  <a:pt x="484" y="502"/>
                  <a:pt x="484" y="502"/>
                  <a:pt x="484" y="502"/>
                </a:cubicBezTo>
                <a:cubicBezTo>
                  <a:pt x="484" y="502"/>
                  <a:pt x="484" y="502"/>
                  <a:pt x="484" y="501"/>
                </a:cubicBezTo>
                <a:cubicBezTo>
                  <a:pt x="484" y="502"/>
                  <a:pt x="484" y="502"/>
                  <a:pt x="484" y="502"/>
                </a:cubicBezTo>
                <a:cubicBezTo>
                  <a:pt x="484" y="502"/>
                  <a:pt x="484" y="502"/>
                  <a:pt x="484" y="502"/>
                </a:cubicBezTo>
                <a:cubicBezTo>
                  <a:pt x="484" y="503"/>
                  <a:pt x="484" y="504"/>
                  <a:pt x="484" y="505"/>
                </a:cubicBezTo>
                <a:cubicBezTo>
                  <a:pt x="485" y="505"/>
                  <a:pt x="485" y="506"/>
                  <a:pt x="484" y="506"/>
                </a:cubicBezTo>
                <a:cubicBezTo>
                  <a:pt x="484" y="506"/>
                  <a:pt x="484" y="507"/>
                  <a:pt x="483" y="507"/>
                </a:cubicBezTo>
                <a:cubicBezTo>
                  <a:pt x="483" y="507"/>
                  <a:pt x="483" y="507"/>
                  <a:pt x="482" y="507"/>
                </a:cubicBezTo>
                <a:cubicBezTo>
                  <a:pt x="482" y="507"/>
                  <a:pt x="481" y="506"/>
                  <a:pt x="482" y="506"/>
                </a:cubicBezTo>
                <a:close/>
                <a:moveTo>
                  <a:pt x="480" y="443"/>
                </a:moveTo>
                <a:cubicBezTo>
                  <a:pt x="481" y="443"/>
                  <a:pt x="481" y="443"/>
                  <a:pt x="481" y="443"/>
                </a:cubicBezTo>
                <a:cubicBezTo>
                  <a:pt x="480" y="443"/>
                  <a:pt x="480" y="443"/>
                  <a:pt x="480" y="443"/>
                </a:cubicBezTo>
                <a:close/>
                <a:moveTo>
                  <a:pt x="478" y="415"/>
                </a:moveTo>
                <a:cubicBezTo>
                  <a:pt x="478" y="415"/>
                  <a:pt x="479" y="416"/>
                  <a:pt x="479" y="416"/>
                </a:cubicBezTo>
                <a:cubicBezTo>
                  <a:pt x="479" y="417"/>
                  <a:pt x="479" y="417"/>
                  <a:pt x="478" y="417"/>
                </a:cubicBezTo>
                <a:cubicBezTo>
                  <a:pt x="477" y="417"/>
                  <a:pt x="477" y="417"/>
                  <a:pt x="477" y="417"/>
                </a:cubicBezTo>
                <a:cubicBezTo>
                  <a:pt x="477" y="416"/>
                  <a:pt x="477" y="416"/>
                  <a:pt x="478" y="415"/>
                </a:cubicBezTo>
                <a:close/>
                <a:moveTo>
                  <a:pt x="476" y="482"/>
                </a:moveTo>
                <a:cubicBezTo>
                  <a:pt x="477" y="485"/>
                  <a:pt x="476" y="488"/>
                  <a:pt x="474" y="489"/>
                </a:cubicBezTo>
                <a:cubicBezTo>
                  <a:pt x="474" y="490"/>
                  <a:pt x="474" y="490"/>
                  <a:pt x="474" y="490"/>
                </a:cubicBezTo>
                <a:cubicBezTo>
                  <a:pt x="473" y="490"/>
                  <a:pt x="473" y="490"/>
                  <a:pt x="473" y="490"/>
                </a:cubicBezTo>
                <a:cubicBezTo>
                  <a:pt x="473" y="490"/>
                  <a:pt x="473" y="490"/>
                  <a:pt x="473" y="490"/>
                </a:cubicBezTo>
                <a:cubicBezTo>
                  <a:pt x="473" y="490"/>
                  <a:pt x="474" y="489"/>
                  <a:pt x="474" y="489"/>
                </a:cubicBezTo>
                <a:cubicBezTo>
                  <a:pt x="473" y="487"/>
                  <a:pt x="474" y="484"/>
                  <a:pt x="475" y="481"/>
                </a:cubicBezTo>
                <a:cubicBezTo>
                  <a:pt x="476" y="481"/>
                  <a:pt x="476" y="481"/>
                  <a:pt x="476" y="481"/>
                </a:cubicBezTo>
                <a:cubicBezTo>
                  <a:pt x="476" y="481"/>
                  <a:pt x="476" y="482"/>
                  <a:pt x="476" y="482"/>
                </a:cubicBezTo>
                <a:close/>
                <a:moveTo>
                  <a:pt x="475" y="447"/>
                </a:moveTo>
                <a:cubicBezTo>
                  <a:pt x="476" y="447"/>
                  <a:pt x="476" y="447"/>
                  <a:pt x="476" y="447"/>
                </a:cubicBezTo>
                <a:cubicBezTo>
                  <a:pt x="476" y="447"/>
                  <a:pt x="476" y="448"/>
                  <a:pt x="476" y="448"/>
                </a:cubicBezTo>
                <a:cubicBezTo>
                  <a:pt x="476" y="448"/>
                  <a:pt x="475" y="448"/>
                  <a:pt x="475" y="448"/>
                </a:cubicBezTo>
                <a:cubicBezTo>
                  <a:pt x="475" y="447"/>
                  <a:pt x="475" y="447"/>
                  <a:pt x="475" y="447"/>
                </a:cubicBezTo>
                <a:close/>
                <a:moveTo>
                  <a:pt x="470" y="454"/>
                </a:moveTo>
                <a:cubicBezTo>
                  <a:pt x="470" y="454"/>
                  <a:pt x="471" y="454"/>
                  <a:pt x="471" y="454"/>
                </a:cubicBezTo>
                <a:cubicBezTo>
                  <a:pt x="473" y="454"/>
                  <a:pt x="474" y="455"/>
                  <a:pt x="475" y="457"/>
                </a:cubicBezTo>
                <a:cubicBezTo>
                  <a:pt x="475" y="459"/>
                  <a:pt x="476" y="461"/>
                  <a:pt x="476" y="463"/>
                </a:cubicBezTo>
                <a:cubicBezTo>
                  <a:pt x="475" y="466"/>
                  <a:pt x="475" y="468"/>
                  <a:pt x="475" y="471"/>
                </a:cubicBezTo>
                <a:cubicBezTo>
                  <a:pt x="476" y="472"/>
                  <a:pt x="476" y="473"/>
                  <a:pt x="476" y="474"/>
                </a:cubicBezTo>
                <a:cubicBezTo>
                  <a:pt x="476" y="475"/>
                  <a:pt x="476" y="476"/>
                  <a:pt x="475" y="476"/>
                </a:cubicBezTo>
                <a:cubicBezTo>
                  <a:pt x="475" y="477"/>
                  <a:pt x="474" y="476"/>
                  <a:pt x="474" y="475"/>
                </a:cubicBezTo>
                <a:cubicBezTo>
                  <a:pt x="473" y="474"/>
                  <a:pt x="473" y="473"/>
                  <a:pt x="472" y="473"/>
                </a:cubicBezTo>
                <a:cubicBezTo>
                  <a:pt x="470" y="473"/>
                  <a:pt x="470" y="472"/>
                  <a:pt x="469" y="470"/>
                </a:cubicBezTo>
                <a:cubicBezTo>
                  <a:pt x="469" y="470"/>
                  <a:pt x="469" y="469"/>
                  <a:pt x="468" y="468"/>
                </a:cubicBezTo>
                <a:cubicBezTo>
                  <a:pt x="468" y="466"/>
                  <a:pt x="467" y="463"/>
                  <a:pt x="468" y="461"/>
                </a:cubicBezTo>
                <a:cubicBezTo>
                  <a:pt x="468" y="460"/>
                  <a:pt x="467" y="459"/>
                  <a:pt x="467" y="458"/>
                </a:cubicBezTo>
                <a:cubicBezTo>
                  <a:pt x="468" y="457"/>
                  <a:pt x="469" y="455"/>
                  <a:pt x="470" y="454"/>
                </a:cubicBezTo>
                <a:close/>
                <a:moveTo>
                  <a:pt x="460" y="466"/>
                </a:moveTo>
                <a:cubicBezTo>
                  <a:pt x="459" y="467"/>
                  <a:pt x="458" y="469"/>
                  <a:pt x="457" y="470"/>
                </a:cubicBezTo>
                <a:cubicBezTo>
                  <a:pt x="457" y="470"/>
                  <a:pt x="457" y="471"/>
                  <a:pt x="456" y="470"/>
                </a:cubicBezTo>
                <a:cubicBezTo>
                  <a:pt x="456" y="470"/>
                  <a:pt x="456" y="469"/>
                  <a:pt x="456" y="469"/>
                </a:cubicBezTo>
                <a:cubicBezTo>
                  <a:pt x="456" y="469"/>
                  <a:pt x="456" y="469"/>
                  <a:pt x="456" y="468"/>
                </a:cubicBezTo>
                <a:cubicBezTo>
                  <a:pt x="457" y="467"/>
                  <a:pt x="458" y="465"/>
                  <a:pt x="457" y="464"/>
                </a:cubicBezTo>
                <a:cubicBezTo>
                  <a:pt x="457" y="461"/>
                  <a:pt x="455" y="462"/>
                  <a:pt x="454" y="461"/>
                </a:cubicBezTo>
                <a:cubicBezTo>
                  <a:pt x="453" y="461"/>
                  <a:pt x="453" y="460"/>
                  <a:pt x="453" y="460"/>
                </a:cubicBezTo>
                <a:cubicBezTo>
                  <a:pt x="454" y="460"/>
                  <a:pt x="454" y="459"/>
                  <a:pt x="454" y="459"/>
                </a:cubicBezTo>
                <a:cubicBezTo>
                  <a:pt x="455" y="459"/>
                  <a:pt x="455" y="459"/>
                  <a:pt x="456" y="459"/>
                </a:cubicBezTo>
                <a:cubicBezTo>
                  <a:pt x="457" y="460"/>
                  <a:pt x="458" y="460"/>
                  <a:pt x="459" y="460"/>
                </a:cubicBezTo>
                <a:cubicBezTo>
                  <a:pt x="459" y="460"/>
                  <a:pt x="459" y="460"/>
                  <a:pt x="459" y="460"/>
                </a:cubicBezTo>
                <a:cubicBezTo>
                  <a:pt x="459" y="460"/>
                  <a:pt x="459" y="460"/>
                  <a:pt x="459" y="460"/>
                </a:cubicBezTo>
                <a:cubicBezTo>
                  <a:pt x="458" y="458"/>
                  <a:pt x="457" y="457"/>
                  <a:pt x="457" y="456"/>
                </a:cubicBezTo>
                <a:cubicBezTo>
                  <a:pt x="455" y="453"/>
                  <a:pt x="456" y="451"/>
                  <a:pt x="456" y="449"/>
                </a:cubicBezTo>
                <a:cubicBezTo>
                  <a:pt x="457" y="448"/>
                  <a:pt x="458" y="447"/>
                  <a:pt x="458" y="447"/>
                </a:cubicBezTo>
                <a:cubicBezTo>
                  <a:pt x="459" y="447"/>
                  <a:pt x="460" y="447"/>
                  <a:pt x="460" y="448"/>
                </a:cubicBezTo>
                <a:cubicBezTo>
                  <a:pt x="461" y="449"/>
                  <a:pt x="462" y="450"/>
                  <a:pt x="463" y="451"/>
                </a:cubicBezTo>
                <a:cubicBezTo>
                  <a:pt x="463" y="451"/>
                  <a:pt x="463" y="451"/>
                  <a:pt x="463" y="451"/>
                </a:cubicBezTo>
                <a:cubicBezTo>
                  <a:pt x="463" y="451"/>
                  <a:pt x="463" y="451"/>
                  <a:pt x="463" y="451"/>
                </a:cubicBezTo>
                <a:cubicBezTo>
                  <a:pt x="463" y="452"/>
                  <a:pt x="463" y="452"/>
                  <a:pt x="463" y="452"/>
                </a:cubicBezTo>
                <a:cubicBezTo>
                  <a:pt x="463" y="452"/>
                  <a:pt x="463" y="451"/>
                  <a:pt x="463" y="451"/>
                </a:cubicBezTo>
                <a:cubicBezTo>
                  <a:pt x="461" y="454"/>
                  <a:pt x="461" y="456"/>
                  <a:pt x="463" y="458"/>
                </a:cubicBezTo>
                <a:cubicBezTo>
                  <a:pt x="463" y="458"/>
                  <a:pt x="463" y="459"/>
                  <a:pt x="462" y="459"/>
                </a:cubicBezTo>
                <a:cubicBezTo>
                  <a:pt x="461" y="459"/>
                  <a:pt x="460" y="459"/>
                  <a:pt x="459" y="460"/>
                </a:cubicBezTo>
                <a:cubicBezTo>
                  <a:pt x="459" y="460"/>
                  <a:pt x="459" y="460"/>
                  <a:pt x="459" y="460"/>
                </a:cubicBezTo>
                <a:cubicBezTo>
                  <a:pt x="459" y="460"/>
                  <a:pt x="459" y="460"/>
                  <a:pt x="459" y="460"/>
                </a:cubicBezTo>
                <a:cubicBezTo>
                  <a:pt x="460" y="461"/>
                  <a:pt x="460" y="462"/>
                  <a:pt x="460" y="463"/>
                </a:cubicBezTo>
                <a:cubicBezTo>
                  <a:pt x="460" y="464"/>
                  <a:pt x="460" y="465"/>
                  <a:pt x="460" y="466"/>
                </a:cubicBezTo>
                <a:close/>
                <a:moveTo>
                  <a:pt x="464" y="490"/>
                </a:moveTo>
                <a:cubicBezTo>
                  <a:pt x="464" y="490"/>
                  <a:pt x="463" y="490"/>
                  <a:pt x="463" y="490"/>
                </a:cubicBezTo>
                <a:cubicBezTo>
                  <a:pt x="463" y="490"/>
                  <a:pt x="462" y="490"/>
                  <a:pt x="462" y="490"/>
                </a:cubicBezTo>
                <a:cubicBezTo>
                  <a:pt x="461" y="488"/>
                  <a:pt x="461" y="486"/>
                  <a:pt x="461" y="485"/>
                </a:cubicBezTo>
                <a:cubicBezTo>
                  <a:pt x="460" y="484"/>
                  <a:pt x="461" y="484"/>
                  <a:pt x="461" y="483"/>
                </a:cubicBezTo>
                <a:cubicBezTo>
                  <a:pt x="461" y="483"/>
                  <a:pt x="461" y="483"/>
                  <a:pt x="461" y="483"/>
                </a:cubicBezTo>
                <a:cubicBezTo>
                  <a:pt x="461" y="482"/>
                  <a:pt x="461" y="482"/>
                  <a:pt x="462" y="482"/>
                </a:cubicBezTo>
                <a:cubicBezTo>
                  <a:pt x="462" y="482"/>
                  <a:pt x="462" y="482"/>
                  <a:pt x="462" y="482"/>
                </a:cubicBezTo>
                <a:cubicBezTo>
                  <a:pt x="462" y="481"/>
                  <a:pt x="462" y="481"/>
                  <a:pt x="462" y="481"/>
                </a:cubicBezTo>
                <a:cubicBezTo>
                  <a:pt x="462" y="481"/>
                  <a:pt x="462" y="481"/>
                  <a:pt x="462" y="482"/>
                </a:cubicBezTo>
                <a:cubicBezTo>
                  <a:pt x="461" y="482"/>
                  <a:pt x="461" y="483"/>
                  <a:pt x="461" y="483"/>
                </a:cubicBezTo>
                <a:cubicBezTo>
                  <a:pt x="461" y="483"/>
                  <a:pt x="461" y="483"/>
                  <a:pt x="461" y="483"/>
                </a:cubicBezTo>
                <a:cubicBezTo>
                  <a:pt x="462" y="485"/>
                  <a:pt x="463" y="486"/>
                  <a:pt x="464" y="488"/>
                </a:cubicBezTo>
                <a:cubicBezTo>
                  <a:pt x="464" y="489"/>
                  <a:pt x="464" y="489"/>
                  <a:pt x="464" y="490"/>
                </a:cubicBezTo>
                <a:close/>
                <a:moveTo>
                  <a:pt x="461" y="314"/>
                </a:moveTo>
                <a:cubicBezTo>
                  <a:pt x="461" y="314"/>
                  <a:pt x="461" y="313"/>
                  <a:pt x="462" y="313"/>
                </a:cubicBezTo>
                <a:cubicBezTo>
                  <a:pt x="462" y="314"/>
                  <a:pt x="462" y="314"/>
                  <a:pt x="462" y="315"/>
                </a:cubicBezTo>
                <a:cubicBezTo>
                  <a:pt x="462" y="315"/>
                  <a:pt x="462" y="315"/>
                  <a:pt x="461" y="315"/>
                </a:cubicBezTo>
                <a:cubicBezTo>
                  <a:pt x="461" y="315"/>
                  <a:pt x="461" y="314"/>
                  <a:pt x="461" y="314"/>
                </a:cubicBezTo>
                <a:close/>
                <a:moveTo>
                  <a:pt x="456" y="395"/>
                </a:moveTo>
                <a:cubicBezTo>
                  <a:pt x="456" y="394"/>
                  <a:pt x="457" y="393"/>
                  <a:pt x="459" y="393"/>
                </a:cubicBezTo>
                <a:cubicBezTo>
                  <a:pt x="459" y="393"/>
                  <a:pt x="460" y="393"/>
                  <a:pt x="460" y="394"/>
                </a:cubicBezTo>
                <a:cubicBezTo>
                  <a:pt x="460" y="394"/>
                  <a:pt x="460" y="394"/>
                  <a:pt x="460" y="394"/>
                </a:cubicBezTo>
                <a:cubicBezTo>
                  <a:pt x="459" y="396"/>
                  <a:pt x="458" y="397"/>
                  <a:pt x="456" y="398"/>
                </a:cubicBezTo>
                <a:cubicBezTo>
                  <a:pt x="456" y="398"/>
                  <a:pt x="456" y="398"/>
                  <a:pt x="456" y="399"/>
                </a:cubicBezTo>
                <a:cubicBezTo>
                  <a:pt x="456" y="399"/>
                  <a:pt x="456" y="399"/>
                  <a:pt x="455" y="399"/>
                </a:cubicBezTo>
                <a:cubicBezTo>
                  <a:pt x="455" y="399"/>
                  <a:pt x="455" y="399"/>
                  <a:pt x="455" y="399"/>
                </a:cubicBezTo>
                <a:cubicBezTo>
                  <a:pt x="455" y="399"/>
                  <a:pt x="455" y="399"/>
                  <a:pt x="455" y="399"/>
                </a:cubicBezTo>
                <a:cubicBezTo>
                  <a:pt x="455" y="399"/>
                  <a:pt x="455" y="399"/>
                  <a:pt x="455" y="399"/>
                </a:cubicBezTo>
                <a:cubicBezTo>
                  <a:pt x="456" y="399"/>
                  <a:pt x="456" y="398"/>
                  <a:pt x="456" y="398"/>
                </a:cubicBezTo>
                <a:cubicBezTo>
                  <a:pt x="456" y="398"/>
                  <a:pt x="456" y="398"/>
                  <a:pt x="456" y="398"/>
                </a:cubicBezTo>
                <a:cubicBezTo>
                  <a:pt x="456" y="397"/>
                  <a:pt x="456" y="396"/>
                  <a:pt x="456" y="395"/>
                </a:cubicBezTo>
                <a:close/>
                <a:moveTo>
                  <a:pt x="455" y="311"/>
                </a:moveTo>
                <a:cubicBezTo>
                  <a:pt x="456" y="311"/>
                  <a:pt x="456" y="311"/>
                  <a:pt x="455" y="312"/>
                </a:cubicBezTo>
                <a:cubicBezTo>
                  <a:pt x="455" y="312"/>
                  <a:pt x="455" y="312"/>
                  <a:pt x="455" y="312"/>
                </a:cubicBezTo>
                <a:cubicBezTo>
                  <a:pt x="455" y="312"/>
                  <a:pt x="454" y="312"/>
                  <a:pt x="454" y="311"/>
                </a:cubicBezTo>
                <a:cubicBezTo>
                  <a:pt x="454" y="311"/>
                  <a:pt x="455" y="311"/>
                  <a:pt x="455" y="311"/>
                </a:cubicBezTo>
                <a:close/>
                <a:moveTo>
                  <a:pt x="452" y="417"/>
                </a:moveTo>
                <a:cubicBezTo>
                  <a:pt x="453" y="417"/>
                  <a:pt x="454" y="417"/>
                  <a:pt x="455" y="416"/>
                </a:cubicBezTo>
                <a:cubicBezTo>
                  <a:pt x="455" y="416"/>
                  <a:pt x="455" y="416"/>
                  <a:pt x="456" y="416"/>
                </a:cubicBezTo>
                <a:cubicBezTo>
                  <a:pt x="456" y="415"/>
                  <a:pt x="457" y="415"/>
                  <a:pt x="458" y="414"/>
                </a:cubicBezTo>
                <a:cubicBezTo>
                  <a:pt x="458" y="414"/>
                  <a:pt x="458" y="414"/>
                  <a:pt x="458" y="414"/>
                </a:cubicBezTo>
                <a:cubicBezTo>
                  <a:pt x="458" y="414"/>
                  <a:pt x="458" y="414"/>
                  <a:pt x="458" y="414"/>
                </a:cubicBezTo>
                <a:cubicBezTo>
                  <a:pt x="456" y="406"/>
                  <a:pt x="455" y="406"/>
                  <a:pt x="463" y="401"/>
                </a:cubicBezTo>
                <a:cubicBezTo>
                  <a:pt x="464" y="401"/>
                  <a:pt x="464" y="401"/>
                  <a:pt x="465" y="402"/>
                </a:cubicBezTo>
                <a:cubicBezTo>
                  <a:pt x="465" y="402"/>
                  <a:pt x="465" y="403"/>
                  <a:pt x="465" y="403"/>
                </a:cubicBezTo>
                <a:cubicBezTo>
                  <a:pt x="465" y="403"/>
                  <a:pt x="465" y="404"/>
                  <a:pt x="465" y="404"/>
                </a:cubicBezTo>
                <a:cubicBezTo>
                  <a:pt x="464" y="405"/>
                  <a:pt x="462" y="407"/>
                  <a:pt x="461" y="408"/>
                </a:cubicBezTo>
                <a:cubicBezTo>
                  <a:pt x="460" y="410"/>
                  <a:pt x="460" y="411"/>
                  <a:pt x="459" y="413"/>
                </a:cubicBezTo>
                <a:cubicBezTo>
                  <a:pt x="459" y="413"/>
                  <a:pt x="458" y="414"/>
                  <a:pt x="458" y="414"/>
                </a:cubicBezTo>
                <a:cubicBezTo>
                  <a:pt x="458" y="414"/>
                  <a:pt x="458" y="414"/>
                  <a:pt x="458" y="414"/>
                </a:cubicBezTo>
                <a:cubicBezTo>
                  <a:pt x="457" y="415"/>
                  <a:pt x="456" y="416"/>
                  <a:pt x="456" y="416"/>
                </a:cubicBezTo>
                <a:cubicBezTo>
                  <a:pt x="456" y="416"/>
                  <a:pt x="455" y="416"/>
                  <a:pt x="455" y="416"/>
                </a:cubicBezTo>
                <a:cubicBezTo>
                  <a:pt x="454" y="417"/>
                  <a:pt x="453" y="418"/>
                  <a:pt x="452" y="418"/>
                </a:cubicBezTo>
                <a:cubicBezTo>
                  <a:pt x="452" y="418"/>
                  <a:pt x="452" y="418"/>
                  <a:pt x="452" y="418"/>
                </a:cubicBezTo>
                <a:cubicBezTo>
                  <a:pt x="452" y="417"/>
                  <a:pt x="452" y="417"/>
                  <a:pt x="452" y="417"/>
                </a:cubicBezTo>
                <a:close/>
                <a:moveTo>
                  <a:pt x="452" y="284"/>
                </a:moveTo>
                <a:cubicBezTo>
                  <a:pt x="451" y="285"/>
                  <a:pt x="451" y="285"/>
                  <a:pt x="451" y="285"/>
                </a:cubicBezTo>
                <a:cubicBezTo>
                  <a:pt x="451" y="284"/>
                  <a:pt x="451" y="284"/>
                  <a:pt x="451" y="284"/>
                </a:cubicBezTo>
                <a:lnTo>
                  <a:pt x="452" y="284"/>
                </a:lnTo>
                <a:close/>
                <a:moveTo>
                  <a:pt x="446" y="302"/>
                </a:moveTo>
                <a:cubicBezTo>
                  <a:pt x="446" y="301"/>
                  <a:pt x="447" y="302"/>
                  <a:pt x="447" y="302"/>
                </a:cubicBezTo>
                <a:cubicBezTo>
                  <a:pt x="447" y="302"/>
                  <a:pt x="447" y="302"/>
                  <a:pt x="447" y="303"/>
                </a:cubicBezTo>
                <a:cubicBezTo>
                  <a:pt x="447" y="303"/>
                  <a:pt x="446" y="303"/>
                  <a:pt x="446" y="303"/>
                </a:cubicBezTo>
                <a:cubicBezTo>
                  <a:pt x="446" y="303"/>
                  <a:pt x="446" y="302"/>
                  <a:pt x="446" y="302"/>
                </a:cubicBezTo>
                <a:close/>
                <a:moveTo>
                  <a:pt x="251" y="374"/>
                </a:moveTo>
                <a:cubicBezTo>
                  <a:pt x="251" y="374"/>
                  <a:pt x="251" y="374"/>
                  <a:pt x="251" y="374"/>
                </a:cubicBezTo>
                <a:cubicBezTo>
                  <a:pt x="251" y="374"/>
                  <a:pt x="251" y="374"/>
                  <a:pt x="251" y="374"/>
                </a:cubicBezTo>
                <a:cubicBezTo>
                  <a:pt x="251" y="374"/>
                  <a:pt x="251" y="374"/>
                  <a:pt x="251" y="374"/>
                </a:cubicBezTo>
                <a:cubicBezTo>
                  <a:pt x="251" y="374"/>
                  <a:pt x="251" y="374"/>
                  <a:pt x="251" y="374"/>
                </a:cubicBezTo>
                <a:close/>
                <a:moveTo>
                  <a:pt x="256" y="362"/>
                </a:moveTo>
                <a:cubicBezTo>
                  <a:pt x="256" y="362"/>
                  <a:pt x="256" y="361"/>
                  <a:pt x="256" y="361"/>
                </a:cubicBezTo>
                <a:cubicBezTo>
                  <a:pt x="256" y="361"/>
                  <a:pt x="255" y="361"/>
                  <a:pt x="255" y="361"/>
                </a:cubicBezTo>
                <a:cubicBezTo>
                  <a:pt x="255" y="360"/>
                  <a:pt x="255" y="360"/>
                  <a:pt x="255" y="360"/>
                </a:cubicBezTo>
                <a:cubicBezTo>
                  <a:pt x="256" y="360"/>
                  <a:pt x="256" y="361"/>
                  <a:pt x="256" y="361"/>
                </a:cubicBezTo>
                <a:cubicBezTo>
                  <a:pt x="256" y="361"/>
                  <a:pt x="256" y="361"/>
                  <a:pt x="256" y="361"/>
                </a:cubicBezTo>
                <a:cubicBezTo>
                  <a:pt x="256" y="362"/>
                  <a:pt x="256" y="362"/>
                  <a:pt x="256" y="362"/>
                </a:cubicBezTo>
                <a:cubicBezTo>
                  <a:pt x="256" y="362"/>
                  <a:pt x="256" y="362"/>
                  <a:pt x="256" y="362"/>
                </a:cubicBezTo>
                <a:close/>
                <a:moveTo>
                  <a:pt x="257" y="351"/>
                </a:moveTo>
                <a:cubicBezTo>
                  <a:pt x="257" y="351"/>
                  <a:pt x="257" y="351"/>
                  <a:pt x="257" y="351"/>
                </a:cubicBezTo>
                <a:cubicBezTo>
                  <a:pt x="257" y="350"/>
                  <a:pt x="257" y="350"/>
                  <a:pt x="257" y="349"/>
                </a:cubicBezTo>
                <a:cubicBezTo>
                  <a:pt x="257" y="350"/>
                  <a:pt x="257" y="350"/>
                  <a:pt x="257" y="350"/>
                </a:cubicBezTo>
                <a:cubicBezTo>
                  <a:pt x="257" y="350"/>
                  <a:pt x="257" y="350"/>
                  <a:pt x="257" y="351"/>
                </a:cubicBezTo>
                <a:close/>
                <a:moveTo>
                  <a:pt x="258" y="397"/>
                </a:moveTo>
                <a:cubicBezTo>
                  <a:pt x="258" y="397"/>
                  <a:pt x="257" y="397"/>
                  <a:pt x="257" y="397"/>
                </a:cubicBezTo>
                <a:cubicBezTo>
                  <a:pt x="256" y="396"/>
                  <a:pt x="255" y="395"/>
                  <a:pt x="255" y="394"/>
                </a:cubicBezTo>
                <a:cubicBezTo>
                  <a:pt x="255" y="392"/>
                  <a:pt x="255" y="391"/>
                  <a:pt x="256" y="390"/>
                </a:cubicBezTo>
                <a:cubicBezTo>
                  <a:pt x="256" y="390"/>
                  <a:pt x="256" y="390"/>
                  <a:pt x="256" y="390"/>
                </a:cubicBezTo>
                <a:cubicBezTo>
                  <a:pt x="256" y="390"/>
                  <a:pt x="256" y="390"/>
                  <a:pt x="256" y="390"/>
                </a:cubicBezTo>
                <a:cubicBezTo>
                  <a:pt x="256" y="389"/>
                  <a:pt x="256" y="389"/>
                  <a:pt x="257" y="388"/>
                </a:cubicBezTo>
                <a:cubicBezTo>
                  <a:pt x="257" y="388"/>
                  <a:pt x="257" y="389"/>
                  <a:pt x="257" y="389"/>
                </a:cubicBezTo>
                <a:cubicBezTo>
                  <a:pt x="257" y="389"/>
                  <a:pt x="257" y="389"/>
                  <a:pt x="256" y="390"/>
                </a:cubicBezTo>
                <a:cubicBezTo>
                  <a:pt x="256" y="390"/>
                  <a:pt x="256" y="390"/>
                  <a:pt x="256" y="390"/>
                </a:cubicBezTo>
                <a:cubicBezTo>
                  <a:pt x="256" y="390"/>
                  <a:pt x="256" y="390"/>
                  <a:pt x="256" y="390"/>
                </a:cubicBezTo>
                <a:cubicBezTo>
                  <a:pt x="257" y="392"/>
                  <a:pt x="258" y="394"/>
                  <a:pt x="259" y="396"/>
                </a:cubicBezTo>
                <a:cubicBezTo>
                  <a:pt x="259" y="396"/>
                  <a:pt x="258" y="397"/>
                  <a:pt x="258" y="397"/>
                </a:cubicBezTo>
                <a:close/>
                <a:moveTo>
                  <a:pt x="261" y="391"/>
                </a:moveTo>
                <a:cubicBezTo>
                  <a:pt x="260" y="391"/>
                  <a:pt x="260" y="391"/>
                  <a:pt x="260" y="390"/>
                </a:cubicBezTo>
                <a:cubicBezTo>
                  <a:pt x="260" y="390"/>
                  <a:pt x="260" y="390"/>
                  <a:pt x="260" y="389"/>
                </a:cubicBezTo>
                <a:cubicBezTo>
                  <a:pt x="261" y="389"/>
                  <a:pt x="261" y="390"/>
                  <a:pt x="262" y="390"/>
                </a:cubicBezTo>
                <a:cubicBezTo>
                  <a:pt x="262" y="391"/>
                  <a:pt x="261" y="391"/>
                  <a:pt x="261" y="391"/>
                </a:cubicBezTo>
                <a:close/>
                <a:moveTo>
                  <a:pt x="339" y="206"/>
                </a:moveTo>
                <a:cubicBezTo>
                  <a:pt x="339" y="206"/>
                  <a:pt x="338" y="206"/>
                  <a:pt x="338" y="206"/>
                </a:cubicBezTo>
                <a:cubicBezTo>
                  <a:pt x="338" y="205"/>
                  <a:pt x="338" y="204"/>
                  <a:pt x="338" y="204"/>
                </a:cubicBezTo>
                <a:cubicBezTo>
                  <a:pt x="338" y="203"/>
                  <a:pt x="338" y="202"/>
                  <a:pt x="339" y="201"/>
                </a:cubicBezTo>
                <a:cubicBezTo>
                  <a:pt x="339" y="201"/>
                  <a:pt x="339" y="201"/>
                  <a:pt x="339" y="201"/>
                </a:cubicBezTo>
                <a:cubicBezTo>
                  <a:pt x="339" y="201"/>
                  <a:pt x="339" y="201"/>
                  <a:pt x="339" y="201"/>
                </a:cubicBezTo>
                <a:cubicBezTo>
                  <a:pt x="339" y="202"/>
                  <a:pt x="339" y="204"/>
                  <a:pt x="340" y="205"/>
                </a:cubicBezTo>
                <a:cubicBezTo>
                  <a:pt x="340" y="206"/>
                  <a:pt x="339" y="206"/>
                  <a:pt x="339" y="206"/>
                </a:cubicBezTo>
                <a:close/>
                <a:moveTo>
                  <a:pt x="351" y="202"/>
                </a:moveTo>
                <a:cubicBezTo>
                  <a:pt x="351" y="202"/>
                  <a:pt x="350" y="203"/>
                  <a:pt x="350" y="203"/>
                </a:cubicBezTo>
                <a:cubicBezTo>
                  <a:pt x="350" y="203"/>
                  <a:pt x="350" y="202"/>
                  <a:pt x="351" y="202"/>
                </a:cubicBezTo>
                <a:cubicBezTo>
                  <a:pt x="351" y="202"/>
                  <a:pt x="351" y="202"/>
                  <a:pt x="351" y="202"/>
                </a:cubicBezTo>
                <a:close/>
                <a:moveTo>
                  <a:pt x="354" y="348"/>
                </a:moveTo>
                <a:cubicBezTo>
                  <a:pt x="354" y="348"/>
                  <a:pt x="354" y="348"/>
                  <a:pt x="354" y="348"/>
                </a:cubicBezTo>
                <a:cubicBezTo>
                  <a:pt x="354" y="348"/>
                  <a:pt x="354" y="348"/>
                  <a:pt x="354" y="348"/>
                </a:cubicBezTo>
                <a:cubicBezTo>
                  <a:pt x="354" y="347"/>
                  <a:pt x="354" y="347"/>
                  <a:pt x="354" y="347"/>
                </a:cubicBezTo>
                <a:lnTo>
                  <a:pt x="354" y="348"/>
                </a:lnTo>
                <a:close/>
                <a:moveTo>
                  <a:pt x="367" y="419"/>
                </a:moveTo>
                <a:cubicBezTo>
                  <a:pt x="367" y="419"/>
                  <a:pt x="367" y="419"/>
                  <a:pt x="367" y="419"/>
                </a:cubicBezTo>
                <a:cubicBezTo>
                  <a:pt x="367" y="419"/>
                  <a:pt x="367" y="418"/>
                  <a:pt x="368" y="418"/>
                </a:cubicBezTo>
                <a:cubicBezTo>
                  <a:pt x="368" y="418"/>
                  <a:pt x="368" y="419"/>
                  <a:pt x="368" y="419"/>
                </a:cubicBezTo>
                <a:cubicBezTo>
                  <a:pt x="368" y="419"/>
                  <a:pt x="368" y="419"/>
                  <a:pt x="367" y="419"/>
                </a:cubicBezTo>
                <a:close/>
                <a:moveTo>
                  <a:pt x="369" y="196"/>
                </a:moveTo>
                <a:cubicBezTo>
                  <a:pt x="369" y="197"/>
                  <a:pt x="369" y="197"/>
                  <a:pt x="369" y="197"/>
                </a:cubicBezTo>
                <a:cubicBezTo>
                  <a:pt x="366" y="197"/>
                  <a:pt x="363" y="197"/>
                  <a:pt x="360" y="197"/>
                </a:cubicBezTo>
                <a:cubicBezTo>
                  <a:pt x="360" y="197"/>
                  <a:pt x="360" y="197"/>
                  <a:pt x="359" y="197"/>
                </a:cubicBezTo>
                <a:cubicBezTo>
                  <a:pt x="359" y="198"/>
                  <a:pt x="358" y="198"/>
                  <a:pt x="358" y="199"/>
                </a:cubicBezTo>
                <a:cubicBezTo>
                  <a:pt x="357" y="199"/>
                  <a:pt x="357" y="199"/>
                  <a:pt x="357" y="199"/>
                </a:cubicBezTo>
                <a:cubicBezTo>
                  <a:pt x="357" y="199"/>
                  <a:pt x="357" y="200"/>
                  <a:pt x="356" y="200"/>
                </a:cubicBezTo>
                <a:cubicBezTo>
                  <a:pt x="356" y="200"/>
                  <a:pt x="356" y="200"/>
                  <a:pt x="356" y="200"/>
                </a:cubicBezTo>
                <a:cubicBezTo>
                  <a:pt x="356" y="199"/>
                  <a:pt x="357" y="199"/>
                  <a:pt x="357" y="199"/>
                </a:cubicBezTo>
                <a:cubicBezTo>
                  <a:pt x="357" y="199"/>
                  <a:pt x="357" y="199"/>
                  <a:pt x="357" y="199"/>
                </a:cubicBezTo>
                <a:cubicBezTo>
                  <a:pt x="358" y="198"/>
                  <a:pt x="359" y="197"/>
                  <a:pt x="359" y="197"/>
                </a:cubicBezTo>
                <a:cubicBezTo>
                  <a:pt x="360" y="197"/>
                  <a:pt x="360" y="197"/>
                  <a:pt x="360" y="197"/>
                </a:cubicBezTo>
                <a:cubicBezTo>
                  <a:pt x="363" y="195"/>
                  <a:pt x="366" y="195"/>
                  <a:pt x="369" y="196"/>
                </a:cubicBezTo>
                <a:cubicBezTo>
                  <a:pt x="369" y="196"/>
                  <a:pt x="369" y="196"/>
                  <a:pt x="369" y="196"/>
                </a:cubicBezTo>
                <a:close/>
                <a:moveTo>
                  <a:pt x="433" y="433"/>
                </a:moveTo>
                <a:cubicBezTo>
                  <a:pt x="433" y="433"/>
                  <a:pt x="433" y="433"/>
                  <a:pt x="432" y="433"/>
                </a:cubicBezTo>
                <a:cubicBezTo>
                  <a:pt x="432" y="432"/>
                  <a:pt x="433" y="432"/>
                  <a:pt x="433" y="431"/>
                </a:cubicBezTo>
                <a:cubicBezTo>
                  <a:pt x="433" y="431"/>
                  <a:pt x="434" y="430"/>
                  <a:pt x="435" y="431"/>
                </a:cubicBezTo>
                <a:cubicBezTo>
                  <a:pt x="435" y="431"/>
                  <a:pt x="435" y="431"/>
                  <a:pt x="435" y="431"/>
                </a:cubicBezTo>
                <a:cubicBezTo>
                  <a:pt x="435" y="432"/>
                  <a:pt x="434" y="433"/>
                  <a:pt x="433" y="433"/>
                </a:cubicBezTo>
                <a:close/>
                <a:moveTo>
                  <a:pt x="432" y="405"/>
                </a:moveTo>
                <a:cubicBezTo>
                  <a:pt x="432" y="405"/>
                  <a:pt x="432" y="404"/>
                  <a:pt x="431" y="404"/>
                </a:cubicBezTo>
                <a:cubicBezTo>
                  <a:pt x="431" y="404"/>
                  <a:pt x="431" y="404"/>
                  <a:pt x="432" y="404"/>
                </a:cubicBezTo>
                <a:cubicBezTo>
                  <a:pt x="432" y="402"/>
                  <a:pt x="434" y="402"/>
                  <a:pt x="435" y="402"/>
                </a:cubicBezTo>
                <a:cubicBezTo>
                  <a:pt x="435" y="402"/>
                  <a:pt x="435" y="402"/>
                  <a:pt x="435" y="403"/>
                </a:cubicBezTo>
                <a:cubicBezTo>
                  <a:pt x="435" y="404"/>
                  <a:pt x="434" y="405"/>
                  <a:pt x="432" y="405"/>
                </a:cubicBezTo>
                <a:close/>
                <a:moveTo>
                  <a:pt x="435" y="344"/>
                </a:moveTo>
                <a:cubicBezTo>
                  <a:pt x="436" y="344"/>
                  <a:pt x="436" y="344"/>
                  <a:pt x="436" y="344"/>
                </a:cubicBezTo>
                <a:cubicBezTo>
                  <a:pt x="436" y="344"/>
                  <a:pt x="436" y="344"/>
                  <a:pt x="436" y="344"/>
                </a:cubicBezTo>
                <a:lnTo>
                  <a:pt x="435" y="344"/>
                </a:lnTo>
                <a:close/>
                <a:moveTo>
                  <a:pt x="440" y="275"/>
                </a:moveTo>
                <a:cubicBezTo>
                  <a:pt x="441" y="275"/>
                  <a:pt x="441" y="275"/>
                  <a:pt x="442" y="275"/>
                </a:cubicBezTo>
                <a:cubicBezTo>
                  <a:pt x="442" y="275"/>
                  <a:pt x="442" y="276"/>
                  <a:pt x="442" y="276"/>
                </a:cubicBezTo>
                <a:cubicBezTo>
                  <a:pt x="442" y="276"/>
                  <a:pt x="442" y="276"/>
                  <a:pt x="442" y="276"/>
                </a:cubicBezTo>
                <a:cubicBezTo>
                  <a:pt x="442" y="276"/>
                  <a:pt x="441" y="277"/>
                  <a:pt x="441" y="276"/>
                </a:cubicBezTo>
                <a:cubicBezTo>
                  <a:pt x="440" y="276"/>
                  <a:pt x="439" y="275"/>
                  <a:pt x="440" y="275"/>
                </a:cubicBezTo>
                <a:close/>
                <a:moveTo>
                  <a:pt x="373" y="242"/>
                </a:moveTo>
                <a:cubicBezTo>
                  <a:pt x="374" y="242"/>
                  <a:pt x="374" y="242"/>
                  <a:pt x="374" y="242"/>
                </a:cubicBezTo>
                <a:cubicBezTo>
                  <a:pt x="374" y="242"/>
                  <a:pt x="374" y="242"/>
                  <a:pt x="374" y="242"/>
                </a:cubicBezTo>
                <a:cubicBezTo>
                  <a:pt x="374" y="242"/>
                  <a:pt x="374" y="242"/>
                  <a:pt x="374" y="242"/>
                </a:cubicBezTo>
                <a:cubicBezTo>
                  <a:pt x="374" y="242"/>
                  <a:pt x="374" y="243"/>
                  <a:pt x="374" y="243"/>
                </a:cubicBezTo>
                <a:cubicBezTo>
                  <a:pt x="373" y="243"/>
                  <a:pt x="373" y="243"/>
                  <a:pt x="373" y="243"/>
                </a:cubicBezTo>
                <a:lnTo>
                  <a:pt x="373" y="242"/>
                </a:lnTo>
                <a:close/>
                <a:moveTo>
                  <a:pt x="380" y="339"/>
                </a:moveTo>
                <a:cubicBezTo>
                  <a:pt x="380" y="339"/>
                  <a:pt x="380" y="339"/>
                  <a:pt x="380" y="339"/>
                </a:cubicBezTo>
                <a:cubicBezTo>
                  <a:pt x="380" y="339"/>
                  <a:pt x="380" y="339"/>
                  <a:pt x="381" y="339"/>
                </a:cubicBezTo>
                <a:cubicBezTo>
                  <a:pt x="381" y="339"/>
                  <a:pt x="381" y="339"/>
                  <a:pt x="381" y="339"/>
                </a:cubicBezTo>
                <a:lnTo>
                  <a:pt x="380" y="339"/>
                </a:lnTo>
                <a:close/>
                <a:moveTo>
                  <a:pt x="382" y="280"/>
                </a:moveTo>
                <a:cubicBezTo>
                  <a:pt x="380" y="281"/>
                  <a:pt x="378" y="281"/>
                  <a:pt x="375" y="280"/>
                </a:cubicBezTo>
                <a:cubicBezTo>
                  <a:pt x="374" y="279"/>
                  <a:pt x="373" y="278"/>
                  <a:pt x="374" y="278"/>
                </a:cubicBezTo>
                <a:cubicBezTo>
                  <a:pt x="375" y="277"/>
                  <a:pt x="377" y="277"/>
                  <a:pt x="378" y="275"/>
                </a:cubicBezTo>
                <a:cubicBezTo>
                  <a:pt x="379" y="274"/>
                  <a:pt x="380" y="272"/>
                  <a:pt x="382" y="272"/>
                </a:cubicBezTo>
                <a:cubicBezTo>
                  <a:pt x="384" y="271"/>
                  <a:pt x="385" y="270"/>
                  <a:pt x="385" y="269"/>
                </a:cubicBezTo>
                <a:cubicBezTo>
                  <a:pt x="385" y="268"/>
                  <a:pt x="386" y="268"/>
                  <a:pt x="386" y="268"/>
                </a:cubicBezTo>
                <a:cubicBezTo>
                  <a:pt x="388" y="268"/>
                  <a:pt x="389" y="269"/>
                  <a:pt x="391" y="268"/>
                </a:cubicBezTo>
                <a:cubicBezTo>
                  <a:pt x="392" y="268"/>
                  <a:pt x="393" y="267"/>
                  <a:pt x="392" y="266"/>
                </a:cubicBezTo>
                <a:cubicBezTo>
                  <a:pt x="391" y="265"/>
                  <a:pt x="390" y="264"/>
                  <a:pt x="389" y="263"/>
                </a:cubicBezTo>
                <a:cubicBezTo>
                  <a:pt x="388" y="262"/>
                  <a:pt x="386" y="262"/>
                  <a:pt x="384" y="262"/>
                </a:cubicBezTo>
                <a:cubicBezTo>
                  <a:pt x="380" y="262"/>
                  <a:pt x="376" y="262"/>
                  <a:pt x="372" y="261"/>
                </a:cubicBezTo>
                <a:cubicBezTo>
                  <a:pt x="372" y="261"/>
                  <a:pt x="372" y="261"/>
                  <a:pt x="372" y="261"/>
                </a:cubicBezTo>
                <a:cubicBezTo>
                  <a:pt x="372" y="260"/>
                  <a:pt x="372" y="260"/>
                  <a:pt x="373" y="259"/>
                </a:cubicBezTo>
                <a:cubicBezTo>
                  <a:pt x="373" y="259"/>
                  <a:pt x="374" y="259"/>
                  <a:pt x="374" y="259"/>
                </a:cubicBezTo>
                <a:cubicBezTo>
                  <a:pt x="379" y="259"/>
                  <a:pt x="383" y="259"/>
                  <a:pt x="387" y="258"/>
                </a:cubicBezTo>
                <a:cubicBezTo>
                  <a:pt x="391" y="258"/>
                  <a:pt x="394" y="258"/>
                  <a:pt x="397" y="257"/>
                </a:cubicBezTo>
                <a:cubicBezTo>
                  <a:pt x="400" y="256"/>
                  <a:pt x="402" y="256"/>
                  <a:pt x="405" y="255"/>
                </a:cubicBezTo>
                <a:cubicBezTo>
                  <a:pt x="406" y="255"/>
                  <a:pt x="407" y="255"/>
                  <a:pt x="408" y="255"/>
                </a:cubicBezTo>
                <a:cubicBezTo>
                  <a:pt x="408" y="255"/>
                  <a:pt x="409" y="256"/>
                  <a:pt x="409" y="256"/>
                </a:cubicBezTo>
                <a:cubicBezTo>
                  <a:pt x="409" y="256"/>
                  <a:pt x="409" y="257"/>
                  <a:pt x="409" y="257"/>
                </a:cubicBezTo>
                <a:cubicBezTo>
                  <a:pt x="406" y="258"/>
                  <a:pt x="404" y="259"/>
                  <a:pt x="401" y="260"/>
                </a:cubicBezTo>
                <a:cubicBezTo>
                  <a:pt x="401" y="261"/>
                  <a:pt x="400" y="262"/>
                  <a:pt x="401" y="263"/>
                </a:cubicBezTo>
                <a:cubicBezTo>
                  <a:pt x="401" y="263"/>
                  <a:pt x="401" y="263"/>
                  <a:pt x="401" y="263"/>
                </a:cubicBezTo>
                <a:cubicBezTo>
                  <a:pt x="402" y="264"/>
                  <a:pt x="402" y="264"/>
                  <a:pt x="403" y="264"/>
                </a:cubicBezTo>
                <a:cubicBezTo>
                  <a:pt x="406" y="267"/>
                  <a:pt x="410" y="268"/>
                  <a:pt x="414" y="265"/>
                </a:cubicBezTo>
                <a:cubicBezTo>
                  <a:pt x="415" y="265"/>
                  <a:pt x="415" y="264"/>
                  <a:pt x="415" y="265"/>
                </a:cubicBezTo>
                <a:cubicBezTo>
                  <a:pt x="416" y="265"/>
                  <a:pt x="416" y="265"/>
                  <a:pt x="416" y="266"/>
                </a:cubicBezTo>
                <a:cubicBezTo>
                  <a:pt x="415" y="267"/>
                  <a:pt x="415" y="268"/>
                  <a:pt x="414" y="269"/>
                </a:cubicBezTo>
                <a:cubicBezTo>
                  <a:pt x="413" y="270"/>
                  <a:pt x="412" y="271"/>
                  <a:pt x="411" y="272"/>
                </a:cubicBezTo>
                <a:cubicBezTo>
                  <a:pt x="410" y="272"/>
                  <a:pt x="410" y="273"/>
                  <a:pt x="409" y="274"/>
                </a:cubicBezTo>
                <a:cubicBezTo>
                  <a:pt x="408" y="277"/>
                  <a:pt x="407" y="277"/>
                  <a:pt x="405" y="275"/>
                </a:cubicBezTo>
                <a:cubicBezTo>
                  <a:pt x="403" y="273"/>
                  <a:pt x="401" y="273"/>
                  <a:pt x="398" y="274"/>
                </a:cubicBezTo>
                <a:cubicBezTo>
                  <a:pt x="397" y="275"/>
                  <a:pt x="396" y="276"/>
                  <a:pt x="396" y="276"/>
                </a:cubicBezTo>
                <a:cubicBezTo>
                  <a:pt x="396" y="279"/>
                  <a:pt x="394" y="281"/>
                  <a:pt x="391" y="281"/>
                </a:cubicBezTo>
                <a:cubicBezTo>
                  <a:pt x="391" y="281"/>
                  <a:pt x="391" y="281"/>
                  <a:pt x="391" y="281"/>
                </a:cubicBezTo>
                <a:cubicBezTo>
                  <a:pt x="391" y="281"/>
                  <a:pt x="391" y="281"/>
                  <a:pt x="391" y="281"/>
                </a:cubicBezTo>
                <a:cubicBezTo>
                  <a:pt x="390" y="282"/>
                  <a:pt x="389" y="282"/>
                  <a:pt x="388" y="283"/>
                </a:cubicBezTo>
                <a:cubicBezTo>
                  <a:pt x="388" y="283"/>
                  <a:pt x="388" y="283"/>
                  <a:pt x="388" y="283"/>
                </a:cubicBezTo>
                <a:cubicBezTo>
                  <a:pt x="387" y="283"/>
                  <a:pt x="387" y="283"/>
                  <a:pt x="387" y="283"/>
                </a:cubicBezTo>
                <a:cubicBezTo>
                  <a:pt x="387" y="283"/>
                  <a:pt x="387" y="284"/>
                  <a:pt x="386" y="284"/>
                </a:cubicBezTo>
                <a:cubicBezTo>
                  <a:pt x="386" y="284"/>
                  <a:pt x="386" y="284"/>
                  <a:pt x="386" y="284"/>
                </a:cubicBezTo>
                <a:cubicBezTo>
                  <a:pt x="386" y="283"/>
                  <a:pt x="387" y="283"/>
                  <a:pt x="387" y="283"/>
                </a:cubicBezTo>
                <a:cubicBezTo>
                  <a:pt x="387" y="283"/>
                  <a:pt x="387" y="283"/>
                  <a:pt x="387" y="283"/>
                </a:cubicBezTo>
                <a:cubicBezTo>
                  <a:pt x="388" y="283"/>
                  <a:pt x="388" y="283"/>
                  <a:pt x="388" y="283"/>
                </a:cubicBezTo>
                <a:cubicBezTo>
                  <a:pt x="389" y="282"/>
                  <a:pt x="390" y="281"/>
                  <a:pt x="391" y="281"/>
                </a:cubicBezTo>
                <a:cubicBezTo>
                  <a:pt x="391" y="281"/>
                  <a:pt x="391" y="281"/>
                  <a:pt x="391" y="281"/>
                </a:cubicBezTo>
                <a:cubicBezTo>
                  <a:pt x="391" y="281"/>
                  <a:pt x="391" y="281"/>
                  <a:pt x="391" y="281"/>
                </a:cubicBezTo>
                <a:cubicBezTo>
                  <a:pt x="392" y="280"/>
                  <a:pt x="392" y="279"/>
                  <a:pt x="393" y="277"/>
                </a:cubicBezTo>
                <a:cubicBezTo>
                  <a:pt x="393" y="276"/>
                  <a:pt x="391" y="274"/>
                  <a:pt x="390" y="275"/>
                </a:cubicBezTo>
                <a:cubicBezTo>
                  <a:pt x="388" y="275"/>
                  <a:pt x="387" y="276"/>
                  <a:pt x="385" y="277"/>
                </a:cubicBezTo>
                <a:cubicBezTo>
                  <a:pt x="384" y="277"/>
                  <a:pt x="383" y="279"/>
                  <a:pt x="382" y="280"/>
                </a:cubicBezTo>
                <a:close/>
                <a:moveTo>
                  <a:pt x="403" y="285"/>
                </a:moveTo>
                <a:cubicBezTo>
                  <a:pt x="402" y="285"/>
                  <a:pt x="402" y="286"/>
                  <a:pt x="401" y="286"/>
                </a:cubicBezTo>
                <a:cubicBezTo>
                  <a:pt x="401" y="286"/>
                  <a:pt x="401" y="286"/>
                  <a:pt x="401" y="286"/>
                </a:cubicBezTo>
                <a:cubicBezTo>
                  <a:pt x="401" y="286"/>
                  <a:pt x="401" y="286"/>
                  <a:pt x="401" y="287"/>
                </a:cubicBezTo>
                <a:cubicBezTo>
                  <a:pt x="401" y="287"/>
                  <a:pt x="401" y="287"/>
                  <a:pt x="401" y="288"/>
                </a:cubicBezTo>
                <a:cubicBezTo>
                  <a:pt x="400" y="287"/>
                  <a:pt x="401" y="287"/>
                  <a:pt x="401" y="287"/>
                </a:cubicBezTo>
                <a:cubicBezTo>
                  <a:pt x="401" y="286"/>
                  <a:pt x="401" y="286"/>
                  <a:pt x="401" y="286"/>
                </a:cubicBezTo>
                <a:cubicBezTo>
                  <a:pt x="401" y="286"/>
                  <a:pt x="401" y="286"/>
                  <a:pt x="401" y="286"/>
                </a:cubicBezTo>
                <a:cubicBezTo>
                  <a:pt x="402" y="285"/>
                  <a:pt x="402" y="285"/>
                  <a:pt x="402" y="284"/>
                </a:cubicBezTo>
                <a:cubicBezTo>
                  <a:pt x="402" y="284"/>
                  <a:pt x="403" y="285"/>
                  <a:pt x="403" y="285"/>
                </a:cubicBezTo>
                <a:close/>
                <a:moveTo>
                  <a:pt x="395" y="312"/>
                </a:moveTo>
                <a:cubicBezTo>
                  <a:pt x="395" y="312"/>
                  <a:pt x="395" y="313"/>
                  <a:pt x="395" y="313"/>
                </a:cubicBezTo>
                <a:cubicBezTo>
                  <a:pt x="392" y="312"/>
                  <a:pt x="391" y="311"/>
                  <a:pt x="391" y="309"/>
                </a:cubicBezTo>
                <a:cubicBezTo>
                  <a:pt x="390" y="308"/>
                  <a:pt x="391" y="308"/>
                  <a:pt x="392" y="308"/>
                </a:cubicBezTo>
                <a:cubicBezTo>
                  <a:pt x="392" y="307"/>
                  <a:pt x="393" y="307"/>
                  <a:pt x="393" y="307"/>
                </a:cubicBezTo>
                <a:cubicBezTo>
                  <a:pt x="394" y="309"/>
                  <a:pt x="395" y="311"/>
                  <a:pt x="395" y="312"/>
                </a:cubicBezTo>
                <a:close/>
                <a:moveTo>
                  <a:pt x="389" y="358"/>
                </a:moveTo>
                <a:cubicBezTo>
                  <a:pt x="389" y="357"/>
                  <a:pt x="389" y="357"/>
                  <a:pt x="389" y="357"/>
                </a:cubicBezTo>
                <a:cubicBezTo>
                  <a:pt x="390" y="357"/>
                  <a:pt x="390" y="357"/>
                  <a:pt x="390" y="357"/>
                </a:cubicBezTo>
                <a:lnTo>
                  <a:pt x="389" y="358"/>
                </a:lnTo>
                <a:close/>
                <a:moveTo>
                  <a:pt x="403" y="384"/>
                </a:moveTo>
                <a:cubicBezTo>
                  <a:pt x="403" y="384"/>
                  <a:pt x="402" y="384"/>
                  <a:pt x="402" y="384"/>
                </a:cubicBezTo>
                <a:cubicBezTo>
                  <a:pt x="402" y="384"/>
                  <a:pt x="402" y="383"/>
                  <a:pt x="402" y="383"/>
                </a:cubicBezTo>
                <a:cubicBezTo>
                  <a:pt x="402" y="383"/>
                  <a:pt x="402" y="383"/>
                  <a:pt x="402" y="383"/>
                </a:cubicBezTo>
                <a:cubicBezTo>
                  <a:pt x="403" y="383"/>
                  <a:pt x="403" y="383"/>
                  <a:pt x="403" y="383"/>
                </a:cubicBezTo>
                <a:cubicBezTo>
                  <a:pt x="403" y="384"/>
                  <a:pt x="403" y="384"/>
                  <a:pt x="403" y="384"/>
                </a:cubicBezTo>
                <a:close/>
                <a:moveTo>
                  <a:pt x="406" y="345"/>
                </a:moveTo>
                <a:cubicBezTo>
                  <a:pt x="405" y="347"/>
                  <a:pt x="404" y="347"/>
                  <a:pt x="402" y="348"/>
                </a:cubicBezTo>
                <a:cubicBezTo>
                  <a:pt x="399" y="348"/>
                  <a:pt x="397" y="349"/>
                  <a:pt x="394" y="349"/>
                </a:cubicBezTo>
                <a:cubicBezTo>
                  <a:pt x="392" y="349"/>
                  <a:pt x="390" y="349"/>
                  <a:pt x="389" y="347"/>
                </a:cubicBezTo>
                <a:cubicBezTo>
                  <a:pt x="388" y="346"/>
                  <a:pt x="387" y="345"/>
                  <a:pt x="386" y="344"/>
                </a:cubicBezTo>
                <a:cubicBezTo>
                  <a:pt x="386" y="344"/>
                  <a:pt x="386" y="343"/>
                  <a:pt x="386" y="343"/>
                </a:cubicBezTo>
                <a:cubicBezTo>
                  <a:pt x="386" y="343"/>
                  <a:pt x="387" y="343"/>
                  <a:pt x="387" y="343"/>
                </a:cubicBezTo>
                <a:cubicBezTo>
                  <a:pt x="388" y="343"/>
                  <a:pt x="389" y="344"/>
                  <a:pt x="390" y="344"/>
                </a:cubicBezTo>
                <a:cubicBezTo>
                  <a:pt x="391" y="344"/>
                  <a:pt x="392" y="344"/>
                  <a:pt x="393" y="343"/>
                </a:cubicBezTo>
                <a:cubicBezTo>
                  <a:pt x="394" y="342"/>
                  <a:pt x="395" y="341"/>
                  <a:pt x="396" y="339"/>
                </a:cubicBezTo>
                <a:cubicBezTo>
                  <a:pt x="397" y="338"/>
                  <a:pt x="399" y="337"/>
                  <a:pt x="401" y="338"/>
                </a:cubicBezTo>
                <a:cubicBezTo>
                  <a:pt x="401" y="338"/>
                  <a:pt x="402" y="338"/>
                  <a:pt x="402" y="337"/>
                </a:cubicBezTo>
                <a:cubicBezTo>
                  <a:pt x="404" y="337"/>
                  <a:pt x="405" y="336"/>
                  <a:pt x="404" y="335"/>
                </a:cubicBezTo>
                <a:cubicBezTo>
                  <a:pt x="404" y="334"/>
                  <a:pt x="404" y="333"/>
                  <a:pt x="404" y="332"/>
                </a:cubicBezTo>
                <a:cubicBezTo>
                  <a:pt x="404" y="331"/>
                  <a:pt x="403" y="329"/>
                  <a:pt x="403" y="327"/>
                </a:cubicBezTo>
                <a:cubicBezTo>
                  <a:pt x="403" y="327"/>
                  <a:pt x="403" y="326"/>
                  <a:pt x="404" y="326"/>
                </a:cubicBezTo>
                <a:cubicBezTo>
                  <a:pt x="404" y="326"/>
                  <a:pt x="404" y="326"/>
                  <a:pt x="404" y="326"/>
                </a:cubicBezTo>
                <a:cubicBezTo>
                  <a:pt x="407" y="328"/>
                  <a:pt x="409" y="331"/>
                  <a:pt x="410" y="334"/>
                </a:cubicBezTo>
                <a:cubicBezTo>
                  <a:pt x="411" y="335"/>
                  <a:pt x="412" y="336"/>
                  <a:pt x="414" y="336"/>
                </a:cubicBezTo>
                <a:cubicBezTo>
                  <a:pt x="418" y="336"/>
                  <a:pt x="422" y="335"/>
                  <a:pt x="425" y="333"/>
                </a:cubicBezTo>
                <a:cubicBezTo>
                  <a:pt x="427" y="330"/>
                  <a:pt x="431" y="329"/>
                  <a:pt x="434" y="329"/>
                </a:cubicBezTo>
                <a:cubicBezTo>
                  <a:pt x="435" y="328"/>
                  <a:pt x="437" y="329"/>
                  <a:pt x="438" y="329"/>
                </a:cubicBezTo>
                <a:cubicBezTo>
                  <a:pt x="438" y="329"/>
                  <a:pt x="438" y="329"/>
                  <a:pt x="438" y="329"/>
                </a:cubicBezTo>
                <a:cubicBezTo>
                  <a:pt x="438" y="328"/>
                  <a:pt x="438" y="328"/>
                  <a:pt x="439" y="328"/>
                </a:cubicBezTo>
                <a:cubicBezTo>
                  <a:pt x="439" y="328"/>
                  <a:pt x="438" y="329"/>
                  <a:pt x="438" y="329"/>
                </a:cubicBezTo>
                <a:cubicBezTo>
                  <a:pt x="438" y="329"/>
                  <a:pt x="438" y="329"/>
                  <a:pt x="438" y="329"/>
                </a:cubicBezTo>
                <a:cubicBezTo>
                  <a:pt x="438" y="330"/>
                  <a:pt x="437" y="331"/>
                  <a:pt x="436" y="331"/>
                </a:cubicBezTo>
                <a:cubicBezTo>
                  <a:pt x="435" y="332"/>
                  <a:pt x="434" y="333"/>
                  <a:pt x="432" y="333"/>
                </a:cubicBezTo>
                <a:cubicBezTo>
                  <a:pt x="429" y="335"/>
                  <a:pt x="427" y="336"/>
                  <a:pt x="424" y="338"/>
                </a:cubicBezTo>
                <a:cubicBezTo>
                  <a:pt x="421" y="340"/>
                  <a:pt x="417" y="342"/>
                  <a:pt x="414" y="343"/>
                </a:cubicBezTo>
                <a:cubicBezTo>
                  <a:pt x="414" y="344"/>
                  <a:pt x="413" y="344"/>
                  <a:pt x="412" y="343"/>
                </a:cubicBezTo>
                <a:cubicBezTo>
                  <a:pt x="410" y="342"/>
                  <a:pt x="408" y="343"/>
                  <a:pt x="406" y="345"/>
                </a:cubicBezTo>
                <a:close/>
                <a:moveTo>
                  <a:pt x="412" y="420"/>
                </a:moveTo>
                <a:cubicBezTo>
                  <a:pt x="412" y="420"/>
                  <a:pt x="412" y="420"/>
                  <a:pt x="412" y="419"/>
                </a:cubicBezTo>
                <a:cubicBezTo>
                  <a:pt x="412" y="419"/>
                  <a:pt x="411" y="419"/>
                  <a:pt x="411" y="418"/>
                </a:cubicBezTo>
                <a:cubicBezTo>
                  <a:pt x="411" y="419"/>
                  <a:pt x="412" y="419"/>
                  <a:pt x="412" y="419"/>
                </a:cubicBezTo>
                <a:cubicBezTo>
                  <a:pt x="412" y="419"/>
                  <a:pt x="413" y="420"/>
                  <a:pt x="412" y="420"/>
                </a:cubicBezTo>
                <a:close/>
                <a:moveTo>
                  <a:pt x="413" y="384"/>
                </a:moveTo>
                <a:cubicBezTo>
                  <a:pt x="413" y="384"/>
                  <a:pt x="412" y="383"/>
                  <a:pt x="412" y="383"/>
                </a:cubicBezTo>
                <a:cubicBezTo>
                  <a:pt x="412" y="383"/>
                  <a:pt x="412" y="383"/>
                  <a:pt x="412" y="383"/>
                </a:cubicBezTo>
                <a:cubicBezTo>
                  <a:pt x="413" y="382"/>
                  <a:pt x="413" y="380"/>
                  <a:pt x="414" y="380"/>
                </a:cubicBezTo>
                <a:cubicBezTo>
                  <a:pt x="417" y="378"/>
                  <a:pt x="421" y="376"/>
                  <a:pt x="424" y="374"/>
                </a:cubicBezTo>
                <a:cubicBezTo>
                  <a:pt x="424" y="374"/>
                  <a:pt x="425" y="374"/>
                  <a:pt x="425" y="375"/>
                </a:cubicBezTo>
                <a:cubicBezTo>
                  <a:pt x="427" y="376"/>
                  <a:pt x="429" y="377"/>
                  <a:pt x="431" y="377"/>
                </a:cubicBezTo>
                <a:cubicBezTo>
                  <a:pt x="431" y="377"/>
                  <a:pt x="431" y="378"/>
                  <a:pt x="431" y="378"/>
                </a:cubicBezTo>
                <a:cubicBezTo>
                  <a:pt x="431" y="378"/>
                  <a:pt x="431" y="379"/>
                  <a:pt x="431" y="379"/>
                </a:cubicBezTo>
                <a:cubicBezTo>
                  <a:pt x="429" y="379"/>
                  <a:pt x="427" y="379"/>
                  <a:pt x="425" y="380"/>
                </a:cubicBezTo>
                <a:cubicBezTo>
                  <a:pt x="425" y="379"/>
                  <a:pt x="425" y="379"/>
                  <a:pt x="425" y="379"/>
                </a:cubicBezTo>
                <a:cubicBezTo>
                  <a:pt x="424" y="379"/>
                  <a:pt x="423" y="379"/>
                  <a:pt x="422" y="379"/>
                </a:cubicBezTo>
                <a:cubicBezTo>
                  <a:pt x="420" y="379"/>
                  <a:pt x="417" y="380"/>
                  <a:pt x="415" y="382"/>
                </a:cubicBezTo>
                <a:cubicBezTo>
                  <a:pt x="415" y="383"/>
                  <a:pt x="414" y="383"/>
                  <a:pt x="413" y="384"/>
                </a:cubicBezTo>
                <a:close/>
                <a:moveTo>
                  <a:pt x="504" y="835"/>
                </a:moveTo>
                <a:cubicBezTo>
                  <a:pt x="504" y="835"/>
                  <a:pt x="504" y="836"/>
                  <a:pt x="504" y="836"/>
                </a:cubicBezTo>
                <a:cubicBezTo>
                  <a:pt x="502" y="836"/>
                  <a:pt x="500" y="835"/>
                  <a:pt x="500" y="833"/>
                </a:cubicBezTo>
                <a:cubicBezTo>
                  <a:pt x="500" y="833"/>
                  <a:pt x="501" y="833"/>
                  <a:pt x="501" y="833"/>
                </a:cubicBezTo>
                <a:cubicBezTo>
                  <a:pt x="502" y="832"/>
                  <a:pt x="504" y="833"/>
                  <a:pt x="504" y="834"/>
                </a:cubicBezTo>
                <a:cubicBezTo>
                  <a:pt x="504" y="835"/>
                  <a:pt x="504" y="835"/>
                  <a:pt x="504" y="835"/>
                </a:cubicBezTo>
                <a:close/>
                <a:moveTo>
                  <a:pt x="602" y="850"/>
                </a:moveTo>
                <a:cubicBezTo>
                  <a:pt x="602" y="850"/>
                  <a:pt x="601" y="852"/>
                  <a:pt x="601" y="851"/>
                </a:cubicBezTo>
                <a:cubicBezTo>
                  <a:pt x="600" y="851"/>
                  <a:pt x="600" y="851"/>
                  <a:pt x="599" y="850"/>
                </a:cubicBezTo>
                <a:cubicBezTo>
                  <a:pt x="598" y="848"/>
                  <a:pt x="598" y="847"/>
                  <a:pt x="601" y="844"/>
                </a:cubicBezTo>
                <a:cubicBezTo>
                  <a:pt x="601" y="844"/>
                  <a:pt x="602" y="844"/>
                  <a:pt x="602" y="844"/>
                </a:cubicBezTo>
                <a:cubicBezTo>
                  <a:pt x="602" y="844"/>
                  <a:pt x="602" y="845"/>
                  <a:pt x="602" y="845"/>
                </a:cubicBezTo>
                <a:cubicBezTo>
                  <a:pt x="603" y="846"/>
                  <a:pt x="603" y="846"/>
                  <a:pt x="603" y="848"/>
                </a:cubicBezTo>
                <a:cubicBezTo>
                  <a:pt x="603" y="848"/>
                  <a:pt x="603" y="849"/>
                  <a:pt x="602" y="850"/>
                </a:cubicBezTo>
                <a:close/>
                <a:moveTo>
                  <a:pt x="620" y="1318"/>
                </a:moveTo>
                <a:cubicBezTo>
                  <a:pt x="620" y="1318"/>
                  <a:pt x="619" y="1318"/>
                  <a:pt x="619" y="1318"/>
                </a:cubicBezTo>
                <a:cubicBezTo>
                  <a:pt x="619" y="1318"/>
                  <a:pt x="619" y="1318"/>
                  <a:pt x="619" y="1317"/>
                </a:cubicBezTo>
                <a:cubicBezTo>
                  <a:pt x="620" y="1317"/>
                  <a:pt x="620" y="1317"/>
                  <a:pt x="620" y="1318"/>
                </a:cubicBezTo>
                <a:cubicBezTo>
                  <a:pt x="620" y="1318"/>
                  <a:pt x="620" y="1318"/>
                  <a:pt x="620" y="1318"/>
                </a:cubicBezTo>
                <a:close/>
                <a:moveTo>
                  <a:pt x="622" y="1040"/>
                </a:moveTo>
                <a:cubicBezTo>
                  <a:pt x="622" y="1040"/>
                  <a:pt x="622" y="1040"/>
                  <a:pt x="622" y="1040"/>
                </a:cubicBezTo>
                <a:cubicBezTo>
                  <a:pt x="619" y="1040"/>
                  <a:pt x="618" y="1038"/>
                  <a:pt x="616" y="1036"/>
                </a:cubicBezTo>
                <a:cubicBezTo>
                  <a:pt x="616" y="1036"/>
                  <a:pt x="616" y="1035"/>
                  <a:pt x="616" y="1034"/>
                </a:cubicBezTo>
                <a:cubicBezTo>
                  <a:pt x="617" y="1034"/>
                  <a:pt x="617" y="1034"/>
                  <a:pt x="617" y="1034"/>
                </a:cubicBezTo>
                <a:cubicBezTo>
                  <a:pt x="619" y="1036"/>
                  <a:pt x="621" y="1037"/>
                  <a:pt x="622" y="1040"/>
                </a:cubicBezTo>
                <a:cubicBezTo>
                  <a:pt x="622" y="1040"/>
                  <a:pt x="622" y="1040"/>
                  <a:pt x="622" y="1040"/>
                </a:cubicBezTo>
                <a:cubicBezTo>
                  <a:pt x="622" y="1040"/>
                  <a:pt x="623" y="1040"/>
                  <a:pt x="623" y="1040"/>
                </a:cubicBezTo>
                <a:cubicBezTo>
                  <a:pt x="622" y="1040"/>
                  <a:pt x="622" y="1040"/>
                  <a:pt x="622" y="1040"/>
                </a:cubicBezTo>
                <a:close/>
                <a:moveTo>
                  <a:pt x="638" y="1351"/>
                </a:moveTo>
                <a:cubicBezTo>
                  <a:pt x="638" y="1352"/>
                  <a:pt x="638" y="1352"/>
                  <a:pt x="638" y="1352"/>
                </a:cubicBezTo>
                <a:cubicBezTo>
                  <a:pt x="638" y="1352"/>
                  <a:pt x="638" y="1352"/>
                  <a:pt x="638" y="1352"/>
                </a:cubicBezTo>
                <a:cubicBezTo>
                  <a:pt x="638" y="1352"/>
                  <a:pt x="638" y="1352"/>
                  <a:pt x="638" y="1352"/>
                </a:cubicBezTo>
                <a:cubicBezTo>
                  <a:pt x="638" y="1352"/>
                  <a:pt x="638" y="1352"/>
                  <a:pt x="638" y="1351"/>
                </a:cubicBezTo>
                <a:cubicBezTo>
                  <a:pt x="638" y="1351"/>
                  <a:pt x="638" y="1351"/>
                  <a:pt x="638" y="1351"/>
                </a:cubicBezTo>
                <a:cubicBezTo>
                  <a:pt x="639" y="1351"/>
                  <a:pt x="639" y="1351"/>
                  <a:pt x="638" y="1351"/>
                </a:cubicBezTo>
                <a:close/>
                <a:moveTo>
                  <a:pt x="643" y="1360"/>
                </a:moveTo>
                <a:cubicBezTo>
                  <a:pt x="642" y="1360"/>
                  <a:pt x="642" y="1361"/>
                  <a:pt x="641" y="1361"/>
                </a:cubicBezTo>
                <a:cubicBezTo>
                  <a:pt x="641" y="1361"/>
                  <a:pt x="641" y="1361"/>
                  <a:pt x="641" y="1361"/>
                </a:cubicBezTo>
                <a:cubicBezTo>
                  <a:pt x="640" y="1360"/>
                  <a:pt x="641" y="1359"/>
                  <a:pt x="641" y="1359"/>
                </a:cubicBezTo>
                <a:cubicBezTo>
                  <a:pt x="642" y="1359"/>
                  <a:pt x="642" y="1360"/>
                  <a:pt x="643" y="1360"/>
                </a:cubicBezTo>
                <a:cubicBezTo>
                  <a:pt x="643" y="1360"/>
                  <a:pt x="643" y="1360"/>
                  <a:pt x="643" y="1360"/>
                </a:cubicBezTo>
                <a:close/>
                <a:moveTo>
                  <a:pt x="644" y="1370"/>
                </a:moveTo>
                <a:cubicBezTo>
                  <a:pt x="644" y="1370"/>
                  <a:pt x="644" y="1370"/>
                  <a:pt x="644" y="1370"/>
                </a:cubicBezTo>
                <a:cubicBezTo>
                  <a:pt x="644" y="1370"/>
                  <a:pt x="645" y="1370"/>
                  <a:pt x="645" y="1370"/>
                </a:cubicBezTo>
                <a:cubicBezTo>
                  <a:pt x="645" y="1370"/>
                  <a:pt x="645" y="1370"/>
                  <a:pt x="645" y="1370"/>
                </a:cubicBezTo>
                <a:cubicBezTo>
                  <a:pt x="645" y="1370"/>
                  <a:pt x="645" y="1370"/>
                  <a:pt x="644" y="1370"/>
                </a:cubicBezTo>
                <a:close/>
                <a:moveTo>
                  <a:pt x="649" y="1364"/>
                </a:moveTo>
                <a:cubicBezTo>
                  <a:pt x="649" y="1364"/>
                  <a:pt x="649" y="1364"/>
                  <a:pt x="649" y="1364"/>
                </a:cubicBezTo>
                <a:cubicBezTo>
                  <a:pt x="648" y="1364"/>
                  <a:pt x="648" y="1364"/>
                  <a:pt x="648" y="1364"/>
                </a:cubicBezTo>
                <a:cubicBezTo>
                  <a:pt x="648" y="1365"/>
                  <a:pt x="648" y="1365"/>
                  <a:pt x="647" y="1365"/>
                </a:cubicBezTo>
                <a:cubicBezTo>
                  <a:pt x="647" y="1366"/>
                  <a:pt x="647" y="1366"/>
                  <a:pt x="647" y="1366"/>
                </a:cubicBezTo>
                <a:cubicBezTo>
                  <a:pt x="646" y="1366"/>
                  <a:pt x="646" y="1366"/>
                  <a:pt x="646" y="1366"/>
                </a:cubicBezTo>
                <a:cubicBezTo>
                  <a:pt x="647" y="1366"/>
                  <a:pt x="647" y="1366"/>
                  <a:pt x="647" y="1366"/>
                </a:cubicBezTo>
                <a:cubicBezTo>
                  <a:pt x="647" y="1366"/>
                  <a:pt x="647" y="1365"/>
                  <a:pt x="647" y="1365"/>
                </a:cubicBezTo>
                <a:cubicBezTo>
                  <a:pt x="647" y="1365"/>
                  <a:pt x="648" y="1364"/>
                  <a:pt x="648" y="1364"/>
                </a:cubicBezTo>
                <a:cubicBezTo>
                  <a:pt x="648" y="1364"/>
                  <a:pt x="648" y="1364"/>
                  <a:pt x="648" y="1364"/>
                </a:cubicBezTo>
                <a:cubicBezTo>
                  <a:pt x="649" y="1364"/>
                  <a:pt x="649" y="1364"/>
                  <a:pt x="649" y="1364"/>
                </a:cubicBezTo>
                <a:cubicBezTo>
                  <a:pt x="649" y="1364"/>
                  <a:pt x="649" y="1363"/>
                  <a:pt x="649" y="1363"/>
                </a:cubicBezTo>
                <a:cubicBezTo>
                  <a:pt x="649" y="1364"/>
                  <a:pt x="649" y="1364"/>
                  <a:pt x="649" y="1364"/>
                </a:cubicBezTo>
                <a:close/>
                <a:moveTo>
                  <a:pt x="661" y="1368"/>
                </a:moveTo>
                <a:cubicBezTo>
                  <a:pt x="662" y="1368"/>
                  <a:pt x="662" y="1368"/>
                  <a:pt x="663" y="1368"/>
                </a:cubicBezTo>
                <a:cubicBezTo>
                  <a:pt x="663" y="1369"/>
                  <a:pt x="663" y="1369"/>
                  <a:pt x="662" y="1369"/>
                </a:cubicBezTo>
                <a:cubicBezTo>
                  <a:pt x="662" y="1370"/>
                  <a:pt x="662" y="1370"/>
                  <a:pt x="661" y="1370"/>
                </a:cubicBezTo>
                <a:cubicBezTo>
                  <a:pt x="661" y="1370"/>
                  <a:pt x="661" y="1370"/>
                  <a:pt x="660" y="1370"/>
                </a:cubicBezTo>
                <a:cubicBezTo>
                  <a:pt x="660" y="1370"/>
                  <a:pt x="660" y="1369"/>
                  <a:pt x="661" y="1368"/>
                </a:cubicBezTo>
                <a:close/>
                <a:moveTo>
                  <a:pt x="656" y="1374"/>
                </a:moveTo>
                <a:cubicBezTo>
                  <a:pt x="656" y="1375"/>
                  <a:pt x="656" y="1375"/>
                  <a:pt x="656" y="1375"/>
                </a:cubicBezTo>
                <a:cubicBezTo>
                  <a:pt x="657" y="1375"/>
                  <a:pt x="658" y="1376"/>
                  <a:pt x="659" y="1377"/>
                </a:cubicBezTo>
                <a:cubicBezTo>
                  <a:pt x="659" y="1377"/>
                  <a:pt x="659" y="1377"/>
                  <a:pt x="659" y="1377"/>
                </a:cubicBezTo>
                <a:cubicBezTo>
                  <a:pt x="659" y="1377"/>
                  <a:pt x="659" y="1376"/>
                  <a:pt x="659" y="1376"/>
                </a:cubicBezTo>
                <a:cubicBezTo>
                  <a:pt x="659" y="1376"/>
                  <a:pt x="659" y="1376"/>
                  <a:pt x="659" y="1375"/>
                </a:cubicBezTo>
                <a:cubicBezTo>
                  <a:pt x="659" y="1375"/>
                  <a:pt x="660" y="1374"/>
                  <a:pt x="660" y="1374"/>
                </a:cubicBezTo>
                <a:cubicBezTo>
                  <a:pt x="661" y="1374"/>
                  <a:pt x="661" y="1375"/>
                  <a:pt x="661" y="1375"/>
                </a:cubicBezTo>
                <a:cubicBezTo>
                  <a:pt x="662" y="1375"/>
                  <a:pt x="661" y="1376"/>
                  <a:pt x="661" y="1376"/>
                </a:cubicBezTo>
                <a:cubicBezTo>
                  <a:pt x="660" y="1376"/>
                  <a:pt x="660" y="1376"/>
                  <a:pt x="659" y="1376"/>
                </a:cubicBezTo>
                <a:cubicBezTo>
                  <a:pt x="659" y="1377"/>
                  <a:pt x="659" y="1377"/>
                  <a:pt x="659" y="1377"/>
                </a:cubicBezTo>
                <a:cubicBezTo>
                  <a:pt x="659" y="1377"/>
                  <a:pt x="659" y="1377"/>
                  <a:pt x="659" y="1377"/>
                </a:cubicBezTo>
                <a:cubicBezTo>
                  <a:pt x="659" y="1377"/>
                  <a:pt x="658" y="1377"/>
                  <a:pt x="658" y="1377"/>
                </a:cubicBezTo>
                <a:cubicBezTo>
                  <a:pt x="657" y="1377"/>
                  <a:pt x="656" y="1377"/>
                  <a:pt x="656" y="1376"/>
                </a:cubicBezTo>
                <a:cubicBezTo>
                  <a:pt x="656" y="1376"/>
                  <a:pt x="656" y="1375"/>
                  <a:pt x="656" y="1375"/>
                </a:cubicBezTo>
                <a:cubicBezTo>
                  <a:pt x="656" y="1375"/>
                  <a:pt x="656" y="1375"/>
                  <a:pt x="655" y="1375"/>
                </a:cubicBezTo>
                <a:cubicBezTo>
                  <a:pt x="655" y="1375"/>
                  <a:pt x="655" y="1374"/>
                  <a:pt x="655" y="1374"/>
                </a:cubicBezTo>
                <a:cubicBezTo>
                  <a:pt x="655" y="1374"/>
                  <a:pt x="654" y="1374"/>
                  <a:pt x="654" y="1374"/>
                </a:cubicBezTo>
                <a:cubicBezTo>
                  <a:pt x="654" y="1373"/>
                  <a:pt x="655" y="1373"/>
                  <a:pt x="655" y="1373"/>
                </a:cubicBezTo>
                <a:cubicBezTo>
                  <a:pt x="655" y="1374"/>
                  <a:pt x="655" y="1374"/>
                  <a:pt x="655" y="1374"/>
                </a:cubicBezTo>
                <a:cubicBezTo>
                  <a:pt x="655" y="1374"/>
                  <a:pt x="656" y="1374"/>
                  <a:pt x="656" y="1374"/>
                </a:cubicBezTo>
                <a:close/>
                <a:moveTo>
                  <a:pt x="663" y="867"/>
                </a:moveTo>
                <a:cubicBezTo>
                  <a:pt x="664" y="866"/>
                  <a:pt x="664" y="866"/>
                  <a:pt x="664" y="866"/>
                </a:cubicBezTo>
                <a:cubicBezTo>
                  <a:pt x="664" y="867"/>
                  <a:pt x="664" y="867"/>
                  <a:pt x="664" y="867"/>
                </a:cubicBezTo>
                <a:lnTo>
                  <a:pt x="663" y="867"/>
                </a:lnTo>
                <a:close/>
                <a:moveTo>
                  <a:pt x="676" y="1153"/>
                </a:moveTo>
                <a:cubicBezTo>
                  <a:pt x="676" y="1153"/>
                  <a:pt x="675" y="1153"/>
                  <a:pt x="675" y="1153"/>
                </a:cubicBezTo>
                <a:cubicBezTo>
                  <a:pt x="675" y="1153"/>
                  <a:pt x="675" y="1152"/>
                  <a:pt x="676" y="1152"/>
                </a:cubicBezTo>
                <a:cubicBezTo>
                  <a:pt x="676" y="1152"/>
                  <a:pt x="676" y="1152"/>
                  <a:pt x="676" y="1152"/>
                </a:cubicBezTo>
                <a:cubicBezTo>
                  <a:pt x="677" y="1152"/>
                  <a:pt x="677" y="1153"/>
                  <a:pt x="677" y="1153"/>
                </a:cubicBezTo>
                <a:cubicBezTo>
                  <a:pt x="677" y="1153"/>
                  <a:pt x="677" y="1153"/>
                  <a:pt x="676" y="1153"/>
                </a:cubicBezTo>
                <a:close/>
                <a:moveTo>
                  <a:pt x="717" y="883"/>
                </a:moveTo>
                <a:cubicBezTo>
                  <a:pt x="716" y="883"/>
                  <a:pt x="716" y="883"/>
                  <a:pt x="716" y="883"/>
                </a:cubicBezTo>
                <a:cubicBezTo>
                  <a:pt x="717" y="882"/>
                  <a:pt x="717" y="882"/>
                  <a:pt x="718" y="882"/>
                </a:cubicBezTo>
                <a:cubicBezTo>
                  <a:pt x="718" y="882"/>
                  <a:pt x="718" y="883"/>
                  <a:pt x="718" y="883"/>
                </a:cubicBezTo>
                <a:cubicBezTo>
                  <a:pt x="718" y="883"/>
                  <a:pt x="717" y="884"/>
                  <a:pt x="717" y="883"/>
                </a:cubicBezTo>
                <a:close/>
                <a:moveTo>
                  <a:pt x="751" y="924"/>
                </a:moveTo>
                <a:cubicBezTo>
                  <a:pt x="750" y="925"/>
                  <a:pt x="749" y="925"/>
                  <a:pt x="748" y="925"/>
                </a:cubicBezTo>
                <a:cubicBezTo>
                  <a:pt x="747" y="924"/>
                  <a:pt x="747" y="923"/>
                  <a:pt x="747" y="923"/>
                </a:cubicBezTo>
                <a:cubicBezTo>
                  <a:pt x="748" y="922"/>
                  <a:pt x="748" y="921"/>
                  <a:pt x="748" y="921"/>
                </a:cubicBezTo>
                <a:cubicBezTo>
                  <a:pt x="748" y="921"/>
                  <a:pt x="748" y="922"/>
                  <a:pt x="749" y="922"/>
                </a:cubicBezTo>
                <a:cubicBezTo>
                  <a:pt x="749" y="923"/>
                  <a:pt x="750" y="923"/>
                  <a:pt x="751" y="923"/>
                </a:cubicBezTo>
                <a:cubicBezTo>
                  <a:pt x="751" y="923"/>
                  <a:pt x="751" y="923"/>
                  <a:pt x="752" y="923"/>
                </a:cubicBezTo>
                <a:cubicBezTo>
                  <a:pt x="751" y="923"/>
                  <a:pt x="751" y="924"/>
                  <a:pt x="751" y="924"/>
                </a:cubicBezTo>
                <a:close/>
                <a:moveTo>
                  <a:pt x="759" y="934"/>
                </a:moveTo>
                <a:cubicBezTo>
                  <a:pt x="759" y="934"/>
                  <a:pt x="759" y="933"/>
                  <a:pt x="760" y="933"/>
                </a:cubicBezTo>
                <a:cubicBezTo>
                  <a:pt x="760" y="933"/>
                  <a:pt x="760" y="933"/>
                  <a:pt x="761" y="933"/>
                </a:cubicBezTo>
                <a:cubicBezTo>
                  <a:pt x="761" y="933"/>
                  <a:pt x="761" y="933"/>
                  <a:pt x="761" y="933"/>
                </a:cubicBezTo>
                <a:cubicBezTo>
                  <a:pt x="761" y="933"/>
                  <a:pt x="761" y="934"/>
                  <a:pt x="761" y="934"/>
                </a:cubicBezTo>
                <a:cubicBezTo>
                  <a:pt x="760" y="934"/>
                  <a:pt x="760" y="934"/>
                  <a:pt x="759" y="934"/>
                </a:cubicBezTo>
                <a:close/>
                <a:moveTo>
                  <a:pt x="762" y="954"/>
                </a:moveTo>
                <a:cubicBezTo>
                  <a:pt x="762" y="954"/>
                  <a:pt x="761" y="954"/>
                  <a:pt x="761" y="954"/>
                </a:cubicBezTo>
                <a:cubicBezTo>
                  <a:pt x="761" y="953"/>
                  <a:pt x="760" y="952"/>
                  <a:pt x="760" y="951"/>
                </a:cubicBezTo>
                <a:cubicBezTo>
                  <a:pt x="760" y="951"/>
                  <a:pt x="760" y="950"/>
                  <a:pt x="760" y="950"/>
                </a:cubicBezTo>
                <a:cubicBezTo>
                  <a:pt x="760" y="950"/>
                  <a:pt x="761" y="950"/>
                  <a:pt x="761" y="951"/>
                </a:cubicBezTo>
                <a:cubicBezTo>
                  <a:pt x="761" y="951"/>
                  <a:pt x="762" y="952"/>
                  <a:pt x="762" y="953"/>
                </a:cubicBezTo>
                <a:cubicBezTo>
                  <a:pt x="762" y="953"/>
                  <a:pt x="762" y="953"/>
                  <a:pt x="762" y="954"/>
                </a:cubicBezTo>
                <a:close/>
                <a:moveTo>
                  <a:pt x="768" y="1055"/>
                </a:moveTo>
                <a:cubicBezTo>
                  <a:pt x="767" y="1055"/>
                  <a:pt x="767" y="1055"/>
                  <a:pt x="767" y="1055"/>
                </a:cubicBezTo>
                <a:cubicBezTo>
                  <a:pt x="768" y="1054"/>
                  <a:pt x="768" y="1054"/>
                  <a:pt x="768" y="1054"/>
                </a:cubicBezTo>
                <a:lnTo>
                  <a:pt x="768" y="1055"/>
                </a:lnTo>
                <a:close/>
                <a:moveTo>
                  <a:pt x="284" y="483"/>
                </a:moveTo>
                <a:cubicBezTo>
                  <a:pt x="284" y="483"/>
                  <a:pt x="284" y="482"/>
                  <a:pt x="284" y="482"/>
                </a:cubicBezTo>
                <a:cubicBezTo>
                  <a:pt x="284" y="483"/>
                  <a:pt x="284" y="483"/>
                  <a:pt x="284" y="483"/>
                </a:cubicBezTo>
                <a:cubicBezTo>
                  <a:pt x="284" y="483"/>
                  <a:pt x="284" y="483"/>
                  <a:pt x="284" y="483"/>
                </a:cubicBezTo>
                <a:cubicBezTo>
                  <a:pt x="284" y="483"/>
                  <a:pt x="284" y="483"/>
                  <a:pt x="284" y="483"/>
                </a:cubicBezTo>
                <a:close/>
                <a:moveTo>
                  <a:pt x="808" y="299"/>
                </a:moveTo>
                <a:cubicBezTo>
                  <a:pt x="808" y="299"/>
                  <a:pt x="808" y="299"/>
                  <a:pt x="808" y="299"/>
                </a:cubicBezTo>
                <a:cubicBezTo>
                  <a:pt x="808" y="299"/>
                  <a:pt x="808" y="299"/>
                  <a:pt x="808" y="299"/>
                </a:cubicBezTo>
                <a:close/>
                <a:moveTo>
                  <a:pt x="985" y="293"/>
                </a:moveTo>
                <a:cubicBezTo>
                  <a:pt x="985" y="292"/>
                  <a:pt x="985" y="292"/>
                  <a:pt x="985" y="291"/>
                </a:cubicBezTo>
                <a:cubicBezTo>
                  <a:pt x="985" y="291"/>
                  <a:pt x="985" y="291"/>
                  <a:pt x="984" y="291"/>
                </a:cubicBezTo>
                <a:cubicBezTo>
                  <a:pt x="981" y="289"/>
                  <a:pt x="977" y="290"/>
                  <a:pt x="974" y="288"/>
                </a:cubicBezTo>
                <a:cubicBezTo>
                  <a:pt x="972" y="287"/>
                  <a:pt x="969" y="287"/>
                  <a:pt x="967" y="288"/>
                </a:cubicBezTo>
                <a:cubicBezTo>
                  <a:pt x="966" y="288"/>
                  <a:pt x="966" y="288"/>
                  <a:pt x="965" y="287"/>
                </a:cubicBezTo>
                <a:cubicBezTo>
                  <a:pt x="965" y="287"/>
                  <a:pt x="965" y="287"/>
                  <a:pt x="964" y="287"/>
                </a:cubicBezTo>
                <a:cubicBezTo>
                  <a:pt x="964" y="286"/>
                  <a:pt x="964" y="286"/>
                  <a:pt x="965" y="285"/>
                </a:cubicBezTo>
                <a:cubicBezTo>
                  <a:pt x="966" y="285"/>
                  <a:pt x="967" y="285"/>
                  <a:pt x="969" y="284"/>
                </a:cubicBezTo>
                <a:cubicBezTo>
                  <a:pt x="970" y="283"/>
                  <a:pt x="971" y="282"/>
                  <a:pt x="971" y="280"/>
                </a:cubicBezTo>
                <a:cubicBezTo>
                  <a:pt x="971" y="278"/>
                  <a:pt x="971" y="276"/>
                  <a:pt x="970" y="275"/>
                </a:cubicBezTo>
                <a:cubicBezTo>
                  <a:pt x="970" y="274"/>
                  <a:pt x="972" y="273"/>
                  <a:pt x="972" y="273"/>
                </a:cubicBezTo>
                <a:cubicBezTo>
                  <a:pt x="973" y="273"/>
                  <a:pt x="973" y="274"/>
                  <a:pt x="973" y="274"/>
                </a:cubicBezTo>
                <a:cubicBezTo>
                  <a:pt x="975" y="277"/>
                  <a:pt x="976" y="281"/>
                  <a:pt x="978" y="284"/>
                </a:cubicBezTo>
                <a:cubicBezTo>
                  <a:pt x="979" y="286"/>
                  <a:pt x="981" y="287"/>
                  <a:pt x="984" y="287"/>
                </a:cubicBezTo>
                <a:cubicBezTo>
                  <a:pt x="985" y="286"/>
                  <a:pt x="986" y="286"/>
                  <a:pt x="987" y="287"/>
                </a:cubicBezTo>
                <a:cubicBezTo>
                  <a:pt x="990" y="287"/>
                  <a:pt x="991" y="286"/>
                  <a:pt x="991" y="283"/>
                </a:cubicBezTo>
                <a:cubicBezTo>
                  <a:pt x="991" y="281"/>
                  <a:pt x="991" y="278"/>
                  <a:pt x="991" y="276"/>
                </a:cubicBezTo>
                <a:cubicBezTo>
                  <a:pt x="991" y="273"/>
                  <a:pt x="989" y="271"/>
                  <a:pt x="990" y="268"/>
                </a:cubicBezTo>
                <a:cubicBezTo>
                  <a:pt x="990" y="268"/>
                  <a:pt x="989" y="267"/>
                  <a:pt x="989" y="266"/>
                </a:cubicBezTo>
                <a:cubicBezTo>
                  <a:pt x="987" y="263"/>
                  <a:pt x="985" y="260"/>
                  <a:pt x="982" y="258"/>
                </a:cubicBezTo>
                <a:cubicBezTo>
                  <a:pt x="981" y="257"/>
                  <a:pt x="979" y="256"/>
                  <a:pt x="978" y="255"/>
                </a:cubicBezTo>
                <a:cubicBezTo>
                  <a:pt x="978" y="255"/>
                  <a:pt x="977" y="254"/>
                  <a:pt x="977" y="253"/>
                </a:cubicBezTo>
                <a:cubicBezTo>
                  <a:pt x="976" y="251"/>
                  <a:pt x="976" y="249"/>
                  <a:pt x="976" y="247"/>
                </a:cubicBezTo>
                <a:cubicBezTo>
                  <a:pt x="976" y="247"/>
                  <a:pt x="976" y="246"/>
                  <a:pt x="977" y="246"/>
                </a:cubicBezTo>
                <a:cubicBezTo>
                  <a:pt x="977" y="246"/>
                  <a:pt x="978" y="246"/>
                  <a:pt x="978" y="246"/>
                </a:cubicBezTo>
                <a:cubicBezTo>
                  <a:pt x="979" y="247"/>
                  <a:pt x="979" y="248"/>
                  <a:pt x="979" y="248"/>
                </a:cubicBezTo>
                <a:cubicBezTo>
                  <a:pt x="979" y="252"/>
                  <a:pt x="980" y="254"/>
                  <a:pt x="983" y="256"/>
                </a:cubicBezTo>
                <a:cubicBezTo>
                  <a:pt x="985" y="257"/>
                  <a:pt x="986" y="259"/>
                  <a:pt x="988" y="259"/>
                </a:cubicBezTo>
                <a:cubicBezTo>
                  <a:pt x="989" y="259"/>
                  <a:pt x="990" y="259"/>
                  <a:pt x="990" y="258"/>
                </a:cubicBezTo>
                <a:cubicBezTo>
                  <a:pt x="990" y="257"/>
                  <a:pt x="990" y="255"/>
                  <a:pt x="991" y="254"/>
                </a:cubicBezTo>
                <a:cubicBezTo>
                  <a:pt x="991" y="252"/>
                  <a:pt x="992" y="251"/>
                  <a:pt x="992" y="250"/>
                </a:cubicBezTo>
                <a:cubicBezTo>
                  <a:pt x="993" y="249"/>
                  <a:pt x="993" y="248"/>
                  <a:pt x="992" y="247"/>
                </a:cubicBezTo>
                <a:cubicBezTo>
                  <a:pt x="990" y="246"/>
                  <a:pt x="988" y="244"/>
                  <a:pt x="986" y="243"/>
                </a:cubicBezTo>
                <a:cubicBezTo>
                  <a:pt x="986" y="243"/>
                  <a:pt x="985" y="242"/>
                  <a:pt x="985" y="241"/>
                </a:cubicBezTo>
                <a:cubicBezTo>
                  <a:pt x="985" y="241"/>
                  <a:pt x="985" y="241"/>
                  <a:pt x="985" y="241"/>
                </a:cubicBezTo>
                <a:cubicBezTo>
                  <a:pt x="985" y="241"/>
                  <a:pt x="985" y="241"/>
                  <a:pt x="985" y="241"/>
                </a:cubicBezTo>
                <a:cubicBezTo>
                  <a:pt x="983" y="240"/>
                  <a:pt x="981" y="239"/>
                  <a:pt x="980" y="238"/>
                </a:cubicBezTo>
                <a:cubicBezTo>
                  <a:pt x="980" y="238"/>
                  <a:pt x="980" y="238"/>
                  <a:pt x="980" y="238"/>
                </a:cubicBezTo>
                <a:cubicBezTo>
                  <a:pt x="980" y="238"/>
                  <a:pt x="980" y="237"/>
                  <a:pt x="981" y="237"/>
                </a:cubicBezTo>
                <a:cubicBezTo>
                  <a:pt x="981" y="237"/>
                  <a:pt x="982" y="237"/>
                  <a:pt x="982" y="238"/>
                </a:cubicBezTo>
                <a:cubicBezTo>
                  <a:pt x="983" y="239"/>
                  <a:pt x="984" y="240"/>
                  <a:pt x="985" y="241"/>
                </a:cubicBezTo>
                <a:cubicBezTo>
                  <a:pt x="985" y="241"/>
                  <a:pt x="985" y="241"/>
                  <a:pt x="985" y="241"/>
                </a:cubicBezTo>
                <a:cubicBezTo>
                  <a:pt x="985" y="241"/>
                  <a:pt x="985" y="241"/>
                  <a:pt x="985" y="241"/>
                </a:cubicBezTo>
                <a:cubicBezTo>
                  <a:pt x="986" y="241"/>
                  <a:pt x="987" y="242"/>
                  <a:pt x="987" y="242"/>
                </a:cubicBezTo>
                <a:cubicBezTo>
                  <a:pt x="989" y="243"/>
                  <a:pt x="991" y="243"/>
                  <a:pt x="993" y="242"/>
                </a:cubicBezTo>
                <a:cubicBezTo>
                  <a:pt x="995" y="241"/>
                  <a:pt x="997" y="240"/>
                  <a:pt x="1000" y="240"/>
                </a:cubicBezTo>
                <a:cubicBezTo>
                  <a:pt x="1000" y="240"/>
                  <a:pt x="1001" y="239"/>
                  <a:pt x="1001" y="238"/>
                </a:cubicBezTo>
                <a:cubicBezTo>
                  <a:pt x="1002" y="237"/>
                  <a:pt x="1002" y="236"/>
                  <a:pt x="1002" y="235"/>
                </a:cubicBezTo>
                <a:cubicBezTo>
                  <a:pt x="1003" y="234"/>
                  <a:pt x="1002" y="232"/>
                  <a:pt x="1001" y="232"/>
                </a:cubicBezTo>
                <a:cubicBezTo>
                  <a:pt x="999" y="232"/>
                  <a:pt x="997" y="230"/>
                  <a:pt x="995" y="229"/>
                </a:cubicBezTo>
                <a:cubicBezTo>
                  <a:pt x="995" y="229"/>
                  <a:pt x="994" y="229"/>
                  <a:pt x="995" y="229"/>
                </a:cubicBezTo>
                <a:cubicBezTo>
                  <a:pt x="995" y="228"/>
                  <a:pt x="995" y="228"/>
                  <a:pt x="996" y="228"/>
                </a:cubicBezTo>
                <a:cubicBezTo>
                  <a:pt x="999" y="229"/>
                  <a:pt x="1001" y="230"/>
                  <a:pt x="1004" y="228"/>
                </a:cubicBezTo>
                <a:cubicBezTo>
                  <a:pt x="1004" y="227"/>
                  <a:pt x="1006" y="228"/>
                  <a:pt x="1006" y="227"/>
                </a:cubicBezTo>
                <a:cubicBezTo>
                  <a:pt x="1009" y="227"/>
                  <a:pt x="1011" y="222"/>
                  <a:pt x="1009" y="221"/>
                </a:cubicBezTo>
                <a:cubicBezTo>
                  <a:pt x="1007" y="219"/>
                  <a:pt x="1006" y="218"/>
                  <a:pt x="1006" y="216"/>
                </a:cubicBezTo>
                <a:cubicBezTo>
                  <a:pt x="1006" y="216"/>
                  <a:pt x="1005" y="215"/>
                  <a:pt x="1005" y="214"/>
                </a:cubicBezTo>
                <a:cubicBezTo>
                  <a:pt x="1004" y="214"/>
                  <a:pt x="1004" y="214"/>
                  <a:pt x="1004" y="213"/>
                </a:cubicBezTo>
                <a:cubicBezTo>
                  <a:pt x="1004" y="212"/>
                  <a:pt x="1005" y="212"/>
                  <a:pt x="1006" y="212"/>
                </a:cubicBezTo>
                <a:cubicBezTo>
                  <a:pt x="1006" y="212"/>
                  <a:pt x="1007" y="213"/>
                  <a:pt x="1008" y="212"/>
                </a:cubicBezTo>
                <a:cubicBezTo>
                  <a:pt x="1009" y="212"/>
                  <a:pt x="1010" y="211"/>
                  <a:pt x="1010" y="210"/>
                </a:cubicBezTo>
                <a:cubicBezTo>
                  <a:pt x="1010" y="207"/>
                  <a:pt x="1010" y="205"/>
                  <a:pt x="1010" y="203"/>
                </a:cubicBezTo>
                <a:cubicBezTo>
                  <a:pt x="1010" y="202"/>
                  <a:pt x="1010" y="200"/>
                  <a:pt x="1009" y="200"/>
                </a:cubicBezTo>
                <a:cubicBezTo>
                  <a:pt x="1007" y="198"/>
                  <a:pt x="1008" y="197"/>
                  <a:pt x="1009" y="196"/>
                </a:cubicBezTo>
                <a:cubicBezTo>
                  <a:pt x="1010" y="196"/>
                  <a:pt x="1009" y="194"/>
                  <a:pt x="1009" y="194"/>
                </a:cubicBezTo>
                <a:cubicBezTo>
                  <a:pt x="1007" y="193"/>
                  <a:pt x="1005" y="193"/>
                  <a:pt x="1004" y="192"/>
                </a:cubicBezTo>
                <a:cubicBezTo>
                  <a:pt x="1004" y="192"/>
                  <a:pt x="1003" y="192"/>
                  <a:pt x="1003" y="192"/>
                </a:cubicBezTo>
                <a:cubicBezTo>
                  <a:pt x="1001" y="191"/>
                  <a:pt x="1001" y="190"/>
                  <a:pt x="1001" y="189"/>
                </a:cubicBezTo>
                <a:cubicBezTo>
                  <a:pt x="1001" y="188"/>
                  <a:pt x="1001" y="187"/>
                  <a:pt x="1002" y="187"/>
                </a:cubicBezTo>
                <a:cubicBezTo>
                  <a:pt x="1003" y="187"/>
                  <a:pt x="1004" y="188"/>
                  <a:pt x="1004" y="188"/>
                </a:cubicBezTo>
                <a:cubicBezTo>
                  <a:pt x="1004" y="188"/>
                  <a:pt x="1004" y="189"/>
                  <a:pt x="1004" y="189"/>
                </a:cubicBezTo>
                <a:cubicBezTo>
                  <a:pt x="1004" y="188"/>
                  <a:pt x="1004" y="188"/>
                  <a:pt x="1004" y="188"/>
                </a:cubicBezTo>
                <a:cubicBezTo>
                  <a:pt x="1004" y="188"/>
                  <a:pt x="1003" y="187"/>
                  <a:pt x="1002" y="186"/>
                </a:cubicBezTo>
                <a:cubicBezTo>
                  <a:pt x="1002" y="186"/>
                  <a:pt x="1002" y="186"/>
                  <a:pt x="1002" y="186"/>
                </a:cubicBezTo>
                <a:cubicBezTo>
                  <a:pt x="1004" y="185"/>
                  <a:pt x="1005" y="184"/>
                  <a:pt x="1007" y="182"/>
                </a:cubicBezTo>
                <a:cubicBezTo>
                  <a:pt x="1007" y="181"/>
                  <a:pt x="1009" y="181"/>
                  <a:pt x="1010" y="182"/>
                </a:cubicBezTo>
                <a:cubicBezTo>
                  <a:pt x="1010" y="182"/>
                  <a:pt x="1010" y="182"/>
                  <a:pt x="1011" y="182"/>
                </a:cubicBezTo>
                <a:cubicBezTo>
                  <a:pt x="1012" y="184"/>
                  <a:pt x="1015" y="186"/>
                  <a:pt x="1014" y="189"/>
                </a:cubicBezTo>
                <a:cubicBezTo>
                  <a:pt x="1014" y="192"/>
                  <a:pt x="1014" y="194"/>
                  <a:pt x="1015" y="197"/>
                </a:cubicBezTo>
                <a:cubicBezTo>
                  <a:pt x="1015" y="197"/>
                  <a:pt x="1016" y="197"/>
                  <a:pt x="1016" y="197"/>
                </a:cubicBezTo>
                <a:cubicBezTo>
                  <a:pt x="1016" y="196"/>
                  <a:pt x="1017" y="195"/>
                  <a:pt x="1016" y="194"/>
                </a:cubicBezTo>
                <a:cubicBezTo>
                  <a:pt x="1016" y="191"/>
                  <a:pt x="1016" y="188"/>
                  <a:pt x="1018" y="185"/>
                </a:cubicBezTo>
                <a:cubicBezTo>
                  <a:pt x="1020" y="183"/>
                  <a:pt x="1020" y="180"/>
                  <a:pt x="1020" y="177"/>
                </a:cubicBezTo>
                <a:cubicBezTo>
                  <a:pt x="1020" y="176"/>
                  <a:pt x="1019" y="174"/>
                  <a:pt x="1018" y="174"/>
                </a:cubicBezTo>
                <a:cubicBezTo>
                  <a:pt x="1016" y="174"/>
                  <a:pt x="1015" y="174"/>
                  <a:pt x="1014" y="173"/>
                </a:cubicBezTo>
                <a:cubicBezTo>
                  <a:pt x="1013" y="173"/>
                  <a:pt x="1013" y="173"/>
                  <a:pt x="1012" y="172"/>
                </a:cubicBezTo>
                <a:cubicBezTo>
                  <a:pt x="1012" y="172"/>
                  <a:pt x="1012" y="171"/>
                  <a:pt x="1012" y="171"/>
                </a:cubicBezTo>
                <a:cubicBezTo>
                  <a:pt x="1012" y="171"/>
                  <a:pt x="1012" y="170"/>
                  <a:pt x="1013" y="170"/>
                </a:cubicBezTo>
                <a:cubicBezTo>
                  <a:pt x="1016" y="170"/>
                  <a:pt x="1016" y="169"/>
                  <a:pt x="1015" y="167"/>
                </a:cubicBezTo>
                <a:cubicBezTo>
                  <a:pt x="1014" y="165"/>
                  <a:pt x="1014" y="164"/>
                  <a:pt x="1012" y="163"/>
                </a:cubicBezTo>
                <a:cubicBezTo>
                  <a:pt x="1012" y="163"/>
                  <a:pt x="1011" y="162"/>
                  <a:pt x="1010" y="161"/>
                </a:cubicBezTo>
                <a:cubicBezTo>
                  <a:pt x="1010" y="161"/>
                  <a:pt x="1010" y="160"/>
                  <a:pt x="1010" y="160"/>
                </a:cubicBezTo>
                <a:cubicBezTo>
                  <a:pt x="1010" y="160"/>
                  <a:pt x="1011" y="160"/>
                  <a:pt x="1011" y="160"/>
                </a:cubicBezTo>
                <a:cubicBezTo>
                  <a:pt x="1013" y="161"/>
                  <a:pt x="1015" y="160"/>
                  <a:pt x="1016" y="157"/>
                </a:cubicBezTo>
                <a:cubicBezTo>
                  <a:pt x="1016" y="154"/>
                  <a:pt x="1018" y="152"/>
                  <a:pt x="1018" y="148"/>
                </a:cubicBezTo>
                <a:cubicBezTo>
                  <a:pt x="1018" y="140"/>
                  <a:pt x="1021" y="134"/>
                  <a:pt x="1026" y="128"/>
                </a:cubicBezTo>
                <a:cubicBezTo>
                  <a:pt x="1028" y="126"/>
                  <a:pt x="1029" y="124"/>
                  <a:pt x="1031" y="122"/>
                </a:cubicBezTo>
                <a:cubicBezTo>
                  <a:pt x="1031" y="121"/>
                  <a:pt x="1031" y="120"/>
                  <a:pt x="1031" y="120"/>
                </a:cubicBezTo>
                <a:cubicBezTo>
                  <a:pt x="1031" y="117"/>
                  <a:pt x="1031" y="117"/>
                  <a:pt x="1033" y="117"/>
                </a:cubicBezTo>
                <a:cubicBezTo>
                  <a:pt x="1035" y="117"/>
                  <a:pt x="1037" y="115"/>
                  <a:pt x="1038" y="113"/>
                </a:cubicBezTo>
                <a:cubicBezTo>
                  <a:pt x="1038" y="112"/>
                  <a:pt x="1038" y="110"/>
                  <a:pt x="1037" y="110"/>
                </a:cubicBezTo>
                <a:cubicBezTo>
                  <a:pt x="1036" y="109"/>
                  <a:pt x="1035" y="109"/>
                  <a:pt x="1035" y="109"/>
                </a:cubicBezTo>
                <a:cubicBezTo>
                  <a:pt x="1033" y="109"/>
                  <a:pt x="1032" y="109"/>
                  <a:pt x="1031" y="109"/>
                </a:cubicBezTo>
                <a:cubicBezTo>
                  <a:pt x="1031" y="109"/>
                  <a:pt x="1031" y="108"/>
                  <a:pt x="1031" y="108"/>
                </a:cubicBezTo>
                <a:cubicBezTo>
                  <a:pt x="1031" y="108"/>
                  <a:pt x="1031" y="107"/>
                  <a:pt x="1032" y="107"/>
                </a:cubicBezTo>
                <a:cubicBezTo>
                  <a:pt x="1033" y="106"/>
                  <a:pt x="1034" y="107"/>
                  <a:pt x="1036" y="107"/>
                </a:cubicBezTo>
                <a:cubicBezTo>
                  <a:pt x="1038" y="108"/>
                  <a:pt x="1040" y="108"/>
                  <a:pt x="1043" y="107"/>
                </a:cubicBezTo>
                <a:cubicBezTo>
                  <a:pt x="1043" y="106"/>
                  <a:pt x="1044" y="106"/>
                  <a:pt x="1045" y="105"/>
                </a:cubicBezTo>
                <a:cubicBezTo>
                  <a:pt x="1046" y="105"/>
                  <a:pt x="1046" y="104"/>
                  <a:pt x="1046" y="103"/>
                </a:cubicBezTo>
                <a:cubicBezTo>
                  <a:pt x="1046" y="102"/>
                  <a:pt x="1045" y="102"/>
                  <a:pt x="1045" y="101"/>
                </a:cubicBezTo>
                <a:cubicBezTo>
                  <a:pt x="1045" y="100"/>
                  <a:pt x="1046" y="99"/>
                  <a:pt x="1047" y="100"/>
                </a:cubicBezTo>
                <a:cubicBezTo>
                  <a:pt x="1049" y="100"/>
                  <a:pt x="1051" y="100"/>
                  <a:pt x="1052" y="98"/>
                </a:cubicBezTo>
                <a:cubicBezTo>
                  <a:pt x="1053" y="97"/>
                  <a:pt x="1054" y="96"/>
                  <a:pt x="1055" y="96"/>
                </a:cubicBezTo>
                <a:cubicBezTo>
                  <a:pt x="1059" y="92"/>
                  <a:pt x="1059" y="90"/>
                  <a:pt x="1056" y="86"/>
                </a:cubicBezTo>
                <a:cubicBezTo>
                  <a:pt x="1056" y="86"/>
                  <a:pt x="1055" y="85"/>
                  <a:pt x="1055" y="85"/>
                </a:cubicBezTo>
                <a:cubicBezTo>
                  <a:pt x="1051" y="81"/>
                  <a:pt x="1047" y="79"/>
                  <a:pt x="1042" y="79"/>
                </a:cubicBezTo>
                <a:cubicBezTo>
                  <a:pt x="1039" y="79"/>
                  <a:pt x="1036" y="80"/>
                  <a:pt x="1033" y="81"/>
                </a:cubicBezTo>
                <a:cubicBezTo>
                  <a:pt x="1033" y="81"/>
                  <a:pt x="1032" y="82"/>
                  <a:pt x="1032" y="82"/>
                </a:cubicBezTo>
                <a:cubicBezTo>
                  <a:pt x="1032" y="83"/>
                  <a:pt x="1031" y="84"/>
                  <a:pt x="1031" y="85"/>
                </a:cubicBezTo>
                <a:cubicBezTo>
                  <a:pt x="1031" y="86"/>
                  <a:pt x="1030" y="86"/>
                  <a:pt x="1028" y="86"/>
                </a:cubicBezTo>
                <a:cubicBezTo>
                  <a:pt x="1027" y="86"/>
                  <a:pt x="1026" y="85"/>
                  <a:pt x="1025" y="84"/>
                </a:cubicBezTo>
                <a:cubicBezTo>
                  <a:pt x="1024" y="84"/>
                  <a:pt x="1024" y="84"/>
                  <a:pt x="1023" y="85"/>
                </a:cubicBezTo>
                <a:cubicBezTo>
                  <a:pt x="1020" y="90"/>
                  <a:pt x="1016" y="92"/>
                  <a:pt x="1011" y="94"/>
                </a:cubicBezTo>
                <a:cubicBezTo>
                  <a:pt x="1008" y="95"/>
                  <a:pt x="1005" y="95"/>
                  <a:pt x="1003" y="97"/>
                </a:cubicBezTo>
                <a:cubicBezTo>
                  <a:pt x="1003" y="97"/>
                  <a:pt x="1003" y="97"/>
                  <a:pt x="1003" y="97"/>
                </a:cubicBezTo>
                <a:cubicBezTo>
                  <a:pt x="1002" y="98"/>
                  <a:pt x="1002" y="98"/>
                  <a:pt x="1001" y="99"/>
                </a:cubicBezTo>
                <a:cubicBezTo>
                  <a:pt x="1000" y="99"/>
                  <a:pt x="1000" y="100"/>
                  <a:pt x="999" y="101"/>
                </a:cubicBezTo>
                <a:cubicBezTo>
                  <a:pt x="999" y="101"/>
                  <a:pt x="999" y="101"/>
                  <a:pt x="999" y="101"/>
                </a:cubicBezTo>
                <a:cubicBezTo>
                  <a:pt x="999" y="100"/>
                  <a:pt x="999" y="100"/>
                  <a:pt x="999" y="100"/>
                </a:cubicBezTo>
                <a:cubicBezTo>
                  <a:pt x="1000" y="100"/>
                  <a:pt x="1000" y="99"/>
                  <a:pt x="1001" y="99"/>
                </a:cubicBezTo>
                <a:cubicBezTo>
                  <a:pt x="1001" y="98"/>
                  <a:pt x="1002" y="98"/>
                  <a:pt x="1003" y="97"/>
                </a:cubicBezTo>
                <a:cubicBezTo>
                  <a:pt x="1003" y="97"/>
                  <a:pt x="1003" y="97"/>
                  <a:pt x="1003" y="97"/>
                </a:cubicBezTo>
                <a:cubicBezTo>
                  <a:pt x="1003" y="96"/>
                  <a:pt x="1003" y="95"/>
                  <a:pt x="1003" y="95"/>
                </a:cubicBezTo>
                <a:cubicBezTo>
                  <a:pt x="1005" y="93"/>
                  <a:pt x="1007" y="90"/>
                  <a:pt x="1010" y="89"/>
                </a:cubicBezTo>
                <a:cubicBezTo>
                  <a:pt x="1013" y="88"/>
                  <a:pt x="1016" y="86"/>
                  <a:pt x="1017" y="83"/>
                </a:cubicBezTo>
                <a:cubicBezTo>
                  <a:pt x="1017" y="82"/>
                  <a:pt x="1017" y="81"/>
                  <a:pt x="1018" y="80"/>
                </a:cubicBezTo>
                <a:cubicBezTo>
                  <a:pt x="1020" y="74"/>
                  <a:pt x="1017" y="72"/>
                  <a:pt x="1012" y="73"/>
                </a:cubicBezTo>
                <a:cubicBezTo>
                  <a:pt x="1012" y="73"/>
                  <a:pt x="1011" y="73"/>
                  <a:pt x="1011" y="73"/>
                </a:cubicBezTo>
                <a:cubicBezTo>
                  <a:pt x="1011" y="73"/>
                  <a:pt x="1010" y="73"/>
                  <a:pt x="1010" y="74"/>
                </a:cubicBezTo>
                <a:cubicBezTo>
                  <a:pt x="1009" y="75"/>
                  <a:pt x="1009" y="77"/>
                  <a:pt x="1008" y="78"/>
                </a:cubicBezTo>
                <a:cubicBezTo>
                  <a:pt x="1008" y="80"/>
                  <a:pt x="1006" y="81"/>
                  <a:pt x="1004" y="81"/>
                </a:cubicBezTo>
                <a:cubicBezTo>
                  <a:pt x="1004" y="81"/>
                  <a:pt x="1004" y="81"/>
                  <a:pt x="1003" y="81"/>
                </a:cubicBezTo>
                <a:cubicBezTo>
                  <a:pt x="1000" y="79"/>
                  <a:pt x="997" y="80"/>
                  <a:pt x="994" y="80"/>
                </a:cubicBezTo>
                <a:cubicBezTo>
                  <a:pt x="994" y="80"/>
                  <a:pt x="993" y="80"/>
                  <a:pt x="993" y="80"/>
                </a:cubicBezTo>
                <a:cubicBezTo>
                  <a:pt x="993" y="80"/>
                  <a:pt x="994" y="79"/>
                  <a:pt x="994" y="79"/>
                </a:cubicBezTo>
                <a:cubicBezTo>
                  <a:pt x="995" y="78"/>
                  <a:pt x="997" y="78"/>
                  <a:pt x="999" y="77"/>
                </a:cubicBezTo>
                <a:cubicBezTo>
                  <a:pt x="1000" y="77"/>
                  <a:pt x="1001" y="76"/>
                  <a:pt x="1001" y="74"/>
                </a:cubicBezTo>
                <a:cubicBezTo>
                  <a:pt x="1002" y="73"/>
                  <a:pt x="1001" y="72"/>
                  <a:pt x="1000" y="71"/>
                </a:cubicBezTo>
                <a:cubicBezTo>
                  <a:pt x="998" y="71"/>
                  <a:pt x="996" y="70"/>
                  <a:pt x="994" y="70"/>
                </a:cubicBezTo>
                <a:cubicBezTo>
                  <a:pt x="985" y="68"/>
                  <a:pt x="982" y="68"/>
                  <a:pt x="974" y="72"/>
                </a:cubicBezTo>
                <a:cubicBezTo>
                  <a:pt x="973" y="72"/>
                  <a:pt x="972" y="73"/>
                  <a:pt x="971" y="73"/>
                </a:cubicBezTo>
                <a:cubicBezTo>
                  <a:pt x="969" y="74"/>
                  <a:pt x="967" y="74"/>
                  <a:pt x="966" y="75"/>
                </a:cubicBezTo>
                <a:cubicBezTo>
                  <a:pt x="965" y="75"/>
                  <a:pt x="965" y="74"/>
                  <a:pt x="965" y="74"/>
                </a:cubicBezTo>
                <a:cubicBezTo>
                  <a:pt x="964" y="74"/>
                  <a:pt x="965" y="73"/>
                  <a:pt x="965" y="73"/>
                </a:cubicBezTo>
                <a:cubicBezTo>
                  <a:pt x="966" y="72"/>
                  <a:pt x="967" y="72"/>
                  <a:pt x="968" y="71"/>
                </a:cubicBezTo>
                <a:cubicBezTo>
                  <a:pt x="971" y="70"/>
                  <a:pt x="974" y="69"/>
                  <a:pt x="977" y="68"/>
                </a:cubicBezTo>
                <a:cubicBezTo>
                  <a:pt x="982" y="65"/>
                  <a:pt x="987" y="65"/>
                  <a:pt x="993" y="67"/>
                </a:cubicBezTo>
                <a:cubicBezTo>
                  <a:pt x="997" y="68"/>
                  <a:pt x="1000" y="68"/>
                  <a:pt x="1004" y="68"/>
                </a:cubicBezTo>
                <a:cubicBezTo>
                  <a:pt x="1008" y="67"/>
                  <a:pt x="1011" y="66"/>
                  <a:pt x="1015" y="66"/>
                </a:cubicBezTo>
                <a:cubicBezTo>
                  <a:pt x="1019" y="66"/>
                  <a:pt x="1022" y="64"/>
                  <a:pt x="1025" y="61"/>
                </a:cubicBezTo>
                <a:cubicBezTo>
                  <a:pt x="1026" y="60"/>
                  <a:pt x="1026" y="57"/>
                  <a:pt x="1025" y="56"/>
                </a:cubicBezTo>
                <a:cubicBezTo>
                  <a:pt x="1023" y="54"/>
                  <a:pt x="1021" y="53"/>
                  <a:pt x="1019" y="51"/>
                </a:cubicBezTo>
                <a:cubicBezTo>
                  <a:pt x="1015" y="49"/>
                  <a:pt x="1011" y="47"/>
                  <a:pt x="1007" y="50"/>
                </a:cubicBezTo>
                <a:cubicBezTo>
                  <a:pt x="1007" y="50"/>
                  <a:pt x="1006" y="50"/>
                  <a:pt x="1005" y="50"/>
                </a:cubicBezTo>
                <a:cubicBezTo>
                  <a:pt x="1005" y="50"/>
                  <a:pt x="1005" y="49"/>
                  <a:pt x="1005" y="49"/>
                </a:cubicBezTo>
                <a:cubicBezTo>
                  <a:pt x="1005" y="49"/>
                  <a:pt x="1005" y="49"/>
                  <a:pt x="1005" y="49"/>
                </a:cubicBezTo>
                <a:cubicBezTo>
                  <a:pt x="1006" y="48"/>
                  <a:pt x="1007" y="48"/>
                  <a:pt x="1007" y="48"/>
                </a:cubicBezTo>
                <a:cubicBezTo>
                  <a:pt x="1010" y="46"/>
                  <a:pt x="1010" y="44"/>
                  <a:pt x="1009" y="41"/>
                </a:cubicBezTo>
                <a:cubicBezTo>
                  <a:pt x="1008" y="40"/>
                  <a:pt x="1007" y="40"/>
                  <a:pt x="1006" y="40"/>
                </a:cubicBezTo>
                <a:cubicBezTo>
                  <a:pt x="1000" y="42"/>
                  <a:pt x="995" y="42"/>
                  <a:pt x="990" y="39"/>
                </a:cubicBezTo>
                <a:cubicBezTo>
                  <a:pt x="988" y="39"/>
                  <a:pt x="986" y="39"/>
                  <a:pt x="985" y="39"/>
                </a:cubicBezTo>
                <a:cubicBezTo>
                  <a:pt x="983" y="39"/>
                  <a:pt x="981" y="40"/>
                  <a:pt x="979" y="40"/>
                </a:cubicBezTo>
                <a:cubicBezTo>
                  <a:pt x="976" y="41"/>
                  <a:pt x="973" y="41"/>
                  <a:pt x="970" y="41"/>
                </a:cubicBezTo>
                <a:cubicBezTo>
                  <a:pt x="968" y="40"/>
                  <a:pt x="966" y="41"/>
                  <a:pt x="964" y="42"/>
                </a:cubicBezTo>
                <a:cubicBezTo>
                  <a:pt x="963" y="42"/>
                  <a:pt x="962" y="42"/>
                  <a:pt x="962" y="42"/>
                </a:cubicBezTo>
                <a:cubicBezTo>
                  <a:pt x="961" y="42"/>
                  <a:pt x="961" y="42"/>
                  <a:pt x="961" y="42"/>
                </a:cubicBezTo>
                <a:cubicBezTo>
                  <a:pt x="961" y="42"/>
                  <a:pt x="961" y="41"/>
                  <a:pt x="961" y="41"/>
                </a:cubicBezTo>
                <a:cubicBezTo>
                  <a:pt x="962" y="41"/>
                  <a:pt x="963" y="40"/>
                  <a:pt x="964" y="40"/>
                </a:cubicBezTo>
                <a:cubicBezTo>
                  <a:pt x="966" y="40"/>
                  <a:pt x="969" y="40"/>
                  <a:pt x="971" y="39"/>
                </a:cubicBezTo>
                <a:cubicBezTo>
                  <a:pt x="975" y="38"/>
                  <a:pt x="980" y="38"/>
                  <a:pt x="984" y="38"/>
                </a:cubicBezTo>
                <a:cubicBezTo>
                  <a:pt x="987" y="37"/>
                  <a:pt x="991" y="37"/>
                  <a:pt x="994" y="38"/>
                </a:cubicBezTo>
                <a:cubicBezTo>
                  <a:pt x="998" y="40"/>
                  <a:pt x="1001" y="38"/>
                  <a:pt x="1003" y="37"/>
                </a:cubicBezTo>
                <a:cubicBezTo>
                  <a:pt x="1004" y="36"/>
                  <a:pt x="1004" y="35"/>
                  <a:pt x="1004" y="35"/>
                </a:cubicBezTo>
                <a:cubicBezTo>
                  <a:pt x="1002" y="32"/>
                  <a:pt x="999" y="30"/>
                  <a:pt x="996" y="29"/>
                </a:cubicBezTo>
                <a:cubicBezTo>
                  <a:pt x="989" y="28"/>
                  <a:pt x="983" y="25"/>
                  <a:pt x="977" y="23"/>
                </a:cubicBezTo>
                <a:cubicBezTo>
                  <a:pt x="974" y="22"/>
                  <a:pt x="972" y="22"/>
                  <a:pt x="969" y="22"/>
                </a:cubicBezTo>
                <a:cubicBezTo>
                  <a:pt x="965" y="21"/>
                  <a:pt x="962" y="23"/>
                  <a:pt x="959" y="23"/>
                </a:cubicBezTo>
                <a:cubicBezTo>
                  <a:pt x="957" y="24"/>
                  <a:pt x="955" y="26"/>
                  <a:pt x="954" y="28"/>
                </a:cubicBezTo>
                <a:cubicBezTo>
                  <a:pt x="954" y="28"/>
                  <a:pt x="954" y="29"/>
                  <a:pt x="953" y="29"/>
                </a:cubicBezTo>
                <a:cubicBezTo>
                  <a:pt x="953" y="29"/>
                  <a:pt x="953" y="29"/>
                  <a:pt x="953" y="29"/>
                </a:cubicBezTo>
                <a:cubicBezTo>
                  <a:pt x="953" y="29"/>
                  <a:pt x="953" y="29"/>
                  <a:pt x="953" y="29"/>
                </a:cubicBezTo>
                <a:cubicBezTo>
                  <a:pt x="954" y="29"/>
                  <a:pt x="954" y="29"/>
                  <a:pt x="954" y="29"/>
                </a:cubicBezTo>
                <a:cubicBezTo>
                  <a:pt x="953" y="29"/>
                  <a:pt x="953" y="30"/>
                  <a:pt x="953" y="30"/>
                </a:cubicBezTo>
                <a:cubicBezTo>
                  <a:pt x="953" y="30"/>
                  <a:pt x="953" y="30"/>
                  <a:pt x="953" y="30"/>
                </a:cubicBezTo>
                <a:cubicBezTo>
                  <a:pt x="954" y="31"/>
                  <a:pt x="954" y="31"/>
                  <a:pt x="954" y="31"/>
                </a:cubicBezTo>
                <a:cubicBezTo>
                  <a:pt x="953" y="31"/>
                  <a:pt x="953" y="31"/>
                  <a:pt x="953" y="31"/>
                </a:cubicBezTo>
                <a:cubicBezTo>
                  <a:pt x="953" y="30"/>
                  <a:pt x="953" y="30"/>
                  <a:pt x="953" y="30"/>
                </a:cubicBezTo>
                <a:cubicBezTo>
                  <a:pt x="951" y="31"/>
                  <a:pt x="950" y="29"/>
                  <a:pt x="948" y="28"/>
                </a:cubicBezTo>
                <a:cubicBezTo>
                  <a:pt x="947" y="28"/>
                  <a:pt x="947" y="28"/>
                  <a:pt x="947" y="29"/>
                </a:cubicBezTo>
                <a:cubicBezTo>
                  <a:pt x="946" y="29"/>
                  <a:pt x="946" y="29"/>
                  <a:pt x="946" y="29"/>
                </a:cubicBezTo>
                <a:cubicBezTo>
                  <a:pt x="946" y="30"/>
                  <a:pt x="947" y="31"/>
                  <a:pt x="947" y="32"/>
                </a:cubicBezTo>
                <a:cubicBezTo>
                  <a:pt x="947" y="32"/>
                  <a:pt x="947" y="33"/>
                  <a:pt x="947" y="33"/>
                </a:cubicBezTo>
                <a:cubicBezTo>
                  <a:pt x="946" y="33"/>
                  <a:pt x="945" y="34"/>
                  <a:pt x="945" y="34"/>
                </a:cubicBezTo>
                <a:cubicBezTo>
                  <a:pt x="943" y="33"/>
                  <a:pt x="940" y="32"/>
                  <a:pt x="938" y="30"/>
                </a:cubicBezTo>
                <a:cubicBezTo>
                  <a:pt x="937" y="29"/>
                  <a:pt x="935" y="29"/>
                  <a:pt x="933" y="30"/>
                </a:cubicBezTo>
                <a:cubicBezTo>
                  <a:pt x="932" y="31"/>
                  <a:pt x="930" y="32"/>
                  <a:pt x="929" y="32"/>
                </a:cubicBezTo>
                <a:cubicBezTo>
                  <a:pt x="927" y="32"/>
                  <a:pt x="927" y="33"/>
                  <a:pt x="927" y="33"/>
                </a:cubicBezTo>
                <a:cubicBezTo>
                  <a:pt x="927" y="35"/>
                  <a:pt x="927" y="38"/>
                  <a:pt x="927" y="40"/>
                </a:cubicBezTo>
                <a:cubicBezTo>
                  <a:pt x="926" y="41"/>
                  <a:pt x="926" y="42"/>
                  <a:pt x="925" y="42"/>
                </a:cubicBezTo>
                <a:cubicBezTo>
                  <a:pt x="924" y="43"/>
                  <a:pt x="923" y="44"/>
                  <a:pt x="922" y="45"/>
                </a:cubicBezTo>
                <a:cubicBezTo>
                  <a:pt x="922" y="45"/>
                  <a:pt x="921" y="45"/>
                  <a:pt x="921" y="45"/>
                </a:cubicBezTo>
                <a:cubicBezTo>
                  <a:pt x="919" y="44"/>
                  <a:pt x="917" y="43"/>
                  <a:pt x="915" y="43"/>
                </a:cubicBezTo>
                <a:cubicBezTo>
                  <a:pt x="915" y="43"/>
                  <a:pt x="913" y="44"/>
                  <a:pt x="913" y="45"/>
                </a:cubicBezTo>
                <a:cubicBezTo>
                  <a:pt x="913" y="45"/>
                  <a:pt x="913" y="46"/>
                  <a:pt x="913" y="47"/>
                </a:cubicBezTo>
                <a:cubicBezTo>
                  <a:pt x="914" y="50"/>
                  <a:pt x="914" y="54"/>
                  <a:pt x="915" y="57"/>
                </a:cubicBezTo>
                <a:cubicBezTo>
                  <a:pt x="916" y="61"/>
                  <a:pt x="916" y="65"/>
                  <a:pt x="918" y="68"/>
                </a:cubicBezTo>
                <a:cubicBezTo>
                  <a:pt x="918" y="69"/>
                  <a:pt x="918" y="70"/>
                  <a:pt x="916" y="70"/>
                </a:cubicBezTo>
                <a:cubicBezTo>
                  <a:pt x="915" y="70"/>
                  <a:pt x="914" y="70"/>
                  <a:pt x="913" y="68"/>
                </a:cubicBezTo>
                <a:cubicBezTo>
                  <a:pt x="913" y="67"/>
                  <a:pt x="912" y="66"/>
                  <a:pt x="910" y="65"/>
                </a:cubicBezTo>
                <a:cubicBezTo>
                  <a:pt x="910" y="65"/>
                  <a:pt x="910" y="65"/>
                  <a:pt x="911" y="64"/>
                </a:cubicBezTo>
                <a:cubicBezTo>
                  <a:pt x="912" y="63"/>
                  <a:pt x="912" y="62"/>
                  <a:pt x="911" y="61"/>
                </a:cubicBezTo>
                <a:cubicBezTo>
                  <a:pt x="910" y="60"/>
                  <a:pt x="908" y="59"/>
                  <a:pt x="908" y="57"/>
                </a:cubicBezTo>
                <a:cubicBezTo>
                  <a:pt x="907" y="54"/>
                  <a:pt x="906" y="52"/>
                  <a:pt x="904" y="49"/>
                </a:cubicBezTo>
                <a:cubicBezTo>
                  <a:pt x="904" y="47"/>
                  <a:pt x="902" y="46"/>
                  <a:pt x="901" y="45"/>
                </a:cubicBezTo>
                <a:cubicBezTo>
                  <a:pt x="899" y="45"/>
                  <a:pt x="897" y="45"/>
                  <a:pt x="897" y="46"/>
                </a:cubicBezTo>
                <a:cubicBezTo>
                  <a:pt x="897" y="47"/>
                  <a:pt x="897" y="47"/>
                  <a:pt x="896" y="48"/>
                </a:cubicBezTo>
                <a:cubicBezTo>
                  <a:pt x="895" y="51"/>
                  <a:pt x="895" y="55"/>
                  <a:pt x="895" y="58"/>
                </a:cubicBezTo>
                <a:cubicBezTo>
                  <a:pt x="895" y="60"/>
                  <a:pt x="895" y="61"/>
                  <a:pt x="895" y="63"/>
                </a:cubicBezTo>
                <a:cubicBezTo>
                  <a:pt x="894" y="64"/>
                  <a:pt x="892" y="63"/>
                  <a:pt x="891" y="63"/>
                </a:cubicBezTo>
                <a:cubicBezTo>
                  <a:pt x="890" y="63"/>
                  <a:pt x="890" y="63"/>
                  <a:pt x="890" y="63"/>
                </a:cubicBezTo>
                <a:cubicBezTo>
                  <a:pt x="889" y="63"/>
                  <a:pt x="889" y="64"/>
                  <a:pt x="888" y="64"/>
                </a:cubicBezTo>
                <a:cubicBezTo>
                  <a:pt x="888" y="64"/>
                  <a:pt x="887" y="64"/>
                  <a:pt x="887" y="63"/>
                </a:cubicBezTo>
                <a:cubicBezTo>
                  <a:pt x="886" y="61"/>
                  <a:pt x="888" y="60"/>
                  <a:pt x="888" y="59"/>
                </a:cubicBezTo>
                <a:cubicBezTo>
                  <a:pt x="887" y="56"/>
                  <a:pt x="887" y="53"/>
                  <a:pt x="887" y="50"/>
                </a:cubicBezTo>
                <a:cubicBezTo>
                  <a:pt x="887" y="49"/>
                  <a:pt x="887" y="49"/>
                  <a:pt x="886" y="48"/>
                </a:cubicBezTo>
                <a:cubicBezTo>
                  <a:pt x="886" y="48"/>
                  <a:pt x="886" y="47"/>
                  <a:pt x="886" y="47"/>
                </a:cubicBezTo>
                <a:cubicBezTo>
                  <a:pt x="885" y="47"/>
                  <a:pt x="885" y="47"/>
                  <a:pt x="884" y="48"/>
                </a:cubicBezTo>
                <a:cubicBezTo>
                  <a:pt x="883" y="49"/>
                  <a:pt x="883" y="51"/>
                  <a:pt x="883" y="52"/>
                </a:cubicBezTo>
                <a:cubicBezTo>
                  <a:pt x="883" y="53"/>
                  <a:pt x="884" y="55"/>
                  <a:pt x="883" y="56"/>
                </a:cubicBezTo>
                <a:cubicBezTo>
                  <a:pt x="883" y="57"/>
                  <a:pt x="881" y="58"/>
                  <a:pt x="881" y="60"/>
                </a:cubicBezTo>
                <a:cubicBezTo>
                  <a:pt x="880" y="60"/>
                  <a:pt x="880" y="60"/>
                  <a:pt x="880" y="60"/>
                </a:cubicBezTo>
                <a:cubicBezTo>
                  <a:pt x="880" y="60"/>
                  <a:pt x="880" y="60"/>
                  <a:pt x="880" y="60"/>
                </a:cubicBezTo>
                <a:cubicBezTo>
                  <a:pt x="880" y="61"/>
                  <a:pt x="879" y="61"/>
                  <a:pt x="878" y="62"/>
                </a:cubicBezTo>
                <a:cubicBezTo>
                  <a:pt x="878" y="63"/>
                  <a:pt x="877" y="63"/>
                  <a:pt x="876" y="64"/>
                </a:cubicBezTo>
                <a:cubicBezTo>
                  <a:pt x="876" y="64"/>
                  <a:pt x="876" y="64"/>
                  <a:pt x="876" y="64"/>
                </a:cubicBezTo>
                <a:cubicBezTo>
                  <a:pt x="876" y="65"/>
                  <a:pt x="876" y="65"/>
                  <a:pt x="876" y="65"/>
                </a:cubicBezTo>
                <a:cubicBezTo>
                  <a:pt x="875" y="65"/>
                  <a:pt x="876" y="65"/>
                  <a:pt x="876" y="64"/>
                </a:cubicBezTo>
                <a:cubicBezTo>
                  <a:pt x="876" y="64"/>
                  <a:pt x="876" y="64"/>
                  <a:pt x="876" y="64"/>
                </a:cubicBezTo>
                <a:cubicBezTo>
                  <a:pt x="877" y="63"/>
                  <a:pt x="877" y="62"/>
                  <a:pt x="878" y="62"/>
                </a:cubicBezTo>
                <a:cubicBezTo>
                  <a:pt x="879" y="61"/>
                  <a:pt x="879" y="61"/>
                  <a:pt x="880" y="60"/>
                </a:cubicBezTo>
                <a:cubicBezTo>
                  <a:pt x="880" y="60"/>
                  <a:pt x="880" y="60"/>
                  <a:pt x="880" y="60"/>
                </a:cubicBezTo>
                <a:cubicBezTo>
                  <a:pt x="880" y="59"/>
                  <a:pt x="879" y="58"/>
                  <a:pt x="879" y="57"/>
                </a:cubicBezTo>
                <a:cubicBezTo>
                  <a:pt x="880" y="55"/>
                  <a:pt x="881" y="53"/>
                  <a:pt x="882" y="51"/>
                </a:cubicBezTo>
                <a:cubicBezTo>
                  <a:pt x="882" y="49"/>
                  <a:pt x="882" y="47"/>
                  <a:pt x="882" y="45"/>
                </a:cubicBezTo>
                <a:cubicBezTo>
                  <a:pt x="882" y="44"/>
                  <a:pt x="880" y="43"/>
                  <a:pt x="879" y="43"/>
                </a:cubicBezTo>
                <a:cubicBezTo>
                  <a:pt x="878" y="44"/>
                  <a:pt x="876" y="44"/>
                  <a:pt x="875" y="45"/>
                </a:cubicBezTo>
                <a:cubicBezTo>
                  <a:pt x="872" y="46"/>
                  <a:pt x="870" y="46"/>
                  <a:pt x="867" y="47"/>
                </a:cubicBezTo>
                <a:cubicBezTo>
                  <a:pt x="863" y="47"/>
                  <a:pt x="859" y="47"/>
                  <a:pt x="855" y="48"/>
                </a:cubicBezTo>
                <a:cubicBezTo>
                  <a:pt x="853" y="48"/>
                  <a:pt x="852" y="49"/>
                  <a:pt x="852" y="51"/>
                </a:cubicBezTo>
                <a:cubicBezTo>
                  <a:pt x="852" y="52"/>
                  <a:pt x="852" y="52"/>
                  <a:pt x="852" y="53"/>
                </a:cubicBezTo>
                <a:cubicBezTo>
                  <a:pt x="852" y="53"/>
                  <a:pt x="852" y="54"/>
                  <a:pt x="852" y="54"/>
                </a:cubicBezTo>
                <a:cubicBezTo>
                  <a:pt x="851" y="54"/>
                  <a:pt x="851" y="54"/>
                  <a:pt x="851" y="54"/>
                </a:cubicBezTo>
                <a:cubicBezTo>
                  <a:pt x="850" y="53"/>
                  <a:pt x="850" y="51"/>
                  <a:pt x="849" y="51"/>
                </a:cubicBezTo>
                <a:cubicBezTo>
                  <a:pt x="847" y="50"/>
                  <a:pt x="846" y="51"/>
                  <a:pt x="844" y="52"/>
                </a:cubicBezTo>
                <a:cubicBezTo>
                  <a:pt x="843" y="52"/>
                  <a:pt x="842" y="53"/>
                  <a:pt x="842" y="55"/>
                </a:cubicBezTo>
                <a:cubicBezTo>
                  <a:pt x="841" y="56"/>
                  <a:pt x="841" y="56"/>
                  <a:pt x="841" y="57"/>
                </a:cubicBezTo>
                <a:cubicBezTo>
                  <a:pt x="841" y="59"/>
                  <a:pt x="841" y="61"/>
                  <a:pt x="840" y="62"/>
                </a:cubicBezTo>
                <a:cubicBezTo>
                  <a:pt x="840" y="64"/>
                  <a:pt x="838" y="65"/>
                  <a:pt x="837" y="66"/>
                </a:cubicBezTo>
                <a:cubicBezTo>
                  <a:pt x="837" y="67"/>
                  <a:pt x="836" y="67"/>
                  <a:pt x="836" y="68"/>
                </a:cubicBezTo>
                <a:cubicBezTo>
                  <a:pt x="835" y="69"/>
                  <a:pt x="834" y="69"/>
                  <a:pt x="833" y="68"/>
                </a:cubicBezTo>
                <a:cubicBezTo>
                  <a:pt x="831" y="66"/>
                  <a:pt x="829" y="66"/>
                  <a:pt x="827" y="67"/>
                </a:cubicBezTo>
                <a:cubicBezTo>
                  <a:pt x="824" y="67"/>
                  <a:pt x="821" y="68"/>
                  <a:pt x="819" y="70"/>
                </a:cubicBezTo>
                <a:cubicBezTo>
                  <a:pt x="817" y="73"/>
                  <a:pt x="815" y="74"/>
                  <a:pt x="812" y="74"/>
                </a:cubicBezTo>
                <a:cubicBezTo>
                  <a:pt x="811" y="75"/>
                  <a:pt x="811" y="76"/>
                  <a:pt x="810" y="76"/>
                </a:cubicBezTo>
                <a:cubicBezTo>
                  <a:pt x="807" y="78"/>
                  <a:pt x="805" y="81"/>
                  <a:pt x="803" y="84"/>
                </a:cubicBezTo>
                <a:cubicBezTo>
                  <a:pt x="802" y="86"/>
                  <a:pt x="803" y="88"/>
                  <a:pt x="805" y="88"/>
                </a:cubicBezTo>
                <a:cubicBezTo>
                  <a:pt x="807" y="89"/>
                  <a:pt x="809" y="90"/>
                  <a:pt x="811" y="90"/>
                </a:cubicBezTo>
                <a:cubicBezTo>
                  <a:pt x="811" y="90"/>
                  <a:pt x="811" y="90"/>
                  <a:pt x="811" y="90"/>
                </a:cubicBezTo>
                <a:cubicBezTo>
                  <a:pt x="812" y="90"/>
                  <a:pt x="812" y="90"/>
                  <a:pt x="812" y="90"/>
                </a:cubicBezTo>
                <a:cubicBezTo>
                  <a:pt x="812" y="90"/>
                  <a:pt x="812" y="90"/>
                  <a:pt x="812" y="90"/>
                </a:cubicBezTo>
                <a:cubicBezTo>
                  <a:pt x="812" y="90"/>
                  <a:pt x="812" y="90"/>
                  <a:pt x="811" y="90"/>
                </a:cubicBezTo>
                <a:cubicBezTo>
                  <a:pt x="812" y="91"/>
                  <a:pt x="812" y="91"/>
                  <a:pt x="812" y="92"/>
                </a:cubicBezTo>
                <a:cubicBezTo>
                  <a:pt x="812" y="93"/>
                  <a:pt x="812" y="94"/>
                  <a:pt x="811" y="94"/>
                </a:cubicBezTo>
                <a:cubicBezTo>
                  <a:pt x="810" y="95"/>
                  <a:pt x="809" y="96"/>
                  <a:pt x="809" y="97"/>
                </a:cubicBezTo>
                <a:cubicBezTo>
                  <a:pt x="809" y="99"/>
                  <a:pt x="808" y="100"/>
                  <a:pt x="807" y="100"/>
                </a:cubicBezTo>
                <a:cubicBezTo>
                  <a:pt x="806" y="102"/>
                  <a:pt x="804" y="104"/>
                  <a:pt x="802" y="106"/>
                </a:cubicBezTo>
                <a:cubicBezTo>
                  <a:pt x="801" y="107"/>
                  <a:pt x="800" y="108"/>
                  <a:pt x="799" y="107"/>
                </a:cubicBezTo>
                <a:cubicBezTo>
                  <a:pt x="795" y="105"/>
                  <a:pt x="791" y="106"/>
                  <a:pt x="788" y="106"/>
                </a:cubicBezTo>
                <a:cubicBezTo>
                  <a:pt x="786" y="106"/>
                  <a:pt x="785" y="106"/>
                  <a:pt x="784" y="107"/>
                </a:cubicBezTo>
                <a:cubicBezTo>
                  <a:pt x="782" y="108"/>
                  <a:pt x="780" y="109"/>
                  <a:pt x="778" y="109"/>
                </a:cubicBezTo>
                <a:cubicBezTo>
                  <a:pt x="774" y="110"/>
                  <a:pt x="770" y="111"/>
                  <a:pt x="766" y="111"/>
                </a:cubicBezTo>
                <a:cubicBezTo>
                  <a:pt x="763" y="112"/>
                  <a:pt x="761" y="114"/>
                  <a:pt x="759" y="117"/>
                </a:cubicBezTo>
                <a:cubicBezTo>
                  <a:pt x="758" y="119"/>
                  <a:pt x="757" y="121"/>
                  <a:pt x="759" y="123"/>
                </a:cubicBezTo>
                <a:cubicBezTo>
                  <a:pt x="761" y="125"/>
                  <a:pt x="762" y="128"/>
                  <a:pt x="764" y="130"/>
                </a:cubicBezTo>
                <a:cubicBezTo>
                  <a:pt x="764" y="130"/>
                  <a:pt x="764" y="130"/>
                  <a:pt x="765" y="130"/>
                </a:cubicBezTo>
                <a:cubicBezTo>
                  <a:pt x="765" y="130"/>
                  <a:pt x="765" y="130"/>
                  <a:pt x="765" y="130"/>
                </a:cubicBezTo>
                <a:cubicBezTo>
                  <a:pt x="765" y="130"/>
                  <a:pt x="765" y="130"/>
                  <a:pt x="765" y="130"/>
                </a:cubicBezTo>
                <a:cubicBezTo>
                  <a:pt x="764" y="130"/>
                  <a:pt x="764" y="130"/>
                  <a:pt x="764" y="130"/>
                </a:cubicBezTo>
                <a:cubicBezTo>
                  <a:pt x="764" y="130"/>
                  <a:pt x="764" y="130"/>
                  <a:pt x="764" y="130"/>
                </a:cubicBezTo>
                <a:cubicBezTo>
                  <a:pt x="764" y="130"/>
                  <a:pt x="764" y="130"/>
                  <a:pt x="764" y="130"/>
                </a:cubicBezTo>
                <a:cubicBezTo>
                  <a:pt x="765" y="132"/>
                  <a:pt x="765" y="134"/>
                  <a:pt x="766" y="135"/>
                </a:cubicBezTo>
                <a:cubicBezTo>
                  <a:pt x="767" y="137"/>
                  <a:pt x="769" y="138"/>
                  <a:pt x="771" y="137"/>
                </a:cubicBezTo>
                <a:cubicBezTo>
                  <a:pt x="772" y="137"/>
                  <a:pt x="773" y="136"/>
                  <a:pt x="775" y="137"/>
                </a:cubicBezTo>
                <a:cubicBezTo>
                  <a:pt x="776" y="137"/>
                  <a:pt x="778" y="137"/>
                  <a:pt x="780" y="137"/>
                </a:cubicBezTo>
                <a:cubicBezTo>
                  <a:pt x="780" y="137"/>
                  <a:pt x="781" y="137"/>
                  <a:pt x="781" y="137"/>
                </a:cubicBezTo>
                <a:cubicBezTo>
                  <a:pt x="782" y="138"/>
                  <a:pt x="782" y="138"/>
                  <a:pt x="782" y="139"/>
                </a:cubicBezTo>
                <a:cubicBezTo>
                  <a:pt x="782" y="139"/>
                  <a:pt x="782" y="140"/>
                  <a:pt x="781" y="140"/>
                </a:cubicBezTo>
                <a:cubicBezTo>
                  <a:pt x="780" y="140"/>
                  <a:pt x="779" y="140"/>
                  <a:pt x="779" y="140"/>
                </a:cubicBezTo>
                <a:cubicBezTo>
                  <a:pt x="775" y="139"/>
                  <a:pt x="772" y="138"/>
                  <a:pt x="769" y="140"/>
                </a:cubicBezTo>
                <a:cubicBezTo>
                  <a:pt x="767" y="141"/>
                  <a:pt x="766" y="141"/>
                  <a:pt x="764" y="141"/>
                </a:cubicBezTo>
                <a:cubicBezTo>
                  <a:pt x="763" y="140"/>
                  <a:pt x="761" y="141"/>
                  <a:pt x="759" y="141"/>
                </a:cubicBezTo>
                <a:cubicBezTo>
                  <a:pt x="757" y="143"/>
                  <a:pt x="756" y="146"/>
                  <a:pt x="758" y="148"/>
                </a:cubicBezTo>
                <a:cubicBezTo>
                  <a:pt x="759" y="150"/>
                  <a:pt x="761" y="152"/>
                  <a:pt x="763" y="153"/>
                </a:cubicBezTo>
                <a:cubicBezTo>
                  <a:pt x="764" y="154"/>
                  <a:pt x="764" y="154"/>
                  <a:pt x="763" y="155"/>
                </a:cubicBezTo>
                <a:cubicBezTo>
                  <a:pt x="762" y="156"/>
                  <a:pt x="761" y="156"/>
                  <a:pt x="760" y="157"/>
                </a:cubicBezTo>
                <a:cubicBezTo>
                  <a:pt x="760" y="157"/>
                  <a:pt x="759" y="159"/>
                  <a:pt x="759" y="159"/>
                </a:cubicBezTo>
                <a:cubicBezTo>
                  <a:pt x="761" y="163"/>
                  <a:pt x="763" y="166"/>
                  <a:pt x="766" y="168"/>
                </a:cubicBezTo>
                <a:cubicBezTo>
                  <a:pt x="769" y="169"/>
                  <a:pt x="770" y="169"/>
                  <a:pt x="771" y="167"/>
                </a:cubicBezTo>
                <a:cubicBezTo>
                  <a:pt x="772" y="165"/>
                  <a:pt x="772" y="165"/>
                  <a:pt x="774" y="166"/>
                </a:cubicBezTo>
                <a:cubicBezTo>
                  <a:pt x="775" y="166"/>
                  <a:pt x="776" y="166"/>
                  <a:pt x="777" y="168"/>
                </a:cubicBezTo>
                <a:cubicBezTo>
                  <a:pt x="777" y="168"/>
                  <a:pt x="778" y="168"/>
                  <a:pt x="778" y="168"/>
                </a:cubicBezTo>
                <a:cubicBezTo>
                  <a:pt x="782" y="167"/>
                  <a:pt x="786" y="169"/>
                  <a:pt x="789" y="167"/>
                </a:cubicBezTo>
                <a:cubicBezTo>
                  <a:pt x="789" y="167"/>
                  <a:pt x="790" y="167"/>
                  <a:pt x="790" y="167"/>
                </a:cubicBezTo>
                <a:cubicBezTo>
                  <a:pt x="793" y="168"/>
                  <a:pt x="797" y="170"/>
                  <a:pt x="800" y="172"/>
                </a:cubicBezTo>
                <a:cubicBezTo>
                  <a:pt x="802" y="174"/>
                  <a:pt x="805" y="176"/>
                  <a:pt x="807" y="178"/>
                </a:cubicBezTo>
                <a:cubicBezTo>
                  <a:pt x="808" y="179"/>
                  <a:pt x="809" y="180"/>
                  <a:pt x="810" y="181"/>
                </a:cubicBezTo>
                <a:cubicBezTo>
                  <a:pt x="810" y="181"/>
                  <a:pt x="810" y="182"/>
                  <a:pt x="810" y="183"/>
                </a:cubicBezTo>
                <a:cubicBezTo>
                  <a:pt x="810" y="184"/>
                  <a:pt x="810" y="186"/>
                  <a:pt x="809" y="187"/>
                </a:cubicBezTo>
                <a:cubicBezTo>
                  <a:pt x="807" y="190"/>
                  <a:pt x="808" y="192"/>
                  <a:pt x="810" y="194"/>
                </a:cubicBezTo>
                <a:cubicBezTo>
                  <a:pt x="810" y="194"/>
                  <a:pt x="811" y="196"/>
                  <a:pt x="811" y="197"/>
                </a:cubicBezTo>
                <a:cubicBezTo>
                  <a:pt x="811" y="198"/>
                  <a:pt x="811" y="200"/>
                  <a:pt x="810" y="201"/>
                </a:cubicBezTo>
                <a:cubicBezTo>
                  <a:pt x="809" y="201"/>
                  <a:pt x="809" y="202"/>
                  <a:pt x="810" y="202"/>
                </a:cubicBezTo>
                <a:cubicBezTo>
                  <a:pt x="811" y="202"/>
                  <a:pt x="811" y="202"/>
                  <a:pt x="812" y="203"/>
                </a:cubicBezTo>
                <a:cubicBezTo>
                  <a:pt x="813" y="203"/>
                  <a:pt x="814" y="204"/>
                  <a:pt x="813" y="205"/>
                </a:cubicBezTo>
                <a:cubicBezTo>
                  <a:pt x="813" y="205"/>
                  <a:pt x="813" y="206"/>
                  <a:pt x="812" y="206"/>
                </a:cubicBezTo>
                <a:cubicBezTo>
                  <a:pt x="811" y="208"/>
                  <a:pt x="811" y="209"/>
                  <a:pt x="812" y="210"/>
                </a:cubicBezTo>
                <a:cubicBezTo>
                  <a:pt x="813" y="210"/>
                  <a:pt x="813" y="211"/>
                  <a:pt x="813" y="212"/>
                </a:cubicBezTo>
                <a:cubicBezTo>
                  <a:pt x="812" y="212"/>
                  <a:pt x="811" y="213"/>
                  <a:pt x="812" y="214"/>
                </a:cubicBezTo>
                <a:cubicBezTo>
                  <a:pt x="812" y="215"/>
                  <a:pt x="813" y="216"/>
                  <a:pt x="813" y="217"/>
                </a:cubicBezTo>
                <a:cubicBezTo>
                  <a:pt x="813" y="219"/>
                  <a:pt x="813" y="220"/>
                  <a:pt x="813" y="222"/>
                </a:cubicBezTo>
                <a:cubicBezTo>
                  <a:pt x="814" y="224"/>
                  <a:pt x="813" y="226"/>
                  <a:pt x="813" y="227"/>
                </a:cubicBezTo>
                <a:cubicBezTo>
                  <a:pt x="812" y="227"/>
                  <a:pt x="812" y="228"/>
                  <a:pt x="813" y="229"/>
                </a:cubicBezTo>
                <a:cubicBezTo>
                  <a:pt x="813" y="229"/>
                  <a:pt x="814" y="229"/>
                  <a:pt x="814" y="230"/>
                </a:cubicBezTo>
                <a:cubicBezTo>
                  <a:pt x="815" y="231"/>
                  <a:pt x="815" y="232"/>
                  <a:pt x="813" y="233"/>
                </a:cubicBezTo>
                <a:cubicBezTo>
                  <a:pt x="812" y="233"/>
                  <a:pt x="811" y="233"/>
                  <a:pt x="810" y="234"/>
                </a:cubicBezTo>
                <a:cubicBezTo>
                  <a:pt x="809" y="234"/>
                  <a:pt x="809" y="235"/>
                  <a:pt x="810" y="235"/>
                </a:cubicBezTo>
                <a:cubicBezTo>
                  <a:pt x="810" y="236"/>
                  <a:pt x="813" y="236"/>
                  <a:pt x="810" y="237"/>
                </a:cubicBezTo>
                <a:cubicBezTo>
                  <a:pt x="808" y="238"/>
                  <a:pt x="808" y="240"/>
                  <a:pt x="808" y="242"/>
                </a:cubicBezTo>
                <a:cubicBezTo>
                  <a:pt x="809" y="243"/>
                  <a:pt x="809" y="243"/>
                  <a:pt x="810" y="243"/>
                </a:cubicBezTo>
                <a:cubicBezTo>
                  <a:pt x="810" y="243"/>
                  <a:pt x="810" y="243"/>
                  <a:pt x="810" y="243"/>
                </a:cubicBezTo>
                <a:cubicBezTo>
                  <a:pt x="810" y="242"/>
                  <a:pt x="810" y="242"/>
                  <a:pt x="810" y="242"/>
                </a:cubicBezTo>
                <a:cubicBezTo>
                  <a:pt x="810" y="243"/>
                  <a:pt x="810" y="243"/>
                  <a:pt x="810" y="243"/>
                </a:cubicBezTo>
                <a:cubicBezTo>
                  <a:pt x="810" y="243"/>
                  <a:pt x="810" y="243"/>
                  <a:pt x="810" y="243"/>
                </a:cubicBezTo>
                <a:cubicBezTo>
                  <a:pt x="809" y="243"/>
                  <a:pt x="809" y="244"/>
                  <a:pt x="808" y="244"/>
                </a:cubicBezTo>
                <a:cubicBezTo>
                  <a:pt x="808" y="244"/>
                  <a:pt x="808" y="244"/>
                  <a:pt x="808" y="244"/>
                </a:cubicBezTo>
                <a:cubicBezTo>
                  <a:pt x="808" y="244"/>
                  <a:pt x="808" y="244"/>
                  <a:pt x="808" y="244"/>
                </a:cubicBezTo>
                <a:cubicBezTo>
                  <a:pt x="808" y="244"/>
                  <a:pt x="808" y="244"/>
                  <a:pt x="808" y="244"/>
                </a:cubicBezTo>
                <a:cubicBezTo>
                  <a:pt x="808" y="247"/>
                  <a:pt x="807" y="249"/>
                  <a:pt x="805" y="250"/>
                </a:cubicBezTo>
                <a:cubicBezTo>
                  <a:pt x="804" y="251"/>
                  <a:pt x="805" y="253"/>
                  <a:pt x="806" y="254"/>
                </a:cubicBezTo>
                <a:cubicBezTo>
                  <a:pt x="809" y="258"/>
                  <a:pt x="811" y="258"/>
                  <a:pt x="814" y="255"/>
                </a:cubicBezTo>
                <a:cubicBezTo>
                  <a:pt x="815" y="254"/>
                  <a:pt x="815" y="253"/>
                  <a:pt x="816" y="253"/>
                </a:cubicBezTo>
                <a:cubicBezTo>
                  <a:pt x="817" y="252"/>
                  <a:pt x="818" y="252"/>
                  <a:pt x="819" y="252"/>
                </a:cubicBezTo>
                <a:cubicBezTo>
                  <a:pt x="819" y="252"/>
                  <a:pt x="820" y="253"/>
                  <a:pt x="820" y="253"/>
                </a:cubicBezTo>
                <a:cubicBezTo>
                  <a:pt x="820" y="253"/>
                  <a:pt x="820" y="253"/>
                  <a:pt x="820" y="253"/>
                </a:cubicBezTo>
                <a:cubicBezTo>
                  <a:pt x="820" y="253"/>
                  <a:pt x="820" y="253"/>
                  <a:pt x="820" y="253"/>
                </a:cubicBezTo>
                <a:cubicBezTo>
                  <a:pt x="820" y="253"/>
                  <a:pt x="820" y="253"/>
                  <a:pt x="820" y="253"/>
                </a:cubicBezTo>
                <a:cubicBezTo>
                  <a:pt x="821" y="253"/>
                  <a:pt x="821" y="253"/>
                  <a:pt x="822" y="254"/>
                </a:cubicBezTo>
                <a:cubicBezTo>
                  <a:pt x="822" y="255"/>
                  <a:pt x="821" y="255"/>
                  <a:pt x="820" y="255"/>
                </a:cubicBezTo>
                <a:cubicBezTo>
                  <a:pt x="819" y="256"/>
                  <a:pt x="818" y="258"/>
                  <a:pt x="818" y="259"/>
                </a:cubicBezTo>
                <a:cubicBezTo>
                  <a:pt x="817" y="260"/>
                  <a:pt x="817" y="261"/>
                  <a:pt x="818" y="261"/>
                </a:cubicBezTo>
                <a:cubicBezTo>
                  <a:pt x="819" y="261"/>
                  <a:pt x="820" y="262"/>
                  <a:pt x="820" y="262"/>
                </a:cubicBezTo>
                <a:cubicBezTo>
                  <a:pt x="821" y="263"/>
                  <a:pt x="822" y="264"/>
                  <a:pt x="821" y="265"/>
                </a:cubicBezTo>
                <a:cubicBezTo>
                  <a:pt x="821" y="266"/>
                  <a:pt x="820" y="266"/>
                  <a:pt x="820" y="267"/>
                </a:cubicBezTo>
                <a:cubicBezTo>
                  <a:pt x="820" y="267"/>
                  <a:pt x="820" y="267"/>
                  <a:pt x="820" y="267"/>
                </a:cubicBezTo>
                <a:cubicBezTo>
                  <a:pt x="820" y="267"/>
                  <a:pt x="820" y="267"/>
                  <a:pt x="820" y="267"/>
                </a:cubicBezTo>
                <a:cubicBezTo>
                  <a:pt x="822" y="267"/>
                  <a:pt x="824" y="269"/>
                  <a:pt x="824" y="271"/>
                </a:cubicBezTo>
                <a:cubicBezTo>
                  <a:pt x="824" y="271"/>
                  <a:pt x="824" y="271"/>
                  <a:pt x="824" y="271"/>
                </a:cubicBezTo>
                <a:cubicBezTo>
                  <a:pt x="823" y="271"/>
                  <a:pt x="823" y="271"/>
                  <a:pt x="823" y="271"/>
                </a:cubicBezTo>
                <a:cubicBezTo>
                  <a:pt x="822" y="270"/>
                  <a:pt x="821" y="269"/>
                  <a:pt x="820" y="267"/>
                </a:cubicBezTo>
                <a:cubicBezTo>
                  <a:pt x="820" y="267"/>
                  <a:pt x="820" y="267"/>
                  <a:pt x="820" y="267"/>
                </a:cubicBezTo>
                <a:cubicBezTo>
                  <a:pt x="820" y="267"/>
                  <a:pt x="820" y="267"/>
                  <a:pt x="820" y="267"/>
                </a:cubicBezTo>
                <a:cubicBezTo>
                  <a:pt x="818" y="267"/>
                  <a:pt x="816" y="266"/>
                  <a:pt x="814" y="265"/>
                </a:cubicBezTo>
                <a:cubicBezTo>
                  <a:pt x="812" y="265"/>
                  <a:pt x="811" y="265"/>
                  <a:pt x="809" y="264"/>
                </a:cubicBezTo>
                <a:cubicBezTo>
                  <a:pt x="808" y="264"/>
                  <a:pt x="806" y="266"/>
                  <a:pt x="806" y="268"/>
                </a:cubicBezTo>
                <a:cubicBezTo>
                  <a:pt x="806" y="268"/>
                  <a:pt x="806" y="268"/>
                  <a:pt x="806" y="268"/>
                </a:cubicBezTo>
                <a:cubicBezTo>
                  <a:pt x="807" y="269"/>
                  <a:pt x="807" y="270"/>
                  <a:pt x="807" y="271"/>
                </a:cubicBezTo>
                <a:cubicBezTo>
                  <a:pt x="806" y="272"/>
                  <a:pt x="805" y="272"/>
                  <a:pt x="805" y="272"/>
                </a:cubicBezTo>
                <a:cubicBezTo>
                  <a:pt x="803" y="273"/>
                  <a:pt x="803" y="274"/>
                  <a:pt x="802" y="275"/>
                </a:cubicBezTo>
                <a:cubicBezTo>
                  <a:pt x="802" y="276"/>
                  <a:pt x="801" y="278"/>
                  <a:pt x="802" y="280"/>
                </a:cubicBezTo>
                <a:cubicBezTo>
                  <a:pt x="802" y="283"/>
                  <a:pt x="803" y="286"/>
                  <a:pt x="806" y="288"/>
                </a:cubicBezTo>
                <a:cubicBezTo>
                  <a:pt x="806" y="288"/>
                  <a:pt x="806" y="288"/>
                  <a:pt x="807" y="288"/>
                </a:cubicBezTo>
                <a:cubicBezTo>
                  <a:pt x="810" y="289"/>
                  <a:pt x="813" y="288"/>
                  <a:pt x="816" y="287"/>
                </a:cubicBezTo>
                <a:cubicBezTo>
                  <a:pt x="817" y="286"/>
                  <a:pt x="818" y="284"/>
                  <a:pt x="817" y="282"/>
                </a:cubicBezTo>
                <a:cubicBezTo>
                  <a:pt x="817" y="282"/>
                  <a:pt x="816" y="281"/>
                  <a:pt x="815" y="280"/>
                </a:cubicBezTo>
                <a:cubicBezTo>
                  <a:pt x="814" y="279"/>
                  <a:pt x="814" y="278"/>
                  <a:pt x="813" y="276"/>
                </a:cubicBezTo>
                <a:cubicBezTo>
                  <a:pt x="813" y="276"/>
                  <a:pt x="813" y="276"/>
                  <a:pt x="813" y="276"/>
                </a:cubicBezTo>
                <a:cubicBezTo>
                  <a:pt x="813" y="275"/>
                  <a:pt x="813" y="275"/>
                  <a:pt x="813" y="275"/>
                </a:cubicBezTo>
                <a:cubicBezTo>
                  <a:pt x="813" y="276"/>
                  <a:pt x="813" y="276"/>
                  <a:pt x="813" y="276"/>
                </a:cubicBezTo>
                <a:cubicBezTo>
                  <a:pt x="813" y="276"/>
                  <a:pt x="813" y="276"/>
                  <a:pt x="813" y="276"/>
                </a:cubicBezTo>
                <a:cubicBezTo>
                  <a:pt x="817" y="278"/>
                  <a:pt x="821" y="280"/>
                  <a:pt x="825" y="280"/>
                </a:cubicBezTo>
                <a:cubicBezTo>
                  <a:pt x="826" y="280"/>
                  <a:pt x="827" y="282"/>
                  <a:pt x="826" y="282"/>
                </a:cubicBezTo>
                <a:cubicBezTo>
                  <a:pt x="825" y="283"/>
                  <a:pt x="825" y="284"/>
                  <a:pt x="824" y="285"/>
                </a:cubicBezTo>
                <a:cubicBezTo>
                  <a:pt x="824" y="285"/>
                  <a:pt x="824" y="284"/>
                  <a:pt x="824" y="284"/>
                </a:cubicBezTo>
                <a:cubicBezTo>
                  <a:pt x="824" y="285"/>
                  <a:pt x="824" y="285"/>
                  <a:pt x="824" y="285"/>
                </a:cubicBezTo>
                <a:cubicBezTo>
                  <a:pt x="824" y="285"/>
                  <a:pt x="824" y="285"/>
                  <a:pt x="824" y="285"/>
                </a:cubicBezTo>
                <a:cubicBezTo>
                  <a:pt x="823" y="286"/>
                  <a:pt x="823" y="287"/>
                  <a:pt x="822" y="288"/>
                </a:cubicBezTo>
                <a:cubicBezTo>
                  <a:pt x="822" y="289"/>
                  <a:pt x="822" y="289"/>
                  <a:pt x="822" y="290"/>
                </a:cubicBezTo>
                <a:cubicBezTo>
                  <a:pt x="823" y="292"/>
                  <a:pt x="823" y="292"/>
                  <a:pt x="821" y="292"/>
                </a:cubicBezTo>
                <a:cubicBezTo>
                  <a:pt x="820" y="292"/>
                  <a:pt x="819" y="292"/>
                  <a:pt x="819" y="293"/>
                </a:cubicBezTo>
                <a:cubicBezTo>
                  <a:pt x="818" y="297"/>
                  <a:pt x="816" y="299"/>
                  <a:pt x="812" y="298"/>
                </a:cubicBezTo>
                <a:cubicBezTo>
                  <a:pt x="811" y="298"/>
                  <a:pt x="810" y="298"/>
                  <a:pt x="808" y="299"/>
                </a:cubicBezTo>
                <a:cubicBezTo>
                  <a:pt x="808" y="300"/>
                  <a:pt x="809" y="302"/>
                  <a:pt x="809" y="304"/>
                </a:cubicBezTo>
                <a:cubicBezTo>
                  <a:pt x="810" y="304"/>
                  <a:pt x="810" y="304"/>
                  <a:pt x="810" y="304"/>
                </a:cubicBezTo>
                <a:cubicBezTo>
                  <a:pt x="810" y="304"/>
                  <a:pt x="810" y="304"/>
                  <a:pt x="810" y="304"/>
                </a:cubicBezTo>
                <a:cubicBezTo>
                  <a:pt x="810" y="304"/>
                  <a:pt x="810" y="304"/>
                  <a:pt x="810" y="304"/>
                </a:cubicBezTo>
                <a:cubicBezTo>
                  <a:pt x="809" y="304"/>
                  <a:pt x="809" y="304"/>
                  <a:pt x="809" y="304"/>
                </a:cubicBezTo>
                <a:cubicBezTo>
                  <a:pt x="809" y="304"/>
                  <a:pt x="808" y="303"/>
                  <a:pt x="807" y="303"/>
                </a:cubicBezTo>
                <a:cubicBezTo>
                  <a:pt x="805" y="303"/>
                  <a:pt x="805" y="303"/>
                  <a:pt x="805" y="305"/>
                </a:cubicBezTo>
                <a:cubicBezTo>
                  <a:pt x="804" y="305"/>
                  <a:pt x="804" y="306"/>
                  <a:pt x="804" y="307"/>
                </a:cubicBezTo>
                <a:cubicBezTo>
                  <a:pt x="802" y="308"/>
                  <a:pt x="801" y="309"/>
                  <a:pt x="800" y="311"/>
                </a:cubicBezTo>
                <a:cubicBezTo>
                  <a:pt x="800" y="312"/>
                  <a:pt x="799" y="314"/>
                  <a:pt x="799" y="315"/>
                </a:cubicBezTo>
                <a:cubicBezTo>
                  <a:pt x="798" y="316"/>
                  <a:pt x="798" y="318"/>
                  <a:pt x="798" y="319"/>
                </a:cubicBezTo>
                <a:cubicBezTo>
                  <a:pt x="798" y="320"/>
                  <a:pt x="798" y="321"/>
                  <a:pt x="799" y="322"/>
                </a:cubicBezTo>
                <a:cubicBezTo>
                  <a:pt x="799" y="322"/>
                  <a:pt x="800" y="323"/>
                  <a:pt x="801" y="323"/>
                </a:cubicBezTo>
                <a:cubicBezTo>
                  <a:pt x="801" y="323"/>
                  <a:pt x="801" y="323"/>
                  <a:pt x="801" y="323"/>
                </a:cubicBezTo>
                <a:cubicBezTo>
                  <a:pt x="801" y="323"/>
                  <a:pt x="801" y="323"/>
                  <a:pt x="801" y="323"/>
                </a:cubicBezTo>
                <a:cubicBezTo>
                  <a:pt x="802" y="323"/>
                  <a:pt x="802" y="322"/>
                  <a:pt x="802" y="322"/>
                </a:cubicBezTo>
                <a:cubicBezTo>
                  <a:pt x="802" y="322"/>
                  <a:pt x="802" y="322"/>
                  <a:pt x="803" y="322"/>
                </a:cubicBezTo>
                <a:cubicBezTo>
                  <a:pt x="802" y="323"/>
                  <a:pt x="802" y="323"/>
                  <a:pt x="801" y="323"/>
                </a:cubicBezTo>
                <a:cubicBezTo>
                  <a:pt x="801" y="323"/>
                  <a:pt x="801" y="323"/>
                  <a:pt x="801" y="323"/>
                </a:cubicBezTo>
                <a:cubicBezTo>
                  <a:pt x="801" y="323"/>
                  <a:pt x="801" y="323"/>
                  <a:pt x="801" y="323"/>
                </a:cubicBezTo>
                <a:cubicBezTo>
                  <a:pt x="799" y="324"/>
                  <a:pt x="798" y="325"/>
                  <a:pt x="797" y="327"/>
                </a:cubicBezTo>
                <a:cubicBezTo>
                  <a:pt x="796" y="328"/>
                  <a:pt x="795" y="330"/>
                  <a:pt x="797" y="332"/>
                </a:cubicBezTo>
                <a:cubicBezTo>
                  <a:pt x="798" y="333"/>
                  <a:pt x="798" y="335"/>
                  <a:pt x="798" y="336"/>
                </a:cubicBezTo>
                <a:cubicBezTo>
                  <a:pt x="798" y="337"/>
                  <a:pt x="798" y="339"/>
                  <a:pt x="799" y="340"/>
                </a:cubicBezTo>
                <a:cubicBezTo>
                  <a:pt x="800" y="343"/>
                  <a:pt x="801" y="347"/>
                  <a:pt x="800" y="352"/>
                </a:cubicBezTo>
                <a:cubicBezTo>
                  <a:pt x="800" y="352"/>
                  <a:pt x="800" y="353"/>
                  <a:pt x="800" y="353"/>
                </a:cubicBezTo>
                <a:cubicBezTo>
                  <a:pt x="800" y="354"/>
                  <a:pt x="801" y="355"/>
                  <a:pt x="802" y="355"/>
                </a:cubicBezTo>
                <a:cubicBezTo>
                  <a:pt x="804" y="354"/>
                  <a:pt x="806" y="354"/>
                  <a:pt x="808" y="353"/>
                </a:cubicBezTo>
                <a:cubicBezTo>
                  <a:pt x="808" y="353"/>
                  <a:pt x="808" y="353"/>
                  <a:pt x="808" y="353"/>
                </a:cubicBezTo>
                <a:cubicBezTo>
                  <a:pt x="808" y="353"/>
                  <a:pt x="808" y="353"/>
                  <a:pt x="808" y="353"/>
                </a:cubicBezTo>
                <a:cubicBezTo>
                  <a:pt x="809" y="352"/>
                  <a:pt x="809" y="352"/>
                  <a:pt x="809" y="352"/>
                </a:cubicBezTo>
                <a:cubicBezTo>
                  <a:pt x="809" y="353"/>
                  <a:pt x="809" y="353"/>
                  <a:pt x="808" y="353"/>
                </a:cubicBezTo>
                <a:cubicBezTo>
                  <a:pt x="808" y="353"/>
                  <a:pt x="808" y="353"/>
                  <a:pt x="808" y="353"/>
                </a:cubicBezTo>
                <a:cubicBezTo>
                  <a:pt x="808" y="353"/>
                  <a:pt x="808" y="353"/>
                  <a:pt x="808" y="353"/>
                </a:cubicBezTo>
                <a:cubicBezTo>
                  <a:pt x="807" y="355"/>
                  <a:pt x="805" y="356"/>
                  <a:pt x="804" y="357"/>
                </a:cubicBezTo>
                <a:cubicBezTo>
                  <a:pt x="802" y="358"/>
                  <a:pt x="801" y="360"/>
                  <a:pt x="802" y="362"/>
                </a:cubicBezTo>
                <a:cubicBezTo>
                  <a:pt x="802" y="365"/>
                  <a:pt x="803" y="368"/>
                  <a:pt x="805" y="371"/>
                </a:cubicBezTo>
                <a:cubicBezTo>
                  <a:pt x="805" y="370"/>
                  <a:pt x="805" y="370"/>
                  <a:pt x="805" y="370"/>
                </a:cubicBezTo>
                <a:cubicBezTo>
                  <a:pt x="805" y="371"/>
                  <a:pt x="805" y="371"/>
                  <a:pt x="805" y="371"/>
                </a:cubicBezTo>
                <a:cubicBezTo>
                  <a:pt x="805" y="371"/>
                  <a:pt x="805" y="371"/>
                  <a:pt x="805" y="371"/>
                </a:cubicBezTo>
                <a:cubicBezTo>
                  <a:pt x="804" y="371"/>
                  <a:pt x="804" y="371"/>
                  <a:pt x="804" y="371"/>
                </a:cubicBezTo>
                <a:cubicBezTo>
                  <a:pt x="805" y="371"/>
                  <a:pt x="805" y="372"/>
                  <a:pt x="806" y="373"/>
                </a:cubicBezTo>
                <a:cubicBezTo>
                  <a:pt x="807" y="374"/>
                  <a:pt x="808" y="375"/>
                  <a:pt x="807" y="376"/>
                </a:cubicBezTo>
                <a:cubicBezTo>
                  <a:pt x="807" y="377"/>
                  <a:pt x="806" y="378"/>
                  <a:pt x="807" y="379"/>
                </a:cubicBezTo>
                <a:cubicBezTo>
                  <a:pt x="809" y="381"/>
                  <a:pt x="809" y="383"/>
                  <a:pt x="810" y="385"/>
                </a:cubicBezTo>
                <a:cubicBezTo>
                  <a:pt x="810" y="387"/>
                  <a:pt x="810" y="388"/>
                  <a:pt x="810" y="389"/>
                </a:cubicBezTo>
                <a:cubicBezTo>
                  <a:pt x="809" y="390"/>
                  <a:pt x="809" y="391"/>
                  <a:pt x="809" y="391"/>
                </a:cubicBezTo>
                <a:cubicBezTo>
                  <a:pt x="811" y="392"/>
                  <a:pt x="812" y="394"/>
                  <a:pt x="813" y="395"/>
                </a:cubicBezTo>
                <a:cubicBezTo>
                  <a:pt x="816" y="395"/>
                  <a:pt x="817" y="397"/>
                  <a:pt x="817" y="399"/>
                </a:cubicBezTo>
                <a:cubicBezTo>
                  <a:pt x="817" y="400"/>
                  <a:pt x="818" y="400"/>
                  <a:pt x="818" y="400"/>
                </a:cubicBezTo>
                <a:cubicBezTo>
                  <a:pt x="820" y="400"/>
                  <a:pt x="821" y="399"/>
                  <a:pt x="823" y="399"/>
                </a:cubicBezTo>
                <a:cubicBezTo>
                  <a:pt x="824" y="399"/>
                  <a:pt x="825" y="398"/>
                  <a:pt x="826" y="398"/>
                </a:cubicBezTo>
                <a:cubicBezTo>
                  <a:pt x="827" y="398"/>
                  <a:pt x="829" y="398"/>
                  <a:pt x="829" y="400"/>
                </a:cubicBezTo>
                <a:cubicBezTo>
                  <a:pt x="829" y="402"/>
                  <a:pt x="830" y="404"/>
                  <a:pt x="832" y="406"/>
                </a:cubicBezTo>
                <a:cubicBezTo>
                  <a:pt x="832" y="406"/>
                  <a:pt x="832" y="408"/>
                  <a:pt x="833" y="408"/>
                </a:cubicBezTo>
                <a:cubicBezTo>
                  <a:pt x="834" y="409"/>
                  <a:pt x="834" y="410"/>
                  <a:pt x="835" y="409"/>
                </a:cubicBezTo>
                <a:cubicBezTo>
                  <a:pt x="837" y="409"/>
                  <a:pt x="839" y="410"/>
                  <a:pt x="841" y="411"/>
                </a:cubicBezTo>
                <a:cubicBezTo>
                  <a:pt x="842" y="411"/>
                  <a:pt x="844" y="410"/>
                  <a:pt x="845" y="409"/>
                </a:cubicBezTo>
                <a:cubicBezTo>
                  <a:pt x="846" y="405"/>
                  <a:pt x="846" y="401"/>
                  <a:pt x="848" y="398"/>
                </a:cubicBezTo>
                <a:cubicBezTo>
                  <a:pt x="849" y="396"/>
                  <a:pt x="850" y="393"/>
                  <a:pt x="852" y="391"/>
                </a:cubicBezTo>
                <a:cubicBezTo>
                  <a:pt x="853" y="390"/>
                  <a:pt x="854" y="388"/>
                  <a:pt x="854" y="386"/>
                </a:cubicBezTo>
                <a:cubicBezTo>
                  <a:pt x="854" y="384"/>
                  <a:pt x="855" y="383"/>
                  <a:pt x="855" y="381"/>
                </a:cubicBezTo>
                <a:cubicBezTo>
                  <a:pt x="855" y="381"/>
                  <a:pt x="855" y="381"/>
                  <a:pt x="855" y="381"/>
                </a:cubicBezTo>
                <a:cubicBezTo>
                  <a:pt x="855" y="381"/>
                  <a:pt x="855" y="381"/>
                  <a:pt x="855" y="381"/>
                </a:cubicBezTo>
                <a:cubicBezTo>
                  <a:pt x="855" y="381"/>
                  <a:pt x="854" y="381"/>
                  <a:pt x="854" y="380"/>
                </a:cubicBezTo>
                <a:cubicBezTo>
                  <a:pt x="854" y="380"/>
                  <a:pt x="854" y="380"/>
                  <a:pt x="854" y="380"/>
                </a:cubicBezTo>
                <a:cubicBezTo>
                  <a:pt x="854" y="379"/>
                  <a:pt x="854" y="379"/>
                  <a:pt x="855" y="380"/>
                </a:cubicBezTo>
                <a:cubicBezTo>
                  <a:pt x="855" y="380"/>
                  <a:pt x="855" y="380"/>
                  <a:pt x="855" y="381"/>
                </a:cubicBezTo>
                <a:cubicBezTo>
                  <a:pt x="855" y="381"/>
                  <a:pt x="855" y="381"/>
                  <a:pt x="855" y="381"/>
                </a:cubicBezTo>
                <a:cubicBezTo>
                  <a:pt x="855" y="381"/>
                  <a:pt x="855" y="381"/>
                  <a:pt x="855" y="381"/>
                </a:cubicBezTo>
                <a:cubicBezTo>
                  <a:pt x="857" y="380"/>
                  <a:pt x="858" y="379"/>
                  <a:pt x="859" y="378"/>
                </a:cubicBezTo>
                <a:cubicBezTo>
                  <a:pt x="860" y="375"/>
                  <a:pt x="862" y="372"/>
                  <a:pt x="865" y="370"/>
                </a:cubicBezTo>
                <a:cubicBezTo>
                  <a:pt x="867" y="368"/>
                  <a:pt x="868" y="365"/>
                  <a:pt x="867" y="361"/>
                </a:cubicBezTo>
                <a:cubicBezTo>
                  <a:pt x="866" y="360"/>
                  <a:pt x="867" y="359"/>
                  <a:pt x="868" y="359"/>
                </a:cubicBezTo>
                <a:cubicBezTo>
                  <a:pt x="869" y="358"/>
                  <a:pt x="869" y="358"/>
                  <a:pt x="870" y="358"/>
                </a:cubicBezTo>
                <a:cubicBezTo>
                  <a:pt x="870" y="357"/>
                  <a:pt x="870" y="356"/>
                  <a:pt x="870" y="355"/>
                </a:cubicBezTo>
                <a:cubicBezTo>
                  <a:pt x="870" y="355"/>
                  <a:pt x="870" y="354"/>
                  <a:pt x="870" y="354"/>
                </a:cubicBezTo>
                <a:cubicBezTo>
                  <a:pt x="869" y="352"/>
                  <a:pt x="869" y="352"/>
                  <a:pt x="871" y="351"/>
                </a:cubicBezTo>
                <a:cubicBezTo>
                  <a:pt x="873" y="351"/>
                  <a:pt x="874" y="351"/>
                  <a:pt x="874" y="349"/>
                </a:cubicBezTo>
                <a:cubicBezTo>
                  <a:pt x="875" y="347"/>
                  <a:pt x="877" y="346"/>
                  <a:pt x="879" y="346"/>
                </a:cubicBezTo>
                <a:cubicBezTo>
                  <a:pt x="882" y="347"/>
                  <a:pt x="885" y="345"/>
                  <a:pt x="889" y="346"/>
                </a:cubicBezTo>
                <a:cubicBezTo>
                  <a:pt x="890" y="346"/>
                  <a:pt x="890" y="345"/>
                  <a:pt x="891" y="345"/>
                </a:cubicBezTo>
                <a:cubicBezTo>
                  <a:pt x="891" y="344"/>
                  <a:pt x="892" y="343"/>
                  <a:pt x="893" y="343"/>
                </a:cubicBezTo>
                <a:cubicBezTo>
                  <a:pt x="897" y="343"/>
                  <a:pt x="901" y="341"/>
                  <a:pt x="905" y="338"/>
                </a:cubicBezTo>
                <a:cubicBezTo>
                  <a:pt x="905" y="338"/>
                  <a:pt x="906" y="338"/>
                  <a:pt x="906" y="338"/>
                </a:cubicBezTo>
                <a:cubicBezTo>
                  <a:pt x="909" y="337"/>
                  <a:pt x="911" y="335"/>
                  <a:pt x="912" y="333"/>
                </a:cubicBezTo>
                <a:cubicBezTo>
                  <a:pt x="914" y="329"/>
                  <a:pt x="917" y="327"/>
                  <a:pt x="919" y="324"/>
                </a:cubicBezTo>
                <a:cubicBezTo>
                  <a:pt x="921" y="320"/>
                  <a:pt x="925" y="320"/>
                  <a:pt x="928" y="316"/>
                </a:cubicBezTo>
                <a:cubicBezTo>
                  <a:pt x="930" y="315"/>
                  <a:pt x="932" y="316"/>
                  <a:pt x="934" y="316"/>
                </a:cubicBezTo>
                <a:cubicBezTo>
                  <a:pt x="935" y="316"/>
                  <a:pt x="936" y="315"/>
                  <a:pt x="937" y="315"/>
                </a:cubicBezTo>
                <a:cubicBezTo>
                  <a:pt x="938" y="315"/>
                  <a:pt x="939" y="314"/>
                  <a:pt x="939" y="314"/>
                </a:cubicBezTo>
                <a:cubicBezTo>
                  <a:pt x="941" y="315"/>
                  <a:pt x="943" y="315"/>
                  <a:pt x="944" y="314"/>
                </a:cubicBezTo>
                <a:cubicBezTo>
                  <a:pt x="947" y="312"/>
                  <a:pt x="950" y="312"/>
                  <a:pt x="954" y="311"/>
                </a:cubicBezTo>
                <a:cubicBezTo>
                  <a:pt x="959" y="310"/>
                  <a:pt x="964" y="308"/>
                  <a:pt x="968" y="305"/>
                </a:cubicBezTo>
                <a:cubicBezTo>
                  <a:pt x="973" y="301"/>
                  <a:pt x="979" y="297"/>
                  <a:pt x="985" y="293"/>
                </a:cubicBezTo>
                <a:close/>
                <a:moveTo>
                  <a:pt x="1024" y="116"/>
                </a:moveTo>
                <a:cubicBezTo>
                  <a:pt x="1024" y="116"/>
                  <a:pt x="1025" y="116"/>
                  <a:pt x="1025" y="116"/>
                </a:cubicBezTo>
                <a:cubicBezTo>
                  <a:pt x="1025" y="116"/>
                  <a:pt x="1026" y="116"/>
                  <a:pt x="1026" y="117"/>
                </a:cubicBezTo>
                <a:cubicBezTo>
                  <a:pt x="1026" y="117"/>
                  <a:pt x="1026" y="118"/>
                  <a:pt x="1025" y="118"/>
                </a:cubicBezTo>
                <a:cubicBezTo>
                  <a:pt x="1025" y="118"/>
                  <a:pt x="1024" y="117"/>
                  <a:pt x="1024" y="117"/>
                </a:cubicBezTo>
                <a:cubicBezTo>
                  <a:pt x="1024" y="117"/>
                  <a:pt x="1024" y="117"/>
                  <a:pt x="1024" y="116"/>
                </a:cubicBezTo>
                <a:close/>
                <a:moveTo>
                  <a:pt x="1018" y="119"/>
                </a:moveTo>
                <a:cubicBezTo>
                  <a:pt x="1018" y="119"/>
                  <a:pt x="1019" y="118"/>
                  <a:pt x="1019" y="118"/>
                </a:cubicBezTo>
                <a:cubicBezTo>
                  <a:pt x="1019" y="118"/>
                  <a:pt x="1020" y="118"/>
                  <a:pt x="1020" y="118"/>
                </a:cubicBezTo>
                <a:cubicBezTo>
                  <a:pt x="1021" y="119"/>
                  <a:pt x="1021" y="119"/>
                  <a:pt x="1020" y="120"/>
                </a:cubicBezTo>
                <a:cubicBezTo>
                  <a:pt x="1020" y="120"/>
                  <a:pt x="1019" y="121"/>
                  <a:pt x="1019" y="121"/>
                </a:cubicBezTo>
                <a:cubicBezTo>
                  <a:pt x="1018" y="121"/>
                  <a:pt x="1018" y="120"/>
                  <a:pt x="1018" y="119"/>
                </a:cubicBezTo>
                <a:close/>
                <a:moveTo>
                  <a:pt x="887" y="342"/>
                </a:moveTo>
                <a:cubicBezTo>
                  <a:pt x="887" y="342"/>
                  <a:pt x="887" y="342"/>
                  <a:pt x="886" y="342"/>
                </a:cubicBezTo>
                <a:cubicBezTo>
                  <a:pt x="887" y="341"/>
                  <a:pt x="887" y="341"/>
                  <a:pt x="887" y="341"/>
                </a:cubicBezTo>
                <a:cubicBezTo>
                  <a:pt x="887" y="341"/>
                  <a:pt x="887" y="341"/>
                  <a:pt x="888" y="342"/>
                </a:cubicBezTo>
                <a:cubicBezTo>
                  <a:pt x="887" y="342"/>
                  <a:pt x="887" y="342"/>
                  <a:pt x="887" y="342"/>
                </a:cubicBezTo>
                <a:close/>
                <a:moveTo>
                  <a:pt x="932" y="43"/>
                </a:moveTo>
                <a:cubicBezTo>
                  <a:pt x="932" y="43"/>
                  <a:pt x="932" y="42"/>
                  <a:pt x="932" y="43"/>
                </a:cubicBezTo>
                <a:cubicBezTo>
                  <a:pt x="932" y="43"/>
                  <a:pt x="933" y="43"/>
                  <a:pt x="933" y="43"/>
                </a:cubicBezTo>
                <a:cubicBezTo>
                  <a:pt x="933" y="43"/>
                  <a:pt x="932" y="43"/>
                  <a:pt x="932" y="43"/>
                </a:cubicBezTo>
                <a:close/>
                <a:moveTo>
                  <a:pt x="935" y="46"/>
                </a:moveTo>
                <a:cubicBezTo>
                  <a:pt x="934" y="46"/>
                  <a:pt x="934" y="45"/>
                  <a:pt x="934" y="45"/>
                </a:cubicBezTo>
                <a:cubicBezTo>
                  <a:pt x="934" y="45"/>
                  <a:pt x="934" y="45"/>
                  <a:pt x="934" y="45"/>
                </a:cubicBezTo>
                <a:cubicBezTo>
                  <a:pt x="934" y="44"/>
                  <a:pt x="934" y="44"/>
                  <a:pt x="934" y="44"/>
                </a:cubicBezTo>
                <a:cubicBezTo>
                  <a:pt x="934" y="44"/>
                  <a:pt x="934" y="44"/>
                  <a:pt x="934" y="45"/>
                </a:cubicBezTo>
                <a:cubicBezTo>
                  <a:pt x="934" y="45"/>
                  <a:pt x="934" y="45"/>
                  <a:pt x="934" y="45"/>
                </a:cubicBezTo>
                <a:cubicBezTo>
                  <a:pt x="935" y="45"/>
                  <a:pt x="935" y="45"/>
                  <a:pt x="935" y="46"/>
                </a:cubicBezTo>
                <a:cubicBezTo>
                  <a:pt x="935" y="46"/>
                  <a:pt x="935" y="46"/>
                  <a:pt x="935" y="46"/>
                </a:cubicBezTo>
                <a:close/>
                <a:moveTo>
                  <a:pt x="958" y="280"/>
                </a:moveTo>
                <a:cubicBezTo>
                  <a:pt x="958" y="279"/>
                  <a:pt x="958" y="279"/>
                  <a:pt x="958" y="279"/>
                </a:cubicBezTo>
                <a:cubicBezTo>
                  <a:pt x="958" y="279"/>
                  <a:pt x="958" y="279"/>
                  <a:pt x="958" y="279"/>
                </a:cubicBezTo>
                <a:lnTo>
                  <a:pt x="958" y="280"/>
                </a:lnTo>
                <a:close/>
                <a:moveTo>
                  <a:pt x="960" y="265"/>
                </a:moveTo>
                <a:cubicBezTo>
                  <a:pt x="960" y="265"/>
                  <a:pt x="960" y="265"/>
                  <a:pt x="960" y="265"/>
                </a:cubicBezTo>
                <a:cubicBezTo>
                  <a:pt x="961" y="265"/>
                  <a:pt x="961" y="265"/>
                  <a:pt x="961" y="265"/>
                </a:cubicBezTo>
                <a:cubicBezTo>
                  <a:pt x="961" y="266"/>
                  <a:pt x="961" y="266"/>
                  <a:pt x="961" y="266"/>
                </a:cubicBezTo>
                <a:lnTo>
                  <a:pt x="960" y="265"/>
                </a:lnTo>
                <a:close/>
                <a:moveTo>
                  <a:pt x="808" y="242"/>
                </a:moveTo>
                <a:cubicBezTo>
                  <a:pt x="808" y="242"/>
                  <a:pt x="808" y="242"/>
                  <a:pt x="808" y="242"/>
                </a:cubicBezTo>
                <a:cubicBezTo>
                  <a:pt x="808" y="243"/>
                  <a:pt x="808" y="243"/>
                  <a:pt x="808" y="243"/>
                </a:cubicBezTo>
                <a:cubicBezTo>
                  <a:pt x="808" y="243"/>
                  <a:pt x="808" y="243"/>
                  <a:pt x="808" y="243"/>
                </a:cubicBezTo>
                <a:cubicBezTo>
                  <a:pt x="808" y="243"/>
                  <a:pt x="808" y="242"/>
                  <a:pt x="808" y="242"/>
                </a:cubicBezTo>
                <a:close/>
                <a:moveTo>
                  <a:pt x="1004" y="192"/>
                </a:moveTo>
                <a:cubicBezTo>
                  <a:pt x="1004" y="192"/>
                  <a:pt x="1004" y="192"/>
                  <a:pt x="1004" y="192"/>
                </a:cubicBezTo>
                <a:cubicBezTo>
                  <a:pt x="1004" y="192"/>
                  <a:pt x="1004" y="192"/>
                  <a:pt x="1004" y="191"/>
                </a:cubicBezTo>
                <a:cubicBezTo>
                  <a:pt x="1004" y="192"/>
                  <a:pt x="1004" y="192"/>
                  <a:pt x="1004" y="192"/>
                </a:cubicBezTo>
                <a:cubicBezTo>
                  <a:pt x="1004" y="192"/>
                  <a:pt x="1004" y="192"/>
                  <a:pt x="1004" y="192"/>
                </a:cubicBezTo>
                <a:close/>
                <a:moveTo>
                  <a:pt x="1923" y="1126"/>
                </a:moveTo>
                <a:cubicBezTo>
                  <a:pt x="1923" y="1126"/>
                  <a:pt x="1923" y="1126"/>
                  <a:pt x="1923" y="1126"/>
                </a:cubicBezTo>
                <a:cubicBezTo>
                  <a:pt x="1922" y="1126"/>
                  <a:pt x="1922" y="1126"/>
                  <a:pt x="1922" y="1126"/>
                </a:cubicBezTo>
                <a:cubicBezTo>
                  <a:pt x="1922" y="1126"/>
                  <a:pt x="1922" y="1126"/>
                  <a:pt x="1922" y="1126"/>
                </a:cubicBezTo>
                <a:cubicBezTo>
                  <a:pt x="1922" y="1126"/>
                  <a:pt x="1922" y="1126"/>
                  <a:pt x="1923" y="1126"/>
                </a:cubicBezTo>
                <a:close/>
                <a:moveTo>
                  <a:pt x="2208" y="1121"/>
                </a:moveTo>
                <a:cubicBezTo>
                  <a:pt x="2205" y="1123"/>
                  <a:pt x="2205" y="1123"/>
                  <a:pt x="2204" y="1121"/>
                </a:cubicBezTo>
                <a:cubicBezTo>
                  <a:pt x="2203" y="1120"/>
                  <a:pt x="2203" y="1120"/>
                  <a:pt x="2203" y="1119"/>
                </a:cubicBezTo>
                <a:cubicBezTo>
                  <a:pt x="2201" y="1117"/>
                  <a:pt x="2201" y="1114"/>
                  <a:pt x="2198" y="1112"/>
                </a:cubicBezTo>
                <a:cubicBezTo>
                  <a:pt x="2197" y="1109"/>
                  <a:pt x="2193" y="1106"/>
                  <a:pt x="2194" y="1102"/>
                </a:cubicBezTo>
                <a:cubicBezTo>
                  <a:pt x="2195" y="1100"/>
                  <a:pt x="2193" y="1099"/>
                  <a:pt x="2192" y="1098"/>
                </a:cubicBezTo>
                <a:cubicBezTo>
                  <a:pt x="2190" y="1098"/>
                  <a:pt x="2188" y="1097"/>
                  <a:pt x="2187" y="1096"/>
                </a:cubicBezTo>
                <a:cubicBezTo>
                  <a:pt x="2186" y="1096"/>
                  <a:pt x="2186" y="1095"/>
                  <a:pt x="2186" y="1095"/>
                </a:cubicBezTo>
                <a:cubicBezTo>
                  <a:pt x="2186" y="1092"/>
                  <a:pt x="2185" y="1090"/>
                  <a:pt x="2184" y="1087"/>
                </a:cubicBezTo>
                <a:cubicBezTo>
                  <a:pt x="2183" y="1085"/>
                  <a:pt x="2182" y="1083"/>
                  <a:pt x="2182" y="1081"/>
                </a:cubicBezTo>
                <a:cubicBezTo>
                  <a:pt x="2182" y="1080"/>
                  <a:pt x="2181" y="1079"/>
                  <a:pt x="2181" y="1079"/>
                </a:cubicBezTo>
                <a:cubicBezTo>
                  <a:pt x="2176" y="1076"/>
                  <a:pt x="2173" y="1072"/>
                  <a:pt x="2168" y="1070"/>
                </a:cubicBezTo>
                <a:cubicBezTo>
                  <a:pt x="2167" y="1070"/>
                  <a:pt x="2167" y="1069"/>
                  <a:pt x="2166" y="1068"/>
                </a:cubicBezTo>
                <a:cubicBezTo>
                  <a:pt x="2166" y="1065"/>
                  <a:pt x="2165" y="1063"/>
                  <a:pt x="2165" y="1061"/>
                </a:cubicBezTo>
                <a:cubicBezTo>
                  <a:pt x="2166" y="1057"/>
                  <a:pt x="2165" y="1054"/>
                  <a:pt x="2163" y="1052"/>
                </a:cubicBezTo>
                <a:cubicBezTo>
                  <a:pt x="2162" y="1049"/>
                  <a:pt x="2161" y="1047"/>
                  <a:pt x="2162" y="1044"/>
                </a:cubicBezTo>
                <a:cubicBezTo>
                  <a:pt x="2162" y="1042"/>
                  <a:pt x="2161" y="1040"/>
                  <a:pt x="2161" y="1038"/>
                </a:cubicBezTo>
                <a:cubicBezTo>
                  <a:pt x="2161" y="1035"/>
                  <a:pt x="2160" y="1033"/>
                  <a:pt x="2158" y="1031"/>
                </a:cubicBezTo>
                <a:cubicBezTo>
                  <a:pt x="2157" y="1030"/>
                  <a:pt x="2155" y="1029"/>
                  <a:pt x="2154" y="1030"/>
                </a:cubicBezTo>
                <a:cubicBezTo>
                  <a:pt x="2152" y="1030"/>
                  <a:pt x="2151" y="1029"/>
                  <a:pt x="2151" y="1028"/>
                </a:cubicBezTo>
                <a:cubicBezTo>
                  <a:pt x="2151" y="1027"/>
                  <a:pt x="2150" y="1026"/>
                  <a:pt x="2151" y="1025"/>
                </a:cubicBezTo>
                <a:cubicBezTo>
                  <a:pt x="2151" y="1022"/>
                  <a:pt x="2150" y="1020"/>
                  <a:pt x="2149" y="1017"/>
                </a:cubicBezTo>
                <a:cubicBezTo>
                  <a:pt x="2148" y="1013"/>
                  <a:pt x="2146" y="1009"/>
                  <a:pt x="2145" y="1005"/>
                </a:cubicBezTo>
                <a:cubicBezTo>
                  <a:pt x="2145" y="1005"/>
                  <a:pt x="2144" y="1004"/>
                  <a:pt x="2143" y="1004"/>
                </a:cubicBezTo>
                <a:cubicBezTo>
                  <a:pt x="2143" y="1003"/>
                  <a:pt x="2142" y="1004"/>
                  <a:pt x="2142" y="1004"/>
                </a:cubicBezTo>
                <a:cubicBezTo>
                  <a:pt x="2141" y="1004"/>
                  <a:pt x="2141" y="1005"/>
                  <a:pt x="2141" y="1005"/>
                </a:cubicBezTo>
                <a:cubicBezTo>
                  <a:pt x="2140" y="1008"/>
                  <a:pt x="2139" y="1010"/>
                  <a:pt x="2138" y="1013"/>
                </a:cubicBezTo>
                <a:cubicBezTo>
                  <a:pt x="2137" y="1015"/>
                  <a:pt x="2137" y="1018"/>
                  <a:pt x="2136" y="1020"/>
                </a:cubicBezTo>
                <a:cubicBezTo>
                  <a:pt x="2135" y="1025"/>
                  <a:pt x="2134" y="1029"/>
                  <a:pt x="2134" y="1033"/>
                </a:cubicBezTo>
                <a:cubicBezTo>
                  <a:pt x="2134" y="1035"/>
                  <a:pt x="2134" y="1036"/>
                  <a:pt x="2134" y="1037"/>
                </a:cubicBezTo>
                <a:cubicBezTo>
                  <a:pt x="2133" y="1041"/>
                  <a:pt x="2132" y="1044"/>
                  <a:pt x="2131" y="1048"/>
                </a:cubicBezTo>
                <a:cubicBezTo>
                  <a:pt x="2130" y="1050"/>
                  <a:pt x="2129" y="1052"/>
                  <a:pt x="2128" y="1054"/>
                </a:cubicBezTo>
                <a:cubicBezTo>
                  <a:pt x="2128" y="1056"/>
                  <a:pt x="2126" y="1057"/>
                  <a:pt x="2124" y="1057"/>
                </a:cubicBezTo>
                <a:cubicBezTo>
                  <a:pt x="2122" y="1058"/>
                  <a:pt x="2119" y="1057"/>
                  <a:pt x="2117" y="1055"/>
                </a:cubicBezTo>
                <a:cubicBezTo>
                  <a:pt x="2116" y="1054"/>
                  <a:pt x="2115" y="1052"/>
                  <a:pt x="2115" y="1050"/>
                </a:cubicBezTo>
                <a:cubicBezTo>
                  <a:pt x="2114" y="1050"/>
                  <a:pt x="2114" y="1050"/>
                  <a:pt x="2113" y="1050"/>
                </a:cubicBezTo>
                <a:cubicBezTo>
                  <a:pt x="2111" y="1050"/>
                  <a:pt x="2109" y="1050"/>
                  <a:pt x="2107" y="1048"/>
                </a:cubicBezTo>
                <a:cubicBezTo>
                  <a:pt x="2105" y="1045"/>
                  <a:pt x="2103" y="1044"/>
                  <a:pt x="2100" y="1043"/>
                </a:cubicBezTo>
                <a:cubicBezTo>
                  <a:pt x="2098" y="1042"/>
                  <a:pt x="2097" y="1041"/>
                  <a:pt x="2096" y="1040"/>
                </a:cubicBezTo>
                <a:cubicBezTo>
                  <a:pt x="2095" y="1038"/>
                  <a:pt x="2094" y="1037"/>
                  <a:pt x="2093" y="1036"/>
                </a:cubicBezTo>
                <a:cubicBezTo>
                  <a:pt x="2092" y="1035"/>
                  <a:pt x="2091" y="1034"/>
                  <a:pt x="2092" y="1033"/>
                </a:cubicBezTo>
                <a:cubicBezTo>
                  <a:pt x="2093" y="1030"/>
                  <a:pt x="2095" y="1027"/>
                  <a:pt x="2095" y="1024"/>
                </a:cubicBezTo>
                <a:cubicBezTo>
                  <a:pt x="2095" y="1024"/>
                  <a:pt x="2096" y="1023"/>
                  <a:pt x="2096" y="1023"/>
                </a:cubicBezTo>
                <a:cubicBezTo>
                  <a:pt x="2097" y="1022"/>
                  <a:pt x="2098" y="1022"/>
                  <a:pt x="2099" y="1021"/>
                </a:cubicBezTo>
                <a:cubicBezTo>
                  <a:pt x="2100" y="1019"/>
                  <a:pt x="2101" y="1017"/>
                  <a:pt x="2102" y="1014"/>
                </a:cubicBezTo>
                <a:cubicBezTo>
                  <a:pt x="2102" y="1014"/>
                  <a:pt x="2102" y="1013"/>
                  <a:pt x="2102" y="1013"/>
                </a:cubicBezTo>
                <a:cubicBezTo>
                  <a:pt x="2100" y="1012"/>
                  <a:pt x="2099" y="1011"/>
                  <a:pt x="2098" y="1012"/>
                </a:cubicBezTo>
                <a:cubicBezTo>
                  <a:pt x="2096" y="1013"/>
                  <a:pt x="2095" y="1013"/>
                  <a:pt x="2094" y="1012"/>
                </a:cubicBezTo>
                <a:cubicBezTo>
                  <a:pt x="2093" y="1011"/>
                  <a:pt x="2092" y="1012"/>
                  <a:pt x="2091" y="1012"/>
                </a:cubicBezTo>
                <a:cubicBezTo>
                  <a:pt x="2090" y="1012"/>
                  <a:pt x="2089" y="1013"/>
                  <a:pt x="2089" y="1013"/>
                </a:cubicBezTo>
                <a:cubicBezTo>
                  <a:pt x="2084" y="1011"/>
                  <a:pt x="2080" y="1010"/>
                  <a:pt x="2076" y="1008"/>
                </a:cubicBezTo>
                <a:cubicBezTo>
                  <a:pt x="2074" y="1007"/>
                  <a:pt x="2071" y="1006"/>
                  <a:pt x="2069" y="1005"/>
                </a:cubicBezTo>
                <a:cubicBezTo>
                  <a:pt x="2069" y="1005"/>
                  <a:pt x="2068" y="1005"/>
                  <a:pt x="2068" y="1005"/>
                </a:cubicBezTo>
                <a:cubicBezTo>
                  <a:pt x="2067" y="1006"/>
                  <a:pt x="2067" y="1006"/>
                  <a:pt x="2067" y="1006"/>
                </a:cubicBezTo>
                <a:cubicBezTo>
                  <a:pt x="2067" y="1006"/>
                  <a:pt x="2067" y="1007"/>
                  <a:pt x="2067" y="1007"/>
                </a:cubicBezTo>
                <a:cubicBezTo>
                  <a:pt x="2068" y="1008"/>
                  <a:pt x="2069" y="1008"/>
                  <a:pt x="2069" y="1009"/>
                </a:cubicBezTo>
                <a:cubicBezTo>
                  <a:pt x="2070" y="1010"/>
                  <a:pt x="2070" y="1011"/>
                  <a:pt x="2069" y="1012"/>
                </a:cubicBezTo>
                <a:cubicBezTo>
                  <a:pt x="2067" y="1013"/>
                  <a:pt x="2065" y="1013"/>
                  <a:pt x="2063" y="1013"/>
                </a:cubicBezTo>
                <a:cubicBezTo>
                  <a:pt x="2062" y="1013"/>
                  <a:pt x="2060" y="1013"/>
                  <a:pt x="2060" y="1014"/>
                </a:cubicBezTo>
                <a:cubicBezTo>
                  <a:pt x="2057" y="1015"/>
                  <a:pt x="2055" y="1016"/>
                  <a:pt x="2053" y="1018"/>
                </a:cubicBezTo>
                <a:cubicBezTo>
                  <a:pt x="2051" y="1021"/>
                  <a:pt x="2049" y="1024"/>
                  <a:pt x="2047" y="1027"/>
                </a:cubicBezTo>
                <a:cubicBezTo>
                  <a:pt x="2045" y="1029"/>
                  <a:pt x="2045" y="1030"/>
                  <a:pt x="2046" y="1032"/>
                </a:cubicBezTo>
                <a:cubicBezTo>
                  <a:pt x="2046" y="1033"/>
                  <a:pt x="2045" y="1034"/>
                  <a:pt x="2044" y="1034"/>
                </a:cubicBezTo>
                <a:cubicBezTo>
                  <a:pt x="2042" y="1034"/>
                  <a:pt x="2041" y="1033"/>
                  <a:pt x="2039" y="1034"/>
                </a:cubicBezTo>
                <a:cubicBezTo>
                  <a:pt x="2038" y="1034"/>
                  <a:pt x="2037" y="1034"/>
                  <a:pt x="2036" y="1033"/>
                </a:cubicBezTo>
                <a:cubicBezTo>
                  <a:pt x="2035" y="1031"/>
                  <a:pt x="2033" y="1029"/>
                  <a:pt x="2032" y="1028"/>
                </a:cubicBezTo>
                <a:cubicBezTo>
                  <a:pt x="2031" y="1026"/>
                  <a:pt x="2029" y="1026"/>
                  <a:pt x="2027" y="1026"/>
                </a:cubicBezTo>
                <a:cubicBezTo>
                  <a:pt x="2026" y="1027"/>
                  <a:pt x="2023" y="1027"/>
                  <a:pt x="2022" y="1029"/>
                </a:cubicBezTo>
                <a:cubicBezTo>
                  <a:pt x="2020" y="1030"/>
                  <a:pt x="2019" y="1030"/>
                  <a:pt x="2017" y="1031"/>
                </a:cubicBezTo>
                <a:cubicBezTo>
                  <a:pt x="2015" y="1031"/>
                  <a:pt x="2015" y="1034"/>
                  <a:pt x="2014" y="1035"/>
                </a:cubicBezTo>
                <a:cubicBezTo>
                  <a:pt x="2013" y="1036"/>
                  <a:pt x="2012" y="1037"/>
                  <a:pt x="2012" y="1037"/>
                </a:cubicBezTo>
                <a:cubicBezTo>
                  <a:pt x="2009" y="1038"/>
                  <a:pt x="2008" y="1040"/>
                  <a:pt x="2008" y="1042"/>
                </a:cubicBezTo>
                <a:cubicBezTo>
                  <a:pt x="2009" y="1043"/>
                  <a:pt x="2008" y="1043"/>
                  <a:pt x="2008" y="1044"/>
                </a:cubicBezTo>
                <a:cubicBezTo>
                  <a:pt x="2008" y="1045"/>
                  <a:pt x="2007" y="1046"/>
                  <a:pt x="2007" y="1046"/>
                </a:cubicBezTo>
                <a:cubicBezTo>
                  <a:pt x="2006" y="1045"/>
                  <a:pt x="2005" y="1045"/>
                  <a:pt x="2004" y="1045"/>
                </a:cubicBezTo>
                <a:cubicBezTo>
                  <a:pt x="2003" y="1045"/>
                  <a:pt x="2002" y="1047"/>
                  <a:pt x="2002" y="1048"/>
                </a:cubicBezTo>
                <a:cubicBezTo>
                  <a:pt x="2002" y="1049"/>
                  <a:pt x="2002" y="1050"/>
                  <a:pt x="2003" y="1051"/>
                </a:cubicBezTo>
                <a:cubicBezTo>
                  <a:pt x="2003" y="1051"/>
                  <a:pt x="2002" y="1052"/>
                  <a:pt x="2002" y="1052"/>
                </a:cubicBezTo>
                <a:cubicBezTo>
                  <a:pt x="2002" y="1052"/>
                  <a:pt x="2001" y="1052"/>
                  <a:pt x="2001" y="1052"/>
                </a:cubicBezTo>
                <a:cubicBezTo>
                  <a:pt x="2000" y="1051"/>
                  <a:pt x="1999" y="1049"/>
                  <a:pt x="1998" y="1048"/>
                </a:cubicBezTo>
                <a:cubicBezTo>
                  <a:pt x="1998" y="1047"/>
                  <a:pt x="1997" y="1047"/>
                  <a:pt x="1996" y="1048"/>
                </a:cubicBezTo>
                <a:cubicBezTo>
                  <a:pt x="1995" y="1049"/>
                  <a:pt x="1993" y="1050"/>
                  <a:pt x="1992" y="1051"/>
                </a:cubicBezTo>
                <a:cubicBezTo>
                  <a:pt x="1991" y="1052"/>
                  <a:pt x="1991" y="1053"/>
                  <a:pt x="1991" y="1054"/>
                </a:cubicBezTo>
                <a:cubicBezTo>
                  <a:pt x="1991" y="1058"/>
                  <a:pt x="1989" y="1062"/>
                  <a:pt x="1986" y="1064"/>
                </a:cubicBezTo>
                <a:cubicBezTo>
                  <a:pt x="1986" y="1065"/>
                  <a:pt x="1985" y="1066"/>
                  <a:pt x="1985" y="1067"/>
                </a:cubicBezTo>
                <a:cubicBezTo>
                  <a:pt x="1982" y="1071"/>
                  <a:pt x="1979" y="1073"/>
                  <a:pt x="1975" y="1073"/>
                </a:cubicBezTo>
                <a:cubicBezTo>
                  <a:pt x="1973" y="1073"/>
                  <a:pt x="1970" y="1074"/>
                  <a:pt x="1967" y="1074"/>
                </a:cubicBezTo>
                <a:cubicBezTo>
                  <a:pt x="1964" y="1077"/>
                  <a:pt x="1959" y="1076"/>
                  <a:pt x="1955" y="1079"/>
                </a:cubicBezTo>
                <a:cubicBezTo>
                  <a:pt x="1955" y="1079"/>
                  <a:pt x="1954" y="1080"/>
                  <a:pt x="1953" y="1079"/>
                </a:cubicBezTo>
                <a:cubicBezTo>
                  <a:pt x="1950" y="1079"/>
                  <a:pt x="1947" y="1080"/>
                  <a:pt x="1945" y="1081"/>
                </a:cubicBezTo>
                <a:cubicBezTo>
                  <a:pt x="1941" y="1083"/>
                  <a:pt x="1938" y="1085"/>
                  <a:pt x="1935" y="1086"/>
                </a:cubicBezTo>
                <a:cubicBezTo>
                  <a:pt x="1933" y="1087"/>
                  <a:pt x="1932" y="1089"/>
                  <a:pt x="1931" y="1090"/>
                </a:cubicBezTo>
                <a:cubicBezTo>
                  <a:pt x="1930" y="1091"/>
                  <a:pt x="1930" y="1090"/>
                  <a:pt x="1929" y="1090"/>
                </a:cubicBezTo>
                <a:cubicBezTo>
                  <a:pt x="1929" y="1090"/>
                  <a:pt x="1928" y="1090"/>
                  <a:pt x="1928" y="1090"/>
                </a:cubicBezTo>
                <a:cubicBezTo>
                  <a:pt x="1927" y="1091"/>
                  <a:pt x="1926" y="1092"/>
                  <a:pt x="1926" y="1093"/>
                </a:cubicBezTo>
                <a:cubicBezTo>
                  <a:pt x="1926" y="1094"/>
                  <a:pt x="1926" y="1096"/>
                  <a:pt x="1926" y="1097"/>
                </a:cubicBezTo>
                <a:cubicBezTo>
                  <a:pt x="1925" y="1100"/>
                  <a:pt x="1925" y="1102"/>
                  <a:pt x="1924" y="1104"/>
                </a:cubicBezTo>
                <a:cubicBezTo>
                  <a:pt x="1922" y="1106"/>
                  <a:pt x="1922" y="1108"/>
                  <a:pt x="1922" y="1111"/>
                </a:cubicBezTo>
                <a:cubicBezTo>
                  <a:pt x="1922" y="1114"/>
                  <a:pt x="1922" y="1117"/>
                  <a:pt x="1924" y="1120"/>
                </a:cubicBezTo>
                <a:cubicBezTo>
                  <a:pt x="1924" y="1121"/>
                  <a:pt x="1924" y="1122"/>
                  <a:pt x="1925" y="1122"/>
                </a:cubicBezTo>
                <a:cubicBezTo>
                  <a:pt x="1925" y="1123"/>
                  <a:pt x="1924" y="1124"/>
                  <a:pt x="1924" y="1125"/>
                </a:cubicBezTo>
                <a:cubicBezTo>
                  <a:pt x="1923" y="1125"/>
                  <a:pt x="1923" y="1125"/>
                  <a:pt x="1923" y="1126"/>
                </a:cubicBezTo>
                <a:cubicBezTo>
                  <a:pt x="1922" y="1127"/>
                  <a:pt x="1921" y="1128"/>
                  <a:pt x="1921" y="1129"/>
                </a:cubicBezTo>
                <a:cubicBezTo>
                  <a:pt x="1921" y="1129"/>
                  <a:pt x="1921" y="1129"/>
                  <a:pt x="1921" y="1129"/>
                </a:cubicBezTo>
                <a:cubicBezTo>
                  <a:pt x="1921" y="1129"/>
                  <a:pt x="1921" y="1129"/>
                  <a:pt x="1921" y="1129"/>
                </a:cubicBezTo>
                <a:cubicBezTo>
                  <a:pt x="1921" y="1129"/>
                  <a:pt x="1921" y="1129"/>
                  <a:pt x="1921" y="1129"/>
                </a:cubicBezTo>
                <a:cubicBezTo>
                  <a:pt x="1921" y="1130"/>
                  <a:pt x="1921" y="1131"/>
                  <a:pt x="1921" y="1132"/>
                </a:cubicBezTo>
                <a:cubicBezTo>
                  <a:pt x="1922" y="1134"/>
                  <a:pt x="1922" y="1136"/>
                  <a:pt x="1922" y="1138"/>
                </a:cubicBezTo>
                <a:cubicBezTo>
                  <a:pt x="1922" y="1141"/>
                  <a:pt x="1923" y="1145"/>
                  <a:pt x="1924" y="1148"/>
                </a:cubicBezTo>
                <a:cubicBezTo>
                  <a:pt x="1925" y="1152"/>
                  <a:pt x="1926" y="1155"/>
                  <a:pt x="1926" y="1159"/>
                </a:cubicBezTo>
                <a:cubicBezTo>
                  <a:pt x="1925" y="1163"/>
                  <a:pt x="1925" y="1168"/>
                  <a:pt x="1927" y="1172"/>
                </a:cubicBezTo>
                <a:cubicBezTo>
                  <a:pt x="1927" y="1173"/>
                  <a:pt x="1927" y="1174"/>
                  <a:pt x="1927" y="1176"/>
                </a:cubicBezTo>
                <a:cubicBezTo>
                  <a:pt x="1927" y="1178"/>
                  <a:pt x="1926" y="1180"/>
                  <a:pt x="1926" y="1182"/>
                </a:cubicBezTo>
                <a:cubicBezTo>
                  <a:pt x="1925" y="1186"/>
                  <a:pt x="1923" y="1188"/>
                  <a:pt x="1921" y="1190"/>
                </a:cubicBezTo>
                <a:cubicBezTo>
                  <a:pt x="1918" y="1192"/>
                  <a:pt x="1918" y="1195"/>
                  <a:pt x="1920" y="1197"/>
                </a:cubicBezTo>
                <a:cubicBezTo>
                  <a:pt x="1921" y="1199"/>
                  <a:pt x="1923" y="1200"/>
                  <a:pt x="1924" y="1201"/>
                </a:cubicBezTo>
                <a:cubicBezTo>
                  <a:pt x="1926" y="1203"/>
                  <a:pt x="1928" y="1204"/>
                  <a:pt x="1931" y="1205"/>
                </a:cubicBezTo>
                <a:cubicBezTo>
                  <a:pt x="1933" y="1205"/>
                  <a:pt x="1935" y="1205"/>
                  <a:pt x="1937" y="1205"/>
                </a:cubicBezTo>
                <a:cubicBezTo>
                  <a:pt x="1938" y="1205"/>
                  <a:pt x="1939" y="1205"/>
                  <a:pt x="1940" y="1204"/>
                </a:cubicBezTo>
                <a:cubicBezTo>
                  <a:pt x="1944" y="1201"/>
                  <a:pt x="1950" y="1201"/>
                  <a:pt x="1953" y="1197"/>
                </a:cubicBezTo>
                <a:cubicBezTo>
                  <a:pt x="1953" y="1197"/>
                  <a:pt x="1954" y="1196"/>
                  <a:pt x="1954" y="1196"/>
                </a:cubicBezTo>
                <a:cubicBezTo>
                  <a:pt x="1958" y="1196"/>
                  <a:pt x="1962" y="1195"/>
                  <a:pt x="1967" y="1195"/>
                </a:cubicBezTo>
                <a:cubicBezTo>
                  <a:pt x="1970" y="1196"/>
                  <a:pt x="1974" y="1196"/>
                  <a:pt x="1977" y="1196"/>
                </a:cubicBezTo>
                <a:cubicBezTo>
                  <a:pt x="1979" y="1196"/>
                  <a:pt x="1980" y="1195"/>
                  <a:pt x="1982" y="1194"/>
                </a:cubicBezTo>
                <a:cubicBezTo>
                  <a:pt x="1985" y="1190"/>
                  <a:pt x="1988" y="1188"/>
                  <a:pt x="1993" y="1186"/>
                </a:cubicBezTo>
                <a:cubicBezTo>
                  <a:pt x="1995" y="1185"/>
                  <a:pt x="1996" y="1184"/>
                  <a:pt x="1997" y="1183"/>
                </a:cubicBezTo>
                <a:cubicBezTo>
                  <a:pt x="1999" y="1182"/>
                  <a:pt x="2001" y="1182"/>
                  <a:pt x="2003" y="1182"/>
                </a:cubicBezTo>
                <a:cubicBezTo>
                  <a:pt x="2008" y="1183"/>
                  <a:pt x="2013" y="1182"/>
                  <a:pt x="2018" y="1179"/>
                </a:cubicBezTo>
                <a:cubicBezTo>
                  <a:pt x="2022" y="1177"/>
                  <a:pt x="2026" y="1177"/>
                  <a:pt x="2030" y="1177"/>
                </a:cubicBezTo>
                <a:cubicBezTo>
                  <a:pt x="2033" y="1177"/>
                  <a:pt x="2036" y="1177"/>
                  <a:pt x="2039" y="1177"/>
                </a:cubicBezTo>
                <a:cubicBezTo>
                  <a:pt x="2040" y="1177"/>
                  <a:pt x="2042" y="1178"/>
                  <a:pt x="2043" y="1179"/>
                </a:cubicBezTo>
                <a:cubicBezTo>
                  <a:pt x="2044" y="1181"/>
                  <a:pt x="2046" y="1181"/>
                  <a:pt x="2049" y="1182"/>
                </a:cubicBezTo>
                <a:cubicBezTo>
                  <a:pt x="2051" y="1182"/>
                  <a:pt x="2053" y="1184"/>
                  <a:pt x="2056" y="1185"/>
                </a:cubicBezTo>
                <a:cubicBezTo>
                  <a:pt x="2057" y="1185"/>
                  <a:pt x="2058" y="1187"/>
                  <a:pt x="2058" y="1188"/>
                </a:cubicBezTo>
                <a:cubicBezTo>
                  <a:pt x="2058" y="1190"/>
                  <a:pt x="2058" y="1192"/>
                  <a:pt x="2060" y="1193"/>
                </a:cubicBezTo>
                <a:cubicBezTo>
                  <a:pt x="2061" y="1194"/>
                  <a:pt x="2062" y="1196"/>
                  <a:pt x="2062" y="1198"/>
                </a:cubicBezTo>
                <a:cubicBezTo>
                  <a:pt x="2062" y="1200"/>
                  <a:pt x="2063" y="1202"/>
                  <a:pt x="2063" y="1204"/>
                </a:cubicBezTo>
                <a:cubicBezTo>
                  <a:pt x="2063" y="1205"/>
                  <a:pt x="2063" y="1206"/>
                  <a:pt x="2063" y="1207"/>
                </a:cubicBezTo>
                <a:cubicBezTo>
                  <a:pt x="2063" y="1207"/>
                  <a:pt x="2063" y="1208"/>
                  <a:pt x="2063" y="1208"/>
                </a:cubicBezTo>
                <a:cubicBezTo>
                  <a:pt x="2064" y="1208"/>
                  <a:pt x="2064" y="1209"/>
                  <a:pt x="2065" y="1209"/>
                </a:cubicBezTo>
                <a:cubicBezTo>
                  <a:pt x="2065" y="1210"/>
                  <a:pt x="2066" y="1209"/>
                  <a:pt x="2067" y="1209"/>
                </a:cubicBezTo>
                <a:cubicBezTo>
                  <a:pt x="2069" y="1207"/>
                  <a:pt x="2071" y="1204"/>
                  <a:pt x="2074" y="1201"/>
                </a:cubicBezTo>
                <a:cubicBezTo>
                  <a:pt x="2075" y="1200"/>
                  <a:pt x="2077" y="1199"/>
                  <a:pt x="2078" y="1198"/>
                </a:cubicBezTo>
                <a:cubicBezTo>
                  <a:pt x="2079" y="1197"/>
                  <a:pt x="2081" y="1195"/>
                  <a:pt x="2082" y="1194"/>
                </a:cubicBezTo>
                <a:cubicBezTo>
                  <a:pt x="2082" y="1194"/>
                  <a:pt x="2082" y="1194"/>
                  <a:pt x="2083" y="1194"/>
                </a:cubicBezTo>
                <a:cubicBezTo>
                  <a:pt x="2083" y="1194"/>
                  <a:pt x="2083" y="1194"/>
                  <a:pt x="2083" y="1194"/>
                </a:cubicBezTo>
                <a:cubicBezTo>
                  <a:pt x="2083" y="1196"/>
                  <a:pt x="2083" y="1197"/>
                  <a:pt x="2083" y="1198"/>
                </a:cubicBezTo>
                <a:cubicBezTo>
                  <a:pt x="2080" y="1200"/>
                  <a:pt x="2079" y="1202"/>
                  <a:pt x="2078" y="1205"/>
                </a:cubicBezTo>
                <a:cubicBezTo>
                  <a:pt x="2078" y="1208"/>
                  <a:pt x="2076" y="1210"/>
                  <a:pt x="2074" y="1211"/>
                </a:cubicBezTo>
                <a:cubicBezTo>
                  <a:pt x="2073" y="1211"/>
                  <a:pt x="2073" y="1212"/>
                  <a:pt x="2073" y="1213"/>
                </a:cubicBezTo>
                <a:cubicBezTo>
                  <a:pt x="2073" y="1213"/>
                  <a:pt x="2073" y="1214"/>
                  <a:pt x="2073" y="1214"/>
                </a:cubicBezTo>
                <a:cubicBezTo>
                  <a:pt x="2074" y="1214"/>
                  <a:pt x="2075" y="1214"/>
                  <a:pt x="2076" y="1214"/>
                </a:cubicBezTo>
                <a:cubicBezTo>
                  <a:pt x="2078" y="1214"/>
                  <a:pt x="2080" y="1213"/>
                  <a:pt x="2081" y="1210"/>
                </a:cubicBezTo>
                <a:cubicBezTo>
                  <a:pt x="2082" y="1210"/>
                  <a:pt x="2082" y="1209"/>
                  <a:pt x="2082" y="1209"/>
                </a:cubicBezTo>
                <a:cubicBezTo>
                  <a:pt x="2082" y="1209"/>
                  <a:pt x="2083" y="1208"/>
                  <a:pt x="2083" y="1208"/>
                </a:cubicBezTo>
                <a:cubicBezTo>
                  <a:pt x="2083" y="1209"/>
                  <a:pt x="2084" y="1209"/>
                  <a:pt x="2084" y="1209"/>
                </a:cubicBezTo>
                <a:cubicBezTo>
                  <a:pt x="2084" y="1212"/>
                  <a:pt x="2084" y="1215"/>
                  <a:pt x="2082" y="1217"/>
                </a:cubicBezTo>
                <a:cubicBezTo>
                  <a:pt x="2081" y="1218"/>
                  <a:pt x="2082" y="1219"/>
                  <a:pt x="2083" y="1219"/>
                </a:cubicBezTo>
                <a:cubicBezTo>
                  <a:pt x="2084" y="1219"/>
                  <a:pt x="2086" y="1219"/>
                  <a:pt x="2087" y="1219"/>
                </a:cubicBezTo>
                <a:cubicBezTo>
                  <a:pt x="2087" y="1219"/>
                  <a:pt x="2087" y="1219"/>
                  <a:pt x="2087" y="1219"/>
                </a:cubicBezTo>
                <a:cubicBezTo>
                  <a:pt x="2087" y="1218"/>
                  <a:pt x="2087" y="1218"/>
                  <a:pt x="2087" y="1218"/>
                </a:cubicBezTo>
                <a:cubicBezTo>
                  <a:pt x="2087" y="1219"/>
                  <a:pt x="2087" y="1219"/>
                  <a:pt x="2087" y="1219"/>
                </a:cubicBezTo>
                <a:cubicBezTo>
                  <a:pt x="2087" y="1219"/>
                  <a:pt x="2087" y="1219"/>
                  <a:pt x="2087" y="1219"/>
                </a:cubicBezTo>
                <a:cubicBezTo>
                  <a:pt x="2087" y="1219"/>
                  <a:pt x="2087" y="1219"/>
                  <a:pt x="2087" y="1220"/>
                </a:cubicBezTo>
                <a:cubicBezTo>
                  <a:pt x="2089" y="1224"/>
                  <a:pt x="2090" y="1229"/>
                  <a:pt x="2088" y="1234"/>
                </a:cubicBezTo>
                <a:cubicBezTo>
                  <a:pt x="2087" y="1235"/>
                  <a:pt x="2088" y="1236"/>
                  <a:pt x="2088" y="1237"/>
                </a:cubicBezTo>
                <a:cubicBezTo>
                  <a:pt x="2089" y="1239"/>
                  <a:pt x="2090" y="1240"/>
                  <a:pt x="2090" y="1241"/>
                </a:cubicBezTo>
                <a:cubicBezTo>
                  <a:pt x="2092" y="1245"/>
                  <a:pt x="2095" y="1248"/>
                  <a:pt x="2099" y="1249"/>
                </a:cubicBezTo>
                <a:cubicBezTo>
                  <a:pt x="2101" y="1249"/>
                  <a:pt x="2103" y="1251"/>
                  <a:pt x="2105" y="1252"/>
                </a:cubicBezTo>
                <a:cubicBezTo>
                  <a:pt x="2106" y="1253"/>
                  <a:pt x="2107" y="1254"/>
                  <a:pt x="2108" y="1255"/>
                </a:cubicBezTo>
                <a:cubicBezTo>
                  <a:pt x="2109" y="1256"/>
                  <a:pt x="2111" y="1256"/>
                  <a:pt x="2112" y="1255"/>
                </a:cubicBezTo>
                <a:cubicBezTo>
                  <a:pt x="2115" y="1253"/>
                  <a:pt x="2119" y="1252"/>
                  <a:pt x="2121" y="1248"/>
                </a:cubicBezTo>
                <a:cubicBezTo>
                  <a:pt x="2122" y="1247"/>
                  <a:pt x="2122" y="1248"/>
                  <a:pt x="2123" y="1248"/>
                </a:cubicBezTo>
                <a:cubicBezTo>
                  <a:pt x="2123" y="1248"/>
                  <a:pt x="2123" y="1249"/>
                  <a:pt x="2123" y="1249"/>
                </a:cubicBezTo>
                <a:cubicBezTo>
                  <a:pt x="2123" y="1250"/>
                  <a:pt x="2122" y="1251"/>
                  <a:pt x="2122" y="1251"/>
                </a:cubicBezTo>
                <a:cubicBezTo>
                  <a:pt x="2124" y="1254"/>
                  <a:pt x="2126" y="1257"/>
                  <a:pt x="2128" y="1259"/>
                </a:cubicBezTo>
                <a:cubicBezTo>
                  <a:pt x="2129" y="1260"/>
                  <a:pt x="2130" y="1260"/>
                  <a:pt x="2130" y="1260"/>
                </a:cubicBezTo>
                <a:cubicBezTo>
                  <a:pt x="2133" y="1257"/>
                  <a:pt x="2137" y="1255"/>
                  <a:pt x="2140" y="1252"/>
                </a:cubicBezTo>
                <a:cubicBezTo>
                  <a:pt x="2143" y="1250"/>
                  <a:pt x="2147" y="1248"/>
                  <a:pt x="2151" y="1248"/>
                </a:cubicBezTo>
                <a:cubicBezTo>
                  <a:pt x="2152" y="1248"/>
                  <a:pt x="2153" y="1248"/>
                  <a:pt x="2155" y="1248"/>
                </a:cubicBezTo>
                <a:cubicBezTo>
                  <a:pt x="2157" y="1248"/>
                  <a:pt x="2161" y="1245"/>
                  <a:pt x="2161" y="1243"/>
                </a:cubicBezTo>
                <a:cubicBezTo>
                  <a:pt x="2161" y="1239"/>
                  <a:pt x="2163" y="1235"/>
                  <a:pt x="2164" y="1232"/>
                </a:cubicBezTo>
                <a:cubicBezTo>
                  <a:pt x="2165" y="1228"/>
                  <a:pt x="2167" y="1224"/>
                  <a:pt x="2170" y="1221"/>
                </a:cubicBezTo>
                <a:cubicBezTo>
                  <a:pt x="2172" y="1219"/>
                  <a:pt x="2173" y="1217"/>
                  <a:pt x="2174" y="1215"/>
                </a:cubicBezTo>
                <a:cubicBezTo>
                  <a:pt x="2176" y="1212"/>
                  <a:pt x="2177" y="1209"/>
                  <a:pt x="2179" y="1206"/>
                </a:cubicBezTo>
                <a:cubicBezTo>
                  <a:pt x="2181" y="1201"/>
                  <a:pt x="2184" y="1197"/>
                  <a:pt x="2189" y="1194"/>
                </a:cubicBezTo>
                <a:cubicBezTo>
                  <a:pt x="2190" y="1194"/>
                  <a:pt x="2191" y="1193"/>
                  <a:pt x="2191" y="1192"/>
                </a:cubicBezTo>
                <a:cubicBezTo>
                  <a:pt x="2192" y="1188"/>
                  <a:pt x="2196" y="1186"/>
                  <a:pt x="2197" y="1182"/>
                </a:cubicBezTo>
                <a:cubicBezTo>
                  <a:pt x="2198" y="1179"/>
                  <a:pt x="2198" y="1175"/>
                  <a:pt x="2200" y="1171"/>
                </a:cubicBezTo>
                <a:cubicBezTo>
                  <a:pt x="2202" y="1167"/>
                  <a:pt x="2202" y="1162"/>
                  <a:pt x="2205" y="1158"/>
                </a:cubicBezTo>
                <a:cubicBezTo>
                  <a:pt x="2206" y="1157"/>
                  <a:pt x="2206" y="1156"/>
                  <a:pt x="2206" y="1154"/>
                </a:cubicBezTo>
                <a:cubicBezTo>
                  <a:pt x="2207" y="1151"/>
                  <a:pt x="2207" y="1149"/>
                  <a:pt x="2206" y="1146"/>
                </a:cubicBezTo>
                <a:cubicBezTo>
                  <a:pt x="2205" y="1144"/>
                  <a:pt x="2205" y="1142"/>
                  <a:pt x="2206" y="1140"/>
                </a:cubicBezTo>
                <a:cubicBezTo>
                  <a:pt x="2206" y="1138"/>
                  <a:pt x="2206" y="1137"/>
                  <a:pt x="2206" y="1135"/>
                </a:cubicBezTo>
                <a:cubicBezTo>
                  <a:pt x="2206" y="1131"/>
                  <a:pt x="2207" y="1127"/>
                  <a:pt x="2209" y="1124"/>
                </a:cubicBezTo>
                <a:cubicBezTo>
                  <a:pt x="2209" y="1123"/>
                  <a:pt x="2209" y="1122"/>
                  <a:pt x="2209" y="1122"/>
                </a:cubicBezTo>
                <a:cubicBezTo>
                  <a:pt x="2209" y="1122"/>
                  <a:pt x="2209" y="1121"/>
                  <a:pt x="2209" y="1121"/>
                </a:cubicBezTo>
                <a:cubicBezTo>
                  <a:pt x="2208" y="1121"/>
                  <a:pt x="2208" y="1121"/>
                  <a:pt x="2208" y="1121"/>
                </a:cubicBezTo>
                <a:close/>
                <a:moveTo>
                  <a:pt x="705" y="90"/>
                </a:moveTo>
                <a:cubicBezTo>
                  <a:pt x="705" y="90"/>
                  <a:pt x="705" y="90"/>
                  <a:pt x="705" y="90"/>
                </a:cubicBezTo>
                <a:cubicBezTo>
                  <a:pt x="705" y="90"/>
                  <a:pt x="705" y="90"/>
                  <a:pt x="705" y="90"/>
                </a:cubicBezTo>
                <a:cubicBezTo>
                  <a:pt x="705" y="90"/>
                  <a:pt x="704" y="90"/>
                  <a:pt x="704" y="90"/>
                </a:cubicBezTo>
                <a:cubicBezTo>
                  <a:pt x="704" y="90"/>
                  <a:pt x="704" y="90"/>
                  <a:pt x="705" y="90"/>
                </a:cubicBezTo>
                <a:close/>
                <a:moveTo>
                  <a:pt x="713" y="64"/>
                </a:moveTo>
                <a:cubicBezTo>
                  <a:pt x="713" y="64"/>
                  <a:pt x="713" y="64"/>
                  <a:pt x="713" y="64"/>
                </a:cubicBezTo>
                <a:cubicBezTo>
                  <a:pt x="713" y="64"/>
                  <a:pt x="713" y="64"/>
                  <a:pt x="713" y="64"/>
                </a:cubicBezTo>
                <a:cubicBezTo>
                  <a:pt x="713" y="64"/>
                  <a:pt x="713" y="64"/>
                  <a:pt x="713" y="64"/>
                </a:cubicBezTo>
                <a:cubicBezTo>
                  <a:pt x="713" y="64"/>
                  <a:pt x="713" y="64"/>
                  <a:pt x="713" y="64"/>
                </a:cubicBezTo>
                <a:close/>
                <a:moveTo>
                  <a:pt x="714" y="67"/>
                </a:moveTo>
                <a:cubicBezTo>
                  <a:pt x="713" y="69"/>
                  <a:pt x="713" y="70"/>
                  <a:pt x="714" y="72"/>
                </a:cubicBezTo>
                <a:cubicBezTo>
                  <a:pt x="714" y="74"/>
                  <a:pt x="715" y="76"/>
                  <a:pt x="714" y="79"/>
                </a:cubicBezTo>
                <a:cubicBezTo>
                  <a:pt x="713" y="80"/>
                  <a:pt x="713" y="83"/>
                  <a:pt x="713" y="84"/>
                </a:cubicBezTo>
                <a:cubicBezTo>
                  <a:pt x="712" y="85"/>
                  <a:pt x="712" y="85"/>
                  <a:pt x="711" y="86"/>
                </a:cubicBezTo>
                <a:cubicBezTo>
                  <a:pt x="709" y="86"/>
                  <a:pt x="710" y="88"/>
                  <a:pt x="710" y="90"/>
                </a:cubicBezTo>
                <a:cubicBezTo>
                  <a:pt x="710" y="90"/>
                  <a:pt x="710" y="90"/>
                  <a:pt x="710" y="90"/>
                </a:cubicBezTo>
                <a:cubicBezTo>
                  <a:pt x="711" y="91"/>
                  <a:pt x="711" y="91"/>
                  <a:pt x="712" y="92"/>
                </a:cubicBezTo>
                <a:cubicBezTo>
                  <a:pt x="712" y="92"/>
                  <a:pt x="712" y="92"/>
                  <a:pt x="713" y="92"/>
                </a:cubicBezTo>
                <a:cubicBezTo>
                  <a:pt x="713" y="93"/>
                  <a:pt x="714" y="93"/>
                  <a:pt x="715" y="93"/>
                </a:cubicBezTo>
                <a:cubicBezTo>
                  <a:pt x="715" y="93"/>
                  <a:pt x="715" y="93"/>
                  <a:pt x="716" y="93"/>
                </a:cubicBezTo>
                <a:cubicBezTo>
                  <a:pt x="716" y="93"/>
                  <a:pt x="716" y="94"/>
                  <a:pt x="715" y="94"/>
                </a:cubicBezTo>
                <a:cubicBezTo>
                  <a:pt x="716" y="94"/>
                  <a:pt x="716" y="94"/>
                  <a:pt x="717" y="94"/>
                </a:cubicBezTo>
                <a:cubicBezTo>
                  <a:pt x="717" y="94"/>
                  <a:pt x="717" y="95"/>
                  <a:pt x="717" y="95"/>
                </a:cubicBezTo>
                <a:cubicBezTo>
                  <a:pt x="717" y="95"/>
                  <a:pt x="717" y="95"/>
                  <a:pt x="717" y="95"/>
                </a:cubicBezTo>
                <a:cubicBezTo>
                  <a:pt x="716" y="96"/>
                  <a:pt x="716" y="96"/>
                  <a:pt x="716" y="95"/>
                </a:cubicBezTo>
                <a:cubicBezTo>
                  <a:pt x="715" y="95"/>
                  <a:pt x="715" y="94"/>
                  <a:pt x="715" y="94"/>
                </a:cubicBezTo>
                <a:cubicBezTo>
                  <a:pt x="715" y="94"/>
                  <a:pt x="715" y="94"/>
                  <a:pt x="715" y="94"/>
                </a:cubicBezTo>
                <a:cubicBezTo>
                  <a:pt x="715" y="93"/>
                  <a:pt x="715" y="93"/>
                  <a:pt x="715" y="93"/>
                </a:cubicBezTo>
                <a:cubicBezTo>
                  <a:pt x="714" y="93"/>
                  <a:pt x="713" y="93"/>
                  <a:pt x="713" y="92"/>
                </a:cubicBezTo>
                <a:cubicBezTo>
                  <a:pt x="712" y="92"/>
                  <a:pt x="712" y="92"/>
                  <a:pt x="712" y="92"/>
                </a:cubicBezTo>
                <a:cubicBezTo>
                  <a:pt x="711" y="91"/>
                  <a:pt x="710" y="91"/>
                  <a:pt x="710" y="90"/>
                </a:cubicBezTo>
                <a:cubicBezTo>
                  <a:pt x="710" y="90"/>
                  <a:pt x="710" y="90"/>
                  <a:pt x="710" y="90"/>
                </a:cubicBezTo>
                <a:cubicBezTo>
                  <a:pt x="708" y="90"/>
                  <a:pt x="706" y="90"/>
                  <a:pt x="705" y="90"/>
                </a:cubicBezTo>
                <a:cubicBezTo>
                  <a:pt x="704" y="91"/>
                  <a:pt x="703" y="91"/>
                  <a:pt x="702" y="91"/>
                </a:cubicBezTo>
                <a:cubicBezTo>
                  <a:pt x="700" y="91"/>
                  <a:pt x="698" y="92"/>
                  <a:pt x="696" y="92"/>
                </a:cubicBezTo>
                <a:cubicBezTo>
                  <a:pt x="695" y="95"/>
                  <a:pt x="693" y="97"/>
                  <a:pt x="691" y="99"/>
                </a:cubicBezTo>
                <a:cubicBezTo>
                  <a:pt x="689" y="100"/>
                  <a:pt x="688" y="102"/>
                  <a:pt x="688" y="104"/>
                </a:cubicBezTo>
                <a:cubicBezTo>
                  <a:pt x="688" y="105"/>
                  <a:pt x="688" y="107"/>
                  <a:pt x="690" y="107"/>
                </a:cubicBezTo>
                <a:cubicBezTo>
                  <a:pt x="690" y="107"/>
                  <a:pt x="691" y="107"/>
                  <a:pt x="691" y="107"/>
                </a:cubicBezTo>
                <a:cubicBezTo>
                  <a:pt x="694" y="107"/>
                  <a:pt x="695" y="108"/>
                  <a:pt x="695" y="111"/>
                </a:cubicBezTo>
                <a:cubicBezTo>
                  <a:pt x="695" y="112"/>
                  <a:pt x="695" y="113"/>
                  <a:pt x="695" y="114"/>
                </a:cubicBezTo>
                <a:cubicBezTo>
                  <a:pt x="695" y="116"/>
                  <a:pt x="694" y="117"/>
                  <a:pt x="693" y="118"/>
                </a:cubicBezTo>
                <a:cubicBezTo>
                  <a:pt x="693" y="118"/>
                  <a:pt x="693" y="118"/>
                  <a:pt x="692" y="118"/>
                </a:cubicBezTo>
                <a:cubicBezTo>
                  <a:pt x="692" y="118"/>
                  <a:pt x="692" y="118"/>
                  <a:pt x="692" y="118"/>
                </a:cubicBezTo>
                <a:cubicBezTo>
                  <a:pt x="691" y="116"/>
                  <a:pt x="691" y="114"/>
                  <a:pt x="690" y="112"/>
                </a:cubicBezTo>
                <a:cubicBezTo>
                  <a:pt x="690" y="111"/>
                  <a:pt x="689" y="110"/>
                  <a:pt x="688" y="110"/>
                </a:cubicBezTo>
                <a:cubicBezTo>
                  <a:pt x="686" y="109"/>
                  <a:pt x="684" y="109"/>
                  <a:pt x="682" y="110"/>
                </a:cubicBezTo>
                <a:cubicBezTo>
                  <a:pt x="682" y="110"/>
                  <a:pt x="681" y="110"/>
                  <a:pt x="681" y="111"/>
                </a:cubicBezTo>
                <a:cubicBezTo>
                  <a:pt x="681" y="112"/>
                  <a:pt x="680" y="112"/>
                  <a:pt x="680" y="113"/>
                </a:cubicBezTo>
                <a:cubicBezTo>
                  <a:pt x="680" y="117"/>
                  <a:pt x="681" y="120"/>
                  <a:pt x="682" y="123"/>
                </a:cubicBezTo>
                <a:cubicBezTo>
                  <a:pt x="682" y="123"/>
                  <a:pt x="682" y="123"/>
                  <a:pt x="682" y="123"/>
                </a:cubicBezTo>
                <a:cubicBezTo>
                  <a:pt x="682" y="123"/>
                  <a:pt x="682" y="123"/>
                  <a:pt x="682" y="123"/>
                </a:cubicBezTo>
                <a:cubicBezTo>
                  <a:pt x="682" y="123"/>
                  <a:pt x="682" y="123"/>
                  <a:pt x="682" y="123"/>
                </a:cubicBezTo>
                <a:cubicBezTo>
                  <a:pt x="681" y="123"/>
                  <a:pt x="680" y="124"/>
                  <a:pt x="679" y="123"/>
                </a:cubicBezTo>
                <a:cubicBezTo>
                  <a:pt x="674" y="122"/>
                  <a:pt x="670" y="124"/>
                  <a:pt x="665" y="127"/>
                </a:cubicBezTo>
                <a:cubicBezTo>
                  <a:pt x="665" y="127"/>
                  <a:pt x="665" y="127"/>
                  <a:pt x="664" y="127"/>
                </a:cubicBezTo>
                <a:cubicBezTo>
                  <a:pt x="664" y="127"/>
                  <a:pt x="663" y="128"/>
                  <a:pt x="662" y="129"/>
                </a:cubicBezTo>
                <a:cubicBezTo>
                  <a:pt x="661" y="130"/>
                  <a:pt x="661" y="128"/>
                  <a:pt x="660" y="128"/>
                </a:cubicBezTo>
                <a:cubicBezTo>
                  <a:pt x="659" y="127"/>
                  <a:pt x="658" y="127"/>
                  <a:pt x="657" y="128"/>
                </a:cubicBezTo>
                <a:cubicBezTo>
                  <a:pt x="657" y="130"/>
                  <a:pt x="657" y="132"/>
                  <a:pt x="658" y="133"/>
                </a:cubicBezTo>
                <a:cubicBezTo>
                  <a:pt x="661" y="136"/>
                  <a:pt x="663" y="138"/>
                  <a:pt x="667" y="139"/>
                </a:cubicBezTo>
                <a:cubicBezTo>
                  <a:pt x="670" y="140"/>
                  <a:pt x="673" y="142"/>
                  <a:pt x="677" y="144"/>
                </a:cubicBezTo>
                <a:cubicBezTo>
                  <a:pt x="678" y="144"/>
                  <a:pt x="678" y="145"/>
                  <a:pt x="679" y="145"/>
                </a:cubicBezTo>
                <a:cubicBezTo>
                  <a:pt x="680" y="146"/>
                  <a:pt x="682" y="146"/>
                  <a:pt x="683" y="144"/>
                </a:cubicBezTo>
                <a:cubicBezTo>
                  <a:pt x="683" y="144"/>
                  <a:pt x="683" y="143"/>
                  <a:pt x="684" y="143"/>
                </a:cubicBezTo>
                <a:cubicBezTo>
                  <a:pt x="684" y="143"/>
                  <a:pt x="684" y="143"/>
                  <a:pt x="684" y="143"/>
                </a:cubicBezTo>
                <a:cubicBezTo>
                  <a:pt x="683" y="142"/>
                  <a:pt x="683" y="142"/>
                  <a:pt x="683" y="142"/>
                </a:cubicBezTo>
                <a:cubicBezTo>
                  <a:pt x="684" y="143"/>
                  <a:pt x="684" y="143"/>
                  <a:pt x="684" y="143"/>
                </a:cubicBezTo>
                <a:cubicBezTo>
                  <a:pt x="684" y="143"/>
                  <a:pt x="684" y="143"/>
                  <a:pt x="684" y="143"/>
                </a:cubicBezTo>
                <a:cubicBezTo>
                  <a:pt x="685" y="142"/>
                  <a:pt x="686" y="142"/>
                  <a:pt x="688" y="143"/>
                </a:cubicBezTo>
                <a:cubicBezTo>
                  <a:pt x="691" y="145"/>
                  <a:pt x="694" y="146"/>
                  <a:pt x="697" y="146"/>
                </a:cubicBezTo>
                <a:cubicBezTo>
                  <a:pt x="698" y="145"/>
                  <a:pt x="699" y="146"/>
                  <a:pt x="699" y="146"/>
                </a:cubicBezTo>
                <a:cubicBezTo>
                  <a:pt x="701" y="146"/>
                  <a:pt x="701" y="147"/>
                  <a:pt x="701" y="149"/>
                </a:cubicBezTo>
                <a:cubicBezTo>
                  <a:pt x="701" y="149"/>
                  <a:pt x="701" y="150"/>
                  <a:pt x="701" y="150"/>
                </a:cubicBezTo>
                <a:cubicBezTo>
                  <a:pt x="701" y="151"/>
                  <a:pt x="703" y="152"/>
                  <a:pt x="704" y="152"/>
                </a:cubicBezTo>
                <a:cubicBezTo>
                  <a:pt x="706" y="151"/>
                  <a:pt x="708" y="151"/>
                  <a:pt x="709" y="150"/>
                </a:cubicBezTo>
                <a:cubicBezTo>
                  <a:pt x="711" y="150"/>
                  <a:pt x="712" y="149"/>
                  <a:pt x="714" y="149"/>
                </a:cubicBezTo>
                <a:cubicBezTo>
                  <a:pt x="717" y="149"/>
                  <a:pt x="719" y="147"/>
                  <a:pt x="721" y="145"/>
                </a:cubicBezTo>
                <a:cubicBezTo>
                  <a:pt x="721" y="145"/>
                  <a:pt x="721" y="144"/>
                  <a:pt x="721" y="144"/>
                </a:cubicBezTo>
                <a:cubicBezTo>
                  <a:pt x="723" y="142"/>
                  <a:pt x="722" y="140"/>
                  <a:pt x="719" y="139"/>
                </a:cubicBezTo>
                <a:cubicBezTo>
                  <a:pt x="718" y="138"/>
                  <a:pt x="718" y="138"/>
                  <a:pt x="717" y="137"/>
                </a:cubicBezTo>
                <a:cubicBezTo>
                  <a:pt x="717" y="136"/>
                  <a:pt x="718" y="135"/>
                  <a:pt x="718" y="134"/>
                </a:cubicBezTo>
                <a:cubicBezTo>
                  <a:pt x="719" y="133"/>
                  <a:pt x="720" y="133"/>
                  <a:pt x="721" y="132"/>
                </a:cubicBezTo>
                <a:cubicBezTo>
                  <a:pt x="722" y="131"/>
                  <a:pt x="724" y="131"/>
                  <a:pt x="726" y="130"/>
                </a:cubicBezTo>
                <a:cubicBezTo>
                  <a:pt x="728" y="129"/>
                  <a:pt x="730" y="127"/>
                  <a:pt x="730" y="125"/>
                </a:cubicBezTo>
                <a:cubicBezTo>
                  <a:pt x="731" y="124"/>
                  <a:pt x="731" y="123"/>
                  <a:pt x="731" y="123"/>
                </a:cubicBezTo>
                <a:cubicBezTo>
                  <a:pt x="731" y="123"/>
                  <a:pt x="731" y="122"/>
                  <a:pt x="731" y="122"/>
                </a:cubicBezTo>
                <a:cubicBezTo>
                  <a:pt x="732" y="121"/>
                  <a:pt x="733" y="120"/>
                  <a:pt x="734" y="121"/>
                </a:cubicBezTo>
                <a:cubicBezTo>
                  <a:pt x="737" y="122"/>
                  <a:pt x="740" y="121"/>
                  <a:pt x="743" y="121"/>
                </a:cubicBezTo>
                <a:cubicBezTo>
                  <a:pt x="744" y="121"/>
                  <a:pt x="745" y="119"/>
                  <a:pt x="744" y="118"/>
                </a:cubicBezTo>
                <a:cubicBezTo>
                  <a:pt x="744" y="117"/>
                  <a:pt x="744" y="117"/>
                  <a:pt x="744" y="116"/>
                </a:cubicBezTo>
                <a:cubicBezTo>
                  <a:pt x="743" y="116"/>
                  <a:pt x="743" y="116"/>
                  <a:pt x="743" y="116"/>
                </a:cubicBezTo>
                <a:cubicBezTo>
                  <a:pt x="743" y="116"/>
                  <a:pt x="743" y="116"/>
                  <a:pt x="743" y="116"/>
                </a:cubicBezTo>
                <a:cubicBezTo>
                  <a:pt x="743" y="116"/>
                  <a:pt x="742" y="116"/>
                  <a:pt x="742" y="116"/>
                </a:cubicBezTo>
                <a:cubicBezTo>
                  <a:pt x="742" y="115"/>
                  <a:pt x="743" y="116"/>
                  <a:pt x="743" y="116"/>
                </a:cubicBezTo>
                <a:cubicBezTo>
                  <a:pt x="743" y="116"/>
                  <a:pt x="743" y="116"/>
                  <a:pt x="743" y="116"/>
                </a:cubicBezTo>
                <a:cubicBezTo>
                  <a:pt x="743" y="116"/>
                  <a:pt x="744" y="116"/>
                  <a:pt x="744" y="116"/>
                </a:cubicBezTo>
                <a:cubicBezTo>
                  <a:pt x="746" y="117"/>
                  <a:pt x="748" y="116"/>
                  <a:pt x="750" y="114"/>
                </a:cubicBezTo>
                <a:cubicBezTo>
                  <a:pt x="751" y="113"/>
                  <a:pt x="751" y="112"/>
                  <a:pt x="753" y="111"/>
                </a:cubicBezTo>
                <a:cubicBezTo>
                  <a:pt x="754" y="110"/>
                  <a:pt x="754" y="108"/>
                  <a:pt x="755" y="107"/>
                </a:cubicBezTo>
                <a:cubicBezTo>
                  <a:pt x="756" y="106"/>
                  <a:pt x="756" y="104"/>
                  <a:pt x="755" y="103"/>
                </a:cubicBezTo>
                <a:cubicBezTo>
                  <a:pt x="754" y="101"/>
                  <a:pt x="754" y="100"/>
                  <a:pt x="754" y="99"/>
                </a:cubicBezTo>
                <a:cubicBezTo>
                  <a:pt x="754" y="99"/>
                  <a:pt x="754" y="99"/>
                  <a:pt x="754" y="99"/>
                </a:cubicBezTo>
                <a:cubicBezTo>
                  <a:pt x="754" y="99"/>
                  <a:pt x="753" y="99"/>
                  <a:pt x="753" y="99"/>
                </a:cubicBezTo>
                <a:cubicBezTo>
                  <a:pt x="753" y="99"/>
                  <a:pt x="754" y="99"/>
                  <a:pt x="754" y="99"/>
                </a:cubicBezTo>
                <a:cubicBezTo>
                  <a:pt x="754" y="99"/>
                  <a:pt x="754" y="99"/>
                  <a:pt x="754" y="99"/>
                </a:cubicBezTo>
                <a:cubicBezTo>
                  <a:pt x="755" y="100"/>
                  <a:pt x="756" y="100"/>
                  <a:pt x="758" y="100"/>
                </a:cubicBezTo>
                <a:cubicBezTo>
                  <a:pt x="759" y="101"/>
                  <a:pt x="761" y="100"/>
                  <a:pt x="761" y="98"/>
                </a:cubicBezTo>
                <a:cubicBezTo>
                  <a:pt x="761" y="97"/>
                  <a:pt x="761" y="95"/>
                  <a:pt x="759" y="95"/>
                </a:cubicBezTo>
                <a:cubicBezTo>
                  <a:pt x="758" y="94"/>
                  <a:pt x="757" y="94"/>
                  <a:pt x="756" y="93"/>
                </a:cubicBezTo>
                <a:cubicBezTo>
                  <a:pt x="756" y="93"/>
                  <a:pt x="756" y="93"/>
                  <a:pt x="755" y="93"/>
                </a:cubicBezTo>
                <a:cubicBezTo>
                  <a:pt x="756" y="93"/>
                  <a:pt x="756" y="92"/>
                  <a:pt x="756" y="92"/>
                </a:cubicBezTo>
                <a:cubicBezTo>
                  <a:pt x="757" y="91"/>
                  <a:pt x="758" y="91"/>
                  <a:pt x="759" y="91"/>
                </a:cubicBezTo>
                <a:cubicBezTo>
                  <a:pt x="761" y="92"/>
                  <a:pt x="764" y="92"/>
                  <a:pt x="767" y="91"/>
                </a:cubicBezTo>
                <a:cubicBezTo>
                  <a:pt x="768" y="91"/>
                  <a:pt x="769" y="91"/>
                  <a:pt x="770" y="89"/>
                </a:cubicBezTo>
                <a:cubicBezTo>
                  <a:pt x="770" y="88"/>
                  <a:pt x="770" y="88"/>
                  <a:pt x="770" y="87"/>
                </a:cubicBezTo>
                <a:cubicBezTo>
                  <a:pt x="771" y="88"/>
                  <a:pt x="771" y="88"/>
                  <a:pt x="771" y="88"/>
                </a:cubicBezTo>
                <a:cubicBezTo>
                  <a:pt x="772" y="88"/>
                  <a:pt x="772" y="89"/>
                  <a:pt x="773" y="89"/>
                </a:cubicBezTo>
                <a:cubicBezTo>
                  <a:pt x="777" y="91"/>
                  <a:pt x="779" y="90"/>
                  <a:pt x="782" y="87"/>
                </a:cubicBezTo>
                <a:cubicBezTo>
                  <a:pt x="785" y="84"/>
                  <a:pt x="788" y="80"/>
                  <a:pt x="792" y="78"/>
                </a:cubicBezTo>
                <a:cubicBezTo>
                  <a:pt x="794" y="77"/>
                  <a:pt x="796" y="76"/>
                  <a:pt x="798" y="74"/>
                </a:cubicBezTo>
                <a:cubicBezTo>
                  <a:pt x="799" y="73"/>
                  <a:pt x="800" y="73"/>
                  <a:pt x="801" y="72"/>
                </a:cubicBezTo>
                <a:cubicBezTo>
                  <a:pt x="806" y="71"/>
                  <a:pt x="810" y="68"/>
                  <a:pt x="814" y="67"/>
                </a:cubicBezTo>
                <a:cubicBezTo>
                  <a:pt x="818" y="65"/>
                  <a:pt x="822" y="63"/>
                  <a:pt x="826" y="60"/>
                </a:cubicBezTo>
                <a:cubicBezTo>
                  <a:pt x="827" y="60"/>
                  <a:pt x="827" y="59"/>
                  <a:pt x="827" y="58"/>
                </a:cubicBezTo>
                <a:cubicBezTo>
                  <a:pt x="828" y="57"/>
                  <a:pt x="827" y="56"/>
                  <a:pt x="825" y="56"/>
                </a:cubicBezTo>
                <a:cubicBezTo>
                  <a:pt x="824" y="56"/>
                  <a:pt x="823" y="55"/>
                  <a:pt x="822" y="55"/>
                </a:cubicBezTo>
                <a:cubicBezTo>
                  <a:pt x="822" y="55"/>
                  <a:pt x="822" y="55"/>
                  <a:pt x="822" y="55"/>
                </a:cubicBezTo>
                <a:cubicBezTo>
                  <a:pt x="822" y="55"/>
                  <a:pt x="822" y="55"/>
                  <a:pt x="822" y="55"/>
                </a:cubicBezTo>
                <a:cubicBezTo>
                  <a:pt x="822" y="55"/>
                  <a:pt x="822" y="55"/>
                  <a:pt x="822" y="55"/>
                </a:cubicBezTo>
                <a:cubicBezTo>
                  <a:pt x="822" y="55"/>
                  <a:pt x="822" y="55"/>
                  <a:pt x="822" y="55"/>
                </a:cubicBezTo>
                <a:cubicBezTo>
                  <a:pt x="822" y="54"/>
                  <a:pt x="823" y="53"/>
                  <a:pt x="824" y="53"/>
                </a:cubicBezTo>
                <a:cubicBezTo>
                  <a:pt x="828" y="53"/>
                  <a:pt x="833" y="52"/>
                  <a:pt x="837" y="52"/>
                </a:cubicBezTo>
                <a:cubicBezTo>
                  <a:pt x="841" y="50"/>
                  <a:pt x="845" y="47"/>
                  <a:pt x="849" y="45"/>
                </a:cubicBezTo>
                <a:cubicBezTo>
                  <a:pt x="850" y="45"/>
                  <a:pt x="851" y="45"/>
                  <a:pt x="851" y="45"/>
                </a:cubicBezTo>
                <a:cubicBezTo>
                  <a:pt x="852" y="43"/>
                  <a:pt x="853" y="42"/>
                  <a:pt x="853" y="41"/>
                </a:cubicBezTo>
                <a:cubicBezTo>
                  <a:pt x="854" y="40"/>
                  <a:pt x="854" y="38"/>
                  <a:pt x="854" y="36"/>
                </a:cubicBezTo>
                <a:cubicBezTo>
                  <a:pt x="854" y="34"/>
                  <a:pt x="853" y="33"/>
                  <a:pt x="852" y="32"/>
                </a:cubicBezTo>
                <a:cubicBezTo>
                  <a:pt x="850" y="32"/>
                  <a:pt x="850" y="31"/>
                  <a:pt x="850" y="30"/>
                </a:cubicBezTo>
                <a:cubicBezTo>
                  <a:pt x="850" y="28"/>
                  <a:pt x="850" y="25"/>
                  <a:pt x="850" y="23"/>
                </a:cubicBezTo>
                <a:cubicBezTo>
                  <a:pt x="850" y="23"/>
                  <a:pt x="850" y="22"/>
                  <a:pt x="849" y="22"/>
                </a:cubicBezTo>
                <a:cubicBezTo>
                  <a:pt x="847" y="21"/>
                  <a:pt x="845" y="21"/>
                  <a:pt x="843" y="20"/>
                </a:cubicBezTo>
                <a:cubicBezTo>
                  <a:pt x="842" y="20"/>
                  <a:pt x="840" y="20"/>
                  <a:pt x="839" y="21"/>
                </a:cubicBezTo>
                <a:cubicBezTo>
                  <a:pt x="838" y="21"/>
                  <a:pt x="837" y="21"/>
                  <a:pt x="837" y="22"/>
                </a:cubicBezTo>
                <a:cubicBezTo>
                  <a:pt x="837" y="22"/>
                  <a:pt x="836" y="22"/>
                  <a:pt x="836" y="22"/>
                </a:cubicBezTo>
                <a:cubicBezTo>
                  <a:pt x="836" y="22"/>
                  <a:pt x="836" y="22"/>
                  <a:pt x="836" y="22"/>
                </a:cubicBezTo>
                <a:cubicBezTo>
                  <a:pt x="836" y="22"/>
                  <a:pt x="835" y="23"/>
                  <a:pt x="835" y="23"/>
                </a:cubicBezTo>
                <a:cubicBezTo>
                  <a:pt x="835" y="23"/>
                  <a:pt x="835" y="23"/>
                  <a:pt x="834" y="23"/>
                </a:cubicBezTo>
                <a:cubicBezTo>
                  <a:pt x="835" y="22"/>
                  <a:pt x="835" y="22"/>
                  <a:pt x="836" y="22"/>
                </a:cubicBezTo>
                <a:cubicBezTo>
                  <a:pt x="836" y="22"/>
                  <a:pt x="836" y="22"/>
                  <a:pt x="836" y="22"/>
                </a:cubicBezTo>
                <a:cubicBezTo>
                  <a:pt x="836" y="22"/>
                  <a:pt x="836" y="22"/>
                  <a:pt x="837" y="22"/>
                </a:cubicBezTo>
                <a:cubicBezTo>
                  <a:pt x="838" y="21"/>
                  <a:pt x="838" y="20"/>
                  <a:pt x="839" y="19"/>
                </a:cubicBezTo>
                <a:cubicBezTo>
                  <a:pt x="840" y="18"/>
                  <a:pt x="841" y="17"/>
                  <a:pt x="839" y="16"/>
                </a:cubicBezTo>
                <a:cubicBezTo>
                  <a:pt x="839" y="16"/>
                  <a:pt x="838" y="15"/>
                  <a:pt x="838" y="15"/>
                </a:cubicBezTo>
                <a:cubicBezTo>
                  <a:pt x="838" y="15"/>
                  <a:pt x="837" y="15"/>
                  <a:pt x="837" y="15"/>
                </a:cubicBezTo>
                <a:cubicBezTo>
                  <a:pt x="835" y="14"/>
                  <a:pt x="833" y="13"/>
                  <a:pt x="831" y="12"/>
                </a:cubicBezTo>
                <a:cubicBezTo>
                  <a:pt x="829" y="12"/>
                  <a:pt x="828" y="11"/>
                  <a:pt x="828" y="10"/>
                </a:cubicBezTo>
                <a:cubicBezTo>
                  <a:pt x="827" y="8"/>
                  <a:pt x="826" y="8"/>
                  <a:pt x="825" y="7"/>
                </a:cubicBezTo>
                <a:cubicBezTo>
                  <a:pt x="823" y="7"/>
                  <a:pt x="820" y="7"/>
                  <a:pt x="818" y="6"/>
                </a:cubicBezTo>
                <a:cubicBezTo>
                  <a:pt x="816" y="5"/>
                  <a:pt x="814" y="5"/>
                  <a:pt x="812" y="7"/>
                </a:cubicBezTo>
                <a:cubicBezTo>
                  <a:pt x="810" y="8"/>
                  <a:pt x="809" y="7"/>
                  <a:pt x="809" y="5"/>
                </a:cubicBezTo>
                <a:cubicBezTo>
                  <a:pt x="809" y="4"/>
                  <a:pt x="809" y="3"/>
                  <a:pt x="809" y="3"/>
                </a:cubicBezTo>
                <a:cubicBezTo>
                  <a:pt x="806" y="2"/>
                  <a:pt x="803" y="2"/>
                  <a:pt x="800" y="1"/>
                </a:cubicBezTo>
                <a:cubicBezTo>
                  <a:pt x="799" y="1"/>
                  <a:pt x="797" y="1"/>
                  <a:pt x="796" y="1"/>
                </a:cubicBezTo>
                <a:cubicBezTo>
                  <a:pt x="795" y="1"/>
                  <a:pt x="794" y="2"/>
                  <a:pt x="794" y="3"/>
                </a:cubicBezTo>
                <a:cubicBezTo>
                  <a:pt x="794" y="5"/>
                  <a:pt x="793" y="7"/>
                  <a:pt x="793" y="9"/>
                </a:cubicBezTo>
                <a:cubicBezTo>
                  <a:pt x="793" y="9"/>
                  <a:pt x="793" y="10"/>
                  <a:pt x="793" y="10"/>
                </a:cubicBezTo>
                <a:cubicBezTo>
                  <a:pt x="792" y="10"/>
                  <a:pt x="791" y="10"/>
                  <a:pt x="791" y="9"/>
                </a:cubicBezTo>
                <a:cubicBezTo>
                  <a:pt x="791" y="8"/>
                  <a:pt x="791" y="7"/>
                  <a:pt x="791" y="6"/>
                </a:cubicBezTo>
                <a:cubicBezTo>
                  <a:pt x="791" y="6"/>
                  <a:pt x="791" y="6"/>
                  <a:pt x="791" y="6"/>
                </a:cubicBezTo>
                <a:cubicBezTo>
                  <a:pt x="791" y="5"/>
                  <a:pt x="790" y="5"/>
                  <a:pt x="790" y="5"/>
                </a:cubicBezTo>
                <a:cubicBezTo>
                  <a:pt x="787" y="5"/>
                  <a:pt x="786" y="3"/>
                  <a:pt x="785" y="2"/>
                </a:cubicBezTo>
                <a:cubicBezTo>
                  <a:pt x="784" y="1"/>
                  <a:pt x="782" y="0"/>
                  <a:pt x="781" y="1"/>
                </a:cubicBezTo>
                <a:cubicBezTo>
                  <a:pt x="779" y="2"/>
                  <a:pt x="779" y="3"/>
                  <a:pt x="779" y="4"/>
                </a:cubicBezTo>
                <a:cubicBezTo>
                  <a:pt x="779" y="6"/>
                  <a:pt x="779" y="7"/>
                  <a:pt x="779" y="8"/>
                </a:cubicBezTo>
                <a:cubicBezTo>
                  <a:pt x="779" y="8"/>
                  <a:pt x="779" y="8"/>
                  <a:pt x="778" y="9"/>
                </a:cubicBezTo>
                <a:cubicBezTo>
                  <a:pt x="778" y="9"/>
                  <a:pt x="778" y="9"/>
                  <a:pt x="778" y="8"/>
                </a:cubicBezTo>
                <a:cubicBezTo>
                  <a:pt x="777" y="7"/>
                  <a:pt x="776" y="5"/>
                  <a:pt x="775" y="4"/>
                </a:cubicBezTo>
                <a:cubicBezTo>
                  <a:pt x="774" y="2"/>
                  <a:pt x="772" y="2"/>
                  <a:pt x="771" y="4"/>
                </a:cubicBezTo>
                <a:cubicBezTo>
                  <a:pt x="770" y="6"/>
                  <a:pt x="770" y="6"/>
                  <a:pt x="769" y="6"/>
                </a:cubicBezTo>
                <a:cubicBezTo>
                  <a:pt x="769" y="6"/>
                  <a:pt x="768" y="5"/>
                  <a:pt x="768" y="5"/>
                </a:cubicBezTo>
                <a:cubicBezTo>
                  <a:pt x="766" y="5"/>
                  <a:pt x="765" y="6"/>
                  <a:pt x="765" y="7"/>
                </a:cubicBezTo>
                <a:cubicBezTo>
                  <a:pt x="766" y="10"/>
                  <a:pt x="765" y="11"/>
                  <a:pt x="763" y="12"/>
                </a:cubicBezTo>
                <a:cubicBezTo>
                  <a:pt x="762" y="13"/>
                  <a:pt x="762" y="14"/>
                  <a:pt x="762" y="15"/>
                </a:cubicBezTo>
                <a:cubicBezTo>
                  <a:pt x="761" y="16"/>
                  <a:pt x="759" y="16"/>
                  <a:pt x="758" y="15"/>
                </a:cubicBezTo>
                <a:cubicBezTo>
                  <a:pt x="757" y="13"/>
                  <a:pt x="756" y="10"/>
                  <a:pt x="755" y="8"/>
                </a:cubicBezTo>
                <a:cubicBezTo>
                  <a:pt x="754" y="7"/>
                  <a:pt x="753" y="7"/>
                  <a:pt x="751" y="7"/>
                </a:cubicBezTo>
                <a:cubicBezTo>
                  <a:pt x="751" y="6"/>
                  <a:pt x="749" y="7"/>
                  <a:pt x="749" y="9"/>
                </a:cubicBezTo>
                <a:cubicBezTo>
                  <a:pt x="749" y="10"/>
                  <a:pt x="748" y="11"/>
                  <a:pt x="746" y="12"/>
                </a:cubicBezTo>
                <a:cubicBezTo>
                  <a:pt x="746" y="12"/>
                  <a:pt x="745" y="12"/>
                  <a:pt x="745" y="12"/>
                </a:cubicBezTo>
                <a:cubicBezTo>
                  <a:pt x="744" y="12"/>
                  <a:pt x="744" y="13"/>
                  <a:pt x="744" y="13"/>
                </a:cubicBezTo>
                <a:cubicBezTo>
                  <a:pt x="745" y="16"/>
                  <a:pt x="746" y="18"/>
                  <a:pt x="746" y="20"/>
                </a:cubicBezTo>
                <a:cubicBezTo>
                  <a:pt x="747" y="20"/>
                  <a:pt x="747" y="20"/>
                  <a:pt x="747" y="20"/>
                </a:cubicBezTo>
                <a:cubicBezTo>
                  <a:pt x="747" y="20"/>
                  <a:pt x="747" y="20"/>
                  <a:pt x="747" y="20"/>
                </a:cubicBezTo>
                <a:cubicBezTo>
                  <a:pt x="747" y="20"/>
                  <a:pt x="747" y="20"/>
                  <a:pt x="747" y="20"/>
                </a:cubicBezTo>
                <a:cubicBezTo>
                  <a:pt x="747" y="20"/>
                  <a:pt x="746" y="20"/>
                  <a:pt x="746" y="20"/>
                </a:cubicBezTo>
                <a:cubicBezTo>
                  <a:pt x="745" y="20"/>
                  <a:pt x="744" y="20"/>
                  <a:pt x="743" y="18"/>
                </a:cubicBezTo>
                <a:cubicBezTo>
                  <a:pt x="742" y="17"/>
                  <a:pt x="741" y="17"/>
                  <a:pt x="740" y="17"/>
                </a:cubicBezTo>
                <a:cubicBezTo>
                  <a:pt x="739" y="17"/>
                  <a:pt x="738" y="17"/>
                  <a:pt x="738" y="16"/>
                </a:cubicBezTo>
                <a:cubicBezTo>
                  <a:pt x="737" y="16"/>
                  <a:pt x="737" y="15"/>
                  <a:pt x="736" y="14"/>
                </a:cubicBezTo>
                <a:cubicBezTo>
                  <a:pt x="735" y="13"/>
                  <a:pt x="734" y="13"/>
                  <a:pt x="733" y="14"/>
                </a:cubicBezTo>
                <a:cubicBezTo>
                  <a:pt x="732" y="15"/>
                  <a:pt x="732" y="16"/>
                  <a:pt x="731" y="16"/>
                </a:cubicBezTo>
                <a:cubicBezTo>
                  <a:pt x="730" y="17"/>
                  <a:pt x="730" y="17"/>
                  <a:pt x="729" y="16"/>
                </a:cubicBezTo>
                <a:cubicBezTo>
                  <a:pt x="728" y="15"/>
                  <a:pt x="727" y="15"/>
                  <a:pt x="725" y="15"/>
                </a:cubicBezTo>
                <a:cubicBezTo>
                  <a:pt x="722" y="16"/>
                  <a:pt x="719" y="17"/>
                  <a:pt x="716" y="19"/>
                </a:cubicBezTo>
                <a:cubicBezTo>
                  <a:pt x="716" y="19"/>
                  <a:pt x="715" y="20"/>
                  <a:pt x="714" y="20"/>
                </a:cubicBezTo>
                <a:cubicBezTo>
                  <a:pt x="713" y="21"/>
                  <a:pt x="714" y="24"/>
                  <a:pt x="715" y="25"/>
                </a:cubicBezTo>
                <a:cubicBezTo>
                  <a:pt x="716" y="25"/>
                  <a:pt x="716" y="25"/>
                  <a:pt x="717" y="25"/>
                </a:cubicBezTo>
                <a:cubicBezTo>
                  <a:pt x="717" y="25"/>
                  <a:pt x="717" y="25"/>
                  <a:pt x="717" y="25"/>
                </a:cubicBezTo>
                <a:cubicBezTo>
                  <a:pt x="717" y="25"/>
                  <a:pt x="717" y="25"/>
                  <a:pt x="717" y="25"/>
                </a:cubicBezTo>
                <a:cubicBezTo>
                  <a:pt x="717" y="24"/>
                  <a:pt x="718" y="24"/>
                  <a:pt x="718" y="23"/>
                </a:cubicBezTo>
                <a:cubicBezTo>
                  <a:pt x="718" y="23"/>
                  <a:pt x="719" y="23"/>
                  <a:pt x="719" y="23"/>
                </a:cubicBezTo>
                <a:cubicBezTo>
                  <a:pt x="720" y="24"/>
                  <a:pt x="720" y="24"/>
                  <a:pt x="719" y="25"/>
                </a:cubicBezTo>
                <a:cubicBezTo>
                  <a:pt x="718" y="25"/>
                  <a:pt x="718" y="25"/>
                  <a:pt x="717" y="25"/>
                </a:cubicBezTo>
                <a:cubicBezTo>
                  <a:pt x="717" y="25"/>
                  <a:pt x="717" y="25"/>
                  <a:pt x="717" y="25"/>
                </a:cubicBezTo>
                <a:cubicBezTo>
                  <a:pt x="717" y="25"/>
                  <a:pt x="717" y="25"/>
                  <a:pt x="717" y="25"/>
                </a:cubicBezTo>
                <a:cubicBezTo>
                  <a:pt x="717" y="26"/>
                  <a:pt x="717" y="27"/>
                  <a:pt x="717" y="28"/>
                </a:cubicBezTo>
                <a:cubicBezTo>
                  <a:pt x="718" y="30"/>
                  <a:pt x="718" y="30"/>
                  <a:pt x="717" y="31"/>
                </a:cubicBezTo>
                <a:cubicBezTo>
                  <a:pt x="717" y="32"/>
                  <a:pt x="716" y="32"/>
                  <a:pt x="716" y="33"/>
                </a:cubicBezTo>
                <a:cubicBezTo>
                  <a:pt x="714" y="35"/>
                  <a:pt x="715" y="37"/>
                  <a:pt x="717" y="38"/>
                </a:cubicBezTo>
                <a:cubicBezTo>
                  <a:pt x="717" y="38"/>
                  <a:pt x="718" y="38"/>
                  <a:pt x="718" y="38"/>
                </a:cubicBezTo>
                <a:cubicBezTo>
                  <a:pt x="718" y="39"/>
                  <a:pt x="718" y="39"/>
                  <a:pt x="717" y="39"/>
                </a:cubicBezTo>
                <a:cubicBezTo>
                  <a:pt x="717" y="39"/>
                  <a:pt x="716" y="39"/>
                  <a:pt x="716" y="39"/>
                </a:cubicBezTo>
                <a:cubicBezTo>
                  <a:pt x="714" y="39"/>
                  <a:pt x="713" y="41"/>
                  <a:pt x="714" y="42"/>
                </a:cubicBezTo>
                <a:cubicBezTo>
                  <a:pt x="714" y="45"/>
                  <a:pt x="715" y="46"/>
                  <a:pt x="717" y="48"/>
                </a:cubicBezTo>
                <a:cubicBezTo>
                  <a:pt x="718" y="50"/>
                  <a:pt x="720" y="50"/>
                  <a:pt x="722" y="50"/>
                </a:cubicBezTo>
                <a:cubicBezTo>
                  <a:pt x="722" y="50"/>
                  <a:pt x="722" y="50"/>
                  <a:pt x="722" y="50"/>
                </a:cubicBezTo>
                <a:cubicBezTo>
                  <a:pt x="722" y="50"/>
                  <a:pt x="722" y="49"/>
                  <a:pt x="722" y="49"/>
                </a:cubicBezTo>
                <a:cubicBezTo>
                  <a:pt x="722" y="50"/>
                  <a:pt x="722" y="50"/>
                  <a:pt x="722" y="50"/>
                </a:cubicBezTo>
                <a:cubicBezTo>
                  <a:pt x="722" y="50"/>
                  <a:pt x="722" y="50"/>
                  <a:pt x="722" y="50"/>
                </a:cubicBezTo>
                <a:cubicBezTo>
                  <a:pt x="722" y="51"/>
                  <a:pt x="723" y="52"/>
                  <a:pt x="723" y="53"/>
                </a:cubicBezTo>
                <a:cubicBezTo>
                  <a:pt x="725" y="55"/>
                  <a:pt x="728" y="56"/>
                  <a:pt x="731" y="57"/>
                </a:cubicBezTo>
                <a:cubicBezTo>
                  <a:pt x="734" y="57"/>
                  <a:pt x="736" y="56"/>
                  <a:pt x="738" y="55"/>
                </a:cubicBezTo>
                <a:cubicBezTo>
                  <a:pt x="738" y="55"/>
                  <a:pt x="738" y="55"/>
                  <a:pt x="738" y="55"/>
                </a:cubicBezTo>
                <a:cubicBezTo>
                  <a:pt x="738" y="55"/>
                  <a:pt x="738" y="55"/>
                  <a:pt x="738" y="55"/>
                </a:cubicBezTo>
                <a:cubicBezTo>
                  <a:pt x="738" y="55"/>
                  <a:pt x="738" y="55"/>
                  <a:pt x="738" y="55"/>
                </a:cubicBezTo>
                <a:cubicBezTo>
                  <a:pt x="738" y="56"/>
                  <a:pt x="738" y="57"/>
                  <a:pt x="739" y="58"/>
                </a:cubicBezTo>
                <a:cubicBezTo>
                  <a:pt x="742" y="60"/>
                  <a:pt x="746" y="61"/>
                  <a:pt x="749" y="60"/>
                </a:cubicBezTo>
                <a:cubicBezTo>
                  <a:pt x="753" y="60"/>
                  <a:pt x="757" y="59"/>
                  <a:pt x="760" y="55"/>
                </a:cubicBezTo>
                <a:cubicBezTo>
                  <a:pt x="760" y="54"/>
                  <a:pt x="761" y="54"/>
                  <a:pt x="762" y="54"/>
                </a:cubicBezTo>
                <a:cubicBezTo>
                  <a:pt x="762" y="53"/>
                  <a:pt x="762" y="53"/>
                  <a:pt x="762" y="53"/>
                </a:cubicBezTo>
                <a:cubicBezTo>
                  <a:pt x="762" y="53"/>
                  <a:pt x="762" y="53"/>
                  <a:pt x="762" y="53"/>
                </a:cubicBezTo>
                <a:cubicBezTo>
                  <a:pt x="762" y="54"/>
                  <a:pt x="762" y="54"/>
                  <a:pt x="762" y="54"/>
                </a:cubicBezTo>
                <a:cubicBezTo>
                  <a:pt x="762" y="54"/>
                  <a:pt x="762" y="54"/>
                  <a:pt x="762" y="55"/>
                </a:cubicBezTo>
                <a:cubicBezTo>
                  <a:pt x="761" y="55"/>
                  <a:pt x="761" y="55"/>
                  <a:pt x="761" y="56"/>
                </a:cubicBezTo>
                <a:cubicBezTo>
                  <a:pt x="761" y="57"/>
                  <a:pt x="761" y="58"/>
                  <a:pt x="762" y="58"/>
                </a:cubicBezTo>
                <a:cubicBezTo>
                  <a:pt x="764" y="59"/>
                  <a:pt x="766" y="59"/>
                  <a:pt x="767" y="60"/>
                </a:cubicBezTo>
                <a:cubicBezTo>
                  <a:pt x="767" y="60"/>
                  <a:pt x="768" y="60"/>
                  <a:pt x="768" y="60"/>
                </a:cubicBezTo>
                <a:cubicBezTo>
                  <a:pt x="768" y="60"/>
                  <a:pt x="768" y="60"/>
                  <a:pt x="768" y="60"/>
                </a:cubicBezTo>
                <a:cubicBezTo>
                  <a:pt x="768" y="60"/>
                  <a:pt x="768" y="60"/>
                  <a:pt x="768" y="60"/>
                </a:cubicBezTo>
                <a:cubicBezTo>
                  <a:pt x="767" y="60"/>
                  <a:pt x="767" y="60"/>
                  <a:pt x="767" y="60"/>
                </a:cubicBezTo>
                <a:cubicBezTo>
                  <a:pt x="761" y="60"/>
                  <a:pt x="755" y="60"/>
                  <a:pt x="750" y="62"/>
                </a:cubicBezTo>
                <a:cubicBezTo>
                  <a:pt x="747" y="64"/>
                  <a:pt x="745" y="64"/>
                  <a:pt x="742" y="63"/>
                </a:cubicBezTo>
                <a:cubicBezTo>
                  <a:pt x="741" y="62"/>
                  <a:pt x="739" y="62"/>
                  <a:pt x="737" y="62"/>
                </a:cubicBezTo>
                <a:cubicBezTo>
                  <a:pt x="736" y="62"/>
                  <a:pt x="735" y="63"/>
                  <a:pt x="734" y="64"/>
                </a:cubicBezTo>
                <a:cubicBezTo>
                  <a:pt x="734" y="66"/>
                  <a:pt x="734" y="68"/>
                  <a:pt x="734" y="71"/>
                </a:cubicBezTo>
                <a:cubicBezTo>
                  <a:pt x="734" y="72"/>
                  <a:pt x="734" y="72"/>
                  <a:pt x="733" y="72"/>
                </a:cubicBezTo>
                <a:cubicBezTo>
                  <a:pt x="733" y="72"/>
                  <a:pt x="733" y="71"/>
                  <a:pt x="733" y="71"/>
                </a:cubicBezTo>
                <a:cubicBezTo>
                  <a:pt x="732" y="65"/>
                  <a:pt x="729" y="61"/>
                  <a:pt x="723" y="58"/>
                </a:cubicBezTo>
                <a:cubicBezTo>
                  <a:pt x="723" y="58"/>
                  <a:pt x="723" y="58"/>
                  <a:pt x="723" y="58"/>
                </a:cubicBezTo>
                <a:cubicBezTo>
                  <a:pt x="721" y="57"/>
                  <a:pt x="720" y="57"/>
                  <a:pt x="719" y="58"/>
                </a:cubicBezTo>
                <a:cubicBezTo>
                  <a:pt x="717" y="60"/>
                  <a:pt x="715" y="62"/>
                  <a:pt x="713" y="64"/>
                </a:cubicBezTo>
                <a:cubicBezTo>
                  <a:pt x="714" y="65"/>
                  <a:pt x="715" y="66"/>
                  <a:pt x="714" y="67"/>
                </a:cubicBezTo>
                <a:close/>
                <a:moveTo>
                  <a:pt x="696" y="122"/>
                </a:moveTo>
                <a:cubicBezTo>
                  <a:pt x="695" y="122"/>
                  <a:pt x="695" y="121"/>
                  <a:pt x="695" y="121"/>
                </a:cubicBezTo>
                <a:cubicBezTo>
                  <a:pt x="695" y="121"/>
                  <a:pt x="696" y="121"/>
                  <a:pt x="696" y="122"/>
                </a:cubicBezTo>
                <a:cubicBezTo>
                  <a:pt x="696" y="122"/>
                  <a:pt x="696" y="122"/>
                  <a:pt x="696" y="122"/>
                </a:cubicBezTo>
                <a:close/>
                <a:moveTo>
                  <a:pt x="700" y="108"/>
                </a:moveTo>
                <a:cubicBezTo>
                  <a:pt x="699" y="108"/>
                  <a:pt x="699" y="108"/>
                  <a:pt x="699" y="108"/>
                </a:cubicBezTo>
                <a:cubicBezTo>
                  <a:pt x="699" y="107"/>
                  <a:pt x="699" y="107"/>
                  <a:pt x="699" y="107"/>
                </a:cubicBezTo>
                <a:cubicBezTo>
                  <a:pt x="700" y="107"/>
                  <a:pt x="700" y="107"/>
                  <a:pt x="700" y="107"/>
                </a:cubicBezTo>
                <a:lnTo>
                  <a:pt x="700" y="108"/>
                </a:lnTo>
                <a:close/>
                <a:moveTo>
                  <a:pt x="709" y="128"/>
                </a:moveTo>
                <a:cubicBezTo>
                  <a:pt x="709" y="128"/>
                  <a:pt x="709" y="128"/>
                  <a:pt x="709" y="128"/>
                </a:cubicBezTo>
                <a:cubicBezTo>
                  <a:pt x="709" y="128"/>
                  <a:pt x="708" y="128"/>
                  <a:pt x="708" y="129"/>
                </a:cubicBezTo>
                <a:cubicBezTo>
                  <a:pt x="708" y="129"/>
                  <a:pt x="708" y="129"/>
                  <a:pt x="708" y="129"/>
                </a:cubicBezTo>
                <a:cubicBezTo>
                  <a:pt x="708" y="129"/>
                  <a:pt x="707" y="129"/>
                  <a:pt x="707" y="129"/>
                </a:cubicBezTo>
                <a:cubicBezTo>
                  <a:pt x="707" y="129"/>
                  <a:pt x="708" y="129"/>
                  <a:pt x="708" y="129"/>
                </a:cubicBezTo>
                <a:cubicBezTo>
                  <a:pt x="708" y="128"/>
                  <a:pt x="708" y="128"/>
                  <a:pt x="709" y="128"/>
                </a:cubicBezTo>
                <a:cubicBezTo>
                  <a:pt x="709" y="128"/>
                  <a:pt x="709" y="127"/>
                  <a:pt x="709" y="127"/>
                </a:cubicBezTo>
                <a:cubicBezTo>
                  <a:pt x="709" y="127"/>
                  <a:pt x="709" y="128"/>
                  <a:pt x="709" y="128"/>
                </a:cubicBezTo>
                <a:close/>
                <a:moveTo>
                  <a:pt x="817" y="57"/>
                </a:moveTo>
                <a:cubicBezTo>
                  <a:pt x="817" y="57"/>
                  <a:pt x="817" y="57"/>
                  <a:pt x="817" y="58"/>
                </a:cubicBezTo>
                <a:cubicBezTo>
                  <a:pt x="817" y="58"/>
                  <a:pt x="817" y="58"/>
                  <a:pt x="817" y="58"/>
                </a:cubicBezTo>
                <a:cubicBezTo>
                  <a:pt x="817" y="58"/>
                  <a:pt x="817" y="58"/>
                  <a:pt x="816" y="58"/>
                </a:cubicBezTo>
                <a:cubicBezTo>
                  <a:pt x="817" y="58"/>
                  <a:pt x="817" y="57"/>
                  <a:pt x="817" y="57"/>
                </a:cubicBezTo>
                <a:close/>
                <a:moveTo>
                  <a:pt x="724" y="48"/>
                </a:moveTo>
                <a:cubicBezTo>
                  <a:pt x="724" y="48"/>
                  <a:pt x="724" y="48"/>
                  <a:pt x="723" y="48"/>
                </a:cubicBezTo>
                <a:cubicBezTo>
                  <a:pt x="724" y="48"/>
                  <a:pt x="724" y="48"/>
                  <a:pt x="724" y="48"/>
                </a:cubicBezTo>
                <a:cubicBezTo>
                  <a:pt x="724" y="48"/>
                  <a:pt x="724" y="48"/>
                  <a:pt x="724" y="48"/>
                </a:cubicBezTo>
                <a:close/>
                <a:moveTo>
                  <a:pt x="751" y="91"/>
                </a:moveTo>
                <a:cubicBezTo>
                  <a:pt x="750" y="91"/>
                  <a:pt x="750" y="91"/>
                  <a:pt x="750" y="91"/>
                </a:cubicBezTo>
                <a:cubicBezTo>
                  <a:pt x="750" y="91"/>
                  <a:pt x="750" y="91"/>
                  <a:pt x="750" y="91"/>
                </a:cubicBezTo>
                <a:lnTo>
                  <a:pt x="751" y="91"/>
                </a:lnTo>
                <a:close/>
                <a:moveTo>
                  <a:pt x="640" y="254"/>
                </a:moveTo>
                <a:cubicBezTo>
                  <a:pt x="644" y="255"/>
                  <a:pt x="647" y="258"/>
                  <a:pt x="650" y="257"/>
                </a:cubicBezTo>
                <a:cubicBezTo>
                  <a:pt x="651" y="257"/>
                  <a:pt x="651" y="257"/>
                  <a:pt x="651" y="257"/>
                </a:cubicBezTo>
                <a:cubicBezTo>
                  <a:pt x="652" y="258"/>
                  <a:pt x="652" y="258"/>
                  <a:pt x="653" y="258"/>
                </a:cubicBezTo>
                <a:cubicBezTo>
                  <a:pt x="654" y="259"/>
                  <a:pt x="655" y="261"/>
                  <a:pt x="657" y="262"/>
                </a:cubicBezTo>
                <a:cubicBezTo>
                  <a:pt x="657" y="262"/>
                  <a:pt x="658" y="262"/>
                  <a:pt x="659" y="262"/>
                </a:cubicBezTo>
                <a:cubicBezTo>
                  <a:pt x="660" y="262"/>
                  <a:pt x="660" y="261"/>
                  <a:pt x="661" y="260"/>
                </a:cubicBezTo>
                <a:cubicBezTo>
                  <a:pt x="660" y="260"/>
                  <a:pt x="659" y="259"/>
                  <a:pt x="659" y="258"/>
                </a:cubicBezTo>
                <a:cubicBezTo>
                  <a:pt x="659" y="258"/>
                  <a:pt x="659" y="258"/>
                  <a:pt x="659" y="258"/>
                </a:cubicBezTo>
                <a:cubicBezTo>
                  <a:pt x="657" y="258"/>
                  <a:pt x="656" y="258"/>
                  <a:pt x="656" y="257"/>
                </a:cubicBezTo>
                <a:cubicBezTo>
                  <a:pt x="656" y="257"/>
                  <a:pt x="656" y="257"/>
                  <a:pt x="656" y="257"/>
                </a:cubicBezTo>
                <a:cubicBezTo>
                  <a:pt x="655" y="256"/>
                  <a:pt x="655" y="256"/>
                  <a:pt x="655" y="256"/>
                </a:cubicBezTo>
                <a:cubicBezTo>
                  <a:pt x="656" y="256"/>
                  <a:pt x="656" y="256"/>
                  <a:pt x="656" y="256"/>
                </a:cubicBezTo>
                <a:cubicBezTo>
                  <a:pt x="656" y="257"/>
                  <a:pt x="656" y="257"/>
                  <a:pt x="656" y="257"/>
                </a:cubicBezTo>
                <a:cubicBezTo>
                  <a:pt x="657" y="257"/>
                  <a:pt x="658" y="257"/>
                  <a:pt x="659" y="258"/>
                </a:cubicBezTo>
                <a:cubicBezTo>
                  <a:pt x="659" y="258"/>
                  <a:pt x="659" y="258"/>
                  <a:pt x="659" y="258"/>
                </a:cubicBezTo>
                <a:cubicBezTo>
                  <a:pt x="660" y="259"/>
                  <a:pt x="660" y="260"/>
                  <a:pt x="661" y="260"/>
                </a:cubicBezTo>
                <a:cubicBezTo>
                  <a:pt x="661" y="260"/>
                  <a:pt x="661" y="260"/>
                  <a:pt x="661" y="260"/>
                </a:cubicBezTo>
                <a:cubicBezTo>
                  <a:pt x="662" y="260"/>
                  <a:pt x="663" y="260"/>
                  <a:pt x="665" y="260"/>
                </a:cubicBezTo>
                <a:cubicBezTo>
                  <a:pt x="667" y="259"/>
                  <a:pt x="668" y="257"/>
                  <a:pt x="668" y="255"/>
                </a:cubicBezTo>
                <a:cubicBezTo>
                  <a:pt x="668" y="254"/>
                  <a:pt x="668" y="253"/>
                  <a:pt x="668" y="252"/>
                </a:cubicBezTo>
                <a:cubicBezTo>
                  <a:pt x="668" y="252"/>
                  <a:pt x="668" y="252"/>
                  <a:pt x="668" y="252"/>
                </a:cubicBezTo>
                <a:cubicBezTo>
                  <a:pt x="668" y="251"/>
                  <a:pt x="668" y="251"/>
                  <a:pt x="668" y="251"/>
                </a:cubicBezTo>
                <a:cubicBezTo>
                  <a:pt x="666" y="250"/>
                  <a:pt x="666" y="250"/>
                  <a:pt x="668" y="248"/>
                </a:cubicBezTo>
                <a:cubicBezTo>
                  <a:pt x="668" y="248"/>
                  <a:pt x="668" y="248"/>
                  <a:pt x="668" y="248"/>
                </a:cubicBezTo>
                <a:cubicBezTo>
                  <a:pt x="668" y="247"/>
                  <a:pt x="668" y="247"/>
                  <a:pt x="668" y="248"/>
                </a:cubicBezTo>
                <a:cubicBezTo>
                  <a:pt x="668" y="248"/>
                  <a:pt x="668" y="248"/>
                  <a:pt x="668" y="248"/>
                </a:cubicBezTo>
                <a:cubicBezTo>
                  <a:pt x="668" y="248"/>
                  <a:pt x="668" y="248"/>
                  <a:pt x="668" y="248"/>
                </a:cubicBezTo>
                <a:cubicBezTo>
                  <a:pt x="668" y="249"/>
                  <a:pt x="668" y="250"/>
                  <a:pt x="668" y="251"/>
                </a:cubicBezTo>
                <a:cubicBezTo>
                  <a:pt x="668" y="251"/>
                  <a:pt x="668" y="251"/>
                  <a:pt x="668" y="251"/>
                </a:cubicBezTo>
                <a:cubicBezTo>
                  <a:pt x="668" y="252"/>
                  <a:pt x="668" y="252"/>
                  <a:pt x="668" y="252"/>
                </a:cubicBezTo>
                <a:cubicBezTo>
                  <a:pt x="670" y="252"/>
                  <a:pt x="671" y="253"/>
                  <a:pt x="673" y="254"/>
                </a:cubicBezTo>
                <a:cubicBezTo>
                  <a:pt x="673" y="254"/>
                  <a:pt x="674" y="255"/>
                  <a:pt x="674" y="255"/>
                </a:cubicBezTo>
                <a:cubicBezTo>
                  <a:pt x="674" y="256"/>
                  <a:pt x="674" y="256"/>
                  <a:pt x="674" y="256"/>
                </a:cubicBezTo>
                <a:cubicBezTo>
                  <a:pt x="673" y="258"/>
                  <a:pt x="672" y="259"/>
                  <a:pt x="672" y="260"/>
                </a:cubicBezTo>
                <a:cubicBezTo>
                  <a:pt x="672" y="262"/>
                  <a:pt x="674" y="263"/>
                  <a:pt x="674" y="264"/>
                </a:cubicBezTo>
                <a:cubicBezTo>
                  <a:pt x="675" y="267"/>
                  <a:pt x="676" y="270"/>
                  <a:pt x="678" y="272"/>
                </a:cubicBezTo>
                <a:cubicBezTo>
                  <a:pt x="679" y="272"/>
                  <a:pt x="679" y="273"/>
                  <a:pt x="678" y="274"/>
                </a:cubicBezTo>
                <a:cubicBezTo>
                  <a:pt x="677" y="274"/>
                  <a:pt x="676" y="274"/>
                  <a:pt x="675" y="275"/>
                </a:cubicBezTo>
                <a:cubicBezTo>
                  <a:pt x="675" y="275"/>
                  <a:pt x="674" y="276"/>
                  <a:pt x="674" y="277"/>
                </a:cubicBezTo>
                <a:cubicBezTo>
                  <a:pt x="674" y="277"/>
                  <a:pt x="674" y="278"/>
                  <a:pt x="675" y="278"/>
                </a:cubicBezTo>
                <a:cubicBezTo>
                  <a:pt x="677" y="279"/>
                  <a:pt x="679" y="277"/>
                  <a:pt x="682" y="278"/>
                </a:cubicBezTo>
                <a:cubicBezTo>
                  <a:pt x="682" y="278"/>
                  <a:pt x="682" y="279"/>
                  <a:pt x="682" y="279"/>
                </a:cubicBezTo>
                <a:cubicBezTo>
                  <a:pt x="683" y="279"/>
                  <a:pt x="683" y="280"/>
                  <a:pt x="682" y="280"/>
                </a:cubicBezTo>
                <a:cubicBezTo>
                  <a:pt x="681" y="281"/>
                  <a:pt x="680" y="281"/>
                  <a:pt x="680" y="281"/>
                </a:cubicBezTo>
                <a:cubicBezTo>
                  <a:pt x="679" y="282"/>
                  <a:pt x="679" y="283"/>
                  <a:pt x="679" y="284"/>
                </a:cubicBezTo>
                <a:cubicBezTo>
                  <a:pt x="680" y="284"/>
                  <a:pt x="680" y="284"/>
                  <a:pt x="681" y="284"/>
                </a:cubicBezTo>
                <a:cubicBezTo>
                  <a:pt x="681" y="284"/>
                  <a:pt x="682" y="284"/>
                  <a:pt x="683" y="284"/>
                </a:cubicBezTo>
                <a:cubicBezTo>
                  <a:pt x="685" y="283"/>
                  <a:pt x="687" y="284"/>
                  <a:pt x="687" y="286"/>
                </a:cubicBezTo>
                <a:cubicBezTo>
                  <a:pt x="687" y="287"/>
                  <a:pt x="688" y="288"/>
                  <a:pt x="688" y="288"/>
                </a:cubicBezTo>
                <a:cubicBezTo>
                  <a:pt x="691" y="289"/>
                  <a:pt x="691" y="291"/>
                  <a:pt x="691" y="294"/>
                </a:cubicBezTo>
                <a:cubicBezTo>
                  <a:pt x="690" y="296"/>
                  <a:pt x="690" y="299"/>
                  <a:pt x="690" y="302"/>
                </a:cubicBezTo>
                <a:cubicBezTo>
                  <a:pt x="690" y="303"/>
                  <a:pt x="689" y="305"/>
                  <a:pt x="688" y="305"/>
                </a:cubicBezTo>
                <a:cubicBezTo>
                  <a:pt x="686" y="305"/>
                  <a:pt x="685" y="306"/>
                  <a:pt x="684" y="308"/>
                </a:cubicBezTo>
                <a:cubicBezTo>
                  <a:pt x="682" y="310"/>
                  <a:pt x="680" y="312"/>
                  <a:pt x="677" y="313"/>
                </a:cubicBezTo>
                <a:cubicBezTo>
                  <a:pt x="673" y="317"/>
                  <a:pt x="671" y="317"/>
                  <a:pt x="674" y="324"/>
                </a:cubicBezTo>
                <a:cubicBezTo>
                  <a:pt x="674" y="324"/>
                  <a:pt x="674" y="325"/>
                  <a:pt x="673" y="325"/>
                </a:cubicBezTo>
                <a:cubicBezTo>
                  <a:pt x="670" y="325"/>
                  <a:pt x="668" y="326"/>
                  <a:pt x="665" y="327"/>
                </a:cubicBezTo>
                <a:cubicBezTo>
                  <a:pt x="662" y="328"/>
                  <a:pt x="659" y="328"/>
                  <a:pt x="657" y="326"/>
                </a:cubicBezTo>
                <a:cubicBezTo>
                  <a:pt x="655" y="326"/>
                  <a:pt x="654" y="325"/>
                  <a:pt x="652" y="324"/>
                </a:cubicBezTo>
                <a:cubicBezTo>
                  <a:pt x="652" y="324"/>
                  <a:pt x="651" y="324"/>
                  <a:pt x="650" y="324"/>
                </a:cubicBezTo>
                <a:cubicBezTo>
                  <a:pt x="649" y="326"/>
                  <a:pt x="647" y="328"/>
                  <a:pt x="645" y="329"/>
                </a:cubicBezTo>
                <a:cubicBezTo>
                  <a:pt x="645" y="330"/>
                  <a:pt x="644" y="331"/>
                  <a:pt x="643" y="332"/>
                </a:cubicBezTo>
                <a:cubicBezTo>
                  <a:pt x="643" y="334"/>
                  <a:pt x="643" y="336"/>
                  <a:pt x="644" y="337"/>
                </a:cubicBezTo>
                <a:cubicBezTo>
                  <a:pt x="647" y="340"/>
                  <a:pt x="650" y="342"/>
                  <a:pt x="654" y="340"/>
                </a:cubicBezTo>
                <a:cubicBezTo>
                  <a:pt x="655" y="339"/>
                  <a:pt x="656" y="339"/>
                  <a:pt x="657" y="339"/>
                </a:cubicBezTo>
                <a:cubicBezTo>
                  <a:pt x="658" y="339"/>
                  <a:pt x="659" y="339"/>
                  <a:pt x="659" y="339"/>
                </a:cubicBezTo>
                <a:cubicBezTo>
                  <a:pt x="662" y="340"/>
                  <a:pt x="665" y="339"/>
                  <a:pt x="668" y="340"/>
                </a:cubicBezTo>
                <a:cubicBezTo>
                  <a:pt x="670" y="340"/>
                  <a:pt x="671" y="341"/>
                  <a:pt x="672" y="342"/>
                </a:cubicBezTo>
                <a:cubicBezTo>
                  <a:pt x="673" y="345"/>
                  <a:pt x="674" y="348"/>
                  <a:pt x="676" y="350"/>
                </a:cubicBezTo>
                <a:cubicBezTo>
                  <a:pt x="677" y="352"/>
                  <a:pt x="678" y="353"/>
                  <a:pt x="677" y="355"/>
                </a:cubicBezTo>
                <a:cubicBezTo>
                  <a:pt x="676" y="356"/>
                  <a:pt x="677" y="357"/>
                  <a:pt x="677" y="358"/>
                </a:cubicBezTo>
                <a:cubicBezTo>
                  <a:pt x="679" y="360"/>
                  <a:pt x="681" y="362"/>
                  <a:pt x="683" y="363"/>
                </a:cubicBezTo>
                <a:cubicBezTo>
                  <a:pt x="683" y="364"/>
                  <a:pt x="683" y="364"/>
                  <a:pt x="683" y="364"/>
                </a:cubicBezTo>
                <a:cubicBezTo>
                  <a:pt x="684" y="364"/>
                  <a:pt x="684" y="364"/>
                  <a:pt x="684" y="364"/>
                </a:cubicBezTo>
                <a:cubicBezTo>
                  <a:pt x="684" y="363"/>
                  <a:pt x="684" y="363"/>
                  <a:pt x="684" y="363"/>
                </a:cubicBezTo>
                <a:cubicBezTo>
                  <a:pt x="685" y="364"/>
                  <a:pt x="687" y="366"/>
                  <a:pt x="688" y="367"/>
                </a:cubicBezTo>
                <a:cubicBezTo>
                  <a:pt x="691" y="370"/>
                  <a:pt x="693" y="372"/>
                  <a:pt x="697" y="373"/>
                </a:cubicBezTo>
                <a:cubicBezTo>
                  <a:pt x="698" y="373"/>
                  <a:pt x="700" y="375"/>
                  <a:pt x="701" y="375"/>
                </a:cubicBezTo>
                <a:cubicBezTo>
                  <a:pt x="703" y="376"/>
                  <a:pt x="704" y="377"/>
                  <a:pt x="706" y="377"/>
                </a:cubicBezTo>
                <a:cubicBezTo>
                  <a:pt x="706" y="377"/>
                  <a:pt x="707" y="377"/>
                  <a:pt x="707" y="376"/>
                </a:cubicBezTo>
                <a:cubicBezTo>
                  <a:pt x="708" y="375"/>
                  <a:pt x="708" y="373"/>
                  <a:pt x="708" y="371"/>
                </a:cubicBezTo>
                <a:cubicBezTo>
                  <a:pt x="705" y="367"/>
                  <a:pt x="703" y="363"/>
                  <a:pt x="699" y="359"/>
                </a:cubicBezTo>
                <a:cubicBezTo>
                  <a:pt x="698" y="358"/>
                  <a:pt x="698" y="357"/>
                  <a:pt x="698" y="355"/>
                </a:cubicBezTo>
                <a:cubicBezTo>
                  <a:pt x="698" y="355"/>
                  <a:pt x="698" y="355"/>
                  <a:pt x="698" y="355"/>
                </a:cubicBezTo>
                <a:cubicBezTo>
                  <a:pt x="698" y="355"/>
                  <a:pt x="697" y="354"/>
                  <a:pt x="697" y="354"/>
                </a:cubicBezTo>
                <a:cubicBezTo>
                  <a:pt x="697" y="354"/>
                  <a:pt x="697" y="354"/>
                  <a:pt x="697" y="354"/>
                </a:cubicBezTo>
                <a:cubicBezTo>
                  <a:pt x="697" y="354"/>
                  <a:pt x="697" y="354"/>
                  <a:pt x="697" y="354"/>
                </a:cubicBezTo>
                <a:cubicBezTo>
                  <a:pt x="697" y="354"/>
                  <a:pt x="697" y="354"/>
                  <a:pt x="697" y="354"/>
                </a:cubicBezTo>
                <a:cubicBezTo>
                  <a:pt x="698" y="354"/>
                  <a:pt x="698" y="355"/>
                  <a:pt x="698" y="355"/>
                </a:cubicBezTo>
                <a:cubicBezTo>
                  <a:pt x="698" y="355"/>
                  <a:pt x="698" y="355"/>
                  <a:pt x="698" y="355"/>
                </a:cubicBezTo>
                <a:cubicBezTo>
                  <a:pt x="700" y="356"/>
                  <a:pt x="703" y="357"/>
                  <a:pt x="705" y="360"/>
                </a:cubicBezTo>
                <a:cubicBezTo>
                  <a:pt x="706" y="361"/>
                  <a:pt x="708" y="363"/>
                  <a:pt x="710" y="364"/>
                </a:cubicBezTo>
                <a:cubicBezTo>
                  <a:pt x="712" y="364"/>
                  <a:pt x="713" y="366"/>
                  <a:pt x="714" y="367"/>
                </a:cubicBezTo>
                <a:cubicBezTo>
                  <a:pt x="715" y="369"/>
                  <a:pt x="715" y="370"/>
                  <a:pt x="716" y="372"/>
                </a:cubicBezTo>
                <a:cubicBezTo>
                  <a:pt x="717" y="372"/>
                  <a:pt x="717" y="373"/>
                  <a:pt x="718" y="373"/>
                </a:cubicBezTo>
                <a:cubicBezTo>
                  <a:pt x="718" y="372"/>
                  <a:pt x="719" y="372"/>
                  <a:pt x="718" y="371"/>
                </a:cubicBezTo>
                <a:cubicBezTo>
                  <a:pt x="717" y="369"/>
                  <a:pt x="717" y="367"/>
                  <a:pt x="719" y="365"/>
                </a:cubicBezTo>
                <a:cubicBezTo>
                  <a:pt x="720" y="363"/>
                  <a:pt x="720" y="362"/>
                  <a:pt x="722" y="361"/>
                </a:cubicBezTo>
                <a:cubicBezTo>
                  <a:pt x="723" y="360"/>
                  <a:pt x="723" y="358"/>
                  <a:pt x="723" y="357"/>
                </a:cubicBezTo>
                <a:cubicBezTo>
                  <a:pt x="723" y="356"/>
                  <a:pt x="723" y="355"/>
                  <a:pt x="722" y="354"/>
                </a:cubicBezTo>
                <a:cubicBezTo>
                  <a:pt x="721" y="351"/>
                  <a:pt x="720" y="348"/>
                  <a:pt x="721" y="345"/>
                </a:cubicBezTo>
                <a:cubicBezTo>
                  <a:pt x="721" y="343"/>
                  <a:pt x="720" y="342"/>
                  <a:pt x="718" y="341"/>
                </a:cubicBezTo>
                <a:cubicBezTo>
                  <a:pt x="717" y="340"/>
                  <a:pt x="715" y="338"/>
                  <a:pt x="714" y="337"/>
                </a:cubicBezTo>
                <a:cubicBezTo>
                  <a:pt x="713" y="336"/>
                  <a:pt x="713" y="335"/>
                  <a:pt x="713" y="334"/>
                </a:cubicBezTo>
                <a:cubicBezTo>
                  <a:pt x="713" y="331"/>
                  <a:pt x="712" y="329"/>
                  <a:pt x="710" y="327"/>
                </a:cubicBezTo>
                <a:cubicBezTo>
                  <a:pt x="710" y="326"/>
                  <a:pt x="710" y="326"/>
                  <a:pt x="710" y="325"/>
                </a:cubicBezTo>
                <a:cubicBezTo>
                  <a:pt x="710" y="325"/>
                  <a:pt x="710" y="325"/>
                  <a:pt x="710" y="325"/>
                </a:cubicBezTo>
                <a:cubicBezTo>
                  <a:pt x="710" y="325"/>
                  <a:pt x="710" y="325"/>
                  <a:pt x="710" y="325"/>
                </a:cubicBezTo>
                <a:cubicBezTo>
                  <a:pt x="710" y="325"/>
                  <a:pt x="710" y="325"/>
                  <a:pt x="710" y="325"/>
                </a:cubicBezTo>
                <a:cubicBezTo>
                  <a:pt x="710" y="325"/>
                  <a:pt x="710" y="325"/>
                  <a:pt x="710" y="325"/>
                </a:cubicBezTo>
                <a:cubicBezTo>
                  <a:pt x="711" y="325"/>
                  <a:pt x="711" y="325"/>
                  <a:pt x="712" y="325"/>
                </a:cubicBezTo>
                <a:cubicBezTo>
                  <a:pt x="714" y="325"/>
                  <a:pt x="715" y="325"/>
                  <a:pt x="715" y="322"/>
                </a:cubicBezTo>
                <a:cubicBezTo>
                  <a:pt x="715" y="322"/>
                  <a:pt x="716" y="321"/>
                  <a:pt x="716" y="320"/>
                </a:cubicBezTo>
                <a:cubicBezTo>
                  <a:pt x="716" y="319"/>
                  <a:pt x="718" y="319"/>
                  <a:pt x="718" y="320"/>
                </a:cubicBezTo>
                <a:cubicBezTo>
                  <a:pt x="719" y="322"/>
                  <a:pt x="721" y="323"/>
                  <a:pt x="722" y="325"/>
                </a:cubicBezTo>
                <a:cubicBezTo>
                  <a:pt x="723" y="327"/>
                  <a:pt x="725" y="329"/>
                  <a:pt x="725" y="332"/>
                </a:cubicBezTo>
                <a:cubicBezTo>
                  <a:pt x="725" y="333"/>
                  <a:pt x="725" y="334"/>
                  <a:pt x="726" y="335"/>
                </a:cubicBezTo>
                <a:cubicBezTo>
                  <a:pt x="726" y="336"/>
                  <a:pt x="726" y="336"/>
                  <a:pt x="726" y="337"/>
                </a:cubicBezTo>
                <a:cubicBezTo>
                  <a:pt x="728" y="338"/>
                  <a:pt x="730" y="340"/>
                  <a:pt x="732" y="340"/>
                </a:cubicBezTo>
                <a:cubicBezTo>
                  <a:pt x="733" y="341"/>
                  <a:pt x="734" y="340"/>
                  <a:pt x="734" y="340"/>
                </a:cubicBezTo>
                <a:cubicBezTo>
                  <a:pt x="734" y="338"/>
                  <a:pt x="735" y="336"/>
                  <a:pt x="735" y="335"/>
                </a:cubicBezTo>
                <a:cubicBezTo>
                  <a:pt x="735" y="334"/>
                  <a:pt x="736" y="333"/>
                  <a:pt x="737" y="332"/>
                </a:cubicBezTo>
                <a:cubicBezTo>
                  <a:pt x="738" y="332"/>
                  <a:pt x="739" y="332"/>
                  <a:pt x="740" y="332"/>
                </a:cubicBezTo>
                <a:cubicBezTo>
                  <a:pt x="744" y="330"/>
                  <a:pt x="745" y="326"/>
                  <a:pt x="749" y="324"/>
                </a:cubicBezTo>
                <a:cubicBezTo>
                  <a:pt x="750" y="323"/>
                  <a:pt x="751" y="322"/>
                  <a:pt x="752" y="321"/>
                </a:cubicBezTo>
                <a:cubicBezTo>
                  <a:pt x="752" y="320"/>
                  <a:pt x="752" y="319"/>
                  <a:pt x="752" y="318"/>
                </a:cubicBezTo>
                <a:cubicBezTo>
                  <a:pt x="751" y="316"/>
                  <a:pt x="750" y="315"/>
                  <a:pt x="748" y="314"/>
                </a:cubicBezTo>
                <a:cubicBezTo>
                  <a:pt x="747" y="314"/>
                  <a:pt x="745" y="314"/>
                  <a:pt x="745" y="313"/>
                </a:cubicBezTo>
                <a:cubicBezTo>
                  <a:pt x="745" y="313"/>
                  <a:pt x="745" y="313"/>
                  <a:pt x="745" y="313"/>
                </a:cubicBezTo>
                <a:cubicBezTo>
                  <a:pt x="745" y="313"/>
                  <a:pt x="745" y="313"/>
                  <a:pt x="745" y="312"/>
                </a:cubicBezTo>
                <a:cubicBezTo>
                  <a:pt x="745" y="312"/>
                  <a:pt x="745" y="313"/>
                  <a:pt x="745" y="313"/>
                </a:cubicBezTo>
                <a:cubicBezTo>
                  <a:pt x="744" y="312"/>
                  <a:pt x="744" y="311"/>
                  <a:pt x="745" y="311"/>
                </a:cubicBezTo>
                <a:cubicBezTo>
                  <a:pt x="745" y="311"/>
                  <a:pt x="745" y="311"/>
                  <a:pt x="745" y="311"/>
                </a:cubicBezTo>
                <a:cubicBezTo>
                  <a:pt x="745" y="311"/>
                  <a:pt x="745" y="311"/>
                  <a:pt x="745" y="311"/>
                </a:cubicBezTo>
                <a:cubicBezTo>
                  <a:pt x="745" y="311"/>
                  <a:pt x="745" y="311"/>
                  <a:pt x="745" y="311"/>
                </a:cubicBezTo>
                <a:cubicBezTo>
                  <a:pt x="744" y="310"/>
                  <a:pt x="744" y="310"/>
                  <a:pt x="744" y="310"/>
                </a:cubicBezTo>
                <a:cubicBezTo>
                  <a:pt x="743" y="309"/>
                  <a:pt x="742" y="310"/>
                  <a:pt x="742" y="310"/>
                </a:cubicBezTo>
                <a:cubicBezTo>
                  <a:pt x="741" y="309"/>
                  <a:pt x="741" y="310"/>
                  <a:pt x="740" y="309"/>
                </a:cubicBezTo>
                <a:cubicBezTo>
                  <a:pt x="739" y="309"/>
                  <a:pt x="738" y="308"/>
                  <a:pt x="739" y="307"/>
                </a:cubicBezTo>
                <a:cubicBezTo>
                  <a:pt x="740" y="304"/>
                  <a:pt x="740" y="304"/>
                  <a:pt x="738" y="303"/>
                </a:cubicBezTo>
                <a:cubicBezTo>
                  <a:pt x="737" y="302"/>
                  <a:pt x="735" y="301"/>
                  <a:pt x="735" y="299"/>
                </a:cubicBezTo>
                <a:cubicBezTo>
                  <a:pt x="734" y="299"/>
                  <a:pt x="732" y="298"/>
                  <a:pt x="731" y="297"/>
                </a:cubicBezTo>
                <a:cubicBezTo>
                  <a:pt x="729" y="297"/>
                  <a:pt x="728" y="296"/>
                  <a:pt x="728" y="294"/>
                </a:cubicBezTo>
                <a:cubicBezTo>
                  <a:pt x="727" y="291"/>
                  <a:pt x="725" y="290"/>
                  <a:pt x="723" y="289"/>
                </a:cubicBezTo>
                <a:cubicBezTo>
                  <a:pt x="722" y="289"/>
                  <a:pt x="721" y="288"/>
                  <a:pt x="722" y="287"/>
                </a:cubicBezTo>
                <a:cubicBezTo>
                  <a:pt x="724" y="285"/>
                  <a:pt x="726" y="283"/>
                  <a:pt x="725" y="280"/>
                </a:cubicBezTo>
                <a:cubicBezTo>
                  <a:pt x="725" y="280"/>
                  <a:pt x="725" y="279"/>
                  <a:pt x="726" y="280"/>
                </a:cubicBezTo>
                <a:cubicBezTo>
                  <a:pt x="727" y="280"/>
                  <a:pt x="729" y="281"/>
                  <a:pt x="730" y="281"/>
                </a:cubicBezTo>
                <a:cubicBezTo>
                  <a:pt x="731" y="281"/>
                  <a:pt x="732" y="280"/>
                  <a:pt x="732" y="280"/>
                </a:cubicBezTo>
                <a:cubicBezTo>
                  <a:pt x="733" y="279"/>
                  <a:pt x="732" y="278"/>
                  <a:pt x="732" y="277"/>
                </a:cubicBezTo>
                <a:cubicBezTo>
                  <a:pt x="732" y="277"/>
                  <a:pt x="732" y="277"/>
                  <a:pt x="732" y="277"/>
                </a:cubicBezTo>
                <a:cubicBezTo>
                  <a:pt x="730" y="275"/>
                  <a:pt x="730" y="274"/>
                  <a:pt x="731" y="272"/>
                </a:cubicBezTo>
                <a:cubicBezTo>
                  <a:pt x="733" y="271"/>
                  <a:pt x="733" y="269"/>
                  <a:pt x="732" y="267"/>
                </a:cubicBezTo>
                <a:cubicBezTo>
                  <a:pt x="731" y="265"/>
                  <a:pt x="730" y="263"/>
                  <a:pt x="730" y="260"/>
                </a:cubicBezTo>
                <a:cubicBezTo>
                  <a:pt x="729" y="256"/>
                  <a:pt x="726" y="253"/>
                  <a:pt x="722" y="253"/>
                </a:cubicBezTo>
                <a:cubicBezTo>
                  <a:pt x="721" y="252"/>
                  <a:pt x="719" y="251"/>
                  <a:pt x="719" y="249"/>
                </a:cubicBezTo>
                <a:cubicBezTo>
                  <a:pt x="719" y="249"/>
                  <a:pt x="718" y="248"/>
                  <a:pt x="717" y="248"/>
                </a:cubicBezTo>
                <a:cubicBezTo>
                  <a:pt x="717" y="248"/>
                  <a:pt x="717" y="248"/>
                  <a:pt x="717" y="248"/>
                </a:cubicBezTo>
                <a:cubicBezTo>
                  <a:pt x="717" y="248"/>
                  <a:pt x="717" y="248"/>
                  <a:pt x="717" y="248"/>
                </a:cubicBezTo>
                <a:cubicBezTo>
                  <a:pt x="717" y="248"/>
                  <a:pt x="717" y="248"/>
                  <a:pt x="717" y="248"/>
                </a:cubicBezTo>
                <a:cubicBezTo>
                  <a:pt x="717" y="248"/>
                  <a:pt x="717" y="248"/>
                  <a:pt x="717" y="248"/>
                </a:cubicBezTo>
                <a:cubicBezTo>
                  <a:pt x="718" y="246"/>
                  <a:pt x="718" y="244"/>
                  <a:pt x="717" y="242"/>
                </a:cubicBezTo>
                <a:cubicBezTo>
                  <a:pt x="716" y="241"/>
                  <a:pt x="715" y="239"/>
                  <a:pt x="714" y="238"/>
                </a:cubicBezTo>
                <a:cubicBezTo>
                  <a:pt x="713" y="237"/>
                  <a:pt x="712" y="236"/>
                  <a:pt x="710" y="237"/>
                </a:cubicBezTo>
                <a:cubicBezTo>
                  <a:pt x="708" y="238"/>
                  <a:pt x="707" y="238"/>
                  <a:pt x="707" y="237"/>
                </a:cubicBezTo>
                <a:cubicBezTo>
                  <a:pt x="706" y="235"/>
                  <a:pt x="704" y="235"/>
                  <a:pt x="703" y="235"/>
                </a:cubicBezTo>
                <a:cubicBezTo>
                  <a:pt x="702" y="235"/>
                  <a:pt x="702" y="235"/>
                  <a:pt x="702" y="235"/>
                </a:cubicBezTo>
                <a:cubicBezTo>
                  <a:pt x="701" y="235"/>
                  <a:pt x="701" y="234"/>
                  <a:pt x="702" y="234"/>
                </a:cubicBezTo>
                <a:cubicBezTo>
                  <a:pt x="703" y="233"/>
                  <a:pt x="703" y="232"/>
                  <a:pt x="704" y="231"/>
                </a:cubicBezTo>
                <a:cubicBezTo>
                  <a:pt x="704" y="231"/>
                  <a:pt x="704" y="230"/>
                  <a:pt x="704" y="229"/>
                </a:cubicBezTo>
                <a:cubicBezTo>
                  <a:pt x="703" y="229"/>
                  <a:pt x="702" y="228"/>
                  <a:pt x="702" y="228"/>
                </a:cubicBezTo>
                <a:cubicBezTo>
                  <a:pt x="701" y="227"/>
                  <a:pt x="702" y="226"/>
                  <a:pt x="702" y="224"/>
                </a:cubicBezTo>
                <a:cubicBezTo>
                  <a:pt x="702" y="223"/>
                  <a:pt x="702" y="222"/>
                  <a:pt x="701" y="221"/>
                </a:cubicBezTo>
                <a:cubicBezTo>
                  <a:pt x="698" y="218"/>
                  <a:pt x="695" y="217"/>
                  <a:pt x="692" y="214"/>
                </a:cubicBezTo>
                <a:cubicBezTo>
                  <a:pt x="692" y="214"/>
                  <a:pt x="692" y="214"/>
                  <a:pt x="692" y="214"/>
                </a:cubicBezTo>
                <a:cubicBezTo>
                  <a:pt x="692" y="214"/>
                  <a:pt x="692" y="214"/>
                  <a:pt x="692" y="214"/>
                </a:cubicBezTo>
                <a:cubicBezTo>
                  <a:pt x="693" y="215"/>
                  <a:pt x="693" y="215"/>
                  <a:pt x="693" y="215"/>
                </a:cubicBezTo>
                <a:cubicBezTo>
                  <a:pt x="690" y="214"/>
                  <a:pt x="687" y="215"/>
                  <a:pt x="685" y="217"/>
                </a:cubicBezTo>
                <a:cubicBezTo>
                  <a:pt x="683" y="218"/>
                  <a:pt x="680" y="218"/>
                  <a:pt x="678" y="217"/>
                </a:cubicBezTo>
                <a:cubicBezTo>
                  <a:pt x="676" y="216"/>
                  <a:pt x="675" y="217"/>
                  <a:pt x="673" y="218"/>
                </a:cubicBezTo>
                <a:cubicBezTo>
                  <a:pt x="673" y="218"/>
                  <a:pt x="673" y="218"/>
                  <a:pt x="673" y="218"/>
                </a:cubicBezTo>
                <a:cubicBezTo>
                  <a:pt x="673" y="218"/>
                  <a:pt x="673" y="218"/>
                  <a:pt x="672" y="219"/>
                </a:cubicBezTo>
                <a:cubicBezTo>
                  <a:pt x="672" y="218"/>
                  <a:pt x="673" y="218"/>
                  <a:pt x="673" y="218"/>
                </a:cubicBezTo>
                <a:cubicBezTo>
                  <a:pt x="673" y="218"/>
                  <a:pt x="673" y="218"/>
                  <a:pt x="673" y="218"/>
                </a:cubicBezTo>
                <a:cubicBezTo>
                  <a:pt x="674" y="216"/>
                  <a:pt x="674" y="215"/>
                  <a:pt x="674" y="213"/>
                </a:cubicBezTo>
                <a:cubicBezTo>
                  <a:pt x="675" y="209"/>
                  <a:pt x="677" y="206"/>
                  <a:pt x="677" y="202"/>
                </a:cubicBezTo>
                <a:cubicBezTo>
                  <a:pt x="677" y="201"/>
                  <a:pt x="678" y="200"/>
                  <a:pt x="678" y="199"/>
                </a:cubicBezTo>
                <a:cubicBezTo>
                  <a:pt x="678" y="198"/>
                  <a:pt x="678" y="198"/>
                  <a:pt x="678" y="197"/>
                </a:cubicBezTo>
                <a:cubicBezTo>
                  <a:pt x="678" y="194"/>
                  <a:pt x="677" y="193"/>
                  <a:pt x="674" y="192"/>
                </a:cubicBezTo>
                <a:cubicBezTo>
                  <a:pt x="673" y="192"/>
                  <a:pt x="671" y="192"/>
                  <a:pt x="670" y="192"/>
                </a:cubicBezTo>
                <a:cubicBezTo>
                  <a:pt x="666" y="193"/>
                  <a:pt x="663" y="195"/>
                  <a:pt x="660" y="195"/>
                </a:cubicBezTo>
                <a:cubicBezTo>
                  <a:pt x="657" y="195"/>
                  <a:pt x="654" y="196"/>
                  <a:pt x="652" y="199"/>
                </a:cubicBezTo>
                <a:cubicBezTo>
                  <a:pt x="651" y="200"/>
                  <a:pt x="650" y="201"/>
                  <a:pt x="649" y="202"/>
                </a:cubicBezTo>
                <a:cubicBezTo>
                  <a:pt x="646" y="205"/>
                  <a:pt x="645" y="208"/>
                  <a:pt x="646" y="212"/>
                </a:cubicBezTo>
                <a:cubicBezTo>
                  <a:pt x="647" y="213"/>
                  <a:pt x="647" y="214"/>
                  <a:pt x="646" y="214"/>
                </a:cubicBezTo>
                <a:cubicBezTo>
                  <a:pt x="644" y="214"/>
                  <a:pt x="643" y="215"/>
                  <a:pt x="642" y="216"/>
                </a:cubicBezTo>
                <a:cubicBezTo>
                  <a:pt x="641" y="217"/>
                  <a:pt x="640" y="218"/>
                  <a:pt x="641" y="220"/>
                </a:cubicBezTo>
                <a:cubicBezTo>
                  <a:pt x="641" y="221"/>
                  <a:pt x="642" y="223"/>
                  <a:pt x="642" y="225"/>
                </a:cubicBezTo>
                <a:cubicBezTo>
                  <a:pt x="642" y="225"/>
                  <a:pt x="642" y="226"/>
                  <a:pt x="642" y="226"/>
                </a:cubicBezTo>
                <a:cubicBezTo>
                  <a:pt x="642" y="227"/>
                  <a:pt x="642" y="227"/>
                  <a:pt x="642" y="227"/>
                </a:cubicBezTo>
                <a:cubicBezTo>
                  <a:pt x="642" y="227"/>
                  <a:pt x="641" y="228"/>
                  <a:pt x="641" y="227"/>
                </a:cubicBezTo>
                <a:cubicBezTo>
                  <a:pt x="638" y="225"/>
                  <a:pt x="637" y="220"/>
                  <a:pt x="638" y="217"/>
                </a:cubicBezTo>
                <a:cubicBezTo>
                  <a:pt x="638" y="217"/>
                  <a:pt x="638" y="217"/>
                  <a:pt x="638" y="216"/>
                </a:cubicBezTo>
                <a:cubicBezTo>
                  <a:pt x="639" y="215"/>
                  <a:pt x="639" y="214"/>
                  <a:pt x="640" y="213"/>
                </a:cubicBezTo>
                <a:cubicBezTo>
                  <a:pt x="641" y="211"/>
                  <a:pt x="642" y="209"/>
                  <a:pt x="641" y="207"/>
                </a:cubicBezTo>
                <a:cubicBezTo>
                  <a:pt x="641" y="205"/>
                  <a:pt x="642" y="204"/>
                  <a:pt x="643" y="203"/>
                </a:cubicBezTo>
                <a:cubicBezTo>
                  <a:pt x="644" y="202"/>
                  <a:pt x="645" y="201"/>
                  <a:pt x="646" y="200"/>
                </a:cubicBezTo>
                <a:cubicBezTo>
                  <a:pt x="649" y="196"/>
                  <a:pt x="653" y="193"/>
                  <a:pt x="657" y="191"/>
                </a:cubicBezTo>
                <a:cubicBezTo>
                  <a:pt x="658" y="191"/>
                  <a:pt x="658" y="191"/>
                  <a:pt x="658" y="190"/>
                </a:cubicBezTo>
                <a:cubicBezTo>
                  <a:pt x="659" y="190"/>
                  <a:pt x="659" y="189"/>
                  <a:pt x="658" y="189"/>
                </a:cubicBezTo>
                <a:cubicBezTo>
                  <a:pt x="658" y="188"/>
                  <a:pt x="657" y="187"/>
                  <a:pt x="656" y="186"/>
                </a:cubicBezTo>
                <a:cubicBezTo>
                  <a:pt x="650" y="184"/>
                  <a:pt x="644" y="185"/>
                  <a:pt x="639" y="188"/>
                </a:cubicBezTo>
                <a:cubicBezTo>
                  <a:pt x="637" y="190"/>
                  <a:pt x="635" y="192"/>
                  <a:pt x="632" y="193"/>
                </a:cubicBezTo>
                <a:cubicBezTo>
                  <a:pt x="629" y="196"/>
                  <a:pt x="627" y="201"/>
                  <a:pt x="623" y="203"/>
                </a:cubicBezTo>
                <a:cubicBezTo>
                  <a:pt x="623" y="203"/>
                  <a:pt x="623" y="204"/>
                  <a:pt x="622" y="204"/>
                </a:cubicBezTo>
                <a:cubicBezTo>
                  <a:pt x="622" y="205"/>
                  <a:pt x="621" y="206"/>
                  <a:pt x="620" y="207"/>
                </a:cubicBezTo>
                <a:cubicBezTo>
                  <a:pt x="620" y="208"/>
                  <a:pt x="620" y="210"/>
                  <a:pt x="619" y="210"/>
                </a:cubicBezTo>
                <a:cubicBezTo>
                  <a:pt x="615" y="213"/>
                  <a:pt x="614" y="218"/>
                  <a:pt x="612" y="222"/>
                </a:cubicBezTo>
                <a:cubicBezTo>
                  <a:pt x="611" y="224"/>
                  <a:pt x="612" y="226"/>
                  <a:pt x="615" y="227"/>
                </a:cubicBezTo>
                <a:cubicBezTo>
                  <a:pt x="617" y="227"/>
                  <a:pt x="619" y="228"/>
                  <a:pt x="621" y="229"/>
                </a:cubicBezTo>
                <a:cubicBezTo>
                  <a:pt x="622" y="230"/>
                  <a:pt x="622" y="230"/>
                  <a:pt x="623" y="231"/>
                </a:cubicBezTo>
                <a:cubicBezTo>
                  <a:pt x="623" y="231"/>
                  <a:pt x="623" y="232"/>
                  <a:pt x="623" y="233"/>
                </a:cubicBezTo>
                <a:cubicBezTo>
                  <a:pt x="622" y="233"/>
                  <a:pt x="622" y="233"/>
                  <a:pt x="621" y="233"/>
                </a:cubicBezTo>
                <a:cubicBezTo>
                  <a:pt x="620" y="232"/>
                  <a:pt x="618" y="231"/>
                  <a:pt x="617" y="230"/>
                </a:cubicBezTo>
                <a:cubicBezTo>
                  <a:pt x="615" y="229"/>
                  <a:pt x="612" y="231"/>
                  <a:pt x="612" y="233"/>
                </a:cubicBezTo>
                <a:cubicBezTo>
                  <a:pt x="612" y="235"/>
                  <a:pt x="612" y="236"/>
                  <a:pt x="612" y="238"/>
                </a:cubicBezTo>
                <a:cubicBezTo>
                  <a:pt x="612" y="240"/>
                  <a:pt x="614" y="241"/>
                  <a:pt x="615" y="243"/>
                </a:cubicBezTo>
                <a:cubicBezTo>
                  <a:pt x="616" y="244"/>
                  <a:pt x="617" y="244"/>
                  <a:pt x="619" y="245"/>
                </a:cubicBezTo>
                <a:cubicBezTo>
                  <a:pt x="620" y="245"/>
                  <a:pt x="621" y="245"/>
                  <a:pt x="621" y="245"/>
                </a:cubicBezTo>
                <a:cubicBezTo>
                  <a:pt x="623" y="245"/>
                  <a:pt x="624" y="246"/>
                  <a:pt x="624" y="248"/>
                </a:cubicBezTo>
                <a:cubicBezTo>
                  <a:pt x="626" y="249"/>
                  <a:pt x="627" y="251"/>
                  <a:pt x="630" y="250"/>
                </a:cubicBezTo>
                <a:cubicBezTo>
                  <a:pt x="632" y="250"/>
                  <a:pt x="632" y="251"/>
                  <a:pt x="633" y="253"/>
                </a:cubicBezTo>
                <a:cubicBezTo>
                  <a:pt x="635" y="253"/>
                  <a:pt x="636" y="253"/>
                  <a:pt x="638" y="255"/>
                </a:cubicBezTo>
                <a:cubicBezTo>
                  <a:pt x="639" y="255"/>
                  <a:pt x="640" y="254"/>
                  <a:pt x="640" y="254"/>
                </a:cubicBezTo>
                <a:close/>
                <a:moveTo>
                  <a:pt x="685" y="339"/>
                </a:moveTo>
                <a:cubicBezTo>
                  <a:pt x="685" y="339"/>
                  <a:pt x="684" y="338"/>
                  <a:pt x="684" y="338"/>
                </a:cubicBezTo>
                <a:cubicBezTo>
                  <a:pt x="683" y="338"/>
                  <a:pt x="683" y="338"/>
                  <a:pt x="683" y="337"/>
                </a:cubicBezTo>
                <a:cubicBezTo>
                  <a:pt x="684" y="336"/>
                  <a:pt x="685" y="334"/>
                  <a:pt x="686" y="333"/>
                </a:cubicBezTo>
                <a:cubicBezTo>
                  <a:pt x="686" y="332"/>
                  <a:pt x="687" y="332"/>
                  <a:pt x="687" y="332"/>
                </a:cubicBezTo>
                <a:cubicBezTo>
                  <a:pt x="687" y="332"/>
                  <a:pt x="688" y="333"/>
                  <a:pt x="688" y="333"/>
                </a:cubicBezTo>
                <a:cubicBezTo>
                  <a:pt x="688" y="334"/>
                  <a:pt x="688" y="334"/>
                  <a:pt x="688" y="335"/>
                </a:cubicBezTo>
                <a:cubicBezTo>
                  <a:pt x="688" y="337"/>
                  <a:pt x="687" y="338"/>
                  <a:pt x="685" y="339"/>
                </a:cubicBezTo>
                <a:close/>
                <a:moveTo>
                  <a:pt x="726" y="262"/>
                </a:moveTo>
                <a:cubicBezTo>
                  <a:pt x="726" y="262"/>
                  <a:pt x="727" y="263"/>
                  <a:pt x="727" y="263"/>
                </a:cubicBezTo>
                <a:cubicBezTo>
                  <a:pt x="727" y="264"/>
                  <a:pt x="726" y="265"/>
                  <a:pt x="726" y="265"/>
                </a:cubicBezTo>
                <a:cubicBezTo>
                  <a:pt x="726" y="265"/>
                  <a:pt x="726" y="265"/>
                  <a:pt x="726" y="265"/>
                </a:cubicBezTo>
                <a:cubicBezTo>
                  <a:pt x="725" y="266"/>
                  <a:pt x="725" y="266"/>
                  <a:pt x="725" y="266"/>
                </a:cubicBezTo>
                <a:cubicBezTo>
                  <a:pt x="726" y="265"/>
                  <a:pt x="726" y="265"/>
                  <a:pt x="726" y="265"/>
                </a:cubicBezTo>
                <a:cubicBezTo>
                  <a:pt x="726" y="265"/>
                  <a:pt x="726" y="265"/>
                  <a:pt x="726" y="265"/>
                </a:cubicBezTo>
                <a:cubicBezTo>
                  <a:pt x="725" y="264"/>
                  <a:pt x="725" y="264"/>
                  <a:pt x="725" y="263"/>
                </a:cubicBezTo>
                <a:cubicBezTo>
                  <a:pt x="725" y="263"/>
                  <a:pt x="726" y="263"/>
                  <a:pt x="726" y="262"/>
                </a:cubicBezTo>
                <a:close/>
                <a:moveTo>
                  <a:pt x="671" y="220"/>
                </a:moveTo>
                <a:cubicBezTo>
                  <a:pt x="672" y="219"/>
                  <a:pt x="672" y="219"/>
                  <a:pt x="672" y="219"/>
                </a:cubicBezTo>
                <a:cubicBezTo>
                  <a:pt x="672" y="219"/>
                  <a:pt x="672" y="219"/>
                  <a:pt x="672" y="220"/>
                </a:cubicBezTo>
                <a:cubicBezTo>
                  <a:pt x="672" y="220"/>
                  <a:pt x="671" y="220"/>
                  <a:pt x="671" y="220"/>
                </a:cubicBezTo>
                <a:close/>
                <a:moveTo>
                  <a:pt x="639" y="231"/>
                </a:moveTo>
                <a:cubicBezTo>
                  <a:pt x="640" y="231"/>
                  <a:pt x="640" y="231"/>
                  <a:pt x="640" y="231"/>
                </a:cubicBezTo>
                <a:cubicBezTo>
                  <a:pt x="639" y="232"/>
                  <a:pt x="639" y="232"/>
                  <a:pt x="639" y="232"/>
                </a:cubicBezTo>
                <a:lnTo>
                  <a:pt x="639" y="231"/>
                </a:lnTo>
                <a:close/>
                <a:moveTo>
                  <a:pt x="489" y="157"/>
                </a:moveTo>
                <a:cubicBezTo>
                  <a:pt x="489" y="157"/>
                  <a:pt x="489" y="157"/>
                  <a:pt x="489" y="157"/>
                </a:cubicBezTo>
                <a:cubicBezTo>
                  <a:pt x="489" y="157"/>
                  <a:pt x="489" y="157"/>
                  <a:pt x="489" y="157"/>
                </a:cubicBezTo>
                <a:cubicBezTo>
                  <a:pt x="489" y="157"/>
                  <a:pt x="489" y="157"/>
                  <a:pt x="489" y="157"/>
                </a:cubicBezTo>
                <a:cubicBezTo>
                  <a:pt x="489" y="157"/>
                  <a:pt x="489" y="157"/>
                  <a:pt x="489" y="157"/>
                </a:cubicBezTo>
                <a:close/>
                <a:moveTo>
                  <a:pt x="489" y="157"/>
                </a:moveTo>
                <a:cubicBezTo>
                  <a:pt x="488" y="158"/>
                  <a:pt x="487" y="158"/>
                  <a:pt x="485" y="158"/>
                </a:cubicBezTo>
                <a:cubicBezTo>
                  <a:pt x="484" y="158"/>
                  <a:pt x="482" y="158"/>
                  <a:pt x="480" y="159"/>
                </a:cubicBezTo>
                <a:cubicBezTo>
                  <a:pt x="480" y="159"/>
                  <a:pt x="480" y="159"/>
                  <a:pt x="479" y="160"/>
                </a:cubicBezTo>
                <a:cubicBezTo>
                  <a:pt x="476" y="162"/>
                  <a:pt x="471" y="163"/>
                  <a:pt x="467" y="165"/>
                </a:cubicBezTo>
                <a:cubicBezTo>
                  <a:pt x="465" y="166"/>
                  <a:pt x="464" y="167"/>
                  <a:pt x="463" y="169"/>
                </a:cubicBezTo>
                <a:cubicBezTo>
                  <a:pt x="463" y="170"/>
                  <a:pt x="462" y="171"/>
                  <a:pt x="462" y="171"/>
                </a:cubicBezTo>
                <a:cubicBezTo>
                  <a:pt x="460" y="172"/>
                  <a:pt x="459" y="172"/>
                  <a:pt x="458" y="173"/>
                </a:cubicBezTo>
                <a:cubicBezTo>
                  <a:pt x="456" y="174"/>
                  <a:pt x="455" y="176"/>
                  <a:pt x="454" y="178"/>
                </a:cubicBezTo>
                <a:cubicBezTo>
                  <a:pt x="454" y="179"/>
                  <a:pt x="455" y="181"/>
                  <a:pt x="456" y="182"/>
                </a:cubicBezTo>
                <a:cubicBezTo>
                  <a:pt x="456" y="182"/>
                  <a:pt x="456" y="182"/>
                  <a:pt x="456" y="183"/>
                </a:cubicBezTo>
                <a:cubicBezTo>
                  <a:pt x="456" y="184"/>
                  <a:pt x="457" y="185"/>
                  <a:pt x="459" y="185"/>
                </a:cubicBezTo>
                <a:cubicBezTo>
                  <a:pt x="461" y="185"/>
                  <a:pt x="464" y="185"/>
                  <a:pt x="466" y="186"/>
                </a:cubicBezTo>
                <a:cubicBezTo>
                  <a:pt x="467" y="186"/>
                  <a:pt x="467" y="186"/>
                  <a:pt x="467" y="186"/>
                </a:cubicBezTo>
                <a:cubicBezTo>
                  <a:pt x="467" y="187"/>
                  <a:pt x="467" y="187"/>
                  <a:pt x="466" y="187"/>
                </a:cubicBezTo>
                <a:cubicBezTo>
                  <a:pt x="463" y="188"/>
                  <a:pt x="460" y="188"/>
                  <a:pt x="457" y="188"/>
                </a:cubicBezTo>
                <a:cubicBezTo>
                  <a:pt x="455" y="188"/>
                  <a:pt x="454" y="189"/>
                  <a:pt x="452" y="190"/>
                </a:cubicBezTo>
                <a:cubicBezTo>
                  <a:pt x="452" y="190"/>
                  <a:pt x="451" y="191"/>
                  <a:pt x="451" y="192"/>
                </a:cubicBezTo>
                <a:cubicBezTo>
                  <a:pt x="451" y="193"/>
                  <a:pt x="451" y="194"/>
                  <a:pt x="451" y="196"/>
                </a:cubicBezTo>
                <a:cubicBezTo>
                  <a:pt x="452" y="199"/>
                  <a:pt x="452" y="200"/>
                  <a:pt x="456" y="201"/>
                </a:cubicBezTo>
                <a:cubicBezTo>
                  <a:pt x="461" y="202"/>
                  <a:pt x="466" y="203"/>
                  <a:pt x="471" y="203"/>
                </a:cubicBezTo>
                <a:cubicBezTo>
                  <a:pt x="471" y="203"/>
                  <a:pt x="472" y="203"/>
                  <a:pt x="473" y="203"/>
                </a:cubicBezTo>
                <a:cubicBezTo>
                  <a:pt x="476" y="206"/>
                  <a:pt x="480" y="208"/>
                  <a:pt x="482" y="212"/>
                </a:cubicBezTo>
                <a:cubicBezTo>
                  <a:pt x="482" y="213"/>
                  <a:pt x="482" y="213"/>
                  <a:pt x="482" y="213"/>
                </a:cubicBezTo>
                <a:cubicBezTo>
                  <a:pt x="481" y="213"/>
                  <a:pt x="481" y="213"/>
                  <a:pt x="481" y="213"/>
                </a:cubicBezTo>
                <a:cubicBezTo>
                  <a:pt x="476" y="213"/>
                  <a:pt x="472" y="211"/>
                  <a:pt x="468" y="210"/>
                </a:cubicBezTo>
                <a:cubicBezTo>
                  <a:pt x="467" y="209"/>
                  <a:pt x="465" y="208"/>
                  <a:pt x="464" y="208"/>
                </a:cubicBezTo>
                <a:cubicBezTo>
                  <a:pt x="460" y="207"/>
                  <a:pt x="455" y="207"/>
                  <a:pt x="451" y="207"/>
                </a:cubicBezTo>
                <a:cubicBezTo>
                  <a:pt x="449" y="208"/>
                  <a:pt x="448" y="209"/>
                  <a:pt x="448" y="211"/>
                </a:cubicBezTo>
                <a:cubicBezTo>
                  <a:pt x="447" y="213"/>
                  <a:pt x="446" y="215"/>
                  <a:pt x="447" y="217"/>
                </a:cubicBezTo>
                <a:cubicBezTo>
                  <a:pt x="447" y="222"/>
                  <a:pt x="449" y="225"/>
                  <a:pt x="453" y="226"/>
                </a:cubicBezTo>
                <a:cubicBezTo>
                  <a:pt x="455" y="226"/>
                  <a:pt x="457" y="227"/>
                  <a:pt x="459" y="228"/>
                </a:cubicBezTo>
                <a:cubicBezTo>
                  <a:pt x="459" y="228"/>
                  <a:pt x="460" y="229"/>
                  <a:pt x="460" y="230"/>
                </a:cubicBezTo>
                <a:cubicBezTo>
                  <a:pt x="460" y="231"/>
                  <a:pt x="459" y="232"/>
                  <a:pt x="458" y="234"/>
                </a:cubicBezTo>
                <a:cubicBezTo>
                  <a:pt x="458" y="235"/>
                  <a:pt x="457" y="235"/>
                  <a:pt x="458" y="236"/>
                </a:cubicBezTo>
                <a:cubicBezTo>
                  <a:pt x="458" y="238"/>
                  <a:pt x="458" y="240"/>
                  <a:pt x="459" y="241"/>
                </a:cubicBezTo>
                <a:cubicBezTo>
                  <a:pt x="459" y="242"/>
                  <a:pt x="460" y="242"/>
                  <a:pt x="460" y="242"/>
                </a:cubicBezTo>
                <a:cubicBezTo>
                  <a:pt x="461" y="243"/>
                  <a:pt x="462" y="242"/>
                  <a:pt x="463" y="243"/>
                </a:cubicBezTo>
                <a:cubicBezTo>
                  <a:pt x="467" y="243"/>
                  <a:pt x="471" y="242"/>
                  <a:pt x="475" y="244"/>
                </a:cubicBezTo>
                <a:cubicBezTo>
                  <a:pt x="477" y="244"/>
                  <a:pt x="479" y="244"/>
                  <a:pt x="481" y="243"/>
                </a:cubicBezTo>
                <a:cubicBezTo>
                  <a:pt x="483" y="242"/>
                  <a:pt x="484" y="242"/>
                  <a:pt x="485" y="241"/>
                </a:cubicBezTo>
                <a:cubicBezTo>
                  <a:pt x="487" y="240"/>
                  <a:pt x="489" y="239"/>
                  <a:pt x="491" y="240"/>
                </a:cubicBezTo>
                <a:cubicBezTo>
                  <a:pt x="494" y="240"/>
                  <a:pt x="496" y="239"/>
                  <a:pt x="498" y="238"/>
                </a:cubicBezTo>
                <a:cubicBezTo>
                  <a:pt x="499" y="237"/>
                  <a:pt x="500" y="237"/>
                  <a:pt x="501" y="236"/>
                </a:cubicBezTo>
                <a:cubicBezTo>
                  <a:pt x="501" y="236"/>
                  <a:pt x="502" y="236"/>
                  <a:pt x="502" y="237"/>
                </a:cubicBezTo>
                <a:cubicBezTo>
                  <a:pt x="502" y="237"/>
                  <a:pt x="503" y="237"/>
                  <a:pt x="503" y="238"/>
                </a:cubicBezTo>
                <a:cubicBezTo>
                  <a:pt x="503" y="239"/>
                  <a:pt x="504" y="240"/>
                  <a:pt x="506" y="241"/>
                </a:cubicBezTo>
                <a:cubicBezTo>
                  <a:pt x="508" y="241"/>
                  <a:pt x="507" y="244"/>
                  <a:pt x="508" y="245"/>
                </a:cubicBezTo>
                <a:cubicBezTo>
                  <a:pt x="508" y="245"/>
                  <a:pt x="508" y="245"/>
                  <a:pt x="509" y="246"/>
                </a:cubicBezTo>
                <a:cubicBezTo>
                  <a:pt x="511" y="246"/>
                  <a:pt x="514" y="247"/>
                  <a:pt x="517" y="248"/>
                </a:cubicBezTo>
                <a:cubicBezTo>
                  <a:pt x="520" y="249"/>
                  <a:pt x="523" y="249"/>
                  <a:pt x="526" y="248"/>
                </a:cubicBezTo>
                <a:cubicBezTo>
                  <a:pt x="527" y="247"/>
                  <a:pt x="528" y="247"/>
                  <a:pt x="529" y="245"/>
                </a:cubicBezTo>
                <a:cubicBezTo>
                  <a:pt x="530" y="242"/>
                  <a:pt x="530" y="240"/>
                  <a:pt x="528" y="237"/>
                </a:cubicBezTo>
                <a:cubicBezTo>
                  <a:pt x="528" y="237"/>
                  <a:pt x="528" y="237"/>
                  <a:pt x="527" y="237"/>
                </a:cubicBezTo>
                <a:cubicBezTo>
                  <a:pt x="527" y="238"/>
                  <a:pt x="526" y="239"/>
                  <a:pt x="526" y="239"/>
                </a:cubicBezTo>
                <a:cubicBezTo>
                  <a:pt x="525" y="239"/>
                  <a:pt x="525" y="239"/>
                  <a:pt x="525" y="239"/>
                </a:cubicBezTo>
                <a:cubicBezTo>
                  <a:pt x="524" y="238"/>
                  <a:pt x="524" y="238"/>
                  <a:pt x="525" y="238"/>
                </a:cubicBezTo>
                <a:cubicBezTo>
                  <a:pt x="526" y="237"/>
                  <a:pt x="527" y="237"/>
                  <a:pt x="527" y="237"/>
                </a:cubicBezTo>
                <a:cubicBezTo>
                  <a:pt x="527" y="237"/>
                  <a:pt x="528" y="237"/>
                  <a:pt x="528" y="237"/>
                </a:cubicBezTo>
                <a:cubicBezTo>
                  <a:pt x="528" y="237"/>
                  <a:pt x="528" y="237"/>
                  <a:pt x="528" y="237"/>
                </a:cubicBezTo>
                <a:cubicBezTo>
                  <a:pt x="528" y="237"/>
                  <a:pt x="528" y="237"/>
                  <a:pt x="528" y="237"/>
                </a:cubicBezTo>
                <a:cubicBezTo>
                  <a:pt x="528" y="237"/>
                  <a:pt x="529" y="236"/>
                  <a:pt x="529" y="235"/>
                </a:cubicBezTo>
                <a:cubicBezTo>
                  <a:pt x="530" y="235"/>
                  <a:pt x="531" y="234"/>
                  <a:pt x="532" y="235"/>
                </a:cubicBezTo>
                <a:cubicBezTo>
                  <a:pt x="533" y="237"/>
                  <a:pt x="535" y="237"/>
                  <a:pt x="536" y="239"/>
                </a:cubicBezTo>
                <a:cubicBezTo>
                  <a:pt x="539" y="238"/>
                  <a:pt x="540" y="237"/>
                  <a:pt x="541" y="234"/>
                </a:cubicBezTo>
                <a:cubicBezTo>
                  <a:pt x="542" y="233"/>
                  <a:pt x="542" y="231"/>
                  <a:pt x="541" y="229"/>
                </a:cubicBezTo>
                <a:cubicBezTo>
                  <a:pt x="540" y="228"/>
                  <a:pt x="540" y="228"/>
                  <a:pt x="539" y="227"/>
                </a:cubicBezTo>
                <a:cubicBezTo>
                  <a:pt x="537" y="225"/>
                  <a:pt x="537" y="224"/>
                  <a:pt x="536" y="222"/>
                </a:cubicBezTo>
                <a:cubicBezTo>
                  <a:pt x="536" y="220"/>
                  <a:pt x="535" y="219"/>
                  <a:pt x="533" y="217"/>
                </a:cubicBezTo>
                <a:cubicBezTo>
                  <a:pt x="531" y="216"/>
                  <a:pt x="531" y="213"/>
                  <a:pt x="530" y="211"/>
                </a:cubicBezTo>
                <a:cubicBezTo>
                  <a:pt x="530" y="209"/>
                  <a:pt x="530" y="208"/>
                  <a:pt x="531" y="207"/>
                </a:cubicBezTo>
                <a:cubicBezTo>
                  <a:pt x="534" y="204"/>
                  <a:pt x="535" y="201"/>
                  <a:pt x="535" y="198"/>
                </a:cubicBezTo>
                <a:cubicBezTo>
                  <a:pt x="535" y="196"/>
                  <a:pt x="535" y="195"/>
                  <a:pt x="535" y="193"/>
                </a:cubicBezTo>
                <a:cubicBezTo>
                  <a:pt x="537" y="189"/>
                  <a:pt x="539" y="185"/>
                  <a:pt x="540" y="181"/>
                </a:cubicBezTo>
                <a:cubicBezTo>
                  <a:pt x="541" y="180"/>
                  <a:pt x="542" y="179"/>
                  <a:pt x="543" y="178"/>
                </a:cubicBezTo>
                <a:cubicBezTo>
                  <a:pt x="547" y="176"/>
                  <a:pt x="550" y="173"/>
                  <a:pt x="553" y="170"/>
                </a:cubicBezTo>
                <a:cubicBezTo>
                  <a:pt x="554" y="170"/>
                  <a:pt x="554" y="168"/>
                  <a:pt x="554" y="167"/>
                </a:cubicBezTo>
                <a:cubicBezTo>
                  <a:pt x="554" y="164"/>
                  <a:pt x="553" y="162"/>
                  <a:pt x="550" y="162"/>
                </a:cubicBezTo>
                <a:cubicBezTo>
                  <a:pt x="548" y="161"/>
                  <a:pt x="547" y="160"/>
                  <a:pt x="545" y="160"/>
                </a:cubicBezTo>
                <a:cubicBezTo>
                  <a:pt x="543" y="160"/>
                  <a:pt x="541" y="161"/>
                  <a:pt x="540" y="162"/>
                </a:cubicBezTo>
                <a:cubicBezTo>
                  <a:pt x="538" y="164"/>
                  <a:pt x="539" y="165"/>
                  <a:pt x="539" y="166"/>
                </a:cubicBezTo>
                <a:cubicBezTo>
                  <a:pt x="540" y="168"/>
                  <a:pt x="539" y="170"/>
                  <a:pt x="540" y="172"/>
                </a:cubicBezTo>
                <a:cubicBezTo>
                  <a:pt x="540" y="172"/>
                  <a:pt x="540" y="172"/>
                  <a:pt x="540" y="172"/>
                </a:cubicBezTo>
                <a:cubicBezTo>
                  <a:pt x="540" y="173"/>
                  <a:pt x="540" y="173"/>
                  <a:pt x="540" y="173"/>
                </a:cubicBezTo>
                <a:cubicBezTo>
                  <a:pt x="540" y="172"/>
                  <a:pt x="540" y="172"/>
                  <a:pt x="540" y="172"/>
                </a:cubicBezTo>
                <a:cubicBezTo>
                  <a:pt x="540" y="172"/>
                  <a:pt x="540" y="172"/>
                  <a:pt x="540" y="172"/>
                </a:cubicBezTo>
                <a:cubicBezTo>
                  <a:pt x="539" y="172"/>
                  <a:pt x="539" y="171"/>
                  <a:pt x="539" y="171"/>
                </a:cubicBezTo>
                <a:cubicBezTo>
                  <a:pt x="538" y="169"/>
                  <a:pt x="538" y="168"/>
                  <a:pt x="536" y="168"/>
                </a:cubicBezTo>
                <a:cubicBezTo>
                  <a:pt x="535" y="168"/>
                  <a:pt x="534" y="167"/>
                  <a:pt x="534" y="167"/>
                </a:cubicBezTo>
                <a:cubicBezTo>
                  <a:pt x="531" y="165"/>
                  <a:pt x="530" y="167"/>
                  <a:pt x="529" y="168"/>
                </a:cubicBezTo>
                <a:cubicBezTo>
                  <a:pt x="528" y="170"/>
                  <a:pt x="527" y="171"/>
                  <a:pt x="526" y="172"/>
                </a:cubicBezTo>
                <a:cubicBezTo>
                  <a:pt x="525" y="176"/>
                  <a:pt x="524" y="180"/>
                  <a:pt x="523" y="183"/>
                </a:cubicBezTo>
                <a:cubicBezTo>
                  <a:pt x="521" y="186"/>
                  <a:pt x="520" y="190"/>
                  <a:pt x="519" y="194"/>
                </a:cubicBezTo>
                <a:cubicBezTo>
                  <a:pt x="519" y="194"/>
                  <a:pt x="519" y="194"/>
                  <a:pt x="519" y="194"/>
                </a:cubicBezTo>
                <a:cubicBezTo>
                  <a:pt x="519" y="195"/>
                  <a:pt x="518" y="195"/>
                  <a:pt x="518" y="195"/>
                </a:cubicBezTo>
                <a:cubicBezTo>
                  <a:pt x="518" y="196"/>
                  <a:pt x="517" y="196"/>
                  <a:pt x="516" y="196"/>
                </a:cubicBezTo>
                <a:cubicBezTo>
                  <a:pt x="515" y="196"/>
                  <a:pt x="515" y="195"/>
                  <a:pt x="515" y="194"/>
                </a:cubicBezTo>
                <a:cubicBezTo>
                  <a:pt x="516" y="191"/>
                  <a:pt x="516" y="188"/>
                  <a:pt x="518" y="185"/>
                </a:cubicBezTo>
                <a:cubicBezTo>
                  <a:pt x="519" y="181"/>
                  <a:pt x="520" y="177"/>
                  <a:pt x="518" y="172"/>
                </a:cubicBezTo>
                <a:cubicBezTo>
                  <a:pt x="518" y="171"/>
                  <a:pt x="517" y="171"/>
                  <a:pt x="517" y="170"/>
                </a:cubicBezTo>
                <a:cubicBezTo>
                  <a:pt x="516" y="169"/>
                  <a:pt x="514" y="170"/>
                  <a:pt x="514" y="171"/>
                </a:cubicBezTo>
                <a:cubicBezTo>
                  <a:pt x="513" y="173"/>
                  <a:pt x="513" y="175"/>
                  <a:pt x="513" y="177"/>
                </a:cubicBezTo>
                <a:cubicBezTo>
                  <a:pt x="512" y="178"/>
                  <a:pt x="512" y="178"/>
                  <a:pt x="511" y="178"/>
                </a:cubicBezTo>
                <a:cubicBezTo>
                  <a:pt x="508" y="177"/>
                  <a:pt x="506" y="177"/>
                  <a:pt x="503" y="177"/>
                </a:cubicBezTo>
                <a:cubicBezTo>
                  <a:pt x="502" y="177"/>
                  <a:pt x="502" y="177"/>
                  <a:pt x="502" y="177"/>
                </a:cubicBezTo>
                <a:cubicBezTo>
                  <a:pt x="502" y="177"/>
                  <a:pt x="503" y="177"/>
                  <a:pt x="503" y="176"/>
                </a:cubicBezTo>
                <a:cubicBezTo>
                  <a:pt x="504" y="176"/>
                  <a:pt x="506" y="175"/>
                  <a:pt x="507" y="174"/>
                </a:cubicBezTo>
                <a:cubicBezTo>
                  <a:pt x="508" y="174"/>
                  <a:pt x="508" y="172"/>
                  <a:pt x="508" y="171"/>
                </a:cubicBezTo>
                <a:cubicBezTo>
                  <a:pt x="507" y="169"/>
                  <a:pt x="505" y="167"/>
                  <a:pt x="503" y="166"/>
                </a:cubicBezTo>
                <a:cubicBezTo>
                  <a:pt x="501" y="164"/>
                  <a:pt x="500" y="164"/>
                  <a:pt x="498" y="165"/>
                </a:cubicBezTo>
                <a:cubicBezTo>
                  <a:pt x="497" y="166"/>
                  <a:pt x="496" y="167"/>
                  <a:pt x="495" y="168"/>
                </a:cubicBezTo>
                <a:cubicBezTo>
                  <a:pt x="495" y="168"/>
                  <a:pt x="494" y="168"/>
                  <a:pt x="493" y="168"/>
                </a:cubicBezTo>
                <a:cubicBezTo>
                  <a:pt x="492" y="168"/>
                  <a:pt x="492" y="168"/>
                  <a:pt x="493" y="166"/>
                </a:cubicBezTo>
                <a:cubicBezTo>
                  <a:pt x="494" y="164"/>
                  <a:pt x="496" y="163"/>
                  <a:pt x="497" y="161"/>
                </a:cubicBezTo>
                <a:cubicBezTo>
                  <a:pt x="498" y="159"/>
                  <a:pt x="497" y="157"/>
                  <a:pt x="496" y="156"/>
                </a:cubicBezTo>
                <a:cubicBezTo>
                  <a:pt x="495" y="156"/>
                  <a:pt x="495" y="155"/>
                  <a:pt x="494" y="155"/>
                </a:cubicBezTo>
                <a:cubicBezTo>
                  <a:pt x="495" y="155"/>
                  <a:pt x="495" y="155"/>
                  <a:pt x="495" y="155"/>
                </a:cubicBezTo>
                <a:cubicBezTo>
                  <a:pt x="494" y="155"/>
                  <a:pt x="494" y="155"/>
                  <a:pt x="494" y="155"/>
                </a:cubicBezTo>
                <a:cubicBezTo>
                  <a:pt x="494" y="155"/>
                  <a:pt x="494" y="155"/>
                  <a:pt x="494" y="155"/>
                </a:cubicBezTo>
                <a:cubicBezTo>
                  <a:pt x="493" y="157"/>
                  <a:pt x="491" y="156"/>
                  <a:pt x="489" y="157"/>
                </a:cubicBezTo>
                <a:close/>
                <a:moveTo>
                  <a:pt x="2194" y="990"/>
                </a:moveTo>
                <a:cubicBezTo>
                  <a:pt x="2194" y="990"/>
                  <a:pt x="2194" y="990"/>
                  <a:pt x="2193" y="990"/>
                </a:cubicBezTo>
                <a:cubicBezTo>
                  <a:pt x="2192" y="989"/>
                  <a:pt x="2190" y="988"/>
                  <a:pt x="2189" y="986"/>
                </a:cubicBezTo>
                <a:cubicBezTo>
                  <a:pt x="2188" y="985"/>
                  <a:pt x="2187" y="983"/>
                  <a:pt x="2186" y="982"/>
                </a:cubicBezTo>
                <a:cubicBezTo>
                  <a:pt x="2185" y="981"/>
                  <a:pt x="2184" y="980"/>
                  <a:pt x="2183" y="979"/>
                </a:cubicBezTo>
                <a:cubicBezTo>
                  <a:pt x="2182" y="978"/>
                  <a:pt x="2181" y="976"/>
                  <a:pt x="2180" y="975"/>
                </a:cubicBezTo>
                <a:cubicBezTo>
                  <a:pt x="2179" y="974"/>
                  <a:pt x="2180" y="973"/>
                  <a:pt x="2181" y="972"/>
                </a:cubicBezTo>
                <a:cubicBezTo>
                  <a:pt x="2181" y="972"/>
                  <a:pt x="2182" y="971"/>
                  <a:pt x="2183" y="971"/>
                </a:cubicBezTo>
                <a:cubicBezTo>
                  <a:pt x="2184" y="970"/>
                  <a:pt x="2184" y="967"/>
                  <a:pt x="2182" y="966"/>
                </a:cubicBezTo>
                <a:cubicBezTo>
                  <a:pt x="2182" y="966"/>
                  <a:pt x="2181" y="965"/>
                  <a:pt x="2180" y="965"/>
                </a:cubicBezTo>
                <a:cubicBezTo>
                  <a:pt x="2178" y="964"/>
                  <a:pt x="2176" y="963"/>
                  <a:pt x="2174" y="963"/>
                </a:cubicBezTo>
                <a:cubicBezTo>
                  <a:pt x="2172" y="962"/>
                  <a:pt x="2170" y="960"/>
                  <a:pt x="2170" y="957"/>
                </a:cubicBezTo>
                <a:cubicBezTo>
                  <a:pt x="2170" y="956"/>
                  <a:pt x="2168" y="955"/>
                  <a:pt x="2168" y="955"/>
                </a:cubicBezTo>
                <a:cubicBezTo>
                  <a:pt x="2162" y="950"/>
                  <a:pt x="2156" y="947"/>
                  <a:pt x="2149" y="945"/>
                </a:cubicBezTo>
                <a:cubicBezTo>
                  <a:pt x="2146" y="944"/>
                  <a:pt x="2143" y="943"/>
                  <a:pt x="2140" y="942"/>
                </a:cubicBezTo>
                <a:cubicBezTo>
                  <a:pt x="2137" y="941"/>
                  <a:pt x="2134" y="939"/>
                  <a:pt x="2130" y="938"/>
                </a:cubicBezTo>
                <a:cubicBezTo>
                  <a:pt x="2125" y="937"/>
                  <a:pt x="2121" y="935"/>
                  <a:pt x="2116" y="933"/>
                </a:cubicBezTo>
                <a:cubicBezTo>
                  <a:pt x="2112" y="932"/>
                  <a:pt x="2109" y="931"/>
                  <a:pt x="2106" y="935"/>
                </a:cubicBezTo>
                <a:cubicBezTo>
                  <a:pt x="2106" y="936"/>
                  <a:pt x="2105" y="936"/>
                  <a:pt x="2105" y="936"/>
                </a:cubicBezTo>
                <a:cubicBezTo>
                  <a:pt x="2101" y="938"/>
                  <a:pt x="2098" y="941"/>
                  <a:pt x="2095" y="944"/>
                </a:cubicBezTo>
                <a:cubicBezTo>
                  <a:pt x="2095" y="945"/>
                  <a:pt x="2093" y="945"/>
                  <a:pt x="2092" y="945"/>
                </a:cubicBezTo>
                <a:cubicBezTo>
                  <a:pt x="2090" y="943"/>
                  <a:pt x="2089" y="941"/>
                  <a:pt x="2087" y="940"/>
                </a:cubicBezTo>
                <a:cubicBezTo>
                  <a:pt x="2086" y="939"/>
                  <a:pt x="2086" y="938"/>
                  <a:pt x="2086" y="937"/>
                </a:cubicBezTo>
                <a:cubicBezTo>
                  <a:pt x="2086" y="935"/>
                  <a:pt x="2086" y="934"/>
                  <a:pt x="2086" y="933"/>
                </a:cubicBezTo>
                <a:cubicBezTo>
                  <a:pt x="2087" y="931"/>
                  <a:pt x="2086" y="929"/>
                  <a:pt x="2085" y="927"/>
                </a:cubicBezTo>
                <a:cubicBezTo>
                  <a:pt x="2084" y="926"/>
                  <a:pt x="2082" y="926"/>
                  <a:pt x="2081" y="926"/>
                </a:cubicBezTo>
                <a:cubicBezTo>
                  <a:pt x="2079" y="925"/>
                  <a:pt x="2078" y="924"/>
                  <a:pt x="2076" y="924"/>
                </a:cubicBezTo>
                <a:cubicBezTo>
                  <a:pt x="2074" y="923"/>
                  <a:pt x="2073" y="923"/>
                  <a:pt x="2071" y="924"/>
                </a:cubicBezTo>
                <a:cubicBezTo>
                  <a:pt x="2068" y="926"/>
                  <a:pt x="2065" y="928"/>
                  <a:pt x="2062" y="928"/>
                </a:cubicBezTo>
                <a:cubicBezTo>
                  <a:pt x="2061" y="928"/>
                  <a:pt x="2061" y="929"/>
                  <a:pt x="2061" y="930"/>
                </a:cubicBezTo>
                <a:cubicBezTo>
                  <a:pt x="2061" y="930"/>
                  <a:pt x="2061" y="931"/>
                  <a:pt x="2062" y="931"/>
                </a:cubicBezTo>
                <a:cubicBezTo>
                  <a:pt x="2063" y="932"/>
                  <a:pt x="2064" y="932"/>
                  <a:pt x="2065" y="933"/>
                </a:cubicBezTo>
                <a:cubicBezTo>
                  <a:pt x="2066" y="933"/>
                  <a:pt x="2068" y="933"/>
                  <a:pt x="2068" y="935"/>
                </a:cubicBezTo>
                <a:cubicBezTo>
                  <a:pt x="2070" y="938"/>
                  <a:pt x="2072" y="939"/>
                  <a:pt x="2075" y="938"/>
                </a:cubicBezTo>
                <a:cubicBezTo>
                  <a:pt x="2077" y="938"/>
                  <a:pt x="2078" y="938"/>
                  <a:pt x="2080" y="938"/>
                </a:cubicBezTo>
                <a:cubicBezTo>
                  <a:pt x="2081" y="938"/>
                  <a:pt x="2081" y="939"/>
                  <a:pt x="2081" y="939"/>
                </a:cubicBezTo>
                <a:cubicBezTo>
                  <a:pt x="2081" y="939"/>
                  <a:pt x="2081" y="940"/>
                  <a:pt x="2081" y="940"/>
                </a:cubicBezTo>
                <a:cubicBezTo>
                  <a:pt x="2077" y="939"/>
                  <a:pt x="2075" y="942"/>
                  <a:pt x="2071" y="942"/>
                </a:cubicBezTo>
                <a:cubicBezTo>
                  <a:pt x="2071" y="942"/>
                  <a:pt x="2070" y="942"/>
                  <a:pt x="2071" y="943"/>
                </a:cubicBezTo>
                <a:cubicBezTo>
                  <a:pt x="2073" y="945"/>
                  <a:pt x="2074" y="948"/>
                  <a:pt x="2075" y="950"/>
                </a:cubicBezTo>
                <a:cubicBezTo>
                  <a:pt x="2075" y="952"/>
                  <a:pt x="2078" y="952"/>
                  <a:pt x="2079" y="951"/>
                </a:cubicBezTo>
                <a:cubicBezTo>
                  <a:pt x="2079" y="951"/>
                  <a:pt x="2080" y="950"/>
                  <a:pt x="2080" y="949"/>
                </a:cubicBezTo>
                <a:cubicBezTo>
                  <a:pt x="2081" y="949"/>
                  <a:pt x="2082" y="948"/>
                  <a:pt x="2082" y="949"/>
                </a:cubicBezTo>
                <a:cubicBezTo>
                  <a:pt x="2085" y="950"/>
                  <a:pt x="2087" y="951"/>
                  <a:pt x="2089" y="952"/>
                </a:cubicBezTo>
                <a:cubicBezTo>
                  <a:pt x="2091" y="953"/>
                  <a:pt x="2092" y="954"/>
                  <a:pt x="2094" y="955"/>
                </a:cubicBezTo>
                <a:cubicBezTo>
                  <a:pt x="2097" y="955"/>
                  <a:pt x="2099" y="956"/>
                  <a:pt x="2102" y="957"/>
                </a:cubicBezTo>
                <a:cubicBezTo>
                  <a:pt x="2104" y="958"/>
                  <a:pt x="2106" y="958"/>
                  <a:pt x="2107" y="959"/>
                </a:cubicBezTo>
                <a:cubicBezTo>
                  <a:pt x="2110" y="961"/>
                  <a:pt x="2113" y="962"/>
                  <a:pt x="2114" y="966"/>
                </a:cubicBezTo>
                <a:cubicBezTo>
                  <a:pt x="2114" y="968"/>
                  <a:pt x="2115" y="969"/>
                  <a:pt x="2116" y="970"/>
                </a:cubicBezTo>
                <a:cubicBezTo>
                  <a:pt x="2116" y="971"/>
                  <a:pt x="2117" y="972"/>
                  <a:pt x="2117" y="973"/>
                </a:cubicBezTo>
                <a:cubicBezTo>
                  <a:pt x="2118" y="974"/>
                  <a:pt x="2118" y="975"/>
                  <a:pt x="2117" y="976"/>
                </a:cubicBezTo>
                <a:cubicBezTo>
                  <a:pt x="2114" y="976"/>
                  <a:pt x="2112" y="978"/>
                  <a:pt x="2111" y="980"/>
                </a:cubicBezTo>
                <a:cubicBezTo>
                  <a:pt x="2110" y="982"/>
                  <a:pt x="2111" y="983"/>
                  <a:pt x="2113" y="984"/>
                </a:cubicBezTo>
                <a:cubicBezTo>
                  <a:pt x="2115" y="984"/>
                  <a:pt x="2118" y="983"/>
                  <a:pt x="2120" y="983"/>
                </a:cubicBezTo>
                <a:cubicBezTo>
                  <a:pt x="2123" y="982"/>
                  <a:pt x="2126" y="982"/>
                  <a:pt x="2128" y="985"/>
                </a:cubicBezTo>
                <a:cubicBezTo>
                  <a:pt x="2129" y="986"/>
                  <a:pt x="2129" y="987"/>
                  <a:pt x="2130" y="987"/>
                </a:cubicBezTo>
                <a:cubicBezTo>
                  <a:pt x="2131" y="989"/>
                  <a:pt x="2132" y="989"/>
                  <a:pt x="2134" y="989"/>
                </a:cubicBezTo>
                <a:cubicBezTo>
                  <a:pt x="2138" y="990"/>
                  <a:pt x="2141" y="990"/>
                  <a:pt x="2145" y="991"/>
                </a:cubicBezTo>
                <a:cubicBezTo>
                  <a:pt x="2146" y="991"/>
                  <a:pt x="2147" y="991"/>
                  <a:pt x="2149" y="990"/>
                </a:cubicBezTo>
                <a:cubicBezTo>
                  <a:pt x="2151" y="989"/>
                  <a:pt x="2151" y="988"/>
                  <a:pt x="2150" y="986"/>
                </a:cubicBezTo>
                <a:cubicBezTo>
                  <a:pt x="2150" y="985"/>
                  <a:pt x="2150" y="985"/>
                  <a:pt x="2150" y="984"/>
                </a:cubicBezTo>
                <a:cubicBezTo>
                  <a:pt x="2152" y="983"/>
                  <a:pt x="2154" y="981"/>
                  <a:pt x="2156" y="980"/>
                </a:cubicBezTo>
                <a:cubicBezTo>
                  <a:pt x="2158" y="978"/>
                  <a:pt x="2160" y="978"/>
                  <a:pt x="2162" y="979"/>
                </a:cubicBezTo>
                <a:cubicBezTo>
                  <a:pt x="2164" y="980"/>
                  <a:pt x="2166" y="981"/>
                  <a:pt x="2168" y="982"/>
                </a:cubicBezTo>
                <a:cubicBezTo>
                  <a:pt x="2169" y="982"/>
                  <a:pt x="2171" y="983"/>
                  <a:pt x="2172" y="985"/>
                </a:cubicBezTo>
                <a:cubicBezTo>
                  <a:pt x="2174" y="988"/>
                  <a:pt x="2177" y="991"/>
                  <a:pt x="2179" y="994"/>
                </a:cubicBezTo>
                <a:cubicBezTo>
                  <a:pt x="2181" y="997"/>
                  <a:pt x="2183" y="998"/>
                  <a:pt x="2186" y="998"/>
                </a:cubicBezTo>
                <a:cubicBezTo>
                  <a:pt x="2191" y="998"/>
                  <a:pt x="2195" y="999"/>
                  <a:pt x="2199" y="1001"/>
                </a:cubicBezTo>
                <a:cubicBezTo>
                  <a:pt x="2200" y="1001"/>
                  <a:pt x="2200" y="1001"/>
                  <a:pt x="2200" y="1001"/>
                </a:cubicBezTo>
                <a:cubicBezTo>
                  <a:pt x="2201" y="1001"/>
                  <a:pt x="2201" y="1001"/>
                  <a:pt x="2202" y="1001"/>
                </a:cubicBezTo>
                <a:cubicBezTo>
                  <a:pt x="2202" y="1000"/>
                  <a:pt x="2202" y="1000"/>
                  <a:pt x="2202" y="999"/>
                </a:cubicBezTo>
                <a:cubicBezTo>
                  <a:pt x="2202" y="998"/>
                  <a:pt x="2202" y="997"/>
                  <a:pt x="2200" y="996"/>
                </a:cubicBezTo>
                <a:cubicBezTo>
                  <a:pt x="2198" y="996"/>
                  <a:pt x="2199" y="994"/>
                  <a:pt x="2199" y="992"/>
                </a:cubicBezTo>
                <a:cubicBezTo>
                  <a:pt x="2197" y="992"/>
                  <a:pt x="2195" y="993"/>
                  <a:pt x="2194" y="990"/>
                </a:cubicBezTo>
                <a:close/>
                <a:moveTo>
                  <a:pt x="1903" y="919"/>
                </a:moveTo>
                <a:cubicBezTo>
                  <a:pt x="1904" y="922"/>
                  <a:pt x="1904" y="925"/>
                  <a:pt x="1905" y="928"/>
                </a:cubicBezTo>
                <a:cubicBezTo>
                  <a:pt x="1906" y="930"/>
                  <a:pt x="1906" y="932"/>
                  <a:pt x="1909" y="932"/>
                </a:cubicBezTo>
                <a:cubicBezTo>
                  <a:pt x="1909" y="932"/>
                  <a:pt x="1910" y="933"/>
                  <a:pt x="1910" y="933"/>
                </a:cubicBezTo>
                <a:cubicBezTo>
                  <a:pt x="1910" y="936"/>
                  <a:pt x="1911" y="938"/>
                  <a:pt x="1911" y="940"/>
                </a:cubicBezTo>
                <a:cubicBezTo>
                  <a:pt x="1912" y="943"/>
                  <a:pt x="1913" y="944"/>
                  <a:pt x="1915" y="944"/>
                </a:cubicBezTo>
                <a:cubicBezTo>
                  <a:pt x="1917" y="944"/>
                  <a:pt x="1918" y="944"/>
                  <a:pt x="1920" y="944"/>
                </a:cubicBezTo>
                <a:cubicBezTo>
                  <a:pt x="1921" y="944"/>
                  <a:pt x="1922" y="945"/>
                  <a:pt x="1923" y="946"/>
                </a:cubicBezTo>
                <a:cubicBezTo>
                  <a:pt x="1924" y="948"/>
                  <a:pt x="1925" y="948"/>
                  <a:pt x="1927" y="948"/>
                </a:cubicBezTo>
                <a:cubicBezTo>
                  <a:pt x="1928" y="947"/>
                  <a:pt x="1930" y="947"/>
                  <a:pt x="1932" y="946"/>
                </a:cubicBezTo>
                <a:cubicBezTo>
                  <a:pt x="1932" y="946"/>
                  <a:pt x="1933" y="946"/>
                  <a:pt x="1933" y="946"/>
                </a:cubicBezTo>
                <a:cubicBezTo>
                  <a:pt x="1936" y="947"/>
                  <a:pt x="1938" y="948"/>
                  <a:pt x="1941" y="949"/>
                </a:cubicBezTo>
                <a:cubicBezTo>
                  <a:pt x="1941" y="949"/>
                  <a:pt x="1942" y="950"/>
                  <a:pt x="1942" y="951"/>
                </a:cubicBezTo>
                <a:cubicBezTo>
                  <a:pt x="1943" y="952"/>
                  <a:pt x="1944" y="952"/>
                  <a:pt x="1945" y="952"/>
                </a:cubicBezTo>
                <a:cubicBezTo>
                  <a:pt x="1947" y="951"/>
                  <a:pt x="1948" y="951"/>
                  <a:pt x="1950" y="950"/>
                </a:cubicBezTo>
                <a:cubicBezTo>
                  <a:pt x="1951" y="950"/>
                  <a:pt x="1952" y="951"/>
                  <a:pt x="1953" y="951"/>
                </a:cubicBezTo>
                <a:cubicBezTo>
                  <a:pt x="1954" y="951"/>
                  <a:pt x="1955" y="950"/>
                  <a:pt x="1955" y="949"/>
                </a:cubicBezTo>
                <a:cubicBezTo>
                  <a:pt x="1955" y="949"/>
                  <a:pt x="1955" y="948"/>
                  <a:pt x="1955" y="948"/>
                </a:cubicBezTo>
                <a:cubicBezTo>
                  <a:pt x="1954" y="946"/>
                  <a:pt x="1954" y="944"/>
                  <a:pt x="1956" y="943"/>
                </a:cubicBezTo>
                <a:cubicBezTo>
                  <a:pt x="1956" y="941"/>
                  <a:pt x="1957" y="940"/>
                  <a:pt x="1956" y="938"/>
                </a:cubicBezTo>
                <a:cubicBezTo>
                  <a:pt x="1956" y="936"/>
                  <a:pt x="1957" y="934"/>
                  <a:pt x="1958" y="932"/>
                </a:cubicBezTo>
                <a:cubicBezTo>
                  <a:pt x="1961" y="929"/>
                  <a:pt x="1962" y="926"/>
                  <a:pt x="1963" y="923"/>
                </a:cubicBezTo>
                <a:cubicBezTo>
                  <a:pt x="1964" y="921"/>
                  <a:pt x="1965" y="920"/>
                  <a:pt x="1965" y="918"/>
                </a:cubicBezTo>
                <a:cubicBezTo>
                  <a:pt x="1966" y="917"/>
                  <a:pt x="1967" y="916"/>
                  <a:pt x="1968" y="916"/>
                </a:cubicBezTo>
                <a:cubicBezTo>
                  <a:pt x="1969" y="916"/>
                  <a:pt x="1970" y="916"/>
                  <a:pt x="1971" y="916"/>
                </a:cubicBezTo>
                <a:cubicBezTo>
                  <a:pt x="1971" y="916"/>
                  <a:pt x="1972" y="915"/>
                  <a:pt x="1972" y="915"/>
                </a:cubicBezTo>
                <a:cubicBezTo>
                  <a:pt x="1973" y="915"/>
                  <a:pt x="1973" y="914"/>
                  <a:pt x="1973" y="913"/>
                </a:cubicBezTo>
                <a:cubicBezTo>
                  <a:pt x="1972" y="911"/>
                  <a:pt x="1969" y="910"/>
                  <a:pt x="1968" y="908"/>
                </a:cubicBezTo>
                <a:cubicBezTo>
                  <a:pt x="1967" y="907"/>
                  <a:pt x="1967" y="906"/>
                  <a:pt x="1967" y="905"/>
                </a:cubicBezTo>
                <a:cubicBezTo>
                  <a:pt x="1968" y="904"/>
                  <a:pt x="1968" y="903"/>
                  <a:pt x="1967" y="902"/>
                </a:cubicBezTo>
                <a:cubicBezTo>
                  <a:pt x="1964" y="899"/>
                  <a:pt x="1964" y="895"/>
                  <a:pt x="1966" y="892"/>
                </a:cubicBezTo>
                <a:cubicBezTo>
                  <a:pt x="1966" y="891"/>
                  <a:pt x="1967" y="890"/>
                  <a:pt x="1968" y="889"/>
                </a:cubicBezTo>
                <a:cubicBezTo>
                  <a:pt x="1969" y="889"/>
                  <a:pt x="1970" y="888"/>
                  <a:pt x="1970" y="887"/>
                </a:cubicBezTo>
                <a:cubicBezTo>
                  <a:pt x="1970" y="885"/>
                  <a:pt x="1971" y="885"/>
                  <a:pt x="1972" y="884"/>
                </a:cubicBezTo>
                <a:cubicBezTo>
                  <a:pt x="1973" y="884"/>
                  <a:pt x="1975" y="884"/>
                  <a:pt x="1975" y="883"/>
                </a:cubicBezTo>
                <a:cubicBezTo>
                  <a:pt x="1975" y="882"/>
                  <a:pt x="1975" y="882"/>
                  <a:pt x="1976" y="882"/>
                </a:cubicBezTo>
                <a:cubicBezTo>
                  <a:pt x="1975" y="882"/>
                  <a:pt x="1975" y="881"/>
                  <a:pt x="1975" y="881"/>
                </a:cubicBezTo>
                <a:cubicBezTo>
                  <a:pt x="1973" y="880"/>
                  <a:pt x="1971" y="879"/>
                  <a:pt x="1969" y="878"/>
                </a:cubicBezTo>
                <a:cubicBezTo>
                  <a:pt x="1967" y="877"/>
                  <a:pt x="1965" y="876"/>
                  <a:pt x="1965" y="873"/>
                </a:cubicBezTo>
                <a:cubicBezTo>
                  <a:pt x="1964" y="872"/>
                  <a:pt x="1962" y="870"/>
                  <a:pt x="1961" y="869"/>
                </a:cubicBezTo>
                <a:cubicBezTo>
                  <a:pt x="1961" y="869"/>
                  <a:pt x="1960" y="869"/>
                  <a:pt x="1959" y="869"/>
                </a:cubicBezTo>
                <a:cubicBezTo>
                  <a:pt x="1957" y="869"/>
                  <a:pt x="1956" y="870"/>
                  <a:pt x="1955" y="872"/>
                </a:cubicBezTo>
                <a:cubicBezTo>
                  <a:pt x="1954" y="873"/>
                  <a:pt x="1954" y="875"/>
                  <a:pt x="1953" y="876"/>
                </a:cubicBezTo>
                <a:cubicBezTo>
                  <a:pt x="1952" y="877"/>
                  <a:pt x="1952" y="878"/>
                  <a:pt x="1951" y="879"/>
                </a:cubicBezTo>
                <a:cubicBezTo>
                  <a:pt x="1949" y="880"/>
                  <a:pt x="1947" y="882"/>
                  <a:pt x="1944" y="883"/>
                </a:cubicBezTo>
                <a:cubicBezTo>
                  <a:pt x="1941" y="885"/>
                  <a:pt x="1938" y="887"/>
                  <a:pt x="1937" y="890"/>
                </a:cubicBezTo>
                <a:cubicBezTo>
                  <a:pt x="1936" y="891"/>
                  <a:pt x="1935" y="893"/>
                  <a:pt x="1934" y="894"/>
                </a:cubicBezTo>
                <a:cubicBezTo>
                  <a:pt x="1932" y="897"/>
                  <a:pt x="1929" y="899"/>
                  <a:pt x="1926" y="899"/>
                </a:cubicBezTo>
                <a:cubicBezTo>
                  <a:pt x="1923" y="900"/>
                  <a:pt x="1921" y="902"/>
                  <a:pt x="1920" y="905"/>
                </a:cubicBezTo>
                <a:cubicBezTo>
                  <a:pt x="1919" y="906"/>
                  <a:pt x="1919" y="907"/>
                  <a:pt x="1918" y="908"/>
                </a:cubicBezTo>
                <a:cubicBezTo>
                  <a:pt x="1918" y="909"/>
                  <a:pt x="1917" y="910"/>
                  <a:pt x="1915" y="909"/>
                </a:cubicBezTo>
                <a:cubicBezTo>
                  <a:pt x="1914" y="909"/>
                  <a:pt x="1912" y="908"/>
                  <a:pt x="1910" y="907"/>
                </a:cubicBezTo>
                <a:cubicBezTo>
                  <a:pt x="1908" y="907"/>
                  <a:pt x="1906" y="907"/>
                  <a:pt x="1905" y="909"/>
                </a:cubicBezTo>
                <a:cubicBezTo>
                  <a:pt x="1905" y="909"/>
                  <a:pt x="1904" y="910"/>
                  <a:pt x="1904" y="911"/>
                </a:cubicBezTo>
                <a:cubicBezTo>
                  <a:pt x="1903" y="913"/>
                  <a:pt x="1902" y="916"/>
                  <a:pt x="1903" y="919"/>
                </a:cubicBezTo>
                <a:close/>
                <a:moveTo>
                  <a:pt x="1467" y="1008"/>
                </a:moveTo>
                <a:cubicBezTo>
                  <a:pt x="1466" y="1008"/>
                  <a:pt x="1466" y="1008"/>
                  <a:pt x="1465" y="1008"/>
                </a:cubicBezTo>
                <a:cubicBezTo>
                  <a:pt x="1464" y="1010"/>
                  <a:pt x="1463" y="1011"/>
                  <a:pt x="1463" y="1013"/>
                </a:cubicBezTo>
                <a:cubicBezTo>
                  <a:pt x="1463" y="1015"/>
                  <a:pt x="1462" y="1016"/>
                  <a:pt x="1460" y="1017"/>
                </a:cubicBezTo>
                <a:cubicBezTo>
                  <a:pt x="1460" y="1018"/>
                  <a:pt x="1460" y="1018"/>
                  <a:pt x="1459" y="1019"/>
                </a:cubicBezTo>
                <a:cubicBezTo>
                  <a:pt x="1458" y="1020"/>
                  <a:pt x="1456" y="1020"/>
                  <a:pt x="1456" y="1023"/>
                </a:cubicBezTo>
                <a:cubicBezTo>
                  <a:pt x="1455" y="1025"/>
                  <a:pt x="1454" y="1027"/>
                  <a:pt x="1451" y="1029"/>
                </a:cubicBezTo>
                <a:cubicBezTo>
                  <a:pt x="1449" y="1030"/>
                  <a:pt x="1447" y="1032"/>
                  <a:pt x="1445" y="1033"/>
                </a:cubicBezTo>
                <a:cubicBezTo>
                  <a:pt x="1442" y="1034"/>
                  <a:pt x="1440" y="1035"/>
                  <a:pt x="1437" y="1036"/>
                </a:cubicBezTo>
                <a:cubicBezTo>
                  <a:pt x="1437" y="1036"/>
                  <a:pt x="1437" y="1036"/>
                  <a:pt x="1436" y="1036"/>
                </a:cubicBezTo>
                <a:cubicBezTo>
                  <a:pt x="1434" y="1037"/>
                  <a:pt x="1432" y="1038"/>
                  <a:pt x="1429" y="1039"/>
                </a:cubicBezTo>
                <a:cubicBezTo>
                  <a:pt x="1428" y="1041"/>
                  <a:pt x="1428" y="1043"/>
                  <a:pt x="1427" y="1044"/>
                </a:cubicBezTo>
                <a:cubicBezTo>
                  <a:pt x="1424" y="1048"/>
                  <a:pt x="1424" y="1051"/>
                  <a:pt x="1426" y="1055"/>
                </a:cubicBezTo>
                <a:cubicBezTo>
                  <a:pt x="1426" y="1056"/>
                  <a:pt x="1426" y="1057"/>
                  <a:pt x="1427" y="1058"/>
                </a:cubicBezTo>
                <a:cubicBezTo>
                  <a:pt x="1428" y="1062"/>
                  <a:pt x="1428" y="1065"/>
                  <a:pt x="1426" y="1068"/>
                </a:cubicBezTo>
                <a:cubicBezTo>
                  <a:pt x="1424" y="1070"/>
                  <a:pt x="1422" y="1074"/>
                  <a:pt x="1420" y="1076"/>
                </a:cubicBezTo>
                <a:cubicBezTo>
                  <a:pt x="1418" y="1080"/>
                  <a:pt x="1417" y="1084"/>
                  <a:pt x="1418" y="1088"/>
                </a:cubicBezTo>
                <a:cubicBezTo>
                  <a:pt x="1419" y="1090"/>
                  <a:pt x="1419" y="1092"/>
                  <a:pt x="1419" y="1094"/>
                </a:cubicBezTo>
                <a:cubicBezTo>
                  <a:pt x="1419" y="1096"/>
                  <a:pt x="1419" y="1097"/>
                  <a:pt x="1419" y="1099"/>
                </a:cubicBezTo>
                <a:cubicBezTo>
                  <a:pt x="1420" y="1100"/>
                  <a:pt x="1420" y="1101"/>
                  <a:pt x="1421" y="1102"/>
                </a:cubicBezTo>
                <a:cubicBezTo>
                  <a:pt x="1423" y="1106"/>
                  <a:pt x="1426" y="1108"/>
                  <a:pt x="1430" y="1109"/>
                </a:cubicBezTo>
                <a:cubicBezTo>
                  <a:pt x="1432" y="1110"/>
                  <a:pt x="1433" y="1108"/>
                  <a:pt x="1435" y="1107"/>
                </a:cubicBezTo>
                <a:cubicBezTo>
                  <a:pt x="1437" y="1107"/>
                  <a:pt x="1438" y="1107"/>
                  <a:pt x="1440" y="1107"/>
                </a:cubicBezTo>
                <a:cubicBezTo>
                  <a:pt x="1443" y="1106"/>
                  <a:pt x="1445" y="1105"/>
                  <a:pt x="1446" y="1102"/>
                </a:cubicBezTo>
                <a:cubicBezTo>
                  <a:pt x="1447" y="1100"/>
                  <a:pt x="1448" y="1098"/>
                  <a:pt x="1449" y="1095"/>
                </a:cubicBezTo>
                <a:cubicBezTo>
                  <a:pt x="1451" y="1090"/>
                  <a:pt x="1453" y="1085"/>
                  <a:pt x="1455" y="1080"/>
                </a:cubicBezTo>
                <a:cubicBezTo>
                  <a:pt x="1458" y="1072"/>
                  <a:pt x="1460" y="1064"/>
                  <a:pt x="1464" y="1057"/>
                </a:cubicBezTo>
                <a:cubicBezTo>
                  <a:pt x="1465" y="1055"/>
                  <a:pt x="1465" y="1053"/>
                  <a:pt x="1466" y="1050"/>
                </a:cubicBezTo>
                <a:cubicBezTo>
                  <a:pt x="1466" y="1047"/>
                  <a:pt x="1467" y="1045"/>
                  <a:pt x="1468" y="1042"/>
                </a:cubicBezTo>
                <a:cubicBezTo>
                  <a:pt x="1469" y="1040"/>
                  <a:pt x="1469" y="1037"/>
                  <a:pt x="1472" y="1036"/>
                </a:cubicBezTo>
                <a:cubicBezTo>
                  <a:pt x="1473" y="1034"/>
                  <a:pt x="1473" y="1033"/>
                  <a:pt x="1473" y="1031"/>
                </a:cubicBezTo>
                <a:cubicBezTo>
                  <a:pt x="1473" y="1029"/>
                  <a:pt x="1472" y="1026"/>
                  <a:pt x="1472" y="1024"/>
                </a:cubicBezTo>
                <a:cubicBezTo>
                  <a:pt x="1472" y="1018"/>
                  <a:pt x="1470" y="1013"/>
                  <a:pt x="1467" y="1008"/>
                </a:cubicBezTo>
                <a:close/>
                <a:moveTo>
                  <a:pt x="1395" y="227"/>
                </a:moveTo>
                <a:cubicBezTo>
                  <a:pt x="1393" y="230"/>
                  <a:pt x="1394" y="233"/>
                  <a:pt x="1392" y="236"/>
                </a:cubicBezTo>
                <a:cubicBezTo>
                  <a:pt x="1391" y="237"/>
                  <a:pt x="1392" y="239"/>
                  <a:pt x="1393" y="240"/>
                </a:cubicBezTo>
                <a:cubicBezTo>
                  <a:pt x="1393" y="240"/>
                  <a:pt x="1394" y="241"/>
                  <a:pt x="1394" y="242"/>
                </a:cubicBezTo>
                <a:cubicBezTo>
                  <a:pt x="1395" y="244"/>
                  <a:pt x="1395" y="246"/>
                  <a:pt x="1393" y="247"/>
                </a:cubicBezTo>
                <a:cubicBezTo>
                  <a:pt x="1392" y="248"/>
                  <a:pt x="1390" y="248"/>
                  <a:pt x="1390" y="250"/>
                </a:cubicBezTo>
                <a:cubicBezTo>
                  <a:pt x="1389" y="252"/>
                  <a:pt x="1389" y="253"/>
                  <a:pt x="1390" y="255"/>
                </a:cubicBezTo>
                <a:cubicBezTo>
                  <a:pt x="1391" y="257"/>
                  <a:pt x="1392" y="258"/>
                  <a:pt x="1394" y="259"/>
                </a:cubicBezTo>
                <a:cubicBezTo>
                  <a:pt x="1394" y="259"/>
                  <a:pt x="1395" y="260"/>
                  <a:pt x="1396" y="260"/>
                </a:cubicBezTo>
                <a:cubicBezTo>
                  <a:pt x="1397" y="260"/>
                  <a:pt x="1398" y="259"/>
                  <a:pt x="1399" y="259"/>
                </a:cubicBezTo>
                <a:cubicBezTo>
                  <a:pt x="1401" y="258"/>
                  <a:pt x="1403" y="259"/>
                  <a:pt x="1404" y="261"/>
                </a:cubicBezTo>
                <a:cubicBezTo>
                  <a:pt x="1405" y="262"/>
                  <a:pt x="1405" y="263"/>
                  <a:pt x="1405" y="264"/>
                </a:cubicBezTo>
                <a:cubicBezTo>
                  <a:pt x="1406" y="267"/>
                  <a:pt x="1407" y="268"/>
                  <a:pt x="1410" y="268"/>
                </a:cubicBezTo>
                <a:cubicBezTo>
                  <a:pt x="1411" y="269"/>
                  <a:pt x="1413" y="269"/>
                  <a:pt x="1414" y="270"/>
                </a:cubicBezTo>
                <a:cubicBezTo>
                  <a:pt x="1415" y="270"/>
                  <a:pt x="1417" y="271"/>
                  <a:pt x="1418" y="271"/>
                </a:cubicBezTo>
                <a:cubicBezTo>
                  <a:pt x="1419" y="270"/>
                  <a:pt x="1420" y="271"/>
                  <a:pt x="1422" y="271"/>
                </a:cubicBezTo>
                <a:cubicBezTo>
                  <a:pt x="1422" y="271"/>
                  <a:pt x="1422" y="271"/>
                  <a:pt x="1422" y="271"/>
                </a:cubicBezTo>
                <a:cubicBezTo>
                  <a:pt x="1423" y="271"/>
                  <a:pt x="1425" y="271"/>
                  <a:pt x="1427" y="271"/>
                </a:cubicBezTo>
                <a:cubicBezTo>
                  <a:pt x="1427" y="271"/>
                  <a:pt x="1428" y="270"/>
                  <a:pt x="1428" y="270"/>
                </a:cubicBezTo>
                <a:cubicBezTo>
                  <a:pt x="1429" y="269"/>
                  <a:pt x="1429" y="268"/>
                  <a:pt x="1429" y="267"/>
                </a:cubicBezTo>
                <a:cubicBezTo>
                  <a:pt x="1429" y="266"/>
                  <a:pt x="1429" y="265"/>
                  <a:pt x="1428" y="264"/>
                </a:cubicBezTo>
                <a:cubicBezTo>
                  <a:pt x="1426" y="263"/>
                  <a:pt x="1424" y="262"/>
                  <a:pt x="1423" y="261"/>
                </a:cubicBezTo>
                <a:cubicBezTo>
                  <a:pt x="1418" y="258"/>
                  <a:pt x="1415" y="253"/>
                  <a:pt x="1413" y="248"/>
                </a:cubicBezTo>
                <a:cubicBezTo>
                  <a:pt x="1412" y="245"/>
                  <a:pt x="1412" y="243"/>
                  <a:pt x="1411" y="240"/>
                </a:cubicBezTo>
                <a:cubicBezTo>
                  <a:pt x="1410" y="237"/>
                  <a:pt x="1411" y="233"/>
                  <a:pt x="1411" y="229"/>
                </a:cubicBezTo>
                <a:cubicBezTo>
                  <a:pt x="1411" y="227"/>
                  <a:pt x="1412" y="226"/>
                  <a:pt x="1413" y="224"/>
                </a:cubicBezTo>
                <a:cubicBezTo>
                  <a:pt x="1414" y="223"/>
                  <a:pt x="1414" y="222"/>
                  <a:pt x="1414" y="221"/>
                </a:cubicBezTo>
                <a:cubicBezTo>
                  <a:pt x="1415" y="216"/>
                  <a:pt x="1416" y="211"/>
                  <a:pt x="1417" y="206"/>
                </a:cubicBezTo>
                <a:cubicBezTo>
                  <a:pt x="1417" y="204"/>
                  <a:pt x="1417" y="202"/>
                  <a:pt x="1419" y="201"/>
                </a:cubicBezTo>
                <a:cubicBezTo>
                  <a:pt x="1422" y="200"/>
                  <a:pt x="1423" y="197"/>
                  <a:pt x="1425" y="195"/>
                </a:cubicBezTo>
                <a:cubicBezTo>
                  <a:pt x="1426" y="191"/>
                  <a:pt x="1428" y="188"/>
                  <a:pt x="1430" y="185"/>
                </a:cubicBezTo>
                <a:cubicBezTo>
                  <a:pt x="1432" y="182"/>
                  <a:pt x="1434" y="179"/>
                  <a:pt x="1437" y="177"/>
                </a:cubicBezTo>
                <a:cubicBezTo>
                  <a:pt x="1440" y="174"/>
                  <a:pt x="1443" y="171"/>
                  <a:pt x="1447" y="169"/>
                </a:cubicBezTo>
                <a:cubicBezTo>
                  <a:pt x="1448" y="169"/>
                  <a:pt x="1449" y="167"/>
                  <a:pt x="1451" y="166"/>
                </a:cubicBezTo>
                <a:cubicBezTo>
                  <a:pt x="1454" y="164"/>
                  <a:pt x="1455" y="162"/>
                  <a:pt x="1454" y="158"/>
                </a:cubicBezTo>
                <a:cubicBezTo>
                  <a:pt x="1453" y="157"/>
                  <a:pt x="1453" y="156"/>
                  <a:pt x="1453" y="155"/>
                </a:cubicBezTo>
                <a:cubicBezTo>
                  <a:pt x="1453" y="154"/>
                  <a:pt x="1452" y="153"/>
                  <a:pt x="1451" y="153"/>
                </a:cubicBezTo>
                <a:cubicBezTo>
                  <a:pt x="1450" y="152"/>
                  <a:pt x="1449" y="152"/>
                  <a:pt x="1449" y="151"/>
                </a:cubicBezTo>
                <a:cubicBezTo>
                  <a:pt x="1447" y="149"/>
                  <a:pt x="1444" y="150"/>
                  <a:pt x="1442" y="151"/>
                </a:cubicBezTo>
                <a:cubicBezTo>
                  <a:pt x="1439" y="152"/>
                  <a:pt x="1436" y="154"/>
                  <a:pt x="1436" y="158"/>
                </a:cubicBezTo>
                <a:cubicBezTo>
                  <a:pt x="1436" y="161"/>
                  <a:pt x="1434" y="163"/>
                  <a:pt x="1432" y="164"/>
                </a:cubicBezTo>
                <a:cubicBezTo>
                  <a:pt x="1429" y="165"/>
                  <a:pt x="1426" y="167"/>
                  <a:pt x="1423" y="167"/>
                </a:cubicBezTo>
                <a:cubicBezTo>
                  <a:pt x="1418" y="167"/>
                  <a:pt x="1415" y="170"/>
                  <a:pt x="1412" y="174"/>
                </a:cubicBezTo>
                <a:cubicBezTo>
                  <a:pt x="1412" y="175"/>
                  <a:pt x="1411" y="175"/>
                  <a:pt x="1411" y="175"/>
                </a:cubicBezTo>
                <a:cubicBezTo>
                  <a:pt x="1411" y="177"/>
                  <a:pt x="1409" y="177"/>
                  <a:pt x="1408" y="178"/>
                </a:cubicBezTo>
                <a:cubicBezTo>
                  <a:pt x="1407" y="178"/>
                  <a:pt x="1406" y="179"/>
                  <a:pt x="1406" y="180"/>
                </a:cubicBezTo>
                <a:cubicBezTo>
                  <a:pt x="1406" y="182"/>
                  <a:pt x="1405" y="183"/>
                  <a:pt x="1404" y="184"/>
                </a:cubicBezTo>
                <a:cubicBezTo>
                  <a:pt x="1404" y="186"/>
                  <a:pt x="1403" y="187"/>
                  <a:pt x="1404" y="188"/>
                </a:cubicBezTo>
                <a:cubicBezTo>
                  <a:pt x="1404" y="189"/>
                  <a:pt x="1403" y="189"/>
                  <a:pt x="1403" y="190"/>
                </a:cubicBezTo>
                <a:cubicBezTo>
                  <a:pt x="1403" y="190"/>
                  <a:pt x="1403" y="190"/>
                  <a:pt x="1402" y="190"/>
                </a:cubicBezTo>
                <a:cubicBezTo>
                  <a:pt x="1401" y="191"/>
                  <a:pt x="1400" y="192"/>
                  <a:pt x="1399" y="193"/>
                </a:cubicBezTo>
                <a:cubicBezTo>
                  <a:pt x="1398" y="194"/>
                  <a:pt x="1397" y="194"/>
                  <a:pt x="1396" y="194"/>
                </a:cubicBezTo>
                <a:cubicBezTo>
                  <a:pt x="1395" y="194"/>
                  <a:pt x="1395" y="196"/>
                  <a:pt x="1395" y="196"/>
                </a:cubicBezTo>
                <a:cubicBezTo>
                  <a:pt x="1396" y="198"/>
                  <a:pt x="1398" y="200"/>
                  <a:pt x="1398" y="202"/>
                </a:cubicBezTo>
                <a:cubicBezTo>
                  <a:pt x="1399" y="204"/>
                  <a:pt x="1398" y="206"/>
                  <a:pt x="1398" y="209"/>
                </a:cubicBezTo>
                <a:cubicBezTo>
                  <a:pt x="1398" y="210"/>
                  <a:pt x="1397" y="211"/>
                  <a:pt x="1396" y="213"/>
                </a:cubicBezTo>
                <a:cubicBezTo>
                  <a:pt x="1395" y="214"/>
                  <a:pt x="1395" y="216"/>
                  <a:pt x="1394" y="218"/>
                </a:cubicBezTo>
                <a:cubicBezTo>
                  <a:pt x="1393" y="219"/>
                  <a:pt x="1393" y="221"/>
                  <a:pt x="1394" y="222"/>
                </a:cubicBezTo>
                <a:cubicBezTo>
                  <a:pt x="1397" y="224"/>
                  <a:pt x="1397" y="225"/>
                  <a:pt x="1395" y="227"/>
                </a:cubicBezTo>
                <a:close/>
                <a:moveTo>
                  <a:pt x="2038" y="667"/>
                </a:moveTo>
                <a:cubicBezTo>
                  <a:pt x="2038" y="667"/>
                  <a:pt x="2039" y="667"/>
                  <a:pt x="2039" y="666"/>
                </a:cubicBezTo>
                <a:cubicBezTo>
                  <a:pt x="2040" y="665"/>
                  <a:pt x="2041" y="664"/>
                  <a:pt x="2041" y="663"/>
                </a:cubicBezTo>
                <a:cubicBezTo>
                  <a:pt x="2042" y="658"/>
                  <a:pt x="2042" y="653"/>
                  <a:pt x="2042" y="649"/>
                </a:cubicBezTo>
                <a:cubicBezTo>
                  <a:pt x="2041" y="646"/>
                  <a:pt x="2041" y="642"/>
                  <a:pt x="2036" y="641"/>
                </a:cubicBezTo>
                <a:cubicBezTo>
                  <a:pt x="2036" y="641"/>
                  <a:pt x="2036" y="641"/>
                  <a:pt x="2036" y="641"/>
                </a:cubicBezTo>
                <a:cubicBezTo>
                  <a:pt x="2036" y="640"/>
                  <a:pt x="2036" y="640"/>
                  <a:pt x="2036" y="640"/>
                </a:cubicBezTo>
                <a:cubicBezTo>
                  <a:pt x="2037" y="640"/>
                  <a:pt x="2038" y="639"/>
                  <a:pt x="2038" y="639"/>
                </a:cubicBezTo>
                <a:cubicBezTo>
                  <a:pt x="2040" y="639"/>
                  <a:pt x="2041" y="639"/>
                  <a:pt x="2042" y="637"/>
                </a:cubicBezTo>
                <a:cubicBezTo>
                  <a:pt x="2043" y="637"/>
                  <a:pt x="2044" y="636"/>
                  <a:pt x="2044" y="636"/>
                </a:cubicBezTo>
                <a:cubicBezTo>
                  <a:pt x="2047" y="635"/>
                  <a:pt x="2049" y="635"/>
                  <a:pt x="2052" y="635"/>
                </a:cubicBezTo>
                <a:cubicBezTo>
                  <a:pt x="2052" y="635"/>
                  <a:pt x="2052" y="635"/>
                  <a:pt x="2052" y="635"/>
                </a:cubicBezTo>
                <a:cubicBezTo>
                  <a:pt x="2052" y="635"/>
                  <a:pt x="2052" y="635"/>
                  <a:pt x="2052" y="635"/>
                </a:cubicBezTo>
                <a:cubicBezTo>
                  <a:pt x="2052" y="635"/>
                  <a:pt x="2052" y="635"/>
                  <a:pt x="2052" y="635"/>
                </a:cubicBezTo>
                <a:cubicBezTo>
                  <a:pt x="2052" y="635"/>
                  <a:pt x="2052" y="635"/>
                  <a:pt x="2052" y="635"/>
                </a:cubicBezTo>
                <a:cubicBezTo>
                  <a:pt x="2051" y="637"/>
                  <a:pt x="2050" y="638"/>
                  <a:pt x="2048" y="638"/>
                </a:cubicBezTo>
                <a:cubicBezTo>
                  <a:pt x="2048" y="638"/>
                  <a:pt x="2047" y="638"/>
                  <a:pt x="2046" y="638"/>
                </a:cubicBezTo>
                <a:cubicBezTo>
                  <a:pt x="2045" y="639"/>
                  <a:pt x="2043" y="642"/>
                  <a:pt x="2044" y="643"/>
                </a:cubicBezTo>
                <a:cubicBezTo>
                  <a:pt x="2044" y="645"/>
                  <a:pt x="2045" y="646"/>
                  <a:pt x="2045" y="647"/>
                </a:cubicBezTo>
                <a:cubicBezTo>
                  <a:pt x="2046" y="647"/>
                  <a:pt x="2046" y="648"/>
                  <a:pt x="2046" y="648"/>
                </a:cubicBezTo>
                <a:cubicBezTo>
                  <a:pt x="2047" y="649"/>
                  <a:pt x="2049" y="649"/>
                  <a:pt x="2050" y="647"/>
                </a:cubicBezTo>
                <a:cubicBezTo>
                  <a:pt x="2050" y="646"/>
                  <a:pt x="2051" y="644"/>
                  <a:pt x="2052" y="643"/>
                </a:cubicBezTo>
                <a:cubicBezTo>
                  <a:pt x="2053" y="642"/>
                  <a:pt x="2055" y="643"/>
                  <a:pt x="2056" y="643"/>
                </a:cubicBezTo>
                <a:cubicBezTo>
                  <a:pt x="2056" y="643"/>
                  <a:pt x="2057" y="643"/>
                  <a:pt x="2057" y="643"/>
                </a:cubicBezTo>
                <a:cubicBezTo>
                  <a:pt x="2059" y="643"/>
                  <a:pt x="2060" y="639"/>
                  <a:pt x="2059" y="637"/>
                </a:cubicBezTo>
                <a:cubicBezTo>
                  <a:pt x="2058" y="636"/>
                  <a:pt x="2057" y="635"/>
                  <a:pt x="2056" y="634"/>
                </a:cubicBezTo>
                <a:cubicBezTo>
                  <a:pt x="2056" y="633"/>
                  <a:pt x="2056" y="632"/>
                  <a:pt x="2057" y="631"/>
                </a:cubicBezTo>
                <a:cubicBezTo>
                  <a:pt x="2058" y="631"/>
                  <a:pt x="2058" y="631"/>
                  <a:pt x="2059" y="630"/>
                </a:cubicBezTo>
                <a:cubicBezTo>
                  <a:pt x="2059" y="630"/>
                  <a:pt x="2060" y="630"/>
                  <a:pt x="2060" y="630"/>
                </a:cubicBezTo>
                <a:cubicBezTo>
                  <a:pt x="2061" y="631"/>
                  <a:pt x="2061" y="631"/>
                  <a:pt x="2060" y="632"/>
                </a:cubicBezTo>
                <a:cubicBezTo>
                  <a:pt x="2060" y="633"/>
                  <a:pt x="2059" y="634"/>
                  <a:pt x="2060" y="634"/>
                </a:cubicBezTo>
                <a:cubicBezTo>
                  <a:pt x="2060" y="636"/>
                  <a:pt x="2061" y="637"/>
                  <a:pt x="2062" y="639"/>
                </a:cubicBezTo>
                <a:cubicBezTo>
                  <a:pt x="2063" y="640"/>
                  <a:pt x="2064" y="641"/>
                  <a:pt x="2065" y="642"/>
                </a:cubicBezTo>
                <a:cubicBezTo>
                  <a:pt x="2066" y="642"/>
                  <a:pt x="2068" y="642"/>
                  <a:pt x="2068" y="641"/>
                </a:cubicBezTo>
                <a:cubicBezTo>
                  <a:pt x="2070" y="638"/>
                  <a:pt x="2072" y="635"/>
                  <a:pt x="2074" y="632"/>
                </a:cubicBezTo>
                <a:cubicBezTo>
                  <a:pt x="2074" y="631"/>
                  <a:pt x="2075" y="630"/>
                  <a:pt x="2076" y="630"/>
                </a:cubicBezTo>
                <a:cubicBezTo>
                  <a:pt x="2077" y="630"/>
                  <a:pt x="2079" y="630"/>
                  <a:pt x="2080" y="630"/>
                </a:cubicBezTo>
                <a:cubicBezTo>
                  <a:pt x="2082" y="630"/>
                  <a:pt x="2083" y="629"/>
                  <a:pt x="2084" y="628"/>
                </a:cubicBezTo>
                <a:cubicBezTo>
                  <a:pt x="2085" y="628"/>
                  <a:pt x="2085" y="628"/>
                  <a:pt x="2086" y="628"/>
                </a:cubicBezTo>
                <a:cubicBezTo>
                  <a:pt x="2087" y="629"/>
                  <a:pt x="2088" y="628"/>
                  <a:pt x="2088" y="627"/>
                </a:cubicBezTo>
                <a:cubicBezTo>
                  <a:pt x="2089" y="626"/>
                  <a:pt x="2089" y="623"/>
                  <a:pt x="2091" y="622"/>
                </a:cubicBezTo>
                <a:cubicBezTo>
                  <a:pt x="2091" y="622"/>
                  <a:pt x="2091" y="622"/>
                  <a:pt x="2091" y="621"/>
                </a:cubicBezTo>
                <a:cubicBezTo>
                  <a:pt x="2091" y="622"/>
                  <a:pt x="2092" y="622"/>
                  <a:pt x="2092" y="622"/>
                </a:cubicBezTo>
                <a:cubicBezTo>
                  <a:pt x="2092" y="623"/>
                  <a:pt x="2092" y="624"/>
                  <a:pt x="2092" y="625"/>
                </a:cubicBezTo>
                <a:cubicBezTo>
                  <a:pt x="2093" y="625"/>
                  <a:pt x="2094" y="626"/>
                  <a:pt x="2094" y="626"/>
                </a:cubicBezTo>
                <a:cubicBezTo>
                  <a:pt x="2098" y="624"/>
                  <a:pt x="2100" y="619"/>
                  <a:pt x="2098" y="616"/>
                </a:cubicBezTo>
                <a:cubicBezTo>
                  <a:pt x="2097" y="613"/>
                  <a:pt x="2096" y="611"/>
                  <a:pt x="2096" y="608"/>
                </a:cubicBezTo>
                <a:cubicBezTo>
                  <a:pt x="2097" y="603"/>
                  <a:pt x="2096" y="599"/>
                  <a:pt x="2094" y="595"/>
                </a:cubicBezTo>
                <a:cubicBezTo>
                  <a:pt x="2094" y="594"/>
                  <a:pt x="2094" y="592"/>
                  <a:pt x="2096" y="591"/>
                </a:cubicBezTo>
                <a:cubicBezTo>
                  <a:pt x="2097" y="590"/>
                  <a:pt x="2098" y="589"/>
                  <a:pt x="2097" y="587"/>
                </a:cubicBezTo>
                <a:cubicBezTo>
                  <a:pt x="2097" y="586"/>
                  <a:pt x="2097" y="585"/>
                  <a:pt x="2097" y="583"/>
                </a:cubicBezTo>
                <a:cubicBezTo>
                  <a:pt x="2097" y="579"/>
                  <a:pt x="2096" y="575"/>
                  <a:pt x="2094" y="571"/>
                </a:cubicBezTo>
                <a:cubicBezTo>
                  <a:pt x="2092" y="566"/>
                  <a:pt x="2088" y="563"/>
                  <a:pt x="2086" y="558"/>
                </a:cubicBezTo>
                <a:cubicBezTo>
                  <a:pt x="2086" y="557"/>
                  <a:pt x="2084" y="557"/>
                  <a:pt x="2083" y="558"/>
                </a:cubicBezTo>
                <a:cubicBezTo>
                  <a:pt x="2080" y="561"/>
                  <a:pt x="2078" y="565"/>
                  <a:pt x="2079" y="570"/>
                </a:cubicBezTo>
                <a:cubicBezTo>
                  <a:pt x="2079" y="572"/>
                  <a:pt x="2078" y="575"/>
                  <a:pt x="2081" y="576"/>
                </a:cubicBezTo>
                <a:cubicBezTo>
                  <a:pt x="2081" y="577"/>
                  <a:pt x="2082" y="577"/>
                  <a:pt x="2082" y="578"/>
                </a:cubicBezTo>
                <a:cubicBezTo>
                  <a:pt x="2082" y="584"/>
                  <a:pt x="2083" y="591"/>
                  <a:pt x="2079" y="597"/>
                </a:cubicBezTo>
                <a:cubicBezTo>
                  <a:pt x="2078" y="597"/>
                  <a:pt x="2078" y="599"/>
                  <a:pt x="2078" y="600"/>
                </a:cubicBezTo>
                <a:cubicBezTo>
                  <a:pt x="2077" y="604"/>
                  <a:pt x="2074" y="606"/>
                  <a:pt x="2071" y="607"/>
                </a:cubicBezTo>
                <a:cubicBezTo>
                  <a:pt x="2070" y="607"/>
                  <a:pt x="2069" y="606"/>
                  <a:pt x="2069" y="606"/>
                </a:cubicBezTo>
                <a:cubicBezTo>
                  <a:pt x="2069" y="605"/>
                  <a:pt x="2069" y="604"/>
                  <a:pt x="2068" y="604"/>
                </a:cubicBezTo>
                <a:cubicBezTo>
                  <a:pt x="2068" y="602"/>
                  <a:pt x="2068" y="602"/>
                  <a:pt x="2067" y="602"/>
                </a:cubicBezTo>
                <a:cubicBezTo>
                  <a:pt x="2066" y="602"/>
                  <a:pt x="2066" y="603"/>
                  <a:pt x="2065" y="604"/>
                </a:cubicBezTo>
                <a:cubicBezTo>
                  <a:pt x="2064" y="605"/>
                  <a:pt x="2065" y="606"/>
                  <a:pt x="2065" y="607"/>
                </a:cubicBezTo>
                <a:cubicBezTo>
                  <a:pt x="2065" y="608"/>
                  <a:pt x="2065" y="609"/>
                  <a:pt x="2065" y="610"/>
                </a:cubicBezTo>
                <a:cubicBezTo>
                  <a:pt x="2063" y="613"/>
                  <a:pt x="2063" y="616"/>
                  <a:pt x="2062" y="619"/>
                </a:cubicBezTo>
                <a:cubicBezTo>
                  <a:pt x="2062" y="620"/>
                  <a:pt x="2061" y="620"/>
                  <a:pt x="2061" y="620"/>
                </a:cubicBezTo>
                <a:cubicBezTo>
                  <a:pt x="2058" y="620"/>
                  <a:pt x="2056" y="620"/>
                  <a:pt x="2054" y="621"/>
                </a:cubicBezTo>
                <a:cubicBezTo>
                  <a:pt x="2051" y="622"/>
                  <a:pt x="2048" y="622"/>
                  <a:pt x="2045" y="623"/>
                </a:cubicBezTo>
                <a:cubicBezTo>
                  <a:pt x="2044" y="623"/>
                  <a:pt x="2043" y="624"/>
                  <a:pt x="2042" y="625"/>
                </a:cubicBezTo>
                <a:cubicBezTo>
                  <a:pt x="2039" y="629"/>
                  <a:pt x="2036" y="632"/>
                  <a:pt x="2032" y="635"/>
                </a:cubicBezTo>
                <a:cubicBezTo>
                  <a:pt x="2032" y="636"/>
                  <a:pt x="2032" y="637"/>
                  <a:pt x="2032" y="638"/>
                </a:cubicBezTo>
                <a:cubicBezTo>
                  <a:pt x="2032" y="639"/>
                  <a:pt x="2032" y="639"/>
                  <a:pt x="2031" y="640"/>
                </a:cubicBezTo>
                <a:cubicBezTo>
                  <a:pt x="2030" y="642"/>
                  <a:pt x="2028" y="643"/>
                  <a:pt x="2027" y="645"/>
                </a:cubicBezTo>
                <a:cubicBezTo>
                  <a:pt x="2026" y="646"/>
                  <a:pt x="2025" y="647"/>
                  <a:pt x="2026" y="649"/>
                </a:cubicBezTo>
                <a:cubicBezTo>
                  <a:pt x="2026" y="650"/>
                  <a:pt x="2026" y="651"/>
                  <a:pt x="2028" y="652"/>
                </a:cubicBezTo>
                <a:cubicBezTo>
                  <a:pt x="2027" y="653"/>
                  <a:pt x="2027" y="653"/>
                  <a:pt x="2027" y="653"/>
                </a:cubicBezTo>
                <a:cubicBezTo>
                  <a:pt x="2027" y="653"/>
                  <a:pt x="2028" y="653"/>
                  <a:pt x="2028" y="653"/>
                </a:cubicBezTo>
                <a:cubicBezTo>
                  <a:pt x="2028" y="653"/>
                  <a:pt x="2028" y="653"/>
                  <a:pt x="2028" y="652"/>
                </a:cubicBezTo>
                <a:cubicBezTo>
                  <a:pt x="2028" y="652"/>
                  <a:pt x="2028" y="652"/>
                  <a:pt x="2028" y="652"/>
                </a:cubicBezTo>
                <a:cubicBezTo>
                  <a:pt x="2029" y="652"/>
                  <a:pt x="2030" y="652"/>
                  <a:pt x="2030" y="653"/>
                </a:cubicBezTo>
                <a:cubicBezTo>
                  <a:pt x="2030" y="654"/>
                  <a:pt x="2030" y="655"/>
                  <a:pt x="2029" y="656"/>
                </a:cubicBezTo>
                <a:cubicBezTo>
                  <a:pt x="2029" y="656"/>
                  <a:pt x="2029" y="656"/>
                  <a:pt x="2029" y="656"/>
                </a:cubicBezTo>
                <a:cubicBezTo>
                  <a:pt x="2029" y="656"/>
                  <a:pt x="2029" y="656"/>
                  <a:pt x="2029" y="656"/>
                </a:cubicBezTo>
                <a:cubicBezTo>
                  <a:pt x="2029" y="656"/>
                  <a:pt x="2029" y="656"/>
                  <a:pt x="2029" y="656"/>
                </a:cubicBezTo>
                <a:cubicBezTo>
                  <a:pt x="2031" y="659"/>
                  <a:pt x="2032" y="662"/>
                  <a:pt x="2033" y="665"/>
                </a:cubicBezTo>
                <a:cubicBezTo>
                  <a:pt x="2033" y="667"/>
                  <a:pt x="2037" y="668"/>
                  <a:pt x="2038" y="667"/>
                </a:cubicBezTo>
                <a:close/>
                <a:moveTo>
                  <a:pt x="2084" y="561"/>
                </a:moveTo>
                <a:cubicBezTo>
                  <a:pt x="2084" y="561"/>
                  <a:pt x="2084" y="561"/>
                  <a:pt x="2084" y="561"/>
                </a:cubicBezTo>
                <a:cubicBezTo>
                  <a:pt x="2084" y="562"/>
                  <a:pt x="2084" y="562"/>
                  <a:pt x="2084" y="562"/>
                </a:cubicBezTo>
                <a:cubicBezTo>
                  <a:pt x="2083" y="562"/>
                  <a:pt x="2083" y="562"/>
                  <a:pt x="2083" y="562"/>
                </a:cubicBezTo>
                <a:lnTo>
                  <a:pt x="2084" y="561"/>
                </a:lnTo>
                <a:close/>
                <a:moveTo>
                  <a:pt x="671" y="99"/>
                </a:moveTo>
                <a:cubicBezTo>
                  <a:pt x="671" y="100"/>
                  <a:pt x="673" y="100"/>
                  <a:pt x="674" y="100"/>
                </a:cubicBezTo>
                <a:cubicBezTo>
                  <a:pt x="676" y="100"/>
                  <a:pt x="678" y="100"/>
                  <a:pt x="680" y="101"/>
                </a:cubicBezTo>
                <a:cubicBezTo>
                  <a:pt x="681" y="102"/>
                  <a:pt x="682" y="102"/>
                  <a:pt x="683" y="101"/>
                </a:cubicBezTo>
                <a:cubicBezTo>
                  <a:pt x="684" y="100"/>
                  <a:pt x="684" y="99"/>
                  <a:pt x="685" y="99"/>
                </a:cubicBezTo>
                <a:cubicBezTo>
                  <a:pt x="685" y="99"/>
                  <a:pt x="685" y="99"/>
                  <a:pt x="685" y="99"/>
                </a:cubicBezTo>
                <a:cubicBezTo>
                  <a:pt x="685" y="99"/>
                  <a:pt x="685" y="99"/>
                  <a:pt x="685" y="99"/>
                </a:cubicBezTo>
                <a:cubicBezTo>
                  <a:pt x="685" y="99"/>
                  <a:pt x="685" y="99"/>
                  <a:pt x="685" y="99"/>
                </a:cubicBezTo>
                <a:cubicBezTo>
                  <a:pt x="687" y="98"/>
                  <a:pt x="689" y="97"/>
                  <a:pt x="691" y="95"/>
                </a:cubicBezTo>
                <a:cubicBezTo>
                  <a:pt x="692" y="94"/>
                  <a:pt x="694" y="93"/>
                  <a:pt x="696" y="92"/>
                </a:cubicBezTo>
                <a:cubicBezTo>
                  <a:pt x="696" y="91"/>
                  <a:pt x="697" y="90"/>
                  <a:pt x="697" y="89"/>
                </a:cubicBezTo>
                <a:cubicBezTo>
                  <a:pt x="698" y="87"/>
                  <a:pt x="699" y="87"/>
                  <a:pt x="701" y="87"/>
                </a:cubicBezTo>
                <a:cubicBezTo>
                  <a:pt x="701" y="87"/>
                  <a:pt x="701" y="87"/>
                  <a:pt x="701" y="87"/>
                </a:cubicBezTo>
                <a:cubicBezTo>
                  <a:pt x="701" y="87"/>
                  <a:pt x="701" y="87"/>
                  <a:pt x="701" y="87"/>
                </a:cubicBezTo>
                <a:cubicBezTo>
                  <a:pt x="701" y="86"/>
                  <a:pt x="701" y="86"/>
                  <a:pt x="702" y="87"/>
                </a:cubicBezTo>
                <a:cubicBezTo>
                  <a:pt x="701" y="87"/>
                  <a:pt x="701" y="87"/>
                  <a:pt x="701" y="87"/>
                </a:cubicBezTo>
                <a:cubicBezTo>
                  <a:pt x="701" y="89"/>
                  <a:pt x="701" y="89"/>
                  <a:pt x="703" y="90"/>
                </a:cubicBezTo>
                <a:cubicBezTo>
                  <a:pt x="704" y="90"/>
                  <a:pt x="704" y="90"/>
                  <a:pt x="705" y="90"/>
                </a:cubicBezTo>
                <a:cubicBezTo>
                  <a:pt x="706" y="88"/>
                  <a:pt x="706" y="86"/>
                  <a:pt x="708" y="85"/>
                </a:cubicBezTo>
                <a:cubicBezTo>
                  <a:pt x="710" y="83"/>
                  <a:pt x="712" y="82"/>
                  <a:pt x="712" y="80"/>
                </a:cubicBezTo>
                <a:cubicBezTo>
                  <a:pt x="712" y="77"/>
                  <a:pt x="712" y="74"/>
                  <a:pt x="710" y="72"/>
                </a:cubicBezTo>
                <a:cubicBezTo>
                  <a:pt x="710" y="71"/>
                  <a:pt x="709" y="71"/>
                  <a:pt x="709" y="70"/>
                </a:cubicBezTo>
                <a:cubicBezTo>
                  <a:pt x="709" y="70"/>
                  <a:pt x="709" y="69"/>
                  <a:pt x="709" y="68"/>
                </a:cubicBezTo>
                <a:cubicBezTo>
                  <a:pt x="710" y="66"/>
                  <a:pt x="711" y="65"/>
                  <a:pt x="713" y="64"/>
                </a:cubicBezTo>
                <a:cubicBezTo>
                  <a:pt x="713" y="62"/>
                  <a:pt x="712" y="60"/>
                  <a:pt x="713" y="58"/>
                </a:cubicBezTo>
                <a:cubicBezTo>
                  <a:pt x="714" y="57"/>
                  <a:pt x="714" y="55"/>
                  <a:pt x="714" y="54"/>
                </a:cubicBezTo>
                <a:cubicBezTo>
                  <a:pt x="714" y="52"/>
                  <a:pt x="712" y="52"/>
                  <a:pt x="711" y="50"/>
                </a:cubicBezTo>
                <a:cubicBezTo>
                  <a:pt x="709" y="49"/>
                  <a:pt x="708" y="48"/>
                  <a:pt x="706" y="47"/>
                </a:cubicBezTo>
                <a:cubicBezTo>
                  <a:pt x="706" y="47"/>
                  <a:pt x="705" y="46"/>
                  <a:pt x="705" y="45"/>
                </a:cubicBezTo>
                <a:cubicBezTo>
                  <a:pt x="705" y="43"/>
                  <a:pt x="705" y="41"/>
                  <a:pt x="705" y="38"/>
                </a:cubicBezTo>
                <a:cubicBezTo>
                  <a:pt x="706" y="36"/>
                  <a:pt x="706" y="34"/>
                  <a:pt x="706" y="32"/>
                </a:cubicBezTo>
                <a:cubicBezTo>
                  <a:pt x="707" y="29"/>
                  <a:pt x="705" y="27"/>
                  <a:pt x="703" y="25"/>
                </a:cubicBezTo>
                <a:cubicBezTo>
                  <a:pt x="701" y="23"/>
                  <a:pt x="699" y="23"/>
                  <a:pt x="697" y="23"/>
                </a:cubicBezTo>
                <a:cubicBezTo>
                  <a:pt x="696" y="24"/>
                  <a:pt x="695" y="25"/>
                  <a:pt x="695" y="26"/>
                </a:cubicBezTo>
                <a:cubicBezTo>
                  <a:pt x="695" y="27"/>
                  <a:pt x="695" y="27"/>
                  <a:pt x="696" y="28"/>
                </a:cubicBezTo>
                <a:cubicBezTo>
                  <a:pt x="697" y="28"/>
                  <a:pt x="698" y="29"/>
                  <a:pt x="699" y="29"/>
                </a:cubicBezTo>
                <a:cubicBezTo>
                  <a:pt x="700" y="29"/>
                  <a:pt x="700" y="30"/>
                  <a:pt x="700" y="31"/>
                </a:cubicBezTo>
                <a:cubicBezTo>
                  <a:pt x="700" y="31"/>
                  <a:pt x="699" y="31"/>
                  <a:pt x="699" y="31"/>
                </a:cubicBezTo>
                <a:cubicBezTo>
                  <a:pt x="698" y="31"/>
                  <a:pt x="696" y="31"/>
                  <a:pt x="695" y="31"/>
                </a:cubicBezTo>
                <a:cubicBezTo>
                  <a:pt x="693" y="32"/>
                  <a:pt x="692" y="32"/>
                  <a:pt x="691" y="32"/>
                </a:cubicBezTo>
                <a:cubicBezTo>
                  <a:pt x="689" y="33"/>
                  <a:pt x="688" y="35"/>
                  <a:pt x="688" y="37"/>
                </a:cubicBezTo>
                <a:cubicBezTo>
                  <a:pt x="688" y="38"/>
                  <a:pt x="689" y="39"/>
                  <a:pt x="689" y="40"/>
                </a:cubicBezTo>
                <a:cubicBezTo>
                  <a:pt x="689" y="40"/>
                  <a:pt x="689" y="41"/>
                  <a:pt x="689" y="41"/>
                </a:cubicBezTo>
                <a:cubicBezTo>
                  <a:pt x="689" y="41"/>
                  <a:pt x="688" y="41"/>
                  <a:pt x="688" y="41"/>
                </a:cubicBezTo>
                <a:cubicBezTo>
                  <a:pt x="687" y="40"/>
                  <a:pt x="685" y="40"/>
                  <a:pt x="684" y="41"/>
                </a:cubicBezTo>
                <a:cubicBezTo>
                  <a:pt x="683" y="42"/>
                  <a:pt x="681" y="43"/>
                  <a:pt x="679" y="42"/>
                </a:cubicBezTo>
                <a:cubicBezTo>
                  <a:pt x="677" y="42"/>
                  <a:pt x="677" y="44"/>
                  <a:pt x="677" y="45"/>
                </a:cubicBezTo>
                <a:cubicBezTo>
                  <a:pt x="678" y="47"/>
                  <a:pt x="678" y="48"/>
                  <a:pt x="679" y="49"/>
                </a:cubicBezTo>
                <a:cubicBezTo>
                  <a:pt x="680" y="50"/>
                  <a:pt x="681" y="52"/>
                  <a:pt x="681" y="53"/>
                </a:cubicBezTo>
                <a:cubicBezTo>
                  <a:pt x="681" y="53"/>
                  <a:pt x="682" y="53"/>
                  <a:pt x="682" y="53"/>
                </a:cubicBezTo>
                <a:cubicBezTo>
                  <a:pt x="682" y="53"/>
                  <a:pt x="682" y="54"/>
                  <a:pt x="682" y="54"/>
                </a:cubicBezTo>
                <a:cubicBezTo>
                  <a:pt x="683" y="54"/>
                  <a:pt x="683" y="54"/>
                  <a:pt x="683" y="54"/>
                </a:cubicBezTo>
                <a:cubicBezTo>
                  <a:pt x="683" y="54"/>
                  <a:pt x="683" y="54"/>
                  <a:pt x="682" y="54"/>
                </a:cubicBezTo>
                <a:cubicBezTo>
                  <a:pt x="682" y="54"/>
                  <a:pt x="682" y="54"/>
                  <a:pt x="681" y="54"/>
                </a:cubicBezTo>
                <a:cubicBezTo>
                  <a:pt x="681" y="54"/>
                  <a:pt x="681" y="53"/>
                  <a:pt x="681" y="53"/>
                </a:cubicBezTo>
                <a:cubicBezTo>
                  <a:pt x="680" y="53"/>
                  <a:pt x="678" y="52"/>
                  <a:pt x="677" y="51"/>
                </a:cubicBezTo>
                <a:cubicBezTo>
                  <a:pt x="676" y="51"/>
                  <a:pt x="675" y="51"/>
                  <a:pt x="675" y="52"/>
                </a:cubicBezTo>
                <a:cubicBezTo>
                  <a:pt x="672" y="56"/>
                  <a:pt x="671" y="62"/>
                  <a:pt x="669" y="66"/>
                </a:cubicBezTo>
                <a:cubicBezTo>
                  <a:pt x="668" y="68"/>
                  <a:pt x="669" y="70"/>
                  <a:pt x="670" y="71"/>
                </a:cubicBezTo>
                <a:cubicBezTo>
                  <a:pt x="672" y="72"/>
                  <a:pt x="673" y="73"/>
                  <a:pt x="675" y="73"/>
                </a:cubicBezTo>
                <a:cubicBezTo>
                  <a:pt x="676" y="73"/>
                  <a:pt x="677" y="73"/>
                  <a:pt x="677" y="74"/>
                </a:cubicBezTo>
                <a:cubicBezTo>
                  <a:pt x="678" y="74"/>
                  <a:pt x="678" y="75"/>
                  <a:pt x="678" y="76"/>
                </a:cubicBezTo>
                <a:cubicBezTo>
                  <a:pt x="678" y="76"/>
                  <a:pt x="677" y="77"/>
                  <a:pt x="677" y="77"/>
                </a:cubicBezTo>
                <a:cubicBezTo>
                  <a:pt x="676" y="77"/>
                  <a:pt x="676" y="77"/>
                  <a:pt x="675" y="77"/>
                </a:cubicBezTo>
                <a:cubicBezTo>
                  <a:pt x="671" y="76"/>
                  <a:pt x="669" y="77"/>
                  <a:pt x="668" y="81"/>
                </a:cubicBezTo>
                <a:cubicBezTo>
                  <a:pt x="667" y="84"/>
                  <a:pt x="666" y="86"/>
                  <a:pt x="666" y="89"/>
                </a:cubicBezTo>
                <a:cubicBezTo>
                  <a:pt x="665" y="94"/>
                  <a:pt x="667" y="97"/>
                  <a:pt x="671" y="99"/>
                </a:cubicBezTo>
                <a:close/>
                <a:moveTo>
                  <a:pt x="696" y="92"/>
                </a:moveTo>
                <a:cubicBezTo>
                  <a:pt x="696" y="92"/>
                  <a:pt x="696" y="92"/>
                  <a:pt x="696" y="92"/>
                </a:cubicBezTo>
                <a:cubicBezTo>
                  <a:pt x="696" y="92"/>
                  <a:pt x="696" y="92"/>
                  <a:pt x="696" y="92"/>
                </a:cubicBezTo>
                <a:cubicBezTo>
                  <a:pt x="696" y="92"/>
                  <a:pt x="696" y="92"/>
                  <a:pt x="696" y="92"/>
                </a:cubicBezTo>
                <a:cubicBezTo>
                  <a:pt x="696" y="92"/>
                  <a:pt x="696" y="92"/>
                  <a:pt x="696" y="92"/>
                </a:cubicBezTo>
                <a:close/>
                <a:moveTo>
                  <a:pt x="1882" y="944"/>
                </a:moveTo>
                <a:cubicBezTo>
                  <a:pt x="1882" y="944"/>
                  <a:pt x="1882" y="944"/>
                  <a:pt x="1882" y="944"/>
                </a:cubicBezTo>
                <a:cubicBezTo>
                  <a:pt x="1881" y="943"/>
                  <a:pt x="1881" y="942"/>
                  <a:pt x="1880" y="942"/>
                </a:cubicBezTo>
                <a:cubicBezTo>
                  <a:pt x="1880" y="941"/>
                  <a:pt x="1880" y="941"/>
                  <a:pt x="1880" y="941"/>
                </a:cubicBezTo>
                <a:cubicBezTo>
                  <a:pt x="1880" y="941"/>
                  <a:pt x="1880" y="941"/>
                  <a:pt x="1879" y="940"/>
                </a:cubicBezTo>
                <a:cubicBezTo>
                  <a:pt x="1880" y="940"/>
                  <a:pt x="1880" y="940"/>
                  <a:pt x="1880" y="940"/>
                </a:cubicBezTo>
                <a:cubicBezTo>
                  <a:pt x="1880" y="940"/>
                  <a:pt x="1880" y="941"/>
                  <a:pt x="1880" y="941"/>
                </a:cubicBezTo>
                <a:cubicBezTo>
                  <a:pt x="1880" y="941"/>
                  <a:pt x="1880" y="941"/>
                  <a:pt x="1880" y="942"/>
                </a:cubicBezTo>
                <a:cubicBezTo>
                  <a:pt x="1881" y="942"/>
                  <a:pt x="1882" y="943"/>
                  <a:pt x="1882" y="943"/>
                </a:cubicBezTo>
                <a:cubicBezTo>
                  <a:pt x="1882" y="944"/>
                  <a:pt x="1882" y="944"/>
                  <a:pt x="1882" y="944"/>
                </a:cubicBezTo>
                <a:cubicBezTo>
                  <a:pt x="1883" y="944"/>
                  <a:pt x="1884" y="944"/>
                  <a:pt x="1885" y="944"/>
                </a:cubicBezTo>
                <a:cubicBezTo>
                  <a:pt x="1885" y="944"/>
                  <a:pt x="1885" y="944"/>
                  <a:pt x="1886" y="944"/>
                </a:cubicBezTo>
                <a:cubicBezTo>
                  <a:pt x="1886" y="944"/>
                  <a:pt x="1887" y="943"/>
                  <a:pt x="1887" y="942"/>
                </a:cubicBezTo>
                <a:cubicBezTo>
                  <a:pt x="1885" y="939"/>
                  <a:pt x="1883" y="937"/>
                  <a:pt x="1881" y="934"/>
                </a:cubicBezTo>
                <a:cubicBezTo>
                  <a:pt x="1881" y="934"/>
                  <a:pt x="1880" y="934"/>
                  <a:pt x="1880" y="934"/>
                </a:cubicBezTo>
                <a:cubicBezTo>
                  <a:pt x="1879" y="934"/>
                  <a:pt x="1878" y="934"/>
                  <a:pt x="1877" y="935"/>
                </a:cubicBezTo>
                <a:cubicBezTo>
                  <a:pt x="1877" y="936"/>
                  <a:pt x="1876" y="936"/>
                  <a:pt x="1876" y="937"/>
                </a:cubicBezTo>
                <a:cubicBezTo>
                  <a:pt x="1875" y="938"/>
                  <a:pt x="1874" y="938"/>
                  <a:pt x="1873" y="936"/>
                </a:cubicBezTo>
                <a:cubicBezTo>
                  <a:pt x="1872" y="935"/>
                  <a:pt x="1872" y="933"/>
                  <a:pt x="1871" y="932"/>
                </a:cubicBezTo>
                <a:cubicBezTo>
                  <a:pt x="1871" y="931"/>
                  <a:pt x="1870" y="930"/>
                  <a:pt x="1869" y="929"/>
                </a:cubicBezTo>
                <a:cubicBezTo>
                  <a:pt x="1868" y="929"/>
                  <a:pt x="1867" y="929"/>
                  <a:pt x="1866" y="928"/>
                </a:cubicBezTo>
                <a:cubicBezTo>
                  <a:pt x="1865" y="928"/>
                  <a:pt x="1864" y="927"/>
                  <a:pt x="1865" y="927"/>
                </a:cubicBezTo>
                <a:cubicBezTo>
                  <a:pt x="1866" y="926"/>
                  <a:pt x="1864" y="924"/>
                  <a:pt x="1865" y="922"/>
                </a:cubicBezTo>
                <a:cubicBezTo>
                  <a:pt x="1866" y="922"/>
                  <a:pt x="1866" y="921"/>
                  <a:pt x="1865" y="920"/>
                </a:cubicBezTo>
                <a:cubicBezTo>
                  <a:pt x="1864" y="918"/>
                  <a:pt x="1861" y="917"/>
                  <a:pt x="1860" y="914"/>
                </a:cubicBezTo>
                <a:cubicBezTo>
                  <a:pt x="1860" y="913"/>
                  <a:pt x="1859" y="913"/>
                  <a:pt x="1859" y="912"/>
                </a:cubicBezTo>
                <a:cubicBezTo>
                  <a:pt x="1857" y="912"/>
                  <a:pt x="1855" y="911"/>
                  <a:pt x="1854" y="910"/>
                </a:cubicBezTo>
                <a:cubicBezTo>
                  <a:pt x="1853" y="910"/>
                  <a:pt x="1852" y="909"/>
                  <a:pt x="1852" y="909"/>
                </a:cubicBezTo>
                <a:cubicBezTo>
                  <a:pt x="1851" y="907"/>
                  <a:pt x="1849" y="906"/>
                  <a:pt x="1847" y="905"/>
                </a:cubicBezTo>
                <a:cubicBezTo>
                  <a:pt x="1845" y="903"/>
                  <a:pt x="1843" y="902"/>
                  <a:pt x="1841" y="901"/>
                </a:cubicBezTo>
                <a:cubicBezTo>
                  <a:pt x="1840" y="901"/>
                  <a:pt x="1839" y="900"/>
                  <a:pt x="1838" y="899"/>
                </a:cubicBezTo>
                <a:cubicBezTo>
                  <a:pt x="1837" y="897"/>
                  <a:pt x="1835" y="895"/>
                  <a:pt x="1834" y="894"/>
                </a:cubicBezTo>
                <a:cubicBezTo>
                  <a:pt x="1829" y="892"/>
                  <a:pt x="1825" y="888"/>
                  <a:pt x="1822" y="883"/>
                </a:cubicBezTo>
                <a:cubicBezTo>
                  <a:pt x="1821" y="882"/>
                  <a:pt x="1819" y="881"/>
                  <a:pt x="1817" y="881"/>
                </a:cubicBezTo>
                <a:cubicBezTo>
                  <a:pt x="1813" y="881"/>
                  <a:pt x="1810" y="880"/>
                  <a:pt x="1806" y="879"/>
                </a:cubicBezTo>
                <a:cubicBezTo>
                  <a:pt x="1805" y="878"/>
                  <a:pt x="1804" y="879"/>
                  <a:pt x="1804" y="879"/>
                </a:cubicBezTo>
                <a:cubicBezTo>
                  <a:pt x="1803" y="879"/>
                  <a:pt x="1802" y="881"/>
                  <a:pt x="1803" y="882"/>
                </a:cubicBezTo>
                <a:cubicBezTo>
                  <a:pt x="1803" y="883"/>
                  <a:pt x="1804" y="885"/>
                  <a:pt x="1805" y="886"/>
                </a:cubicBezTo>
                <a:cubicBezTo>
                  <a:pt x="1807" y="889"/>
                  <a:pt x="1810" y="891"/>
                  <a:pt x="1813" y="893"/>
                </a:cubicBezTo>
                <a:cubicBezTo>
                  <a:pt x="1815" y="894"/>
                  <a:pt x="1816" y="895"/>
                  <a:pt x="1817" y="897"/>
                </a:cubicBezTo>
                <a:cubicBezTo>
                  <a:pt x="1818" y="898"/>
                  <a:pt x="1820" y="899"/>
                  <a:pt x="1820" y="901"/>
                </a:cubicBezTo>
                <a:cubicBezTo>
                  <a:pt x="1822" y="904"/>
                  <a:pt x="1824" y="906"/>
                  <a:pt x="1827" y="909"/>
                </a:cubicBezTo>
                <a:cubicBezTo>
                  <a:pt x="1828" y="909"/>
                  <a:pt x="1829" y="910"/>
                  <a:pt x="1829" y="911"/>
                </a:cubicBezTo>
                <a:cubicBezTo>
                  <a:pt x="1830" y="913"/>
                  <a:pt x="1830" y="915"/>
                  <a:pt x="1831" y="917"/>
                </a:cubicBezTo>
                <a:cubicBezTo>
                  <a:pt x="1832" y="918"/>
                  <a:pt x="1832" y="919"/>
                  <a:pt x="1833" y="920"/>
                </a:cubicBezTo>
                <a:cubicBezTo>
                  <a:pt x="1837" y="923"/>
                  <a:pt x="1839" y="927"/>
                  <a:pt x="1840" y="931"/>
                </a:cubicBezTo>
                <a:cubicBezTo>
                  <a:pt x="1841" y="933"/>
                  <a:pt x="1842" y="935"/>
                  <a:pt x="1842" y="937"/>
                </a:cubicBezTo>
                <a:cubicBezTo>
                  <a:pt x="1843" y="939"/>
                  <a:pt x="1844" y="940"/>
                  <a:pt x="1845" y="942"/>
                </a:cubicBezTo>
                <a:cubicBezTo>
                  <a:pt x="1848" y="945"/>
                  <a:pt x="1851" y="947"/>
                  <a:pt x="1853" y="950"/>
                </a:cubicBezTo>
                <a:cubicBezTo>
                  <a:pt x="1856" y="953"/>
                  <a:pt x="1858" y="955"/>
                  <a:pt x="1861" y="958"/>
                </a:cubicBezTo>
                <a:cubicBezTo>
                  <a:pt x="1864" y="959"/>
                  <a:pt x="1866" y="961"/>
                  <a:pt x="1868" y="963"/>
                </a:cubicBezTo>
                <a:cubicBezTo>
                  <a:pt x="1869" y="964"/>
                  <a:pt x="1870" y="964"/>
                  <a:pt x="1871" y="964"/>
                </a:cubicBezTo>
                <a:cubicBezTo>
                  <a:pt x="1874" y="964"/>
                  <a:pt x="1877" y="963"/>
                  <a:pt x="1880" y="964"/>
                </a:cubicBezTo>
                <a:cubicBezTo>
                  <a:pt x="1880" y="961"/>
                  <a:pt x="1881" y="958"/>
                  <a:pt x="1881" y="954"/>
                </a:cubicBezTo>
                <a:cubicBezTo>
                  <a:pt x="1881" y="951"/>
                  <a:pt x="1882" y="947"/>
                  <a:pt x="1882" y="944"/>
                </a:cubicBezTo>
                <a:close/>
                <a:moveTo>
                  <a:pt x="1880" y="964"/>
                </a:moveTo>
                <a:cubicBezTo>
                  <a:pt x="1880" y="964"/>
                  <a:pt x="1880" y="964"/>
                  <a:pt x="1880" y="965"/>
                </a:cubicBezTo>
                <a:cubicBezTo>
                  <a:pt x="1880" y="965"/>
                  <a:pt x="1880" y="965"/>
                  <a:pt x="1880" y="965"/>
                </a:cubicBezTo>
                <a:cubicBezTo>
                  <a:pt x="1880" y="964"/>
                  <a:pt x="1881" y="964"/>
                  <a:pt x="1881" y="964"/>
                </a:cubicBezTo>
                <a:cubicBezTo>
                  <a:pt x="1880" y="964"/>
                  <a:pt x="1880" y="964"/>
                  <a:pt x="1880" y="964"/>
                </a:cubicBezTo>
                <a:close/>
                <a:moveTo>
                  <a:pt x="428" y="172"/>
                </a:moveTo>
                <a:cubicBezTo>
                  <a:pt x="428" y="174"/>
                  <a:pt x="427" y="177"/>
                  <a:pt x="427" y="179"/>
                </a:cubicBezTo>
                <a:cubicBezTo>
                  <a:pt x="427" y="180"/>
                  <a:pt x="429" y="181"/>
                  <a:pt x="429" y="181"/>
                </a:cubicBezTo>
                <a:cubicBezTo>
                  <a:pt x="432" y="181"/>
                  <a:pt x="435" y="180"/>
                  <a:pt x="438" y="178"/>
                </a:cubicBezTo>
                <a:cubicBezTo>
                  <a:pt x="438" y="178"/>
                  <a:pt x="438" y="178"/>
                  <a:pt x="438" y="178"/>
                </a:cubicBezTo>
                <a:cubicBezTo>
                  <a:pt x="438" y="177"/>
                  <a:pt x="438" y="177"/>
                  <a:pt x="438" y="177"/>
                </a:cubicBezTo>
                <a:cubicBezTo>
                  <a:pt x="438" y="178"/>
                  <a:pt x="438" y="178"/>
                  <a:pt x="438" y="178"/>
                </a:cubicBezTo>
                <a:cubicBezTo>
                  <a:pt x="438" y="178"/>
                  <a:pt x="438" y="178"/>
                  <a:pt x="438" y="178"/>
                </a:cubicBezTo>
                <a:cubicBezTo>
                  <a:pt x="439" y="179"/>
                  <a:pt x="440" y="180"/>
                  <a:pt x="442" y="180"/>
                </a:cubicBezTo>
                <a:cubicBezTo>
                  <a:pt x="443" y="180"/>
                  <a:pt x="444" y="180"/>
                  <a:pt x="446" y="179"/>
                </a:cubicBezTo>
                <a:cubicBezTo>
                  <a:pt x="446" y="178"/>
                  <a:pt x="447" y="177"/>
                  <a:pt x="448" y="176"/>
                </a:cubicBezTo>
                <a:cubicBezTo>
                  <a:pt x="449" y="175"/>
                  <a:pt x="450" y="173"/>
                  <a:pt x="451" y="172"/>
                </a:cubicBezTo>
                <a:cubicBezTo>
                  <a:pt x="453" y="170"/>
                  <a:pt x="454" y="168"/>
                  <a:pt x="457" y="168"/>
                </a:cubicBezTo>
                <a:cubicBezTo>
                  <a:pt x="459" y="168"/>
                  <a:pt x="460" y="167"/>
                  <a:pt x="461" y="166"/>
                </a:cubicBezTo>
                <a:cubicBezTo>
                  <a:pt x="462" y="165"/>
                  <a:pt x="463" y="164"/>
                  <a:pt x="465" y="163"/>
                </a:cubicBezTo>
                <a:cubicBezTo>
                  <a:pt x="466" y="162"/>
                  <a:pt x="467" y="161"/>
                  <a:pt x="468" y="161"/>
                </a:cubicBezTo>
                <a:cubicBezTo>
                  <a:pt x="471" y="161"/>
                  <a:pt x="474" y="160"/>
                  <a:pt x="477" y="159"/>
                </a:cubicBezTo>
                <a:cubicBezTo>
                  <a:pt x="478" y="158"/>
                  <a:pt x="479" y="158"/>
                  <a:pt x="480" y="158"/>
                </a:cubicBezTo>
                <a:cubicBezTo>
                  <a:pt x="480" y="159"/>
                  <a:pt x="480" y="159"/>
                  <a:pt x="480" y="159"/>
                </a:cubicBezTo>
                <a:cubicBezTo>
                  <a:pt x="480" y="159"/>
                  <a:pt x="480" y="159"/>
                  <a:pt x="480" y="159"/>
                </a:cubicBezTo>
                <a:cubicBezTo>
                  <a:pt x="480" y="158"/>
                  <a:pt x="480" y="158"/>
                  <a:pt x="480" y="158"/>
                </a:cubicBezTo>
                <a:cubicBezTo>
                  <a:pt x="482" y="157"/>
                  <a:pt x="483" y="157"/>
                  <a:pt x="485" y="157"/>
                </a:cubicBezTo>
                <a:cubicBezTo>
                  <a:pt x="487" y="157"/>
                  <a:pt x="488" y="157"/>
                  <a:pt x="489" y="157"/>
                </a:cubicBezTo>
                <a:cubicBezTo>
                  <a:pt x="491" y="155"/>
                  <a:pt x="492" y="155"/>
                  <a:pt x="494" y="155"/>
                </a:cubicBezTo>
                <a:cubicBezTo>
                  <a:pt x="495" y="150"/>
                  <a:pt x="494" y="146"/>
                  <a:pt x="494" y="141"/>
                </a:cubicBezTo>
                <a:cubicBezTo>
                  <a:pt x="494" y="139"/>
                  <a:pt x="493" y="137"/>
                  <a:pt x="491" y="135"/>
                </a:cubicBezTo>
                <a:cubicBezTo>
                  <a:pt x="490" y="134"/>
                  <a:pt x="488" y="134"/>
                  <a:pt x="487" y="134"/>
                </a:cubicBezTo>
                <a:cubicBezTo>
                  <a:pt x="484" y="134"/>
                  <a:pt x="482" y="133"/>
                  <a:pt x="480" y="131"/>
                </a:cubicBezTo>
                <a:cubicBezTo>
                  <a:pt x="479" y="130"/>
                  <a:pt x="478" y="130"/>
                  <a:pt x="477" y="129"/>
                </a:cubicBezTo>
                <a:cubicBezTo>
                  <a:pt x="475" y="125"/>
                  <a:pt x="473" y="125"/>
                  <a:pt x="469" y="125"/>
                </a:cubicBezTo>
                <a:cubicBezTo>
                  <a:pt x="466" y="126"/>
                  <a:pt x="464" y="125"/>
                  <a:pt x="461" y="125"/>
                </a:cubicBezTo>
                <a:cubicBezTo>
                  <a:pt x="460" y="125"/>
                  <a:pt x="458" y="126"/>
                  <a:pt x="457" y="126"/>
                </a:cubicBezTo>
                <a:cubicBezTo>
                  <a:pt x="456" y="126"/>
                  <a:pt x="455" y="127"/>
                  <a:pt x="454" y="128"/>
                </a:cubicBezTo>
                <a:cubicBezTo>
                  <a:pt x="454" y="130"/>
                  <a:pt x="454" y="132"/>
                  <a:pt x="454" y="133"/>
                </a:cubicBezTo>
                <a:cubicBezTo>
                  <a:pt x="454" y="135"/>
                  <a:pt x="453" y="137"/>
                  <a:pt x="451" y="138"/>
                </a:cubicBezTo>
                <a:cubicBezTo>
                  <a:pt x="448" y="140"/>
                  <a:pt x="446" y="142"/>
                  <a:pt x="443" y="144"/>
                </a:cubicBezTo>
                <a:cubicBezTo>
                  <a:pt x="442" y="146"/>
                  <a:pt x="441" y="147"/>
                  <a:pt x="441" y="149"/>
                </a:cubicBezTo>
                <a:cubicBezTo>
                  <a:pt x="441" y="149"/>
                  <a:pt x="440" y="150"/>
                  <a:pt x="440" y="150"/>
                </a:cubicBezTo>
                <a:cubicBezTo>
                  <a:pt x="435" y="153"/>
                  <a:pt x="431" y="157"/>
                  <a:pt x="427" y="160"/>
                </a:cubicBezTo>
                <a:cubicBezTo>
                  <a:pt x="426" y="161"/>
                  <a:pt x="425" y="162"/>
                  <a:pt x="424" y="163"/>
                </a:cubicBezTo>
                <a:cubicBezTo>
                  <a:pt x="424" y="164"/>
                  <a:pt x="425" y="165"/>
                  <a:pt x="426" y="166"/>
                </a:cubicBezTo>
                <a:cubicBezTo>
                  <a:pt x="427" y="168"/>
                  <a:pt x="428" y="170"/>
                  <a:pt x="428" y="172"/>
                </a:cubicBezTo>
                <a:close/>
                <a:moveTo>
                  <a:pt x="1071" y="451"/>
                </a:moveTo>
                <a:cubicBezTo>
                  <a:pt x="1073" y="453"/>
                  <a:pt x="1073" y="455"/>
                  <a:pt x="1072" y="458"/>
                </a:cubicBezTo>
                <a:cubicBezTo>
                  <a:pt x="1072" y="459"/>
                  <a:pt x="1073" y="459"/>
                  <a:pt x="1073" y="460"/>
                </a:cubicBezTo>
                <a:cubicBezTo>
                  <a:pt x="1075" y="461"/>
                  <a:pt x="1075" y="462"/>
                  <a:pt x="1074" y="463"/>
                </a:cubicBezTo>
                <a:cubicBezTo>
                  <a:pt x="1073" y="464"/>
                  <a:pt x="1073" y="464"/>
                  <a:pt x="1073" y="465"/>
                </a:cubicBezTo>
                <a:cubicBezTo>
                  <a:pt x="1073" y="466"/>
                  <a:pt x="1073" y="466"/>
                  <a:pt x="1074" y="466"/>
                </a:cubicBezTo>
                <a:cubicBezTo>
                  <a:pt x="1074" y="467"/>
                  <a:pt x="1074" y="467"/>
                  <a:pt x="1074" y="468"/>
                </a:cubicBezTo>
                <a:cubicBezTo>
                  <a:pt x="1076" y="470"/>
                  <a:pt x="1076" y="470"/>
                  <a:pt x="1078" y="468"/>
                </a:cubicBezTo>
                <a:cubicBezTo>
                  <a:pt x="1078" y="468"/>
                  <a:pt x="1079" y="468"/>
                  <a:pt x="1079" y="467"/>
                </a:cubicBezTo>
                <a:cubicBezTo>
                  <a:pt x="1079" y="468"/>
                  <a:pt x="1079" y="468"/>
                  <a:pt x="1079" y="469"/>
                </a:cubicBezTo>
                <a:cubicBezTo>
                  <a:pt x="1079" y="470"/>
                  <a:pt x="1079" y="472"/>
                  <a:pt x="1078" y="473"/>
                </a:cubicBezTo>
                <a:cubicBezTo>
                  <a:pt x="1078" y="475"/>
                  <a:pt x="1079" y="476"/>
                  <a:pt x="1081" y="476"/>
                </a:cubicBezTo>
                <a:cubicBezTo>
                  <a:pt x="1081" y="476"/>
                  <a:pt x="1081" y="476"/>
                  <a:pt x="1082" y="476"/>
                </a:cubicBezTo>
                <a:cubicBezTo>
                  <a:pt x="1083" y="476"/>
                  <a:pt x="1085" y="476"/>
                  <a:pt x="1086" y="476"/>
                </a:cubicBezTo>
                <a:cubicBezTo>
                  <a:pt x="1088" y="477"/>
                  <a:pt x="1087" y="479"/>
                  <a:pt x="1088" y="480"/>
                </a:cubicBezTo>
                <a:cubicBezTo>
                  <a:pt x="1088" y="481"/>
                  <a:pt x="1089" y="482"/>
                  <a:pt x="1089" y="482"/>
                </a:cubicBezTo>
                <a:cubicBezTo>
                  <a:pt x="1091" y="483"/>
                  <a:pt x="1091" y="484"/>
                  <a:pt x="1091" y="486"/>
                </a:cubicBezTo>
                <a:cubicBezTo>
                  <a:pt x="1090" y="490"/>
                  <a:pt x="1089" y="491"/>
                  <a:pt x="1084" y="490"/>
                </a:cubicBezTo>
                <a:cubicBezTo>
                  <a:pt x="1084" y="490"/>
                  <a:pt x="1083" y="490"/>
                  <a:pt x="1083" y="490"/>
                </a:cubicBezTo>
                <a:cubicBezTo>
                  <a:pt x="1082" y="490"/>
                  <a:pt x="1082" y="490"/>
                  <a:pt x="1082" y="491"/>
                </a:cubicBezTo>
                <a:cubicBezTo>
                  <a:pt x="1082" y="493"/>
                  <a:pt x="1082" y="496"/>
                  <a:pt x="1084" y="498"/>
                </a:cubicBezTo>
                <a:cubicBezTo>
                  <a:pt x="1084" y="498"/>
                  <a:pt x="1084" y="500"/>
                  <a:pt x="1083" y="501"/>
                </a:cubicBezTo>
                <a:cubicBezTo>
                  <a:pt x="1082" y="501"/>
                  <a:pt x="1081" y="502"/>
                  <a:pt x="1080" y="503"/>
                </a:cubicBezTo>
                <a:cubicBezTo>
                  <a:pt x="1080" y="503"/>
                  <a:pt x="1079" y="504"/>
                  <a:pt x="1078" y="504"/>
                </a:cubicBezTo>
                <a:cubicBezTo>
                  <a:pt x="1078" y="505"/>
                  <a:pt x="1078" y="506"/>
                  <a:pt x="1078" y="506"/>
                </a:cubicBezTo>
                <a:cubicBezTo>
                  <a:pt x="1078" y="506"/>
                  <a:pt x="1079" y="507"/>
                  <a:pt x="1079" y="507"/>
                </a:cubicBezTo>
                <a:cubicBezTo>
                  <a:pt x="1083" y="508"/>
                  <a:pt x="1086" y="509"/>
                  <a:pt x="1089" y="511"/>
                </a:cubicBezTo>
                <a:cubicBezTo>
                  <a:pt x="1089" y="511"/>
                  <a:pt x="1089" y="511"/>
                  <a:pt x="1090" y="511"/>
                </a:cubicBezTo>
                <a:cubicBezTo>
                  <a:pt x="1089" y="511"/>
                  <a:pt x="1089" y="512"/>
                  <a:pt x="1088" y="512"/>
                </a:cubicBezTo>
                <a:cubicBezTo>
                  <a:pt x="1085" y="511"/>
                  <a:pt x="1083" y="512"/>
                  <a:pt x="1082" y="515"/>
                </a:cubicBezTo>
                <a:cubicBezTo>
                  <a:pt x="1080" y="518"/>
                  <a:pt x="1077" y="520"/>
                  <a:pt x="1075" y="522"/>
                </a:cubicBezTo>
                <a:cubicBezTo>
                  <a:pt x="1075" y="522"/>
                  <a:pt x="1075" y="523"/>
                  <a:pt x="1076" y="523"/>
                </a:cubicBezTo>
                <a:cubicBezTo>
                  <a:pt x="1076" y="523"/>
                  <a:pt x="1076" y="523"/>
                  <a:pt x="1076" y="523"/>
                </a:cubicBezTo>
                <a:cubicBezTo>
                  <a:pt x="1077" y="523"/>
                  <a:pt x="1078" y="523"/>
                  <a:pt x="1079" y="523"/>
                </a:cubicBezTo>
                <a:cubicBezTo>
                  <a:pt x="1080" y="522"/>
                  <a:pt x="1082" y="521"/>
                  <a:pt x="1083" y="522"/>
                </a:cubicBezTo>
                <a:cubicBezTo>
                  <a:pt x="1086" y="522"/>
                  <a:pt x="1088" y="521"/>
                  <a:pt x="1090" y="519"/>
                </a:cubicBezTo>
                <a:cubicBezTo>
                  <a:pt x="1091" y="518"/>
                  <a:pt x="1092" y="518"/>
                  <a:pt x="1093" y="518"/>
                </a:cubicBezTo>
                <a:cubicBezTo>
                  <a:pt x="1096" y="518"/>
                  <a:pt x="1099" y="518"/>
                  <a:pt x="1102" y="518"/>
                </a:cubicBezTo>
                <a:cubicBezTo>
                  <a:pt x="1105" y="517"/>
                  <a:pt x="1109" y="516"/>
                  <a:pt x="1112" y="516"/>
                </a:cubicBezTo>
                <a:cubicBezTo>
                  <a:pt x="1116" y="516"/>
                  <a:pt x="1118" y="514"/>
                  <a:pt x="1121" y="512"/>
                </a:cubicBezTo>
                <a:cubicBezTo>
                  <a:pt x="1121" y="511"/>
                  <a:pt x="1121" y="510"/>
                  <a:pt x="1120" y="509"/>
                </a:cubicBezTo>
                <a:cubicBezTo>
                  <a:pt x="1120" y="509"/>
                  <a:pt x="1119" y="509"/>
                  <a:pt x="1119" y="509"/>
                </a:cubicBezTo>
                <a:cubicBezTo>
                  <a:pt x="1118" y="508"/>
                  <a:pt x="1118" y="507"/>
                  <a:pt x="1118" y="507"/>
                </a:cubicBezTo>
                <a:cubicBezTo>
                  <a:pt x="1119" y="505"/>
                  <a:pt x="1121" y="503"/>
                  <a:pt x="1122" y="501"/>
                </a:cubicBezTo>
                <a:cubicBezTo>
                  <a:pt x="1124" y="498"/>
                  <a:pt x="1121" y="494"/>
                  <a:pt x="1117" y="493"/>
                </a:cubicBezTo>
                <a:cubicBezTo>
                  <a:pt x="1116" y="493"/>
                  <a:pt x="1114" y="493"/>
                  <a:pt x="1113" y="493"/>
                </a:cubicBezTo>
                <a:cubicBezTo>
                  <a:pt x="1113" y="493"/>
                  <a:pt x="1113" y="493"/>
                  <a:pt x="1113" y="493"/>
                </a:cubicBezTo>
                <a:cubicBezTo>
                  <a:pt x="1113" y="493"/>
                  <a:pt x="1113" y="493"/>
                  <a:pt x="1113" y="493"/>
                </a:cubicBezTo>
                <a:cubicBezTo>
                  <a:pt x="1113" y="493"/>
                  <a:pt x="1113" y="493"/>
                  <a:pt x="1113" y="493"/>
                </a:cubicBezTo>
                <a:cubicBezTo>
                  <a:pt x="1113" y="493"/>
                  <a:pt x="1113" y="493"/>
                  <a:pt x="1113" y="493"/>
                </a:cubicBezTo>
                <a:cubicBezTo>
                  <a:pt x="1113" y="492"/>
                  <a:pt x="1113" y="491"/>
                  <a:pt x="1113" y="490"/>
                </a:cubicBezTo>
                <a:cubicBezTo>
                  <a:pt x="1111" y="488"/>
                  <a:pt x="1110" y="485"/>
                  <a:pt x="1109" y="482"/>
                </a:cubicBezTo>
                <a:cubicBezTo>
                  <a:pt x="1108" y="481"/>
                  <a:pt x="1107" y="479"/>
                  <a:pt x="1106" y="478"/>
                </a:cubicBezTo>
                <a:cubicBezTo>
                  <a:pt x="1103" y="477"/>
                  <a:pt x="1102" y="475"/>
                  <a:pt x="1101" y="472"/>
                </a:cubicBezTo>
                <a:cubicBezTo>
                  <a:pt x="1099" y="467"/>
                  <a:pt x="1097" y="464"/>
                  <a:pt x="1093" y="463"/>
                </a:cubicBezTo>
                <a:cubicBezTo>
                  <a:pt x="1092" y="463"/>
                  <a:pt x="1092" y="462"/>
                  <a:pt x="1092" y="462"/>
                </a:cubicBezTo>
                <a:cubicBezTo>
                  <a:pt x="1093" y="460"/>
                  <a:pt x="1093" y="459"/>
                  <a:pt x="1094" y="458"/>
                </a:cubicBezTo>
                <a:cubicBezTo>
                  <a:pt x="1095" y="455"/>
                  <a:pt x="1096" y="452"/>
                  <a:pt x="1097" y="450"/>
                </a:cubicBezTo>
                <a:cubicBezTo>
                  <a:pt x="1097" y="448"/>
                  <a:pt x="1096" y="447"/>
                  <a:pt x="1095" y="446"/>
                </a:cubicBezTo>
                <a:cubicBezTo>
                  <a:pt x="1094" y="446"/>
                  <a:pt x="1094" y="446"/>
                  <a:pt x="1093" y="446"/>
                </a:cubicBezTo>
                <a:cubicBezTo>
                  <a:pt x="1091" y="446"/>
                  <a:pt x="1089" y="446"/>
                  <a:pt x="1087" y="446"/>
                </a:cubicBezTo>
                <a:cubicBezTo>
                  <a:pt x="1087" y="446"/>
                  <a:pt x="1086" y="445"/>
                  <a:pt x="1086" y="445"/>
                </a:cubicBezTo>
                <a:cubicBezTo>
                  <a:pt x="1086" y="445"/>
                  <a:pt x="1086" y="445"/>
                  <a:pt x="1086" y="444"/>
                </a:cubicBezTo>
                <a:cubicBezTo>
                  <a:pt x="1087" y="443"/>
                  <a:pt x="1088" y="442"/>
                  <a:pt x="1089" y="440"/>
                </a:cubicBezTo>
                <a:cubicBezTo>
                  <a:pt x="1090" y="440"/>
                  <a:pt x="1090" y="439"/>
                  <a:pt x="1090" y="439"/>
                </a:cubicBezTo>
                <a:cubicBezTo>
                  <a:pt x="1090" y="438"/>
                  <a:pt x="1089" y="437"/>
                  <a:pt x="1088" y="437"/>
                </a:cubicBezTo>
                <a:cubicBezTo>
                  <a:pt x="1085" y="437"/>
                  <a:pt x="1083" y="437"/>
                  <a:pt x="1081" y="438"/>
                </a:cubicBezTo>
                <a:cubicBezTo>
                  <a:pt x="1079" y="438"/>
                  <a:pt x="1079" y="438"/>
                  <a:pt x="1078" y="440"/>
                </a:cubicBezTo>
                <a:cubicBezTo>
                  <a:pt x="1077" y="442"/>
                  <a:pt x="1075" y="445"/>
                  <a:pt x="1074" y="447"/>
                </a:cubicBezTo>
                <a:cubicBezTo>
                  <a:pt x="1074" y="448"/>
                  <a:pt x="1073" y="448"/>
                  <a:pt x="1072" y="448"/>
                </a:cubicBezTo>
                <a:cubicBezTo>
                  <a:pt x="1070" y="448"/>
                  <a:pt x="1069" y="449"/>
                  <a:pt x="1071" y="451"/>
                </a:cubicBezTo>
                <a:close/>
                <a:moveTo>
                  <a:pt x="1161" y="142"/>
                </a:moveTo>
                <a:cubicBezTo>
                  <a:pt x="1161" y="145"/>
                  <a:pt x="1163" y="147"/>
                  <a:pt x="1164" y="149"/>
                </a:cubicBezTo>
                <a:cubicBezTo>
                  <a:pt x="1165" y="150"/>
                  <a:pt x="1167" y="152"/>
                  <a:pt x="1167" y="154"/>
                </a:cubicBezTo>
                <a:cubicBezTo>
                  <a:pt x="1169" y="156"/>
                  <a:pt x="1171" y="159"/>
                  <a:pt x="1174" y="160"/>
                </a:cubicBezTo>
                <a:cubicBezTo>
                  <a:pt x="1174" y="160"/>
                  <a:pt x="1174" y="160"/>
                  <a:pt x="1174" y="160"/>
                </a:cubicBezTo>
                <a:cubicBezTo>
                  <a:pt x="1174" y="160"/>
                  <a:pt x="1174" y="160"/>
                  <a:pt x="1174" y="160"/>
                </a:cubicBezTo>
                <a:cubicBezTo>
                  <a:pt x="1175" y="159"/>
                  <a:pt x="1176" y="157"/>
                  <a:pt x="1177" y="156"/>
                </a:cubicBezTo>
                <a:cubicBezTo>
                  <a:pt x="1178" y="155"/>
                  <a:pt x="1178" y="154"/>
                  <a:pt x="1178" y="152"/>
                </a:cubicBezTo>
                <a:cubicBezTo>
                  <a:pt x="1178" y="152"/>
                  <a:pt x="1179" y="151"/>
                  <a:pt x="1179" y="151"/>
                </a:cubicBezTo>
                <a:cubicBezTo>
                  <a:pt x="1180" y="151"/>
                  <a:pt x="1180" y="151"/>
                  <a:pt x="1180" y="151"/>
                </a:cubicBezTo>
                <a:cubicBezTo>
                  <a:pt x="1181" y="154"/>
                  <a:pt x="1183" y="153"/>
                  <a:pt x="1185" y="153"/>
                </a:cubicBezTo>
                <a:cubicBezTo>
                  <a:pt x="1185" y="153"/>
                  <a:pt x="1185" y="153"/>
                  <a:pt x="1185" y="153"/>
                </a:cubicBezTo>
                <a:cubicBezTo>
                  <a:pt x="1186" y="154"/>
                  <a:pt x="1186" y="154"/>
                  <a:pt x="1185" y="154"/>
                </a:cubicBezTo>
                <a:cubicBezTo>
                  <a:pt x="1183" y="155"/>
                  <a:pt x="1182" y="157"/>
                  <a:pt x="1180" y="158"/>
                </a:cubicBezTo>
                <a:cubicBezTo>
                  <a:pt x="1179" y="160"/>
                  <a:pt x="1177" y="160"/>
                  <a:pt x="1174" y="160"/>
                </a:cubicBezTo>
                <a:cubicBezTo>
                  <a:pt x="1174" y="160"/>
                  <a:pt x="1174" y="160"/>
                  <a:pt x="1174" y="160"/>
                </a:cubicBezTo>
                <a:cubicBezTo>
                  <a:pt x="1174" y="160"/>
                  <a:pt x="1174" y="160"/>
                  <a:pt x="1174" y="160"/>
                </a:cubicBezTo>
                <a:cubicBezTo>
                  <a:pt x="1174" y="162"/>
                  <a:pt x="1174" y="163"/>
                  <a:pt x="1174" y="165"/>
                </a:cubicBezTo>
                <a:cubicBezTo>
                  <a:pt x="1174" y="166"/>
                  <a:pt x="1175" y="167"/>
                  <a:pt x="1176" y="167"/>
                </a:cubicBezTo>
                <a:cubicBezTo>
                  <a:pt x="1177" y="168"/>
                  <a:pt x="1179" y="168"/>
                  <a:pt x="1179" y="169"/>
                </a:cubicBezTo>
                <a:cubicBezTo>
                  <a:pt x="1179" y="169"/>
                  <a:pt x="1179" y="169"/>
                  <a:pt x="1179" y="169"/>
                </a:cubicBezTo>
                <a:cubicBezTo>
                  <a:pt x="1179" y="169"/>
                  <a:pt x="1180" y="169"/>
                  <a:pt x="1180" y="169"/>
                </a:cubicBezTo>
                <a:cubicBezTo>
                  <a:pt x="1180" y="169"/>
                  <a:pt x="1181" y="169"/>
                  <a:pt x="1182" y="169"/>
                </a:cubicBezTo>
                <a:cubicBezTo>
                  <a:pt x="1183" y="169"/>
                  <a:pt x="1183" y="170"/>
                  <a:pt x="1182" y="170"/>
                </a:cubicBezTo>
                <a:cubicBezTo>
                  <a:pt x="1182" y="170"/>
                  <a:pt x="1182" y="170"/>
                  <a:pt x="1181" y="170"/>
                </a:cubicBezTo>
                <a:cubicBezTo>
                  <a:pt x="1181" y="170"/>
                  <a:pt x="1180" y="170"/>
                  <a:pt x="1180" y="169"/>
                </a:cubicBezTo>
                <a:cubicBezTo>
                  <a:pt x="1179" y="169"/>
                  <a:pt x="1179" y="169"/>
                  <a:pt x="1179" y="169"/>
                </a:cubicBezTo>
                <a:cubicBezTo>
                  <a:pt x="1179" y="169"/>
                  <a:pt x="1179" y="169"/>
                  <a:pt x="1179" y="169"/>
                </a:cubicBezTo>
                <a:cubicBezTo>
                  <a:pt x="1178" y="169"/>
                  <a:pt x="1177" y="169"/>
                  <a:pt x="1176" y="170"/>
                </a:cubicBezTo>
                <a:cubicBezTo>
                  <a:pt x="1176" y="172"/>
                  <a:pt x="1176" y="173"/>
                  <a:pt x="1176" y="175"/>
                </a:cubicBezTo>
                <a:cubicBezTo>
                  <a:pt x="1179" y="179"/>
                  <a:pt x="1182" y="182"/>
                  <a:pt x="1187" y="183"/>
                </a:cubicBezTo>
                <a:cubicBezTo>
                  <a:pt x="1187" y="183"/>
                  <a:pt x="1187" y="183"/>
                  <a:pt x="1187" y="183"/>
                </a:cubicBezTo>
                <a:cubicBezTo>
                  <a:pt x="1187" y="183"/>
                  <a:pt x="1187" y="183"/>
                  <a:pt x="1187" y="183"/>
                </a:cubicBezTo>
                <a:cubicBezTo>
                  <a:pt x="1187" y="183"/>
                  <a:pt x="1187" y="183"/>
                  <a:pt x="1187" y="183"/>
                </a:cubicBezTo>
                <a:cubicBezTo>
                  <a:pt x="1187" y="183"/>
                  <a:pt x="1187" y="183"/>
                  <a:pt x="1187" y="183"/>
                </a:cubicBezTo>
                <a:cubicBezTo>
                  <a:pt x="1186" y="184"/>
                  <a:pt x="1186" y="184"/>
                  <a:pt x="1186" y="185"/>
                </a:cubicBezTo>
                <a:cubicBezTo>
                  <a:pt x="1187" y="187"/>
                  <a:pt x="1188" y="189"/>
                  <a:pt x="1190" y="191"/>
                </a:cubicBezTo>
                <a:cubicBezTo>
                  <a:pt x="1191" y="191"/>
                  <a:pt x="1193" y="191"/>
                  <a:pt x="1193" y="190"/>
                </a:cubicBezTo>
                <a:cubicBezTo>
                  <a:pt x="1194" y="190"/>
                  <a:pt x="1194" y="189"/>
                  <a:pt x="1194" y="188"/>
                </a:cubicBezTo>
                <a:cubicBezTo>
                  <a:pt x="1194" y="185"/>
                  <a:pt x="1195" y="181"/>
                  <a:pt x="1195" y="177"/>
                </a:cubicBezTo>
                <a:cubicBezTo>
                  <a:pt x="1195" y="175"/>
                  <a:pt x="1196" y="173"/>
                  <a:pt x="1197" y="172"/>
                </a:cubicBezTo>
                <a:cubicBezTo>
                  <a:pt x="1198" y="171"/>
                  <a:pt x="1199" y="169"/>
                  <a:pt x="1199" y="168"/>
                </a:cubicBezTo>
                <a:cubicBezTo>
                  <a:pt x="1198" y="164"/>
                  <a:pt x="1201" y="159"/>
                  <a:pt x="1201" y="155"/>
                </a:cubicBezTo>
                <a:cubicBezTo>
                  <a:pt x="1201" y="154"/>
                  <a:pt x="1201" y="154"/>
                  <a:pt x="1201" y="153"/>
                </a:cubicBezTo>
                <a:cubicBezTo>
                  <a:pt x="1202" y="151"/>
                  <a:pt x="1203" y="149"/>
                  <a:pt x="1205" y="149"/>
                </a:cubicBezTo>
                <a:cubicBezTo>
                  <a:pt x="1205" y="148"/>
                  <a:pt x="1206" y="148"/>
                  <a:pt x="1206" y="149"/>
                </a:cubicBezTo>
                <a:cubicBezTo>
                  <a:pt x="1206" y="150"/>
                  <a:pt x="1206" y="152"/>
                  <a:pt x="1206" y="152"/>
                </a:cubicBezTo>
                <a:cubicBezTo>
                  <a:pt x="1208" y="155"/>
                  <a:pt x="1209" y="159"/>
                  <a:pt x="1210" y="162"/>
                </a:cubicBezTo>
                <a:cubicBezTo>
                  <a:pt x="1211" y="163"/>
                  <a:pt x="1211" y="165"/>
                  <a:pt x="1211" y="166"/>
                </a:cubicBezTo>
                <a:cubicBezTo>
                  <a:pt x="1210" y="168"/>
                  <a:pt x="1210" y="169"/>
                  <a:pt x="1210" y="170"/>
                </a:cubicBezTo>
                <a:cubicBezTo>
                  <a:pt x="1209" y="171"/>
                  <a:pt x="1211" y="173"/>
                  <a:pt x="1212" y="173"/>
                </a:cubicBezTo>
                <a:cubicBezTo>
                  <a:pt x="1213" y="172"/>
                  <a:pt x="1215" y="171"/>
                  <a:pt x="1216" y="171"/>
                </a:cubicBezTo>
                <a:cubicBezTo>
                  <a:pt x="1217" y="170"/>
                  <a:pt x="1217" y="170"/>
                  <a:pt x="1218" y="172"/>
                </a:cubicBezTo>
                <a:cubicBezTo>
                  <a:pt x="1218" y="173"/>
                  <a:pt x="1218" y="173"/>
                  <a:pt x="1218" y="173"/>
                </a:cubicBezTo>
                <a:cubicBezTo>
                  <a:pt x="1219" y="175"/>
                  <a:pt x="1220" y="175"/>
                  <a:pt x="1221" y="174"/>
                </a:cubicBezTo>
                <a:cubicBezTo>
                  <a:pt x="1224" y="172"/>
                  <a:pt x="1226" y="168"/>
                  <a:pt x="1227" y="164"/>
                </a:cubicBezTo>
                <a:cubicBezTo>
                  <a:pt x="1227" y="163"/>
                  <a:pt x="1226" y="163"/>
                  <a:pt x="1226" y="163"/>
                </a:cubicBezTo>
                <a:cubicBezTo>
                  <a:pt x="1225" y="162"/>
                  <a:pt x="1225" y="162"/>
                  <a:pt x="1224" y="162"/>
                </a:cubicBezTo>
                <a:cubicBezTo>
                  <a:pt x="1221" y="162"/>
                  <a:pt x="1220" y="161"/>
                  <a:pt x="1220" y="158"/>
                </a:cubicBezTo>
                <a:cubicBezTo>
                  <a:pt x="1220" y="155"/>
                  <a:pt x="1219" y="155"/>
                  <a:pt x="1216" y="155"/>
                </a:cubicBezTo>
                <a:cubicBezTo>
                  <a:pt x="1214" y="156"/>
                  <a:pt x="1214" y="156"/>
                  <a:pt x="1215" y="154"/>
                </a:cubicBezTo>
                <a:cubicBezTo>
                  <a:pt x="1215" y="153"/>
                  <a:pt x="1215" y="153"/>
                  <a:pt x="1215" y="152"/>
                </a:cubicBezTo>
                <a:cubicBezTo>
                  <a:pt x="1215" y="150"/>
                  <a:pt x="1215" y="149"/>
                  <a:pt x="1213" y="148"/>
                </a:cubicBezTo>
                <a:cubicBezTo>
                  <a:pt x="1212" y="148"/>
                  <a:pt x="1210" y="148"/>
                  <a:pt x="1209" y="146"/>
                </a:cubicBezTo>
                <a:cubicBezTo>
                  <a:pt x="1208" y="144"/>
                  <a:pt x="1206" y="143"/>
                  <a:pt x="1205" y="140"/>
                </a:cubicBezTo>
                <a:cubicBezTo>
                  <a:pt x="1205" y="140"/>
                  <a:pt x="1204" y="139"/>
                  <a:pt x="1204" y="139"/>
                </a:cubicBezTo>
                <a:cubicBezTo>
                  <a:pt x="1203" y="139"/>
                  <a:pt x="1202" y="139"/>
                  <a:pt x="1201" y="138"/>
                </a:cubicBezTo>
                <a:cubicBezTo>
                  <a:pt x="1198" y="137"/>
                  <a:pt x="1196" y="136"/>
                  <a:pt x="1196" y="134"/>
                </a:cubicBezTo>
                <a:cubicBezTo>
                  <a:pt x="1195" y="131"/>
                  <a:pt x="1194" y="129"/>
                  <a:pt x="1192" y="128"/>
                </a:cubicBezTo>
                <a:cubicBezTo>
                  <a:pt x="1191" y="128"/>
                  <a:pt x="1191" y="127"/>
                  <a:pt x="1190" y="126"/>
                </a:cubicBezTo>
                <a:cubicBezTo>
                  <a:pt x="1189" y="125"/>
                  <a:pt x="1188" y="123"/>
                  <a:pt x="1186" y="123"/>
                </a:cubicBezTo>
                <a:cubicBezTo>
                  <a:pt x="1185" y="122"/>
                  <a:pt x="1184" y="122"/>
                  <a:pt x="1183" y="121"/>
                </a:cubicBezTo>
                <a:cubicBezTo>
                  <a:pt x="1182" y="121"/>
                  <a:pt x="1181" y="121"/>
                  <a:pt x="1181" y="123"/>
                </a:cubicBezTo>
                <a:cubicBezTo>
                  <a:pt x="1180" y="124"/>
                  <a:pt x="1180" y="126"/>
                  <a:pt x="1180" y="128"/>
                </a:cubicBezTo>
                <a:cubicBezTo>
                  <a:pt x="1180" y="128"/>
                  <a:pt x="1180" y="128"/>
                  <a:pt x="1180" y="128"/>
                </a:cubicBezTo>
                <a:cubicBezTo>
                  <a:pt x="1180" y="128"/>
                  <a:pt x="1180" y="129"/>
                  <a:pt x="1180" y="129"/>
                </a:cubicBezTo>
                <a:cubicBezTo>
                  <a:pt x="1181" y="130"/>
                  <a:pt x="1181" y="131"/>
                  <a:pt x="1181" y="132"/>
                </a:cubicBezTo>
                <a:cubicBezTo>
                  <a:pt x="1181" y="133"/>
                  <a:pt x="1181" y="133"/>
                  <a:pt x="1181" y="133"/>
                </a:cubicBezTo>
                <a:cubicBezTo>
                  <a:pt x="1180" y="134"/>
                  <a:pt x="1180" y="133"/>
                  <a:pt x="1180" y="132"/>
                </a:cubicBezTo>
                <a:cubicBezTo>
                  <a:pt x="1180" y="131"/>
                  <a:pt x="1180" y="130"/>
                  <a:pt x="1180" y="129"/>
                </a:cubicBezTo>
                <a:cubicBezTo>
                  <a:pt x="1180" y="129"/>
                  <a:pt x="1180" y="129"/>
                  <a:pt x="1179" y="129"/>
                </a:cubicBezTo>
                <a:cubicBezTo>
                  <a:pt x="1180" y="128"/>
                  <a:pt x="1180" y="128"/>
                  <a:pt x="1180" y="128"/>
                </a:cubicBezTo>
                <a:cubicBezTo>
                  <a:pt x="1179" y="128"/>
                  <a:pt x="1178" y="128"/>
                  <a:pt x="1178" y="128"/>
                </a:cubicBezTo>
                <a:cubicBezTo>
                  <a:pt x="1176" y="127"/>
                  <a:pt x="1174" y="128"/>
                  <a:pt x="1172" y="128"/>
                </a:cubicBezTo>
                <a:cubicBezTo>
                  <a:pt x="1172" y="128"/>
                  <a:pt x="1172" y="129"/>
                  <a:pt x="1172" y="129"/>
                </a:cubicBezTo>
                <a:cubicBezTo>
                  <a:pt x="1172" y="129"/>
                  <a:pt x="1172" y="129"/>
                  <a:pt x="1172" y="129"/>
                </a:cubicBezTo>
                <a:cubicBezTo>
                  <a:pt x="1172" y="129"/>
                  <a:pt x="1172" y="130"/>
                  <a:pt x="1172" y="130"/>
                </a:cubicBezTo>
                <a:cubicBezTo>
                  <a:pt x="1172" y="131"/>
                  <a:pt x="1172" y="131"/>
                  <a:pt x="1171" y="131"/>
                </a:cubicBezTo>
                <a:cubicBezTo>
                  <a:pt x="1171" y="131"/>
                  <a:pt x="1171" y="130"/>
                  <a:pt x="1170" y="130"/>
                </a:cubicBezTo>
                <a:cubicBezTo>
                  <a:pt x="1170" y="130"/>
                  <a:pt x="1170" y="129"/>
                  <a:pt x="1171" y="129"/>
                </a:cubicBezTo>
                <a:cubicBezTo>
                  <a:pt x="1171" y="129"/>
                  <a:pt x="1172" y="129"/>
                  <a:pt x="1172" y="129"/>
                </a:cubicBezTo>
                <a:cubicBezTo>
                  <a:pt x="1172" y="129"/>
                  <a:pt x="1172" y="128"/>
                  <a:pt x="1172" y="128"/>
                </a:cubicBezTo>
                <a:cubicBezTo>
                  <a:pt x="1172" y="128"/>
                  <a:pt x="1172" y="128"/>
                  <a:pt x="1172" y="128"/>
                </a:cubicBezTo>
                <a:cubicBezTo>
                  <a:pt x="1172" y="128"/>
                  <a:pt x="1172" y="128"/>
                  <a:pt x="1172" y="128"/>
                </a:cubicBezTo>
                <a:cubicBezTo>
                  <a:pt x="1172" y="125"/>
                  <a:pt x="1171" y="125"/>
                  <a:pt x="1169" y="125"/>
                </a:cubicBezTo>
                <a:cubicBezTo>
                  <a:pt x="1167" y="126"/>
                  <a:pt x="1164" y="127"/>
                  <a:pt x="1162" y="127"/>
                </a:cubicBezTo>
                <a:cubicBezTo>
                  <a:pt x="1160" y="127"/>
                  <a:pt x="1159" y="128"/>
                  <a:pt x="1159" y="129"/>
                </a:cubicBezTo>
                <a:cubicBezTo>
                  <a:pt x="1159" y="130"/>
                  <a:pt x="1158" y="131"/>
                  <a:pt x="1158" y="132"/>
                </a:cubicBezTo>
                <a:cubicBezTo>
                  <a:pt x="1157" y="135"/>
                  <a:pt x="1157" y="138"/>
                  <a:pt x="1160" y="140"/>
                </a:cubicBezTo>
                <a:cubicBezTo>
                  <a:pt x="1161" y="141"/>
                  <a:pt x="1161" y="142"/>
                  <a:pt x="1161" y="142"/>
                </a:cubicBezTo>
                <a:close/>
                <a:moveTo>
                  <a:pt x="1183" y="167"/>
                </a:moveTo>
                <a:cubicBezTo>
                  <a:pt x="1182" y="166"/>
                  <a:pt x="1182" y="166"/>
                  <a:pt x="1182" y="166"/>
                </a:cubicBezTo>
                <a:cubicBezTo>
                  <a:pt x="1183" y="166"/>
                  <a:pt x="1183" y="166"/>
                  <a:pt x="1183" y="166"/>
                </a:cubicBezTo>
                <a:lnTo>
                  <a:pt x="1183" y="167"/>
                </a:lnTo>
                <a:close/>
                <a:moveTo>
                  <a:pt x="1181" y="139"/>
                </a:moveTo>
                <a:cubicBezTo>
                  <a:pt x="1181" y="139"/>
                  <a:pt x="1181" y="139"/>
                  <a:pt x="1181" y="139"/>
                </a:cubicBezTo>
                <a:cubicBezTo>
                  <a:pt x="1181" y="139"/>
                  <a:pt x="1181" y="139"/>
                  <a:pt x="1181" y="139"/>
                </a:cubicBezTo>
                <a:cubicBezTo>
                  <a:pt x="1181" y="139"/>
                  <a:pt x="1181" y="139"/>
                  <a:pt x="1181" y="139"/>
                </a:cubicBezTo>
                <a:close/>
                <a:moveTo>
                  <a:pt x="697" y="160"/>
                </a:moveTo>
                <a:cubicBezTo>
                  <a:pt x="696" y="159"/>
                  <a:pt x="695" y="158"/>
                  <a:pt x="695" y="157"/>
                </a:cubicBezTo>
                <a:cubicBezTo>
                  <a:pt x="694" y="156"/>
                  <a:pt x="692" y="155"/>
                  <a:pt x="690" y="155"/>
                </a:cubicBezTo>
                <a:cubicBezTo>
                  <a:pt x="688" y="155"/>
                  <a:pt x="685" y="155"/>
                  <a:pt x="683" y="154"/>
                </a:cubicBezTo>
                <a:cubicBezTo>
                  <a:pt x="682" y="153"/>
                  <a:pt x="681" y="153"/>
                  <a:pt x="680" y="153"/>
                </a:cubicBezTo>
                <a:cubicBezTo>
                  <a:pt x="677" y="154"/>
                  <a:pt x="673" y="154"/>
                  <a:pt x="669" y="155"/>
                </a:cubicBezTo>
                <a:cubicBezTo>
                  <a:pt x="667" y="155"/>
                  <a:pt x="665" y="156"/>
                  <a:pt x="663" y="153"/>
                </a:cubicBezTo>
                <a:cubicBezTo>
                  <a:pt x="663" y="152"/>
                  <a:pt x="661" y="152"/>
                  <a:pt x="660" y="152"/>
                </a:cubicBezTo>
                <a:cubicBezTo>
                  <a:pt x="657" y="150"/>
                  <a:pt x="654" y="149"/>
                  <a:pt x="653" y="145"/>
                </a:cubicBezTo>
                <a:cubicBezTo>
                  <a:pt x="652" y="143"/>
                  <a:pt x="651" y="143"/>
                  <a:pt x="650" y="142"/>
                </a:cubicBezTo>
                <a:cubicBezTo>
                  <a:pt x="649" y="142"/>
                  <a:pt x="649" y="142"/>
                  <a:pt x="650" y="141"/>
                </a:cubicBezTo>
                <a:cubicBezTo>
                  <a:pt x="651" y="141"/>
                  <a:pt x="651" y="140"/>
                  <a:pt x="652" y="139"/>
                </a:cubicBezTo>
                <a:cubicBezTo>
                  <a:pt x="652" y="139"/>
                  <a:pt x="652" y="139"/>
                  <a:pt x="652" y="139"/>
                </a:cubicBezTo>
                <a:cubicBezTo>
                  <a:pt x="652" y="139"/>
                  <a:pt x="652" y="139"/>
                  <a:pt x="652" y="139"/>
                </a:cubicBezTo>
                <a:cubicBezTo>
                  <a:pt x="652" y="139"/>
                  <a:pt x="652" y="139"/>
                  <a:pt x="652" y="139"/>
                </a:cubicBezTo>
                <a:cubicBezTo>
                  <a:pt x="652" y="139"/>
                  <a:pt x="652" y="139"/>
                  <a:pt x="652" y="139"/>
                </a:cubicBezTo>
                <a:cubicBezTo>
                  <a:pt x="654" y="139"/>
                  <a:pt x="656" y="140"/>
                  <a:pt x="657" y="139"/>
                </a:cubicBezTo>
                <a:cubicBezTo>
                  <a:pt x="658" y="139"/>
                  <a:pt x="659" y="138"/>
                  <a:pt x="658" y="137"/>
                </a:cubicBezTo>
                <a:cubicBezTo>
                  <a:pt x="658" y="137"/>
                  <a:pt x="658" y="136"/>
                  <a:pt x="657" y="136"/>
                </a:cubicBezTo>
                <a:cubicBezTo>
                  <a:pt x="656" y="134"/>
                  <a:pt x="655" y="133"/>
                  <a:pt x="655" y="130"/>
                </a:cubicBezTo>
                <a:cubicBezTo>
                  <a:pt x="656" y="129"/>
                  <a:pt x="654" y="127"/>
                  <a:pt x="652" y="127"/>
                </a:cubicBezTo>
                <a:cubicBezTo>
                  <a:pt x="651" y="127"/>
                  <a:pt x="649" y="127"/>
                  <a:pt x="648" y="127"/>
                </a:cubicBezTo>
                <a:cubicBezTo>
                  <a:pt x="647" y="126"/>
                  <a:pt x="646" y="126"/>
                  <a:pt x="645" y="125"/>
                </a:cubicBezTo>
                <a:cubicBezTo>
                  <a:pt x="645" y="124"/>
                  <a:pt x="645" y="122"/>
                  <a:pt x="644" y="121"/>
                </a:cubicBezTo>
                <a:cubicBezTo>
                  <a:pt x="644" y="120"/>
                  <a:pt x="644" y="119"/>
                  <a:pt x="643" y="119"/>
                </a:cubicBezTo>
                <a:cubicBezTo>
                  <a:pt x="641" y="117"/>
                  <a:pt x="639" y="115"/>
                  <a:pt x="636" y="114"/>
                </a:cubicBezTo>
                <a:cubicBezTo>
                  <a:pt x="634" y="113"/>
                  <a:pt x="632" y="113"/>
                  <a:pt x="630" y="115"/>
                </a:cubicBezTo>
                <a:cubicBezTo>
                  <a:pt x="629" y="115"/>
                  <a:pt x="628" y="117"/>
                  <a:pt x="628" y="118"/>
                </a:cubicBezTo>
                <a:cubicBezTo>
                  <a:pt x="629" y="122"/>
                  <a:pt x="630" y="125"/>
                  <a:pt x="630" y="129"/>
                </a:cubicBezTo>
                <a:cubicBezTo>
                  <a:pt x="630" y="129"/>
                  <a:pt x="631" y="130"/>
                  <a:pt x="631" y="130"/>
                </a:cubicBezTo>
                <a:cubicBezTo>
                  <a:pt x="634" y="131"/>
                  <a:pt x="636" y="132"/>
                  <a:pt x="638" y="133"/>
                </a:cubicBezTo>
                <a:cubicBezTo>
                  <a:pt x="641" y="134"/>
                  <a:pt x="641" y="134"/>
                  <a:pt x="641" y="136"/>
                </a:cubicBezTo>
                <a:cubicBezTo>
                  <a:pt x="641" y="137"/>
                  <a:pt x="641" y="139"/>
                  <a:pt x="641" y="141"/>
                </a:cubicBezTo>
                <a:cubicBezTo>
                  <a:pt x="641" y="143"/>
                  <a:pt x="640" y="145"/>
                  <a:pt x="638" y="146"/>
                </a:cubicBezTo>
                <a:cubicBezTo>
                  <a:pt x="637" y="147"/>
                  <a:pt x="636" y="149"/>
                  <a:pt x="635" y="150"/>
                </a:cubicBezTo>
                <a:cubicBezTo>
                  <a:pt x="632" y="153"/>
                  <a:pt x="632" y="158"/>
                  <a:pt x="632" y="162"/>
                </a:cubicBezTo>
                <a:cubicBezTo>
                  <a:pt x="632" y="164"/>
                  <a:pt x="636" y="164"/>
                  <a:pt x="637" y="166"/>
                </a:cubicBezTo>
                <a:cubicBezTo>
                  <a:pt x="637" y="166"/>
                  <a:pt x="638" y="167"/>
                  <a:pt x="638" y="167"/>
                </a:cubicBezTo>
                <a:cubicBezTo>
                  <a:pt x="640" y="169"/>
                  <a:pt x="642" y="169"/>
                  <a:pt x="644" y="167"/>
                </a:cubicBezTo>
                <a:cubicBezTo>
                  <a:pt x="645" y="167"/>
                  <a:pt x="645" y="167"/>
                  <a:pt x="646" y="167"/>
                </a:cubicBezTo>
                <a:cubicBezTo>
                  <a:pt x="647" y="167"/>
                  <a:pt x="647" y="167"/>
                  <a:pt x="647" y="168"/>
                </a:cubicBezTo>
                <a:cubicBezTo>
                  <a:pt x="647" y="169"/>
                  <a:pt x="646" y="169"/>
                  <a:pt x="646" y="170"/>
                </a:cubicBezTo>
                <a:cubicBezTo>
                  <a:pt x="647" y="171"/>
                  <a:pt x="648" y="172"/>
                  <a:pt x="649" y="172"/>
                </a:cubicBezTo>
                <a:cubicBezTo>
                  <a:pt x="652" y="173"/>
                  <a:pt x="654" y="174"/>
                  <a:pt x="657" y="174"/>
                </a:cubicBezTo>
                <a:cubicBezTo>
                  <a:pt x="663" y="174"/>
                  <a:pt x="668" y="177"/>
                  <a:pt x="674" y="177"/>
                </a:cubicBezTo>
                <a:cubicBezTo>
                  <a:pt x="675" y="177"/>
                  <a:pt x="676" y="178"/>
                  <a:pt x="677" y="178"/>
                </a:cubicBezTo>
                <a:cubicBezTo>
                  <a:pt x="679" y="180"/>
                  <a:pt x="681" y="180"/>
                  <a:pt x="683" y="180"/>
                </a:cubicBezTo>
                <a:cubicBezTo>
                  <a:pt x="685" y="180"/>
                  <a:pt x="687" y="180"/>
                  <a:pt x="689" y="179"/>
                </a:cubicBezTo>
                <a:cubicBezTo>
                  <a:pt x="689" y="179"/>
                  <a:pt x="690" y="179"/>
                  <a:pt x="691" y="178"/>
                </a:cubicBezTo>
                <a:cubicBezTo>
                  <a:pt x="692" y="177"/>
                  <a:pt x="694" y="176"/>
                  <a:pt x="696" y="175"/>
                </a:cubicBezTo>
                <a:cubicBezTo>
                  <a:pt x="697" y="174"/>
                  <a:pt x="697" y="173"/>
                  <a:pt x="697" y="172"/>
                </a:cubicBezTo>
                <a:cubicBezTo>
                  <a:pt x="697" y="171"/>
                  <a:pt x="698" y="170"/>
                  <a:pt x="698" y="169"/>
                </a:cubicBezTo>
                <a:cubicBezTo>
                  <a:pt x="701" y="165"/>
                  <a:pt x="700" y="162"/>
                  <a:pt x="697" y="160"/>
                </a:cubicBezTo>
                <a:close/>
                <a:moveTo>
                  <a:pt x="549" y="122"/>
                </a:moveTo>
                <a:cubicBezTo>
                  <a:pt x="547" y="121"/>
                  <a:pt x="544" y="121"/>
                  <a:pt x="542" y="120"/>
                </a:cubicBezTo>
                <a:cubicBezTo>
                  <a:pt x="541" y="120"/>
                  <a:pt x="541" y="119"/>
                  <a:pt x="541" y="119"/>
                </a:cubicBezTo>
                <a:cubicBezTo>
                  <a:pt x="543" y="117"/>
                  <a:pt x="541" y="114"/>
                  <a:pt x="541" y="112"/>
                </a:cubicBezTo>
                <a:cubicBezTo>
                  <a:pt x="541" y="109"/>
                  <a:pt x="541" y="107"/>
                  <a:pt x="541" y="105"/>
                </a:cubicBezTo>
                <a:cubicBezTo>
                  <a:pt x="541" y="103"/>
                  <a:pt x="539" y="103"/>
                  <a:pt x="537" y="102"/>
                </a:cubicBezTo>
                <a:cubicBezTo>
                  <a:pt x="536" y="102"/>
                  <a:pt x="536" y="101"/>
                  <a:pt x="536" y="100"/>
                </a:cubicBezTo>
                <a:cubicBezTo>
                  <a:pt x="536" y="97"/>
                  <a:pt x="535" y="96"/>
                  <a:pt x="533" y="95"/>
                </a:cubicBezTo>
                <a:cubicBezTo>
                  <a:pt x="531" y="95"/>
                  <a:pt x="529" y="95"/>
                  <a:pt x="528" y="96"/>
                </a:cubicBezTo>
                <a:cubicBezTo>
                  <a:pt x="525" y="98"/>
                  <a:pt x="522" y="99"/>
                  <a:pt x="520" y="100"/>
                </a:cubicBezTo>
                <a:cubicBezTo>
                  <a:pt x="519" y="101"/>
                  <a:pt x="519" y="102"/>
                  <a:pt x="518" y="103"/>
                </a:cubicBezTo>
                <a:cubicBezTo>
                  <a:pt x="518" y="105"/>
                  <a:pt x="517" y="106"/>
                  <a:pt x="515" y="106"/>
                </a:cubicBezTo>
                <a:cubicBezTo>
                  <a:pt x="514" y="107"/>
                  <a:pt x="513" y="108"/>
                  <a:pt x="512" y="109"/>
                </a:cubicBezTo>
                <a:cubicBezTo>
                  <a:pt x="511" y="110"/>
                  <a:pt x="511" y="110"/>
                  <a:pt x="512" y="111"/>
                </a:cubicBezTo>
                <a:cubicBezTo>
                  <a:pt x="513" y="111"/>
                  <a:pt x="514" y="112"/>
                  <a:pt x="515" y="113"/>
                </a:cubicBezTo>
                <a:cubicBezTo>
                  <a:pt x="515" y="113"/>
                  <a:pt x="516" y="113"/>
                  <a:pt x="515" y="114"/>
                </a:cubicBezTo>
                <a:cubicBezTo>
                  <a:pt x="515" y="114"/>
                  <a:pt x="515" y="114"/>
                  <a:pt x="514" y="114"/>
                </a:cubicBezTo>
                <a:cubicBezTo>
                  <a:pt x="512" y="114"/>
                  <a:pt x="510" y="113"/>
                  <a:pt x="508" y="113"/>
                </a:cubicBezTo>
                <a:cubicBezTo>
                  <a:pt x="506" y="113"/>
                  <a:pt x="505" y="115"/>
                  <a:pt x="504" y="117"/>
                </a:cubicBezTo>
                <a:cubicBezTo>
                  <a:pt x="504" y="119"/>
                  <a:pt x="504" y="120"/>
                  <a:pt x="505" y="121"/>
                </a:cubicBezTo>
                <a:cubicBezTo>
                  <a:pt x="507" y="122"/>
                  <a:pt x="508" y="123"/>
                  <a:pt x="509" y="124"/>
                </a:cubicBezTo>
                <a:cubicBezTo>
                  <a:pt x="512" y="126"/>
                  <a:pt x="515" y="128"/>
                  <a:pt x="518" y="126"/>
                </a:cubicBezTo>
                <a:cubicBezTo>
                  <a:pt x="519" y="126"/>
                  <a:pt x="520" y="126"/>
                  <a:pt x="520" y="126"/>
                </a:cubicBezTo>
                <a:cubicBezTo>
                  <a:pt x="522" y="127"/>
                  <a:pt x="524" y="127"/>
                  <a:pt x="527" y="127"/>
                </a:cubicBezTo>
                <a:cubicBezTo>
                  <a:pt x="527" y="127"/>
                  <a:pt x="527" y="128"/>
                  <a:pt x="527" y="128"/>
                </a:cubicBezTo>
                <a:cubicBezTo>
                  <a:pt x="527" y="128"/>
                  <a:pt x="527" y="128"/>
                  <a:pt x="527" y="128"/>
                </a:cubicBezTo>
                <a:cubicBezTo>
                  <a:pt x="523" y="129"/>
                  <a:pt x="519" y="129"/>
                  <a:pt x="515" y="130"/>
                </a:cubicBezTo>
                <a:cubicBezTo>
                  <a:pt x="514" y="130"/>
                  <a:pt x="513" y="131"/>
                  <a:pt x="513" y="133"/>
                </a:cubicBezTo>
                <a:cubicBezTo>
                  <a:pt x="513" y="135"/>
                  <a:pt x="514" y="137"/>
                  <a:pt x="516" y="138"/>
                </a:cubicBezTo>
                <a:cubicBezTo>
                  <a:pt x="517" y="139"/>
                  <a:pt x="518" y="139"/>
                  <a:pt x="520" y="139"/>
                </a:cubicBezTo>
                <a:cubicBezTo>
                  <a:pt x="521" y="140"/>
                  <a:pt x="523" y="139"/>
                  <a:pt x="525" y="140"/>
                </a:cubicBezTo>
                <a:cubicBezTo>
                  <a:pt x="528" y="140"/>
                  <a:pt x="531" y="139"/>
                  <a:pt x="534" y="138"/>
                </a:cubicBezTo>
                <a:cubicBezTo>
                  <a:pt x="535" y="137"/>
                  <a:pt x="536" y="136"/>
                  <a:pt x="537" y="136"/>
                </a:cubicBezTo>
                <a:cubicBezTo>
                  <a:pt x="540" y="136"/>
                  <a:pt x="542" y="136"/>
                  <a:pt x="545" y="135"/>
                </a:cubicBezTo>
                <a:cubicBezTo>
                  <a:pt x="545" y="135"/>
                  <a:pt x="546" y="135"/>
                  <a:pt x="547" y="135"/>
                </a:cubicBezTo>
                <a:cubicBezTo>
                  <a:pt x="548" y="136"/>
                  <a:pt x="550" y="137"/>
                  <a:pt x="552" y="137"/>
                </a:cubicBezTo>
                <a:cubicBezTo>
                  <a:pt x="554" y="138"/>
                  <a:pt x="555" y="138"/>
                  <a:pt x="556" y="138"/>
                </a:cubicBezTo>
                <a:cubicBezTo>
                  <a:pt x="557" y="138"/>
                  <a:pt x="559" y="138"/>
                  <a:pt x="560" y="137"/>
                </a:cubicBezTo>
                <a:cubicBezTo>
                  <a:pt x="562" y="137"/>
                  <a:pt x="563" y="136"/>
                  <a:pt x="564" y="135"/>
                </a:cubicBezTo>
                <a:cubicBezTo>
                  <a:pt x="567" y="132"/>
                  <a:pt x="569" y="130"/>
                  <a:pt x="572" y="127"/>
                </a:cubicBezTo>
                <a:cubicBezTo>
                  <a:pt x="573" y="126"/>
                  <a:pt x="574" y="125"/>
                  <a:pt x="574" y="124"/>
                </a:cubicBezTo>
                <a:cubicBezTo>
                  <a:pt x="575" y="122"/>
                  <a:pt x="574" y="119"/>
                  <a:pt x="572" y="117"/>
                </a:cubicBezTo>
                <a:cubicBezTo>
                  <a:pt x="572" y="117"/>
                  <a:pt x="571" y="117"/>
                  <a:pt x="570" y="117"/>
                </a:cubicBezTo>
                <a:cubicBezTo>
                  <a:pt x="569" y="117"/>
                  <a:pt x="568" y="118"/>
                  <a:pt x="568" y="119"/>
                </a:cubicBezTo>
                <a:cubicBezTo>
                  <a:pt x="567" y="120"/>
                  <a:pt x="567" y="120"/>
                  <a:pt x="566" y="120"/>
                </a:cubicBezTo>
                <a:cubicBezTo>
                  <a:pt x="565" y="118"/>
                  <a:pt x="563" y="118"/>
                  <a:pt x="564" y="115"/>
                </a:cubicBezTo>
                <a:cubicBezTo>
                  <a:pt x="563" y="114"/>
                  <a:pt x="562" y="113"/>
                  <a:pt x="563" y="112"/>
                </a:cubicBezTo>
                <a:cubicBezTo>
                  <a:pt x="564" y="111"/>
                  <a:pt x="565" y="110"/>
                  <a:pt x="565" y="109"/>
                </a:cubicBezTo>
                <a:cubicBezTo>
                  <a:pt x="564" y="106"/>
                  <a:pt x="565" y="103"/>
                  <a:pt x="566" y="101"/>
                </a:cubicBezTo>
                <a:cubicBezTo>
                  <a:pt x="567" y="100"/>
                  <a:pt x="566" y="99"/>
                  <a:pt x="565" y="99"/>
                </a:cubicBezTo>
                <a:cubicBezTo>
                  <a:pt x="565" y="98"/>
                  <a:pt x="563" y="98"/>
                  <a:pt x="562" y="98"/>
                </a:cubicBezTo>
                <a:cubicBezTo>
                  <a:pt x="560" y="100"/>
                  <a:pt x="558" y="102"/>
                  <a:pt x="555" y="104"/>
                </a:cubicBezTo>
                <a:cubicBezTo>
                  <a:pt x="554" y="105"/>
                  <a:pt x="554" y="106"/>
                  <a:pt x="554" y="108"/>
                </a:cubicBezTo>
                <a:cubicBezTo>
                  <a:pt x="554" y="108"/>
                  <a:pt x="554" y="109"/>
                  <a:pt x="554" y="110"/>
                </a:cubicBezTo>
                <a:cubicBezTo>
                  <a:pt x="555" y="112"/>
                  <a:pt x="554" y="113"/>
                  <a:pt x="553" y="114"/>
                </a:cubicBezTo>
                <a:cubicBezTo>
                  <a:pt x="552" y="114"/>
                  <a:pt x="552" y="114"/>
                  <a:pt x="552" y="114"/>
                </a:cubicBezTo>
                <a:cubicBezTo>
                  <a:pt x="550" y="115"/>
                  <a:pt x="550" y="116"/>
                  <a:pt x="551" y="118"/>
                </a:cubicBezTo>
                <a:cubicBezTo>
                  <a:pt x="551" y="118"/>
                  <a:pt x="551" y="119"/>
                  <a:pt x="551" y="120"/>
                </a:cubicBezTo>
                <a:cubicBezTo>
                  <a:pt x="552" y="121"/>
                  <a:pt x="550" y="122"/>
                  <a:pt x="549" y="122"/>
                </a:cubicBezTo>
                <a:close/>
                <a:moveTo>
                  <a:pt x="2316" y="1301"/>
                </a:moveTo>
                <a:cubicBezTo>
                  <a:pt x="2315" y="1302"/>
                  <a:pt x="2313" y="1302"/>
                  <a:pt x="2312" y="1302"/>
                </a:cubicBezTo>
                <a:cubicBezTo>
                  <a:pt x="2310" y="1302"/>
                  <a:pt x="2311" y="1300"/>
                  <a:pt x="2310" y="1299"/>
                </a:cubicBezTo>
                <a:cubicBezTo>
                  <a:pt x="2310" y="1298"/>
                  <a:pt x="2310" y="1298"/>
                  <a:pt x="2309" y="1297"/>
                </a:cubicBezTo>
                <a:cubicBezTo>
                  <a:pt x="2309" y="1296"/>
                  <a:pt x="2307" y="1296"/>
                  <a:pt x="2306" y="1297"/>
                </a:cubicBezTo>
                <a:cubicBezTo>
                  <a:pt x="2306" y="1297"/>
                  <a:pt x="2305" y="1298"/>
                  <a:pt x="2304" y="1299"/>
                </a:cubicBezTo>
                <a:cubicBezTo>
                  <a:pt x="2303" y="1303"/>
                  <a:pt x="2300" y="1307"/>
                  <a:pt x="2296" y="1309"/>
                </a:cubicBezTo>
                <a:cubicBezTo>
                  <a:pt x="2295" y="1310"/>
                  <a:pt x="2294" y="1311"/>
                  <a:pt x="2294" y="1312"/>
                </a:cubicBezTo>
                <a:cubicBezTo>
                  <a:pt x="2293" y="1313"/>
                  <a:pt x="2292" y="1314"/>
                  <a:pt x="2292" y="1316"/>
                </a:cubicBezTo>
                <a:cubicBezTo>
                  <a:pt x="2290" y="1319"/>
                  <a:pt x="2288" y="1321"/>
                  <a:pt x="2285" y="1323"/>
                </a:cubicBezTo>
                <a:cubicBezTo>
                  <a:pt x="2282" y="1324"/>
                  <a:pt x="2279" y="1326"/>
                  <a:pt x="2275" y="1328"/>
                </a:cubicBezTo>
                <a:cubicBezTo>
                  <a:pt x="2273" y="1330"/>
                  <a:pt x="2271" y="1333"/>
                  <a:pt x="2267" y="1333"/>
                </a:cubicBezTo>
                <a:cubicBezTo>
                  <a:pt x="2266" y="1333"/>
                  <a:pt x="2266" y="1334"/>
                  <a:pt x="2265" y="1334"/>
                </a:cubicBezTo>
                <a:cubicBezTo>
                  <a:pt x="2261" y="1338"/>
                  <a:pt x="2256" y="1341"/>
                  <a:pt x="2253" y="1345"/>
                </a:cubicBezTo>
                <a:cubicBezTo>
                  <a:pt x="2249" y="1348"/>
                  <a:pt x="2247" y="1352"/>
                  <a:pt x="2245" y="1356"/>
                </a:cubicBezTo>
                <a:cubicBezTo>
                  <a:pt x="2245" y="1357"/>
                  <a:pt x="2246" y="1359"/>
                  <a:pt x="2247" y="1360"/>
                </a:cubicBezTo>
                <a:cubicBezTo>
                  <a:pt x="2250" y="1361"/>
                  <a:pt x="2252" y="1362"/>
                  <a:pt x="2254" y="1364"/>
                </a:cubicBezTo>
                <a:cubicBezTo>
                  <a:pt x="2254" y="1365"/>
                  <a:pt x="2255" y="1365"/>
                  <a:pt x="2255" y="1366"/>
                </a:cubicBezTo>
                <a:cubicBezTo>
                  <a:pt x="2257" y="1368"/>
                  <a:pt x="2260" y="1368"/>
                  <a:pt x="2262" y="1367"/>
                </a:cubicBezTo>
                <a:cubicBezTo>
                  <a:pt x="2267" y="1365"/>
                  <a:pt x="2270" y="1361"/>
                  <a:pt x="2274" y="1359"/>
                </a:cubicBezTo>
                <a:cubicBezTo>
                  <a:pt x="2275" y="1357"/>
                  <a:pt x="2276" y="1355"/>
                  <a:pt x="2278" y="1353"/>
                </a:cubicBezTo>
                <a:cubicBezTo>
                  <a:pt x="2278" y="1352"/>
                  <a:pt x="2279" y="1350"/>
                  <a:pt x="2280" y="1349"/>
                </a:cubicBezTo>
                <a:cubicBezTo>
                  <a:pt x="2282" y="1348"/>
                  <a:pt x="2283" y="1346"/>
                  <a:pt x="2284" y="1344"/>
                </a:cubicBezTo>
                <a:cubicBezTo>
                  <a:pt x="2287" y="1338"/>
                  <a:pt x="2286" y="1339"/>
                  <a:pt x="2292" y="1336"/>
                </a:cubicBezTo>
                <a:cubicBezTo>
                  <a:pt x="2294" y="1335"/>
                  <a:pt x="2295" y="1335"/>
                  <a:pt x="2297" y="1335"/>
                </a:cubicBezTo>
                <a:cubicBezTo>
                  <a:pt x="2299" y="1335"/>
                  <a:pt x="2300" y="1334"/>
                  <a:pt x="2300" y="1333"/>
                </a:cubicBezTo>
                <a:cubicBezTo>
                  <a:pt x="2299" y="1330"/>
                  <a:pt x="2300" y="1328"/>
                  <a:pt x="2303" y="1326"/>
                </a:cubicBezTo>
                <a:cubicBezTo>
                  <a:pt x="2304" y="1326"/>
                  <a:pt x="2305" y="1325"/>
                  <a:pt x="2305" y="1324"/>
                </a:cubicBezTo>
                <a:cubicBezTo>
                  <a:pt x="2308" y="1320"/>
                  <a:pt x="2312" y="1317"/>
                  <a:pt x="2315" y="1313"/>
                </a:cubicBezTo>
                <a:cubicBezTo>
                  <a:pt x="2316" y="1312"/>
                  <a:pt x="2316" y="1311"/>
                  <a:pt x="2317" y="1310"/>
                </a:cubicBezTo>
                <a:cubicBezTo>
                  <a:pt x="2317" y="1309"/>
                  <a:pt x="2317" y="1307"/>
                  <a:pt x="2317" y="1307"/>
                </a:cubicBezTo>
                <a:cubicBezTo>
                  <a:pt x="2317" y="1306"/>
                  <a:pt x="2317" y="1306"/>
                  <a:pt x="2317" y="1305"/>
                </a:cubicBezTo>
                <a:cubicBezTo>
                  <a:pt x="2317" y="1305"/>
                  <a:pt x="2317" y="1304"/>
                  <a:pt x="2317" y="1304"/>
                </a:cubicBezTo>
                <a:cubicBezTo>
                  <a:pt x="2318" y="1303"/>
                  <a:pt x="2317" y="1303"/>
                  <a:pt x="2318" y="1303"/>
                </a:cubicBezTo>
                <a:cubicBezTo>
                  <a:pt x="2318" y="1302"/>
                  <a:pt x="2316" y="1301"/>
                  <a:pt x="2316" y="1301"/>
                </a:cubicBezTo>
                <a:close/>
                <a:moveTo>
                  <a:pt x="1000" y="379"/>
                </a:moveTo>
                <a:cubicBezTo>
                  <a:pt x="1004" y="377"/>
                  <a:pt x="1008" y="375"/>
                  <a:pt x="1012" y="373"/>
                </a:cubicBezTo>
                <a:cubicBezTo>
                  <a:pt x="1013" y="373"/>
                  <a:pt x="1014" y="373"/>
                  <a:pt x="1014" y="372"/>
                </a:cubicBezTo>
                <a:cubicBezTo>
                  <a:pt x="1017" y="370"/>
                  <a:pt x="1019" y="369"/>
                  <a:pt x="1022" y="368"/>
                </a:cubicBezTo>
                <a:cubicBezTo>
                  <a:pt x="1023" y="368"/>
                  <a:pt x="1024" y="367"/>
                  <a:pt x="1025" y="366"/>
                </a:cubicBezTo>
                <a:cubicBezTo>
                  <a:pt x="1026" y="365"/>
                  <a:pt x="1027" y="364"/>
                  <a:pt x="1028" y="363"/>
                </a:cubicBezTo>
                <a:cubicBezTo>
                  <a:pt x="1028" y="362"/>
                  <a:pt x="1028" y="362"/>
                  <a:pt x="1028" y="361"/>
                </a:cubicBezTo>
                <a:cubicBezTo>
                  <a:pt x="1027" y="359"/>
                  <a:pt x="1028" y="357"/>
                  <a:pt x="1029" y="355"/>
                </a:cubicBezTo>
                <a:cubicBezTo>
                  <a:pt x="1030" y="354"/>
                  <a:pt x="1030" y="354"/>
                  <a:pt x="1030" y="354"/>
                </a:cubicBezTo>
                <a:cubicBezTo>
                  <a:pt x="1029" y="354"/>
                  <a:pt x="1029" y="353"/>
                  <a:pt x="1029" y="353"/>
                </a:cubicBezTo>
                <a:cubicBezTo>
                  <a:pt x="1028" y="353"/>
                  <a:pt x="1027" y="352"/>
                  <a:pt x="1026" y="351"/>
                </a:cubicBezTo>
                <a:cubicBezTo>
                  <a:pt x="1025" y="350"/>
                  <a:pt x="1025" y="349"/>
                  <a:pt x="1025" y="347"/>
                </a:cubicBezTo>
                <a:cubicBezTo>
                  <a:pt x="1025" y="346"/>
                  <a:pt x="1024" y="345"/>
                  <a:pt x="1023" y="344"/>
                </a:cubicBezTo>
                <a:cubicBezTo>
                  <a:pt x="1023" y="343"/>
                  <a:pt x="1022" y="343"/>
                  <a:pt x="1022" y="343"/>
                </a:cubicBezTo>
                <a:cubicBezTo>
                  <a:pt x="1020" y="343"/>
                  <a:pt x="1019" y="343"/>
                  <a:pt x="1018" y="342"/>
                </a:cubicBezTo>
                <a:cubicBezTo>
                  <a:pt x="1017" y="341"/>
                  <a:pt x="1015" y="341"/>
                  <a:pt x="1014" y="342"/>
                </a:cubicBezTo>
                <a:cubicBezTo>
                  <a:pt x="1011" y="345"/>
                  <a:pt x="1009" y="346"/>
                  <a:pt x="1005" y="345"/>
                </a:cubicBezTo>
                <a:cubicBezTo>
                  <a:pt x="1004" y="344"/>
                  <a:pt x="1003" y="345"/>
                  <a:pt x="1002" y="345"/>
                </a:cubicBezTo>
                <a:cubicBezTo>
                  <a:pt x="999" y="344"/>
                  <a:pt x="997" y="345"/>
                  <a:pt x="996" y="347"/>
                </a:cubicBezTo>
                <a:cubicBezTo>
                  <a:pt x="996" y="347"/>
                  <a:pt x="995" y="348"/>
                  <a:pt x="995" y="347"/>
                </a:cubicBezTo>
                <a:cubicBezTo>
                  <a:pt x="994" y="347"/>
                  <a:pt x="994" y="346"/>
                  <a:pt x="993" y="345"/>
                </a:cubicBezTo>
                <a:cubicBezTo>
                  <a:pt x="993" y="345"/>
                  <a:pt x="991" y="345"/>
                  <a:pt x="991" y="346"/>
                </a:cubicBezTo>
                <a:cubicBezTo>
                  <a:pt x="990" y="347"/>
                  <a:pt x="990" y="348"/>
                  <a:pt x="990" y="349"/>
                </a:cubicBezTo>
                <a:cubicBezTo>
                  <a:pt x="991" y="351"/>
                  <a:pt x="990" y="352"/>
                  <a:pt x="988" y="352"/>
                </a:cubicBezTo>
                <a:cubicBezTo>
                  <a:pt x="988" y="352"/>
                  <a:pt x="987" y="353"/>
                  <a:pt x="987" y="353"/>
                </a:cubicBezTo>
                <a:cubicBezTo>
                  <a:pt x="987" y="353"/>
                  <a:pt x="987" y="353"/>
                  <a:pt x="987" y="353"/>
                </a:cubicBezTo>
                <a:cubicBezTo>
                  <a:pt x="987" y="353"/>
                  <a:pt x="987" y="353"/>
                  <a:pt x="986" y="353"/>
                </a:cubicBezTo>
                <a:cubicBezTo>
                  <a:pt x="987" y="353"/>
                  <a:pt x="987" y="353"/>
                  <a:pt x="987" y="353"/>
                </a:cubicBezTo>
                <a:cubicBezTo>
                  <a:pt x="987" y="353"/>
                  <a:pt x="987" y="353"/>
                  <a:pt x="987" y="353"/>
                </a:cubicBezTo>
                <a:cubicBezTo>
                  <a:pt x="986" y="352"/>
                  <a:pt x="985" y="350"/>
                  <a:pt x="986" y="348"/>
                </a:cubicBezTo>
                <a:cubicBezTo>
                  <a:pt x="986" y="347"/>
                  <a:pt x="985" y="345"/>
                  <a:pt x="984" y="344"/>
                </a:cubicBezTo>
                <a:cubicBezTo>
                  <a:pt x="983" y="343"/>
                  <a:pt x="982" y="343"/>
                  <a:pt x="982" y="342"/>
                </a:cubicBezTo>
                <a:cubicBezTo>
                  <a:pt x="980" y="340"/>
                  <a:pt x="979" y="340"/>
                  <a:pt x="976" y="342"/>
                </a:cubicBezTo>
                <a:cubicBezTo>
                  <a:pt x="976" y="343"/>
                  <a:pt x="976" y="343"/>
                  <a:pt x="976" y="343"/>
                </a:cubicBezTo>
                <a:cubicBezTo>
                  <a:pt x="976" y="342"/>
                  <a:pt x="976" y="342"/>
                  <a:pt x="976" y="342"/>
                </a:cubicBezTo>
                <a:cubicBezTo>
                  <a:pt x="976" y="342"/>
                  <a:pt x="976" y="342"/>
                  <a:pt x="976" y="342"/>
                </a:cubicBezTo>
                <a:cubicBezTo>
                  <a:pt x="976" y="342"/>
                  <a:pt x="976" y="342"/>
                  <a:pt x="976" y="342"/>
                </a:cubicBezTo>
                <a:cubicBezTo>
                  <a:pt x="975" y="343"/>
                  <a:pt x="973" y="343"/>
                  <a:pt x="972" y="344"/>
                </a:cubicBezTo>
                <a:cubicBezTo>
                  <a:pt x="971" y="346"/>
                  <a:pt x="969" y="348"/>
                  <a:pt x="968" y="350"/>
                </a:cubicBezTo>
                <a:cubicBezTo>
                  <a:pt x="967" y="351"/>
                  <a:pt x="969" y="353"/>
                  <a:pt x="970" y="353"/>
                </a:cubicBezTo>
                <a:cubicBezTo>
                  <a:pt x="971" y="353"/>
                  <a:pt x="972" y="353"/>
                  <a:pt x="972" y="353"/>
                </a:cubicBezTo>
                <a:cubicBezTo>
                  <a:pt x="974" y="352"/>
                  <a:pt x="976" y="352"/>
                  <a:pt x="978" y="353"/>
                </a:cubicBezTo>
                <a:cubicBezTo>
                  <a:pt x="979" y="353"/>
                  <a:pt x="979" y="354"/>
                  <a:pt x="978" y="355"/>
                </a:cubicBezTo>
                <a:cubicBezTo>
                  <a:pt x="978" y="356"/>
                  <a:pt x="977" y="357"/>
                  <a:pt x="975" y="357"/>
                </a:cubicBezTo>
                <a:cubicBezTo>
                  <a:pt x="973" y="357"/>
                  <a:pt x="971" y="358"/>
                  <a:pt x="970" y="358"/>
                </a:cubicBezTo>
                <a:cubicBezTo>
                  <a:pt x="969" y="358"/>
                  <a:pt x="969" y="359"/>
                  <a:pt x="969" y="360"/>
                </a:cubicBezTo>
                <a:cubicBezTo>
                  <a:pt x="969" y="360"/>
                  <a:pt x="969" y="361"/>
                  <a:pt x="970" y="361"/>
                </a:cubicBezTo>
                <a:cubicBezTo>
                  <a:pt x="971" y="362"/>
                  <a:pt x="973" y="362"/>
                  <a:pt x="974" y="362"/>
                </a:cubicBezTo>
                <a:cubicBezTo>
                  <a:pt x="975" y="362"/>
                  <a:pt x="976" y="363"/>
                  <a:pt x="976" y="363"/>
                </a:cubicBezTo>
                <a:cubicBezTo>
                  <a:pt x="977" y="364"/>
                  <a:pt x="978" y="366"/>
                  <a:pt x="978" y="367"/>
                </a:cubicBezTo>
                <a:cubicBezTo>
                  <a:pt x="979" y="367"/>
                  <a:pt x="978" y="368"/>
                  <a:pt x="978" y="369"/>
                </a:cubicBezTo>
                <a:cubicBezTo>
                  <a:pt x="978" y="369"/>
                  <a:pt x="977" y="369"/>
                  <a:pt x="976" y="369"/>
                </a:cubicBezTo>
                <a:cubicBezTo>
                  <a:pt x="975" y="369"/>
                  <a:pt x="974" y="370"/>
                  <a:pt x="974" y="372"/>
                </a:cubicBezTo>
                <a:cubicBezTo>
                  <a:pt x="975" y="373"/>
                  <a:pt x="975" y="374"/>
                  <a:pt x="977" y="374"/>
                </a:cubicBezTo>
                <a:cubicBezTo>
                  <a:pt x="978" y="374"/>
                  <a:pt x="979" y="375"/>
                  <a:pt x="980" y="374"/>
                </a:cubicBezTo>
                <a:cubicBezTo>
                  <a:pt x="983" y="374"/>
                  <a:pt x="986" y="374"/>
                  <a:pt x="988" y="377"/>
                </a:cubicBezTo>
                <a:cubicBezTo>
                  <a:pt x="991" y="378"/>
                  <a:pt x="993" y="379"/>
                  <a:pt x="996" y="379"/>
                </a:cubicBezTo>
                <a:cubicBezTo>
                  <a:pt x="997" y="379"/>
                  <a:pt x="999" y="379"/>
                  <a:pt x="1000" y="379"/>
                </a:cubicBezTo>
                <a:close/>
                <a:moveTo>
                  <a:pt x="1519" y="53"/>
                </a:moveTo>
                <a:cubicBezTo>
                  <a:pt x="1519" y="54"/>
                  <a:pt x="1519" y="54"/>
                  <a:pt x="1520" y="55"/>
                </a:cubicBezTo>
                <a:cubicBezTo>
                  <a:pt x="1521" y="55"/>
                  <a:pt x="1522" y="55"/>
                  <a:pt x="1523" y="55"/>
                </a:cubicBezTo>
                <a:cubicBezTo>
                  <a:pt x="1524" y="56"/>
                  <a:pt x="1526" y="57"/>
                  <a:pt x="1528" y="57"/>
                </a:cubicBezTo>
                <a:cubicBezTo>
                  <a:pt x="1529" y="57"/>
                  <a:pt x="1529" y="57"/>
                  <a:pt x="1529" y="57"/>
                </a:cubicBezTo>
                <a:cubicBezTo>
                  <a:pt x="1529" y="58"/>
                  <a:pt x="1529" y="58"/>
                  <a:pt x="1528" y="58"/>
                </a:cubicBezTo>
                <a:cubicBezTo>
                  <a:pt x="1527" y="58"/>
                  <a:pt x="1526" y="59"/>
                  <a:pt x="1525" y="59"/>
                </a:cubicBezTo>
                <a:cubicBezTo>
                  <a:pt x="1524" y="59"/>
                  <a:pt x="1523" y="59"/>
                  <a:pt x="1522" y="61"/>
                </a:cubicBezTo>
                <a:cubicBezTo>
                  <a:pt x="1522" y="61"/>
                  <a:pt x="1522" y="62"/>
                  <a:pt x="1523" y="63"/>
                </a:cubicBezTo>
                <a:cubicBezTo>
                  <a:pt x="1525" y="65"/>
                  <a:pt x="1527" y="67"/>
                  <a:pt x="1528" y="68"/>
                </a:cubicBezTo>
                <a:cubicBezTo>
                  <a:pt x="1529" y="68"/>
                  <a:pt x="1529" y="69"/>
                  <a:pt x="1530" y="69"/>
                </a:cubicBezTo>
                <a:cubicBezTo>
                  <a:pt x="1533" y="68"/>
                  <a:pt x="1536" y="64"/>
                  <a:pt x="1535" y="61"/>
                </a:cubicBezTo>
                <a:cubicBezTo>
                  <a:pt x="1535" y="60"/>
                  <a:pt x="1534" y="59"/>
                  <a:pt x="1534" y="58"/>
                </a:cubicBezTo>
                <a:cubicBezTo>
                  <a:pt x="1535" y="58"/>
                  <a:pt x="1535" y="58"/>
                  <a:pt x="1535" y="58"/>
                </a:cubicBezTo>
                <a:cubicBezTo>
                  <a:pt x="1535" y="58"/>
                  <a:pt x="1536" y="58"/>
                  <a:pt x="1536" y="58"/>
                </a:cubicBezTo>
                <a:cubicBezTo>
                  <a:pt x="1537" y="59"/>
                  <a:pt x="1538" y="61"/>
                  <a:pt x="1538" y="63"/>
                </a:cubicBezTo>
                <a:cubicBezTo>
                  <a:pt x="1538" y="64"/>
                  <a:pt x="1538" y="65"/>
                  <a:pt x="1538" y="67"/>
                </a:cubicBezTo>
                <a:cubicBezTo>
                  <a:pt x="1537" y="70"/>
                  <a:pt x="1537" y="70"/>
                  <a:pt x="1540" y="70"/>
                </a:cubicBezTo>
                <a:cubicBezTo>
                  <a:pt x="1542" y="70"/>
                  <a:pt x="1544" y="70"/>
                  <a:pt x="1545" y="72"/>
                </a:cubicBezTo>
                <a:cubicBezTo>
                  <a:pt x="1547" y="75"/>
                  <a:pt x="1549" y="76"/>
                  <a:pt x="1552" y="76"/>
                </a:cubicBezTo>
                <a:cubicBezTo>
                  <a:pt x="1557" y="76"/>
                  <a:pt x="1562" y="77"/>
                  <a:pt x="1567" y="78"/>
                </a:cubicBezTo>
                <a:cubicBezTo>
                  <a:pt x="1568" y="78"/>
                  <a:pt x="1569" y="78"/>
                  <a:pt x="1569" y="78"/>
                </a:cubicBezTo>
                <a:cubicBezTo>
                  <a:pt x="1572" y="77"/>
                  <a:pt x="1574" y="76"/>
                  <a:pt x="1575" y="74"/>
                </a:cubicBezTo>
                <a:cubicBezTo>
                  <a:pt x="1576" y="73"/>
                  <a:pt x="1576" y="71"/>
                  <a:pt x="1575" y="71"/>
                </a:cubicBezTo>
                <a:cubicBezTo>
                  <a:pt x="1575" y="70"/>
                  <a:pt x="1575" y="70"/>
                  <a:pt x="1574" y="69"/>
                </a:cubicBezTo>
                <a:cubicBezTo>
                  <a:pt x="1573" y="69"/>
                  <a:pt x="1572" y="68"/>
                  <a:pt x="1571" y="67"/>
                </a:cubicBezTo>
                <a:cubicBezTo>
                  <a:pt x="1570" y="67"/>
                  <a:pt x="1570" y="66"/>
                  <a:pt x="1570" y="64"/>
                </a:cubicBezTo>
                <a:cubicBezTo>
                  <a:pt x="1571" y="62"/>
                  <a:pt x="1568" y="60"/>
                  <a:pt x="1568" y="58"/>
                </a:cubicBezTo>
                <a:cubicBezTo>
                  <a:pt x="1567" y="54"/>
                  <a:pt x="1564" y="51"/>
                  <a:pt x="1560" y="49"/>
                </a:cubicBezTo>
                <a:cubicBezTo>
                  <a:pt x="1558" y="48"/>
                  <a:pt x="1557" y="48"/>
                  <a:pt x="1555" y="49"/>
                </a:cubicBezTo>
                <a:cubicBezTo>
                  <a:pt x="1554" y="50"/>
                  <a:pt x="1552" y="50"/>
                  <a:pt x="1551" y="49"/>
                </a:cubicBezTo>
                <a:cubicBezTo>
                  <a:pt x="1549" y="47"/>
                  <a:pt x="1547" y="48"/>
                  <a:pt x="1546" y="49"/>
                </a:cubicBezTo>
                <a:cubicBezTo>
                  <a:pt x="1545" y="49"/>
                  <a:pt x="1545" y="49"/>
                  <a:pt x="1544" y="50"/>
                </a:cubicBezTo>
                <a:cubicBezTo>
                  <a:pt x="1544" y="50"/>
                  <a:pt x="1544" y="50"/>
                  <a:pt x="1544" y="50"/>
                </a:cubicBezTo>
                <a:cubicBezTo>
                  <a:pt x="1544" y="50"/>
                  <a:pt x="1544" y="50"/>
                  <a:pt x="1544" y="50"/>
                </a:cubicBezTo>
                <a:cubicBezTo>
                  <a:pt x="1542" y="51"/>
                  <a:pt x="1541" y="53"/>
                  <a:pt x="1540" y="54"/>
                </a:cubicBezTo>
                <a:cubicBezTo>
                  <a:pt x="1539" y="54"/>
                  <a:pt x="1539" y="54"/>
                  <a:pt x="1539" y="54"/>
                </a:cubicBezTo>
                <a:cubicBezTo>
                  <a:pt x="1538" y="53"/>
                  <a:pt x="1539" y="53"/>
                  <a:pt x="1539" y="53"/>
                </a:cubicBezTo>
                <a:cubicBezTo>
                  <a:pt x="1540" y="51"/>
                  <a:pt x="1541" y="50"/>
                  <a:pt x="1544" y="50"/>
                </a:cubicBezTo>
                <a:cubicBezTo>
                  <a:pt x="1544" y="50"/>
                  <a:pt x="1544" y="50"/>
                  <a:pt x="1544" y="50"/>
                </a:cubicBezTo>
                <a:cubicBezTo>
                  <a:pt x="1544" y="50"/>
                  <a:pt x="1544" y="50"/>
                  <a:pt x="1544" y="50"/>
                </a:cubicBezTo>
                <a:cubicBezTo>
                  <a:pt x="1544" y="47"/>
                  <a:pt x="1544" y="45"/>
                  <a:pt x="1542" y="43"/>
                </a:cubicBezTo>
                <a:cubicBezTo>
                  <a:pt x="1540" y="42"/>
                  <a:pt x="1539" y="39"/>
                  <a:pt x="1539" y="37"/>
                </a:cubicBezTo>
                <a:cubicBezTo>
                  <a:pt x="1539" y="36"/>
                  <a:pt x="1538" y="35"/>
                  <a:pt x="1537" y="35"/>
                </a:cubicBezTo>
                <a:cubicBezTo>
                  <a:pt x="1533" y="34"/>
                  <a:pt x="1530" y="32"/>
                  <a:pt x="1528" y="29"/>
                </a:cubicBezTo>
                <a:cubicBezTo>
                  <a:pt x="1527" y="28"/>
                  <a:pt x="1526" y="28"/>
                  <a:pt x="1524" y="27"/>
                </a:cubicBezTo>
                <a:cubicBezTo>
                  <a:pt x="1524" y="26"/>
                  <a:pt x="1522" y="27"/>
                  <a:pt x="1521" y="28"/>
                </a:cubicBezTo>
                <a:cubicBezTo>
                  <a:pt x="1521" y="30"/>
                  <a:pt x="1520" y="33"/>
                  <a:pt x="1519" y="34"/>
                </a:cubicBezTo>
                <a:cubicBezTo>
                  <a:pt x="1517" y="38"/>
                  <a:pt x="1516" y="41"/>
                  <a:pt x="1518" y="44"/>
                </a:cubicBezTo>
                <a:cubicBezTo>
                  <a:pt x="1519" y="47"/>
                  <a:pt x="1519" y="50"/>
                  <a:pt x="1519" y="53"/>
                </a:cubicBezTo>
                <a:close/>
                <a:moveTo>
                  <a:pt x="2358" y="1265"/>
                </a:moveTo>
                <a:cubicBezTo>
                  <a:pt x="2358" y="1264"/>
                  <a:pt x="2357" y="1264"/>
                  <a:pt x="2356" y="1265"/>
                </a:cubicBezTo>
                <a:cubicBezTo>
                  <a:pt x="2356" y="1265"/>
                  <a:pt x="2355" y="1265"/>
                  <a:pt x="2355" y="1266"/>
                </a:cubicBezTo>
                <a:cubicBezTo>
                  <a:pt x="2351" y="1268"/>
                  <a:pt x="2350" y="1268"/>
                  <a:pt x="2348" y="1265"/>
                </a:cubicBezTo>
                <a:cubicBezTo>
                  <a:pt x="2346" y="1264"/>
                  <a:pt x="2345" y="1263"/>
                  <a:pt x="2345" y="1261"/>
                </a:cubicBezTo>
                <a:cubicBezTo>
                  <a:pt x="2345" y="1259"/>
                  <a:pt x="2345" y="1257"/>
                  <a:pt x="2344" y="1255"/>
                </a:cubicBezTo>
                <a:cubicBezTo>
                  <a:pt x="2344" y="1254"/>
                  <a:pt x="2344" y="1253"/>
                  <a:pt x="2343" y="1253"/>
                </a:cubicBezTo>
                <a:cubicBezTo>
                  <a:pt x="2343" y="1252"/>
                  <a:pt x="2342" y="1252"/>
                  <a:pt x="2342" y="1252"/>
                </a:cubicBezTo>
                <a:cubicBezTo>
                  <a:pt x="2342" y="1252"/>
                  <a:pt x="2341" y="1252"/>
                  <a:pt x="2341" y="1252"/>
                </a:cubicBezTo>
                <a:cubicBezTo>
                  <a:pt x="2341" y="1253"/>
                  <a:pt x="2341" y="1253"/>
                  <a:pt x="2341" y="1254"/>
                </a:cubicBezTo>
                <a:cubicBezTo>
                  <a:pt x="2340" y="1254"/>
                  <a:pt x="2340" y="1255"/>
                  <a:pt x="2340" y="1255"/>
                </a:cubicBezTo>
                <a:cubicBezTo>
                  <a:pt x="2339" y="1255"/>
                  <a:pt x="2338" y="1254"/>
                  <a:pt x="2338" y="1253"/>
                </a:cubicBezTo>
                <a:cubicBezTo>
                  <a:pt x="2339" y="1249"/>
                  <a:pt x="2338" y="1245"/>
                  <a:pt x="2339" y="1241"/>
                </a:cubicBezTo>
                <a:cubicBezTo>
                  <a:pt x="2340" y="1239"/>
                  <a:pt x="2340" y="1237"/>
                  <a:pt x="2338" y="1235"/>
                </a:cubicBezTo>
                <a:cubicBezTo>
                  <a:pt x="2336" y="1232"/>
                  <a:pt x="2335" y="1229"/>
                  <a:pt x="2332" y="1228"/>
                </a:cubicBezTo>
                <a:cubicBezTo>
                  <a:pt x="2332" y="1227"/>
                  <a:pt x="2331" y="1226"/>
                  <a:pt x="2331" y="1225"/>
                </a:cubicBezTo>
                <a:cubicBezTo>
                  <a:pt x="2331" y="1225"/>
                  <a:pt x="2331" y="1225"/>
                  <a:pt x="2330" y="1225"/>
                </a:cubicBezTo>
                <a:cubicBezTo>
                  <a:pt x="2330" y="1224"/>
                  <a:pt x="2329" y="1224"/>
                  <a:pt x="2329" y="1225"/>
                </a:cubicBezTo>
                <a:cubicBezTo>
                  <a:pt x="2329" y="1225"/>
                  <a:pt x="2329" y="1225"/>
                  <a:pt x="2329" y="1225"/>
                </a:cubicBezTo>
                <a:cubicBezTo>
                  <a:pt x="2329" y="1228"/>
                  <a:pt x="2331" y="1230"/>
                  <a:pt x="2330" y="1232"/>
                </a:cubicBezTo>
                <a:cubicBezTo>
                  <a:pt x="2329" y="1234"/>
                  <a:pt x="2329" y="1235"/>
                  <a:pt x="2330" y="1237"/>
                </a:cubicBezTo>
                <a:cubicBezTo>
                  <a:pt x="2331" y="1240"/>
                  <a:pt x="2331" y="1242"/>
                  <a:pt x="2332" y="1245"/>
                </a:cubicBezTo>
                <a:cubicBezTo>
                  <a:pt x="2332" y="1247"/>
                  <a:pt x="2334" y="1250"/>
                  <a:pt x="2333" y="1252"/>
                </a:cubicBezTo>
                <a:cubicBezTo>
                  <a:pt x="2332" y="1253"/>
                  <a:pt x="2333" y="1254"/>
                  <a:pt x="2333" y="1255"/>
                </a:cubicBezTo>
                <a:cubicBezTo>
                  <a:pt x="2334" y="1256"/>
                  <a:pt x="2334" y="1257"/>
                  <a:pt x="2334" y="1258"/>
                </a:cubicBezTo>
                <a:cubicBezTo>
                  <a:pt x="2334" y="1261"/>
                  <a:pt x="2334" y="1263"/>
                  <a:pt x="2333" y="1266"/>
                </a:cubicBezTo>
                <a:cubicBezTo>
                  <a:pt x="2331" y="1268"/>
                  <a:pt x="2330" y="1271"/>
                  <a:pt x="2329" y="1274"/>
                </a:cubicBezTo>
                <a:cubicBezTo>
                  <a:pt x="2329" y="1275"/>
                  <a:pt x="2328" y="1276"/>
                  <a:pt x="2326" y="1277"/>
                </a:cubicBezTo>
                <a:cubicBezTo>
                  <a:pt x="2325" y="1277"/>
                  <a:pt x="2324" y="1278"/>
                  <a:pt x="2322" y="1279"/>
                </a:cubicBezTo>
                <a:cubicBezTo>
                  <a:pt x="2320" y="1280"/>
                  <a:pt x="2320" y="1283"/>
                  <a:pt x="2321" y="1285"/>
                </a:cubicBezTo>
                <a:cubicBezTo>
                  <a:pt x="2323" y="1286"/>
                  <a:pt x="2324" y="1288"/>
                  <a:pt x="2326" y="1289"/>
                </a:cubicBezTo>
                <a:cubicBezTo>
                  <a:pt x="2327" y="1290"/>
                  <a:pt x="2327" y="1292"/>
                  <a:pt x="2327" y="1294"/>
                </a:cubicBezTo>
                <a:cubicBezTo>
                  <a:pt x="2327" y="1295"/>
                  <a:pt x="2327" y="1297"/>
                  <a:pt x="2326" y="1298"/>
                </a:cubicBezTo>
                <a:cubicBezTo>
                  <a:pt x="2324" y="1300"/>
                  <a:pt x="2322" y="1302"/>
                  <a:pt x="2321" y="1304"/>
                </a:cubicBezTo>
                <a:cubicBezTo>
                  <a:pt x="2320" y="1304"/>
                  <a:pt x="2320" y="1305"/>
                  <a:pt x="2321" y="1305"/>
                </a:cubicBezTo>
                <a:cubicBezTo>
                  <a:pt x="2322" y="1307"/>
                  <a:pt x="2323" y="1308"/>
                  <a:pt x="2324" y="1309"/>
                </a:cubicBezTo>
                <a:cubicBezTo>
                  <a:pt x="2324" y="1309"/>
                  <a:pt x="2325" y="1309"/>
                  <a:pt x="2325" y="1309"/>
                </a:cubicBezTo>
                <a:cubicBezTo>
                  <a:pt x="2328" y="1308"/>
                  <a:pt x="2329" y="1306"/>
                  <a:pt x="2331" y="1305"/>
                </a:cubicBezTo>
                <a:cubicBezTo>
                  <a:pt x="2334" y="1302"/>
                  <a:pt x="2337" y="1299"/>
                  <a:pt x="2339" y="1296"/>
                </a:cubicBezTo>
                <a:cubicBezTo>
                  <a:pt x="2342" y="1293"/>
                  <a:pt x="2344" y="1290"/>
                  <a:pt x="2344" y="1286"/>
                </a:cubicBezTo>
                <a:cubicBezTo>
                  <a:pt x="2344" y="1284"/>
                  <a:pt x="2346" y="1282"/>
                  <a:pt x="2348" y="1282"/>
                </a:cubicBezTo>
                <a:cubicBezTo>
                  <a:pt x="2349" y="1282"/>
                  <a:pt x="2350" y="1282"/>
                  <a:pt x="2350" y="1282"/>
                </a:cubicBezTo>
                <a:cubicBezTo>
                  <a:pt x="2351" y="1282"/>
                  <a:pt x="2352" y="1282"/>
                  <a:pt x="2352" y="1281"/>
                </a:cubicBezTo>
                <a:cubicBezTo>
                  <a:pt x="2352" y="1279"/>
                  <a:pt x="2355" y="1277"/>
                  <a:pt x="2356" y="1275"/>
                </a:cubicBezTo>
                <a:cubicBezTo>
                  <a:pt x="2357" y="1275"/>
                  <a:pt x="2358" y="1274"/>
                  <a:pt x="2358" y="1273"/>
                </a:cubicBezTo>
                <a:cubicBezTo>
                  <a:pt x="2359" y="1271"/>
                  <a:pt x="2359" y="1269"/>
                  <a:pt x="2360" y="1268"/>
                </a:cubicBezTo>
                <a:cubicBezTo>
                  <a:pt x="2360" y="1267"/>
                  <a:pt x="2360" y="1265"/>
                  <a:pt x="2358" y="1265"/>
                </a:cubicBezTo>
                <a:close/>
                <a:moveTo>
                  <a:pt x="1803" y="75"/>
                </a:moveTo>
                <a:cubicBezTo>
                  <a:pt x="1804" y="77"/>
                  <a:pt x="1806" y="78"/>
                  <a:pt x="1806" y="81"/>
                </a:cubicBezTo>
                <a:cubicBezTo>
                  <a:pt x="1806" y="82"/>
                  <a:pt x="1807" y="82"/>
                  <a:pt x="1808" y="83"/>
                </a:cubicBezTo>
                <a:cubicBezTo>
                  <a:pt x="1809" y="84"/>
                  <a:pt x="1811" y="85"/>
                  <a:pt x="1812" y="85"/>
                </a:cubicBezTo>
                <a:cubicBezTo>
                  <a:pt x="1814" y="86"/>
                  <a:pt x="1816" y="87"/>
                  <a:pt x="1818" y="88"/>
                </a:cubicBezTo>
                <a:cubicBezTo>
                  <a:pt x="1819" y="90"/>
                  <a:pt x="1820" y="90"/>
                  <a:pt x="1822" y="90"/>
                </a:cubicBezTo>
                <a:cubicBezTo>
                  <a:pt x="1824" y="90"/>
                  <a:pt x="1825" y="90"/>
                  <a:pt x="1827" y="90"/>
                </a:cubicBezTo>
                <a:cubicBezTo>
                  <a:pt x="1827" y="90"/>
                  <a:pt x="1828" y="89"/>
                  <a:pt x="1829" y="88"/>
                </a:cubicBezTo>
                <a:cubicBezTo>
                  <a:pt x="1829" y="87"/>
                  <a:pt x="1829" y="86"/>
                  <a:pt x="1831" y="85"/>
                </a:cubicBezTo>
                <a:cubicBezTo>
                  <a:pt x="1832" y="84"/>
                  <a:pt x="1833" y="83"/>
                  <a:pt x="1833" y="81"/>
                </a:cubicBezTo>
                <a:cubicBezTo>
                  <a:pt x="1835" y="79"/>
                  <a:pt x="1837" y="78"/>
                  <a:pt x="1840" y="79"/>
                </a:cubicBezTo>
                <a:cubicBezTo>
                  <a:pt x="1841" y="79"/>
                  <a:pt x="1842" y="78"/>
                  <a:pt x="1843" y="78"/>
                </a:cubicBezTo>
                <a:cubicBezTo>
                  <a:pt x="1843" y="78"/>
                  <a:pt x="1844" y="77"/>
                  <a:pt x="1844" y="76"/>
                </a:cubicBezTo>
                <a:cubicBezTo>
                  <a:pt x="1845" y="76"/>
                  <a:pt x="1845" y="75"/>
                  <a:pt x="1845" y="75"/>
                </a:cubicBezTo>
                <a:cubicBezTo>
                  <a:pt x="1845" y="74"/>
                  <a:pt x="1846" y="73"/>
                  <a:pt x="1846" y="73"/>
                </a:cubicBezTo>
                <a:cubicBezTo>
                  <a:pt x="1847" y="72"/>
                  <a:pt x="1847" y="72"/>
                  <a:pt x="1848" y="71"/>
                </a:cubicBezTo>
                <a:cubicBezTo>
                  <a:pt x="1848" y="71"/>
                  <a:pt x="1849" y="70"/>
                  <a:pt x="1849" y="69"/>
                </a:cubicBezTo>
                <a:cubicBezTo>
                  <a:pt x="1849" y="68"/>
                  <a:pt x="1849" y="67"/>
                  <a:pt x="1849" y="66"/>
                </a:cubicBezTo>
                <a:cubicBezTo>
                  <a:pt x="1848" y="64"/>
                  <a:pt x="1848" y="63"/>
                  <a:pt x="1847" y="62"/>
                </a:cubicBezTo>
                <a:cubicBezTo>
                  <a:pt x="1848" y="59"/>
                  <a:pt x="1846" y="58"/>
                  <a:pt x="1844" y="58"/>
                </a:cubicBezTo>
                <a:cubicBezTo>
                  <a:pt x="1840" y="57"/>
                  <a:pt x="1837" y="56"/>
                  <a:pt x="1833" y="55"/>
                </a:cubicBezTo>
                <a:cubicBezTo>
                  <a:pt x="1833" y="55"/>
                  <a:pt x="1832" y="55"/>
                  <a:pt x="1832" y="55"/>
                </a:cubicBezTo>
                <a:cubicBezTo>
                  <a:pt x="1831" y="56"/>
                  <a:pt x="1831" y="56"/>
                  <a:pt x="1830" y="57"/>
                </a:cubicBezTo>
                <a:cubicBezTo>
                  <a:pt x="1830" y="57"/>
                  <a:pt x="1830" y="58"/>
                  <a:pt x="1830" y="58"/>
                </a:cubicBezTo>
                <a:cubicBezTo>
                  <a:pt x="1832" y="61"/>
                  <a:pt x="1833" y="63"/>
                  <a:pt x="1832" y="66"/>
                </a:cubicBezTo>
                <a:cubicBezTo>
                  <a:pt x="1832" y="67"/>
                  <a:pt x="1833" y="68"/>
                  <a:pt x="1833" y="69"/>
                </a:cubicBezTo>
                <a:cubicBezTo>
                  <a:pt x="1833" y="69"/>
                  <a:pt x="1833" y="69"/>
                  <a:pt x="1833" y="69"/>
                </a:cubicBezTo>
                <a:cubicBezTo>
                  <a:pt x="1833" y="69"/>
                  <a:pt x="1833" y="69"/>
                  <a:pt x="1833" y="69"/>
                </a:cubicBezTo>
                <a:cubicBezTo>
                  <a:pt x="1833" y="69"/>
                  <a:pt x="1833" y="69"/>
                  <a:pt x="1833" y="69"/>
                </a:cubicBezTo>
                <a:cubicBezTo>
                  <a:pt x="1833" y="69"/>
                  <a:pt x="1833" y="69"/>
                  <a:pt x="1833" y="69"/>
                </a:cubicBezTo>
                <a:cubicBezTo>
                  <a:pt x="1832" y="68"/>
                  <a:pt x="1832" y="68"/>
                  <a:pt x="1832" y="68"/>
                </a:cubicBezTo>
                <a:cubicBezTo>
                  <a:pt x="1830" y="65"/>
                  <a:pt x="1828" y="62"/>
                  <a:pt x="1828" y="59"/>
                </a:cubicBezTo>
                <a:cubicBezTo>
                  <a:pt x="1828" y="57"/>
                  <a:pt x="1826" y="56"/>
                  <a:pt x="1825" y="56"/>
                </a:cubicBezTo>
                <a:cubicBezTo>
                  <a:pt x="1823" y="55"/>
                  <a:pt x="1821" y="55"/>
                  <a:pt x="1820" y="55"/>
                </a:cubicBezTo>
                <a:cubicBezTo>
                  <a:pt x="1819" y="55"/>
                  <a:pt x="1818" y="55"/>
                  <a:pt x="1818" y="56"/>
                </a:cubicBezTo>
                <a:cubicBezTo>
                  <a:pt x="1818" y="57"/>
                  <a:pt x="1817" y="58"/>
                  <a:pt x="1817" y="59"/>
                </a:cubicBezTo>
                <a:cubicBezTo>
                  <a:pt x="1817" y="60"/>
                  <a:pt x="1817" y="62"/>
                  <a:pt x="1817" y="64"/>
                </a:cubicBezTo>
                <a:cubicBezTo>
                  <a:pt x="1817" y="64"/>
                  <a:pt x="1817" y="64"/>
                  <a:pt x="1817" y="64"/>
                </a:cubicBezTo>
                <a:cubicBezTo>
                  <a:pt x="1817" y="64"/>
                  <a:pt x="1818" y="64"/>
                  <a:pt x="1818" y="65"/>
                </a:cubicBezTo>
                <a:cubicBezTo>
                  <a:pt x="1818" y="64"/>
                  <a:pt x="1817" y="64"/>
                  <a:pt x="1817" y="64"/>
                </a:cubicBezTo>
                <a:cubicBezTo>
                  <a:pt x="1817" y="64"/>
                  <a:pt x="1817" y="64"/>
                  <a:pt x="1817" y="64"/>
                </a:cubicBezTo>
                <a:cubicBezTo>
                  <a:pt x="1815" y="63"/>
                  <a:pt x="1812" y="63"/>
                  <a:pt x="1810" y="60"/>
                </a:cubicBezTo>
                <a:cubicBezTo>
                  <a:pt x="1809" y="59"/>
                  <a:pt x="1806" y="58"/>
                  <a:pt x="1804" y="57"/>
                </a:cubicBezTo>
                <a:cubicBezTo>
                  <a:pt x="1803" y="57"/>
                  <a:pt x="1802" y="58"/>
                  <a:pt x="1801" y="59"/>
                </a:cubicBezTo>
                <a:cubicBezTo>
                  <a:pt x="1801" y="61"/>
                  <a:pt x="1800" y="63"/>
                  <a:pt x="1799" y="66"/>
                </a:cubicBezTo>
                <a:cubicBezTo>
                  <a:pt x="1799" y="66"/>
                  <a:pt x="1799" y="67"/>
                  <a:pt x="1799" y="68"/>
                </a:cubicBezTo>
                <a:cubicBezTo>
                  <a:pt x="1801" y="70"/>
                  <a:pt x="1802" y="73"/>
                  <a:pt x="1803" y="75"/>
                </a:cubicBezTo>
                <a:close/>
                <a:moveTo>
                  <a:pt x="1835" y="71"/>
                </a:moveTo>
                <a:cubicBezTo>
                  <a:pt x="1835" y="71"/>
                  <a:pt x="1835" y="71"/>
                  <a:pt x="1835" y="71"/>
                </a:cubicBezTo>
                <a:cubicBezTo>
                  <a:pt x="1835" y="71"/>
                  <a:pt x="1835" y="71"/>
                  <a:pt x="1835" y="71"/>
                </a:cubicBezTo>
                <a:cubicBezTo>
                  <a:pt x="1835" y="71"/>
                  <a:pt x="1834" y="71"/>
                  <a:pt x="1834" y="70"/>
                </a:cubicBezTo>
                <a:cubicBezTo>
                  <a:pt x="1834" y="70"/>
                  <a:pt x="1835" y="71"/>
                  <a:pt x="1835" y="71"/>
                </a:cubicBezTo>
                <a:close/>
                <a:moveTo>
                  <a:pt x="1819" y="65"/>
                </a:moveTo>
                <a:cubicBezTo>
                  <a:pt x="1819" y="66"/>
                  <a:pt x="1819" y="66"/>
                  <a:pt x="1819" y="66"/>
                </a:cubicBezTo>
                <a:cubicBezTo>
                  <a:pt x="1819" y="65"/>
                  <a:pt x="1819" y="65"/>
                  <a:pt x="1819" y="65"/>
                </a:cubicBezTo>
                <a:cubicBezTo>
                  <a:pt x="1819" y="65"/>
                  <a:pt x="1818" y="65"/>
                  <a:pt x="1818" y="65"/>
                </a:cubicBezTo>
                <a:cubicBezTo>
                  <a:pt x="1818" y="65"/>
                  <a:pt x="1819" y="65"/>
                  <a:pt x="1819" y="65"/>
                </a:cubicBezTo>
                <a:close/>
                <a:moveTo>
                  <a:pt x="594" y="176"/>
                </a:moveTo>
                <a:cubicBezTo>
                  <a:pt x="595" y="175"/>
                  <a:pt x="596" y="174"/>
                  <a:pt x="595" y="173"/>
                </a:cubicBezTo>
                <a:cubicBezTo>
                  <a:pt x="595" y="171"/>
                  <a:pt x="594" y="171"/>
                  <a:pt x="593" y="170"/>
                </a:cubicBezTo>
                <a:cubicBezTo>
                  <a:pt x="591" y="170"/>
                  <a:pt x="589" y="170"/>
                  <a:pt x="587" y="170"/>
                </a:cubicBezTo>
                <a:cubicBezTo>
                  <a:pt x="586" y="170"/>
                  <a:pt x="585" y="169"/>
                  <a:pt x="584" y="169"/>
                </a:cubicBezTo>
                <a:cubicBezTo>
                  <a:pt x="584" y="169"/>
                  <a:pt x="584" y="169"/>
                  <a:pt x="584" y="169"/>
                </a:cubicBezTo>
                <a:cubicBezTo>
                  <a:pt x="584" y="169"/>
                  <a:pt x="584" y="169"/>
                  <a:pt x="583" y="169"/>
                </a:cubicBezTo>
                <a:cubicBezTo>
                  <a:pt x="584" y="169"/>
                  <a:pt x="584" y="169"/>
                  <a:pt x="584" y="169"/>
                </a:cubicBezTo>
                <a:cubicBezTo>
                  <a:pt x="583" y="168"/>
                  <a:pt x="583" y="168"/>
                  <a:pt x="582" y="167"/>
                </a:cubicBezTo>
                <a:cubicBezTo>
                  <a:pt x="581" y="167"/>
                  <a:pt x="580" y="166"/>
                  <a:pt x="580" y="166"/>
                </a:cubicBezTo>
                <a:cubicBezTo>
                  <a:pt x="578" y="166"/>
                  <a:pt x="577" y="167"/>
                  <a:pt x="575" y="167"/>
                </a:cubicBezTo>
                <a:cubicBezTo>
                  <a:pt x="575" y="168"/>
                  <a:pt x="574" y="168"/>
                  <a:pt x="573" y="169"/>
                </a:cubicBezTo>
                <a:cubicBezTo>
                  <a:pt x="573" y="171"/>
                  <a:pt x="571" y="172"/>
                  <a:pt x="569" y="173"/>
                </a:cubicBezTo>
                <a:cubicBezTo>
                  <a:pt x="569" y="174"/>
                  <a:pt x="569" y="175"/>
                  <a:pt x="569" y="175"/>
                </a:cubicBezTo>
                <a:cubicBezTo>
                  <a:pt x="569" y="176"/>
                  <a:pt x="569" y="177"/>
                  <a:pt x="570" y="178"/>
                </a:cubicBezTo>
                <a:cubicBezTo>
                  <a:pt x="572" y="181"/>
                  <a:pt x="571" y="183"/>
                  <a:pt x="569" y="186"/>
                </a:cubicBezTo>
                <a:cubicBezTo>
                  <a:pt x="569" y="187"/>
                  <a:pt x="567" y="187"/>
                  <a:pt x="567" y="186"/>
                </a:cubicBezTo>
                <a:cubicBezTo>
                  <a:pt x="565" y="185"/>
                  <a:pt x="565" y="183"/>
                  <a:pt x="564" y="181"/>
                </a:cubicBezTo>
                <a:cubicBezTo>
                  <a:pt x="564" y="180"/>
                  <a:pt x="563" y="179"/>
                  <a:pt x="561" y="179"/>
                </a:cubicBezTo>
                <a:cubicBezTo>
                  <a:pt x="558" y="179"/>
                  <a:pt x="556" y="181"/>
                  <a:pt x="556" y="185"/>
                </a:cubicBezTo>
                <a:cubicBezTo>
                  <a:pt x="555" y="187"/>
                  <a:pt x="555" y="189"/>
                  <a:pt x="555" y="192"/>
                </a:cubicBezTo>
                <a:cubicBezTo>
                  <a:pt x="555" y="193"/>
                  <a:pt x="555" y="193"/>
                  <a:pt x="556" y="194"/>
                </a:cubicBezTo>
                <a:cubicBezTo>
                  <a:pt x="558" y="194"/>
                  <a:pt x="560" y="196"/>
                  <a:pt x="560" y="198"/>
                </a:cubicBezTo>
                <a:cubicBezTo>
                  <a:pt x="561" y="202"/>
                  <a:pt x="563" y="205"/>
                  <a:pt x="563" y="209"/>
                </a:cubicBezTo>
                <a:cubicBezTo>
                  <a:pt x="563" y="211"/>
                  <a:pt x="564" y="213"/>
                  <a:pt x="565" y="215"/>
                </a:cubicBezTo>
                <a:cubicBezTo>
                  <a:pt x="566" y="215"/>
                  <a:pt x="567" y="216"/>
                  <a:pt x="568" y="215"/>
                </a:cubicBezTo>
                <a:cubicBezTo>
                  <a:pt x="570" y="214"/>
                  <a:pt x="571" y="212"/>
                  <a:pt x="572" y="212"/>
                </a:cubicBezTo>
                <a:cubicBezTo>
                  <a:pt x="574" y="211"/>
                  <a:pt x="576" y="210"/>
                  <a:pt x="577" y="210"/>
                </a:cubicBezTo>
                <a:cubicBezTo>
                  <a:pt x="579" y="209"/>
                  <a:pt x="580" y="208"/>
                  <a:pt x="582" y="207"/>
                </a:cubicBezTo>
                <a:cubicBezTo>
                  <a:pt x="583" y="207"/>
                  <a:pt x="583" y="206"/>
                  <a:pt x="583" y="206"/>
                </a:cubicBezTo>
                <a:cubicBezTo>
                  <a:pt x="584" y="203"/>
                  <a:pt x="586" y="200"/>
                  <a:pt x="588" y="198"/>
                </a:cubicBezTo>
                <a:cubicBezTo>
                  <a:pt x="589" y="197"/>
                  <a:pt x="590" y="195"/>
                  <a:pt x="589" y="192"/>
                </a:cubicBezTo>
                <a:cubicBezTo>
                  <a:pt x="589" y="191"/>
                  <a:pt x="588" y="190"/>
                  <a:pt x="588" y="188"/>
                </a:cubicBezTo>
                <a:cubicBezTo>
                  <a:pt x="587" y="186"/>
                  <a:pt x="586" y="185"/>
                  <a:pt x="584" y="184"/>
                </a:cubicBezTo>
                <a:cubicBezTo>
                  <a:pt x="584" y="184"/>
                  <a:pt x="584" y="184"/>
                  <a:pt x="585" y="183"/>
                </a:cubicBezTo>
                <a:cubicBezTo>
                  <a:pt x="586" y="183"/>
                  <a:pt x="588" y="182"/>
                  <a:pt x="589" y="181"/>
                </a:cubicBezTo>
                <a:cubicBezTo>
                  <a:pt x="591" y="181"/>
                  <a:pt x="592" y="180"/>
                  <a:pt x="592" y="179"/>
                </a:cubicBezTo>
                <a:cubicBezTo>
                  <a:pt x="592" y="177"/>
                  <a:pt x="593" y="177"/>
                  <a:pt x="594" y="176"/>
                </a:cubicBezTo>
                <a:close/>
                <a:moveTo>
                  <a:pt x="1987" y="919"/>
                </a:moveTo>
                <a:cubicBezTo>
                  <a:pt x="1994" y="919"/>
                  <a:pt x="2000" y="919"/>
                  <a:pt x="2006" y="919"/>
                </a:cubicBezTo>
                <a:cubicBezTo>
                  <a:pt x="2012" y="920"/>
                  <a:pt x="2017" y="918"/>
                  <a:pt x="2020" y="912"/>
                </a:cubicBezTo>
                <a:cubicBezTo>
                  <a:pt x="2021" y="912"/>
                  <a:pt x="2020" y="911"/>
                  <a:pt x="2020" y="910"/>
                </a:cubicBezTo>
                <a:cubicBezTo>
                  <a:pt x="2019" y="909"/>
                  <a:pt x="2018" y="909"/>
                  <a:pt x="2017" y="910"/>
                </a:cubicBezTo>
                <a:cubicBezTo>
                  <a:pt x="2016" y="910"/>
                  <a:pt x="2015" y="912"/>
                  <a:pt x="2014" y="912"/>
                </a:cubicBezTo>
                <a:cubicBezTo>
                  <a:pt x="2012" y="914"/>
                  <a:pt x="2010" y="915"/>
                  <a:pt x="2008" y="914"/>
                </a:cubicBezTo>
                <a:cubicBezTo>
                  <a:pt x="2004" y="914"/>
                  <a:pt x="2001" y="914"/>
                  <a:pt x="1997" y="913"/>
                </a:cubicBezTo>
                <a:cubicBezTo>
                  <a:pt x="1995" y="913"/>
                  <a:pt x="1993" y="912"/>
                  <a:pt x="1990" y="912"/>
                </a:cubicBezTo>
                <a:cubicBezTo>
                  <a:pt x="1988" y="912"/>
                  <a:pt x="1986" y="915"/>
                  <a:pt x="1984" y="915"/>
                </a:cubicBezTo>
                <a:cubicBezTo>
                  <a:pt x="1983" y="915"/>
                  <a:pt x="1983" y="916"/>
                  <a:pt x="1983" y="916"/>
                </a:cubicBezTo>
                <a:cubicBezTo>
                  <a:pt x="1981" y="917"/>
                  <a:pt x="1980" y="918"/>
                  <a:pt x="1980" y="920"/>
                </a:cubicBezTo>
                <a:cubicBezTo>
                  <a:pt x="1980" y="921"/>
                  <a:pt x="1980" y="922"/>
                  <a:pt x="1980" y="923"/>
                </a:cubicBezTo>
                <a:cubicBezTo>
                  <a:pt x="1979" y="925"/>
                  <a:pt x="1979" y="926"/>
                  <a:pt x="1978" y="927"/>
                </a:cubicBezTo>
                <a:cubicBezTo>
                  <a:pt x="1977" y="928"/>
                  <a:pt x="1976" y="931"/>
                  <a:pt x="1976" y="933"/>
                </a:cubicBezTo>
                <a:cubicBezTo>
                  <a:pt x="1976" y="935"/>
                  <a:pt x="1975" y="937"/>
                  <a:pt x="1975" y="939"/>
                </a:cubicBezTo>
                <a:cubicBezTo>
                  <a:pt x="1974" y="940"/>
                  <a:pt x="1973" y="942"/>
                  <a:pt x="1973" y="943"/>
                </a:cubicBezTo>
                <a:cubicBezTo>
                  <a:pt x="1972" y="945"/>
                  <a:pt x="1973" y="946"/>
                  <a:pt x="1974" y="948"/>
                </a:cubicBezTo>
                <a:cubicBezTo>
                  <a:pt x="1975" y="948"/>
                  <a:pt x="1976" y="949"/>
                  <a:pt x="1976" y="949"/>
                </a:cubicBezTo>
                <a:cubicBezTo>
                  <a:pt x="1978" y="951"/>
                  <a:pt x="1978" y="952"/>
                  <a:pt x="1978" y="954"/>
                </a:cubicBezTo>
                <a:cubicBezTo>
                  <a:pt x="1977" y="956"/>
                  <a:pt x="1976" y="958"/>
                  <a:pt x="1977" y="960"/>
                </a:cubicBezTo>
                <a:cubicBezTo>
                  <a:pt x="1977" y="961"/>
                  <a:pt x="1977" y="962"/>
                  <a:pt x="1978" y="962"/>
                </a:cubicBezTo>
                <a:cubicBezTo>
                  <a:pt x="1979" y="964"/>
                  <a:pt x="1982" y="963"/>
                  <a:pt x="1983" y="963"/>
                </a:cubicBezTo>
                <a:cubicBezTo>
                  <a:pt x="1985" y="962"/>
                  <a:pt x="1984" y="961"/>
                  <a:pt x="1984" y="960"/>
                </a:cubicBezTo>
                <a:cubicBezTo>
                  <a:pt x="1984" y="954"/>
                  <a:pt x="1986" y="949"/>
                  <a:pt x="1986" y="944"/>
                </a:cubicBezTo>
                <a:cubicBezTo>
                  <a:pt x="1986" y="944"/>
                  <a:pt x="1987" y="943"/>
                  <a:pt x="1987" y="943"/>
                </a:cubicBezTo>
                <a:cubicBezTo>
                  <a:pt x="1988" y="943"/>
                  <a:pt x="1988" y="944"/>
                  <a:pt x="1988" y="944"/>
                </a:cubicBezTo>
                <a:cubicBezTo>
                  <a:pt x="1988" y="947"/>
                  <a:pt x="1988" y="950"/>
                  <a:pt x="1991" y="952"/>
                </a:cubicBezTo>
                <a:cubicBezTo>
                  <a:pt x="1992" y="953"/>
                  <a:pt x="1992" y="954"/>
                  <a:pt x="1992" y="955"/>
                </a:cubicBezTo>
                <a:cubicBezTo>
                  <a:pt x="1993" y="957"/>
                  <a:pt x="1993" y="958"/>
                  <a:pt x="1996" y="958"/>
                </a:cubicBezTo>
                <a:cubicBezTo>
                  <a:pt x="1997" y="958"/>
                  <a:pt x="1997" y="958"/>
                  <a:pt x="1998" y="958"/>
                </a:cubicBezTo>
                <a:cubicBezTo>
                  <a:pt x="1998" y="958"/>
                  <a:pt x="1998" y="957"/>
                  <a:pt x="1998" y="957"/>
                </a:cubicBezTo>
                <a:cubicBezTo>
                  <a:pt x="1998" y="957"/>
                  <a:pt x="1998" y="957"/>
                  <a:pt x="1998" y="957"/>
                </a:cubicBezTo>
                <a:cubicBezTo>
                  <a:pt x="1998" y="957"/>
                  <a:pt x="1998" y="957"/>
                  <a:pt x="1998" y="958"/>
                </a:cubicBezTo>
                <a:cubicBezTo>
                  <a:pt x="1998" y="958"/>
                  <a:pt x="1998" y="958"/>
                  <a:pt x="1998" y="958"/>
                </a:cubicBezTo>
                <a:cubicBezTo>
                  <a:pt x="1998" y="959"/>
                  <a:pt x="1998" y="961"/>
                  <a:pt x="2000" y="961"/>
                </a:cubicBezTo>
                <a:cubicBezTo>
                  <a:pt x="2000" y="962"/>
                  <a:pt x="2001" y="962"/>
                  <a:pt x="2001" y="962"/>
                </a:cubicBezTo>
                <a:cubicBezTo>
                  <a:pt x="2002" y="963"/>
                  <a:pt x="2004" y="962"/>
                  <a:pt x="2004" y="961"/>
                </a:cubicBezTo>
                <a:cubicBezTo>
                  <a:pt x="2005" y="958"/>
                  <a:pt x="2005" y="956"/>
                  <a:pt x="2005" y="954"/>
                </a:cubicBezTo>
                <a:cubicBezTo>
                  <a:pt x="2005" y="952"/>
                  <a:pt x="2004" y="951"/>
                  <a:pt x="2003" y="951"/>
                </a:cubicBezTo>
                <a:cubicBezTo>
                  <a:pt x="2002" y="951"/>
                  <a:pt x="2001" y="950"/>
                  <a:pt x="2001" y="950"/>
                </a:cubicBezTo>
                <a:cubicBezTo>
                  <a:pt x="2000" y="949"/>
                  <a:pt x="1999" y="948"/>
                  <a:pt x="1999" y="947"/>
                </a:cubicBezTo>
                <a:cubicBezTo>
                  <a:pt x="2000" y="945"/>
                  <a:pt x="1999" y="944"/>
                  <a:pt x="1998" y="943"/>
                </a:cubicBezTo>
                <a:cubicBezTo>
                  <a:pt x="1997" y="941"/>
                  <a:pt x="1996" y="940"/>
                  <a:pt x="1995" y="938"/>
                </a:cubicBezTo>
                <a:cubicBezTo>
                  <a:pt x="1995" y="938"/>
                  <a:pt x="1995" y="936"/>
                  <a:pt x="1996" y="936"/>
                </a:cubicBezTo>
                <a:cubicBezTo>
                  <a:pt x="1997" y="935"/>
                  <a:pt x="1999" y="934"/>
                  <a:pt x="2000" y="933"/>
                </a:cubicBezTo>
                <a:cubicBezTo>
                  <a:pt x="2001" y="932"/>
                  <a:pt x="2002" y="933"/>
                  <a:pt x="2003" y="933"/>
                </a:cubicBezTo>
                <a:cubicBezTo>
                  <a:pt x="2004" y="933"/>
                  <a:pt x="2005" y="933"/>
                  <a:pt x="2006" y="933"/>
                </a:cubicBezTo>
                <a:cubicBezTo>
                  <a:pt x="2007" y="933"/>
                  <a:pt x="2007" y="933"/>
                  <a:pt x="2007" y="932"/>
                </a:cubicBezTo>
                <a:cubicBezTo>
                  <a:pt x="2008" y="931"/>
                  <a:pt x="2008" y="929"/>
                  <a:pt x="2008" y="927"/>
                </a:cubicBezTo>
                <a:cubicBezTo>
                  <a:pt x="2008" y="927"/>
                  <a:pt x="2007" y="926"/>
                  <a:pt x="2007" y="926"/>
                </a:cubicBezTo>
                <a:cubicBezTo>
                  <a:pt x="2006" y="926"/>
                  <a:pt x="2004" y="925"/>
                  <a:pt x="2003" y="926"/>
                </a:cubicBezTo>
                <a:cubicBezTo>
                  <a:pt x="2001" y="926"/>
                  <a:pt x="1999" y="927"/>
                  <a:pt x="1996" y="927"/>
                </a:cubicBezTo>
                <a:cubicBezTo>
                  <a:pt x="1994" y="927"/>
                  <a:pt x="1991" y="928"/>
                  <a:pt x="1990" y="930"/>
                </a:cubicBezTo>
                <a:cubicBezTo>
                  <a:pt x="1989" y="931"/>
                  <a:pt x="1988" y="931"/>
                  <a:pt x="1988" y="930"/>
                </a:cubicBezTo>
                <a:cubicBezTo>
                  <a:pt x="1985" y="929"/>
                  <a:pt x="1984" y="927"/>
                  <a:pt x="1983" y="925"/>
                </a:cubicBezTo>
                <a:cubicBezTo>
                  <a:pt x="1982" y="922"/>
                  <a:pt x="1985" y="919"/>
                  <a:pt x="1987" y="919"/>
                </a:cubicBezTo>
                <a:close/>
                <a:moveTo>
                  <a:pt x="1999" y="956"/>
                </a:moveTo>
                <a:cubicBezTo>
                  <a:pt x="2000" y="956"/>
                  <a:pt x="2000" y="956"/>
                  <a:pt x="2000" y="956"/>
                </a:cubicBezTo>
                <a:cubicBezTo>
                  <a:pt x="2000" y="955"/>
                  <a:pt x="2001" y="955"/>
                  <a:pt x="2001" y="955"/>
                </a:cubicBezTo>
                <a:cubicBezTo>
                  <a:pt x="2002" y="955"/>
                  <a:pt x="2002" y="955"/>
                  <a:pt x="2002" y="956"/>
                </a:cubicBezTo>
                <a:cubicBezTo>
                  <a:pt x="2002" y="956"/>
                  <a:pt x="2002" y="956"/>
                  <a:pt x="2002" y="956"/>
                </a:cubicBezTo>
                <a:cubicBezTo>
                  <a:pt x="2001" y="956"/>
                  <a:pt x="2000" y="956"/>
                  <a:pt x="2000" y="956"/>
                </a:cubicBezTo>
                <a:cubicBezTo>
                  <a:pt x="2000" y="956"/>
                  <a:pt x="2000" y="956"/>
                  <a:pt x="2000" y="956"/>
                </a:cubicBezTo>
                <a:cubicBezTo>
                  <a:pt x="1999" y="956"/>
                  <a:pt x="1999" y="956"/>
                  <a:pt x="1999" y="956"/>
                </a:cubicBezTo>
                <a:cubicBezTo>
                  <a:pt x="1999" y="956"/>
                  <a:pt x="1999" y="956"/>
                  <a:pt x="1999" y="956"/>
                </a:cubicBezTo>
                <a:close/>
                <a:moveTo>
                  <a:pt x="761" y="535"/>
                </a:moveTo>
                <a:cubicBezTo>
                  <a:pt x="761" y="535"/>
                  <a:pt x="761" y="535"/>
                  <a:pt x="761" y="535"/>
                </a:cubicBezTo>
                <a:cubicBezTo>
                  <a:pt x="761" y="535"/>
                  <a:pt x="761" y="535"/>
                  <a:pt x="761" y="535"/>
                </a:cubicBezTo>
                <a:cubicBezTo>
                  <a:pt x="761" y="535"/>
                  <a:pt x="761" y="535"/>
                  <a:pt x="761" y="535"/>
                </a:cubicBezTo>
                <a:close/>
                <a:moveTo>
                  <a:pt x="758" y="522"/>
                </a:moveTo>
                <a:cubicBezTo>
                  <a:pt x="758" y="521"/>
                  <a:pt x="758" y="520"/>
                  <a:pt x="758" y="520"/>
                </a:cubicBezTo>
                <a:cubicBezTo>
                  <a:pt x="757" y="519"/>
                  <a:pt x="757" y="518"/>
                  <a:pt x="756" y="518"/>
                </a:cubicBezTo>
                <a:cubicBezTo>
                  <a:pt x="755" y="517"/>
                  <a:pt x="755" y="517"/>
                  <a:pt x="754" y="517"/>
                </a:cubicBezTo>
                <a:cubicBezTo>
                  <a:pt x="753" y="518"/>
                  <a:pt x="752" y="518"/>
                  <a:pt x="751" y="518"/>
                </a:cubicBezTo>
                <a:cubicBezTo>
                  <a:pt x="750" y="519"/>
                  <a:pt x="748" y="519"/>
                  <a:pt x="746" y="519"/>
                </a:cubicBezTo>
                <a:cubicBezTo>
                  <a:pt x="744" y="518"/>
                  <a:pt x="744" y="518"/>
                  <a:pt x="744" y="516"/>
                </a:cubicBezTo>
                <a:cubicBezTo>
                  <a:pt x="744" y="516"/>
                  <a:pt x="744" y="515"/>
                  <a:pt x="744" y="515"/>
                </a:cubicBezTo>
                <a:cubicBezTo>
                  <a:pt x="744" y="514"/>
                  <a:pt x="744" y="512"/>
                  <a:pt x="742" y="512"/>
                </a:cubicBezTo>
                <a:cubicBezTo>
                  <a:pt x="741" y="512"/>
                  <a:pt x="741" y="512"/>
                  <a:pt x="740" y="512"/>
                </a:cubicBezTo>
                <a:cubicBezTo>
                  <a:pt x="740" y="512"/>
                  <a:pt x="740" y="512"/>
                  <a:pt x="740" y="512"/>
                </a:cubicBezTo>
                <a:cubicBezTo>
                  <a:pt x="739" y="513"/>
                  <a:pt x="739" y="513"/>
                  <a:pt x="739" y="513"/>
                </a:cubicBezTo>
                <a:cubicBezTo>
                  <a:pt x="740" y="512"/>
                  <a:pt x="740" y="512"/>
                  <a:pt x="740" y="512"/>
                </a:cubicBezTo>
                <a:cubicBezTo>
                  <a:pt x="740" y="512"/>
                  <a:pt x="740" y="512"/>
                  <a:pt x="740" y="512"/>
                </a:cubicBezTo>
                <a:cubicBezTo>
                  <a:pt x="741" y="510"/>
                  <a:pt x="742" y="508"/>
                  <a:pt x="744" y="506"/>
                </a:cubicBezTo>
                <a:cubicBezTo>
                  <a:pt x="746" y="504"/>
                  <a:pt x="747" y="502"/>
                  <a:pt x="748" y="500"/>
                </a:cubicBezTo>
                <a:cubicBezTo>
                  <a:pt x="748" y="500"/>
                  <a:pt x="748" y="499"/>
                  <a:pt x="748" y="499"/>
                </a:cubicBezTo>
                <a:cubicBezTo>
                  <a:pt x="748" y="498"/>
                  <a:pt x="747" y="498"/>
                  <a:pt x="746" y="498"/>
                </a:cubicBezTo>
                <a:cubicBezTo>
                  <a:pt x="743" y="499"/>
                  <a:pt x="741" y="500"/>
                  <a:pt x="739" y="502"/>
                </a:cubicBezTo>
                <a:cubicBezTo>
                  <a:pt x="734" y="507"/>
                  <a:pt x="731" y="513"/>
                  <a:pt x="728" y="518"/>
                </a:cubicBezTo>
                <a:cubicBezTo>
                  <a:pt x="726" y="521"/>
                  <a:pt x="724" y="523"/>
                  <a:pt x="721" y="525"/>
                </a:cubicBezTo>
                <a:cubicBezTo>
                  <a:pt x="720" y="525"/>
                  <a:pt x="720" y="526"/>
                  <a:pt x="721" y="527"/>
                </a:cubicBezTo>
                <a:cubicBezTo>
                  <a:pt x="722" y="528"/>
                  <a:pt x="721" y="529"/>
                  <a:pt x="720" y="530"/>
                </a:cubicBezTo>
                <a:cubicBezTo>
                  <a:pt x="719" y="531"/>
                  <a:pt x="718" y="532"/>
                  <a:pt x="718" y="533"/>
                </a:cubicBezTo>
                <a:cubicBezTo>
                  <a:pt x="717" y="533"/>
                  <a:pt x="718" y="535"/>
                  <a:pt x="718" y="535"/>
                </a:cubicBezTo>
                <a:cubicBezTo>
                  <a:pt x="719" y="535"/>
                  <a:pt x="720" y="536"/>
                  <a:pt x="721" y="536"/>
                </a:cubicBezTo>
                <a:cubicBezTo>
                  <a:pt x="724" y="535"/>
                  <a:pt x="727" y="535"/>
                  <a:pt x="729" y="536"/>
                </a:cubicBezTo>
                <a:cubicBezTo>
                  <a:pt x="732" y="537"/>
                  <a:pt x="734" y="537"/>
                  <a:pt x="736" y="536"/>
                </a:cubicBezTo>
                <a:cubicBezTo>
                  <a:pt x="739" y="535"/>
                  <a:pt x="741" y="537"/>
                  <a:pt x="743" y="538"/>
                </a:cubicBezTo>
                <a:cubicBezTo>
                  <a:pt x="743" y="538"/>
                  <a:pt x="743" y="538"/>
                  <a:pt x="743" y="539"/>
                </a:cubicBezTo>
                <a:cubicBezTo>
                  <a:pt x="742" y="539"/>
                  <a:pt x="741" y="540"/>
                  <a:pt x="740" y="541"/>
                </a:cubicBezTo>
                <a:cubicBezTo>
                  <a:pt x="740" y="541"/>
                  <a:pt x="740" y="542"/>
                  <a:pt x="740" y="543"/>
                </a:cubicBezTo>
                <a:cubicBezTo>
                  <a:pt x="741" y="543"/>
                  <a:pt x="741" y="543"/>
                  <a:pt x="742" y="543"/>
                </a:cubicBezTo>
                <a:cubicBezTo>
                  <a:pt x="743" y="543"/>
                  <a:pt x="744" y="543"/>
                  <a:pt x="745" y="542"/>
                </a:cubicBezTo>
                <a:cubicBezTo>
                  <a:pt x="746" y="539"/>
                  <a:pt x="749" y="539"/>
                  <a:pt x="751" y="537"/>
                </a:cubicBezTo>
                <a:cubicBezTo>
                  <a:pt x="751" y="537"/>
                  <a:pt x="752" y="537"/>
                  <a:pt x="752" y="538"/>
                </a:cubicBezTo>
                <a:cubicBezTo>
                  <a:pt x="751" y="539"/>
                  <a:pt x="751" y="540"/>
                  <a:pt x="751" y="542"/>
                </a:cubicBezTo>
                <a:cubicBezTo>
                  <a:pt x="751" y="542"/>
                  <a:pt x="751" y="543"/>
                  <a:pt x="751" y="543"/>
                </a:cubicBezTo>
                <a:cubicBezTo>
                  <a:pt x="753" y="544"/>
                  <a:pt x="755" y="546"/>
                  <a:pt x="757" y="546"/>
                </a:cubicBezTo>
                <a:cubicBezTo>
                  <a:pt x="758" y="546"/>
                  <a:pt x="759" y="545"/>
                  <a:pt x="760" y="545"/>
                </a:cubicBezTo>
                <a:cubicBezTo>
                  <a:pt x="760" y="543"/>
                  <a:pt x="761" y="541"/>
                  <a:pt x="762" y="539"/>
                </a:cubicBezTo>
                <a:cubicBezTo>
                  <a:pt x="762" y="537"/>
                  <a:pt x="762" y="536"/>
                  <a:pt x="761" y="535"/>
                </a:cubicBezTo>
                <a:cubicBezTo>
                  <a:pt x="761" y="535"/>
                  <a:pt x="761" y="535"/>
                  <a:pt x="760" y="535"/>
                </a:cubicBezTo>
                <a:cubicBezTo>
                  <a:pt x="760" y="535"/>
                  <a:pt x="760" y="536"/>
                  <a:pt x="760" y="536"/>
                </a:cubicBezTo>
                <a:cubicBezTo>
                  <a:pt x="760" y="536"/>
                  <a:pt x="760" y="535"/>
                  <a:pt x="760" y="535"/>
                </a:cubicBezTo>
                <a:cubicBezTo>
                  <a:pt x="760" y="535"/>
                  <a:pt x="760" y="535"/>
                  <a:pt x="760" y="535"/>
                </a:cubicBezTo>
                <a:cubicBezTo>
                  <a:pt x="760" y="535"/>
                  <a:pt x="761" y="535"/>
                  <a:pt x="761" y="535"/>
                </a:cubicBezTo>
                <a:cubicBezTo>
                  <a:pt x="760" y="534"/>
                  <a:pt x="758" y="534"/>
                  <a:pt x="757" y="534"/>
                </a:cubicBezTo>
                <a:cubicBezTo>
                  <a:pt x="756" y="534"/>
                  <a:pt x="756" y="533"/>
                  <a:pt x="756" y="533"/>
                </a:cubicBezTo>
                <a:cubicBezTo>
                  <a:pt x="757" y="532"/>
                  <a:pt x="757" y="531"/>
                  <a:pt x="757" y="531"/>
                </a:cubicBezTo>
                <a:cubicBezTo>
                  <a:pt x="758" y="530"/>
                  <a:pt x="759" y="529"/>
                  <a:pt x="760" y="528"/>
                </a:cubicBezTo>
                <a:cubicBezTo>
                  <a:pt x="760" y="528"/>
                  <a:pt x="760" y="528"/>
                  <a:pt x="760" y="527"/>
                </a:cubicBezTo>
                <a:cubicBezTo>
                  <a:pt x="760" y="527"/>
                  <a:pt x="759" y="527"/>
                  <a:pt x="759" y="527"/>
                </a:cubicBezTo>
                <a:cubicBezTo>
                  <a:pt x="758" y="527"/>
                  <a:pt x="757" y="527"/>
                  <a:pt x="756" y="526"/>
                </a:cubicBezTo>
                <a:cubicBezTo>
                  <a:pt x="756" y="526"/>
                  <a:pt x="756" y="525"/>
                  <a:pt x="757" y="524"/>
                </a:cubicBezTo>
                <a:cubicBezTo>
                  <a:pt x="757" y="523"/>
                  <a:pt x="758" y="523"/>
                  <a:pt x="758" y="522"/>
                </a:cubicBezTo>
                <a:close/>
                <a:moveTo>
                  <a:pt x="489" y="93"/>
                </a:moveTo>
                <a:cubicBezTo>
                  <a:pt x="492" y="94"/>
                  <a:pt x="494" y="95"/>
                  <a:pt x="495" y="95"/>
                </a:cubicBezTo>
                <a:cubicBezTo>
                  <a:pt x="497" y="96"/>
                  <a:pt x="497" y="97"/>
                  <a:pt x="498" y="98"/>
                </a:cubicBezTo>
                <a:cubicBezTo>
                  <a:pt x="499" y="99"/>
                  <a:pt x="501" y="99"/>
                  <a:pt x="502" y="99"/>
                </a:cubicBezTo>
                <a:cubicBezTo>
                  <a:pt x="504" y="98"/>
                  <a:pt x="505" y="96"/>
                  <a:pt x="507" y="95"/>
                </a:cubicBezTo>
                <a:cubicBezTo>
                  <a:pt x="507" y="95"/>
                  <a:pt x="508" y="95"/>
                  <a:pt x="508" y="95"/>
                </a:cubicBezTo>
                <a:cubicBezTo>
                  <a:pt x="509" y="96"/>
                  <a:pt x="510" y="96"/>
                  <a:pt x="510" y="95"/>
                </a:cubicBezTo>
                <a:cubicBezTo>
                  <a:pt x="512" y="93"/>
                  <a:pt x="513" y="91"/>
                  <a:pt x="514" y="89"/>
                </a:cubicBezTo>
                <a:cubicBezTo>
                  <a:pt x="516" y="88"/>
                  <a:pt x="518" y="86"/>
                  <a:pt x="519" y="84"/>
                </a:cubicBezTo>
                <a:cubicBezTo>
                  <a:pt x="520" y="84"/>
                  <a:pt x="520" y="84"/>
                  <a:pt x="521" y="84"/>
                </a:cubicBezTo>
                <a:cubicBezTo>
                  <a:pt x="521" y="84"/>
                  <a:pt x="521" y="85"/>
                  <a:pt x="521" y="86"/>
                </a:cubicBezTo>
                <a:cubicBezTo>
                  <a:pt x="520" y="88"/>
                  <a:pt x="518" y="90"/>
                  <a:pt x="517" y="92"/>
                </a:cubicBezTo>
                <a:cubicBezTo>
                  <a:pt x="516" y="93"/>
                  <a:pt x="517" y="94"/>
                  <a:pt x="517" y="96"/>
                </a:cubicBezTo>
                <a:cubicBezTo>
                  <a:pt x="517" y="97"/>
                  <a:pt x="519" y="97"/>
                  <a:pt x="520" y="97"/>
                </a:cubicBezTo>
                <a:cubicBezTo>
                  <a:pt x="521" y="96"/>
                  <a:pt x="522" y="96"/>
                  <a:pt x="522" y="95"/>
                </a:cubicBezTo>
                <a:cubicBezTo>
                  <a:pt x="523" y="93"/>
                  <a:pt x="525" y="92"/>
                  <a:pt x="527" y="92"/>
                </a:cubicBezTo>
                <a:cubicBezTo>
                  <a:pt x="528" y="92"/>
                  <a:pt x="528" y="91"/>
                  <a:pt x="529" y="91"/>
                </a:cubicBezTo>
                <a:cubicBezTo>
                  <a:pt x="530" y="90"/>
                  <a:pt x="531" y="90"/>
                  <a:pt x="531" y="89"/>
                </a:cubicBezTo>
                <a:cubicBezTo>
                  <a:pt x="533" y="86"/>
                  <a:pt x="536" y="85"/>
                  <a:pt x="537" y="81"/>
                </a:cubicBezTo>
                <a:cubicBezTo>
                  <a:pt x="537" y="80"/>
                  <a:pt x="538" y="79"/>
                  <a:pt x="539" y="79"/>
                </a:cubicBezTo>
                <a:cubicBezTo>
                  <a:pt x="539" y="79"/>
                  <a:pt x="540" y="78"/>
                  <a:pt x="541" y="78"/>
                </a:cubicBezTo>
                <a:cubicBezTo>
                  <a:pt x="542" y="77"/>
                  <a:pt x="542" y="77"/>
                  <a:pt x="542" y="76"/>
                </a:cubicBezTo>
                <a:cubicBezTo>
                  <a:pt x="542" y="75"/>
                  <a:pt x="542" y="73"/>
                  <a:pt x="542" y="72"/>
                </a:cubicBezTo>
                <a:cubicBezTo>
                  <a:pt x="542" y="71"/>
                  <a:pt x="541" y="69"/>
                  <a:pt x="541" y="70"/>
                </a:cubicBezTo>
                <a:cubicBezTo>
                  <a:pt x="540" y="70"/>
                  <a:pt x="539" y="70"/>
                  <a:pt x="538" y="71"/>
                </a:cubicBezTo>
                <a:cubicBezTo>
                  <a:pt x="537" y="72"/>
                  <a:pt x="536" y="73"/>
                  <a:pt x="535" y="72"/>
                </a:cubicBezTo>
                <a:cubicBezTo>
                  <a:pt x="533" y="70"/>
                  <a:pt x="530" y="70"/>
                  <a:pt x="528" y="69"/>
                </a:cubicBezTo>
                <a:cubicBezTo>
                  <a:pt x="526" y="69"/>
                  <a:pt x="525" y="70"/>
                  <a:pt x="523" y="71"/>
                </a:cubicBezTo>
                <a:cubicBezTo>
                  <a:pt x="517" y="75"/>
                  <a:pt x="511" y="79"/>
                  <a:pt x="504" y="81"/>
                </a:cubicBezTo>
                <a:cubicBezTo>
                  <a:pt x="502" y="81"/>
                  <a:pt x="501" y="82"/>
                  <a:pt x="499" y="83"/>
                </a:cubicBezTo>
                <a:cubicBezTo>
                  <a:pt x="496" y="83"/>
                  <a:pt x="494" y="84"/>
                  <a:pt x="491" y="86"/>
                </a:cubicBezTo>
                <a:cubicBezTo>
                  <a:pt x="489" y="87"/>
                  <a:pt x="488" y="90"/>
                  <a:pt x="488" y="92"/>
                </a:cubicBezTo>
                <a:cubicBezTo>
                  <a:pt x="488" y="92"/>
                  <a:pt x="489" y="93"/>
                  <a:pt x="489" y="93"/>
                </a:cubicBezTo>
                <a:close/>
                <a:moveTo>
                  <a:pt x="1191" y="122"/>
                </a:moveTo>
                <a:cubicBezTo>
                  <a:pt x="1192" y="126"/>
                  <a:pt x="1194" y="127"/>
                  <a:pt x="1198" y="127"/>
                </a:cubicBezTo>
                <a:cubicBezTo>
                  <a:pt x="1199" y="127"/>
                  <a:pt x="1200" y="127"/>
                  <a:pt x="1202" y="127"/>
                </a:cubicBezTo>
                <a:cubicBezTo>
                  <a:pt x="1202" y="127"/>
                  <a:pt x="1202" y="127"/>
                  <a:pt x="1202" y="127"/>
                </a:cubicBezTo>
                <a:cubicBezTo>
                  <a:pt x="1202" y="127"/>
                  <a:pt x="1202" y="127"/>
                  <a:pt x="1203" y="127"/>
                </a:cubicBezTo>
                <a:cubicBezTo>
                  <a:pt x="1203" y="126"/>
                  <a:pt x="1204" y="126"/>
                  <a:pt x="1204" y="126"/>
                </a:cubicBezTo>
                <a:cubicBezTo>
                  <a:pt x="1205" y="126"/>
                  <a:pt x="1205" y="126"/>
                  <a:pt x="1205" y="126"/>
                </a:cubicBezTo>
                <a:cubicBezTo>
                  <a:pt x="1205" y="126"/>
                  <a:pt x="1205" y="127"/>
                  <a:pt x="1204" y="127"/>
                </a:cubicBezTo>
                <a:cubicBezTo>
                  <a:pt x="1204" y="127"/>
                  <a:pt x="1203" y="127"/>
                  <a:pt x="1203" y="127"/>
                </a:cubicBezTo>
                <a:cubicBezTo>
                  <a:pt x="1202" y="127"/>
                  <a:pt x="1202" y="127"/>
                  <a:pt x="1202" y="127"/>
                </a:cubicBezTo>
                <a:cubicBezTo>
                  <a:pt x="1202" y="127"/>
                  <a:pt x="1202" y="127"/>
                  <a:pt x="1202" y="127"/>
                </a:cubicBezTo>
                <a:cubicBezTo>
                  <a:pt x="1201" y="127"/>
                  <a:pt x="1201" y="128"/>
                  <a:pt x="1200" y="128"/>
                </a:cubicBezTo>
                <a:cubicBezTo>
                  <a:pt x="1199" y="129"/>
                  <a:pt x="1199" y="131"/>
                  <a:pt x="1200" y="131"/>
                </a:cubicBezTo>
                <a:cubicBezTo>
                  <a:pt x="1202" y="132"/>
                  <a:pt x="1203" y="133"/>
                  <a:pt x="1205" y="134"/>
                </a:cubicBezTo>
                <a:cubicBezTo>
                  <a:pt x="1206" y="135"/>
                  <a:pt x="1208" y="135"/>
                  <a:pt x="1209" y="135"/>
                </a:cubicBezTo>
                <a:cubicBezTo>
                  <a:pt x="1212" y="134"/>
                  <a:pt x="1213" y="134"/>
                  <a:pt x="1215" y="136"/>
                </a:cubicBezTo>
                <a:cubicBezTo>
                  <a:pt x="1217" y="138"/>
                  <a:pt x="1218" y="138"/>
                  <a:pt x="1221" y="136"/>
                </a:cubicBezTo>
                <a:cubicBezTo>
                  <a:pt x="1222" y="135"/>
                  <a:pt x="1222" y="134"/>
                  <a:pt x="1224" y="134"/>
                </a:cubicBezTo>
                <a:cubicBezTo>
                  <a:pt x="1227" y="134"/>
                  <a:pt x="1228" y="133"/>
                  <a:pt x="1229" y="130"/>
                </a:cubicBezTo>
                <a:cubicBezTo>
                  <a:pt x="1229" y="128"/>
                  <a:pt x="1230" y="127"/>
                  <a:pt x="1231" y="125"/>
                </a:cubicBezTo>
                <a:cubicBezTo>
                  <a:pt x="1234" y="123"/>
                  <a:pt x="1234" y="120"/>
                  <a:pt x="1234" y="117"/>
                </a:cubicBezTo>
                <a:cubicBezTo>
                  <a:pt x="1232" y="116"/>
                  <a:pt x="1231" y="115"/>
                  <a:pt x="1229" y="115"/>
                </a:cubicBezTo>
                <a:cubicBezTo>
                  <a:pt x="1226" y="114"/>
                  <a:pt x="1223" y="113"/>
                  <a:pt x="1220" y="112"/>
                </a:cubicBezTo>
                <a:cubicBezTo>
                  <a:pt x="1218" y="111"/>
                  <a:pt x="1217" y="112"/>
                  <a:pt x="1216" y="113"/>
                </a:cubicBezTo>
                <a:cubicBezTo>
                  <a:pt x="1215" y="114"/>
                  <a:pt x="1215" y="114"/>
                  <a:pt x="1214" y="112"/>
                </a:cubicBezTo>
                <a:cubicBezTo>
                  <a:pt x="1214" y="112"/>
                  <a:pt x="1213" y="111"/>
                  <a:pt x="1213" y="111"/>
                </a:cubicBezTo>
                <a:cubicBezTo>
                  <a:pt x="1213" y="110"/>
                  <a:pt x="1212" y="109"/>
                  <a:pt x="1211" y="110"/>
                </a:cubicBezTo>
                <a:cubicBezTo>
                  <a:pt x="1210" y="110"/>
                  <a:pt x="1210" y="110"/>
                  <a:pt x="1210" y="111"/>
                </a:cubicBezTo>
                <a:cubicBezTo>
                  <a:pt x="1209" y="112"/>
                  <a:pt x="1209" y="113"/>
                  <a:pt x="1209" y="113"/>
                </a:cubicBezTo>
                <a:cubicBezTo>
                  <a:pt x="1209" y="114"/>
                  <a:pt x="1209" y="115"/>
                  <a:pt x="1209" y="116"/>
                </a:cubicBezTo>
                <a:cubicBezTo>
                  <a:pt x="1208" y="117"/>
                  <a:pt x="1207" y="115"/>
                  <a:pt x="1207" y="115"/>
                </a:cubicBezTo>
                <a:cubicBezTo>
                  <a:pt x="1207" y="115"/>
                  <a:pt x="1206" y="115"/>
                  <a:pt x="1206" y="115"/>
                </a:cubicBezTo>
                <a:cubicBezTo>
                  <a:pt x="1203" y="115"/>
                  <a:pt x="1201" y="113"/>
                  <a:pt x="1199" y="111"/>
                </a:cubicBezTo>
                <a:cubicBezTo>
                  <a:pt x="1199" y="111"/>
                  <a:pt x="1198" y="111"/>
                  <a:pt x="1198" y="110"/>
                </a:cubicBezTo>
                <a:cubicBezTo>
                  <a:pt x="1197" y="110"/>
                  <a:pt x="1196" y="110"/>
                  <a:pt x="1196" y="112"/>
                </a:cubicBezTo>
                <a:cubicBezTo>
                  <a:pt x="1196" y="112"/>
                  <a:pt x="1196" y="113"/>
                  <a:pt x="1196" y="113"/>
                </a:cubicBezTo>
                <a:cubicBezTo>
                  <a:pt x="1196" y="114"/>
                  <a:pt x="1195" y="115"/>
                  <a:pt x="1195" y="115"/>
                </a:cubicBezTo>
                <a:cubicBezTo>
                  <a:pt x="1194" y="115"/>
                  <a:pt x="1194" y="114"/>
                  <a:pt x="1193" y="114"/>
                </a:cubicBezTo>
                <a:cubicBezTo>
                  <a:pt x="1193" y="114"/>
                  <a:pt x="1192" y="114"/>
                  <a:pt x="1192" y="114"/>
                </a:cubicBezTo>
                <a:cubicBezTo>
                  <a:pt x="1191" y="116"/>
                  <a:pt x="1190" y="117"/>
                  <a:pt x="1191" y="118"/>
                </a:cubicBezTo>
                <a:cubicBezTo>
                  <a:pt x="1191" y="119"/>
                  <a:pt x="1191" y="121"/>
                  <a:pt x="1191" y="122"/>
                </a:cubicBezTo>
                <a:close/>
                <a:moveTo>
                  <a:pt x="587" y="109"/>
                </a:moveTo>
                <a:cubicBezTo>
                  <a:pt x="586" y="110"/>
                  <a:pt x="586" y="111"/>
                  <a:pt x="586" y="112"/>
                </a:cubicBezTo>
                <a:cubicBezTo>
                  <a:pt x="585" y="114"/>
                  <a:pt x="585" y="116"/>
                  <a:pt x="584" y="118"/>
                </a:cubicBezTo>
                <a:cubicBezTo>
                  <a:pt x="583" y="118"/>
                  <a:pt x="583" y="119"/>
                  <a:pt x="583" y="119"/>
                </a:cubicBezTo>
                <a:cubicBezTo>
                  <a:pt x="584" y="122"/>
                  <a:pt x="585" y="125"/>
                  <a:pt x="584" y="128"/>
                </a:cubicBezTo>
                <a:cubicBezTo>
                  <a:pt x="583" y="128"/>
                  <a:pt x="584" y="128"/>
                  <a:pt x="585" y="129"/>
                </a:cubicBezTo>
                <a:cubicBezTo>
                  <a:pt x="585" y="129"/>
                  <a:pt x="586" y="130"/>
                  <a:pt x="586" y="130"/>
                </a:cubicBezTo>
                <a:cubicBezTo>
                  <a:pt x="585" y="133"/>
                  <a:pt x="587" y="133"/>
                  <a:pt x="589" y="134"/>
                </a:cubicBezTo>
                <a:cubicBezTo>
                  <a:pt x="592" y="134"/>
                  <a:pt x="594" y="134"/>
                  <a:pt x="597" y="135"/>
                </a:cubicBezTo>
                <a:cubicBezTo>
                  <a:pt x="597" y="135"/>
                  <a:pt x="598" y="135"/>
                  <a:pt x="598" y="135"/>
                </a:cubicBezTo>
                <a:cubicBezTo>
                  <a:pt x="597" y="135"/>
                  <a:pt x="597" y="136"/>
                  <a:pt x="597" y="136"/>
                </a:cubicBezTo>
                <a:cubicBezTo>
                  <a:pt x="596" y="137"/>
                  <a:pt x="595" y="137"/>
                  <a:pt x="594" y="137"/>
                </a:cubicBezTo>
                <a:cubicBezTo>
                  <a:pt x="592" y="138"/>
                  <a:pt x="591" y="139"/>
                  <a:pt x="591" y="141"/>
                </a:cubicBezTo>
                <a:cubicBezTo>
                  <a:pt x="591" y="142"/>
                  <a:pt x="591" y="143"/>
                  <a:pt x="590" y="144"/>
                </a:cubicBezTo>
                <a:cubicBezTo>
                  <a:pt x="590" y="145"/>
                  <a:pt x="591" y="146"/>
                  <a:pt x="592" y="147"/>
                </a:cubicBezTo>
                <a:cubicBezTo>
                  <a:pt x="594" y="147"/>
                  <a:pt x="597" y="148"/>
                  <a:pt x="599" y="149"/>
                </a:cubicBezTo>
                <a:cubicBezTo>
                  <a:pt x="601" y="149"/>
                  <a:pt x="604" y="148"/>
                  <a:pt x="605" y="146"/>
                </a:cubicBezTo>
                <a:cubicBezTo>
                  <a:pt x="605" y="145"/>
                  <a:pt x="605" y="145"/>
                  <a:pt x="605" y="144"/>
                </a:cubicBezTo>
                <a:cubicBezTo>
                  <a:pt x="606" y="142"/>
                  <a:pt x="608" y="141"/>
                  <a:pt x="610" y="141"/>
                </a:cubicBezTo>
                <a:cubicBezTo>
                  <a:pt x="610" y="139"/>
                  <a:pt x="611" y="137"/>
                  <a:pt x="612" y="136"/>
                </a:cubicBezTo>
                <a:cubicBezTo>
                  <a:pt x="613" y="134"/>
                  <a:pt x="614" y="132"/>
                  <a:pt x="615" y="131"/>
                </a:cubicBezTo>
                <a:cubicBezTo>
                  <a:pt x="616" y="131"/>
                  <a:pt x="616" y="130"/>
                  <a:pt x="616" y="130"/>
                </a:cubicBezTo>
                <a:cubicBezTo>
                  <a:pt x="617" y="128"/>
                  <a:pt x="619" y="125"/>
                  <a:pt x="620" y="123"/>
                </a:cubicBezTo>
                <a:cubicBezTo>
                  <a:pt x="620" y="122"/>
                  <a:pt x="620" y="122"/>
                  <a:pt x="620" y="121"/>
                </a:cubicBezTo>
                <a:cubicBezTo>
                  <a:pt x="620" y="120"/>
                  <a:pt x="619" y="119"/>
                  <a:pt x="619" y="118"/>
                </a:cubicBezTo>
                <a:cubicBezTo>
                  <a:pt x="618" y="117"/>
                  <a:pt x="617" y="117"/>
                  <a:pt x="616" y="117"/>
                </a:cubicBezTo>
                <a:cubicBezTo>
                  <a:pt x="614" y="117"/>
                  <a:pt x="613" y="116"/>
                  <a:pt x="612" y="115"/>
                </a:cubicBezTo>
                <a:cubicBezTo>
                  <a:pt x="609" y="114"/>
                  <a:pt x="607" y="114"/>
                  <a:pt x="605" y="115"/>
                </a:cubicBezTo>
                <a:cubicBezTo>
                  <a:pt x="604" y="116"/>
                  <a:pt x="603" y="118"/>
                  <a:pt x="603" y="119"/>
                </a:cubicBezTo>
                <a:cubicBezTo>
                  <a:pt x="603" y="121"/>
                  <a:pt x="603" y="123"/>
                  <a:pt x="603" y="125"/>
                </a:cubicBezTo>
                <a:cubicBezTo>
                  <a:pt x="603" y="126"/>
                  <a:pt x="603" y="126"/>
                  <a:pt x="602" y="126"/>
                </a:cubicBezTo>
                <a:cubicBezTo>
                  <a:pt x="602" y="126"/>
                  <a:pt x="602" y="126"/>
                  <a:pt x="602" y="125"/>
                </a:cubicBezTo>
                <a:cubicBezTo>
                  <a:pt x="601" y="123"/>
                  <a:pt x="600" y="121"/>
                  <a:pt x="599" y="119"/>
                </a:cubicBezTo>
                <a:cubicBezTo>
                  <a:pt x="599" y="119"/>
                  <a:pt x="598" y="118"/>
                  <a:pt x="598" y="118"/>
                </a:cubicBezTo>
                <a:cubicBezTo>
                  <a:pt x="597" y="118"/>
                  <a:pt x="596" y="119"/>
                  <a:pt x="596" y="119"/>
                </a:cubicBezTo>
                <a:cubicBezTo>
                  <a:pt x="595" y="122"/>
                  <a:pt x="594" y="124"/>
                  <a:pt x="593" y="127"/>
                </a:cubicBezTo>
                <a:cubicBezTo>
                  <a:pt x="593" y="127"/>
                  <a:pt x="593" y="127"/>
                  <a:pt x="593" y="127"/>
                </a:cubicBezTo>
                <a:cubicBezTo>
                  <a:pt x="592" y="127"/>
                  <a:pt x="592" y="127"/>
                  <a:pt x="592" y="127"/>
                </a:cubicBezTo>
                <a:cubicBezTo>
                  <a:pt x="593" y="127"/>
                  <a:pt x="593" y="127"/>
                  <a:pt x="593" y="127"/>
                </a:cubicBezTo>
                <a:cubicBezTo>
                  <a:pt x="593" y="127"/>
                  <a:pt x="593" y="127"/>
                  <a:pt x="593" y="127"/>
                </a:cubicBezTo>
                <a:cubicBezTo>
                  <a:pt x="592" y="125"/>
                  <a:pt x="591" y="124"/>
                  <a:pt x="592" y="122"/>
                </a:cubicBezTo>
                <a:cubicBezTo>
                  <a:pt x="592" y="121"/>
                  <a:pt x="593" y="120"/>
                  <a:pt x="592" y="120"/>
                </a:cubicBezTo>
                <a:cubicBezTo>
                  <a:pt x="591" y="118"/>
                  <a:pt x="591" y="115"/>
                  <a:pt x="591" y="113"/>
                </a:cubicBezTo>
                <a:cubicBezTo>
                  <a:pt x="591" y="112"/>
                  <a:pt x="591" y="112"/>
                  <a:pt x="591" y="111"/>
                </a:cubicBezTo>
                <a:cubicBezTo>
                  <a:pt x="591" y="111"/>
                  <a:pt x="590" y="110"/>
                  <a:pt x="590" y="109"/>
                </a:cubicBezTo>
                <a:cubicBezTo>
                  <a:pt x="589" y="108"/>
                  <a:pt x="587" y="108"/>
                  <a:pt x="587" y="109"/>
                </a:cubicBezTo>
                <a:close/>
                <a:moveTo>
                  <a:pt x="1057" y="474"/>
                </a:moveTo>
                <a:cubicBezTo>
                  <a:pt x="1057" y="475"/>
                  <a:pt x="1057" y="477"/>
                  <a:pt x="1056" y="478"/>
                </a:cubicBezTo>
                <a:cubicBezTo>
                  <a:pt x="1056" y="478"/>
                  <a:pt x="1055" y="479"/>
                  <a:pt x="1055" y="479"/>
                </a:cubicBezTo>
                <a:cubicBezTo>
                  <a:pt x="1053" y="479"/>
                  <a:pt x="1051" y="479"/>
                  <a:pt x="1049" y="479"/>
                </a:cubicBezTo>
                <a:cubicBezTo>
                  <a:pt x="1048" y="479"/>
                  <a:pt x="1048" y="480"/>
                  <a:pt x="1048" y="481"/>
                </a:cubicBezTo>
                <a:cubicBezTo>
                  <a:pt x="1047" y="482"/>
                  <a:pt x="1048" y="484"/>
                  <a:pt x="1047" y="486"/>
                </a:cubicBezTo>
                <a:cubicBezTo>
                  <a:pt x="1047" y="488"/>
                  <a:pt x="1048" y="489"/>
                  <a:pt x="1049" y="490"/>
                </a:cubicBezTo>
                <a:cubicBezTo>
                  <a:pt x="1050" y="491"/>
                  <a:pt x="1050" y="493"/>
                  <a:pt x="1049" y="494"/>
                </a:cubicBezTo>
                <a:cubicBezTo>
                  <a:pt x="1048" y="496"/>
                  <a:pt x="1047" y="497"/>
                  <a:pt x="1046" y="499"/>
                </a:cubicBezTo>
                <a:cubicBezTo>
                  <a:pt x="1046" y="499"/>
                  <a:pt x="1045" y="500"/>
                  <a:pt x="1045" y="500"/>
                </a:cubicBezTo>
                <a:cubicBezTo>
                  <a:pt x="1043" y="502"/>
                  <a:pt x="1044" y="505"/>
                  <a:pt x="1046" y="506"/>
                </a:cubicBezTo>
                <a:cubicBezTo>
                  <a:pt x="1049" y="508"/>
                  <a:pt x="1052" y="508"/>
                  <a:pt x="1055" y="507"/>
                </a:cubicBezTo>
                <a:cubicBezTo>
                  <a:pt x="1056" y="507"/>
                  <a:pt x="1058" y="506"/>
                  <a:pt x="1059" y="505"/>
                </a:cubicBezTo>
                <a:cubicBezTo>
                  <a:pt x="1062" y="503"/>
                  <a:pt x="1064" y="502"/>
                  <a:pt x="1067" y="502"/>
                </a:cubicBezTo>
                <a:cubicBezTo>
                  <a:pt x="1069" y="502"/>
                  <a:pt x="1069" y="501"/>
                  <a:pt x="1070" y="500"/>
                </a:cubicBezTo>
                <a:cubicBezTo>
                  <a:pt x="1072" y="497"/>
                  <a:pt x="1073" y="493"/>
                  <a:pt x="1072" y="489"/>
                </a:cubicBezTo>
                <a:cubicBezTo>
                  <a:pt x="1072" y="488"/>
                  <a:pt x="1072" y="487"/>
                  <a:pt x="1072" y="487"/>
                </a:cubicBezTo>
                <a:cubicBezTo>
                  <a:pt x="1071" y="485"/>
                  <a:pt x="1072" y="484"/>
                  <a:pt x="1073" y="483"/>
                </a:cubicBezTo>
                <a:cubicBezTo>
                  <a:pt x="1073" y="483"/>
                  <a:pt x="1073" y="483"/>
                  <a:pt x="1074" y="482"/>
                </a:cubicBezTo>
                <a:cubicBezTo>
                  <a:pt x="1076" y="480"/>
                  <a:pt x="1076" y="478"/>
                  <a:pt x="1075" y="476"/>
                </a:cubicBezTo>
                <a:cubicBezTo>
                  <a:pt x="1074" y="475"/>
                  <a:pt x="1074" y="474"/>
                  <a:pt x="1073" y="473"/>
                </a:cubicBezTo>
                <a:cubicBezTo>
                  <a:pt x="1072" y="472"/>
                  <a:pt x="1072" y="471"/>
                  <a:pt x="1071" y="471"/>
                </a:cubicBezTo>
                <a:cubicBezTo>
                  <a:pt x="1068" y="471"/>
                  <a:pt x="1066" y="471"/>
                  <a:pt x="1064" y="470"/>
                </a:cubicBezTo>
                <a:cubicBezTo>
                  <a:pt x="1063" y="470"/>
                  <a:pt x="1063" y="470"/>
                  <a:pt x="1062" y="471"/>
                </a:cubicBezTo>
                <a:cubicBezTo>
                  <a:pt x="1060" y="471"/>
                  <a:pt x="1058" y="472"/>
                  <a:pt x="1057" y="474"/>
                </a:cubicBezTo>
                <a:close/>
                <a:moveTo>
                  <a:pt x="2071" y="546"/>
                </a:moveTo>
                <a:cubicBezTo>
                  <a:pt x="2071" y="549"/>
                  <a:pt x="2074" y="550"/>
                  <a:pt x="2075" y="552"/>
                </a:cubicBezTo>
                <a:cubicBezTo>
                  <a:pt x="2075" y="554"/>
                  <a:pt x="2076" y="555"/>
                  <a:pt x="2077" y="557"/>
                </a:cubicBezTo>
                <a:cubicBezTo>
                  <a:pt x="2077" y="557"/>
                  <a:pt x="2078" y="558"/>
                  <a:pt x="2078" y="557"/>
                </a:cubicBezTo>
                <a:cubicBezTo>
                  <a:pt x="2080" y="556"/>
                  <a:pt x="2082" y="555"/>
                  <a:pt x="2084" y="553"/>
                </a:cubicBezTo>
                <a:cubicBezTo>
                  <a:pt x="2084" y="553"/>
                  <a:pt x="2084" y="552"/>
                  <a:pt x="2084" y="551"/>
                </a:cubicBezTo>
                <a:cubicBezTo>
                  <a:pt x="2082" y="550"/>
                  <a:pt x="2080" y="549"/>
                  <a:pt x="2078" y="548"/>
                </a:cubicBezTo>
                <a:cubicBezTo>
                  <a:pt x="2078" y="548"/>
                  <a:pt x="2078" y="547"/>
                  <a:pt x="2078" y="547"/>
                </a:cubicBezTo>
                <a:cubicBezTo>
                  <a:pt x="2079" y="546"/>
                  <a:pt x="2080" y="546"/>
                  <a:pt x="2081" y="546"/>
                </a:cubicBezTo>
                <a:cubicBezTo>
                  <a:pt x="2084" y="543"/>
                  <a:pt x="2087" y="544"/>
                  <a:pt x="2090" y="547"/>
                </a:cubicBezTo>
                <a:cubicBezTo>
                  <a:pt x="2092" y="548"/>
                  <a:pt x="2094" y="549"/>
                  <a:pt x="2096" y="549"/>
                </a:cubicBezTo>
                <a:cubicBezTo>
                  <a:pt x="2097" y="549"/>
                  <a:pt x="2097" y="549"/>
                  <a:pt x="2097" y="548"/>
                </a:cubicBezTo>
                <a:cubicBezTo>
                  <a:pt x="2098" y="546"/>
                  <a:pt x="2098" y="545"/>
                  <a:pt x="2098" y="543"/>
                </a:cubicBezTo>
                <a:cubicBezTo>
                  <a:pt x="2099" y="541"/>
                  <a:pt x="2100" y="539"/>
                  <a:pt x="2102" y="539"/>
                </a:cubicBezTo>
                <a:cubicBezTo>
                  <a:pt x="2104" y="538"/>
                  <a:pt x="2106" y="537"/>
                  <a:pt x="2108" y="536"/>
                </a:cubicBezTo>
                <a:cubicBezTo>
                  <a:pt x="2109" y="535"/>
                  <a:pt x="2110" y="533"/>
                  <a:pt x="2109" y="532"/>
                </a:cubicBezTo>
                <a:cubicBezTo>
                  <a:pt x="2108" y="531"/>
                  <a:pt x="2107" y="529"/>
                  <a:pt x="2106" y="528"/>
                </a:cubicBezTo>
                <a:cubicBezTo>
                  <a:pt x="2105" y="528"/>
                  <a:pt x="2105" y="527"/>
                  <a:pt x="2105" y="526"/>
                </a:cubicBezTo>
                <a:cubicBezTo>
                  <a:pt x="2104" y="524"/>
                  <a:pt x="2104" y="524"/>
                  <a:pt x="2103" y="525"/>
                </a:cubicBezTo>
                <a:cubicBezTo>
                  <a:pt x="2100" y="527"/>
                  <a:pt x="2098" y="526"/>
                  <a:pt x="2095" y="525"/>
                </a:cubicBezTo>
                <a:cubicBezTo>
                  <a:pt x="2091" y="523"/>
                  <a:pt x="2088" y="521"/>
                  <a:pt x="2085" y="518"/>
                </a:cubicBezTo>
                <a:cubicBezTo>
                  <a:pt x="2083" y="516"/>
                  <a:pt x="2081" y="514"/>
                  <a:pt x="2078" y="513"/>
                </a:cubicBezTo>
                <a:cubicBezTo>
                  <a:pt x="2077" y="512"/>
                  <a:pt x="2076" y="513"/>
                  <a:pt x="2076" y="513"/>
                </a:cubicBezTo>
                <a:cubicBezTo>
                  <a:pt x="2075" y="514"/>
                  <a:pt x="2075" y="515"/>
                  <a:pt x="2075" y="516"/>
                </a:cubicBezTo>
                <a:cubicBezTo>
                  <a:pt x="2075" y="517"/>
                  <a:pt x="2076" y="518"/>
                  <a:pt x="2077" y="520"/>
                </a:cubicBezTo>
                <a:cubicBezTo>
                  <a:pt x="2077" y="521"/>
                  <a:pt x="2078" y="522"/>
                  <a:pt x="2078" y="524"/>
                </a:cubicBezTo>
                <a:cubicBezTo>
                  <a:pt x="2078" y="528"/>
                  <a:pt x="2078" y="532"/>
                  <a:pt x="2078" y="536"/>
                </a:cubicBezTo>
                <a:cubicBezTo>
                  <a:pt x="2078" y="536"/>
                  <a:pt x="2078" y="537"/>
                  <a:pt x="2077" y="537"/>
                </a:cubicBezTo>
                <a:cubicBezTo>
                  <a:pt x="2077" y="537"/>
                  <a:pt x="2076" y="537"/>
                  <a:pt x="2076" y="537"/>
                </a:cubicBezTo>
                <a:cubicBezTo>
                  <a:pt x="2074" y="537"/>
                  <a:pt x="2074" y="537"/>
                  <a:pt x="2074" y="539"/>
                </a:cubicBezTo>
                <a:cubicBezTo>
                  <a:pt x="2074" y="540"/>
                  <a:pt x="2074" y="540"/>
                  <a:pt x="2074" y="541"/>
                </a:cubicBezTo>
                <a:cubicBezTo>
                  <a:pt x="2073" y="543"/>
                  <a:pt x="2072" y="544"/>
                  <a:pt x="2071" y="546"/>
                </a:cubicBezTo>
                <a:close/>
                <a:moveTo>
                  <a:pt x="612" y="76"/>
                </a:moveTo>
                <a:cubicBezTo>
                  <a:pt x="614" y="77"/>
                  <a:pt x="615" y="77"/>
                  <a:pt x="617" y="78"/>
                </a:cubicBezTo>
                <a:cubicBezTo>
                  <a:pt x="617" y="78"/>
                  <a:pt x="617" y="78"/>
                  <a:pt x="617" y="78"/>
                </a:cubicBezTo>
                <a:cubicBezTo>
                  <a:pt x="617" y="78"/>
                  <a:pt x="617" y="78"/>
                  <a:pt x="617" y="78"/>
                </a:cubicBezTo>
                <a:cubicBezTo>
                  <a:pt x="618" y="79"/>
                  <a:pt x="619" y="79"/>
                  <a:pt x="619" y="80"/>
                </a:cubicBezTo>
                <a:cubicBezTo>
                  <a:pt x="623" y="83"/>
                  <a:pt x="625" y="86"/>
                  <a:pt x="623" y="90"/>
                </a:cubicBezTo>
                <a:cubicBezTo>
                  <a:pt x="622" y="92"/>
                  <a:pt x="623" y="93"/>
                  <a:pt x="624" y="94"/>
                </a:cubicBezTo>
                <a:cubicBezTo>
                  <a:pt x="625" y="95"/>
                  <a:pt x="627" y="95"/>
                  <a:pt x="629" y="94"/>
                </a:cubicBezTo>
                <a:cubicBezTo>
                  <a:pt x="631" y="93"/>
                  <a:pt x="632" y="91"/>
                  <a:pt x="633" y="88"/>
                </a:cubicBezTo>
                <a:cubicBezTo>
                  <a:pt x="634" y="85"/>
                  <a:pt x="635" y="82"/>
                  <a:pt x="638" y="79"/>
                </a:cubicBezTo>
                <a:cubicBezTo>
                  <a:pt x="638" y="79"/>
                  <a:pt x="639" y="77"/>
                  <a:pt x="639" y="76"/>
                </a:cubicBezTo>
                <a:cubicBezTo>
                  <a:pt x="640" y="74"/>
                  <a:pt x="640" y="72"/>
                  <a:pt x="639" y="70"/>
                </a:cubicBezTo>
                <a:cubicBezTo>
                  <a:pt x="638" y="69"/>
                  <a:pt x="637" y="68"/>
                  <a:pt x="638" y="67"/>
                </a:cubicBezTo>
                <a:cubicBezTo>
                  <a:pt x="638" y="66"/>
                  <a:pt x="638" y="66"/>
                  <a:pt x="638" y="65"/>
                </a:cubicBezTo>
                <a:cubicBezTo>
                  <a:pt x="638" y="61"/>
                  <a:pt x="636" y="60"/>
                  <a:pt x="633" y="61"/>
                </a:cubicBezTo>
                <a:cubicBezTo>
                  <a:pt x="632" y="61"/>
                  <a:pt x="632" y="62"/>
                  <a:pt x="631" y="62"/>
                </a:cubicBezTo>
                <a:cubicBezTo>
                  <a:pt x="631" y="62"/>
                  <a:pt x="631" y="62"/>
                  <a:pt x="631" y="62"/>
                </a:cubicBezTo>
                <a:cubicBezTo>
                  <a:pt x="631" y="63"/>
                  <a:pt x="631" y="63"/>
                  <a:pt x="630" y="62"/>
                </a:cubicBezTo>
                <a:cubicBezTo>
                  <a:pt x="631" y="62"/>
                  <a:pt x="631" y="62"/>
                  <a:pt x="631" y="62"/>
                </a:cubicBezTo>
                <a:cubicBezTo>
                  <a:pt x="631" y="60"/>
                  <a:pt x="631" y="58"/>
                  <a:pt x="631" y="57"/>
                </a:cubicBezTo>
                <a:cubicBezTo>
                  <a:pt x="631" y="54"/>
                  <a:pt x="629" y="52"/>
                  <a:pt x="626" y="52"/>
                </a:cubicBezTo>
                <a:cubicBezTo>
                  <a:pt x="625" y="52"/>
                  <a:pt x="623" y="52"/>
                  <a:pt x="621" y="52"/>
                </a:cubicBezTo>
                <a:cubicBezTo>
                  <a:pt x="621" y="52"/>
                  <a:pt x="620" y="52"/>
                  <a:pt x="620" y="53"/>
                </a:cubicBezTo>
                <a:cubicBezTo>
                  <a:pt x="618" y="54"/>
                  <a:pt x="616" y="56"/>
                  <a:pt x="617" y="59"/>
                </a:cubicBezTo>
                <a:cubicBezTo>
                  <a:pt x="617" y="59"/>
                  <a:pt x="617" y="60"/>
                  <a:pt x="617" y="61"/>
                </a:cubicBezTo>
                <a:cubicBezTo>
                  <a:pt x="616" y="63"/>
                  <a:pt x="616" y="63"/>
                  <a:pt x="619" y="64"/>
                </a:cubicBezTo>
                <a:cubicBezTo>
                  <a:pt x="619" y="64"/>
                  <a:pt x="619" y="64"/>
                  <a:pt x="619" y="64"/>
                </a:cubicBezTo>
                <a:cubicBezTo>
                  <a:pt x="619" y="64"/>
                  <a:pt x="619" y="64"/>
                  <a:pt x="619" y="64"/>
                </a:cubicBezTo>
                <a:cubicBezTo>
                  <a:pt x="619" y="63"/>
                  <a:pt x="619" y="63"/>
                  <a:pt x="619" y="63"/>
                </a:cubicBezTo>
                <a:cubicBezTo>
                  <a:pt x="620" y="63"/>
                  <a:pt x="619" y="63"/>
                  <a:pt x="619" y="64"/>
                </a:cubicBezTo>
                <a:cubicBezTo>
                  <a:pt x="619" y="64"/>
                  <a:pt x="619" y="64"/>
                  <a:pt x="619" y="64"/>
                </a:cubicBezTo>
                <a:cubicBezTo>
                  <a:pt x="619" y="64"/>
                  <a:pt x="619" y="64"/>
                  <a:pt x="619" y="64"/>
                </a:cubicBezTo>
                <a:cubicBezTo>
                  <a:pt x="619" y="65"/>
                  <a:pt x="619" y="66"/>
                  <a:pt x="619" y="67"/>
                </a:cubicBezTo>
                <a:cubicBezTo>
                  <a:pt x="619" y="68"/>
                  <a:pt x="619" y="69"/>
                  <a:pt x="619" y="70"/>
                </a:cubicBezTo>
                <a:cubicBezTo>
                  <a:pt x="618" y="71"/>
                  <a:pt x="617" y="71"/>
                  <a:pt x="617" y="71"/>
                </a:cubicBezTo>
                <a:cubicBezTo>
                  <a:pt x="615" y="70"/>
                  <a:pt x="615" y="70"/>
                  <a:pt x="613" y="69"/>
                </a:cubicBezTo>
                <a:cubicBezTo>
                  <a:pt x="613" y="69"/>
                  <a:pt x="612" y="69"/>
                  <a:pt x="611" y="70"/>
                </a:cubicBezTo>
                <a:cubicBezTo>
                  <a:pt x="611" y="70"/>
                  <a:pt x="610" y="71"/>
                  <a:pt x="610" y="72"/>
                </a:cubicBezTo>
                <a:cubicBezTo>
                  <a:pt x="609" y="74"/>
                  <a:pt x="610" y="76"/>
                  <a:pt x="612" y="76"/>
                </a:cubicBezTo>
                <a:close/>
                <a:moveTo>
                  <a:pt x="1927" y="984"/>
                </a:moveTo>
                <a:cubicBezTo>
                  <a:pt x="1930" y="984"/>
                  <a:pt x="1933" y="984"/>
                  <a:pt x="1937" y="986"/>
                </a:cubicBezTo>
                <a:cubicBezTo>
                  <a:pt x="1938" y="987"/>
                  <a:pt x="1939" y="987"/>
                  <a:pt x="1940" y="986"/>
                </a:cubicBezTo>
                <a:cubicBezTo>
                  <a:pt x="1941" y="985"/>
                  <a:pt x="1942" y="985"/>
                  <a:pt x="1943" y="985"/>
                </a:cubicBezTo>
                <a:cubicBezTo>
                  <a:pt x="1944" y="985"/>
                  <a:pt x="1945" y="986"/>
                  <a:pt x="1946" y="986"/>
                </a:cubicBezTo>
                <a:cubicBezTo>
                  <a:pt x="1947" y="986"/>
                  <a:pt x="1949" y="984"/>
                  <a:pt x="1949" y="983"/>
                </a:cubicBezTo>
                <a:cubicBezTo>
                  <a:pt x="1949" y="983"/>
                  <a:pt x="1948" y="982"/>
                  <a:pt x="1947" y="982"/>
                </a:cubicBezTo>
                <a:cubicBezTo>
                  <a:pt x="1944" y="982"/>
                  <a:pt x="1941" y="981"/>
                  <a:pt x="1938" y="979"/>
                </a:cubicBezTo>
                <a:cubicBezTo>
                  <a:pt x="1938" y="978"/>
                  <a:pt x="1937" y="978"/>
                  <a:pt x="1937" y="978"/>
                </a:cubicBezTo>
                <a:cubicBezTo>
                  <a:pt x="1935" y="978"/>
                  <a:pt x="1934" y="978"/>
                  <a:pt x="1933" y="978"/>
                </a:cubicBezTo>
                <a:cubicBezTo>
                  <a:pt x="1932" y="978"/>
                  <a:pt x="1931" y="978"/>
                  <a:pt x="1931" y="977"/>
                </a:cubicBezTo>
                <a:cubicBezTo>
                  <a:pt x="1931" y="976"/>
                  <a:pt x="1931" y="976"/>
                  <a:pt x="1933" y="976"/>
                </a:cubicBezTo>
                <a:cubicBezTo>
                  <a:pt x="1933" y="975"/>
                  <a:pt x="1934" y="975"/>
                  <a:pt x="1934" y="975"/>
                </a:cubicBezTo>
                <a:cubicBezTo>
                  <a:pt x="1935" y="975"/>
                  <a:pt x="1936" y="975"/>
                  <a:pt x="1936" y="974"/>
                </a:cubicBezTo>
                <a:cubicBezTo>
                  <a:pt x="1936" y="974"/>
                  <a:pt x="1935" y="973"/>
                  <a:pt x="1934" y="973"/>
                </a:cubicBezTo>
                <a:cubicBezTo>
                  <a:pt x="1931" y="973"/>
                  <a:pt x="1927" y="972"/>
                  <a:pt x="1924" y="971"/>
                </a:cubicBezTo>
                <a:cubicBezTo>
                  <a:pt x="1922" y="971"/>
                  <a:pt x="1920" y="970"/>
                  <a:pt x="1919" y="969"/>
                </a:cubicBezTo>
                <a:cubicBezTo>
                  <a:pt x="1916" y="968"/>
                  <a:pt x="1914" y="968"/>
                  <a:pt x="1913" y="971"/>
                </a:cubicBezTo>
                <a:cubicBezTo>
                  <a:pt x="1912" y="972"/>
                  <a:pt x="1911" y="972"/>
                  <a:pt x="1910" y="972"/>
                </a:cubicBezTo>
                <a:cubicBezTo>
                  <a:pt x="1908" y="972"/>
                  <a:pt x="1907" y="972"/>
                  <a:pt x="1905" y="972"/>
                </a:cubicBezTo>
                <a:cubicBezTo>
                  <a:pt x="1903" y="971"/>
                  <a:pt x="1901" y="971"/>
                  <a:pt x="1899" y="969"/>
                </a:cubicBezTo>
                <a:cubicBezTo>
                  <a:pt x="1896" y="966"/>
                  <a:pt x="1893" y="966"/>
                  <a:pt x="1890" y="966"/>
                </a:cubicBezTo>
                <a:cubicBezTo>
                  <a:pt x="1887" y="966"/>
                  <a:pt x="1884" y="965"/>
                  <a:pt x="1880" y="965"/>
                </a:cubicBezTo>
                <a:cubicBezTo>
                  <a:pt x="1880" y="967"/>
                  <a:pt x="1879" y="969"/>
                  <a:pt x="1878" y="971"/>
                </a:cubicBezTo>
                <a:cubicBezTo>
                  <a:pt x="1877" y="971"/>
                  <a:pt x="1878" y="973"/>
                  <a:pt x="1879" y="973"/>
                </a:cubicBezTo>
                <a:cubicBezTo>
                  <a:pt x="1881" y="973"/>
                  <a:pt x="1883" y="974"/>
                  <a:pt x="1884" y="976"/>
                </a:cubicBezTo>
                <a:cubicBezTo>
                  <a:pt x="1884" y="977"/>
                  <a:pt x="1886" y="977"/>
                  <a:pt x="1887" y="977"/>
                </a:cubicBezTo>
                <a:cubicBezTo>
                  <a:pt x="1889" y="977"/>
                  <a:pt x="1891" y="978"/>
                  <a:pt x="1893" y="979"/>
                </a:cubicBezTo>
                <a:cubicBezTo>
                  <a:pt x="1895" y="980"/>
                  <a:pt x="1897" y="980"/>
                  <a:pt x="1899" y="979"/>
                </a:cubicBezTo>
                <a:cubicBezTo>
                  <a:pt x="1902" y="979"/>
                  <a:pt x="1906" y="979"/>
                  <a:pt x="1910" y="981"/>
                </a:cubicBezTo>
                <a:cubicBezTo>
                  <a:pt x="1913" y="983"/>
                  <a:pt x="1917" y="984"/>
                  <a:pt x="1920" y="984"/>
                </a:cubicBezTo>
                <a:cubicBezTo>
                  <a:pt x="1922" y="984"/>
                  <a:pt x="1924" y="984"/>
                  <a:pt x="1927" y="984"/>
                </a:cubicBezTo>
                <a:close/>
                <a:moveTo>
                  <a:pt x="1990" y="778"/>
                </a:moveTo>
                <a:cubicBezTo>
                  <a:pt x="1988" y="778"/>
                  <a:pt x="1987" y="778"/>
                  <a:pt x="1985" y="778"/>
                </a:cubicBezTo>
                <a:cubicBezTo>
                  <a:pt x="1982" y="776"/>
                  <a:pt x="1980" y="778"/>
                  <a:pt x="1979" y="781"/>
                </a:cubicBezTo>
                <a:cubicBezTo>
                  <a:pt x="1979" y="782"/>
                  <a:pt x="1978" y="783"/>
                  <a:pt x="1978" y="784"/>
                </a:cubicBezTo>
                <a:cubicBezTo>
                  <a:pt x="1978" y="787"/>
                  <a:pt x="1978" y="790"/>
                  <a:pt x="1977" y="793"/>
                </a:cubicBezTo>
                <a:cubicBezTo>
                  <a:pt x="1977" y="795"/>
                  <a:pt x="1977" y="796"/>
                  <a:pt x="1976" y="796"/>
                </a:cubicBezTo>
                <a:cubicBezTo>
                  <a:pt x="1976" y="797"/>
                  <a:pt x="1975" y="798"/>
                  <a:pt x="1975" y="798"/>
                </a:cubicBezTo>
                <a:cubicBezTo>
                  <a:pt x="1976" y="801"/>
                  <a:pt x="1977" y="804"/>
                  <a:pt x="1978" y="806"/>
                </a:cubicBezTo>
                <a:cubicBezTo>
                  <a:pt x="1978" y="808"/>
                  <a:pt x="1980" y="810"/>
                  <a:pt x="1982" y="810"/>
                </a:cubicBezTo>
                <a:cubicBezTo>
                  <a:pt x="1982" y="810"/>
                  <a:pt x="1982" y="810"/>
                  <a:pt x="1982" y="810"/>
                </a:cubicBezTo>
                <a:cubicBezTo>
                  <a:pt x="1982" y="810"/>
                  <a:pt x="1982" y="810"/>
                  <a:pt x="1982" y="810"/>
                </a:cubicBezTo>
                <a:cubicBezTo>
                  <a:pt x="1982" y="810"/>
                  <a:pt x="1982" y="810"/>
                  <a:pt x="1982" y="810"/>
                </a:cubicBezTo>
                <a:cubicBezTo>
                  <a:pt x="1982" y="810"/>
                  <a:pt x="1982" y="810"/>
                  <a:pt x="1982" y="810"/>
                </a:cubicBezTo>
                <a:cubicBezTo>
                  <a:pt x="1982" y="813"/>
                  <a:pt x="1982" y="815"/>
                  <a:pt x="1985" y="816"/>
                </a:cubicBezTo>
                <a:cubicBezTo>
                  <a:pt x="1986" y="816"/>
                  <a:pt x="1987" y="817"/>
                  <a:pt x="1987" y="817"/>
                </a:cubicBezTo>
                <a:cubicBezTo>
                  <a:pt x="1987" y="817"/>
                  <a:pt x="1987" y="817"/>
                  <a:pt x="1987" y="817"/>
                </a:cubicBezTo>
                <a:cubicBezTo>
                  <a:pt x="1987" y="817"/>
                  <a:pt x="1987" y="817"/>
                  <a:pt x="1987" y="817"/>
                </a:cubicBezTo>
                <a:cubicBezTo>
                  <a:pt x="1987" y="817"/>
                  <a:pt x="1987" y="817"/>
                  <a:pt x="1987" y="817"/>
                </a:cubicBezTo>
                <a:cubicBezTo>
                  <a:pt x="1988" y="817"/>
                  <a:pt x="1989" y="816"/>
                  <a:pt x="1991" y="815"/>
                </a:cubicBezTo>
                <a:cubicBezTo>
                  <a:pt x="1991" y="815"/>
                  <a:pt x="1992" y="815"/>
                  <a:pt x="1993" y="816"/>
                </a:cubicBezTo>
                <a:cubicBezTo>
                  <a:pt x="1993" y="816"/>
                  <a:pt x="1994" y="817"/>
                  <a:pt x="1994" y="817"/>
                </a:cubicBezTo>
                <a:cubicBezTo>
                  <a:pt x="1996" y="818"/>
                  <a:pt x="1998" y="819"/>
                  <a:pt x="2000" y="817"/>
                </a:cubicBezTo>
                <a:cubicBezTo>
                  <a:pt x="1999" y="817"/>
                  <a:pt x="1999" y="817"/>
                  <a:pt x="1999" y="817"/>
                </a:cubicBezTo>
                <a:cubicBezTo>
                  <a:pt x="2000" y="817"/>
                  <a:pt x="2000" y="817"/>
                  <a:pt x="2000" y="817"/>
                </a:cubicBezTo>
                <a:cubicBezTo>
                  <a:pt x="2000" y="817"/>
                  <a:pt x="2000" y="817"/>
                  <a:pt x="2000" y="817"/>
                </a:cubicBezTo>
                <a:cubicBezTo>
                  <a:pt x="2000" y="817"/>
                  <a:pt x="2000" y="817"/>
                  <a:pt x="2000" y="817"/>
                </a:cubicBezTo>
                <a:cubicBezTo>
                  <a:pt x="2000" y="818"/>
                  <a:pt x="2001" y="818"/>
                  <a:pt x="2002" y="819"/>
                </a:cubicBezTo>
                <a:cubicBezTo>
                  <a:pt x="2002" y="821"/>
                  <a:pt x="2003" y="822"/>
                  <a:pt x="2005" y="823"/>
                </a:cubicBezTo>
                <a:cubicBezTo>
                  <a:pt x="2006" y="823"/>
                  <a:pt x="2006" y="824"/>
                  <a:pt x="2005" y="825"/>
                </a:cubicBezTo>
                <a:cubicBezTo>
                  <a:pt x="2003" y="827"/>
                  <a:pt x="2003" y="828"/>
                  <a:pt x="2005" y="829"/>
                </a:cubicBezTo>
                <a:cubicBezTo>
                  <a:pt x="2006" y="829"/>
                  <a:pt x="2007" y="830"/>
                  <a:pt x="2008" y="830"/>
                </a:cubicBezTo>
                <a:cubicBezTo>
                  <a:pt x="2008" y="830"/>
                  <a:pt x="2009" y="830"/>
                  <a:pt x="2009" y="829"/>
                </a:cubicBezTo>
                <a:cubicBezTo>
                  <a:pt x="2009" y="827"/>
                  <a:pt x="2010" y="825"/>
                  <a:pt x="2010" y="824"/>
                </a:cubicBezTo>
                <a:cubicBezTo>
                  <a:pt x="2010" y="823"/>
                  <a:pt x="2010" y="822"/>
                  <a:pt x="2009" y="821"/>
                </a:cubicBezTo>
                <a:cubicBezTo>
                  <a:pt x="2008" y="820"/>
                  <a:pt x="2007" y="819"/>
                  <a:pt x="2006" y="818"/>
                </a:cubicBezTo>
                <a:cubicBezTo>
                  <a:pt x="2006" y="815"/>
                  <a:pt x="2005" y="814"/>
                  <a:pt x="2002" y="813"/>
                </a:cubicBezTo>
                <a:cubicBezTo>
                  <a:pt x="2001" y="813"/>
                  <a:pt x="2000" y="812"/>
                  <a:pt x="1999" y="811"/>
                </a:cubicBezTo>
                <a:cubicBezTo>
                  <a:pt x="1998" y="810"/>
                  <a:pt x="1997" y="810"/>
                  <a:pt x="1996" y="810"/>
                </a:cubicBezTo>
                <a:cubicBezTo>
                  <a:pt x="1996" y="811"/>
                  <a:pt x="1995" y="811"/>
                  <a:pt x="1994" y="811"/>
                </a:cubicBezTo>
                <a:cubicBezTo>
                  <a:pt x="1994" y="811"/>
                  <a:pt x="1994" y="811"/>
                  <a:pt x="1994" y="811"/>
                </a:cubicBezTo>
                <a:cubicBezTo>
                  <a:pt x="1993" y="811"/>
                  <a:pt x="1993" y="811"/>
                  <a:pt x="1992" y="811"/>
                </a:cubicBezTo>
                <a:cubicBezTo>
                  <a:pt x="1991" y="811"/>
                  <a:pt x="1991" y="810"/>
                  <a:pt x="1992" y="809"/>
                </a:cubicBezTo>
                <a:cubicBezTo>
                  <a:pt x="1994" y="806"/>
                  <a:pt x="1994" y="806"/>
                  <a:pt x="1991" y="806"/>
                </a:cubicBezTo>
                <a:cubicBezTo>
                  <a:pt x="1990" y="805"/>
                  <a:pt x="1989" y="805"/>
                  <a:pt x="1989" y="804"/>
                </a:cubicBezTo>
                <a:cubicBezTo>
                  <a:pt x="1989" y="802"/>
                  <a:pt x="1989" y="800"/>
                  <a:pt x="1991" y="799"/>
                </a:cubicBezTo>
                <a:cubicBezTo>
                  <a:pt x="1991" y="798"/>
                  <a:pt x="1992" y="798"/>
                  <a:pt x="1992" y="797"/>
                </a:cubicBezTo>
                <a:cubicBezTo>
                  <a:pt x="1994" y="794"/>
                  <a:pt x="1996" y="790"/>
                  <a:pt x="1994" y="786"/>
                </a:cubicBezTo>
                <a:cubicBezTo>
                  <a:pt x="1992" y="784"/>
                  <a:pt x="1992" y="782"/>
                  <a:pt x="1992" y="780"/>
                </a:cubicBezTo>
                <a:cubicBezTo>
                  <a:pt x="1992" y="779"/>
                  <a:pt x="1992" y="778"/>
                  <a:pt x="1990" y="778"/>
                </a:cubicBezTo>
                <a:close/>
                <a:moveTo>
                  <a:pt x="2135" y="1281"/>
                </a:moveTo>
                <a:cubicBezTo>
                  <a:pt x="2132" y="1281"/>
                  <a:pt x="2129" y="1281"/>
                  <a:pt x="2126" y="1282"/>
                </a:cubicBezTo>
                <a:cubicBezTo>
                  <a:pt x="2124" y="1283"/>
                  <a:pt x="2122" y="1282"/>
                  <a:pt x="2120" y="1281"/>
                </a:cubicBezTo>
                <a:cubicBezTo>
                  <a:pt x="2118" y="1280"/>
                  <a:pt x="2117" y="1279"/>
                  <a:pt x="2116" y="1278"/>
                </a:cubicBezTo>
                <a:cubicBezTo>
                  <a:pt x="2115" y="1277"/>
                  <a:pt x="2114" y="1277"/>
                  <a:pt x="2113" y="1277"/>
                </a:cubicBezTo>
                <a:cubicBezTo>
                  <a:pt x="2112" y="1277"/>
                  <a:pt x="2111" y="1278"/>
                  <a:pt x="2111" y="1280"/>
                </a:cubicBezTo>
                <a:cubicBezTo>
                  <a:pt x="2111" y="1280"/>
                  <a:pt x="2111" y="1281"/>
                  <a:pt x="2111" y="1281"/>
                </a:cubicBezTo>
                <a:cubicBezTo>
                  <a:pt x="2111" y="1287"/>
                  <a:pt x="2112" y="1292"/>
                  <a:pt x="2110" y="1297"/>
                </a:cubicBezTo>
                <a:cubicBezTo>
                  <a:pt x="2110" y="1297"/>
                  <a:pt x="2110" y="1297"/>
                  <a:pt x="2110" y="1299"/>
                </a:cubicBezTo>
                <a:cubicBezTo>
                  <a:pt x="2110" y="1301"/>
                  <a:pt x="2111" y="1303"/>
                  <a:pt x="2111" y="1306"/>
                </a:cubicBezTo>
                <a:cubicBezTo>
                  <a:pt x="2112" y="1309"/>
                  <a:pt x="2114" y="1311"/>
                  <a:pt x="2117" y="1311"/>
                </a:cubicBezTo>
                <a:cubicBezTo>
                  <a:pt x="2117" y="1311"/>
                  <a:pt x="2118" y="1311"/>
                  <a:pt x="2118" y="1311"/>
                </a:cubicBezTo>
                <a:cubicBezTo>
                  <a:pt x="2119" y="1310"/>
                  <a:pt x="2121" y="1309"/>
                  <a:pt x="2122" y="1308"/>
                </a:cubicBezTo>
                <a:cubicBezTo>
                  <a:pt x="2123" y="1307"/>
                  <a:pt x="2124" y="1306"/>
                  <a:pt x="2126" y="1307"/>
                </a:cubicBezTo>
                <a:cubicBezTo>
                  <a:pt x="2127" y="1307"/>
                  <a:pt x="2128" y="1306"/>
                  <a:pt x="2129" y="1305"/>
                </a:cubicBezTo>
                <a:cubicBezTo>
                  <a:pt x="2130" y="1301"/>
                  <a:pt x="2131" y="1298"/>
                  <a:pt x="2134" y="1295"/>
                </a:cubicBezTo>
                <a:cubicBezTo>
                  <a:pt x="2134" y="1295"/>
                  <a:pt x="2134" y="1294"/>
                  <a:pt x="2134" y="1293"/>
                </a:cubicBezTo>
                <a:cubicBezTo>
                  <a:pt x="2135" y="1291"/>
                  <a:pt x="2136" y="1288"/>
                  <a:pt x="2137" y="1285"/>
                </a:cubicBezTo>
                <a:cubicBezTo>
                  <a:pt x="2137" y="1284"/>
                  <a:pt x="2137" y="1284"/>
                  <a:pt x="2137" y="1283"/>
                </a:cubicBezTo>
                <a:cubicBezTo>
                  <a:pt x="2137" y="1282"/>
                  <a:pt x="2136" y="1280"/>
                  <a:pt x="2135" y="1281"/>
                </a:cubicBezTo>
                <a:close/>
                <a:moveTo>
                  <a:pt x="584" y="770"/>
                </a:moveTo>
                <a:cubicBezTo>
                  <a:pt x="585" y="770"/>
                  <a:pt x="585" y="768"/>
                  <a:pt x="584" y="767"/>
                </a:cubicBezTo>
                <a:cubicBezTo>
                  <a:pt x="584" y="766"/>
                  <a:pt x="583" y="765"/>
                  <a:pt x="582" y="765"/>
                </a:cubicBezTo>
                <a:cubicBezTo>
                  <a:pt x="576" y="762"/>
                  <a:pt x="570" y="759"/>
                  <a:pt x="564" y="757"/>
                </a:cubicBezTo>
                <a:cubicBezTo>
                  <a:pt x="562" y="756"/>
                  <a:pt x="561" y="755"/>
                  <a:pt x="559" y="754"/>
                </a:cubicBezTo>
                <a:cubicBezTo>
                  <a:pt x="557" y="753"/>
                  <a:pt x="555" y="752"/>
                  <a:pt x="553" y="751"/>
                </a:cubicBezTo>
                <a:cubicBezTo>
                  <a:pt x="552" y="751"/>
                  <a:pt x="550" y="750"/>
                  <a:pt x="550" y="750"/>
                </a:cubicBezTo>
                <a:cubicBezTo>
                  <a:pt x="547" y="747"/>
                  <a:pt x="544" y="746"/>
                  <a:pt x="541" y="746"/>
                </a:cubicBezTo>
                <a:cubicBezTo>
                  <a:pt x="538" y="746"/>
                  <a:pt x="536" y="746"/>
                  <a:pt x="534" y="745"/>
                </a:cubicBezTo>
                <a:cubicBezTo>
                  <a:pt x="533" y="744"/>
                  <a:pt x="531" y="744"/>
                  <a:pt x="530" y="744"/>
                </a:cubicBezTo>
                <a:cubicBezTo>
                  <a:pt x="526" y="745"/>
                  <a:pt x="522" y="745"/>
                  <a:pt x="518" y="747"/>
                </a:cubicBezTo>
                <a:cubicBezTo>
                  <a:pt x="514" y="749"/>
                  <a:pt x="513" y="752"/>
                  <a:pt x="510" y="755"/>
                </a:cubicBezTo>
                <a:cubicBezTo>
                  <a:pt x="510" y="755"/>
                  <a:pt x="511" y="756"/>
                  <a:pt x="511" y="756"/>
                </a:cubicBezTo>
                <a:cubicBezTo>
                  <a:pt x="512" y="756"/>
                  <a:pt x="513" y="756"/>
                  <a:pt x="514" y="755"/>
                </a:cubicBezTo>
                <a:cubicBezTo>
                  <a:pt x="518" y="753"/>
                  <a:pt x="523" y="752"/>
                  <a:pt x="527" y="750"/>
                </a:cubicBezTo>
                <a:cubicBezTo>
                  <a:pt x="528" y="749"/>
                  <a:pt x="529" y="750"/>
                  <a:pt x="530" y="751"/>
                </a:cubicBezTo>
                <a:cubicBezTo>
                  <a:pt x="531" y="752"/>
                  <a:pt x="532" y="753"/>
                  <a:pt x="533" y="753"/>
                </a:cubicBezTo>
                <a:cubicBezTo>
                  <a:pt x="535" y="754"/>
                  <a:pt x="537" y="754"/>
                  <a:pt x="539" y="754"/>
                </a:cubicBezTo>
                <a:cubicBezTo>
                  <a:pt x="541" y="755"/>
                  <a:pt x="542" y="755"/>
                  <a:pt x="543" y="756"/>
                </a:cubicBezTo>
                <a:cubicBezTo>
                  <a:pt x="546" y="757"/>
                  <a:pt x="549" y="758"/>
                  <a:pt x="552" y="758"/>
                </a:cubicBezTo>
                <a:cubicBezTo>
                  <a:pt x="553" y="758"/>
                  <a:pt x="554" y="759"/>
                  <a:pt x="555" y="761"/>
                </a:cubicBezTo>
                <a:cubicBezTo>
                  <a:pt x="556" y="764"/>
                  <a:pt x="559" y="765"/>
                  <a:pt x="562" y="765"/>
                </a:cubicBezTo>
                <a:cubicBezTo>
                  <a:pt x="562" y="765"/>
                  <a:pt x="562" y="766"/>
                  <a:pt x="562" y="766"/>
                </a:cubicBezTo>
                <a:cubicBezTo>
                  <a:pt x="563" y="766"/>
                  <a:pt x="564" y="767"/>
                  <a:pt x="563" y="768"/>
                </a:cubicBezTo>
                <a:cubicBezTo>
                  <a:pt x="563" y="768"/>
                  <a:pt x="562" y="769"/>
                  <a:pt x="562" y="769"/>
                </a:cubicBezTo>
                <a:cubicBezTo>
                  <a:pt x="561" y="770"/>
                  <a:pt x="562" y="772"/>
                  <a:pt x="563" y="772"/>
                </a:cubicBezTo>
                <a:cubicBezTo>
                  <a:pt x="565" y="772"/>
                  <a:pt x="567" y="772"/>
                  <a:pt x="571" y="772"/>
                </a:cubicBezTo>
                <a:cubicBezTo>
                  <a:pt x="575" y="773"/>
                  <a:pt x="579" y="771"/>
                  <a:pt x="584" y="770"/>
                </a:cubicBezTo>
                <a:close/>
                <a:moveTo>
                  <a:pt x="1583" y="72"/>
                </a:moveTo>
                <a:cubicBezTo>
                  <a:pt x="1583" y="73"/>
                  <a:pt x="1583" y="74"/>
                  <a:pt x="1583" y="73"/>
                </a:cubicBezTo>
                <a:cubicBezTo>
                  <a:pt x="1583" y="75"/>
                  <a:pt x="1582" y="76"/>
                  <a:pt x="1583" y="77"/>
                </a:cubicBezTo>
                <a:cubicBezTo>
                  <a:pt x="1583" y="80"/>
                  <a:pt x="1584" y="83"/>
                  <a:pt x="1585" y="87"/>
                </a:cubicBezTo>
                <a:cubicBezTo>
                  <a:pt x="1585" y="89"/>
                  <a:pt x="1586" y="91"/>
                  <a:pt x="1588" y="92"/>
                </a:cubicBezTo>
                <a:cubicBezTo>
                  <a:pt x="1589" y="93"/>
                  <a:pt x="1589" y="93"/>
                  <a:pt x="1590" y="93"/>
                </a:cubicBezTo>
                <a:cubicBezTo>
                  <a:pt x="1590" y="93"/>
                  <a:pt x="1591" y="92"/>
                  <a:pt x="1591" y="92"/>
                </a:cubicBezTo>
                <a:cubicBezTo>
                  <a:pt x="1595" y="87"/>
                  <a:pt x="1595" y="87"/>
                  <a:pt x="1601" y="83"/>
                </a:cubicBezTo>
                <a:cubicBezTo>
                  <a:pt x="1602" y="82"/>
                  <a:pt x="1604" y="81"/>
                  <a:pt x="1605" y="80"/>
                </a:cubicBezTo>
                <a:cubicBezTo>
                  <a:pt x="1606" y="78"/>
                  <a:pt x="1607" y="77"/>
                  <a:pt x="1608" y="76"/>
                </a:cubicBezTo>
                <a:cubicBezTo>
                  <a:pt x="1608" y="75"/>
                  <a:pt x="1608" y="74"/>
                  <a:pt x="1608" y="73"/>
                </a:cubicBezTo>
                <a:cubicBezTo>
                  <a:pt x="1607" y="72"/>
                  <a:pt x="1606" y="71"/>
                  <a:pt x="1606" y="70"/>
                </a:cubicBezTo>
                <a:cubicBezTo>
                  <a:pt x="1605" y="68"/>
                  <a:pt x="1604" y="66"/>
                  <a:pt x="1601" y="66"/>
                </a:cubicBezTo>
                <a:cubicBezTo>
                  <a:pt x="1599" y="65"/>
                  <a:pt x="1596" y="63"/>
                  <a:pt x="1594" y="62"/>
                </a:cubicBezTo>
                <a:cubicBezTo>
                  <a:pt x="1591" y="61"/>
                  <a:pt x="1588" y="60"/>
                  <a:pt x="1586" y="59"/>
                </a:cubicBezTo>
                <a:cubicBezTo>
                  <a:pt x="1585" y="58"/>
                  <a:pt x="1584" y="58"/>
                  <a:pt x="1582" y="58"/>
                </a:cubicBezTo>
                <a:cubicBezTo>
                  <a:pt x="1582" y="58"/>
                  <a:pt x="1581" y="58"/>
                  <a:pt x="1581" y="58"/>
                </a:cubicBezTo>
                <a:cubicBezTo>
                  <a:pt x="1580" y="61"/>
                  <a:pt x="1578" y="63"/>
                  <a:pt x="1580" y="66"/>
                </a:cubicBezTo>
                <a:cubicBezTo>
                  <a:pt x="1581" y="68"/>
                  <a:pt x="1582" y="70"/>
                  <a:pt x="1583" y="72"/>
                </a:cubicBezTo>
                <a:close/>
                <a:moveTo>
                  <a:pt x="2021" y="844"/>
                </a:moveTo>
                <a:cubicBezTo>
                  <a:pt x="2021" y="845"/>
                  <a:pt x="2021" y="845"/>
                  <a:pt x="2021" y="845"/>
                </a:cubicBezTo>
                <a:cubicBezTo>
                  <a:pt x="2020" y="847"/>
                  <a:pt x="2020" y="849"/>
                  <a:pt x="2019" y="850"/>
                </a:cubicBezTo>
                <a:cubicBezTo>
                  <a:pt x="2018" y="852"/>
                  <a:pt x="2017" y="852"/>
                  <a:pt x="2015" y="854"/>
                </a:cubicBezTo>
                <a:cubicBezTo>
                  <a:pt x="2015" y="854"/>
                  <a:pt x="2014" y="855"/>
                  <a:pt x="2014" y="855"/>
                </a:cubicBezTo>
                <a:cubicBezTo>
                  <a:pt x="2013" y="856"/>
                  <a:pt x="2012" y="857"/>
                  <a:pt x="2012" y="857"/>
                </a:cubicBezTo>
                <a:cubicBezTo>
                  <a:pt x="2011" y="858"/>
                  <a:pt x="2010" y="857"/>
                  <a:pt x="2010" y="857"/>
                </a:cubicBezTo>
                <a:cubicBezTo>
                  <a:pt x="2008" y="855"/>
                  <a:pt x="2006" y="854"/>
                  <a:pt x="2004" y="856"/>
                </a:cubicBezTo>
                <a:cubicBezTo>
                  <a:pt x="2002" y="858"/>
                  <a:pt x="2001" y="859"/>
                  <a:pt x="1999" y="860"/>
                </a:cubicBezTo>
                <a:cubicBezTo>
                  <a:pt x="1997" y="861"/>
                  <a:pt x="1996" y="863"/>
                  <a:pt x="1996" y="865"/>
                </a:cubicBezTo>
                <a:cubicBezTo>
                  <a:pt x="1996" y="865"/>
                  <a:pt x="1996" y="865"/>
                  <a:pt x="1996" y="866"/>
                </a:cubicBezTo>
                <a:cubicBezTo>
                  <a:pt x="1996" y="866"/>
                  <a:pt x="1996" y="867"/>
                  <a:pt x="1997" y="867"/>
                </a:cubicBezTo>
                <a:cubicBezTo>
                  <a:pt x="1997" y="867"/>
                  <a:pt x="1998" y="867"/>
                  <a:pt x="1998" y="867"/>
                </a:cubicBezTo>
                <a:cubicBezTo>
                  <a:pt x="1999" y="866"/>
                  <a:pt x="2000" y="865"/>
                  <a:pt x="2001" y="864"/>
                </a:cubicBezTo>
                <a:cubicBezTo>
                  <a:pt x="2003" y="865"/>
                  <a:pt x="2006" y="865"/>
                  <a:pt x="2008" y="864"/>
                </a:cubicBezTo>
                <a:cubicBezTo>
                  <a:pt x="2009" y="864"/>
                  <a:pt x="2011" y="865"/>
                  <a:pt x="2011" y="866"/>
                </a:cubicBezTo>
                <a:cubicBezTo>
                  <a:pt x="2011" y="867"/>
                  <a:pt x="2011" y="868"/>
                  <a:pt x="2011" y="869"/>
                </a:cubicBezTo>
                <a:cubicBezTo>
                  <a:pt x="2011" y="873"/>
                  <a:pt x="2013" y="876"/>
                  <a:pt x="2017" y="877"/>
                </a:cubicBezTo>
                <a:cubicBezTo>
                  <a:pt x="2018" y="877"/>
                  <a:pt x="2020" y="878"/>
                  <a:pt x="2021" y="878"/>
                </a:cubicBezTo>
                <a:cubicBezTo>
                  <a:pt x="2022" y="878"/>
                  <a:pt x="2023" y="877"/>
                  <a:pt x="2023" y="877"/>
                </a:cubicBezTo>
                <a:cubicBezTo>
                  <a:pt x="2024" y="876"/>
                  <a:pt x="2024" y="875"/>
                  <a:pt x="2024" y="873"/>
                </a:cubicBezTo>
                <a:cubicBezTo>
                  <a:pt x="2024" y="872"/>
                  <a:pt x="2022" y="870"/>
                  <a:pt x="2023" y="868"/>
                </a:cubicBezTo>
                <a:cubicBezTo>
                  <a:pt x="2023" y="868"/>
                  <a:pt x="2024" y="868"/>
                  <a:pt x="2024" y="868"/>
                </a:cubicBezTo>
                <a:cubicBezTo>
                  <a:pt x="2025" y="868"/>
                  <a:pt x="2025" y="868"/>
                  <a:pt x="2026" y="869"/>
                </a:cubicBezTo>
                <a:cubicBezTo>
                  <a:pt x="2027" y="870"/>
                  <a:pt x="2027" y="870"/>
                  <a:pt x="2028" y="869"/>
                </a:cubicBezTo>
                <a:cubicBezTo>
                  <a:pt x="2030" y="868"/>
                  <a:pt x="2031" y="866"/>
                  <a:pt x="2030" y="863"/>
                </a:cubicBezTo>
                <a:cubicBezTo>
                  <a:pt x="2029" y="860"/>
                  <a:pt x="2028" y="857"/>
                  <a:pt x="2028" y="855"/>
                </a:cubicBezTo>
                <a:cubicBezTo>
                  <a:pt x="2027" y="853"/>
                  <a:pt x="2027" y="851"/>
                  <a:pt x="2026" y="850"/>
                </a:cubicBezTo>
                <a:cubicBezTo>
                  <a:pt x="2024" y="849"/>
                  <a:pt x="2023" y="847"/>
                  <a:pt x="2022" y="845"/>
                </a:cubicBezTo>
                <a:cubicBezTo>
                  <a:pt x="2022" y="844"/>
                  <a:pt x="2022" y="844"/>
                  <a:pt x="2021" y="844"/>
                </a:cubicBezTo>
                <a:close/>
                <a:moveTo>
                  <a:pt x="587" y="785"/>
                </a:moveTo>
                <a:cubicBezTo>
                  <a:pt x="589" y="785"/>
                  <a:pt x="591" y="785"/>
                  <a:pt x="592" y="785"/>
                </a:cubicBezTo>
                <a:cubicBezTo>
                  <a:pt x="594" y="785"/>
                  <a:pt x="596" y="785"/>
                  <a:pt x="598" y="785"/>
                </a:cubicBezTo>
                <a:cubicBezTo>
                  <a:pt x="600" y="786"/>
                  <a:pt x="601" y="788"/>
                  <a:pt x="603" y="788"/>
                </a:cubicBezTo>
                <a:cubicBezTo>
                  <a:pt x="603" y="789"/>
                  <a:pt x="604" y="788"/>
                  <a:pt x="604" y="788"/>
                </a:cubicBezTo>
                <a:cubicBezTo>
                  <a:pt x="605" y="788"/>
                  <a:pt x="605" y="788"/>
                  <a:pt x="605" y="787"/>
                </a:cubicBezTo>
                <a:cubicBezTo>
                  <a:pt x="607" y="785"/>
                  <a:pt x="609" y="784"/>
                  <a:pt x="611" y="784"/>
                </a:cubicBezTo>
                <a:cubicBezTo>
                  <a:pt x="612" y="785"/>
                  <a:pt x="613" y="784"/>
                  <a:pt x="614" y="784"/>
                </a:cubicBezTo>
                <a:cubicBezTo>
                  <a:pt x="617" y="782"/>
                  <a:pt x="621" y="783"/>
                  <a:pt x="624" y="783"/>
                </a:cubicBezTo>
                <a:cubicBezTo>
                  <a:pt x="625" y="783"/>
                  <a:pt x="625" y="783"/>
                  <a:pt x="626" y="783"/>
                </a:cubicBezTo>
                <a:cubicBezTo>
                  <a:pt x="626" y="783"/>
                  <a:pt x="627" y="782"/>
                  <a:pt x="627" y="781"/>
                </a:cubicBezTo>
                <a:cubicBezTo>
                  <a:pt x="627" y="781"/>
                  <a:pt x="627" y="780"/>
                  <a:pt x="627" y="780"/>
                </a:cubicBezTo>
                <a:cubicBezTo>
                  <a:pt x="623" y="778"/>
                  <a:pt x="620" y="775"/>
                  <a:pt x="617" y="773"/>
                </a:cubicBezTo>
                <a:cubicBezTo>
                  <a:pt x="617" y="772"/>
                  <a:pt x="615" y="772"/>
                  <a:pt x="614" y="772"/>
                </a:cubicBezTo>
                <a:cubicBezTo>
                  <a:pt x="610" y="771"/>
                  <a:pt x="606" y="770"/>
                  <a:pt x="602" y="771"/>
                </a:cubicBezTo>
                <a:cubicBezTo>
                  <a:pt x="601" y="772"/>
                  <a:pt x="600" y="771"/>
                  <a:pt x="598" y="770"/>
                </a:cubicBezTo>
                <a:cubicBezTo>
                  <a:pt x="598" y="770"/>
                  <a:pt x="597" y="770"/>
                  <a:pt x="597" y="769"/>
                </a:cubicBezTo>
                <a:cubicBezTo>
                  <a:pt x="596" y="769"/>
                  <a:pt x="594" y="770"/>
                  <a:pt x="593" y="771"/>
                </a:cubicBezTo>
                <a:cubicBezTo>
                  <a:pt x="593" y="772"/>
                  <a:pt x="593" y="773"/>
                  <a:pt x="594" y="773"/>
                </a:cubicBezTo>
                <a:cubicBezTo>
                  <a:pt x="596" y="775"/>
                  <a:pt x="595" y="777"/>
                  <a:pt x="596" y="779"/>
                </a:cubicBezTo>
                <a:cubicBezTo>
                  <a:pt x="596" y="780"/>
                  <a:pt x="596" y="780"/>
                  <a:pt x="594" y="779"/>
                </a:cubicBezTo>
                <a:cubicBezTo>
                  <a:pt x="593" y="779"/>
                  <a:pt x="592" y="780"/>
                  <a:pt x="591" y="780"/>
                </a:cubicBezTo>
                <a:cubicBezTo>
                  <a:pt x="589" y="781"/>
                  <a:pt x="587" y="781"/>
                  <a:pt x="585" y="781"/>
                </a:cubicBezTo>
                <a:cubicBezTo>
                  <a:pt x="584" y="781"/>
                  <a:pt x="584" y="782"/>
                  <a:pt x="584" y="782"/>
                </a:cubicBezTo>
                <a:cubicBezTo>
                  <a:pt x="584" y="784"/>
                  <a:pt x="586" y="785"/>
                  <a:pt x="587" y="785"/>
                </a:cubicBezTo>
                <a:close/>
                <a:moveTo>
                  <a:pt x="678" y="202"/>
                </a:moveTo>
                <a:cubicBezTo>
                  <a:pt x="679" y="204"/>
                  <a:pt x="679" y="206"/>
                  <a:pt x="678" y="208"/>
                </a:cubicBezTo>
                <a:cubicBezTo>
                  <a:pt x="677" y="211"/>
                  <a:pt x="681" y="214"/>
                  <a:pt x="684" y="214"/>
                </a:cubicBezTo>
                <a:cubicBezTo>
                  <a:pt x="685" y="214"/>
                  <a:pt x="687" y="213"/>
                  <a:pt x="689" y="213"/>
                </a:cubicBezTo>
                <a:cubicBezTo>
                  <a:pt x="690" y="213"/>
                  <a:pt x="691" y="213"/>
                  <a:pt x="692" y="214"/>
                </a:cubicBezTo>
                <a:cubicBezTo>
                  <a:pt x="694" y="215"/>
                  <a:pt x="696" y="215"/>
                  <a:pt x="698" y="215"/>
                </a:cubicBezTo>
                <a:cubicBezTo>
                  <a:pt x="699" y="215"/>
                  <a:pt x="700" y="214"/>
                  <a:pt x="700" y="213"/>
                </a:cubicBezTo>
                <a:cubicBezTo>
                  <a:pt x="700" y="210"/>
                  <a:pt x="700" y="207"/>
                  <a:pt x="699" y="204"/>
                </a:cubicBezTo>
                <a:cubicBezTo>
                  <a:pt x="698" y="200"/>
                  <a:pt x="696" y="198"/>
                  <a:pt x="692" y="197"/>
                </a:cubicBezTo>
                <a:cubicBezTo>
                  <a:pt x="689" y="197"/>
                  <a:pt x="686" y="196"/>
                  <a:pt x="683" y="194"/>
                </a:cubicBezTo>
                <a:cubicBezTo>
                  <a:pt x="682" y="194"/>
                  <a:pt x="681" y="194"/>
                  <a:pt x="680" y="195"/>
                </a:cubicBezTo>
                <a:cubicBezTo>
                  <a:pt x="680" y="196"/>
                  <a:pt x="679" y="197"/>
                  <a:pt x="678" y="199"/>
                </a:cubicBezTo>
                <a:cubicBezTo>
                  <a:pt x="678" y="200"/>
                  <a:pt x="678" y="201"/>
                  <a:pt x="678" y="202"/>
                </a:cubicBezTo>
                <a:close/>
                <a:moveTo>
                  <a:pt x="678" y="199"/>
                </a:moveTo>
                <a:cubicBezTo>
                  <a:pt x="678" y="199"/>
                  <a:pt x="678" y="199"/>
                  <a:pt x="678" y="199"/>
                </a:cubicBezTo>
                <a:cubicBezTo>
                  <a:pt x="678" y="199"/>
                  <a:pt x="678" y="199"/>
                  <a:pt x="678" y="199"/>
                </a:cubicBezTo>
                <a:cubicBezTo>
                  <a:pt x="678" y="199"/>
                  <a:pt x="678" y="199"/>
                  <a:pt x="678" y="199"/>
                </a:cubicBezTo>
                <a:cubicBezTo>
                  <a:pt x="678" y="199"/>
                  <a:pt x="678" y="199"/>
                  <a:pt x="678" y="199"/>
                </a:cubicBezTo>
                <a:close/>
                <a:moveTo>
                  <a:pt x="1694" y="848"/>
                </a:moveTo>
                <a:cubicBezTo>
                  <a:pt x="1694" y="848"/>
                  <a:pt x="1693" y="848"/>
                  <a:pt x="1692" y="847"/>
                </a:cubicBezTo>
                <a:cubicBezTo>
                  <a:pt x="1692" y="847"/>
                  <a:pt x="1691" y="848"/>
                  <a:pt x="1691" y="848"/>
                </a:cubicBezTo>
                <a:cubicBezTo>
                  <a:pt x="1691" y="849"/>
                  <a:pt x="1692" y="850"/>
                  <a:pt x="1692" y="851"/>
                </a:cubicBezTo>
                <a:cubicBezTo>
                  <a:pt x="1689" y="854"/>
                  <a:pt x="1690" y="858"/>
                  <a:pt x="1689" y="861"/>
                </a:cubicBezTo>
                <a:cubicBezTo>
                  <a:pt x="1689" y="866"/>
                  <a:pt x="1690" y="870"/>
                  <a:pt x="1692" y="874"/>
                </a:cubicBezTo>
                <a:cubicBezTo>
                  <a:pt x="1693" y="876"/>
                  <a:pt x="1695" y="877"/>
                  <a:pt x="1697" y="877"/>
                </a:cubicBezTo>
                <a:cubicBezTo>
                  <a:pt x="1703" y="876"/>
                  <a:pt x="1707" y="870"/>
                  <a:pt x="1705" y="864"/>
                </a:cubicBezTo>
                <a:cubicBezTo>
                  <a:pt x="1703" y="858"/>
                  <a:pt x="1699" y="853"/>
                  <a:pt x="1694" y="848"/>
                </a:cubicBezTo>
                <a:close/>
                <a:moveTo>
                  <a:pt x="640" y="95"/>
                </a:moveTo>
                <a:cubicBezTo>
                  <a:pt x="640" y="97"/>
                  <a:pt x="641" y="97"/>
                  <a:pt x="642" y="97"/>
                </a:cubicBezTo>
                <a:cubicBezTo>
                  <a:pt x="645" y="98"/>
                  <a:pt x="648" y="98"/>
                  <a:pt x="652" y="98"/>
                </a:cubicBezTo>
                <a:cubicBezTo>
                  <a:pt x="652" y="98"/>
                  <a:pt x="653" y="97"/>
                  <a:pt x="654" y="96"/>
                </a:cubicBezTo>
                <a:cubicBezTo>
                  <a:pt x="654" y="95"/>
                  <a:pt x="654" y="93"/>
                  <a:pt x="656" y="92"/>
                </a:cubicBezTo>
                <a:cubicBezTo>
                  <a:pt x="656" y="92"/>
                  <a:pt x="656" y="92"/>
                  <a:pt x="656" y="92"/>
                </a:cubicBezTo>
                <a:cubicBezTo>
                  <a:pt x="656" y="92"/>
                  <a:pt x="656" y="92"/>
                  <a:pt x="656" y="92"/>
                </a:cubicBezTo>
                <a:cubicBezTo>
                  <a:pt x="655" y="92"/>
                  <a:pt x="655" y="92"/>
                  <a:pt x="655" y="92"/>
                </a:cubicBezTo>
                <a:cubicBezTo>
                  <a:pt x="657" y="90"/>
                  <a:pt x="657" y="87"/>
                  <a:pt x="656" y="85"/>
                </a:cubicBezTo>
                <a:cubicBezTo>
                  <a:pt x="654" y="83"/>
                  <a:pt x="653" y="80"/>
                  <a:pt x="651" y="78"/>
                </a:cubicBezTo>
                <a:cubicBezTo>
                  <a:pt x="651" y="77"/>
                  <a:pt x="651" y="76"/>
                  <a:pt x="650" y="75"/>
                </a:cubicBezTo>
                <a:cubicBezTo>
                  <a:pt x="649" y="74"/>
                  <a:pt x="647" y="74"/>
                  <a:pt x="646" y="75"/>
                </a:cubicBezTo>
                <a:cubicBezTo>
                  <a:pt x="643" y="78"/>
                  <a:pt x="641" y="82"/>
                  <a:pt x="641" y="86"/>
                </a:cubicBezTo>
                <a:cubicBezTo>
                  <a:pt x="641" y="88"/>
                  <a:pt x="640" y="89"/>
                  <a:pt x="639" y="91"/>
                </a:cubicBezTo>
                <a:cubicBezTo>
                  <a:pt x="639" y="92"/>
                  <a:pt x="640" y="94"/>
                  <a:pt x="640" y="95"/>
                </a:cubicBezTo>
                <a:close/>
                <a:moveTo>
                  <a:pt x="1321" y="93"/>
                </a:moveTo>
                <a:cubicBezTo>
                  <a:pt x="1319" y="93"/>
                  <a:pt x="1318" y="95"/>
                  <a:pt x="1318" y="97"/>
                </a:cubicBezTo>
                <a:cubicBezTo>
                  <a:pt x="1320" y="98"/>
                  <a:pt x="1320" y="98"/>
                  <a:pt x="1320" y="99"/>
                </a:cubicBezTo>
                <a:cubicBezTo>
                  <a:pt x="1320" y="100"/>
                  <a:pt x="1320" y="101"/>
                  <a:pt x="1320" y="102"/>
                </a:cubicBezTo>
                <a:cubicBezTo>
                  <a:pt x="1320" y="104"/>
                  <a:pt x="1321" y="106"/>
                  <a:pt x="1323" y="106"/>
                </a:cubicBezTo>
                <a:cubicBezTo>
                  <a:pt x="1324" y="106"/>
                  <a:pt x="1325" y="107"/>
                  <a:pt x="1326" y="107"/>
                </a:cubicBezTo>
                <a:cubicBezTo>
                  <a:pt x="1327" y="107"/>
                  <a:pt x="1328" y="106"/>
                  <a:pt x="1329" y="105"/>
                </a:cubicBezTo>
                <a:cubicBezTo>
                  <a:pt x="1330" y="104"/>
                  <a:pt x="1330" y="103"/>
                  <a:pt x="1331" y="101"/>
                </a:cubicBezTo>
                <a:cubicBezTo>
                  <a:pt x="1331" y="100"/>
                  <a:pt x="1331" y="99"/>
                  <a:pt x="1332" y="98"/>
                </a:cubicBezTo>
                <a:cubicBezTo>
                  <a:pt x="1334" y="97"/>
                  <a:pt x="1334" y="94"/>
                  <a:pt x="1336" y="92"/>
                </a:cubicBezTo>
                <a:cubicBezTo>
                  <a:pt x="1338" y="91"/>
                  <a:pt x="1338" y="89"/>
                  <a:pt x="1337" y="88"/>
                </a:cubicBezTo>
                <a:cubicBezTo>
                  <a:pt x="1336" y="86"/>
                  <a:pt x="1334" y="85"/>
                  <a:pt x="1333" y="83"/>
                </a:cubicBezTo>
                <a:cubicBezTo>
                  <a:pt x="1333" y="83"/>
                  <a:pt x="1332" y="83"/>
                  <a:pt x="1331" y="83"/>
                </a:cubicBezTo>
                <a:cubicBezTo>
                  <a:pt x="1329" y="84"/>
                  <a:pt x="1328" y="84"/>
                  <a:pt x="1328" y="87"/>
                </a:cubicBezTo>
                <a:cubicBezTo>
                  <a:pt x="1328" y="89"/>
                  <a:pt x="1327" y="91"/>
                  <a:pt x="1325" y="92"/>
                </a:cubicBezTo>
                <a:cubicBezTo>
                  <a:pt x="1325" y="92"/>
                  <a:pt x="1325" y="92"/>
                  <a:pt x="1325" y="92"/>
                </a:cubicBezTo>
                <a:cubicBezTo>
                  <a:pt x="1325" y="92"/>
                  <a:pt x="1325" y="92"/>
                  <a:pt x="1325" y="92"/>
                </a:cubicBezTo>
                <a:cubicBezTo>
                  <a:pt x="1325" y="92"/>
                  <a:pt x="1325" y="92"/>
                  <a:pt x="1325" y="92"/>
                </a:cubicBezTo>
                <a:cubicBezTo>
                  <a:pt x="1324" y="93"/>
                  <a:pt x="1323" y="93"/>
                  <a:pt x="1321" y="93"/>
                </a:cubicBezTo>
                <a:close/>
                <a:moveTo>
                  <a:pt x="1980" y="721"/>
                </a:moveTo>
                <a:cubicBezTo>
                  <a:pt x="1979" y="720"/>
                  <a:pt x="1979" y="720"/>
                  <a:pt x="1978" y="721"/>
                </a:cubicBezTo>
                <a:cubicBezTo>
                  <a:pt x="1977" y="722"/>
                  <a:pt x="1976" y="723"/>
                  <a:pt x="1975" y="724"/>
                </a:cubicBezTo>
                <a:cubicBezTo>
                  <a:pt x="1974" y="726"/>
                  <a:pt x="1973" y="728"/>
                  <a:pt x="1972" y="730"/>
                </a:cubicBezTo>
                <a:cubicBezTo>
                  <a:pt x="1971" y="732"/>
                  <a:pt x="1971" y="734"/>
                  <a:pt x="1971" y="737"/>
                </a:cubicBezTo>
                <a:cubicBezTo>
                  <a:pt x="1971" y="741"/>
                  <a:pt x="1971" y="744"/>
                  <a:pt x="1975" y="747"/>
                </a:cubicBezTo>
                <a:cubicBezTo>
                  <a:pt x="1976" y="748"/>
                  <a:pt x="1976" y="749"/>
                  <a:pt x="1977" y="749"/>
                </a:cubicBezTo>
                <a:cubicBezTo>
                  <a:pt x="1978" y="750"/>
                  <a:pt x="1978" y="750"/>
                  <a:pt x="1979" y="749"/>
                </a:cubicBezTo>
                <a:cubicBezTo>
                  <a:pt x="1979" y="748"/>
                  <a:pt x="1979" y="746"/>
                  <a:pt x="1980" y="745"/>
                </a:cubicBezTo>
                <a:cubicBezTo>
                  <a:pt x="1982" y="741"/>
                  <a:pt x="1982" y="738"/>
                  <a:pt x="1982" y="734"/>
                </a:cubicBezTo>
                <a:cubicBezTo>
                  <a:pt x="1982" y="731"/>
                  <a:pt x="1983" y="728"/>
                  <a:pt x="1983" y="725"/>
                </a:cubicBezTo>
                <a:cubicBezTo>
                  <a:pt x="1983" y="723"/>
                  <a:pt x="1982" y="721"/>
                  <a:pt x="1980" y="721"/>
                </a:cubicBezTo>
                <a:close/>
                <a:moveTo>
                  <a:pt x="1351" y="80"/>
                </a:moveTo>
                <a:cubicBezTo>
                  <a:pt x="1352" y="80"/>
                  <a:pt x="1352" y="81"/>
                  <a:pt x="1353" y="81"/>
                </a:cubicBezTo>
                <a:cubicBezTo>
                  <a:pt x="1353" y="81"/>
                  <a:pt x="1353" y="81"/>
                  <a:pt x="1353" y="81"/>
                </a:cubicBezTo>
                <a:cubicBezTo>
                  <a:pt x="1353" y="81"/>
                  <a:pt x="1353" y="81"/>
                  <a:pt x="1353" y="81"/>
                </a:cubicBezTo>
                <a:cubicBezTo>
                  <a:pt x="1353" y="81"/>
                  <a:pt x="1353" y="81"/>
                  <a:pt x="1353" y="81"/>
                </a:cubicBezTo>
                <a:cubicBezTo>
                  <a:pt x="1353" y="81"/>
                  <a:pt x="1353" y="81"/>
                  <a:pt x="1353" y="81"/>
                </a:cubicBezTo>
                <a:cubicBezTo>
                  <a:pt x="1352" y="81"/>
                  <a:pt x="1351" y="82"/>
                  <a:pt x="1350" y="82"/>
                </a:cubicBezTo>
                <a:cubicBezTo>
                  <a:pt x="1349" y="82"/>
                  <a:pt x="1349" y="83"/>
                  <a:pt x="1349" y="84"/>
                </a:cubicBezTo>
                <a:cubicBezTo>
                  <a:pt x="1349" y="84"/>
                  <a:pt x="1349" y="85"/>
                  <a:pt x="1350" y="85"/>
                </a:cubicBezTo>
                <a:cubicBezTo>
                  <a:pt x="1352" y="86"/>
                  <a:pt x="1355" y="86"/>
                  <a:pt x="1357" y="87"/>
                </a:cubicBezTo>
                <a:cubicBezTo>
                  <a:pt x="1358" y="88"/>
                  <a:pt x="1359" y="87"/>
                  <a:pt x="1360" y="87"/>
                </a:cubicBezTo>
                <a:cubicBezTo>
                  <a:pt x="1360" y="87"/>
                  <a:pt x="1361" y="87"/>
                  <a:pt x="1361" y="86"/>
                </a:cubicBezTo>
                <a:cubicBezTo>
                  <a:pt x="1362" y="83"/>
                  <a:pt x="1364" y="82"/>
                  <a:pt x="1366" y="80"/>
                </a:cubicBezTo>
                <a:cubicBezTo>
                  <a:pt x="1367" y="79"/>
                  <a:pt x="1367" y="78"/>
                  <a:pt x="1366" y="77"/>
                </a:cubicBezTo>
                <a:cubicBezTo>
                  <a:pt x="1366" y="77"/>
                  <a:pt x="1365" y="76"/>
                  <a:pt x="1365" y="76"/>
                </a:cubicBezTo>
                <a:cubicBezTo>
                  <a:pt x="1365" y="76"/>
                  <a:pt x="1365" y="76"/>
                  <a:pt x="1365" y="76"/>
                </a:cubicBezTo>
                <a:cubicBezTo>
                  <a:pt x="1365" y="76"/>
                  <a:pt x="1365" y="76"/>
                  <a:pt x="1365" y="76"/>
                </a:cubicBezTo>
                <a:cubicBezTo>
                  <a:pt x="1365" y="76"/>
                  <a:pt x="1365" y="76"/>
                  <a:pt x="1365" y="76"/>
                </a:cubicBezTo>
                <a:cubicBezTo>
                  <a:pt x="1365" y="77"/>
                  <a:pt x="1364" y="76"/>
                  <a:pt x="1364" y="76"/>
                </a:cubicBezTo>
                <a:cubicBezTo>
                  <a:pt x="1364" y="76"/>
                  <a:pt x="1363" y="76"/>
                  <a:pt x="1363" y="76"/>
                </a:cubicBezTo>
                <a:cubicBezTo>
                  <a:pt x="1363" y="76"/>
                  <a:pt x="1363" y="76"/>
                  <a:pt x="1363" y="76"/>
                </a:cubicBezTo>
                <a:cubicBezTo>
                  <a:pt x="1364" y="76"/>
                  <a:pt x="1364" y="76"/>
                  <a:pt x="1364" y="76"/>
                </a:cubicBezTo>
                <a:cubicBezTo>
                  <a:pt x="1363" y="76"/>
                  <a:pt x="1361" y="75"/>
                  <a:pt x="1360" y="75"/>
                </a:cubicBezTo>
                <a:cubicBezTo>
                  <a:pt x="1360" y="74"/>
                  <a:pt x="1359" y="74"/>
                  <a:pt x="1360" y="73"/>
                </a:cubicBezTo>
                <a:cubicBezTo>
                  <a:pt x="1360" y="70"/>
                  <a:pt x="1357" y="67"/>
                  <a:pt x="1359" y="63"/>
                </a:cubicBezTo>
                <a:cubicBezTo>
                  <a:pt x="1359" y="63"/>
                  <a:pt x="1359" y="62"/>
                  <a:pt x="1358" y="62"/>
                </a:cubicBezTo>
                <a:cubicBezTo>
                  <a:pt x="1356" y="60"/>
                  <a:pt x="1353" y="61"/>
                  <a:pt x="1353" y="64"/>
                </a:cubicBezTo>
                <a:cubicBezTo>
                  <a:pt x="1353" y="67"/>
                  <a:pt x="1353" y="70"/>
                  <a:pt x="1351" y="72"/>
                </a:cubicBezTo>
                <a:cubicBezTo>
                  <a:pt x="1350" y="73"/>
                  <a:pt x="1351" y="74"/>
                  <a:pt x="1352" y="74"/>
                </a:cubicBezTo>
                <a:cubicBezTo>
                  <a:pt x="1352" y="75"/>
                  <a:pt x="1352" y="75"/>
                  <a:pt x="1353" y="75"/>
                </a:cubicBezTo>
                <a:cubicBezTo>
                  <a:pt x="1353" y="75"/>
                  <a:pt x="1352" y="76"/>
                  <a:pt x="1352" y="76"/>
                </a:cubicBezTo>
                <a:cubicBezTo>
                  <a:pt x="1350" y="76"/>
                  <a:pt x="1348" y="76"/>
                  <a:pt x="1348" y="77"/>
                </a:cubicBezTo>
                <a:cubicBezTo>
                  <a:pt x="1348" y="80"/>
                  <a:pt x="1350" y="80"/>
                  <a:pt x="1351" y="80"/>
                </a:cubicBezTo>
                <a:close/>
                <a:moveTo>
                  <a:pt x="1358" y="78"/>
                </a:moveTo>
                <a:cubicBezTo>
                  <a:pt x="1358" y="78"/>
                  <a:pt x="1358" y="78"/>
                  <a:pt x="1358" y="78"/>
                </a:cubicBezTo>
                <a:cubicBezTo>
                  <a:pt x="1358" y="78"/>
                  <a:pt x="1358" y="78"/>
                  <a:pt x="1358" y="78"/>
                </a:cubicBezTo>
                <a:cubicBezTo>
                  <a:pt x="1358" y="77"/>
                  <a:pt x="1358" y="77"/>
                  <a:pt x="1358" y="77"/>
                </a:cubicBezTo>
                <a:lnTo>
                  <a:pt x="1358" y="78"/>
                </a:lnTo>
                <a:close/>
                <a:moveTo>
                  <a:pt x="611" y="149"/>
                </a:moveTo>
                <a:cubicBezTo>
                  <a:pt x="610" y="151"/>
                  <a:pt x="609" y="153"/>
                  <a:pt x="611" y="155"/>
                </a:cubicBezTo>
                <a:cubicBezTo>
                  <a:pt x="613" y="157"/>
                  <a:pt x="615" y="159"/>
                  <a:pt x="618" y="160"/>
                </a:cubicBezTo>
                <a:cubicBezTo>
                  <a:pt x="618" y="161"/>
                  <a:pt x="619" y="161"/>
                  <a:pt x="619" y="161"/>
                </a:cubicBezTo>
                <a:cubicBezTo>
                  <a:pt x="621" y="162"/>
                  <a:pt x="623" y="161"/>
                  <a:pt x="624" y="160"/>
                </a:cubicBezTo>
                <a:cubicBezTo>
                  <a:pt x="624" y="157"/>
                  <a:pt x="625" y="155"/>
                  <a:pt x="626" y="153"/>
                </a:cubicBezTo>
                <a:cubicBezTo>
                  <a:pt x="626" y="152"/>
                  <a:pt x="626" y="151"/>
                  <a:pt x="626" y="150"/>
                </a:cubicBezTo>
                <a:cubicBezTo>
                  <a:pt x="626" y="147"/>
                  <a:pt x="625" y="145"/>
                  <a:pt x="624" y="143"/>
                </a:cubicBezTo>
                <a:cubicBezTo>
                  <a:pt x="623" y="142"/>
                  <a:pt x="621" y="142"/>
                  <a:pt x="620" y="143"/>
                </a:cubicBezTo>
                <a:cubicBezTo>
                  <a:pt x="619" y="143"/>
                  <a:pt x="618" y="143"/>
                  <a:pt x="617" y="143"/>
                </a:cubicBezTo>
                <a:cubicBezTo>
                  <a:pt x="616" y="145"/>
                  <a:pt x="613" y="147"/>
                  <a:pt x="611" y="149"/>
                </a:cubicBezTo>
                <a:close/>
                <a:moveTo>
                  <a:pt x="617" y="143"/>
                </a:moveTo>
                <a:cubicBezTo>
                  <a:pt x="617" y="143"/>
                  <a:pt x="617" y="142"/>
                  <a:pt x="617" y="142"/>
                </a:cubicBezTo>
                <a:cubicBezTo>
                  <a:pt x="617" y="142"/>
                  <a:pt x="617" y="142"/>
                  <a:pt x="617" y="142"/>
                </a:cubicBezTo>
                <a:cubicBezTo>
                  <a:pt x="617" y="143"/>
                  <a:pt x="617" y="143"/>
                  <a:pt x="617" y="143"/>
                </a:cubicBezTo>
                <a:cubicBezTo>
                  <a:pt x="617" y="143"/>
                  <a:pt x="617" y="143"/>
                  <a:pt x="617" y="143"/>
                </a:cubicBezTo>
                <a:close/>
                <a:moveTo>
                  <a:pt x="1860" y="64"/>
                </a:moveTo>
                <a:cubicBezTo>
                  <a:pt x="1865" y="66"/>
                  <a:pt x="1869" y="67"/>
                  <a:pt x="1874" y="67"/>
                </a:cubicBezTo>
                <a:cubicBezTo>
                  <a:pt x="1875" y="67"/>
                  <a:pt x="1876" y="67"/>
                  <a:pt x="1877" y="67"/>
                </a:cubicBezTo>
                <a:cubicBezTo>
                  <a:pt x="1880" y="66"/>
                  <a:pt x="1881" y="65"/>
                  <a:pt x="1882" y="62"/>
                </a:cubicBezTo>
                <a:cubicBezTo>
                  <a:pt x="1882" y="61"/>
                  <a:pt x="1882" y="60"/>
                  <a:pt x="1882" y="60"/>
                </a:cubicBezTo>
                <a:cubicBezTo>
                  <a:pt x="1881" y="57"/>
                  <a:pt x="1879" y="56"/>
                  <a:pt x="1876" y="56"/>
                </a:cubicBezTo>
                <a:cubicBezTo>
                  <a:pt x="1874" y="56"/>
                  <a:pt x="1872" y="57"/>
                  <a:pt x="1870" y="57"/>
                </a:cubicBezTo>
                <a:cubicBezTo>
                  <a:pt x="1868" y="57"/>
                  <a:pt x="1865" y="57"/>
                  <a:pt x="1863" y="57"/>
                </a:cubicBezTo>
                <a:cubicBezTo>
                  <a:pt x="1863" y="57"/>
                  <a:pt x="1862" y="57"/>
                  <a:pt x="1861" y="57"/>
                </a:cubicBezTo>
                <a:cubicBezTo>
                  <a:pt x="1860" y="58"/>
                  <a:pt x="1859" y="58"/>
                  <a:pt x="1857" y="58"/>
                </a:cubicBezTo>
                <a:cubicBezTo>
                  <a:pt x="1857" y="58"/>
                  <a:pt x="1856" y="59"/>
                  <a:pt x="1856" y="60"/>
                </a:cubicBezTo>
                <a:cubicBezTo>
                  <a:pt x="1857" y="61"/>
                  <a:pt x="1859" y="63"/>
                  <a:pt x="1860" y="64"/>
                </a:cubicBezTo>
                <a:close/>
                <a:moveTo>
                  <a:pt x="2216" y="952"/>
                </a:moveTo>
                <a:cubicBezTo>
                  <a:pt x="2214" y="952"/>
                  <a:pt x="2212" y="952"/>
                  <a:pt x="2212" y="955"/>
                </a:cubicBezTo>
                <a:cubicBezTo>
                  <a:pt x="2211" y="958"/>
                  <a:pt x="2208" y="960"/>
                  <a:pt x="2206" y="961"/>
                </a:cubicBezTo>
                <a:cubicBezTo>
                  <a:pt x="2204" y="961"/>
                  <a:pt x="2202" y="961"/>
                  <a:pt x="2201" y="960"/>
                </a:cubicBezTo>
                <a:cubicBezTo>
                  <a:pt x="2201" y="959"/>
                  <a:pt x="2201" y="959"/>
                  <a:pt x="2201" y="959"/>
                </a:cubicBezTo>
                <a:cubicBezTo>
                  <a:pt x="2201" y="959"/>
                  <a:pt x="2201" y="959"/>
                  <a:pt x="2201" y="959"/>
                </a:cubicBezTo>
                <a:cubicBezTo>
                  <a:pt x="2201" y="960"/>
                  <a:pt x="2201" y="960"/>
                  <a:pt x="2201" y="960"/>
                </a:cubicBezTo>
                <a:cubicBezTo>
                  <a:pt x="2198" y="960"/>
                  <a:pt x="2196" y="961"/>
                  <a:pt x="2193" y="961"/>
                </a:cubicBezTo>
                <a:cubicBezTo>
                  <a:pt x="2192" y="961"/>
                  <a:pt x="2192" y="961"/>
                  <a:pt x="2191" y="961"/>
                </a:cubicBezTo>
                <a:cubicBezTo>
                  <a:pt x="2190" y="961"/>
                  <a:pt x="2190" y="961"/>
                  <a:pt x="2189" y="961"/>
                </a:cubicBezTo>
                <a:cubicBezTo>
                  <a:pt x="2189" y="961"/>
                  <a:pt x="2188" y="962"/>
                  <a:pt x="2188" y="962"/>
                </a:cubicBezTo>
                <a:cubicBezTo>
                  <a:pt x="2188" y="963"/>
                  <a:pt x="2188" y="964"/>
                  <a:pt x="2188" y="964"/>
                </a:cubicBezTo>
                <a:cubicBezTo>
                  <a:pt x="2194" y="968"/>
                  <a:pt x="2200" y="969"/>
                  <a:pt x="2206" y="968"/>
                </a:cubicBezTo>
                <a:cubicBezTo>
                  <a:pt x="2207" y="968"/>
                  <a:pt x="2207" y="967"/>
                  <a:pt x="2208" y="967"/>
                </a:cubicBezTo>
                <a:cubicBezTo>
                  <a:pt x="2211" y="966"/>
                  <a:pt x="2212" y="963"/>
                  <a:pt x="2215" y="962"/>
                </a:cubicBezTo>
                <a:cubicBezTo>
                  <a:pt x="2215" y="962"/>
                  <a:pt x="2216" y="961"/>
                  <a:pt x="2216" y="961"/>
                </a:cubicBezTo>
                <a:cubicBezTo>
                  <a:pt x="2216" y="959"/>
                  <a:pt x="2217" y="958"/>
                  <a:pt x="2218" y="956"/>
                </a:cubicBezTo>
                <a:cubicBezTo>
                  <a:pt x="2219" y="954"/>
                  <a:pt x="2218" y="952"/>
                  <a:pt x="2216" y="952"/>
                </a:cubicBezTo>
                <a:close/>
                <a:moveTo>
                  <a:pt x="570" y="61"/>
                </a:moveTo>
                <a:cubicBezTo>
                  <a:pt x="572" y="62"/>
                  <a:pt x="574" y="63"/>
                  <a:pt x="576" y="65"/>
                </a:cubicBezTo>
                <a:cubicBezTo>
                  <a:pt x="578" y="65"/>
                  <a:pt x="579" y="67"/>
                  <a:pt x="581" y="68"/>
                </a:cubicBezTo>
                <a:cubicBezTo>
                  <a:pt x="584" y="70"/>
                  <a:pt x="589" y="68"/>
                  <a:pt x="589" y="64"/>
                </a:cubicBezTo>
                <a:cubicBezTo>
                  <a:pt x="589" y="63"/>
                  <a:pt x="589" y="62"/>
                  <a:pt x="590" y="61"/>
                </a:cubicBezTo>
                <a:cubicBezTo>
                  <a:pt x="590" y="61"/>
                  <a:pt x="590" y="60"/>
                  <a:pt x="590" y="60"/>
                </a:cubicBezTo>
                <a:cubicBezTo>
                  <a:pt x="590" y="57"/>
                  <a:pt x="588" y="55"/>
                  <a:pt x="586" y="56"/>
                </a:cubicBezTo>
                <a:cubicBezTo>
                  <a:pt x="583" y="56"/>
                  <a:pt x="581" y="57"/>
                  <a:pt x="578" y="57"/>
                </a:cubicBezTo>
                <a:cubicBezTo>
                  <a:pt x="576" y="56"/>
                  <a:pt x="574" y="57"/>
                  <a:pt x="572" y="57"/>
                </a:cubicBezTo>
                <a:cubicBezTo>
                  <a:pt x="571" y="57"/>
                  <a:pt x="570" y="58"/>
                  <a:pt x="570" y="59"/>
                </a:cubicBezTo>
                <a:cubicBezTo>
                  <a:pt x="569" y="59"/>
                  <a:pt x="569" y="60"/>
                  <a:pt x="569" y="60"/>
                </a:cubicBezTo>
                <a:cubicBezTo>
                  <a:pt x="569" y="61"/>
                  <a:pt x="570" y="61"/>
                  <a:pt x="570" y="61"/>
                </a:cubicBezTo>
                <a:close/>
                <a:moveTo>
                  <a:pt x="1850" y="112"/>
                </a:moveTo>
                <a:cubicBezTo>
                  <a:pt x="1851" y="112"/>
                  <a:pt x="1851" y="112"/>
                  <a:pt x="1851" y="112"/>
                </a:cubicBezTo>
                <a:cubicBezTo>
                  <a:pt x="1854" y="110"/>
                  <a:pt x="1856" y="110"/>
                  <a:pt x="1859" y="110"/>
                </a:cubicBezTo>
                <a:cubicBezTo>
                  <a:pt x="1863" y="110"/>
                  <a:pt x="1866" y="109"/>
                  <a:pt x="1869" y="109"/>
                </a:cubicBezTo>
                <a:cubicBezTo>
                  <a:pt x="1870" y="109"/>
                  <a:pt x="1871" y="107"/>
                  <a:pt x="1870" y="106"/>
                </a:cubicBezTo>
                <a:cubicBezTo>
                  <a:pt x="1869" y="103"/>
                  <a:pt x="1867" y="101"/>
                  <a:pt x="1864" y="100"/>
                </a:cubicBezTo>
                <a:cubicBezTo>
                  <a:pt x="1862" y="100"/>
                  <a:pt x="1861" y="99"/>
                  <a:pt x="1860" y="99"/>
                </a:cubicBezTo>
                <a:cubicBezTo>
                  <a:pt x="1858" y="98"/>
                  <a:pt x="1857" y="99"/>
                  <a:pt x="1855" y="99"/>
                </a:cubicBezTo>
                <a:cubicBezTo>
                  <a:pt x="1854" y="99"/>
                  <a:pt x="1852" y="100"/>
                  <a:pt x="1852" y="101"/>
                </a:cubicBezTo>
                <a:cubicBezTo>
                  <a:pt x="1852" y="103"/>
                  <a:pt x="1851" y="105"/>
                  <a:pt x="1851" y="108"/>
                </a:cubicBezTo>
                <a:cubicBezTo>
                  <a:pt x="1851" y="108"/>
                  <a:pt x="1850" y="110"/>
                  <a:pt x="1850" y="111"/>
                </a:cubicBezTo>
                <a:cubicBezTo>
                  <a:pt x="1850" y="112"/>
                  <a:pt x="1850" y="112"/>
                  <a:pt x="1850" y="112"/>
                </a:cubicBezTo>
                <a:close/>
                <a:moveTo>
                  <a:pt x="1909" y="769"/>
                </a:moveTo>
                <a:cubicBezTo>
                  <a:pt x="1910" y="768"/>
                  <a:pt x="1909" y="767"/>
                  <a:pt x="1908" y="767"/>
                </a:cubicBezTo>
                <a:cubicBezTo>
                  <a:pt x="1907" y="766"/>
                  <a:pt x="1906" y="766"/>
                  <a:pt x="1905" y="766"/>
                </a:cubicBezTo>
                <a:cubicBezTo>
                  <a:pt x="1905" y="766"/>
                  <a:pt x="1904" y="766"/>
                  <a:pt x="1904" y="766"/>
                </a:cubicBezTo>
                <a:cubicBezTo>
                  <a:pt x="1900" y="766"/>
                  <a:pt x="1896" y="768"/>
                  <a:pt x="1894" y="771"/>
                </a:cubicBezTo>
                <a:cubicBezTo>
                  <a:pt x="1893" y="771"/>
                  <a:pt x="1893" y="772"/>
                  <a:pt x="1893" y="773"/>
                </a:cubicBezTo>
                <a:cubicBezTo>
                  <a:pt x="1892" y="776"/>
                  <a:pt x="1894" y="779"/>
                  <a:pt x="1897" y="780"/>
                </a:cubicBezTo>
                <a:cubicBezTo>
                  <a:pt x="1900" y="781"/>
                  <a:pt x="1904" y="780"/>
                  <a:pt x="1906" y="777"/>
                </a:cubicBezTo>
                <a:cubicBezTo>
                  <a:pt x="1908" y="775"/>
                  <a:pt x="1909" y="772"/>
                  <a:pt x="1909" y="769"/>
                </a:cubicBezTo>
                <a:close/>
                <a:moveTo>
                  <a:pt x="1166" y="607"/>
                </a:moveTo>
                <a:cubicBezTo>
                  <a:pt x="1167" y="610"/>
                  <a:pt x="1167" y="614"/>
                  <a:pt x="1167" y="617"/>
                </a:cubicBezTo>
                <a:cubicBezTo>
                  <a:pt x="1167" y="622"/>
                  <a:pt x="1170" y="623"/>
                  <a:pt x="1174" y="620"/>
                </a:cubicBezTo>
                <a:cubicBezTo>
                  <a:pt x="1175" y="620"/>
                  <a:pt x="1176" y="619"/>
                  <a:pt x="1176" y="618"/>
                </a:cubicBezTo>
                <a:cubicBezTo>
                  <a:pt x="1176" y="616"/>
                  <a:pt x="1176" y="614"/>
                  <a:pt x="1176" y="612"/>
                </a:cubicBezTo>
                <a:cubicBezTo>
                  <a:pt x="1176" y="612"/>
                  <a:pt x="1176" y="612"/>
                  <a:pt x="1176" y="612"/>
                </a:cubicBezTo>
                <a:cubicBezTo>
                  <a:pt x="1176" y="611"/>
                  <a:pt x="1176" y="610"/>
                  <a:pt x="1176" y="609"/>
                </a:cubicBezTo>
                <a:cubicBezTo>
                  <a:pt x="1176" y="608"/>
                  <a:pt x="1176" y="607"/>
                  <a:pt x="1176" y="606"/>
                </a:cubicBezTo>
                <a:cubicBezTo>
                  <a:pt x="1176" y="604"/>
                  <a:pt x="1173" y="600"/>
                  <a:pt x="1169" y="603"/>
                </a:cubicBezTo>
                <a:cubicBezTo>
                  <a:pt x="1168" y="603"/>
                  <a:pt x="1167" y="604"/>
                  <a:pt x="1166" y="605"/>
                </a:cubicBezTo>
                <a:cubicBezTo>
                  <a:pt x="1166" y="605"/>
                  <a:pt x="1165" y="606"/>
                  <a:pt x="1166" y="607"/>
                </a:cubicBezTo>
                <a:close/>
                <a:moveTo>
                  <a:pt x="663" y="294"/>
                </a:moveTo>
                <a:cubicBezTo>
                  <a:pt x="662" y="297"/>
                  <a:pt x="664" y="299"/>
                  <a:pt x="666" y="299"/>
                </a:cubicBezTo>
                <a:cubicBezTo>
                  <a:pt x="671" y="299"/>
                  <a:pt x="675" y="297"/>
                  <a:pt x="677" y="293"/>
                </a:cubicBezTo>
                <a:cubicBezTo>
                  <a:pt x="677" y="292"/>
                  <a:pt x="678" y="290"/>
                  <a:pt x="678" y="289"/>
                </a:cubicBezTo>
                <a:cubicBezTo>
                  <a:pt x="679" y="288"/>
                  <a:pt x="678" y="286"/>
                  <a:pt x="676" y="285"/>
                </a:cubicBezTo>
                <a:cubicBezTo>
                  <a:pt x="674" y="284"/>
                  <a:pt x="672" y="284"/>
                  <a:pt x="670" y="285"/>
                </a:cubicBezTo>
                <a:cubicBezTo>
                  <a:pt x="667" y="287"/>
                  <a:pt x="664" y="290"/>
                  <a:pt x="663" y="294"/>
                </a:cubicBezTo>
                <a:cubicBezTo>
                  <a:pt x="663" y="294"/>
                  <a:pt x="663" y="294"/>
                  <a:pt x="663" y="294"/>
                </a:cubicBezTo>
                <a:close/>
                <a:moveTo>
                  <a:pt x="247" y="418"/>
                </a:moveTo>
                <a:cubicBezTo>
                  <a:pt x="246" y="417"/>
                  <a:pt x="244" y="418"/>
                  <a:pt x="244" y="419"/>
                </a:cubicBezTo>
                <a:cubicBezTo>
                  <a:pt x="243" y="420"/>
                  <a:pt x="242" y="422"/>
                  <a:pt x="242" y="423"/>
                </a:cubicBezTo>
                <a:cubicBezTo>
                  <a:pt x="242" y="425"/>
                  <a:pt x="242" y="426"/>
                  <a:pt x="243" y="428"/>
                </a:cubicBezTo>
                <a:cubicBezTo>
                  <a:pt x="243" y="428"/>
                  <a:pt x="242" y="428"/>
                  <a:pt x="242" y="428"/>
                </a:cubicBezTo>
                <a:cubicBezTo>
                  <a:pt x="243" y="430"/>
                  <a:pt x="243" y="431"/>
                  <a:pt x="243" y="432"/>
                </a:cubicBezTo>
                <a:cubicBezTo>
                  <a:pt x="243" y="436"/>
                  <a:pt x="244" y="439"/>
                  <a:pt x="246" y="442"/>
                </a:cubicBezTo>
                <a:cubicBezTo>
                  <a:pt x="246" y="443"/>
                  <a:pt x="246" y="443"/>
                  <a:pt x="247" y="443"/>
                </a:cubicBezTo>
                <a:cubicBezTo>
                  <a:pt x="247" y="443"/>
                  <a:pt x="248" y="443"/>
                  <a:pt x="248" y="443"/>
                </a:cubicBezTo>
                <a:cubicBezTo>
                  <a:pt x="248" y="443"/>
                  <a:pt x="248" y="443"/>
                  <a:pt x="248" y="443"/>
                </a:cubicBezTo>
                <a:cubicBezTo>
                  <a:pt x="247" y="438"/>
                  <a:pt x="248" y="434"/>
                  <a:pt x="249" y="429"/>
                </a:cubicBezTo>
                <a:cubicBezTo>
                  <a:pt x="250" y="427"/>
                  <a:pt x="251" y="424"/>
                  <a:pt x="252" y="422"/>
                </a:cubicBezTo>
                <a:cubicBezTo>
                  <a:pt x="252" y="421"/>
                  <a:pt x="252" y="421"/>
                  <a:pt x="251" y="420"/>
                </a:cubicBezTo>
                <a:cubicBezTo>
                  <a:pt x="250" y="419"/>
                  <a:pt x="248" y="419"/>
                  <a:pt x="247" y="418"/>
                </a:cubicBezTo>
                <a:close/>
                <a:moveTo>
                  <a:pt x="2007" y="1000"/>
                </a:moveTo>
                <a:cubicBezTo>
                  <a:pt x="2010" y="999"/>
                  <a:pt x="2013" y="998"/>
                  <a:pt x="2016" y="995"/>
                </a:cubicBezTo>
                <a:cubicBezTo>
                  <a:pt x="2018" y="993"/>
                  <a:pt x="2021" y="991"/>
                  <a:pt x="2025" y="990"/>
                </a:cubicBezTo>
                <a:cubicBezTo>
                  <a:pt x="2026" y="990"/>
                  <a:pt x="2028" y="989"/>
                  <a:pt x="2029" y="989"/>
                </a:cubicBezTo>
                <a:cubicBezTo>
                  <a:pt x="2030" y="988"/>
                  <a:pt x="2031" y="988"/>
                  <a:pt x="2031" y="986"/>
                </a:cubicBezTo>
                <a:cubicBezTo>
                  <a:pt x="2031" y="986"/>
                  <a:pt x="2030" y="985"/>
                  <a:pt x="2028" y="985"/>
                </a:cubicBezTo>
                <a:cubicBezTo>
                  <a:pt x="2024" y="985"/>
                  <a:pt x="2019" y="985"/>
                  <a:pt x="2015" y="988"/>
                </a:cubicBezTo>
                <a:cubicBezTo>
                  <a:pt x="2014" y="989"/>
                  <a:pt x="2012" y="989"/>
                  <a:pt x="2011" y="990"/>
                </a:cubicBezTo>
                <a:cubicBezTo>
                  <a:pt x="2010" y="990"/>
                  <a:pt x="2009" y="991"/>
                  <a:pt x="2008" y="992"/>
                </a:cubicBezTo>
                <a:cubicBezTo>
                  <a:pt x="2006" y="994"/>
                  <a:pt x="2005" y="997"/>
                  <a:pt x="2005" y="999"/>
                </a:cubicBezTo>
                <a:cubicBezTo>
                  <a:pt x="2006" y="1000"/>
                  <a:pt x="2007" y="1000"/>
                  <a:pt x="2007" y="1000"/>
                </a:cubicBezTo>
                <a:close/>
                <a:moveTo>
                  <a:pt x="64" y="228"/>
                </a:moveTo>
                <a:cubicBezTo>
                  <a:pt x="65" y="228"/>
                  <a:pt x="66" y="228"/>
                  <a:pt x="67" y="228"/>
                </a:cubicBezTo>
                <a:cubicBezTo>
                  <a:pt x="69" y="229"/>
                  <a:pt x="70" y="229"/>
                  <a:pt x="71" y="231"/>
                </a:cubicBezTo>
                <a:cubicBezTo>
                  <a:pt x="71" y="233"/>
                  <a:pt x="72" y="234"/>
                  <a:pt x="72" y="236"/>
                </a:cubicBezTo>
                <a:cubicBezTo>
                  <a:pt x="73" y="237"/>
                  <a:pt x="74" y="237"/>
                  <a:pt x="75" y="237"/>
                </a:cubicBezTo>
                <a:cubicBezTo>
                  <a:pt x="76" y="236"/>
                  <a:pt x="78" y="236"/>
                  <a:pt x="80" y="235"/>
                </a:cubicBezTo>
                <a:cubicBezTo>
                  <a:pt x="80" y="235"/>
                  <a:pt x="80" y="235"/>
                  <a:pt x="80" y="235"/>
                </a:cubicBezTo>
                <a:cubicBezTo>
                  <a:pt x="80" y="234"/>
                  <a:pt x="80" y="234"/>
                  <a:pt x="80" y="234"/>
                </a:cubicBezTo>
                <a:cubicBezTo>
                  <a:pt x="79" y="232"/>
                  <a:pt x="78" y="230"/>
                  <a:pt x="77" y="228"/>
                </a:cubicBezTo>
                <a:cubicBezTo>
                  <a:pt x="76" y="225"/>
                  <a:pt x="75" y="224"/>
                  <a:pt x="72" y="223"/>
                </a:cubicBezTo>
                <a:cubicBezTo>
                  <a:pt x="71" y="223"/>
                  <a:pt x="69" y="222"/>
                  <a:pt x="68" y="221"/>
                </a:cubicBezTo>
                <a:cubicBezTo>
                  <a:pt x="68" y="221"/>
                  <a:pt x="67" y="221"/>
                  <a:pt x="67" y="221"/>
                </a:cubicBezTo>
                <a:cubicBezTo>
                  <a:pt x="66" y="222"/>
                  <a:pt x="64" y="223"/>
                  <a:pt x="64" y="225"/>
                </a:cubicBezTo>
                <a:cubicBezTo>
                  <a:pt x="63" y="226"/>
                  <a:pt x="64" y="227"/>
                  <a:pt x="64" y="228"/>
                </a:cubicBezTo>
                <a:close/>
                <a:moveTo>
                  <a:pt x="651" y="111"/>
                </a:moveTo>
                <a:cubicBezTo>
                  <a:pt x="653" y="111"/>
                  <a:pt x="654" y="110"/>
                  <a:pt x="655" y="109"/>
                </a:cubicBezTo>
                <a:cubicBezTo>
                  <a:pt x="655" y="109"/>
                  <a:pt x="656" y="107"/>
                  <a:pt x="655" y="107"/>
                </a:cubicBezTo>
                <a:cubicBezTo>
                  <a:pt x="652" y="104"/>
                  <a:pt x="648" y="101"/>
                  <a:pt x="643" y="101"/>
                </a:cubicBezTo>
                <a:cubicBezTo>
                  <a:pt x="641" y="100"/>
                  <a:pt x="639" y="102"/>
                  <a:pt x="639" y="104"/>
                </a:cubicBezTo>
                <a:cubicBezTo>
                  <a:pt x="638" y="105"/>
                  <a:pt x="639" y="106"/>
                  <a:pt x="639" y="107"/>
                </a:cubicBezTo>
                <a:cubicBezTo>
                  <a:pt x="643" y="109"/>
                  <a:pt x="647" y="110"/>
                  <a:pt x="650" y="111"/>
                </a:cubicBezTo>
                <a:cubicBezTo>
                  <a:pt x="651" y="111"/>
                  <a:pt x="651" y="111"/>
                  <a:pt x="651" y="111"/>
                </a:cubicBezTo>
                <a:close/>
                <a:moveTo>
                  <a:pt x="2013" y="825"/>
                </a:moveTo>
                <a:cubicBezTo>
                  <a:pt x="2012" y="825"/>
                  <a:pt x="2011" y="826"/>
                  <a:pt x="2012" y="827"/>
                </a:cubicBezTo>
                <a:cubicBezTo>
                  <a:pt x="2012" y="829"/>
                  <a:pt x="2013" y="830"/>
                  <a:pt x="2014" y="831"/>
                </a:cubicBezTo>
                <a:cubicBezTo>
                  <a:pt x="2014" y="831"/>
                  <a:pt x="2014" y="831"/>
                  <a:pt x="2014" y="831"/>
                </a:cubicBezTo>
                <a:cubicBezTo>
                  <a:pt x="2014" y="831"/>
                  <a:pt x="2014" y="831"/>
                  <a:pt x="2014" y="831"/>
                </a:cubicBezTo>
                <a:cubicBezTo>
                  <a:pt x="2014" y="831"/>
                  <a:pt x="2014" y="831"/>
                  <a:pt x="2014" y="831"/>
                </a:cubicBezTo>
                <a:cubicBezTo>
                  <a:pt x="2014" y="832"/>
                  <a:pt x="2014" y="832"/>
                  <a:pt x="2015" y="832"/>
                </a:cubicBezTo>
                <a:cubicBezTo>
                  <a:pt x="2015" y="832"/>
                  <a:pt x="2015" y="833"/>
                  <a:pt x="2015" y="833"/>
                </a:cubicBezTo>
                <a:cubicBezTo>
                  <a:pt x="2014" y="833"/>
                  <a:pt x="2014" y="833"/>
                  <a:pt x="2014" y="833"/>
                </a:cubicBezTo>
                <a:cubicBezTo>
                  <a:pt x="2014" y="832"/>
                  <a:pt x="2014" y="832"/>
                  <a:pt x="2014" y="831"/>
                </a:cubicBezTo>
                <a:cubicBezTo>
                  <a:pt x="2014" y="831"/>
                  <a:pt x="2014" y="831"/>
                  <a:pt x="2014" y="831"/>
                </a:cubicBezTo>
                <a:cubicBezTo>
                  <a:pt x="2013" y="831"/>
                  <a:pt x="2013" y="832"/>
                  <a:pt x="2013" y="832"/>
                </a:cubicBezTo>
                <a:cubicBezTo>
                  <a:pt x="2012" y="834"/>
                  <a:pt x="2011" y="836"/>
                  <a:pt x="2013" y="838"/>
                </a:cubicBezTo>
                <a:cubicBezTo>
                  <a:pt x="2014" y="840"/>
                  <a:pt x="2015" y="841"/>
                  <a:pt x="2016" y="843"/>
                </a:cubicBezTo>
                <a:cubicBezTo>
                  <a:pt x="2016" y="843"/>
                  <a:pt x="2017" y="843"/>
                  <a:pt x="2017" y="843"/>
                </a:cubicBezTo>
                <a:cubicBezTo>
                  <a:pt x="2018" y="843"/>
                  <a:pt x="2019" y="842"/>
                  <a:pt x="2019" y="841"/>
                </a:cubicBezTo>
                <a:cubicBezTo>
                  <a:pt x="2018" y="840"/>
                  <a:pt x="2018" y="840"/>
                  <a:pt x="2018" y="839"/>
                </a:cubicBezTo>
                <a:cubicBezTo>
                  <a:pt x="2018" y="838"/>
                  <a:pt x="2018" y="837"/>
                  <a:pt x="2018" y="837"/>
                </a:cubicBezTo>
                <a:cubicBezTo>
                  <a:pt x="2021" y="836"/>
                  <a:pt x="2021" y="834"/>
                  <a:pt x="2021" y="832"/>
                </a:cubicBezTo>
                <a:cubicBezTo>
                  <a:pt x="2020" y="830"/>
                  <a:pt x="2020" y="828"/>
                  <a:pt x="2019" y="827"/>
                </a:cubicBezTo>
                <a:cubicBezTo>
                  <a:pt x="2018" y="825"/>
                  <a:pt x="2016" y="824"/>
                  <a:pt x="2013" y="825"/>
                </a:cubicBezTo>
                <a:close/>
                <a:moveTo>
                  <a:pt x="1374" y="78"/>
                </a:moveTo>
                <a:cubicBezTo>
                  <a:pt x="1374" y="78"/>
                  <a:pt x="1373" y="78"/>
                  <a:pt x="1373" y="79"/>
                </a:cubicBezTo>
                <a:cubicBezTo>
                  <a:pt x="1373" y="81"/>
                  <a:pt x="1373" y="84"/>
                  <a:pt x="1374" y="87"/>
                </a:cubicBezTo>
                <a:cubicBezTo>
                  <a:pt x="1375" y="87"/>
                  <a:pt x="1376" y="89"/>
                  <a:pt x="1377" y="89"/>
                </a:cubicBezTo>
                <a:cubicBezTo>
                  <a:pt x="1379" y="89"/>
                  <a:pt x="1382" y="89"/>
                  <a:pt x="1384" y="87"/>
                </a:cubicBezTo>
                <a:cubicBezTo>
                  <a:pt x="1384" y="86"/>
                  <a:pt x="1385" y="85"/>
                  <a:pt x="1384" y="84"/>
                </a:cubicBezTo>
                <a:cubicBezTo>
                  <a:pt x="1384" y="84"/>
                  <a:pt x="1384" y="84"/>
                  <a:pt x="1384" y="84"/>
                </a:cubicBezTo>
                <a:cubicBezTo>
                  <a:pt x="1383" y="83"/>
                  <a:pt x="1383" y="83"/>
                  <a:pt x="1383" y="82"/>
                </a:cubicBezTo>
                <a:cubicBezTo>
                  <a:pt x="1382" y="81"/>
                  <a:pt x="1382" y="81"/>
                  <a:pt x="1383" y="79"/>
                </a:cubicBezTo>
                <a:cubicBezTo>
                  <a:pt x="1384" y="78"/>
                  <a:pt x="1385" y="77"/>
                  <a:pt x="1384" y="76"/>
                </a:cubicBezTo>
                <a:cubicBezTo>
                  <a:pt x="1383" y="74"/>
                  <a:pt x="1381" y="75"/>
                  <a:pt x="1380" y="75"/>
                </a:cubicBezTo>
                <a:cubicBezTo>
                  <a:pt x="1379" y="76"/>
                  <a:pt x="1378" y="76"/>
                  <a:pt x="1377" y="76"/>
                </a:cubicBezTo>
                <a:cubicBezTo>
                  <a:pt x="1377" y="76"/>
                  <a:pt x="1377" y="76"/>
                  <a:pt x="1377" y="76"/>
                </a:cubicBezTo>
                <a:cubicBezTo>
                  <a:pt x="1377" y="76"/>
                  <a:pt x="1377" y="76"/>
                  <a:pt x="1377" y="76"/>
                </a:cubicBezTo>
                <a:cubicBezTo>
                  <a:pt x="1377" y="76"/>
                  <a:pt x="1377" y="76"/>
                  <a:pt x="1377" y="76"/>
                </a:cubicBezTo>
                <a:cubicBezTo>
                  <a:pt x="1376" y="77"/>
                  <a:pt x="1375" y="77"/>
                  <a:pt x="1374" y="78"/>
                </a:cubicBezTo>
                <a:close/>
                <a:moveTo>
                  <a:pt x="1309" y="98"/>
                </a:moveTo>
                <a:cubicBezTo>
                  <a:pt x="1311" y="99"/>
                  <a:pt x="1314" y="99"/>
                  <a:pt x="1316" y="99"/>
                </a:cubicBezTo>
                <a:cubicBezTo>
                  <a:pt x="1318" y="100"/>
                  <a:pt x="1317" y="98"/>
                  <a:pt x="1318" y="97"/>
                </a:cubicBezTo>
                <a:cubicBezTo>
                  <a:pt x="1317" y="97"/>
                  <a:pt x="1317" y="96"/>
                  <a:pt x="1317" y="96"/>
                </a:cubicBezTo>
                <a:cubicBezTo>
                  <a:pt x="1316" y="94"/>
                  <a:pt x="1316" y="93"/>
                  <a:pt x="1317" y="92"/>
                </a:cubicBezTo>
                <a:cubicBezTo>
                  <a:pt x="1318" y="91"/>
                  <a:pt x="1319" y="91"/>
                  <a:pt x="1321" y="91"/>
                </a:cubicBezTo>
                <a:cubicBezTo>
                  <a:pt x="1322" y="92"/>
                  <a:pt x="1323" y="92"/>
                  <a:pt x="1325" y="92"/>
                </a:cubicBezTo>
                <a:cubicBezTo>
                  <a:pt x="1325" y="91"/>
                  <a:pt x="1325" y="91"/>
                  <a:pt x="1324" y="90"/>
                </a:cubicBezTo>
                <a:cubicBezTo>
                  <a:pt x="1323" y="88"/>
                  <a:pt x="1320" y="87"/>
                  <a:pt x="1318" y="87"/>
                </a:cubicBezTo>
                <a:cubicBezTo>
                  <a:pt x="1317" y="87"/>
                  <a:pt x="1315" y="87"/>
                  <a:pt x="1314" y="87"/>
                </a:cubicBezTo>
                <a:cubicBezTo>
                  <a:pt x="1312" y="89"/>
                  <a:pt x="1309" y="91"/>
                  <a:pt x="1307" y="94"/>
                </a:cubicBezTo>
                <a:cubicBezTo>
                  <a:pt x="1306" y="95"/>
                  <a:pt x="1307" y="98"/>
                  <a:pt x="1309" y="98"/>
                </a:cubicBezTo>
                <a:close/>
                <a:moveTo>
                  <a:pt x="1318" y="97"/>
                </a:moveTo>
                <a:cubicBezTo>
                  <a:pt x="1318" y="97"/>
                  <a:pt x="1318" y="97"/>
                  <a:pt x="1318" y="97"/>
                </a:cubicBezTo>
                <a:cubicBezTo>
                  <a:pt x="1318" y="97"/>
                  <a:pt x="1318" y="97"/>
                  <a:pt x="1318" y="97"/>
                </a:cubicBezTo>
                <a:cubicBezTo>
                  <a:pt x="1318" y="97"/>
                  <a:pt x="1318" y="97"/>
                  <a:pt x="1318" y="97"/>
                </a:cubicBezTo>
                <a:close/>
                <a:moveTo>
                  <a:pt x="1360" y="92"/>
                </a:moveTo>
                <a:cubicBezTo>
                  <a:pt x="1360" y="93"/>
                  <a:pt x="1359" y="93"/>
                  <a:pt x="1359" y="94"/>
                </a:cubicBezTo>
                <a:cubicBezTo>
                  <a:pt x="1359" y="96"/>
                  <a:pt x="1360" y="98"/>
                  <a:pt x="1362" y="99"/>
                </a:cubicBezTo>
                <a:cubicBezTo>
                  <a:pt x="1362" y="100"/>
                  <a:pt x="1364" y="101"/>
                  <a:pt x="1365" y="100"/>
                </a:cubicBezTo>
                <a:cubicBezTo>
                  <a:pt x="1366" y="100"/>
                  <a:pt x="1367" y="99"/>
                  <a:pt x="1368" y="99"/>
                </a:cubicBezTo>
                <a:cubicBezTo>
                  <a:pt x="1370" y="98"/>
                  <a:pt x="1370" y="97"/>
                  <a:pt x="1371" y="96"/>
                </a:cubicBezTo>
                <a:cubicBezTo>
                  <a:pt x="1371" y="95"/>
                  <a:pt x="1372" y="94"/>
                  <a:pt x="1372" y="93"/>
                </a:cubicBezTo>
                <a:cubicBezTo>
                  <a:pt x="1373" y="92"/>
                  <a:pt x="1373" y="91"/>
                  <a:pt x="1372" y="90"/>
                </a:cubicBezTo>
                <a:cubicBezTo>
                  <a:pt x="1371" y="89"/>
                  <a:pt x="1370" y="89"/>
                  <a:pt x="1368" y="89"/>
                </a:cubicBezTo>
                <a:cubicBezTo>
                  <a:pt x="1368" y="88"/>
                  <a:pt x="1367" y="88"/>
                  <a:pt x="1367" y="89"/>
                </a:cubicBezTo>
                <a:cubicBezTo>
                  <a:pt x="1365" y="91"/>
                  <a:pt x="1363" y="92"/>
                  <a:pt x="1360" y="92"/>
                </a:cubicBezTo>
                <a:close/>
                <a:moveTo>
                  <a:pt x="1387" y="75"/>
                </a:moveTo>
                <a:cubicBezTo>
                  <a:pt x="1388" y="75"/>
                  <a:pt x="1389" y="75"/>
                  <a:pt x="1389" y="75"/>
                </a:cubicBezTo>
                <a:cubicBezTo>
                  <a:pt x="1390" y="73"/>
                  <a:pt x="1391" y="70"/>
                  <a:pt x="1393" y="69"/>
                </a:cubicBezTo>
                <a:cubicBezTo>
                  <a:pt x="1393" y="69"/>
                  <a:pt x="1393" y="68"/>
                  <a:pt x="1393" y="67"/>
                </a:cubicBezTo>
                <a:cubicBezTo>
                  <a:pt x="1391" y="65"/>
                  <a:pt x="1391" y="62"/>
                  <a:pt x="1389" y="60"/>
                </a:cubicBezTo>
                <a:cubicBezTo>
                  <a:pt x="1388" y="60"/>
                  <a:pt x="1387" y="60"/>
                  <a:pt x="1386" y="60"/>
                </a:cubicBezTo>
                <a:cubicBezTo>
                  <a:pt x="1385" y="62"/>
                  <a:pt x="1384" y="63"/>
                  <a:pt x="1383" y="64"/>
                </a:cubicBezTo>
                <a:cubicBezTo>
                  <a:pt x="1383" y="65"/>
                  <a:pt x="1383" y="66"/>
                  <a:pt x="1383" y="66"/>
                </a:cubicBezTo>
                <a:cubicBezTo>
                  <a:pt x="1382" y="71"/>
                  <a:pt x="1384" y="73"/>
                  <a:pt x="1387" y="75"/>
                </a:cubicBezTo>
                <a:close/>
                <a:moveTo>
                  <a:pt x="2042" y="948"/>
                </a:moveTo>
                <a:cubicBezTo>
                  <a:pt x="2047" y="947"/>
                  <a:pt x="2053" y="947"/>
                  <a:pt x="2058" y="949"/>
                </a:cubicBezTo>
                <a:cubicBezTo>
                  <a:pt x="2058" y="950"/>
                  <a:pt x="2059" y="950"/>
                  <a:pt x="2059" y="950"/>
                </a:cubicBezTo>
                <a:cubicBezTo>
                  <a:pt x="2060" y="950"/>
                  <a:pt x="2061" y="949"/>
                  <a:pt x="2061" y="948"/>
                </a:cubicBezTo>
                <a:cubicBezTo>
                  <a:pt x="2061" y="948"/>
                  <a:pt x="2061" y="947"/>
                  <a:pt x="2060" y="946"/>
                </a:cubicBezTo>
                <a:cubicBezTo>
                  <a:pt x="2060" y="945"/>
                  <a:pt x="2059" y="945"/>
                  <a:pt x="2058" y="944"/>
                </a:cubicBezTo>
                <a:cubicBezTo>
                  <a:pt x="2053" y="942"/>
                  <a:pt x="2048" y="941"/>
                  <a:pt x="2043" y="942"/>
                </a:cubicBezTo>
                <a:cubicBezTo>
                  <a:pt x="2041" y="943"/>
                  <a:pt x="2040" y="944"/>
                  <a:pt x="2040" y="945"/>
                </a:cubicBezTo>
                <a:cubicBezTo>
                  <a:pt x="2040" y="947"/>
                  <a:pt x="2041" y="948"/>
                  <a:pt x="2042" y="948"/>
                </a:cubicBezTo>
                <a:close/>
                <a:moveTo>
                  <a:pt x="2308" y="1101"/>
                </a:moveTo>
                <a:cubicBezTo>
                  <a:pt x="2308" y="1101"/>
                  <a:pt x="2309" y="1101"/>
                  <a:pt x="2310" y="1100"/>
                </a:cubicBezTo>
                <a:cubicBezTo>
                  <a:pt x="2310" y="1100"/>
                  <a:pt x="2310" y="1100"/>
                  <a:pt x="2310" y="1100"/>
                </a:cubicBezTo>
                <a:cubicBezTo>
                  <a:pt x="2310" y="1099"/>
                  <a:pt x="2310" y="1099"/>
                  <a:pt x="2310" y="1098"/>
                </a:cubicBezTo>
                <a:cubicBezTo>
                  <a:pt x="2307" y="1094"/>
                  <a:pt x="2303" y="1091"/>
                  <a:pt x="2300" y="1087"/>
                </a:cubicBezTo>
                <a:cubicBezTo>
                  <a:pt x="2299" y="1086"/>
                  <a:pt x="2298" y="1085"/>
                  <a:pt x="2296" y="1083"/>
                </a:cubicBezTo>
                <a:cubicBezTo>
                  <a:pt x="2296" y="1083"/>
                  <a:pt x="2295" y="1083"/>
                  <a:pt x="2295" y="1083"/>
                </a:cubicBezTo>
                <a:cubicBezTo>
                  <a:pt x="2294" y="1082"/>
                  <a:pt x="2294" y="1082"/>
                  <a:pt x="2293" y="1083"/>
                </a:cubicBezTo>
                <a:cubicBezTo>
                  <a:pt x="2293" y="1083"/>
                  <a:pt x="2293" y="1084"/>
                  <a:pt x="2293" y="1084"/>
                </a:cubicBezTo>
                <a:cubicBezTo>
                  <a:pt x="2294" y="1088"/>
                  <a:pt x="2296" y="1091"/>
                  <a:pt x="2299" y="1093"/>
                </a:cubicBezTo>
                <a:cubicBezTo>
                  <a:pt x="2302" y="1096"/>
                  <a:pt x="2304" y="1099"/>
                  <a:pt x="2308" y="1101"/>
                </a:cubicBezTo>
                <a:close/>
                <a:moveTo>
                  <a:pt x="1952" y="987"/>
                </a:moveTo>
                <a:cubicBezTo>
                  <a:pt x="1954" y="988"/>
                  <a:pt x="1955" y="988"/>
                  <a:pt x="1957" y="989"/>
                </a:cubicBezTo>
                <a:cubicBezTo>
                  <a:pt x="1958" y="989"/>
                  <a:pt x="1959" y="989"/>
                  <a:pt x="1960" y="990"/>
                </a:cubicBezTo>
                <a:cubicBezTo>
                  <a:pt x="1965" y="989"/>
                  <a:pt x="1970" y="988"/>
                  <a:pt x="1974" y="987"/>
                </a:cubicBezTo>
                <a:cubicBezTo>
                  <a:pt x="1975" y="987"/>
                  <a:pt x="1975" y="986"/>
                  <a:pt x="1974" y="985"/>
                </a:cubicBezTo>
                <a:cubicBezTo>
                  <a:pt x="1972" y="983"/>
                  <a:pt x="1969" y="982"/>
                  <a:pt x="1966" y="982"/>
                </a:cubicBezTo>
                <a:cubicBezTo>
                  <a:pt x="1965" y="982"/>
                  <a:pt x="1965" y="983"/>
                  <a:pt x="1965" y="983"/>
                </a:cubicBezTo>
                <a:cubicBezTo>
                  <a:pt x="1964" y="984"/>
                  <a:pt x="1964" y="984"/>
                  <a:pt x="1964" y="985"/>
                </a:cubicBezTo>
                <a:cubicBezTo>
                  <a:pt x="1961" y="983"/>
                  <a:pt x="1958" y="985"/>
                  <a:pt x="1955" y="984"/>
                </a:cubicBezTo>
                <a:cubicBezTo>
                  <a:pt x="1953" y="983"/>
                  <a:pt x="1952" y="984"/>
                  <a:pt x="1952" y="985"/>
                </a:cubicBezTo>
                <a:cubicBezTo>
                  <a:pt x="1951" y="986"/>
                  <a:pt x="1951" y="987"/>
                  <a:pt x="1952" y="987"/>
                </a:cubicBezTo>
                <a:close/>
                <a:moveTo>
                  <a:pt x="1999" y="987"/>
                </a:moveTo>
                <a:cubicBezTo>
                  <a:pt x="2000" y="987"/>
                  <a:pt x="2001" y="986"/>
                  <a:pt x="2001" y="985"/>
                </a:cubicBezTo>
                <a:cubicBezTo>
                  <a:pt x="2002" y="985"/>
                  <a:pt x="2002" y="985"/>
                  <a:pt x="2002" y="984"/>
                </a:cubicBezTo>
                <a:cubicBezTo>
                  <a:pt x="2003" y="984"/>
                  <a:pt x="2003" y="983"/>
                  <a:pt x="2002" y="983"/>
                </a:cubicBezTo>
                <a:cubicBezTo>
                  <a:pt x="2002" y="983"/>
                  <a:pt x="2001" y="982"/>
                  <a:pt x="2001" y="982"/>
                </a:cubicBezTo>
                <a:cubicBezTo>
                  <a:pt x="1999" y="983"/>
                  <a:pt x="1996" y="984"/>
                  <a:pt x="1994" y="984"/>
                </a:cubicBezTo>
                <a:cubicBezTo>
                  <a:pt x="1991" y="983"/>
                  <a:pt x="1989" y="983"/>
                  <a:pt x="1986" y="983"/>
                </a:cubicBezTo>
                <a:cubicBezTo>
                  <a:pt x="1986" y="983"/>
                  <a:pt x="1985" y="982"/>
                  <a:pt x="1985" y="982"/>
                </a:cubicBezTo>
                <a:cubicBezTo>
                  <a:pt x="1983" y="982"/>
                  <a:pt x="1981" y="983"/>
                  <a:pt x="1980" y="984"/>
                </a:cubicBezTo>
                <a:cubicBezTo>
                  <a:pt x="1979" y="985"/>
                  <a:pt x="1979" y="985"/>
                  <a:pt x="1979" y="986"/>
                </a:cubicBezTo>
                <a:cubicBezTo>
                  <a:pt x="1979" y="986"/>
                  <a:pt x="1980" y="987"/>
                  <a:pt x="1980" y="987"/>
                </a:cubicBezTo>
                <a:cubicBezTo>
                  <a:pt x="1982" y="988"/>
                  <a:pt x="1985" y="988"/>
                  <a:pt x="1987" y="988"/>
                </a:cubicBezTo>
                <a:cubicBezTo>
                  <a:pt x="1991" y="988"/>
                  <a:pt x="1995" y="987"/>
                  <a:pt x="1999" y="987"/>
                </a:cubicBezTo>
                <a:close/>
                <a:moveTo>
                  <a:pt x="1383" y="292"/>
                </a:moveTo>
                <a:cubicBezTo>
                  <a:pt x="1382" y="293"/>
                  <a:pt x="1382" y="294"/>
                  <a:pt x="1382" y="295"/>
                </a:cubicBezTo>
                <a:cubicBezTo>
                  <a:pt x="1382" y="296"/>
                  <a:pt x="1383" y="298"/>
                  <a:pt x="1383" y="299"/>
                </a:cubicBezTo>
                <a:cubicBezTo>
                  <a:pt x="1384" y="301"/>
                  <a:pt x="1386" y="301"/>
                  <a:pt x="1387" y="301"/>
                </a:cubicBezTo>
                <a:cubicBezTo>
                  <a:pt x="1391" y="300"/>
                  <a:pt x="1392" y="297"/>
                  <a:pt x="1393" y="294"/>
                </a:cubicBezTo>
                <a:cubicBezTo>
                  <a:pt x="1393" y="293"/>
                  <a:pt x="1393" y="293"/>
                  <a:pt x="1393" y="292"/>
                </a:cubicBezTo>
                <a:cubicBezTo>
                  <a:pt x="1391" y="290"/>
                  <a:pt x="1388" y="289"/>
                  <a:pt x="1386" y="290"/>
                </a:cubicBezTo>
                <a:cubicBezTo>
                  <a:pt x="1384" y="290"/>
                  <a:pt x="1383" y="291"/>
                  <a:pt x="1383" y="292"/>
                </a:cubicBezTo>
                <a:close/>
                <a:moveTo>
                  <a:pt x="612" y="356"/>
                </a:moveTo>
                <a:cubicBezTo>
                  <a:pt x="612" y="356"/>
                  <a:pt x="612" y="355"/>
                  <a:pt x="612" y="354"/>
                </a:cubicBezTo>
                <a:cubicBezTo>
                  <a:pt x="612" y="354"/>
                  <a:pt x="611" y="353"/>
                  <a:pt x="611" y="353"/>
                </a:cubicBezTo>
                <a:cubicBezTo>
                  <a:pt x="610" y="353"/>
                  <a:pt x="609" y="353"/>
                  <a:pt x="609" y="353"/>
                </a:cubicBezTo>
                <a:cubicBezTo>
                  <a:pt x="607" y="353"/>
                  <a:pt x="606" y="353"/>
                  <a:pt x="605" y="353"/>
                </a:cubicBezTo>
                <a:cubicBezTo>
                  <a:pt x="604" y="353"/>
                  <a:pt x="603" y="354"/>
                  <a:pt x="603" y="354"/>
                </a:cubicBezTo>
                <a:cubicBezTo>
                  <a:pt x="601" y="355"/>
                  <a:pt x="600" y="356"/>
                  <a:pt x="599" y="358"/>
                </a:cubicBezTo>
                <a:cubicBezTo>
                  <a:pt x="598" y="358"/>
                  <a:pt x="598" y="359"/>
                  <a:pt x="599" y="360"/>
                </a:cubicBezTo>
                <a:cubicBezTo>
                  <a:pt x="599" y="361"/>
                  <a:pt x="599" y="362"/>
                  <a:pt x="600" y="362"/>
                </a:cubicBezTo>
                <a:cubicBezTo>
                  <a:pt x="601" y="362"/>
                  <a:pt x="603" y="362"/>
                  <a:pt x="604" y="362"/>
                </a:cubicBezTo>
                <a:cubicBezTo>
                  <a:pt x="607" y="361"/>
                  <a:pt x="610" y="359"/>
                  <a:pt x="612" y="356"/>
                </a:cubicBezTo>
                <a:close/>
                <a:moveTo>
                  <a:pt x="1694" y="142"/>
                </a:moveTo>
                <a:cubicBezTo>
                  <a:pt x="1694" y="144"/>
                  <a:pt x="1695" y="145"/>
                  <a:pt x="1697" y="146"/>
                </a:cubicBezTo>
                <a:cubicBezTo>
                  <a:pt x="1697" y="146"/>
                  <a:pt x="1698" y="146"/>
                  <a:pt x="1699" y="146"/>
                </a:cubicBezTo>
                <a:cubicBezTo>
                  <a:pt x="1699" y="146"/>
                  <a:pt x="1700" y="146"/>
                  <a:pt x="1700" y="146"/>
                </a:cubicBezTo>
                <a:cubicBezTo>
                  <a:pt x="1702" y="146"/>
                  <a:pt x="1704" y="145"/>
                  <a:pt x="1704" y="143"/>
                </a:cubicBezTo>
                <a:cubicBezTo>
                  <a:pt x="1703" y="141"/>
                  <a:pt x="1703" y="139"/>
                  <a:pt x="1702" y="138"/>
                </a:cubicBezTo>
                <a:cubicBezTo>
                  <a:pt x="1701" y="137"/>
                  <a:pt x="1700" y="136"/>
                  <a:pt x="1699" y="137"/>
                </a:cubicBezTo>
                <a:cubicBezTo>
                  <a:pt x="1697" y="137"/>
                  <a:pt x="1696" y="138"/>
                  <a:pt x="1695" y="138"/>
                </a:cubicBezTo>
                <a:cubicBezTo>
                  <a:pt x="1694" y="139"/>
                  <a:pt x="1693" y="140"/>
                  <a:pt x="1694" y="141"/>
                </a:cubicBezTo>
                <a:cubicBezTo>
                  <a:pt x="1694" y="142"/>
                  <a:pt x="1694" y="142"/>
                  <a:pt x="1694" y="142"/>
                </a:cubicBezTo>
                <a:close/>
                <a:moveTo>
                  <a:pt x="690" y="511"/>
                </a:moveTo>
                <a:cubicBezTo>
                  <a:pt x="689" y="511"/>
                  <a:pt x="689" y="511"/>
                  <a:pt x="688" y="512"/>
                </a:cubicBezTo>
                <a:cubicBezTo>
                  <a:pt x="688" y="512"/>
                  <a:pt x="688" y="513"/>
                  <a:pt x="688" y="514"/>
                </a:cubicBezTo>
                <a:cubicBezTo>
                  <a:pt x="689" y="514"/>
                  <a:pt x="689" y="515"/>
                  <a:pt x="690" y="515"/>
                </a:cubicBezTo>
                <a:cubicBezTo>
                  <a:pt x="691" y="517"/>
                  <a:pt x="693" y="518"/>
                  <a:pt x="695" y="519"/>
                </a:cubicBezTo>
                <a:cubicBezTo>
                  <a:pt x="697" y="520"/>
                  <a:pt x="699" y="521"/>
                  <a:pt x="702" y="521"/>
                </a:cubicBezTo>
                <a:cubicBezTo>
                  <a:pt x="702" y="521"/>
                  <a:pt x="702" y="521"/>
                  <a:pt x="702" y="521"/>
                </a:cubicBezTo>
                <a:cubicBezTo>
                  <a:pt x="703" y="521"/>
                  <a:pt x="703" y="520"/>
                  <a:pt x="704" y="520"/>
                </a:cubicBezTo>
                <a:cubicBezTo>
                  <a:pt x="704" y="520"/>
                  <a:pt x="704" y="519"/>
                  <a:pt x="703" y="519"/>
                </a:cubicBezTo>
                <a:cubicBezTo>
                  <a:pt x="700" y="514"/>
                  <a:pt x="695" y="512"/>
                  <a:pt x="690" y="511"/>
                </a:cubicBezTo>
                <a:close/>
                <a:moveTo>
                  <a:pt x="1341" y="658"/>
                </a:moveTo>
                <a:cubicBezTo>
                  <a:pt x="1343" y="657"/>
                  <a:pt x="1344" y="657"/>
                  <a:pt x="1346" y="656"/>
                </a:cubicBezTo>
                <a:cubicBezTo>
                  <a:pt x="1348" y="655"/>
                  <a:pt x="1349" y="652"/>
                  <a:pt x="1350" y="650"/>
                </a:cubicBezTo>
                <a:cubicBezTo>
                  <a:pt x="1349" y="650"/>
                  <a:pt x="1349" y="650"/>
                  <a:pt x="1349" y="650"/>
                </a:cubicBezTo>
                <a:cubicBezTo>
                  <a:pt x="1347" y="650"/>
                  <a:pt x="1344" y="650"/>
                  <a:pt x="1342" y="651"/>
                </a:cubicBezTo>
                <a:cubicBezTo>
                  <a:pt x="1340" y="651"/>
                  <a:pt x="1338" y="652"/>
                  <a:pt x="1337" y="653"/>
                </a:cubicBezTo>
                <a:cubicBezTo>
                  <a:pt x="1336" y="654"/>
                  <a:pt x="1336" y="655"/>
                  <a:pt x="1336" y="656"/>
                </a:cubicBezTo>
                <a:cubicBezTo>
                  <a:pt x="1337" y="658"/>
                  <a:pt x="1339" y="658"/>
                  <a:pt x="1341" y="658"/>
                </a:cubicBezTo>
                <a:close/>
                <a:moveTo>
                  <a:pt x="514" y="100"/>
                </a:moveTo>
                <a:cubicBezTo>
                  <a:pt x="514" y="100"/>
                  <a:pt x="514" y="99"/>
                  <a:pt x="514" y="99"/>
                </a:cubicBezTo>
                <a:cubicBezTo>
                  <a:pt x="513" y="99"/>
                  <a:pt x="513" y="99"/>
                  <a:pt x="512" y="99"/>
                </a:cubicBezTo>
                <a:cubicBezTo>
                  <a:pt x="508" y="100"/>
                  <a:pt x="504" y="102"/>
                  <a:pt x="500" y="105"/>
                </a:cubicBezTo>
                <a:cubicBezTo>
                  <a:pt x="499" y="106"/>
                  <a:pt x="499" y="107"/>
                  <a:pt x="501" y="108"/>
                </a:cubicBezTo>
                <a:cubicBezTo>
                  <a:pt x="502" y="109"/>
                  <a:pt x="503" y="109"/>
                  <a:pt x="504" y="109"/>
                </a:cubicBezTo>
                <a:cubicBezTo>
                  <a:pt x="507" y="106"/>
                  <a:pt x="510" y="103"/>
                  <a:pt x="514" y="101"/>
                </a:cubicBezTo>
                <a:cubicBezTo>
                  <a:pt x="514" y="101"/>
                  <a:pt x="514" y="100"/>
                  <a:pt x="514" y="100"/>
                </a:cubicBezTo>
                <a:close/>
                <a:moveTo>
                  <a:pt x="1173" y="599"/>
                </a:moveTo>
                <a:cubicBezTo>
                  <a:pt x="1173" y="598"/>
                  <a:pt x="1174" y="598"/>
                  <a:pt x="1174" y="597"/>
                </a:cubicBezTo>
                <a:cubicBezTo>
                  <a:pt x="1174" y="595"/>
                  <a:pt x="1174" y="593"/>
                  <a:pt x="1175" y="592"/>
                </a:cubicBezTo>
                <a:cubicBezTo>
                  <a:pt x="1174" y="591"/>
                  <a:pt x="1174" y="590"/>
                  <a:pt x="1174" y="590"/>
                </a:cubicBezTo>
                <a:cubicBezTo>
                  <a:pt x="1174" y="590"/>
                  <a:pt x="1174" y="589"/>
                  <a:pt x="1174" y="589"/>
                </a:cubicBezTo>
                <a:cubicBezTo>
                  <a:pt x="1174" y="588"/>
                  <a:pt x="1173" y="587"/>
                  <a:pt x="1172" y="587"/>
                </a:cubicBezTo>
                <a:cubicBezTo>
                  <a:pt x="1171" y="588"/>
                  <a:pt x="1170" y="588"/>
                  <a:pt x="1169" y="589"/>
                </a:cubicBezTo>
                <a:cubicBezTo>
                  <a:pt x="1167" y="590"/>
                  <a:pt x="1167" y="591"/>
                  <a:pt x="1167" y="593"/>
                </a:cubicBezTo>
                <a:cubicBezTo>
                  <a:pt x="1167" y="595"/>
                  <a:pt x="1168" y="597"/>
                  <a:pt x="1170" y="599"/>
                </a:cubicBezTo>
                <a:cubicBezTo>
                  <a:pt x="1170" y="600"/>
                  <a:pt x="1172" y="600"/>
                  <a:pt x="1173" y="599"/>
                </a:cubicBezTo>
                <a:close/>
                <a:moveTo>
                  <a:pt x="1962" y="854"/>
                </a:moveTo>
                <a:cubicBezTo>
                  <a:pt x="1962" y="854"/>
                  <a:pt x="1962" y="855"/>
                  <a:pt x="1962" y="855"/>
                </a:cubicBezTo>
                <a:cubicBezTo>
                  <a:pt x="1962" y="855"/>
                  <a:pt x="1963" y="855"/>
                  <a:pt x="1963" y="855"/>
                </a:cubicBezTo>
                <a:cubicBezTo>
                  <a:pt x="1963" y="855"/>
                  <a:pt x="1963" y="855"/>
                  <a:pt x="1964" y="855"/>
                </a:cubicBezTo>
                <a:cubicBezTo>
                  <a:pt x="1966" y="854"/>
                  <a:pt x="1969" y="852"/>
                  <a:pt x="1971" y="849"/>
                </a:cubicBezTo>
                <a:cubicBezTo>
                  <a:pt x="1973" y="846"/>
                  <a:pt x="1975" y="843"/>
                  <a:pt x="1978" y="842"/>
                </a:cubicBezTo>
                <a:cubicBezTo>
                  <a:pt x="1979" y="841"/>
                  <a:pt x="1979" y="841"/>
                  <a:pt x="1978" y="840"/>
                </a:cubicBezTo>
                <a:cubicBezTo>
                  <a:pt x="1976" y="837"/>
                  <a:pt x="1975" y="838"/>
                  <a:pt x="1974" y="839"/>
                </a:cubicBezTo>
                <a:cubicBezTo>
                  <a:pt x="1970" y="844"/>
                  <a:pt x="1967" y="849"/>
                  <a:pt x="1963" y="853"/>
                </a:cubicBezTo>
                <a:cubicBezTo>
                  <a:pt x="1962" y="853"/>
                  <a:pt x="1962" y="854"/>
                  <a:pt x="1962" y="854"/>
                </a:cubicBezTo>
                <a:close/>
                <a:moveTo>
                  <a:pt x="2006" y="840"/>
                </a:moveTo>
                <a:cubicBezTo>
                  <a:pt x="2006" y="838"/>
                  <a:pt x="2004" y="838"/>
                  <a:pt x="2003" y="837"/>
                </a:cubicBezTo>
                <a:cubicBezTo>
                  <a:pt x="2003" y="836"/>
                  <a:pt x="2003" y="836"/>
                  <a:pt x="2003" y="836"/>
                </a:cubicBezTo>
                <a:cubicBezTo>
                  <a:pt x="2003" y="836"/>
                  <a:pt x="2003" y="837"/>
                  <a:pt x="2003" y="837"/>
                </a:cubicBezTo>
                <a:cubicBezTo>
                  <a:pt x="2003" y="837"/>
                  <a:pt x="2003" y="837"/>
                  <a:pt x="2003" y="837"/>
                </a:cubicBezTo>
                <a:cubicBezTo>
                  <a:pt x="2002" y="837"/>
                  <a:pt x="2002" y="838"/>
                  <a:pt x="2001" y="838"/>
                </a:cubicBezTo>
                <a:cubicBezTo>
                  <a:pt x="2001" y="840"/>
                  <a:pt x="2001" y="843"/>
                  <a:pt x="1999" y="845"/>
                </a:cubicBezTo>
                <a:cubicBezTo>
                  <a:pt x="1998" y="847"/>
                  <a:pt x="1998" y="848"/>
                  <a:pt x="2000" y="849"/>
                </a:cubicBezTo>
                <a:cubicBezTo>
                  <a:pt x="2001" y="850"/>
                  <a:pt x="2002" y="850"/>
                  <a:pt x="2003" y="851"/>
                </a:cubicBezTo>
                <a:cubicBezTo>
                  <a:pt x="2004" y="851"/>
                  <a:pt x="2005" y="851"/>
                  <a:pt x="2005" y="850"/>
                </a:cubicBezTo>
                <a:cubicBezTo>
                  <a:pt x="2006" y="849"/>
                  <a:pt x="2007" y="847"/>
                  <a:pt x="2006" y="845"/>
                </a:cubicBezTo>
                <a:cubicBezTo>
                  <a:pt x="2007" y="845"/>
                  <a:pt x="2007" y="845"/>
                  <a:pt x="2007" y="845"/>
                </a:cubicBezTo>
                <a:cubicBezTo>
                  <a:pt x="2007" y="845"/>
                  <a:pt x="2007" y="845"/>
                  <a:pt x="2007" y="845"/>
                </a:cubicBezTo>
                <a:cubicBezTo>
                  <a:pt x="2007" y="845"/>
                  <a:pt x="2006" y="845"/>
                  <a:pt x="2006" y="845"/>
                </a:cubicBezTo>
                <a:cubicBezTo>
                  <a:pt x="2005" y="844"/>
                  <a:pt x="2005" y="842"/>
                  <a:pt x="2006" y="840"/>
                </a:cubicBezTo>
                <a:close/>
                <a:moveTo>
                  <a:pt x="561" y="781"/>
                </a:moveTo>
                <a:cubicBezTo>
                  <a:pt x="559" y="782"/>
                  <a:pt x="558" y="782"/>
                  <a:pt x="556" y="782"/>
                </a:cubicBezTo>
                <a:cubicBezTo>
                  <a:pt x="555" y="782"/>
                  <a:pt x="555" y="783"/>
                  <a:pt x="556" y="784"/>
                </a:cubicBezTo>
                <a:cubicBezTo>
                  <a:pt x="558" y="787"/>
                  <a:pt x="561" y="789"/>
                  <a:pt x="566" y="788"/>
                </a:cubicBezTo>
                <a:cubicBezTo>
                  <a:pt x="567" y="787"/>
                  <a:pt x="568" y="787"/>
                  <a:pt x="568" y="787"/>
                </a:cubicBezTo>
                <a:cubicBezTo>
                  <a:pt x="569" y="786"/>
                  <a:pt x="569" y="785"/>
                  <a:pt x="569" y="784"/>
                </a:cubicBezTo>
                <a:cubicBezTo>
                  <a:pt x="567" y="782"/>
                  <a:pt x="564" y="781"/>
                  <a:pt x="561" y="781"/>
                </a:cubicBezTo>
                <a:close/>
                <a:moveTo>
                  <a:pt x="2003" y="837"/>
                </a:moveTo>
                <a:cubicBezTo>
                  <a:pt x="2003" y="836"/>
                  <a:pt x="2003" y="835"/>
                  <a:pt x="2003" y="835"/>
                </a:cubicBezTo>
                <a:cubicBezTo>
                  <a:pt x="2003" y="834"/>
                  <a:pt x="2003" y="834"/>
                  <a:pt x="2002" y="833"/>
                </a:cubicBezTo>
                <a:cubicBezTo>
                  <a:pt x="2000" y="832"/>
                  <a:pt x="1997" y="831"/>
                  <a:pt x="1995" y="830"/>
                </a:cubicBezTo>
                <a:cubicBezTo>
                  <a:pt x="1995" y="830"/>
                  <a:pt x="1994" y="830"/>
                  <a:pt x="1994" y="831"/>
                </a:cubicBezTo>
                <a:cubicBezTo>
                  <a:pt x="1994" y="833"/>
                  <a:pt x="1994" y="836"/>
                  <a:pt x="1995" y="839"/>
                </a:cubicBezTo>
                <a:cubicBezTo>
                  <a:pt x="1995" y="840"/>
                  <a:pt x="1996" y="840"/>
                  <a:pt x="1997" y="840"/>
                </a:cubicBezTo>
                <a:cubicBezTo>
                  <a:pt x="1998" y="841"/>
                  <a:pt x="1999" y="841"/>
                  <a:pt x="2000" y="840"/>
                </a:cubicBezTo>
                <a:cubicBezTo>
                  <a:pt x="2000" y="839"/>
                  <a:pt x="2001" y="839"/>
                  <a:pt x="2001" y="838"/>
                </a:cubicBezTo>
                <a:cubicBezTo>
                  <a:pt x="2001" y="838"/>
                  <a:pt x="2001" y="838"/>
                  <a:pt x="2001" y="838"/>
                </a:cubicBezTo>
                <a:cubicBezTo>
                  <a:pt x="2001" y="838"/>
                  <a:pt x="2001" y="838"/>
                  <a:pt x="2001" y="838"/>
                </a:cubicBezTo>
                <a:cubicBezTo>
                  <a:pt x="2001" y="838"/>
                  <a:pt x="2001" y="838"/>
                  <a:pt x="2001" y="838"/>
                </a:cubicBezTo>
                <a:cubicBezTo>
                  <a:pt x="2002" y="838"/>
                  <a:pt x="2002" y="837"/>
                  <a:pt x="2003" y="837"/>
                </a:cubicBezTo>
                <a:close/>
                <a:moveTo>
                  <a:pt x="71" y="292"/>
                </a:moveTo>
                <a:cubicBezTo>
                  <a:pt x="72" y="292"/>
                  <a:pt x="74" y="289"/>
                  <a:pt x="73" y="288"/>
                </a:cubicBezTo>
                <a:cubicBezTo>
                  <a:pt x="73" y="287"/>
                  <a:pt x="72" y="285"/>
                  <a:pt x="70" y="285"/>
                </a:cubicBezTo>
                <a:cubicBezTo>
                  <a:pt x="68" y="286"/>
                  <a:pt x="66" y="286"/>
                  <a:pt x="63" y="287"/>
                </a:cubicBezTo>
                <a:cubicBezTo>
                  <a:pt x="63" y="287"/>
                  <a:pt x="63" y="288"/>
                  <a:pt x="63" y="288"/>
                </a:cubicBezTo>
                <a:cubicBezTo>
                  <a:pt x="63" y="289"/>
                  <a:pt x="63" y="290"/>
                  <a:pt x="64" y="291"/>
                </a:cubicBezTo>
                <a:cubicBezTo>
                  <a:pt x="66" y="293"/>
                  <a:pt x="68" y="293"/>
                  <a:pt x="71" y="292"/>
                </a:cubicBezTo>
                <a:close/>
                <a:moveTo>
                  <a:pt x="1484" y="218"/>
                </a:moveTo>
                <a:cubicBezTo>
                  <a:pt x="1486" y="219"/>
                  <a:pt x="1490" y="218"/>
                  <a:pt x="1491" y="215"/>
                </a:cubicBezTo>
                <a:cubicBezTo>
                  <a:pt x="1491" y="215"/>
                  <a:pt x="1491" y="215"/>
                  <a:pt x="1491" y="214"/>
                </a:cubicBezTo>
                <a:cubicBezTo>
                  <a:pt x="1490" y="212"/>
                  <a:pt x="1489" y="211"/>
                  <a:pt x="1487" y="210"/>
                </a:cubicBezTo>
                <a:cubicBezTo>
                  <a:pt x="1487" y="209"/>
                  <a:pt x="1486" y="209"/>
                  <a:pt x="1486" y="209"/>
                </a:cubicBezTo>
                <a:cubicBezTo>
                  <a:pt x="1482" y="210"/>
                  <a:pt x="1481" y="212"/>
                  <a:pt x="1482" y="216"/>
                </a:cubicBezTo>
                <a:cubicBezTo>
                  <a:pt x="1482" y="217"/>
                  <a:pt x="1483" y="217"/>
                  <a:pt x="1484" y="218"/>
                </a:cubicBezTo>
                <a:close/>
                <a:moveTo>
                  <a:pt x="1277" y="650"/>
                </a:moveTo>
                <a:cubicBezTo>
                  <a:pt x="1277" y="650"/>
                  <a:pt x="1276" y="650"/>
                  <a:pt x="1275" y="651"/>
                </a:cubicBezTo>
                <a:cubicBezTo>
                  <a:pt x="1275" y="651"/>
                  <a:pt x="1275" y="651"/>
                  <a:pt x="1275" y="652"/>
                </a:cubicBezTo>
                <a:cubicBezTo>
                  <a:pt x="1274" y="652"/>
                  <a:pt x="1275" y="653"/>
                  <a:pt x="1275" y="653"/>
                </a:cubicBezTo>
                <a:cubicBezTo>
                  <a:pt x="1278" y="654"/>
                  <a:pt x="1281" y="655"/>
                  <a:pt x="1283" y="655"/>
                </a:cubicBezTo>
                <a:cubicBezTo>
                  <a:pt x="1284" y="655"/>
                  <a:pt x="1284" y="655"/>
                  <a:pt x="1284" y="655"/>
                </a:cubicBezTo>
                <a:cubicBezTo>
                  <a:pt x="1287" y="655"/>
                  <a:pt x="1289" y="655"/>
                  <a:pt x="1291" y="654"/>
                </a:cubicBezTo>
                <a:cubicBezTo>
                  <a:pt x="1291" y="654"/>
                  <a:pt x="1292" y="654"/>
                  <a:pt x="1292" y="654"/>
                </a:cubicBezTo>
                <a:cubicBezTo>
                  <a:pt x="1292" y="653"/>
                  <a:pt x="1292" y="653"/>
                  <a:pt x="1291" y="652"/>
                </a:cubicBezTo>
                <a:cubicBezTo>
                  <a:pt x="1289" y="651"/>
                  <a:pt x="1287" y="650"/>
                  <a:pt x="1285" y="650"/>
                </a:cubicBezTo>
                <a:cubicBezTo>
                  <a:pt x="1282" y="651"/>
                  <a:pt x="1280" y="651"/>
                  <a:pt x="1277" y="650"/>
                </a:cubicBezTo>
                <a:close/>
                <a:moveTo>
                  <a:pt x="645" y="782"/>
                </a:moveTo>
                <a:cubicBezTo>
                  <a:pt x="644" y="782"/>
                  <a:pt x="642" y="782"/>
                  <a:pt x="641" y="782"/>
                </a:cubicBezTo>
                <a:cubicBezTo>
                  <a:pt x="639" y="782"/>
                  <a:pt x="638" y="782"/>
                  <a:pt x="636" y="782"/>
                </a:cubicBezTo>
                <a:cubicBezTo>
                  <a:pt x="636" y="783"/>
                  <a:pt x="635" y="784"/>
                  <a:pt x="635" y="784"/>
                </a:cubicBezTo>
                <a:cubicBezTo>
                  <a:pt x="634" y="785"/>
                  <a:pt x="635" y="786"/>
                  <a:pt x="636" y="786"/>
                </a:cubicBezTo>
                <a:cubicBezTo>
                  <a:pt x="636" y="787"/>
                  <a:pt x="637" y="787"/>
                  <a:pt x="637" y="787"/>
                </a:cubicBezTo>
                <a:cubicBezTo>
                  <a:pt x="641" y="788"/>
                  <a:pt x="644" y="787"/>
                  <a:pt x="646" y="785"/>
                </a:cubicBezTo>
                <a:cubicBezTo>
                  <a:pt x="647" y="785"/>
                  <a:pt x="647" y="784"/>
                  <a:pt x="646" y="784"/>
                </a:cubicBezTo>
                <a:cubicBezTo>
                  <a:pt x="646" y="783"/>
                  <a:pt x="645" y="782"/>
                  <a:pt x="645" y="782"/>
                </a:cubicBezTo>
                <a:close/>
                <a:moveTo>
                  <a:pt x="1983" y="818"/>
                </a:moveTo>
                <a:cubicBezTo>
                  <a:pt x="1983" y="818"/>
                  <a:pt x="1982" y="819"/>
                  <a:pt x="1982" y="819"/>
                </a:cubicBezTo>
                <a:cubicBezTo>
                  <a:pt x="1983" y="822"/>
                  <a:pt x="1984" y="824"/>
                  <a:pt x="1986" y="827"/>
                </a:cubicBezTo>
                <a:cubicBezTo>
                  <a:pt x="1987" y="828"/>
                  <a:pt x="1989" y="828"/>
                  <a:pt x="1990" y="826"/>
                </a:cubicBezTo>
                <a:cubicBezTo>
                  <a:pt x="1991" y="824"/>
                  <a:pt x="1991" y="822"/>
                  <a:pt x="1990" y="821"/>
                </a:cubicBezTo>
                <a:cubicBezTo>
                  <a:pt x="1989" y="819"/>
                  <a:pt x="1988" y="818"/>
                  <a:pt x="1987" y="817"/>
                </a:cubicBezTo>
                <a:cubicBezTo>
                  <a:pt x="1986" y="817"/>
                  <a:pt x="1984" y="817"/>
                  <a:pt x="1983" y="818"/>
                </a:cubicBezTo>
                <a:close/>
                <a:moveTo>
                  <a:pt x="1974" y="994"/>
                </a:moveTo>
                <a:cubicBezTo>
                  <a:pt x="1976" y="995"/>
                  <a:pt x="1979" y="997"/>
                  <a:pt x="1981" y="998"/>
                </a:cubicBezTo>
                <a:cubicBezTo>
                  <a:pt x="1982" y="998"/>
                  <a:pt x="1983" y="998"/>
                  <a:pt x="1984" y="998"/>
                </a:cubicBezTo>
                <a:cubicBezTo>
                  <a:pt x="1985" y="998"/>
                  <a:pt x="1986" y="996"/>
                  <a:pt x="1985" y="995"/>
                </a:cubicBezTo>
                <a:cubicBezTo>
                  <a:pt x="1985" y="995"/>
                  <a:pt x="1985" y="994"/>
                  <a:pt x="1984" y="994"/>
                </a:cubicBezTo>
                <a:cubicBezTo>
                  <a:pt x="1982" y="991"/>
                  <a:pt x="1979" y="991"/>
                  <a:pt x="1976" y="991"/>
                </a:cubicBezTo>
                <a:cubicBezTo>
                  <a:pt x="1976" y="991"/>
                  <a:pt x="1975" y="991"/>
                  <a:pt x="1974" y="991"/>
                </a:cubicBezTo>
                <a:cubicBezTo>
                  <a:pt x="1973" y="991"/>
                  <a:pt x="1973" y="992"/>
                  <a:pt x="1973" y="993"/>
                </a:cubicBezTo>
                <a:cubicBezTo>
                  <a:pt x="1973" y="993"/>
                  <a:pt x="1973" y="994"/>
                  <a:pt x="1974" y="994"/>
                </a:cubicBezTo>
                <a:close/>
                <a:moveTo>
                  <a:pt x="594" y="99"/>
                </a:moveTo>
                <a:cubicBezTo>
                  <a:pt x="594" y="100"/>
                  <a:pt x="596" y="99"/>
                  <a:pt x="596" y="99"/>
                </a:cubicBezTo>
                <a:cubicBezTo>
                  <a:pt x="598" y="96"/>
                  <a:pt x="598" y="93"/>
                  <a:pt x="598" y="89"/>
                </a:cubicBezTo>
                <a:cubicBezTo>
                  <a:pt x="598" y="89"/>
                  <a:pt x="598" y="88"/>
                  <a:pt x="598" y="87"/>
                </a:cubicBezTo>
                <a:cubicBezTo>
                  <a:pt x="598" y="87"/>
                  <a:pt x="597" y="86"/>
                  <a:pt x="597" y="86"/>
                </a:cubicBezTo>
                <a:cubicBezTo>
                  <a:pt x="596" y="86"/>
                  <a:pt x="596" y="86"/>
                  <a:pt x="595" y="87"/>
                </a:cubicBezTo>
                <a:cubicBezTo>
                  <a:pt x="594" y="89"/>
                  <a:pt x="593" y="91"/>
                  <a:pt x="592" y="94"/>
                </a:cubicBezTo>
                <a:cubicBezTo>
                  <a:pt x="592" y="95"/>
                  <a:pt x="592" y="96"/>
                  <a:pt x="592" y="97"/>
                </a:cubicBezTo>
                <a:cubicBezTo>
                  <a:pt x="592" y="98"/>
                  <a:pt x="593" y="99"/>
                  <a:pt x="594" y="99"/>
                </a:cubicBezTo>
                <a:close/>
                <a:moveTo>
                  <a:pt x="2236" y="962"/>
                </a:moveTo>
                <a:cubicBezTo>
                  <a:pt x="2236" y="962"/>
                  <a:pt x="2235" y="962"/>
                  <a:pt x="2235" y="962"/>
                </a:cubicBezTo>
                <a:cubicBezTo>
                  <a:pt x="2235" y="963"/>
                  <a:pt x="2234" y="963"/>
                  <a:pt x="2234" y="964"/>
                </a:cubicBezTo>
                <a:cubicBezTo>
                  <a:pt x="2235" y="967"/>
                  <a:pt x="2236" y="969"/>
                  <a:pt x="2238" y="971"/>
                </a:cubicBezTo>
                <a:cubicBezTo>
                  <a:pt x="2238" y="972"/>
                  <a:pt x="2241" y="972"/>
                  <a:pt x="2242" y="971"/>
                </a:cubicBezTo>
                <a:cubicBezTo>
                  <a:pt x="2243" y="970"/>
                  <a:pt x="2243" y="968"/>
                  <a:pt x="2242" y="967"/>
                </a:cubicBezTo>
                <a:cubicBezTo>
                  <a:pt x="2241" y="965"/>
                  <a:pt x="2238" y="963"/>
                  <a:pt x="2236" y="962"/>
                </a:cubicBezTo>
                <a:close/>
                <a:moveTo>
                  <a:pt x="622" y="361"/>
                </a:moveTo>
                <a:cubicBezTo>
                  <a:pt x="619" y="363"/>
                  <a:pt x="618" y="366"/>
                  <a:pt x="619" y="369"/>
                </a:cubicBezTo>
                <a:cubicBezTo>
                  <a:pt x="619" y="370"/>
                  <a:pt x="620" y="371"/>
                  <a:pt x="620" y="371"/>
                </a:cubicBezTo>
                <a:cubicBezTo>
                  <a:pt x="621" y="371"/>
                  <a:pt x="622" y="371"/>
                  <a:pt x="622" y="370"/>
                </a:cubicBezTo>
                <a:cubicBezTo>
                  <a:pt x="623" y="369"/>
                  <a:pt x="624" y="368"/>
                  <a:pt x="625" y="366"/>
                </a:cubicBezTo>
                <a:cubicBezTo>
                  <a:pt x="625" y="366"/>
                  <a:pt x="626" y="365"/>
                  <a:pt x="626" y="365"/>
                </a:cubicBezTo>
                <a:cubicBezTo>
                  <a:pt x="626" y="364"/>
                  <a:pt x="626" y="362"/>
                  <a:pt x="625" y="362"/>
                </a:cubicBezTo>
                <a:cubicBezTo>
                  <a:pt x="624" y="361"/>
                  <a:pt x="623" y="361"/>
                  <a:pt x="622" y="361"/>
                </a:cubicBezTo>
                <a:close/>
                <a:moveTo>
                  <a:pt x="2150" y="306"/>
                </a:moveTo>
                <a:cubicBezTo>
                  <a:pt x="2150" y="307"/>
                  <a:pt x="2149" y="307"/>
                  <a:pt x="2148" y="308"/>
                </a:cubicBezTo>
                <a:cubicBezTo>
                  <a:pt x="2147" y="309"/>
                  <a:pt x="2147" y="310"/>
                  <a:pt x="2147" y="312"/>
                </a:cubicBezTo>
                <a:cubicBezTo>
                  <a:pt x="2148" y="314"/>
                  <a:pt x="2148" y="316"/>
                  <a:pt x="2149" y="317"/>
                </a:cubicBezTo>
                <a:cubicBezTo>
                  <a:pt x="2149" y="318"/>
                  <a:pt x="2149" y="318"/>
                  <a:pt x="2150" y="318"/>
                </a:cubicBezTo>
                <a:cubicBezTo>
                  <a:pt x="2150" y="318"/>
                  <a:pt x="2150" y="317"/>
                  <a:pt x="2150" y="317"/>
                </a:cubicBezTo>
                <a:cubicBezTo>
                  <a:pt x="2151" y="315"/>
                  <a:pt x="2152" y="313"/>
                  <a:pt x="2154" y="311"/>
                </a:cubicBezTo>
                <a:cubicBezTo>
                  <a:pt x="2154" y="310"/>
                  <a:pt x="2154" y="308"/>
                  <a:pt x="2153" y="307"/>
                </a:cubicBezTo>
                <a:cubicBezTo>
                  <a:pt x="2152" y="306"/>
                  <a:pt x="2151" y="306"/>
                  <a:pt x="2150" y="306"/>
                </a:cubicBezTo>
                <a:close/>
                <a:moveTo>
                  <a:pt x="685" y="547"/>
                </a:moveTo>
                <a:cubicBezTo>
                  <a:pt x="685" y="547"/>
                  <a:pt x="685" y="547"/>
                  <a:pt x="685" y="547"/>
                </a:cubicBezTo>
                <a:cubicBezTo>
                  <a:pt x="685" y="547"/>
                  <a:pt x="685" y="547"/>
                  <a:pt x="685" y="547"/>
                </a:cubicBezTo>
                <a:cubicBezTo>
                  <a:pt x="685" y="547"/>
                  <a:pt x="685" y="548"/>
                  <a:pt x="686" y="548"/>
                </a:cubicBezTo>
                <a:cubicBezTo>
                  <a:pt x="685" y="547"/>
                  <a:pt x="685" y="547"/>
                  <a:pt x="685" y="547"/>
                </a:cubicBezTo>
                <a:close/>
                <a:moveTo>
                  <a:pt x="691" y="551"/>
                </a:moveTo>
                <a:cubicBezTo>
                  <a:pt x="692" y="551"/>
                  <a:pt x="693" y="551"/>
                  <a:pt x="694" y="551"/>
                </a:cubicBezTo>
                <a:cubicBezTo>
                  <a:pt x="694" y="546"/>
                  <a:pt x="695" y="547"/>
                  <a:pt x="691" y="545"/>
                </a:cubicBezTo>
                <a:cubicBezTo>
                  <a:pt x="688" y="544"/>
                  <a:pt x="686" y="543"/>
                  <a:pt x="684" y="541"/>
                </a:cubicBezTo>
                <a:cubicBezTo>
                  <a:pt x="684" y="541"/>
                  <a:pt x="683" y="541"/>
                  <a:pt x="683" y="542"/>
                </a:cubicBezTo>
                <a:cubicBezTo>
                  <a:pt x="682" y="542"/>
                  <a:pt x="682" y="542"/>
                  <a:pt x="683" y="542"/>
                </a:cubicBezTo>
                <a:cubicBezTo>
                  <a:pt x="683" y="544"/>
                  <a:pt x="684" y="546"/>
                  <a:pt x="685" y="547"/>
                </a:cubicBezTo>
                <a:cubicBezTo>
                  <a:pt x="686" y="548"/>
                  <a:pt x="687" y="548"/>
                  <a:pt x="688" y="548"/>
                </a:cubicBezTo>
                <a:cubicBezTo>
                  <a:pt x="689" y="549"/>
                  <a:pt x="690" y="550"/>
                  <a:pt x="691" y="551"/>
                </a:cubicBezTo>
                <a:close/>
                <a:moveTo>
                  <a:pt x="691" y="551"/>
                </a:moveTo>
                <a:cubicBezTo>
                  <a:pt x="691" y="551"/>
                  <a:pt x="690" y="551"/>
                  <a:pt x="690" y="551"/>
                </a:cubicBezTo>
                <a:cubicBezTo>
                  <a:pt x="690" y="551"/>
                  <a:pt x="691" y="551"/>
                  <a:pt x="691" y="551"/>
                </a:cubicBezTo>
                <a:cubicBezTo>
                  <a:pt x="691" y="551"/>
                  <a:pt x="691" y="551"/>
                  <a:pt x="691" y="551"/>
                </a:cubicBezTo>
                <a:cubicBezTo>
                  <a:pt x="691" y="551"/>
                  <a:pt x="691" y="551"/>
                  <a:pt x="691" y="551"/>
                </a:cubicBezTo>
                <a:close/>
                <a:moveTo>
                  <a:pt x="2115" y="518"/>
                </a:moveTo>
                <a:cubicBezTo>
                  <a:pt x="2118" y="514"/>
                  <a:pt x="2121" y="511"/>
                  <a:pt x="2124" y="508"/>
                </a:cubicBezTo>
                <a:cubicBezTo>
                  <a:pt x="2124" y="508"/>
                  <a:pt x="2124" y="507"/>
                  <a:pt x="2124" y="507"/>
                </a:cubicBezTo>
                <a:cubicBezTo>
                  <a:pt x="2123" y="506"/>
                  <a:pt x="2123" y="506"/>
                  <a:pt x="2123" y="506"/>
                </a:cubicBezTo>
                <a:cubicBezTo>
                  <a:pt x="2122" y="506"/>
                  <a:pt x="2121" y="507"/>
                  <a:pt x="2120" y="507"/>
                </a:cubicBezTo>
                <a:cubicBezTo>
                  <a:pt x="2118" y="508"/>
                  <a:pt x="2117" y="509"/>
                  <a:pt x="2116" y="511"/>
                </a:cubicBezTo>
                <a:cubicBezTo>
                  <a:pt x="2116" y="512"/>
                  <a:pt x="2115" y="514"/>
                  <a:pt x="2114" y="515"/>
                </a:cubicBezTo>
                <a:cubicBezTo>
                  <a:pt x="2114" y="516"/>
                  <a:pt x="2114" y="516"/>
                  <a:pt x="2114" y="517"/>
                </a:cubicBezTo>
                <a:cubicBezTo>
                  <a:pt x="2114" y="517"/>
                  <a:pt x="2114" y="518"/>
                  <a:pt x="2115" y="518"/>
                </a:cubicBezTo>
                <a:cubicBezTo>
                  <a:pt x="2115" y="518"/>
                  <a:pt x="2115" y="518"/>
                  <a:pt x="2115" y="518"/>
                </a:cubicBezTo>
                <a:close/>
                <a:moveTo>
                  <a:pt x="2034" y="949"/>
                </a:moveTo>
                <a:cubicBezTo>
                  <a:pt x="2034" y="948"/>
                  <a:pt x="2034" y="948"/>
                  <a:pt x="2034" y="947"/>
                </a:cubicBezTo>
                <a:cubicBezTo>
                  <a:pt x="2034" y="947"/>
                  <a:pt x="2034" y="946"/>
                  <a:pt x="2034" y="946"/>
                </a:cubicBezTo>
                <a:cubicBezTo>
                  <a:pt x="2032" y="943"/>
                  <a:pt x="2028" y="943"/>
                  <a:pt x="2026" y="946"/>
                </a:cubicBezTo>
                <a:cubicBezTo>
                  <a:pt x="2025" y="946"/>
                  <a:pt x="2025" y="948"/>
                  <a:pt x="2026" y="948"/>
                </a:cubicBezTo>
                <a:cubicBezTo>
                  <a:pt x="2027" y="950"/>
                  <a:pt x="2029" y="951"/>
                  <a:pt x="2032" y="950"/>
                </a:cubicBezTo>
                <a:cubicBezTo>
                  <a:pt x="2032" y="950"/>
                  <a:pt x="2033" y="949"/>
                  <a:pt x="2034" y="949"/>
                </a:cubicBezTo>
                <a:close/>
                <a:moveTo>
                  <a:pt x="1013" y="209"/>
                </a:moveTo>
                <a:cubicBezTo>
                  <a:pt x="1013" y="210"/>
                  <a:pt x="1013" y="211"/>
                  <a:pt x="1013" y="212"/>
                </a:cubicBezTo>
                <a:cubicBezTo>
                  <a:pt x="1012" y="213"/>
                  <a:pt x="1013" y="215"/>
                  <a:pt x="1014" y="215"/>
                </a:cubicBezTo>
                <a:cubicBezTo>
                  <a:pt x="1016" y="216"/>
                  <a:pt x="1017" y="216"/>
                  <a:pt x="1019" y="215"/>
                </a:cubicBezTo>
                <a:cubicBezTo>
                  <a:pt x="1019" y="215"/>
                  <a:pt x="1019" y="215"/>
                  <a:pt x="1020" y="215"/>
                </a:cubicBezTo>
                <a:cubicBezTo>
                  <a:pt x="1020" y="214"/>
                  <a:pt x="1020" y="214"/>
                  <a:pt x="1020" y="214"/>
                </a:cubicBezTo>
                <a:cubicBezTo>
                  <a:pt x="1019" y="212"/>
                  <a:pt x="1018" y="211"/>
                  <a:pt x="1018" y="209"/>
                </a:cubicBezTo>
                <a:cubicBezTo>
                  <a:pt x="1017" y="208"/>
                  <a:pt x="1014" y="208"/>
                  <a:pt x="1013" y="209"/>
                </a:cubicBezTo>
                <a:close/>
                <a:moveTo>
                  <a:pt x="22" y="380"/>
                </a:moveTo>
                <a:cubicBezTo>
                  <a:pt x="21" y="380"/>
                  <a:pt x="20" y="380"/>
                  <a:pt x="20" y="380"/>
                </a:cubicBezTo>
                <a:cubicBezTo>
                  <a:pt x="18" y="382"/>
                  <a:pt x="16" y="385"/>
                  <a:pt x="14" y="387"/>
                </a:cubicBezTo>
                <a:cubicBezTo>
                  <a:pt x="14" y="387"/>
                  <a:pt x="14" y="387"/>
                  <a:pt x="14" y="388"/>
                </a:cubicBezTo>
                <a:cubicBezTo>
                  <a:pt x="14" y="388"/>
                  <a:pt x="14" y="388"/>
                  <a:pt x="15" y="388"/>
                </a:cubicBezTo>
                <a:cubicBezTo>
                  <a:pt x="18" y="388"/>
                  <a:pt x="21" y="386"/>
                  <a:pt x="23" y="384"/>
                </a:cubicBezTo>
                <a:cubicBezTo>
                  <a:pt x="24" y="384"/>
                  <a:pt x="24" y="383"/>
                  <a:pt x="24" y="382"/>
                </a:cubicBezTo>
                <a:cubicBezTo>
                  <a:pt x="24" y="381"/>
                  <a:pt x="23" y="380"/>
                  <a:pt x="22" y="380"/>
                </a:cubicBezTo>
                <a:close/>
                <a:moveTo>
                  <a:pt x="658" y="52"/>
                </a:moveTo>
                <a:cubicBezTo>
                  <a:pt x="658" y="53"/>
                  <a:pt x="660" y="53"/>
                  <a:pt x="660" y="53"/>
                </a:cubicBezTo>
                <a:cubicBezTo>
                  <a:pt x="661" y="51"/>
                  <a:pt x="663" y="50"/>
                  <a:pt x="663" y="47"/>
                </a:cubicBezTo>
                <a:cubicBezTo>
                  <a:pt x="663" y="47"/>
                  <a:pt x="663" y="46"/>
                  <a:pt x="663" y="46"/>
                </a:cubicBezTo>
                <a:cubicBezTo>
                  <a:pt x="662" y="45"/>
                  <a:pt x="661" y="45"/>
                  <a:pt x="660" y="44"/>
                </a:cubicBezTo>
                <a:cubicBezTo>
                  <a:pt x="657" y="45"/>
                  <a:pt x="655" y="47"/>
                  <a:pt x="657" y="50"/>
                </a:cubicBezTo>
                <a:cubicBezTo>
                  <a:pt x="657" y="51"/>
                  <a:pt x="657" y="52"/>
                  <a:pt x="658" y="52"/>
                </a:cubicBezTo>
                <a:close/>
                <a:moveTo>
                  <a:pt x="661" y="119"/>
                </a:moveTo>
                <a:cubicBezTo>
                  <a:pt x="661" y="119"/>
                  <a:pt x="661" y="119"/>
                  <a:pt x="661" y="119"/>
                </a:cubicBezTo>
                <a:cubicBezTo>
                  <a:pt x="662" y="120"/>
                  <a:pt x="664" y="120"/>
                  <a:pt x="665" y="119"/>
                </a:cubicBezTo>
                <a:cubicBezTo>
                  <a:pt x="667" y="119"/>
                  <a:pt x="667" y="118"/>
                  <a:pt x="668" y="116"/>
                </a:cubicBezTo>
                <a:cubicBezTo>
                  <a:pt x="668" y="114"/>
                  <a:pt x="666" y="112"/>
                  <a:pt x="664" y="112"/>
                </a:cubicBezTo>
                <a:cubicBezTo>
                  <a:pt x="663" y="112"/>
                  <a:pt x="663" y="113"/>
                  <a:pt x="662" y="113"/>
                </a:cubicBezTo>
                <a:cubicBezTo>
                  <a:pt x="661" y="115"/>
                  <a:pt x="661" y="116"/>
                  <a:pt x="661" y="119"/>
                </a:cubicBezTo>
                <a:close/>
                <a:moveTo>
                  <a:pt x="9" y="385"/>
                </a:moveTo>
                <a:cubicBezTo>
                  <a:pt x="8" y="385"/>
                  <a:pt x="7" y="385"/>
                  <a:pt x="7" y="385"/>
                </a:cubicBezTo>
                <a:cubicBezTo>
                  <a:pt x="4" y="387"/>
                  <a:pt x="2" y="389"/>
                  <a:pt x="0" y="391"/>
                </a:cubicBezTo>
                <a:cubicBezTo>
                  <a:pt x="0" y="392"/>
                  <a:pt x="0" y="392"/>
                  <a:pt x="1" y="393"/>
                </a:cubicBezTo>
                <a:cubicBezTo>
                  <a:pt x="1" y="393"/>
                  <a:pt x="1" y="393"/>
                  <a:pt x="1" y="393"/>
                </a:cubicBezTo>
                <a:cubicBezTo>
                  <a:pt x="5" y="391"/>
                  <a:pt x="8" y="390"/>
                  <a:pt x="10" y="387"/>
                </a:cubicBezTo>
                <a:cubicBezTo>
                  <a:pt x="10" y="387"/>
                  <a:pt x="10" y="386"/>
                  <a:pt x="10" y="386"/>
                </a:cubicBezTo>
                <a:cubicBezTo>
                  <a:pt x="10" y="386"/>
                  <a:pt x="9" y="385"/>
                  <a:pt x="9" y="385"/>
                </a:cubicBezTo>
                <a:close/>
                <a:moveTo>
                  <a:pt x="1844" y="94"/>
                </a:moveTo>
                <a:cubicBezTo>
                  <a:pt x="1844" y="93"/>
                  <a:pt x="1843" y="94"/>
                  <a:pt x="1842" y="94"/>
                </a:cubicBezTo>
                <a:cubicBezTo>
                  <a:pt x="1841" y="94"/>
                  <a:pt x="1841" y="95"/>
                  <a:pt x="1841" y="96"/>
                </a:cubicBezTo>
                <a:cubicBezTo>
                  <a:pt x="1841" y="99"/>
                  <a:pt x="1843" y="100"/>
                  <a:pt x="1845" y="101"/>
                </a:cubicBezTo>
                <a:cubicBezTo>
                  <a:pt x="1846" y="102"/>
                  <a:pt x="1847" y="101"/>
                  <a:pt x="1847" y="101"/>
                </a:cubicBezTo>
                <a:cubicBezTo>
                  <a:pt x="1847" y="100"/>
                  <a:pt x="1848" y="99"/>
                  <a:pt x="1848" y="98"/>
                </a:cubicBezTo>
                <a:cubicBezTo>
                  <a:pt x="1848" y="96"/>
                  <a:pt x="1846" y="94"/>
                  <a:pt x="1844" y="94"/>
                </a:cubicBezTo>
                <a:close/>
                <a:moveTo>
                  <a:pt x="612" y="90"/>
                </a:moveTo>
                <a:cubicBezTo>
                  <a:pt x="613" y="92"/>
                  <a:pt x="614" y="93"/>
                  <a:pt x="616" y="94"/>
                </a:cubicBezTo>
                <a:cubicBezTo>
                  <a:pt x="618" y="94"/>
                  <a:pt x="619" y="92"/>
                  <a:pt x="619" y="91"/>
                </a:cubicBezTo>
                <a:cubicBezTo>
                  <a:pt x="619" y="88"/>
                  <a:pt x="617" y="87"/>
                  <a:pt x="614" y="87"/>
                </a:cubicBezTo>
                <a:cubicBezTo>
                  <a:pt x="613" y="87"/>
                  <a:pt x="611" y="89"/>
                  <a:pt x="612" y="90"/>
                </a:cubicBezTo>
                <a:close/>
                <a:moveTo>
                  <a:pt x="557" y="73"/>
                </a:moveTo>
                <a:cubicBezTo>
                  <a:pt x="557" y="73"/>
                  <a:pt x="557" y="73"/>
                  <a:pt x="557" y="73"/>
                </a:cubicBezTo>
                <a:cubicBezTo>
                  <a:pt x="557" y="73"/>
                  <a:pt x="557" y="73"/>
                  <a:pt x="557" y="73"/>
                </a:cubicBezTo>
                <a:cubicBezTo>
                  <a:pt x="557" y="74"/>
                  <a:pt x="557" y="75"/>
                  <a:pt x="556" y="76"/>
                </a:cubicBezTo>
                <a:cubicBezTo>
                  <a:pt x="556" y="77"/>
                  <a:pt x="556" y="79"/>
                  <a:pt x="557" y="80"/>
                </a:cubicBezTo>
                <a:cubicBezTo>
                  <a:pt x="558" y="81"/>
                  <a:pt x="559" y="82"/>
                  <a:pt x="559" y="83"/>
                </a:cubicBezTo>
                <a:cubicBezTo>
                  <a:pt x="560" y="84"/>
                  <a:pt x="561" y="85"/>
                  <a:pt x="562" y="85"/>
                </a:cubicBezTo>
                <a:cubicBezTo>
                  <a:pt x="564" y="85"/>
                  <a:pt x="565" y="85"/>
                  <a:pt x="566" y="85"/>
                </a:cubicBezTo>
                <a:cubicBezTo>
                  <a:pt x="568" y="85"/>
                  <a:pt x="570" y="85"/>
                  <a:pt x="571" y="83"/>
                </a:cubicBezTo>
                <a:cubicBezTo>
                  <a:pt x="572" y="82"/>
                  <a:pt x="573" y="80"/>
                  <a:pt x="574" y="79"/>
                </a:cubicBezTo>
                <a:cubicBezTo>
                  <a:pt x="574" y="77"/>
                  <a:pt x="575" y="77"/>
                  <a:pt x="576" y="76"/>
                </a:cubicBezTo>
                <a:cubicBezTo>
                  <a:pt x="577" y="75"/>
                  <a:pt x="578" y="75"/>
                  <a:pt x="579" y="74"/>
                </a:cubicBezTo>
                <a:cubicBezTo>
                  <a:pt x="580" y="74"/>
                  <a:pt x="580" y="73"/>
                  <a:pt x="580" y="72"/>
                </a:cubicBezTo>
                <a:cubicBezTo>
                  <a:pt x="579" y="72"/>
                  <a:pt x="579" y="71"/>
                  <a:pt x="578" y="71"/>
                </a:cubicBezTo>
                <a:cubicBezTo>
                  <a:pt x="575" y="70"/>
                  <a:pt x="571" y="69"/>
                  <a:pt x="567" y="69"/>
                </a:cubicBezTo>
                <a:cubicBezTo>
                  <a:pt x="564" y="69"/>
                  <a:pt x="562" y="69"/>
                  <a:pt x="559" y="71"/>
                </a:cubicBezTo>
                <a:cubicBezTo>
                  <a:pt x="559" y="71"/>
                  <a:pt x="559" y="71"/>
                  <a:pt x="559" y="71"/>
                </a:cubicBezTo>
                <a:cubicBezTo>
                  <a:pt x="559" y="71"/>
                  <a:pt x="559" y="71"/>
                  <a:pt x="559" y="71"/>
                </a:cubicBezTo>
                <a:cubicBezTo>
                  <a:pt x="559" y="71"/>
                  <a:pt x="559" y="71"/>
                  <a:pt x="559" y="71"/>
                </a:cubicBezTo>
                <a:cubicBezTo>
                  <a:pt x="559" y="71"/>
                  <a:pt x="559" y="71"/>
                  <a:pt x="558" y="72"/>
                </a:cubicBezTo>
                <a:cubicBezTo>
                  <a:pt x="559" y="71"/>
                  <a:pt x="559" y="71"/>
                  <a:pt x="559" y="71"/>
                </a:cubicBezTo>
                <a:cubicBezTo>
                  <a:pt x="559" y="69"/>
                  <a:pt x="559" y="68"/>
                  <a:pt x="559" y="66"/>
                </a:cubicBezTo>
                <a:cubicBezTo>
                  <a:pt x="559" y="65"/>
                  <a:pt x="557" y="64"/>
                  <a:pt x="556" y="64"/>
                </a:cubicBezTo>
                <a:cubicBezTo>
                  <a:pt x="555" y="65"/>
                  <a:pt x="554" y="66"/>
                  <a:pt x="554" y="67"/>
                </a:cubicBezTo>
                <a:cubicBezTo>
                  <a:pt x="553" y="68"/>
                  <a:pt x="553" y="69"/>
                  <a:pt x="554" y="71"/>
                </a:cubicBezTo>
                <a:cubicBezTo>
                  <a:pt x="555" y="72"/>
                  <a:pt x="556" y="72"/>
                  <a:pt x="557" y="73"/>
                </a:cubicBezTo>
                <a:close/>
                <a:moveTo>
                  <a:pt x="2149" y="445"/>
                </a:moveTo>
                <a:cubicBezTo>
                  <a:pt x="2151" y="442"/>
                  <a:pt x="2152" y="439"/>
                  <a:pt x="2152" y="436"/>
                </a:cubicBezTo>
                <a:cubicBezTo>
                  <a:pt x="2152" y="436"/>
                  <a:pt x="2151" y="435"/>
                  <a:pt x="2151" y="435"/>
                </a:cubicBezTo>
                <a:cubicBezTo>
                  <a:pt x="2151" y="435"/>
                  <a:pt x="2150" y="435"/>
                  <a:pt x="2150" y="435"/>
                </a:cubicBezTo>
                <a:cubicBezTo>
                  <a:pt x="2150" y="436"/>
                  <a:pt x="2149" y="436"/>
                  <a:pt x="2149" y="436"/>
                </a:cubicBezTo>
                <a:cubicBezTo>
                  <a:pt x="2148" y="438"/>
                  <a:pt x="2147" y="441"/>
                  <a:pt x="2146" y="443"/>
                </a:cubicBezTo>
                <a:cubicBezTo>
                  <a:pt x="2146" y="444"/>
                  <a:pt x="2147" y="444"/>
                  <a:pt x="2147" y="445"/>
                </a:cubicBezTo>
                <a:cubicBezTo>
                  <a:pt x="2147" y="445"/>
                  <a:pt x="2147" y="445"/>
                  <a:pt x="2148" y="445"/>
                </a:cubicBezTo>
                <a:cubicBezTo>
                  <a:pt x="2148" y="445"/>
                  <a:pt x="2149" y="445"/>
                  <a:pt x="2149" y="445"/>
                </a:cubicBezTo>
                <a:close/>
                <a:moveTo>
                  <a:pt x="603" y="441"/>
                </a:moveTo>
                <a:cubicBezTo>
                  <a:pt x="605" y="440"/>
                  <a:pt x="606" y="439"/>
                  <a:pt x="608" y="437"/>
                </a:cubicBezTo>
                <a:cubicBezTo>
                  <a:pt x="608" y="437"/>
                  <a:pt x="608" y="436"/>
                  <a:pt x="607" y="436"/>
                </a:cubicBezTo>
                <a:cubicBezTo>
                  <a:pt x="607" y="434"/>
                  <a:pt x="606" y="434"/>
                  <a:pt x="605" y="434"/>
                </a:cubicBezTo>
                <a:cubicBezTo>
                  <a:pt x="604" y="435"/>
                  <a:pt x="603" y="435"/>
                  <a:pt x="601" y="435"/>
                </a:cubicBezTo>
                <a:cubicBezTo>
                  <a:pt x="600" y="436"/>
                  <a:pt x="600" y="437"/>
                  <a:pt x="600" y="438"/>
                </a:cubicBezTo>
                <a:cubicBezTo>
                  <a:pt x="600" y="438"/>
                  <a:pt x="600" y="439"/>
                  <a:pt x="600" y="439"/>
                </a:cubicBezTo>
                <a:cubicBezTo>
                  <a:pt x="600" y="440"/>
                  <a:pt x="602" y="441"/>
                  <a:pt x="603" y="441"/>
                </a:cubicBezTo>
                <a:close/>
                <a:moveTo>
                  <a:pt x="1798" y="82"/>
                </a:moveTo>
                <a:cubicBezTo>
                  <a:pt x="1798" y="82"/>
                  <a:pt x="1799" y="82"/>
                  <a:pt x="1799" y="82"/>
                </a:cubicBezTo>
                <a:cubicBezTo>
                  <a:pt x="1799" y="82"/>
                  <a:pt x="1799" y="81"/>
                  <a:pt x="1800" y="81"/>
                </a:cubicBezTo>
                <a:cubicBezTo>
                  <a:pt x="1800" y="80"/>
                  <a:pt x="1799" y="79"/>
                  <a:pt x="1799" y="78"/>
                </a:cubicBezTo>
                <a:cubicBezTo>
                  <a:pt x="1798" y="76"/>
                  <a:pt x="1797" y="74"/>
                  <a:pt x="1795" y="74"/>
                </a:cubicBezTo>
                <a:cubicBezTo>
                  <a:pt x="1794" y="73"/>
                  <a:pt x="1794" y="73"/>
                  <a:pt x="1793" y="73"/>
                </a:cubicBezTo>
                <a:cubicBezTo>
                  <a:pt x="1793" y="72"/>
                  <a:pt x="1792" y="72"/>
                  <a:pt x="1792" y="73"/>
                </a:cubicBezTo>
                <a:cubicBezTo>
                  <a:pt x="1792" y="73"/>
                  <a:pt x="1792" y="74"/>
                  <a:pt x="1792" y="74"/>
                </a:cubicBezTo>
                <a:cubicBezTo>
                  <a:pt x="1794" y="77"/>
                  <a:pt x="1796" y="79"/>
                  <a:pt x="1798" y="82"/>
                </a:cubicBezTo>
                <a:close/>
                <a:moveTo>
                  <a:pt x="591" y="169"/>
                </a:moveTo>
                <a:cubicBezTo>
                  <a:pt x="592" y="169"/>
                  <a:pt x="593" y="168"/>
                  <a:pt x="594" y="168"/>
                </a:cubicBezTo>
                <a:cubicBezTo>
                  <a:pt x="594" y="168"/>
                  <a:pt x="594" y="167"/>
                  <a:pt x="595" y="166"/>
                </a:cubicBezTo>
                <a:cubicBezTo>
                  <a:pt x="595" y="166"/>
                  <a:pt x="594" y="166"/>
                  <a:pt x="594" y="166"/>
                </a:cubicBezTo>
                <a:cubicBezTo>
                  <a:pt x="592" y="165"/>
                  <a:pt x="589" y="165"/>
                  <a:pt x="587" y="166"/>
                </a:cubicBezTo>
                <a:cubicBezTo>
                  <a:pt x="585" y="166"/>
                  <a:pt x="584" y="167"/>
                  <a:pt x="584" y="169"/>
                </a:cubicBezTo>
                <a:cubicBezTo>
                  <a:pt x="586" y="169"/>
                  <a:pt x="589" y="170"/>
                  <a:pt x="591" y="169"/>
                </a:cubicBezTo>
                <a:close/>
                <a:moveTo>
                  <a:pt x="571" y="139"/>
                </a:moveTo>
                <a:cubicBezTo>
                  <a:pt x="572" y="139"/>
                  <a:pt x="574" y="139"/>
                  <a:pt x="575" y="137"/>
                </a:cubicBezTo>
                <a:cubicBezTo>
                  <a:pt x="575" y="136"/>
                  <a:pt x="575" y="135"/>
                  <a:pt x="575" y="133"/>
                </a:cubicBezTo>
                <a:cubicBezTo>
                  <a:pt x="574" y="133"/>
                  <a:pt x="574" y="133"/>
                  <a:pt x="573" y="133"/>
                </a:cubicBezTo>
                <a:cubicBezTo>
                  <a:pt x="571" y="133"/>
                  <a:pt x="570" y="135"/>
                  <a:pt x="569" y="136"/>
                </a:cubicBezTo>
                <a:cubicBezTo>
                  <a:pt x="569" y="137"/>
                  <a:pt x="570" y="139"/>
                  <a:pt x="571" y="139"/>
                </a:cubicBezTo>
                <a:close/>
                <a:moveTo>
                  <a:pt x="1159" y="147"/>
                </a:moveTo>
                <a:cubicBezTo>
                  <a:pt x="1159" y="147"/>
                  <a:pt x="1159" y="148"/>
                  <a:pt x="1159" y="148"/>
                </a:cubicBezTo>
                <a:cubicBezTo>
                  <a:pt x="1159" y="152"/>
                  <a:pt x="1161" y="155"/>
                  <a:pt x="1164" y="157"/>
                </a:cubicBezTo>
                <a:cubicBezTo>
                  <a:pt x="1165" y="157"/>
                  <a:pt x="1165" y="157"/>
                  <a:pt x="1165" y="157"/>
                </a:cubicBezTo>
                <a:cubicBezTo>
                  <a:pt x="1165" y="157"/>
                  <a:pt x="1165" y="156"/>
                  <a:pt x="1165" y="156"/>
                </a:cubicBezTo>
                <a:cubicBezTo>
                  <a:pt x="1164" y="153"/>
                  <a:pt x="1162" y="150"/>
                  <a:pt x="1160" y="147"/>
                </a:cubicBezTo>
                <a:cubicBezTo>
                  <a:pt x="1160" y="147"/>
                  <a:pt x="1160" y="147"/>
                  <a:pt x="1159" y="147"/>
                </a:cubicBezTo>
                <a:close/>
                <a:moveTo>
                  <a:pt x="636" y="349"/>
                </a:moveTo>
                <a:cubicBezTo>
                  <a:pt x="635" y="350"/>
                  <a:pt x="635" y="351"/>
                  <a:pt x="636" y="353"/>
                </a:cubicBezTo>
                <a:cubicBezTo>
                  <a:pt x="637" y="353"/>
                  <a:pt x="637" y="354"/>
                  <a:pt x="637" y="354"/>
                </a:cubicBezTo>
                <a:cubicBezTo>
                  <a:pt x="638" y="355"/>
                  <a:pt x="639" y="355"/>
                  <a:pt x="640" y="354"/>
                </a:cubicBezTo>
                <a:cubicBezTo>
                  <a:pt x="640" y="354"/>
                  <a:pt x="641" y="353"/>
                  <a:pt x="641" y="353"/>
                </a:cubicBezTo>
                <a:cubicBezTo>
                  <a:pt x="641" y="351"/>
                  <a:pt x="641" y="350"/>
                  <a:pt x="640" y="350"/>
                </a:cubicBezTo>
                <a:cubicBezTo>
                  <a:pt x="638" y="349"/>
                  <a:pt x="637" y="348"/>
                  <a:pt x="636" y="349"/>
                </a:cubicBezTo>
                <a:close/>
                <a:moveTo>
                  <a:pt x="580" y="470"/>
                </a:moveTo>
                <a:cubicBezTo>
                  <a:pt x="580" y="470"/>
                  <a:pt x="579" y="471"/>
                  <a:pt x="579" y="472"/>
                </a:cubicBezTo>
                <a:cubicBezTo>
                  <a:pt x="579" y="472"/>
                  <a:pt x="579" y="473"/>
                  <a:pt x="579" y="473"/>
                </a:cubicBezTo>
                <a:cubicBezTo>
                  <a:pt x="581" y="474"/>
                  <a:pt x="582" y="474"/>
                  <a:pt x="583" y="474"/>
                </a:cubicBezTo>
                <a:cubicBezTo>
                  <a:pt x="584" y="474"/>
                  <a:pt x="584" y="475"/>
                  <a:pt x="584" y="474"/>
                </a:cubicBezTo>
                <a:cubicBezTo>
                  <a:pt x="585" y="474"/>
                  <a:pt x="585" y="474"/>
                  <a:pt x="586" y="474"/>
                </a:cubicBezTo>
                <a:cubicBezTo>
                  <a:pt x="586" y="473"/>
                  <a:pt x="586" y="472"/>
                  <a:pt x="586" y="471"/>
                </a:cubicBezTo>
                <a:cubicBezTo>
                  <a:pt x="584" y="470"/>
                  <a:pt x="582" y="469"/>
                  <a:pt x="580" y="470"/>
                </a:cubicBezTo>
                <a:close/>
                <a:moveTo>
                  <a:pt x="2006" y="400"/>
                </a:moveTo>
                <a:cubicBezTo>
                  <a:pt x="2004" y="399"/>
                  <a:pt x="2003" y="400"/>
                  <a:pt x="2002" y="401"/>
                </a:cubicBezTo>
                <a:cubicBezTo>
                  <a:pt x="2001" y="403"/>
                  <a:pt x="2002" y="404"/>
                  <a:pt x="2004" y="404"/>
                </a:cubicBezTo>
                <a:cubicBezTo>
                  <a:pt x="2004" y="405"/>
                  <a:pt x="2005" y="405"/>
                  <a:pt x="2005" y="405"/>
                </a:cubicBezTo>
                <a:cubicBezTo>
                  <a:pt x="2006" y="405"/>
                  <a:pt x="2007" y="404"/>
                  <a:pt x="2007" y="404"/>
                </a:cubicBezTo>
                <a:cubicBezTo>
                  <a:pt x="2008" y="402"/>
                  <a:pt x="2007" y="400"/>
                  <a:pt x="2006" y="400"/>
                </a:cubicBezTo>
                <a:close/>
                <a:moveTo>
                  <a:pt x="2071" y="1220"/>
                </a:moveTo>
                <a:cubicBezTo>
                  <a:pt x="2070" y="1220"/>
                  <a:pt x="2070" y="1221"/>
                  <a:pt x="2070" y="1221"/>
                </a:cubicBezTo>
                <a:cubicBezTo>
                  <a:pt x="2070" y="1221"/>
                  <a:pt x="2071" y="1222"/>
                  <a:pt x="2071" y="1222"/>
                </a:cubicBezTo>
                <a:cubicBezTo>
                  <a:pt x="2072" y="1222"/>
                  <a:pt x="2073" y="1222"/>
                  <a:pt x="2074" y="1222"/>
                </a:cubicBezTo>
                <a:cubicBezTo>
                  <a:pt x="2075" y="1222"/>
                  <a:pt x="2075" y="1222"/>
                  <a:pt x="2076" y="1222"/>
                </a:cubicBezTo>
                <a:cubicBezTo>
                  <a:pt x="2076" y="1222"/>
                  <a:pt x="2077" y="1222"/>
                  <a:pt x="2077" y="1222"/>
                </a:cubicBezTo>
                <a:cubicBezTo>
                  <a:pt x="2077" y="1222"/>
                  <a:pt x="2078" y="1221"/>
                  <a:pt x="2078" y="1221"/>
                </a:cubicBezTo>
                <a:cubicBezTo>
                  <a:pt x="2078" y="1220"/>
                  <a:pt x="2078" y="1220"/>
                  <a:pt x="2077" y="1219"/>
                </a:cubicBezTo>
                <a:cubicBezTo>
                  <a:pt x="2075" y="1218"/>
                  <a:pt x="2073" y="1218"/>
                  <a:pt x="2071" y="1220"/>
                </a:cubicBezTo>
                <a:close/>
                <a:moveTo>
                  <a:pt x="1534" y="208"/>
                </a:moveTo>
                <a:cubicBezTo>
                  <a:pt x="1534" y="208"/>
                  <a:pt x="1533" y="208"/>
                  <a:pt x="1533" y="208"/>
                </a:cubicBezTo>
                <a:cubicBezTo>
                  <a:pt x="1531" y="209"/>
                  <a:pt x="1530" y="212"/>
                  <a:pt x="1532" y="213"/>
                </a:cubicBezTo>
                <a:cubicBezTo>
                  <a:pt x="1533" y="214"/>
                  <a:pt x="1534" y="215"/>
                  <a:pt x="1535" y="214"/>
                </a:cubicBezTo>
                <a:cubicBezTo>
                  <a:pt x="1536" y="214"/>
                  <a:pt x="1536" y="214"/>
                  <a:pt x="1537" y="213"/>
                </a:cubicBezTo>
                <a:cubicBezTo>
                  <a:pt x="1537" y="211"/>
                  <a:pt x="1536" y="209"/>
                  <a:pt x="1534" y="208"/>
                </a:cubicBezTo>
                <a:close/>
                <a:moveTo>
                  <a:pt x="2087" y="963"/>
                </a:moveTo>
                <a:cubicBezTo>
                  <a:pt x="2087" y="963"/>
                  <a:pt x="2086" y="963"/>
                  <a:pt x="2086" y="963"/>
                </a:cubicBezTo>
                <a:cubicBezTo>
                  <a:pt x="2085" y="965"/>
                  <a:pt x="2084" y="967"/>
                  <a:pt x="2084" y="970"/>
                </a:cubicBezTo>
                <a:cubicBezTo>
                  <a:pt x="2084" y="970"/>
                  <a:pt x="2085" y="971"/>
                  <a:pt x="2085" y="971"/>
                </a:cubicBezTo>
                <a:cubicBezTo>
                  <a:pt x="2085" y="971"/>
                  <a:pt x="2085" y="971"/>
                  <a:pt x="2086" y="971"/>
                </a:cubicBezTo>
                <a:cubicBezTo>
                  <a:pt x="2088" y="970"/>
                  <a:pt x="2089" y="967"/>
                  <a:pt x="2088" y="964"/>
                </a:cubicBezTo>
                <a:cubicBezTo>
                  <a:pt x="2088" y="963"/>
                  <a:pt x="2088" y="963"/>
                  <a:pt x="2087" y="963"/>
                </a:cubicBezTo>
                <a:close/>
                <a:moveTo>
                  <a:pt x="2059" y="1011"/>
                </a:moveTo>
                <a:cubicBezTo>
                  <a:pt x="2060" y="1011"/>
                  <a:pt x="2061" y="1010"/>
                  <a:pt x="2062" y="1009"/>
                </a:cubicBezTo>
                <a:cubicBezTo>
                  <a:pt x="2063" y="1008"/>
                  <a:pt x="2062" y="1007"/>
                  <a:pt x="2061" y="1007"/>
                </a:cubicBezTo>
                <a:cubicBezTo>
                  <a:pt x="2061" y="1006"/>
                  <a:pt x="2060" y="1006"/>
                  <a:pt x="2059" y="1006"/>
                </a:cubicBezTo>
                <a:cubicBezTo>
                  <a:pt x="2058" y="1006"/>
                  <a:pt x="2057" y="1006"/>
                  <a:pt x="2056" y="1007"/>
                </a:cubicBezTo>
                <a:cubicBezTo>
                  <a:pt x="2055" y="1007"/>
                  <a:pt x="2055" y="1007"/>
                  <a:pt x="2055" y="1008"/>
                </a:cubicBezTo>
                <a:cubicBezTo>
                  <a:pt x="2055" y="1008"/>
                  <a:pt x="2055" y="1009"/>
                  <a:pt x="2055" y="1009"/>
                </a:cubicBezTo>
                <a:cubicBezTo>
                  <a:pt x="2056" y="1010"/>
                  <a:pt x="2058" y="1010"/>
                  <a:pt x="2059" y="1011"/>
                </a:cubicBezTo>
                <a:close/>
                <a:moveTo>
                  <a:pt x="141" y="334"/>
                </a:moveTo>
                <a:cubicBezTo>
                  <a:pt x="139" y="336"/>
                  <a:pt x="137" y="337"/>
                  <a:pt x="137" y="339"/>
                </a:cubicBezTo>
                <a:cubicBezTo>
                  <a:pt x="139" y="339"/>
                  <a:pt x="141" y="340"/>
                  <a:pt x="143" y="339"/>
                </a:cubicBezTo>
                <a:cubicBezTo>
                  <a:pt x="143" y="339"/>
                  <a:pt x="144" y="338"/>
                  <a:pt x="144" y="338"/>
                </a:cubicBezTo>
                <a:cubicBezTo>
                  <a:pt x="145" y="337"/>
                  <a:pt x="144" y="336"/>
                  <a:pt x="144" y="335"/>
                </a:cubicBezTo>
                <a:cubicBezTo>
                  <a:pt x="143" y="334"/>
                  <a:pt x="141" y="334"/>
                  <a:pt x="141" y="334"/>
                </a:cubicBezTo>
                <a:close/>
                <a:moveTo>
                  <a:pt x="137" y="339"/>
                </a:moveTo>
                <a:cubicBezTo>
                  <a:pt x="136" y="340"/>
                  <a:pt x="134" y="341"/>
                  <a:pt x="133" y="340"/>
                </a:cubicBezTo>
                <a:cubicBezTo>
                  <a:pt x="131" y="340"/>
                  <a:pt x="130" y="340"/>
                  <a:pt x="129" y="342"/>
                </a:cubicBezTo>
                <a:cubicBezTo>
                  <a:pt x="129" y="342"/>
                  <a:pt x="129" y="343"/>
                  <a:pt x="128" y="343"/>
                </a:cubicBezTo>
                <a:cubicBezTo>
                  <a:pt x="128" y="343"/>
                  <a:pt x="128" y="343"/>
                  <a:pt x="127" y="343"/>
                </a:cubicBezTo>
                <a:cubicBezTo>
                  <a:pt x="121" y="344"/>
                  <a:pt x="120" y="345"/>
                  <a:pt x="120" y="351"/>
                </a:cubicBezTo>
                <a:cubicBezTo>
                  <a:pt x="120" y="352"/>
                  <a:pt x="120" y="353"/>
                  <a:pt x="121" y="353"/>
                </a:cubicBezTo>
                <a:cubicBezTo>
                  <a:pt x="122" y="354"/>
                  <a:pt x="122" y="355"/>
                  <a:pt x="122" y="355"/>
                </a:cubicBezTo>
                <a:cubicBezTo>
                  <a:pt x="123" y="356"/>
                  <a:pt x="124" y="356"/>
                  <a:pt x="124" y="356"/>
                </a:cubicBezTo>
                <a:cubicBezTo>
                  <a:pt x="127" y="353"/>
                  <a:pt x="130" y="351"/>
                  <a:pt x="134" y="349"/>
                </a:cubicBezTo>
                <a:cubicBezTo>
                  <a:pt x="136" y="349"/>
                  <a:pt x="137" y="347"/>
                  <a:pt x="139" y="346"/>
                </a:cubicBezTo>
                <a:cubicBezTo>
                  <a:pt x="140" y="345"/>
                  <a:pt x="140" y="344"/>
                  <a:pt x="140" y="342"/>
                </a:cubicBezTo>
                <a:cubicBezTo>
                  <a:pt x="140" y="341"/>
                  <a:pt x="139" y="341"/>
                  <a:pt x="138" y="340"/>
                </a:cubicBezTo>
                <a:cubicBezTo>
                  <a:pt x="138" y="340"/>
                  <a:pt x="137" y="339"/>
                  <a:pt x="137" y="339"/>
                </a:cubicBezTo>
                <a:cubicBezTo>
                  <a:pt x="137" y="339"/>
                  <a:pt x="137" y="339"/>
                  <a:pt x="137" y="339"/>
                </a:cubicBezTo>
                <a:cubicBezTo>
                  <a:pt x="137" y="339"/>
                  <a:pt x="137" y="339"/>
                  <a:pt x="137" y="339"/>
                </a:cubicBezTo>
                <a:close/>
                <a:moveTo>
                  <a:pt x="2249" y="1366"/>
                </a:moveTo>
                <a:cubicBezTo>
                  <a:pt x="2248" y="1368"/>
                  <a:pt x="2247" y="1369"/>
                  <a:pt x="2247" y="1372"/>
                </a:cubicBezTo>
                <a:cubicBezTo>
                  <a:pt x="2247" y="1372"/>
                  <a:pt x="2247" y="1372"/>
                  <a:pt x="2247" y="1372"/>
                </a:cubicBezTo>
                <a:cubicBezTo>
                  <a:pt x="2248" y="1372"/>
                  <a:pt x="2250" y="1372"/>
                  <a:pt x="2251" y="1371"/>
                </a:cubicBezTo>
                <a:cubicBezTo>
                  <a:pt x="2252" y="1371"/>
                  <a:pt x="2252" y="1369"/>
                  <a:pt x="2251" y="1367"/>
                </a:cubicBezTo>
                <a:cubicBezTo>
                  <a:pt x="2251" y="1366"/>
                  <a:pt x="2250" y="1366"/>
                  <a:pt x="2249" y="1366"/>
                </a:cubicBezTo>
                <a:close/>
                <a:moveTo>
                  <a:pt x="673" y="843"/>
                </a:moveTo>
                <a:cubicBezTo>
                  <a:pt x="673" y="845"/>
                  <a:pt x="673" y="846"/>
                  <a:pt x="675" y="846"/>
                </a:cubicBezTo>
                <a:cubicBezTo>
                  <a:pt x="676" y="846"/>
                  <a:pt x="677" y="845"/>
                  <a:pt x="678" y="843"/>
                </a:cubicBezTo>
                <a:cubicBezTo>
                  <a:pt x="678" y="842"/>
                  <a:pt x="677" y="840"/>
                  <a:pt x="675" y="840"/>
                </a:cubicBezTo>
                <a:cubicBezTo>
                  <a:pt x="674" y="840"/>
                  <a:pt x="673" y="841"/>
                  <a:pt x="673" y="842"/>
                </a:cubicBezTo>
                <a:cubicBezTo>
                  <a:pt x="673" y="842"/>
                  <a:pt x="673" y="843"/>
                  <a:pt x="673" y="843"/>
                </a:cubicBezTo>
                <a:close/>
                <a:moveTo>
                  <a:pt x="1377" y="76"/>
                </a:moveTo>
                <a:cubicBezTo>
                  <a:pt x="1378" y="75"/>
                  <a:pt x="1379" y="75"/>
                  <a:pt x="1379" y="74"/>
                </a:cubicBezTo>
                <a:cubicBezTo>
                  <a:pt x="1379" y="73"/>
                  <a:pt x="1379" y="71"/>
                  <a:pt x="1377" y="71"/>
                </a:cubicBezTo>
                <a:cubicBezTo>
                  <a:pt x="1376" y="70"/>
                  <a:pt x="1375" y="71"/>
                  <a:pt x="1374" y="71"/>
                </a:cubicBezTo>
                <a:cubicBezTo>
                  <a:pt x="1372" y="72"/>
                  <a:pt x="1372" y="74"/>
                  <a:pt x="1374" y="75"/>
                </a:cubicBezTo>
                <a:cubicBezTo>
                  <a:pt x="1375" y="76"/>
                  <a:pt x="1376" y="76"/>
                  <a:pt x="1377" y="76"/>
                </a:cubicBezTo>
                <a:close/>
                <a:moveTo>
                  <a:pt x="1501" y="826"/>
                </a:moveTo>
                <a:cubicBezTo>
                  <a:pt x="1500" y="826"/>
                  <a:pt x="1500" y="826"/>
                  <a:pt x="1500" y="826"/>
                </a:cubicBezTo>
                <a:cubicBezTo>
                  <a:pt x="1499" y="826"/>
                  <a:pt x="1498" y="827"/>
                  <a:pt x="1498" y="827"/>
                </a:cubicBezTo>
                <a:cubicBezTo>
                  <a:pt x="1497" y="828"/>
                  <a:pt x="1499" y="830"/>
                  <a:pt x="1500" y="830"/>
                </a:cubicBezTo>
                <a:cubicBezTo>
                  <a:pt x="1501" y="830"/>
                  <a:pt x="1503" y="830"/>
                  <a:pt x="1504" y="828"/>
                </a:cubicBezTo>
                <a:cubicBezTo>
                  <a:pt x="1504" y="827"/>
                  <a:pt x="1504" y="827"/>
                  <a:pt x="1504" y="826"/>
                </a:cubicBezTo>
                <a:cubicBezTo>
                  <a:pt x="1503" y="826"/>
                  <a:pt x="1501" y="826"/>
                  <a:pt x="1501" y="826"/>
                </a:cubicBezTo>
                <a:close/>
                <a:moveTo>
                  <a:pt x="664" y="268"/>
                </a:moveTo>
                <a:cubicBezTo>
                  <a:pt x="664" y="269"/>
                  <a:pt x="663" y="269"/>
                  <a:pt x="663" y="269"/>
                </a:cubicBezTo>
                <a:cubicBezTo>
                  <a:pt x="661" y="270"/>
                  <a:pt x="659" y="270"/>
                  <a:pt x="658" y="272"/>
                </a:cubicBezTo>
                <a:cubicBezTo>
                  <a:pt x="658" y="272"/>
                  <a:pt x="658" y="273"/>
                  <a:pt x="658" y="274"/>
                </a:cubicBezTo>
                <a:cubicBezTo>
                  <a:pt x="658" y="274"/>
                  <a:pt x="658" y="274"/>
                  <a:pt x="659" y="274"/>
                </a:cubicBezTo>
                <a:cubicBezTo>
                  <a:pt x="660" y="274"/>
                  <a:pt x="661" y="274"/>
                  <a:pt x="661" y="274"/>
                </a:cubicBezTo>
                <a:cubicBezTo>
                  <a:pt x="663" y="273"/>
                  <a:pt x="664" y="272"/>
                  <a:pt x="665" y="271"/>
                </a:cubicBezTo>
                <a:cubicBezTo>
                  <a:pt x="666" y="270"/>
                  <a:pt x="666" y="269"/>
                  <a:pt x="666" y="269"/>
                </a:cubicBezTo>
                <a:cubicBezTo>
                  <a:pt x="665" y="268"/>
                  <a:pt x="665" y="268"/>
                  <a:pt x="664" y="268"/>
                </a:cubicBezTo>
                <a:close/>
                <a:moveTo>
                  <a:pt x="2319" y="1039"/>
                </a:moveTo>
                <a:cubicBezTo>
                  <a:pt x="2318" y="1038"/>
                  <a:pt x="2317" y="1037"/>
                  <a:pt x="2316" y="1036"/>
                </a:cubicBezTo>
                <a:cubicBezTo>
                  <a:pt x="2315" y="1036"/>
                  <a:pt x="2315" y="1036"/>
                  <a:pt x="2315" y="1037"/>
                </a:cubicBezTo>
                <a:cubicBezTo>
                  <a:pt x="2314" y="1038"/>
                  <a:pt x="2315" y="1040"/>
                  <a:pt x="2315" y="1041"/>
                </a:cubicBezTo>
                <a:cubicBezTo>
                  <a:pt x="2315" y="1042"/>
                  <a:pt x="2316" y="1042"/>
                  <a:pt x="2318" y="1042"/>
                </a:cubicBezTo>
                <a:cubicBezTo>
                  <a:pt x="2319" y="1041"/>
                  <a:pt x="2319" y="1040"/>
                  <a:pt x="2319" y="1039"/>
                </a:cubicBezTo>
                <a:close/>
                <a:moveTo>
                  <a:pt x="685" y="294"/>
                </a:moveTo>
                <a:cubicBezTo>
                  <a:pt x="685" y="294"/>
                  <a:pt x="686" y="293"/>
                  <a:pt x="686" y="293"/>
                </a:cubicBezTo>
                <a:cubicBezTo>
                  <a:pt x="686" y="292"/>
                  <a:pt x="686" y="292"/>
                  <a:pt x="686" y="291"/>
                </a:cubicBezTo>
                <a:cubicBezTo>
                  <a:pt x="685" y="290"/>
                  <a:pt x="683" y="290"/>
                  <a:pt x="682" y="290"/>
                </a:cubicBezTo>
                <a:cubicBezTo>
                  <a:pt x="681" y="290"/>
                  <a:pt x="680" y="290"/>
                  <a:pt x="680" y="291"/>
                </a:cubicBezTo>
                <a:cubicBezTo>
                  <a:pt x="680" y="292"/>
                  <a:pt x="680" y="293"/>
                  <a:pt x="681" y="293"/>
                </a:cubicBezTo>
                <a:cubicBezTo>
                  <a:pt x="682" y="294"/>
                  <a:pt x="683" y="295"/>
                  <a:pt x="685" y="294"/>
                </a:cubicBezTo>
                <a:close/>
                <a:moveTo>
                  <a:pt x="2282" y="993"/>
                </a:moveTo>
                <a:cubicBezTo>
                  <a:pt x="2282" y="993"/>
                  <a:pt x="2282" y="992"/>
                  <a:pt x="2282" y="992"/>
                </a:cubicBezTo>
                <a:cubicBezTo>
                  <a:pt x="2283" y="992"/>
                  <a:pt x="2283" y="992"/>
                  <a:pt x="2283" y="992"/>
                </a:cubicBezTo>
                <a:cubicBezTo>
                  <a:pt x="2282" y="991"/>
                  <a:pt x="2281" y="990"/>
                  <a:pt x="2281" y="989"/>
                </a:cubicBezTo>
                <a:cubicBezTo>
                  <a:pt x="2281" y="989"/>
                  <a:pt x="2281" y="989"/>
                  <a:pt x="2281" y="989"/>
                </a:cubicBezTo>
                <a:cubicBezTo>
                  <a:pt x="2280" y="988"/>
                  <a:pt x="2279" y="987"/>
                  <a:pt x="2278" y="986"/>
                </a:cubicBezTo>
                <a:cubicBezTo>
                  <a:pt x="2278" y="985"/>
                  <a:pt x="2277" y="985"/>
                  <a:pt x="2277" y="985"/>
                </a:cubicBezTo>
                <a:cubicBezTo>
                  <a:pt x="2277" y="985"/>
                  <a:pt x="2276" y="987"/>
                  <a:pt x="2277" y="987"/>
                </a:cubicBezTo>
                <a:cubicBezTo>
                  <a:pt x="2278" y="990"/>
                  <a:pt x="2279" y="991"/>
                  <a:pt x="2282" y="993"/>
                </a:cubicBezTo>
                <a:close/>
                <a:moveTo>
                  <a:pt x="1353" y="91"/>
                </a:moveTo>
                <a:cubicBezTo>
                  <a:pt x="1352" y="91"/>
                  <a:pt x="1351" y="90"/>
                  <a:pt x="1350" y="90"/>
                </a:cubicBezTo>
                <a:cubicBezTo>
                  <a:pt x="1350" y="90"/>
                  <a:pt x="1349" y="91"/>
                  <a:pt x="1349" y="91"/>
                </a:cubicBezTo>
                <a:cubicBezTo>
                  <a:pt x="1348" y="91"/>
                  <a:pt x="1348" y="92"/>
                  <a:pt x="1348" y="92"/>
                </a:cubicBezTo>
                <a:cubicBezTo>
                  <a:pt x="1347" y="93"/>
                  <a:pt x="1348" y="93"/>
                  <a:pt x="1348" y="93"/>
                </a:cubicBezTo>
                <a:cubicBezTo>
                  <a:pt x="1351" y="93"/>
                  <a:pt x="1353" y="94"/>
                  <a:pt x="1355" y="95"/>
                </a:cubicBezTo>
                <a:cubicBezTo>
                  <a:pt x="1355" y="94"/>
                  <a:pt x="1355" y="94"/>
                  <a:pt x="1355" y="93"/>
                </a:cubicBezTo>
                <a:cubicBezTo>
                  <a:pt x="1354" y="91"/>
                  <a:pt x="1354" y="91"/>
                  <a:pt x="1353" y="91"/>
                </a:cubicBezTo>
                <a:close/>
                <a:moveTo>
                  <a:pt x="1355" y="95"/>
                </a:moveTo>
                <a:cubicBezTo>
                  <a:pt x="1355" y="95"/>
                  <a:pt x="1355" y="95"/>
                  <a:pt x="1355" y="95"/>
                </a:cubicBezTo>
                <a:cubicBezTo>
                  <a:pt x="1355" y="95"/>
                  <a:pt x="1355" y="95"/>
                  <a:pt x="1355" y="95"/>
                </a:cubicBezTo>
                <a:cubicBezTo>
                  <a:pt x="1355" y="95"/>
                  <a:pt x="1355" y="95"/>
                  <a:pt x="1355" y="95"/>
                </a:cubicBezTo>
                <a:cubicBezTo>
                  <a:pt x="1355" y="95"/>
                  <a:pt x="1355" y="95"/>
                  <a:pt x="1355" y="95"/>
                </a:cubicBezTo>
                <a:close/>
                <a:moveTo>
                  <a:pt x="1580" y="118"/>
                </a:moveTo>
                <a:cubicBezTo>
                  <a:pt x="1582" y="118"/>
                  <a:pt x="1584" y="116"/>
                  <a:pt x="1584" y="114"/>
                </a:cubicBezTo>
                <a:cubicBezTo>
                  <a:pt x="1584" y="114"/>
                  <a:pt x="1584" y="113"/>
                  <a:pt x="1583" y="113"/>
                </a:cubicBezTo>
                <a:cubicBezTo>
                  <a:pt x="1583" y="113"/>
                  <a:pt x="1583" y="113"/>
                  <a:pt x="1583" y="113"/>
                </a:cubicBezTo>
                <a:cubicBezTo>
                  <a:pt x="1582" y="113"/>
                  <a:pt x="1580" y="114"/>
                  <a:pt x="1579" y="115"/>
                </a:cubicBezTo>
                <a:cubicBezTo>
                  <a:pt x="1579" y="115"/>
                  <a:pt x="1579" y="116"/>
                  <a:pt x="1579" y="117"/>
                </a:cubicBezTo>
                <a:cubicBezTo>
                  <a:pt x="1579" y="117"/>
                  <a:pt x="1579" y="118"/>
                  <a:pt x="1580" y="118"/>
                </a:cubicBezTo>
                <a:close/>
                <a:moveTo>
                  <a:pt x="1624" y="77"/>
                </a:moveTo>
                <a:cubicBezTo>
                  <a:pt x="1624" y="77"/>
                  <a:pt x="1624" y="77"/>
                  <a:pt x="1624" y="77"/>
                </a:cubicBezTo>
                <a:cubicBezTo>
                  <a:pt x="1624" y="76"/>
                  <a:pt x="1624" y="76"/>
                  <a:pt x="1623" y="75"/>
                </a:cubicBezTo>
                <a:cubicBezTo>
                  <a:pt x="1621" y="75"/>
                  <a:pt x="1619" y="76"/>
                  <a:pt x="1617" y="75"/>
                </a:cubicBezTo>
                <a:cubicBezTo>
                  <a:pt x="1617" y="75"/>
                  <a:pt x="1616" y="75"/>
                  <a:pt x="1616" y="76"/>
                </a:cubicBezTo>
                <a:cubicBezTo>
                  <a:pt x="1616" y="76"/>
                  <a:pt x="1616" y="76"/>
                  <a:pt x="1616" y="76"/>
                </a:cubicBezTo>
                <a:cubicBezTo>
                  <a:pt x="1618" y="79"/>
                  <a:pt x="1621" y="79"/>
                  <a:pt x="1624" y="77"/>
                </a:cubicBezTo>
                <a:close/>
                <a:moveTo>
                  <a:pt x="761" y="1154"/>
                </a:moveTo>
                <a:cubicBezTo>
                  <a:pt x="761" y="1154"/>
                  <a:pt x="761" y="1154"/>
                  <a:pt x="761" y="1154"/>
                </a:cubicBezTo>
                <a:cubicBezTo>
                  <a:pt x="761" y="1154"/>
                  <a:pt x="761" y="1154"/>
                  <a:pt x="761" y="1154"/>
                </a:cubicBezTo>
                <a:cubicBezTo>
                  <a:pt x="761" y="1154"/>
                  <a:pt x="761" y="1154"/>
                  <a:pt x="761" y="1154"/>
                </a:cubicBezTo>
                <a:cubicBezTo>
                  <a:pt x="761" y="1154"/>
                  <a:pt x="761" y="1154"/>
                  <a:pt x="761" y="1154"/>
                </a:cubicBezTo>
                <a:close/>
                <a:moveTo>
                  <a:pt x="755" y="1157"/>
                </a:moveTo>
                <a:cubicBezTo>
                  <a:pt x="755" y="1158"/>
                  <a:pt x="754" y="1159"/>
                  <a:pt x="753" y="1160"/>
                </a:cubicBezTo>
                <a:cubicBezTo>
                  <a:pt x="752" y="1161"/>
                  <a:pt x="752" y="1162"/>
                  <a:pt x="752" y="1162"/>
                </a:cubicBezTo>
                <a:cubicBezTo>
                  <a:pt x="757" y="1162"/>
                  <a:pt x="759" y="1159"/>
                  <a:pt x="761" y="1155"/>
                </a:cubicBezTo>
                <a:cubicBezTo>
                  <a:pt x="761" y="1154"/>
                  <a:pt x="761" y="1154"/>
                  <a:pt x="761" y="1154"/>
                </a:cubicBezTo>
                <a:cubicBezTo>
                  <a:pt x="760" y="1154"/>
                  <a:pt x="759" y="1154"/>
                  <a:pt x="759" y="1155"/>
                </a:cubicBezTo>
                <a:cubicBezTo>
                  <a:pt x="757" y="1156"/>
                  <a:pt x="756" y="1156"/>
                  <a:pt x="755" y="1157"/>
                </a:cubicBezTo>
                <a:close/>
                <a:moveTo>
                  <a:pt x="755" y="1157"/>
                </a:moveTo>
                <a:cubicBezTo>
                  <a:pt x="755" y="1157"/>
                  <a:pt x="756" y="1157"/>
                  <a:pt x="756" y="1157"/>
                </a:cubicBezTo>
                <a:cubicBezTo>
                  <a:pt x="755" y="1157"/>
                  <a:pt x="755" y="1157"/>
                  <a:pt x="755" y="1157"/>
                </a:cubicBezTo>
                <a:cubicBezTo>
                  <a:pt x="755" y="1157"/>
                  <a:pt x="755" y="1157"/>
                  <a:pt x="755" y="1157"/>
                </a:cubicBezTo>
                <a:cubicBezTo>
                  <a:pt x="755" y="1157"/>
                  <a:pt x="755" y="1157"/>
                  <a:pt x="755" y="1157"/>
                </a:cubicBezTo>
                <a:close/>
                <a:moveTo>
                  <a:pt x="922" y="39"/>
                </a:moveTo>
                <a:cubicBezTo>
                  <a:pt x="923" y="39"/>
                  <a:pt x="923" y="39"/>
                  <a:pt x="924" y="39"/>
                </a:cubicBezTo>
                <a:cubicBezTo>
                  <a:pt x="924" y="39"/>
                  <a:pt x="925" y="38"/>
                  <a:pt x="925" y="38"/>
                </a:cubicBezTo>
                <a:cubicBezTo>
                  <a:pt x="926" y="36"/>
                  <a:pt x="925" y="35"/>
                  <a:pt x="924" y="35"/>
                </a:cubicBezTo>
                <a:cubicBezTo>
                  <a:pt x="923" y="34"/>
                  <a:pt x="922" y="35"/>
                  <a:pt x="921" y="36"/>
                </a:cubicBezTo>
                <a:cubicBezTo>
                  <a:pt x="921" y="37"/>
                  <a:pt x="921" y="38"/>
                  <a:pt x="922" y="39"/>
                </a:cubicBezTo>
                <a:close/>
                <a:moveTo>
                  <a:pt x="2020" y="936"/>
                </a:moveTo>
                <a:cubicBezTo>
                  <a:pt x="2021" y="936"/>
                  <a:pt x="2022" y="936"/>
                  <a:pt x="2023" y="936"/>
                </a:cubicBezTo>
                <a:cubicBezTo>
                  <a:pt x="2023" y="936"/>
                  <a:pt x="2024" y="936"/>
                  <a:pt x="2024" y="935"/>
                </a:cubicBezTo>
                <a:cubicBezTo>
                  <a:pt x="2024" y="935"/>
                  <a:pt x="2024" y="935"/>
                  <a:pt x="2023" y="935"/>
                </a:cubicBezTo>
                <a:cubicBezTo>
                  <a:pt x="2021" y="935"/>
                  <a:pt x="2018" y="934"/>
                  <a:pt x="2016" y="934"/>
                </a:cubicBezTo>
                <a:cubicBezTo>
                  <a:pt x="2015" y="934"/>
                  <a:pt x="2015" y="935"/>
                  <a:pt x="2015" y="935"/>
                </a:cubicBezTo>
                <a:cubicBezTo>
                  <a:pt x="2014" y="936"/>
                  <a:pt x="2015" y="936"/>
                  <a:pt x="2015" y="936"/>
                </a:cubicBezTo>
                <a:cubicBezTo>
                  <a:pt x="2017" y="936"/>
                  <a:pt x="2018" y="936"/>
                  <a:pt x="2020" y="936"/>
                </a:cubicBezTo>
                <a:cubicBezTo>
                  <a:pt x="2020" y="936"/>
                  <a:pt x="2020" y="936"/>
                  <a:pt x="2020" y="936"/>
                </a:cubicBezTo>
                <a:close/>
                <a:moveTo>
                  <a:pt x="2275" y="995"/>
                </a:moveTo>
                <a:cubicBezTo>
                  <a:pt x="2275" y="995"/>
                  <a:pt x="2276" y="995"/>
                  <a:pt x="2276" y="994"/>
                </a:cubicBezTo>
                <a:cubicBezTo>
                  <a:pt x="2276" y="994"/>
                  <a:pt x="2276" y="993"/>
                  <a:pt x="2276" y="993"/>
                </a:cubicBezTo>
                <a:cubicBezTo>
                  <a:pt x="2275" y="992"/>
                  <a:pt x="2273" y="991"/>
                  <a:pt x="2271" y="991"/>
                </a:cubicBezTo>
                <a:cubicBezTo>
                  <a:pt x="2271" y="991"/>
                  <a:pt x="2270" y="991"/>
                  <a:pt x="2270" y="992"/>
                </a:cubicBezTo>
                <a:cubicBezTo>
                  <a:pt x="2269" y="992"/>
                  <a:pt x="2270" y="993"/>
                  <a:pt x="2270" y="994"/>
                </a:cubicBezTo>
                <a:cubicBezTo>
                  <a:pt x="2272" y="995"/>
                  <a:pt x="2273" y="995"/>
                  <a:pt x="2275" y="995"/>
                </a:cubicBezTo>
                <a:close/>
                <a:moveTo>
                  <a:pt x="2107" y="528"/>
                </a:moveTo>
                <a:cubicBezTo>
                  <a:pt x="2106" y="528"/>
                  <a:pt x="2106" y="528"/>
                  <a:pt x="2106" y="528"/>
                </a:cubicBezTo>
                <a:cubicBezTo>
                  <a:pt x="2106" y="528"/>
                  <a:pt x="2106" y="528"/>
                  <a:pt x="2106" y="528"/>
                </a:cubicBezTo>
                <a:cubicBezTo>
                  <a:pt x="2106" y="528"/>
                  <a:pt x="2106" y="528"/>
                  <a:pt x="2107" y="528"/>
                </a:cubicBezTo>
                <a:cubicBezTo>
                  <a:pt x="2107" y="528"/>
                  <a:pt x="2107" y="528"/>
                  <a:pt x="2107" y="528"/>
                </a:cubicBezTo>
                <a:close/>
                <a:moveTo>
                  <a:pt x="2110" y="521"/>
                </a:moveTo>
                <a:cubicBezTo>
                  <a:pt x="2110" y="520"/>
                  <a:pt x="2109" y="520"/>
                  <a:pt x="2109" y="520"/>
                </a:cubicBezTo>
                <a:cubicBezTo>
                  <a:pt x="2108" y="521"/>
                  <a:pt x="2108" y="521"/>
                  <a:pt x="2108" y="522"/>
                </a:cubicBezTo>
                <a:cubicBezTo>
                  <a:pt x="2107" y="524"/>
                  <a:pt x="2106" y="526"/>
                  <a:pt x="2107" y="528"/>
                </a:cubicBezTo>
                <a:cubicBezTo>
                  <a:pt x="2109" y="526"/>
                  <a:pt x="2111" y="524"/>
                  <a:pt x="2111" y="521"/>
                </a:cubicBezTo>
                <a:cubicBezTo>
                  <a:pt x="2111" y="521"/>
                  <a:pt x="2111" y="521"/>
                  <a:pt x="2110" y="521"/>
                </a:cubicBezTo>
                <a:close/>
                <a:moveTo>
                  <a:pt x="1337" y="106"/>
                </a:moveTo>
                <a:cubicBezTo>
                  <a:pt x="1337" y="107"/>
                  <a:pt x="1337" y="108"/>
                  <a:pt x="1337" y="108"/>
                </a:cubicBezTo>
                <a:cubicBezTo>
                  <a:pt x="1338" y="109"/>
                  <a:pt x="1341" y="108"/>
                  <a:pt x="1342" y="107"/>
                </a:cubicBezTo>
                <a:cubicBezTo>
                  <a:pt x="1342" y="107"/>
                  <a:pt x="1342" y="107"/>
                  <a:pt x="1342" y="106"/>
                </a:cubicBezTo>
                <a:cubicBezTo>
                  <a:pt x="1341" y="106"/>
                  <a:pt x="1341" y="104"/>
                  <a:pt x="1340" y="104"/>
                </a:cubicBezTo>
                <a:cubicBezTo>
                  <a:pt x="1339" y="103"/>
                  <a:pt x="1338" y="104"/>
                  <a:pt x="1337" y="104"/>
                </a:cubicBezTo>
                <a:cubicBezTo>
                  <a:pt x="1337" y="105"/>
                  <a:pt x="1337" y="106"/>
                  <a:pt x="1337" y="106"/>
                </a:cubicBezTo>
                <a:close/>
                <a:moveTo>
                  <a:pt x="1376" y="100"/>
                </a:moveTo>
                <a:cubicBezTo>
                  <a:pt x="1376" y="101"/>
                  <a:pt x="1377" y="102"/>
                  <a:pt x="1378" y="102"/>
                </a:cubicBezTo>
                <a:cubicBezTo>
                  <a:pt x="1380" y="101"/>
                  <a:pt x="1381" y="100"/>
                  <a:pt x="1381" y="99"/>
                </a:cubicBezTo>
                <a:cubicBezTo>
                  <a:pt x="1381" y="98"/>
                  <a:pt x="1379" y="97"/>
                  <a:pt x="1378" y="97"/>
                </a:cubicBezTo>
                <a:cubicBezTo>
                  <a:pt x="1377" y="97"/>
                  <a:pt x="1376" y="98"/>
                  <a:pt x="1376" y="100"/>
                </a:cubicBezTo>
                <a:close/>
                <a:moveTo>
                  <a:pt x="1820" y="911"/>
                </a:moveTo>
                <a:cubicBezTo>
                  <a:pt x="1820" y="911"/>
                  <a:pt x="1819" y="911"/>
                  <a:pt x="1819" y="911"/>
                </a:cubicBezTo>
                <a:cubicBezTo>
                  <a:pt x="1819" y="911"/>
                  <a:pt x="1818" y="911"/>
                  <a:pt x="1818" y="912"/>
                </a:cubicBezTo>
                <a:cubicBezTo>
                  <a:pt x="1818" y="914"/>
                  <a:pt x="1819" y="915"/>
                  <a:pt x="1821" y="916"/>
                </a:cubicBezTo>
                <a:cubicBezTo>
                  <a:pt x="1821" y="916"/>
                  <a:pt x="1821" y="916"/>
                  <a:pt x="1821" y="916"/>
                </a:cubicBezTo>
                <a:cubicBezTo>
                  <a:pt x="1822" y="916"/>
                  <a:pt x="1822" y="915"/>
                  <a:pt x="1822" y="915"/>
                </a:cubicBezTo>
                <a:cubicBezTo>
                  <a:pt x="1822" y="913"/>
                  <a:pt x="1821" y="912"/>
                  <a:pt x="1820" y="911"/>
                </a:cubicBezTo>
                <a:close/>
                <a:moveTo>
                  <a:pt x="1349" y="101"/>
                </a:moveTo>
                <a:cubicBezTo>
                  <a:pt x="1351" y="100"/>
                  <a:pt x="1353" y="99"/>
                  <a:pt x="1354" y="97"/>
                </a:cubicBezTo>
                <a:cubicBezTo>
                  <a:pt x="1352" y="97"/>
                  <a:pt x="1351" y="97"/>
                  <a:pt x="1349" y="97"/>
                </a:cubicBezTo>
                <a:cubicBezTo>
                  <a:pt x="1348" y="97"/>
                  <a:pt x="1347" y="98"/>
                  <a:pt x="1347" y="100"/>
                </a:cubicBezTo>
                <a:cubicBezTo>
                  <a:pt x="1347" y="100"/>
                  <a:pt x="1347" y="101"/>
                  <a:pt x="1348" y="101"/>
                </a:cubicBezTo>
                <a:cubicBezTo>
                  <a:pt x="1348" y="101"/>
                  <a:pt x="1349" y="101"/>
                  <a:pt x="1349" y="101"/>
                </a:cubicBezTo>
                <a:close/>
                <a:moveTo>
                  <a:pt x="188" y="316"/>
                </a:moveTo>
                <a:cubicBezTo>
                  <a:pt x="188" y="316"/>
                  <a:pt x="188" y="316"/>
                  <a:pt x="188" y="316"/>
                </a:cubicBezTo>
                <a:cubicBezTo>
                  <a:pt x="188" y="316"/>
                  <a:pt x="188" y="316"/>
                  <a:pt x="188" y="316"/>
                </a:cubicBezTo>
                <a:cubicBezTo>
                  <a:pt x="188" y="316"/>
                  <a:pt x="188" y="316"/>
                  <a:pt x="188" y="316"/>
                </a:cubicBezTo>
                <a:cubicBezTo>
                  <a:pt x="188" y="316"/>
                  <a:pt x="188" y="316"/>
                  <a:pt x="188" y="316"/>
                </a:cubicBezTo>
                <a:close/>
                <a:moveTo>
                  <a:pt x="2129" y="503"/>
                </a:moveTo>
                <a:cubicBezTo>
                  <a:pt x="2132" y="502"/>
                  <a:pt x="2133" y="500"/>
                  <a:pt x="2132" y="497"/>
                </a:cubicBezTo>
                <a:cubicBezTo>
                  <a:pt x="2132" y="497"/>
                  <a:pt x="2132" y="497"/>
                  <a:pt x="2132" y="497"/>
                </a:cubicBezTo>
                <a:cubicBezTo>
                  <a:pt x="2132" y="497"/>
                  <a:pt x="2131" y="497"/>
                  <a:pt x="2131" y="497"/>
                </a:cubicBezTo>
                <a:cubicBezTo>
                  <a:pt x="2130" y="498"/>
                  <a:pt x="2129" y="500"/>
                  <a:pt x="2128" y="502"/>
                </a:cubicBezTo>
                <a:cubicBezTo>
                  <a:pt x="2128" y="502"/>
                  <a:pt x="2128" y="502"/>
                  <a:pt x="2129" y="503"/>
                </a:cubicBezTo>
                <a:cubicBezTo>
                  <a:pt x="2129" y="503"/>
                  <a:pt x="2129" y="503"/>
                  <a:pt x="2129" y="503"/>
                </a:cubicBezTo>
                <a:close/>
                <a:moveTo>
                  <a:pt x="1067" y="446"/>
                </a:moveTo>
                <a:cubicBezTo>
                  <a:pt x="1067" y="446"/>
                  <a:pt x="1067" y="446"/>
                  <a:pt x="1067" y="446"/>
                </a:cubicBezTo>
                <a:cubicBezTo>
                  <a:pt x="1067" y="446"/>
                  <a:pt x="1067" y="446"/>
                  <a:pt x="1067" y="446"/>
                </a:cubicBezTo>
                <a:cubicBezTo>
                  <a:pt x="1067" y="446"/>
                  <a:pt x="1067" y="446"/>
                  <a:pt x="1067" y="446"/>
                </a:cubicBezTo>
                <a:cubicBezTo>
                  <a:pt x="1067" y="446"/>
                  <a:pt x="1067" y="446"/>
                  <a:pt x="1067" y="446"/>
                </a:cubicBezTo>
                <a:close/>
                <a:moveTo>
                  <a:pt x="1072" y="441"/>
                </a:moveTo>
                <a:cubicBezTo>
                  <a:pt x="1072" y="440"/>
                  <a:pt x="1072" y="440"/>
                  <a:pt x="1071" y="440"/>
                </a:cubicBezTo>
                <a:cubicBezTo>
                  <a:pt x="1071" y="439"/>
                  <a:pt x="1071" y="439"/>
                  <a:pt x="1071" y="439"/>
                </a:cubicBezTo>
                <a:cubicBezTo>
                  <a:pt x="1069" y="440"/>
                  <a:pt x="1068" y="441"/>
                  <a:pt x="1068" y="442"/>
                </a:cubicBezTo>
                <a:cubicBezTo>
                  <a:pt x="1067" y="443"/>
                  <a:pt x="1067" y="444"/>
                  <a:pt x="1067" y="446"/>
                </a:cubicBezTo>
                <a:cubicBezTo>
                  <a:pt x="1068" y="445"/>
                  <a:pt x="1068" y="445"/>
                  <a:pt x="1069" y="445"/>
                </a:cubicBezTo>
                <a:cubicBezTo>
                  <a:pt x="1071" y="444"/>
                  <a:pt x="1071" y="443"/>
                  <a:pt x="1072" y="441"/>
                </a:cubicBezTo>
                <a:close/>
                <a:moveTo>
                  <a:pt x="1894" y="941"/>
                </a:moveTo>
                <a:cubicBezTo>
                  <a:pt x="1893" y="941"/>
                  <a:pt x="1893" y="941"/>
                  <a:pt x="1893" y="941"/>
                </a:cubicBezTo>
                <a:cubicBezTo>
                  <a:pt x="1893" y="942"/>
                  <a:pt x="1892" y="943"/>
                  <a:pt x="1893" y="944"/>
                </a:cubicBezTo>
                <a:cubicBezTo>
                  <a:pt x="1893" y="945"/>
                  <a:pt x="1894" y="945"/>
                  <a:pt x="1896" y="945"/>
                </a:cubicBezTo>
                <a:cubicBezTo>
                  <a:pt x="1896" y="945"/>
                  <a:pt x="1897" y="944"/>
                  <a:pt x="1898" y="944"/>
                </a:cubicBezTo>
                <a:cubicBezTo>
                  <a:pt x="1898" y="944"/>
                  <a:pt x="1898" y="943"/>
                  <a:pt x="1898" y="943"/>
                </a:cubicBezTo>
                <a:cubicBezTo>
                  <a:pt x="1897" y="941"/>
                  <a:pt x="1895" y="940"/>
                  <a:pt x="1894" y="941"/>
                </a:cubicBezTo>
                <a:close/>
                <a:moveTo>
                  <a:pt x="2268" y="983"/>
                </a:moveTo>
                <a:cubicBezTo>
                  <a:pt x="2268" y="983"/>
                  <a:pt x="2269" y="983"/>
                  <a:pt x="2269" y="983"/>
                </a:cubicBezTo>
                <a:cubicBezTo>
                  <a:pt x="2269" y="982"/>
                  <a:pt x="2269" y="982"/>
                  <a:pt x="2269" y="981"/>
                </a:cubicBezTo>
                <a:cubicBezTo>
                  <a:pt x="2268" y="979"/>
                  <a:pt x="2266" y="978"/>
                  <a:pt x="2264" y="978"/>
                </a:cubicBezTo>
                <a:cubicBezTo>
                  <a:pt x="2264" y="978"/>
                  <a:pt x="2263" y="978"/>
                  <a:pt x="2263" y="978"/>
                </a:cubicBezTo>
                <a:cubicBezTo>
                  <a:pt x="2263" y="979"/>
                  <a:pt x="2263" y="979"/>
                  <a:pt x="2263" y="979"/>
                </a:cubicBezTo>
                <a:cubicBezTo>
                  <a:pt x="2264" y="981"/>
                  <a:pt x="2266" y="982"/>
                  <a:pt x="2268" y="983"/>
                </a:cubicBezTo>
                <a:close/>
                <a:moveTo>
                  <a:pt x="538" y="247"/>
                </a:moveTo>
                <a:cubicBezTo>
                  <a:pt x="537" y="248"/>
                  <a:pt x="536" y="248"/>
                  <a:pt x="535" y="249"/>
                </a:cubicBezTo>
                <a:cubicBezTo>
                  <a:pt x="534" y="250"/>
                  <a:pt x="534" y="251"/>
                  <a:pt x="534" y="252"/>
                </a:cubicBezTo>
                <a:cubicBezTo>
                  <a:pt x="535" y="253"/>
                  <a:pt x="535" y="253"/>
                  <a:pt x="536" y="253"/>
                </a:cubicBezTo>
                <a:cubicBezTo>
                  <a:pt x="537" y="252"/>
                  <a:pt x="539" y="250"/>
                  <a:pt x="539" y="248"/>
                </a:cubicBezTo>
                <a:cubicBezTo>
                  <a:pt x="539" y="248"/>
                  <a:pt x="539" y="248"/>
                  <a:pt x="539" y="248"/>
                </a:cubicBezTo>
                <a:cubicBezTo>
                  <a:pt x="539" y="247"/>
                  <a:pt x="538" y="247"/>
                  <a:pt x="538" y="247"/>
                </a:cubicBezTo>
                <a:close/>
                <a:moveTo>
                  <a:pt x="1830" y="930"/>
                </a:moveTo>
                <a:cubicBezTo>
                  <a:pt x="1830" y="929"/>
                  <a:pt x="1829" y="930"/>
                  <a:pt x="1829" y="930"/>
                </a:cubicBezTo>
                <a:cubicBezTo>
                  <a:pt x="1828" y="930"/>
                  <a:pt x="1828" y="931"/>
                  <a:pt x="1828" y="931"/>
                </a:cubicBezTo>
                <a:cubicBezTo>
                  <a:pt x="1829" y="933"/>
                  <a:pt x="1829" y="934"/>
                  <a:pt x="1831" y="934"/>
                </a:cubicBezTo>
                <a:cubicBezTo>
                  <a:pt x="1831" y="934"/>
                  <a:pt x="1831" y="934"/>
                  <a:pt x="1832" y="934"/>
                </a:cubicBezTo>
                <a:cubicBezTo>
                  <a:pt x="1832" y="934"/>
                  <a:pt x="1832" y="933"/>
                  <a:pt x="1832" y="933"/>
                </a:cubicBezTo>
                <a:cubicBezTo>
                  <a:pt x="1832" y="931"/>
                  <a:pt x="1831" y="930"/>
                  <a:pt x="1830" y="930"/>
                </a:cubicBezTo>
                <a:close/>
                <a:moveTo>
                  <a:pt x="690" y="393"/>
                </a:moveTo>
                <a:cubicBezTo>
                  <a:pt x="689" y="393"/>
                  <a:pt x="688" y="394"/>
                  <a:pt x="688" y="394"/>
                </a:cubicBezTo>
                <a:cubicBezTo>
                  <a:pt x="688" y="395"/>
                  <a:pt x="688" y="395"/>
                  <a:pt x="688" y="395"/>
                </a:cubicBezTo>
                <a:cubicBezTo>
                  <a:pt x="688" y="396"/>
                  <a:pt x="689" y="396"/>
                  <a:pt x="689" y="396"/>
                </a:cubicBezTo>
                <a:cubicBezTo>
                  <a:pt x="690" y="396"/>
                  <a:pt x="691" y="395"/>
                  <a:pt x="691" y="395"/>
                </a:cubicBezTo>
                <a:cubicBezTo>
                  <a:pt x="692" y="394"/>
                  <a:pt x="692" y="394"/>
                  <a:pt x="692" y="393"/>
                </a:cubicBezTo>
                <a:cubicBezTo>
                  <a:pt x="691" y="392"/>
                  <a:pt x="690" y="392"/>
                  <a:pt x="690" y="393"/>
                </a:cubicBezTo>
                <a:close/>
                <a:moveTo>
                  <a:pt x="2281" y="1000"/>
                </a:moveTo>
                <a:cubicBezTo>
                  <a:pt x="2281" y="1000"/>
                  <a:pt x="2281" y="1000"/>
                  <a:pt x="2281" y="1001"/>
                </a:cubicBezTo>
                <a:cubicBezTo>
                  <a:pt x="2282" y="1002"/>
                  <a:pt x="2283" y="1003"/>
                  <a:pt x="2284" y="1003"/>
                </a:cubicBezTo>
                <a:cubicBezTo>
                  <a:pt x="2285" y="1003"/>
                  <a:pt x="2286" y="1002"/>
                  <a:pt x="2286" y="1002"/>
                </a:cubicBezTo>
                <a:cubicBezTo>
                  <a:pt x="2286" y="1002"/>
                  <a:pt x="2286" y="1001"/>
                  <a:pt x="2286" y="1001"/>
                </a:cubicBezTo>
                <a:cubicBezTo>
                  <a:pt x="2285" y="1000"/>
                  <a:pt x="2284" y="999"/>
                  <a:pt x="2282" y="999"/>
                </a:cubicBezTo>
                <a:cubicBezTo>
                  <a:pt x="2282" y="999"/>
                  <a:pt x="2281" y="999"/>
                  <a:pt x="2281" y="1000"/>
                </a:cubicBezTo>
                <a:close/>
                <a:moveTo>
                  <a:pt x="608" y="112"/>
                </a:moveTo>
                <a:cubicBezTo>
                  <a:pt x="608" y="112"/>
                  <a:pt x="608" y="111"/>
                  <a:pt x="607" y="111"/>
                </a:cubicBezTo>
                <a:cubicBezTo>
                  <a:pt x="606" y="111"/>
                  <a:pt x="604" y="111"/>
                  <a:pt x="603" y="112"/>
                </a:cubicBezTo>
                <a:cubicBezTo>
                  <a:pt x="602" y="112"/>
                  <a:pt x="602" y="113"/>
                  <a:pt x="603" y="113"/>
                </a:cubicBezTo>
                <a:cubicBezTo>
                  <a:pt x="603" y="114"/>
                  <a:pt x="604" y="114"/>
                  <a:pt x="605" y="115"/>
                </a:cubicBezTo>
                <a:cubicBezTo>
                  <a:pt x="606" y="114"/>
                  <a:pt x="607" y="113"/>
                  <a:pt x="608" y="113"/>
                </a:cubicBezTo>
                <a:cubicBezTo>
                  <a:pt x="608" y="112"/>
                  <a:pt x="608" y="112"/>
                  <a:pt x="608" y="112"/>
                </a:cubicBezTo>
                <a:close/>
                <a:moveTo>
                  <a:pt x="605" y="115"/>
                </a:moveTo>
                <a:cubicBezTo>
                  <a:pt x="605" y="115"/>
                  <a:pt x="604" y="115"/>
                  <a:pt x="604" y="115"/>
                </a:cubicBezTo>
                <a:cubicBezTo>
                  <a:pt x="604" y="115"/>
                  <a:pt x="605" y="115"/>
                  <a:pt x="605" y="115"/>
                </a:cubicBezTo>
                <a:cubicBezTo>
                  <a:pt x="605" y="115"/>
                  <a:pt x="605" y="115"/>
                  <a:pt x="605" y="115"/>
                </a:cubicBezTo>
                <a:cubicBezTo>
                  <a:pt x="605" y="115"/>
                  <a:pt x="605" y="115"/>
                  <a:pt x="605" y="115"/>
                </a:cubicBezTo>
                <a:close/>
                <a:moveTo>
                  <a:pt x="615" y="310"/>
                </a:moveTo>
                <a:cubicBezTo>
                  <a:pt x="614" y="310"/>
                  <a:pt x="614" y="311"/>
                  <a:pt x="614" y="311"/>
                </a:cubicBezTo>
                <a:cubicBezTo>
                  <a:pt x="614" y="312"/>
                  <a:pt x="614" y="312"/>
                  <a:pt x="614" y="313"/>
                </a:cubicBezTo>
                <a:cubicBezTo>
                  <a:pt x="614" y="314"/>
                  <a:pt x="615" y="314"/>
                  <a:pt x="616" y="315"/>
                </a:cubicBezTo>
                <a:cubicBezTo>
                  <a:pt x="616" y="315"/>
                  <a:pt x="617" y="315"/>
                  <a:pt x="617" y="315"/>
                </a:cubicBezTo>
                <a:cubicBezTo>
                  <a:pt x="617" y="315"/>
                  <a:pt x="618" y="315"/>
                  <a:pt x="617" y="314"/>
                </a:cubicBezTo>
                <a:cubicBezTo>
                  <a:pt x="617" y="312"/>
                  <a:pt x="616" y="311"/>
                  <a:pt x="615" y="310"/>
                </a:cubicBezTo>
                <a:close/>
                <a:moveTo>
                  <a:pt x="713" y="380"/>
                </a:moveTo>
                <a:cubicBezTo>
                  <a:pt x="712" y="380"/>
                  <a:pt x="712" y="380"/>
                  <a:pt x="712" y="380"/>
                </a:cubicBezTo>
                <a:cubicBezTo>
                  <a:pt x="711" y="381"/>
                  <a:pt x="710" y="381"/>
                  <a:pt x="710" y="382"/>
                </a:cubicBezTo>
                <a:cubicBezTo>
                  <a:pt x="710" y="383"/>
                  <a:pt x="711" y="384"/>
                  <a:pt x="711" y="384"/>
                </a:cubicBezTo>
                <a:cubicBezTo>
                  <a:pt x="711" y="385"/>
                  <a:pt x="712" y="385"/>
                  <a:pt x="712" y="385"/>
                </a:cubicBezTo>
                <a:cubicBezTo>
                  <a:pt x="713" y="384"/>
                  <a:pt x="713" y="384"/>
                  <a:pt x="714" y="383"/>
                </a:cubicBezTo>
                <a:cubicBezTo>
                  <a:pt x="714" y="382"/>
                  <a:pt x="714" y="381"/>
                  <a:pt x="713" y="380"/>
                </a:cubicBezTo>
                <a:cubicBezTo>
                  <a:pt x="713" y="380"/>
                  <a:pt x="713" y="380"/>
                  <a:pt x="713" y="380"/>
                </a:cubicBezTo>
                <a:close/>
                <a:moveTo>
                  <a:pt x="2219" y="947"/>
                </a:moveTo>
                <a:cubicBezTo>
                  <a:pt x="2219" y="950"/>
                  <a:pt x="2220" y="952"/>
                  <a:pt x="2221" y="955"/>
                </a:cubicBezTo>
                <a:cubicBezTo>
                  <a:pt x="2221" y="955"/>
                  <a:pt x="2221" y="955"/>
                  <a:pt x="2222" y="955"/>
                </a:cubicBezTo>
                <a:cubicBezTo>
                  <a:pt x="2222" y="955"/>
                  <a:pt x="2223" y="954"/>
                  <a:pt x="2223" y="953"/>
                </a:cubicBezTo>
                <a:cubicBezTo>
                  <a:pt x="2223" y="951"/>
                  <a:pt x="2221" y="948"/>
                  <a:pt x="2219" y="947"/>
                </a:cubicBezTo>
                <a:close/>
                <a:moveTo>
                  <a:pt x="1356" y="57"/>
                </a:moveTo>
                <a:cubicBezTo>
                  <a:pt x="1357" y="57"/>
                  <a:pt x="1357" y="57"/>
                  <a:pt x="1358" y="57"/>
                </a:cubicBezTo>
                <a:cubicBezTo>
                  <a:pt x="1359" y="57"/>
                  <a:pt x="1360" y="55"/>
                  <a:pt x="1359" y="54"/>
                </a:cubicBezTo>
                <a:cubicBezTo>
                  <a:pt x="1359" y="54"/>
                  <a:pt x="1358" y="53"/>
                  <a:pt x="1357" y="53"/>
                </a:cubicBezTo>
                <a:cubicBezTo>
                  <a:pt x="1356" y="53"/>
                  <a:pt x="1355" y="54"/>
                  <a:pt x="1355" y="55"/>
                </a:cubicBezTo>
                <a:cubicBezTo>
                  <a:pt x="1355" y="56"/>
                  <a:pt x="1356" y="56"/>
                  <a:pt x="1356" y="57"/>
                </a:cubicBezTo>
                <a:close/>
                <a:moveTo>
                  <a:pt x="1378" y="56"/>
                </a:moveTo>
                <a:cubicBezTo>
                  <a:pt x="1380" y="56"/>
                  <a:pt x="1380" y="55"/>
                  <a:pt x="1380" y="55"/>
                </a:cubicBezTo>
                <a:cubicBezTo>
                  <a:pt x="1380" y="54"/>
                  <a:pt x="1379" y="54"/>
                  <a:pt x="1378" y="54"/>
                </a:cubicBezTo>
                <a:cubicBezTo>
                  <a:pt x="1377" y="54"/>
                  <a:pt x="1376" y="55"/>
                  <a:pt x="1377" y="55"/>
                </a:cubicBezTo>
                <a:cubicBezTo>
                  <a:pt x="1377" y="56"/>
                  <a:pt x="1378" y="56"/>
                  <a:pt x="1378" y="56"/>
                </a:cubicBezTo>
                <a:close/>
                <a:moveTo>
                  <a:pt x="540" y="89"/>
                </a:moveTo>
                <a:cubicBezTo>
                  <a:pt x="540" y="90"/>
                  <a:pt x="541" y="90"/>
                  <a:pt x="541" y="91"/>
                </a:cubicBezTo>
                <a:cubicBezTo>
                  <a:pt x="541" y="92"/>
                  <a:pt x="542" y="92"/>
                  <a:pt x="543" y="92"/>
                </a:cubicBezTo>
                <a:cubicBezTo>
                  <a:pt x="544" y="92"/>
                  <a:pt x="545" y="91"/>
                  <a:pt x="545" y="90"/>
                </a:cubicBezTo>
                <a:cubicBezTo>
                  <a:pt x="544" y="90"/>
                  <a:pt x="544" y="89"/>
                  <a:pt x="544" y="89"/>
                </a:cubicBezTo>
                <a:cubicBezTo>
                  <a:pt x="543" y="89"/>
                  <a:pt x="542" y="88"/>
                  <a:pt x="542" y="88"/>
                </a:cubicBezTo>
                <a:cubicBezTo>
                  <a:pt x="541" y="88"/>
                  <a:pt x="540" y="89"/>
                  <a:pt x="540" y="89"/>
                </a:cubicBezTo>
                <a:close/>
                <a:moveTo>
                  <a:pt x="1872" y="914"/>
                </a:moveTo>
                <a:cubicBezTo>
                  <a:pt x="1872" y="914"/>
                  <a:pt x="1872" y="914"/>
                  <a:pt x="1872" y="913"/>
                </a:cubicBezTo>
                <a:cubicBezTo>
                  <a:pt x="1872" y="913"/>
                  <a:pt x="1872" y="912"/>
                  <a:pt x="1871" y="912"/>
                </a:cubicBezTo>
                <a:cubicBezTo>
                  <a:pt x="1871" y="912"/>
                  <a:pt x="1870" y="912"/>
                  <a:pt x="1869" y="912"/>
                </a:cubicBezTo>
                <a:cubicBezTo>
                  <a:pt x="1868" y="912"/>
                  <a:pt x="1868" y="912"/>
                  <a:pt x="1867" y="912"/>
                </a:cubicBezTo>
                <a:cubicBezTo>
                  <a:pt x="1868" y="913"/>
                  <a:pt x="1869" y="914"/>
                  <a:pt x="1871" y="915"/>
                </a:cubicBezTo>
                <a:cubicBezTo>
                  <a:pt x="1871" y="915"/>
                  <a:pt x="1872" y="914"/>
                  <a:pt x="1872" y="914"/>
                </a:cubicBezTo>
                <a:close/>
                <a:moveTo>
                  <a:pt x="2060" y="922"/>
                </a:moveTo>
                <a:cubicBezTo>
                  <a:pt x="2060" y="922"/>
                  <a:pt x="2060" y="923"/>
                  <a:pt x="2060" y="923"/>
                </a:cubicBezTo>
                <a:cubicBezTo>
                  <a:pt x="2060" y="923"/>
                  <a:pt x="2061" y="924"/>
                  <a:pt x="2061" y="924"/>
                </a:cubicBezTo>
                <a:cubicBezTo>
                  <a:pt x="2062" y="924"/>
                  <a:pt x="2063" y="924"/>
                  <a:pt x="2064" y="924"/>
                </a:cubicBezTo>
                <a:cubicBezTo>
                  <a:pt x="2064" y="924"/>
                  <a:pt x="2065" y="923"/>
                  <a:pt x="2065" y="923"/>
                </a:cubicBezTo>
                <a:cubicBezTo>
                  <a:pt x="2065" y="923"/>
                  <a:pt x="2065" y="923"/>
                  <a:pt x="2065" y="922"/>
                </a:cubicBezTo>
                <a:cubicBezTo>
                  <a:pt x="2063" y="921"/>
                  <a:pt x="2062" y="921"/>
                  <a:pt x="2060" y="922"/>
                </a:cubicBezTo>
                <a:close/>
                <a:moveTo>
                  <a:pt x="1528" y="166"/>
                </a:moveTo>
                <a:cubicBezTo>
                  <a:pt x="1529" y="166"/>
                  <a:pt x="1530" y="166"/>
                  <a:pt x="1530" y="164"/>
                </a:cubicBezTo>
                <a:cubicBezTo>
                  <a:pt x="1530" y="164"/>
                  <a:pt x="1529" y="163"/>
                  <a:pt x="1529" y="163"/>
                </a:cubicBezTo>
                <a:cubicBezTo>
                  <a:pt x="1528" y="162"/>
                  <a:pt x="1527" y="163"/>
                  <a:pt x="1527" y="164"/>
                </a:cubicBezTo>
                <a:cubicBezTo>
                  <a:pt x="1527" y="165"/>
                  <a:pt x="1527" y="166"/>
                  <a:pt x="1528" y="166"/>
                </a:cubicBezTo>
                <a:close/>
                <a:moveTo>
                  <a:pt x="615" y="143"/>
                </a:moveTo>
                <a:cubicBezTo>
                  <a:pt x="616" y="143"/>
                  <a:pt x="616" y="143"/>
                  <a:pt x="617" y="142"/>
                </a:cubicBezTo>
                <a:cubicBezTo>
                  <a:pt x="615" y="141"/>
                  <a:pt x="613" y="141"/>
                  <a:pt x="610" y="141"/>
                </a:cubicBezTo>
                <a:cubicBezTo>
                  <a:pt x="611" y="144"/>
                  <a:pt x="611" y="144"/>
                  <a:pt x="615" y="143"/>
                </a:cubicBezTo>
                <a:close/>
                <a:moveTo>
                  <a:pt x="610" y="141"/>
                </a:moveTo>
                <a:cubicBezTo>
                  <a:pt x="610" y="141"/>
                  <a:pt x="610" y="141"/>
                  <a:pt x="610" y="141"/>
                </a:cubicBezTo>
                <a:cubicBezTo>
                  <a:pt x="610" y="141"/>
                  <a:pt x="610" y="141"/>
                  <a:pt x="610" y="141"/>
                </a:cubicBezTo>
                <a:cubicBezTo>
                  <a:pt x="610" y="141"/>
                  <a:pt x="610" y="141"/>
                  <a:pt x="610" y="141"/>
                </a:cubicBezTo>
                <a:cubicBezTo>
                  <a:pt x="610" y="141"/>
                  <a:pt x="610" y="141"/>
                  <a:pt x="610" y="141"/>
                </a:cubicBezTo>
                <a:close/>
                <a:moveTo>
                  <a:pt x="2011" y="844"/>
                </a:moveTo>
                <a:cubicBezTo>
                  <a:pt x="2010" y="844"/>
                  <a:pt x="2009" y="845"/>
                  <a:pt x="2008" y="845"/>
                </a:cubicBezTo>
                <a:cubicBezTo>
                  <a:pt x="2010" y="848"/>
                  <a:pt x="2011" y="848"/>
                  <a:pt x="2012" y="847"/>
                </a:cubicBezTo>
                <a:cubicBezTo>
                  <a:pt x="2013" y="847"/>
                  <a:pt x="2014" y="845"/>
                  <a:pt x="2013" y="845"/>
                </a:cubicBezTo>
                <a:cubicBezTo>
                  <a:pt x="2013" y="844"/>
                  <a:pt x="2012" y="844"/>
                  <a:pt x="2011" y="844"/>
                </a:cubicBezTo>
                <a:close/>
                <a:moveTo>
                  <a:pt x="2010" y="839"/>
                </a:moveTo>
                <a:cubicBezTo>
                  <a:pt x="2010" y="839"/>
                  <a:pt x="2010" y="839"/>
                  <a:pt x="2010" y="838"/>
                </a:cubicBezTo>
                <a:cubicBezTo>
                  <a:pt x="2009" y="838"/>
                  <a:pt x="2009" y="838"/>
                  <a:pt x="2008" y="838"/>
                </a:cubicBezTo>
                <a:cubicBezTo>
                  <a:pt x="2008" y="839"/>
                  <a:pt x="2007" y="840"/>
                  <a:pt x="2007" y="840"/>
                </a:cubicBezTo>
                <a:cubicBezTo>
                  <a:pt x="2007" y="842"/>
                  <a:pt x="2007" y="844"/>
                  <a:pt x="2007" y="845"/>
                </a:cubicBezTo>
                <a:cubicBezTo>
                  <a:pt x="2007" y="845"/>
                  <a:pt x="2008" y="845"/>
                  <a:pt x="2008" y="845"/>
                </a:cubicBezTo>
                <a:cubicBezTo>
                  <a:pt x="2009" y="844"/>
                  <a:pt x="2009" y="843"/>
                  <a:pt x="2010" y="842"/>
                </a:cubicBezTo>
                <a:cubicBezTo>
                  <a:pt x="2010" y="841"/>
                  <a:pt x="2010" y="840"/>
                  <a:pt x="2010" y="839"/>
                </a:cubicBezTo>
                <a:close/>
                <a:moveTo>
                  <a:pt x="2007" y="840"/>
                </a:moveTo>
                <a:cubicBezTo>
                  <a:pt x="2007" y="840"/>
                  <a:pt x="2007" y="840"/>
                  <a:pt x="2007" y="840"/>
                </a:cubicBezTo>
                <a:cubicBezTo>
                  <a:pt x="2007" y="840"/>
                  <a:pt x="2006" y="840"/>
                  <a:pt x="2006" y="840"/>
                </a:cubicBezTo>
                <a:cubicBezTo>
                  <a:pt x="2006" y="840"/>
                  <a:pt x="2006" y="840"/>
                  <a:pt x="2006" y="840"/>
                </a:cubicBezTo>
                <a:cubicBezTo>
                  <a:pt x="2006" y="840"/>
                  <a:pt x="2007" y="840"/>
                  <a:pt x="2007" y="840"/>
                </a:cubicBezTo>
                <a:close/>
                <a:moveTo>
                  <a:pt x="2008" y="845"/>
                </a:moveTo>
                <a:cubicBezTo>
                  <a:pt x="2008" y="845"/>
                  <a:pt x="2008" y="845"/>
                  <a:pt x="2008" y="845"/>
                </a:cubicBezTo>
                <a:cubicBezTo>
                  <a:pt x="2008" y="845"/>
                  <a:pt x="2008" y="845"/>
                  <a:pt x="2008" y="845"/>
                </a:cubicBezTo>
                <a:cubicBezTo>
                  <a:pt x="2008" y="845"/>
                  <a:pt x="2008" y="845"/>
                  <a:pt x="2008" y="845"/>
                </a:cubicBezTo>
                <a:cubicBezTo>
                  <a:pt x="2008" y="845"/>
                  <a:pt x="2008" y="845"/>
                  <a:pt x="2008" y="845"/>
                </a:cubicBezTo>
                <a:close/>
                <a:moveTo>
                  <a:pt x="678" y="810"/>
                </a:moveTo>
                <a:cubicBezTo>
                  <a:pt x="678" y="810"/>
                  <a:pt x="677" y="809"/>
                  <a:pt x="677" y="810"/>
                </a:cubicBezTo>
                <a:cubicBezTo>
                  <a:pt x="676" y="810"/>
                  <a:pt x="676" y="811"/>
                  <a:pt x="676" y="811"/>
                </a:cubicBezTo>
                <a:cubicBezTo>
                  <a:pt x="677" y="812"/>
                  <a:pt x="677" y="812"/>
                  <a:pt x="678" y="813"/>
                </a:cubicBezTo>
                <a:cubicBezTo>
                  <a:pt x="678" y="813"/>
                  <a:pt x="679" y="812"/>
                  <a:pt x="679" y="812"/>
                </a:cubicBezTo>
                <a:cubicBezTo>
                  <a:pt x="679" y="811"/>
                  <a:pt x="679" y="811"/>
                  <a:pt x="678" y="810"/>
                </a:cubicBezTo>
                <a:close/>
                <a:moveTo>
                  <a:pt x="677" y="798"/>
                </a:moveTo>
                <a:cubicBezTo>
                  <a:pt x="677" y="798"/>
                  <a:pt x="676" y="797"/>
                  <a:pt x="676" y="797"/>
                </a:cubicBezTo>
                <a:cubicBezTo>
                  <a:pt x="675" y="797"/>
                  <a:pt x="674" y="798"/>
                  <a:pt x="673" y="799"/>
                </a:cubicBezTo>
                <a:cubicBezTo>
                  <a:pt x="673" y="799"/>
                  <a:pt x="674" y="800"/>
                  <a:pt x="674" y="800"/>
                </a:cubicBezTo>
                <a:cubicBezTo>
                  <a:pt x="675" y="801"/>
                  <a:pt x="677" y="799"/>
                  <a:pt x="677" y="798"/>
                </a:cubicBezTo>
                <a:close/>
                <a:moveTo>
                  <a:pt x="644" y="347"/>
                </a:moveTo>
                <a:cubicBezTo>
                  <a:pt x="644" y="348"/>
                  <a:pt x="644" y="348"/>
                  <a:pt x="644" y="349"/>
                </a:cubicBezTo>
                <a:cubicBezTo>
                  <a:pt x="644" y="350"/>
                  <a:pt x="645" y="351"/>
                  <a:pt x="646" y="351"/>
                </a:cubicBezTo>
                <a:cubicBezTo>
                  <a:pt x="647" y="351"/>
                  <a:pt x="647" y="351"/>
                  <a:pt x="648" y="350"/>
                </a:cubicBezTo>
                <a:cubicBezTo>
                  <a:pt x="648" y="350"/>
                  <a:pt x="648" y="349"/>
                  <a:pt x="648" y="349"/>
                </a:cubicBezTo>
                <a:cubicBezTo>
                  <a:pt x="647" y="348"/>
                  <a:pt x="646" y="347"/>
                  <a:pt x="644" y="347"/>
                </a:cubicBezTo>
                <a:close/>
                <a:moveTo>
                  <a:pt x="562" y="731"/>
                </a:moveTo>
                <a:cubicBezTo>
                  <a:pt x="561" y="731"/>
                  <a:pt x="560" y="732"/>
                  <a:pt x="560" y="733"/>
                </a:cubicBezTo>
                <a:cubicBezTo>
                  <a:pt x="560" y="734"/>
                  <a:pt x="561" y="735"/>
                  <a:pt x="562" y="735"/>
                </a:cubicBezTo>
                <a:cubicBezTo>
                  <a:pt x="562" y="735"/>
                  <a:pt x="563" y="734"/>
                  <a:pt x="563" y="733"/>
                </a:cubicBezTo>
                <a:cubicBezTo>
                  <a:pt x="563" y="732"/>
                  <a:pt x="562" y="731"/>
                  <a:pt x="562" y="731"/>
                </a:cubicBezTo>
                <a:close/>
                <a:moveTo>
                  <a:pt x="569" y="721"/>
                </a:moveTo>
                <a:cubicBezTo>
                  <a:pt x="571" y="720"/>
                  <a:pt x="570" y="717"/>
                  <a:pt x="569" y="716"/>
                </a:cubicBezTo>
                <a:cubicBezTo>
                  <a:pt x="568" y="716"/>
                  <a:pt x="568" y="716"/>
                  <a:pt x="568" y="717"/>
                </a:cubicBezTo>
                <a:cubicBezTo>
                  <a:pt x="567" y="718"/>
                  <a:pt x="568" y="720"/>
                  <a:pt x="569" y="721"/>
                </a:cubicBezTo>
                <a:cubicBezTo>
                  <a:pt x="569" y="721"/>
                  <a:pt x="569" y="721"/>
                  <a:pt x="569" y="721"/>
                </a:cubicBezTo>
                <a:close/>
                <a:moveTo>
                  <a:pt x="559" y="716"/>
                </a:moveTo>
                <a:cubicBezTo>
                  <a:pt x="558" y="717"/>
                  <a:pt x="558" y="717"/>
                  <a:pt x="559" y="718"/>
                </a:cubicBezTo>
                <a:cubicBezTo>
                  <a:pt x="559" y="718"/>
                  <a:pt x="559" y="718"/>
                  <a:pt x="559" y="718"/>
                </a:cubicBezTo>
                <a:cubicBezTo>
                  <a:pt x="560" y="719"/>
                  <a:pt x="561" y="718"/>
                  <a:pt x="562" y="717"/>
                </a:cubicBezTo>
                <a:cubicBezTo>
                  <a:pt x="563" y="717"/>
                  <a:pt x="563" y="717"/>
                  <a:pt x="563" y="716"/>
                </a:cubicBezTo>
                <a:cubicBezTo>
                  <a:pt x="562" y="716"/>
                  <a:pt x="562" y="716"/>
                  <a:pt x="562" y="716"/>
                </a:cubicBezTo>
                <a:cubicBezTo>
                  <a:pt x="561" y="716"/>
                  <a:pt x="560" y="716"/>
                  <a:pt x="559" y="716"/>
                </a:cubicBezTo>
                <a:close/>
                <a:moveTo>
                  <a:pt x="593" y="763"/>
                </a:moveTo>
                <a:cubicBezTo>
                  <a:pt x="593" y="763"/>
                  <a:pt x="594" y="762"/>
                  <a:pt x="594" y="762"/>
                </a:cubicBezTo>
                <a:cubicBezTo>
                  <a:pt x="594" y="762"/>
                  <a:pt x="593" y="761"/>
                  <a:pt x="593" y="761"/>
                </a:cubicBezTo>
                <a:cubicBezTo>
                  <a:pt x="592" y="760"/>
                  <a:pt x="592" y="760"/>
                  <a:pt x="591" y="761"/>
                </a:cubicBezTo>
                <a:cubicBezTo>
                  <a:pt x="591" y="761"/>
                  <a:pt x="590" y="762"/>
                  <a:pt x="590" y="762"/>
                </a:cubicBezTo>
                <a:cubicBezTo>
                  <a:pt x="590" y="763"/>
                  <a:pt x="591" y="763"/>
                  <a:pt x="591" y="763"/>
                </a:cubicBezTo>
                <a:cubicBezTo>
                  <a:pt x="592" y="763"/>
                  <a:pt x="593" y="763"/>
                  <a:pt x="593" y="763"/>
                </a:cubicBezTo>
                <a:close/>
                <a:moveTo>
                  <a:pt x="2215" y="945"/>
                </a:moveTo>
                <a:cubicBezTo>
                  <a:pt x="2215" y="945"/>
                  <a:pt x="2215" y="945"/>
                  <a:pt x="2215" y="945"/>
                </a:cubicBezTo>
                <a:cubicBezTo>
                  <a:pt x="2215" y="945"/>
                  <a:pt x="2215" y="945"/>
                  <a:pt x="2215" y="945"/>
                </a:cubicBezTo>
                <a:cubicBezTo>
                  <a:pt x="2215" y="945"/>
                  <a:pt x="2215" y="945"/>
                  <a:pt x="2215" y="945"/>
                </a:cubicBezTo>
                <a:cubicBezTo>
                  <a:pt x="2215" y="945"/>
                  <a:pt x="2215" y="945"/>
                  <a:pt x="2215" y="945"/>
                </a:cubicBezTo>
                <a:close/>
                <a:moveTo>
                  <a:pt x="2208" y="942"/>
                </a:moveTo>
                <a:cubicBezTo>
                  <a:pt x="2210" y="944"/>
                  <a:pt x="2212" y="945"/>
                  <a:pt x="2215" y="945"/>
                </a:cubicBezTo>
                <a:cubicBezTo>
                  <a:pt x="2213" y="942"/>
                  <a:pt x="2211" y="942"/>
                  <a:pt x="2208" y="942"/>
                </a:cubicBezTo>
                <a:close/>
                <a:moveTo>
                  <a:pt x="2036" y="927"/>
                </a:moveTo>
                <a:cubicBezTo>
                  <a:pt x="2036" y="927"/>
                  <a:pt x="2037" y="928"/>
                  <a:pt x="2038" y="927"/>
                </a:cubicBezTo>
                <a:cubicBezTo>
                  <a:pt x="2039" y="927"/>
                  <a:pt x="2039" y="926"/>
                  <a:pt x="2040" y="926"/>
                </a:cubicBezTo>
                <a:cubicBezTo>
                  <a:pt x="2040" y="926"/>
                  <a:pt x="2040" y="926"/>
                  <a:pt x="2040" y="926"/>
                </a:cubicBezTo>
                <a:cubicBezTo>
                  <a:pt x="2040" y="926"/>
                  <a:pt x="2040" y="926"/>
                  <a:pt x="2040" y="926"/>
                </a:cubicBezTo>
                <a:cubicBezTo>
                  <a:pt x="2040" y="926"/>
                  <a:pt x="2041" y="926"/>
                  <a:pt x="2041" y="926"/>
                </a:cubicBezTo>
                <a:cubicBezTo>
                  <a:pt x="2041" y="924"/>
                  <a:pt x="2041" y="923"/>
                  <a:pt x="2041" y="922"/>
                </a:cubicBezTo>
                <a:cubicBezTo>
                  <a:pt x="2040" y="921"/>
                  <a:pt x="2041" y="920"/>
                  <a:pt x="2042" y="920"/>
                </a:cubicBezTo>
                <a:cubicBezTo>
                  <a:pt x="2042" y="919"/>
                  <a:pt x="2042" y="919"/>
                  <a:pt x="2042" y="919"/>
                </a:cubicBezTo>
                <a:cubicBezTo>
                  <a:pt x="2044" y="919"/>
                  <a:pt x="2045" y="919"/>
                  <a:pt x="2044" y="916"/>
                </a:cubicBezTo>
                <a:cubicBezTo>
                  <a:pt x="2044" y="916"/>
                  <a:pt x="2045" y="915"/>
                  <a:pt x="2045" y="914"/>
                </a:cubicBezTo>
                <a:cubicBezTo>
                  <a:pt x="2046" y="913"/>
                  <a:pt x="2047" y="913"/>
                  <a:pt x="2047" y="911"/>
                </a:cubicBezTo>
                <a:cubicBezTo>
                  <a:pt x="2047" y="911"/>
                  <a:pt x="2046" y="910"/>
                  <a:pt x="2046" y="910"/>
                </a:cubicBezTo>
                <a:cubicBezTo>
                  <a:pt x="2045" y="910"/>
                  <a:pt x="2044" y="909"/>
                  <a:pt x="2044" y="909"/>
                </a:cubicBezTo>
                <a:cubicBezTo>
                  <a:pt x="2043" y="909"/>
                  <a:pt x="2042" y="909"/>
                  <a:pt x="2042" y="908"/>
                </a:cubicBezTo>
                <a:cubicBezTo>
                  <a:pt x="2041" y="908"/>
                  <a:pt x="2041" y="907"/>
                  <a:pt x="2043" y="906"/>
                </a:cubicBezTo>
                <a:cubicBezTo>
                  <a:pt x="2043" y="906"/>
                  <a:pt x="2044" y="906"/>
                  <a:pt x="2044" y="906"/>
                </a:cubicBezTo>
                <a:cubicBezTo>
                  <a:pt x="2044" y="905"/>
                  <a:pt x="2044" y="905"/>
                  <a:pt x="2044" y="904"/>
                </a:cubicBezTo>
                <a:cubicBezTo>
                  <a:pt x="2044" y="904"/>
                  <a:pt x="2044" y="904"/>
                  <a:pt x="2043" y="904"/>
                </a:cubicBezTo>
                <a:cubicBezTo>
                  <a:pt x="2037" y="905"/>
                  <a:pt x="2036" y="909"/>
                  <a:pt x="2036" y="915"/>
                </a:cubicBezTo>
                <a:cubicBezTo>
                  <a:pt x="2036" y="916"/>
                  <a:pt x="2037" y="917"/>
                  <a:pt x="2037" y="918"/>
                </a:cubicBezTo>
                <a:cubicBezTo>
                  <a:pt x="2037" y="920"/>
                  <a:pt x="2038" y="922"/>
                  <a:pt x="2038" y="924"/>
                </a:cubicBezTo>
                <a:cubicBezTo>
                  <a:pt x="2038" y="924"/>
                  <a:pt x="2038" y="924"/>
                  <a:pt x="2038" y="924"/>
                </a:cubicBezTo>
                <a:cubicBezTo>
                  <a:pt x="2038" y="924"/>
                  <a:pt x="2038" y="924"/>
                  <a:pt x="2038" y="924"/>
                </a:cubicBezTo>
                <a:cubicBezTo>
                  <a:pt x="2038" y="924"/>
                  <a:pt x="2038" y="924"/>
                  <a:pt x="2038" y="924"/>
                </a:cubicBezTo>
                <a:cubicBezTo>
                  <a:pt x="2038" y="924"/>
                  <a:pt x="2039" y="925"/>
                  <a:pt x="2039" y="925"/>
                </a:cubicBezTo>
                <a:cubicBezTo>
                  <a:pt x="2039" y="925"/>
                  <a:pt x="2038" y="924"/>
                  <a:pt x="2038" y="924"/>
                </a:cubicBezTo>
                <a:cubicBezTo>
                  <a:pt x="2038" y="924"/>
                  <a:pt x="2037" y="924"/>
                  <a:pt x="2037" y="925"/>
                </a:cubicBezTo>
                <a:cubicBezTo>
                  <a:pt x="2036" y="925"/>
                  <a:pt x="2035" y="926"/>
                  <a:pt x="2036" y="927"/>
                </a:cubicBezTo>
                <a:close/>
                <a:moveTo>
                  <a:pt x="1783" y="821"/>
                </a:moveTo>
                <a:cubicBezTo>
                  <a:pt x="1783" y="820"/>
                  <a:pt x="1783" y="821"/>
                  <a:pt x="1782" y="821"/>
                </a:cubicBezTo>
                <a:cubicBezTo>
                  <a:pt x="1782" y="822"/>
                  <a:pt x="1782" y="823"/>
                  <a:pt x="1782" y="823"/>
                </a:cubicBezTo>
                <a:cubicBezTo>
                  <a:pt x="1782" y="824"/>
                  <a:pt x="1782" y="824"/>
                  <a:pt x="1782" y="825"/>
                </a:cubicBezTo>
                <a:cubicBezTo>
                  <a:pt x="1782" y="825"/>
                  <a:pt x="1783" y="826"/>
                  <a:pt x="1783" y="826"/>
                </a:cubicBezTo>
                <a:cubicBezTo>
                  <a:pt x="1783" y="826"/>
                  <a:pt x="1784" y="825"/>
                  <a:pt x="1784" y="825"/>
                </a:cubicBezTo>
                <a:cubicBezTo>
                  <a:pt x="1784" y="824"/>
                  <a:pt x="1784" y="823"/>
                  <a:pt x="1784" y="821"/>
                </a:cubicBezTo>
                <a:cubicBezTo>
                  <a:pt x="1784" y="821"/>
                  <a:pt x="1784" y="821"/>
                  <a:pt x="1783" y="821"/>
                </a:cubicBezTo>
                <a:close/>
                <a:moveTo>
                  <a:pt x="2063" y="979"/>
                </a:moveTo>
                <a:cubicBezTo>
                  <a:pt x="2063" y="979"/>
                  <a:pt x="2063" y="980"/>
                  <a:pt x="2064" y="980"/>
                </a:cubicBezTo>
                <a:cubicBezTo>
                  <a:pt x="2064" y="980"/>
                  <a:pt x="2064" y="980"/>
                  <a:pt x="2065" y="980"/>
                </a:cubicBezTo>
                <a:cubicBezTo>
                  <a:pt x="2066" y="979"/>
                  <a:pt x="2066" y="979"/>
                  <a:pt x="2066" y="977"/>
                </a:cubicBezTo>
                <a:cubicBezTo>
                  <a:pt x="2066" y="977"/>
                  <a:pt x="2066" y="976"/>
                  <a:pt x="2065" y="976"/>
                </a:cubicBezTo>
                <a:cubicBezTo>
                  <a:pt x="2065" y="976"/>
                  <a:pt x="2064" y="976"/>
                  <a:pt x="2064" y="976"/>
                </a:cubicBezTo>
                <a:cubicBezTo>
                  <a:pt x="2063" y="977"/>
                  <a:pt x="2063" y="978"/>
                  <a:pt x="2063" y="979"/>
                </a:cubicBezTo>
                <a:close/>
                <a:moveTo>
                  <a:pt x="1509" y="217"/>
                </a:moveTo>
                <a:cubicBezTo>
                  <a:pt x="1510" y="217"/>
                  <a:pt x="1510" y="217"/>
                  <a:pt x="1510" y="216"/>
                </a:cubicBezTo>
                <a:cubicBezTo>
                  <a:pt x="1510" y="216"/>
                  <a:pt x="1510" y="215"/>
                  <a:pt x="1509" y="214"/>
                </a:cubicBezTo>
                <a:cubicBezTo>
                  <a:pt x="1509" y="214"/>
                  <a:pt x="1509" y="213"/>
                  <a:pt x="1508" y="213"/>
                </a:cubicBezTo>
                <a:cubicBezTo>
                  <a:pt x="1508" y="213"/>
                  <a:pt x="1507" y="214"/>
                  <a:pt x="1507" y="214"/>
                </a:cubicBezTo>
                <a:cubicBezTo>
                  <a:pt x="1507" y="215"/>
                  <a:pt x="1507" y="216"/>
                  <a:pt x="1508" y="217"/>
                </a:cubicBezTo>
                <a:cubicBezTo>
                  <a:pt x="1508" y="217"/>
                  <a:pt x="1509" y="217"/>
                  <a:pt x="1509" y="217"/>
                </a:cubicBezTo>
                <a:close/>
                <a:moveTo>
                  <a:pt x="675" y="270"/>
                </a:moveTo>
                <a:cubicBezTo>
                  <a:pt x="675" y="270"/>
                  <a:pt x="674" y="269"/>
                  <a:pt x="673" y="269"/>
                </a:cubicBezTo>
                <a:cubicBezTo>
                  <a:pt x="673" y="270"/>
                  <a:pt x="672" y="270"/>
                  <a:pt x="672" y="271"/>
                </a:cubicBezTo>
                <a:cubicBezTo>
                  <a:pt x="672" y="272"/>
                  <a:pt x="672" y="272"/>
                  <a:pt x="673" y="273"/>
                </a:cubicBezTo>
                <a:cubicBezTo>
                  <a:pt x="673" y="273"/>
                  <a:pt x="674" y="273"/>
                  <a:pt x="674" y="272"/>
                </a:cubicBezTo>
                <a:cubicBezTo>
                  <a:pt x="675" y="272"/>
                  <a:pt x="675" y="271"/>
                  <a:pt x="675" y="270"/>
                </a:cubicBezTo>
                <a:close/>
                <a:moveTo>
                  <a:pt x="2004" y="646"/>
                </a:moveTo>
                <a:cubicBezTo>
                  <a:pt x="2004" y="645"/>
                  <a:pt x="2004" y="644"/>
                  <a:pt x="2003" y="644"/>
                </a:cubicBezTo>
                <a:cubicBezTo>
                  <a:pt x="2002" y="644"/>
                  <a:pt x="2002" y="644"/>
                  <a:pt x="2001" y="645"/>
                </a:cubicBezTo>
                <a:cubicBezTo>
                  <a:pt x="2001" y="645"/>
                  <a:pt x="2000" y="646"/>
                  <a:pt x="2001" y="647"/>
                </a:cubicBezTo>
                <a:cubicBezTo>
                  <a:pt x="2001" y="647"/>
                  <a:pt x="2001" y="647"/>
                  <a:pt x="2002" y="647"/>
                </a:cubicBezTo>
                <a:cubicBezTo>
                  <a:pt x="2003" y="647"/>
                  <a:pt x="2004" y="647"/>
                  <a:pt x="2004" y="646"/>
                </a:cubicBezTo>
                <a:close/>
                <a:moveTo>
                  <a:pt x="1922" y="1122"/>
                </a:moveTo>
                <a:cubicBezTo>
                  <a:pt x="1921" y="1122"/>
                  <a:pt x="1921" y="1121"/>
                  <a:pt x="1920" y="1121"/>
                </a:cubicBezTo>
                <a:cubicBezTo>
                  <a:pt x="1920" y="1122"/>
                  <a:pt x="1919" y="1122"/>
                  <a:pt x="1919" y="1123"/>
                </a:cubicBezTo>
                <a:cubicBezTo>
                  <a:pt x="1920" y="1124"/>
                  <a:pt x="1920" y="1125"/>
                  <a:pt x="1921" y="1126"/>
                </a:cubicBezTo>
                <a:cubicBezTo>
                  <a:pt x="1921" y="1126"/>
                  <a:pt x="1922" y="1126"/>
                  <a:pt x="1922" y="1126"/>
                </a:cubicBezTo>
                <a:cubicBezTo>
                  <a:pt x="1923" y="1124"/>
                  <a:pt x="1923" y="1123"/>
                  <a:pt x="1922" y="1122"/>
                </a:cubicBezTo>
                <a:close/>
                <a:moveTo>
                  <a:pt x="1921" y="1126"/>
                </a:moveTo>
                <a:cubicBezTo>
                  <a:pt x="1921" y="1126"/>
                  <a:pt x="1921" y="1126"/>
                  <a:pt x="1921" y="1126"/>
                </a:cubicBezTo>
                <a:cubicBezTo>
                  <a:pt x="1921" y="1126"/>
                  <a:pt x="1921" y="1126"/>
                  <a:pt x="1921" y="1126"/>
                </a:cubicBezTo>
                <a:cubicBezTo>
                  <a:pt x="1921" y="1126"/>
                  <a:pt x="1921" y="1126"/>
                  <a:pt x="1921" y="1126"/>
                </a:cubicBezTo>
                <a:cubicBezTo>
                  <a:pt x="1921" y="1126"/>
                  <a:pt x="1921" y="1126"/>
                  <a:pt x="1921" y="1126"/>
                </a:cubicBezTo>
                <a:close/>
                <a:moveTo>
                  <a:pt x="1337" y="104"/>
                </a:moveTo>
                <a:cubicBezTo>
                  <a:pt x="1337" y="104"/>
                  <a:pt x="1337" y="104"/>
                  <a:pt x="1337" y="104"/>
                </a:cubicBezTo>
                <a:cubicBezTo>
                  <a:pt x="1337" y="104"/>
                  <a:pt x="1337" y="104"/>
                  <a:pt x="1337" y="104"/>
                </a:cubicBezTo>
                <a:cubicBezTo>
                  <a:pt x="1337" y="104"/>
                  <a:pt x="1337" y="104"/>
                  <a:pt x="1337" y="104"/>
                </a:cubicBezTo>
                <a:cubicBezTo>
                  <a:pt x="1337" y="104"/>
                  <a:pt x="1337" y="104"/>
                  <a:pt x="1337" y="104"/>
                </a:cubicBezTo>
                <a:close/>
                <a:moveTo>
                  <a:pt x="1335" y="101"/>
                </a:moveTo>
                <a:cubicBezTo>
                  <a:pt x="1334" y="101"/>
                  <a:pt x="1333" y="101"/>
                  <a:pt x="1333" y="102"/>
                </a:cubicBezTo>
                <a:cubicBezTo>
                  <a:pt x="1333" y="102"/>
                  <a:pt x="1334" y="104"/>
                  <a:pt x="1334" y="104"/>
                </a:cubicBezTo>
                <a:cubicBezTo>
                  <a:pt x="1335" y="104"/>
                  <a:pt x="1336" y="104"/>
                  <a:pt x="1337" y="104"/>
                </a:cubicBezTo>
                <a:cubicBezTo>
                  <a:pt x="1337" y="103"/>
                  <a:pt x="1336" y="102"/>
                  <a:pt x="1336" y="101"/>
                </a:cubicBezTo>
                <a:cubicBezTo>
                  <a:pt x="1336" y="101"/>
                  <a:pt x="1335" y="101"/>
                  <a:pt x="1335" y="101"/>
                </a:cubicBezTo>
                <a:close/>
                <a:moveTo>
                  <a:pt x="1981" y="829"/>
                </a:moveTo>
                <a:cubicBezTo>
                  <a:pt x="1980" y="828"/>
                  <a:pt x="1980" y="828"/>
                  <a:pt x="1979" y="827"/>
                </a:cubicBezTo>
                <a:cubicBezTo>
                  <a:pt x="1978" y="827"/>
                  <a:pt x="1977" y="828"/>
                  <a:pt x="1977" y="829"/>
                </a:cubicBezTo>
                <a:cubicBezTo>
                  <a:pt x="1977" y="829"/>
                  <a:pt x="1978" y="830"/>
                  <a:pt x="1978" y="830"/>
                </a:cubicBezTo>
                <a:cubicBezTo>
                  <a:pt x="1979" y="831"/>
                  <a:pt x="1980" y="830"/>
                  <a:pt x="1981" y="829"/>
                </a:cubicBezTo>
                <a:close/>
                <a:moveTo>
                  <a:pt x="2026" y="980"/>
                </a:moveTo>
                <a:cubicBezTo>
                  <a:pt x="2027" y="980"/>
                  <a:pt x="2027" y="980"/>
                  <a:pt x="2028" y="980"/>
                </a:cubicBezTo>
                <a:cubicBezTo>
                  <a:pt x="2028" y="980"/>
                  <a:pt x="2029" y="980"/>
                  <a:pt x="2029" y="979"/>
                </a:cubicBezTo>
                <a:cubicBezTo>
                  <a:pt x="2029" y="979"/>
                  <a:pt x="2028" y="978"/>
                  <a:pt x="2028" y="978"/>
                </a:cubicBezTo>
                <a:cubicBezTo>
                  <a:pt x="2028" y="978"/>
                  <a:pt x="2027" y="978"/>
                  <a:pt x="2027" y="978"/>
                </a:cubicBezTo>
                <a:cubicBezTo>
                  <a:pt x="2027" y="978"/>
                  <a:pt x="2026" y="978"/>
                  <a:pt x="2026" y="978"/>
                </a:cubicBezTo>
                <a:cubicBezTo>
                  <a:pt x="2025" y="978"/>
                  <a:pt x="2024" y="978"/>
                  <a:pt x="2024" y="979"/>
                </a:cubicBezTo>
                <a:cubicBezTo>
                  <a:pt x="2024" y="980"/>
                  <a:pt x="2025" y="980"/>
                  <a:pt x="2026" y="980"/>
                </a:cubicBezTo>
                <a:close/>
                <a:moveTo>
                  <a:pt x="1029" y="79"/>
                </a:moveTo>
                <a:cubicBezTo>
                  <a:pt x="1029" y="79"/>
                  <a:pt x="1029" y="78"/>
                  <a:pt x="1030" y="77"/>
                </a:cubicBezTo>
                <a:cubicBezTo>
                  <a:pt x="1030" y="77"/>
                  <a:pt x="1029" y="76"/>
                  <a:pt x="1029" y="76"/>
                </a:cubicBezTo>
                <a:cubicBezTo>
                  <a:pt x="1029" y="75"/>
                  <a:pt x="1027" y="76"/>
                  <a:pt x="1027" y="77"/>
                </a:cubicBezTo>
                <a:cubicBezTo>
                  <a:pt x="1027" y="78"/>
                  <a:pt x="1028" y="79"/>
                  <a:pt x="1029" y="79"/>
                </a:cubicBezTo>
                <a:close/>
                <a:moveTo>
                  <a:pt x="1424" y="1005"/>
                </a:moveTo>
                <a:cubicBezTo>
                  <a:pt x="1425" y="1004"/>
                  <a:pt x="1424" y="1003"/>
                  <a:pt x="1424" y="1003"/>
                </a:cubicBezTo>
                <a:cubicBezTo>
                  <a:pt x="1423" y="1002"/>
                  <a:pt x="1422" y="1003"/>
                  <a:pt x="1422" y="1004"/>
                </a:cubicBezTo>
                <a:cubicBezTo>
                  <a:pt x="1422" y="1005"/>
                  <a:pt x="1422" y="1005"/>
                  <a:pt x="1423" y="1005"/>
                </a:cubicBezTo>
                <a:cubicBezTo>
                  <a:pt x="1423" y="1006"/>
                  <a:pt x="1424" y="1006"/>
                  <a:pt x="1424" y="1005"/>
                </a:cubicBezTo>
                <a:close/>
                <a:moveTo>
                  <a:pt x="1025" y="137"/>
                </a:moveTo>
                <a:cubicBezTo>
                  <a:pt x="1024" y="138"/>
                  <a:pt x="1024" y="138"/>
                  <a:pt x="1024" y="139"/>
                </a:cubicBezTo>
                <a:cubicBezTo>
                  <a:pt x="1024" y="140"/>
                  <a:pt x="1024" y="140"/>
                  <a:pt x="1024" y="140"/>
                </a:cubicBezTo>
                <a:cubicBezTo>
                  <a:pt x="1025" y="140"/>
                  <a:pt x="1026" y="140"/>
                  <a:pt x="1026" y="140"/>
                </a:cubicBezTo>
                <a:cubicBezTo>
                  <a:pt x="1026" y="139"/>
                  <a:pt x="1026" y="139"/>
                  <a:pt x="1027" y="138"/>
                </a:cubicBezTo>
                <a:cubicBezTo>
                  <a:pt x="1026" y="137"/>
                  <a:pt x="1026" y="137"/>
                  <a:pt x="1025" y="137"/>
                </a:cubicBezTo>
                <a:close/>
                <a:moveTo>
                  <a:pt x="1254" y="627"/>
                </a:moveTo>
                <a:cubicBezTo>
                  <a:pt x="1253" y="627"/>
                  <a:pt x="1253" y="627"/>
                  <a:pt x="1253" y="627"/>
                </a:cubicBezTo>
                <a:cubicBezTo>
                  <a:pt x="1252" y="627"/>
                  <a:pt x="1252" y="626"/>
                  <a:pt x="1251" y="627"/>
                </a:cubicBezTo>
                <a:cubicBezTo>
                  <a:pt x="1251" y="627"/>
                  <a:pt x="1251" y="628"/>
                  <a:pt x="1251" y="628"/>
                </a:cubicBezTo>
                <a:cubicBezTo>
                  <a:pt x="1251" y="629"/>
                  <a:pt x="1251" y="629"/>
                  <a:pt x="1252" y="630"/>
                </a:cubicBezTo>
                <a:cubicBezTo>
                  <a:pt x="1253" y="630"/>
                  <a:pt x="1254" y="630"/>
                  <a:pt x="1255" y="630"/>
                </a:cubicBezTo>
                <a:cubicBezTo>
                  <a:pt x="1255" y="629"/>
                  <a:pt x="1255" y="629"/>
                  <a:pt x="1255" y="628"/>
                </a:cubicBezTo>
                <a:cubicBezTo>
                  <a:pt x="1254" y="628"/>
                  <a:pt x="1254" y="628"/>
                  <a:pt x="1254" y="627"/>
                </a:cubicBezTo>
                <a:close/>
                <a:moveTo>
                  <a:pt x="1255" y="630"/>
                </a:moveTo>
                <a:cubicBezTo>
                  <a:pt x="1255" y="630"/>
                  <a:pt x="1255" y="630"/>
                  <a:pt x="1255" y="630"/>
                </a:cubicBezTo>
                <a:cubicBezTo>
                  <a:pt x="1255" y="630"/>
                  <a:pt x="1255" y="630"/>
                  <a:pt x="1255" y="630"/>
                </a:cubicBezTo>
                <a:cubicBezTo>
                  <a:pt x="1255" y="630"/>
                  <a:pt x="1255" y="630"/>
                  <a:pt x="1255" y="630"/>
                </a:cubicBezTo>
                <a:cubicBezTo>
                  <a:pt x="1255" y="630"/>
                  <a:pt x="1255" y="630"/>
                  <a:pt x="1255" y="630"/>
                </a:cubicBezTo>
                <a:close/>
                <a:moveTo>
                  <a:pt x="2111" y="1269"/>
                </a:moveTo>
                <a:cubicBezTo>
                  <a:pt x="2112" y="1268"/>
                  <a:pt x="2112" y="1268"/>
                  <a:pt x="2112" y="1267"/>
                </a:cubicBezTo>
                <a:cubicBezTo>
                  <a:pt x="2112" y="1267"/>
                  <a:pt x="2112" y="1266"/>
                  <a:pt x="2112" y="1266"/>
                </a:cubicBezTo>
                <a:cubicBezTo>
                  <a:pt x="2112" y="1266"/>
                  <a:pt x="2111" y="1265"/>
                  <a:pt x="2111" y="1265"/>
                </a:cubicBezTo>
                <a:cubicBezTo>
                  <a:pt x="2111" y="1265"/>
                  <a:pt x="2110" y="1265"/>
                  <a:pt x="2110" y="1266"/>
                </a:cubicBezTo>
                <a:cubicBezTo>
                  <a:pt x="2109" y="1266"/>
                  <a:pt x="2109" y="1267"/>
                  <a:pt x="2109" y="1268"/>
                </a:cubicBezTo>
                <a:cubicBezTo>
                  <a:pt x="2109" y="1268"/>
                  <a:pt x="2110" y="1269"/>
                  <a:pt x="2110" y="1269"/>
                </a:cubicBezTo>
                <a:cubicBezTo>
                  <a:pt x="2111" y="1269"/>
                  <a:pt x="2111" y="1269"/>
                  <a:pt x="2111" y="1269"/>
                </a:cubicBezTo>
                <a:close/>
                <a:moveTo>
                  <a:pt x="2039" y="935"/>
                </a:moveTo>
                <a:cubicBezTo>
                  <a:pt x="2040" y="934"/>
                  <a:pt x="2040" y="934"/>
                  <a:pt x="2041" y="934"/>
                </a:cubicBezTo>
                <a:cubicBezTo>
                  <a:pt x="2040" y="933"/>
                  <a:pt x="2040" y="933"/>
                  <a:pt x="2040" y="933"/>
                </a:cubicBezTo>
                <a:cubicBezTo>
                  <a:pt x="2040" y="932"/>
                  <a:pt x="2039" y="932"/>
                  <a:pt x="2038" y="932"/>
                </a:cubicBezTo>
                <a:cubicBezTo>
                  <a:pt x="2037" y="932"/>
                  <a:pt x="2037" y="933"/>
                  <a:pt x="2037" y="934"/>
                </a:cubicBezTo>
                <a:cubicBezTo>
                  <a:pt x="2038" y="935"/>
                  <a:pt x="2038" y="935"/>
                  <a:pt x="2039" y="935"/>
                </a:cubicBezTo>
                <a:close/>
                <a:moveTo>
                  <a:pt x="614" y="1281"/>
                </a:moveTo>
                <a:cubicBezTo>
                  <a:pt x="614" y="1281"/>
                  <a:pt x="614" y="1280"/>
                  <a:pt x="614" y="1280"/>
                </a:cubicBezTo>
                <a:cubicBezTo>
                  <a:pt x="614" y="1279"/>
                  <a:pt x="614" y="1278"/>
                  <a:pt x="613" y="1277"/>
                </a:cubicBezTo>
                <a:cubicBezTo>
                  <a:pt x="612" y="1278"/>
                  <a:pt x="612" y="1278"/>
                  <a:pt x="611" y="1278"/>
                </a:cubicBezTo>
                <a:cubicBezTo>
                  <a:pt x="611" y="1279"/>
                  <a:pt x="611" y="1280"/>
                  <a:pt x="613" y="1281"/>
                </a:cubicBezTo>
                <a:cubicBezTo>
                  <a:pt x="613" y="1281"/>
                  <a:pt x="613" y="1281"/>
                  <a:pt x="614" y="1281"/>
                </a:cubicBezTo>
                <a:close/>
                <a:moveTo>
                  <a:pt x="2098" y="1028"/>
                </a:moveTo>
                <a:cubicBezTo>
                  <a:pt x="2098" y="1028"/>
                  <a:pt x="2099" y="1029"/>
                  <a:pt x="2099" y="1029"/>
                </a:cubicBezTo>
                <a:cubicBezTo>
                  <a:pt x="2100" y="1029"/>
                  <a:pt x="2100" y="1029"/>
                  <a:pt x="2101" y="1028"/>
                </a:cubicBezTo>
                <a:cubicBezTo>
                  <a:pt x="2101" y="1028"/>
                  <a:pt x="2100" y="1027"/>
                  <a:pt x="2100" y="1027"/>
                </a:cubicBezTo>
                <a:cubicBezTo>
                  <a:pt x="2100" y="1026"/>
                  <a:pt x="2099" y="1026"/>
                  <a:pt x="2099" y="1026"/>
                </a:cubicBezTo>
                <a:cubicBezTo>
                  <a:pt x="2098" y="1026"/>
                  <a:pt x="2097" y="1027"/>
                  <a:pt x="2098" y="1028"/>
                </a:cubicBezTo>
                <a:close/>
                <a:moveTo>
                  <a:pt x="909" y="50"/>
                </a:moveTo>
                <a:cubicBezTo>
                  <a:pt x="909" y="50"/>
                  <a:pt x="909" y="50"/>
                  <a:pt x="909" y="49"/>
                </a:cubicBezTo>
                <a:cubicBezTo>
                  <a:pt x="910" y="48"/>
                  <a:pt x="909" y="47"/>
                  <a:pt x="908" y="47"/>
                </a:cubicBezTo>
                <a:cubicBezTo>
                  <a:pt x="908" y="47"/>
                  <a:pt x="907" y="47"/>
                  <a:pt x="907" y="47"/>
                </a:cubicBezTo>
                <a:cubicBezTo>
                  <a:pt x="907" y="48"/>
                  <a:pt x="907" y="49"/>
                  <a:pt x="907" y="49"/>
                </a:cubicBezTo>
                <a:cubicBezTo>
                  <a:pt x="908" y="50"/>
                  <a:pt x="908" y="50"/>
                  <a:pt x="909" y="50"/>
                </a:cubicBezTo>
                <a:close/>
                <a:moveTo>
                  <a:pt x="2322" y="1048"/>
                </a:moveTo>
                <a:cubicBezTo>
                  <a:pt x="2321" y="1048"/>
                  <a:pt x="2321" y="1047"/>
                  <a:pt x="2320" y="1046"/>
                </a:cubicBezTo>
                <a:cubicBezTo>
                  <a:pt x="2320" y="1046"/>
                  <a:pt x="2320" y="1046"/>
                  <a:pt x="2320" y="1046"/>
                </a:cubicBezTo>
                <a:cubicBezTo>
                  <a:pt x="2320" y="1046"/>
                  <a:pt x="2319" y="1046"/>
                  <a:pt x="2319" y="1046"/>
                </a:cubicBezTo>
                <a:cubicBezTo>
                  <a:pt x="2319" y="1048"/>
                  <a:pt x="2319" y="1050"/>
                  <a:pt x="2320" y="1050"/>
                </a:cubicBezTo>
                <a:cubicBezTo>
                  <a:pt x="2321" y="1050"/>
                  <a:pt x="2321" y="1050"/>
                  <a:pt x="2322" y="1049"/>
                </a:cubicBezTo>
                <a:cubicBezTo>
                  <a:pt x="2322" y="1049"/>
                  <a:pt x="2322" y="1049"/>
                  <a:pt x="2322" y="1048"/>
                </a:cubicBezTo>
                <a:close/>
                <a:moveTo>
                  <a:pt x="1400" y="260"/>
                </a:moveTo>
                <a:cubicBezTo>
                  <a:pt x="1400" y="260"/>
                  <a:pt x="1399" y="260"/>
                  <a:pt x="1399" y="261"/>
                </a:cubicBezTo>
                <a:cubicBezTo>
                  <a:pt x="1399" y="261"/>
                  <a:pt x="1399" y="261"/>
                  <a:pt x="1399" y="262"/>
                </a:cubicBezTo>
                <a:cubicBezTo>
                  <a:pt x="1400" y="262"/>
                  <a:pt x="1401" y="263"/>
                  <a:pt x="1402" y="264"/>
                </a:cubicBezTo>
                <a:cubicBezTo>
                  <a:pt x="1402" y="264"/>
                  <a:pt x="1403" y="264"/>
                  <a:pt x="1403" y="264"/>
                </a:cubicBezTo>
                <a:cubicBezTo>
                  <a:pt x="1404" y="264"/>
                  <a:pt x="1404" y="262"/>
                  <a:pt x="1403" y="262"/>
                </a:cubicBezTo>
                <a:cubicBezTo>
                  <a:pt x="1402" y="261"/>
                  <a:pt x="1402" y="260"/>
                  <a:pt x="1400" y="260"/>
                </a:cubicBezTo>
                <a:close/>
                <a:moveTo>
                  <a:pt x="1898" y="890"/>
                </a:moveTo>
                <a:cubicBezTo>
                  <a:pt x="1898" y="889"/>
                  <a:pt x="1897" y="889"/>
                  <a:pt x="1897" y="889"/>
                </a:cubicBezTo>
                <a:cubicBezTo>
                  <a:pt x="1896" y="889"/>
                  <a:pt x="1895" y="890"/>
                  <a:pt x="1896" y="891"/>
                </a:cubicBezTo>
                <a:cubicBezTo>
                  <a:pt x="1896" y="891"/>
                  <a:pt x="1897" y="891"/>
                  <a:pt x="1897" y="892"/>
                </a:cubicBezTo>
                <a:cubicBezTo>
                  <a:pt x="1898" y="892"/>
                  <a:pt x="1899" y="891"/>
                  <a:pt x="1898" y="890"/>
                </a:cubicBezTo>
                <a:close/>
                <a:moveTo>
                  <a:pt x="2009" y="815"/>
                </a:moveTo>
                <a:cubicBezTo>
                  <a:pt x="2009" y="815"/>
                  <a:pt x="2009" y="817"/>
                  <a:pt x="2010" y="817"/>
                </a:cubicBezTo>
                <a:cubicBezTo>
                  <a:pt x="2010" y="817"/>
                  <a:pt x="2011" y="816"/>
                  <a:pt x="2011" y="816"/>
                </a:cubicBezTo>
                <a:cubicBezTo>
                  <a:pt x="2011" y="815"/>
                  <a:pt x="2011" y="815"/>
                  <a:pt x="2010" y="815"/>
                </a:cubicBezTo>
                <a:cubicBezTo>
                  <a:pt x="2010" y="814"/>
                  <a:pt x="2009" y="815"/>
                  <a:pt x="2009" y="815"/>
                </a:cubicBezTo>
                <a:close/>
                <a:moveTo>
                  <a:pt x="679" y="817"/>
                </a:moveTo>
                <a:cubicBezTo>
                  <a:pt x="679" y="817"/>
                  <a:pt x="678" y="816"/>
                  <a:pt x="678" y="817"/>
                </a:cubicBezTo>
                <a:cubicBezTo>
                  <a:pt x="678" y="817"/>
                  <a:pt x="677" y="817"/>
                  <a:pt x="677" y="817"/>
                </a:cubicBezTo>
                <a:cubicBezTo>
                  <a:pt x="677" y="818"/>
                  <a:pt x="677" y="818"/>
                  <a:pt x="678" y="818"/>
                </a:cubicBezTo>
                <a:cubicBezTo>
                  <a:pt x="678" y="818"/>
                  <a:pt x="679" y="818"/>
                  <a:pt x="679" y="817"/>
                </a:cubicBezTo>
                <a:close/>
                <a:moveTo>
                  <a:pt x="2248" y="972"/>
                </a:moveTo>
                <a:cubicBezTo>
                  <a:pt x="2248" y="972"/>
                  <a:pt x="2248" y="971"/>
                  <a:pt x="2248" y="971"/>
                </a:cubicBezTo>
                <a:cubicBezTo>
                  <a:pt x="2248" y="971"/>
                  <a:pt x="2248" y="971"/>
                  <a:pt x="2248" y="971"/>
                </a:cubicBezTo>
                <a:cubicBezTo>
                  <a:pt x="2248" y="971"/>
                  <a:pt x="2248" y="972"/>
                  <a:pt x="2248" y="972"/>
                </a:cubicBezTo>
                <a:cubicBezTo>
                  <a:pt x="2248" y="972"/>
                  <a:pt x="2248" y="972"/>
                  <a:pt x="2248" y="972"/>
                </a:cubicBezTo>
                <a:close/>
                <a:moveTo>
                  <a:pt x="2252" y="975"/>
                </a:moveTo>
                <a:cubicBezTo>
                  <a:pt x="2252" y="975"/>
                  <a:pt x="2253" y="974"/>
                  <a:pt x="2253" y="974"/>
                </a:cubicBezTo>
                <a:cubicBezTo>
                  <a:pt x="2253" y="974"/>
                  <a:pt x="2253" y="974"/>
                  <a:pt x="2253" y="973"/>
                </a:cubicBezTo>
                <a:cubicBezTo>
                  <a:pt x="2252" y="972"/>
                  <a:pt x="2250" y="971"/>
                  <a:pt x="2248" y="972"/>
                </a:cubicBezTo>
                <a:cubicBezTo>
                  <a:pt x="2249" y="974"/>
                  <a:pt x="2250" y="975"/>
                  <a:pt x="2252" y="975"/>
                </a:cubicBezTo>
                <a:close/>
                <a:moveTo>
                  <a:pt x="626" y="137"/>
                </a:moveTo>
                <a:cubicBezTo>
                  <a:pt x="625" y="137"/>
                  <a:pt x="624" y="138"/>
                  <a:pt x="625" y="139"/>
                </a:cubicBezTo>
                <a:cubicBezTo>
                  <a:pt x="625" y="140"/>
                  <a:pt x="625" y="140"/>
                  <a:pt x="625" y="140"/>
                </a:cubicBezTo>
                <a:cubicBezTo>
                  <a:pt x="626" y="140"/>
                  <a:pt x="628" y="139"/>
                  <a:pt x="627" y="138"/>
                </a:cubicBezTo>
                <a:cubicBezTo>
                  <a:pt x="627" y="137"/>
                  <a:pt x="627" y="137"/>
                  <a:pt x="626" y="137"/>
                </a:cubicBezTo>
                <a:close/>
                <a:moveTo>
                  <a:pt x="2033" y="693"/>
                </a:moveTo>
                <a:cubicBezTo>
                  <a:pt x="2033" y="692"/>
                  <a:pt x="2033" y="692"/>
                  <a:pt x="2033" y="692"/>
                </a:cubicBezTo>
                <a:cubicBezTo>
                  <a:pt x="2032" y="692"/>
                  <a:pt x="2032" y="692"/>
                  <a:pt x="2031" y="692"/>
                </a:cubicBezTo>
                <a:cubicBezTo>
                  <a:pt x="2030" y="693"/>
                  <a:pt x="2030" y="694"/>
                  <a:pt x="2031" y="694"/>
                </a:cubicBezTo>
                <a:cubicBezTo>
                  <a:pt x="2032" y="694"/>
                  <a:pt x="2032" y="694"/>
                  <a:pt x="2033" y="693"/>
                </a:cubicBezTo>
                <a:cubicBezTo>
                  <a:pt x="2033" y="693"/>
                  <a:pt x="2033" y="693"/>
                  <a:pt x="2033" y="693"/>
                </a:cubicBezTo>
                <a:close/>
                <a:moveTo>
                  <a:pt x="619" y="248"/>
                </a:moveTo>
                <a:cubicBezTo>
                  <a:pt x="619" y="248"/>
                  <a:pt x="620" y="249"/>
                  <a:pt x="621" y="250"/>
                </a:cubicBezTo>
                <a:cubicBezTo>
                  <a:pt x="622" y="250"/>
                  <a:pt x="623" y="249"/>
                  <a:pt x="624" y="248"/>
                </a:cubicBezTo>
                <a:cubicBezTo>
                  <a:pt x="623" y="248"/>
                  <a:pt x="622" y="247"/>
                  <a:pt x="621" y="247"/>
                </a:cubicBezTo>
                <a:cubicBezTo>
                  <a:pt x="620" y="247"/>
                  <a:pt x="620" y="248"/>
                  <a:pt x="619" y="248"/>
                </a:cubicBezTo>
                <a:close/>
                <a:moveTo>
                  <a:pt x="624" y="248"/>
                </a:moveTo>
                <a:cubicBezTo>
                  <a:pt x="624" y="248"/>
                  <a:pt x="624" y="248"/>
                  <a:pt x="624" y="248"/>
                </a:cubicBezTo>
                <a:cubicBezTo>
                  <a:pt x="624" y="248"/>
                  <a:pt x="624" y="248"/>
                  <a:pt x="624" y="248"/>
                </a:cubicBezTo>
                <a:cubicBezTo>
                  <a:pt x="624" y="248"/>
                  <a:pt x="624" y="248"/>
                  <a:pt x="624" y="248"/>
                </a:cubicBezTo>
                <a:cubicBezTo>
                  <a:pt x="624" y="248"/>
                  <a:pt x="624" y="248"/>
                  <a:pt x="624" y="248"/>
                </a:cubicBezTo>
                <a:close/>
                <a:moveTo>
                  <a:pt x="757" y="136"/>
                </a:moveTo>
                <a:cubicBezTo>
                  <a:pt x="757" y="135"/>
                  <a:pt x="756" y="135"/>
                  <a:pt x="755" y="136"/>
                </a:cubicBezTo>
                <a:cubicBezTo>
                  <a:pt x="755" y="136"/>
                  <a:pt x="754" y="136"/>
                  <a:pt x="754" y="136"/>
                </a:cubicBezTo>
                <a:cubicBezTo>
                  <a:pt x="754" y="136"/>
                  <a:pt x="754" y="137"/>
                  <a:pt x="754" y="137"/>
                </a:cubicBezTo>
                <a:cubicBezTo>
                  <a:pt x="755" y="138"/>
                  <a:pt x="755" y="138"/>
                  <a:pt x="756" y="138"/>
                </a:cubicBezTo>
                <a:cubicBezTo>
                  <a:pt x="757" y="138"/>
                  <a:pt x="757" y="137"/>
                  <a:pt x="757" y="137"/>
                </a:cubicBezTo>
                <a:cubicBezTo>
                  <a:pt x="757" y="137"/>
                  <a:pt x="757" y="136"/>
                  <a:pt x="757" y="136"/>
                </a:cubicBezTo>
                <a:close/>
                <a:moveTo>
                  <a:pt x="2098" y="934"/>
                </a:moveTo>
                <a:cubicBezTo>
                  <a:pt x="2099" y="935"/>
                  <a:pt x="2099" y="935"/>
                  <a:pt x="2099" y="935"/>
                </a:cubicBezTo>
                <a:cubicBezTo>
                  <a:pt x="2100" y="935"/>
                  <a:pt x="2101" y="935"/>
                  <a:pt x="2101" y="934"/>
                </a:cubicBezTo>
                <a:cubicBezTo>
                  <a:pt x="2101" y="934"/>
                  <a:pt x="2100" y="933"/>
                  <a:pt x="2100" y="933"/>
                </a:cubicBezTo>
                <a:cubicBezTo>
                  <a:pt x="2099" y="933"/>
                  <a:pt x="2099" y="933"/>
                  <a:pt x="2098" y="933"/>
                </a:cubicBezTo>
                <a:cubicBezTo>
                  <a:pt x="2098" y="933"/>
                  <a:pt x="2098" y="934"/>
                  <a:pt x="2098" y="934"/>
                </a:cubicBezTo>
                <a:cubicBezTo>
                  <a:pt x="2098" y="934"/>
                  <a:pt x="2098" y="934"/>
                  <a:pt x="2098" y="934"/>
                </a:cubicBezTo>
                <a:close/>
                <a:moveTo>
                  <a:pt x="1284" y="613"/>
                </a:moveTo>
                <a:cubicBezTo>
                  <a:pt x="1284" y="612"/>
                  <a:pt x="1284" y="612"/>
                  <a:pt x="1283" y="611"/>
                </a:cubicBezTo>
                <a:cubicBezTo>
                  <a:pt x="1283" y="611"/>
                  <a:pt x="1283" y="611"/>
                  <a:pt x="1282" y="612"/>
                </a:cubicBezTo>
                <a:cubicBezTo>
                  <a:pt x="1282" y="612"/>
                  <a:pt x="1282" y="612"/>
                  <a:pt x="1282" y="613"/>
                </a:cubicBezTo>
                <a:cubicBezTo>
                  <a:pt x="1283" y="613"/>
                  <a:pt x="1283" y="613"/>
                  <a:pt x="1284" y="613"/>
                </a:cubicBezTo>
                <a:close/>
                <a:moveTo>
                  <a:pt x="1548" y="120"/>
                </a:moveTo>
                <a:cubicBezTo>
                  <a:pt x="1549" y="120"/>
                  <a:pt x="1548" y="119"/>
                  <a:pt x="1547" y="119"/>
                </a:cubicBezTo>
                <a:cubicBezTo>
                  <a:pt x="1547" y="118"/>
                  <a:pt x="1546" y="118"/>
                  <a:pt x="1546" y="119"/>
                </a:cubicBezTo>
                <a:cubicBezTo>
                  <a:pt x="1546" y="120"/>
                  <a:pt x="1546" y="121"/>
                  <a:pt x="1547" y="121"/>
                </a:cubicBezTo>
                <a:cubicBezTo>
                  <a:pt x="1547" y="121"/>
                  <a:pt x="1548" y="121"/>
                  <a:pt x="1548" y="120"/>
                </a:cubicBezTo>
                <a:close/>
                <a:moveTo>
                  <a:pt x="2254" y="983"/>
                </a:moveTo>
                <a:cubicBezTo>
                  <a:pt x="2254" y="984"/>
                  <a:pt x="2255" y="983"/>
                  <a:pt x="2255" y="983"/>
                </a:cubicBezTo>
                <a:cubicBezTo>
                  <a:pt x="2256" y="983"/>
                  <a:pt x="2256" y="982"/>
                  <a:pt x="2256" y="982"/>
                </a:cubicBezTo>
                <a:cubicBezTo>
                  <a:pt x="2255" y="980"/>
                  <a:pt x="2253" y="980"/>
                  <a:pt x="2252" y="980"/>
                </a:cubicBezTo>
                <a:cubicBezTo>
                  <a:pt x="2252" y="982"/>
                  <a:pt x="2253" y="983"/>
                  <a:pt x="2254" y="983"/>
                </a:cubicBezTo>
                <a:close/>
                <a:moveTo>
                  <a:pt x="249" y="409"/>
                </a:moveTo>
                <a:cubicBezTo>
                  <a:pt x="249" y="408"/>
                  <a:pt x="249" y="407"/>
                  <a:pt x="248" y="407"/>
                </a:cubicBezTo>
                <a:cubicBezTo>
                  <a:pt x="247" y="407"/>
                  <a:pt x="247" y="408"/>
                  <a:pt x="248" y="409"/>
                </a:cubicBezTo>
                <a:cubicBezTo>
                  <a:pt x="248" y="410"/>
                  <a:pt x="248" y="410"/>
                  <a:pt x="249" y="410"/>
                </a:cubicBezTo>
                <a:cubicBezTo>
                  <a:pt x="249" y="410"/>
                  <a:pt x="249" y="409"/>
                  <a:pt x="249" y="409"/>
                </a:cubicBezTo>
                <a:close/>
                <a:moveTo>
                  <a:pt x="1819" y="108"/>
                </a:moveTo>
                <a:cubicBezTo>
                  <a:pt x="1820" y="110"/>
                  <a:pt x="1821" y="110"/>
                  <a:pt x="1823" y="110"/>
                </a:cubicBezTo>
                <a:cubicBezTo>
                  <a:pt x="1823" y="110"/>
                  <a:pt x="1823" y="109"/>
                  <a:pt x="1823" y="109"/>
                </a:cubicBezTo>
                <a:cubicBezTo>
                  <a:pt x="1823" y="109"/>
                  <a:pt x="1823" y="108"/>
                  <a:pt x="1823" y="108"/>
                </a:cubicBezTo>
                <a:cubicBezTo>
                  <a:pt x="1822" y="107"/>
                  <a:pt x="1821" y="107"/>
                  <a:pt x="1819" y="108"/>
                </a:cubicBezTo>
                <a:close/>
                <a:moveTo>
                  <a:pt x="2099" y="929"/>
                </a:moveTo>
                <a:cubicBezTo>
                  <a:pt x="2100" y="929"/>
                  <a:pt x="2100" y="929"/>
                  <a:pt x="2100" y="928"/>
                </a:cubicBezTo>
                <a:cubicBezTo>
                  <a:pt x="2100" y="927"/>
                  <a:pt x="2099" y="926"/>
                  <a:pt x="2098" y="926"/>
                </a:cubicBezTo>
                <a:cubicBezTo>
                  <a:pt x="2097" y="927"/>
                  <a:pt x="2097" y="927"/>
                  <a:pt x="2097" y="927"/>
                </a:cubicBezTo>
                <a:cubicBezTo>
                  <a:pt x="2097" y="928"/>
                  <a:pt x="2098" y="928"/>
                  <a:pt x="2098" y="929"/>
                </a:cubicBezTo>
                <a:cubicBezTo>
                  <a:pt x="2098" y="929"/>
                  <a:pt x="2099" y="929"/>
                  <a:pt x="2099" y="929"/>
                </a:cubicBezTo>
                <a:close/>
                <a:moveTo>
                  <a:pt x="708" y="155"/>
                </a:moveTo>
                <a:cubicBezTo>
                  <a:pt x="708" y="155"/>
                  <a:pt x="708" y="155"/>
                  <a:pt x="708" y="155"/>
                </a:cubicBezTo>
                <a:cubicBezTo>
                  <a:pt x="708" y="155"/>
                  <a:pt x="708" y="155"/>
                  <a:pt x="708" y="155"/>
                </a:cubicBezTo>
                <a:cubicBezTo>
                  <a:pt x="708" y="155"/>
                  <a:pt x="708" y="155"/>
                  <a:pt x="708" y="155"/>
                </a:cubicBezTo>
                <a:cubicBezTo>
                  <a:pt x="708" y="155"/>
                  <a:pt x="708" y="155"/>
                  <a:pt x="708" y="155"/>
                </a:cubicBezTo>
                <a:close/>
                <a:moveTo>
                  <a:pt x="706" y="158"/>
                </a:moveTo>
                <a:cubicBezTo>
                  <a:pt x="707" y="158"/>
                  <a:pt x="707" y="158"/>
                  <a:pt x="708" y="157"/>
                </a:cubicBezTo>
                <a:cubicBezTo>
                  <a:pt x="708" y="157"/>
                  <a:pt x="708" y="156"/>
                  <a:pt x="708" y="155"/>
                </a:cubicBezTo>
                <a:cubicBezTo>
                  <a:pt x="707" y="155"/>
                  <a:pt x="706" y="155"/>
                  <a:pt x="706" y="156"/>
                </a:cubicBezTo>
                <a:cubicBezTo>
                  <a:pt x="705" y="156"/>
                  <a:pt x="705" y="158"/>
                  <a:pt x="706" y="158"/>
                </a:cubicBezTo>
                <a:close/>
                <a:moveTo>
                  <a:pt x="2180" y="936"/>
                </a:moveTo>
                <a:cubicBezTo>
                  <a:pt x="2180" y="936"/>
                  <a:pt x="2180" y="936"/>
                  <a:pt x="2180" y="935"/>
                </a:cubicBezTo>
                <a:cubicBezTo>
                  <a:pt x="2180" y="935"/>
                  <a:pt x="2179" y="935"/>
                  <a:pt x="2178" y="935"/>
                </a:cubicBezTo>
                <a:cubicBezTo>
                  <a:pt x="2178" y="935"/>
                  <a:pt x="2177" y="935"/>
                  <a:pt x="2177" y="935"/>
                </a:cubicBezTo>
                <a:cubicBezTo>
                  <a:pt x="2177" y="936"/>
                  <a:pt x="2177" y="936"/>
                  <a:pt x="2178" y="937"/>
                </a:cubicBezTo>
                <a:cubicBezTo>
                  <a:pt x="2179" y="937"/>
                  <a:pt x="2180" y="937"/>
                  <a:pt x="2180" y="936"/>
                </a:cubicBezTo>
                <a:close/>
                <a:moveTo>
                  <a:pt x="2315" y="1089"/>
                </a:moveTo>
                <a:cubicBezTo>
                  <a:pt x="2315" y="1089"/>
                  <a:pt x="2315" y="1088"/>
                  <a:pt x="2315" y="1087"/>
                </a:cubicBezTo>
                <a:cubicBezTo>
                  <a:pt x="2315" y="1087"/>
                  <a:pt x="2314" y="1087"/>
                  <a:pt x="2314" y="1087"/>
                </a:cubicBezTo>
                <a:cubicBezTo>
                  <a:pt x="2314" y="1087"/>
                  <a:pt x="2313" y="1088"/>
                  <a:pt x="2313" y="1088"/>
                </a:cubicBezTo>
                <a:cubicBezTo>
                  <a:pt x="2313" y="1088"/>
                  <a:pt x="2314" y="1089"/>
                  <a:pt x="2314" y="1089"/>
                </a:cubicBezTo>
                <a:cubicBezTo>
                  <a:pt x="2314" y="1090"/>
                  <a:pt x="2315" y="1090"/>
                  <a:pt x="2315" y="1089"/>
                </a:cubicBezTo>
                <a:close/>
                <a:moveTo>
                  <a:pt x="823" y="282"/>
                </a:moveTo>
                <a:cubicBezTo>
                  <a:pt x="823" y="282"/>
                  <a:pt x="823" y="281"/>
                  <a:pt x="822" y="282"/>
                </a:cubicBezTo>
                <a:cubicBezTo>
                  <a:pt x="822" y="282"/>
                  <a:pt x="821" y="282"/>
                  <a:pt x="821" y="282"/>
                </a:cubicBezTo>
                <a:cubicBezTo>
                  <a:pt x="821" y="283"/>
                  <a:pt x="821" y="283"/>
                  <a:pt x="822" y="284"/>
                </a:cubicBezTo>
                <a:cubicBezTo>
                  <a:pt x="822" y="284"/>
                  <a:pt x="823" y="284"/>
                  <a:pt x="824" y="284"/>
                </a:cubicBezTo>
                <a:cubicBezTo>
                  <a:pt x="824" y="284"/>
                  <a:pt x="824" y="284"/>
                  <a:pt x="824" y="283"/>
                </a:cubicBezTo>
                <a:cubicBezTo>
                  <a:pt x="824" y="283"/>
                  <a:pt x="823" y="283"/>
                  <a:pt x="823" y="282"/>
                </a:cubicBezTo>
                <a:close/>
                <a:moveTo>
                  <a:pt x="617" y="1285"/>
                </a:moveTo>
                <a:cubicBezTo>
                  <a:pt x="617" y="1285"/>
                  <a:pt x="616" y="1284"/>
                  <a:pt x="615" y="1284"/>
                </a:cubicBezTo>
                <a:cubicBezTo>
                  <a:pt x="615" y="1284"/>
                  <a:pt x="614" y="1285"/>
                  <a:pt x="615" y="1286"/>
                </a:cubicBezTo>
                <a:cubicBezTo>
                  <a:pt x="615" y="1287"/>
                  <a:pt x="615" y="1288"/>
                  <a:pt x="615" y="1289"/>
                </a:cubicBezTo>
                <a:cubicBezTo>
                  <a:pt x="616" y="1288"/>
                  <a:pt x="617" y="1287"/>
                  <a:pt x="617" y="1287"/>
                </a:cubicBezTo>
                <a:cubicBezTo>
                  <a:pt x="617" y="1286"/>
                  <a:pt x="617" y="1286"/>
                  <a:pt x="617" y="1285"/>
                </a:cubicBezTo>
                <a:close/>
                <a:moveTo>
                  <a:pt x="615" y="1289"/>
                </a:moveTo>
                <a:cubicBezTo>
                  <a:pt x="615" y="1289"/>
                  <a:pt x="615" y="1289"/>
                  <a:pt x="615" y="1289"/>
                </a:cubicBezTo>
                <a:cubicBezTo>
                  <a:pt x="615" y="1289"/>
                  <a:pt x="615" y="1289"/>
                  <a:pt x="615" y="1289"/>
                </a:cubicBezTo>
                <a:cubicBezTo>
                  <a:pt x="615" y="1289"/>
                  <a:pt x="615" y="1289"/>
                  <a:pt x="615" y="1289"/>
                </a:cubicBezTo>
                <a:cubicBezTo>
                  <a:pt x="615" y="1289"/>
                  <a:pt x="615" y="1289"/>
                  <a:pt x="615" y="1289"/>
                </a:cubicBezTo>
                <a:close/>
                <a:moveTo>
                  <a:pt x="1635" y="93"/>
                </a:moveTo>
                <a:cubicBezTo>
                  <a:pt x="1636" y="93"/>
                  <a:pt x="1636" y="92"/>
                  <a:pt x="1635" y="91"/>
                </a:cubicBezTo>
                <a:cubicBezTo>
                  <a:pt x="1634" y="91"/>
                  <a:pt x="1634" y="91"/>
                  <a:pt x="1633" y="92"/>
                </a:cubicBezTo>
                <a:cubicBezTo>
                  <a:pt x="1633" y="93"/>
                  <a:pt x="1633" y="94"/>
                  <a:pt x="1634" y="94"/>
                </a:cubicBezTo>
                <a:cubicBezTo>
                  <a:pt x="1635" y="94"/>
                  <a:pt x="1635" y="94"/>
                  <a:pt x="1635" y="93"/>
                </a:cubicBezTo>
                <a:close/>
                <a:moveTo>
                  <a:pt x="914" y="39"/>
                </a:moveTo>
                <a:cubicBezTo>
                  <a:pt x="915" y="39"/>
                  <a:pt x="915" y="38"/>
                  <a:pt x="915" y="37"/>
                </a:cubicBezTo>
                <a:cubicBezTo>
                  <a:pt x="915" y="37"/>
                  <a:pt x="914" y="37"/>
                  <a:pt x="914" y="36"/>
                </a:cubicBezTo>
                <a:cubicBezTo>
                  <a:pt x="914" y="36"/>
                  <a:pt x="913" y="36"/>
                  <a:pt x="913" y="36"/>
                </a:cubicBezTo>
                <a:cubicBezTo>
                  <a:pt x="912" y="37"/>
                  <a:pt x="912" y="37"/>
                  <a:pt x="913" y="38"/>
                </a:cubicBezTo>
                <a:cubicBezTo>
                  <a:pt x="913" y="38"/>
                  <a:pt x="914" y="38"/>
                  <a:pt x="914" y="39"/>
                </a:cubicBezTo>
                <a:close/>
                <a:moveTo>
                  <a:pt x="1331" y="79"/>
                </a:moveTo>
                <a:cubicBezTo>
                  <a:pt x="1331" y="79"/>
                  <a:pt x="1331" y="78"/>
                  <a:pt x="1331" y="78"/>
                </a:cubicBezTo>
                <a:cubicBezTo>
                  <a:pt x="1331" y="78"/>
                  <a:pt x="1331" y="77"/>
                  <a:pt x="1330" y="77"/>
                </a:cubicBezTo>
                <a:cubicBezTo>
                  <a:pt x="1330" y="77"/>
                  <a:pt x="1329" y="77"/>
                  <a:pt x="1329" y="78"/>
                </a:cubicBezTo>
                <a:cubicBezTo>
                  <a:pt x="1330" y="79"/>
                  <a:pt x="1330" y="79"/>
                  <a:pt x="1331" y="79"/>
                </a:cubicBezTo>
                <a:close/>
                <a:moveTo>
                  <a:pt x="2138" y="1270"/>
                </a:moveTo>
                <a:cubicBezTo>
                  <a:pt x="2137" y="1270"/>
                  <a:pt x="2137" y="1271"/>
                  <a:pt x="2137" y="1271"/>
                </a:cubicBezTo>
                <a:cubicBezTo>
                  <a:pt x="2137" y="1272"/>
                  <a:pt x="2138" y="1272"/>
                  <a:pt x="2138" y="1273"/>
                </a:cubicBezTo>
                <a:cubicBezTo>
                  <a:pt x="2139" y="1273"/>
                  <a:pt x="2139" y="1273"/>
                  <a:pt x="2139" y="1272"/>
                </a:cubicBezTo>
                <a:cubicBezTo>
                  <a:pt x="2140" y="1272"/>
                  <a:pt x="2139" y="1271"/>
                  <a:pt x="2139" y="1271"/>
                </a:cubicBezTo>
                <a:cubicBezTo>
                  <a:pt x="2139" y="1270"/>
                  <a:pt x="2138" y="1270"/>
                  <a:pt x="2138" y="1270"/>
                </a:cubicBezTo>
                <a:close/>
                <a:moveTo>
                  <a:pt x="618" y="1335"/>
                </a:moveTo>
                <a:cubicBezTo>
                  <a:pt x="617" y="1335"/>
                  <a:pt x="617" y="1337"/>
                  <a:pt x="618" y="1337"/>
                </a:cubicBezTo>
                <a:cubicBezTo>
                  <a:pt x="619" y="1337"/>
                  <a:pt x="620" y="1337"/>
                  <a:pt x="620" y="1338"/>
                </a:cubicBezTo>
                <a:cubicBezTo>
                  <a:pt x="620" y="1337"/>
                  <a:pt x="620" y="1335"/>
                  <a:pt x="620" y="1334"/>
                </a:cubicBezTo>
                <a:cubicBezTo>
                  <a:pt x="620" y="1334"/>
                  <a:pt x="619" y="1335"/>
                  <a:pt x="618" y="1335"/>
                </a:cubicBezTo>
                <a:close/>
                <a:moveTo>
                  <a:pt x="2204" y="994"/>
                </a:moveTo>
                <a:cubicBezTo>
                  <a:pt x="2203" y="991"/>
                  <a:pt x="2203" y="991"/>
                  <a:pt x="2201" y="992"/>
                </a:cubicBezTo>
                <a:cubicBezTo>
                  <a:pt x="2200" y="992"/>
                  <a:pt x="2200" y="992"/>
                  <a:pt x="2199" y="992"/>
                </a:cubicBezTo>
                <a:cubicBezTo>
                  <a:pt x="2201" y="992"/>
                  <a:pt x="2203" y="993"/>
                  <a:pt x="2204" y="994"/>
                </a:cubicBezTo>
                <a:cubicBezTo>
                  <a:pt x="2204" y="994"/>
                  <a:pt x="2204" y="994"/>
                  <a:pt x="2204" y="994"/>
                </a:cubicBezTo>
                <a:close/>
                <a:moveTo>
                  <a:pt x="2199" y="992"/>
                </a:moveTo>
                <a:cubicBezTo>
                  <a:pt x="2199" y="992"/>
                  <a:pt x="2199" y="992"/>
                  <a:pt x="2199" y="992"/>
                </a:cubicBezTo>
                <a:cubicBezTo>
                  <a:pt x="2199" y="992"/>
                  <a:pt x="2199" y="992"/>
                  <a:pt x="2199" y="992"/>
                </a:cubicBezTo>
                <a:cubicBezTo>
                  <a:pt x="2199" y="992"/>
                  <a:pt x="2199" y="992"/>
                  <a:pt x="2199" y="992"/>
                </a:cubicBezTo>
                <a:cubicBezTo>
                  <a:pt x="2199" y="992"/>
                  <a:pt x="2199" y="992"/>
                  <a:pt x="2199" y="992"/>
                </a:cubicBezTo>
                <a:close/>
                <a:moveTo>
                  <a:pt x="522" y="253"/>
                </a:moveTo>
                <a:cubicBezTo>
                  <a:pt x="522" y="253"/>
                  <a:pt x="522" y="253"/>
                  <a:pt x="522" y="253"/>
                </a:cubicBezTo>
                <a:cubicBezTo>
                  <a:pt x="523" y="254"/>
                  <a:pt x="524" y="253"/>
                  <a:pt x="524" y="253"/>
                </a:cubicBezTo>
                <a:cubicBezTo>
                  <a:pt x="524" y="252"/>
                  <a:pt x="523" y="252"/>
                  <a:pt x="523" y="252"/>
                </a:cubicBezTo>
                <a:cubicBezTo>
                  <a:pt x="522" y="252"/>
                  <a:pt x="522" y="252"/>
                  <a:pt x="522" y="253"/>
                </a:cubicBezTo>
                <a:close/>
                <a:moveTo>
                  <a:pt x="1013" y="710"/>
                </a:moveTo>
                <a:cubicBezTo>
                  <a:pt x="1013" y="710"/>
                  <a:pt x="1013" y="710"/>
                  <a:pt x="1013" y="710"/>
                </a:cubicBezTo>
                <a:cubicBezTo>
                  <a:pt x="1014" y="709"/>
                  <a:pt x="1014" y="709"/>
                  <a:pt x="1014" y="709"/>
                </a:cubicBezTo>
                <a:cubicBezTo>
                  <a:pt x="1014" y="708"/>
                  <a:pt x="1014" y="708"/>
                  <a:pt x="1014" y="707"/>
                </a:cubicBezTo>
                <a:cubicBezTo>
                  <a:pt x="1013" y="708"/>
                  <a:pt x="1013" y="708"/>
                  <a:pt x="1012" y="708"/>
                </a:cubicBezTo>
                <a:cubicBezTo>
                  <a:pt x="1012" y="709"/>
                  <a:pt x="1012" y="709"/>
                  <a:pt x="1013" y="710"/>
                </a:cubicBezTo>
                <a:close/>
                <a:moveTo>
                  <a:pt x="2025" y="708"/>
                </a:moveTo>
                <a:cubicBezTo>
                  <a:pt x="2025" y="708"/>
                  <a:pt x="2024" y="708"/>
                  <a:pt x="2024" y="708"/>
                </a:cubicBezTo>
                <a:cubicBezTo>
                  <a:pt x="2023" y="708"/>
                  <a:pt x="2023" y="708"/>
                  <a:pt x="2023" y="709"/>
                </a:cubicBezTo>
                <a:cubicBezTo>
                  <a:pt x="2023" y="709"/>
                  <a:pt x="2023" y="710"/>
                  <a:pt x="2023" y="710"/>
                </a:cubicBezTo>
                <a:cubicBezTo>
                  <a:pt x="2024" y="710"/>
                  <a:pt x="2024" y="710"/>
                  <a:pt x="2024" y="710"/>
                </a:cubicBezTo>
                <a:cubicBezTo>
                  <a:pt x="2024" y="709"/>
                  <a:pt x="2025" y="709"/>
                  <a:pt x="2025" y="708"/>
                </a:cubicBezTo>
                <a:close/>
                <a:moveTo>
                  <a:pt x="580" y="737"/>
                </a:moveTo>
                <a:cubicBezTo>
                  <a:pt x="580" y="737"/>
                  <a:pt x="580" y="736"/>
                  <a:pt x="579" y="736"/>
                </a:cubicBezTo>
                <a:cubicBezTo>
                  <a:pt x="579" y="737"/>
                  <a:pt x="579" y="737"/>
                  <a:pt x="579" y="737"/>
                </a:cubicBezTo>
                <a:cubicBezTo>
                  <a:pt x="579" y="738"/>
                  <a:pt x="579" y="738"/>
                  <a:pt x="580" y="738"/>
                </a:cubicBezTo>
                <a:cubicBezTo>
                  <a:pt x="580" y="738"/>
                  <a:pt x="580" y="738"/>
                  <a:pt x="580" y="737"/>
                </a:cubicBezTo>
                <a:close/>
                <a:moveTo>
                  <a:pt x="564" y="740"/>
                </a:moveTo>
                <a:cubicBezTo>
                  <a:pt x="564" y="740"/>
                  <a:pt x="564" y="740"/>
                  <a:pt x="564" y="739"/>
                </a:cubicBezTo>
                <a:cubicBezTo>
                  <a:pt x="564" y="739"/>
                  <a:pt x="564" y="738"/>
                  <a:pt x="564" y="738"/>
                </a:cubicBezTo>
                <a:cubicBezTo>
                  <a:pt x="563" y="738"/>
                  <a:pt x="563" y="739"/>
                  <a:pt x="563" y="739"/>
                </a:cubicBezTo>
                <a:cubicBezTo>
                  <a:pt x="562" y="740"/>
                  <a:pt x="563" y="741"/>
                  <a:pt x="564" y="740"/>
                </a:cubicBezTo>
                <a:close/>
                <a:moveTo>
                  <a:pt x="587" y="749"/>
                </a:moveTo>
                <a:cubicBezTo>
                  <a:pt x="587" y="749"/>
                  <a:pt x="587" y="749"/>
                  <a:pt x="587" y="749"/>
                </a:cubicBezTo>
                <a:cubicBezTo>
                  <a:pt x="587" y="749"/>
                  <a:pt x="587" y="749"/>
                  <a:pt x="587" y="749"/>
                </a:cubicBezTo>
                <a:cubicBezTo>
                  <a:pt x="587" y="749"/>
                  <a:pt x="587" y="749"/>
                  <a:pt x="587" y="749"/>
                </a:cubicBezTo>
                <a:cubicBezTo>
                  <a:pt x="587" y="749"/>
                  <a:pt x="587" y="749"/>
                  <a:pt x="587" y="749"/>
                </a:cubicBezTo>
                <a:close/>
                <a:moveTo>
                  <a:pt x="589" y="751"/>
                </a:moveTo>
                <a:cubicBezTo>
                  <a:pt x="589" y="751"/>
                  <a:pt x="589" y="750"/>
                  <a:pt x="589" y="750"/>
                </a:cubicBezTo>
                <a:cubicBezTo>
                  <a:pt x="590" y="750"/>
                  <a:pt x="589" y="749"/>
                  <a:pt x="589" y="749"/>
                </a:cubicBezTo>
                <a:cubicBezTo>
                  <a:pt x="588" y="749"/>
                  <a:pt x="588" y="749"/>
                  <a:pt x="587" y="749"/>
                </a:cubicBezTo>
                <a:cubicBezTo>
                  <a:pt x="587" y="750"/>
                  <a:pt x="587" y="750"/>
                  <a:pt x="588" y="751"/>
                </a:cubicBezTo>
                <a:cubicBezTo>
                  <a:pt x="588" y="751"/>
                  <a:pt x="588" y="751"/>
                  <a:pt x="589" y="751"/>
                </a:cubicBezTo>
                <a:close/>
                <a:moveTo>
                  <a:pt x="815" y="261"/>
                </a:moveTo>
                <a:cubicBezTo>
                  <a:pt x="815" y="260"/>
                  <a:pt x="814" y="260"/>
                  <a:pt x="814" y="259"/>
                </a:cubicBezTo>
                <a:cubicBezTo>
                  <a:pt x="814" y="259"/>
                  <a:pt x="813" y="259"/>
                  <a:pt x="813" y="260"/>
                </a:cubicBezTo>
                <a:cubicBezTo>
                  <a:pt x="812" y="260"/>
                  <a:pt x="813" y="261"/>
                  <a:pt x="813" y="261"/>
                </a:cubicBezTo>
                <a:cubicBezTo>
                  <a:pt x="814" y="261"/>
                  <a:pt x="814" y="261"/>
                  <a:pt x="815" y="261"/>
                </a:cubicBezTo>
                <a:close/>
                <a:moveTo>
                  <a:pt x="524" y="756"/>
                </a:moveTo>
                <a:cubicBezTo>
                  <a:pt x="524" y="757"/>
                  <a:pt x="524" y="757"/>
                  <a:pt x="524" y="758"/>
                </a:cubicBezTo>
                <a:cubicBezTo>
                  <a:pt x="525" y="758"/>
                  <a:pt x="525" y="758"/>
                  <a:pt x="526" y="757"/>
                </a:cubicBezTo>
                <a:cubicBezTo>
                  <a:pt x="526" y="757"/>
                  <a:pt x="526" y="756"/>
                  <a:pt x="525" y="756"/>
                </a:cubicBezTo>
                <a:cubicBezTo>
                  <a:pt x="525" y="755"/>
                  <a:pt x="524" y="756"/>
                  <a:pt x="524" y="756"/>
                </a:cubicBezTo>
                <a:close/>
                <a:moveTo>
                  <a:pt x="688" y="822"/>
                </a:moveTo>
                <a:cubicBezTo>
                  <a:pt x="688" y="822"/>
                  <a:pt x="689" y="823"/>
                  <a:pt x="689" y="823"/>
                </a:cubicBezTo>
                <a:cubicBezTo>
                  <a:pt x="690" y="823"/>
                  <a:pt x="690" y="823"/>
                  <a:pt x="690" y="822"/>
                </a:cubicBezTo>
                <a:cubicBezTo>
                  <a:pt x="690" y="822"/>
                  <a:pt x="690" y="821"/>
                  <a:pt x="689" y="821"/>
                </a:cubicBezTo>
                <a:cubicBezTo>
                  <a:pt x="689" y="821"/>
                  <a:pt x="688" y="822"/>
                  <a:pt x="688" y="822"/>
                </a:cubicBezTo>
                <a:close/>
                <a:moveTo>
                  <a:pt x="669" y="264"/>
                </a:moveTo>
                <a:cubicBezTo>
                  <a:pt x="668" y="263"/>
                  <a:pt x="668" y="263"/>
                  <a:pt x="667" y="264"/>
                </a:cubicBezTo>
                <a:cubicBezTo>
                  <a:pt x="667" y="264"/>
                  <a:pt x="667" y="264"/>
                  <a:pt x="667" y="264"/>
                </a:cubicBezTo>
                <a:cubicBezTo>
                  <a:pt x="667" y="264"/>
                  <a:pt x="668" y="265"/>
                  <a:pt x="668" y="265"/>
                </a:cubicBezTo>
                <a:cubicBezTo>
                  <a:pt x="669" y="265"/>
                  <a:pt x="669" y="264"/>
                  <a:pt x="669" y="264"/>
                </a:cubicBezTo>
                <a:close/>
                <a:moveTo>
                  <a:pt x="1996" y="827"/>
                </a:moveTo>
                <a:cubicBezTo>
                  <a:pt x="1995" y="826"/>
                  <a:pt x="1995" y="826"/>
                  <a:pt x="1995" y="826"/>
                </a:cubicBezTo>
                <a:cubicBezTo>
                  <a:pt x="1995" y="826"/>
                  <a:pt x="1994" y="826"/>
                  <a:pt x="1994" y="827"/>
                </a:cubicBezTo>
                <a:cubicBezTo>
                  <a:pt x="1994" y="827"/>
                  <a:pt x="1995" y="827"/>
                  <a:pt x="1995" y="827"/>
                </a:cubicBezTo>
                <a:cubicBezTo>
                  <a:pt x="1995" y="827"/>
                  <a:pt x="1996" y="827"/>
                  <a:pt x="1996" y="827"/>
                </a:cubicBezTo>
                <a:close/>
                <a:moveTo>
                  <a:pt x="1781" y="831"/>
                </a:moveTo>
                <a:cubicBezTo>
                  <a:pt x="1781" y="832"/>
                  <a:pt x="1781" y="833"/>
                  <a:pt x="1781" y="833"/>
                </a:cubicBezTo>
                <a:cubicBezTo>
                  <a:pt x="1782" y="833"/>
                  <a:pt x="1782" y="833"/>
                  <a:pt x="1782" y="833"/>
                </a:cubicBezTo>
                <a:cubicBezTo>
                  <a:pt x="1782" y="832"/>
                  <a:pt x="1782" y="832"/>
                  <a:pt x="1782" y="831"/>
                </a:cubicBezTo>
                <a:cubicBezTo>
                  <a:pt x="1782" y="831"/>
                  <a:pt x="1781" y="831"/>
                  <a:pt x="1781" y="831"/>
                </a:cubicBezTo>
                <a:close/>
                <a:moveTo>
                  <a:pt x="1997" y="871"/>
                </a:moveTo>
                <a:cubicBezTo>
                  <a:pt x="1997" y="870"/>
                  <a:pt x="1997" y="870"/>
                  <a:pt x="1996" y="870"/>
                </a:cubicBezTo>
                <a:cubicBezTo>
                  <a:pt x="1996" y="871"/>
                  <a:pt x="1995" y="871"/>
                  <a:pt x="1996" y="872"/>
                </a:cubicBezTo>
                <a:cubicBezTo>
                  <a:pt x="1996" y="872"/>
                  <a:pt x="1996" y="872"/>
                  <a:pt x="1997" y="872"/>
                </a:cubicBezTo>
                <a:cubicBezTo>
                  <a:pt x="1997" y="872"/>
                  <a:pt x="1998" y="871"/>
                  <a:pt x="1997" y="871"/>
                </a:cubicBezTo>
                <a:close/>
                <a:moveTo>
                  <a:pt x="2056" y="934"/>
                </a:moveTo>
                <a:cubicBezTo>
                  <a:pt x="2055" y="935"/>
                  <a:pt x="2055" y="935"/>
                  <a:pt x="2055" y="935"/>
                </a:cubicBezTo>
                <a:cubicBezTo>
                  <a:pt x="2054" y="936"/>
                  <a:pt x="2055" y="936"/>
                  <a:pt x="2055" y="936"/>
                </a:cubicBezTo>
                <a:cubicBezTo>
                  <a:pt x="2056" y="936"/>
                  <a:pt x="2057" y="936"/>
                  <a:pt x="2057" y="935"/>
                </a:cubicBezTo>
                <a:cubicBezTo>
                  <a:pt x="2057" y="935"/>
                  <a:pt x="2056" y="935"/>
                  <a:pt x="2056" y="934"/>
                </a:cubicBezTo>
                <a:close/>
                <a:moveTo>
                  <a:pt x="1022" y="168"/>
                </a:moveTo>
                <a:cubicBezTo>
                  <a:pt x="1022" y="168"/>
                  <a:pt x="1022" y="168"/>
                  <a:pt x="1023" y="167"/>
                </a:cubicBezTo>
                <a:cubicBezTo>
                  <a:pt x="1023" y="167"/>
                  <a:pt x="1023" y="167"/>
                  <a:pt x="1022" y="167"/>
                </a:cubicBezTo>
                <a:cubicBezTo>
                  <a:pt x="1022" y="167"/>
                  <a:pt x="1022" y="167"/>
                  <a:pt x="1021" y="168"/>
                </a:cubicBezTo>
                <a:cubicBezTo>
                  <a:pt x="1021" y="168"/>
                  <a:pt x="1022" y="168"/>
                  <a:pt x="1022" y="168"/>
                </a:cubicBezTo>
                <a:close/>
                <a:moveTo>
                  <a:pt x="2016" y="983"/>
                </a:moveTo>
                <a:cubicBezTo>
                  <a:pt x="2016" y="983"/>
                  <a:pt x="2016" y="983"/>
                  <a:pt x="2016" y="983"/>
                </a:cubicBezTo>
                <a:cubicBezTo>
                  <a:pt x="2015" y="982"/>
                  <a:pt x="2014" y="983"/>
                  <a:pt x="2014" y="983"/>
                </a:cubicBezTo>
                <a:cubicBezTo>
                  <a:pt x="2014" y="984"/>
                  <a:pt x="2015" y="984"/>
                  <a:pt x="2015" y="984"/>
                </a:cubicBezTo>
                <a:cubicBezTo>
                  <a:pt x="2016" y="984"/>
                  <a:pt x="2017" y="984"/>
                  <a:pt x="2016" y="983"/>
                </a:cubicBezTo>
                <a:close/>
                <a:moveTo>
                  <a:pt x="2207" y="996"/>
                </a:moveTo>
                <a:cubicBezTo>
                  <a:pt x="2207" y="995"/>
                  <a:pt x="2207" y="995"/>
                  <a:pt x="2207" y="995"/>
                </a:cubicBezTo>
                <a:cubicBezTo>
                  <a:pt x="2206" y="995"/>
                  <a:pt x="2205" y="995"/>
                  <a:pt x="2205" y="995"/>
                </a:cubicBezTo>
                <a:cubicBezTo>
                  <a:pt x="2205" y="995"/>
                  <a:pt x="2205" y="996"/>
                  <a:pt x="2206" y="996"/>
                </a:cubicBezTo>
                <a:cubicBezTo>
                  <a:pt x="2206" y="997"/>
                  <a:pt x="2207" y="996"/>
                  <a:pt x="2207" y="996"/>
                </a:cubicBezTo>
                <a:close/>
                <a:moveTo>
                  <a:pt x="2205" y="995"/>
                </a:moveTo>
                <a:cubicBezTo>
                  <a:pt x="2205" y="994"/>
                  <a:pt x="2205" y="994"/>
                  <a:pt x="2204" y="994"/>
                </a:cubicBezTo>
                <a:cubicBezTo>
                  <a:pt x="2204" y="994"/>
                  <a:pt x="2204" y="994"/>
                  <a:pt x="2204" y="994"/>
                </a:cubicBezTo>
                <a:cubicBezTo>
                  <a:pt x="2204" y="994"/>
                  <a:pt x="2204" y="994"/>
                  <a:pt x="2204" y="994"/>
                </a:cubicBezTo>
                <a:cubicBezTo>
                  <a:pt x="2204" y="995"/>
                  <a:pt x="2205" y="995"/>
                  <a:pt x="2205" y="995"/>
                </a:cubicBezTo>
                <a:close/>
                <a:moveTo>
                  <a:pt x="2115" y="1050"/>
                </a:moveTo>
                <a:cubicBezTo>
                  <a:pt x="2115" y="1050"/>
                  <a:pt x="2115" y="1050"/>
                  <a:pt x="2115" y="1050"/>
                </a:cubicBezTo>
                <a:cubicBezTo>
                  <a:pt x="2115" y="1050"/>
                  <a:pt x="2115" y="1050"/>
                  <a:pt x="2115" y="1050"/>
                </a:cubicBezTo>
                <a:cubicBezTo>
                  <a:pt x="2115" y="1050"/>
                  <a:pt x="2115" y="1050"/>
                  <a:pt x="2115" y="1050"/>
                </a:cubicBezTo>
                <a:cubicBezTo>
                  <a:pt x="2115" y="1050"/>
                  <a:pt x="2115" y="1050"/>
                  <a:pt x="2115" y="1050"/>
                </a:cubicBezTo>
                <a:close/>
                <a:moveTo>
                  <a:pt x="2117" y="1048"/>
                </a:moveTo>
                <a:cubicBezTo>
                  <a:pt x="2117" y="1048"/>
                  <a:pt x="2117" y="1048"/>
                  <a:pt x="2117" y="1048"/>
                </a:cubicBezTo>
                <a:cubicBezTo>
                  <a:pt x="2116" y="1049"/>
                  <a:pt x="2116" y="1050"/>
                  <a:pt x="2115" y="1050"/>
                </a:cubicBezTo>
                <a:cubicBezTo>
                  <a:pt x="2116" y="1050"/>
                  <a:pt x="2117" y="1050"/>
                  <a:pt x="2117" y="1050"/>
                </a:cubicBezTo>
                <a:cubicBezTo>
                  <a:pt x="2118" y="1049"/>
                  <a:pt x="2118" y="1049"/>
                  <a:pt x="2117" y="1048"/>
                </a:cubicBezTo>
                <a:close/>
                <a:moveTo>
                  <a:pt x="1920" y="1126"/>
                </a:moveTo>
                <a:cubicBezTo>
                  <a:pt x="1918" y="1126"/>
                  <a:pt x="1918" y="1127"/>
                  <a:pt x="1919" y="1129"/>
                </a:cubicBezTo>
                <a:cubicBezTo>
                  <a:pt x="1920" y="1129"/>
                  <a:pt x="1920" y="1129"/>
                  <a:pt x="1921" y="1129"/>
                </a:cubicBezTo>
                <a:cubicBezTo>
                  <a:pt x="1921" y="1128"/>
                  <a:pt x="1921" y="1127"/>
                  <a:pt x="1921" y="1126"/>
                </a:cubicBezTo>
                <a:cubicBezTo>
                  <a:pt x="1920" y="1126"/>
                  <a:pt x="1920" y="1126"/>
                  <a:pt x="1920" y="1126"/>
                </a:cubicBezTo>
                <a:close/>
                <a:moveTo>
                  <a:pt x="1035" y="75"/>
                </a:moveTo>
                <a:cubicBezTo>
                  <a:pt x="1035" y="75"/>
                  <a:pt x="1035" y="74"/>
                  <a:pt x="1035" y="74"/>
                </a:cubicBezTo>
                <a:cubicBezTo>
                  <a:pt x="1035" y="74"/>
                  <a:pt x="1034" y="75"/>
                  <a:pt x="1034" y="75"/>
                </a:cubicBezTo>
                <a:cubicBezTo>
                  <a:pt x="1034" y="76"/>
                  <a:pt x="1035" y="76"/>
                  <a:pt x="1035" y="77"/>
                </a:cubicBezTo>
                <a:cubicBezTo>
                  <a:pt x="1035" y="76"/>
                  <a:pt x="1035" y="76"/>
                  <a:pt x="1035" y="75"/>
                </a:cubicBezTo>
                <a:close/>
                <a:moveTo>
                  <a:pt x="1364" y="73"/>
                </a:moveTo>
                <a:cubicBezTo>
                  <a:pt x="1364" y="73"/>
                  <a:pt x="1363" y="73"/>
                  <a:pt x="1363" y="73"/>
                </a:cubicBezTo>
                <a:cubicBezTo>
                  <a:pt x="1362" y="73"/>
                  <a:pt x="1362" y="73"/>
                  <a:pt x="1362" y="74"/>
                </a:cubicBezTo>
                <a:cubicBezTo>
                  <a:pt x="1363" y="75"/>
                  <a:pt x="1363" y="75"/>
                  <a:pt x="1363" y="76"/>
                </a:cubicBezTo>
                <a:cubicBezTo>
                  <a:pt x="1364" y="76"/>
                  <a:pt x="1365" y="76"/>
                  <a:pt x="1365" y="76"/>
                </a:cubicBezTo>
                <a:cubicBezTo>
                  <a:pt x="1365" y="75"/>
                  <a:pt x="1365" y="74"/>
                  <a:pt x="1364" y="73"/>
                </a:cubicBezTo>
                <a:close/>
                <a:moveTo>
                  <a:pt x="590" y="185"/>
                </a:moveTo>
                <a:cubicBezTo>
                  <a:pt x="590" y="185"/>
                  <a:pt x="589" y="185"/>
                  <a:pt x="589" y="186"/>
                </a:cubicBezTo>
                <a:cubicBezTo>
                  <a:pt x="589" y="186"/>
                  <a:pt x="589" y="187"/>
                  <a:pt x="590" y="187"/>
                </a:cubicBezTo>
                <a:cubicBezTo>
                  <a:pt x="590" y="188"/>
                  <a:pt x="591" y="187"/>
                  <a:pt x="591" y="186"/>
                </a:cubicBezTo>
                <a:cubicBezTo>
                  <a:pt x="591" y="186"/>
                  <a:pt x="591" y="185"/>
                  <a:pt x="590" y="185"/>
                </a:cubicBezTo>
                <a:close/>
                <a:moveTo>
                  <a:pt x="1510" y="206"/>
                </a:moveTo>
                <a:cubicBezTo>
                  <a:pt x="1510" y="206"/>
                  <a:pt x="1510" y="205"/>
                  <a:pt x="1510" y="205"/>
                </a:cubicBezTo>
                <a:cubicBezTo>
                  <a:pt x="1510" y="205"/>
                  <a:pt x="1510" y="204"/>
                  <a:pt x="1510" y="204"/>
                </a:cubicBezTo>
                <a:cubicBezTo>
                  <a:pt x="1509" y="205"/>
                  <a:pt x="1509" y="205"/>
                  <a:pt x="1509" y="205"/>
                </a:cubicBezTo>
                <a:cubicBezTo>
                  <a:pt x="1508" y="206"/>
                  <a:pt x="1508" y="206"/>
                  <a:pt x="1509" y="207"/>
                </a:cubicBezTo>
                <a:cubicBezTo>
                  <a:pt x="1509" y="207"/>
                  <a:pt x="1510" y="206"/>
                  <a:pt x="1510" y="206"/>
                </a:cubicBezTo>
                <a:close/>
                <a:moveTo>
                  <a:pt x="194" y="315"/>
                </a:moveTo>
                <a:cubicBezTo>
                  <a:pt x="194" y="315"/>
                  <a:pt x="193" y="315"/>
                  <a:pt x="193" y="316"/>
                </a:cubicBezTo>
                <a:cubicBezTo>
                  <a:pt x="193" y="317"/>
                  <a:pt x="194" y="317"/>
                  <a:pt x="195" y="317"/>
                </a:cubicBezTo>
                <a:cubicBezTo>
                  <a:pt x="195" y="317"/>
                  <a:pt x="195" y="317"/>
                  <a:pt x="195" y="317"/>
                </a:cubicBezTo>
                <a:cubicBezTo>
                  <a:pt x="195" y="316"/>
                  <a:pt x="194" y="315"/>
                  <a:pt x="194" y="315"/>
                </a:cubicBezTo>
                <a:close/>
                <a:moveTo>
                  <a:pt x="1188" y="320"/>
                </a:moveTo>
                <a:cubicBezTo>
                  <a:pt x="1188" y="320"/>
                  <a:pt x="1188" y="320"/>
                  <a:pt x="1188" y="320"/>
                </a:cubicBezTo>
                <a:cubicBezTo>
                  <a:pt x="1189" y="319"/>
                  <a:pt x="1189" y="319"/>
                  <a:pt x="1190" y="318"/>
                </a:cubicBezTo>
                <a:cubicBezTo>
                  <a:pt x="1189" y="318"/>
                  <a:pt x="1188" y="318"/>
                  <a:pt x="1188" y="319"/>
                </a:cubicBezTo>
                <a:cubicBezTo>
                  <a:pt x="1187" y="319"/>
                  <a:pt x="1187" y="320"/>
                  <a:pt x="1188" y="320"/>
                </a:cubicBezTo>
                <a:close/>
                <a:moveTo>
                  <a:pt x="1190" y="318"/>
                </a:moveTo>
                <a:cubicBezTo>
                  <a:pt x="1190" y="318"/>
                  <a:pt x="1190" y="318"/>
                  <a:pt x="1190" y="318"/>
                </a:cubicBezTo>
                <a:cubicBezTo>
                  <a:pt x="1190" y="318"/>
                  <a:pt x="1190" y="318"/>
                  <a:pt x="1190" y="318"/>
                </a:cubicBezTo>
                <a:cubicBezTo>
                  <a:pt x="1190" y="318"/>
                  <a:pt x="1190" y="318"/>
                  <a:pt x="1190" y="318"/>
                </a:cubicBezTo>
                <a:cubicBezTo>
                  <a:pt x="1190" y="318"/>
                  <a:pt x="1190" y="318"/>
                  <a:pt x="1190" y="318"/>
                </a:cubicBezTo>
                <a:close/>
                <a:moveTo>
                  <a:pt x="1319" y="354"/>
                </a:moveTo>
                <a:cubicBezTo>
                  <a:pt x="1319" y="354"/>
                  <a:pt x="1319" y="355"/>
                  <a:pt x="1320" y="355"/>
                </a:cubicBezTo>
                <a:cubicBezTo>
                  <a:pt x="1320" y="355"/>
                  <a:pt x="1320" y="355"/>
                  <a:pt x="1320" y="355"/>
                </a:cubicBezTo>
                <a:cubicBezTo>
                  <a:pt x="1321" y="354"/>
                  <a:pt x="1320" y="354"/>
                  <a:pt x="1319" y="354"/>
                </a:cubicBezTo>
                <a:cubicBezTo>
                  <a:pt x="1319" y="354"/>
                  <a:pt x="1319" y="354"/>
                  <a:pt x="1319" y="354"/>
                </a:cubicBezTo>
                <a:close/>
                <a:moveTo>
                  <a:pt x="682" y="363"/>
                </a:moveTo>
                <a:cubicBezTo>
                  <a:pt x="682" y="364"/>
                  <a:pt x="681" y="364"/>
                  <a:pt x="681" y="364"/>
                </a:cubicBezTo>
                <a:cubicBezTo>
                  <a:pt x="681" y="365"/>
                  <a:pt x="682" y="365"/>
                  <a:pt x="682" y="366"/>
                </a:cubicBezTo>
                <a:cubicBezTo>
                  <a:pt x="682" y="366"/>
                  <a:pt x="683" y="366"/>
                  <a:pt x="683" y="365"/>
                </a:cubicBezTo>
                <a:cubicBezTo>
                  <a:pt x="683" y="365"/>
                  <a:pt x="683" y="364"/>
                  <a:pt x="683" y="364"/>
                </a:cubicBezTo>
                <a:cubicBezTo>
                  <a:pt x="683" y="363"/>
                  <a:pt x="682" y="363"/>
                  <a:pt x="682" y="363"/>
                </a:cubicBezTo>
                <a:close/>
                <a:moveTo>
                  <a:pt x="1588" y="123"/>
                </a:moveTo>
                <a:cubicBezTo>
                  <a:pt x="1588" y="123"/>
                  <a:pt x="1587" y="123"/>
                  <a:pt x="1587" y="124"/>
                </a:cubicBezTo>
                <a:cubicBezTo>
                  <a:pt x="1587" y="124"/>
                  <a:pt x="1588" y="125"/>
                  <a:pt x="1588" y="125"/>
                </a:cubicBezTo>
                <a:cubicBezTo>
                  <a:pt x="1589" y="125"/>
                  <a:pt x="1589" y="124"/>
                  <a:pt x="1589" y="124"/>
                </a:cubicBezTo>
                <a:cubicBezTo>
                  <a:pt x="1589" y="123"/>
                  <a:pt x="1589" y="123"/>
                  <a:pt x="1588" y="123"/>
                </a:cubicBezTo>
                <a:close/>
                <a:moveTo>
                  <a:pt x="2145" y="436"/>
                </a:moveTo>
                <a:cubicBezTo>
                  <a:pt x="2145" y="435"/>
                  <a:pt x="2145" y="435"/>
                  <a:pt x="2145" y="435"/>
                </a:cubicBezTo>
                <a:cubicBezTo>
                  <a:pt x="2145" y="435"/>
                  <a:pt x="2144" y="435"/>
                  <a:pt x="2144" y="435"/>
                </a:cubicBezTo>
                <a:cubicBezTo>
                  <a:pt x="2144" y="435"/>
                  <a:pt x="2144" y="436"/>
                  <a:pt x="2144" y="436"/>
                </a:cubicBezTo>
                <a:cubicBezTo>
                  <a:pt x="2145" y="436"/>
                  <a:pt x="2145" y="436"/>
                  <a:pt x="2145" y="436"/>
                </a:cubicBezTo>
                <a:close/>
                <a:moveTo>
                  <a:pt x="2076" y="597"/>
                </a:moveTo>
                <a:cubicBezTo>
                  <a:pt x="2076" y="596"/>
                  <a:pt x="2076" y="596"/>
                  <a:pt x="2077" y="596"/>
                </a:cubicBezTo>
                <a:cubicBezTo>
                  <a:pt x="2076" y="595"/>
                  <a:pt x="2076" y="595"/>
                  <a:pt x="2076" y="594"/>
                </a:cubicBezTo>
                <a:cubicBezTo>
                  <a:pt x="2076" y="595"/>
                  <a:pt x="2075" y="595"/>
                  <a:pt x="2075" y="596"/>
                </a:cubicBezTo>
                <a:cubicBezTo>
                  <a:pt x="2075" y="596"/>
                  <a:pt x="2075" y="596"/>
                  <a:pt x="2076" y="597"/>
                </a:cubicBezTo>
                <a:close/>
                <a:moveTo>
                  <a:pt x="1132" y="616"/>
                </a:moveTo>
                <a:cubicBezTo>
                  <a:pt x="1132" y="616"/>
                  <a:pt x="1131" y="616"/>
                  <a:pt x="1131" y="615"/>
                </a:cubicBezTo>
                <a:cubicBezTo>
                  <a:pt x="1130" y="615"/>
                  <a:pt x="1129" y="616"/>
                  <a:pt x="1129" y="617"/>
                </a:cubicBezTo>
                <a:cubicBezTo>
                  <a:pt x="1130" y="617"/>
                  <a:pt x="1130" y="617"/>
                  <a:pt x="1131" y="617"/>
                </a:cubicBezTo>
                <a:cubicBezTo>
                  <a:pt x="1131" y="617"/>
                  <a:pt x="1132" y="617"/>
                  <a:pt x="1132" y="616"/>
                </a:cubicBezTo>
                <a:close/>
                <a:moveTo>
                  <a:pt x="1303" y="647"/>
                </a:moveTo>
                <a:cubicBezTo>
                  <a:pt x="1304" y="646"/>
                  <a:pt x="1304" y="646"/>
                  <a:pt x="1304" y="646"/>
                </a:cubicBezTo>
                <a:cubicBezTo>
                  <a:pt x="1305" y="646"/>
                  <a:pt x="1305" y="645"/>
                  <a:pt x="1305" y="645"/>
                </a:cubicBezTo>
                <a:cubicBezTo>
                  <a:pt x="1305" y="645"/>
                  <a:pt x="1304" y="644"/>
                  <a:pt x="1304" y="644"/>
                </a:cubicBezTo>
                <a:cubicBezTo>
                  <a:pt x="1303" y="644"/>
                  <a:pt x="1303" y="645"/>
                  <a:pt x="1303" y="646"/>
                </a:cubicBezTo>
                <a:cubicBezTo>
                  <a:pt x="1303" y="646"/>
                  <a:pt x="1303" y="646"/>
                  <a:pt x="1303" y="647"/>
                </a:cubicBezTo>
                <a:close/>
                <a:moveTo>
                  <a:pt x="482" y="695"/>
                </a:moveTo>
                <a:cubicBezTo>
                  <a:pt x="482" y="695"/>
                  <a:pt x="482" y="695"/>
                  <a:pt x="482" y="695"/>
                </a:cubicBezTo>
                <a:cubicBezTo>
                  <a:pt x="482" y="695"/>
                  <a:pt x="482" y="695"/>
                  <a:pt x="482" y="695"/>
                </a:cubicBezTo>
                <a:cubicBezTo>
                  <a:pt x="482" y="695"/>
                  <a:pt x="482" y="695"/>
                  <a:pt x="482" y="695"/>
                </a:cubicBezTo>
                <a:cubicBezTo>
                  <a:pt x="482" y="695"/>
                  <a:pt x="482" y="695"/>
                  <a:pt x="482" y="695"/>
                </a:cubicBezTo>
                <a:close/>
                <a:moveTo>
                  <a:pt x="483" y="697"/>
                </a:moveTo>
                <a:cubicBezTo>
                  <a:pt x="484" y="697"/>
                  <a:pt x="485" y="697"/>
                  <a:pt x="485" y="696"/>
                </a:cubicBezTo>
                <a:cubicBezTo>
                  <a:pt x="485" y="696"/>
                  <a:pt x="485" y="695"/>
                  <a:pt x="484" y="695"/>
                </a:cubicBezTo>
                <a:cubicBezTo>
                  <a:pt x="484" y="695"/>
                  <a:pt x="483" y="695"/>
                  <a:pt x="482" y="695"/>
                </a:cubicBezTo>
                <a:cubicBezTo>
                  <a:pt x="482" y="696"/>
                  <a:pt x="483" y="696"/>
                  <a:pt x="483" y="697"/>
                </a:cubicBezTo>
                <a:close/>
                <a:moveTo>
                  <a:pt x="611" y="160"/>
                </a:moveTo>
                <a:cubicBezTo>
                  <a:pt x="611" y="160"/>
                  <a:pt x="611" y="160"/>
                  <a:pt x="611" y="160"/>
                </a:cubicBezTo>
                <a:cubicBezTo>
                  <a:pt x="611" y="160"/>
                  <a:pt x="611" y="160"/>
                  <a:pt x="611" y="160"/>
                </a:cubicBezTo>
                <a:cubicBezTo>
                  <a:pt x="610" y="160"/>
                  <a:pt x="611" y="160"/>
                  <a:pt x="611" y="160"/>
                </a:cubicBezTo>
                <a:close/>
                <a:moveTo>
                  <a:pt x="535" y="161"/>
                </a:moveTo>
                <a:cubicBezTo>
                  <a:pt x="535" y="161"/>
                  <a:pt x="535" y="161"/>
                  <a:pt x="535" y="161"/>
                </a:cubicBezTo>
                <a:cubicBezTo>
                  <a:pt x="535" y="161"/>
                  <a:pt x="535" y="161"/>
                  <a:pt x="535" y="161"/>
                </a:cubicBezTo>
                <a:cubicBezTo>
                  <a:pt x="534" y="161"/>
                  <a:pt x="534" y="161"/>
                  <a:pt x="535" y="161"/>
                </a:cubicBezTo>
                <a:close/>
                <a:moveTo>
                  <a:pt x="1998" y="402"/>
                </a:moveTo>
                <a:cubicBezTo>
                  <a:pt x="1998" y="403"/>
                  <a:pt x="1999" y="403"/>
                  <a:pt x="1999" y="403"/>
                </a:cubicBezTo>
                <a:cubicBezTo>
                  <a:pt x="1999" y="403"/>
                  <a:pt x="1999" y="402"/>
                  <a:pt x="1999" y="402"/>
                </a:cubicBezTo>
                <a:cubicBezTo>
                  <a:pt x="1999" y="402"/>
                  <a:pt x="1999" y="401"/>
                  <a:pt x="1999" y="401"/>
                </a:cubicBezTo>
                <a:cubicBezTo>
                  <a:pt x="1999" y="402"/>
                  <a:pt x="1998" y="402"/>
                  <a:pt x="1998" y="402"/>
                </a:cubicBezTo>
                <a:close/>
                <a:moveTo>
                  <a:pt x="1552" y="173"/>
                </a:moveTo>
                <a:cubicBezTo>
                  <a:pt x="1552" y="172"/>
                  <a:pt x="1552" y="172"/>
                  <a:pt x="1552" y="172"/>
                </a:cubicBezTo>
                <a:cubicBezTo>
                  <a:pt x="1552" y="172"/>
                  <a:pt x="1552" y="172"/>
                  <a:pt x="1552" y="173"/>
                </a:cubicBezTo>
                <a:cubicBezTo>
                  <a:pt x="1552" y="173"/>
                  <a:pt x="1552" y="173"/>
                  <a:pt x="1552" y="173"/>
                </a:cubicBezTo>
                <a:close/>
                <a:moveTo>
                  <a:pt x="1551" y="179"/>
                </a:moveTo>
                <a:cubicBezTo>
                  <a:pt x="1551" y="178"/>
                  <a:pt x="1551" y="178"/>
                  <a:pt x="1551" y="178"/>
                </a:cubicBezTo>
                <a:cubicBezTo>
                  <a:pt x="1551" y="179"/>
                  <a:pt x="1551" y="179"/>
                  <a:pt x="1551" y="179"/>
                </a:cubicBezTo>
                <a:close/>
                <a:moveTo>
                  <a:pt x="321" y="181"/>
                </a:moveTo>
                <a:cubicBezTo>
                  <a:pt x="321" y="181"/>
                  <a:pt x="321" y="181"/>
                  <a:pt x="321" y="181"/>
                </a:cubicBezTo>
                <a:cubicBezTo>
                  <a:pt x="321" y="181"/>
                  <a:pt x="321" y="181"/>
                  <a:pt x="321" y="181"/>
                </a:cubicBezTo>
                <a:cubicBezTo>
                  <a:pt x="321" y="181"/>
                  <a:pt x="321" y="181"/>
                  <a:pt x="321" y="181"/>
                </a:cubicBezTo>
                <a:cubicBezTo>
                  <a:pt x="321" y="181"/>
                  <a:pt x="321" y="181"/>
                  <a:pt x="321" y="181"/>
                </a:cubicBezTo>
                <a:close/>
                <a:moveTo>
                  <a:pt x="323" y="181"/>
                </a:moveTo>
                <a:cubicBezTo>
                  <a:pt x="323" y="181"/>
                  <a:pt x="323" y="180"/>
                  <a:pt x="323" y="180"/>
                </a:cubicBezTo>
                <a:cubicBezTo>
                  <a:pt x="323" y="180"/>
                  <a:pt x="322" y="180"/>
                  <a:pt x="322" y="180"/>
                </a:cubicBezTo>
                <a:cubicBezTo>
                  <a:pt x="321" y="180"/>
                  <a:pt x="321" y="181"/>
                  <a:pt x="321" y="181"/>
                </a:cubicBezTo>
                <a:cubicBezTo>
                  <a:pt x="321" y="181"/>
                  <a:pt x="322" y="181"/>
                  <a:pt x="322" y="181"/>
                </a:cubicBezTo>
                <a:cubicBezTo>
                  <a:pt x="323" y="181"/>
                  <a:pt x="323" y="181"/>
                  <a:pt x="323" y="181"/>
                </a:cubicBezTo>
                <a:close/>
                <a:moveTo>
                  <a:pt x="1521" y="181"/>
                </a:moveTo>
                <a:cubicBezTo>
                  <a:pt x="1521" y="181"/>
                  <a:pt x="1521" y="182"/>
                  <a:pt x="1522" y="182"/>
                </a:cubicBezTo>
                <a:cubicBezTo>
                  <a:pt x="1522" y="182"/>
                  <a:pt x="1522" y="182"/>
                  <a:pt x="1523" y="182"/>
                </a:cubicBezTo>
                <a:cubicBezTo>
                  <a:pt x="1523" y="181"/>
                  <a:pt x="1523" y="181"/>
                  <a:pt x="1522" y="180"/>
                </a:cubicBezTo>
                <a:cubicBezTo>
                  <a:pt x="1522" y="180"/>
                  <a:pt x="1521" y="181"/>
                  <a:pt x="1521" y="181"/>
                </a:cubicBezTo>
                <a:close/>
                <a:moveTo>
                  <a:pt x="1138" y="613"/>
                </a:moveTo>
                <a:cubicBezTo>
                  <a:pt x="1138" y="613"/>
                  <a:pt x="1138" y="613"/>
                  <a:pt x="1138" y="613"/>
                </a:cubicBezTo>
                <a:cubicBezTo>
                  <a:pt x="1137" y="613"/>
                  <a:pt x="1137" y="613"/>
                  <a:pt x="1137" y="613"/>
                </a:cubicBezTo>
                <a:cubicBezTo>
                  <a:pt x="1136" y="613"/>
                  <a:pt x="1136" y="613"/>
                  <a:pt x="1137" y="614"/>
                </a:cubicBezTo>
                <a:cubicBezTo>
                  <a:pt x="1137" y="614"/>
                  <a:pt x="1138" y="614"/>
                  <a:pt x="1138" y="613"/>
                </a:cubicBezTo>
                <a:close/>
                <a:moveTo>
                  <a:pt x="658" y="283"/>
                </a:moveTo>
                <a:cubicBezTo>
                  <a:pt x="658" y="282"/>
                  <a:pt x="658" y="282"/>
                  <a:pt x="658" y="282"/>
                </a:cubicBezTo>
                <a:cubicBezTo>
                  <a:pt x="658" y="283"/>
                  <a:pt x="658" y="283"/>
                  <a:pt x="658" y="283"/>
                </a:cubicBezTo>
                <a:close/>
                <a:moveTo>
                  <a:pt x="1363" y="64"/>
                </a:moveTo>
                <a:cubicBezTo>
                  <a:pt x="1363" y="63"/>
                  <a:pt x="1363" y="63"/>
                  <a:pt x="1363" y="63"/>
                </a:cubicBezTo>
                <a:cubicBezTo>
                  <a:pt x="1362" y="63"/>
                  <a:pt x="1362" y="63"/>
                  <a:pt x="1362" y="63"/>
                </a:cubicBezTo>
                <a:cubicBezTo>
                  <a:pt x="1362" y="64"/>
                  <a:pt x="1362" y="64"/>
                  <a:pt x="1362" y="65"/>
                </a:cubicBezTo>
                <a:cubicBezTo>
                  <a:pt x="1363" y="65"/>
                  <a:pt x="1363" y="64"/>
                  <a:pt x="1363" y="64"/>
                </a:cubicBezTo>
                <a:close/>
                <a:moveTo>
                  <a:pt x="2020" y="652"/>
                </a:moveTo>
                <a:cubicBezTo>
                  <a:pt x="2020" y="652"/>
                  <a:pt x="2020" y="652"/>
                  <a:pt x="2020" y="652"/>
                </a:cubicBezTo>
                <a:cubicBezTo>
                  <a:pt x="2020" y="652"/>
                  <a:pt x="2019" y="652"/>
                  <a:pt x="2019" y="652"/>
                </a:cubicBezTo>
                <a:cubicBezTo>
                  <a:pt x="2019" y="652"/>
                  <a:pt x="2019" y="652"/>
                  <a:pt x="2019" y="653"/>
                </a:cubicBezTo>
                <a:cubicBezTo>
                  <a:pt x="2020" y="653"/>
                  <a:pt x="2020" y="653"/>
                  <a:pt x="2020" y="652"/>
                </a:cubicBezTo>
                <a:close/>
                <a:moveTo>
                  <a:pt x="1545" y="187"/>
                </a:moveTo>
                <a:cubicBezTo>
                  <a:pt x="1545" y="187"/>
                  <a:pt x="1546" y="188"/>
                  <a:pt x="1546" y="188"/>
                </a:cubicBezTo>
                <a:cubicBezTo>
                  <a:pt x="1546" y="188"/>
                  <a:pt x="1546" y="187"/>
                  <a:pt x="1546" y="187"/>
                </a:cubicBezTo>
                <a:cubicBezTo>
                  <a:pt x="1546" y="187"/>
                  <a:pt x="1545" y="187"/>
                  <a:pt x="1545" y="187"/>
                </a:cubicBezTo>
                <a:close/>
                <a:moveTo>
                  <a:pt x="1004" y="189"/>
                </a:moveTo>
                <a:cubicBezTo>
                  <a:pt x="1004" y="190"/>
                  <a:pt x="1004" y="190"/>
                  <a:pt x="1004" y="191"/>
                </a:cubicBezTo>
                <a:cubicBezTo>
                  <a:pt x="1006" y="190"/>
                  <a:pt x="1006" y="190"/>
                  <a:pt x="1004" y="189"/>
                </a:cubicBezTo>
                <a:close/>
                <a:moveTo>
                  <a:pt x="616" y="79"/>
                </a:moveTo>
                <a:cubicBezTo>
                  <a:pt x="617" y="79"/>
                  <a:pt x="617" y="79"/>
                  <a:pt x="617" y="78"/>
                </a:cubicBezTo>
                <a:cubicBezTo>
                  <a:pt x="617" y="78"/>
                  <a:pt x="616" y="79"/>
                  <a:pt x="616" y="79"/>
                </a:cubicBezTo>
                <a:cubicBezTo>
                  <a:pt x="616" y="79"/>
                  <a:pt x="616" y="79"/>
                  <a:pt x="616" y="79"/>
                </a:cubicBezTo>
                <a:close/>
                <a:moveTo>
                  <a:pt x="1517" y="210"/>
                </a:moveTo>
                <a:cubicBezTo>
                  <a:pt x="1517" y="210"/>
                  <a:pt x="1516" y="210"/>
                  <a:pt x="1516" y="210"/>
                </a:cubicBezTo>
                <a:cubicBezTo>
                  <a:pt x="1516" y="210"/>
                  <a:pt x="1516" y="210"/>
                  <a:pt x="1516" y="210"/>
                </a:cubicBezTo>
                <a:cubicBezTo>
                  <a:pt x="1516" y="210"/>
                  <a:pt x="1516" y="210"/>
                  <a:pt x="1516" y="211"/>
                </a:cubicBezTo>
                <a:cubicBezTo>
                  <a:pt x="1517" y="211"/>
                  <a:pt x="1517" y="210"/>
                  <a:pt x="1517" y="210"/>
                </a:cubicBezTo>
                <a:close/>
                <a:moveTo>
                  <a:pt x="1030" y="81"/>
                </a:moveTo>
                <a:cubicBezTo>
                  <a:pt x="1030" y="81"/>
                  <a:pt x="1030" y="81"/>
                  <a:pt x="1030" y="81"/>
                </a:cubicBezTo>
                <a:cubicBezTo>
                  <a:pt x="1030" y="80"/>
                  <a:pt x="1029" y="80"/>
                  <a:pt x="1029" y="80"/>
                </a:cubicBezTo>
                <a:cubicBezTo>
                  <a:pt x="1029" y="80"/>
                  <a:pt x="1029" y="81"/>
                  <a:pt x="1029" y="81"/>
                </a:cubicBezTo>
                <a:cubicBezTo>
                  <a:pt x="1029" y="82"/>
                  <a:pt x="1030" y="82"/>
                  <a:pt x="1030" y="81"/>
                </a:cubicBezTo>
                <a:close/>
                <a:moveTo>
                  <a:pt x="1029" y="80"/>
                </a:moveTo>
                <a:cubicBezTo>
                  <a:pt x="1029" y="80"/>
                  <a:pt x="1029" y="79"/>
                  <a:pt x="1029" y="79"/>
                </a:cubicBezTo>
                <a:cubicBezTo>
                  <a:pt x="1029" y="79"/>
                  <a:pt x="1029" y="79"/>
                  <a:pt x="1029" y="79"/>
                </a:cubicBezTo>
                <a:cubicBezTo>
                  <a:pt x="1029" y="79"/>
                  <a:pt x="1029" y="79"/>
                  <a:pt x="1029" y="80"/>
                </a:cubicBezTo>
                <a:cubicBezTo>
                  <a:pt x="1029" y="80"/>
                  <a:pt x="1029" y="80"/>
                  <a:pt x="1029" y="80"/>
                </a:cubicBezTo>
                <a:close/>
                <a:moveTo>
                  <a:pt x="1444" y="286"/>
                </a:moveTo>
                <a:cubicBezTo>
                  <a:pt x="1445" y="285"/>
                  <a:pt x="1445" y="285"/>
                  <a:pt x="1445" y="285"/>
                </a:cubicBezTo>
                <a:cubicBezTo>
                  <a:pt x="1444" y="285"/>
                  <a:pt x="1444" y="285"/>
                  <a:pt x="1444" y="285"/>
                </a:cubicBezTo>
                <a:lnTo>
                  <a:pt x="1444" y="286"/>
                </a:lnTo>
                <a:close/>
                <a:moveTo>
                  <a:pt x="548" y="224"/>
                </a:moveTo>
                <a:cubicBezTo>
                  <a:pt x="548" y="224"/>
                  <a:pt x="548" y="223"/>
                  <a:pt x="548" y="223"/>
                </a:cubicBezTo>
                <a:cubicBezTo>
                  <a:pt x="548" y="223"/>
                  <a:pt x="548" y="223"/>
                  <a:pt x="548" y="223"/>
                </a:cubicBezTo>
                <a:cubicBezTo>
                  <a:pt x="548" y="223"/>
                  <a:pt x="547" y="223"/>
                  <a:pt x="547" y="223"/>
                </a:cubicBezTo>
                <a:cubicBezTo>
                  <a:pt x="547" y="224"/>
                  <a:pt x="548" y="224"/>
                  <a:pt x="548" y="224"/>
                </a:cubicBezTo>
                <a:close/>
                <a:moveTo>
                  <a:pt x="657" y="94"/>
                </a:moveTo>
                <a:cubicBezTo>
                  <a:pt x="657" y="93"/>
                  <a:pt x="657" y="93"/>
                  <a:pt x="657" y="93"/>
                </a:cubicBezTo>
                <a:cubicBezTo>
                  <a:pt x="656" y="93"/>
                  <a:pt x="656" y="92"/>
                  <a:pt x="656" y="92"/>
                </a:cubicBezTo>
                <a:cubicBezTo>
                  <a:pt x="656" y="92"/>
                  <a:pt x="656" y="93"/>
                  <a:pt x="656" y="93"/>
                </a:cubicBezTo>
                <a:cubicBezTo>
                  <a:pt x="656" y="94"/>
                  <a:pt x="656" y="94"/>
                  <a:pt x="657" y="94"/>
                </a:cubicBezTo>
                <a:close/>
                <a:moveTo>
                  <a:pt x="1358" y="96"/>
                </a:moveTo>
                <a:cubicBezTo>
                  <a:pt x="1357" y="96"/>
                  <a:pt x="1357" y="96"/>
                  <a:pt x="1356" y="95"/>
                </a:cubicBezTo>
                <a:cubicBezTo>
                  <a:pt x="1356" y="95"/>
                  <a:pt x="1355" y="95"/>
                  <a:pt x="1355" y="95"/>
                </a:cubicBezTo>
                <a:cubicBezTo>
                  <a:pt x="1355" y="96"/>
                  <a:pt x="1355" y="96"/>
                  <a:pt x="1355" y="97"/>
                </a:cubicBezTo>
                <a:cubicBezTo>
                  <a:pt x="1355" y="97"/>
                  <a:pt x="1356" y="97"/>
                  <a:pt x="1356" y="97"/>
                </a:cubicBezTo>
                <a:cubicBezTo>
                  <a:pt x="1357" y="97"/>
                  <a:pt x="1357" y="96"/>
                  <a:pt x="1358" y="96"/>
                </a:cubicBezTo>
                <a:close/>
                <a:moveTo>
                  <a:pt x="1355" y="97"/>
                </a:moveTo>
                <a:cubicBezTo>
                  <a:pt x="1355" y="97"/>
                  <a:pt x="1355" y="97"/>
                  <a:pt x="1355" y="97"/>
                </a:cubicBezTo>
                <a:cubicBezTo>
                  <a:pt x="1354" y="97"/>
                  <a:pt x="1354" y="97"/>
                  <a:pt x="1354" y="97"/>
                </a:cubicBezTo>
                <a:cubicBezTo>
                  <a:pt x="1354" y="97"/>
                  <a:pt x="1355" y="97"/>
                  <a:pt x="1355" y="97"/>
                </a:cubicBezTo>
                <a:cubicBezTo>
                  <a:pt x="1355" y="97"/>
                  <a:pt x="1355" y="97"/>
                  <a:pt x="1355" y="97"/>
                </a:cubicBezTo>
                <a:close/>
                <a:moveTo>
                  <a:pt x="2028" y="653"/>
                </a:moveTo>
                <a:cubicBezTo>
                  <a:pt x="2028" y="654"/>
                  <a:pt x="2028" y="655"/>
                  <a:pt x="2029" y="656"/>
                </a:cubicBezTo>
                <a:cubicBezTo>
                  <a:pt x="2029" y="655"/>
                  <a:pt x="2029" y="654"/>
                  <a:pt x="2028" y="653"/>
                </a:cubicBezTo>
                <a:close/>
                <a:moveTo>
                  <a:pt x="686" y="101"/>
                </a:moveTo>
                <a:cubicBezTo>
                  <a:pt x="686" y="100"/>
                  <a:pt x="687" y="100"/>
                  <a:pt x="686" y="100"/>
                </a:cubicBezTo>
                <a:cubicBezTo>
                  <a:pt x="686" y="100"/>
                  <a:pt x="686" y="99"/>
                  <a:pt x="685" y="99"/>
                </a:cubicBezTo>
                <a:cubicBezTo>
                  <a:pt x="686" y="100"/>
                  <a:pt x="685" y="100"/>
                  <a:pt x="686" y="101"/>
                </a:cubicBezTo>
                <a:close/>
                <a:moveTo>
                  <a:pt x="2218" y="947"/>
                </a:moveTo>
                <a:cubicBezTo>
                  <a:pt x="2217" y="946"/>
                  <a:pt x="2216" y="945"/>
                  <a:pt x="2215" y="945"/>
                </a:cubicBezTo>
                <a:cubicBezTo>
                  <a:pt x="2216" y="947"/>
                  <a:pt x="2217" y="947"/>
                  <a:pt x="2218" y="947"/>
                </a:cubicBezTo>
                <a:close/>
                <a:moveTo>
                  <a:pt x="2218" y="947"/>
                </a:moveTo>
                <a:cubicBezTo>
                  <a:pt x="2219" y="947"/>
                  <a:pt x="2219" y="947"/>
                  <a:pt x="2219" y="947"/>
                </a:cubicBezTo>
                <a:cubicBezTo>
                  <a:pt x="2219" y="947"/>
                  <a:pt x="2219" y="947"/>
                  <a:pt x="2219" y="947"/>
                </a:cubicBezTo>
                <a:cubicBezTo>
                  <a:pt x="2219" y="947"/>
                  <a:pt x="2219" y="947"/>
                  <a:pt x="2219" y="947"/>
                </a:cubicBezTo>
                <a:cubicBezTo>
                  <a:pt x="2219" y="947"/>
                  <a:pt x="2219" y="947"/>
                  <a:pt x="2218" y="947"/>
                </a:cubicBezTo>
                <a:close/>
                <a:moveTo>
                  <a:pt x="1203" y="105"/>
                </a:moveTo>
                <a:cubicBezTo>
                  <a:pt x="1203" y="105"/>
                  <a:pt x="1202" y="104"/>
                  <a:pt x="1202" y="104"/>
                </a:cubicBezTo>
                <a:cubicBezTo>
                  <a:pt x="1202" y="104"/>
                  <a:pt x="1201" y="104"/>
                  <a:pt x="1201" y="104"/>
                </a:cubicBezTo>
                <a:cubicBezTo>
                  <a:pt x="1201" y="105"/>
                  <a:pt x="1201" y="105"/>
                  <a:pt x="1202" y="105"/>
                </a:cubicBezTo>
                <a:cubicBezTo>
                  <a:pt x="1202" y="106"/>
                  <a:pt x="1203" y="105"/>
                  <a:pt x="1203" y="105"/>
                </a:cubicBezTo>
                <a:close/>
                <a:moveTo>
                  <a:pt x="1201" y="104"/>
                </a:moveTo>
                <a:cubicBezTo>
                  <a:pt x="1201" y="104"/>
                  <a:pt x="1201" y="104"/>
                  <a:pt x="1201" y="104"/>
                </a:cubicBezTo>
                <a:cubicBezTo>
                  <a:pt x="1200" y="104"/>
                  <a:pt x="1200" y="104"/>
                  <a:pt x="1200" y="104"/>
                </a:cubicBezTo>
                <a:cubicBezTo>
                  <a:pt x="1200" y="104"/>
                  <a:pt x="1200" y="104"/>
                  <a:pt x="1200" y="104"/>
                </a:cubicBezTo>
                <a:cubicBezTo>
                  <a:pt x="1200" y="104"/>
                  <a:pt x="1201" y="104"/>
                  <a:pt x="1201" y="104"/>
                </a:cubicBezTo>
                <a:close/>
                <a:moveTo>
                  <a:pt x="1818" y="106"/>
                </a:moveTo>
                <a:cubicBezTo>
                  <a:pt x="1818" y="106"/>
                  <a:pt x="1817" y="106"/>
                  <a:pt x="1817" y="107"/>
                </a:cubicBezTo>
                <a:cubicBezTo>
                  <a:pt x="1817" y="107"/>
                  <a:pt x="1817" y="107"/>
                  <a:pt x="1817" y="108"/>
                </a:cubicBezTo>
                <a:cubicBezTo>
                  <a:pt x="1818" y="108"/>
                  <a:pt x="1818" y="108"/>
                  <a:pt x="1819" y="108"/>
                </a:cubicBezTo>
                <a:cubicBezTo>
                  <a:pt x="1819" y="107"/>
                  <a:pt x="1819" y="106"/>
                  <a:pt x="1818" y="106"/>
                </a:cubicBezTo>
                <a:close/>
                <a:moveTo>
                  <a:pt x="1819" y="108"/>
                </a:moveTo>
                <a:cubicBezTo>
                  <a:pt x="1819" y="108"/>
                  <a:pt x="1819" y="108"/>
                  <a:pt x="1819" y="108"/>
                </a:cubicBezTo>
                <a:cubicBezTo>
                  <a:pt x="1819" y="108"/>
                  <a:pt x="1819" y="108"/>
                  <a:pt x="1819" y="108"/>
                </a:cubicBezTo>
                <a:cubicBezTo>
                  <a:pt x="1819" y="108"/>
                  <a:pt x="1819" y="108"/>
                  <a:pt x="1819" y="108"/>
                </a:cubicBezTo>
                <a:cubicBezTo>
                  <a:pt x="1819" y="108"/>
                  <a:pt x="1819" y="108"/>
                  <a:pt x="1819" y="108"/>
                </a:cubicBezTo>
                <a:close/>
                <a:moveTo>
                  <a:pt x="536" y="239"/>
                </a:moveTo>
                <a:cubicBezTo>
                  <a:pt x="536" y="239"/>
                  <a:pt x="536" y="239"/>
                  <a:pt x="536" y="239"/>
                </a:cubicBezTo>
                <a:cubicBezTo>
                  <a:pt x="536" y="239"/>
                  <a:pt x="536" y="239"/>
                  <a:pt x="536" y="239"/>
                </a:cubicBezTo>
                <a:cubicBezTo>
                  <a:pt x="536" y="239"/>
                  <a:pt x="536" y="239"/>
                  <a:pt x="536" y="239"/>
                </a:cubicBezTo>
                <a:cubicBezTo>
                  <a:pt x="536" y="239"/>
                  <a:pt x="536" y="239"/>
                  <a:pt x="536" y="239"/>
                </a:cubicBezTo>
                <a:close/>
                <a:moveTo>
                  <a:pt x="536" y="241"/>
                </a:moveTo>
                <a:cubicBezTo>
                  <a:pt x="536" y="241"/>
                  <a:pt x="536" y="241"/>
                  <a:pt x="536" y="240"/>
                </a:cubicBezTo>
                <a:cubicBezTo>
                  <a:pt x="536" y="240"/>
                  <a:pt x="536" y="240"/>
                  <a:pt x="536" y="239"/>
                </a:cubicBezTo>
                <a:cubicBezTo>
                  <a:pt x="536" y="239"/>
                  <a:pt x="535" y="240"/>
                  <a:pt x="535" y="240"/>
                </a:cubicBezTo>
                <a:cubicBezTo>
                  <a:pt x="535" y="241"/>
                  <a:pt x="535" y="241"/>
                  <a:pt x="536" y="241"/>
                </a:cubicBezTo>
                <a:close/>
                <a:moveTo>
                  <a:pt x="1090" y="433"/>
                </a:moveTo>
                <a:cubicBezTo>
                  <a:pt x="1089" y="432"/>
                  <a:pt x="1089" y="432"/>
                  <a:pt x="1089" y="433"/>
                </a:cubicBezTo>
                <a:cubicBezTo>
                  <a:pt x="1089" y="433"/>
                  <a:pt x="1089" y="434"/>
                  <a:pt x="1089" y="434"/>
                </a:cubicBezTo>
                <a:cubicBezTo>
                  <a:pt x="1089" y="434"/>
                  <a:pt x="1089" y="433"/>
                  <a:pt x="1090" y="433"/>
                </a:cubicBezTo>
                <a:close/>
                <a:moveTo>
                  <a:pt x="676" y="806"/>
                </a:moveTo>
                <a:cubicBezTo>
                  <a:pt x="676" y="806"/>
                  <a:pt x="676" y="806"/>
                  <a:pt x="676" y="805"/>
                </a:cubicBezTo>
                <a:cubicBezTo>
                  <a:pt x="676" y="805"/>
                  <a:pt x="676" y="805"/>
                  <a:pt x="676" y="805"/>
                </a:cubicBezTo>
                <a:cubicBezTo>
                  <a:pt x="676" y="805"/>
                  <a:pt x="675" y="805"/>
                  <a:pt x="675" y="805"/>
                </a:cubicBezTo>
                <a:cubicBezTo>
                  <a:pt x="675" y="806"/>
                  <a:pt x="675" y="806"/>
                  <a:pt x="676" y="806"/>
                </a:cubicBezTo>
                <a:close/>
                <a:moveTo>
                  <a:pt x="1255" y="632"/>
                </a:moveTo>
                <a:cubicBezTo>
                  <a:pt x="1255" y="632"/>
                  <a:pt x="1255" y="632"/>
                  <a:pt x="1255" y="632"/>
                </a:cubicBezTo>
                <a:cubicBezTo>
                  <a:pt x="1255" y="632"/>
                  <a:pt x="1255" y="632"/>
                  <a:pt x="1255" y="632"/>
                </a:cubicBezTo>
                <a:cubicBezTo>
                  <a:pt x="1255" y="632"/>
                  <a:pt x="1255" y="632"/>
                  <a:pt x="1255" y="631"/>
                </a:cubicBezTo>
                <a:cubicBezTo>
                  <a:pt x="1255" y="632"/>
                  <a:pt x="1255" y="632"/>
                  <a:pt x="1255" y="632"/>
                </a:cubicBezTo>
                <a:close/>
                <a:moveTo>
                  <a:pt x="1253" y="632"/>
                </a:moveTo>
                <a:cubicBezTo>
                  <a:pt x="1253" y="632"/>
                  <a:pt x="1254" y="633"/>
                  <a:pt x="1254" y="633"/>
                </a:cubicBezTo>
                <a:cubicBezTo>
                  <a:pt x="1254" y="632"/>
                  <a:pt x="1254" y="632"/>
                  <a:pt x="1255" y="632"/>
                </a:cubicBezTo>
                <a:cubicBezTo>
                  <a:pt x="1254" y="632"/>
                  <a:pt x="1253" y="632"/>
                  <a:pt x="1253" y="632"/>
                </a:cubicBezTo>
                <a:close/>
                <a:moveTo>
                  <a:pt x="2037" y="674"/>
                </a:moveTo>
                <a:cubicBezTo>
                  <a:pt x="2037" y="674"/>
                  <a:pt x="2037" y="674"/>
                  <a:pt x="2037" y="675"/>
                </a:cubicBezTo>
                <a:cubicBezTo>
                  <a:pt x="2037" y="674"/>
                  <a:pt x="2038" y="674"/>
                  <a:pt x="2038" y="674"/>
                </a:cubicBezTo>
                <a:cubicBezTo>
                  <a:pt x="2037" y="673"/>
                  <a:pt x="2037" y="673"/>
                  <a:pt x="2037" y="674"/>
                </a:cubicBezTo>
                <a:close/>
                <a:moveTo>
                  <a:pt x="820" y="255"/>
                </a:moveTo>
                <a:cubicBezTo>
                  <a:pt x="820" y="255"/>
                  <a:pt x="820" y="255"/>
                  <a:pt x="820" y="255"/>
                </a:cubicBezTo>
                <a:cubicBezTo>
                  <a:pt x="820" y="255"/>
                  <a:pt x="820" y="255"/>
                  <a:pt x="820" y="255"/>
                </a:cubicBezTo>
                <a:cubicBezTo>
                  <a:pt x="820" y="255"/>
                  <a:pt x="820" y="255"/>
                  <a:pt x="820" y="255"/>
                </a:cubicBezTo>
                <a:cubicBezTo>
                  <a:pt x="820" y="255"/>
                  <a:pt x="820" y="255"/>
                  <a:pt x="820" y="255"/>
                </a:cubicBezTo>
                <a:close/>
                <a:moveTo>
                  <a:pt x="819" y="253"/>
                </a:moveTo>
                <a:cubicBezTo>
                  <a:pt x="818" y="253"/>
                  <a:pt x="818" y="254"/>
                  <a:pt x="817" y="254"/>
                </a:cubicBezTo>
                <a:cubicBezTo>
                  <a:pt x="818" y="254"/>
                  <a:pt x="818" y="255"/>
                  <a:pt x="819" y="255"/>
                </a:cubicBezTo>
                <a:cubicBezTo>
                  <a:pt x="819" y="255"/>
                  <a:pt x="820" y="255"/>
                  <a:pt x="820" y="255"/>
                </a:cubicBezTo>
                <a:cubicBezTo>
                  <a:pt x="820" y="254"/>
                  <a:pt x="820" y="254"/>
                  <a:pt x="820" y="253"/>
                </a:cubicBezTo>
                <a:cubicBezTo>
                  <a:pt x="820" y="253"/>
                  <a:pt x="819" y="253"/>
                  <a:pt x="819" y="253"/>
                </a:cubicBezTo>
                <a:close/>
                <a:moveTo>
                  <a:pt x="763" y="137"/>
                </a:moveTo>
                <a:cubicBezTo>
                  <a:pt x="763" y="136"/>
                  <a:pt x="762" y="136"/>
                  <a:pt x="762" y="136"/>
                </a:cubicBezTo>
                <a:cubicBezTo>
                  <a:pt x="762" y="136"/>
                  <a:pt x="761" y="136"/>
                  <a:pt x="761" y="136"/>
                </a:cubicBezTo>
                <a:cubicBezTo>
                  <a:pt x="761" y="137"/>
                  <a:pt x="762" y="137"/>
                  <a:pt x="762" y="137"/>
                </a:cubicBezTo>
                <a:cubicBezTo>
                  <a:pt x="763" y="137"/>
                  <a:pt x="763" y="137"/>
                  <a:pt x="763" y="137"/>
                </a:cubicBezTo>
                <a:close/>
                <a:moveTo>
                  <a:pt x="1287" y="638"/>
                </a:moveTo>
                <a:cubicBezTo>
                  <a:pt x="1287" y="637"/>
                  <a:pt x="1287" y="637"/>
                  <a:pt x="1287" y="637"/>
                </a:cubicBezTo>
                <a:cubicBezTo>
                  <a:pt x="1286" y="638"/>
                  <a:pt x="1286" y="638"/>
                  <a:pt x="1286" y="638"/>
                </a:cubicBezTo>
                <a:lnTo>
                  <a:pt x="1287" y="638"/>
                </a:lnTo>
                <a:close/>
                <a:moveTo>
                  <a:pt x="581" y="745"/>
                </a:moveTo>
                <a:cubicBezTo>
                  <a:pt x="581" y="745"/>
                  <a:pt x="581" y="745"/>
                  <a:pt x="581" y="745"/>
                </a:cubicBezTo>
                <a:cubicBezTo>
                  <a:pt x="581" y="745"/>
                  <a:pt x="581" y="746"/>
                  <a:pt x="581" y="746"/>
                </a:cubicBezTo>
                <a:cubicBezTo>
                  <a:pt x="581" y="746"/>
                  <a:pt x="581" y="745"/>
                  <a:pt x="581" y="745"/>
                </a:cubicBezTo>
                <a:cubicBezTo>
                  <a:pt x="581" y="745"/>
                  <a:pt x="581" y="745"/>
                  <a:pt x="581" y="745"/>
                </a:cubicBezTo>
                <a:close/>
                <a:moveTo>
                  <a:pt x="1181" y="586"/>
                </a:moveTo>
                <a:cubicBezTo>
                  <a:pt x="1181" y="586"/>
                  <a:pt x="1181" y="586"/>
                  <a:pt x="1181" y="586"/>
                </a:cubicBezTo>
                <a:cubicBezTo>
                  <a:pt x="1181" y="586"/>
                  <a:pt x="1181" y="586"/>
                  <a:pt x="1181" y="586"/>
                </a:cubicBezTo>
                <a:cubicBezTo>
                  <a:pt x="1181" y="586"/>
                  <a:pt x="1181" y="586"/>
                  <a:pt x="1181" y="586"/>
                </a:cubicBezTo>
                <a:cubicBezTo>
                  <a:pt x="1181" y="586"/>
                  <a:pt x="1181" y="586"/>
                  <a:pt x="1181" y="586"/>
                </a:cubicBezTo>
                <a:close/>
                <a:moveTo>
                  <a:pt x="1180" y="587"/>
                </a:moveTo>
                <a:cubicBezTo>
                  <a:pt x="1180" y="587"/>
                  <a:pt x="1181" y="586"/>
                  <a:pt x="1181" y="586"/>
                </a:cubicBezTo>
                <a:cubicBezTo>
                  <a:pt x="1180" y="586"/>
                  <a:pt x="1180" y="586"/>
                  <a:pt x="1180" y="587"/>
                </a:cubicBezTo>
                <a:cubicBezTo>
                  <a:pt x="1180" y="587"/>
                  <a:pt x="1180" y="587"/>
                  <a:pt x="1180" y="587"/>
                </a:cubicBezTo>
                <a:close/>
                <a:moveTo>
                  <a:pt x="1234" y="146"/>
                </a:moveTo>
                <a:cubicBezTo>
                  <a:pt x="1234" y="146"/>
                  <a:pt x="1234" y="147"/>
                  <a:pt x="1235" y="147"/>
                </a:cubicBezTo>
                <a:cubicBezTo>
                  <a:pt x="1235" y="147"/>
                  <a:pt x="1235" y="147"/>
                  <a:pt x="1235" y="147"/>
                </a:cubicBezTo>
                <a:cubicBezTo>
                  <a:pt x="1236" y="146"/>
                  <a:pt x="1235" y="145"/>
                  <a:pt x="1235" y="145"/>
                </a:cubicBezTo>
                <a:cubicBezTo>
                  <a:pt x="1234" y="145"/>
                  <a:pt x="1234" y="146"/>
                  <a:pt x="1234" y="146"/>
                </a:cubicBezTo>
                <a:close/>
                <a:moveTo>
                  <a:pt x="1529" y="154"/>
                </a:moveTo>
                <a:cubicBezTo>
                  <a:pt x="1529" y="154"/>
                  <a:pt x="1529" y="154"/>
                  <a:pt x="1528" y="154"/>
                </a:cubicBezTo>
                <a:cubicBezTo>
                  <a:pt x="1528" y="153"/>
                  <a:pt x="1528" y="153"/>
                  <a:pt x="1528" y="153"/>
                </a:cubicBezTo>
                <a:cubicBezTo>
                  <a:pt x="1527" y="154"/>
                  <a:pt x="1527" y="154"/>
                  <a:pt x="1528" y="154"/>
                </a:cubicBezTo>
                <a:cubicBezTo>
                  <a:pt x="1528" y="155"/>
                  <a:pt x="1528" y="154"/>
                  <a:pt x="1529" y="154"/>
                </a:cubicBezTo>
                <a:close/>
                <a:moveTo>
                  <a:pt x="1523" y="156"/>
                </a:moveTo>
                <a:cubicBezTo>
                  <a:pt x="1523" y="156"/>
                  <a:pt x="1523" y="156"/>
                  <a:pt x="1523" y="156"/>
                </a:cubicBezTo>
                <a:cubicBezTo>
                  <a:pt x="1523" y="156"/>
                  <a:pt x="1524" y="156"/>
                  <a:pt x="1524" y="156"/>
                </a:cubicBezTo>
                <a:cubicBezTo>
                  <a:pt x="1523" y="155"/>
                  <a:pt x="1523" y="155"/>
                  <a:pt x="1523" y="156"/>
                </a:cubicBezTo>
                <a:close/>
                <a:moveTo>
                  <a:pt x="2158" y="818"/>
                </a:moveTo>
                <a:cubicBezTo>
                  <a:pt x="2157" y="818"/>
                  <a:pt x="2157" y="818"/>
                  <a:pt x="2157" y="818"/>
                </a:cubicBezTo>
                <a:cubicBezTo>
                  <a:pt x="2157" y="819"/>
                  <a:pt x="2157" y="819"/>
                  <a:pt x="2157" y="819"/>
                </a:cubicBezTo>
                <a:cubicBezTo>
                  <a:pt x="2158" y="818"/>
                  <a:pt x="2158" y="818"/>
                  <a:pt x="2158" y="818"/>
                </a:cubicBezTo>
                <a:cubicBezTo>
                  <a:pt x="2158" y="818"/>
                  <a:pt x="2158" y="818"/>
                  <a:pt x="2158" y="818"/>
                </a:cubicBezTo>
                <a:close/>
                <a:moveTo>
                  <a:pt x="1072" y="465"/>
                </a:moveTo>
                <a:cubicBezTo>
                  <a:pt x="1073" y="465"/>
                  <a:pt x="1073" y="465"/>
                  <a:pt x="1073" y="465"/>
                </a:cubicBezTo>
                <a:cubicBezTo>
                  <a:pt x="1073" y="465"/>
                  <a:pt x="1073" y="465"/>
                  <a:pt x="1073" y="465"/>
                </a:cubicBezTo>
                <a:cubicBezTo>
                  <a:pt x="1073" y="465"/>
                  <a:pt x="1073" y="465"/>
                  <a:pt x="1073" y="465"/>
                </a:cubicBezTo>
                <a:cubicBezTo>
                  <a:pt x="1073" y="465"/>
                  <a:pt x="1072" y="465"/>
                  <a:pt x="1072" y="465"/>
                </a:cubicBezTo>
                <a:close/>
                <a:moveTo>
                  <a:pt x="1071" y="466"/>
                </a:moveTo>
                <a:cubicBezTo>
                  <a:pt x="1071" y="466"/>
                  <a:pt x="1071" y="467"/>
                  <a:pt x="1072" y="466"/>
                </a:cubicBezTo>
                <a:cubicBezTo>
                  <a:pt x="1072" y="466"/>
                  <a:pt x="1072" y="466"/>
                  <a:pt x="1072" y="465"/>
                </a:cubicBezTo>
                <a:cubicBezTo>
                  <a:pt x="1072" y="465"/>
                  <a:pt x="1072" y="465"/>
                  <a:pt x="1071" y="465"/>
                </a:cubicBezTo>
                <a:cubicBezTo>
                  <a:pt x="1071" y="465"/>
                  <a:pt x="1071" y="466"/>
                  <a:pt x="1071" y="466"/>
                </a:cubicBezTo>
                <a:close/>
                <a:moveTo>
                  <a:pt x="673" y="831"/>
                </a:moveTo>
                <a:cubicBezTo>
                  <a:pt x="674" y="831"/>
                  <a:pt x="674" y="831"/>
                  <a:pt x="674" y="830"/>
                </a:cubicBezTo>
                <a:cubicBezTo>
                  <a:pt x="674" y="830"/>
                  <a:pt x="673" y="830"/>
                  <a:pt x="673" y="830"/>
                </a:cubicBezTo>
                <a:cubicBezTo>
                  <a:pt x="673" y="830"/>
                  <a:pt x="673" y="830"/>
                  <a:pt x="673" y="831"/>
                </a:cubicBezTo>
                <a:close/>
                <a:moveTo>
                  <a:pt x="27" y="379"/>
                </a:moveTo>
                <a:cubicBezTo>
                  <a:pt x="27" y="379"/>
                  <a:pt x="27" y="379"/>
                  <a:pt x="27" y="380"/>
                </a:cubicBezTo>
                <a:cubicBezTo>
                  <a:pt x="27" y="379"/>
                  <a:pt x="28" y="379"/>
                  <a:pt x="28" y="379"/>
                </a:cubicBezTo>
                <a:cubicBezTo>
                  <a:pt x="28" y="379"/>
                  <a:pt x="28" y="378"/>
                  <a:pt x="27" y="378"/>
                </a:cubicBezTo>
                <a:cubicBezTo>
                  <a:pt x="27" y="378"/>
                  <a:pt x="27" y="379"/>
                  <a:pt x="27" y="379"/>
                </a:cubicBezTo>
                <a:close/>
                <a:moveTo>
                  <a:pt x="1781" y="841"/>
                </a:moveTo>
                <a:cubicBezTo>
                  <a:pt x="1781" y="841"/>
                  <a:pt x="1781" y="841"/>
                  <a:pt x="1781" y="841"/>
                </a:cubicBezTo>
                <a:cubicBezTo>
                  <a:pt x="1782" y="841"/>
                  <a:pt x="1782" y="841"/>
                  <a:pt x="1782" y="841"/>
                </a:cubicBezTo>
                <a:cubicBezTo>
                  <a:pt x="1782" y="841"/>
                  <a:pt x="1782" y="840"/>
                  <a:pt x="1781" y="840"/>
                </a:cubicBezTo>
                <a:cubicBezTo>
                  <a:pt x="1781" y="840"/>
                  <a:pt x="1781" y="841"/>
                  <a:pt x="1781" y="841"/>
                </a:cubicBezTo>
                <a:close/>
                <a:moveTo>
                  <a:pt x="243" y="376"/>
                </a:moveTo>
                <a:cubicBezTo>
                  <a:pt x="243" y="376"/>
                  <a:pt x="244" y="375"/>
                  <a:pt x="244" y="375"/>
                </a:cubicBezTo>
                <a:cubicBezTo>
                  <a:pt x="244" y="375"/>
                  <a:pt x="243" y="374"/>
                  <a:pt x="243" y="374"/>
                </a:cubicBezTo>
                <a:cubicBezTo>
                  <a:pt x="243" y="374"/>
                  <a:pt x="243" y="375"/>
                  <a:pt x="243" y="375"/>
                </a:cubicBezTo>
                <a:cubicBezTo>
                  <a:pt x="242" y="376"/>
                  <a:pt x="243" y="376"/>
                  <a:pt x="243" y="376"/>
                </a:cubicBezTo>
                <a:close/>
                <a:moveTo>
                  <a:pt x="1959" y="860"/>
                </a:moveTo>
                <a:cubicBezTo>
                  <a:pt x="1959" y="861"/>
                  <a:pt x="1959" y="861"/>
                  <a:pt x="1959" y="861"/>
                </a:cubicBezTo>
                <a:cubicBezTo>
                  <a:pt x="1959" y="860"/>
                  <a:pt x="1959" y="860"/>
                  <a:pt x="1959" y="860"/>
                </a:cubicBezTo>
                <a:close/>
                <a:moveTo>
                  <a:pt x="1792" y="867"/>
                </a:moveTo>
                <a:cubicBezTo>
                  <a:pt x="1791" y="867"/>
                  <a:pt x="1791" y="868"/>
                  <a:pt x="1791" y="868"/>
                </a:cubicBezTo>
                <a:cubicBezTo>
                  <a:pt x="1791" y="868"/>
                  <a:pt x="1792" y="869"/>
                  <a:pt x="1792" y="869"/>
                </a:cubicBezTo>
                <a:cubicBezTo>
                  <a:pt x="1792" y="868"/>
                  <a:pt x="1792" y="868"/>
                  <a:pt x="1792" y="867"/>
                </a:cubicBezTo>
                <a:cubicBezTo>
                  <a:pt x="1792" y="867"/>
                  <a:pt x="1792" y="867"/>
                  <a:pt x="1792" y="867"/>
                </a:cubicBezTo>
                <a:close/>
                <a:moveTo>
                  <a:pt x="1989" y="876"/>
                </a:moveTo>
                <a:cubicBezTo>
                  <a:pt x="1989" y="876"/>
                  <a:pt x="1989" y="876"/>
                  <a:pt x="1989" y="876"/>
                </a:cubicBezTo>
                <a:cubicBezTo>
                  <a:pt x="1989" y="876"/>
                  <a:pt x="1989" y="876"/>
                  <a:pt x="1989" y="876"/>
                </a:cubicBezTo>
                <a:cubicBezTo>
                  <a:pt x="1990" y="876"/>
                  <a:pt x="1990" y="876"/>
                  <a:pt x="1990" y="876"/>
                </a:cubicBezTo>
                <a:cubicBezTo>
                  <a:pt x="1990" y="876"/>
                  <a:pt x="1990" y="876"/>
                  <a:pt x="1989" y="876"/>
                </a:cubicBezTo>
                <a:close/>
                <a:moveTo>
                  <a:pt x="1982" y="881"/>
                </a:moveTo>
                <a:cubicBezTo>
                  <a:pt x="1982" y="882"/>
                  <a:pt x="1982" y="882"/>
                  <a:pt x="1982" y="882"/>
                </a:cubicBezTo>
                <a:cubicBezTo>
                  <a:pt x="1982" y="882"/>
                  <a:pt x="1982" y="881"/>
                  <a:pt x="1982" y="881"/>
                </a:cubicBezTo>
                <a:cubicBezTo>
                  <a:pt x="1982" y="881"/>
                  <a:pt x="1981" y="881"/>
                  <a:pt x="1982" y="881"/>
                </a:cubicBezTo>
                <a:close/>
                <a:moveTo>
                  <a:pt x="2031" y="889"/>
                </a:moveTo>
                <a:cubicBezTo>
                  <a:pt x="2031" y="889"/>
                  <a:pt x="2032" y="889"/>
                  <a:pt x="2032" y="889"/>
                </a:cubicBezTo>
                <a:cubicBezTo>
                  <a:pt x="2032" y="889"/>
                  <a:pt x="2032" y="889"/>
                  <a:pt x="2032" y="889"/>
                </a:cubicBezTo>
                <a:cubicBezTo>
                  <a:pt x="2032" y="888"/>
                  <a:pt x="2032" y="888"/>
                  <a:pt x="2031" y="889"/>
                </a:cubicBezTo>
                <a:close/>
                <a:moveTo>
                  <a:pt x="756" y="917"/>
                </a:moveTo>
                <a:cubicBezTo>
                  <a:pt x="756" y="917"/>
                  <a:pt x="755" y="917"/>
                  <a:pt x="755" y="917"/>
                </a:cubicBezTo>
                <a:cubicBezTo>
                  <a:pt x="755" y="917"/>
                  <a:pt x="755" y="917"/>
                  <a:pt x="755" y="917"/>
                </a:cubicBezTo>
                <a:cubicBezTo>
                  <a:pt x="755" y="917"/>
                  <a:pt x="755" y="917"/>
                  <a:pt x="755" y="917"/>
                </a:cubicBezTo>
                <a:cubicBezTo>
                  <a:pt x="755" y="917"/>
                  <a:pt x="755" y="917"/>
                  <a:pt x="756" y="917"/>
                </a:cubicBezTo>
                <a:close/>
                <a:moveTo>
                  <a:pt x="759" y="919"/>
                </a:moveTo>
                <a:cubicBezTo>
                  <a:pt x="758" y="917"/>
                  <a:pt x="757" y="917"/>
                  <a:pt x="756" y="917"/>
                </a:cubicBezTo>
                <a:cubicBezTo>
                  <a:pt x="756" y="919"/>
                  <a:pt x="757" y="919"/>
                  <a:pt x="759" y="919"/>
                </a:cubicBezTo>
                <a:close/>
                <a:moveTo>
                  <a:pt x="1872" y="923"/>
                </a:moveTo>
                <a:cubicBezTo>
                  <a:pt x="1872" y="923"/>
                  <a:pt x="1872" y="924"/>
                  <a:pt x="1872" y="924"/>
                </a:cubicBezTo>
                <a:cubicBezTo>
                  <a:pt x="1872" y="924"/>
                  <a:pt x="1873" y="924"/>
                  <a:pt x="1873" y="924"/>
                </a:cubicBezTo>
                <a:cubicBezTo>
                  <a:pt x="1873" y="924"/>
                  <a:pt x="1874" y="924"/>
                  <a:pt x="1874" y="923"/>
                </a:cubicBezTo>
                <a:cubicBezTo>
                  <a:pt x="1873" y="923"/>
                  <a:pt x="1873" y="922"/>
                  <a:pt x="1872" y="923"/>
                </a:cubicBezTo>
                <a:close/>
                <a:moveTo>
                  <a:pt x="1871" y="925"/>
                </a:moveTo>
                <a:cubicBezTo>
                  <a:pt x="1871" y="924"/>
                  <a:pt x="1872" y="924"/>
                  <a:pt x="1872" y="924"/>
                </a:cubicBezTo>
                <a:cubicBezTo>
                  <a:pt x="1872" y="924"/>
                  <a:pt x="1872" y="924"/>
                  <a:pt x="1872" y="924"/>
                </a:cubicBezTo>
                <a:cubicBezTo>
                  <a:pt x="1872" y="924"/>
                  <a:pt x="1872" y="924"/>
                  <a:pt x="1871" y="924"/>
                </a:cubicBezTo>
                <a:cubicBezTo>
                  <a:pt x="1871" y="924"/>
                  <a:pt x="1871" y="924"/>
                  <a:pt x="1871" y="925"/>
                </a:cubicBezTo>
                <a:close/>
                <a:moveTo>
                  <a:pt x="1871" y="926"/>
                </a:moveTo>
                <a:cubicBezTo>
                  <a:pt x="1871" y="925"/>
                  <a:pt x="1871" y="925"/>
                  <a:pt x="1871" y="925"/>
                </a:cubicBezTo>
                <a:cubicBezTo>
                  <a:pt x="1871" y="925"/>
                  <a:pt x="1871" y="925"/>
                  <a:pt x="1871" y="925"/>
                </a:cubicBezTo>
                <a:cubicBezTo>
                  <a:pt x="1871" y="925"/>
                  <a:pt x="1871" y="926"/>
                  <a:pt x="1871" y="926"/>
                </a:cubicBezTo>
                <a:close/>
                <a:moveTo>
                  <a:pt x="2202" y="940"/>
                </a:moveTo>
                <a:cubicBezTo>
                  <a:pt x="2201" y="941"/>
                  <a:pt x="2202" y="941"/>
                  <a:pt x="2202" y="941"/>
                </a:cubicBezTo>
                <a:cubicBezTo>
                  <a:pt x="2202" y="941"/>
                  <a:pt x="2202" y="940"/>
                  <a:pt x="2202" y="940"/>
                </a:cubicBezTo>
                <a:cubicBezTo>
                  <a:pt x="2202" y="940"/>
                  <a:pt x="2202" y="940"/>
                  <a:pt x="2202" y="940"/>
                </a:cubicBezTo>
                <a:cubicBezTo>
                  <a:pt x="2202" y="940"/>
                  <a:pt x="2202" y="940"/>
                  <a:pt x="2202" y="940"/>
                </a:cubicBezTo>
                <a:close/>
                <a:moveTo>
                  <a:pt x="1840" y="944"/>
                </a:moveTo>
                <a:cubicBezTo>
                  <a:pt x="1840" y="944"/>
                  <a:pt x="1840" y="944"/>
                  <a:pt x="1840" y="944"/>
                </a:cubicBezTo>
                <a:cubicBezTo>
                  <a:pt x="1840" y="944"/>
                  <a:pt x="1840" y="945"/>
                  <a:pt x="1840" y="945"/>
                </a:cubicBezTo>
                <a:cubicBezTo>
                  <a:pt x="1841" y="945"/>
                  <a:pt x="1841" y="944"/>
                  <a:pt x="1841" y="944"/>
                </a:cubicBezTo>
                <a:cubicBezTo>
                  <a:pt x="1841" y="944"/>
                  <a:pt x="1841" y="944"/>
                  <a:pt x="1840" y="944"/>
                </a:cubicBezTo>
                <a:close/>
                <a:moveTo>
                  <a:pt x="1995" y="960"/>
                </a:moveTo>
                <a:cubicBezTo>
                  <a:pt x="1995" y="961"/>
                  <a:pt x="1995" y="961"/>
                  <a:pt x="1995" y="961"/>
                </a:cubicBezTo>
                <a:cubicBezTo>
                  <a:pt x="1996" y="961"/>
                  <a:pt x="1996" y="961"/>
                  <a:pt x="1996" y="961"/>
                </a:cubicBezTo>
                <a:cubicBezTo>
                  <a:pt x="1996" y="960"/>
                  <a:pt x="1995" y="960"/>
                  <a:pt x="1995" y="960"/>
                </a:cubicBezTo>
                <a:cubicBezTo>
                  <a:pt x="1995" y="960"/>
                  <a:pt x="1995" y="960"/>
                  <a:pt x="1995" y="960"/>
                </a:cubicBezTo>
                <a:close/>
                <a:moveTo>
                  <a:pt x="2184" y="962"/>
                </a:moveTo>
                <a:cubicBezTo>
                  <a:pt x="2184" y="963"/>
                  <a:pt x="2184" y="963"/>
                  <a:pt x="2184" y="963"/>
                </a:cubicBezTo>
                <a:cubicBezTo>
                  <a:pt x="2184" y="963"/>
                  <a:pt x="2184" y="963"/>
                  <a:pt x="2185" y="963"/>
                </a:cubicBezTo>
                <a:cubicBezTo>
                  <a:pt x="2185" y="963"/>
                  <a:pt x="2185" y="963"/>
                  <a:pt x="2185" y="963"/>
                </a:cubicBezTo>
                <a:cubicBezTo>
                  <a:pt x="2185" y="962"/>
                  <a:pt x="2184" y="962"/>
                  <a:pt x="2184" y="962"/>
                </a:cubicBezTo>
                <a:close/>
                <a:moveTo>
                  <a:pt x="1985" y="967"/>
                </a:moveTo>
                <a:cubicBezTo>
                  <a:pt x="1985" y="967"/>
                  <a:pt x="1985" y="967"/>
                  <a:pt x="1985" y="967"/>
                </a:cubicBezTo>
                <a:cubicBezTo>
                  <a:pt x="1985" y="967"/>
                  <a:pt x="1985" y="966"/>
                  <a:pt x="1985" y="966"/>
                </a:cubicBezTo>
                <a:cubicBezTo>
                  <a:pt x="1985" y="966"/>
                  <a:pt x="1984" y="966"/>
                  <a:pt x="1984" y="966"/>
                </a:cubicBezTo>
                <a:cubicBezTo>
                  <a:pt x="1984" y="967"/>
                  <a:pt x="1984" y="967"/>
                  <a:pt x="1985" y="967"/>
                </a:cubicBezTo>
                <a:close/>
                <a:moveTo>
                  <a:pt x="2006" y="984"/>
                </a:moveTo>
                <a:cubicBezTo>
                  <a:pt x="2006" y="985"/>
                  <a:pt x="2006" y="985"/>
                  <a:pt x="2007" y="985"/>
                </a:cubicBezTo>
                <a:cubicBezTo>
                  <a:pt x="2007" y="985"/>
                  <a:pt x="2007" y="985"/>
                  <a:pt x="2007" y="985"/>
                </a:cubicBezTo>
                <a:cubicBezTo>
                  <a:pt x="2007" y="985"/>
                  <a:pt x="2007" y="984"/>
                  <a:pt x="2007" y="984"/>
                </a:cubicBezTo>
                <a:cubicBezTo>
                  <a:pt x="2007" y="984"/>
                  <a:pt x="2007" y="984"/>
                  <a:pt x="2006" y="984"/>
                </a:cubicBezTo>
                <a:close/>
                <a:moveTo>
                  <a:pt x="2002" y="1003"/>
                </a:moveTo>
                <a:cubicBezTo>
                  <a:pt x="2003" y="1002"/>
                  <a:pt x="2003" y="1002"/>
                  <a:pt x="2003" y="1001"/>
                </a:cubicBezTo>
                <a:cubicBezTo>
                  <a:pt x="2002" y="1001"/>
                  <a:pt x="2002" y="1001"/>
                  <a:pt x="2001" y="1001"/>
                </a:cubicBezTo>
                <a:cubicBezTo>
                  <a:pt x="2001" y="1002"/>
                  <a:pt x="2001" y="1002"/>
                  <a:pt x="2001" y="1002"/>
                </a:cubicBezTo>
                <a:cubicBezTo>
                  <a:pt x="2001" y="1003"/>
                  <a:pt x="2002" y="1003"/>
                  <a:pt x="2002" y="1003"/>
                </a:cubicBezTo>
                <a:close/>
                <a:moveTo>
                  <a:pt x="1436" y="1013"/>
                </a:moveTo>
                <a:cubicBezTo>
                  <a:pt x="1436" y="1013"/>
                  <a:pt x="1436" y="1013"/>
                  <a:pt x="1436" y="1013"/>
                </a:cubicBezTo>
                <a:cubicBezTo>
                  <a:pt x="1436" y="1013"/>
                  <a:pt x="1436" y="1013"/>
                  <a:pt x="1436" y="1014"/>
                </a:cubicBezTo>
                <a:cubicBezTo>
                  <a:pt x="1436" y="1014"/>
                  <a:pt x="1436" y="1014"/>
                  <a:pt x="1437" y="1014"/>
                </a:cubicBezTo>
                <a:cubicBezTo>
                  <a:pt x="1436" y="1013"/>
                  <a:pt x="1436" y="1013"/>
                  <a:pt x="1436" y="1013"/>
                </a:cubicBezTo>
                <a:close/>
                <a:moveTo>
                  <a:pt x="2325" y="1049"/>
                </a:moveTo>
                <a:cubicBezTo>
                  <a:pt x="2325" y="1049"/>
                  <a:pt x="2325" y="1049"/>
                  <a:pt x="2325" y="1049"/>
                </a:cubicBezTo>
                <a:cubicBezTo>
                  <a:pt x="2325" y="1048"/>
                  <a:pt x="2325" y="1048"/>
                  <a:pt x="2325" y="1048"/>
                </a:cubicBezTo>
                <a:cubicBezTo>
                  <a:pt x="2325" y="1048"/>
                  <a:pt x="2324" y="1048"/>
                  <a:pt x="2324" y="1048"/>
                </a:cubicBezTo>
                <a:cubicBezTo>
                  <a:pt x="2324" y="1049"/>
                  <a:pt x="2324" y="1049"/>
                  <a:pt x="2325" y="1049"/>
                </a:cubicBezTo>
                <a:close/>
                <a:moveTo>
                  <a:pt x="2325" y="1060"/>
                </a:moveTo>
                <a:cubicBezTo>
                  <a:pt x="2326" y="1060"/>
                  <a:pt x="2326" y="1060"/>
                  <a:pt x="2327" y="1060"/>
                </a:cubicBezTo>
                <a:cubicBezTo>
                  <a:pt x="2326" y="1060"/>
                  <a:pt x="2326" y="1059"/>
                  <a:pt x="2326" y="1059"/>
                </a:cubicBezTo>
                <a:cubicBezTo>
                  <a:pt x="2326" y="1059"/>
                  <a:pt x="2325" y="1059"/>
                  <a:pt x="2325" y="1060"/>
                </a:cubicBezTo>
                <a:cubicBezTo>
                  <a:pt x="2325" y="1060"/>
                  <a:pt x="2325" y="1060"/>
                  <a:pt x="2325" y="1060"/>
                </a:cubicBezTo>
                <a:close/>
                <a:moveTo>
                  <a:pt x="2330" y="1069"/>
                </a:moveTo>
                <a:cubicBezTo>
                  <a:pt x="2330" y="1069"/>
                  <a:pt x="2330" y="1069"/>
                  <a:pt x="2330" y="1069"/>
                </a:cubicBezTo>
                <a:cubicBezTo>
                  <a:pt x="2330" y="1070"/>
                  <a:pt x="2330" y="1070"/>
                  <a:pt x="2330" y="1070"/>
                </a:cubicBezTo>
                <a:lnTo>
                  <a:pt x="2330" y="1069"/>
                </a:lnTo>
                <a:close/>
                <a:moveTo>
                  <a:pt x="2319" y="1093"/>
                </a:moveTo>
                <a:cubicBezTo>
                  <a:pt x="2319" y="1093"/>
                  <a:pt x="2318" y="1094"/>
                  <a:pt x="2319" y="1094"/>
                </a:cubicBezTo>
                <a:cubicBezTo>
                  <a:pt x="2319" y="1095"/>
                  <a:pt x="2319" y="1095"/>
                  <a:pt x="2319" y="1095"/>
                </a:cubicBezTo>
                <a:cubicBezTo>
                  <a:pt x="2320" y="1095"/>
                  <a:pt x="2320" y="1094"/>
                  <a:pt x="2320" y="1094"/>
                </a:cubicBezTo>
                <a:cubicBezTo>
                  <a:pt x="2320" y="1093"/>
                  <a:pt x="2319" y="1093"/>
                  <a:pt x="2319" y="1093"/>
                </a:cubicBezTo>
                <a:close/>
                <a:moveTo>
                  <a:pt x="2138" y="1275"/>
                </a:moveTo>
                <a:cubicBezTo>
                  <a:pt x="2138" y="1275"/>
                  <a:pt x="2137" y="1275"/>
                  <a:pt x="2137" y="1275"/>
                </a:cubicBezTo>
                <a:cubicBezTo>
                  <a:pt x="2137" y="1276"/>
                  <a:pt x="2138" y="1276"/>
                  <a:pt x="2138" y="1276"/>
                </a:cubicBezTo>
                <a:cubicBezTo>
                  <a:pt x="2139" y="1276"/>
                  <a:pt x="2139" y="1276"/>
                  <a:pt x="2139" y="1276"/>
                </a:cubicBezTo>
                <a:cubicBezTo>
                  <a:pt x="2139" y="1275"/>
                  <a:pt x="2138" y="1275"/>
                  <a:pt x="2138" y="1275"/>
                </a:cubicBezTo>
                <a:close/>
                <a:moveTo>
                  <a:pt x="1082" y="481"/>
                </a:moveTo>
                <a:cubicBezTo>
                  <a:pt x="1082" y="481"/>
                  <a:pt x="1081" y="481"/>
                  <a:pt x="1081" y="481"/>
                </a:cubicBezTo>
                <a:cubicBezTo>
                  <a:pt x="1081" y="482"/>
                  <a:pt x="1081" y="482"/>
                  <a:pt x="1081" y="482"/>
                </a:cubicBezTo>
                <a:cubicBezTo>
                  <a:pt x="1082" y="482"/>
                  <a:pt x="1082" y="482"/>
                  <a:pt x="1082" y="482"/>
                </a:cubicBezTo>
                <a:cubicBezTo>
                  <a:pt x="1082" y="482"/>
                  <a:pt x="1082" y="481"/>
                  <a:pt x="1082" y="481"/>
                </a:cubicBezTo>
                <a:close/>
                <a:moveTo>
                  <a:pt x="1418" y="294"/>
                </a:moveTo>
                <a:cubicBezTo>
                  <a:pt x="1418" y="294"/>
                  <a:pt x="1417" y="294"/>
                  <a:pt x="1417" y="294"/>
                </a:cubicBezTo>
                <a:cubicBezTo>
                  <a:pt x="1417" y="294"/>
                  <a:pt x="1416" y="295"/>
                  <a:pt x="1416" y="295"/>
                </a:cubicBezTo>
                <a:cubicBezTo>
                  <a:pt x="1417" y="295"/>
                  <a:pt x="1417" y="295"/>
                  <a:pt x="1417" y="295"/>
                </a:cubicBezTo>
                <a:cubicBezTo>
                  <a:pt x="1418" y="295"/>
                  <a:pt x="1418" y="294"/>
                  <a:pt x="1418" y="294"/>
                </a:cubicBezTo>
                <a:close/>
                <a:moveTo>
                  <a:pt x="1416" y="295"/>
                </a:moveTo>
                <a:cubicBezTo>
                  <a:pt x="1416" y="295"/>
                  <a:pt x="1416" y="295"/>
                  <a:pt x="1416" y="295"/>
                </a:cubicBezTo>
                <a:cubicBezTo>
                  <a:pt x="1416" y="295"/>
                  <a:pt x="1416" y="295"/>
                  <a:pt x="1416" y="295"/>
                </a:cubicBezTo>
                <a:cubicBezTo>
                  <a:pt x="1416" y="295"/>
                  <a:pt x="1416" y="295"/>
                  <a:pt x="1416" y="295"/>
                </a:cubicBezTo>
                <a:cubicBezTo>
                  <a:pt x="1416" y="295"/>
                  <a:pt x="1416" y="295"/>
                  <a:pt x="1416" y="295"/>
                </a:cubicBezTo>
                <a:close/>
                <a:moveTo>
                  <a:pt x="1218" y="292"/>
                </a:moveTo>
                <a:cubicBezTo>
                  <a:pt x="1218" y="292"/>
                  <a:pt x="1219" y="292"/>
                  <a:pt x="1219" y="292"/>
                </a:cubicBezTo>
                <a:cubicBezTo>
                  <a:pt x="1219" y="292"/>
                  <a:pt x="1219" y="292"/>
                  <a:pt x="1219" y="292"/>
                </a:cubicBezTo>
                <a:cubicBezTo>
                  <a:pt x="1219" y="291"/>
                  <a:pt x="1219" y="291"/>
                  <a:pt x="1218" y="292"/>
                </a:cubicBezTo>
                <a:close/>
                <a:moveTo>
                  <a:pt x="701" y="1379"/>
                </a:moveTo>
                <a:cubicBezTo>
                  <a:pt x="701" y="1379"/>
                  <a:pt x="702" y="1379"/>
                  <a:pt x="702" y="1379"/>
                </a:cubicBezTo>
                <a:cubicBezTo>
                  <a:pt x="702" y="1379"/>
                  <a:pt x="701" y="1379"/>
                  <a:pt x="701" y="1379"/>
                </a:cubicBezTo>
                <a:cubicBezTo>
                  <a:pt x="700" y="1379"/>
                  <a:pt x="700" y="1379"/>
                  <a:pt x="701" y="1379"/>
                </a:cubicBezTo>
                <a:close/>
                <a:moveTo>
                  <a:pt x="807" y="243"/>
                </a:moveTo>
                <a:cubicBezTo>
                  <a:pt x="807" y="244"/>
                  <a:pt x="807" y="244"/>
                  <a:pt x="808" y="244"/>
                </a:cubicBezTo>
                <a:cubicBezTo>
                  <a:pt x="808" y="244"/>
                  <a:pt x="808" y="243"/>
                  <a:pt x="808" y="243"/>
                </a:cubicBezTo>
                <a:cubicBezTo>
                  <a:pt x="808" y="243"/>
                  <a:pt x="808" y="243"/>
                  <a:pt x="807" y="243"/>
                </a:cubicBezTo>
                <a:close/>
                <a:moveTo>
                  <a:pt x="647" y="265"/>
                </a:moveTo>
                <a:cubicBezTo>
                  <a:pt x="647" y="265"/>
                  <a:pt x="647" y="265"/>
                  <a:pt x="647" y="265"/>
                </a:cubicBezTo>
                <a:cubicBezTo>
                  <a:pt x="647" y="265"/>
                  <a:pt x="647" y="265"/>
                  <a:pt x="647" y="266"/>
                </a:cubicBezTo>
                <a:cubicBezTo>
                  <a:pt x="647" y="266"/>
                  <a:pt x="647" y="266"/>
                  <a:pt x="647" y="266"/>
                </a:cubicBezTo>
                <a:lnTo>
                  <a:pt x="647" y="265"/>
                </a:lnTo>
                <a:close/>
                <a:moveTo>
                  <a:pt x="2121" y="268"/>
                </a:moveTo>
                <a:cubicBezTo>
                  <a:pt x="2121" y="268"/>
                  <a:pt x="2121" y="268"/>
                  <a:pt x="2121" y="269"/>
                </a:cubicBezTo>
                <a:cubicBezTo>
                  <a:pt x="2121" y="269"/>
                  <a:pt x="2121" y="269"/>
                  <a:pt x="2121" y="269"/>
                </a:cubicBezTo>
                <a:cubicBezTo>
                  <a:pt x="2121" y="269"/>
                  <a:pt x="2121" y="268"/>
                  <a:pt x="2121" y="268"/>
                </a:cubicBezTo>
                <a:close/>
                <a:moveTo>
                  <a:pt x="2121" y="269"/>
                </a:moveTo>
                <a:cubicBezTo>
                  <a:pt x="2121" y="269"/>
                  <a:pt x="2120" y="269"/>
                  <a:pt x="2120" y="269"/>
                </a:cubicBezTo>
                <a:cubicBezTo>
                  <a:pt x="2120" y="269"/>
                  <a:pt x="2120" y="269"/>
                  <a:pt x="2120" y="269"/>
                </a:cubicBezTo>
                <a:cubicBezTo>
                  <a:pt x="2120" y="269"/>
                  <a:pt x="2120" y="269"/>
                  <a:pt x="2121" y="269"/>
                </a:cubicBezTo>
                <a:cubicBezTo>
                  <a:pt x="2121" y="269"/>
                  <a:pt x="2121" y="269"/>
                  <a:pt x="2121" y="269"/>
                </a:cubicBezTo>
                <a:close/>
                <a:moveTo>
                  <a:pt x="1236" y="283"/>
                </a:moveTo>
                <a:cubicBezTo>
                  <a:pt x="1236" y="283"/>
                  <a:pt x="1236" y="283"/>
                  <a:pt x="1235" y="283"/>
                </a:cubicBezTo>
                <a:cubicBezTo>
                  <a:pt x="1235" y="283"/>
                  <a:pt x="1235" y="283"/>
                  <a:pt x="1235" y="283"/>
                </a:cubicBezTo>
                <a:cubicBezTo>
                  <a:pt x="1236" y="283"/>
                  <a:pt x="1236" y="283"/>
                  <a:pt x="1236" y="283"/>
                </a:cubicBezTo>
                <a:cubicBezTo>
                  <a:pt x="1236" y="283"/>
                  <a:pt x="1236" y="283"/>
                  <a:pt x="1236" y="283"/>
                </a:cubicBezTo>
                <a:close/>
                <a:moveTo>
                  <a:pt x="1236" y="282"/>
                </a:moveTo>
                <a:cubicBezTo>
                  <a:pt x="1236" y="282"/>
                  <a:pt x="1236" y="283"/>
                  <a:pt x="1236" y="283"/>
                </a:cubicBezTo>
                <a:cubicBezTo>
                  <a:pt x="1236" y="283"/>
                  <a:pt x="1236" y="282"/>
                  <a:pt x="1236" y="282"/>
                </a:cubicBezTo>
                <a:close/>
                <a:moveTo>
                  <a:pt x="1286" y="609"/>
                </a:moveTo>
                <a:cubicBezTo>
                  <a:pt x="1286" y="609"/>
                  <a:pt x="1286" y="609"/>
                  <a:pt x="1286" y="609"/>
                </a:cubicBezTo>
                <a:cubicBezTo>
                  <a:pt x="1286" y="609"/>
                  <a:pt x="1287" y="609"/>
                  <a:pt x="1287" y="609"/>
                </a:cubicBezTo>
                <a:cubicBezTo>
                  <a:pt x="1287" y="609"/>
                  <a:pt x="1286" y="609"/>
                  <a:pt x="1286" y="609"/>
                </a:cubicBezTo>
                <a:close/>
                <a:moveTo>
                  <a:pt x="1210" y="648"/>
                </a:moveTo>
                <a:cubicBezTo>
                  <a:pt x="1210" y="648"/>
                  <a:pt x="1210" y="648"/>
                  <a:pt x="1210" y="648"/>
                </a:cubicBezTo>
                <a:cubicBezTo>
                  <a:pt x="1210" y="648"/>
                  <a:pt x="1210" y="648"/>
                  <a:pt x="1210" y="648"/>
                </a:cubicBezTo>
                <a:close/>
                <a:moveTo>
                  <a:pt x="587" y="749"/>
                </a:moveTo>
                <a:cubicBezTo>
                  <a:pt x="587" y="749"/>
                  <a:pt x="587" y="749"/>
                  <a:pt x="587" y="749"/>
                </a:cubicBezTo>
                <a:cubicBezTo>
                  <a:pt x="587" y="748"/>
                  <a:pt x="587" y="748"/>
                  <a:pt x="587" y="749"/>
                </a:cubicBezTo>
                <a:close/>
                <a:moveTo>
                  <a:pt x="663" y="785"/>
                </a:moveTo>
                <a:cubicBezTo>
                  <a:pt x="664" y="785"/>
                  <a:pt x="664" y="785"/>
                  <a:pt x="664" y="785"/>
                </a:cubicBezTo>
                <a:cubicBezTo>
                  <a:pt x="664" y="785"/>
                  <a:pt x="664" y="785"/>
                  <a:pt x="664" y="785"/>
                </a:cubicBezTo>
                <a:lnTo>
                  <a:pt x="663" y="785"/>
                </a:lnTo>
                <a:close/>
                <a:moveTo>
                  <a:pt x="1122" y="622"/>
                </a:moveTo>
                <a:cubicBezTo>
                  <a:pt x="1123" y="622"/>
                  <a:pt x="1123" y="622"/>
                  <a:pt x="1123" y="622"/>
                </a:cubicBezTo>
                <a:cubicBezTo>
                  <a:pt x="1122" y="622"/>
                  <a:pt x="1122" y="622"/>
                  <a:pt x="1122" y="622"/>
                </a:cubicBezTo>
                <a:close/>
                <a:moveTo>
                  <a:pt x="953" y="28"/>
                </a:moveTo>
                <a:cubicBezTo>
                  <a:pt x="953" y="28"/>
                  <a:pt x="953" y="29"/>
                  <a:pt x="953" y="29"/>
                </a:cubicBezTo>
                <a:cubicBezTo>
                  <a:pt x="953" y="28"/>
                  <a:pt x="953" y="28"/>
                  <a:pt x="953" y="28"/>
                </a:cubicBezTo>
                <a:cubicBezTo>
                  <a:pt x="953" y="28"/>
                  <a:pt x="953" y="28"/>
                  <a:pt x="953" y="28"/>
                </a:cubicBezTo>
                <a:close/>
                <a:moveTo>
                  <a:pt x="2077" y="467"/>
                </a:moveTo>
                <a:cubicBezTo>
                  <a:pt x="2077" y="467"/>
                  <a:pt x="2077" y="467"/>
                  <a:pt x="2077" y="467"/>
                </a:cubicBezTo>
                <a:cubicBezTo>
                  <a:pt x="2077" y="467"/>
                  <a:pt x="2077" y="467"/>
                  <a:pt x="2077" y="467"/>
                </a:cubicBezTo>
                <a:cubicBezTo>
                  <a:pt x="2077" y="467"/>
                  <a:pt x="2077" y="467"/>
                  <a:pt x="2077" y="467"/>
                </a:cubicBezTo>
                <a:cubicBezTo>
                  <a:pt x="2077" y="467"/>
                  <a:pt x="2077" y="467"/>
                  <a:pt x="2077" y="467"/>
                </a:cubicBezTo>
                <a:close/>
                <a:moveTo>
                  <a:pt x="2078" y="468"/>
                </a:moveTo>
                <a:cubicBezTo>
                  <a:pt x="2078" y="468"/>
                  <a:pt x="2078" y="467"/>
                  <a:pt x="2077" y="467"/>
                </a:cubicBezTo>
                <a:cubicBezTo>
                  <a:pt x="2077" y="468"/>
                  <a:pt x="2077" y="468"/>
                  <a:pt x="2078" y="468"/>
                </a:cubicBezTo>
                <a:close/>
                <a:moveTo>
                  <a:pt x="72" y="372"/>
                </a:moveTo>
                <a:cubicBezTo>
                  <a:pt x="72" y="372"/>
                  <a:pt x="72" y="372"/>
                  <a:pt x="72" y="372"/>
                </a:cubicBezTo>
                <a:cubicBezTo>
                  <a:pt x="72" y="372"/>
                  <a:pt x="72" y="372"/>
                  <a:pt x="72" y="372"/>
                </a:cubicBezTo>
                <a:cubicBezTo>
                  <a:pt x="72" y="372"/>
                  <a:pt x="72" y="372"/>
                  <a:pt x="72" y="372"/>
                </a:cubicBezTo>
                <a:close/>
                <a:moveTo>
                  <a:pt x="72" y="373"/>
                </a:moveTo>
                <a:cubicBezTo>
                  <a:pt x="72" y="373"/>
                  <a:pt x="72" y="373"/>
                  <a:pt x="72" y="372"/>
                </a:cubicBezTo>
                <a:cubicBezTo>
                  <a:pt x="71" y="373"/>
                  <a:pt x="71" y="373"/>
                  <a:pt x="72" y="373"/>
                </a:cubicBezTo>
                <a:close/>
                <a:moveTo>
                  <a:pt x="2079" y="469"/>
                </a:moveTo>
                <a:cubicBezTo>
                  <a:pt x="2079" y="469"/>
                  <a:pt x="2079" y="469"/>
                  <a:pt x="2079" y="468"/>
                </a:cubicBezTo>
                <a:cubicBezTo>
                  <a:pt x="2078" y="468"/>
                  <a:pt x="2078" y="468"/>
                  <a:pt x="2078" y="468"/>
                </a:cubicBezTo>
                <a:cubicBezTo>
                  <a:pt x="2078" y="468"/>
                  <a:pt x="2078" y="468"/>
                  <a:pt x="2078" y="469"/>
                </a:cubicBezTo>
                <a:cubicBezTo>
                  <a:pt x="2078" y="469"/>
                  <a:pt x="2079" y="469"/>
                  <a:pt x="2079" y="469"/>
                </a:cubicBezTo>
                <a:close/>
                <a:moveTo>
                  <a:pt x="2080" y="470"/>
                </a:moveTo>
                <a:cubicBezTo>
                  <a:pt x="2080" y="469"/>
                  <a:pt x="2079" y="469"/>
                  <a:pt x="2079" y="469"/>
                </a:cubicBezTo>
                <a:cubicBezTo>
                  <a:pt x="2079" y="469"/>
                  <a:pt x="2079" y="470"/>
                  <a:pt x="2080" y="470"/>
                </a:cubicBezTo>
                <a:close/>
                <a:moveTo>
                  <a:pt x="2023" y="895"/>
                </a:moveTo>
                <a:cubicBezTo>
                  <a:pt x="2023" y="895"/>
                  <a:pt x="2023" y="895"/>
                  <a:pt x="2023" y="895"/>
                </a:cubicBezTo>
                <a:cubicBezTo>
                  <a:pt x="2023" y="895"/>
                  <a:pt x="2023" y="895"/>
                  <a:pt x="2023" y="895"/>
                </a:cubicBezTo>
                <a:close/>
                <a:moveTo>
                  <a:pt x="1807" y="901"/>
                </a:moveTo>
                <a:cubicBezTo>
                  <a:pt x="1808" y="901"/>
                  <a:pt x="1808" y="901"/>
                  <a:pt x="1808" y="901"/>
                </a:cubicBezTo>
                <a:cubicBezTo>
                  <a:pt x="1808" y="900"/>
                  <a:pt x="1808" y="900"/>
                  <a:pt x="1808" y="900"/>
                </a:cubicBezTo>
                <a:lnTo>
                  <a:pt x="1807" y="901"/>
                </a:lnTo>
                <a:close/>
                <a:moveTo>
                  <a:pt x="2042" y="926"/>
                </a:moveTo>
                <a:cubicBezTo>
                  <a:pt x="2042" y="926"/>
                  <a:pt x="2042" y="926"/>
                  <a:pt x="2042" y="926"/>
                </a:cubicBezTo>
                <a:cubicBezTo>
                  <a:pt x="2042" y="926"/>
                  <a:pt x="2042" y="926"/>
                  <a:pt x="2041" y="926"/>
                </a:cubicBezTo>
                <a:cubicBezTo>
                  <a:pt x="2042" y="926"/>
                  <a:pt x="2042" y="926"/>
                  <a:pt x="2042" y="926"/>
                </a:cubicBezTo>
                <a:cubicBezTo>
                  <a:pt x="2042" y="926"/>
                  <a:pt x="2042" y="926"/>
                  <a:pt x="2042" y="926"/>
                </a:cubicBezTo>
                <a:close/>
                <a:moveTo>
                  <a:pt x="2042" y="926"/>
                </a:moveTo>
                <a:cubicBezTo>
                  <a:pt x="2042" y="926"/>
                  <a:pt x="2042" y="926"/>
                  <a:pt x="2042" y="926"/>
                </a:cubicBezTo>
                <a:cubicBezTo>
                  <a:pt x="2042" y="926"/>
                  <a:pt x="2042" y="927"/>
                  <a:pt x="2042" y="926"/>
                </a:cubicBezTo>
                <a:close/>
                <a:moveTo>
                  <a:pt x="100" y="355"/>
                </a:moveTo>
                <a:cubicBezTo>
                  <a:pt x="100" y="355"/>
                  <a:pt x="100" y="355"/>
                  <a:pt x="100" y="355"/>
                </a:cubicBezTo>
                <a:cubicBezTo>
                  <a:pt x="100" y="355"/>
                  <a:pt x="100" y="355"/>
                  <a:pt x="100" y="355"/>
                </a:cubicBezTo>
                <a:cubicBezTo>
                  <a:pt x="100" y="355"/>
                  <a:pt x="100" y="355"/>
                  <a:pt x="100" y="355"/>
                </a:cubicBezTo>
                <a:close/>
                <a:moveTo>
                  <a:pt x="811" y="74"/>
                </a:moveTo>
                <a:cubicBezTo>
                  <a:pt x="811" y="74"/>
                  <a:pt x="811" y="74"/>
                  <a:pt x="812" y="74"/>
                </a:cubicBezTo>
                <a:cubicBezTo>
                  <a:pt x="812" y="74"/>
                  <a:pt x="812" y="74"/>
                  <a:pt x="812" y="74"/>
                </a:cubicBezTo>
                <a:cubicBezTo>
                  <a:pt x="812" y="74"/>
                  <a:pt x="812" y="74"/>
                  <a:pt x="812" y="74"/>
                </a:cubicBezTo>
                <a:cubicBezTo>
                  <a:pt x="812" y="74"/>
                  <a:pt x="811" y="74"/>
                  <a:pt x="811" y="74"/>
                </a:cubicBezTo>
                <a:close/>
                <a:moveTo>
                  <a:pt x="2208" y="941"/>
                </a:moveTo>
                <a:cubicBezTo>
                  <a:pt x="2208" y="942"/>
                  <a:pt x="2208" y="942"/>
                  <a:pt x="2208" y="942"/>
                </a:cubicBezTo>
                <a:cubicBezTo>
                  <a:pt x="2208" y="942"/>
                  <a:pt x="2208" y="942"/>
                  <a:pt x="2208" y="942"/>
                </a:cubicBezTo>
                <a:cubicBezTo>
                  <a:pt x="2208" y="942"/>
                  <a:pt x="2208" y="942"/>
                  <a:pt x="2208" y="942"/>
                </a:cubicBezTo>
                <a:lnTo>
                  <a:pt x="2208" y="941"/>
                </a:lnTo>
                <a:close/>
                <a:moveTo>
                  <a:pt x="1994" y="817"/>
                </a:moveTo>
                <a:cubicBezTo>
                  <a:pt x="1994" y="817"/>
                  <a:pt x="1994" y="817"/>
                  <a:pt x="1994" y="817"/>
                </a:cubicBezTo>
                <a:cubicBezTo>
                  <a:pt x="1994" y="817"/>
                  <a:pt x="1994" y="817"/>
                  <a:pt x="1994" y="817"/>
                </a:cubicBezTo>
                <a:cubicBezTo>
                  <a:pt x="1994" y="817"/>
                  <a:pt x="1994" y="817"/>
                  <a:pt x="1994" y="817"/>
                </a:cubicBezTo>
                <a:cubicBezTo>
                  <a:pt x="1994" y="817"/>
                  <a:pt x="1994" y="817"/>
                  <a:pt x="1994" y="817"/>
                </a:cubicBezTo>
                <a:close/>
                <a:moveTo>
                  <a:pt x="1994" y="818"/>
                </a:moveTo>
                <a:cubicBezTo>
                  <a:pt x="1994" y="818"/>
                  <a:pt x="1994" y="818"/>
                  <a:pt x="1994" y="817"/>
                </a:cubicBezTo>
                <a:cubicBezTo>
                  <a:pt x="1994" y="818"/>
                  <a:pt x="1993" y="818"/>
                  <a:pt x="1993" y="818"/>
                </a:cubicBezTo>
                <a:cubicBezTo>
                  <a:pt x="1993" y="818"/>
                  <a:pt x="1994" y="818"/>
                  <a:pt x="1994" y="818"/>
                </a:cubicBezTo>
                <a:close/>
                <a:moveTo>
                  <a:pt x="2080" y="471"/>
                </a:moveTo>
                <a:cubicBezTo>
                  <a:pt x="2080" y="470"/>
                  <a:pt x="2080" y="470"/>
                  <a:pt x="2080" y="470"/>
                </a:cubicBezTo>
                <a:cubicBezTo>
                  <a:pt x="2080" y="470"/>
                  <a:pt x="2080" y="470"/>
                  <a:pt x="2080" y="470"/>
                </a:cubicBezTo>
                <a:cubicBezTo>
                  <a:pt x="2080" y="470"/>
                  <a:pt x="2080" y="470"/>
                  <a:pt x="2080" y="470"/>
                </a:cubicBezTo>
                <a:cubicBezTo>
                  <a:pt x="2080" y="470"/>
                  <a:pt x="2080" y="471"/>
                  <a:pt x="2080" y="471"/>
                </a:cubicBezTo>
                <a:close/>
                <a:moveTo>
                  <a:pt x="2248" y="971"/>
                </a:moveTo>
                <a:cubicBezTo>
                  <a:pt x="2248" y="971"/>
                  <a:pt x="2248" y="971"/>
                  <a:pt x="2248" y="971"/>
                </a:cubicBezTo>
                <a:cubicBezTo>
                  <a:pt x="2248" y="971"/>
                  <a:pt x="2248" y="971"/>
                  <a:pt x="2248" y="971"/>
                </a:cubicBezTo>
                <a:cubicBezTo>
                  <a:pt x="2247" y="971"/>
                  <a:pt x="2248" y="971"/>
                  <a:pt x="2248" y="971"/>
                </a:cubicBezTo>
                <a:close/>
                <a:moveTo>
                  <a:pt x="1366" y="86"/>
                </a:moveTo>
                <a:cubicBezTo>
                  <a:pt x="1366" y="86"/>
                  <a:pt x="1366" y="86"/>
                  <a:pt x="1366" y="86"/>
                </a:cubicBezTo>
                <a:cubicBezTo>
                  <a:pt x="1366" y="86"/>
                  <a:pt x="1366" y="86"/>
                  <a:pt x="1366" y="86"/>
                </a:cubicBezTo>
                <a:close/>
                <a:moveTo>
                  <a:pt x="2251" y="980"/>
                </a:moveTo>
                <a:cubicBezTo>
                  <a:pt x="2252" y="980"/>
                  <a:pt x="2252" y="980"/>
                  <a:pt x="2252" y="980"/>
                </a:cubicBezTo>
                <a:cubicBezTo>
                  <a:pt x="2252" y="980"/>
                  <a:pt x="2252" y="980"/>
                  <a:pt x="2252" y="980"/>
                </a:cubicBezTo>
                <a:cubicBezTo>
                  <a:pt x="2252" y="980"/>
                  <a:pt x="2252" y="980"/>
                  <a:pt x="2252" y="980"/>
                </a:cubicBezTo>
                <a:lnTo>
                  <a:pt x="2251" y="980"/>
                </a:lnTo>
                <a:close/>
                <a:moveTo>
                  <a:pt x="2005" y="1000"/>
                </a:moveTo>
                <a:cubicBezTo>
                  <a:pt x="2005" y="1000"/>
                  <a:pt x="2005" y="1000"/>
                  <a:pt x="2005" y="999"/>
                </a:cubicBezTo>
                <a:cubicBezTo>
                  <a:pt x="2005" y="999"/>
                  <a:pt x="2005" y="999"/>
                  <a:pt x="2005" y="999"/>
                </a:cubicBezTo>
                <a:cubicBezTo>
                  <a:pt x="2004" y="1000"/>
                  <a:pt x="2004" y="1001"/>
                  <a:pt x="2003" y="1001"/>
                </a:cubicBezTo>
                <a:cubicBezTo>
                  <a:pt x="2003" y="1001"/>
                  <a:pt x="2003" y="1001"/>
                  <a:pt x="2003" y="1001"/>
                </a:cubicBezTo>
                <a:cubicBezTo>
                  <a:pt x="2003" y="1001"/>
                  <a:pt x="2003" y="1001"/>
                  <a:pt x="2003" y="1001"/>
                </a:cubicBezTo>
                <a:cubicBezTo>
                  <a:pt x="2004" y="1001"/>
                  <a:pt x="2004" y="1000"/>
                  <a:pt x="2005" y="1000"/>
                </a:cubicBezTo>
                <a:close/>
                <a:moveTo>
                  <a:pt x="1460" y="1017"/>
                </a:moveTo>
                <a:cubicBezTo>
                  <a:pt x="1460" y="1017"/>
                  <a:pt x="1460" y="1017"/>
                  <a:pt x="1460" y="1017"/>
                </a:cubicBezTo>
                <a:cubicBezTo>
                  <a:pt x="1460" y="1017"/>
                  <a:pt x="1460" y="1017"/>
                  <a:pt x="1460" y="1017"/>
                </a:cubicBezTo>
                <a:cubicBezTo>
                  <a:pt x="1460" y="1017"/>
                  <a:pt x="1460" y="1017"/>
                  <a:pt x="1460" y="1017"/>
                </a:cubicBezTo>
                <a:close/>
                <a:moveTo>
                  <a:pt x="612" y="114"/>
                </a:moveTo>
                <a:cubicBezTo>
                  <a:pt x="611" y="114"/>
                  <a:pt x="611" y="114"/>
                  <a:pt x="611" y="114"/>
                </a:cubicBezTo>
                <a:cubicBezTo>
                  <a:pt x="612" y="115"/>
                  <a:pt x="612" y="115"/>
                  <a:pt x="612" y="115"/>
                </a:cubicBezTo>
                <a:cubicBezTo>
                  <a:pt x="612" y="115"/>
                  <a:pt x="612" y="115"/>
                  <a:pt x="612" y="115"/>
                </a:cubicBezTo>
                <a:lnTo>
                  <a:pt x="612" y="114"/>
                </a:lnTo>
                <a:close/>
                <a:moveTo>
                  <a:pt x="1234" y="116"/>
                </a:moveTo>
                <a:cubicBezTo>
                  <a:pt x="1234" y="116"/>
                  <a:pt x="1234" y="116"/>
                  <a:pt x="1234" y="116"/>
                </a:cubicBezTo>
                <a:cubicBezTo>
                  <a:pt x="1234" y="116"/>
                  <a:pt x="1234" y="116"/>
                  <a:pt x="1234" y="116"/>
                </a:cubicBezTo>
                <a:close/>
                <a:moveTo>
                  <a:pt x="1234" y="116"/>
                </a:moveTo>
                <a:cubicBezTo>
                  <a:pt x="1234" y="116"/>
                  <a:pt x="1234" y="116"/>
                  <a:pt x="1234" y="116"/>
                </a:cubicBezTo>
                <a:cubicBezTo>
                  <a:pt x="1234" y="116"/>
                  <a:pt x="1234" y="116"/>
                  <a:pt x="1234" y="117"/>
                </a:cubicBezTo>
                <a:cubicBezTo>
                  <a:pt x="1234" y="117"/>
                  <a:pt x="1234" y="117"/>
                  <a:pt x="1234" y="117"/>
                </a:cubicBezTo>
                <a:cubicBezTo>
                  <a:pt x="1234" y="117"/>
                  <a:pt x="1234" y="116"/>
                  <a:pt x="1234" y="116"/>
                </a:cubicBezTo>
                <a:close/>
                <a:moveTo>
                  <a:pt x="1593" y="120"/>
                </a:moveTo>
                <a:cubicBezTo>
                  <a:pt x="1593" y="120"/>
                  <a:pt x="1593" y="120"/>
                  <a:pt x="1593" y="120"/>
                </a:cubicBezTo>
                <a:cubicBezTo>
                  <a:pt x="1593" y="120"/>
                  <a:pt x="1593" y="120"/>
                  <a:pt x="1593" y="120"/>
                </a:cubicBezTo>
                <a:cubicBezTo>
                  <a:pt x="1593" y="120"/>
                  <a:pt x="1593" y="120"/>
                  <a:pt x="1593" y="120"/>
                </a:cubicBezTo>
                <a:close/>
                <a:moveTo>
                  <a:pt x="186" y="317"/>
                </a:moveTo>
                <a:cubicBezTo>
                  <a:pt x="186" y="317"/>
                  <a:pt x="186" y="317"/>
                  <a:pt x="186" y="317"/>
                </a:cubicBezTo>
                <a:cubicBezTo>
                  <a:pt x="186" y="317"/>
                  <a:pt x="186" y="317"/>
                  <a:pt x="186" y="316"/>
                </a:cubicBezTo>
                <a:cubicBezTo>
                  <a:pt x="186" y="317"/>
                  <a:pt x="186" y="317"/>
                  <a:pt x="186" y="317"/>
                </a:cubicBezTo>
                <a:close/>
                <a:moveTo>
                  <a:pt x="186" y="317"/>
                </a:moveTo>
                <a:cubicBezTo>
                  <a:pt x="186" y="317"/>
                  <a:pt x="186" y="318"/>
                  <a:pt x="186" y="318"/>
                </a:cubicBezTo>
                <a:cubicBezTo>
                  <a:pt x="186" y="318"/>
                  <a:pt x="186" y="318"/>
                  <a:pt x="186" y="318"/>
                </a:cubicBezTo>
                <a:cubicBezTo>
                  <a:pt x="185" y="319"/>
                  <a:pt x="184" y="320"/>
                  <a:pt x="184" y="321"/>
                </a:cubicBezTo>
                <a:cubicBezTo>
                  <a:pt x="183" y="322"/>
                  <a:pt x="183" y="323"/>
                  <a:pt x="184" y="323"/>
                </a:cubicBezTo>
                <a:cubicBezTo>
                  <a:pt x="184" y="323"/>
                  <a:pt x="185" y="323"/>
                  <a:pt x="185" y="323"/>
                </a:cubicBezTo>
                <a:cubicBezTo>
                  <a:pt x="187" y="321"/>
                  <a:pt x="189" y="320"/>
                  <a:pt x="190" y="318"/>
                </a:cubicBezTo>
                <a:cubicBezTo>
                  <a:pt x="190" y="317"/>
                  <a:pt x="190" y="317"/>
                  <a:pt x="189" y="317"/>
                </a:cubicBezTo>
                <a:cubicBezTo>
                  <a:pt x="189" y="316"/>
                  <a:pt x="188" y="316"/>
                  <a:pt x="188" y="316"/>
                </a:cubicBezTo>
                <a:cubicBezTo>
                  <a:pt x="187" y="317"/>
                  <a:pt x="187" y="317"/>
                  <a:pt x="186" y="318"/>
                </a:cubicBezTo>
                <a:cubicBezTo>
                  <a:pt x="186" y="318"/>
                  <a:pt x="186" y="317"/>
                  <a:pt x="186" y="317"/>
                </a:cubicBezTo>
                <a:close/>
                <a:moveTo>
                  <a:pt x="1767" y="134"/>
                </a:moveTo>
                <a:cubicBezTo>
                  <a:pt x="1767" y="134"/>
                  <a:pt x="1768" y="133"/>
                  <a:pt x="1768" y="133"/>
                </a:cubicBezTo>
                <a:cubicBezTo>
                  <a:pt x="1768" y="133"/>
                  <a:pt x="1767" y="133"/>
                  <a:pt x="1767" y="133"/>
                </a:cubicBezTo>
                <a:cubicBezTo>
                  <a:pt x="1767" y="133"/>
                  <a:pt x="1767" y="133"/>
                  <a:pt x="1767" y="133"/>
                </a:cubicBezTo>
                <a:cubicBezTo>
                  <a:pt x="1767" y="133"/>
                  <a:pt x="1767" y="134"/>
                  <a:pt x="1767" y="134"/>
                </a:cubicBezTo>
                <a:close/>
                <a:moveTo>
                  <a:pt x="267" y="450"/>
                </a:moveTo>
                <a:cubicBezTo>
                  <a:pt x="268" y="451"/>
                  <a:pt x="268" y="451"/>
                  <a:pt x="268" y="451"/>
                </a:cubicBezTo>
                <a:cubicBezTo>
                  <a:pt x="268" y="450"/>
                  <a:pt x="268" y="450"/>
                  <a:pt x="267" y="450"/>
                </a:cubicBezTo>
                <a:close/>
                <a:moveTo>
                  <a:pt x="745" y="311"/>
                </a:moveTo>
                <a:cubicBezTo>
                  <a:pt x="745" y="312"/>
                  <a:pt x="745" y="312"/>
                  <a:pt x="745" y="312"/>
                </a:cubicBezTo>
                <a:cubicBezTo>
                  <a:pt x="746" y="312"/>
                  <a:pt x="746" y="312"/>
                  <a:pt x="745" y="311"/>
                </a:cubicBezTo>
                <a:close/>
                <a:moveTo>
                  <a:pt x="1707" y="151"/>
                </a:moveTo>
                <a:cubicBezTo>
                  <a:pt x="1707" y="151"/>
                  <a:pt x="1707" y="151"/>
                  <a:pt x="1707" y="152"/>
                </a:cubicBezTo>
                <a:cubicBezTo>
                  <a:pt x="1707" y="152"/>
                  <a:pt x="1707" y="152"/>
                  <a:pt x="1707" y="152"/>
                </a:cubicBezTo>
                <a:cubicBezTo>
                  <a:pt x="1707" y="151"/>
                  <a:pt x="1707" y="151"/>
                  <a:pt x="1707" y="151"/>
                </a:cubicBezTo>
                <a:cubicBezTo>
                  <a:pt x="1707" y="151"/>
                  <a:pt x="1707" y="151"/>
                  <a:pt x="1707" y="151"/>
                </a:cubicBezTo>
                <a:close/>
                <a:moveTo>
                  <a:pt x="1706" y="151"/>
                </a:moveTo>
                <a:cubicBezTo>
                  <a:pt x="1706" y="151"/>
                  <a:pt x="1707" y="151"/>
                  <a:pt x="1707" y="151"/>
                </a:cubicBezTo>
                <a:cubicBezTo>
                  <a:pt x="1707" y="151"/>
                  <a:pt x="1706" y="151"/>
                  <a:pt x="1706" y="151"/>
                </a:cubicBezTo>
                <a:close/>
                <a:moveTo>
                  <a:pt x="709" y="154"/>
                </a:moveTo>
                <a:cubicBezTo>
                  <a:pt x="708" y="154"/>
                  <a:pt x="708" y="154"/>
                  <a:pt x="708" y="155"/>
                </a:cubicBezTo>
                <a:cubicBezTo>
                  <a:pt x="709" y="155"/>
                  <a:pt x="709" y="154"/>
                  <a:pt x="709" y="154"/>
                </a:cubicBezTo>
                <a:cubicBezTo>
                  <a:pt x="709" y="154"/>
                  <a:pt x="709" y="154"/>
                  <a:pt x="709" y="154"/>
                </a:cubicBezTo>
                <a:close/>
                <a:moveTo>
                  <a:pt x="599" y="158"/>
                </a:moveTo>
                <a:cubicBezTo>
                  <a:pt x="599" y="157"/>
                  <a:pt x="599" y="157"/>
                  <a:pt x="599" y="157"/>
                </a:cubicBezTo>
                <a:cubicBezTo>
                  <a:pt x="598" y="158"/>
                  <a:pt x="598" y="158"/>
                  <a:pt x="598" y="158"/>
                </a:cubicBezTo>
                <a:lnTo>
                  <a:pt x="599" y="158"/>
                </a:lnTo>
                <a:close/>
                <a:moveTo>
                  <a:pt x="1542" y="187"/>
                </a:moveTo>
                <a:cubicBezTo>
                  <a:pt x="1541" y="187"/>
                  <a:pt x="1541" y="187"/>
                  <a:pt x="1541" y="187"/>
                </a:cubicBezTo>
                <a:cubicBezTo>
                  <a:pt x="1541" y="188"/>
                  <a:pt x="1541" y="188"/>
                  <a:pt x="1541" y="188"/>
                </a:cubicBezTo>
                <a:lnTo>
                  <a:pt x="1542" y="187"/>
                </a:lnTo>
                <a:close/>
                <a:moveTo>
                  <a:pt x="648" y="1376"/>
                </a:moveTo>
                <a:cubicBezTo>
                  <a:pt x="648" y="1376"/>
                  <a:pt x="649" y="1376"/>
                  <a:pt x="649" y="1376"/>
                </a:cubicBezTo>
                <a:cubicBezTo>
                  <a:pt x="649" y="1376"/>
                  <a:pt x="649" y="1376"/>
                  <a:pt x="649" y="1376"/>
                </a:cubicBezTo>
                <a:cubicBezTo>
                  <a:pt x="649" y="1376"/>
                  <a:pt x="649" y="1376"/>
                  <a:pt x="648" y="1376"/>
                </a:cubicBezTo>
                <a:cubicBezTo>
                  <a:pt x="648" y="1376"/>
                  <a:pt x="648" y="1376"/>
                  <a:pt x="648" y="1376"/>
                </a:cubicBezTo>
                <a:close/>
                <a:moveTo>
                  <a:pt x="648" y="1376"/>
                </a:moveTo>
                <a:cubicBezTo>
                  <a:pt x="648" y="1376"/>
                  <a:pt x="647" y="1376"/>
                  <a:pt x="647" y="1376"/>
                </a:cubicBezTo>
                <a:cubicBezTo>
                  <a:pt x="648" y="1377"/>
                  <a:pt x="648" y="1377"/>
                  <a:pt x="648" y="1376"/>
                </a:cubicBezTo>
                <a:close/>
                <a:moveTo>
                  <a:pt x="1224" y="452"/>
                </a:moveTo>
                <a:cubicBezTo>
                  <a:pt x="1224" y="452"/>
                  <a:pt x="1224" y="453"/>
                  <a:pt x="1225" y="453"/>
                </a:cubicBezTo>
                <a:cubicBezTo>
                  <a:pt x="1225" y="454"/>
                  <a:pt x="1226" y="453"/>
                  <a:pt x="1227" y="452"/>
                </a:cubicBezTo>
                <a:cubicBezTo>
                  <a:pt x="1229" y="450"/>
                  <a:pt x="1229" y="447"/>
                  <a:pt x="1228" y="444"/>
                </a:cubicBezTo>
                <a:cubicBezTo>
                  <a:pt x="1227" y="444"/>
                  <a:pt x="1226" y="444"/>
                  <a:pt x="1225" y="446"/>
                </a:cubicBezTo>
                <a:cubicBezTo>
                  <a:pt x="1223" y="447"/>
                  <a:pt x="1223" y="448"/>
                  <a:pt x="1223" y="450"/>
                </a:cubicBezTo>
                <a:cubicBezTo>
                  <a:pt x="1223" y="451"/>
                  <a:pt x="1223" y="451"/>
                  <a:pt x="1224" y="452"/>
                </a:cubicBezTo>
                <a:close/>
                <a:moveTo>
                  <a:pt x="1232" y="418"/>
                </a:moveTo>
                <a:cubicBezTo>
                  <a:pt x="1232" y="418"/>
                  <a:pt x="1233" y="418"/>
                  <a:pt x="1233" y="418"/>
                </a:cubicBezTo>
                <a:cubicBezTo>
                  <a:pt x="1234" y="417"/>
                  <a:pt x="1234" y="416"/>
                  <a:pt x="1233" y="415"/>
                </a:cubicBezTo>
                <a:cubicBezTo>
                  <a:pt x="1233" y="415"/>
                  <a:pt x="1232" y="414"/>
                  <a:pt x="1232" y="414"/>
                </a:cubicBezTo>
                <a:cubicBezTo>
                  <a:pt x="1231" y="414"/>
                  <a:pt x="1231" y="414"/>
                  <a:pt x="1231" y="414"/>
                </a:cubicBezTo>
                <a:cubicBezTo>
                  <a:pt x="1230" y="415"/>
                  <a:pt x="1230" y="416"/>
                  <a:pt x="1230" y="416"/>
                </a:cubicBezTo>
                <a:cubicBezTo>
                  <a:pt x="1231" y="417"/>
                  <a:pt x="1231" y="418"/>
                  <a:pt x="1232" y="418"/>
                </a:cubicBezTo>
                <a:close/>
                <a:moveTo>
                  <a:pt x="1204" y="473"/>
                </a:moveTo>
                <a:cubicBezTo>
                  <a:pt x="1205" y="473"/>
                  <a:pt x="1205" y="473"/>
                  <a:pt x="1205" y="473"/>
                </a:cubicBezTo>
                <a:cubicBezTo>
                  <a:pt x="1205" y="472"/>
                  <a:pt x="1205" y="472"/>
                  <a:pt x="1204" y="471"/>
                </a:cubicBezTo>
                <a:cubicBezTo>
                  <a:pt x="1204" y="471"/>
                  <a:pt x="1203" y="471"/>
                  <a:pt x="1203" y="471"/>
                </a:cubicBezTo>
                <a:cubicBezTo>
                  <a:pt x="1203" y="472"/>
                  <a:pt x="1203" y="472"/>
                  <a:pt x="1203" y="473"/>
                </a:cubicBezTo>
                <a:cubicBezTo>
                  <a:pt x="1203" y="473"/>
                  <a:pt x="1204" y="473"/>
                  <a:pt x="1204" y="473"/>
                </a:cubicBezTo>
                <a:close/>
                <a:moveTo>
                  <a:pt x="1250" y="433"/>
                </a:moveTo>
                <a:cubicBezTo>
                  <a:pt x="1251" y="433"/>
                  <a:pt x="1251" y="432"/>
                  <a:pt x="1252" y="432"/>
                </a:cubicBezTo>
                <a:cubicBezTo>
                  <a:pt x="1252" y="431"/>
                  <a:pt x="1252" y="431"/>
                  <a:pt x="1252" y="431"/>
                </a:cubicBezTo>
                <a:cubicBezTo>
                  <a:pt x="1252" y="430"/>
                  <a:pt x="1251" y="430"/>
                  <a:pt x="1250" y="430"/>
                </a:cubicBezTo>
                <a:cubicBezTo>
                  <a:pt x="1250" y="430"/>
                  <a:pt x="1249" y="431"/>
                  <a:pt x="1249" y="431"/>
                </a:cubicBezTo>
                <a:cubicBezTo>
                  <a:pt x="1249" y="432"/>
                  <a:pt x="1250" y="432"/>
                  <a:pt x="1250" y="433"/>
                </a:cubicBezTo>
                <a:close/>
                <a:moveTo>
                  <a:pt x="1229" y="444"/>
                </a:moveTo>
                <a:cubicBezTo>
                  <a:pt x="1228" y="444"/>
                  <a:pt x="1228" y="444"/>
                  <a:pt x="1228" y="444"/>
                </a:cubicBezTo>
                <a:cubicBezTo>
                  <a:pt x="1228" y="444"/>
                  <a:pt x="1228" y="444"/>
                  <a:pt x="1228" y="444"/>
                </a:cubicBezTo>
                <a:cubicBezTo>
                  <a:pt x="1228" y="444"/>
                  <a:pt x="1228" y="444"/>
                  <a:pt x="1228" y="444"/>
                </a:cubicBezTo>
                <a:lnTo>
                  <a:pt x="1229" y="444"/>
                </a:lnTo>
                <a:close/>
                <a:moveTo>
                  <a:pt x="1247" y="441"/>
                </a:moveTo>
                <a:cubicBezTo>
                  <a:pt x="1248" y="441"/>
                  <a:pt x="1248" y="441"/>
                  <a:pt x="1248" y="441"/>
                </a:cubicBezTo>
                <a:cubicBezTo>
                  <a:pt x="1248" y="441"/>
                  <a:pt x="1248" y="440"/>
                  <a:pt x="1248" y="440"/>
                </a:cubicBezTo>
                <a:cubicBezTo>
                  <a:pt x="1248" y="440"/>
                  <a:pt x="1248" y="440"/>
                  <a:pt x="1248" y="440"/>
                </a:cubicBezTo>
                <a:lnTo>
                  <a:pt x="1247" y="441"/>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grpSp>
        <p:nvGrpSpPr>
          <p:cNvPr id="13" name="Group 12"/>
          <p:cNvGrpSpPr/>
          <p:nvPr/>
        </p:nvGrpSpPr>
        <p:grpSpPr>
          <a:xfrm>
            <a:off x="7580889" y="1801875"/>
            <a:ext cx="1014770" cy="1424070"/>
            <a:chOff x="5992648" y="1603744"/>
            <a:chExt cx="1014770" cy="1424070"/>
          </a:xfrm>
        </p:grpSpPr>
        <p:sp>
          <p:nvSpPr>
            <p:cNvPr id="9" name="Oval 8"/>
            <p:cNvSpPr/>
            <p:nvPr/>
          </p:nvSpPr>
          <p:spPr>
            <a:xfrm>
              <a:off x="6056774" y="1654386"/>
              <a:ext cx="913022" cy="913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RBC Display" panose="02000000000000000000" pitchFamily="2" charset="77"/>
                  <a:ea typeface="Open Sans" charset="0"/>
                  <a:cs typeface="Open Sans" charset="0"/>
                </a:rPr>
                <a:t>58%</a:t>
              </a:r>
            </a:p>
          </p:txBody>
        </p:sp>
        <p:sp>
          <p:nvSpPr>
            <p:cNvPr id="11" name="Arc 10"/>
            <p:cNvSpPr/>
            <p:nvPr/>
          </p:nvSpPr>
          <p:spPr>
            <a:xfrm>
              <a:off x="5992648" y="1603744"/>
              <a:ext cx="1014770" cy="1014768"/>
            </a:xfrm>
            <a:prstGeom prst="arc">
              <a:avLst>
                <a:gd name="adj1" fmla="val 16200000"/>
                <a:gd name="adj2" fmla="val 6189625"/>
              </a:avLst>
            </a:prstGeom>
            <a:ln w="38100" cap="rnd" cmpd="sng">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RBC Display" panose="02000000000000000000" pitchFamily="2" charset="77"/>
              </a:endParaRPr>
            </a:p>
          </p:txBody>
        </p:sp>
        <p:sp>
          <p:nvSpPr>
            <p:cNvPr id="12" name="TextBox 11"/>
            <p:cNvSpPr txBox="1"/>
            <p:nvPr/>
          </p:nvSpPr>
          <p:spPr>
            <a:xfrm>
              <a:off x="6198860" y="2720037"/>
              <a:ext cx="602344" cy="307777"/>
            </a:xfrm>
            <a:prstGeom prst="rect">
              <a:avLst/>
            </a:prstGeom>
            <a:noFill/>
          </p:spPr>
          <p:txBody>
            <a:bodyPr wrap="none" lIns="0" rIns="0" rtlCol="0">
              <a:spAutoFit/>
            </a:bodyPr>
            <a:lstStyle/>
            <a:p>
              <a:pPr algn="ctr"/>
              <a:r>
                <a:rPr lang="en-US" sz="1400" b="1" dirty="0">
                  <a:latin typeface="RBC Display" panose="02000000000000000000" pitchFamily="2" charset="77"/>
                  <a:ea typeface="Open Sans" charset="0"/>
                  <a:cs typeface="Open Sans" charset="0"/>
                </a:rPr>
                <a:t>Europe</a:t>
              </a:r>
            </a:p>
          </p:txBody>
        </p:sp>
      </p:grpSp>
      <p:grpSp>
        <p:nvGrpSpPr>
          <p:cNvPr id="14" name="Group 13"/>
          <p:cNvGrpSpPr/>
          <p:nvPr/>
        </p:nvGrpSpPr>
        <p:grpSpPr>
          <a:xfrm>
            <a:off x="9595219" y="2729527"/>
            <a:ext cx="1014770" cy="1424070"/>
            <a:chOff x="5992648" y="1603744"/>
            <a:chExt cx="1014770" cy="1424070"/>
          </a:xfrm>
        </p:grpSpPr>
        <p:sp>
          <p:nvSpPr>
            <p:cNvPr id="15" name="Oval 14"/>
            <p:cNvSpPr/>
            <p:nvPr/>
          </p:nvSpPr>
          <p:spPr>
            <a:xfrm>
              <a:off x="6056774" y="1654386"/>
              <a:ext cx="913022" cy="913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RBC Display" panose="02000000000000000000" pitchFamily="2" charset="77"/>
                  <a:ea typeface="Open Sans" charset="0"/>
                  <a:cs typeface="Open Sans" charset="0"/>
                </a:rPr>
                <a:t>75%</a:t>
              </a:r>
            </a:p>
          </p:txBody>
        </p:sp>
        <p:sp>
          <p:nvSpPr>
            <p:cNvPr id="16" name="Arc 15"/>
            <p:cNvSpPr/>
            <p:nvPr/>
          </p:nvSpPr>
          <p:spPr>
            <a:xfrm>
              <a:off x="5992648" y="1603744"/>
              <a:ext cx="1014770" cy="1014768"/>
            </a:xfrm>
            <a:prstGeom prst="arc">
              <a:avLst>
                <a:gd name="adj1" fmla="val 16200000"/>
                <a:gd name="adj2" fmla="val 9149369"/>
              </a:avLst>
            </a:prstGeom>
            <a:ln w="38100" cap="rnd" cmpd="sng">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RBC Display" panose="02000000000000000000" pitchFamily="2" charset="77"/>
              </a:endParaRPr>
            </a:p>
          </p:txBody>
        </p:sp>
        <p:sp>
          <p:nvSpPr>
            <p:cNvPr id="17" name="TextBox 16"/>
            <p:cNvSpPr txBox="1"/>
            <p:nvPr/>
          </p:nvSpPr>
          <p:spPr>
            <a:xfrm>
              <a:off x="6257177" y="2720037"/>
              <a:ext cx="485710" cy="307777"/>
            </a:xfrm>
            <a:prstGeom prst="rect">
              <a:avLst/>
            </a:prstGeom>
            <a:noFill/>
          </p:spPr>
          <p:txBody>
            <a:bodyPr wrap="none" lIns="0" rIns="0" rtlCol="0">
              <a:spAutoFit/>
            </a:bodyPr>
            <a:lstStyle/>
            <a:p>
              <a:pPr algn="ctr"/>
              <a:r>
                <a:rPr lang="en-US" sz="1400" b="1" dirty="0">
                  <a:latin typeface="RBC Display" panose="02000000000000000000" pitchFamily="2" charset="77"/>
                  <a:ea typeface="Open Sans" charset="0"/>
                  <a:cs typeface="Open Sans" charset="0"/>
                </a:rPr>
                <a:t>China</a:t>
              </a:r>
            </a:p>
          </p:txBody>
        </p:sp>
      </p:grpSp>
      <p:grpSp>
        <p:nvGrpSpPr>
          <p:cNvPr id="18" name="Group 17"/>
          <p:cNvGrpSpPr/>
          <p:nvPr/>
        </p:nvGrpSpPr>
        <p:grpSpPr>
          <a:xfrm>
            <a:off x="4556675" y="2508031"/>
            <a:ext cx="1223284" cy="1445337"/>
            <a:chOff x="5888392" y="1582477"/>
            <a:chExt cx="1223284" cy="1445337"/>
          </a:xfrm>
        </p:grpSpPr>
        <p:sp>
          <p:nvSpPr>
            <p:cNvPr id="19" name="Oval 18"/>
            <p:cNvSpPr/>
            <p:nvPr/>
          </p:nvSpPr>
          <p:spPr>
            <a:xfrm>
              <a:off x="6056774" y="1654386"/>
              <a:ext cx="913022" cy="913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RBC Display" panose="02000000000000000000" pitchFamily="2" charset="77"/>
                  <a:ea typeface="Open Sans" charset="0"/>
                  <a:cs typeface="Open Sans" charset="0"/>
                </a:rPr>
                <a:t>90%</a:t>
              </a:r>
            </a:p>
          </p:txBody>
        </p:sp>
        <p:sp>
          <p:nvSpPr>
            <p:cNvPr id="20" name="Arc 19"/>
            <p:cNvSpPr/>
            <p:nvPr/>
          </p:nvSpPr>
          <p:spPr>
            <a:xfrm>
              <a:off x="5982014" y="1582477"/>
              <a:ext cx="1059385" cy="1059383"/>
            </a:xfrm>
            <a:prstGeom prst="arc">
              <a:avLst>
                <a:gd name="adj1" fmla="val 16200000"/>
                <a:gd name="adj2" fmla="val 14357667"/>
              </a:avLst>
            </a:prstGeom>
            <a:ln w="38100" cap="rnd" cmpd="sng">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RBC Display" panose="02000000000000000000" pitchFamily="2" charset="77"/>
              </a:endParaRPr>
            </a:p>
          </p:txBody>
        </p:sp>
        <p:sp>
          <p:nvSpPr>
            <p:cNvPr id="21" name="TextBox 20"/>
            <p:cNvSpPr txBox="1"/>
            <p:nvPr/>
          </p:nvSpPr>
          <p:spPr>
            <a:xfrm>
              <a:off x="5888392" y="2720037"/>
              <a:ext cx="1223284" cy="307777"/>
            </a:xfrm>
            <a:prstGeom prst="rect">
              <a:avLst/>
            </a:prstGeom>
            <a:noFill/>
          </p:spPr>
          <p:txBody>
            <a:bodyPr wrap="none" lIns="0" rIns="0" rtlCol="0">
              <a:spAutoFit/>
            </a:bodyPr>
            <a:lstStyle/>
            <a:p>
              <a:pPr algn="ctr"/>
              <a:r>
                <a:rPr lang="en-US" sz="1400" b="1" dirty="0">
                  <a:latin typeface="RBC Display" panose="02000000000000000000" pitchFamily="2" charset="77"/>
                  <a:ea typeface="Open Sans" charset="0"/>
                  <a:cs typeface="Open Sans" charset="0"/>
                </a:rPr>
                <a:t>North America</a:t>
              </a:r>
            </a:p>
          </p:txBody>
        </p:sp>
      </p:grpSp>
      <p:grpSp>
        <p:nvGrpSpPr>
          <p:cNvPr id="22" name="Group 21"/>
          <p:cNvGrpSpPr/>
          <p:nvPr/>
        </p:nvGrpSpPr>
        <p:grpSpPr>
          <a:xfrm>
            <a:off x="9012323" y="1097656"/>
            <a:ext cx="1014770" cy="1424070"/>
            <a:chOff x="5992648" y="1603744"/>
            <a:chExt cx="1014770" cy="1424070"/>
          </a:xfrm>
        </p:grpSpPr>
        <p:sp>
          <p:nvSpPr>
            <p:cNvPr id="23" name="Oval 22"/>
            <p:cNvSpPr/>
            <p:nvPr/>
          </p:nvSpPr>
          <p:spPr>
            <a:xfrm>
              <a:off x="6056774" y="1654386"/>
              <a:ext cx="913022" cy="913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RBC Display" panose="02000000000000000000" pitchFamily="2" charset="77"/>
                  <a:ea typeface="Open Sans" charset="0"/>
                  <a:cs typeface="Open Sans" charset="0"/>
                </a:rPr>
                <a:t>30%</a:t>
              </a:r>
            </a:p>
          </p:txBody>
        </p:sp>
        <p:sp>
          <p:nvSpPr>
            <p:cNvPr id="24" name="Arc 23"/>
            <p:cNvSpPr/>
            <p:nvPr/>
          </p:nvSpPr>
          <p:spPr>
            <a:xfrm>
              <a:off x="5992648" y="1603744"/>
              <a:ext cx="1014770" cy="1014768"/>
            </a:xfrm>
            <a:prstGeom prst="arc">
              <a:avLst>
                <a:gd name="adj1" fmla="val 16200000"/>
                <a:gd name="adj2" fmla="val 20339537"/>
              </a:avLst>
            </a:prstGeom>
            <a:ln w="38100" cap="rnd" cmpd="sng">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RBC Display" panose="02000000000000000000" pitchFamily="2" charset="77"/>
              </a:endParaRPr>
            </a:p>
          </p:txBody>
        </p:sp>
        <p:sp>
          <p:nvSpPr>
            <p:cNvPr id="25" name="TextBox 24"/>
            <p:cNvSpPr txBox="1"/>
            <p:nvPr/>
          </p:nvSpPr>
          <p:spPr>
            <a:xfrm>
              <a:off x="6219507" y="2720037"/>
              <a:ext cx="561052" cy="307777"/>
            </a:xfrm>
            <a:prstGeom prst="rect">
              <a:avLst/>
            </a:prstGeom>
            <a:noFill/>
          </p:spPr>
          <p:txBody>
            <a:bodyPr wrap="none" lIns="0" rIns="0" rtlCol="0">
              <a:spAutoFit/>
            </a:bodyPr>
            <a:lstStyle/>
            <a:p>
              <a:pPr algn="ctr"/>
              <a:r>
                <a:rPr lang="en-US" sz="1400" b="1" dirty="0">
                  <a:latin typeface="RBC Display" panose="02000000000000000000" pitchFamily="2" charset="77"/>
                  <a:ea typeface="Open Sans" charset="0"/>
                  <a:cs typeface="Open Sans" charset="0"/>
                </a:rPr>
                <a:t>Russia</a:t>
              </a:r>
            </a:p>
          </p:txBody>
        </p:sp>
      </p:grpSp>
      <p:sp>
        <p:nvSpPr>
          <p:cNvPr id="28" name="TextBox 27"/>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26" name="Text Placeholder 6">
            <a:extLst>
              <a:ext uri="{FF2B5EF4-FFF2-40B4-BE49-F238E27FC236}">
                <a16:creationId xmlns:a16="http://schemas.microsoft.com/office/drawing/2014/main" id="{4146D640-DA4E-A349-8673-812C495394C2}"/>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63337432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SA Chart</a:t>
            </a:r>
            <a:br>
              <a:rPr lang="en-US"/>
            </a:br>
            <a:r>
              <a:rPr lang="en-US"/>
              <a:t>Slides</a:t>
            </a:r>
            <a:endParaRPr lang="en-US" dirty="0"/>
          </a:p>
        </p:txBody>
      </p:sp>
      <p:sp>
        <p:nvSpPr>
          <p:cNvPr id="6" name="Freeform 7"/>
          <p:cNvSpPr>
            <a:spLocks/>
          </p:cNvSpPr>
          <p:nvPr/>
        </p:nvSpPr>
        <p:spPr bwMode="auto">
          <a:xfrm>
            <a:off x="7421842" y="3948315"/>
            <a:ext cx="1163638" cy="603250"/>
          </a:xfrm>
          <a:custGeom>
            <a:avLst/>
            <a:gdLst>
              <a:gd name="T0" fmla="*/ 87 w 733"/>
              <a:gd name="T1" fmla="*/ 5 h 380"/>
              <a:gd name="T2" fmla="*/ 0 w 733"/>
              <a:gd name="T3" fmla="*/ 53 h 380"/>
              <a:gd name="T4" fmla="*/ 250 w 733"/>
              <a:gd name="T5" fmla="*/ 274 h 380"/>
              <a:gd name="T6" fmla="*/ 265 w 733"/>
              <a:gd name="T7" fmla="*/ 282 h 380"/>
              <a:gd name="T8" fmla="*/ 281 w 733"/>
              <a:gd name="T9" fmla="*/ 301 h 380"/>
              <a:gd name="T10" fmla="*/ 305 w 733"/>
              <a:gd name="T11" fmla="*/ 294 h 380"/>
              <a:gd name="T12" fmla="*/ 317 w 733"/>
              <a:gd name="T13" fmla="*/ 303 h 380"/>
              <a:gd name="T14" fmla="*/ 322 w 733"/>
              <a:gd name="T15" fmla="*/ 315 h 380"/>
              <a:gd name="T16" fmla="*/ 349 w 733"/>
              <a:gd name="T17" fmla="*/ 322 h 380"/>
              <a:gd name="T18" fmla="*/ 361 w 733"/>
              <a:gd name="T19" fmla="*/ 325 h 380"/>
              <a:gd name="T20" fmla="*/ 370 w 733"/>
              <a:gd name="T21" fmla="*/ 322 h 380"/>
              <a:gd name="T22" fmla="*/ 385 w 733"/>
              <a:gd name="T23" fmla="*/ 334 h 380"/>
              <a:gd name="T24" fmla="*/ 414 w 733"/>
              <a:gd name="T25" fmla="*/ 332 h 380"/>
              <a:gd name="T26" fmla="*/ 423 w 733"/>
              <a:gd name="T27" fmla="*/ 344 h 380"/>
              <a:gd name="T28" fmla="*/ 428 w 733"/>
              <a:gd name="T29" fmla="*/ 356 h 380"/>
              <a:gd name="T30" fmla="*/ 447 w 733"/>
              <a:gd name="T31" fmla="*/ 349 h 380"/>
              <a:gd name="T32" fmla="*/ 476 w 733"/>
              <a:gd name="T33" fmla="*/ 361 h 380"/>
              <a:gd name="T34" fmla="*/ 488 w 733"/>
              <a:gd name="T35" fmla="*/ 356 h 380"/>
              <a:gd name="T36" fmla="*/ 495 w 733"/>
              <a:gd name="T37" fmla="*/ 358 h 380"/>
              <a:gd name="T38" fmla="*/ 498 w 733"/>
              <a:gd name="T39" fmla="*/ 375 h 380"/>
              <a:gd name="T40" fmla="*/ 502 w 733"/>
              <a:gd name="T41" fmla="*/ 366 h 380"/>
              <a:gd name="T42" fmla="*/ 517 w 733"/>
              <a:gd name="T43" fmla="*/ 351 h 380"/>
              <a:gd name="T44" fmla="*/ 522 w 733"/>
              <a:gd name="T45" fmla="*/ 358 h 380"/>
              <a:gd name="T46" fmla="*/ 536 w 733"/>
              <a:gd name="T47" fmla="*/ 361 h 380"/>
              <a:gd name="T48" fmla="*/ 546 w 733"/>
              <a:gd name="T49" fmla="*/ 358 h 380"/>
              <a:gd name="T50" fmla="*/ 548 w 733"/>
              <a:gd name="T51" fmla="*/ 361 h 380"/>
              <a:gd name="T52" fmla="*/ 570 w 733"/>
              <a:gd name="T53" fmla="*/ 375 h 380"/>
              <a:gd name="T54" fmla="*/ 589 w 733"/>
              <a:gd name="T55" fmla="*/ 361 h 380"/>
              <a:gd name="T56" fmla="*/ 625 w 733"/>
              <a:gd name="T57" fmla="*/ 354 h 380"/>
              <a:gd name="T58" fmla="*/ 637 w 733"/>
              <a:gd name="T59" fmla="*/ 354 h 380"/>
              <a:gd name="T60" fmla="*/ 670 w 733"/>
              <a:gd name="T61" fmla="*/ 351 h 380"/>
              <a:gd name="T62" fmla="*/ 716 w 733"/>
              <a:gd name="T63" fmla="*/ 373 h 380"/>
              <a:gd name="T64" fmla="*/ 726 w 733"/>
              <a:gd name="T65" fmla="*/ 378 h 380"/>
              <a:gd name="T66" fmla="*/ 733 w 733"/>
              <a:gd name="T67" fmla="*/ 190 h 380"/>
              <a:gd name="T68" fmla="*/ 716 w 733"/>
              <a:gd name="T69" fmla="*/ 2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3" h="380">
                <a:moveTo>
                  <a:pt x="716" y="20"/>
                </a:moveTo>
                <a:lnTo>
                  <a:pt x="87" y="5"/>
                </a:lnTo>
                <a:lnTo>
                  <a:pt x="3" y="0"/>
                </a:lnTo>
                <a:lnTo>
                  <a:pt x="0" y="53"/>
                </a:lnTo>
                <a:lnTo>
                  <a:pt x="255" y="68"/>
                </a:lnTo>
                <a:lnTo>
                  <a:pt x="250" y="274"/>
                </a:lnTo>
                <a:lnTo>
                  <a:pt x="257" y="277"/>
                </a:lnTo>
                <a:lnTo>
                  <a:pt x="265" y="282"/>
                </a:lnTo>
                <a:lnTo>
                  <a:pt x="277" y="296"/>
                </a:lnTo>
                <a:lnTo>
                  <a:pt x="281" y="301"/>
                </a:lnTo>
                <a:lnTo>
                  <a:pt x="301" y="298"/>
                </a:lnTo>
                <a:lnTo>
                  <a:pt x="305" y="294"/>
                </a:lnTo>
                <a:lnTo>
                  <a:pt x="315" y="298"/>
                </a:lnTo>
                <a:lnTo>
                  <a:pt x="317" y="303"/>
                </a:lnTo>
                <a:lnTo>
                  <a:pt x="317" y="308"/>
                </a:lnTo>
                <a:lnTo>
                  <a:pt x="322" y="315"/>
                </a:lnTo>
                <a:lnTo>
                  <a:pt x="325" y="318"/>
                </a:lnTo>
                <a:lnTo>
                  <a:pt x="349" y="322"/>
                </a:lnTo>
                <a:lnTo>
                  <a:pt x="356" y="325"/>
                </a:lnTo>
                <a:lnTo>
                  <a:pt x="361" y="325"/>
                </a:lnTo>
                <a:lnTo>
                  <a:pt x="363" y="325"/>
                </a:lnTo>
                <a:lnTo>
                  <a:pt x="370" y="322"/>
                </a:lnTo>
                <a:lnTo>
                  <a:pt x="375" y="330"/>
                </a:lnTo>
                <a:lnTo>
                  <a:pt x="385" y="334"/>
                </a:lnTo>
                <a:lnTo>
                  <a:pt x="392" y="327"/>
                </a:lnTo>
                <a:lnTo>
                  <a:pt x="414" y="332"/>
                </a:lnTo>
                <a:lnTo>
                  <a:pt x="414" y="334"/>
                </a:lnTo>
                <a:lnTo>
                  <a:pt x="423" y="344"/>
                </a:lnTo>
                <a:lnTo>
                  <a:pt x="428" y="344"/>
                </a:lnTo>
                <a:lnTo>
                  <a:pt x="428" y="356"/>
                </a:lnTo>
                <a:lnTo>
                  <a:pt x="445" y="358"/>
                </a:lnTo>
                <a:lnTo>
                  <a:pt x="447" y="349"/>
                </a:lnTo>
                <a:lnTo>
                  <a:pt x="454" y="346"/>
                </a:lnTo>
                <a:lnTo>
                  <a:pt x="476" y="361"/>
                </a:lnTo>
                <a:lnTo>
                  <a:pt x="478" y="361"/>
                </a:lnTo>
                <a:lnTo>
                  <a:pt x="488" y="356"/>
                </a:lnTo>
                <a:lnTo>
                  <a:pt x="495" y="356"/>
                </a:lnTo>
                <a:lnTo>
                  <a:pt x="495" y="358"/>
                </a:lnTo>
                <a:lnTo>
                  <a:pt x="495" y="368"/>
                </a:lnTo>
                <a:lnTo>
                  <a:pt x="498" y="375"/>
                </a:lnTo>
                <a:lnTo>
                  <a:pt x="502" y="371"/>
                </a:lnTo>
                <a:lnTo>
                  <a:pt x="502" y="366"/>
                </a:lnTo>
                <a:lnTo>
                  <a:pt x="510" y="356"/>
                </a:lnTo>
                <a:lnTo>
                  <a:pt x="517" y="351"/>
                </a:lnTo>
                <a:lnTo>
                  <a:pt x="522" y="351"/>
                </a:lnTo>
                <a:lnTo>
                  <a:pt x="522" y="358"/>
                </a:lnTo>
                <a:lnTo>
                  <a:pt x="531" y="361"/>
                </a:lnTo>
                <a:lnTo>
                  <a:pt x="536" y="361"/>
                </a:lnTo>
                <a:lnTo>
                  <a:pt x="541" y="356"/>
                </a:lnTo>
                <a:lnTo>
                  <a:pt x="546" y="358"/>
                </a:lnTo>
                <a:lnTo>
                  <a:pt x="548" y="358"/>
                </a:lnTo>
                <a:lnTo>
                  <a:pt x="548" y="361"/>
                </a:lnTo>
                <a:lnTo>
                  <a:pt x="555" y="366"/>
                </a:lnTo>
                <a:lnTo>
                  <a:pt x="570" y="375"/>
                </a:lnTo>
                <a:lnTo>
                  <a:pt x="584" y="363"/>
                </a:lnTo>
                <a:lnTo>
                  <a:pt x="589" y="361"/>
                </a:lnTo>
                <a:lnTo>
                  <a:pt x="608" y="361"/>
                </a:lnTo>
                <a:lnTo>
                  <a:pt x="625" y="354"/>
                </a:lnTo>
                <a:lnTo>
                  <a:pt x="630" y="354"/>
                </a:lnTo>
                <a:lnTo>
                  <a:pt x="637" y="354"/>
                </a:lnTo>
                <a:lnTo>
                  <a:pt x="656" y="356"/>
                </a:lnTo>
                <a:lnTo>
                  <a:pt x="670" y="351"/>
                </a:lnTo>
                <a:lnTo>
                  <a:pt x="673" y="349"/>
                </a:lnTo>
                <a:lnTo>
                  <a:pt x="716" y="373"/>
                </a:lnTo>
                <a:lnTo>
                  <a:pt x="723" y="375"/>
                </a:lnTo>
                <a:lnTo>
                  <a:pt x="726" y="378"/>
                </a:lnTo>
                <a:lnTo>
                  <a:pt x="731" y="380"/>
                </a:lnTo>
                <a:lnTo>
                  <a:pt x="733" y="190"/>
                </a:lnTo>
                <a:lnTo>
                  <a:pt x="718" y="72"/>
                </a:lnTo>
                <a:lnTo>
                  <a:pt x="716" y="2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7" name="Freeform 8"/>
          <p:cNvSpPr>
            <a:spLocks/>
          </p:cNvSpPr>
          <p:nvPr/>
        </p:nvSpPr>
        <p:spPr bwMode="auto">
          <a:xfrm>
            <a:off x="9809442" y="4197553"/>
            <a:ext cx="742950" cy="766762"/>
          </a:xfrm>
          <a:custGeom>
            <a:avLst/>
            <a:gdLst>
              <a:gd name="T0" fmla="*/ 65 w 468"/>
              <a:gd name="T1" fmla="*/ 254 h 483"/>
              <a:gd name="T2" fmla="*/ 74 w 468"/>
              <a:gd name="T3" fmla="*/ 276 h 483"/>
              <a:gd name="T4" fmla="*/ 86 w 468"/>
              <a:gd name="T5" fmla="*/ 288 h 483"/>
              <a:gd name="T6" fmla="*/ 89 w 468"/>
              <a:gd name="T7" fmla="*/ 305 h 483"/>
              <a:gd name="T8" fmla="*/ 93 w 468"/>
              <a:gd name="T9" fmla="*/ 317 h 483"/>
              <a:gd name="T10" fmla="*/ 86 w 468"/>
              <a:gd name="T11" fmla="*/ 343 h 483"/>
              <a:gd name="T12" fmla="*/ 81 w 468"/>
              <a:gd name="T13" fmla="*/ 375 h 483"/>
              <a:gd name="T14" fmla="*/ 91 w 468"/>
              <a:gd name="T15" fmla="*/ 427 h 483"/>
              <a:gd name="T16" fmla="*/ 103 w 468"/>
              <a:gd name="T17" fmla="*/ 449 h 483"/>
              <a:gd name="T18" fmla="*/ 113 w 468"/>
              <a:gd name="T19" fmla="*/ 463 h 483"/>
              <a:gd name="T20" fmla="*/ 117 w 468"/>
              <a:gd name="T21" fmla="*/ 478 h 483"/>
              <a:gd name="T22" fmla="*/ 367 w 468"/>
              <a:gd name="T23" fmla="*/ 475 h 483"/>
              <a:gd name="T24" fmla="*/ 384 w 468"/>
              <a:gd name="T25" fmla="*/ 483 h 483"/>
              <a:gd name="T26" fmla="*/ 379 w 468"/>
              <a:gd name="T27" fmla="*/ 447 h 483"/>
              <a:gd name="T28" fmla="*/ 382 w 468"/>
              <a:gd name="T29" fmla="*/ 432 h 483"/>
              <a:gd name="T30" fmla="*/ 406 w 468"/>
              <a:gd name="T31" fmla="*/ 437 h 483"/>
              <a:gd name="T32" fmla="*/ 430 w 468"/>
              <a:gd name="T33" fmla="*/ 435 h 483"/>
              <a:gd name="T34" fmla="*/ 422 w 468"/>
              <a:gd name="T35" fmla="*/ 408 h 483"/>
              <a:gd name="T36" fmla="*/ 425 w 468"/>
              <a:gd name="T37" fmla="*/ 387 h 483"/>
              <a:gd name="T38" fmla="*/ 439 w 468"/>
              <a:gd name="T39" fmla="*/ 334 h 483"/>
              <a:gd name="T40" fmla="*/ 454 w 468"/>
              <a:gd name="T41" fmla="*/ 305 h 483"/>
              <a:gd name="T42" fmla="*/ 466 w 468"/>
              <a:gd name="T43" fmla="*/ 295 h 483"/>
              <a:gd name="T44" fmla="*/ 461 w 468"/>
              <a:gd name="T45" fmla="*/ 288 h 483"/>
              <a:gd name="T46" fmla="*/ 456 w 468"/>
              <a:gd name="T47" fmla="*/ 286 h 483"/>
              <a:gd name="T48" fmla="*/ 439 w 468"/>
              <a:gd name="T49" fmla="*/ 283 h 483"/>
              <a:gd name="T50" fmla="*/ 432 w 468"/>
              <a:gd name="T51" fmla="*/ 254 h 483"/>
              <a:gd name="T52" fmla="*/ 408 w 468"/>
              <a:gd name="T53" fmla="*/ 235 h 483"/>
              <a:gd name="T54" fmla="*/ 391 w 468"/>
              <a:gd name="T55" fmla="*/ 201 h 483"/>
              <a:gd name="T56" fmla="*/ 382 w 468"/>
              <a:gd name="T57" fmla="*/ 187 h 483"/>
              <a:gd name="T58" fmla="*/ 355 w 468"/>
              <a:gd name="T59" fmla="*/ 170 h 483"/>
              <a:gd name="T60" fmla="*/ 346 w 468"/>
              <a:gd name="T61" fmla="*/ 156 h 483"/>
              <a:gd name="T62" fmla="*/ 336 w 468"/>
              <a:gd name="T63" fmla="*/ 144 h 483"/>
              <a:gd name="T64" fmla="*/ 295 w 468"/>
              <a:gd name="T65" fmla="*/ 113 h 483"/>
              <a:gd name="T66" fmla="*/ 278 w 468"/>
              <a:gd name="T67" fmla="*/ 98 h 483"/>
              <a:gd name="T68" fmla="*/ 259 w 468"/>
              <a:gd name="T69" fmla="*/ 72 h 483"/>
              <a:gd name="T70" fmla="*/ 247 w 468"/>
              <a:gd name="T71" fmla="*/ 57 h 483"/>
              <a:gd name="T72" fmla="*/ 206 w 468"/>
              <a:gd name="T73" fmla="*/ 43 h 483"/>
              <a:gd name="T74" fmla="*/ 206 w 468"/>
              <a:gd name="T75" fmla="*/ 16 h 483"/>
              <a:gd name="T76" fmla="*/ 216 w 468"/>
              <a:gd name="T77" fmla="*/ 7 h 483"/>
              <a:gd name="T78" fmla="*/ 216 w 468"/>
              <a:gd name="T79" fmla="*/ 0 h 483"/>
              <a:gd name="T80" fmla="*/ 0 w 468"/>
              <a:gd name="T81" fmla="*/ 28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8" h="483">
                <a:moveTo>
                  <a:pt x="0" y="28"/>
                </a:moveTo>
                <a:lnTo>
                  <a:pt x="65" y="254"/>
                </a:lnTo>
                <a:lnTo>
                  <a:pt x="69" y="262"/>
                </a:lnTo>
                <a:lnTo>
                  <a:pt x="74" y="276"/>
                </a:lnTo>
                <a:lnTo>
                  <a:pt x="77" y="283"/>
                </a:lnTo>
                <a:lnTo>
                  <a:pt x="86" y="288"/>
                </a:lnTo>
                <a:lnTo>
                  <a:pt x="91" y="295"/>
                </a:lnTo>
                <a:lnTo>
                  <a:pt x="89" y="305"/>
                </a:lnTo>
                <a:lnTo>
                  <a:pt x="96" y="314"/>
                </a:lnTo>
                <a:lnTo>
                  <a:pt x="93" y="317"/>
                </a:lnTo>
                <a:lnTo>
                  <a:pt x="86" y="329"/>
                </a:lnTo>
                <a:lnTo>
                  <a:pt x="86" y="343"/>
                </a:lnTo>
                <a:lnTo>
                  <a:pt x="81" y="355"/>
                </a:lnTo>
                <a:lnTo>
                  <a:pt x="81" y="375"/>
                </a:lnTo>
                <a:lnTo>
                  <a:pt x="93" y="399"/>
                </a:lnTo>
                <a:lnTo>
                  <a:pt x="91" y="427"/>
                </a:lnTo>
                <a:lnTo>
                  <a:pt x="103" y="444"/>
                </a:lnTo>
                <a:lnTo>
                  <a:pt x="103" y="449"/>
                </a:lnTo>
                <a:lnTo>
                  <a:pt x="105" y="454"/>
                </a:lnTo>
                <a:lnTo>
                  <a:pt x="113" y="463"/>
                </a:lnTo>
                <a:lnTo>
                  <a:pt x="113" y="471"/>
                </a:lnTo>
                <a:lnTo>
                  <a:pt x="117" y="478"/>
                </a:lnTo>
                <a:lnTo>
                  <a:pt x="362" y="463"/>
                </a:lnTo>
                <a:lnTo>
                  <a:pt x="367" y="475"/>
                </a:lnTo>
                <a:lnTo>
                  <a:pt x="370" y="480"/>
                </a:lnTo>
                <a:lnTo>
                  <a:pt x="384" y="483"/>
                </a:lnTo>
                <a:lnTo>
                  <a:pt x="386" y="468"/>
                </a:lnTo>
                <a:lnTo>
                  <a:pt x="379" y="447"/>
                </a:lnTo>
                <a:lnTo>
                  <a:pt x="379" y="437"/>
                </a:lnTo>
                <a:lnTo>
                  <a:pt x="382" y="432"/>
                </a:lnTo>
                <a:lnTo>
                  <a:pt x="389" y="427"/>
                </a:lnTo>
                <a:lnTo>
                  <a:pt x="406" y="437"/>
                </a:lnTo>
                <a:lnTo>
                  <a:pt x="422" y="437"/>
                </a:lnTo>
                <a:lnTo>
                  <a:pt x="430" y="435"/>
                </a:lnTo>
                <a:lnTo>
                  <a:pt x="427" y="418"/>
                </a:lnTo>
                <a:lnTo>
                  <a:pt x="422" y="408"/>
                </a:lnTo>
                <a:lnTo>
                  <a:pt x="422" y="396"/>
                </a:lnTo>
                <a:lnTo>
                  <a:pt x="425" y="387"/>
                </a:lnTo>
                <a:lnTo>
                  <a:pt x="437" y="350"/>
                </a:lnTo>
                <a:lnTo>
                  <a:pt x="439" y="334"/>
                </a:lnTo>
                <a:lnTo>
                  <a:pt x="446" y="319"/>
                </a:lnTo>
                <a:lnTo>
                  <a:pt x="454" y="305"/>
                </a:lnTo>
                <a:lnTo>
                  <a:pt x="461" y="295"/>
                </a:lnTo>
                <a:lnTo>
                  <a:pt x="466" y="295"/>
                </a:lnTo>
                <a:lnTo>
                  <a:pt x="468" y="290"/>
                </a:lnTo>
                <a:lnTo>
                  <a:pt x="461" y="288"/>
                </a:lnTo>
                <a:lnTo>
                  <a:pt x="461" y="286"/>
                </a:lnTo>
                <a:lnTo>
                  <a:pt x="456" y="286"/>
                </a:lnTo>
                <a:lnTo>
                  <a:pt x="444" y="286"/>
                </a:lnTo>
                <a:lnTo>
                  <a:pt x="439" y="283"/>
                </a:lnTo>
                <a:lnTo>
                  <a:pt x="437" y="276"/>
                </a:lnTo>
                <a:lnTo>
                  <a:pt x="432" y="254"/>
                </a:lnTo>
                <a:lnTo>
                  <a:pt x="420" y="240"/>
                </a:lnTo>
                <a:lnTo>
                  <a:pt x="408" y="235"/>
                </a:lnTo>
                <a:lnTo>
                  <a:pt x="401" y="214"/>
                </a:lnTo>
                <a:lnTo>
                  <a:pt x="391" y="201"/>
                </a:lnTo>
                <a:lnTo>
                  <a:pt x="389" y="189"/>
                </a:lnTo>
                <a:lnTo>
                  <a:pt x="382" y="187"/>
                </a:lnTo>
                <a:lnTo>
                  <a:pt x="365" y="182"/>
                </a:lnTo>
                <a:lnTo>
                  <a:pt x="355" y="170"/>
                </a:lnTo>
                <a:lnTo>
                  <a:pt x="346" y="163"/>
                </a:lnTo>
                <a:lnTo>
                  <a:pt x="346" y="156"/>
                </a:lnTo>
                <a:lnTo>
                  <a:pt x="341" y="146"/>
                </a:lnTo>
                <a:lnTo>
                  <a:pt x="336" y="144"/>
                </a:lnTo>
                <a:lnTo>
                  <a:pt x="322" y="137"/>
                </a:lnTo>
                <a:lnTo>
                  <a:pt x="295" y="113"/>
                </a:lnTo>
                <a:lnTo>
                  <a:pt x="283" y="108"/>
                </a:lnTo>
                <a:lnTo>
                  <a:pt x="278" y="98"/>
                </a:lnTo>
                <a:lnTo>
                  <a:pt x="266" y="89"/>
                </a:lnTo>
                <a:lnTo>
                  <a:pt x="259" y="72"/>
                </a:lnTo>
                <a:lnTo>
                  <a:pt x="250" y="64"/>
                </a:lnTo>
                <a:lnTo>
                  <a:pt x="247" y="57"/>
                </a:lnTo>
                <a:lnTo>
                  <a:pt x="230" y="52"/>
                </a:lnTo>
                <a:lnTo>
                  <a:pt x="206" y="43"/>
                </a:lnTo>
                <a:lnTo>
                  <a:pt x="199" y="36"/>
                </a:lnTo>
                <a:lnTo>
                  <a:pt x="206" y="16"/>
                </a:lnTo>
                <a:lnTo>
                  <a:pt x="214" y="12"/>
                </a:lnTo>
                <a:lnTo>
                  <a:pt x="216" y="7"/>
                </a:lnTo>
                <a:lnTo>
                  <a:pt x="218" y="2"/>
                </a:lnTo>
                <a:lnTo>
                  <a:pt x="216" y="0"/>
                </a:lnTo>
                <a:lnTo>
                  <a:pt x="89" y="19"/>
                </a:lnTo>
                <a:lnTo>
                  <a:pt x="0" y="2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 name="Freeform 9"/>
          <p:cNvSpPr>
            <a:spLocks noEditPoints="1"/>
          </p:cNvSpPr>
          <p:nvPr/>
        </p:nvSpPr>
        <p:spPr bwMode="auto">
          <a:xfrm>
            <a:off x="10052329" y="3341890"/>
            <a:ext cx="1060450" cy="592137"/>
          </a:xfrm>
          <a:custGeom>
            <a:avLst/>
            <a:gdLst>
              <a:gd name="T0" fmla="*/ 200 w 668"/>
              <a:gd name="T1" fmla="*/ 349 h 373"/>
              <a:gd name="T2" fmla="*/ 164 w 668"/>
              <a:gd name="T3" fmla="*/ 354 h 373"/>
              <a:gd name="T4" fmla="*/ 142 w 668"/>
              <a:gd name="T5" fmla="*/ 356 h 373"/>
              <a:gd name="T6" fmla="*/ 37 w 668"/>
              <a:gd name="T7" fmla="*/ 354 h 373"/>
              <a:gd name="T8" fmla="*/ 56 w 668"/>
              <a:gd name="T9" fmla="*/ 327 h 373"/>
              <a:gd name="T10" fmla="*/ 68 w 668"/>
              <a:gd name="T11" fmla="*/ 308 h 373"/>
              <a:gd name="T12" fmla="*/ 123 w 668"/>
              <a:gd name="T13" fmla="*/ 255 h 373"/>
              <a:gd name="T14" fmla="*/ 137 w 668"/>
              <a:gd name="T15" fmla="*/ 277 h 373"/>
              <a:gd name="T16" fmla="*/ 173 w 668"/>
              <a:gd name="T17" fmla="*/ 277 h 373"/>
              <a:gd name="T18" fmla="*/ 188 w 668"/>
              <a:gd name="T19" fmla="*/ 274 h 373"/>
              <a:gd name="T20" fmla="*/ 219 w 668"/>
              <a:gd name="T21" fmla="*/ 267 h 373"/>
              <a:gd name="T22" fmla="*/ 231 w 668"/>
              <a:gd name="T23" fmla="*/ 257 h 373"/>
              <a:gd name="T24" fmla="*/ 267 w 668"/>
              <a:gd name="T25" fmla="*/ 226 h 373"/>
              <a:gd name="T26" fmla="*/ 279 w 668"/>
              <a:gd name="T27" fmla="*/ 180 h 373"/>
              <a:gd name="T28" fmla="*/ 310 w 668"/>
              <a:gd name="T29" fmla="*/ 116 h 373"/>
              <a:gd name="T30" fmla="*/ 329 w 668"/>
              <a:gd name="T31" fmla="*/ 123 h 373"/>
              <a:gd name="T32" fmla="*/ 349 w 668"/>
              <a:gd name="T33" fmla="*/ 75 h 373"/>
              <a:gd name="T34" fmla="*/ 373 w 668"/>
              <a:gd name="T35" fmla="*/ 60 h 373"/>
              <a:gd name="T36" fmla="*/ 387 w 668"/>
              <a:gd name="T37" fmla="*/ 34 h 373"/>
              <a:gd name="T38" fmla="*/ 387 w 668"/>
              <a:gd name="T39" fmla="*/ 7 h 373"/>
              <a:gd name="T40" fmla="*/ 430 w 668"/>
              <a:gd name="T41" fmla="*/ 27 h 373"/>
              <a:gd name="T42" fmla="*/ 442 w 668"/>
              <a:gd name="T43" fmla="*/ 5 h 373"/>
              <a:gd name="T44" fmla="*/ 464 w 668"/>
              <a:gd name="T45" fmla="*/ 10 h 373"/>
              <a:gd name="T46" fmla="*/ 483 w 668"/>
              <a:gd name="T47" fmla="*/ 29 h 373"/>
              <a:gd name="T48" fmla="*/ 510 w 668"/>
              <a:gd name="T49" fmla="*/ 48 h 373"/>
              <a:gd name="T50" fmla="*/ 490 w 668"/>
              <a:gd name="T51" fmla="*/ 89 h 373"/>
              <a:gd name="T52" fmla="*/ 514 w 668"/>
              <a:gd name="T53" fmla="*/ 96 h 373"/>
              <a:gd name="T54" fmla="*/ 534 w 668"/>
              <a:gd name="T55" fmla="*/ 108 h 373"/>
              <a:gd name="T56" fmla="*/ 548 w 668"/>
              <a:gd name="T57" fmla="*/ 113 h 373"/>
              <a:gd name="T58" fmla="*/ 584 w 668"/>
              <a:gd name="T59" fmla="*/ 128 h 373"/>
              <a:gd name="T60" fmla="*/ 586 w 668"/>
              <a:gd name="T61" fmla="*/ 144 h 373"/>
              <a:gd name="T62" fmla="*/ 582 w 668"/>
              <a:gd name="T63" fmla="*/ 164 h 373"/>
              <a:gd name="T64" fmla="*/ 603 w 668"/>
              <a:gd name="T65" fmla="*/ 183 h 373"/>
              <a:gd name="T66" fmla="*/ 589 w 668"/>
              <a:gd name="T67" fmla="*/ 188 h 373"/>
              <a:gd name="T68" fmla="*/ 594 w 668"/>
              <a:gd name="T69" fmla="*/ 197 h 373"/>
              <a:gd name="T70" fmla="*/ 582 w 668"/>
              <a:gd name="T71" fmla="*/ 202 h 373"/>
              <a:gd name="T72" fmla="*/ 596 w 668"/>
              <a:gd name="T73" fmla="*/ 209 h 373"/>
              <a:gd name="T74" fmla="*/ 598 w 668"/>
              <a:gd name="T75" fmla="*/ 229 h 373"/>
              <a:gd name="T76" fmla="*/ 579 w 668"/>
              <a:gd name="T77" fmla="*/ 229 h 373"/>
              <a:gd name="T78" fmla="*/ 606 w 668"/>
              <a:gd name="T79" fmla="*/ 236 h 373"/>
              <a:gd name="T80" fmla="*/ 637 w 668"/>
              <a:gd name="T81" fmla="*/ 231 h 373"/>
              <a:gd name="T82" fmla="*/ 639 w 668"/>
              <a:gd name="T83" fmla="*/ 267 h 373"/>
              <a:gd name="T84" fmla="*/ 634 w 668"/>
              <a:gd name="T85" fmla="*/ 118 h 373"/>
              <a:gd name="T86" fmla="*/ 637 w 668"/>
              <a:gd name="T87" fmla="*/ 132 h 373"/>
              <a:gd name="T88" fmla="*/ 625 w 668"/>
              <a:gd name="T89" fmla="*/ 164 h 373"/>
              <a:gd name="T90" fmla="*/ 632 w 668"/>
              <a:gd name="T91" fmla="*/ 207 h 373"/>
              <a:gd name="T92" fmla="*/ 649 w 668"/>
              <a:gd name="T93" fmla="*/ 152 h 373"/>
              <a:gd name="T94" fmla="*/ 654 w 668"/>
              <a:gd name="T95" fmla="*/ 118 h 373"/>
              <a:gd name="T96" fmla="*/ 668 w 668"/>
              <a:gd name="T97" fmla="*/ 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8" h="373">
                <a:moveTo>
                  <a:pt x="639" y="272"/>
                </a:moveTo>
                <a:lnTo>
                  <a:pt x="426" y="313"/>
                </a:lnTo>
                <a:lnTo>
                  <a:pt x="200" y="349"/>
                </a:lnTo>
                <a:lnTo>
                  <a:pt x="195" y="349"/>
                </a:lnTo>
                <a:lnTo>
                  <a:pt x="185" y="351"/>
                </a:lnTo>
                <a:lnTo>
                  <a:pt x="164" y="354"/>
                </a:lnTo>
                <a:lnTo>
                  <a:pt x="164" y="349"/>
                </a:lnTo>
                <a:lnTo>
                  <a:pt x="142" y="354"/>
                </a:lnTo>
                <a:lnTo>
                  <a:pt x="142" y="356"/>
                </a:lnTo>
                <a:lnTo>
                  <a:pt x="0" y="373"/>
                </a:lnTo>
                <a:lnTo>
                  <a:pt x="5" y="368"/>
                </a:lnTo>
                <a:lnTo>
                  <a:pt x="37" y="354"/>
                </a:lnTo>
                <a:lnTo>
                  <a:pt x="39" y="346"/>
                </a:lnTo>
                <a:lnTo>
                  <a:pt x="56" y="334"/>
                </a:lnTo>
                <a:lnTo>
                  <a:pt x="56" y="327"/>
                </a:lnTo>
                <a:lnTo>
                  <a:pt x="58" y="322"/>
                </a:lnTo>
                <a:lnTo>
                  <a:pt x="68" y="317"/>
                </a:lnTo>
                <a:lnTo>
                  <a:pt x="68" y="308"/>
                </a:lnTo>
                <a:lnTo>
                  <a:pt x="77" y="301"/>
                </a:lnTo>
                <a:lnTo>
                  <a:pt x="121" y="262"/>
                </a:lnTo>
                <a:lnTo>
                  <a:pt x="123" y="255"/>
                </a:lnTo>
                <a:lnTo>
                  <a:pt x="125" y="257"/>
                </a:lnTo>
                <a:lnTo>
                  <a:pt x="123" y="265"/>
                </a:lnTo>
                <a:lnTo>
                  <a:pt x="137" y="277"/>
                </a:lnTo>
                <a:lnTo>
                  <a:pt x="154" y="284"/>
                </a:lnTo>
                <a:lnTo>
                  <a:pt x="164" y="286"/>
                </a:lnTo>
                <a:lnTo>
                  <a:pt x="173" y="277"/>
                </a:lnTo>
                <a:lnTo>
                  <a:pt x="173" y="272"/>
                </a:lnTo>
                <a:lnTo>
                  <a:pt x="181" y="267"/>
                </a:lnTo>
                <a:lnTo>
                  <a:pt x="188" y="274"/>
                </a:lnTo>
                <a:lnTo>
                  <a:pt x="193" y="277"/>
                </a:lnTo>
                <a:lnTo>
                  <a:pt x="197" y="274"/>
                </a:lnTo>
                <a:lnTo>
                  <a:pt x="219" y="267"/>
                </a:lnTo>
                <a:lnTo>
                  <a:pt x="224" y="253"/>
                </a:lnTo>
                <a:lnTo>
                  <a:pt x="226" y="253"/>
                </a:lnTo>
                <a:lnTo>
                  <a:pt x="231" y="257"/>
                </a:lnTo>
                <a:lnTo>
                  <a:pt x="248" y="241"/>
                </a:lnTo>
                <a:lnTo>
                  <a:pt x="253" y="245"/>
                </a:lnTo>
                <a:lnTo>
                  <a:pt x="267" y="226"/>
                </a:lnTo>
                <a:lnTo>
                  <a:pt x="265" y="219"/>
                </a:lnTo>
                <a:lnTo>
                  <a:pt x="265" y="207"/>
                </a:lnTo>
                <a:lnTo>
                  <a:pt x="279" y="180"/>
                </a:lnTo>
                <a:lnTo>
                  <a:pt x="298" y="111"/>
                </a:lnTo>
                <a:lnTo>
                  <a:pt x="301" y="108"/>
                </a:lnTo>
                <a:lnTo>
                  <a:pt x="310" y="116"/>
                </a:lnTo>
                <a:lnTo>
                  <a:pt x="313" y="120"/>
                </a:lnTo>
                <a:lnTo>
                  <a:pt x="317" y="125"/>
                </a:lnTo>
                <a:lnTo>
                  <a:pt x="329" y="123"/>
                </a:lnTo>
                <a:lnTo>
                  <a:pt x="337" y="111"/>
                </a:lnTo>
                <a:lnTo>
                  <a:pt x="342" y="84"/>
                </a:lnTo>
                <a:lnTo>
                  <a:pt x="349" y="75"/>
                </a:lnTo>
                <a:lnTo>
                  <a:pt x="358" y="80"/>
                </a:lnTo>
                <a:lnTo>
                  <a:pt x="366" y="63"/>
                </a:lnTo>
                <a:lnTo>
                  <a:pt x="373" y="60"/>
                </a:lnTo>
                <a:lnTo>
                  <a:pt x="378" y="53"/>
                </a:lnTo>
                <a:lnTo>
                  <a:pt x="382" y="39"/>
                </a:lnTo>
                <a:lnTo>
                  <a:pt x="387" y="34"/>
                </a:lnTo>
                <a:lnTo>
                  <a:pt x="387" y="31"/>
                </a:lnTo>
                <a:lnTo>
                  <a:pt x="385" y="29"/>
                </a:lnTo>
                <a:lnTo>
                  <a:pt x="387" y="7"/>
                </a:lnTo>
                <a:lnTo>
                  <a:pt x="387" y="5"/>
                </a:lnTo>
                <a:lnTo>
                  <a:pt x="392" y="0"/>
                </a:lnTo>
                <a:lnTo>
                  <a:pt x="430" y="27"/>
                </a:lnTo>
                <a:lnTo>
                  <a:pt x="435" y="27"/>
                </a:lnTo>
                <a:lnTo>
                  <a:pt x="438" y="27"/>
                </a:lnTo>
                <a:lnTo>
                  <a:pt x="442" y="5"/>
                </a:lnTo>
                <a:lnTo>
                  <a:pt x="450" y="5"/>
                </a:lnTo>
                <a:lnTo>
                  <a:pt x="454" y="7"/>
                </a:lnTo>
                <a:lnTo>
                  <a:pt x="464" y="10"/>
                </a:lnTo>
                <a:lnTo>
                  <a:pt x="459" y="17"/>
                </a:lnTo>
                <a:lnTo>
                  <a:pt x="469" y="29"/>
                </a:lnTo>
                <a:lnTo>
                  <a:pt x="483" y="29"/>
                </a:lnTo>
                <a:lnTo>
                  <a:pt x="490" y="36"/>
                </a:lnTo>
                <a:lnTo>
                  <a:pt x="502" y="41"/>
                </a:lnTo>
                <a:lnTo>
                  <a:pt x="510" y="48"/>
                </a:lnTo>
                <a:lnTo>
                  <a:pt x="507" y="56"/>
                </a:lnTo>
                <a:lnTo>
                  <a:pt x="498" y="72"/>
                </a:lnTo>
                <a:lnTo>
                  <a:pt x="490" y="89"/>
                </a:lnTo>
                <a:lnTo>
                  <a:pt x="493" y="101"/>
                </a:lnTo>
                <a:lnTo>
                  <a:pt x="505" y="101"/>
                </a:lnTo>
                <a:lnTo>
                  <a:pt x="514" y="96"/>
                </a:lnTo>
                <a:lnTo>
                  <a:pt x="524" y="106"/>
                </a:lnTo>
                <a:lnTo>
                  <a:pt x="529" y="108"/>
                </a:lnTo>
                <a:lnTo>
                  <a:pt x="534" y="108"/>
                </a:lnTo>
                <a:lnTo>
                  <a:pt x="541" y="116"/>
                </a:lnTo>
                <a:lnTo>
                  <a:pt x="543" y="116"/>
                </a:lnTo>
                <a:lnTo>
                  <a:pt x="548" y="113"/>
                </a:lnTo>
                <a:lnTo>
                  <a:pt x="553" y="113"/>
                </a:lnTo>
                <a:lnTo>
                  <a:pt x="572" y="123"/>
                </a:lnTo>
                <a:lnTo>
                  <a:pt x="584" y="128"/>
                </a:lnTo>
                <a:lnTo>
                  <a:pt x="594" y="135"/>
                </a:lnTo>
                <a:lnTo>
                  <a:pt x="591" y="140"/>
                </a:lnTo>
                <a:lnTo>
                  <a:pt x="586" y="144"/>
                </a:lnTo>
                <a:lnTo>
                  <a:pt x="589" y="156"/>
                </a:lnTo>
                <a:lnTo>
                  <a:pt x="586" y="161"/>
                </a:lnTo>
                <a:lnTo>
                  <a:pt x="582" y="164"/>
                </a:lnTo>
                <a:lnTo>
                  <a:pt x="582" y="164"/>
                </a:lnTo>
                <a:lnTo>
                  <a:pt x="598" y="171"/>
                </a:lnTo>
                <a:lnTo>
                  <a:pt x="603" y="183"/>
                </a:lnTo>
                <a:lnTo>
                  <a:pt x="601" y="185"/>
                </a:lnTo>
                <a:lnTo>
                  <a:pt x="598" y="190"/>
                </a:lnTo>
                <a:lnTo>
                  <a:pt x="589" y="188"/>
                </a:lnTo>
                <a:lnTo>
                  <a:pt x="586" y="193"/>
                </a:lnTo>
                <a:lnTo>
                  <a:pt x="591" y="197"/>
                </a:lnTo>
                <a:lnTo>
                  <a:pt x="594" y="197"/>
                </a:lnTo>
                <a:lnTo>
                  <a:pt x="594" y="200"/>
                </a:lnTo>
                <a:lnTo>
                  <a:pt x="586" y="202"/>
                </a:lnTo>
                <a:lnTo>
                  <a:pt x="582" y="202"/>
                </a:lnTo>
                <a:lnTo>
                  <a:pt x="582" y="205"/>
                </a:lnTo>
                <a:lnTo>
                  <a:pt x="586" y="209"/>
                </a:lnTo>
                <a:lnTo>
                  <a:pt x="596" y="209"/>
                </a:lnTo>
                <a:lnTo>
                  <a:pt x="606" y="214"/>
                </a:lnTo>
                <a:lnTo>
                  <a:pt x="608" y="219"/>
                </a:lnTo>
                <a:lnTo>
                  <a:pt x="598" y="229"/>
                </a:lnTo>
                <a:lnTo>
                  <a:pt x="594" y="229"/>
                </a:lnTo>
                <a:lnTo>
                  <a:pt x="579" y="224"/>
                </a:lnTo>
                <a:lnTo>
                  <a:pt x="579" y="229"/>
                </a:lnTo>
                <a:lnTo>
                  <a:pt x="589" y="233"/>
                </a:lnTo>
                <a:lnTo>
                  <a:pt x="596" y="241"/>
                </a:lnTo>
                <a:lnTo>
                  <a:pt x="606" y="236"/>
                </a:lnTo>
                <a:lnTo>
                  <a:pt x="615" y="231"/>
                </a:lnTo>
                <a:lnTo>
                  <a:pt x="625" y="231"/>
                </a:lnTo>
                <a:lnTo>
                  <a:pt x="637" y="231"/>
                </a:lnTo>
                <a:lnTo>
                  <a:pt x="637" y="231"/>
                </a:lnTo>
                <a:lnTo>
                  <a:pt x="646" y="260"/>
                </a:lnTo>
                <a:lnTo>
                  <a:pt x="639" y="267"/>
                </a:lnTo>
                <a:lnTo>
                  <a:pt x="637" y="267"/>
                </a:lnTo>
                <a:lnTo>
                  <a:pt x="639" y="272"/>
                </a:lnTo>
                <a:close/>
                <a:moveTo>
                  <a:pt x="634" y="118"/>
                </a:moveTo>
                <a:lnTo>
                  <a:pt x="637" y="118"/>
                </a:lnTo>
                <a:lnTo>
                  <a:pt x="637" y="128"/>
                </a:lnTo>
                <a:lnTo>
                  <a:pt x="637" y="132"/>
                </a:lnTo>
                <a:lnTo>
                  <a:pt x="630" y="140"/>
                </a:lnTo>
                <a:lnTo>
                  <a:pt x="627" y="147"/>
                </a:lnTo>
                <a:lnTo>
                  <a:pt x="625" y="164"/>
                </a:lnTo>
                <a:lnTo>
                  <a:pt x="627" y="178"/>
                </a:lnTo>
                <a:lnTo>
                  <a:pt x="627" y="195"/>
                </a:lnTo>
                <a:lnTo>
                  <a:pt x="632" y="207"/>
                </a:lnTo>
                <a:lnTo>
                  <a:pt x="634" y="190"/>
                </a:lnTo>
                <a:lnTo>
                  <a:pt x="639" y="173"/>
                </a:lnTo>
                <a:lnTo>
                  <a:pt x="649" y="152"/>
                </a:lnTo>
                <a:lnTo>
                  <a:pt x="654" y="140"/>
                </a:lnTo>
                <a:lnTo>
                  <a:pt x="656" y="132"/>
                </a:lnTo>
                <a:lnTo>
                  <a:pt x="654" y="118"/>
                </a:lnTo>
                <a:lnTo>
                  <a:pt x="656" y="113"/>
                </a:lnTo>
                <a:lnTo>
                  <a:pt x="668" y="104"/>
                </a:lnTo>
                <a:lnTo>
                  <a:pt x="668" y="99"/>
                </a:lnTo>
                <a:lnTo>
                  <a:pt x="642" y="108"/>
                </a:lnTo>
                <a:lnTo>
                  <a:pt x="634" y="11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9" name="Freeform 10"/>
          <p:cNvSpPr>
            <a:spLocks/>
          </p:cNvSpPr>
          <p:nvPr/>
        </p:nvSpPr>
        <p:spPr bwMode="auto">
          <a:xfrm>
            <a:off x="10396817" y="2281440"/>
            <a:ext cx="1020763" cy="782637"/>
          </a:xfrm>
          <a:custGeom>
            <a:avLst/>
            <a:gdLst>
              <a:gd name="T0" fmla="*/ 492 w 643"/>
              <a:gd name="T1" fmla="*/ 442 h 493"/>
              <a:gd name="T2" fmla="*/ 482 w 643"/>
              <a:gd name="T3" fmla="*/ 459 h 493"/>
              <a:gd name="T4" fmla="*/ 473 w 643"/>
              <a:gd name="T5" fmla="*/ 474 h 493"/>
              <a:gd name="T6" fmla="*/ 470 w 643"/>
              <a:gd name="T7" fmla="*/ 493 h 493"/>
              <a:gd name="T8" fmla="*/ 485 w 643"/>
              <a:gd name="T9" fmla="*/ 476 h 493"/>
              <a:gd name="T10" fmla="*/ 514 w 643"/>
              <a:gd name="T11" fmla="*/ 474 h 493"/>
              <a:gd name="T12" fmla="*/ 547 w 643"/>
              <a:gd name="T13" fmla="*/ 459 h 493"/>
              <a:gd name="T14" fmla="*/ 605 w 643"/>
              <a:gd name="T15" fmla="*/ 418 h 493"/>
              <a:gd name="T16" fmla="*/ 624 w 643"/>
              <a:gd name="T17" fmla="*/ 404 h 493"/>
              <a:gd name="T18" fmla="*/ 641 w 643"/>
              <a:gd name="T19" fmla="*/ 387 h 493"/>
              <a:gd name="T20" fmla="*/ 634 w 643"/>
              <a:gd name="T21" fmla="*/ 389 h 493"/>
              <a:gd name="T22" fmla="*/ 607 w 643"/>
              <a:gd name="T23" fmla="*/ 401 h 493"/>
              <a:gd name="T24" fmla="*/ 593 w 643"/>
              <a:gd name="T25" fmla="*/ 411 h 493"/>
              <a:gd name="T26" fmla="*/ 612 w 643"/>
              <a:gd name="T27" fmla="*/ 382 h 493"/>
              <a:gd name="T28" fmla="*/ 598 w 643"/>
              <a:gd name="T29" fmla="*/ 394 h 493"/>
              <a:gd name="T30" fmla="*/ 542 w 643"/>
              <a:gd name="T31" fmla="*/ 425 h 493"/>
              <a:gd name="T32" fmla="*/ 504 w 643"/>
              <a:gd name="T33" fmla="*/ 452 h 493"/>
              <a:gd name="T34" fmla="*/ 499 w 643"/>
              <a:gd name="T35" fmla="*/ 430 h 493"/>
              <a:gd name="T36" fmla="*/ 511 w 643"/>
              <a:gd name="T37" fmla="*/ 404 h 493"/>
              <a:gd name="T38" fmla="*/ 497 w 643"/>
              <a:gd name="T39" fmla="*/ 313 h 493"/>
              <a:gd name="T40" fmla="*/ 485 w 643"/>
              <a:gd name="T41" fmla="*/ 219 h 493"/>
              <a:gd name="T42" fmla="*/ 475 w 643"/>
              <a:gd name="T43" fmla="*/ 159 h 493"/>
              <a:gd name="T44" fmla="*/ 463 w 643"/>
              <a:gd name="T45" fmla="*/ 149 h 493"/>
              <a:gd name="T46" fmla="*/ 461 w 643"/>
              <a:gd name="T47" fmla="*/ 132 h 493"/>
              <a:gd name="T48" fmla="*/ 451 w 643"/>
              <a:gd name="T49" fmla="*/ 79 h 493"/>
              <a:gd name="T50" fmla="*/ 434 w 643"/>
              <a:gd name="T51" fmla="*/ 22 h 493"/>
              <a:gd name="T52" fmla="*/ 427 w 643"/>
              <a:gd name="T53" fmla="*/ 0 h 493"/>
              <a:gd name="T54" fmla="*/ 324 w 643"/>
              <a:gd name="T55" fmla="*/ 22 h 493"/>
              <a:gd name="T56" fmla="*/ 288 w 643"/>
              <a:gd name="T57" fmla="*/ 53 h 493"/>
              <a:gd name="T58" fmla="*/ 261 w 643"/>
              <a:gd name="T59" fmla="*/ 99 h 493"/>
              <a:gd name="T60" fmla="*/ 228 w 643"/>
              <a:gd name="T61" fmla="*/ 142 h 493"/>
              <a:gd name="T62" fmla="*/ 230 w 643"/>
              <a:gd name="T63" fmla="*/ 159 h 493"/>
              <a:gd name="T64" fmla="*/ 242 w 643"/>
              <a:gd name="T65" fmla="*/ 166 h 493"/>
              <a:gd name="T66" fmla="*/ 247 w 643"/>
              <a:gd name="T67" fmla="*/ 190 h 493"/>
              <a:gd name="T68" fmla="*/ 206 w 643"/>
              <a:gd name="T69" fmla="*/ 238 h 493"/>
              <a:gd name="T70" fmla="*/ 134 w 643"/>
              <a:gd name="T71" fmla="*/ 250 h 493"/>
              <a:gd name="T72" fmla="*/ 79 w 643"/>
              <a:gd name="T73" fmla="*/ 255 h 493"/>
              <a:gd name="T74" fmla="*/ 40 w 643"/>
              <a:gd name="T75" fmla="*/ 284 h 493"/>
              <a:gd name="T76" fmla="*/ 60 w 643"/>
              <a:gd name="T77" fmla="*/ 313 h 493"/>
              <a:gd name="T78" fmla="*/ 52 w 643"/>
              <a:gd name="T79" fmla="*/ 332 h 493"/>
              <a:gd name="T80" fmla="*/ 0 w 643"/>
              <a:gd name="T81" fmla="*/ 389 h 493"/>
              <a:gd name="T82" fmla="*/ 357 w 643"/>
              <a:gd name="T83" fmla="*/ 353 h 493"/>
              <a:gd name="T84" fmla="*/ 365 w 643"/>
              <a:gd name="T85" fmla="*/ 361 h 493"/>
              <a:gd name="T86" fmla="*/ 384 w 643"/>
              <a:gd name="T87" fmla="*/ 385 h 493"/>
              <a:gd name="T88" fmla="*/ 391 w 643"/>
              <a:gd name="T89" fmla="*/ 39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3" h="493">
                <a:moveTo>
                  <a:pt x="417" y="406"/>
                </a:moveTo>
                <a:lnTo>
                  <a:pt x="487" y="430"/>
                </a:lnTo>
                <a:lnTo>
                  <a:pt x="492" y="442"/>
                </a:lnTo>
                <a:lnTo>
                  <a:pt x="487" y="447"/>
                </a:lnTo>
                <a:lnTo>
                  <a:pt x="482" y="452"/>
                </a:lnTo>
                <a:lnTo>
                  <a:pt x="482" y="459"/>
                </a:lnTo>
                <a:lnTo>
                  <a:pt x="482" y="471"/>
                </a:lnTo>
                <a:lnTo>
                  <a:pt x="478" y="471"/>
                </a:lnTo>
                <a:lnTo>
                  <a:pt x="473" y="474"/>
                </a:lnTo>
                <a:lnTo>
                  <a:pt x="468" y="488"/>
                </a:lnTo>
                <a:lnTo>
                  <a:pt x="468" y="493"/>
                </a:lnTo>
                <a:lnTo>
                  <a:pt x="470" y="493"/>
                </a:lnTo>
                <a:lnTo>
                  <a:pt x="473" y="490"/>
                </a:lnTo>
                <a:lnTo>
                  <a:pt x="475" y="488"/>
                </a:lnTo>
                <a:lnTo>
                  <a:pt x="485" y="476"/>
                </a:lnTo>
                <a:lnTo>
                  <a:pt x="492" y="478"/>
                </a:lnTo>
                <a:lnTo>
                  <a:pt x="506" y="478"/>
                </a:lnTo>
                <a:lnTo>
                  <a:pt x="514" y="474"/>
                </a:lnTo>
                <a:lnTo>
                  <a:pt x="526" y="471"/>
                </a:lnTo>
                <a:lnTo>
                  <a:pt x="538" y="464"/>
                </a:lnTo>
                <a:lnTo>
                  <a:pt x="547" y="459"/>
                </a:lnTo>
                <a:lnTo>
                  <a:pt x="557" y="452"/>
                </a:lnTo>
                <a:lnTo>
                  <a:pt x="595" y="425"/>
                </a:lnTo>
                <a:lnTo>
                  <a:pt x="605" y="418"/>
                </a:lnTo>
                <a:lnTo>
                  <a:pt x="612" y="411"/>
                </a:lnTo>
                <a:lnTo>
                  <a:pt x="619" y="409"/>
                </a:lnTo>
                <a:lnTo>
                  <a:pt x="624" y="404"/>
                </a:lnTo>
                <a:lnTo>
                  <a:pt x="634" y="399"/>
                </a:lnTo>
                <a:lnTo>
                  <a:pt x="638" y="397"/>
                </a:lnTo>
                <a:lnTo>
                  <a:pt x="641" y="387"/>
                </a:lnTo>
                <a:lnTo>
                  <a:pt x="643" y="382"/>
                </a:lnTo>
                <a:lnTo>
                  <a:pt x="641" y="382"/>
                </a:lnTo>
                <a:lnTo>
                  <a:pt x="634" y="389"/>
                </a:lnTo>
                <a:lnTo>
                  <a:pt x="624" y="392"/>
                </a:lnTo>
                <a:lnTo>
                  <a:pt x="614" y="397"/>
                </a:lnTo>
                <a:lnTo>
                  <a:pt x="607" y="401"/>
                </a:lnTo>
                <a:lnTo>
                  <a:pt x="605" y="409"/>
                </a:lnTo>
                <a:lnTo>
                  <a:pt x="595" y="413"/>
                </a:lnTo>
                <a:lnTo>
                  <a:pt x="593" y="411"/>
                </a:lnTo>
                <a:lnTo>
                  <a:pt x="598" y="404"/>
                </a:lnTo>
                <a:lnTo>
                  <a:pt x="605" y="397"/>
                </a:lnTo>
                <a:lnTo>
                  <a:pt x="612" y="382"/>
                </a:lnTo>
                <a:lnTo>
                  <a:pt x="610" y="380"/>
                </a:lnTo>
                <a:lnTo>
                  <a:pt x="602" y="387"/>
                </a:lnTo>
                <a:lnTo>
                  <a:pt x="598" y="394"/>
                </a:lnTo>
                <a:lnTo>
                  <a:pt x="593" y="399"/>
                </a:lnTo>
                <a:lnTo>
                  <a:pt x="571" y="411"/>
                </a:lnTo>
                <a:lnTo>
                  <a:pt x="542" y="425"/>
                </a:lnTo>
                <a:lnTo>
                  <a:pt x="521" y="438"/>
                </a:lnTo>
                <a:lnTo>
                  <a:pt x="511" y="440"/>
                </a:lnTo>
                <a:lnTo>
                  <a:pt x="504" y="452"/>
                </a:lnTo>
                <a:lnTo>
                  <a:pt x="499" y="450"/>
                </a:lnTo>
                <a:lnTo>
                  <a:pt x="497" y="440"/>
                </a:lnTo>
                <a:lnTo>
                  <a:pt x="499" y="430"/>
                </a:lnTo>
                <a:lnTo>
                  <a:pt x="506" y="425"/>
                </a:lnTo>
                <a:lnTo>
                  <a:pt x="499" y="416"/>
                </a:lnTo>
                <a:lnTo>
                  <a:pt x="511" y="404"/>
                </a:lnTo>
                <a:lnTo>
                  <a:pt x="514" y="397"/>
                </a:lnTo>
                <a:lnTo>
                  <a:pt x="506" y="389"/>
                </a:lnTo>
                <a:lnTo>
                  <a:pt x="497" y="313"/>
                </a:lnTo>
                <a:lnTo>
                  <a:pt x="494" y="310"/>
                </a:lnTo>
                <a:lnTo>
                  <a:pt x="494" y="236"/>
                </a:lnTo>
                <a:lnTo>
                  <a:pt x="485" y="219"/>
                </a:lnTo>
                <a:lnTo>
                  <a:pt x="480" y="200"/>
                </a:lnTo>
                <a:lnTo>
                  <a:pt x="480" y="185"/>
                </a:lnTo>
                <a:lnTo>
                  <a:pt x="475" y="159"/>
                </a:lnTo>
                <a:lnTo>
                  <a:pt x="466" y="144"/>
                </a:lnTo>
                <a:lnTo>
                  <a:pt x="461" y="144"/>
                </a:lnTo>
                <a:lnTo>
                  <a:pt x="463" y="149"/>
                </a:lnTo>
                <a:lnTo>
                  <a:pt x="461" y="149"/>
                </a:lnTo>
                <a:lnTo>
                  <a:pt x="458" y="144"/>
                </a:lnTo>
                <a:lnTo>
                  <a:pt x="461" y="132"/>
                </a:lnTo>
                <a:lnTo>
                  <a:pt x="446" y="101"/>
                </a:lnTo>
                <a:lnTo>
                  <a:pt x="446" y="89"/>
                </a:lnTo>
                <a:lnTo>
                  <a:pt x="451" y="79"/>
                </a:lnTo>
                <a:lnTo>
                  <a:pt x="446" y="55"/>
                </a:lnTo>
                <a:lnTo>
                  <a:pt x="434" y="24"/>
                </a:lnTo>
                <a:lnTo>
                  <a:pt x="434" y="22"/>
                </a:lnTo>
                <a:lnTo>
                  <a:pt x="429" y="17"/>
                </a:lnTo>
                <a:lnTo>
                  <a:pt x="432" y="12"/>
                </a:lnTo>
                <a:lnTo>
                  <a:pt x="427" y="0"/>
                </a:lnTo>
                <a:lnTo>
                  <a:pt x="427" y="0"/>
                </a:lnTo>
                <a:lnTo>
                  <a:pt x="326" y="27"/>
                </a:lnTo>
                <a:lnTo>
                  <a:pt x="324" y="22"/>
                </a:lnTo>
                <a:lnTo>
                  <a:pt x="319" y="24"/>
                </a:lnTo>
                <a:lnTo>
                  <a:pt x="312" y="29"/>
                </a:lnTo>
                <a:lnTo>
                  <a:pt x="288" y="53"/>
                </a:lnTo>
                <a:lnTo>
                  <a:pt x="264" y="87"/>
                </a:lnTo>
                <a:lnTo>
                  <a:pt x="259" y="94"/>
                </a:lnTo>
                <a:lnTo>
                  <a:pt x="261" y="99"/>
                </a:lnTo>
                <a:lnTo>
                  <a:pt x="257" y="111"/>
                </a:lnTo>
                <a:lnTo>
                  <a:pt x="252" y="118"/>
                </a:lnTo>
                <a:lnTo>
                  <a:pt x="228" y="142"/>
                </a:lnTo>
                <a:lnTo>
                  <a:pt x="225" y="147"/>
                </a:lnTo>
                <a:lnTo>
                  <a:pt x="228" y="156"/>
                </a:lnTo>
                <a:lnTo>
                  <a:pt x="230" y="159"/>
                </a:lnTo>
                <a:lnTo>
                  <a:pt x="237" y="159"/>
                </a:lnTo>
                <a:lnTo>
                  <a:pt x="242" y="161"/>
                </a:lnTo>
                <a:lnTo>
                  <a:pt x="242" y="166"/>
                </a:lnTo>
                <a:lnTo>
                  <a:pt x="237" y="173"/>
                </a:lnTo>
                <a:lnTo>
                  <a:pt x="240" y="180"/>
                </a:lnTo>
                <a:lnTo>
                  <a:pt x="247" y="190"/>
                </a:lnTo>
                <a:lnTo>
                  <a:pt x="245" y="204"/>
                </a:lnTo>
                <a:lnTo>
                  <a:pt x="228" y="212"/>
                </a:lnTo>
                <a:lnTo>
                  <a:pt x="206" y="238"/>
                </a:lnTo>
                <a:lnTo>
                  <a:pt x="187" y="243"/>
                </a:lnTo>
                <a:lnTo>
                  <a:pt x="149" y="255"/>
                </a:lnTo>
                <a:lnTo>
                  <a:pt x="134" y="250"/>
                </a:lnTo>
                <a:lnTo>
                  <a:pt x="122" y="248"/>
                </a:lnTo>
                <a:lnTo>
                  <a:pt x="100" y="250"/>
                </a:lnTo>
                <a:lnTo>
                  <a:pt x="79" y="255"/>
                </a:lnTo>
                <a:lnTo>
                  <a:pt x="55" y="262"/>
                </a:lnTo>
                <a:lnTo>
                  <a:pt x="45" y="272"/>
                </a:lnTo>
                <a:lnTo>
                  <a:pt x="40" y="284"/>
                </a:lnTo>
                <a:lnTo>
                  <a:pt x="40" y="293"/>
                </a:lnTo>
                <a:lnTo>
                  <a:pt x="55" y="310"/>
                </a:lnTo>
                <a:lnTo>
                  <a:pt x="60" y="313"/>
                </a:lnTo>
                <a:lnTo>
                  <a:pt x="60" y="320"/>
                </a:lnTo>
                <a:lnTo>
                  <a:pt x="57" y="327"/>
                </a:lnTo>
                <a:lnTo>
                  <a:pt x="52" y="332"/>
                </a:lnTo>
                <a:lnTo>
                  <a:pt x="45" y="346"/>
                </a:lnTo>
                <a:lnTo>
                  <a:pt x="14" y="380"/>
                </a:lnTo>
                <a:lnTo>
                  <a:pt x="0" y="389"/>
                </a:lnTo>
                <a:lnTo>
                  <a:pt x="7" y="418"/>
                </a:lnTo>
                <a:lnTo>
                  <a:pt x="350" y="349"/>
                </a:lnTo>
                <a:lnTo>
                  <a:pt x="357" y="353"/>
                </a:lnTo>
                <a:lnTo>
                  <a:pt x="360" y="358"/>
                </a:lnTo>
                <a:lnTo>
                  <a:pt x="362" y="361"/>
                </a:lnTo>
                <a:lnTo>
                  <a:pt x="365" y="361"/>
                </a:lnTo>
                <a:lnTo>
                  <a:pt x="367" y="363"/>
                </a:lnTo>
                <a:lnTo>
                  <a:pt x="372" y="365"/>
                </a:lnTo>
                <a:lnTo>
                  <a:pt x="384" y="385"/>
                </a:lnTo>
                <a:lnTo>
                  <a:pt x="386" y="394"/>
                </a:lnTo>
                <a:lnTo>
                  <a:pt x="389" y="397"/>
                </a:lnTo>
                <a:lnTo>
                  <a:pt x="391" y="399"/>
                </a:lnTo>
                <a:lnTo>
                  <a:pt x="410" y="401"/>
                </a:lnTo>
                <a:lnTo>
                  <a:pt x="417" y="40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0" name="Freeform 11"/>
          <p:cNvSpPr>
            <a:spLocks/>
          </p:cNvSpPr>
          <p:nvPr/>
        </p:nvSpPr>
        <p:spPr bwMode="auto">
          <a:xfrm>
            <a:off x="9595129" y="4875415"/>
            <a:ext cx="1231900" cy="935037"/>
          </a:xfrm>
          <a:custGeom>
            <a:avLst/>
            <a:gdLst>
              <a:gd name="T0" fmla="*/ 3 w 776"/>
              <a:gd name="T1" fmla="*/ 51 h 589"/>
              <a:gd name="T2" fmla="*/ 0 w 776"/>
              <a:gd name="T3" fmla="*/ 63 h 589"/>
              <a:gd name="T4" fmla="*/ 15 w 776"/>
              <a:gd name="T5" fmla="*/ 77 h 589"/>
              <a:gd name="T6" fmla="*/ 20 w 776"/>
              <a:gd name="T7" fmla="*/ 97 h 589"/>
              <a:gd name="T8" fmla="*/ 27 w 776"/>
              <a:gd name="T9" fmla="*/ 104 h 589"/>
              <a:gd name="T10" fmla="*/ 22 w 776"/>
              <a:gd name="T11" fmla="*/ 118 h 589"/>
              <a:gd name="T12" fmla="*/ 41 w 776"/>
              <a:gd name="T13" fmla="*/ 111 h 589"/>
              <a:gd name="T14" fmla="*/ 53 w 776"/>
              <a:gd name="T15" fmla="*/ 97 h 589"/>
              <a:gd name="T16" fmla="*/ 65 w 776"/>
              <a:gd name="T17" fmla="*/ 97 h 589"/>
              <a:gd name="T18" fmla="*/ 58 w 776"/>
              <a:gd name="T19" fmla="*/ 109 h 589"/>
              <a:gd name="T20" fmla="*/ 118 w 776"/>
              <a:gd name="T21" fmla="*/ 89 h 589"/>
              <a:gd name="T22" fmla="*/ 118 w 776"/>
              <a:gd name="T23" fmla="*/ 101 h 589"/>
              <a:gd name="T24" fmla="*/ 156 w 776"/>
              <a:gd name="T25" fmla="*/ 111 h 589"/>
              <a:gd name="T26" fmla="*/ 180 w 776"/>
              <a:gd name="T27" fmla="*/ 116 h 589"/>
              <a:gd name="T28" fmla="*/ 200 w 776"/>
              <a:gd name="T29" fmla="*/ 121 h 589"/>
              <a:gd name="T30" fmla="*/ 200 w 776"/>
              <a:gd name="T31" fmla="*/ 125 h 589"/>
              <a:gd name="T32" fmla="*/ 226 w 776"/>
              <a:gd name="T33" fmla="*/ 154 h 589"/>
              <a:gd name="T34" fmla="*/ 219 w 776"/>
              <a:gd name="T35" fmla="*/ 161 h 589"/>
              <a:gd name="T36" fmla="*/ 216 w 776"/>
              <a:gd name="T37" fmla="*/ 166 h 589"/>
              <a:gd name="T38" fmla="*/ 257 w 776"/>
              <a:gd name="T39" fmla="*/ 154 h 589"/>
              <a:gd name="T40" fmla="*/ 313 w 776"/>
              <a:gd name="T41" fmla="*/ 130 h 589"/>
              <a:gd name="T42" fmla="*/ 315 w 776"/>
              <a:gd name="T43" fmla="*/ 111 h 589"/>
              <a:gd name="T44" fmla="*/ 387 w 776"/>
              <a:gd name="T45" fmla="*/ 135 h 589"/>
              <a:gd name="T46" fmla="*/ 435 w 776"/>
              <a:gd name="T47" fmla="*/ 178 h 589"/>
              <a:gd name="T48" fmla="*/ 466 w 776"/>
              <a:gd name="T49" fmla="*/ 190 h 589"/>
              <a:gd name="T50" fmla="*/ 483 w 776"/>
              <a:gd name="T51" fmla="*/ 224 h 589"/>
              <a:gd name="T52" fmla="*/ 481 w 776"/>
              <a:gd name="T53" fmla="*/ 303 h 589"/>
              <a:gd name="T54" fmla="*/ 502 w 776"/>
              <a:gd name="T55" fmla="*/ 344 h 589"/>
              <a:gd name="T56" fmla="*/ 497 w 776"/>
              <a:gd name="T57" fmla="*/ 315 h 589"/>
              <a:gd name="T58" fmla="*/ 514 w 776"/>
              <a:gd name="T59" fmla="*/ 325 h 589"/>
              <a:gd name="T60" fmla="*/ 521 w 776"/>
              <a:gd name="T61" fmla="*/ 315 h 589"/>
              <a:gd name="T62" fmla="*/ 521 w 776"/>
              <a:gd name="T63" fmla="*/ 334 h 589"/>
              <a:gd name="T64" fmla="*/ 507 w 776"/>
              <a:gd name="T65" fmla="*/ 361 h 589"/>
              <a:gd name="T66" fmla="*/ 521 w 776"/>
              <a:gd name="T67" fmla="*/ 385 h 589"/>
              <a:gd name="T68" fmla="*/ 560 w 776"/>
              <a:gd name="T69" fmla="*/ 431 h 589"/>
              <a:gd name="T70" fmla="*/ 574 w 776"/>
              <a:gd name="T71" fmla="*/ 435 h 589"/>
              <a:gd name="T72" fmla="*/ 591 w 776"/>
              <a:gd name="T73" fmla="*/ 467 h 589"/>
              <a:gd name="T74" fmla="*/ 622 w 776"/>
              <a:gd name="T75" fmla="*/ 517 h 589"/>
              <a:gd name="T76" fmla="*/ 680 w 776"/>
              <a:gd name="T77" fmla="*/ 558 h 589"/>
              <a:gd name="T78" fmla="*/ 702 w 776"/>
              <a:gd name="T79" fmla="*/ 570 h 589"/>
              <a:gd name="T80" fmla="*/ 694 w 776"/>
              <a:gd name="T81" fmla="*/ 575 h 589"/>
              <a:gd name="T82" fmla="*/ 687 w 776"/>
              <a:gd name="T83" fmla="*/ 582 h 589"/>
              <a:gd name="T84" fmla="*/ 709 w 776"/>
              <a:gd name="T85" fmla="*/ 584 h 589"/>
              <a:gd name="T86" fmla="*/ 764 w 776"/>
              <a:gd name="T87" fmla="*/ 553 h 589"/>
              <a:gd name="T88" fmla="*/ 762 w 776"/>
              <a:gd name="T89" fmla="*/ 520 h 589"/>
              <a:gd name="T90" fmla="*/ 766 w 776"/>
              <a:gd name="T91" fmla="*/ 467 h 589"/>
              <a:gd name="T92" fmla="*/ 762 w 776"/>
              <a:gd name="T93" fmla="*/ 387 h 589"/>
              <a:gd name="T94" fmla="*/ 714 w 776"/>
              <a:gd name="T95" fmla="*/ 306 h 589"/>
              <a:gd name="T96" fmla="*/ 692 w 776"/>
              <a:gd name="T97" fmla="*/ 267 h 589"/>
              <a:gd name="T98" fmla="*/ 692 w 776"/>
              <a:gd name="T99" fmla="*/ 238 h 589"/>
              <a:gd name="T100" fmla="*/ 651 w 776"/>
              <a:gd name="T101" fmla="*/ 183 h 589"/>
              <a:gd name="T102" fmla="*/ 622 w 776"/>
              <a:gd name="T103" fmla="*/ 149 h 589"/>
              <a:gd name="T104" fmla="*/ 579 w 776"/>
              <a:gd name="T105" fmla="*/ 53 h 589"/>
              <a:gd name="T106" fmla="*/ 569 w 776"/>
              <a:gd name="T107" fmla="*/ 39 h 589"/>
              <a:gd name="T108" fmla="*/ 557 w 776"/>
              <a:gd name="T109" fmla="*/ 10 h 589"/>
              <a:gd name="T110" fmla="*/ 517 w 776"/>
              <a:gd name="T111" fmla="*/ 5 h 589"/>
              <a:gd name="T112" fmla="*/ 521 w 776"/>
              <a:gd name="T113" fmla="*/ 41 h 589"/>
              <a:gd name="T114" fmla="*/ 502 w 776"/>
              <a:gd name="T115" fmla="*/ 48 h 589"/>
              <a:gd name="T116" fmla="*/ 248 w 776"/>
              <a:gd name="T117" fmla="*/ 44 h 589"/>
              <a:gd name="T118" fmla="*/ 238 w 776"/>
              <a:gd name="T119" fmla="*/ 22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6" h="589">
                <a:moveTo>
                  <a:pt x="238" y="22"/>
                </a:moveTo>
                <a:lnTo>
                  <a:pt x="3" y="46"/>
                </a:lnTo>
                <a:lnTo>
                  <a:pt x="3" y="51"/>
                </a:lnTo>
                <a:lnTo>
                  <a:pt x="3" y="53"/>
                </a:lnTo>
                <a:lnTo>
                  <a:pt x="0" y="56"/>
                </a:lnTo>
                <a:lnTo>
                  <a:pt x="0" y="63"/>
                </a:lnTo>
                <a:lnTo>
                  <a:pt x="8" y="73"/>
                </a:lnTo>
                <a:lnTo>
                  <a:pt x="12" y="77"/>
                </a:lnTo>
                <a:lnTo>
                  <a:pt x="15" y="77"/>
                </a:lnTo>
                <a:lnTo>
                  <a:pt x="22" y="85"/>
                </a:lnTo>
                <a:lnTo>
                  <a:pt x="24" y="87"/>
                </a:lnTo>
                <a:lnTo>
                  <a:pt x="20" y="97"/>
                </a:lnTo>
                <a:lnTo>
                  <a:pt x="20" y="99"/>
                </a:lnTo>
                <a:lnTo>
                  <a:pt x="24" y="101"/>
                </a:lnTo>
                <a:lnTo>
                  <a:pt x="27" y="104"/>
                </a:lnTo>
                <a:lnTo>
                  <a:pt x="27" y="106"/>
                </a:lnTo>
                <a:lnTo>
                  <a:pt x="22" y="111"/>
                </a:lnTo>
                <a:lnTo>
                  <a:pt x="22" y="118"/>
                </a:lnTo>
                <a:lnTo>
                  <a:pt x="24" y="121"/>
                </a:lnTo>
                <a:lnTo>
                  <a:pt x="36" y="116"/>
                </a:lnTo>
                <a:lnTo>
                  <a:pt x="41" y="111"/>
                </a:lnTo>
                <a:lnTo>
                  <a:pt x="46" y="99"/>
                </a:lnTo>
                <a:lnTo>
                  <a:pt x="48" y="94"/>
                </a:lnTo>
                <a:lnTo>
                  <a:pt x="53" y="97"/>
                </a:lnTo>
                <a:lnTo>
                  <a:pt x="60" y="97"/>
                </a:lnTo>
                <a:lnTo>
                  <a:pt x="63" y="94"/>
                </a:lnTo>
                <a:lnTo>
                  <a:pt x="65" y="97"/>
                </a:lnTo>
                <a:lnTo>
                  <a:pt x="65" y="99"/>
                </a:lnTo>
                <a:lnTo>
                  <a:pt x="56" y="106"/>
                </a:lnTo>
                <a:lnTo>
                  <a:pt x="58" y="109"/>
                </a:lnTo>
                <a:lnTo>
                  <a:pt x="65" y="106"/>
                </a:lnTo>
                <a:lnTo>
                  <a:pt x="77" y="104"/>
                </a:lnTo>
                <a:lnTo>
                  <a:pt x="118" y="89"/>
                </a:lnTo>
                <a:lnTo>
                  <a:pt x="125" y="89"/>
                </a:lnTo>
                <a:lnTo>
                  <a:pt x="125" y="94"/>
                </a:lnTo>
                <a:lnTo>
                  <a:pt x="118" y="101"/>
                </a:lnTo>
                <a:lnTo>
                  <a:pt x="120" y="101"/>
                </a:lnTo>
                <a:lnTo>
                  <a:pt x="140" y="104"/>
                </a:lnTo>
                <a:lnTo>
                  <a:pt x="156" y="111"/>
                </a:lnTo>
                <a:lnTo>
                  <a:pt x="176" y="121"/>
                </a:lnTo>
                <a:lnTo>
                  <a:pt x="180" y="121"/>
                </a:lnTo>
                <a:lnTo>
                  <a:pt x="180" y="116"/>
                </a:lnTo>
                <a:lnTo>
                  <a:pt x="185" y="111"/>
                </a:lnTo>
                <a:lnTo>
                  <a:pt x="188" y="118"/>
                </a:lnTo>
                <a:lnTo>
                  <a:pt x="200" y="121"/>
                </a:lnTo>
                <a:lnTo>
                  <a:pt x="202" y="123"/>
                </a:lnTo>
                <a:lnTo>
                  <a:pt x="202" y="123"/>
                </a:lnTo>
                <a:lnTo>
                  <a:pt x="200" y="125"/>
                </a:lnTo>
                <a:lnTo>
                  <a:pt x="200" y="130"/>
                </a:lnTo>
                <a:lnTo>
                  <a:pt x="224" y="147"/>
                </a:lnTo>
                <a:lnTo>
                  <a:pt x="226" y="154"/>
                </a:lnTo>
                <a:lnTo>
                  <a:pt x="224" y="159"/>
                </a:lnTo>
                <a:lnTo>
                  <a:pt x="224" y="164"/>
                </a:lnTo>
                <a:lnTo>
                  <a:pt x="219" y="161"/>
                </a:lnTo>
                <a:lnTo>
                  <a:pt x="219" y="157"/>
                </a:lnTo>
                <a:lnTo>
                  <a:pt x="216" y="161"/>
                </a:lnTo>
                <a:lnTo>
                  <a:pt x="216" y="166"/>
                </a:lnTo>
                <a:lnTo>
                  <a:pt x="221" y="166"/>
                </a:lnTo>
                <a:lnTo>
                  <a:pt x="255" y="159"/>
                </a:lnTo>
                <a:lnTo>
                  <a:pt x="257" y="154"/>
                </a:lnTo>
                <a:lnTo>
                  <a:pt x="269" y="154"/>
                </a:lnTo>
                <a:lnTo>
                  <a:pt x="296" y="130"/>
                </a:lnTo>
                <a:lnTo>
                  <a:pt x="313" y="130"/>
                </a:lnTo>
                <a:lnTo>
                  <a:pt x="313" y="128"/>
                </a:lnTo>
                <a:lnTo>
                  <a:pt x="310" y="123"/>
                </a:lnTo>
                <a:lnTo>
                  <a:pt x="315" y="111"/>
                </a:lnTo>
                <a:lnTo>
                  <a:pt x="344" y="109"/>
                </a:lnTo>
                <a:lnTo>
                  <a:pt x="387" y="130"/>
                </a:lnTo>
                <a:lnTo>
                  <a:pt x="387" y="135"/>
                </a:lnTo>
                <a:lnTo>
                  <a:pt x="399" y="145"/>
                </a:lnTo>
                <a:lnTo>
                  <a:pt x="409" y="159"/>
                </a:lnTo>
                <a:lnTo>
                  <a:pt x="435" y="178"/>
                </a:lnTo>
                <a:lnTo>
                  <a:pt x="437" y="185"/>
                </a:lnTo>
                <a:lnTo>
                  <a:pt x="445" y="193"/>
                </a:lnTo>
                <a:lnTo>
                  <a:pt x="466" y="190"/>
                </a:lnTo>
                <a:lnTo>
                  <a:pt x="481" y="214"/>
                </a:lnTo>
                <a:lnTo>
                  <a:pt x="485" y="217"/>
                </a:lnTo>
                <a:lnTo>
                  <a:pt x="483" y="224"/>
                </a:lnTo>
                <a:lnTo>
                  <a:pt x="490" y="248"/>
                </a:lnTo>
                <a:lnTo>
                  <a:pt x="488" y="274"/>
                </a:lnTo>
                <a:lnTo>
                  <a:pt x="481" y="303"/>
                </a:lnTo>
                <a:lnTo>
                  <a:pt x="483" y="325"/>
                </a:lnTo>
                <a:lnTo>
                  <a:pt x="485" y="332"/>
                </a:lnTo>
                <a:lnTo>
                  <a:pt x="502" y="344"/>
                </a:lnTo>
                <a:lnTo>
                  <a:pt x="507" y="334"/>
                </a:lnTo>
                <a:lnTo>
                  <a:pt x="502" y="330"/>
                </a:lnTo>
                <a:lnTo>
                  <a:pt x="497" y="315"/>
                </a:lnTo>
                <a:lnTo>
                  <a:pt x="497" y="313"/>
                </a:lnTo>
                <a:lnTo>
                  <a:pt x="507" y="310"/>
                </a:lnTo>
                <a:lnTo>
                  <a:pt x="514" y="325"/>
                </a:lnTo>
                <a:lnTo>
                  <a:pt x="519" y="325"/>
                </a:lnTo>
                <a:lnTo>
                  <a:pt x="519" y="318"/>
                </a:lnTo>
                <a:lnTo>
                  <a:pt x="521" y="315"/>
                </a:lnTo>
                <a:lnTo>
                  <a:pt x="526" y="320"/>
                </a:lnTo>
                <a:lnTo>
                  <a:pt x="526" y="327"/>
                </a:lnTo>
                <a:lnTo>
                  <a:pt x="521" y="334"/>
                </a:lnTo>
                <a:lnTo>
                  <a:pt x="517" y="339"/>
                </a:lnTo>
                <a:lnTo>
                  <a:pt x="512" y="359"/>
                </a:lnTo>
                <a:lnTo>
                  <a:pt x="507" y="361"/>
                </a:lnTo>
                <a:lnTo>
                  <a:pt x="507" y="368"/>
                </a:lnTo>
                <a:lnTo>
                  <a:pt x="512" y="375"/>
                </a:lnTo>
                <a:lnTo>
                  <a:pt x="521" y="385"/>
                </a:lnTo>
                <a:lnTo>
                  <a:pt x="536" y="416"/>
                </a:lnTo>
                <a:lnTo>
                  <a:pt x="557" y="431"/>
                </a:lnTo>
                <a:lnTo>
                  <a:pt x="560" y="431"/>
                </a:lnTo>
                <a:lnTo>
                  <a:pt x="562" y="421"/>
                </a:lnTo>
                <a:lnTo>
                  <a:pt x="569" y="421"/>
                </a:lnTo>
                <a:lnTo>
                  <a:pt x="574" y="435"/>
                </a:lnTo>
                <a:lnTo>
                  <a:pt x="574" y="443"/>
                </a:lnTo>
                <a:lnTo>
                  <a:pt x="581" y="459"/>
                </a:lnTo>
                <a:lnTo>
                  <a:pt x="591" y="467"/>
                </a:lnTo>
                <a:lnTo>
                  <a:pt x="601" y="469"/>
                </a:lnTo>
                <a:lnTo>
                  <a:pt x="617" y="515"/>
                </a:lnTo>
                <a:lnTo>
                  <a:pt x="622" y="517"/>
                </a:lnTo>
                <a:lnTo>
                  <a:pt x="644" y="522"/>
                </a:lnTo>
                <a:lnTo>
                  <a:pt x="654" y="527"/>
                </a:lnTo>
                <a:lnTo>
                  <a:pt x="680" y="558"/>
                </a:lnTo>
                <a:lnTo>
                  <a:pt x="690" y="565"/>
                </a:lnTo>
                <a:lnTo>
                  <a:pt x="694" y="565"/>
                </a:lnTo>
                <a:lnTo>
                  <a:pt x="702" y="570"/>
                </a:lnTo>
                <a:lnTo>
                  <a:pt x="704" y="575"/>
                </a:lnTo>
                <a:lnTo>
                  <a:pt x="697" y="577"/>
                </a:lnTo>
                <a:lnTo>
                  <a:pt x="694" y="575"/>
                </a:lnTo>
                <a:lnTo>
                  <a:pt x="692" y="575"/>
                </a:lnTo>
                <a:lnTo>
                  <a:pt x="687" y="577"/>
                </a:lnTo>
                <a:lnTo>
                  <a:pt x="687" y="582"/>
                </a:lnTo>
                <a:lnTo>
                  <a:pt x="690" y="584"/>
                </a:lnTo>
                <a:lnTo>
                  <a:pt x="704" y="589"/>
                </a:lnTo>
                <a:lnTo>
                  <a:pt x="709" y="584"/>
                </a:lnTo>
                <a:lnTo>
                  <a:pt x="721" y="582"/>
                </a:lnTo>
                <a:lnTo>
                  <a:pt x="757" y="570"/>
                </a:lnTo>
                <a:lnTo>
                  <a:pt x="764" y="553"/>
                </a:lnTo>
                <a:lnTo>
                  <a:pt x="766" y="551"/>
                </a:lnTo>
                <a:lnTo>
                  <a:pt x="762" y="529"/>
                </a:lnTo>
                <a:lnTo>
                  <a:pt x="762" y="520"/>
                </a:lnTo>
                <a:lnTo>
                  <a:pt x="769" y="503"/>
                </a:lnTo>
                <a:lnTo>
                  <a:pt x="776" y="505"/>
                </a:lnTo>
                <a:lnTo>
                  <a:pt x="766" y="467"/>
                </a:lnTo>
                <a:lnTo>
                  <a:pt x="769" y="450"/>
                </a:lnTo>
                <a:lnTo>
                  <a:pt x="769" y="414"/>
                </a:lnTo>
                <a:lnTo>
                  <a:pt x="762" y="387"/>
                </a:lnTo>
                <a:lnTo>
                  <a:pt x="757" y="375"/>
                </a:lnTo>
                <a:lnTo>
                  <a:pt x="730" y="344"/>
                </a:lnTo>
                <a:lnTo>
                  <a:pt x="714" y="306"/>
                </a:lnTo>
                <a:lnTo>
                  <a:pt x="694" y="279"/>
                </a:lnTo>
                <a:lnTo>
                  <a:pt x="694" y="274"/>
                </a:lnTo>
                <a:lnTo>
                  <a:pt x="692" y="267"/>
                </a:lnTo>
                <a:lnTo>
                  <a:pt x="687" y="253"/>
                </a:lnTo>
                <a:lnTo>
                  <a:pt x="687" y="248"/>
                </a:lnTo>
                <a:lnTo>
                  <a:pt x="692" y="238"/>
                </a:lnTo>
                <a:lnTo>
                  <a:pt x="692" y="234"/>
                </a:lnTo>
                <a:lnTo>
                  <a:pt x="668" y="197"/>
                </a:lnTo>
                <a:lnTo>
                  <a:pt x="651" y="183"/>
                </a:lnTo>
                <a:lnTo>
                  <a:pt x="642" y="178"/>
                </a:lnTo>
                <a:lnTo>
                  <a:pt x="639" y="173"/>
                </a:lnTo>
                <a:lnTo>
                  <a:pt x="622" y="149"/>
                </a:lnTo>
                <a:lnTo>
                  <a:pt x="601" y="109"/>
                </a:lnTo>
                <a:lnTo>
                  <a:pt x="593" y="87"/>
                </a:lnTo>
                <a:lnTo>
                  <a:pt x="579" y="53"/>
                </a:lnTo>
                <a:lnTo>
                  <a:pt x="579" y="48"/>
                </a:lnTo>
                <a:lnTo>
                  <a:pt x="574" y="41"/>
                </a:lnTo>
                <a:lnTo>
                  <a:pt x="569" y="39"/>
                </a:lnTo>
                <a:lnTo>
                  <a:pt x="567" y="17"/>
                </a:lnTo>
                <a:lnTo>
                  <a:pt x="565" y="8"/>
                </a:lnTo>
                <a:lnTo>
                  <a:pt x="557" y="10"/>
                </a:lnTo>
                <a:lnTo>
                  <a:pt x="541" y="10"/>
                </a:lnTo>
                <a:lnTo>
                  <a:pt x="524" y="0"/>
                </a:lnTo>
                <a:lnTo>
                  <a:pt x="517" y="5"/>
                </a:lnTo>
                <a:lnTo>
                  <a:pt x="514" y="10"/>
                </a:lnTo>
                <a:lnTo>
                  <a:pt x="514" y="20"/>
                </a:lnTo>
                <a:lnTo>
                  <a:pt x="521" y="41"/>
                </a:lnTo>
                <a:lnTo>
                  <a:pt x="519" y="56"/>
                </a:lnTo>
                <a:lnTo>
                  <a:pt x="505" y="53"/>
                </a:lnTo>
                <a:lnTo>
                  <a:pt x="502" y="48"/>
                </a:lnTo>
                <a:lnTo>
                  <a:pt x="497" y="36"/>
                </a:lnTo>
                <a:lnTo>
                  <a:pt x="252" y="51"/>
                </a:lnTo>
                <a:lnTo>
                  <a:pt x="248" y="44"/>
                </a:lnTo>
                <a:lnTo>
                  <a:pt x="248" y="36"/>
                </a:lnTo>
                <a:lnTo>
                  <a:pt x="240" y="27"/>
                </a:lnTo>
                <a:lnTo>
                  <a:pt x="238" y="2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1" name="Freeform 12"/>
          <p:cNvSpPr>
            <a:spLocks/>
          </p:cNvSpPr>
          <p:nvPr/>
        </p:nvSpPr>
        <p:spPr bwMode="auto">
          <a:xfrm>
            <a:off x="6480454" y="3857828"/>
            <a:ext cx="946150" cy="976312"/>
          </a:xfrm>
          <a:custGeom>
            <a:avLst/>
            <a:gdLst>
              <a:gd name="T0" fmla="*/ 87 w 596"/>
              <a:gd name="T1" fmla="*/ 0 h 615"/>
              <a:gd name="T2" fmla="*/ 0 w 596"/>
              <a:gd name="T3" fmla="*/ 605 h 615"/>
              <a:gd name="T4" fmla="*/ 0 w 596"/>
              <a:gd name="T5" fmla="*/ 608 h 615"/>
              <a:gd name="T6" fmla="*/ 80 w 596"/>
              <a:gd name="T7" fmla="*/ 615 h 615"/>
              <a:gd name="T8" fmla="*/ 84 w 596"/>
              <a:gd name="T9" fmla="*/ 569 h 615"/>
              <a:gd name="T10" fmla="*/ 233 w 596"/>
              <a:gd name="T11" fmla="*/ 586 h 615"/>
              <a:gd name="T12" fmla="*/ 231 w 596"/>
              <a:gd name="T13" fmla="*/ 586 h 615"/>
              <a:gd name="T14" fmla="*/ 226 w 596"/>
              <a:gd name="T15" fmla="*/ 577 h 615"/>
              <a:gd name="T16" fmla="*/ 231 w 596"/>
              <a:gd name="T17" fmla="*/ 569 h 615"/>
              <a:gd name="T18" fmla="*/ 231 w 596"/>
              <a:gd name="T19" fmla="*/ 569 h 615"/>
              <a:gd name="T20" fmla="*/ 226 w 596"/>
              <a:gd name="T21" fmla="*/ 564 h 615"/>
              <a:gd name="T22" fmla="*/ 228 w 596"/>
              <a:gd name="T23" fmla="*/ 562 h 615"/>
              <a:gd name="T24" fmla="*/ 550 w 596"/>
              <a:gd name="T25" fmla="*/ 593 h 615"/>
              <a:gd name="T26" fmla="*/ 589 w 596"/>
              <a:gd name="T27" fmla="*/ 110 h 615"/>
              <a:gd name="T28" fmla="*/ 593 w 596"/>
              <a:gd name="T29" fmla="*/ 110 h 615"/>
              <a:gd name="T30" fmla="*/ 596 w 596"/>
              <a:gd name="T31" fmla="*/ 57 h 615"/>
              <a:gd name="T32" fmla="*/ 87 w 596"/>
              <a:gd name="T33"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6" h="615">
                <a:moveTo>
                  <a:pt x="87" y="0"/>
                </a:moveTo>
                <a:lnTo>
                  <a:pt x="0" y="605"/>
                </a:lnTo>
                <a:lnTo>
                  <a:pt x="0" y="608"/>
                </a:lnTo>
                <a:lnTo>
                  <a:pt x="80" y="615"/>
                </a:lnTo>
                <a:lnTo>
                  <a:pt x="84" y="569"/>
                </a:lnTo>
                <a:lnTo>
                  <a:pt x="233" y="586"/>
                </a:lnTo>
                <a:lnTo>
                  <a:pt x="231" y="586"/>
                </a:lnTo>
                <a:lnTo>
                  <a:pt x="226" y="577"/>
                </a:lnTo>
                <a:lnTo>
                  <a:pt x="231" y="569"/>
                </a:lnTo>
                <a:lnTo>
                  <a:pt x="231" y="569"/>
                </a:lnTo>
                <a:lnTo>
                  <a:pt x="226" y="564"/>
                </a:lnTo>
                <a:lnTo>
                  <a:pt x="228" y="562"/>
                </a:lnTo>
                <a:lnTo>
                  <a:pt x="550" y="593"/>
                </a:lnTo>
                <a:lnTo>
                  <a:pt x="589" y="110"/>
                </a:lnTo>
                <a:lnTo>
                  <a:pt x="593" y="110"/>
                </a:lnTo>
                <a:lnTo>
                  <a:pt x="596" y="57"/>
                </a:lnTo>
                <a:lnTo>
                  <a:pt x="87"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2" name="Freeform 13"/>
          <p:cNvSpPr>
            <a:spLocks/>
          </p:cNvSpPr>
          <p:nvPr/>
        </p:nvSpPr>
        <p:spPr bwMode="auto">
          <a:xfrm>
            <a:off x="10511117" y="3232353"/>
            <a:ext cx="617538" cy="296862"/>
          </a:xfrm>
          <a:custGeom>
            <a:avLst/>
            <a:gdLst>
              <a:gd name="T0" fmla="*/ 223 w 389"/>
              <a:gd name="T1" fmla="*/ 12 h 187"/>
              <a:gd name="T2" fmla="*/ 12 w 389"/>
              <a:gd name="T3" fmla="*/ 110 h 187"/>
              <a:gd name="T4" fmla="*/ 21 w 389"/>
              <a:gd name="T5" fmla="*/ 100 h 187"/>
              <a:gd name="T6" fmla="*/ 45 w 389"/>
              <a:gd name="T7" fmla="*/ 79 h 187"/>
              <a:gd name="T8" fmla="*/ 57 w 389"/>
              <a:gd name="T9" fmla="*/ 67 h 187"/>
              <a:gd name="T10" fmla="*/ 67 w 389"/>
              <a:gd name="T11" fmla="*/ 62 h 187"/>
              <a:gd name="T12" fmla="*/ 86 w 389"/>
              <a:gd name="T13" fmla="*/ 60 h 187"/>
              <a:gd name="T14" fmla="*/ 117 w 389"/>
              <a:gd name="T15" fmla="*/ 43 h 187"/>
              <a:gd name="T16" fmla="*/ 129 w 389"/>
              <a:gd name="T17" fmla="*/ 48 h 187"/>
              <a:gd name="T18" fmla="*/ 139 w 389"/>
              <a:gd name="T19" fmla="*/ 55 h 187"/>
              <a:gd name="T20" fmla="*/ 153 w 389"/>
              <a:gd name="T21" fmla="*/ 74 h 187"/>
              <a:gd name="T22" fmla="*/ 161 w 389"/>
              <a:gd name="T23" fmla="*/ 74 h 187"/>
              <a:gd name="T24" fmla="*/ 175 w 389"/>
              <a:gd name="T25" fmla="*/ 79 h 187"/>
              <a:gd name="T26" fmla="*/ 180 w 389"/>
              <a:gd name="T27" fmla="*/ 98 h 187"/>
              <a:gd name="T28" fmla="*/ 201 w 389"/>
              <a:gd name="T29" fmla="*/ 105 h 187"/>
              <a:gd name="T30" fmla="*/ 221 w 389"/>
              <a:gd name="T31" fmla="*/ 117 h 187"/>
              <a:gd name="T32" fmla="*/ 209 w 389"/>
              <a:gd name="T33" fmla="*/ 141 h 187"/>
              <a:gd name="T34" fmla="*/ 204 w 389"/>
              <a:gd name="T35" fmla="*/ 170 h 187"/>
              <a:gd name="T36" fmla="*/ 225 w 389"/>
              <a:gd name="T37" fmla="*/ 165 h 187"/>
              <a:gd name="T38" fmla="*/ 240 w 389"/>
              <a:gd name="T39" fmla="*/ 177 h 187"/>
              <a:gd name="T40" fmla="*/ 252 w 389"/>
              <a:gd name="T41" fmla="*/ 170 h 187"/>
              <a:gd name="T42" fmla="*/ 281 w 389"/>
              <a:gd name="T43" fmla="*/ 177 h 187"/>
              <a:gd name="T44" fmla="*/ 293 w 389"/>
              <a:gd name="T45" fmla="*/ 182 h 187"/>
              <a:gd name="T46" fmla="*/ 290 w 389"/>
              <a:gd name="T47" fmla="*/ 173 h 187"/>
              <a:gd name="T48" fmla="*/ 273 w 389"/>
              <a:gd name="T49" fmla="*/ 161 h 187"/>
              <a:gd name="T50" fmla="*/ 273 w 389"/>
              <a:gd name="T51" fmla="*/ 153 h 187"/>
              <a:gd name="T52" fmla="*/ 281 w 389"/>
              <a:gd name="T53" fmla="*/ 151 h 187"/>
              <a:gd name="T54" fmla="*/ 264 w 389"/>
              <a:gd name="T55" fmla="*/ 137 h 187"/>
              <a:gd name="T56" fmla="*/ 257 w 389"/>
              <a:gd name="T57" fmla="*/ 110 h 187"/>
              <a:gd name="T58" fmla="*/ 259 w 389"/>
              <a:gd name="T59" fmla="*/ 81 h 187"/>
              <a:gd name="T60" fmla="*/ 254 w 389"/>
              <a:gd name="T61" fmla="*/ 72 h 187"/>
              <a:gd name="T62" fmla="*/ 254 w 389"/>
              <a:gd name="T63" fmla="*/ 62 h 187"/>
              <a:gd name="T64" fmla="*/ 259 w 389"/>
              <a:gd name="T65" fmla="*/ 50 h 187"/>
              <a:gd name="T66" fmla="*/ 276 w 389"/>
              <a:gd name="T67" fmla="*/ 38 h 187"/>
              <a:gd name="T68" fmla="*/ 290 w 389"/>
              <a:gd name="T69" fmla="*/ 24 h 187"/>
              <a:gd name="T70" fmla="*/ 288 w 389"/>
              <a:gd name="T71" fmla="*/ 40 h 187"/>
              <a:gd name="T72" fmla="*/ 276 w 389"/>
              <a:gd name="T73" fmla="*/ 55 h 187"/>
              <a:gd name="T74" fmla="*/ 276 w 389"/>
              <a:gd name="T75" fmla="*/ 74 h 187"/>
              <a:gd name="T76" fmla="*/ 288 w 389"/>
              <a:gd name="T77" fmla="*/ 96 h 187"/>
              <a:gd name="T78" fmla="*/ 276 w 389"/>
              <a:gd name="T79" fmla="*/ 108 h 187"/>
              <a:gd name="T80" fmla="*/ 288 w 389"/>
              <a:gd name="T81" fmla="*/ 115 h 187"/>
              <a:gd name="T82" fmla="*/ 288 w 389"/>
              <a:gd name="T83" fmla="*/ 127 h 187"/>
              <a:gd name="T84" fmla="*/ 288 w 389"/>
              <a:gd name="T85" fmla="*/ 137 h 187"/>
              <a:gd name="T86" fmla="*/ 305 w 389"/>
              <a:gd name="T87" fmla="*/ 158 h 187"/>
              <a:gd name="T88" fmla="*/ 314 w 389"/>
              <a:gd name="T89" fmla="*/ 153 h 187"/>
              <a:gd name="T90" fmla="*/ 326 w 389"/>
              <a:gd name="T91" fmla="*/ 156 h 187"/>
              <a:gd name="T92" fmla="*/ 331 w 389"/>
              <a:gd name="T93" fmla="*/ 175 h 187"/>
              <a:gd name="T94" fmla="*/ 336 w 389"/>
              <a:gd name="T95" fmla="*/ 185 h 187"/>
              <a:gd name="T96" fmla="*/ 345 w 389"/>
              <a:gd name="T97" fmla="*/ 187 h 187"/>
              <a:gd name="T98" fmla="*/ 379 w 389"/>
              <a:gd name="T99" fmla="*/ 168 h 187"/>
              <a:gd name="T100" fmla="*/ 382 w 389"/>
              <a:gd name="T101" fmla="*/ 158 h 187"/>
              <a:gd name="T102" fmla="*/ 389 w 389"/>
              <a:gd name="T103" fmla="*/ 120 h 187"/>
              <a:gd name="T104" fmla="*/ 295 w 389"/>
              <a:gd name="T10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9" h="187">
                <a:moveTo>
                  <a:pt x="295" y="0"/>
                </a:moveTo>
                <a:lnTo>
                  <a:pt x="223" y="12"/>
                </a:lnTo>
                <a:lnTo>
                  <a:pt x="0" y="55"/>
                </a:lnTo>
                <a:lnTo>
                  <a:pt x="12" y="110"/>
                </a:lnTo>
                <a:lnTo>
                  <a:pt x="16" y="103"/>
                </a:lnTo>
                <a:lnTo>
                  <a:pt x="21" y="100"/>
                </a:lnTo>
                <a:lnTo>
                  <a:pt x="38" y="81"/>
                </a:lnTo>
                <a:lnTo>
                  <a:pt x="45" y="79"/>
                </a:lnTo>
                <a:lnTo>
                  <a:pt x="50" y="69"/>
                </a:lnTo>
                <a:lnTo>
                  <a:pt x="57" y="67"/>
                </a:lnTo>
                <a:lnTo>
                  <a:pt x="62" y="57"/>
                </a:lnTo>
                <a:lnTo>
                  <a:pt x="67" y="62"/>
                </a:lnTo>
                <a:lnTo>
                  <a:pt x="77" y="64"/>
                </a:lnTo>
                <a:lnTo>
                  <a:pt x="86" y="60"/>
                </a:lnTo>
                <a:lnTo>
                  <a:pt x="91" y="52"/>
                </a:lnTo>
                <a:lnTo>
                  <a:pt x="117" y="43"/>
                </a:lnTo>
                <a:lnTo>
                  <a:pt x="122" y="48"/>
                </a:lnTo>
                <a:lnTo>
                  <a:pt x="129" y="48"/>
                </a:lnTo>
                <a:lnTo>
                  <a:pt x="137" y="45"/>
                </a:lnTo>
                <a:lnTo>
                  <a:pt x="139" y="55"/>
                </a:lnTo>
                <a:lnTo>
                  <a:pt x="144" y="55"/>
                </a:lnTo>
                <a:lnTo>
                  <a:pt x="153" y="74"/>
                </a:lnTo>
                <a:lnTo>
                  <a:pt x="153" y="74"/>
                </a:lnTo>
                <a:lnTo>
                  <a:pt x="161" y="74"/>
                </a:lnTo>
                <a:lnTo>
                  <a:pt x="165" y="76"/>
                </a:lnTo>
                <a:lnTo>
                  <a:pt x="175" y="79"/>
                </a:lnTo>
                <a:lnTo>
                  <a:pt x="170" y="86"/>
                </a:lnTo>
                <a:lnTo>
                  <a:pt x="180" y="98"/>
                </a:lnTo>
                <a:lnTo>
                  <a:pt x="194" y="98"/>
                </a:lnTo>
                <a:lnTo>
                  <a:pt x="201" y="105"/>
                </a:lnTo>
                <a:lnTo>
                  <a:pt x="213" y="110"/>
                </a:lnTo>
                <a:lnTo>
                  <a:pt x="221" y="117"/>
                </a:lnTo>
                <a:lnTo>
                  <a:pt x="218" y="125"/>
                </a:lnTo>
                <a:lnTo>
                  <a:pt x="209" y="141"/>
                </a:lnTo>
                <a:lnTo>
                  <a:pt x="201" y="158"/>
                </a:lnTo>
                <a:lnTo>
                  <a:pt x="204" y="170"/>
                </a:lnTo>
                <a:lnTo>
                  <a:pt x="216" y="170"/>
                </a:lnTo>
                <a:lnTo>
                  <a:pt x="225" y="165"/>
                </a:lnTo>
                <a:lnTo>
                  <a:pt x="235" y="175"/>
                </a:lnTo>
                <a:lnTo>
                  <a:pt x="240" y="177"/>
                </a:lnTo>
                <a:lnTo>
                  <a:pt x="240" y="173"/>
                </a:lnTo>
                <a:lnTo>
                  <a:pt x="252" y="170"/>
                </a:lnTo>
                <a:lnTo>
                  <a:pt x="264" y="173"/>
                </a:lnTo>
                <a:lnTo>
                  <a:pt x="281" y="177"/>
                </a:lnTo>
                <a:lnTo>
                  <a:pt x="290" y="182"/>
                </a:lnTo>
                <a:lnTo>
                  <a:pt x="293" y="182"/>
                </a:lnTo>
                <a:lnTo>
                  <a:pt x="293" y="177"/>
                </a:lnTo>
                <a:lnTo>
                  <a:pt x="290" y="173"/>
                </a:lnTo>
                <a:lnTo>
                  <a:pt x="283" y="161"/>
                </a:lnTo>
                <a:lnTo>
                  <a:pt x="273" y="161"/>
                </a:lnTo>
                <a:lnTo>
                  <a:pt x="273" y="158"/>
                </a:lnTo>
                <a:lnTo>
                  <a:pt x="273" y="153"/>
                </a:lnTo>
                <a:lnTo>
                  <a:pt x="276" y="153"/>
                </a:lnTo>
                <a:lnTo>
                  <a:pt x="281" y="151"/>
                </a:lnTo>
                <a:lnTo>
                  <a:pt x="271" y="146"/>
                </a:lnTo>
                <a:lnTo>
                  <a:pt x="264" y="137"/>
                </a:lnTo>
                <a:lnTo>
                  <a:pt x="259" y="117"/>
                </a:lnTo>
                <a:lnTo>
                  <a:pt x="257" y="110"/>
                </a:lnTo>
                <a:lnTo>
                  <a:pt x="254" y="98"/>
                </a:lnTo>
                <a:lnTo>
                  <a:pt x="259" y="81"/>
                </a:lnTo>
                <a:lnTo>
                  <a:pt x="257" y="74"/>
                </a:lnTo>
                <a:lnTo>
                  <a:pt x="254" y="72"/>
                </a:lnTo>
                <a:lnTo>
                  <a:pt x="254" y="67"/>
                </a:lnTo>
                <a:lnTo>
                  <a:pt x="254" y="62"/>
                </a:lnTo>
                <a:lnTo>
                  <a:pt x="257" y="57"/>
                </a:lnTo>
                <a:lnTo>
                  <a:pt x="259" y="50"/>
                </a:lnTo>
                <a:lnTo>
                  <a:pt x="273" y="40"/>
                </a:lnTo>
                <a:lnTo>
                  <a:pt x="276" y="38"/>
                </a:lnTo>
                <a:lnTo>
                  <a:pt x="281" y="24"/>
                </a:lnTo>
                <a:lnTo>
                  <a:pt x="290" y="24"/>
                </a:lnTo>
                <a:lnTo>
                  <a:pt x="293" y="28"/>
                </a:lnTo>
                <a:lnTo>
                  <a:pt x="288" y="40"/>
                </a:lnTo>
                <a:lnTo>
                  <a:pt x="283" y="48"/>
                </a:lnTo>
                <a:lnTo>
                  <a:pt x="276" y="55"/>
                </a:lnTo>
                <a:lnTo>
                  <a:pt x="273" y="64"/>
                </a:lnTo>
                <a:lnTo>
                  <a:pt x="276" y="74"/>
                </a:lnTo>
                <a:lnTo>
                  <a:pt x="283" y="76"/>
                </a:lnTo>
                <a:lnTo>
                  <a:pt x="288" y="96"/>
                </a:lnTo>
                <a:lnTo>
                  <a:pt x="288" y="100"/>
                </a:lnTo>
                <a:lnTo>
                  <a:pt x="276" y="108"/>
                </a:lnTo>
                <a:lnTo>
                  <a:pt x="278" y="110"/>
                </a:lnTo>
                <a:lnTo>
                  <a:pt x="288" y="115"/>
                </a:lnTo>
                <a:lnTo>
                  <a:pt x="290" y="117"/>
                </a:lnTo>
                <a:lnTo>
                  <a:pt x="288" y="127"/>
                </a:lnTo>
                <a:lnTo>
                  <a:pt x="290" y="132"/>
                </a:lnTo>
                <a:lnTo>
                  <a:pt x="288" y="137"/>
                </a:lnTo>
                <a:lnTo>
                  <a:pt x="293" y="149"/>
                </a:lnTo>
                <a:lnTo>
                  <a:pt x="305" y="158"/>
                </a:lnTo>
                <a:lnTo>
                  <a:pt x="312" y="158"/>
                </a:lnTo>
                <a:lnTo>
                  <a:pt x="314" y="153"/>
                </a:lnTo>
                <a:lnTo>
                  <a:pt x="321" y="153"/>
                </a:lnTo>
                <a:lnTo>
                  <a:pt x="326" y="156"/>
                </a:lnTo>
                <a:lnTo>
                  <a:pt x="324" y="163"/>
                </a:lnTo>
                <a:lnTo>
                  <a:pt x="331" y="175"/>
                </a:lnTo>
                <a:lnTo>
                  <a:pt x="331" y="180"/>
                </a:lnTo>
                <a:lnTo>
                  <a:pt x="336" y="185"/>
                </a:lnTo>
                <a:lnTo>
                  <a:pt x="345" y="185"/>
                </a:lnTo>
                <a:lnTo>
                  <a:pt x="345" y="187"/>
                </a:lnTo>
                <a:lnTo>
                  <a:pt x="353" y="177"/>
                </a:lnTo>
                <a:lnTo>
                  <a:pt x="379" y="168"/>
                </a:lnTo>
                <a:lnTo>
                  <a:pt x="382" y="165"/>
                </a:lnTo>
                <a:lnTo>
                  <a:pt x="382" y="158"/>
                </a:lnTo>
                <a:lnTo>
                  <a:pt x="389" y="122"/>
                </a:lnTo>
                <a:lnTo>
                  <a:pt x="389" y="120"/>
                </a:lnTo>
                <a:lnTo>
                  <a:pt x="336" y="132"/>
                </a:lnTo>
                <a:lnTo>
                  <a:pt x="295"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3" name="Freeform 14"/>
          <p:cNvSpPr>
            <a:spLocks/>
          </p:cNvSpPr>
          <p:nvPr/>
        </p:nvSpPr>
        <p:spPr bwMode="auto">
          <a:xfrm>
            <a:off x="6839229" y="4032453"/>
            <a:ext cx="1890713" cy="1843087"/>
          </a:xfrm>
          <a:custGeom>
            <a:avLst/>
            <a:gdLst>
              <a:gd name="T0" fmla="*/ 1083 w 1191"/>
              <a:gd name="T1" fmla="*/ 320 h 1161"/>
              <a:gd name="T2" fmla="*/ 1004 w 1191"/>
              <a:gd name="T3" fmla="*/ 301 h 1161"/>
              <a:gd name="T4" fmla="*/ 956 w 1191"/>
              <a:gd name="T5" fmla="*/ 308 h 1161"/>
              <a:gd name="T6" fmla="*/ 915 w 1191"/>
              <a:gd name="T7" fmla="*/ 308 h 1161"/>
              <a:gd name="T8" fmla="*/ 903 w 1191"/>
              <a:gd name="T9" fmla="*/ 308 h 1161"/>
              <a:gd name="T10" fmla="*/ 884 w 1191"/>
              <a:gd name="T11" fmla="*/ 298 h 1161"/>
              <a:gd name="T12" fmla="*/ 865 w 1191"/>
              <a:gd name="T13" fmla="*/ 322 h 1161"/>
              <a:gd name="T14" fmla="*/ 855 w 1191"/>
              <a:gd name="T15" fmla="*/ 303 h 1161"/>
              <a:gd name="T16" fmla="*/ 814 w 1191"/>
              <a:gd name="T17" fmla="*/ 296 h 1161"/>
              <a:gd name="T18" fmla="*/ 790 w 1191"/>
              <a:gd name="T19" fmla="*/ 291 h 1161"/>
              <a:gd name="T20" fmla="*/ 752 w 1191"/>
              <a:gd name="T21" fmla="*/ 281 h 1161"/>
              <a:gd name="T22" fmla="*/ 728 w 1191"/>
              <a:gd name="T23" fmla="*/ 272 h 1161"/>
              <a:gd name="T24" fmla="*/ 689 w 1191"/>
              <a:gd name="T25" fmla="*/ 262 h 1161"/>
              <a:gd name="T26" fmla="*/ 672 w 1191"/>
              <a:gd name="T27" fmla="*/ 241 h 1161"/>
              <a:gd name="T28" fmla="*/ 632 w 1191"/>
              <a:gd name="T29" fmla="*/ 229 h 1161"/>
              <a:gd name="T30" fmla="*/ 367 w 1191"/>
              <a:gd name="T31" fmla="*/ 0 h 1161"/>
              <a:gd name="T32" fmla="*/ 0 w 1191"/>
              <a:gd name="T33" fmla="*/ 454 h 1161"/>
              <a:gd name="T34" fmla="*/ 5 w 1191"/>
              <a:gd name="T35" fmla="*/ 476 h 1161"/>
              <a:gd name="T36" fmla="*/ 34 w 1191"/>
              <a:gd name="T37" fmla="*/ 515 h 1161"/>
              <a:gd name="T38" fmla="*/ 147 w 1191"/>
              <a:gd name="T39" fmla="*/ 623 h 1161"/>
              <a:gd name="T40" fmla="*/ 161 w 1191"/>
              <a:gd name="T41" fmla="*/ 661 h 1161"/>
              <a:gd name="T42" fmla="*/ 240 w 1191"/>
              <a:gd name="T43" fmla="*/ 777 h 1161"/>
              <a:gd name="T44" fmla="*/ 312 w 1191"/>
              <a:gd name="T45" fmla="*/ 789 h 1161"/>
              <a:gd name="T46" fmla="*/ 353 w 1191"/>
              <a:gd name="T47" fmla="*/ 724 h 1161"/>
              <a:gd name="T48" fmla="*/ 377 w 1191"/>
              <a:gd name="T49" fmla="*/ 714 h 1161"/>
              <a:gd name="T50" fmla="*/ 425 w 1191"/>
              <a:gd name="T51" fmla="*/ 731 h 1161"/>
              <a:gd name="T52" fmla="*/ 473 w 1191"/>
              <a:gd name="T53" fmla="*/ 753 h 1161"/>
              <a:gd name="T54" fmla="*/ 490 w 1191"/>
              <a:gd name="T55" fmla="*/ 765 h 1161"/>
              <a:gd name="T56" fmla="*/ 528 w 1191"/>
              <a:gd name="T57" fmla="*/ 817 h 1161"/>
              <a:gd name="T58" fmla="*/ 593 w 1191"/>
              <a:gd name="T59" fmla="*/ 940 h 1161"/>
              <a:gd name="T60" fmla="*/ 632 w 1191"/>
              <a:gd name="T61" fmla="*/ 981 h 1161"/>
              <a:gd name="T62" fmla="*/ 644 w 1191"/>
              <a:gd name="T63" fmla="*/ 1046 h 1161"/>
              <a:gd name="T64" fmla="*/ 701 w 1191"/>
              <a:gd name="T65" fmla="*/ 1111 h 1161"/>
              <a:gd name="T66" fmla="*/ 800 w 1191"/>
              <a:gd name="T67" fmla="*/ 1142 h 1161"/>
              <a:gd name="T68" fmla="*/ 850 w 1191"/>
              <a:gd name="T69" fmla="*/ 1151 h 1161"/>
              <a:gd name="T70" fmla="*/ 848 w 1191"/>
              <a:gd name="T71" fmla="*/ 1137 h 1161"/>
              <a:gd name="T72" fmla="*/ 829 w 1191"/>
              <a:gd name="T73" fmla="*/ 1024 h 1161"/>
              <a:gd name="T74" fmla="*/ 819 w 1191"/>
              <a:gd name="T75" fmla="*/ 1010 h 1161"/>
              <a:gd name="T76" fmla="*/ 843 w 1191"/>
              <a:gd name="T77" fmla="*/ 969 h 1161"/>
              <a:gd name="T78" fmla="*/ 850 w 1191"/>
              <a:gd name="T79" fmla="*/ 952 h 1161"/>
              <a:gd name="T80" fmla="*/ 865 w 1191"/>
              <a:gd name="T81" fmla="*/ 914 h 1161"/>
              <a:gd name="T82" fmla="*/ 881 w 1191"/>
              <a:gd name="T83" fmla="*/ 916 h 1161"/>
              <a:gd name="T84" fmla="*/ 891 w 1191"/>
              <a:gd name="T85" fmla="*/ 899 h 1161"/>
              <a:gd name="T86" fmla="*/ 903 w 1191"/>
              <a:gd name="T87" fmla="*/ 897 h 1161"/>
              <a:gd name="T88" fmla="*/ 927 w 1191"/>
              <a:gd name="T89" fmla="*/ 882 h 1161"/>
              <a:gd name="T90" fmla="*/ 939 w 1191"/>
              <a:gd name="T91" fmla="*/ 861 h 1161"/>
              <a:gd name="T92" fmla="*/ 949 w 1191"/>
              <a:gd name="T93" fmla="*/ 870 h 1161"/>
              <a:gd name="T94" fmla="*/ 1042 w 1191"/>
              <a:gd name="T95" fmla="*/ 822 h 1161"/>
              <a:gd name="T96" fmla="*/ 1059 w 1191"/>
              <a:gd name="T97" fmla="*/ 767 h 1161"/>
              <a:gd name="T98" fmla="*/ 1081 w 1191"/>
              <a:gd name="T99" fmla="*/ 762 h 1161"/>
              <a:gd name="T100" fmla="*/ 1143 w 1191"/>
              <a:gd name="T101" fmla="*/ 753 h 1161"/>
              <a:gd name="T102" fmla="*/ 1162 w 1191"/>
              <a:gd name="T103" fmla="*/ 743 h 1161"/>
              <a:gd name="T104" fmla="*/ 1172 w 1191"/>
              <a:gd name="T105" fmla="*/ 719 h 1161"/>
              <a:gd name="T106" fmla="*/ 1174 w 1191"/>
              <a:gd name="T107" fmla="*/ 673 h 1161"/>
              <a:gd name="T108" fmla="*/ 1189 w 1191"/>
              <a:gd name="T109" fmla="*/ 637 h 1161"/>
              <a:gd name="T110" fmla="*/ 1182 w 1191"/>
              <a:gd name="T111" fmla="*/ 577 h 1161"/>
              <a:gd name="T112" fmla="*/ 1172 w 1191"/>
              <a:gd name="T113" fmla="*/ 553 h 1161"/>
              <a:gd name="T114" fmla="*/ 1160 w 1191"/>
              <a:gd name="T115" fmla="*/ 519 h 1161"/>
              <a:gd name="T116" fmla="*/ 1141 w 1191"/>
              <a:gd name="T117" fmla="*/ 337 h 1161"/>
              <a:gd name="T118" fmla="*/ 1098 w 1191"/>
              <a:gd name="T119" fmla="*/ 327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91" h="1161">
                <a:moveTo>
                  <a:pt x="1098" y="327"/>
                </a:moveTo>
                <a:lnTo>
                  <a:pt x="1093" y="325"/>
                </a:lnTo>
                <a:lnTo>
                  <a:pt x="1090" y="322"/>
                </a:lnTo>
                <a:lnTo>
                  <a:pt x="1083" y="320"/>
                </a:lnTo>
                <a:lnTo>
                  <a:pt x="1040" y="296"/>
                </a:lnTo>
                <a:lnTo>
                  <a:pt x="1037" y="298"/>
                </a:lnTo>
                <a:lnTo>
                  <a:pt x="1023" y="303"/>
                </a:lnTo>
                <a:lnTo>
                  <a:pt x="1004" y="301"/>
                </a:lnTo>
                <a:lnTo>
                  <a:pt x="997" y="301"/>
                </a:lnTo>
                <a:lnTo>
                  <a:pt x="992" y="301"/>
                </a:lnTo>
                <a:lnTo>
                  <a:pt x="975" y="308"/>
                </a:lnTo>
                <a:lnTo>
                  <a:pt x="956" y="308"/>
                </a:lnTo>
                <a:lnTo>
                  <a:pt x="951" y="310"/>
                </a:lnTo>
                <a:lnTo>
                  <a:pt x="937" y="322"/>
                </a:lnTo>
                <a:lnTo>
                  <a:pt x="922" y="313"/>
                </a:lnTo>
                <a:lnTo>
                  <a:pt x="915" y="308"/>
                </a:lnTo>
                <a:lnTo>
                  <a:pt x="915" y="305"/>
                </a:lnTo>
                <a:lnTo>
                  <a:pt x="913" y="305"/>
                </a:lnTo>
                <a:lnTo>
                  <a:pt x="908" y="303"/>
                </a:lnTo>
                <a:lnTo>
                  <a:pt x="903" y="308"/>
                </a:lnTo>
                <a:lnTo>
                  <a:pt x="898" y="308"/>
                </a:lnTo>
                <a:lnTo>
                  <a:pt x="889" y="305"/>
                </a:lnTo>
                <a:lnTo>
                  <a:pt x="889" y="298"/>
                </a:lnTo>
                <a:lnTo>
                  <a:pt x="884" y="298"/>
                </a:lnTo>
                <a:lnTo>
                  <a:pt x="877" y="303"/>
                </a:lnTo>
                <a:lnTo>
                  <a:pt x="869" y="313"/>
                </a:lnTo>
                <a:lnTo>
                  <a:pt x="869" y="318"/>
                </a:lnTo>
                <a:lnTo>
                  <a:pt x="865" y="322"/>
                </a:lnTo>
                <a:lnTo>
                  <a:pt x="862" y="315"/>
                </a:lnTo>
                <a:lnTo>
                  <a:pt x="862" y="305"/>
                </a:lnTo>
                <a:lnTo>
                  <a:pt x="862" y="303"/>
                </a:lnTo>
                <a:lnTo>
                  <a:pt x="855" y="303"/>
                </a:lnTo>
                <a:lnTo>
                  <a:pt x="845" y="308"/>
                </a:lnTo>
                <a:lnTo>
                  <a:pt x="843" y="308"/>
                </a:lnTo>
                <a:lnTo>
                  <a:pt x="821" y="293"/>
                </a:lnTo>
                <a:lnTo>
                  <a:pt x="814" y="296"/>
                </a:lnTo>
                <a:lnTo>
                  <a:pt x="812" y="305"/>
                </a:lnTo>
                <a:lnTo>
                  <a:pt x="795" y="303"/>
                </a:lnTo>
                <a:lnTo>
                  <a:pt x="795" y="291"/>
                </a:lnTo>
                <a:lnTo>
                  <a:pt x="790" y="291"/>
                </a:lnTo>
                <a:lnTo>
                  <a:pt x="781" y="281"/>
                </a:lnTo>
                <a:lnTo>
                  <a:pt x="781" y="279"/>
                </a:lnTo>
                <a:lnTo>
                  <a:pt x="759" y="274"/>
                </a:lnTo>
                <a:lnTo>
                  <a:pt x="752" y="281"/>
                </a:lnTo>
                <a:lnTo>
                  <a:pt x="742" y="277"/>
                </a:lnTo>
                <a:lnTo>
                  <a:pt x="737" y="269"/>
                </a:lnTo>
                <a:lnTo>
                  <a:pt x="730" y="272"/>
                </a:lnTo>
                <a:lnTo>
                  <a:pt x="728" y="272"/>
                </a:lnTo>
                <a:lnTo>
                  <a:pt x="723" y="272"/>
                </a:lnTo>
                <a:lnTo>
                  <a:pt x="716" y="269"/>
                </a:lnTo>
                <a:lnTo>
                  <a:pt x="692" y="265"/>
                </a:lnTo>
                <a:lnTo>
                  <a:pt x="689" y="262"/>
                </a:lnTo>
                <a:lnTo>
                  <a:pt x="684" y="255"/>
                </a:lnTo>
                <a:lnTo>
                  <a:pt x="684" y="250"/>
                </a:lnTo>
                <a:lnTo>
                  <a:pt x="682" y="245"/>
                </a:lnTo>
                <a:lnTo>
                  <a:pt x="672" y="241"/>
                </a:lnTo>
                <a:lnTo>
                  <a:pt x="668" y="245"/>
                </a:lnTo>
                <a:lnTo>
                  <a:pt x="648" y="248"/>
                </a:lnTo>
                <a:lnTo>
                  <a:pt x="644" y="243"/>
                </a:lnTo>
                <a:lnTo>
                  <a:pt x="632" y="229"/>
                </a:lnTo>
                <a:lnTo>
                  <a:pt x="624" y="224"/>
                </a:lnTo>
                <a:lnTo>
                  <a:pt x="617" y="221"/>
                </a:lnTo>
                <a:lnTo>
                  <a:pt x="622" y="15"/>
                </a:lnTo>
                <a:lnTo>
                  <a:pt x="367" y="0"/>
                </a:lnTo>
                <a:lnTo>
                  <a:pt x="363" y="0"/>
                </a:lnTo>
                <a:lnTo>
                  <a:pt x="324" y="483"/>
                </a:lnTo>
                <a:lnTo>
                  <a:pt x="2" y="452"/>
                </a:lnTo>
                <a:lnTo>
                  <a:pt x="0" y="454"/>
                </a:lnTo>
                <a:lnTo>
                  <a:pt x="5" y="459"/>
                </a:lnTo>
                <a:lnTo>
                  <a:pt x="5" y="459"/>
                </a:lnTo>
                <a:lnTo>
                  <a:pt x="0" y="467"/>
                </a:lnTo>
                <a:lnTo>
                  <a:pt x="5" y="476"/>
                </a:lnTo>
                <a:lnTo>
                  <a:pt x="7" y="476"/>
                </a:lnTo>
                <a:lnTo>
                  <a:pt x="24" y="488"/>
                </a:lnTo>
                <a:lnTo>
                  <a:pt x="26" y="498"/>
                </a:lnTo>
                <a:lnTo>
                  <a:pt x="34" y="515"/>
                </a:lnTo>
                <a:lnTo>
                  <a:pt x="50" y="524"/>
                </a:lnTo>
                <a:lnTo>
                  <a:pt x="101" y="584"/>
                </a:lnTo>
                <a:lnTo>
                  <a:pt x="142" y="618"/>
                </a:lnTo>
                <a:lnTo>
                  <a:pt x="147" y="623"/>
                </a:lnTo>
                <a:lnTo>
                  <a:pt x="149" y="632"/>
                </a:lnTo>
                <a:lnTo>
                  <a:pt x="147" y="640"/>
                </a:lnTo>
                <a:lnTo>
                  <a:pt x="151" y="644"/>
                </a:lnTo>
                <a:lnTo>
                  <a:pt x="161" y="661"/>
                </a:lnTo>
                <a:lnTo>
                  <a:pt x="159" y="695"/>
                </a:lnTo>
                <a:lnTo>
                  <a:pt x="161" y="704"/>
                </a:lnTo>
                <a:lnTo>
                  <a:pt x="178" y="728"/>
                </a:lnTo>
                <a:lnTo>
                  <a:pt x="240" y="777"/>
                </a:lnTo>
                <a:lnTo>
                  <a:pt x="283" y="803"/>
                </a:lnTo>
                <a:lnTo>
                  <a:pt x="293" y="805"/>
                </a:lnTo>
                <a:lnTo>
                  <a:pt x="303" y="801"/>
                </a:lnTo>
                <a:lnTo>
                  <a:pt x="312" y="789"/>
                </a:lnTo>
                <a:lnTo>
                  <a:pt x="319" y="781"/>
                </a:lnTo>
                <a:lnTo>
                  <a:pt x="339" y="741"/>
                </a:lnTo>
                <a:lnTo>
                  <a:pt x="346" y="726"/>
                </a:lnTo>
                <a:lnTo>
                  <a:pt x="353" y="724"/>
                </a:lnTo>
                <a:lnTo>
                  <a:pt x="367" y="728"/>
                </a:lnTo>
                <a:lnTo>
                  <a:pt x="372" y="726"/>
                </a:lnTo>
                <a:lnTo>
                  <a:pt x="375" y="721"/>
                </a:lnTo>
                <a:lnTo>
                  <a:pt x="377" y="714"/>
                </a:lnTo>
                <a:lnTo>
                  <a:pt x="387" y="719"/>
                </a:lnTo>
                <a:lnTo>
                  <a:pt x="394" y="724"/>
                </a:lnTo>
                <a:lnTo>
                  <a:pt x="418" y="726"/>
                </a:lnTo>
                <a:lnTo>
                  <a:pt x="425" y="731"/>
                </a:lnTo>
                <a:lnTo>
                  <a:pt x="439" y="736"/>
                </a:lnTo>
                <a:lnTo>
                  <a:pt x="449" y="731"/>
                </a:lnTo>
                <a:lnTo>
                  <a:pt x="468" y="743"/>
                </a:lnTo>
                <a:lnTo>
                  <a:pt x="473" y="753"/>
                </a:lnTo>
                <a:lnTo>
                  <a:pt x="476" y="755"/>
                </a:lnTo>
                <a:lnTo>
                  <a:pt x="478" y="760"/>
                </a:lnTo>
                <a:lnTo>
                  <a:pt x="480" y="760"/>
                </a:lnTo>
                <a:lnTo>
                  <a:pt x="490" y="765"/>
                </a:lnTo>
                <a:lnTo>
                  <a:pt x="500" y="779"/>
                </a:lnTo>
                <a:lnTo>
                  <a:pt x="519" y="796"/>
                </a:lnTo>
                <a:lnTo>
                  <a:pt x="528" y="810"/>
                </a:lnTo>
                <a:lnTo>
                  <a:pt x="528" y="817"/>
                </a:lnTo>
                <a:lnTo>
                  <a:pt x="555" y="882"/>
                </a:lnTo>
                <a:lnTo>
                  <a:pt x="560" y="897"/>
                </a:lnTo>
                <a:lnTo>
                  <a:pt x="591" y="930"/>
                </a:lnTo>
                <a:lnTo>
                  <a:pt x="593" y="940"/>
                </a:lnTo>
                <a:lnTo>
                  <a:pt x="615" y="962"/>
                </a:lnTo>
                <a:lnTo>
                  <a:pt x="620" y="966"/>
                </a:lnTo>
                <a:lnTo>
                  <a:pt x="629" y="976"/>
                </a:lnTo>
                <a:lnTo>
                  <a:pt x="632" y="981"/>
                </a:lnTo>
                <a:lnTo>
                  <a:pt x="629" y="1005"/>
                </a:lnTo>
                <a:lnTo>
                  <a:pt x="636" y="1012"/>
                </a:lnTo>
                <a:lnTo>
                  <a:pt x="639" y="1039"/>
                </a:lnTo>
                <a:lnTo>
                  <a:pt x="644" y="1046"/>
                </a:lnTo>
                <a:lnTo>
                  <a:pt x="668" y="1089"/>
                </a:lnTo>
                <a:lnTo>
                  <a:pt x="668" y="1101"/>
                </a:lnTo>
                <a:lnTo>
                  <a:pt x="684" y="1101"/>
                </a:lnTo>
                <a:lnTo>
                  <a:pt x="701" y="1111"/>
                </a:lnTo>
                <a:lnTo>
                  <a:pt x="720" y="1118"/>
                </a:lnTo>
                <a:lnTo>
                  <a:pt x="752" y="1137"/>
                </a:lnTo>
                <a:lnTo>
                  <a:pt x="790" y="1142"/>
                </a:lnTo>
                <a:lnTo>
                  <a:pt x="800" y="1142"/>
                </a:lnTo>
                <a:lnTo>
                  <a:pt x="821" y="1156"/>
                </a:lnTo>
                <a:lnTo>
                  <a:pt x="831" y="1161"/>
                </a:lnTo>
                <a:lnTo>
                  <a:pt x="843" y="1149"/>
                </a:lnTo>
                <a:lnTo>
                  <a:pt x="850" y="1151"/>
                </a:lnTo>
                <a:lnTo>
                  <a:pt x="855" y="1149"/>
                </a:lnTo>
                <a:lnTo>
                  <a:pt x="855" y="1142"/>
                </a:lnTo>
                <a:lnTo>
                  <a:pt x="845" y="1139"/>
                </a:lnTo>
                <a:lnTo>
                  <a:pt x="848" y="1137"/>
                </a:lnTo>
                <a:lnTo>
                  <a:pt x="838" y="1125"/>
                </a:lnTo>
                <a:lnTo>
                  <a:pt x="824" y="1075"/>
                </a:lnTo>
                <a:lnTo>
                  <a:pt x="817" y="1055"/>
                </a:lnTo>
                <a:lnTo>
                  <a:pt x="829" y="1024"/>
                </a:lnTo>
                <a:lnTo>
                  <a:pt x="826" y="1014"/>
                </a:lnTo>
                <a:lnTo>
                  <a:pt x="824" y="1012"/>
                </a:lnTo>
                <a:lnTo>
                  <a:pt x="821" y="1012"/>
                </a:lnTo>
                <a:lnTo>
                  <a:pt x="819" y="1010"/>
                </a:lnTo>
                <a:lnTo>
                  <a:pt x="819" y="1007"/>
                </a:lnTo>
                <a:lnTo>
                  <a:pt x="821" y="1005"/>
                </a:lnTo>
                <a:lnTo>
                  <a:pt x="833" y="998"/>
                </a:lnTo>
                <a:lnTo>
                  <a:pt x="843" y="969"/>
                </a:lnTo>
                <a:lnTo>
                  <a:pt x="836" y="966"/>
                </a:lnTo>
                <a:lnTo>
                  <a:pt x="833" y="954"/>
                </a:lnTo>
                <a:lnTo>
                  <a:pt x="841" y="945"/>
                </a:lnTo>
                <a:lnTo>
                  <a:pt x="850" y="952"/>
                </a:lnTo>
                <a:lnTo>
                  <a:pt x="865" y="940"/>
                </a:lnTo>
                <a:lnTo>
                  <a:pt x="869" y="928"/>
                </a:lnTo>
                <a:lnTo>
                  <a:pt x="862" y="921"/>
                </a:lnTo>
                <a:lnTo>
                  <a:pt x="865" y="914"/>
                </a:lnTo>
                <a:lnTo>
                  <a:pt x="867" y="916"/>
                </a:lnTo>
                <a:lnTo>
                  <a:pt x="872" y="916"/>
                </a:lnTo>
                <a:lnTo>
                  <a:pt x="877" y="914"/>
                </a:lnTo>
                <a:lnTo>
                  <a:pt x="881" y="916"/>
                </a:lnTo>
                <a:lnTo>
                  <a:pt x="886" y="916"/>
                </a:lnTo>
                <a:lnTo>
                  <a:pt x="891" y="914"/>
                </a:lnTo>
                <a:lnTo>
                  <a:pt x="891" y="911"/>
                </a:lnTo>
                <a:lnTo>
                  <a:pt x="891" y="899"/>
                </a:lnTo>
                <a:lnTo>
                  <a:pt x="893" y="894"/>
                </a:lnTo>
                <a:lnTo>
                  <a:pt x="896" y="894"/>
                </a:lnTo>
                <a:lnTo>
                  <a:pt x="898" y="897"/>
                </a:lnTo>
                <a:lnTo>
                  <a:pt x="903" y="897"/>
                </a:lnTo>
                <a:lnTo>
                  <a:pt x="925" y="892"/>
                </a:lnTo>
                <a:lnTo>
                  <a:pt x="927" y="890"/>
                </a:lnTo>
                <a:lnTo>
                  <a:pt x="929" y="885"/>
                </a:lnTo>
                <a:lnTo>
                  <a:pt x="927" y="882"/>
                </a:lnTo>
                <a:lnTo>
                  <a:pt x="915" y="878"/>
                </a:lnTo>
                <a:lnTo>
                  <a:pt x="915" y="870"/>
                </a:lnTo>
                <a:lnTo>
                  <a:pt x="937" y="865"/>
                </a:lnTo>
                <a:lnTo>
                  <a:pt x="939" y="861"/>
                </a:lnTo>
                <a:lnTo>
                  <a:pt x="946" y="861"/>
                </a:lnTo>
                <a:lnTo>
                  <a:pt x="946" y="861"/>
                </a:lnTo>
                <a:lnTo>
                  <a:pt x="944" y="863"/>
                </a:lnTo>
                <a:lnTo>
                  <a:pt x="949" y="870"/>
                </a:lnTo>
                <a:lnTo>
                  <a:pt x="951" y="870"/>
                </a:lnTo>
                <a:lnTo>
                  <a:pt x="956" y="865"/>
                </a:lnTo>
                <a:lnTo>
                  <a:pt x="987" y="856"/>
                </a:lnTo>
                <a:lnTo>
                  <a:pt x="1042" y="822"/>
                </a:lnTo>
                <a:lnTo>
                  <a:pt x="1045" y="808"/>
                </a:lnTo>
                <a:lnTo>
                  <a:pt x="1071" y="786"/>
                </a:lnTo>
                <a:lnTo>
                  <a:pt x="1071" y="781"/>
                </a:lnTo>
                <a:lnTo>
                  <a:pt x="1059" y="767"/>
                </a:lnTo>
                <a:lnTo>
                  <a:pt x="1061" y="755"/>
                </a:lnTo>
                <a:lnTo>
                  <a:pt x="1078" y="748"/>
                </a:lnTo>
                <a:lnTo>
                  <a:pt x="1083" y="748"/>
                </a:lnTo>
                <a:lnTo>
                  <a:pt x="1081" y="762"/>
                </a:lnTo>
                <a:lnTo>
                  <a:pt x="1083" y="767"/>
                </a:lnTo>
                <a:lnTo>
                  <a:pt x="1102" y="765"/>
                </a:lnTo>
                <a:lnTo>
                  <a:pt x="1105" y="769"/>
                </a:lnTo>
                <a:lnTo>
                  <a:pt x="1143" y="753"/>
                </a:lnTo>
                <a:lnTo>
                  <a:pt x="1165" y="750"/>
                </a:lnTo>
                <a:lnTo>
                  <a:pt x="1167" y="748"/>
                </a:lnTo>
                <a:lnTo>
                  <a:pt x="1165" y="745"/>
                </a:lnTo>
                <a:lnTo>
                  <a:pt x="1162" y="743"/>
                </a:lnTo>
                <a:lnTo>
                  <a:pt x="1160" y="736"/>
                </a:lnTo>
                <a:lnTo>
                  <a:pt x="1162" y="731"/>
                </a:lnTo>
                <a:lnTo>
                  <a:pt x="1165" y="726"/>
                </a:lnTo>
                <a:lnTo>
                  <a:pt x="1172" y="719"/>
                </a:lnTo>
                <a:lnTo>
                  <a:pt x="1179" y="695"/>
                </a:lnTo>
                <a:lnTo>
                  <a:pt x="1174" y="685"/>
                </a:lnTo>
                <a:lnTo>
                  <a:pt x="1174" y="678"/>
                </a:lnTo>
                <a:lnTo>
                  <a:pt x="1174" y="673"/>
                </a:lnTo>
                <a:lnTo>
                  <a:pt x="1174" y="666"/>
                </a:lnTo>
                <a:lnTo>
                  <a:pt x="1177" y="652"/>
                </a:lnTo>
                <a:lnTo>
                  <a:pt x="1184" y="647"/>
                </a:lnTo>
                <a:lnTo>
                  <a:pt x="1189" y="637"/>
                </a:lnTo>
                <a:lnTo>
                  <a:pt x="1191" y="618"/>
                </a:lnTo>
                <a:lnTo>
                  <a:pt x="1191" y="606"/>
                </a:lnTo>
                <a:lnTo>
                  <a:pt x="1189" y="589"/>
                </a:lnTo>
                <a:lnTo>
                  <a:pt x="1182" y="577"/>
                </a:lnTo>
                <a:lnTo>
                  <a:pt x="1177" y="575"/>
                </a:lnTo>
                <a:lnTo>
                  <a:pt x="1179" y="567"/>
                </a:lnTo>
                <a:lnTo>
                  <a:pt x="1177" y="565"/>
                </a:lnTo>
                <a:lnTo>
                  <a:pt x="1172" y="553"/>
                </a:lnTo>
                <a:lnTo>
                  <a:pt x="1165" y="548"/>
                </a:lnTo>
                <a:lnTo>
                  <a:pt x="1162" y="546"/>
                </a:lnTo>
                <a:lnTo>
                  <a:pt x="1167" y="534"/>
                </a:lnTo>
                <a:lnTo>
                  <a:pt x="1160" y="519"/>
                </a:lnTo>
                <a:lnTo>
                  <a:pt x="1146" y="507"/>
                </a:lnTo>
                <a:lnTo>
                  <a:pt x="1143" y="500"/>
                </a:lnTo>
                <a:lnTo>
                  <a:pt x="1141" y="392"/>
                </a:lnTo>
                <a:lnTo>
                  <a:pt x="1141" y="337"/>
                </a:lnTo>
                <a:lnTo>
                  <a:pt x="1126" y="332"/>
                </a:lnTo>
                <a:lnTo>
                  <a:pt x="1114" y="337"/>
                </a:lnTo>
                <a:lnTo>
                  <a:pt x="1110" y="337"/>
                </a:lnTo>
                <a:lnTo>
                  <a:pt x="1098" y="32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4" name="Freeform 15"/>
          <p:cNvSpPr>
            <a:spLocks/>
          </p:cNvSpPr>
          <p:nvPr/>
        </p:nvSpPr>
        <p:spPr bwMode="auto">
          <a:xfrm>
            <a:off x="7559954" y="3441903"/>
            <a:ext cx="998538" cy="538162"/>
          </a:xfrm>
          <a:custGeom>
            <a:avLst/>
            <a:gdLst>
              <a:gd name="T0" fmla="*/ 19 w 629"/>
              <a:gd name="T1" fmla="*/ 0 h 339"/>
              <a:gd name="T2" fmla="*/ 564 w 629"/>
              <a:gd name="T3" fmla="*/ 12 h 339"/>
              <a:gd name="T4" fmla="*/ 600 w 629"/>
              <a:gd name="T5" fmla="*/ 38 h 339"/>
              <a:gd name="T6" fmla="*/ 588 w 629"/>
              <a:gd name="T7" fmla="*/ 53 h 339"/>
              <a:gd name="T8" fmla="*/ 586 w 629"/>
              <a:gd name="T9" fmla="*/ 67 h 339"/>
              <a:gd name="T10" fmla="*/ 593 w 629"/>
              <a:gd name="T11" fmla="*/ 72 h 339"/>
              <a:gd name="T12" fmla="*/ 603 w 629"/>
              <a:gd name="T13" fmla="*/ 77 h 339"/>
              <a:gd name="T14" fmla="*/ 607 w 629"/>
              <a:gd name="T15" fmla="*/ 96 h 339"/>
              <a:gd name="T16" fmla="*/ 615 w 629"/>
              <a:gd name="T17" fmla="*/ 101 h 339"/>
              <a:gd name="T18" fmla="*/ 624 w 629"/>
              <a:gd name="T19" fmla="*/ 103 h 339"/>
              <a:gd name="T20" fmla="*/ 627 w 629"/>
              <a:gd name="T21" fmla="*/ 105 h 339"/>
              <a:gd name="T22" fmla="*/ 629 w 629"/>
              <a:gd name="T23" fmla="*/ 339 h 339"/>
              <a:gd name="T24" fmla="*/ 0 w 629"/>
              <a:gd name="T25" fmla="*/ 324 h 339"/>
              <a:gd name="T26" fmla="*/ 19 w 629"/>
              <a:gd name="T27"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9" h="339">
                <a:moveTo>
                  <a:pt x="19" y="0"/>
                </a:moveTo>
                <a:lnTo>
                  <a:pt x="564" y="12"/>
                </a:lnTo>
                <a:lnTo>
                  <a:pt x="600" y="38"/>
                </a:lnTo>
                <a:lnTo>
                  <a:pt x="588" y="53"/>
                </a:lnTo>
                <a:lnTo>
                  <a:pt x="586" y="67"/>
                </a:lnTo>
                <a:lnTo>
                  <a:pt x="593" y="72"/>
                </a:lnTo>
                <a:lnTo>
                  <a:pt x="603" y="77"/>
                </a:lnTo>
                <a:lnTo>
                  <a:pt x="607" y="96"/>
                </a:lnTo>
                <a:lnTo>
                  <a:pt x="615" y="101"/>
                </a:lnTo>
                <a:lnTo>
                  <a:pt x="624" y="103"/>
                </a:lnTo>
                <a:lnTo>
                  <a:pt x="627" y="105"/>
                </a:lnTo>
                <a:lnTo>
                  <a:pt x="629" y="339"/>
                </a:lnTo>
                <a:lnTo>
                  <a:pt x="0" y="324"/>
                </a:lnTo>
                <a:lnTo>
                  <a:pt x="19"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5" name="Freeform 16"/>
          <p:cNvSpPr>
            <a:spLocks/>
          </p:cNvSpPr>
          <p:nvPr/>
        </p:nvSpPr>
        <p:spPr bwMode="auto">
          <a:xfrm>
            <a:off x="7342467" y="2906915"/>
            <a:ext cx="1117600" cy="554037"/>
          </a:xfrm>
          <a:custGeom>
            <a:avLst/>
            <a:gdLst>
              <a:gd name="T0" fmla="*/ 0 w 704"/>
              <a:gd name="T1" fmla="*/ 217 h 349"/>
              <a:gd name="T2" fmla="*/ 19 w 704"/>
              <a:gd name="T3" fmla="*/ 0 h 349"/>
              <a:gd name="T4" fmla="*/ 451 w 704"/>
              <a:gd name="T5" fmla="*/ 24 h 349"/>
              <a:gd name="T6" fmla="*/ 464 w 704"/>
              <a:gd name="T7" fmla="*/ 41 h 349"/>
              <a:gd name="T8" fmla="*/ 478 w 704"/>
              <a:gd name="T9" fmla="*/ 41 h 349"/>
              <a:gd name="T10" fmla="*/ 490 w 704"/>
              <a:gd name="T11" fmla="*/ 39 h 349"/>
              <a:gd name="T12" fmla="*/ 497 w 704"/>
              <a:gd name="T13" fmla="*/ 44 h 349"/>
              <a:gd name="T14" fmla="*/ 504 w 704"/>
              <a:gd name="T15" fmla="*/ 58 h 349"/>
              <a:gd name="T16" fmla="*/ 514 w 704"/>
              <a:gd name="T17" fmla="*/ 60 h 349"/>
              <a:gd name="T18" fmla="*/ 526 w 704"/>
              <a:gd name="T19" fmla="*/ 58 h 349"/>
              <a:gd name="T20" fmla="*/ 538 w 704"/>
              <a:gd name="T21" fmla="*/ 48 h 349"/>
              <a:gd name="T22" fmla="*/ 552 w 704"/>
              <a:gd name="T23" fmla="*/ 48 h 349"/>
              <a:gd name="T24" fmla="*/ 560 w 704"/>
              <a:gd name="T25" fmla="*/ 53 h 349"/>
              <a:gd name="T26" fmla="*/ 596 w 704"/>
              <a:gd name="T27" fmla="*/ 75 h 349"/>
              <a:gd name="T28" fmla="*/ 612 w 704"/>
              <a:gd name="T29" fmla="*/ 87 h 349"/>
              <a:gd name="T30" fmla="*/ 612 w 704"/>
              <a:gd name="T31" fmla="*/ 96 h 349"/>
              <a:gd name="T32" fmla="*/ 622 w 704"/>
              <a:gd name="T33" fmla="*/ 104 h 349"/>
              <a:gd name="T34" fmla="*/ 622 w 704"/>
              <a:gd name="T35" fmla="*/ 111 h 349"/>
              <a:gd name="T36" fmla="*/ 617 w 704"/>
              <a:gd name="T37" fmla="*/ 128 h 349"/>
              <a:gd name="T38" fmla="*/ 627 w 704"/>
              <a:gd name="T39" fmla="*/ 135 h 349"/>
              <a:gd name="T40" fmla="*/ 632 w 704"/>
              <a:gd name="T41" fmla="*/ 152 h 349"/>
              <a:gd name="T42" fmla="*/ 641 w 704"/>
              <a:gd name="T43" fmla="*/ 161 h 349"/>
              <a:gd name="T44" fmla="*/ 636 w 704"/>
              <a:gd name="T45" fmla="*/ 168 h 349"/>
              <a:gd name="T46" fmla="*/ 641 w 704"/>
              <a:gd name="T47" fmla="*/ 178 h 349"/>
              <a:gd name="T48" fmla="*/ 651 w 704"/>
              <a:gd name="T49" fmla="*/ 185 h 349"/>
              <a:gd name="T50" fmla="*/ 656 w 704"/>
              <a:gd name="T51" fmla="*/ 195 h 349"/>
              <a:gd name="T52" fmla="*/ 651 w 704"/>
              <a:gd name="T53" fmla="*/ 205 h 349"/>
              <a:gd name="T54" fmla="*/ 648 w 704"/>
              <a:gd name="T55" fmla="*/ 221 h 349"/>
              <a:gd name="T56" fmla="*/ 660 w 704"/>
              <a:gd name="T57" fmla="*/ 226 h 349"/>
              <a:gd name="T58" fmla="*/ 663 w 704"/>
              <a:gd name="T59" fmla="*/ 236 h 349"/>
              <a:gd name="T60" fmla="*/ 658 w 704"/>
              <a:gd name="T61" fmla="*/ 243 h 349"/>
              <a:gd name="T62" fmla="*/ 660 w 704"/>
              <a:gd name="T63" fmla="*/ 253 h 349"/>
              <a:gd name="T64" fmla="*/ 665 w 704"/>
              <a:gd name="T65" fmla="*/ 260 h 349"/>
              <a:gd name="T66" fmla="*/ 663 w 704"/>
              <a:gd name="T67" fmla="*/ 269 h 349"/>
              <a:gd name="T68" fmla="*/ 665 w 704"/>
              <a:gd name="T69" fmla="*/ 281 h 349"/>
              <a:gd name="T70" fmla="*/ 670 w 704"/>
              <a:gd name="T71" fmla="*/ 286 h 349"/>
              <a:gd name="T72" fmla="*/ 675 w 704"/>
              <a:gd name="T73" fmla="*/ 296 h 349"/>
              <a:gd name="T74" fmla="*/ 684 w 704"/>
              <a:gd name="T75" fmla="*/ 303 h 349"/>
              <a:gd name="T76" fmla="*/ 687 w 704"/>
              <a:gd name="T77" fmla="*/ 317 h 349"/>
              <a:gd name="T78" fmla="*/ 699 w 704"/>
              <a:gd name="T79" fmla="*/ 332 h 349"/>
              <a:gd name="T80" fmla="*/ 704 w 704"/>
              <a:gd name="T81" fmla="*/ 334 h 349"/>
              <a:gd name="T82" fmla="*/ 701 w 704"/>
              <a:gd name="T83" fmla="*/ 346 h 349"/>
              <a:gd name="T84" fmla="*/ 701 w 704"/>
              <a:gd name="T85" fmla="*/ 349 h 349"/>
              <a:gd name="T86" fmla="*/ 156 w 704"/>
              <a:gd name="T87" fmla="*/ 337 h 349"/>
              <a:gd name="T88" fmla="*/ 161 w 704"/>
              <a:gd name="T89" fmla="*/ 229 h 349"/>
              <a:gd name="T90" fmla="*/ 0 w 704"/>
              <a:gd name="T91" fmla="*/ 217 h 349"/>
              <a:gd name="T92" fmla="*/ 0 w 704"/>
              <a:gd name="T93" fmla="*/ 217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4" h="349">
                <a:moveTo>
                  <a:pt x="0" y="217"/>
                </a:moveTo>
                <a:lnTo>
                  <a:pt x="19" y="0"/>
                </a:lnTo>
                <a:lnTo>
                  <a:pt x="451" y="24"/>
                </a:lnTo>
                <a:lnTo>
                  <a:pt x="464" y="41"/>
                </a:lnTo>
                <a:lnTo>
                  <a:pt x="478" y="41"/>
                </a:lnTo>
                <a:lnTo>
                  <a:pt x="490" y="39"/>
                </a:lnTo>
                <a:lnTo>
                  <a:pt x="497" y="44"/>
                </a:lnTo>
                <a:lnTo>
                  <a:pt x="504" y="58"/>
                </a:lnTo>
                <a:lnTo>
                  <a:pt x="514" y="60"/>
                </a:lnTo>
                <a:lnTo>
                  <a:pt x="526" y="58"/>
                </a:lnTo>
                <a:lnTo>
                  <a:pt x="538" y="48"/>
                </a:lnTo>
                <a:lnTo>
                  <a:pt x="552" y="48"/>
                </a:lnTo>
                <a:lnTo>
                  <a:pt x="560" y="53"/>
                </a:lnTo>
                <a:lnTo>
                  <a:pt x="596" y="75"/>
                </a:lnTo>
                <a:lnTo>
                  <a:pt x="612" y="87"/>
                </a:lnTo>
                <a:lnTo>
                  <a:pt x="612" y="96"/>
                </a:lnTo>
                <a:lnTo>
                  <a:pt x="622" y="104"/>
                </a:lnTo>
                <a:lnTo>
                  <a:pt x="622" y="111"/>
                </a:lnTo>
                <a:lnTo>
                  <a:pt x="617" y="128"/>
                </a:lnTo>
                <a:lnTo>
                  <a:pt x="627" y="135"/>
                </a:lnTo>
                <a:lnTo>
                  <a:pt x="632" y="152"/>
                </a:lnTo>
                <a:lnTo>
                  <a:pt x="641" y="161"/>
                </a:lnTo>
                <a:lnTo>
                  <a:pt x="636" y="168"/>
                </a:lnTo>
                <a:lnTo>
                  <a:pt x="641" y="178"/>
                </a:lnTo>
                <a:lnTo>
                  <a:pt x="651" y="185"/>
                </a:lnTo>
                <a:lnTo>
                  <a:pt x="656" y="195"/>
                </a:lnTo>
                <a:lnTo>
                  <a:pt x="651" y="205"/>
                </a:lnTo>
                <a:lnTo>
                  <a:pt x="648" y="221"/>
                </a:lnTo>
                <a:lnTo>
                  <a:pt x="660" y="226"/>
                </a:lnTo>
                <a:lnTo>
                  <a:pt x="663" y="236"/>
                </a:lnTo>
                <a:lnTo>
                  <a:pt x="658" y="243"/>
                </a:lnTo>
                <a:lnTo>
                  <a:pt x="660" y="253"/>
                </a:lnTo>
                <a:lnTo>
                  <a:pt x="665" y="260"/>
                </a:lnTo>
                <a:lnTo>
                  <a:pt x="663" y="269"/>
                </a:lnTo>
                <a:lnTo>
                  <a:pt x="665" y="281"/>
                </a:lnTo>
                <a:lnTo>
                  <a:pt x="670" y="286"/>
                </a:lnTo>
                <a:lnTo>
                  <a:pt x="675" y="296"/>
                </a:lnTo>
                <a:lnTo>
                  <a:pt x="684" y="303"/>
                </a:lnTo>
                <a:lnTo>
                  <a:pt x="687" y="317"/>
                </a:lnTo>
                <a:lnTo>
                  <a:pt x="699" y="332"/>
                </a:lnTo>
                <a:lnTo>
                  <a:pt x="704" y="334"/>
                </a:lnTo>
                <a:lnTo>
                  <a:pt x="701" y="346"/>
                </a:lnTo>
                <a:lnTo>
                  <a:pt x="701" y="349"/>
                </a:lnTo>
                <a:lnTo>
                  <a:pt x="156" y="337"/>
                </a:lnTo>
                <a:lnTo>
                  <a:pt x="161" y="229"/>
                </a:lnTo>
                <a:lnTo>
                  <a:pt x="0" y="217"/>
                </a:lnTo>
                <a:lnTo>
                  <a:pt x="0" y="21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6" name="Freeform 17"/>
          <p:cNvSpPr>
            <a:spLocks/>
          </p:cNvSpPr>
          <p:nvPr/>
        </p:nvSpPr>
        <p:spPr bwMode="auto">
          <a:xfrm>
            <a:off x="7372629" y="2406853"/>
            <a:ext cx="946150" cy="638175"/>
          </a:xfrm>
          <a:custGeom>
            <a:avLst/>
            <a:gdLst>
              <a:gd name="T0" fmla="*/ 0 w 596"/>
              <a:gd name="T1" fmla="*/ 315 h 402"/>
              <a:gd name="T2" fmla="*/ 17 w 596"/>
              <a:gd name="T3" fmla="*/ 104 h 402"/>
              <a:gd name="T4" fmla="*/ 27 w 596"/>
              <a:gd name="T5" fmla="*/ 0 h 402"/>
              <a:gd name="T6" fmla="*/ 584 w 596"/>
              <a:gd name="T7" fmla="*/ 24 h 402"/>
              <a:gd name="T8" fmla="*/ 586 w 596"/>
              <a:gd name="T9" fmla="*/ 32 h 402"/>
              <a:gd name="T10" fmla="*/ 581 w 596"/>
              <a:gd name="T11" fmla="*/ 44 h 402"/>
              <a:gd name="T12" fmla="*/ 567 w 596"/>
              <a:gd name="T13" fmla="*/ 58 h 402"/>
              <a:gd name="T14" fmla="*/ 567 w 596"/>
              <a:gd name="T15" fmla="*/ 68 h 402"/>
              <a:gd name="T16" fmla="*/ 596 w 596"/>
              <a:gd name="T17" fmla="*/ 94 h 402"/>
              <a:gd name="T18" fmla="*/ 596 w 596"/>
              <a:gd name="T19" fmla="*/ 289 h 402"/>
              <a:gd name="T20" fmla="*/ 591 w 596"/>
              <a:gd name="T21" fmla="*/ 289 h 402"/>
              <a:gd name="T22" fmla="*/ 584 w 596"/>
              <a:gd name="T23" fmla="*/ 289 h 402"/>
              <a:gd name="T24" fmla="*/ 586 w 596"/>
              <a:gd name="T25" fmla="*/ 296 h 402"/>
              <a:gd name="T26" fmla="*/ 591 w 596"/>
              <a:gd name="T27" fmla="*/ 301 h 402"/>
              <a:gd name="T28" fmla="*/ 586 w 596"/>
              <a:gd name="T29" fmla="*/ 313 h 402"/>
              <a:gd name="T30" fmla="*/ 591 w 596"/>
              <a:gd name="T31" fmla="*/ 318 h 402"/>
              <a:gd name="T32" fmla="*/ 596 w 596"/>
              <a:gd name="T33" fmla="*/ 334 h 402"/>
              <a:gd name="T34" fmla="*/ 589 w 596"/>
              <a:gd name="T35" fmla="*/ 339 h 402"/>
              <a:gd name="T36" fmla="*/ 591 w 596"/>
              <a:gd name="T37" fmla="*/ 349 h 402"/>
              <a:gd name="T38" fmla="*/ 581 w 596"/>
              <a:gd name="T39" fmla="*/ 368 h 402"/>
              <a:gd name="T40" fmla="*/ 591 w 596"/>
              <a:gd name="T41" fmla="*/ 387 h 402"/>
              <a:gd name="T42" fmla="*/ 593 w 596"/>
              <a:gd name="T43" fmla="*/ 399 h 402"/>
              <a:gd name="T44" fmla="*/ 593 w 596"/>
              <a:gd name="T45" fmla="*/ 402 h 402"/>
              <a:gd name="T46" fmla="*/ 577 w 596"/>
              <a:gd name="T47" fmla="*/ 390 h 402"/>
              <a:gd name="T48" fmla="*/ 541 w 596"/>
              <a:gd name="T49" fmla="*/ 368 h 402"/>
              <a:gd name="T50" fmla="*/ 533 w 596"/>
              <a:gd name="T51" fmla="*/ 363 h 402"/>
              <a:gd name="T52" fmla="*/ 519 w 596"/>
              <a:gd name="T53" fmla="*/ 363 h 402"/>
              <a:gd name="T54" fmla="*/ 507 w 596"/>
              <a:gd name="T55" fmla="*/ 373 h 402"/>
              <a:gd name="T56" fmla="*/ 495 w 596"/>
              <a:gd name="T57" fmla="*/ 375 h 402"/>
              <a:gd name="T58" fmla="*/ 485 w 596"/>
              <a:gd name="T59" fmla="*/ 373 h 402"/>
              <a:gd name="T60" fmla="*/ 478 w 596"/>
              <a:gd name="T61" fmla="*/ 359 h 402"/>
              <a:gd name="T62" fmla="*/ 471 w 596"/>
              <a:gd name="T63" fmla="*/ 354 h 402"/>
              <a:gd name="T64" fmla="*/ 459 w 596"/>
              <a:gd name="T65" fmla="*/ 356 h 402"/>
              <a:gd name="T66" fmla="*/ 445 w 596"/>
              <a:gd name="T67" fmla="*/ 356 h 402"/>
              <a:gd name="T68" fmla="*/ 432 w 596"/>
              <a:gd name="T69" fmla="*/ 339 h 402"/>
              <a:gd name="T70" fmla="*/ 0 w 596"/>
              <a:gd name="T71" fmla="*/ 315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96" h="402">
                <a:moveTo>
                  <a:pt x="0" y="315"/>
                </a:moveTo>
                <a:lnTo>
                  <a:pt x="17" y="104"/>
                </a:lnTo>
                <a:lnTo>
                  <a:pt x="27" y="0"/>
                </a:lnTo>
                <a:lnTo>
                  <a:pt x="584" y="24"/>
                </a:lnTo>
                <a:lnTo>
                  <a:pt x="586" y="32"/>
                </a:lnTo>
                <a:lnTo>
                  <a:pt x="581" y="44"/>
                </a:lnTo>
                <a:lnTo>
                  <a:pt x="567" y="58"/>
                </a:lnTo>
                <a:lnTo>
                  <a:pt x="567" y="68"/>
                </a:lnTo>
                <a:lnTo>
                  <a:pt x="596" y="94"/>
                </a:lnTo>
                <a:lnTo>
                  <a:pt x="596" y="289"/>
                </a:lnTo>
                <a:lnTo>
                  <a:pt x="591" y="289"/>
                </a:lnTo>
                <a:lnTo>
                  <a:pt x="584" y="289"/>
                </a:lnTo>
                <a:lnTo>
                  <a:pt x="586" y="296"/>
                </a:lnTo>
                <a:lnTo>
                  <a:pt x="591" y="301"/>
                </a:lnTo>
                <a:lnTo>
                  <a:pt x="586" y="313"/>
                </a:lnTo>
                <a:lnTo>
                  <a:pt x="591" y="318"/>
                </a:lnTo>
                <a:lnTo>
                  <a:pt x="596" y="334"/>
                </a:lnTo>
                <a:lnTo>
                  <a:pt x="589" y="339"/>
                </a:lnTo>
                <a:lnTo>
                  <a:pt x="591" y="349"/>
                </a:lnTo>
                <a:lnTo>
                  <a:pt x="581" y="368"/>
                </a:lnTo>
                <a:lnTo>
                  <a:pt x="591" y="387"/>
                </a:lnTo>
                <a:lnTo>
                  <a:pt x="593" y="399"/>
                </a:lnTo>
                <a:lnTo>
                  <a:pt x="593" y="402"/>
                </a:lnTo>
                <a:lnTo>
                  <a:pt x="577" y="390"/>
                </a:lnTo>
                <a:lnTo>
                  <a:pt x="541" y="368"/>
                </a:lnTo>
                <a:lnTo>
                  <a:pt x="533" y="363"/>
                </a:lnTo>
                <a:lnTo>
                  <a:pt x="519" y="363"/>
                </a:lnTo>
                <a:lnTo>
                  <a:pt x="507" y="373"/>
                </a:lnTo>
                <a:lnTo>
                  <a:pt x="495" y="375"/>
                </a:lnTo>
                <a:lnTo>
                  <a:pt x="485" y="373"/>
                </a:lnTo>
                <a:lnTo>
                  <a:pt x="478" y="359"/>
                </a:lnTo>
                <a:lnTo>
                  <a:pt x="471" y="354"/>
                </a:lnTo>
                <a:lnTo>
                  <a:pt x="459" y="356"/>
                </a:lnTo>
                <a:lnTo>
                  <a:pt x="445" y="356"/>
                </a:lnTo>
                <a:lnTo>
                  <a:pt x="432" y="339"/>
                </a:lnTo>
                <a:lnTo>
                  <a:pt x="0" y="31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7" name="Freeform 18"/>
          <p:cNvSpPr>
            <a:spLocks/>
          </p:cNvSpPr>
          <p:nvPr/>
        </p:nvSpPr>
        <p:spPr bwMode="auto">
          <a:xfrm>
            <a:off x="7415492" y="1889328"/>
            <a:ext cx="887413" cy="555625"/>
          </a:xfrm>
          <a:custGeom>
            <a:avLst/>
            <a:gdLst>
              <a:gd name="T0" fmla="*/ 0 w 559"/>
              <a:gd name="T1" fmla="*/ 326 h 350"/>
              <a:gd name="T2" fmla="*/ 26 w 559"/>
              <a:gd name="T3" fmla="*/ 0 h 350"/>
              <a:gd name="T4" fmla="*/ 170 w 559"/>
              <a:gd name="T5" fmla="*/ 9 h 350"/>
              <a:gd name="T6" fmla="*/ 273 w 559"/>
              <a:gd name="T7" fmla="*/ 19 h 350"/>
              <a:gd name="T8" fmla="*/ 514 w 559"/>
              <a:gd name="T9" fmla="*/ 24 h 350"/>
              <a:gd name="T10" fmla="*/ 516 w 559"/>
              <a:gd name="T11" fmla="*/ 33 h 350"/>
              <a:gd name="T12" fmla="*/ 523 w 559"/>
              <a:gd name="T13" fmla="*/ 57 h 350"/>
              <a:gd name="T14" fmla="*/ 521 w 559"/>
              <a:gd name="T15" fmla="*/ 67 h 350"/>
              <a:gd name="T16" fmla="*/ 518 w 559"/>
              <a:gd name="T17" fmla="*/ 84 h 350"/>
              <a:gd name="T18" fmla="*/ 518 w 559"/>
              <a:gd name="T19" fmla="*/ 112 h 350"/>
              <a:gd name="T20" fmla="*/ 526 w 559"/>
              <a:gd name="T21" fmla="*/ 149 h 350"/>
              <a:gd name="T22" fmla="*/ 535 w 559"/>
              <a:gd name="T23" fmla="*/ 158 h 350"/>
              <a:gd name="T24" fmla="*/ 540 w 559"/>
              <a:gd name="T25" fmla="*/ 189 h 350"/>
              <a:gd name="T26" fmla="*/ 542 w 559"/>
              <a:gd name="T27" fmla="*/ 242 h 350"/>
              <a:gd name="T28" fmla="*/ 545 w 559"/>
              <a:gd name="T29" fmla="*/ 254 h 350"/>
              <a:gd name="T30" fmla="*/ 545 w 559"/>
              <a:gd name="T31" fmla="*/ 274 h 350"/>
              <a:gd name="T32" fmla="*/ 547 w 559"/>
              <a:gd name="T33" fmla="*/ 281 h 350"/>
              <a:gd name="T34" fmla="*/ 559 w 559"/>
              <a:gd name="T35" fmla="*/ 319 h 350"/>
              <a:gd name="T36" fmla="*/ 557 w 559"/>
              <a:gd name="T37" fmla="*/ 334 h 350"/>
              <a:gd name="T38" fmla="*/ 557 w 559"/>
              <a:gd name="T39" fmla="*/ 350 h 350"/>
              <a:gd name="T40" fmla="*/ 0 w 559"/>
              <a:gd name="T41" fmla="*/ 32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9" h="350">
                <a:moveTo>
                  <a:pt x="0" y="326"/>
                </a:moveTo>
                <a:lnTo>
                  <a:pt x="26" y="0"/>
                </a:lnTo>
                <a:lnTo>
                  <a:pt x="170" y="9"/>
                </a:lnTo>
                <a:lnTo>
                  <a:pt x="273" y="19"/>
                </a:lnTo>
                <a:lnTo>
                  <a:pt x="514" y="24"/>
                </a:lnTo>
                <a:lnTo>
                  <a:pt x="516" y="33"/>
                </a:lnTo>
                <a:lnTo>
                  <a:pt x="523" y="57"/>
                </a:lnTo>
                <a:lnTo>
                  <a:pt x="521" y="67"/>
                </a:lnTo>
                <a:lnTo>
                  <a:pt x="518" y="84"/>
                </a:lnTo>
                <a:lnTo>
                  <a:pt x="518" y="112"/>
                </a:lnTo>
                <a:lnTo>
                  <a:pt x="526" y="149"/>
                </a:lnTo>
                <a:lnTo>
                  <a:pt x="535" y="158"/>
                </a:lnTo>
                <a:lnTo>
                  <a:pt x="540" y="189"/>
                </a:lnTo>
                <a:lnTo>
                  <a:pt x="542" y="242"/>
                </a:lnTo>
                <a:lnTo>
                  <a:pt x="545" y="254"/>
                </a:lnTo>
                <a:lnTo>
                  <a:pt x="545" y="274"/>
                </a:lnTo>
                <a:lnTo>
                  <a:pt x="547" y="281"/>
                </a:lnTo>
                <a:lnTo>
                  <a:pt x="559" y="319"/>
                </a:lnTo>
                <a:lnTo>
                  <a:pt x="557" y="334"/>
                </a:lnTo>
                <a:lnTo>
                  <a:pt x="557" y="350"/>
                </a:lnTo>
                <a:lnTo>
                  <a:pt x="0" y="32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8" name="Freeform 19"/>
          <p:cNvSpPr>
            <a:spLocks/>
          </p:cNvSpPr>
          <p:nvPr/>
        </p:nvSpPr>
        <p:spPr bwMode="auto">
          <a:xfrm>
            <a:off x="6077229" y="1697240"/>
            <a:ext cx="1379538" cy="874712"/>
          </a:xfrm>
          <a:custGeom>
            <a:avLst/>
            <a:gdLst>
              <a:gd name="T0" fmla="*/ 305 w 869"/>
              <a:gd name="T1" fmla="*/ 486 h 551"/>
              <a:gd name="T2" fmla="*/ 297 w 869"/>
              <a:gd name="T3" fmla="*/ 541 h 551"/>
              <a:gd name="T4" fmla="*/ 285 w 869"/>
              <a:gd name="T5" fmla="*/ 519 h 551"/>
              <a:gd name="T6" fmla="*/ 266 w 869"/>
              <a:gd name="T7" fmla="*/ 517 h 551"/>
              <a:gd name="T8" fmla="*/ 245 w 869"/>
              <a:gd name="T9" fmla="*/ 524 h 551"/>
              <a:gd name="T10" fmla="*/ 233 w 869"/>
              <a:gd name="T11" fmla="*/ 522 h 551"/>
              <a:gd name="T12" fmla="*/ 209 w 869"/>
              <a:gd name="T13" fmla="*/ 517 h 551"/>
              <a:gd name="T14" fmla="*/ 194 w 869"/>
              <a:gd name="T15" fmla="*/ 524 h 551"/>
              <a:gd name="T16" fmla="*/ 170 w 869"/>
              <a:gd name="T17" fmla="*/ 517 h 551"/>
              <a:gd name="T18" fmla="*/ 161 w 869"/>
              <a:gd name="T19" fmla="*/ 529 h 551"/>
              <a:gd name="T20" fmla="*/ 146 w 869"/>
              <a:gd name="T21" fmla="*/ 512 h 551"/>
              <a:gd name="T22" fmla="*/ 149 w 869"/>
              <a:gd name="T23" fmla="*/ 493 h 551"/>
              <a:gd name="T24" fmla="*/ 139 w 869"/>
              <a:gd name="T25" fmla="*/ 476 h 551"/>
              <a:gd name="T26" fmla="*/ 122 w 869"/>
              <a:gd name="T27" fmla="*/ 462 h 551"/>
              <a:gd name="T28" fmla="*/ 127 w 869"/>
              <a:gd name="T29" fmla="*/ 447 h 551"/>
              <a:gd name="T30" fmla="*/ 113 w 869"/>
              <a:gd name="T31" fmla="*/ 421 h 551"/>
              <a:gd name="T32" fmla="*/ 115 w 869"/>
              <a:gd name="T33" fmla="*/ 385 h 551"/>
              <a:gd name="T34" fmla="*/ 108 w 869"/>
              <a:gd name="T35" fmla="*/ 380 h 551"/>
              <a:gd name="T36" fmla="*/ 103 w 869"/>
              <a:gd name="T37" fmla="*/ 370 h 551"/>
              <a:gd name="T38" fmla="*/ 77 w 869"/>
              <a:gd name="T39" fmla="*/ 390 h 551"/>
              <a:gd name="T40" fmla="*/ 57 w 869"/>
              <a:gd name="T41" fmla="*/ 378 h 551"/>
              <a:gd name="T42" fmla="*/ 60 w 869"/>
              <a:gd name="T43" fmla="*/ 363 h 551"/>
              <a:gd name="T44" fmla="*/ 72 w 869"/>
              <a:gd name="T45" fmla="*/ 344 h 551"/>
              <a:gd name="T46" fmla="*/ 72 w 869"/>
              <a:gd name="T47" fmla="*/ 334 h 551"/>
              <a:gd name="T48" fmla="*/ 79 w 869"/>
              <a:gd name="T49" fmla="*/ 313 h 551"/>
              <a:gd name="T50" fmla="*/ 93 w 869"/>
              <a:gd name="T51" fmla="*/ 272 h 551"/>
              <a:gd name="T52" fmla="*/ 74 w 869"/>
              <a:gd name="T53" fmla="*/ 262 h 551"/>
              <a:gd name="T54" fmla="*/ 60 w 869"/>
              <a:gd name="T55" fmla="*/ 253 h 551"/>
              <a:gd name="T56" fmla="*/ 53 w 869"/>
              <a:gd name="T57" fmla="*/ 226 h 551"/>
              <a:gd name="T58" fmla="*/ 21 w 869"/>
              <a:gd name="T59" fmla="*/ 181 h 551"/>
              <a:gd name="T60" fmla="*/ 7 w 869"/>
              <a:gd name="T61" fmla="*/ 164 h 551"/>
              <a:gd name="T62" fmla="*/ 17 w 869"/>
              <a:gd name="T63" fmla="*/ 147 h 551"/>
              <a:gd name="T64" fmla="*/ 0 w 869"/>
              <a:gd name="T65" fmla="*/ 101 h 551"/>
              <a:gd name="T66" fmla="*/ 98 w 869"/>
              <a:gd name="T67" fmla="*/ 12 h 551"/>
              <a:gd name="T68" fmla="*/ 528 w 869"/>
              <a:gd name="T69" fmla="*/ 87 h 551"/>
              <a:gd name="T70" fmla="*/ 843 w 869"/>
              <a:gd name="T71" fmla="*/ 44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9" h="551">
                <a:moveTo>
                  <a:pt x="833" y="551"/>
                </a:moveTo>
                <a:lnTo>
                  <a:pt x="305" y="486"/>
                </a:lnTo>
                <a:lnTo>
                  <a:pt x="297" y="539"/>
                </a:lnTo>
                <a:lnTo>
                  <a:pt x="297" y="541"/>
                </a:lnTo>
                <a:lnTo>
                  <a:pt x="288" y="532"/>
                </a:lnTo>
                <a:lnTo>
                  <a:pt x="285" y="519"/>
                </a:lnTo>
                <a:lnTo>
                  <a:pt x="276" y="507"/>
                </a:lnTo>
                <a:lnTo>
                  <a:pt x="266" y="517"/>
                </a:lnTo>
                <a:lnTo>
                  <a:pt x="266" y="524"/>
                </a:lnTo>
                <a:lnTo>
                  <a:pt x="245" y="524"/>
                </a:lnTo>
                <a:lnTo>
                  <a:pt x="242" y="527"/>
                </a:lnTo>
                <a:lnTo>
                  <a:pt x="233" y="522"/>
                </a:lnTo>
                <a:lnTo>
                  <a:pt x="211" y="519"/>
                </a:lnTo>
                <a:lnTo>
                  <a:pt x="209" y="517"/>
                </a:lnTo>
                <a:lnTo>
                  <a:pt x="201" y="517"/>
                </a:lnTo>
                <a:lnTo>
                  <a:pt x="194" y="524"/>
                </a:lnTo>
                <a:lnTo>
                  <a:pt x="187" y="522"/>
                </a:lnTo>
                <a:lnTo>
                  <a:pt x="170" y="517"/>
                </a:lnTo>
                <a:lnTo>
                  <a:pt x="165" y="519"/>
                </a:lnTo>
                <a:lnTo>
                  <a:pt x="161" y="529"/>
                </a:lnTo>
                <a:lnTo>
                  <a:pt x="151" y="524"/>
                </a:lnTo>
                <a:lnTo>
                  <a:pt x="146" y="512"/>
                </a:lnTo>
                <a:lnTo>
                  <a:pt x="146" y="507"/>
                </a:lnTo>
                <a:lnTo>
                  <a:pt x="149" y="493"/>
                </a:lnTo>
                <a:lnTo>
                  <a:pt x="146" y="486"/>
                </a:lnTo>
                <a:lnTo>
                  <a:pt x="139" y="476"/>
                </a:lnTo>
                <a:lnTo>
                  <a:pt x="129" y="476"/>
                </a:lnTo>
                <a:lnTo>
                  <a:pt x="122" y="462"/>
                </a:lnTo>
                <a:lnTo>
                  <a:pt x="127" y="455"/>
                </a:lnTo>
                <a:lnTo>
                  <a:pt x="127" y="447"/>
                </a:lnTo>
                <a:lnTo>
                  <a:pt x="117" y="435"/>
                </a:lnTo>
                <a:lnTo>
                  <a:pt x="113" y="421"/>
                </a:lnTo>
                <a:lnTo>
                  <a:pt x="113" y="399"/>
                </a:lnTo>
                <a:lnTo>
                  <a:pt x="115" y="385"/>
                </a:lnTo>
                <a:lnTo>
                  <a:pt x="110" y="383"/>
                </a:lnTo>
                <a:lnTo>
                  <a:pt x="108" y="380"/>
                </a:lnTo>
                <a:lnTo>
                  <a:pt x="105" y="373"/>
                </a:lnTo>
                <a:lnTo>
                  <a:pt x="103" y="370"/>
                </a:lnTo>
                <a:lnTo>
                  <a:pt x="101" y="373"/>
                </a:lnTo>
                <a:lnTo>
                  <a:pt x="77" y="390"/>
                </a:lnTo>
                <a:lnTo>
                  <a:pt x="72" y="392"/>
                </a:lnTo>
                <a:lnTo>
                  <a:pt x="57" y="378"/>
                </a:lnTo>
                <a:lnTo>
                  <a:pt x="60" y="368"/>
                </a:lnTo>
                <a:lnTo>
                  <a:pt x="60" y="363"/>
                </a:lnTo>
                <a:lnTo>
                  <a:pt x="60" y="354"/>
                </a:lnTo>
                <a:lnTo>
                  <a:pt x="72" y="344"/>
                </a:lnTo>
                <a:lnTo>
                  <a:pt x="74" y="334"/>
                </a:lnTo>
                <a:lnTo>
                  <a:pt x="72" y="334"/>
                </a:lnTo>
                <a:lnTo>
                  <a:pt x="72" y="318"/>
                </a:lnTo>
                <a:lnTo>
                  <a:pt x="79" y="313"/>
                </a:lnTo>
                <a:lnTo>
                  <a:pt x="77" y="306"/>
                </a:lnTo>
                <a:lnTo>
                  <a:pt x="93" y="272"/>
                </a:lnTo>
                <a:lnTo>
                  <a:pt x="89" y="265"/>
                </a:lnTo>
                <a:lnTo>
                  <a:pt x="74" y="262"/>
                </a:lnTo>
                <a:lnTo>
                  <a:pt x="72" y="255"/>
                </a:lnTo>
                <a:lnTo>
                  <a:pt x="60" y="253"/>
                </a:lnTo>
                <a:lnTo>
                  <a:pt x="55" y="241"/>
                </a:lnTo>
                <a:lnTo>
                  <a:pt x="53" y="226"/>
                </a:lnTo>
                <a:lnTo>
                  <a:pt x="41" y="197"/>
                </a:lnTo>
                <a:lnTo>
                  <a:pt x="21" y="181"/>
                </a:lnTo>
                <a:lnTo>
                  <a:pt x="14" y="169"/>
                </a:lnTo>
                <a:lnTo>
                  <a:pt x="7" y="164"/>
                </a:lnTo>
                <a:lnTo>
                  <a:pt x="12" y="159"/>
                </a:lnTo>
                <a:lnTo>
                  <a:pt x="17" y="147"/>
                </a:lnTo>
                <a:lnTo>
                  <a:pt x="12" y="130"/>
                </a:lnTo>
                <a:lnTo>
                  <a:pt x="0" y="101"/>
                </a:lnTo>
                <a:lnTo>
                  <a:pt x="19" y="0"/>
                </a:lnTo>
                <a:lnTo>
                  <a:pt x="98" y="12"/>
                </a:lnTo>
                <a:lnTo>
                  <a:pt x="312" y="48"/>
                </a:lnTo>
                <a:lnTo>
                  <a:pt x="528" y="87"/>
                </a:lnTo>
                <a:lnTo>
                  <a:pt x="869" y="121"/>
                </a:lnTo>
                <a:lnTo>
                  <a:pt x="843" y="447"/>
                </a:lnTo>
                <a:lnTo>
                  <a:pt x="833" y="551"/>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9" name="Freeform 20"/>
          <p:cNvSpPr>
            <a:spLocks/>
          </p:cNvSpPr>
          <p:nvPr/>
        </p:nvSpPr>
        <p:spPr bwMode="auto">
          <a:xfrm>
            <a:off x="6458229" y="2468765"/>
            <a:ext cx="941388" cy="782637"/>
          </a:xfrm>
          <a:custGeom>
            <a:avLst/>
            <a:gdLst>
              <a:gd name="T0" fmla="*/ 557 w 593"/>
              <a:gd name="T1" fmla="*/ 493 h 493"/>
              <a:gd name="T2" fmla="*/ 576 w 593"/>
              <a:gd name="T3" fmla="*/ 276 h 493"/>
              <a:gd name="T4" fmla="*/ 593 w 593"/>
              <a:gd name="T5" fmla="*/ 65 h 493"/>
              <a:gd name="T6" fmla="*/ 65 w 593"/>
              <a:gd name="T7" fmla="*/ 0 h 493"/>
              <a:gd name="T8" fmla="*/ 57 w 593"/>
              <a:gd name="T9" fmla="*/ 53 h 493"/>
              <a:gd name="T10" fmla="*/ 19 w 593"/>
              <a:gd name="T11" fmla="*/ 320 h 493"/>
              <a:gd name="T12" fmla="*/ 17 w 593"/>
              <a:gd name="T13" fmla="*/ 320 h 493"/>
              <a:gd name="T14" fmla="*/ 0 w 593"/>
              <a:gd name="T15" fmla="*/ 423 h 493"/>
              <a:gd name="T16" fmla="*/ 158 w 593"/>
              <a:gd name="T17" fmla="*/ 449 h 493"/>
              <a:gd name="T18" fmla="*/ 557 w 593"/>
              <a:gd name="T19" fmla="*/ 493 h 493"/>
              <a:gd name="T20" fmla="*/ 557 w 593"/>
              <a:gd name="T21"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3" h="493">
                <a:moveTo>
                  <a:pt x="557" y="493"/>
                </a:moveTo>
                <a:lnTo>
                  <a:pt x="576" y="276"/>
                </a:lnTo>
                <a:lnTo>
                  <a:pt x="593" y="65"/>
                </a:lnTo>
                <a:lnTo>
                  <a:pt x="65" y="0"/>
                </a:lnTo>
                <a:lnTo>
                  <a:pt x="57" y="53"/>
                </a:lnTo>
                <a:lnTo>
                  <a:pt x="19" y="320"/>
                </a:lnTo>
                <a:lnTo>
                  <a:pt x="17" y="320"/>
                </a:lnTo>
                <a:lnTo>
                  <a:pt x="0" y="423"/>
                </a:lnTo>
                <a:lnTo>
                  <a:pt x="158" y="449"/>
                </a:lnTo>
                <a:lnTo>
                  <a:pt x="557" y="493"/>
                </a:lnTo>
                <a:lnTo>
                  <a:pt x="557" y="493"/>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0" name="Freeform 21"/>
          <p:cNvSpPr>
            <a:spLocks/>
          </p:cNvSpPr>
          <p:nvPr/>
        </p:nvSpPr>
        <p:spPr bwMode="auto">
          <a:xfrm>
            <a:off x="6618567" y="3181553"/>
            <a:ext cx="979488" cy="774700"/>
          </a:xfrm>
          <a:custGeom>
            <a:avLst/>
            <a:gdLst>
              <a:gd name="T0" fmla="*/ 0 w 617"/>
              <a:gd name="T1" fmla="*/ 426 h 488"/>
              <a:gd name="T2" fmla="*/ 57 w 617"/>
              <a:gd name="T3" fmla="*/ 0 h 488"/>
              <a:gd name="T4" fmla="*/ 456 w 617"/>
              <a:gd name="T5" fmla="*/ 44 h 488"/>
              <a:gd name="T6" fmla="*/ 617 w 617"/>
              <a:gd name="T7" fmla="*/ 56 h 488"/>
              <a:gd name="T8" fmla="*/ 612 w 617"/>
              <a:gd name="T9" fmla="*/ 164 h 488"/>
              <a:gd name="T10" fmla="*/ 593 w 617"/>
              <a:gd name="T11" fmla="*/ 488 h 488"/>
              <a:gd name="T12" fmla="*/ 509 w 617"/>
              <a:gd name="T13" fmla="*/ 483 h 488"/>
              <a:gd name="T14" fmla="*/ 0 w 617"/>
              <a:gd name="T15" fmla="*/ 426 h 4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7" h="488">
                <a:moveTo>
                  <a:pt x="0" y="426"/>
                </a:moveTo>
                <a:lnTo>
                  <a:pt x="57" y="0"/>
                </a:lnTo>
                <a:lnTo>
                  <a:pt x="456" y="44"/>
                </a:lnTo>
                <a:lnTo>
                  <a:pt x="617" y="56"/>
                </a:lnTo>
                <a:lnTo>
                  <a:pt x="612" y="164"/>
                </a:lnTo>
                <a:lnTo>
                  <a:pt x="593" y="488"/>
                </a:lnTo>
                <a:lnTo>
                  <a:pt x="509" y="483"/>
                </a:lnTo>
                <a:lnTo>
                  <a:pt x="0" y="42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1" name="Freeform 22"/>
          <p:cNvSpPr>
            <a:spLocks/>
          </p:cNvSpPr>
          <p:nvPr/>
        </p:nvSpPr>
        <p:spPr bwMode="auto">
          <a:xfrm>
            <a:off x="5947054" y="2911678"/>
            <a:ext cx="762000" cy="946150"/>
          </a:xfrm>
          <a:custGeom>
            <a:avLst/>
            <a:gdLst>
              <a:gd name="T0" fmla="*/ 423 w 480"/>
              <a:gd name="T1" fmla="*/ 596 h 596"/>
              <a:gd name="T2" fmla="*/ 480 w 480"/>
              <a:gd name="T3" fmla="*/ 170 h 596"/>
              <a:gd name="T4" fmla="*/ 322 w 480"/>
              <a:gd name="T5" fmla="*/ 144 h 596"/>
              <a:gd name="T6" fmla="*/ 339 w 480"/>
              <a:gd name="T7" fmla="*/ 41 h 596"/>
              <a:gd name="T8" fmla="*/ 103 w 480"/>
              <a:gd name="T9" fmla="*/ 0 h 596"/>
              <a:gd name="T10" fmla="*/ 0 w 480"/>
              <a:gd name="T11" fmla="*/ 531 h 596"/>
              <a:gd name="T12" fmla="*/ 0 w 480"/>
              <a:gd name="T13" fmla="*/ 531 h 596"/>
              <a:gd name="T14" fmla="*/ 423 w 480"/>
              <a:gd name="T15" fmla="*/ 596 h 5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596">
                <a:moveTo>
                  <a:pt x="423" y="596"/>
                </a:moveTo>
                <a:lnTo>
                  <a:pt x="480" y="170"/>
                </a:lnTo>
                <a:lnTo>
                  <a:pt x="322" y="144"/>
                </a:lnTo>
                <a:lnTo>
                  <a:pt x="339" y="41"/>
                </a:lnTo>
                <a:lnTo>
                  <a:pt x="103" y="0"/>
                </a:lnTo>
                <a:lnTo>
                  <a:pt x="0" y="531"/>
                </a:lnTo>
                <a:lnTo>
                  <a:pt x="0" y="531"/>
                </a:lnTo>
                <a:lnTo>
                  <a:pt x="423" y="59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2" name="Freeform 23"/>
          <p:cNvSpPr>
            <a:spLocks/>
          </p:cNvSpPr>
          <p:nvPr/>
        </p:nvSpPr>
        <p:spPr bwMode="auto">
          <a:xfrm>
            <a:off x="5740679" y="1675015"/>
            <a:ext cx="808038" cy="1301750"/>
          </a:xfrm>
          <a:custGeom>
            <a:avLst/>
            <a:gdLst>
              <a:gd name="T0" fmla="*/ 231 w 509"/>
              <a:gd name="T1" fmla="*/ 14 h 820"/>
              <a:gd name="T2" fmla="*/ 224 w 509"/>
              <a:gd name="T3" fmla="*/ 144 h 820"/>
              <a:gd name="T4" fmla="*/ 224 w 509"/>
              <a:gd name="T5" fmla="*/ 173 h 820"/>
              <a:gd name="T6" fmla="*/ 226 w 509"/>
              <a:gd name="T7" fmla="*/ 183 h 820"/>
              <a:gd name="T8" fmla="*/ 253 w 509"/>
              <a:gd name="T9" fmla="*/ 211 h 820"/>
              <a:gd name="T10" fmla="*/ 267 w 509"/>
              <a:gd name="T11" fmla="*/ 255 h 820"/>
              <a:gd name="T12" fmla="*/ 284 w 509"/>
              <a:gd name="T13" fmla="*/ 269 h 820"/>
              <a:gd name="T14" fmla="*/ 301 w 509"/>
              <a:gd name="T15" fmla="*/ 279 h 820"/>
              <a:gd name="T16" fmla="*/ 289 w 509"/>
              <a:gd name="T17" fmla="*/ 320 h 820"/>
              <a:gd name="T18" fmla="*/ 284 w 509"/>
              <a:gd name="T19" fmla="*/ 332 h 820"/>
              <a:gd name="T20" fmla="*/ 286 w 509"/>
              <a:gd name="T21" fmla="*/ 348 h 820"/>
              <a:gd name="T22" fmla="*/ 272 w 509"/>
              <a:gd name="T23" fmla="*/ 368 h 820"/>
              <a:gd name="T24" fmla="*/ 272 w 509"/>
              <a:gd name="T25" fmla="*/ 382 h 820"/>
              <a:gd name="T26" fmla="*/ 284 w 509"/>
              <a:gd name="T27" fmla="*/ 406 h 820"/>
              <a:gd name="T28" fmla="*/ 313 w 509"/>
              <a:gd name="T29" fmla="*/ 387 h 820"/>
              <a:gd name="T30" fmla="*/ 317 w 509"/>
              <a:gd name="T31" fmla="*/ 387 h 820"/>
              <a:gd name="T32" fmla="*/ 322 w 509"/>
              <a:gd name="T33" fmla="*/ 397 h 820"/>
              <a:gd name="T34" fmla="*/ 325 w 509"/>
              <a:gd name="T35" fmla="*/ 413 h 820"/>
              <a:gd name="T36" fmla="*/ 329 w 509"/>
              <a:gd name="T37" fmla="*/ 449 h 820"/>
              <a:gd name="T38" fmla="*/ 339 w 509"/>
              <a:gd name="T39" fmla="*/ 469 h 820"/>
              <a:gd name="T40" fmla="*/ 341 w 509"/>
              <a:gd name="T41" fmla="*/ 490 h 820"/>
              <a:gd name="T42" fmla="*/ 358 w 509"/>
              <a:gd name="T43" fmla="*/ 500 h 820"/>
              <a:gd name="T44" fmla="*/ 358 w 509"/>
              <a:gd name="T45" fmla="*/ 521 h 820"/>
              <a:gd name="T46" fmla="*/ 363 w 509"/>
              <a:gd name="T47" fmla="*/ 538 h 820"/>
              <a:gd name="T48" fmla="*/ 377 w 509"/>
              <a:gd name="T49" fmla="*/ 533 h 820"/>
              <a:gd name="T50" fmla="*/ 399 w 509"/>
              <a:gd name="T51" fmla="*/ 536 h 820"/>
              <a:gd name="T52" fmla="*/ 413 w 509"/>
              <a:gd name="T53" fmla="*/ 531 h 820"/>
              <a:gd name="T54" fmla="*/ 423 w 509"/>
              <a:gd name="T55" fmla="*/ 533 h 820"/>
              <a:gd name="T56" fmla="*/ 454 w 509"/>
              <a:gd name="T57" fmla="*/ 541 h 820"/>
              <a:gd name="T58" fmla="*/ 478 w 509"/>
              <a:gd name="T59" fmla="*/ 538 h 820"/>
              <a:gd name="T60" fmla="*/ 488 w 509"/>
              <a:gd name="T61" fmla="*/ 521 h 820"/>
              <a:gd name="T62" fmla="*/ 500 w 509"/>
              <a:gd name="T63" fmla="*/ 546 h 820"/>
              <a:gd name="T64" fmla="*/ 509 w 509"/>
              <a:gd name="T65" fmla="*/ 553 h 820"/>
              <a:gd name="T66" fmla="*/ 469 w 509"/>
              <a:gd name="T67" fmla="*/ 820 h 820"/>
              <a:gd name="T68" fmla="*/ 0 w 509"/>
              <a:gd name="T69" fmla="*/ 728 h 820"/>
              <a:gd name="T70" fmla="*/ 53 w 509"/>
              <a:gd name="T71" fmla="*/ 526 h 820"/>
              <a:gd name="T72" fmla="*/ 56 w 509"/>
              <a:gd name="T73" fmla="*/ 512 h 820"/>
              <a:gd name="T74" fmla="*/ 60 w 509"/>
              <a:gd name="T75" fmla="*/ 502 h 820"/>
              <a:gd name="T76" fmla="*/ 44 w 509"/>
              <a:gd name="T77" fmla="*/ 488 h 820"/>
              <a:gd name="T78" fmla="*/ 44 w 509"/>
              <a:gd name="T79" fmla="*/ 469 h 820"/>
              <a:gd name="T80" fmla="*/ 75 w 509"/>
              <a:gd name="T81" fmla="*/ 433 h 820"/>
              <a:gd name="T82" fmla="*/ 82 w 509"/>
              <a:gd name="T83" fmla="*/ 418 h 820"/>
              <a:gd name="T84" fmla="*/ 128 w 509"/>
              <a:gd name="T85" fmla="*/ 353 h 820"/>
              <a:gd name="T86" fmla="*/ 116 w 509"/>
              <a:gd name="T87" fmla="*/ 332 h 820"/>
              <a:gd name="T88" fmla="*/ 104 w 509"/>
              <a:gd name="T89" fmla="*/ 322 h 820"/>
              <a:gd name="T90" fmla="*/ 99 w 509"/>
              <a:gd name="T91" fmla="*/ 298 h 820"/>
              <a:gd name="T92" fmla="*/ 106 w 509"/>
              <a:gd name="T93" fmla="*/ 288 h 820"/>
              <a:gd name="T94" fmla="*/ 99 w 509"/>
              <a:gd name="T95" fmla="*/ 269 h 820"/>
              <a:gd name="T96" fmla="*/ 161 w 509"/>
              <a:gd name="T97" fmla="*/ 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9" h="820">
                <a:moveTo>
                  <a:pt x="161" y="0"/>
                </a:moveTo>
                <a:lnTo>
                  <a:pt x="231" y="14"/>
                </a:lnTo>
                <a:lnTo>
                  <a:pt x="212" y="115"/>
                </a:lnTo>
                <a:lnTo>
                  <a:pt x="224" y="144"/>
                </a:lnTo>
                <a:lnTo>
                  <a:pt x="229" y="161"/>
                </a:lnTo>
                <a:lnTo>
                  <a:pt x="224" y="173"/>
                </a:lnTo>
                <a:lnTo>
                  <a:pt x="219" y="178"/>
                </a:lnTo>
                <a:lnTo>
                  <a:pt x="226" y="183"/>
                </a:lnTo>
                <a:lnTo>
                  <a:pt x="233" y="195"/>
                </a:lnTo>
                <a:lnTo>
                  <a:pt x="253" y="211"/>
                </a:lnTo>
                <a:lnTo>
                  <a:pt x="265" y="240"/>
                </a:lnTo>
                <a:lnTo>
                  <a:pt x="267" y="255"/>
                </a:lnTo>
                <a:lnTo>
                  <a:pt x="272" y="267"/>
                </a:lnTo>
                <a:lnTo>
                  <a:pt x="284" y="269"/>
                </a:lnTo>
                <a:lnTo>
                  <a:pt x="286" y="276"/>
                </a:lnTo>
                <a:lnTo>
                  <a:pt x="301" y="279"/>
                </a:lnTo>
                <a:lnTo>
                  <a:pt x="305" y="286"/>
                </a:lnTo>
                <a:lnTo>
                  <a:pt x="289" y="320"/>
                </a:lnTo>
                <a:lnTo>
                  <a:pt x="291" y="327"/>
                </a:lnTo>
                <a:lnTo>
                  <a:pt x="284" y="332"/>
                </a:lnTo>
                <a:lnTo>
                  <a:pt x="284" y="348"/>
                </a:lnTo>
                <a:lnTo>
                  <a:pt x="286" y="348"/>
                </a:lnTo>
                <a:lnTo>
                  <a:pt x="284" y="358"/>
                </a:lnTo>
                <a:lnTo>
                  <a:pt x="272" y="368"/>
                </a:lnTo>
                <a:lnTo>
                  <a:pt x="272" y="377"/>
                </a:lnTo>
                <a:lnTo>
                  <a:pt x="272" y="382"/>
                </a:lnTo>
                <a:lnTo>
                  <a:pt x="269" y="392"/>
                </a:lnTo>
                <a:lnTo>
                  <a:pt x="284" y="406"/>
                </a:lnTo>
                <a:lnTo>
                  <a:pt x="289" y="404"/>
                </a:lnTo>
                <a:lnTo>
                  <a:pt x="313" y="387"/>
                </a:lnTo>
                <a:lnTo>
                  <a:pt x="315" y="384"/>
                </a:lnTo>
                <a:lnTo>
                  <a:pt x="317" y="387"/>
                </a:lnTo>
                <a:lnTo>
                  <a:pt x="320" y="394"/>
                </a:lnTo>
                <a:lnTo>
                  <a:pt x="322" y="397"/>
                </a:lnTo>
                <a:lnTo>
                  <a:pt x="327" y="399"/>
                </a:lnTo>
                <a:lnTo>
                  <a:pt x="325" y="413"/>
                </a:lnTo>
                <a:lnTo>
                  <a:pt x="325" y="435"/>
                </a:lnTo>
                <a:lnTo>
                  <a:pt x="329" y="449"/>
                </a:lnTo>
                <a:lnTo>
                  <a:pt x="339" y="461"/>
                </a:lnTo>
                <a:lnTo>
                  <a:pt x="339" y="469"/>
                </a:lnTo>
                <a:lnTo>
                  <a:pt x="334" y="476"/>
                </a:lnTo>
                <a:lnTo>
                  <a:pt x="341" y="490"/>
                </a:lnTo>
                <a:lnTo>
                  <a:pt x="351" y="490"/>
                </a:lnTo>
                <a:lnTo>
                  <a:pt x="358" y="500"/>
                </a:lnTo>
                <a:lnTo>
                  <a:pt x="361" y="507"/>
                </a:lnTo>
                <a:lnTo>
                  <a:pt x="358" y="521"/>
                </a:lnTo>
                <a:lnTo>
                  <a:pt x="358" y="526"/>
                </a:lnTo>
                <a:lnTo>
                  <a:pt x="363" y="538"/>
                </a:lnTo>
                <a:lnTo>
                  <a:pt x="373" y="543"/>
                </a:lnTo>
                <a:lnTo>
                  <a:pt x="377" y="533"/>
                </a:lnTo>
                <a:lnTo>
                  <a:pt x="382" y="531"/>
                </a:lnTo>
                <a:lnTo>
                  <a:pt x="399" y="536"/>
                </a:lnTo>
                <a:lnTo>
                  <a:pt x="406" y="538"/>
                </a:lnTo>
                <a:lnTo>
                  <a:pt x="413" y="531"/>
                </a:lnTo>
                <a:lnTo>
                  <a:pt x="421" y="531"/>
                </a:lnTo>
                <a:lnTo>
                  <a:pt x="423" y="533"/>
                </a:lnTo>
                <a:lnTo>
                  <a:pt x="445" y="536"/>
                </a:lnTo>
                <a:lnTo>
                  <a:pt x="454" y="541"/>
                </a:lnTo>
                <a:lnTo>
                  <a:pt x="457" y="538"/>
                </a:lnTo>
                <a:lnTo>
                  <a:pt x="478" y="538"/>
                </a:lnTo>
                <a:lnTo>
                  <a:pt x="478" y="531"/>
                </a:lnTo>
                <a:lnTo>
                  <a:pt x="488" y="521"/>
                </a:lnTo>
                <a:lnTo>
                  <a:pt x="497" y="533"/>
                </a:lnTo>
                <a:lnTo>
                  <a:pt x="500" y="546"/>
                </a:lnTo>
                <a:lnTo>
                  <a:pt x="509" y="555"/>
                </a:lnTo>
                <a:lnTo>
                  <a:pt x="509" y="553"/>
                </a:lnTo>
                <a:lnTo>
                  <a:pt x="471" y="820"/>
                </a:lnTo>
                <a:lnTo>
                  <a:pt x="469" y="820"/>
                </a:lnTo>
                <a:lnTo>
                  <a:pt x="233" y="779"/>
                </a:lnTo>
                <a:lnTo>
                  <a:pt x="0" y="728"/>
                </a:lnTo>
                <a:lnTo>
                  <a:pt x="41" y="538"/>
                </a:lnTo>
                <a:lnTo>
                  <a:pt x="53" y="526"/>
                </a:lnTo>
                <a:lnTo>
                  <a:pt x="53" y="514"/>
                </a:lnTo>
                <a:lnTo>
                  <a:pt x="56" y="512"/>
                </a:lnTo>
                <a:lnTo>
                  <a:pt x="58" y="507"/>
                </a:lnTo>
                <a:lnTo>
                  <a:pt x="60" y="502"/>
                </a:lnTo>
                <a:lnTo>
                  <a:pt x="56" y="493"/>
                </a:lnTo>
                <a:lnTo>
                  <a:pt x="44" y="488"/>
                </a:lnTo>
                <a:lnTo>
                  <a:pt x="41" y="481"/>
                </a:lnTo>
                <a:lnTo>
                  <a:pt x="44" y="469"/>
                </a:lnTo>
                <a:lnTo>
                  <a:pt x="63" y="440"/>
                </a:lnTo>
                <a:lnTo>
                  <a:pt x="75" y="433"/>
                </a:lnTo>
                <a:lnTo>
                  <a:pt x="82" y="425"/>
                </a:lnTo>
                <a:lnTo>
                  <a:pt x="82" y="418"/>
                </a:lnTo>
                <a:lnTo>
                  <a:pt x="89" y="411"/>
                </a:lnTo>
                <a:lnTo>
                  <a:pt x="128" y="353"/>
                </a:lnTo>
                <a:lnTo>
                  <a:pt x="125" y="339"/>
                </a:lnTo>
                <a:lnTo>
                  <a:pt x="116" y="332"/>
                </a:lnTo>
                <a:lnTo>
                  <a:pt x="111" y="332"/>
                </a:lnTo>
                <a:lnTo>
                  <a:pt x="104" y="322"/>
                </a:lnTo>
                <a:lnTo>
                  <a:pt x="101" y="312"/>
                </a:lnTo>
                <a:lnTo>
                  <a:pt x="99" y="298"/>
                </a:lnTo>
                <a:lnTo>
                  <a:pt x="104" y="293"/>
                </a:lnTo>
                <a:lnTo>
                  <a:pt x="106" y="288"/>
                </a:lnTo>
                <a:lnTo>
                  <a:pt x="99" y="279"/>
                </a:lnTo>
                <a:lnTo>
                  <a:pt x="99" y="269"/>
                </a:lnTo>
                <a:lnTo>
                  <a:pt x="104" y="264"/>
                </a:lnTo>
                <a:lnTo>
                  <a:pt x="161"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3" name="Freeform 24"/>
          <p:cNvSpPr>
            <a:spLocks/>
          </p:cNvSpPr>
          <p:nvPr/>
        </p:nvSpPr>
        <p:spPr bwMode="auto">
          <a:xfrm>
            <a:off x="5696229" y="3754640"/>
            <a:ext cx="922338" cy="1068387"/>
          </a:xfrm>
          <a:custGeom>
            <a:avLst/>
            <a:gdLst>
              <a:gd name="T0" fmla="*/ 494 w 581"/>
              <a:gd name="T1" fmla="*/ 670 h 673"/>
              <a:gd name="T2" fmla="*/ 581 w 581"/>
              <a:gd name="T3" fmla="*/ 65 h 673"/>
              <a:gd name="T4" fmla="*/ 158 w 581"/>
              <a:gd name="T5" fmla="*/ 0 h 673"/>
              <a:gd name="T6" fmla="*/ 158 w 581"/>
              <a:gd name="T7" fmla="*/ 0 h 673"/>
              <a:gd name="T8" fmla="*/ 148 w 581"/>
              <a:gd name="T9" fmla="*/ 55 h 673"/>
              <a:gd name="T10" fmla="*/ 132 w 581"/>
              <a:gd name="T11" fmla="*/ 101 h 673"/>
              <a:gd name="T12" fmla="*/ 122 w 581"/>
              <a:gd name="T13" fmla="*/ 101 h 673"/>
              <a:gd name="T14" fmla="*/ 117 w 581"/>
              <a:gd name="T15" fmla="*/ 94 h 673"/>
              <a:gd name="T16" fmla="*/ 117 w 581"/>
              <a:gd name="T17" fmla="*/ 89 h 673"/>
              <a:gd name="T18" fmla="*/ 110 w 581"/>
              <a:gd name="T19" fmla="*/ 82 h 673"/>
              <a:gd name="T20" fmla="*/ 93 w 581"/>
              <a:gd name="T21" fmla="*/ 79 h 673"/>
              <a:gd name="T22" fmla="*/ 81 w 581"/>
              <a:gd name="T23" fmla="*/ 82 h 673"/>
              <a:gd name="T24" fmla="*/ 76 w 581"/>
              <a:gd name="T25" fmla="*/ 86 h 673"/>
              <a:gd name="T26" fmla="*/ 81 w 581"/>
              <a:gd name="T27" fmla="*/ 106 h 673"/>
              <a:gd name="T28" fmla="*/ 76 w 581"/>
              <a:gd name="T29" fmla="*/ 156 h 673"/>
              <a:gd name="T30" fmla="*/ 81 w 581"/>
              <a:gd name="T31" fmla="*/ 166 h 673"/>
              <a:gd name="T32" fmla="*/ 74 w 581"/>
              <a:gd name="T33" fmla="*/ 187 h 673"/>
              <a:gd name="T34" fmla="*/ 69 w 581"/>
              <a:gd name="T35" fmla="*/ 194 h 673"/>
              <a:gd name="T36" fmla="*/ 69 w 581"/>
              <a:gd name="T37" fmla="*/ 199 h 673"/>
              <a:gd name="T38" fmla="*/ 69 w 581"/>
              <a:gd name="T39" fmla="*/ 216 h 673"/>
              <a:gd name="T40" fmla="*/ 69 w 581"/>
              <a:gd name="T41" fmla="*/ 221 h 673"/>
              <a:gd name="T42" fmla="*/ 69 w 581"/>
              <a:gd name="T43" fmla="*/ 226 h 673"/>
              <a:gd name="T44" fmla="*/ 76 w 581"/>
              <a:gd name="T45" fmla="*/ 238 h 673"/>
              <a:gd name="T46" fmla="*/ 76 w 581"/>
              <a:gd name="T47" fmla="*/ 250 h 673"/>
              <a:gd name="T48" fmla="*/ 79 w 581"/>
              <a:gd name="T49" fmla="*/ 257 h 673"/>
              <a:gd name="T50" fmla="*/ 84 w 581"/>
              <a:gd name="T51" fmla="*/ 269 h 673"/>
              <a:gd name="T52" fmla="*/ 88 w 581"/>
              <a:gd name="T53" fmla="*/ 271 h 673"/>
              <a:gd name="T54" fmla="*/ 93 w 581"/>
              <a:gd name="T55" fmla="*/ 279 h 673"/>
              <a:gd name="T56" fmla="*/ 93 w 581"/>
              <a:gd name="T57" fmla="*/ 288 h 673"/>
              <a:gd name="T58" fmla="*/ 93 w 581"/>
              <a:gd name="T59" fmla="*/ 293 h 673"/>
              <a:gd name="T60" fmla="*/ 88 w 581"/>
              <a:gd name="T61" fmla="*/ 291 h 673"/>
              <a:gd name="T62" fmla="*/ 79 w 581"/>
              <a:gd name="T63" fmla="*/ 300 h 673"/>
              <a:gd name="T64" fmla="*/ 67 w 581"/>
              <a:gd name="T65" fmla="*/ 303 h 673"/>
              <a:gd name="T66" fmla="*/ 57 w 581"/>
              <a:gd name="T67" fmla="*/ 315 h 673"/>
              <a:gd name="T68" fmla="*/ 50 w 581"/>
              <a:gd name="T69" fmla="*/ 346 h 673"/>
              <a:gd name="T70" fmla="*/ 33 w 581"/>
              <a:gd name="T71" fmla="*/ 368 h 673"/>
              <a:gd name="T72" fmla="*/ 24 w 581"/>
              <a:gd name="T73" fmla="*/ 368 h 673"/>
              <a:gd name="T74" fmla="*/ 24 w 581"/>
              <a:gd name="T75" fmla="*/ 372 h 673"/>
              <a:gd name="T76" fmla="*/ 26 w 581"/>
              <a:gd name="T77" fmla="*/ 380 h 673"/>
              <a:gd name="T78" fmla="*/ 24 w 581"/>
              <a:gd name="T79" fmla="*/ 387 h 673"/>
              <a:gd name="T80" fmla="*/ 21 w 581"/>
              <a:gd name="T81" fmla="*/ 399 h 673"/>
              <a:gd name="T82" fmla="*/ 24 w 581"/>
              <a:gd name="T83" fmla="*/ 406 h 673"/>
              <a:gd name="T84" fmla="*/ 36 w 581"/>
              <a:gd name="T85" fmla="*/ 416 h 673"/>
              <a:gd name="T86" fmla="*/ 38 w 581"/>
              <a:gd name="T87" fmla="*/ 420 h 673"/>
              <a:gd name="T88" fmla="*/ 33 w 581"/>
              <a:gd name="T89" fmla="*/ 425 h 673"/>
              <a:gd name="T90" fmla="*/ 33 w 581"/>
              <a:gd name="T91" fmla="*/ 432 h 673"/>
              <a:gd name="T92" fmla="*/ 24 w 581"/>
              <a:gd name="T93" fmla="*/ 440 h 673"/>
              <a:gd name="T94" fmla="*/ 21 w 581"/>
              <a:gd name="T95" fmla="*/ 440 h 673"/>
              <a:gd name="T96" fmla="*/ 7 w 581"/>
              <a:gd name="T97" fmla="*/ 437 h 673"/>
              <a:gd name="T98" fmla="*/ 0 w 581"/>
              <a:gd name="T99" fmla="*/ 461 h 673"/>
              <a:gd name="T100" fmla="*/ 312 w 581"/>
              <a:gd name="T101" fmla="*/ 642 h 673"/>
              <a:gd name="T102" fmla="*/ 494 w 581"/>
              <a:gd name="T103" fmla="*/ 673 h 673"/>
              <a:gd name="T104" fmla="*/ 494 w 581"/>
              <a:gd name="T105" fmla="*/ 67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673">
                <a:moveTo>
                  <a:pt x="494" y="670"/>
                </a:moveTo>
                <a:lnTo>
                  <a:pt x="581" y="65"/>
                </a:lnTo>
                <a:lnTo>
                  <a:pt x="158" y="0"/>
                </a:lnTo>
                <a:lnTo>
                  <a:pt x="158" y="0"/>
                </a:lnTo>
                <a:lnTo>
                  <a:pt x="148" y="55"/>
                </a:lnTo>
                <a:lnTo>
                  <a:pt x="132" y="101"/>
                </a:lnTo>
                <a:lnTo>
                  <a:pt x="122" y="101"/>
                </a:lnTo>
                <a:lnTo>
                  <a:pt x="117" y="94"/>
                </a:lnTo>
                <a:lnTo>
                  <a:pt x="117" y="89"/>
                </a:lnTo>
                <a:lnTo>
                  <a:pt x="110" y="82"/>
                </a:lnTo>
                <a:lnTo>
                  <a:pt x="93" y="79"/>
                </a:lnTo>
                <a:lnTo>
                  <a:pt x="81" y="82"/>
                </a:lnTo>
                <a:lnTo>
                  <a:pt x="76" y="86"/>
                </a:lnTo>
                <a:lnTo>
                  <a:pt x="81" y="106"/>
                </a:lnTo>
                <a:lnTo>
                  <a:pt x="76" y="156"/>
                </a:lnTo>
                <a:lnTo>
                  <a:pt x="81" y="166"/>
                </a:lnTo>
                <a:lnTo>
                  <a:pt x="74" y="187"/>
                </a:lnTo>
                <a:lnTo>
                  <a:pt x="69" y="194"/>
                </a:lnTo>
                <a:lnTo>
                  <a:pt x="69" y="199"/>
                </a:lnTo>
                <a:lnTo>
                  <a:pt x="69" y="216"/>
                </a:lnTo>
                <a:lnTo>
                  <a:pt x="69" y="221"/>
                </a:lnTo>
                <a:lnTo>
                  <a:pt x="69" y="226"/>
                </a:lnTo>
                <a:lnTo>
                  <a:pt x="76" y="238"/>
                </a:lnTo>
                <a:lnTo>
                  <a:pt x="76" y="250"/>
                </a:lnTo>
                <a:lnTo>
                  <a:pt x="79" y="257"/>
                </a:lnTo>
                <a:lnTo>
                  <a:pt x="84" y="269"/>
                </a:lnTo>
                <a:lnTo>
                  <a:pt x="88" y="271"/>
                </a:lnTo>
                <a:lnTo>
                  <a:pt x="93" y="279"/>
                </a:lnTo>
                <a:lnTo>
                  <a:pt x="93" y="288"/>
                </a:lnTo>
                <a:lnTo>
                  <a:pt x="93" y="293"/>
                </a:lnTo>
                <a:lnTo>
                  <a:pt x="88" y="291"/>
                </a:lnTo>
                <a:lnTo>
                  <a:pt x="79" y="300"/>
                </a:lnTo>
                <a:lnTo>
                  <a:pt x="67" y="303"/>
                </a:lnTo>
                <a:lnTo>
                  <a:pt x="57" y="315"/>
                </a:lnTo>
                <a:lnTo>
                  <a:pt x="50" y="346"/>
                </a:lnTo>
                <a:lnTo>
                  <a:pt x="33" y="368"/>
                </a:lnTo>
                <a:lnTo>
                  <a:pt x="24" y="368"/>
                </a:lnTo>
                <a:lnTo>
                  <a:pt x="24" y="372"/>
                </a:lnTo>
                <a:lnTo>
                  <a:pt x="26" y="380"/>
                </a:lnTo>
                <a:lnTo>
                  <a:pt x="24" y="387"/>
                </a:lnTo>
                <a:lnTo>
                  <a:pt x="21" y="399"/>
                </a:lnTo>
                <a:lnTo>
                  <a:pt x="24" y="406"/>
                </a:lnTo>
                <a:lnTo>
                  <a:pt x="36" y="416"/>
                </a:lnTo>
                <a:lnTo>
                  <a:pt x="38" y="420"/>
                </a:lnTo>
                <a:lnTo>
                  <a:pt x="33" y="425"/>
                </a:lnTo>
                <a:lnTo>
                  <a:pt x="33" y="432"/>
                </a:lnTo>
                <a:lnTo>
                  <a:pt x="24" y="440"/>
                </a:lnTo>
                <a:lnTo>
                  <a:pt x="21" y="440"/>
                </a:lnTo>
                <a:lnTo>
                  <a:pt x="7" y="437"/>
                </a:lnTo>
                <a:lnTo>
                  <a:pt x="0" y="461"/>
                </a:lnTo>
                <a:lnTo>
                  <a:pt x="312" y="642"/>
                </a:lnTo>
                <a:lnTo>
                  <a:pt x="494" y="673"/>
                </a:lnTo>
                <a:lnTo>
                  <a:pt x="494" y="67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4" name="Freeform 25"/>
          <p:cNvSpPr>
            <a:spLocks/>
          </p:cNvSpPr>
          <p:nvPr/>
        </p:nvSpPr>
        <p:spPr bwMode="auto">
          <a:xfrm>
            <a:off x="5250142" y="2746578"/>
            <a:ext cx="860425" cy="1323975"/>
          </a:xfrm>
          <a:custGeom>
            <a:avLst/>
            <a:gdLst>
              <a:gd name="T0" fmla="*/ 79 w 542"/>
              <a:gd name="T1" fmla="*/ 0 h 834"/>
              <a:gd name="T2" fmla="*/ 0 w 542"/>
              <a:gd name="T3" fmla="*/ 318 h 834"/>
              <a:gd name="T4" fmla="*/ 350 w 542"/>
              <a:gd name="T5" fmla="*/ 834 h 834"/>
              <a:gd name="T6" fmla="*/ 350 w 542"/>
              <a:gd name="T7" fmla="*/ 829 h 834"/>
              <a:gd name="T8" fmla="*/ 355 w 542"/>
              <a:gd name="T9" fmla="*/ 822 h 834"/>
              <a:gd name="T10" fmla="*/ 362 w 542"/>
              <a:gd name="T11" fmla="*/ 801 h 834"/>
              <a:gd name="T12" fmla="*/ 357 w 542"/>
              <a:gd name="T13" fmla="*/ 791 h 834"/>
              <a:gd name="T14" fmla="*/ 362 w 542"/>
              <a:gd name="T15" fmla="*/ 741 h 834"/>
              <a:gd name="T16" fmla="*/ 357 w 542"/>
              <a:gd name="T17" fmla="*/ 721 h 834"/>
              <a:gd name="T18" fmla="*/ 362 w 542"/>
              <a:gd name="T19" fmla="*/ 717 h 834"/>
              <a:gd name="T20" fmla="*/ 374 w 542"/>
              <a:gd name="T21" fmla="*/ 714 h 834"/>
              <a:gd name="T22" fmla="*/ 391 w 542"/>
              <a:gd name="T23" fmla="*/ 717 h 834"/>
              <a:gd name="T24" fmla="*/ 398 w 542"/>
              <a:gd name="T25" fmla="*/ 724 h 834"/>
              <a:gd name="T26" fmla="*/ 398 w 542"/>
              <a:gd name="T27" fmla="*/ 729 h 834"/>
              <a:gd name="T28" fmla="*/ 403 w 542"/>
              <a:gd name="T29" fmla="*/ 736 h 834"/>
              <a:gd name="T30" fmla="*/ 413 w 542"/>
              <a:gd name="T31" fmla="*/ 736 h 834"/>
              <a:gd name="T32" fmla="*/ 429 w 542"/>
              <a:gd name="T33" fmla="*/ 690 h 834"/>
              <a:gd name="T34" fmla="*/ 439 w 542"/>
              <a:gd name="T35" fmla="*/ 635 h 834"/>
              <a:gd name="T36" fmla="*/ 542 w 542"/>
              <a:gd name="T37" fmla="*/ 104 h 834"/>
              <a:gd name="T38" fmla="*/ 309 w 542"/>
              <a:gd name="T39" fmla="*/ 53 h 834"/>
              <a:gd name="T40" fmla="*/ 79 w 542"/>
              <a:gd name="T41"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2" h="834">
                <a:moveTo>
                  <a:pt x="79" y="0"/>
                </a:moveTo>
                <a:lnTo>
                  <a:pt x="0" y="318"/>
                </a:lnTo>
                <a:lnTo>
                  <a:pt x="350" y="834"/>
                </a:lnTo>
                <a:lnTo>
                  <a:pt x="350" y="829"/>
                </a:lnTo>
                <a:lnTo>
                  <a:pt x="355" y="822"/>
                </a:lnTo>
                <a:lnTo>
                  <a:pt x="362" y="801"/>
                </a:lnTo>
                <a:lnTo>
                  <a:pt x="357" y="791"/>
                </a:lnTo>
                <a:lnTo>
                  <a:pt x="362" y="741"/>
                </a:lnTo>
                <a:lnTo>
                  <a:pt x="357" y="721"/>
                </a:lnTo>
                <a:lnTo>
                  <a:pt x="362" y="717"/>
                </a:lnTo>
                <a:lnTo>
                  <a:pt x="374" y="714"/>
                </a:lnTo>
                <a:lnTo>
                  <a:pt x="391" y="717"/>
                </a:lnTo>
                <a:lnTo>
                  <a:pt x="398" y="724"/>
                </a:lnTo>
                <a:lnTo>
                  <a:pt x="398" y="729"/>
                </a:lnTo>
                <a:lnTo>
                  <a:pt x="403" y="736"/>
                </a:lnTo>
                <a:lnTo>
                  <a:pt x="413" y="736"/>
                </a:lnTo>
                <a:lnTo>
                  <a:pt x="429" y="690"/>
                </a:lnTo>
                <a:lnTo>
                  <a:pt x="439" y="635"/>
                </a:lnTo>
                <a:lnTo>
                  <a:pt x="542" y="104"/>
                </a:lnTo>
                <a:lnTo>
                  <a:pt x="309" y="53"/>
                </a:lnTo>
                <a:lnTo>
                  <a:pt x="79"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5" name="Freeform 26"/>
          <p:cNvSpPr>
            <a:spLocks/>
          </p:cNvSpPr>
          <p:nvPr/>
        </p:nvSpPr>
        <p:spPr bwMode="auto">
          <a:xfrm>
            <a:off x="5100917" y="1511503"/>
            <a:ext cx="895350" cy="658812"/>
          </a:xfrm>
          <a:custGeom>
            <a:avLst/>
            <a:gdLst>
              <a:gd name="T0" fmla="*/ 507 w 564"/>
              <a:gd name="T1" fmla="*/ 396 h 415"/>
              <a:gd name="T2" fmla="*/ 504 w 564"/>
              <a:gd name="T3" fmla="*/ 415 h 415"/>
              <a:gd name="T4" fmla="*/ 343 w 564"/>
              <a:gd name="T5" fmla="*/ 384 h 415"/>
              <a:gd name="T6" fmla="*/ 329 w 564"/>
              <a:gd name="T7" fmla="*/ 382 h 415"/>
              <a:gd name="T8" fmla="*/ 312 w 564"/>
              <a:gd name="T9" fmla="*/ 379 h 415"/>
              <a:gd name="T10" fmla="*/ 298 w 564"/>
              <a:gd name="T11" fmla="*/ 382 h 415"/>
              <a:gd name="T12" fmla="*/ 276 w 564"/>
              <a:gd name="T13" fmla="*/ 379 h 415"/>
              <a:gd name="T14" fmla="*/ 257 w 564"/>
              <a:gd name="T15" fmla="*/ 384 h 415"/>
              <a:gd name="T16" fmla="*/ 233 w 564"/>
              <a:gd name="T17" fmla="*/ 379 h 415"/>
              <a:gd name="T18" fmla="*/ 187 w 564"/>
              <a:gd name="T19" fmla="*/ 379 h 415"/>
              <a:gd name="T20" fmla="*/ 154 w 564"/>
              <a:gd name="T21" fmla="*/ 363 h 415"/>
              <a:gd name="T22" fmla="*/ 122 w 564"/>
              <a:gd name="T23" fmla="*/ 363 h 415"/>
              <a:gd name="T24" fmla="*/ 74 w 564"/>
              <a:gd name="T25" fmla="*/ 348 h 415"/>
              <a:gd name="T26" fmla="*/ 72 w 564"/>
              <a:gd name="T27" fmla="*/ 312 h 415"/>
              <a:gd name="T28" fmla="*/ 72 w 564"/>
              <a:gd name="T29" fmla="*/ 290 h 415"/>
              <a:gd name="T30" fmla="*/ 43 w 564"/>
              <a:gd name="T31" fmla="*/ 278 h 415"/>
              <a:gd name="T32" fmla="*/ 34 w 564"/>
              <a:gd name="T33" fmla="*/ 269 h 415"/>
              <a:gd name="T34" fmla="*/ 19 w 564"/>
              <a:gd name="T35" fmla="*/ 259 h 415"/>
              <a:gd name="T36" fmla="*/ 2 w 564"/>
              <a:gd name="T37" fmla="*/ 252 h 415"/>
              <a:gd name="T38" fmla="*/ 0 w 564"/>
              <a:gd name="T39" fmla="*/ 245 h 415"/>
              <a:gd name="T40" fmla="*/ 5 w 564"/>
              <a:gd name="T41" fmla="*/ 228 h 415"/>
              <a:gd name="T42" fmla="*/ 5 w 564"/>
              <a:gd name="T43" fmla="*/ 218 h 415"/>
              <a:gd name="T44" fmla="*/ 10 w 564"/>
              <a:gd name="T45" fmla="*/ 218 h 415"/>
              <a:gd name="T46" fmla="*/ 10 w 564"/>
              <a:gd name="T47" fmla="*/ 230 h 415"/>
              <a:gd name="T48" fmla="*/ 10 w 564"/>
              <a:gd name="T49" fmla="*/ 238 h 415"/>
              <a:gd name="T50" fmla="*/ 19 w 564"/>
              <a:gd name="T51" fmla="*/ 223 h 415"/>
              <a:gd name="T52" fmla="*/ 24 w 564"/>
              <a:gd name="T53" fmla="*/ 213 h 415"/>
              <a:gd name="T54" fmla="*/ 14 w 564"/>
              <a:gd name="T55" fmla="*/ 206 h 415"/>
              <a:gd name="T56" fmla="*/ 14 w 564"/>
              <a:gd name="T57" fmla="*/ 187 h 415"/>
              <a:gd name="T58" fmla="*/ 24 w 564"/>
              <a:gd name="T59" fmla="*/ 187 h 415"/>
              <a:gd name="T60" fmla="*/ 26 w 564"/>
              <a:gd name="T61" fmla="*/ 177 h 415"/>
              <a:gd name="T62" fmla="*/ 24 w 564"/>
              <a:gd name="T63" fmla="*/ 173 h 415"/>
              <a:gd name="T64" fmla="*/ 17 w 564"/>
              <a:gd name="T65" fmla="*/ 168 h 415"/>
              <a:gd name="T66" fmla="*/ 19 w 564"/>
              <a:gd name="T67" fmla="*/ 146 h 415"/>
              <a:gd name="T68" fmla="*/ 17 w 564"/>
              <a:gd name="T69" fmla="*/ 127 h 415"/>
              <a:gd name="T70" fmla="*/ 22 w 564"/>
              <a:gd name="T71" fmla="*/ 96 h 415"/>
              <a:gd name="T72" fmla="*/ 12 w 564"/>
              <a:gd name="T73" fmla="*/ 48 h 415"/>
              <a:gd name="T74" fmla="*/ 19 w 564"/>
              <a:gd name="T75" fmla="*/ 21 h 415"/>
              <a:gd name="T76" fmla="*/ 98 w 564"/>
              <a:gd name="T77" fmla="*/ 72 h 415"/>
              <a:gd name="T78" fmla="*/ 132 w 564"/>
              <a:gd name="T79" fmla="*/ 86 h 415"/>
              <a:gd name="T80" fmla="*/ 149 w 564"/>
              <a:gd name="T81" fmla="*/ 89 h 415"/>
              <a:gd name="T82" fmla="*/ 154 w 564"/>
              <a:gd name="T83" fmla="*/ 122 h 415"/>
              <a:gd name="T84" fmla="*/ 144 w 564"/>
              <a:gd name="T85" fmla="*/ 134 h 415"/>
              <a:gd name="T86" fmla="*/ 142 w 564"/>
              <a:gd name="T87" fmla="*/ 156 h 415"/>
              <a:gd name="T88" fmla="*/ 142 w 564"/>
              <a:gd name="T89" fmla="*/ 165 h 415"/>
              <a:gd name="T90" fmla="*/ 137 w 564"/>
              <a:gd name="T91" fmla="*/ 173 h 415"/>
              <a:gd name="T92" fmla="*/ 154 w 564"/>
              <a:gd name="T93" fmla="*/ 173 h 415"/>
              <a:gd name="T94" fmla="*/ 163 w 564"/>
              <a:gd name="T95" fmla="*/ 144 h 415"/>
              <a:gd name="T96" fmla="*/ 182 w 564"/>
              <a:gd name="T97" fmla="*/ 120 h 415"/>
              <a:gd name="T98" fmla="*/ 178 w 564"/>
              <a:gd name="T99" fmla="*/ 91 h 415"/>
              <a:gd name="T100" fmla="*/ 166 w 564"/>
              <a:gd name="T101" fmla="*/ 57 h 415"/>
              <a:gd name="T102" fmla="*/ 175 w 564"/>
              <a:gd name="T103" fmla="*/ 57 h 415"/>
              <a:gd name="T104" fmla="*/ 180 w 564"/>
              <a:gd name="T105" fmla="*/ 28 h 415"/>
              <a:gd name="T106" fmla="*/ 170 w 564"/>
              <a:gd name="T107" fmla="*/ 19 h 415"/>
              <a:gd name="T108" fmla="*/ 283 w 564"/>
              <a:gd name="T109" fmla="*/ 31 h 415"/>
              <a:gd name="T110" fmla="*/ 564 w 564"/>
              <a:gd name="T111" fmla="*/ 103 h 415"/>
              <a:gd name="T112" fmla="*/ 502 w 564"/>
              <a:gd name="T113" fmla="*/ 372 h 415"/>
              <a:gd name="T114" fmla="*/ 509 w 564"/>
              <a:gd name="T115" fmla="*/ 391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4" h="415">
                <a:moveTo>
                  <a:pt x="509" y="391"/>
                </a:moveTo>
                <a:lnTo>
                  <a:pt x="507" y="396"/>
                </a:lnTo>
                <a:lnTo>
                  <a:pt x="502" y="401"/>
                </a:lnTo>
                <a:lnTo>
                  <a:pt x="504" y="415"/>
                </a:lnTo>
                <a:lnTo>
                  <a:pt x="355" y="379"/>
                </a:lnTo>
                <a:lnTo>
                  <a:pt x="343" y="384"/>
                </a:lnTo>
                <a:lnTo>
                  <a:pt x="336" y="384"/>
                </a:lnTo>
                <a:lnTo>
                  <a:pt x="329" y="382"/>
                </a:lnTo>
                <a:lnTo>
                  <a:pt x="319" y="382"/>
                </a:lnTo>
                <a:lnTo>
                  <a:pt x="312" y="379"/>
                </a:lnTo>
                <a:lnTo>
                  <a:pt x="305" y="379"/>
                </a:lnTo>
                <a:lnTo>
                  <a:pt x="298" y="382"/>
                </a:lnTo>
                <a:lnTo>
                  <a:pt x="286" y="379"/>
                </a:lnTo>
                <a:lnTo>
                  <a:pt x="276" y="379"/>
                </a:lnTo>
                <a:lnTo>
                  <a:pt x="266" y="384"/>
                </a:lnTo>
                <a:lnTo>
                  <a:pt x="257" y="384"/>
                </a:lnTo>
                <a:lnTo>
                  <a:pt x="238" y="382"/>
                </a:lnTo>
                <a:lnTo>
                  <a:pt x="233" y="379"/>
                </a:lnTo>
                <a:lnTo>
                  <a:pt x="223" y="375"/>
                </a:lnTo>
                <a:lnTo>
                  <a:pt x="187" y="379"/>
                </a:lnTo>
                <a:lnTo>
                  <a:pt x="182" y="370"/>
                </a:lnTo>
                <a:lnTo>
                  <a:pt x="154" y="363"/>
                </a:lnTo>
                <a:lnTo>
                  <a:pt x="139" y="360"/>
                </a:lnTo>
                <a:lnTo>
                  <a:pt x="122" y="363"/>
                </a:lnTo>
                <a:lnTo>
                  <a:pt x="96" y="360"/>
                </a:lnTo>
                <a:lnTo>
                  <a:pt x="74" y="348"/>
                </a:lnTo>
                <a:lnTo>
                  <a:pt x="70" y="341"/>
                </a:lnTo>
                <a:lnTo>
                  <a:pt x="72" y="312"/>
                </a:lnTo>
                <a:lnTo>
                  <a:pt x="74" y="307"/>
                </a:lnTo>
                <a:lnTo>
                  <a:pt x="72" y="290"/>
                </a:lnTo>
                <a:lnTo>
                  <a:pt x="55" y="278"/>
                </a:lnTo>
                <a:lnTo>
                  <a:pt x="43" y="278"/>
                </a:lnTo>
                <a:lnTo>
                  <a:pt x="41" y="274"/>
                </a:lnTo>
                <a:lnTo>
                  <a:pt x="34" y="269"/>
                </a:lnTo>
                <a:lnTo>
                  <a:pt x="22" y="262"/>
                </a:lnTo>
                <a:lnTo>
                  <a:pt x="19" y="259"/>
                </a:lnTo>
                <a:lnTo>
                  <a:pt x="7" y="252"/>
                </a:lnTo>
                <a:lnTo>
                  <a:pt x="2" y="252"/>
                </a:lnTo>
                <a:lnTo>
                  <a:pt x="0" y="250"/>
                </a:lnTo>
                <a:lnTo>
                  <a:pt x="0" y="245"/>
                </a:lnTo>
                <a:lnTo>
                  <a:pt x="2" y="233"/>
                </a:lnTo>
                <a:lnTo>
                  <a:pt x="5" y="228"/>
                </a:lnTo>
                <a:lnTo>
                  <a:pt x="5" y="223"/>
                </a:lnTo>
                <a:lnTo>
                  <a:pt x="5" y="218"/>
                </a:lnTo>
                <a:lnTo>
                  <a:pt x="7" y="218"/>
                </a:lnTo>
                <a:lnTo>
                  <a:pt x="10" y="218"/>
                </a:lnTo>
                <a:lnTo>
                  <a:pt x="10" y="226"/>
                </a:lnTo>
                <a:lnTo>
                  <a:pt x="10" y="230"/>
                </a:lnTo>
                <a:lnTo>
                  <a:pt x="10" y="233"/>
                </a:lnTo>
                <a:lnTo>
                  <a:pt x="10" y="238"/>
                </a:lnTo>
                <a:lnTo>
                  <a:pt x="19" y="228"/>
                </a:lnTo>
                <a:lnTo>
                  <a:pt x="19" y="223"/>
                </a:lnTo>
                <a:lnTo>
                  <a:pt x="19" y="218"/>
                </a:lnTo>
                <a:lnTo>
                  <a:pt x="24" y="213"/>
                </a:lnTo>
                <a:lnTo>
                  <a:pt x="19" y="206"/>
                </a:lnTo>
                <a:lnTo>
                  <a:pt x="14" y="206"/>
                </a:lnTo>
                <a:lnTo>
                  <a:pt x="12" y="189"/>
                </a:lnTo>
                <a:lnTo>
                  <a:pt x="14" y="187"/>
                </a:lnTo>
                <a:lnTo>
                  <a:pt x="22" y="189"/>
                </a:lnTo>
                <a:lnTo>
                  <a:pt x="24" y="187"/>
                </a:lnTo>
                <a:lnTo>
                  <a:pt x="34" y="185"/>
                </a:lnTo>
                <a:lnTo>
                  <a:pt x="26" y="177"/>
                </a:lnTo>
                <a:lnTo>
                  <a:pt x="26" y="175"/>
                </a:lnTo>
                <a:lnTo>
                  <a:pt x="24" y="173"/>
                </a:lnTo>
                <a:lnTo>
                  <a:pt x="17" y="177"/>
                </a:lnTo>
                <a:lnTo>
                  <a:pt x="17" y="168"/>
                </a:lnTo>
                <a:lnTo>
                  <a:pt x="17" y="161"/>
                </a:lnTo>
                <a:lnTo>
                  <a:pt x="19" y="146"/>
                </a:lnTo>
                <a:lnTo>
                  <a:pt x="17" y="137"/>
                </a:lnTo>
                <a:lnTo>
                  <a:pt x="17" y="127"/>
                </a:lnTo>
                <a:lnTo>
                  <a:pt x="19" y="105"/>
                </a:lnTo>
                <a:lnTo>
                  <a:pt x="22" y="96"/>
                </a:lnTo>
                <a:lnTo>
                  <a:pt x="12" y="67"/>
                </a:lnTo>
                <a:lnTo>
                  <a:pt x="12" y="48"/>
                </a:lnTo>
                <a:lnTo>
                  <a:pt x="14" y="36"/>
                </a:lnTo>
                <a:lnTo>
                  <a:pt x="19" y="21"/>
                </a:lnTo>
                <a:lnTo>
                  <a:pt x="72" y="57"/>
                </a:lnTo>
                <a:lnTo>
                  <a:pt x="98" y="72"/>
                </a:lnTo>
                <a:lnTo>
                  <a:pt x="120" y="79"/>
                </a:lnTo>
                <a:lnTo>
                  <a:pt x="132" y="86"/>
                </a:lnTo>
                <a:lnTo>
                  <a:pt x="144" y="86"/>
                </a:lnTo>
                <a:lnTo>
                  <a:pt x="149" y="89"/>
                </a:lnTo>
                <a:lnTo>
                  <a:pt x="151" y="96"/>
                </a:lnTo>
                <a:lnTo>
                  <a:pt x="154" y="122"/>
                </a:lnTo>
                <a:lnTo>
                  <a:pt x="151" y="129"/>
                </a:lnTo>
                <a:lnTo>
                  <a:pt x="144" y="134"/>
                </a:lnTo>
                <a:lnTo>
                  <a:pt x="142" y="146"/>
                </a:lnTo>
                <a:lnTo>
                  <a:pt x="142" y="156"/>
                </a:lnTo>
                <a:lnTo>
                  <a:pt x="142" y="161"/>
                </a:lnTo>
                <a:lnTo>
                  <a:pt x="142" y="165"/>
                </a:lnTo>
                <a:lnTo>
                  <a:pt x="137" y="170"/>
                </a:lnTo>
                <a:lnTo>
                  <a:pt x="137" y="173"/>
                </a:lnTo>
                <a:lnTo>
                  <a:pt x="144" y="177"/>
                </a:lnTo>
                <a:lnTo>
                  <a:pt x="154" y="173"/>
                </a:lnTo>
                <a:lnTo>
                  <a:pt x="161" y="149"/>
                </a:lnTo>
                <a:lnTo>
                  <a:pt x="163" y="144"/>
                </a:lnTo>
                <a:lnTo>
                  <a:pt x="168" y="134"/>
                </a:lnTo>
                <a:lnTo>
                  <a:pt x="182" y="120"/>
                </a:lnTo>
                <a:lnTo>
                  <a:pt x="182" y="113"/>
                </a:lnTo>
                <a:lnTo>
                  <a:pt x="178" y="91"/>
                </a:lnTo>
                <a:lnTo>
                  <a:pt x="166" y="62"/>
                </a:lnTo>
                <a:lnTo>
                  <a:pt x="166" y="57"/>
                </a:lnTo>
                <a:lnTo>
                  <a:pt x="168" y="55"/>
                </a:lnTo>
                <a:lnTo>
                  <a:pt x="175" y="57"/>
                </a:lnTo>
                <a:lnTo>
                  <a:pt x="182" y="45"/>
                </a:lnTo>
                <a:lnTo>
                  <a:pt x="180" y="28"/>
                </a:lnTo>
                <a:lnTo>
                  <a:pt x="170" y="28"/>
                </a:lnTo>
                <a:lnTo>
                  <a:pt x="170" y="19"/>
                </a:lnTo>
                <a:lnTo>
                  <a:pt x="170" y="0"/>
                </a:lnTo>
                <a:lnTo>
                  <a:pt x="283" y="31"/>
                </a:lnTo>
                <a:lnTo>
                  <a:pt x="389" y="60"/>
                </a:lnTo>
                <a:lnTo>
                  <a:pt x="564" y="103"/>
                </a:lnTo>
                <a:lnTo>
                  <a:pt x="507" y="367"/>
                </a:lnTo>
                <a:lnTo>
                  <a:pt x="502" y="372"/>
                </a:lnTo>
                <a:lnTo>
                  <a:pt x="502" y="382"/>
                </a:lnTo>
                <a:lnTo>
                  <a:pt x="509" y="391"/>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6" name="Freeform 27"/>
          <p:cNvSpPr>
            <a:spLocks/>
          </p:cNvSpPr>
          <p:nvPr/>
        </p:nvSpPr>
        <p:spPr bwMode="auto">
          <a:xfrm>
            <a:off x="4765954" y="2610053"/>
            <a:ext cx="1077913" cy="1843087"/>
          </a:xfrm>
          <a:custGeom>
            <a:avLst/>
            <a:gdLst>
              <a:gd name="T0" fmla="*/ 670 w 679"/>
              <a:gd name="T1" fmla="*/ 990 h 1161"/>
              <a:gd name="T2" fmla="*/ 662 w 679"/>
              <a:gd name="T3" fmla="*/ 959 h 1161"/>
              <a:gd name="T4" fmla="*/ 655 w 679"/>
              <a:gd name="T5" fmla="*/ 937 h 1161"/>
              <a:gd name="T6" fmla="*/ 384 w 679"/>
              <a:gd name="T7" fmla="*/ 86 h 1161"/>
              <a:gd name="T8" fmla="*/ 57 w 679"/>
              <a:gd name="T9" fmla="*/ 19 h 1161"/>
              <a:gd name="T10" fmla="*/ 52 w 679"/>
              <a:gd name="T11" fmla="*/ 74 h 1161"/>
              <a:gd name="T12" fmla="*/ 43 w 679"/>
              <a:gd name="T13" fmla="*/ 101 h 1161"/>
              <a:gd name="T14" fmla="*/ 2 w 679"/>
              <a:gd name="T15" fmla="*/ 163 h 1161"/>
              <a:gd name="T16" fmla="*/ 4 w 679"/>
              <a:gd name="T17" fmla="*/ 190 h 1161"/>
              <a:gd name="T18" fmla="*/ 14 w 679"/>
              <a:gd name="T19" fmla="*/ 206 h 1161"/>
              <a:gd name="T20" fmla="*/ 24 w 679"/>
              <a:gd name="T21" fmla="*/ 259 h 1161"/>
              <a:gd name="T22" fmla="*/ 12 w 679"/>
              <a:gd name="T23" fmla="*/ 303 h 1161"/>
              <a:gd name="T24" fmla="*/ 19 w 679"/>
              <a:gd name="T25" fmla="*/ 355 h 1161"/>
              <a:gd name="T26" fmla="*/ 43 w 679"/>
              <a:gd name="T27" fmla="*/ 428 h 1161"/>
              <a:gd name="T28" fmla="*/ 62 w 679"/>
              <a:gd name="T29" fmla="*/ 461 h 1161"/>
              <a:gd name="T30" fmla="*/ 76 w 679"/>
              <a:gd name="T31" fmla="*/ 454 h 1161"/>
              <a:gd name="T32" fmla="*/ 86 w 679"/>
              <a:gd name="T33" fmla="*/ 461 h 1161"/>
              <a:gd name="T34" fmla="*/ 93 w 679"/>
              <a:gd name="T35" fmla="*/ 502 h 1161"/>
              <a:gd name="T36" fmla="*/ 76 w 679"/>
              <a:gd name="T37" fmla="*/ 492 h 1161"/>
              <a:gd name="T38" fmla="*/ 69 w 679"/>
              <a:gd name="T39" fmla="*/ 473 h 1161"/>
              <a:gd name="T40" fmla="*/ 64 w 679"/>
              <a:gd name="T41" fmla="*/ 502 h 1161"/>
              <a:gd name="T42" fmla="*/ 67 w 679"/>
              <a:gd name="T43" fmla="*/ 555 h 1161"/>
              <a:gd name="T44" fmla="*/ 98 w 679"/>
              <a:gd name="T45" fmla="*/ 579 h 1161"/>
              <a:gd name="T46" fmla="*/ 84 w 679"/>
              <a:gd name="T47" fmla="*/ 610 h 1161"/>
              <a:gd name="T48" fmla="*/ 96 w 679"/>
              <a:gd name="T49" fmla="*/ 668 h 1161"/>
              <a:gd name="T50" fmla="*/ 103 w 679"/>
              <a:gd name="T51" fmla="*/ 702 h 1161"/>
              <a:gd name="T52" fmla="*/ 139 w 679"/>
              <a:gd name="T53" fmla="*/ 766 h 1161"/>
              <a:gd name="T54" fmla="*/ 134 w 679"/>
              <a:gd name="T55" fmla="*/ 781 h 1161"/>
              <a:gd name="T56" fmla="*/ 146 w 679"/>
              <a:gd name="T57" fmla="*/ 805 h 1161"/>
              <a:gd name="T58" fmla="*/ 134 w 679"/>
              <a:gd name="T59" fmla="*/ 843 h 1161"/>
              <a:gd name="T60" fmla="*/ 158 w 679"/>
              <a:gd name="T61" fmla="*/ 872 h 1161"/>
              <a:gd name="T62" fmla="*/ 223 w 679"/>
              <a:gd name="T63" fmla="*/ 891 h 1161"/>
              <a:gd name="T64" fmla="*/ 261 w 679"/>
              <a:gd name="T65" fmla="*/ 940 h 1161"/>
              <a:gd name="T66" fmla="*/ 302 w 679"/>
              <a:gd name="T67" fmla="*/ 956 h 1161"/>
              <a:gd name="T68" fmla="*/ 302 w 679"/>
              <a:gd name="T69" fmla="*/ 978 h 1161"/>
              <a:gd name="T70" fmla="*/ 341 w 679"/>
              <a:gd name="T71" fmla="*/ 1004 h 1161"/>
              <a:gd name="T72" fmla="*/ 379 w 679"/>
              <a:gd name="T73" fmla="*/ 1067 h 1161"/>
              <a:gd name="T74" fmla="*/ 381 w 679"/>
              <a:gd name="T75" fmla="*/ 1115 h 1161"/>
              <a:gd name="T76" fmla="*/ 384 w 679"/>
              <a:gd name="T77" fmla="*/ 1117 h 1161"/>
              <a:gd name="T78" fmla="*/ 386 w 679"/>
              <a:gd name="T79" fmla="*/ 1137 h 1161"/>
              <a:gd name="T80" fmla="*/ 610 w 679"/>
              <a:gd name="T81" fmla="*/ 1161 h 1161"/>
              <a:gd name="T82" fmla="*/ 624 w 679"/>
              <a:gd name="T83" fmla="*/ 1141 h 1161"/>
              <a:gd name="T84" fmla="*/ 607 w 679"/>
              <a:gd name="T85" fmla="*/ 1120 h 1161"/>
              <a:gd name="T86" fmla="*/ 610 w 679"/>
              <a:gd name="T87" fmla="*/ 1093 h 1161"/>
              <a:gd name="T88" fmla="*/ 636 w 679"/>
              <a:gd name="T89" fmla="*/ 1067 h 1161"/>
              <a:gd name="T90" fmla="*/ 665 w 679"/>
              <a:gd name="T91" fmla="*/ 1021 h 1161"/>
              <a:gd name="T92" fmla="*/ 679 w 679"/>
              <a:gd name="T93" fmla="*/ 1009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9" h="1161">
                <a:moveTo>
                  <a:pt x="679" y="1000"/>
                </a:moveTo>
                <a:lnTo>
                  <a:pt x="674" y="992"/>
                </a:lnTo>
                <a:lnTo>
                  <a:pt x="670" y="990"/>
                </a:lnTo>
                <a:lnTo>
                  <a:pt x="665" y="978"/>
                </a:lnTo>
                <a:lnTo>
                  <a:pt x="662" y="971"/>
                </a:lnTo>
                <a:lnTo>
                  <a:pt x="662" y="959"/>
                </a:lnTo>
                <a:lnTo>
                  <a:pt x="655" y="947"/>
                </a:lnTo>
                <a:lnTo>
                  <a:pt x="655" y="942"/>
                </a:lnTo>
                <a:lnTo>
                  <a:pt x="655" y="937"/>
                </a:lnTo>
                <a:lnTo>
                  <a:pt x="655" y="920"/>
                </a:lnTo>
                <a:lnTo>
                  <a:pt x="305" y="404"/>
                </a:lnTo>
                <a:lnTo>
                  <a:pt x="384" y="86"/>
                </a:lnTo>
                <a:lnTo>
                  <a:pt x="67" y="0"/>
                </a:lnTo>
                <a:lnTo>
                  <a:pt x="62" y="5"/>
                </a:lnTo>
                <a:lnTo>
                  <a:pt x="57" y="19"/>
                </a:lnTo>
                <a:lnTo>
                  <a:pt x="62" y="33"/>
                </a:lnTo>
                <a:lnTo>
                  <a:pt x="60" y="62"/>
                </a:lnTo>
                <a:lnTo>
                  <a:pt x="52" y="74"/>
                </a:lnTo>
                <a:lnTo>
                  <a:pt x="45" y="81"/>
                </a:lnTo>
                <a:lnTo>
                  <a:pt x="43" y="94"/>
                </a:lnTo>
                <a:lnTo>
                  <a:pt x="43" y="101"/>
                </a:lnTo>
                <a:lnTo>
                  <a:pt x="12" y="134"/>
                </a:lnTo>
                <a:lnTo>
                  <a:pt x="2" y="151"/>
                </a:lnTo>
                <a:lnTo>
                  <a:pt x="2" y="163"/>
                </a:lnTo>
                <a:lnTo>
                  <a:pt x="0" y="168"/>
                </a:lnTo>
                <a:lnTo>
                  <a:pt x="2" y="180"/>
                </a:lnTo>
                <a:lnTo>
                  <a:pt x="4" y="190"/>
                </a:lnTo>
                <a:lnTo>
                  <a:pt x="9" y="194"/>
                </a:lnTo>
                <a:lnTo>
                  <a:pt x="12" y="202"/>
                </a:lnTo>
                <a:lnTo>
                  <a:pt x="14" y="206"/>
                </a:lnTo>
                <a:lnTo>
                  <a:pt x="24" y="231"/>
                </a:lnTo>
                <a:lnTo>
                  <a:pt x="26" y="252"/>
                </a:lnTo>
                <a:lnTo>
                  <a:pt x="24" y="259"/>
                </a:lnTo>
                <a:lnTo>
                  <a:pt x="16" y="269"/>
                </a:lnTo>
                <a:lnTo>
                  <a:pt x="9" y="293"/>
                </a:lnTo>
                <a:lnTo>
                  <a:pt x="12" y="303"/>
                </a:lnTo>
                <a:lnTo>
                  <a:pt x="14" y="312"/>
                </a:lnTo>
                <a:lnTo>
                  <a:pt x="7" y="322"/>
                </a:lnTo>
                <a:lnTo>
                  <a:pt x="19" y="355"/>
                </a:lnTo>
                <a:lnTo>
                  <a:pt x="26" y="370"/>
                </a:lnTo>
                <a:lnTo>
                  <a:pt x="43" y="389"/>
                </a:lnTo>
                <a:lnTo>
                  <a:pt x="43" y="428"/>
                </a:lnTo>
                <a:lnTo>
                  <a:pt x="36" y="440"/>
                </a:lnTo>
                <a:lnTo>
                  <a:pt x="48" y="444"/>
                </a:lnTo>
                <a:lnTo>
                  <a:pt x="62" y="461"/>
                </a:lnTo>
                <a:lnTo>
                  <a:pt x="74" y="466"/>
                </a:lnTo>
                <a:lnTo>
                  <a:pt x="76" y="461"/>
                </a:lnTo>
                <a:lnTo>
                  <a:pt x="76" y="454"/>
                </a:lnTo>
                <a:lnTo>
                  <a:pt x="86" y="447"/>
                </a:lnTo>
                <a:lnTo>
                  <a:pt x="88" y="447"/>
                </a:lnTo>
                <a:lnTo>
                  <a:pt x="86" y="461"/>
                </a:lnTo>
                <a:lnTo>
                  <a:pt x="88" y="473"/>
                </a:lnTo>
                <a:lnTo>
                  <a:pt x="93" y="492"/>
                </a:lnTo>
                <a:lnTo>
                  <a:pt x="93" y="502"/>
                </a:lnTo>
                <a:lnTo>
                  <a:pt x="91" y="507"/>
                </a:lnTo>
                <a:lnTo>
                  <a:pt x="79" y="497"/>
                </a:lnTo>
                <a:lnTo>
                  <a:pt x="76" y="492"/>
                </a:lnTo>
                <a:lnTo>
                  <a:pt x="76" y="478"/>
                </a:lnTo>
                <a:lnTo>
                  <a:pt x="74" y="473"/>
                </a:lnTo>
                <a:lnTo>
                  <a:pt x="69" y="473"/>
                </a:lnTo>
                <a:lnTo>
                  <a:pt x="67" y="490"/>
                </a:lnTo>
                <a:lnTo>
                  <a:pt x="62" y="492"/>
                </a:lnTo>
                <a:lnTo>
                  <a:pt x="64" y="502"/>
                </a:lnTo>
                <a:lnTo>
                  <a:pt x="62" y="507"/>
                </a:lnTo>
                <a:lnTo>
                  <a:pt x="62" y="543"/>
                </a:lnTo>
                <a:lnTo>
                  <a:pt x="67" y="555"/>
                </a:lnTo>
                <a:lnTo>
                  <a:pt x="79" y="567"/>
                </a:lnTo>
                <a:lnTo>
                  <a:pt x="93" y="574"/>
                </a:lnTo>
                <a:lnTo>
                  <a:pt x="98" y="579"/>
                </a:lnTo>
                <a:lnTo>
                  <a:pt x="98" y="598"/>
                </a:lnTo>
                <a:lnTo>
                  <a:pt x="88" y="608"/>
                </a:lnTo>
                <a:lnTo>
                  <a:pt x="84" y="610"/>
                </a:lnTo>
                <a:lnTo>
                  <a:pt x="79" y="615"/>
                </a:lnTo>
                <a:lnTo>
                  <a:pt x="76" y="641"/>
                </a:lnTo>
                <a:lnTo>
                  <a:pt x="96" y="668"/>
                </a:lnTo>
                <a:lnTo>
                  <a:pt x="96" y="678"/>
                </a:lnTo>
                <a:lnTo>
                  <a:pt x="100" y="687"/>
                </a:lnTo>
                <a:lnTo>
                  <a:pt x="103" y="702"/>
                </a:lnTo>
                <a:lnTo>
                  <a:pt x="129" y="747"/>
                </a:lnTo>
                <a:lnTo>
                  <a:pt x="139" y="754"/>
                </a:lnTo>
                <a:lnTo>
                  <a:pt x="139" y="766"/>
                </a:lnTo>
                <a:lnTo>
                  <a:pt x="136" y="766"/>
                </a:lnTo>
                <a:lnTo>
                  <a:pt x="134" y="769"/>
                </a:lnTo>
                <a:lnTo>
                  <a:pt x="134" y="781"/>
                </a:lnTo>
                <a:lnTo>
                  <a:pt x="144" y="786"/>
                </a:lnTo>
                <a:lnTo>
                  <a:pt x="148" y="800"/>
                </a:lnTo>
                <a:lnTo>
                  <a:pt x="146" y="805"/>
                </a:lnTo>
                <a:lnTo>
                  <a:pt x="144" y="817"/>
                </a:lnTo>
                <a:lnTo>
                  <a:pt x="139" y="836"/>
                </a:lnTo>
                <a:lnTo>
                  <a:pt x="134" y="843"/>
                </a:lnTo>
                <a:lnTo>
                  <a:pt x="134" y="851"/>
                </a:lnTo>
                <a:lnTo>
                  <a:pt x="144" y="860"/>
                </a:lnTo>
                <a:lnTo>
                  <a:pt x="158" y="872"/>
                </a:lnTo>
                <a:lnTo>
                  <a:pt x="172" y="872"/>
                </a:lnTo>
                <a:lnTo>
                  <a:pt x="211" y="889"/>
                </a:lnTo>
                <a:lnTo>
                  <a:pt x="223" y="891"/>
                </a:lnTo>
                <a:lnTo>
                  <a:pt x="237" y="903"/>
                </a:lnTo>
                <a:lnTo>
                  <a:pt x="247" y="925"/>
                </a:lnTo>
                <a:lnTo>
                  <a:pt x="261" y="940"/>
                </a:lnTo>
                <a:lnTo>
                  <a:pt x="273" y="944"/>
                </a:lnTo>
                <a:lnTo>
                  <a:pt x="295" y="947"/>
                </a:lnTo>
                <a:lnTo>
                  <a:pt x="302" y="956"/>
                </a:lnTo>
                <a:lnTo>
                  <a:pt x="302" y="961"/>
                </a:lnTo>
                <a:lnTo>
                  <a:pt x="305" y="968"/>
                </a:lnTo>
                <a:lnTo>
                  <a:pt x="302" y="978"/>
                </a:lnTo>
                <a:lnTo>
                  <a:pt x="307" y="985"/>
                </a:lnTo>
                <a:lnTo>
                  <a:pt x="321" y="985"/>
                </a:lnTo>
                <a:lnTo>
                  <a:pt x="341" y="1004"/>
                </a:lnTo>
                <a:lnTo>
                  <a:pt x="350" y="1019"/>
                </a:lnTo>
                <a:lnTo>
                  <a:pt x="360" y="1028"/>
                </a:lnTo>
                <a:lnTo>
                  <a:pt x="379" y="1067"/>
                </a:lnTo>
                <a:lnTo>
                  <a:pt x="379" y="1101"/>
                </a:lnTo>
                <a:lnTo>
                  <a:pt x="379" y="1105"/>
                </a:lnTo>
                <a:lnTo>
                  <a:pt x="381" y="1115"/>
                </a:lnTo>
                <a:lnTo>
                  <a:pt x="384" y="1115"/>
                </a:lnTo>
                <a:lnTo>
                  <a:pt x="386" y="1117"/>
                </a:lnTo>
                <a:lnTo>
                  <a:pt x="384" y="1117"/>
                </a:lnTo>
                <a:lnTo>
                  <a:pt x="381" y="1125"/>
                </a:lnTo>
                <a:lnTo>
                  <a:pt x="384" y="1134"/>
                </a:lnTo>
                <a:lnTo>
                  <a:pt x="386" y="1137"/>
                </a:lnTo>
                <a:lnTo>
                  <a:pt x="593" y="1158"/>
                </a:lnTo>
                <a:lnTo>
                  <a:pt x="607" y="1161"/>
                </a:lnTo>
                <a:lnTo>
                  <a:pt x="610" y="1161"/>
                </a:lnTo>
                <a:lnTo>
                  <a:pt x="619" y="1153"/>
                </a:lnTo>
                <a:lnTo>
                  <a:pt x="619" y="1146"/>
                </a:lnTo>
                <a:lnTo>
                  <a:pt x="624" y="1141"/>
                </a:lnTo>
                <a:lnTo>
                  <a:pt x="622" y="1137"/>
                </a:lnTo>
                <a:lnTo>
                  <a:pt x="610" y="1127"/>
                </a:lnTo>
                <a:lnTo>
                  <a:pt x="607" y="1120"/>
                </a:lnTo>
                <a:lnTo>
                  <a:pt x="610" y="1108"/>
                </a:lnTo>
                <a:lnTo>
                  <a:pt x="612" y="1101"/>
                </a:lnTo>
                <a:lnTo>
                  <a:pt x="610" y="1093"/>
                </a:lnTo>
                <a:lnTo>
                  <a:pt x="610" y="1089"/>
                </a:lnTo>
                <a:lnTo>
                  <a:pt x="619" y="1089"/>
                </a:lnTo>
                <a:lnTo>
                  <a:pt x="636" y="1067"/>
                </a:lnTo>
                <a:lnTo>
                  <a:pt x="643" y="1036"/>
                </a:lnTo>
                <a:lnTo>
                  <a:pt x="653" y="1024"/>
                </a:lnTo>
                <a:lnTo>
                  <a:pt x="665" y="1021"/>
                </a:lnTo>
                <a:lnTo>
                  <a:pt x="674" y="1012"/>
                </a:lnTo>
                <a:lnTo>
                  <a:pt x="679" y="1014"/>
                </a:lnTo>
                <a:lnTo>
                  <a:pt x="679" y="1009"/>
                </a:lnTo>
                <a:lnTo>
                  <a:pt x="679" y="100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7" name="Freeform 28"/>
          <p:cNvSpPr>
            <a:spLocks/>
          </p:cNvSpPr>
          <p:nvPr/>
        </p:nvSpPr>
        <p:spPr bwMode="auto">
          <a:xfrm>
            <a:off x="4856442" y="1927428"/>
            <a:ext cx="1087438" cy="903287"/>
          </a:xfrm>
          <a:custGeom>
            <a:avLst/>
            <a:gdLst>
              <a:gd name="T0" fmla="*/ 613 w 685"/>
              <a:gd name="T1" fmla="*/ 353 h 569"/>
              <a:gd name="T2" fmla="*/ 610 w 685"/>
              <a:gd name="T3" fmla="*/ 367 h 569"/>
              <a:gd name="T4" fmla="*/ 557 w 685"/>
              <a:gd name="T5" fmla="*/ 569 h 569"/>
              <a:gd name="T6" fmla="*/ 10 w 685"/>
              <a:gd name="T7" fmla="*/ 430 h 569"/>
              <a:gd name="T8" fmla="*/ 0 w 685"/>
              <a:gd name="T9" fmla="*/ 401 h 569"/>
              <a:gd name="T10" fmla="*/ 5 w 685"/>
              <a:gd name="T11" fmla="*/ 382 h 569"/>
              <a:gd name="T12" fmla="*/ 7 w 685"/>
              <a:gd name="T13" fmla="*/ 331 h 569"/>
              <a:gd name="T14" fmla="*/ 19 w 685"/>
              <a:gd name="T15" fmla="*/ 322 h 569"/>
              <a:gd name="T16" fmla="*/ 27 w 685"/>
              <a:gd name="T17" fmla="*/ 305 h 569"/>
              <a:gd name="T18" fmla="*/ 34 w 685"/>
              <a:gd name="T19" fmla="*/ 286 h 569"/>
              <a:gd name="T20" fmla="*/ 58 w 685"/>
              <a:gd name="T21" fmla="*/ 259 h 569"/>
              <a:gd name="T22" fmla="*/ 84 w 685"/>
              <a:gd name="T23" fmla="*/ 204 h 569"/>
              <a:gd name="T24" fmla="*/ 118 w 685"/>
              <a:gd name="T25" fmla="*/ 120 h 569"/>
              <a:gd name="T26" fmla="*/ 147 w 685"/>
              <a:gd name="T27" fmla="*/ 36 h 569"/>
              <a:gd name="T28" fmla="*/ 154 w 685"/>
              <a:gd name="T29" fmla="*/ 7 h 569"/>
              <a:gd name="T30" fmla="*/ 161 w 685"/>
              <a:gd name="T31" fmla="*/ 0 h 569"/>
              <a:gd name="T32" fmla="*/ 176 w 685"/>
              <a:gd name="T33" fmla="*/ 0 h 569"/>
              <a:gd name="T34" fmla="*/ 195 w 685"/>
              <a:gd name="T35" fmla="*/ 12 h 569"/>
              <a:gd name="T36" fmla="*/ 209 w 685"/>
              <a:gd name="T37" fmla="*/ 16 h 569"/>
              <a:gd name="T38" fmla="*/ 228 w 685"/>
              <a:gd name="T39" fmla="*/ 45 h 569"/>
              <a:gd name="T40" fmla="*/ 224 w 685"/>
              <a:gd name="T41" fmla="*/ 79 h 569"/>
              <a:gd name="T42" fmla="*/ 250 w 685"/>
              <a:gd name="T43" fmla="*/ 98 h 569"/>
              <a:gd name="T44" fmla="*/ 293 w 685"/>
              <a:gd name="T45" fmla="*/ 98 h 569"/>
              <a:gd name="T46" fmla="*/ 336 w 685"/>
              <a:gd name="T47" fmla="*/ 108 h 569"/>
              <a:gd name="T48" fmla="*/ 377 w 685"/>
              <a:gd name="T49" fmla="*/ 113 h 569"/>
              <a:gd name="T50" fmla="*/ 392 w 685"/>
              <a:gd name="T51" fmla="*/ 120 h 569"/>
              <a:gd name="T52" fmla="*/ 420 w 685"/>
              <a:gd name="T53" fmla="*/ 122 h 569"/>
              <a:gd name="T54" fmla="*/ 440 w 685"/>
              <a:gd name="T55" fmla="*/ 117 h 569"/>
              <a:gd name="T56" fmla="*/ 459 w 685"/>
              <a:gd name="T57" fmla="*/ 117 h 569"/>
              <a:gd name="T58" fmla="*/ 473 w 685"/>
              <a:gd name="T59" fmla="*/ 120 h 569"/>
              <a:gd name="T60" fmla="*/ 490 w 685"/>
              <a:gd name="T61" fmla="*/ 122 h 569"/>
              <a:gd name="T62" fmla="*/ 509 w 685"/>
              <a:gd name="T63" fmla="*/ 117 h 569"/>
              <a:gd name="T64" fmla="*/ 661 w 685"/>
              <a:gd name="T65" fmla="*/ 163 h 569"/>
              <a:gd name="T66" fmla="*/ 673 w 685"/>
              <a:gd name="T67" fmla="*/ 173 h 569"/>
              <a:gd name="T68" fmla="*/ 685 w 685"/>
              <a:gd name="T69" fmla="*/ 194 h 569"/>
              <a:gd name="T70" fmla="*/ 639 w 685"/>
              <a:gd name="T71" fmla="*/ 259 h 569"/>
              <a:gd name="T72" fmla="*/ 632 w 685"/>
              <a:gd name="T73" fmla="*/ 274 h 569"/>
              <a:gd name="T74" fmla="*/ 601 w 685"/>
              <a:gd name="T75" fmla="*/ 310 h 569"/>
              <a:gd name="T76" fmla="*/ 601 w 685"/>
              <a:gd name="T77" fmla="*/ 329 h 569"/>
              <a:gd name="T78" fmla="*/ 615 w 685"/>
              <a:gd name="T79"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5" h="569">
                <a:moveTo>
                  <a:pt x="615" y="348"/>
                </a:moveTo>
                <a:lnTo>
                  <a:pt x="613" y="353"/>
                </a:lnTo>
                <a:lnTo>
                  <a:pt x="610" y="355"/>
                </a:lnTo>
                <a:lnTo>
                  <a:pt x="610" y="367"/>
                </a:lnTo>
                <a:lnTo>
                  <a:pt x="598" y="379"/>
                </a:lnTo>
                <a:lnTo>
                  <a:pt x="557" y="569"/>
                </a:lnTo>
                <a:lnTo>
                  <a:pt x="327" y="516"/>
                </a:lnTo>
                <a:lnTo>
                  <a:pt x="10" y="430"/>
                </a:lnTo>
                <a:lnTo>
                  <a:pt x="5" y="425"/>
                </a:lnTo>
                <a:lnTo>
                  <a:pt x="0" y="401"/>
                </a:lnTo>
                <a:lnTo>
                  <a:pt x="5" y="391"/>
                </a:lnTo>
                <a:lnTo>
                  <a:pt x="5" y="382"/>
                </a:lnTo>
                <a:lnTo>
                  <a:pt x="10" y="365"/>
                </a:lnTo>
                <a:lnTo>
                  <a:pt x="7" y="331"/>
                </a:lnTo>
                <a:lnTo>
                  <a:pt x="12" y="324"/>
                </a:lnTo>
                <a:lnTo>
                  <a:pt x="19" y="322"/>
                </a:lnTo>
                <a:lnTo>
                  <a:pt x="24" y="314"/>
                </a:lnTo>
                <a:lnTo>
                  <a:pt x="27" y="305"/>
                </a:lnTo>
                <a:lnTo>
                  <a:pt x="31" y="300"/>
                </a:lnTo>
                <a:lnTo>
                  <a:pt x="34" y="286"/>
                </a:lnTo>
                <a:lnTo>
                  <a:pt x="36" y="283"/>
                </a:lnTo>
                <a:lnTo>
                  <a:pt x="58" y="259"/>
                </a:lnTo>
                <a:lnTo>
                  <a:pt x="67" y="238"/>
                </a:lnTo>
                <a:lnTo>
                  <a:pt x="84" y="204"/>
                </a:lnTo>
                <a:lnTo>
                  <a:pt x="103" y="144"/>
                </a:lnTo>
                <a:lnTo>
                  <a:pt x="118" y="120"/>
                </a:lnTo>
                <a:lnTo>
                  <a:pt x="130" y="81"/>
                </a:lnTo>
                <a:lnTo>
                  <a:pt x="147" y="36"/>
                </a:lnTo>
                <a:lnTo>
                  <a:pt x="152" y="19"/>
                </a:lnTo>
                <a:lnTo>
                  <a:pt x="154" y="7"/>
                </a:lnTo>
                <a:lnTo>
                  <a:pt x="154" y="2"/>
                </a:lnTo>
                <a:lnTo>
                  <a:pt x="161" y="0"/>
                </a:lnTo>
                <a:lnTo>
                  <a:pt x="171" y="2"/>
                </a:lnTo>
                <a:lnTo>
                  <a:pt x="176" y="0"/>
                </a:lnTo>
                <a:lnTo>
                  <a:pt x="188" y="7"/>
                </a:lnTo>
                <a:lnTo>
                  <a:pt x="195" y="12"/>
                </a:lnTo>
                <a:lnTo>
                  <a:pt x="197" y="16"/>
                </a:lnTo>
                <a:lnTo>
                  <a:pt x="209" y="16"/>
                </a:lnTo>
                <a:lnTo>
                  <a:pt x="226" y="28"/>
                </a:lnTo>
                <a:lnTo>
                  <a:pt x="228" y="45"/>
                </a:lnTo>
                <a:lnTo>
                  <a:pt x="226" y="50"/>
                </a:lnTo>
                <a:lnTo>
                  <a:pt x="224" y="79"/>
                </a:lnTo>
                <a:lnTo>
                  <a:pt x="228" y="86"/>
                </a:lnTo>
                <a:lnTo>
                  <a:pt x="250" y="98"/>
                </a:lnTo>
                <a:lnTo>
                  <a:pt x="276" y="101"/>
                </a:lnTo>
                <a:lnTo>
                  <a:pt x="293" y="98"/>
                </a:lnTo>
                <a:lnTo>
                  <a:pt x="308" y="101"/>
                </a:lnTo>
                <a:lnTo>
                  <a:pt x="336" y="108"/>
                </a:lnTo>
                <a:lnTo>
                  <a:pt x="341" y="117"/>
                </a:lnTo>
                <a:lnTo>
                  <a:pt x="377" y="113"/>
                </a:lnTo>
                <a:lnTo>
                  <a:pt x="387" y="117"/>
                </a:lnTo>
                <a:lnTo>
                  <a:pt x="392" y="120"/>
                </a:lnTo>
                <a:lnTo>
                  <a:pt x="411" y="122"/>
                </a:lnTo>
                <a:lnTo>
                  <a:pt x="420" y="122"/>
                </a:lnTo>
                <a:lnTo>
                  <a:pt x="430" y="117"/>
                </a:lnTo>
                <a:lnTo>
                  <a:pt x="440" y="117"/>
                </a:lnTo>
                <a:lnTo>
                  <a:pt x="452" y="120"/>
                </a:lnTo>
                <a:lnTo>
                  <a:pt x="459" y="117"/>
                </a:lnTo>
                <a:lnTo>
                  <a:pt x="466" y="117"/>
                </a:lnTo>
                <a:lnTo>
                  <a:pt x="473" y="120"/>
                </a:lnTo>
                <a:lnTo>
                  <a:pt x="483" y="120"/>
                </a:lnTo>
                <a:lnTo>
                  <a:pt x="490" y="122"/>
                </a:lnTo>
                <a:lnTo>
                  <a:pt x="497" y="122"/>
                </a:lnTo>
                <a:lnTo>
                  <a:pt x="509" y="117"/>
                </a:lnTo>
                <a:lnTo>
                  <a:pt x="658" y="153"/>
                </a:lnTo>
                <a:lnTo>
                  <a:pt x="661" y="163"/>
                </a:lnTo>
                <a:lnTo>
                  <a:pt x="668" y="173"/>
                </a:lnTo>
                <a:lnTo>
                  <a:pt x="673" y="173"/>
                </a:lnTo>
                <a:lnTo>
                  <a:pt x="682" y="180"/>
                </a:lnTo>
                <a:lnTo>
                  <a:pt x="685" y="194"/>
                </a:lnTo>
                <a:lnTo>
                  <a:pt x="646" y="252"/>
                </a:lnTo>
                <a:lnTo>
                  <a:pt x="639" y="259"/>
                </a:lnTo>
                <a:lnTo>
                  <a:pt x="639" y="266"/>
                </a:lnTo>
                <a:lnTo>
                  <a:pt x="632" y="274"/>
                </a:lnTo>
                <a:lnTo>
                  <a:pt x="620" y="281"/>
                </a:lnTo>
                <a:lnTo>
                  <a:pt x="601" y="310"/>
                </a:lnTo>
                <a:lnTo>
                  <a:pt x="598" y="322"/>
                </a:lnTo>
                <a:lnTo>
                  <a:pt x="601" y="329"/>
                </a:lnTo>
                <a:lnTo>
                  <a:pt x="613" y="334"/>
                </a:lnTo>
                <a:lnTo>
                  <a:pt x="615" y="34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9" name="Freeform 30"/>
          <p:cNvSpPr>
            <a:spLocks/>
          </p:cNvSpPr>
          <p:nvPr/>
        </p:nvSpPr>
        <p:spPr bwMode="auto">
          <a:xfrm>
            <a:off x="9256992" y="3526040"/>
            <a:ext cx="990600" cy="506412"/>
          </a:xfrm>
          <a:custGeom>
            <a:avLst/>
            <a:gdLst>
              <a:gd name="T0" fmla="*/ 124 w 624"/>
              <a:gd name="T1" fmla="*/ 310 h 319"/>
              <a:gd name="T2" fmla="*/ 120 w 624"/>
              <a:gd name="T3" fmla="*/ 293 h 319"/>
              <a:gd name="T4" fmla="*/ 141 w 624"/>
              <a:gd name="T5" fmla="*/ 295 h 319"/>
              <a:gd name="T6" fmla="*/ 501 w 624"/>
              <a:gd name="T7" fmla="*/ 257 h 319"/>
              <a:gd name="T8" fmla="*/ 538 w 624"/>
              <a:gd name="T9" fmla="*/ 238 h 319"/>
              <a:gd name="T10" fmla="*/ 557 w 624"/>
              <a:gd name="T11" fmla="*/ 218 h 319"/>
              <a:gd name="T12" fmla="*/ 559 w 624"/>
              <a:gd name="T13" fmla="*/ 206 h 319"/>
              <a:gd name="T14" fmla="*/ 569 w 624"/>
              <a:gd name="T15" fmla="*/ 192 h 319"/>
              <a:gd name="T16" fmla="*/ 622 w 624"/>
              <a:gd name="T17" fmla="*/ 146 h 319"/>
              <a:gd name="T18" fmla="*/ 617 w 624"/>
              <a:gd name="T19" fmla="*/ 139 h 319"/>
              <a:gd name="T20" fmla="*/ 610 w 624"/>
              <a:gd name="T21" fmla="*/ 134 h 319"/>
              <a:gd name="T22" fmla="*/ 598 w 624"/>
              <a:gd name="T23" fmla="*/ 127 h 319"/>
              <a:gd name="T24" fmla="*/ 593 w 624"/>
              <a:gd name="T25" fmla="*/ 125 h 319"/>
              <a:gd name="T26" fmla="*/ 564 w 624"/>
              <a:gd name="T27" fmla="*/ 86 h 319"/>
              <a:gd name="T28" fmla="*/ 562 w 624"/>
              <a:gd name="T29" fmla="*/ 74 h 319"/>
              <a:gd name="T30" fmla="*/ 559 w 624"/>
              <a:gd name="T31" fmla="*/ 50 h 319"/>
              <a:gd name="T32" fmla="*/ 547 w 624"/>
              <a:gd name="T33" fmla="*/ 40 h 319"/>
              <a:gd name="T34" fmla="*/ 530 w 624"/>
              <a:gd name="T35" fmla="*/ 26 h 319"/>
              <a:gd name="T36" fmla="*/ 516 w 624"/>
              <a:gd name="T37" fmla="*/ 26 h 319"/>
              <a:gd name="T38" fmla="*/ 506 w 624"/>
              <a:gd name="T39" fmla="*/ 33 h 319"/>
              <a:gd name="T40" fmla="*/ 492 w 624"/>
              <a:gd name="T41" fmla="*/ 38 h 319"/>
              <a:gd name="T42" fmla="*/ 473 w 624"/>
              <a:gd name="T43" fmla="*/ 33 h 319"/>
              <a:gd name="T44" fmla="*/ 449 w 624"/>
              <a:gd name="T45" fmla="*/ 31 h 319"/>
              <a:gd name="T46" fmla="*/ 417 w 624"/>
              <a:gd name="T47" fmla="*/ 26 h 319"/>
              <a:gd name="T48" fmla="*/ 396 w 624"/>
              <a:gd name="T49" fmla="*/ 0 h 319"/>
              <a:gd name="T50" fmla="*/ 381 w 624"/>
              <a:gd name="T51" fmla="*/ 4 h 319"/>
              <a:gd name="T52" fmla="*/ 365 w 624"/>
              <a:gd name="T53" fmla="*/ 0 h 319"/>
              <a:gd name="T54" fmla="*/ 362 w 624"/>
              <a:gd name="T55" fmla="*/ 14 h 319"/>
              <a:gd name="T56" fmla="*/ 365 w 624"/>
              <a:gd name="T57" fmla="*/ 38 h 319"/>
              <a:gd name="T58" fmla="*/ 343 w 624"/>
              <a:gd name="T59" fmla="*/ 50 h 319"/>
              <a:gd name="T60" fmla="*/ 321 w 624"/>
              <a:gd name="T61" fmla="*/ 52 h 319"/>
              <a:gd name="T62" fmla="*/ 288 w 624"/>
              <a:gd name="T63" fmla="*/ 110 h 319"/>
              <a:gd name="T64" fmla="*/ 261 w 624"/>
              <a:gd name="T65" fmla="*/ 132 h 319"/>
              <a:gd name="T66" fmla="*/ 247 w 624"/>
              <a:gd name="T67" fmla="*/ 120 h 319"/>
              <a:gd name="T68" fmla="*/ 235 w 624"/>
              <a:gd name="T69" fmla="*/ 149 h 319"/>
              <a:gd name="T70" fmla="*/ 221 w 624"/>
              <a:gd name="T71" fmla="*/ 149 h 319"/>
              <a:gd name="T72" fmla="*/ 199 w 624"/>
              <a:gd name="T73" fmla="*/ 146 h 319"/>
              <a:gd name="T74" fmla="*/ 189 w 624"/>
              <a:gd name="T75" fmla="*/ 163 h 319"/>
              <a:gd name="T76" fmla="*/ 160 w 624"/>
              <a:gd name="T77" fmla="*/ 151 h 319"/>
              <a:gd name="T78" fmla="*/ 124 w 624"/>
              <a:gd name="T79" fmla="*/ 156 h 319"/>
              <a:gd name="T80" fmla="*/ 124 w 624"/>
              <a:gd name="T81" fmla="*/ 168 h 319"/>
              <a:gd name="T82" fmla="*/ 110 w 624"/>
              <a:gd name="T83" fmla="*/ 170 h 319"/>
              <a:gd name="T84" fmla="*/ 112 w 624"/>
              <a:gd name="T85" fmla="*/ 170 h 319"/>
              <a:gd name="T86" fmla="*/ 108 w 624"/>
              <a:gd name="T87" fmla="*/ 185 h 319"/>
              <a:gd name="T88" fmla="*/ 103 w 624"/>
              <a:gd name="T89" fmla="*/ 189 h 319"/>
              <a:gd name="T90" fmla="*/ 110 w 624"/>
              <a:gd name="T91" fmla="*/ 204 h 319"/>
              <a:gd name="T92" fmla="*/ 76 w 624"/>
              <a:gd name="T93" fmla="*/ 214 h 319"/>
              <a:gd name="T94" fmla="*/ 84 w 624"/>
              <a:gd name="T95" fmla="*/ 247 h 319"/>
              <a:gd name="T96" fmla="*/ 62 w 624"/>
              <a:gd name="T97" fmla="*/ 245 h 319"/>
              <a:gd name="T98" fmla="*/ 36 w 624"/>
              <a:gd name="T99" fmla="*/ 238 h 319"/>
              <a:gd name="T100" fmla="*/ 21 w 624"/>
              <a:gd name="T101" fmla="*/ 262 h 319"/>
              <a:gd name="T102" fmla="*/ 26 w 624"/>
              <a:gd name="T103" fmla="*/ 264 h 319"/>
              <a:gd name="T104" fmla="*/ 33 w 624"/>
              <a:gd name="T105" fmla="*/ 278 h 319"/>
              <a:gd name="T106" fmla="*/ 19 w 624"/>
              <a:gd name="T107" fmla="*/ 310 h 319"/>
              <a:gd name="T108" fmla="*/ 4 w 624"/>
              <a:gd name="T109" fmla="*/ 312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4" h="319">
                <a:moveTo>
                  <a:pt x="0" y="319"/>
                </a:moveTo>
                <a:lnTo>
                  <a:pt x="124" y="310"/>
                </a:lnTo>
                <a:lnTo>
                  <a:pt x="124" y="298"/>
                </a:lnTo>
                <a:lnTo>
                  <a:pt x="120" y="293"/>
                </a:lnTo>
                <a:lnTo>
                  <a:pt x="134" y="290"/>
                </a:lnTo>
                <a:lnTo>
                  <a:pt x="141" y="295"/>
                </a:lnTo>
                <a:lnTo>
                  <a:pt x="492" y="262"/>
                </a:lnTo>
                <a:lnTo>
                  <a:pt x="501" y="257"/>
                </a:lnTo>
                <a:lnTo>
                  <a:pt x="506" y="252"/>
                </a:lnTo>
                <a:lnTo>
                  <a:pt x="538" y="238"/>
                </a:lnTo>
                <a:lnTo>
                  <a:pt x="540" y="230"/>
                </a:lnTo>
                <a:lnTo>
                  <a:pt x="557" y="218"/>
                </a:lnTo>
                <a:lnTo>
                  <a:pt x="557" y="211"/>
                </a:lnTo>
                <a:lnTo>
                  <a:pt x="559" y="206"/>
                </a:lnTo>
                <a:lnTo>
                  <a:pt x="569" y="201"/>
                </a:lnTo>
                <a:lnTo>
                  <a:pt x="569" y="192"/>
                </a:lnTo>
                <a:lnTo>
                  <a:pt x="578" y="185"/>
                </a:lnTo>
                <a:lnTo>
                  <a:pt x="622" y="146"/>
                </a:lnTo>
                <a:lnTo>
                  <a:pt x="624" y="139"/>
                </a:lnTo>
                <a:lnTo>
                  <a:pt x="617" y="139"/>
                </a:lnTo>
                <a:lnTo>
                  <a:pt x="612" y="134"/>
                </a:lnTo>
                <a:lnTo>
                  <a:pt x="610" y="134"/>
                </a:lnTo>
                <a:lnTo>
                  <a:pt x="607" y="132"/>
                </a:lnTo>
                <a:lnTo>
                  <a:pt x="598" y="127"/>
                </a:lnTo>
                <a:lnTo>
                  <a:pt x="595" y="127"/>
                </a:lnTo>
                <a:lnTo>
                  <a:pt x="593" y="125"/>
                </a:lnTo>
                <a:lnTo>
                  <a:pt x="581" y="108"/>
                </a:lnTo>
                <a:lnTo>
                  <a:pt x="564" y="86"/>
                </a:lnTo>
                <a:lnTo>
                  <a:pt x="562" y="81"/>
                </a:lnTo>
                <a:lnTo>
                  <a:pt x="562" y="74"/>
                </a:lnTo>
                <a:lnTo>
                  <a:pt x="562" y="64"/>
                </a:lnTo>
                <a:lnTo>
                  <a:pt x="559" y="50"/>
                </a:lnTo>
                <a:lnTo>
                  <a:pt x="557" y="48"/>
                </a:lnTo>
                <a:lnTo>
                  <a:pt x="547" y="40"/>
                </a:lnTo>
                <a:lnTo>
                  <a:pt x="538" y="38"/>
                </a:lnTo>
                <a:lnTo>
                  <a:pt x="530" y="26"/>
                </a:lnTo>
                <a:lnTo>
                  <a:pt x="526" y="19"/>
                </a:lnTo>
                <a:lnTo>
                  <a:pt x="516" y="26"/>
                </a:lnTo>
                <a:lnTo>
                  <a:pt x="513" y="31"/>
                </a:lnTo>
                <a:lnTo>
                  <a:pt x="506" y="33"/>
                </a:lnTo>
                <a:lnTo>
                  <a:pt x="506" y="36"/>
                </a:lnTo>
                <a:lnTo>
                  <a:pt x="492" y="38"/>
                </a:lnTo>
                <a:lnTo>
                  <a:pt x="477" y="33"/>
                </a:lnTo>
                <a:lnTo>
                  <a:pt x="473" y="33"/>
                </a:lnTo>
                <a:lnTo>
                  <a:pt x="465" y="43"/>
                </a:lnTo>
                <a:lnTo>
                  <a:pt x="449" y="31"/>
                </a:lnTo>
                <a:lnTo>
                  <a:pt x="429" y="31"/>
                </a:lnTo>
                <a:lnTo>
                  <a:pt x="417" y="26"/>
                </a:lnTo>
                <a:lnTo>
                  <a:pt x="413" y="12"/>
                </a:lnTo>
                <a:lnTo>
                  <a:pt x="396" y="0"/>
                </a:lnTo>
                <a:lnTo>
                  <a:pt x="386" y="4"/>
                </a:lnTo>
                <a:lnTo>
                  <a:pt x="381" y="4"/>
                </a:lnTo>
                <a:lnTo>
                  <a:pt x="372" y="0"/>
                </a:lnTo>
                <a:lnTo>
                  <a:pt x="365" y="0"/>
                </a:lnTo>
                <a:lnTo>
                  <a:pt x="362" y="7"/>
                </a:lnTo>
                <a:lnTo>
                  <a:pt x="362" y="14"/>
                </a:lnTo>
                <a:lnTo>
                  <a:pt x="367" y="31"/>
                </a:lnTo>
                <a:lnTo>
                  <a:pt x="365" y="38"/>
                </a:lnTo>
                <a:lnTo>
                  <a:pt x="355" y="40"/>
                </a:lnTo>
                <a:lnTo>
                  <a:pt x="343" y="50"/>
                </a:lnTo>
                <a:lnTo>
                  <a:pt x="329" y="48"/>
                </a:lnTo>
                <a:lnTo>
                  <a:pt x="321" y="52"/>
                </a:lnTo>
                <a:lnTo>
                  <a:pt x="321" y="67"/>
                </a:lnTo>
                <a:lnTo>
                  <a:pt x="288" y="110"/>
                </a:lnTo>
                <a:lnTo>
                  <a:pt x="283" y="132"/>
                </a:lnTo>
                <a:lnTo>
                  <a:pt x="261" y="132"/>
                </a:lnTo>
                <a:lnTo>
                  <a:pt x="252" y="120"/>
                </a:lnTo>
                <a:lnTo>
                  <a:pt x="247" y="120"/>
                </a:lnTo>
                <a:lnTo>
                  <a:pt x="242" y="127"/>
                </a:lnTo>
                <a:lnTo>
                  <a:pt x="235" y="149"/>
                </a:lnTo>
                <a:lnTo>
                  <a:pt x="228" y="153"/>
                </a:lnTo>
                <a:lnTo>
                  <a:pt x="221" y="149"/>
                </a:lnTo>
                <a:lnTo>
                  <a:pt x="213" y="141"/>
                </a:lnTo>
                <a:lnTo>
                  <a:pt x="199" y="146"/>
                </a:lnTo>
                <a:lnTo>
                  <a:pt x="194" y="163"/>
                </a:lnTo>
                <a:lnTo>
                  <a:pt x="189" y="163"/>
                </a:lnTo>
                <a:lnTo>
                  <a:pt x="187" y="161"/>
                </a:lnTo>
                <a:lnTo>
                  <a:pt x="160" y="151"/>
                </a:lnTo>
                <a:lnTo>
                  <a:pt x="141" y="158"/>
                </a:lnTo>
                <a:lnTo>
                  <a:pt x="124" y="156"/>
                </a:lnTo>
                <a:lnTo>
                  <a:pt x="122" y="163"/>
                </a:lnTo>
                <a:lnTo>
                  <a:pt x="124" y="168"/>
                </a:lnTo>
                <a:lnTo>
                  <a:pt x="117" y="170"/>
                </a:lnTo>
                <a:lnTo>
                  <a:pt x="110" y="170"/>
                </a:lnTo>
                <a:lnTo>
                  <a:pt x="110" y="170"/>
                </a:lnTo>
                <a:lnTo>
                  <a:pt x="112" y="170"/>
                </a:lnTo>
                <a:lnTo>
                  <a:pt x="108" y="175"/>
                </a:lnTo>
                <a:lnTo>
                  <a:pt x="108" y="185"/>
                </a:lnTo>
                <a:lnTo>
                  <a:pt x="103" y="187"/>
                </a:lnTo>
                <a:lnTo>
                  <a:pt x="103" y="189"/>
                </a:lnTo>
                <a:lnTo>
                  <a:pt x="112" y="201"/>
                </a:lnTo>
                <a:lnTo>
                  <a:pt x="110" y="204"/>
                </a:lnTo>
                <a:lnTo>
                  <a:pt x="84" y="211"/>
                </a:lnTo>
                <a:lnTo>
                  <a:pt x="76" y="214"/>
                </a:lnTo>
                <a:lnTo>
                  <a:pt x="79" y="226"/>
                </a:lnTo>
                <a:lnTo>
                  <a:pt x="84" y="247"/>
                </a:lnTo>
                <a:lnTo>
                  <a:pt x="72" y="252"/>
                </a:lnTo>
                <a:lnTo>
                  <a:pt x="62" y="245"/>
                </a:lnTo>
                <a:lnTo>
                  <a:pt x="50" y="240"/>
                </a:lnTo>
                <a:lnTo>
                  <a:pt x="36" y="238"/>
                </a:lnTo>
                <a:lnTo>
                  <a:pt x="26" y="242"/>
                </a:lnTo>
                <a:lnTo>
                  <a:pt x="21" y="262"/>
                </a:lnTo>
                <a:lnTo>
                  <a:pt x="24" y="264"/>
                </a:lnTo>
                <a:lnTo>
                  <a:pt x="26" y="264"/>
                </a:lnTo>
                <a:lnTo>
                  <a:pt x="31" y="269"/>
                </a:lnTo>
                <a:lnTo>
                  <a:pt x="33" y="278"/>
                </a:lnTo>
                <a:lnTo>
                  <a:pt x="24" y="305"/>
                </a:lnTo>
                <a:lnTo>
                  <a:pt x="19" y="310"/>
                </a:lnTo>
                <a:lnTo>
                  <a:pt x="16" y="307"/>
                </a:lnTo>
                <a:lnTo>
                  <a:pt x="4" y="312"/>
                </a:lnTo>
                <a:lnTo>
                  <a:pt x="0" y="319"/>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0" name="Freeform 31"/>
          <p:cNvSpPr>
            <a:spLocks/>
          </p:cNvSpPr>
          <p:nvPr/>
        </p:nvSpPr>
        <p:spPr bwMode="auto">
          <a:xfrm>
            <a:off x="11327092" y="1740103"/>
            <a:ext cx="495300" cy="793750"/>
          </a:xfrm>
          <a:custGeom>
            <a:avLst/>
            <a:gdLst>
              <a:gd name="T0" fmla="*/ 60 w 312"/>
              <a:gd name="T1" fmla="*/ 449 h 500"/>
              <a:gd name="T2" fmla="*/ 60 w 312"/>
              <a:gd name="T3" fmla="*/ 461 h 500"/>
              <a:gd name="T4" fmla="*/ 76 w 312"/>
              <a:gd name="T5" fmla="*/ 476 h 500"/>
              <a:gd name="T6" fmla="*/ 81 w 312"/>
              <a:gd name="T7" fmla="*/ 483 h 500"/>
              <a:gd name="T8" fmla="*/ 91 w 312"/>
              <a:gd name="T9" fmla="*/ 500 h 500"/>
              <a:gd name="T10" fmla="*/ 93 w 312"/>
              <a:gd name="T11" fmla="*/ 485 h 500"/>
              <a:gd name="T12" fmla="*/ 103 w 312"/>
              <a:gd name="T13" fmla="*/ 459 h 500"/>
              <a:gd name="T14" fmla="*/ 115 w 312"/>
              <a:gd name="T15" fmla="*/ 432 h 500"/>
              <a:gd name="T16" fmla="*/ 110 w 312"/>
              <a:gd name="T17" fmla="*/ 425 h 500"/>
              <a:gd name="T18" fmla="*/ 127 w 312"/>
              <a:gd name="T19" fmla="*/ 394 h 500"/>
              <a:gd name="T20" fmla="*/ 134 w 312"/>
              <a:gd name="T21" fmla="*/ 406 h 500"/>
              <a:gd name="T22" fmla="*/ 139 w 312"/>
              <a:gd name="T23" fmla="*/ 406 h 500"/>
              <a:gd name="T24" fmla="*/ 141 w 312"/>
              <a:gd name="T25" fmla="*/ 392 h 500"/>
              <a:gd name="T26" fmla="*/ 163 w 312"/>
              <a:gd name="T27" fmla="*/ 382 h 500"/>
              <a:gd name="T28" fmla="*/ 165 w 312"/>
              <a:gd name="T29" fmla="*/ 372 h 500"/>
              <a:gd name="T30" fmla="*/ 177 w 312"/>
              <a:gd name="T31" fmla="*/ 370 h 500"/>
              <a:gd name="T32" fmla="*/ 185 w 312"/>
              <a:gd name="T33" fmla="*/ 353 h 500"/>
              <a:gd name="T34" fmla="*/ 192 w 312"/>
              <a:gd name="T35" fmla="*/ 331 h 500"/>
              <a:gd name="T36" fmla="*/ 197 w 312"/>
              <a:gd name="T37" fmla="*/ 324 h 500"/>
              <a:gd name="T38" fmla="*/ 213 w 312"/>
              <a:gd name="T39" fmla="*/ 324 h 500"/>
              <a:gd name="T40" fmla="*/ 221 w 312"/>
              <a:gd name="T41" fmla="*/ 307 h 500"/>
              <a:gd name="T42" fmla="*/ 230 w 312"/>
              <a:gd name="T43" fmla="*/ 295 h 500"/>
              <a:gd name="T44" fmla="*/ 252 w 312"/>
              <a:gd name="T45" fmla="*/ 305 h 500"/>
              <a:gd name="T46" fmla="*/ 273 w 312"/>
              <a:gd name="T47" fmla="*/ 279 h 500"/>
              <a:gd name="T48" fmla="*/ 293 w 312"/>
              <a:gd name="T49" fmla="*/ 257 h 500"/>
              <a:gd name="T50" fmla="*/ 300 w 312"/>
              <a:gd name="T51" fmla="*/ 255 h 500"/>
              <a:gd name="T52" fmla="*/ 312 w 312"/>
              <a:gd name="T53" fmla="*/ 240 h 500"/>
              <a:gd name="T54" fmla="*/ 302 w 312"/>
              <a:gd name="T55" fmla="*/ 231 h 500"/>
              <a:gd name="T56" fmla="*/ 297 w 312"/>
              <a:gd name="T57" fmla="*/ 231 h 500"/>
              <a:gd name="T58" fmla="*/ 302 w 312"/>
              <a:gd name="T59" fmla="*/ 221 h 500"/>
              <a:gd name="T60" fmla="*/ 297 w 312"/>
              <a:gd name="T61" fmla="*/ 202 h 500"/>
              <a:gd name="T62" fmla="*/ 283 w 312"/>
              <a:gd name="T63" fmla="*/ 199 h 500"/>
              <a:gd name="T64" fmla="*/ 273 w 312"/>
              <a:gd name="T65" fmla="*/ 204 h 500"/>
              <a:gd name="T66" fmla="*/ 259 w 312"/>
              <a:gd name="T67" fmla="*/ 173 h 500"/>
              <a:gd name="T68" fmla="*/ 261 w 312"/>
              <a:gd name="T69" fmla="*/ 166 h 500"/>
              <a:gd name="T70" fmla="*/ 252 w 312"/>
              <a:gd name="T71" fmla="*/ 163 h 500"/>
              <a:gd name="T72" fmla="*/ 240 w 312"/>
              <a:gd name="T73" fmla="*/ 161 h 500"/>
              <a:gd name="T74" fmla="*/ 228 w 312"/>
              <a:gd name="T75" fmla="*/ 158 h 500"/>
              <a:gd name="T76" fmla="*/ 223 w 312"/>
              <a:gd name="T77" fmla="*/ 137 h 500"/>
              <a:gd name="T78" fmla="*/ 153 w 312"/>
              <a:gd name="T79" fmla="*/ 0 h 500"/>
              <a:gd name="T80" fmla="*/ 136 w 312"/>
              <a:gd name="T81" fmla="*/ 0 h 500"/>
              <a:gd name="T82" fmla="*/ 132 w 312"/>
              <a:gd name="T83" fmla="*/ 9 h 500"/>
              <a:gd name="T84" fmla="*/ 115 w 312"/>
              <a:gd name="T85" fmla="*/ 17 h 500"/>
              <a:gd name="T86" fmla="*/ 93 w 312"/>
              <a:gd name="T87" fmla="*/ 31 h 500"/>
              <a:gd name="T88" fmla="*/ 88 w 312"/>
              <a:gd name="T89" fmla="*/ 12 h 500"/>
              <a:gd name="T90" fmla="*/ 79 w 312"/>
              <a:gd name="T91" fmla="*/ 7 h 500"/>
              <a:gd name="T92" fmla="*/ 40 w 312"/>
              <a:gd name="T93" fmla="*/ 103 h 500"/>
              <a:gd name="T94" fmla="*/ 43 w 312"/>
              <a:gd name="T95" fmla="*/ 122 h 500"/>
              <a:gd name="T96" fmla="*/ 40 w 312"/>
              <a:gd name="T97" fmla="*/ 139 h 500"/>
              <a:gd name="T98" fmla="*/ 33 w 312"/>
              <a:gd name="T99" fmla="*/ 151 h 500"/>
              <a:gd name="T100" fmla="*/ 38 w 312"/>
              <a:gd name="T101" fmla="*/ 202 h 500"/>
              <a:gd name="T102" fmla="*/ 24 w 312"/>
              <a:gd name="T103" fmla="*/ 228 h 500"/>
              <a:gd name="T104" fmla="*/ 28 w 312"/>
              <a:gd name="T105" fmla="*/ 247 h 500"/>
              <a:gd name="T106" fmla="*/ 19 w 312"/>
              <a:gd name="T107" fmla="*/ 250 h 500"/>
              <a:gd name="T108" fmla="*/ 19 w 312"/>
              <a:gd name="T109" fmla="*/ 264 h 500"/>
              <a:gd name="T110" fmla="*/ 7 w 312"/>
              <a:gd name="T111" fmla="*/ 26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2" h="500">
                <a:moveTo>
                  <a:pt x="0" y="269"/>
                </a:moveTo>
                <a:lnTo>
                  <a:pt x="60" y="449"/>
                </a:lnTo>
                <a:lnTo>
                  <a:pt x="62" y="452"/>
                </a:lnTo>
                <a:lnTo>
                  <a:pt x="60" y="461"/>
                </a:lnTo>
                <a:lnTo>
                  <a:pt x="62" y="464"/>
                </a:lnTo>
                <a:lnTo>
                  <a:pt x="76" y="476"/>
                </a:lnTo>
                <a:lnTo>
                  <a:pt x="79" y="476"/>
                </a:lnTo>
                <a:lnTo>
                  <a:pt x="81" y="483"/>
                </a:lnTo>
                <a:lnTo>
                  <a:pt x="81" y="485"/>
                </a:lnTo>
                <a:lnTo>
                  <a:pt x="91" y="500"/>
                </a:lnTo>
                <a:lnTo>
                  <a:pt x="91" y="497"/>
                </a:lnTo>
                <a:lnTo>
                  <a:pt x="93" y="485"/>
                </a:lnTo>
                <a:lnTo>
                  <a:pt x="96" y="473"/>
                </a:lnTo>
                <a:lnTo>
                  <a:pt x="103" y="459"/>
                </a:lnTo>
                <a:lnTo>
                  <a:pt x="105" y="440"/>
                </a:lnTo>
                <a:lnTo>
                  <a:pt x="115" y="432"/>
                </a:lnTo>
                <a:lnTo>
                  <a:pt x="115" y="428"/>
                </a:lnTo>
                <a:lnTo>
                  <a:pt x="110" y="425"/>
                </a:lnTo>
                <a:lnTo>
                  <a:pt x="108" y="413"/>
                </a:lnTo>
                <a:lnTo>
                  <a:pt x="127" y="394"/>
                </a:lnTo>
                <a:lnTo>
                  <a:pt x="129" y="396"/>
                </a:lnTo>
                <a:lnTo>
                  <a:pt x="134" y="406"/>
                </a:lnTo>
                <a:lnTo>
                  <a:pt x="136" y="408"/>
                </a:lnTo>
                <a:lnTo>
                  <a:pt x="139" y="406"/>
                </a:lnTo>
                <a:lnTo>
                  <a:pt x="139" y="396"/>
                </a:lnTo>
                <a:lnTo>
                  <a:pt x="141" y="392"/>
                </a:lnTo>
                <a:lnTo>
                  <a:pt x="156" y="389"/>
                </a:lnTo>
                <a:lnTo>
                  <a:pt x="163" y="382"/>
                </a:lnTo>
                <a:lnTo>
                  <a:pt x="163" y="375"/>
                </a:lnTo>
                <a:lnTo>
                  <a:pt x="165" y="372"/>
                </a:lnTo>
                <a:lnTo>
                  <a:pt x="172" y="372"/>
                </a:lnTo>
                <a:lnTo>
                  <a:pt x="177" y="370"/>
                </a:lnTo>
                <a:lnTo>
                  <a:pt x="180" y="365"/>
                </a:lnTo>
                <a:lnTo>
                  <a:pt x="185" y="353"/>
                </a:lnTo>
                <a:lnTo>
                  <a:pt x="182" y="341"/>
                </a:lnTo>
                <a:lnTo>
                  <a:pt x="192" y="331"/>
                </a:lnTo>
                <a:lnTo>
                  <a:pt x="192" y="324"/>
                </a:lnTo>
                <a:lnTo>
                  <a:pt x="197" y="324"/>
                </a:lnTo>
                <a:lnTo>
                  <a:pt x="209" y="327"/>
                </a:lnTo>
                <a:lnTo>
                  <a:pt x="213" y="324"/>
                </a:lnTo>
                <a:lnTo>
                  <a:pt x="216" y="317"/>
                </a:lnTo>
                <a:lnTo>
                  <a:pt x="221" y="307"/>
                </a:lnTo>
                <a:lnTo>
                  <a:pt x="225" y="307"/>
                </a:lnTo>
                <a:lnTo>
                  <a:pt x="230" y="295"/>
                </a:lnTo>
                <a:lnTo>
                  <a:pt x="242" y="295"/>
                </a:lnTo>
                <a:lnTo>
                  <a:pt x="252" y="305"/>
                </a:lnTo>
                <a:lnTo>
                  <a:pt x="264" y="283"/>
                </a:lnTo>
                <a:lnTo>
                  <a:pt x="273" y="279"/>
                </a:lnTo>
                <a:lnTo>
                  <a:pt x="288" y="264"/>
                </a:lnTo>
                <a:lnTo>
                  <a:pt x="293" y="257"/>
                </a:lnTo>
                <a:lnTo>
                  <a:pt x="295" y="255"/>
                </a:lnTo>
                <a:lnTo>
                  <a:pt x="300" y="255"/>
                </a:lnTo>
                <a:lnTo>
                  <a:pt x="307" y="250"/>
                </a:lnTo>
                <a:lnTo>
                  <a:pt x="312" y="240"/>
                </a:lnTo>
                <a:lnTo>
                  <a:pt x="309" y="235"/>
                </a:lnTo>
                <a:lnTo>
                  <a:pt x="302" y="231"/>
                </a:lnTo>
                <a:lnTo>
                  <a:pt x="302" y="233"/>
                </a:lnTo>
                <a:lnTo>
                  <a:pt x="297" y="231"/>
                </a:lnTo>
                <a:lnTo>
                  <a:pt x="300" y="223"/>
                </a:lnTo>
                <a:lnTo>
                  <a:pt x="302" y="221"/>
                </a:lnTo>
                <a:lnTo>
                  <a:pt x="302" y="216"/>
                </a:lnTo>
                <a:lnTo>
                  <a:pt x="297" y="202"/>
                </a:lnTo>
                <a:lnTo>
                  <a:pt x="288" y="197"/>
                </a:lnTo>
                <a:lnTo>
                  <a:pt x="283" y="199"/>
                </a:lnTo>
                <a:lnTo>
                  <a:pt x="281" y="202"/>
                </a:lnTo>
                <a:lnTo>
                  <a:pt x="273" y="204"/>
                </a:lnTo>
                <a:lnTo>
                  <a:pt x="266" y="202"/>
                </a:lnTo>
                <a:lnTo>
                  <a:pt x="259" y="173"/>
                </a:lnTo>
                <a:lnTo>
                  <a:pt x="261" y="170"/>
                </a:lnTo>
                <a:lnTo>
                  <a:pt x="261" y="166"/>
                </a:lnTo>
                <a:lnTo>
                  <a:pt x="259" y="163"/>
                </a:lnTo>
                <a:lnTo>
                  <a:pt x="252" y="163"/>
                </a:lnTo>
                <a:lnTo>
                  <a:pt x="249" y="166"/>
                </a:lnTo>
                <a:lnTo>
                  <a:pt x="240" y="161"/>
                </a:lnTo>
                <a:lnTo>
                  <a:pt x="233" y="161"/>
                </a:lnTo>
                <a:lnTo>
                  <a:pt x="228" y="158"/>
                </a:lnTo>
                <a:lnTo>
                  <a:pt x="223" y="142"/>
                </a:lnTo>
                <a:lnTo>
                  <a:pt x="223" y="137"/>
                </a:lnTo>
                <a:lnTo>
                  <a:pt x="187" y="21"/>
                </a:lnTo>
                <a:lnTo>
                  <a:pt x="153" y="0"/>
                </a:lnTo>
                <a:lnTo>
                  <a:pt x="144" y="0"/>
                </a:lnTo>
                <a:lnTo>
                  <a:pt x="136" y="0"/>
                </a:lnTo>
                <a:lnTo>
                  <a:pt x="134" y="5"/>
                </a:lnTo>
                <a:lnTo>
                  <a:pt x="132" y="9"/>
                </a:lnTo>
                <a:lnTo>
                  <a:pt x="127" y="9"/>
                </a:lnTo>
                <a:lnTo>
                  <a:pt x="115" y="17"/>
                </a:lnTo>
                <a:lnTo>
                  <a:pt x="98" y="29"/>
                </a:lnTo>
                <a:lnTo>
                  <a:pt x="93" y="31"/>
                </a:lnTo>
                <a:lnTo>
                  <a:pt x="86" y="24"/>
                </a:lnTo>
                <a:lnTo>
                  <a:pt x="88" y="12"/>
                </a:lnTo>
                <a:lnTo>
                  <a:pt x="86" y="7"/>
                </a:lnTo>
                <a:lnTo>
                  <a:pt x="79" y="7"/>
                </a:lnTo>
                <a:lnTo>
                  <a:pt x="67" y="12"/>
                </a:lnTo>
                <a:lnTo>
                  <a:pt x="40" y="103"/>
                </a:lnTo>
                <a:lnTo>
                  <a:pt x="38" y="115"/>
                </a:lnTo>
                <a:lnTo>
                  <a:pt x="43" y="122"/>
                </a:lnTo>
                <a:lnTo>
                  <a:pt x="45" y="132"/>
                </a:lnTo>
                <a:lnTo>
                  <a:pt x="40" y="139"/>
                </a:lnTo>
                <a:lnTo>
                  <a:pt x="38" y="144"/>
                </a:lnTo>
                <a:lnTo>
                  <a:pt x="33" y="151"/>
                </a:lnTo>
                <a:lnTo>
                  <a:pt x="43" y="190"/>
                </a:lnTo>
                <a:lnTo>
                  <a:pt x="38" y="202"/>
                </a:lnTo>
                <a:lnTo>
                  <a:pt x="38" y="211"/>
                </a:lnTo>
                <a:lnTo>
                  <a:pt x="24" y="228"/>
                </a:lnTo>
                <a:lnTo>
                  <a:pt x="24" y="235"/>
                </a:lnTo>
                <a:lnTo>
                  <a:pt x="28" y="247"/>
                </a:lnTo>
                <a:lnTo>
                  <a:pt x="26" y="250"/>
                </a:lnTo>
                <a:lnTo>
                  <a:pt x="19" y="250"/>
                </a:lnTo>
                <a:lnTo>
                  <a:pt x="21" y="259"/>
                </a:lnTo>
                <a:lnTo>
                  <a:pt x="19" y="264"/>
                </a:lnTo>
                <a:lnTo>
                  <a:pt x="14" y="264"/>
                </a:lnTo>
                <a:lnTo>
                  <a:pt x="7" y="262"/>
                </a:lnTo>
                <a:lnTo>
                  <a:pt x="0" y="269"/>
                </a:lnTo>
                <a:close/>
              </a:path>
            </a:pathLst>
          </a:custGeom>
          <a:solidFill>
            <a:schemeClr val="tx1">
              <a:alpha val="13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1" name="Freeform 32"/>
          <p:cNvSpPr>
            <a:spLocks/>
          </p:cNvSpPr>
          <p:nvPr/>
        </p:nvSpPr>
        <p:spPr bwMode="auto">
          <a:xfrm>
            <a:off x="10312679" y="2835478"/>
            <a:ext cx="792163" cy="511175"/>
          </a:xfrm>
          <a:custGeom>
            <a:avLst/>
            <a:gdLst>
              <a:gd name="T0" fmla="*/ 125 w 499"/>
              <a:gd name="T1" fmla="*/ 305 h 322"/>
              <a:gd name="T2" fmla="*/ 348 w 499"/>
              <a:gd name="T3" fmla="*/ 262 h 322"/>
              <a:gd name="T4" fmla="*/ 420 w 499"/>
              <a:gd name="T5" fmla="*/ 250 h 322"/>
              <a:gd name="T6" fmla="*/ 420 w 499"/>
              <a:gd name="T7" fmla="*/ 247 h 322"/>
              <a:gd name="T8" fmla="*/ 425 w 499"/>
              <a:gd name="T9" fmla="*/ 247 h 322"/>
              <a:gd name="T10" fmla="*/ 425 w 499"/>
              <a:gd name="T11" fmla="*/ 240 h 322"/>
              <a:gd name="T12" fmla="*/ 432 w 499"/>
              <a:gd name="T13" fmla="*/ 233 h 322"/>
              <a:gd name="T14" fmla="*/ 442 w 499"/>
              <a:gd name="T15" fmla="*/ 230 h 322"/>
              <a:gd name="T16" fmla="*/ 449 w 499"/>
              <a:gd name="T17" fmla="*/ 233 h 322"/>
              <a:gd name="T18" fmla="*/ 468 w 499"/>
              <a:gd name="T19" fmla="*/ 218 h 322"/>
              <a:gd name="T20" fmla="*/ 470 w 499"/>
              <a:gd name="T21" fmla="*/ 206 h 322"/>
              <a:gd name="T22" fmla="*/ 485 w 499"/>
              <a:gd name="T23" fmla="*/ 194 h 322"/>
              <a:gd name="T24" fmla="*/ 497 w 499"/>
              <a:gd name="T25" fmla="*/ 187 h 322"/>
              <a:gd name="T26" fmla="*/ 499 w 499"/>
              <a:gd name="T27" fmla="*/ 185 h 322"/>
              <a:gd name="T28" fmla="*/ 487 w 499"/>
              <a:gd name="T29" fmla="*/ 175 h 322"/>
              <a:gd name="T30" fmla="*/ 482 w 499"/>
              <a:gd name="T31" fmla="*/ 170 h 322"/>
              <a:gd name="T32" fmla="*/ 475 w 499"/>
              <a:gd name="T33" fmla="*/ 168 h 322"/>
              <a:gd name="T34" fmla="*/ 473 w 499"/>
              <a:gd name="T35" fmla="*/ 165 h 322"/>
              <a:gd name="T36" fmla="*/ 466 w 499"/>
              <a:gd name="T37" fmla="*/ 161 h 322"/>
              <a:gd name="T38" fmla="*/ 461 w 499"/>
              <a:gd name="T39" fmla="*/ 149 h 322"/>
              <a:gd name="T40" fmla="*/ 451 w 499"/>
              <a:gd name="T41" fmla="*/ 149 h 322"/>
              <a:gd name="T42" fmla="*/ 449 w 499"/>
              <a:gd name="T43" fmla="*/ 146 h 322"/>
              <a:gd name="T44" fmla="*/ 449 w 499"/>
              <a:gd name="T45" fmla="*/ 127 h 322"/>
              <a:gd name="T46" fmla="*/ 454 w 499"/>
              <a:gd name="T47" fmla="*/ 122 h 322"/>
              <a:gd name="T48" fmla="*/ 451 w 499"/>
              <a:gd name="T49" fmla="*/ 113 h 322"/>
              <a:gd name="T50" fmla="*/ 446 w 499"/>
              <a:gd name="T51" fmla="*/ 105 h 322"/>
              <a:gd name="T52" fmla="*/ 446 w 499"/>
              <a:gd name="T53" fmla="*/ 103 h 322"/>
              <a:gd name="T54" fmla="*/ 446 w 499"/>
              <a:gd name="T55" fmla="*/ 98 h 322"/>
              <a:gd name="T56" fmla="*/ 456 w 499"/>
              <a:gd name="T57" fmla="*/ 89 h 322"/>
              <a:gd name="T58" fmla="*/ 461 w 499"/>
              <a:gd name="T59" fmla="*/ 74 h 322"/>
              <a:gd name="T60" fmla="*/ 461 w 499"/>
              <a:gd name="T61" fmla="*/ 69 h 322"/>
              <a:gd name="T62" fmla="*/ 466 w 499"/>
              <a:gd name="T63" fmla="*/ 60 h 322"/>
              <a:gd name="T64" fmla="*/ 470 w 499"/>
              <a:gd name="T65" fmla="*/ 57 h 322"/>
              <a:gd name="T66" fmla="*/ 463 w 499"/>
              <a:gd name="T67" fmla="*/ 52 h 322"/>
              <a:gd name="T68" fmla="*/ 444 w 499"/>
              <a:gd name="T69" fmla="*/ 50 h 322"/>
              <a:gd name="T70" fmla="*/ 442 w 499"/>
              <a:gd name="T71" fmla="*/ 48 h 322"/>
              <a:gd name="T72" fmla="*/ 439 w 499"/>
              <a:gd name="T73" fmla="*/ 45 h 322"/>
              <a:gd name="T74" fmla="*/ 437 w 499"/>
              <a:gd name="T75" fmla="*/ 36 h 322"/>
              <a:gd name="T76" fmla="*/ 425 w 499"/>
              <a:gd name="T77" fmla="*/ 16 h 322"/>
              <a:gd name="T78" fmla="*/ 420 w 499"/>
              <a:gd name="T79" fmla="*/ 14 h 322"/>
              <a:gd name="T80" fmla="*/ 418 w 499"/>
              <a:gd name="T81" fmla="*/ 12 h 322"/>
              <a:gd name="T82" fmla="*/ 415 w 499"/>
              <a:gd name="T83" fmla="*/ 12 h 322"/>
              <a:gd name="T84" fmla="*/ 413 w 499"/>
              <a:gd name="T85" fmla="*/ 9 h 322"/>
              <a:gd name="T86" fmla="*/ 410 w 499"/>
              <a:gd name="T87" fmla="*/ 4 h 322"/>
              <a:gd name="T88" fmla="*/ 403 w 499"/>
              <a:gd name="T89" fmla="*/ 0 h 322"/>
              <a:gd name="T90" fmla="*/ 60 w 499"/>
              <a:gd name="T91" fmla="*/ 69 h 322"/>
              <a:gd name="T92" fmla="*/ 53 w 499"/>
              <a:gd name="T93" fmla="*/ 40 h 322"/>
              <a:gd name="T94" fmla="*/ 36 w 499"/>
              <a:gd name="T95" fmla="*/ 57 h 322"/>
              <a:gd name="T96" fmla="*/ 31 w 499"/>
              <a:gd name="T97" fmla="*/ 60 h 322"/>
              <a:gd name="T98" fmla="*/ 29 w 499"/>
              <a:gd name="T99" fmla="*/ 57 h 322"/>
              <a:gd name="T100" fmla="*/ 26 w 499"/>
              <a:gd name="T101" fmla="*/ 57 h 322"/>
              <a:gd name="T102" fmla="*/ 21 w 499"/>
              <a:gd name="T103" fmla="*/ 67 h 322"/>
              <a:gd name="T104" fmla="*/ 7 w 499"/>
              <a:gd name="T105" fmla="*/ 81 h 322"/>
              <a:gd name="T106" fmla="*/ 0 w 499"/>
              <a:gd name="T107" fmla="*/ 86 h 322"/>
              <a:gd name="T108" fmla="*/ 26 w 499"/>
              <a:gd name="T109" fmla="*/ 226 h 322"/>
              <a:gd name="T110" fmla="*/ 41 w 499"/>
              <a:gd name="T111" fmla="*/ 322 h 322"/>
              <a:gd name="T112" fmla="*/ 125 w 499"/>
              <a:gd name="T113" fmla="*/ 305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9" h="322">
                <a:moveTo>
                  <a:pt x="125" y="305"/>
                </a:moveTo>
                <a:lnTo>
                  <a:pt x="348" y="262"/>
                </a:lnTo>
                <a:lnTo>
                  <a:pt x="420" y="250"/>
                </a:lnTo>
                <a:lnTo>
                  <a:pt x="420" y="247"/>
                </a:lnTo>
                <a:lnTo>
                  <a:pt x="425" y="247"/>
                </a:lnTo>
                <a:lnTo>
                  <a:pt x="425" y="240"/>
                </a:lnTo>
                <a:lnTo>
                  <a:pt x="432" y="233"/>
                </a:lnTo>
                <a:lnTo>
                  <a:pt x="442" y="230"/>
                </a:lnTo>
                <a:lnTo>
                  <a:pt x="449" y="233"/>
                </a:lnTo>
                <a:lnTo>
                  <a:pt x="468" y="218"/>
                </a:lnTo>
                <a:lnTo>
                  <a:pt x="470" y="206"/>
                </a:lnTo>
                <a:lnTo>
                  <a:pt x="485" y="194"/>
                </a:lnTo>
                <a:lnTo>
                  <a:pt x="497" y="187"/>
                </a:lnTo>
                <a:lnTo>
                  <a:pt x="499" y="185"/>
                </a:lnTo>
                <a:lnTo>
                  <a:pt x="487" y="175"/>
                </a:lnTo>
                <a:lnTo>
                  <a:pt x="482" y="170"/>
                </a:lnTo>
                <a:lnTo>
                  <a:pt x="475" y="168"/>
                </a:lnTo>
                <a:lnTo>
                  <a:pt x="473" y="165"/>
                </a:lnTo>
                <a:lnTo>
                  <a:pt x="466" y="161"/>
                </a:lnTo>
                <a:lnTo>
                  <a:pt x="461" y="149"/>
                </a:lnTo>
                <a:lnTo>
                  <a:pt x="451" y="149"/>
                </a:lnTo>
                <a:lnTo>
                  <a:pt x="449" y="146"/>
                </a:lnTo>
                <a:lnTo>
                  <a:pt x="449" y="127"/>
                </a:lnTo>
                <a:lnTo>
                  <a:pt x="454" y="122"/>
                </a:lnTo>
                <a:lnTo>
                  <a:pt x="451" y="113"/>
                </a:lnTo>
                <a:lnTo>
                  <a:pt x="446" y="105"/>
                </a:lnTo>
                <a:lnTo>
                  <a:pt x="446" y="103"/>
                </a:lnTo>
                <a:lnTo>
                  <a:pt x="446" y="98"/>
                </a:lnTo>
                <a:lnTo>
                  <a:pt x="456" y="89"/>
                </a:lnTo>
                <a:lnTo>
                  <a:pt x="461" y="74"/>
                </a:lnTo>
                <a:lnTo>
                  <a:pt x="461" y="69"/>
                </a:lnTo>
                <a:lnTo>
                  <a:pt x="466" y="60"/>
                </a:lnTo>
                <a:lnTo>
                  <a:pt x="470" y="57"/>
                </a:lnTo>
                <a:lnTo>
                  <a:pt x="463" y="52"/>
                </a:lnTo>
                <a:lnTo>
                  <a:pt x="444" y="50"/>
                </a:lnTo>
                <a:lnTo>
                  <a:pt x="442" y="48"/>
                </a:lnTo>
                <a:lnTo>
                  <a:pt x="439" y="45"/>
                </a:lnTo>
                <a:lnTo>
                  <a:pt x="437" y="36"/>
                </a:lnTo>
                <a:lnTo>
                  <a:pt x="425" y="16"/>
                </a:lnTo>
                <a:lnTo>
                  <a:pt x="420" y="14"/>
                </a:lnTo>
                <a:lnTo>
                  <a:pt x="418" y="12"/>
                </a:lnTo>
                <a:lnTo>
                  <a:pt x="415" y="12"/>
                </a:lnTo>
                <a:lnTo>
                  <a:pt x="413" y="9"/>
                </a:lnTo>
                <a:lnTo>
                  <a:pt x="410" y="4"/>
                </a:lnTo>
                <a:lnTo>
                  <a:pt x="403" y="0"/>
                </a:lnTo>
                <a:lnTo>
                  <a:pt x="60" y="69"/>
                </a:lnTo>
                <a:lnTo>
                  <a:pt x="53" y="40"/>
                </a:lnTo>
                <a:lnTo>
                  <a:pt x="36" y="57"/>
                </a:lnTo>
                <a:lnTo>
                  <a:pt x="31" y="60"/>
                </a:lnTo>
                <a:lnTo>
                  <a:pt x="29" y="57"/>
                </a:lnTo>
                <a:lnTo>
                  <a:pt x="26" y="57"/>
                </a:lnTo>
                <a:lnTo>
                  <a:pt x="21" y="67"/>
                </a:lnTo>
                <a:lnTo>
                  <a:pt x="7" y="81"/>
                </a:lnTo>
                <a:lnTo>
                  <a:pt x="0" y="86"/>
                </a:lnTo>
                <a:lnTo>
                  <a:pt x="26" y="226"/>
                </a:lnTo>
                <a:lnTo>
                  <a:pt x="41" y="322"/>
                </a:lnTo>
                <a:lnTo>
                  <a:pt x="125" y="30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2" name="Freeform 33"/>
          <p:cNvSpPr>
            <a:spLocks/>
          </p:cNvSpPr>
          <p:nvPr/>
        </p:nvSpPr>
        <p:spPr bwMode="auto">
          <a:xfrm>
            <a:off x="9523692" y="2387803"/>
            <a:ext cx="525463" cy="722312"/>
          </a:xfrm>
          <a:custGeom>
            <a:avLst/>
            <a:gdLst>
              <a:gd name="T0" fmla="*/ 165 w 331"/>
              <a:gd name="T1" fmla="*/ 433 h 455"/>
              <a:gd name="T2" fmla="*/ 269 w 331"/>
              <a:gd name="T3" fmla="*/ 423 h 455"/>
              <a:gd name="T4" fmla="*/ 283 w 331"/>
              <a:gd name="T5" fmla="*/ 395 h 455"/>
              <a:gd name="T6" fmla="*/ 288 w 331"/>
              <a:gd name="T7" fmla="*/ 371 h 455"/>
              <a:gd name="T8" fmla="*/ 305 w 331"/>
              <a:gd name="T9" fmla="*/ 346 h 455"/>
              <a:gd name="T10" fmla="*/ 307 w 331"/>
              <a:gd name="T11" fmla="*/ 330 h 455"/>
              <a:gd name="T12" fmla="*/ 317 w 331"/>
              <a:gd name="T13" fmla="*/ 315 h 455"/>
              <a:gd name="T14" fmla="*/ 321 w 331"/>
              <a:gd name="T15" fmla="*/ 322 h 455"/>
              <a:gd name="T16" fmla="*/ 329 w 331"/>
              <a:gd name="T17" fmla="*/ 318 h 455"/>
              <a:gd name="T18" fmla="*/ 329 w 331"/>
              <a:gd name="T19" fmla="*/ 296 h 455"/>
              <a:gd name="T20" fmla="*/ 324 w 331"/>
              <a:gd name="T21" fmla="*/ 265 h 455"/>
              <a:gd name="T22" fmla="*/ 297 w 331"/>
              <a:gd name="T23" fmla="*/ 178 h 455"/>
              <a:gd name="T24" fmla="*/ 266 w 331"/>
              <a:gd name="T25" fmla="*/ 176 h 455"/>
              <a:gd name="T26" fmla="*/ 228 w 331"/>
              <a:gd name="T27" fmla="*/ 229 h 455"/>
              <a:gd name="T28" fmla="*/ 221 w 331"/>
              <a:gd name="T29" fmla="*/ 226 h 455"/>
              <a:gd name="T30" fmla="*/ 209 w 331"/>
              <a:gd name="T31" fmla="*/ 219 h 455"/>
              <a:gd name="T32" fmla="*/ 206 w 331"/>
              <a:gd name="T33" fmla="*/ 193 h 455"/>
              <a:gd name="T34" fmla="*/ 225 w 331"/>
              <a:gd name="T35" fmla="*/ 176 h 455"/>
              <a:gd name="T36" fmla="*/ 230 w 331"/>
              <a:gd name="T37" fmla="*/ 164 h 455"/>
              <a:gd name="T38" fmla="*/ 237 w 331"/>
              <a:gd name="T39" fmla="*/ 152 h 455"/>
              <a:gd name="T40" fmla="*/ 245 w 331"/>
              <a:gd name="T41" fmla="*/ 111 h 455"/>
              <a:gd name="T42" fmla="*/ 235 w 331"/>
              <a:gd name="T43" fmla="*/ 92 h 455"/>
              <a:gd name="T44" fmla="*/ 223 w 331"/>
              <a:gd name="T45" fmla="*/ 75 h 455"/>
              <a:gd name="T46" fmla="*/ 235 w 331"/>
              <a:gd name="T47" fmla="*/ 65 h 455"/>
              <a:gd name="T48" fmla="*/ 225 w 331"/>
              <a:gd name="T49" fmla="*/ 44 h 455"/>
              <a:gd name="T50" fmla="*/ 189 w 331"/>
              <a:gd name="T51" fmla="*/ 27 h 455"/>
              <a:gd name="T52" fmla="*/ 163 w 331"/>
              <a:gd name="T53" fmla="*/ 17 h 455"/>
              <a:gd name="T54" fmla="*/ 132 w 331"/>
              <a:gd name="T55" fmla="*/ 8 h 455"/>
              <a:gd name="T56" fmla="*/ 113 w 331"/>
              <a:gd name="T57" fmla="*/ 5 h 455"/>
              <a:gd name="T58" fmla="*/ 96 w 331"/>
              <a:gd name="T59" fmla="*/ 24 h 455"/>
              <a:gd name="T60" fmla="*/ 98 w 331"/>
              <a:gd name="T61" fmla="*/ 41 h 455"/>
              <a:gd name="T62" fmla="*/ 103 w 331"/>
              <a:gd name="T63" fmla="*/ 46 h 455"/>
              <a:gd name="T64" fmla="*/ 93 w 331"/>
              <a:gd name="T65" fmla="*/ 51 h 455"/>
              <a:gd name="T66" fmla="*/ 81 w 331"/>
              <a:gd name="T67" fmla="*/ 63 h 455"/>
              <a:gd name="T68" fmla="*/ 79 w 331"/>
              <a:gd name="T69" fmla="*/ 84 h 455"/>
              <a:gd name="T70" fmla="*/ 74 w 331"/>
              <a:gd name="T71" fmla="*/ 109 h 455"/>
              <a:gd name="T72" fmla="*/ 62 w 331"/>
              <a:gd name="T73" fmla="*/ 104 h 455"/>
              <a:gd name="T74" fmla="*/ 62 w 331"/>
              <a:gd name="T75" fmla="*/ 82 h 455"/>
              <a:gd name="T76" fmla="*/ 62 w 331"/>
              <a:gd name="T77" fmla="*/ 75 h 455"/>
              <a:gd name="T78" fmla="*/ 55 w 331"/>
              <a:gd name="T79" fmla="*/ 84 h 455"/>
              <a:gd name="T80" fmla="*/ 48 w 331"/>
              <a:gd name="T81" fmla="*/ 101 h 455"/>
              <a:gd name="T82" fmla="*/ 33 w 331"/>
              <a:gd name="T83" fmla="*/ 109 h 455"/>
              <a:gd name="T84" fmla="*/ 28 w 331"/>
              <a:gd name="T85" fmla="*/ 123 h 455"/>
              <a:gd name="T86" fmla="*/ 19 w 331"/>
              <a:gd name="T87" fmla="*/ 149 h 455"/>
              <a:gd name="T88" fmla="*/ 16 w 331"/>
              <a:gd name="T89" fmla="*/ 181 h 455"/>
              <a:gd name="T90" fmla="*/ 4 w 331"/>
              <a:gd name="T91" fmla="*/ 202 h 455"/>
              <a:gd name="T92" fmla="*/ 12 w 331"/>
              <a:gd name="T93" fmla="*/ 236 h 455"/>
              <a:gd name="T94" fmla="*/ 14 w 331"/>
              <a:gd name="T95" fmla="*/ 262 h 455"/>
              <a:gd name="T96" fmla="*/ 41 w 331"/>
              <a:gd name="T97" fmla="*/ 320 h 455"/>
              <a:gd name="T98" fmla="*/ 45 w 331"/>
              <a:gd name="T99" fmla="*/ 346 h 455"/>
              <a:gd name="T100" fmla="*/ 43 w 331"/>
              <a:gd name="T101" fmla="*/ 354 h 455"/>
              <a:gd name="T102" fmla="*/ 36 w 331"/>
              <a:gd name="T103" fmla="*/ 392 h 455"/>
              <a:gd name="T104" fmla="*/ 16 w 331"/>
              <a:gd name="T105" fmla="*/ 440 h 455"/>
              <a:gd name="T106" fmla="*/ 0 w 331"/>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1" h="455">
                <a:moveTo>
                  <a:pt x="0" y="455"/>
                </a:moveTo>
                <a:lnTo>
                  <a:pt x="165" y="433"/>
                </a:lnTo>
                <a:lnTo>
                  <a:pt x="165" y="438"/>
                </a:lnTo>
                <a:lnTo>
                  <a:pt x="269" y="423"/>
                </a:lnTo>
                <a:lnTo>
                  <a:pt x="271" y="419"/>
                </a:lnTo>
                <a:lnTo>
                  <a:pt x="283" y="395"/>
                </a:lnTo>
                <a:lnTo>
                  <a:pt x="288" y="387"/>
                </a:lnTo>
                <a:lnTo>
                  <a:pt x="288" y="371"/>
                </a:lnTo>
                <a:lnTo>
                  <a:pt x="293" y="356"/>
                </a:lnTo>
                <a:lnTo>
                  <a:pt x="305" y="346"/>
                </a:lnTo>
                <a:lnTo>
                  <a:pt x="305" y="332"/>
                </a:lnTo>
                <a:lnTo>
                  <a:pt x="307" y="330"/>
                </a:lnTo>
                <a:lnTo>
                  <a:pt x="307" y="322"/>
                </a:lnTo>
                <a:lnTo>
                  <a:pt x="317" y="315"/>
                </a:lnTo>
                <a:lnTo>
                  <a:pt x="319" y="322"/>
                </a:lnTo>
                <a:lnTo>
                  <a:pt x="321" y="322"/>
                </a:lnTo>
                <a:lnTo>
                  <a:pt x="326" y="320"/>
                </a:lnTo>
                <a:lnTo>
                  <a:pt x="329" y="318"/>
                </a:lnTo>
                <a:lnTo>
                  <a:pt x="331" y="310"/>
                </a:lnTo>
                <a:lnTo>
                  <a:pt x="329" y="296"/>
                </a:lnTo>
                <a:lnTo>
                  <a:pt x="331" y="277"/>
                </a:lnTo>
                <a:lnTo>
                  <a:pt x="324" y="265"/>
                </a:lnTo>
                <a:lnTo>
                  <a:pt x="321" y="238"/>
                </a:lnTo>
                <a:lnTo>
                  <a:pt x="297" y="178"/>
                </a:lnTo>
                <a:lnTo>
                  <a:pt x="273" y="171"/>
                </a:lnTo>
                <a:lnTo>
                  <a:pt x="266" y="176"/>
                </a:lnTo>
                <a:lnTo>
                  <a:pt x="254" y="188"/>
                </a:lnTo>
                <a:lnTo>
                  <a:pt x="228" y="229"/>
                </a:lnTo>
                <a:lnTo>
                  <a:pt x="223" y="229"/>
                </a:lnTo>
                <a:lnTo>
                  <a:pt x="221" y="226"/>
                </a:lnTo>
                <a:lnTo>
                  <a:pt x="211" y="221"/>
                </a:lnTo>
                <a:lnTo>
                  <a:pt x="209" y="219"/>
                </a:lnTo>
                <a:lnTo>
                  <a:pt x="204" y="209"/>
                </a:lnTo>
                <a:lnTo>
                  <a:pt x="206" y="193"/>
                </a:lnTo>
                <a:lnTo>
                  <a:pt x="211" y="185"/>
                </a:lnTo>
                <a:lnTo>
                  <a:pt x="225" y="176"/>
                </a:lnTo>
                <a:lnTo>
                  <a:pt x="228" y="169"/>
                </a:lnTo>
                <a:lnTo>
                  <a:pt x="230" y="164"/>
                </a:lnTo>
                <a:lnTo>
                  <a:pt x="230" y="157"/>
                </a:lnTo>
                <a:lnTo>
                  <a:pt x="237" y="152"/>
                </a:lnTo>
                <a:lnTo>
                  <a:pt x="245" y="140"/>
                </a:lnTo>
                <a:lnTo>
                  <a:pt x="245" y="111"/>
                </a:lnTo>
                <a:lnTo>
                  <a:pt x="240" y="99"/>
                </a:lnTo>
                <a:lnTo>
                  <a:pt x="235" y="92"/>
                </a:lnTo>
                <a:lnTo>
                  <a:pt x="228" y="82"/>
                </a:lnTo>
                <a:lnTo>
                  <a:pt x="223" y="75"/>
                </a:lnTo>
                <a:lnTo>
                  <a:pt x="225" y="70"/>
                </a:lnTo>
                <a:lnTo>
                  <a:pt x="235" y="65"/>
                </a:lnTo>
                <a:lnTo>
                  <a:pt x="237" y="63"/>
                </a:lnTo>
                <a:lnTo>
                  <a:pt x="225" y="44"/>
                </a:lnTo>
                <a:lnTo>
                  <a:pt x="216" y="39"/>
                </a:lnTo>
                <a:lnTo>
                  <a:pt x="189" y="27"/>
                </a:lnTo>
                <a:lnTo>
                  <a:pt x="168" y="24"/>
                </a:lnTo>
                <a:lnTo>
                  <a:pt x="163" y="17"/>
                </a:lnTo>
                <a:lnTo>
                  <a:pt x="146" y="12"/>
                </a:lnTo>
                <a:lnTo>
                  <a:pt x="132" y="8"/>
                </a:lnTo>
                <a:lnTo>
                  <a:pt x="120" y="0"/>
                </a:lnTo>
                <a:lnTo>
                  <a:pt x="113" y="5"/>
                </a:lnTo>
                <a:lnTo>
                  <a:pt x="105" y="10"/>
                </a:lnTo>
                <a:lnTo>
                  <a:pt x="96" y="24"/>
                </a:lnTo>
                <a:lnTo>
                  <a:pt x="96" y="36"/>
                </a:lnTo>
                <a:lnTo>
                  <a:pt x="98" y="41"/>
                </a:lnTo>
                <a:lnTo>
                  <a:pt x="101" y="41"/>
                </a:lnTo>
                <a:lnTo>
                  <a:pt x="103" y="46"/>
                </a:lnTo>
                <a:lnTo>
                  <a:pt x="101" y="48"/>
                </a:lnTo>
                <a:lnTo>
                  <a:pt x="93" y="51"/>
                </a:lnTo>
                <a:lnTo>
                  <a:pt x="89" y="56"/>
                </a:lnTo>
                <a:lnTo>
                  <a:pt x="81" y="63"/>
                </a:lnTo>
                <a:lnTo>
                  <a:pt x="77" y="72"/>
                </a:lnTo>
                <a:lnTo>
                  <a:pt x="79" y="84"/>
                </a:lnTo>
                <a:lnTo>
                  <a:pt x="79" y="97"/>
                </a:lnTo>
                <a:lnTo>
                  <a:pt x="74" y="109"/>
                </a:lnTo>
                <a:lnTo>
                  <a:pt x="65" y="113"/>
                </a:lnTo>
                <a:lnTo>
                  <a:pt x="62" y="104"/>
                </a:lnTo>
                <a:lnTo>
                  <a:pt x="67" y="94"/>
                </a:lnTo>
                <a:lnTo>
                  <a:pt x="62" y="82"/>
                </a:lnTo>
                <a:lnTo>
                  <a:pt x="65" y="77"/>
                </a:lnTo>
                <a:lnTo>
                  <a:pt x="62" y="75"/>
                </a:lnTo>
                <a:lnTo>
                  <a:pt x="60" y="77"/>
                </a:lnTo>
                <a:lnTo>
                  <a:pt x="55" y="84"/>
                </a:lnTo>
                <a:lnTo>
                  <a:pt x="53" y="94"/>
                </a:lnTo>
                <a:lnTo>
                  <a:pt x="48" y="101"/>
                </a:lnTo>
                <a:lnTo>
                  <a:pt x="43" y="101"/>
                </a:lnTo>
                <a:lnTo>
                  <a:pt x="33" y="109"/>
                </a:lnTo>
                <a:lnTo>
                  <a:pt x="28" y="118"/>
                </a:lnTo>
                <a:lnTo>
                  <a:pt x="28" y="123"/>
                </a:lnTo>
                <a:lnTo>
                  <a:pt x="19" y="133"/>
                </a:lnTo>
                <a:lnTo>
                  <a:pt x="19" y="149"/>
                </a:lnTo>
                <a:lnTo>
                  <a:pt x="19" y="169"/>
                </a:lnTo>
                <a:lnTo>
                  <a:pt x="16" y="181"/>
                </a:lnTo>
                <a:lnTo>
                  <a:pt x="9" y="195"/>
                </a:lnTo>
                <a:lnTo>
                  <a:pt x="4" y="202"/>
                </a:lnTo>
                <a:lnTo>
                  <a:pt x="4" y="212"/>
                </a:lnTo>
                <a:lnTo>
                  <a:pt x="12" y="236"/>
                </a:lnTo>
                <a:lnTo>
                  <a:pt x="9" y="250"/>
                </a:lnTo>
                <a:lnTo>
                  <a:pt x="14" y="262"/>
                </a:lnTo>
                <a:lnTo>
                  <a:pt x="28" y="294"/>
                </a:lnTo>
                <a:lnTo>
                  <a:pt x="41" y="320"/>
                </a:lnTo>
                <a:lnTo>
                  <a:pt x="41" y="342"/>
                </a:lnTo>
                <a:lnTo>
                  <a:pt x="45" y="346"/>
                </a:lnTo>
                <a:lnTo>
                  <a:pt x="45" y="351"/>
                </a:lnTo>
                <a:lnTo>
                  <a:pt x="43" y="354"/>
                </a:lnTo>
                <a:lnTo>
                  <a:pt x="41" y="375"/>
                </a:lnTo>
                <a:lnTo>
                  <a:pt x="36" y="392"/>
                </a:lnTo>
                <a:lnTo>
                  <a:pt x="28" y="409"/>
                </a:lnTo>
                <a:lnTo>
                  <a:pt x="16" y="440"/>
                </a:lnTo>
                <a:lnTo>
                  <a:pt x="4" y="450"/>
                </a:lnTo>
                <a:lnTo>
                  <a:pt x="0" y="45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3" name="Freeform 34"/>
          <p:cNvSpPr>
            <a:spLocks/>
          </p:cNvSpPr>
          <p:nvPr/>
        </p:nvSpPr>
        <p:spPr bwMode="auto">
          <a:xfrm>
            <a:off x="9031567" y="2144915"/>
            <a:ext cx="819150" cy="403225"/>
          </a:xfrm>
          <a:custGeom>
            <a:avLst/>
            <a:gdLst>
              <a:gd name="T0" fmla="*/ 21 w 516"/>
              <a:gd name="T1" fmla="*/ 98 h 254"/>
              <a:gd name="T2" fmla="*/ 48 w 516"/>
              <a:gd name="T3" fmla="*/ 79 h 254"/>
              <a:gd name="T4" fmla="*/ 120 w 516"/>
              <a:gd name="T5" fmla="*/ 33 h 254"/>
              <a:gd name="T6" fmla="*/ 161 w 516"/>
              <a:gd name="T7" fmla="*/ 2 h 254"/>
              <a:gd name="T8" fmla="*/ 190 w 516"/>
              <a:gd name="T9" fmla="*/ 2 h 254"/>
              <a:gd name="T10" fmla="*/ 170 w 516"/>
              <a:gd name="T11" fmla="*/ 21 h 254"/>
              <a:gd name="T12" fmla="*/ 142 w 516"/>
              <a:gd name="T13" fmla="*/ 52 h 254"/>
              <a:gd name="T14" fmla="*/ 144 w 516"/>
              <a:gd name="T15" fmla="*/ 72 h 254"/>
              <a:gd name="T16" fmla="*/ 173 w 516"/>
              <a:gd name="T17" fmla="*/ 60 h 254"/>
              <a:gd name="T18" fmla="*/ 245 w 516"/>
              <a:gd name="T19" fmla="*/ 96 h 254"/>
              <a:gd name="T20" fmla="*/ 266 w 516"/>
              <a:gd name="T21" fmla="*/ 101 h 254"/>
              <a:gd name="T22" fmla="*/ 276 w 516"/>
              <a:gd name="T23" fmla="*/ 105 h 254"/>
              <a:gd name="T24" fmla="*/ 302 w 516"/>
              <a:gd name="T25" fmla="*/ 81 h 254"/>
              <a:gd name="T26" fmla="*/ 396 w 516"/>
              <a:gd name="T27" fmla="*/ 50 h 254"/>
              <a:gd name="T28" fmla="*/ 394 w 516"/>
              <a:gd name="T29" fmla="*/ 69 h 254"/>
              <a:gd name="T30" fmla="*/ 411 w 516"/>
              <a:gd name="T31" fmla="*/ 86 h 254"/>
              <a:gd name="T32" fmla="*/ 449 w 516"/>
              <a:gd name="T33" fmla="*/ 81 h 254"/>
              <a:gd name="T34" fmla="*/ 473 w 516"/>
              <a:gd name="T35" fmla="*/ 110 h 254"/>
              <a:gd name="T36" fmla="*/ 511 w 516"/>
              <a:gd name="T37" fmla="*/ 115 h 254"/>
              <a:gd name="T38" fmla="*/ 509 w 516"/>
              <a:gd name="T39" fmla="*/ 132 h 254"/>
              <a:gd name="T40" fmla="*/ 492 w 516"/>
              <a:gd name="T41" fmla="*/ 127 h 254"/>
              <a:gd name="T42" fmla="*/ 471 w 516"/>
              <a:gd name="T43" fmla="*/ 132 h 254"/>
              <a:gd name="T44" fmla="*/ 435 w 516"/>
              <a:gd name="T45" fmla="*/ 132 h 254"/>
              <a:gd name="T46" fmla="*/ 430 w 516"/>
              <a:gd name="T47" fmla="*/ 149 h 254"/>
              <a:gd name="T48" fmla="*/ 387 w 516"/>
              <a:gd name="T49" fmla="*/ 132 h 254"/>
              <a:gd name="T50" fmla="*/ 353 w 516"/>
              <a:gd name="T51" fmla="*/ 144 h 254"/>
              <a:gd name="T52" fmla="*/ 338 w 516"/>
              <a:gd name="T53" fmla="*/ 153 h 254"/>
              <a:gd name="T54" fmla="*/ 312 w 516"/>
              <a:gd name="T55" fmla="*/ 153 h 254"/>
              <a:gd name="T56" fmla="*/ 286 w 516"/>
              <a:gd name="T57" fmla="*/ 189 h 254"/>
              <a:gd name="T58" fmla="*/ 288 w 516"/>
              <a:gd name="T59" fmla="*/ 170 h 254"/>
              <a:gd name="T60" fmla="*/ 271 w 516"/>
              <a:gd name="T61" fmla="*/ 177 h 254"/>
              <a:gd name="T62" fmla="*/ 259 w 516"/>
              <a:gd name="T63" fmla="*/ 165 h 254"/>
              <a:gd name="T64" fmla="*/ 245 w 516"/>
              <a:gd name="T65" fmla="*/ 197 h 254"/>
              <a:gd name="T66" fmla="*/ 226 w 516"/>
              <a:gd name="T67" fmla="*/ 237 h 254"/>
              <a:gd name="T68" fmla="*/ 211 w 516"/>
              <a:gd name="T69" fmla="*/ 247 h 254"/>
              <a:gd name="T70" fmla="*/ 214 w 516"/>
              <a:gd name="T71" fmla="*/ 225 h 254"/>
              <a:gd name="T72" fmla="*/ 197 w 516"/>
              <a:gd name="T73" fmla="*/ 225 h 254"/>
              <a:gd name="T74" fmla="*/ 185 w 516"/>
              <a:gd name="T75" fmla="*/ 180 h 254"/>
              <a:gd name="T76" fmla="*/ 175 w 516"/>
              <a:gd name="T77" fmla="*/ 173 h 254"/>
              <a:gd name="T78" fmla="*/ 144 w 516"/>
              <a:gd name="T79" fmla="*/ 161 h 254"/>
              <a:gd name="T80" fmla="*/ 132 w 516"/>
              <a:gd name="T81" fmla="*/ 161 h 254"/>
              <a:gd name="T82" fmla="*/ 98 w 516"/>
              <a:gd name="T83" fmla="*/ 149 h 254"/>
              <a:gd name="T84" fmla="*/ 19 w 516"/>
              <a:gd name="T85" fmla="*/ 120 h 254"/>
              <a:gd name="T86" fmla="*/ 0 w 516"/>
              <a:gd name="T87" fmla="*/ 10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6" h="254">
                <a:moveTo>
                  <a:pt x="0" y="108"/>
                </a:moveTo>
                <a:lnTo>
                  <a:pt x="14" y="103"/>
                </a:lnTo>
                <a:lnTo>
                  <a:pt x="21" y="98"/>
                </a:lnTo>
                <a:lnTo>
                  <a:pt x="38" y="88"/>
                </a:lnTo>
                <a:lnTo>
                  <a:pt x="41" y="81"/>
                </a:lnTo>
                <a:lnTo>
                  <a:pt x="48" y="79"/>
                </a:lnTo>
                <a:lnTo>
                  <a:pt x="77" y="69"/>
                </a:lnTo>
                <a:lnTo>
                  <a:pt x="96" y="57"/>
                </a:lnTo>
                <a:lnTo>
                  <a:pt x="120" y="33"/>
                </a:lnTo>
                <a:lnTo>
                  <a:pt x="127" y="31"/>
                </a:lnTo>
                <a:lnTo>
                  <a:pt x="146" y="9"/>
                </a:lnTo>
                <a:lnTo>
                  <a:pt x="161" y="2"/>
                </a:lnTo>
                <a:lnTo>
                  <a:pt x="182" y="0"/>
                </a:lnTo>
                <a:lnTo>
                  <a:pt x="190" y="0"/>
                </a:lnTo>
                <a:lnTo>
                  <a:pt x="190" y="2"/>
                </a:lnTo>
                <a:lnTo>
                  <a:pt x="178" y="12"/>
                </a:lnTo>
                <a:lnTo>
                  <a:pt x="175" y="12"/>
                </a:lnTo>
                <a:lnTo>
                  <a:pt x="170" y="21"/>
                </a:lnTo>
                <a:lnTo>
                  <a:pt x="154" y="40"/>
                </a:lnTo>
                <a:lnTo>
                  <a:pt x="146" y="48"/>
                </a:lnTo>
                <a:lnTo>
                  <a:pt x="142" y="52"/>
                </a:lnTo>
                <a:lnTo>
                  <a:pt x="139" y="67"/>
                </a:lnTo>
                <a:lnTo>
                  <a:pt x="142" y="79"/>
                </a:lnTo>
                <a:lnTo>
                  <a:pt x="144" y="72"/>
                </a:lnTo>
                <a:lnTo>
                  <a:pt x="158" y="62"/>
                </a:lnTo>
                <a:lnTo>
                  <a:pt x="166" y="62"/>
                </a:lnTo>
                <a:lnTo>
                  <a:pt x="173" y="60"/>
                </a:lnTo>
                <a:lnTo>
                  <a:pt x="202" y="72"/>
                </a:lnTo>
                <a:lnTo>
                  <a:pt x="226" y="98"/>
                </a:lnTo>
                <a:lnTo>
                  <a:pt x="245" y="96"/>
                </a:lnTo>
                <a:lnTo>
                  <a:pt x="252" y="98"/>
                </a:lnTo>
                <a:lnTo>
                  <a:pt x="259" y="101"/>
                </a:lnTo>
                <a:lnTo>
                  <a:pt x="266" y="101"/>
                </a:lnTo>
                <a:lnTo>
                  <a:pt x="269" y="101"/>
                </a:lnTo>
                <a:lnTo>
                  <a:pt x="276" y="103"/>
                </a:lnTo>
                <a:lnTo>
                  <a:pt x="276" y="105"/>
                </a:lnTo>
                <a:lnTo>
                  <a:pt x="278" y="103"/>
                </a:lnTo>
                <a:lnTo>
                  <a:pt x="283" y="96"/>
                </a:lnTo>
                <a:lnTo>
                  <a:pt x="302" y="81"/>
                </a:lnTo>
                <a:lnTo>
                  <a:pt x="370" y="64"/>
                </a:lnTo>
                <a:lnTo>
                  <a:pt x="389" y="52"/>
                </a:lnTo>
                <a:lnTo>
                  <a:pt x="396" y="50"/>
                </a:lnTo>
                <a:lnTo>
                  <a:pt x="401" y="55"/>
                </a:lnTo>
                <a:lnTo>
                  <a:pt x="394" y="64"/>
                </a:lnTo>
                <a:lnTo>
                  <a:pt x="394" y="69"/>
                </a:lnTo>
                <a:lnTo>
                  <a:pt x="403" y="86"/>
                </a:lnTo>
                <a:lnTo>
                  <a:pt x="408" y="88"/>
                </a:lnTo>
                <a:lnTo>
                  <a:pt x="411" y="86"/>
                </a:lnTo>
                <a:lnTo>
                  <a:pt x="423" y="86"/>
                </a:lnTo>
                <a:lnTo>
                  <a:pt x="427" y="84"/>
                </a:lnTo>
                <a:lnTo>
                  <a:pt x="449" y="81"/>
                </a:lnTo>
                <a:lnTo>
                  <a:pt x="459" y="86"/>
                </a:lnTo>
                <a:lnTo>
                  <a:pt x="468" y="103"/>
                </a:lnTo>
                <a:lnTo>
                  <a:pt x="473" y="110"/>
                </a:lnTo>
                <a:lnTo>
                  <a:pt x="490" y="117"/>
                </a:lnTo>
                <a:lnTo>
                  <a:pt x="507" y="115"/>
                </a:lnTo>
                <a:lnTo>
                  <a:pt x="511" y="115"/>
                </a:lnTo>
                <a:lnTo>
                  <a:pt x="516" y="117"/>
                </a:lnTo>
                <a:lnTo>
                  <a:pt x="516" y="125"/>
                </a:lnTo>
                <a:lnTo>
                  <a:pt x="509" y="132"/>
                </a:lnTo>
                <a:lnTo>
                  <a:pt x="499" y="132"/>
                </a:lnTo>
                <a:lnTo>
                  <a:pt x="492" y="132"/>
                </a:lnTo>
                <a:lnTo>
                  <a:pt x="492" y="127"/>
                </a:lnTo>
                <a:lnTo>
                  <a:pt x="487" y="127"/>
                </a:lnTo>
                <a:lnTo>
                  <a:pt x="478" y="134"/>
                </a:lnTo>
                <a:lnTo>
                  <a:pt x="471" y="132"/>
                </a:lnTo>
                <a:lnTo>
                  <a:pt x="463" y="129"/>
                </a:lnTo>
                <a:lnTo>
                  <a:pt x="444" y="134"/>
                </a:lnTo>
                <a:lnTo>
                  <a:pt x="435" y="132"/>
                </a:lnTo>
                <a:lnTo>
                  <a:pt x="430" y="134"/>
                </a:lnTo>
                <a:lnTo>
                  <a:pt x="432" y="144"/>
                </a:lnTo>
                <a:lnTo>
                  <a:pt x="430" y="149"/>
                </a:lnTo>
                <a:lnTo>
                  <a:pt x="425" y="146"/>
                </a:lnTo>
                <a:lnTo>
                  <a:pt x="413" y="137"/>
                </a:lnTo>
                <a:lnTo>
                  <a:pt x="387" y="132"/>
                </a:lnTo>
                <a:lnTo>
                  <a:pt x="379" y="134"/>
                </a:lnTo>
                <a:lnTo>
                  <a:pt x="372" y="132"/>
                </a:lnTo>
                <a:lnTo>
                  <a:pt x="353" y="144"/>
                </a:lnTo>
                <a:lnTo>
                  <a:pt x="351" y="144"/>
                </a:lnTo>
                <a:lnTo>
                  <a:pt x="341" y="149"/>
                </a:lnTo>
                <a:lnTo>
                  <a:pt x="338" y="153"/>
                </a:lnTo>
                <a:lnTo>
                  <a:pt x="336" y="153"/>
                </a:lnTo>
                <a:lnTo>
                  <a:pt x="324" y="151"/>
                </a:lnTo>
                <a:lnTo>
                  <a:pt x="312" y="153"/>
                </a:lnTo>
                <a:lnTo>
                  <a:pt x="312" y="163"/>
                </a:lnTo>
                <a:lnTo>
                  <a:pt x="310" y="168"/>
                </a:lnTo>
                <a:lnTo>
                  <a:pt x="286" y="189"/>
                </a:lnTo>
                <a:lnTo>
                  <a:pt x="281" y="187"/>
                </a:lnTo>
                <a:lnTo>
                  <a:pt x="278" y="185"/>
                </a:lnTo>
                <a:lnTo>
                  <a:pt x="288" y="170"/>
                </a:lnTo>
                <a:lnTo>
                  <a:pt x="288" y="165"/>
                </a:lnTo>
                <a:lnTo>
                  <a:pt x="276" y="165"/>
                </a:lnTo>
                <a:lnTo>
                  <a:pt x="271" y="177"/>
                </a:lnTo>
                <a:lnTo>
                  <a:pt x="266" y="182"/>
                </a:lnTo>
                <a:lnTo>
                  <a:pt x="262" y="177"/>
                </a:lnTo>
                <a:lnTo>
                  <a:pt x="259" y="165"/>
                </a:lnTo>
                <a:lnTo>
                  <a:pt x="257" y="168"/>
                </a:lnTo>
                <a:lnTo>
                  <a:pt x="254" y="182"/>
                </a:lnTo>
                <a:lnTo>
                  <a:pt x="245" y="197"/>
                </a:lnTo>
                <a:lnTo>
                  <a:pt x="240" y="211"/>
                </a:lnTo>
                <a:lnTo>
                  <a:pt x="235" y="221"/>
                </a:lnTo>
                <a:lnTo>
                  <a:pt x="226" y="237"/>
                </a:lnTo>
                <a:lnTo>
                  <a:pt x="226" y="250"/>
                </a:lnTo>
                <a:lnTo>
                  <a:pt x="223" y="254"/>
                </a:lnTo>
                <a:lnTo>
                  <a:pt x="211" y="247"/>
                </a:lnTo>
                <a:lnTo>
                  <a:pt x="209" y="235"/>
                </a:lnTo>
                <a:lnTo>
                  <a:pt x="211" y="230"/>
                </a:lnTo>
                <a:lnTo>
                  <a:pt x="214" y="225"/>
                </a:lnTo>
                <a:lnTo>
                  <a:pt x="211" y="223"/>
                </a:lnTo>
                <a:lnTo>
                  <a:pt x="199" y="225"/>
                </a:lnTo>
                <a:lnTo>
                  <a:pt x="197" y="225"/>
                </a:lnTo>
                <a:lnTo>
                  <a:pt x="199" y="197"/>
                </a:lnTo>
                <a:lnTo>
                  <a:pt x="199" y="187"/>
                </a:lnTo>
                <a:lnTo>
                  <a:pt x="185" y="180"/>
                </a:lnTo>
                <a:lnTo>
                  <a:pt x="173" y="177"/>
                </a:lnTo>
                <a:lnTo>
                  <a:pt x="175" y="175"/>
                </a:lnTo>
                <a:lnTo>
                  <a:pt x="175" y="173"/>
                </a:lnTo>
                <a:lnTo>
                  <a:pt x="173" y="168"/>
                </a:lnTo>
                <a:lnTo>
                  <a:pt x="161" y="165"/>
                </a:lnTo>
                <a:lnTo>
                  <a:pt x="144" y="161"/>
                </a:lnTo>
                <a:lnTo>
                  <a:pt x="139" y="161"/>
                </a:lnTo>
                <a:lnTo>
                  <a:pt x="134" y="165"/>
                </a:lnTo>
                <a:lnTo>
                  <a:pt x="132" y="161"/>
                </a:lnTo>
                <a:lnTo>
                  <a:pt x="122" y="161"/>
                </a:lnTo>
                <a:lnTo>
                  <a:pt x="106" y="149"/>
                </a:lnTo>
                <a:lnTo>
                  <a:pt x="98" y="149"/>
                </a:lnTo>
                <a:lnTo>
                  <a:pt x="26" y="134"/>
                </a:lnTo>
                <a:lnTo>
                  <a:pt x="21" y="132"/>
                </a:lnTo>
                <a:lnTo>
                  <a:pt x="19" y="120"/>
                </a:lnTo>
                <a:lnTo>
                  <a:pt x="14" y="115"/>
                </a:lnTo>
                <a:lnTo>
                  <a:pt x="2" y="113"/>
                </a:lnTo>
                <a:lnTo>
                  <a:pt x="0" y="10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4" name="Freeform 35"/>
          <p:cNvSpPr>
            <a:spLocks/>
          </p:cNvSpPr>
          <p:nvPr/>
        </p:nvSpPr>
        <p:spPr bwMode="auto">
          <a:xfrm>
            <a:off x="11181042" y="2556078"/>
            <a:ext cx="446088" cy="233362"/>
          </a:xfrm>
          <a:custGeom>
            <a:avLst/>
            <a:gdLst>
              <a:gd name="T0" fmla="*/ 58 w 281"/>
              <a:gd name="T1" fmla="*/ 51 h 147"/>
              <a:gd name="T2" fmla="*/ 149 w 281"/>
              <a:gd name="T3" fmla="*/ 24 h 147"/>
              <a:gd name="T4" fmla="*/ 156 w 281"/>
              <a:gd name="T5" fmla="*/ 24 h 147"/>
              <a:gd name="T6" fmla="*/ 156 w 281"/>
              <a:gd name="T7" fmla="*/ 17 h 147"/>
              <a:gd name="T8" fmla="*/ 168 w 281"/>
              <a:gd name="T9" fmla="*/ 3 h 147"/>
              <a:gd name="T10" fmla="*/ 180 w 281"/>
              <a:gd name="T11" fmla="*/ 3 h 147"/>
              <a:gd name="T12" fmla="*/ 195 w 281"/>
              <a:gd name="T13" fmla="*/ 24 h 147"/>
              <a:gd name="T14" fmla="*/ 195 w 281"/>
              <a:gd name="T15" fmla="*/ 34 h 147"/>
              <a:gd name="T16" fmla="*/ 185 w 281"/>
              <a:gd name="T17" fmla="*/ 46 h 147"/>
              <a:gd name="T18" fmla="*/ 183 w 281"/>
              <a:gd name="T19" fmla="*/ 63 h 147"/>
              <a:gd name="T20" fmla="*/ 204 w 281"/>
              <a:gd name="T21" fmla="*/ 70 h 147"/>
              <a:gd name="T22" fmla="*/ 226 w 281"/>
              <a:gd name="T23" fmla="*/ 96 h 147"/>
              <a:gd name="T24" fmla="*/ 252 w 281"/>
              <a:gd name="T25" fmla="*/ 106 h 147"/>
              <a:gd name="T26" fmla="*/ 272 w 281"/>
              <a:gd name="T27" fmla="*/ 89 h 147"/>
              <a:gd name="T28" fmla="*/ 260 w 281"/>
              <a:gd name="T29" fmla="*/ 79 h 147"/>
              <a:gd name="T30" fmla="*/ 250 w 281"/>
              <a:gd name="T31" fmla="*/ 70 h 147"/>
              <a:gd name="T32" fmla="*/ 262 w 281"/>
              <a:gd name="T33" fmla="*/ 70 h 147"/>
              <a:gd name="T34" fmla="*/ 281 w 281"/>
              <a:gd name="T35" fmla="*/ 106 h 147"/>
              <a:gd name="T36" fmla="*/ 274 w 281"/>
              <a:gd name="T37" fmla="*/ 111 h 147"/>
              <a:gd name="T38" fmla="*/ 250 w 281"/>
              <a:gd name="T39" fmla="*/ 123 h 147"/>
              <a:gd name="T40" fmla="*/ 233 w 281"/>
              <a:gd name="T41" fmla="*/ 135 h 147"/>
              <a:gd name="T42" fmla="*/ 231 w 281"/>
              <a:gd name="T43" fmla="*/ 128 h 147"/>
              <a:gd name="T44" fmla="*/ 226 w 281"/>
              <a:gd name="T45" fmla="*/ 118 h 147"/>
              <a:gd name="T46" fmla="*/ 209 w 281"/>
              <a:gd name="T47" fmla="*/ 144 h 147"/>
              <a:gd name="T48" fmla="*/ 200 w 281"/>
              <a:gd name="T49" fmla="*/ 140 h 147"/>
              <a:gd name="T50" fmla="*/ 195 w 281"/>
              <a:gd name="T51" fmla="*/ 137 h 147"/>
              <a:gd name="T52" fmla="*/ 188 w 281"/>
              <a:gd name="T53" fmla="*/ 130 h 147"/>
              <a:gd name="T54" fmla="*/ 173 w 281"/>
              <a:gd name="T55" fmla="*/ 123 h 147"/>
              <a:gd name="T56" fmla="*/ 164 w 281"/>
              <a:gd name="T57" fmla="*/ 111 h 147"/>
              <a:gd name="T58" fmla="*/ 130 w 281"/>
              <a:gd name="T59" fmla="*/ 108 h 147"/>
              <a:gd name="T60" fmla="*/ 58 w 281"/>
              <a:gd name="T61" fmla="*/ 130 h 147"/>
              <a:gd name="T62" fmla="*/ 51 w 281"/>
              <a:gd name="T63" fmla="*/ 128 h 147"/>
              <a:gd name="T64" fmla="*/ 0 w 281"/>
              <a:gd name="T65" fmla="*/ 13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1" h="147">
                <a:moveTo>
                  <a:pt x="0" y="63"/>
                </a:moveTo>
                <a:lnTo>
                  <a:pt x="58" y="51"/>
                </a:lnTo>
                <a:lnTo>
                  <a:pt x="149" y="29"/>
                </a:lnTo>
                <a:lnTo>
                  <a:pt x="149" y="24"/>
                </a:lnTo>
                <a:lnTo>
                  <a:pt x="152" y="22"/>
                </a:lnTo>
                <a:lnTo>
                  <a:pt x="156" y="24"/>
                </a:lnTo>
                <a:lnTo>
                  <a:pt x="156" y="22"/>
                </a:lnTo>
                <a:lnTo>
                  <a:pt x="156" y="17"/>
                </a:lnTo>
                <a:lnTo>
                  <a:pt x="164" y="15"/>
                </a:lnTo>
                <a:lnTo>
                  <a:pt x="168" y="3"/>
                </a:lnTo>
                <a:lnTo>
                  <a:pt x="176" y="0"/>
                </a:lnTo>
                <a:lnTo>
                  <a:pt x="180" y="3"/>
                </a:lnTo>
                <a:lnTo>
                  <a:pt x="183" y="17"/>
                </a:lnTo>
                <a:lnTo>
                  <a:pt x="195" y="24"/>
                </a:lnTo>
                <a:lnTo>
                  <a:pt x="197" y="29"/>
                </a:lnTo>
                <a:lnTo>
                  <a:pt x="195" y="34"/>
                </a:lnTo>
                <a:lnTo>
                  <a:pt x="190" y="36"/>
                </a:lnTo>
                <a:lnTo>
                  <a:pt x="185" y="46"/>
                </a:lnTo>
                <a:lnTo>
                  <a:pt x="183" y="58"/>
                </a:lnTo>
                <a:lnTo>
                  <a:pt x="183" y="63"/>
                </a:lnTo>
                <a:lnTo>
                  <a:pt x="195" y="63"/>
                </a:lnTo>
                <a:lnTo>
                  <a:pt x="204" y="70"/>
                </a:lnTo>
                <a:lnTo>
                  <a:pt x="221" y="87"/>
                </a:lnTo>
                <a:lnTo>
                  <a:pt x="226" y="96"/>
                </a:lnTo>
                <a:lnTo>
                  <a:pt x="233" y="106"/>
                </a:lnTo>
                <a:lnTo>
                  <a:pt x="252" y="106"/>
                </a:lnTo>
                <a:lnTo>
                  <a:pt x="264" y="101"/>
                </a:lnTo>
                <a:lnTo>
                  <a:pt x="272" y="89"/>
                </a:lnTo>
                <a:lnTo>
                  <a:pt x="267" y="87"/>
                </a:lnTo>
                <a:lnTo>
                  <a:pt x="260" y="79"/>
                </a:lnTo>
                <a:lnTo>
                  <a:pt x="250" y="75"/>
                </a:lnTo>
                <a:lnTo>
                  <a:pt x="250" y="70"/>
                </a:lnTo>
                <a:lnTo>
                  <a:pt x="257" y="70"/>
                </a:lnTo>
                <a:lnTo>
                  <a:pt x="262" y="70"/>
                </a:lnTo>
                <a:lnTo>
                  <a:pt x="274" y="89"/>
                </a:lnTo>
                <a:lnTo>
                  <a:pt x="281" y="106"/>
                </a:lnTo>
                <a:lnTo>
                  <a:pt x="281" y="115"/>
                </a:lnTo>
                <a:lnTo>
                  <a:pt x="274" y="111"/>
                </a:lnTo>
                <a:lnTo>
                  <a:pt x="264" y="118"/>
                </a:lnTo>
                <a:lnTo>
                  <a:pt x="250" y="123"/>
                </a:lnTo>
                <a:lnTo>
                  <a:pt x="238" y="135"/>
                </a:lnTo>
                <a:lnTo>
                  <a:pt x="233" y="135"/>
                </a:lnTo>
                <a:lnTo>
                  <a:pt x="231" y="132"/>
                </a:lnTo>
                <a:lnTo>
                  <a:pt x="231" y="128"/>
                </a:lnTo>
                <a:lnTo>
                  <a:pt x="228" y="118"/>
                </a:lnTo>
                <a:lnTo>
                  <a:pt x="226" y="118"/>
                </a:lnTo>
                <a:lnTo>
                  <a:pt x="219" y="132"/>
                </a:lnTo>
                <a:lnTo>
                  <a:pt x="209" y="144"/>
                </a:lnTo>
                <a:lnTo>
                  <a:pt x="204" y="147"/>
                </a:lnTo>
                <a:lnTo>
                  <a:pt x="200" y="140"/>
                </a:lnTo>
                <a:lnTo>
                  <a:pt x="200" y="137"/>
                </a:lnTo>
                <a:lnTo>
                  <a:pt x="195" y="137"/>
                </a:lnTo>
                <a:lnTo>
                  <a:pt x="195" y="135"/>
                </a:lnTo>
                <a:lnTo>
                  <a:pt x="188" y="130"/>
                </a:lnTo>
                <a:lnTo>
                  <a:pt x="188" y="128"/>
                </a:lnTo>
                <a:lnTo>
                  <a:pt x="173" y="123"/>
                </a:lnTo>
                <a:lnTo>
                  <a:pt x="168" y="113"/>
                </a:lnTo>
                <a:lnTo>
                  <a:pt x="164" y="111"/>
                </a:lnTo>
                <a:lnTo>
                  <a:pt x="161" y="101"/>
                </a:lnTo>
                <a:lnTo>
                  <a:pt x="130" y="108"/>
                </a:lnTo>
                <a:lnTo>
                  <a:pt x="58" y="128"/>
                </a:lnTo>
                <a:lnTo>
                  <a:pt x="58" y="130"/>
                </a:lnTo>
                <a:lnTo>
                  <a:pt x="56" y="132"/>
                </a:lnTo>
                <a:lnTo>
                  <a:pt x="51" y="128"/>
                </a:lnTo>
                <a:lnTo>
                  <a:pt x="3" y="140"/>
                </a:lnTo>
                <a:lnTo>
                  <a:pt x="0" y="137"/>
                </a:lnTo>
                <a:lnTo>
                  <a:pt x="0" y="63"/>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5" name="Freeform 36"/>
          <p:cNvSpPr>
            <a:spLocks/>
          </p:cNvSpPr>
          <p:nvPr/>
        </p:nvSpPr>
        <p:spPr bwMode="auto">
          <a:xfrm>
            <a:off x="11387417" y="2716415"/>
            <a:ext cx="117475" cy="130175"/>
          </a:xfrm>
          <a:custGeom>
            <a:avLst/>
            <a:gdLst>
              <a:gd name="T0" fmla="*/ 0 w 74"/>
              <a:gd name="T1" fmla="*/ 7 h 82"/>
              <a:gd name="T2" fmla="*/ 19 w 74"/>
              <a:gd name="T3" fmla="*/ 67 h 82"/>
              <a:gd name="T4" fmla="*/ 17 w 74"/>
              <a:gd name="T5" fmla="*/ 72 h 82"/>
              <a:gd name="T6" fmla="*/ 14 w 74"/>
              <a:gd name="T7" fmla="*/ 77 h 82"/>
              <a:gd name="T8" fmla="*/ 14 w 74"/>
              <a:gd name="T9" fmla="*/ 79 h 82"/>
              <a:gd name="T10" fmla="*/ 17 w 74"/>
              <a:gd name="T11" fmla="*/ 82 h 82"/>
              <a:gd name="T12" fmla="*/ 19 w 74"/>
              <a:gd name="T13" fmla="*/ 82 h 82"/>
              <a:gd name="T14" fmla="*/ 36 w 74"/>
              <a:gd name="T15" fmla="*/ 72 h 82"/>
              <a:gd name="T16" fmla="*/ 46 w 74"/>
              <a:gd name="T17" fmla="*/ 63 h 82"/>
              <a:gd name="T18" fmla="*/ 46 w 74"/>
              <a:gd name="T19" fmla="*/ 58 h 82"/>
              <a:gd name="T20" fmla="*/ 41 w 74"/>
              <a:gd name="T21" fmla="*/ 53 h 82"/>
              <a:gd name="T22" fmla="*/ 41 w 74"/>
              <a:gd name="T23" fmla="*/ 43 h 82"/>
              <a:gd name="T24" fmla="*/ 48 w 74"/>
              <a:gd name="T25" fmla="*/ 36 h 82"/>
              <a:gd name="T26" fmla="*/ 50 w 74"/>
              <a:gd name="T27" fmla="*/ 39 h 82"/>
              <a:gd name="T28" fmla="*/ 50 w 74"/>
              <a:gd name="T29" fmla="*/ 43 h 82"/>
              <a:gd name="T30" fmla="*/ 50 w 74"/>
              <a:gd name="T31" fmla="*/ 58 h 82"/>
              <a:gd name="T32" fmla="*/ 53 w 74"/>
              <a:gd name="T33" fmla="*/ 60 h 82"/>
              <a:gd name="T34" fmla="*/ 58 w 74"/>
              <a:gd name="T35" fmla="*/ 60 h 82"/>
              <a:gd name="T36" fmla="*/ 58 w 74"/>
              <a:gd name="T37" fmla="*/ 53 h 82"/>
              <a:gd name="T38" fmla="*/ 62 w 74"/>
              <a:gd name="T39" fmla="*/ 53 h 82"/>
              <a:gd name="T40" fmla="*/ 67 w 74"/>
              <a:gd name="T41" fmla="*/ 48 h 82"/>
              <a:gd name="T42" fmla="*/ 74 w 74"/>
              <a:gd name="T43" fmla="*/ 46 h 82"/>
              <a:gd name="T44" fmla="*/ 74 w 74"/>
              <a:gd name="T45" fmla="*/ 46 h 82"/>
              <a:gd name="T46" fmla="*/ 70 w 74"/>
              <a:gd name="T47" fmla="*/ 39 h 82"/>
              <a:gd name="T48" fmla="*/ 70 w 74"/>
              <a:gd name="T49" fmla="*/ 36 h 82"/>
              <a:gd name="T50" fmla="*/ 65 w 74"/>
              <a:gd name="T51" fmla="*/ 36 h 82"/>
              <a:gd name="T52" fmla="*/ 65 w 74"/>
              <a:gd name="T53" fmla="*/ 34 h 82"/>
              <a:gd name="T54" fmla="*/ 58 w 74"/>
              <a:gd name="T55" fmla="*/ 29 h 82"/>
              <a:gd name="T56" fmla="*/ 58 w 74"/>
              <a:gd name="T57" fmla="*/ 27 h 82"/>
              <a:gd name="T58" fmla="*/ 43 w 74"/>
              <a:gd name="T59" fmla="*/ 22 h 82"/>
              <a:gd name="T60" fmla="*/ 38 w 74"/>
              <a:gd name="T61" fmla="*/ 12 h 82"/>
              <a:gd name="T62" fmla="*/ 34 w 74"/>
              <a:gd name="T63" fmla="*/ 10 h 82"/>
              <a:gd name="T64" fmla="*/ 31 w 74"/>
              <a:gd name="T65" fmla="*/ 0 h 82"/>
              <a:gd name="T66" fmla="*/ 0 w 74"/>
              <a:gd name="T67"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82">
                <a:moveTo>
                  <a:pt x="0" y="7"/>
                </a:moveTo>
                <a:lnTo>
                  <a:pt x="19" y="67"/>
                </a:lnTo>
                <a:lnTo>
                  <a:pt x="17" y="72"/>
                </a:lnTo>
                <a:lnTo>
                  <a:pt x="14" y="77"/>
                </a:lnTo>
                <a:lnTo>
                  <a:pt x="14" y="79"/>
                </a:lnTo>
                <a:lnTo>
                  <a:pt x="17" y="82"/>
                </a:lnTo>
                <a:lnTo>
                  <a:pt x="19" y="82"/>
                </a:lnTo>
                <a:lnTo>
                  <a:pt x="36" y="72"/>
                </a:lnTo>
                <a:lnTo>
                  <a:pt x="46" y="63"/>
                </a:lnTo>
                <a:lnTo>
                  <a:pt x="46" y="58"/>
                </a:lnTo>
                <a:lnTo>
                  <a:pt x="41" y="53"/>
                </a:lnTo>
                <a:lnTo>
                  <a:pt x="41" y="43"/>
                </a:lnTo>
                <a:lnTo>
                  <a:pt x="48" y="36"/>
                </a:lnTo>
                <a:lnTo>
                  <a:pt x="50" y="39"/>
                </a:lnTo>
                <a:lnTo>
                  <a:pt x="50" y="43"/>
                </a:lnTo>
                <a:lnTo>
                  <a:pt x="50" y="58"/>
                </a:lnTo>
                <a:lnTo>
                  <a:pt x="53" y="60"/>
                </a:lnTo>
                <a:lnTo>
                  <a:pt x="58" y="60"/>
                </a:lnTo>
                <a:lnTo>
                  <a:pt x="58" y="53"/>
                </a:lnTo>
                <a:lnTo>
                  <a:pt x="62" y="53"/>
                </a:lnTo>
                <a:lnTo>
                  <a:pt x="67" y="48"/>
                </a:lnTo>
                <a:lnTo>
                  <a:pt x="74" y="46"/>
                </a:lnTo>
                <a:lnTo>
                  <a:pt x="74" y="46"/>
                </a:lnTo>
                <a:lnTo>
                  <a:pt x="70" y="39"/>
                </a:lnTo>
                <a:lnTo>
                  <a:pt x="70" y="36"/>
                </a:lnTo>
                <a:lnTo>
                  <a:pt x="65" y="36"/>
                </a:lnTo>
                <a:lnTo>
                  <a:pt x="65" y="34"/>
                </a:lnTo>
                <a:lnTo>
                  <a:pt x="58" y="29"/>
                </a:lnTo>
                <a:lnTo>
                  <a:pt x="58" y="27"/>
                </a:lnTo>
                <a:lnTo>
                  <a:pt x="43" y="22"/>
                </a:lnTo>
                <a:lnTo>
                  <a:pt x="38" y="12"/>
                </a:lnTo>
                <a:lnTo>
                  <a:pt x="34" y="10"/>
                </a:lnTo>
                <a:lnTo>
                  <a:pt x="31" y="0"/>
                </a:lnTo>
                <a:lnTo>
                  <a:pt x="0" y="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6" name="Freeform 37"/>
          <p:cNvSpPr>
            <a:spLocks/>
          </p:cNvSpPr>
          <p:nvPr/>
        </p:nvSpPr>
        <p:spPr bwMode="auto">
          <a:xfrm>
            <a:off x="11185804" y="2727528"/>
            <a:ext cx="231775" cy="228600"/>
          </a:xfrm>
          <a:custGeom>
            <a:avLst/>
            <a:gdLst>
              <a:gd name="T0" fmla="*/ 0 w 146"/>
              <a:gd name="T1" fmla="*/ 32 h 144"/>
              <a:gd name="T2" fmla="*/ 48 w 146"/>
              <a:gd name="T3" fmla="*/ 20 h 144"/>
              <a:gd name="T4" fmla="*/ 53 w 146"/>
              <a:gd name="T5" fmla="*/ 24 h 144"/>
              <a:gd name="T6" fmla="*/ 55 w 146"/>
              <a:gd name="T7" fmla="*/ 22 h 144"/>
              <a:gd name="T8" fmla="*/ 55 w 146"/>
              <a:gd name="T9" fmla="*/ 20 h 144"/>
              <a:gd name="T10" fmla="*/ 127 w 146"/>
              <a:gd name="T11" fmla="*/ 0 h 144"/>
              <a:gd name="T12" fmla="*/ 146 w 146"/>
              <a:gd name="T13" fmla="*/ 60 h 144"/>
              <a:gd name="T14" fmla="*/ 144 w 146"/>
              <a:gd name="T15" fmla="*/ 65 h 144"/>
              <a:gd name="T16" fmla="*/ 141 w 146"/>
              <a:gd name="T17" fmla="*/ 70 h 144"/>
              <a:gd name="T18" fmla="*/ 141 w 146"/>
              <a:gd name="T19" fmla="*/ 72 h 144"/>
              <a:gd name="T20" fmla="*/ 144 w 146"/>
              <a:gd name="T21" fmla="*/ 75 h 144"/>
              <a:gd name="T22" fmla="*/ 134 w 146"/>
              <a:gd name="T23" fmla="*/ 77 h 144"/>
              <a:gd name="T24" fmla="*/ 110 w 146"/>
              <a:gd name="T25" fmla="*/ 87 h 144"/>
              <a:gd name="T26" fmla="*/ 103 w 146"/>
              <a:gd name="T27" fmla="*/ 84 h 144"/>
              <a:gd name="T28" fmla="*/ 101 w 146"/>
              <a:gd name="T29" fmla="*/ 87 h 144"/>
              <a:gd name="T30" fmla="*/ 101 w 146"/>
              <a:gd name="T31" fmla="*/ 92 h 144"/>
              <a:gd name="T32" fmla="*/ 98 w 146"/>
              <a:gd name="T33" fmla="*/ 94 h 144"/>
              <a:gd name="T34" fmla="*/ 84 w 146"/>
              <a:gd name="T35" fmla="*/ 96 h 144"/>
              <a:gd name="T36" fmla="*/ 62 w 146"/>
              <a:gd name="T37" fmla="*/ 104 h 144"/>
              <a:gd name="T38" fmla="*/ 60 w 146"/>
              <a:gd name="T39" fmla="*/ 101 h 144"/>
              <a:gd name="T40" fmla="*/ 50 w 146"/>
              <a:gd name="T41" fmla="*/ 116 h 144"/>
              <a:gd name="T42" fmla="*/ 21 w 146"/>
              <a:gd name="T43" fmla="*/ 137 h 144"/>
              <a:gd name="T44" fmla="*/ 9 w 146"/>
              <a:gd name="T45" fmla="*/ 144 h 144"/>
              <a:gd name="T46" fmla="*/ 2 w 146"/>
              <a:gd name="T47" fmla="*/ 135 h 144"/>
              <a:gd name="T48" fmla="*/ 14 w 146"/>
              <a:gd name="T49" fmla="*/ 123 h 144"/>
              <a:gd name="T50" fmla="*/ 17 w 146"/>
              <a:gd name="T51" fmla="*/ 116 h 144"/>
              <a:gd name="T52" fmla="*/ 9 w 146"/>
              <a:gd name="T53" fmla="*/ 108 h 144"/>
              <a:gd name="T54" fmla="*/ 0 w 146"/>
              <a:gd name="T55"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6" h="144">
                <a:moveTo>
                  <a:pt x="0" y="32"/>
                </a:moveTo>
                <a:lnTo>
                  <a:pt x="48" y="20"/>
                </a:lnTo>
                <a:lnTo>
                  <a:pt x="53" y="24"/>
                </a:lnTo>
                <a:lnTo>
                  <a:pt x="55" y="22"/>
                </a:lnTo>
                <a:lnTo>
                  <a:pt x="55" y="20"/>
                </a:lnTo>
                <a:lnTo>
                  <a:pt x="127" y="0"/>
                </a:lnTo>
                <a:lnTo>
                  <a:pt x="146" y="60"/>
                </a:lnTo>
                <a:lnTo>
                  <a:pt x="144" y="65"/>
                </a:lnTo>
                <a:lnTo>
                  <a:pt x="141" y="70"/>
                </a:lnTo>
                <a:lnTo>
                  <a:pt x="141" y="72"/>
                </a:lnTo>
                <a:lnTo>
                  <a:pt x="144" y="75"/>
                </a:lnTo>
                <a:lnTo>
                  <a:pt x="134" y="77"/>
                </a:lnTo>
                <a:lnTo>
                  <a:pt x="110" y="87"/>
                </a:lnTo>
                <a:lnTo>
                  <a:pt x="103" y="84"/>
                </a:lnTo>
                <a:lnTo>
                  <a:pt x="101" y="87"/>
                </a:lnTo>
                <a:lnTo>
                  <a:pt x="101" y="92"/>
                </a:lnTo>
                <a:lnTo>
                  <a:pt x="98" y="94"/>
                </a:lnTo>
                <a:lnTo>
                  <a:pt x="84" y="96"/>
                </a:lnTo>
                <a:lnTo>
                  <a:pt x="62" y="104"/>
                </a:lnTo>
                <a:lnTo>
                  <a:pt x="60" y="101"/>
                </a:lnTo>
                <a:lnTo>
                  <a:pt x="50" y="116"/>
                </a:lnTo>
                <a:lnTo>
                  <a:pt x="21" y="137"/>
                </a:lnTo>
                <a:lnTo>
                  <a:pt x="9" y="144"/>
                </a:lnTo>
                <a:lnTo>
                  <a:pt x="2" y="135"/>
                </a:lnTo>
                <a:lnTo>
                  <a:pt x="14" y="123"/>
                </a:lnTo>
                <a:lnTo>
                  <a:pt x="17" y="116"/>
                </a:lnTo>
                <a:lnTo>
                  <a:pt x="9" y="108"/>
                </a:lnTo>
                <a:lnTo>
                  <a:pt x="0" y="3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7" name="Freeform 38"/>
          <p:cNvSpPr>
            <a:spLocks/>
          </p:cNvSpPr>
          <p:nvPr/>
        </p:nvSpPr>
        <p:spPr bwMode="auto">
          <a:xfrm>
            <a:off x="10144404" y="3194253"/>
            <a:ext cx="609600" cy="601662"/>
          </a:xfrm>
          <a:custGeom>
            <a:avLst/>
            <a:gdLst>
              <a:gd name="T0" fmla="*/ 127 w 384"/>
              <a:gd name="T1" fmla="*/ 0 h 379"/>
              <a:gd name="T2" fmla="*/ 127 w 384"/>
              <a:gd name="T3" fmla="*/ 16 h 379"/>
              <a:gd name="T4" fmla="*/ 132 w 384"/>
              <a:gd name="T5" fmla="*/ 33 h 379"/>
              <a:gd name="T6" fmla="*/ 123 w 384"/>
              <a:gd name="T7" fmla="*/ 81 h 379"/>
              <a:gd name="T8" fmla="*/ 123 w 384"/>
              <a:gd name="T9" fmla="*/ 96 h 379"/>
              <a:gd name="T10" fmla="*/ 115 w 384"/>
              <a:gd name="T11" fmla="*/ 117 h 379"/>
              <a:gd name="T12" fmla="*/ 96 w 384"/>
              <a:gd name="T13" fmla="*/ 136 h 379"/>
              <a:gd name="T14" fmla="*/ 84 w 384"/>
              <a:gd name="T15" fmla="*/ 144 h 379"/>
              <a:gd name="T16" fmla="*/ 72 w 384"/>
              <a:gd name="T17" fmla="*/ 149 h 379"/>
              <a:gd name="T18" fmla="*/ 63 w 384"/>
              <a:gd name="T19" fmla="*/ 161 h 379"/>
              <a:gd name="T20" fmla="*/ 58 w 384"/>
              <a:gd name="T21" fmla="*/ 192 h 379"/>
              <a:gd name="T22" fmla="*/ 41 w 384"/>
              <a:gd name="T23" fmla="*/ 189 h 379"/>
              <a:gd name="T24" fmla="*/ 27 w 384"/>
              <a:gd name="T25" fmla="*/ 216 h 379"/>
              <a:gd name="T26" fmla="*/ 27 w 384"/>
              <a:gd name="T27" fmla="*/ 240 h 379"/>
              <a:gd name="T28" fmla="*/ 12 w 384"/>
              <a:gd name="T29" fmla="*/ 259 h 379"/>
              <a:gd name="T30" fmla="*/ 3 w 384"/>
              <a:gd name="T31" fmla="*/ 273 h 379"/>
              <a:gd name="T32" fmla="*/ 3 w 384"/>
              <a:gd name="T33" fmla="*/ 290 h 379"/>
              <a:gd name="T34" fmla="*/ 22 w 384"/>
              <a:gd name="T35" fmla="*/ 317 h 379"/>
              <a:gd name="T36" fmla="*/ 36 w 384"/>
              <a:gd name="T37" fmla="*/ 336 h 379"/>
              <a:gd name="T38" fmla="*/ 48 w 384"/>
              <a:gd name="T39" fmla="*/ 341 h 379"/>
              <a:gd name="T40" fmla="*/ 53 w 384"/>
              <a:gd name="T41" fmla="*/ 343 h 379"/>
              <a:gd name="T42" fmla="*/ 65 w 384"/>
              <a:gd name="T43" fmla="*/ 348 h 379"/>
              <a:gd name="T44" fmla="*/ 65 w 384"/>
              <a:gd name="T45" fmla="*/ 358 h 379"/>
              <a:gd name="T46" fmla="*/ 96 w 384"/>
              <a:gd name="T47" fmla="*/ 377 h 379"/>
              <a:gd name="T48" fmla="*/ 115 w 384"/>
              <a:gd name="T49" fmla="*/ 370 h 379"/>
              <a:gd name="T50" fmla="*/ 123 w 384"/>
              <a:gd name="T51" fmla="*/ 360 h 379"/>
              <a:gd name="T52" fmla="*/ 135 w 384"/>
              <a:gd name="T53" fmla="*/ 370 h 379"/>
              <a:gd name="T54" fmla="*/ 161 w 384"/>
              <a:gd name="T55" fmla="*/ 360 h 379"/>
              <a:gd name="T56" fmla="*/ 168 w 384"/>
              <a:gd name="T57" fmla="*/ 346 h 379"/>
              <a:gd name="T58" fmla="*/ 190 w 384"/>
              <a:gd name="T59" fmla="*/ 334 h 379"/>
              <a:gd name="T60" fmla="*/ 209 w 384"/>
              <a:gd name="T61" fmla="*/ 319 h 379"/>
              <a:gd name="T62" fmla="*/ 207 w 384"/>
              <a:gd name="T63" fmla="*/ 300 h 379"/>
              <a:gd name="T64" fmla="*/ 240 w 384"/>
              <a:gd name="T65" fmla="*/ 204 h 379"/>
              <a:gd name="T66" fmla="*/ 252 w 384"/>
              <a:gd name="T67" fmla="*/ 209 h 379"/>
              <a:gd name="T68" fmla="*/ 259 w 384"/>
              <a:gd name="T69" fmla="*/ 218 h 379"/>
              <a:gd name="T70" fmla="*/ 279 w 384"/>
              <a:gd name="T71" fmla="*/ 204 h 379"/>
              <a:gd name="T72" fmla="*/ 291 w 384"/>
              <a:gd name="T73" fmla="*/ 168 h 379"/>
              <a:gd name="T74" fmla="*/ 308 w 384"/>
              <a:gd name="T75" fmla="*/ 156 h 379"/>
              <a:gd name="T76" fmla="*/ 320 w 384"/>
              <a:gd name="T77" fmla="*/ 146 h 379"/>
              <a:gd name="T78" fmla="*/ 329 w 384"/>
              <a:gd name="T79" fmla="*/ 127 h 379"/>
              <a:gd name="T80" fmla="*/ 327 w 384"/>
              <a:gd name="T81" fmla="*/ 122 h 379"/>
              <a:gd name="T82" fmla="*/ 329 w 384"/>
              <a:gd name="T83" fmla="*/ 98 h 379"/>
              <a:gd name="T84" fmla="*/ 372 w 384"/>
              <a:gd name="T85" fmla="*/ 120 h 379"/>
              <a:gd name="T86" fmla="*/ 380 w 384"/>
              <a:gd name="T87" fmla="*/ 120 h 379"/>
              <a:gd name="T88" fmla="*/ 384 w 384"/>
              <a:gd name="T89" fmla="*/ 98 h 379"/>
              <a:gd name="T90" fmla="*/ 370 w 384"/>
              <a:gd name="T91" fmla="*/ 79 h 379"/>
              <a:gd name="T92" fmla="*/ 360 w 384"/>
              <a:gd name="T93" fmla="*/ 72 h 379"/>
              <a:gd name="T94" fmla="*/ 348 w 384"/>
              <a:gd name="T95" fmla="*/ 67 h 379"/>
              <a:gd name="T96" fmla="*/ 317 w 384"/>
              <a:gd name="T97" fmla="*/ 84 h 379"/>
              <a:gd name="T98" fmla="*/ 298 w 384"/>
              <a:gd name="T99" fmla="*/ 86 h 379"/>
              <a:gd name="T100" fmla="*/ 288 w 384"/>
              <a:gd name="T101" fmla="*/ 91 h 379"/>
              <a:gd name="T102" fmla="*/ 276 w 384"/>
              <a:gd name="T103" fmla="*/ 103 h 379"/>
              <a:gd name="T104" fmla="*/ 252 w 384"/>
              <a:gd name="T105" fmla="*/ 124 h 379"/>
              <a:gd name="T106" fmla="*/ 243 w 384"/>
              <a:gd name="T107" fmla="*/ 134 h 379"/>
              <a:gd name="T108" fmla="*/ 147 w 384"/>
              <a:gd name="T109" fmla="*/ 9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4" h="379">
                <a:moveTo>
                  <a:pt x="132" y="0"/>
                </a:moveTo>
                <a:lnTo>
                  <a:pt x="127" y="0"/>
                </a:lnTo>
                <a:lnTo>
                  <a:pt x="123" y="4"/>
                </a:lnTo>
                <a:lnTo>
                  <a:pt x="127" y="16"/>
                </a:lnTo>
                <a:lnTo>
                  <a:pt x="115" y="26"/>
                </a:lnTo>
                <a:lnTo>
                  <a:pt x="132" y="33"/>
                </a:lnTo>
                <a:lnTo>
                  <a:pt x="125" y="72"/>
                </a:lnTo>
                <a:lnTo>
                  <a:pt x="123" y="81"/>
                </a:lnTo>
                <a:lnTo>
                  <a:pt x="123" y="91"/>
                </a:lnTo>
                <a:lnTo>
                  <a:pt x="123" y="96"/>
                </a:lnTo>
                <a:lnTo>
                  <a:pt x="125" y="108"/>
                </a:lnTo>
                <a:lnTo>
                  <a:pt x="115" y="117"/>
                </a:lnTo>
                <a:lnTo>
                  <a:pt x="111" y="117"/>
                </a:lnTo>
                <a:lnTo>
                  <a:pt x="96" y="136"/>
                </a:lnTo>
                <a:lnTo>
                  <a:pt x="96" y="141"/>
                </a:lnTo>
                <a:lnTo>
                  <a:pt x="84" y="144"/>
                </a:lnTo>
                <a:lnTo>
                  <a:pt x="79" y="141"/>
                </a:lnTo>
                <a:lnTo>
                  <a:pt x="72" y="149"/>
                </a:lnTo>
                <a:lnTo>
                  <a:pt x="70" y="153"/>
                </a:lnTo>
                <a:lnTo>
                  <a:pt x="63" y="161"/>
                </a:lnTo>
                <a:lnTo>
                  <a:pt x="55" y="177"/>
                </a:lnTo>
                <a:lnTo>
                  <a:pt x="58" y="192"/>
                </a:lnTo>
                <a:lnTo>
                  <a:pt x="48" y="204"/>
                </a:lnTo>
                <a:lnTo>
                  <a:pt x="41" y="189"/>
                </a:lnTo>
                <a:lnTo>
                  <a:pt x="34" y="189"/>
                </a:lnTo>
                <a:lnTo>
                  <a:pt x="27" y="216"/>
                </a:lnTo>
                <a:lnTo>
                  <a:pt x="29" y="228"/>
                </a:lnTo>
                <a:lnTo>
                  <a:pt x="27" y="240"/>
                </a:lnTo>
                <a:lnTo>
                  <a:pt x="19" y="245"/>
                </a:lnTo>
                <a:lnTo>
                  <a:pt x="12" y="259"/>
                </a:lnTo>
                <a:lnTo>
                  <a:pt x="0" y="259"/>
                </a:lnTo>
                <a:lnTo>
                  <a:pt x="3" y="273"/>
                </a:lnTo>
                <a:lnTo>
                  <a:pt x="3" y="283"/>
                </a:lnTo>
                <a:lnTo>
                  <a:pt x="3" y="290"/>
                </a:lnTo>
                <a:lnTo>
                  <a:pt x="5" y="295"/>
                </a:lnTo>
                <a:lnTo>
                  <a:pt x="22" y="317"/>
                </a:lnTo>
                <a:lnTo>
                  <a:pt x="34" y="334"/>
                </a:lnTo>
                <a:lnTo>
                  <a:pt x="36" y="336"/>
                </a:lnTo>
                <a:lnTo>
                  <a:pt x="39" y="336"/>
                </a:lnTo>
                <a:lnTo>
                  <a:pt x="48" y="341"/>
                </a:lnTo>
                <a:lnTo>
                  <a:pt x="51" y="343"/>
                </a:lnTo>
                <a:lnTo>
                  <a:pt x="53" y="343"/>
                </a:lnTo>
                <a:lnTo>
                  <a:pt x="58" y="348"/>
                </a:lnTo>
                <a:lnTo>
                  <a:pt x="65" y="348"/>
                </a:lnTo>
                <a:lnTo>
                  <a:pt x="67" y="350"/>
                </a:lnTo>
                <a:lnTo>
                  <a:pt x="65" y="358"/>
                </a:lnTo>
                <a:lnTo>
                  <a:pt x="79" y="370"/>
                </a:lnTo>
                <a:lnTo>
                  <a:pt x="96" y="377"/>
                </a:lnTo>
                <a:lnTo>
                  <a:pt x="106" y="379"/>
                </a:lnTo>
                <a:lnTo>
                  <a:pt x="115" y="370"/>
                </a:lnTo>
                <a:lnTo>
                  <a:pt x="115" y="365"/>
                </a:lnTo>
                <a:lnTo>
                  <a:pt x="123" y="360"/>
                </a:lnTo>
                <a:lnTo>
                  <a:pt x="130" y="367"/>
                </a:lnTo>
                <a:lnTo>
                  <a:pt x="135" y="370"/>
                </a:lnTo>
                <a:lnTo>
                  <a:pt x="139" y="367"/>
                </a:lnTo>
                <a:lnTo>
                  <a:pt x="161" y="360"/>
                </a:lnTo>
                <a:lnTo>
                  <a:pt x="166" y="346"/>
                </a:lnTo>
                <a:lnTo>
                  <a:pt x="168" y="346"/>
                </a:lnTo>
                <a:lnTo>
                  <a:pt x="173" y="350"/>
                </a:lnTo>
                <a:lnTo>
                  <a:pt x="190" y="334"/>
                </a:lnTo>
                <a:lnTo>
                  <a:pt x="195" y="338"/>
                </a:lnTo>
                <a:lnTo>
                  <a:pt x="209" y="319"/>
                </a:lnTo>
                <a:lnTo>
                  <a:pt x="207" y="312"/>
                </a:lnTo>
                <a:lnTo>
                  <a:pt x="207" y="300"/>
                </a:lnTo>
                <a:lnTo>
                  <a:pt x="221" y="273"/>
                </a:lnTo>
                <a:lnTo>
                  <a:pt x="240" y="204"/>
                </a:lnTo>
                <a:lnTo>
                  <a:pt x="243" y="201"/>
                </a:lnTo>
                <a:lnTo>
                  <a:pt x="252" y="209"/>
                </a:lnTo>
                <a:lnTo>
                  <a:pt x="255" y="213"/>
                </a:lnTo>
                <a:lnTo>
                  <a:pt x="259" y="218"/>
                </a:lnTo>
                <a:lnTo>
                  <a:pt x="271" y="216"/>
                </a:lnTo>
                <a:lnTo>
                  <a:pt x="279" y="204"/>
                </a:lnTo>
                <a:lnTo>
                  <a:pt x="284" y="177"/>
                </a:lnTo>
                <a:lnTo>
                  <a:pt x="291" y="168"/>
                </a:lnTo>
                <a:lnTo>
                  <a:pt x="300" y="173"/>
                </a:lnTo>
                <a:lnTo>
                  <a:pt x="308" y="156"/>
                </a:lnTo>
                <a:lnTo>
                  <a:pt x="315" y="153"/>
                </a:lnTo>
                <a:lnTo>
                  <a:pt x="320" y="146"/>
                </a:lnTo>
                <a:lnTo>
                  <a:pt x="324" y="132"/>
                </a:lnTo>
                <a:lnTo>
                  <a:pt x="329" y="127"/>
                </a:lnTo>
                <a:lnTo>
                  <a:pt x="329" y="124"/>
                </a:lnTo>
                <a:lnTo>
                  <a:pt x="327" y="122"/>
                </a:lnTo>
                <a:lnTo>
                  <a:pt x="329" y="100"/>
                </a:lnTo>
                <a:lnTo>
                  <a:pt x="329" y="98"/>
                </a:lnTo>
                <a:lnTo>
                  <a:pt x="334" y="93"/>
                </a:lnTo>
                <a:lnTo>
                  <a:pt x="372" y="120"/>
                </a:lnTo>
                <a:lnTo>
                  <a:pt x="377" y="120"/>
                </a:lnTo>
                <a:lnTo>
                  <a:pt x="380" y="120"/>
                </a:lnTo>
                <a:lnTo>
                  <a:pt x="384" y="98"/>
                </a:lnTo>
                <a:lnTo>
                  <a:pt x="384" y="98"/>
                </a:lnTo>
                <a:lnTo>
                  <a:pt x="375" y="79"/>
                </a:lnTo>
                <a:lnTo>
                  <a:pt x="370" y="79"/>
                </a:lnTo>
                <a:lnTo>
                  <a:pt x="368" y="69"/>
                </a:lnTo>
                <a:lnTo>
                  <a:pt x="360" y="72"/>
                </a:lnTo>
                <a:lnTo>
                  <a:pt x="353" y="72"/>
                </a:lnTo>
                <a:lnTo>
                  <a:pt x="348" y="67"/>
                </a:lnTo>
                <a:lnTo>
                  <a:pt x="322" y="76"/>
                </a:lnTo>
                <a:lnTo>
                  <a:pt x="317" y="84"/>
                </a:lnTo>
                <a:lnTo>
                  <a:pt x="308" y="88"/>
                </a:lnTo>
                <a:lnTo>
                  <a:pt x="298" y="86"/>
                </a:lnTo>
                <a:lnTo>
                  <a:pt x="293" y="81"/>
                </a:lnTo>
                <a:lnTo>
                  <a:pt x="288" y="91"/>
                </a:lnTo>
                <a:lnTo>
                  <a:pt x="281" y="93"/>
                </a:lnTo>
                <a:lnTo>
                  <a:pt x="276" y="103"/>
                </a:lnTo>
                <a:lnTo>
                  <a:pt x="269" y="105"/>
                </a:lnTo>
                <a:lnTo>
                  <a:pt x="252" y="124"/>
                </a:lnTo>
                <a:lnTo>
                  <a:pt x="247" y="127"/>
                </a:lnTo>
                <a:lnTo>
                  <a:pt x="243" y="134"/>
                </a:lnTo>
                <a:lnTo>
                  <a:pt x="231" y="79"/>
                </a:lnTo>
                <a:lnTo>
                  <a:pt x="147" y="96"/>
                </a:lnTo>
                <a:lnTo>
                  <a:pt x="132"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8" name="Freeform 39"/>
          <p:cNvSpPr>
            <a:spLocks/>
          </p:cNvSpPr>
          <p:nvPr/>
        </p:nvSpPr>
        <p:spPr bwMode="auto">
          <a:xfrm>
            <a:off x="9785629" y="2972003"/>
            <a:ext cx="568325" cy="633412"/>
          </a:xfrm>
          <a:custGeom>
            <a:avLst/>
            <a:gdLst>
              <a:gd name="T0" fmla="*/ 32 w 358"/>
              <a:gd name="T1" fmla="*/ 349 h 399"/>
              <a:gd name="T2" fmla="*/ 48 w 358"/>
              <a:gd name="T3" fmla="*/ 353 h 399"/>
              <a:gd name="T4" fmla="*/ 63 w 358"/>
              <a:gd name="T5" fmla="*/ 349 h 399"/>
              <a:gd name="T6" fmla="*/ 84 w 358"/>
              <a:gd name="T7" fmla="*/ 375 h 399"/>
              <a:gd name="T8" fmla="*/ 116 w 358"/>
              <a:gd name="T9" fmla="*/ 380 h 399"/>
              <a:gd name="T10" fmla="*/ 140 w 358"/>
              <a:gd name="T11" fmla="*/ 382 h 399"/>
              <a:gd name="T12" fmla="*/ 159 w 358"/>
              <a:gd name="T13" fmla="*/ 387 h 399"/>
              <a:gd name="T14" fmla="*/ 173 w 358"/>
              <a:gd name="T15" fmla="*/ 382 h 399"/>
              <a:gd name="T16" fmla="*/ 183 w 358"/>
              <a:gd name="T17" fmla="*/ 375 h 399"/>
              <a:gd name="T18" fmla="*/ 197 w 358"/>
              <a:gd name="T19" fmla="*/ 375 h 399"/>
              <a:gd name="T20" fmla="*/ 214 w 358"/>
              <a:gd name="T21" fmla="*/ 389 h 399"/>
              <a:gd name="T22" fmla="*/ 226 w 358"/>
              <a:gd name="T23" fmla="*/ 399 h 399"/>
              <a:gd name="T24" fmla="*/ 245 w 358"/>
              <a:gd name="T25" fmla="*/ 385 h 399"/>
              <a:gd name="T26" fmla="*/ 255 w 358"/>
              <a:gd name="T27" fmla="*/ 368 h 399"/>
              <a:gd name="T28" fmla="*/ 260 w 358"/>
              <a:gd name="T29" fmla="*/ 329 h 399"/>
              <a:gd name="T30" fmla="*/ 274 w 358"/>
              <a:gd name="T31" fmla="*/ 344 h 399"/>
              <a:gd name="T32" fmla="*/ 281 w 358"/>
              <a:gd name="T33" fmla="*/ 317 h 399"/>
              <a:gd name="T34" fmla="*/ 296 w 358"/>
              <a:gd name="T35" fmla="*/ 293 h 399"/>
              <a:gd name="T36" fmla="*/ 305 w 358"/>
              <a:gd name="T37" fmla="*/ 281 h 399"/>
              <a:gd name="T38" fmla="*/ 322 w 358"/>
              <a:gd name="T39" fmla="*/ 281 h 399"/>
              <a:gd name="T40" fmla="*/ 337 w 358"/>
              <a:gd name="T41" fmla="*/ 257 h 399"/>
              <a:gd name="T42" fmla="*/ 351 w 358"/>
              <a:gd name="T43" fmla="*/ 248 h 399"/>
              <a:gd name="T44" fmla="*/ 349 w 358"/>
              <a:gd name="T45" fmla="*/ 231 h 399"/>
              <a:gd name="T46" fmla="*/ 351 w 358"/>
              <a:gd name="T47" fmla="*/ 212 h 399"/>
              <a:gd name="T48" fmla="*/ 341 w 358"/>
              <a:gd name="T49" fmla="*/ 166 h 399"/>
              <a:gd name="T50" fmla="*/ 349 w 358"/>
              <a:gd name="T51" fmla="*/ 144 h 399"/>
              <a:gd name="T52" fmla="*/ 358 w 358"/>
              <a:gd name="T53" fmla="*/ 140 h 399"/>
              <a:gd name="T54" fmla="*/ 291 w 358"/>
              <a:gd name="T55" fmla="*/ 19 h 399"/>
              <a:gd name="T56" fmla="*/ 267 w 358"/>
              <a:gd name="T57" fmla="*/ 36 h 399"/>
              <a:gd name="T58" fmla="*/ 238 w 358"/>
              <a:gd name="T59" fmla="*/ 65 h 399"/>
              <a:gd name="T60" fmla="*/ 217 w 358"/>
              <a:gd name="T61" fmla="*/ 65 h 399"/>
              <a:gd name="T62" fmla="*/ 190 w 358"/>
              <a:gd name="T63" fmla="*/ 84 h 399"/>
              <a:gd name="T64" fmla="*/ 168 w 358"/>
              <a:gd name="T65" fmla="*/ 77 h 399"/>
              <a:gd name="T66" fmla="*/ 156 w 358"/>
              <a:gd name="T67" fmla="*/ 77 h 399"/>
              <a:gd name="T68" fmla="*/ 159 w 358"/>
              <a:gd name="T69" fmla="*/ 70 h 399"/>
              <a:gd name="T70" fmla="*/ 120 w 358"/>
              <a:gd name="T71" fmla="*/ 60 h 399"/>
              <a:gd name="T72" fmla="*/ 104 w 358"/>
              <a:gd name="T73" fmla="*/ 60 h 399"/>
              <a:gd name="T74" fmla="*/ 0 w 358"/>
              <a:gd name="T75" fmla="*/ 7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8" h="399">
                <a:moveTo>
                  <a:pt x="0" y="70"/>
                </a:moveTo>
                <a:lnTo>
                  <a:pt x="32" y="349"/>
                </a:lnTo>
                <a:lnTo>
                  <a:pt x="39" y="349"/>
                </a:lnTo>
                <a:lnTo>
                  <a:pt x="48" y="353"/>
                </a:lnTo>
                <a:lnTo>
                  <a:pt x="53" y="353"/>
                </a:lnTo>
                <a:lnTo>
                  <a:pt x="63" y="349"/>
                </a:lnTo>
                <a:lnTo>
                  <a:pt x="80" y="361"/>
                </a:lnTo>
                <a:lnTo>
                  <a:pt x="84" y="375"/>
                </a:lnTo>
                <a:lnTo>
                  <a:pt x="96" y="380"/>
                </a:lnTo>
                <a:lnTo>
                  <a:pt x="116" y="380"/>
                </a:lnTo>
                <a:lnTo>
                  <a:pt x="132" y="392"/>
                </a:lnTo>
                <a:lnTo>
                  <a:pt x="140" y="382"/>
                </a:lnTo>
                <a:lnTo>
                  <a:pt x="144" y="382"/>
                </a:lnTo>
                <a:lnTo>
                  <a:pt x="159" y="387"/>
                </a:lnTo>
                <a:lnTo>
                  <a:pt x="173" y="385"/>
                </a:lnTo>
                <a:lnTo>
                  <a:pt x="173" y="382"/>
                </a:lnTo>
                <a:lnTo>
                  <a:pt x="180" y="380"/>
                </a:lnTo>
                <a:lnTo>
                  <a:pt x="183" y="375"/>
                </a:lnTo>
                <a:lnTo>
                  <a:pt x="193" y="368"/>
                </a:lnTo>
                <a:lnTo>
                  <a:pt x="197" y="375"/>
                </a:lnTo>
                <a:lnTo>
                  <a:pt x="205" y="387"/>
                </a:lnTo>
                <a:lnTo>
                  <a:pt x="214" y="389"/>
                </a:lnTo>
                <a:lnTo>
                  <a:pt x="224" y="397"/>
                </a:lnTo>
                <a:lnTo>
                  <a:pt x="226" y="399"/>
                </a:lnTo>
                <a:lnTo>
                  <a:pt x="238" y="399"/>
                </a:lnTo>
                <a:lnTo>
                  <a:pt x="245" y="385"/>
                </a:lnTo>
                <a:lnTo>
                  <a:pt x="253" y="380"/>
                </a:lnTo>
                <a:lnTo>
                  <a:pt x="255" y="368"/>
                </a:lnTo>
                <a:lnTo>
                  <a:pt x="253" y="356"/>
                </a:lnTo>
                <a:lnTo>
                  <a:pt x="260" y="329"/>
                </a:lnTo>
                <a:lnTo>
                  <a:pt x="267" y="329"/>
                </a:lnTo>
                <a:lnTo>
                  <a:pt x="274" y="344"/>
                </a:lnTo>
                <a:lnTo>
                  <a:pt x="284" y="332"/>
                </a:lnTo>
                <a:lnTo>
                  <a:pt x="281" y="317"/>
                </a:lnTo>
                <a:lnTo>
                  <a:pt x="289" y="301"/>
                </a:lnTo>
                <a:lnTo>
                  <a:pt x="296" y="293"/>
                </a:lnTo>
                <a:lnTo>
                  <a:pt x="298" y="289"/>
                </a:lnTo>
                <a:lnTo>
                  <a:pt x="305" y="281"/>
                </a:lnTo>
                <a:lnTo>
                  <a:pt x="310" y="284"/>
                </a:lnTo>
                <a:lnTo>
                  <a:pt x="322" y="281"/>
                </a:lnTo>
                <a:lnTo>
                  <a:pt x="322" y="276"/>
                </a:lnTo>
                <a:lnTo>
                  <a:pt x="337" y="257"/>
                </a:lnTo>
                <a:lnTo>
                  <a:pt x="341" y="257"/>
                </a:lnTo>
                <a:lnTo>
                  <a:pt x="351" y="248"/>
                </a:lnTo>
                <a:lnTo>
                  <a:pt x="349" y="236"/>
                </a:lnTo>
                <a:lnTo>
                  <a:pt x="349" y="231"/>
                </a:lnTo>
                <a:lnTo>
                  <a:pt x="349" y="221"/>
                </a:lnTo>
                <a:lnTo>
                  <a:pt x="351" y="212"/>
                </a:lnTo>
                <a:lnTo>
                  <a:pt x="358" y="173"/>
                </a:lnTo>
                <a:lnTo>
                  <a:pt x="341" y="166"/>
                </a:lnTo>
                <a:lnTo>
                  <a:pt x="353" y="156"/>
                </a:lnTo>
                <a:lnTo>
                  <a:pt x="349" y="144"/>
                </a:lnTo>
                <a:lnTo>
                  <a:pt x="353" y="140"/>
                </a:lnTo>
                <a:lnTo>
                  <a:pt x="358" y="140"/>
                </a:lnTo>
                <a:lnTo>
                  <a:pt x="332" y="0"/>
                </a:lnTo>
                <a:lnTo>
                  <a:pt x="291" y="19"/>
                </a:lnTo>
                <a:lnTo>
                  <a:pt x="274" y="31"/>
                </a:lnTo>
                <a:lnTo>
                  <a:pt x="267" y="36"/>
                </a:lnTo>
                <a:lnTo>
                  <a:pt x="243" y="63"/>
                </a:lnTo>
                <a:lnTo>
                  <a:pt x="238" y="65"/>
                </a:lnTo>
                <a:lnTo>
                  <a:pt x="231" y="65"/>
                </a:lnTo>
                <a:lnTo>
                  <a:pt x="217" y="65"/>
                </a:lnTo>
                <a:lnTo>
                  <a:pt x="209" y="67"/>
                </a:lnTo>
                <a:lnTo>
                  <a:pt x="190" y="84"/>
                </a:lnTo>
                <a:lnTo>
                  <a:pt x="183" y="82"/>
                </a:lnTo>
                <a:lnTo>
                  <a:pt x="168" y="77"/>
                </a:lnTo>
                <a:lnTo>
                  <a:pt x="164" y="79"/>
                </a:lnTo>
                <a:lnTo>
                  <a:pt x="156" y="77"/>
                </a:lnTo>
                <a:lnTo>
                  <a:pt x="161" y="70"/>
                </a:lnTo>
                <a:lnTo>
                  <a:pt x="159" y="70"/>
                </a:lnTo>
                <a:lnTo>
                  <a:pt x="147" y="67"/>
                </a:lnTo>
                <a:lnTo>
                  <a:pt x="120" y="60"/>
                </a:lnTo>
                <a:lnTo>
                  <a:pt x="116" y="58"/>
                </a:lnTo>
                <a:lnTo>
                  <a:pt x="104" y="60"/>
                </a:lnTo>
                <a:lnTo>
                  <a:pt x="104" y="55"/>
                </a:lnTo>
                <a:lnTo>
                  <a:pt x="0" y="7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9" name="Freeform 40"/>
          <p:cNvSpPr>
            <a:spLocks/>
          </p:cNvSpPr>
          <p:nvPr/>
        </p:nvSpPr>
        <p:spPr bwMode="auto">
          <a:xfrm>
            <a:off x="9431617" y="3075190"/>
            <a:ext cx="407988" cy="720725"/>
          </a:xfrm>
          <a:custGeom>
            <a:avLst/>
            <a:gdLst>
              <a:gd name="T0" fmla="*/ 7 w 257"/>
              <a:gd name="T1" fmla="*/ 26 h 454"/>
              <a:gd name="T2" fmla="*/ 29 w 257"/>
              <a:gd name="T3" fmla="*/ 281 h 454"/>
              <a:gd name="T4" fmla="*/ 26 w 257"/>
              <a:gd name="T5" fmla="*/ 286 h 454"/>
              <a:gd name="T6" fmla="*/ 26 w 257"/>
              <a:gd name="T7" fmla="*/ 296 h 454"/>
              <a:gd name="T8" fmla="*/ 24 w 257"/>
              <a:gd name="T9" fmla="*/ 308 h 454"/>
              <a:gd name="T10" fmla="*/ 34 w 257"/>
              <a:gd name="T11" fmla="*/ 329 h 454"/>
              <a:gd name="T12" fmla="*/ 36 w 257"/>
              <a:gd name="T13" fmla="*/ 351 h 454"/>
              <a:gd name="T14" fmla="*/ 26 w 257"/>
              <a:gd name="T15" fmla="*/ 373 h 454"/>
              <a:gd name="T16" fmla="*/ 24 w 257"/>
              <a:gd name="T17" fmla="*/ 380 h 454"/>
              <a:gd name="T18" fmla="*/ 17 w 257"/>
              <a:gd name="T19" fmla="*/ 397 h 454"/>
              <a:gd name="T20" fmla="*/ 2 w 257"/>
              <a:gd name="T21" fmla="*/ 409 h 454"/>
              <a:gd name="T22" fmla="*/ 2 w 257"/>
              <a:gd name="T23" fmla="*/ 425 h 454"/>
              <a:gd name="T24" fmla="*/ 0 w 257"/>
              <a:gd name="T25" fmla="*/ 445 h 454"/>
              <a:gd name="T26" fmla="*/ 0 w 257"/>
              <a:gd name="T27" fmla="*/ 449 h 454"/>
              <a:gd name="T28" fmla="*/ 0 w 257"/>
              <a:gd name="T29" fmla="*/ 454 h 454"/>
              <a:gd name="T30" fmla="*/ 0 w 257"/>
              <a:gd name="T31" fmla="*/ 454 h 454"/>
              <a:gd name="T32" fmla="*/ 7 w 257"/>
              <a:gd name="T33" fmla="*/ 454 h 454"/>
              <a:gd name="T34" fmla="*/ 14 w 257"/>
              <a:gd name="T35" fmla="*/ 452 h 454"/>
              <a:gd name="T36" fmla="*/ 12 w 257"/>
              <a:gd name="T37" fmla="*/ 447 h 454"/>
              <a:gd name="T38" fmla="*/ 14 w 257"/>
              <a:gd name="T39" fmla="*/ 440 h 454"/>
              <a:gd name="T40" fmla="*/ 31 w 257"/>
              <a:gd name="T41" fmla="*/ 442 h 454"/>
              <a:gd name="T42" fmla="*/ 50 w 257"/>
              <a:gd name="T43" fmla="*/ 435 h 454"/>
              <a:gd name="T44" fmla="*/ 77 w 257"/>
              <a:gd name="T45" fmla="*/ 445 h 454"/>
              <a:gd name="T46" fmla="*/ 79 w 257"/>
              <a:gd name="T47" fmla="*/ 447 h 454"/>
              <a:gd name="T48" fmla="*/ 84 w 257"/>
              <a:gd name="T49" fmla="*/ 447 h 454"/>
              <a:gd name="T50" fmla="*/ 89 w 257"/>
              <a:gd name="T51" fmla="*/ 430 h 454"/>
              <a:gd name="T52" fmla="*/ 103 w 257"/>
              <a:gd name="T53" fmla="*/ 425 h 454"/>
              <a:gd name="T54" fmla="*/ 111 w 257"/>
              <a:gd name="T55" fmla="*/ 433 h 454"/>
              <a:gd name="T56" fmla="*/ 118 w 257"/>
              <a:gd name="T57" fmla="*/ 437 h 454"/>
              <a:gd name="T58" fmla="*/ 125 w 257"/>
              <a:gd name="T59" fmla="*/ 433 h 454"/>
              <a:gd name="T60" fmla="*/ 132 w 257"/>
              <a:gd name="T61" fmla="*/ 411 h 454"/>
              <a:gd name="T62" fmla="*/ 137 w 257"/>
              <a:gd name="T63" fmla="*/ 404 h 454"/>
              <a:gd name="T64" fmla="*/ 142 w 257"/>
              <a:gd name="T65" fmla="*/ 404 h 454"/>
              <a:gd name="T66" fmla="*/ 151 w 257"/>
              <a:gd name="T67" fmla="*/ 416 h 454"/>
              <a:gd name="T68" fmla="*/ 173 w 257"/>
              <a:gd name="T69" fmla="*/ 416 h 454"/>
              <a:gd name="T70" fmla="*/ 178 w 257"/>
              <a:gd name="T71" fmla="*/ 394 h 454"/>
              <a:gd name="T72" fmla="*/ 211 w 257"/>
              <a:gd name="T73" fmla="*/ 351 h 454"/>
              <a:gd name="T74" fmla="*/ 211 w 257"/>
              <a:gd name="T75" fmla="*/ 336 h 454"/>
              <a:gd name="T76" fmla="*/ 219 w 257"/>
              <a:gd name="T77" fmla="*/ 332 h 454"/>
              <a:gd name="T78" fmla="*/ 233 w 257"/>
              <a:gd name="T79" fmla="*/ 334 h 454"/>
              <a:gd name="T80" fmla="*/ 245 w 257"/>
              <a:gd name="T81" fmla="*/ 324 h 454"/>
              <a:gd name="T82" fmla="*/ 255 w 257"/>
              <a:gd name="T83" fmla="*/ 322 h 454"/>
              <a:gd name="T84" fmla="*/ 257 w 257"/>
              <a:gd name="T85" fmla="*/ 315 h 454"/>
              <a:gd name="T86" fmla="*/ 252 w 257"/>
              <a:gd name="T87" fmla="*/ 298 h 454"/>
              <a:gd name="T88" fmla="*/ 252 w 257"/>
              <a:gd name="T89" fmla="*/ 291 h 454"/>
              <a:gd name="T90" fmla="*/ 255 w 257"/>
              <a:gd name="T91" fmla="*/ 284 h 454"/>
              <a:gd name="T92" fmla="*/ 223 w 257"/>
              <a:gd name="T93" fmla="*/ 5 h 454"/>
              <a:gd name="T94" fmla="*/ 223 w 257"/>
              <a:gd name="T95" fmla="*/ 0 h 454"/>
              <a:gd name="T96" fmla="*/ 58 w 257"/>
              <a:gd name="T97" fmla="*/ 22 h 454"/>
              <a:gd name="T98" fmla="*/ 53 w 257"/>
              <a:gd name="T99" fmla="*/ 24 h 454"/>
              <a:gd name="T100" fmla="*/ 41 w 257"/>
              <a:gd name="T101" fmla="*/ 29 h 454"/>
              <a:gd name="T102" fmla="*/ 34 w 257"/>
              <a:gd name="T103" fmla="*/ 34 h 454"/>
              <a:gd name="T104" fmla="*/ 19 w 257"/>
              <a:gd name="T105" fmla="*/ 36 h 454"/>
              <a:gd name="T106" fmla="*/ 7 w 257"/>
              <a:gd name="T107" fmla="*/ 2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 h="454">
                <a:moveTo>
                  <a:pt x="7" y="26"/>
                </a:moveTo>
                <a:lnTo>
                  <a:pt x="29" y="281"/>
                </a:lnTo>
                <a:lnTo>
                  <a:pt x="26" y="286"/>
                </a:lnTo>
                <a:lnTo>
                  <a:pt x="26" y="296"/>
                </a:lnTo>
                <a:lnTo>
                  <a:pt x="24" y="308"/>
                </a:lnTo>
                <a:lnTo>
                  <a:pt x="34" y="329"/>
                </a:lnTo>
                <a:lnTo>
                  <a:pt x="36" y="351"/>
                </a:lnTo>
                <a:lnTo>
                  <a:pt x="26" y="373"/>
                </a:lnTo>
                <a:lnTo>
                  <a:pt x="24" y="380"/>
                </a:lnTo>
                <a:lnTo>
                  <a:pt x="17" y="397"/>
                </a:lnTo>
                <a:lnTo>
                  <a:pt x="2" y="409"/>
                </a:lnTo>
                <a:lnTo>
                  <a:pt x="2" y="425"/>
                </a:lnTo>
                <a:lnTo>
                  <a:pt x="0" y="445"/>
                </a:lnTo>
                <a:lnTo>
                  <a:pt x="0" y="449"/>
                </a:lnTo>
                <a:lnTo>
                  <a:pt x="0" y="454"/>
                </a:lnTo>
                <a:lnTo>
                  <a:pt x="0" y="454"/>
                </a:lnTo>
                <a:lnTo>
                  <a:pt x="7" y="454"/>
                </a:lnTo>
                <a:lnTo>
                  <a:pt x="14" y="452"/>
                </a:lnTo>
                <a:lnTo>
                  <a:pt x="12" y="447"/>
                </a:lnTo>
                <a:lnTo>
                  <a:pt x="14" y="440"/>
                </a:lnTo>
                <a:lnTo>
                  <a:pt x="31" y="442"/>
                </a:lnTo>
                <a:lnTo>
                  <a:pt x="50" y="435"/>
                </a:lnTo>
                <a:lnTo>
                  <a:pt x="77" y="445"/>
                </a:lnTo>
                <a:lnTo>
                  <a:pt x="79" y="447"/>
                </a:lnTo>
                <a:lnTo>
                  <a:pt x="84" y="447"/>
                </a:lnTo>
                <a:lnTo>
                  <a:pt x="89" y="430"/>
                </a:lnTo>
                <a:lnTo>
                  <a:pt x="103" y="425"/>
                </a:lnTo>
                <a:lnTo>
                  <a:pt x="111" y="433"/>
                </a:lnTo>
                <a:lnTo>
                  <a:pt x="118" y="437"/>
                </a:lnTo>
                <a:lnTo>
                  <a:pt x="125" y="433"/>
                </a:lnTo>
                <a:lnTo>
                  <a:pt x="132" y="411"/>
                </a:lnTo>
                <a:lnTo>
                  <a:pt x="137" y="404"/>
                </a:lnTo>
                <a:lnTo>
                  <a:pt x="142" y="404"/>
                </a:lnTo>
                <a:lnTo>
                  <a:pt x="151" y="416"/>
                </a:lnTo>
                <a:lnTo>
                  <a:pt x="173" y="416"/>
                </a:lnTo>
                <a:lnTo>
                  <a:pt x="178" y="394"/>
                </a:lnTo>
                <a:lnTo>
                  <a:pt x="211" y="351"/>
                </a:lnTo>
                <a:lnTo>
                  <a:pt x="211" y="336"/>
                </a:lnTo>
                <a:lnTo>
                  <a:pt x="219" y="332"/>
                </a:lnTo>
                <a:lnTo>
                  <a:pt x="233" y="334"/>
                </a:lnTo>
                <a:lnTo>
                  <a:pt x="245" y="324"/>
                </a:lnTo>
                <a:lnTo>
                  <a:pt x="255" y="322"/>
                </a:lnTo>
                <a:lnTo>
                  <a:pt x="257" y="315"/>
                </a:lnTo>
                <a:lnTo>
                  <a:pt x="252" y="298"/>
                </a:lnTo>
                <a:lnTo>
                  <a:pt x="252" y="291"/>
                </a:lnTo>
                <a:lnTo>
                  <a:pt x="255" y="284"/>
                </a:lnTo>
                <a:lnTo>
                  <a:pt x="223" y="5"/>
                </a:lnTo>
                <a:lnTo>
                  <a:pt x="223" y="0"/>
                </a:lnTo>
                <a:lnTo>
                  <a:pt x="58" y="22"/>
                </a:lnTo>
                <a:lnTo>
                  <a:pt x="53" y="24"/>
                </a:lnTo>
                <a:lnTo>
                  <a:pt x="41" y="29"/>
                </a:lnTo>
                <a:lnTo>
                  <a:pt x="34" y="34"/>
                </a:lnTo>
                <a:lnTo>
                  <a:pt x="19" y="36"/>
                </a:lnTo>
                <a:lnTo>
                  <a:pt x="7" y="2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0" name="Freeform 41"/>
          <p:cNvSpPr>
            <a:spLocks/>
          </p:cNvSpPr>
          <p:nvPr/>
        </p:nvSpPr>
        <p:spPr bwMode="auto">
          <a:xfrm>
            <a:off x="8950604" y="2991053"/>
            <a:ext cx="538163" cy="954087"/>
          </a:xfrm>
          <a:custGeom>
            <a:avLst/>
            <a:gdLst>
              <a:gd name="T0" fmla="*/ 58 w 339"/>
              <a:gd name="T1" fmla="*/ 15 h 601"/>
              <a:gd name="T2" fmla="*/ 77 w 339"/>
              <a:gd name="T3" fmla="*/ 31 h 601"/>
              <a:gd name="T4" fmla="*/ 94 w 339"/>
              <a:gd name="T5" fmla="*/ 51 h 601"/>
              <a:gd name="T6" fmla="*/ 99 w 339"/>
              <a:gd name="T7" fmla="*/ 77 h 601"/>
              <a:gd name="T8" fmla="*/ 89 w 339"/>
              <a:gd name="T9" fmla="*/ 94 h 601"/>
              <a:gd name="T10" fmla="*/ 75 w 339"/>
              <a:gd name="T11" fmla="*/ 120 h 601"/>
              <a:gd name="T12" fmla="*/ 58 w 339"/>
              <a:gd name="T13" fmla="*/ 128 h 601"/>
              <a:gd name="T14" fmla="*/ 34 w 339"/>
              <a:gd name="T15" fmla="*/ 132 h 601"/>
              <a:gd name="T16" fmla="*/ 29 w 339"/>
              <a:gd name="T17" fmla="*/ 154 h 601"/>
              <a:gd name="T18" fmla="*/ 41 w 339"/>
              <a:gd name="T19" fmla="*/ 171 h 601"/>
              <a:gd name="T20" fmla="*/ 27 w 339"/>
              <a:gd name="T21" fmla="*/ 212 h 601"/>
              <a:gd name="T22" fmla="*/ 10 w 339"/>
              <a:gd name="T23" fmla="*/ 228 h 601"/>
              <a:gd name="T24" fmla="*/ 5 w 339"/>
              <a:gd name="T25" fmla="*/ 248 h 601"/>
              <a:gd name="T26" fmla="*/ 0 w 339"/>
              <a:gd name="T27" fmla="*/ 262 h 601"/>
              <a:gd name="T28" fmla="*/ 8 w 339"/>
              <a:gd name="T29" fmla="*/ 301 h 601"/>
              <a:gd name="T30" fmla="*/ 34 w 339"/>
              <a:gd name="T31" fmla="*/ 337 h 601"/>
              <a:gd name="T32" fmla="*/ 65 w 339"/>
              <a:gd name="T33" fmla="*/ 363 h 601"/>
              <a:gd name="T34" fmla="*/ 85 w 339"/>
              <a:gd name="T35" fmla="*/ 404 h 601"/>
              <a:gd name="T36" fmla="*/ 99 w 339"/>
              <a:gd name="T37" fmla="*/ 394 h 601"/>
              <a:gd name="T38" fmla="*/ 123 w 339"/>
              <a:gd name="T39" fmla="*/ 411 h 601"/>
              <a:gd name="T40" fmla="*/ 121 w 339"/>
              <a:gd name="T41" fmla="*/ 440 h 601"/>
              <a:gd name="T42" fmla="*/ 101 w 339"/>
              <a:gd name="T43" fmla="*/ 464 h 601"/>
              <a:gd name="T44" fmla="*/ 121 w 339"/>
              <a:gd name="T45" fmla="*/ 490 h 601"/>
              <a:gd name="T46" fmla="*/ 157 w 339"/>
              <a:gd name="T47" fmla="*/ 510 h 601"/>
              <a:gd name="T48" fmla="*/ 185 w 339"/>
              <a:gd name="T49" fmla="*/ 548 h 601"/>
              <a:gd name="T50" fmla="*/ 193 w 339"/>
              <a:gd name="T51" fmla="*/ 563 h 601"/>
              <a:gd name="T52" fmla="*/ 185 w 339"/>
              <a:gd name="T53" fmla="*/ 572 h 601"/>
              <a:gd name="T54" fmla="*/ 207 w 339"/>
              <a:gd name="T55" fmla="*/ 601 h 601"/>
              <a:gd name="T56" fmla="*/ 212 w 339"/>
              <a:gd name="T57" fmla="*/ 596 h 601"/>
              <a:gd name="T58" fmla="*/ 219 w 339"/>
              <a:gd name="T59" fmla="*/ 579 h 601"/>
              <a:gd name="T60" fmla="*/ 243 w 339"/>
              <a:gd name="T61" fmla="*/ 577 h 601"/>
              <a:gd name="T62" fmla="*/ 265 w 339"/>
              <a:gd name="T63" fmla="*/ 589 h 601"/>
              <a:gd name="T64" fmla="*/ 272 w 339"/>
              <a:gd name="T65" fmla="*/ 563 h 601"/>
              <a:gd name="T66" fmla="*/ 277 w 339"/>
              <a:gd name="T67" fmla="*/ 548 h 601"/>
              <a:gd name="T68" fmla="*/ 305 w 339"/>
              <a:gd name="T69" fmla="*/ 538 h 601"/>
              <a:gd name="T70" fmla="*/ 296 w 339"/>
              <a:gd name="T71" fmla="*/ 524 h 601"/>
              <a:gd name="T72" fmla="*/ 301 w 339"/>
              <a:gd name="T73" fmla="*/ 512 h 601"/>
              <a:gd name="T74" fmla="*/ 303 w 339"/>
              <a:gd name="T75" fmla="*/ 507 h 601"/>
              <a:gd name="T76" fmla="*/ 303 w 339"/>
              <a:gd name="T77" fmla="*/ 498 h 601"/>
              <a:gd name="T78" fmla="*/ 305 w 339"/>
              <a:gd name="T79" fmla="*/ 462 h 601"/>
              <a:gd name="T80" fmla="*/ 327 w 339"/>
              <a:gd name="T81" fmla="*/ 433 h 601"/>
              <a:gd name="T82" fmla="*/ 339 w 339"/>
              <a:gd name="T83" fmla="*/ 404 h 601"/>
              <a:gd name="T84" fmla="*/ 327 w 339"/>
              <a:gd name="T85" fmla="*/ 361 h 601"/>
              <a:gd name="T86" fmla="*/ 329 w 339"/>
              <a:gd name="T87" fmla="*/ 339 h 601"/>
              <a:gd name="T88" fmla="*/ 310 w 339"/>
              <a:gd name="T89" fmla="*/ 79 h 601"/>
              <a:gd name="T90" fmla="*/ 303 w 339"/>
              <a:gd name="T91" fmla="*/ 72 h 601"/>
              <a:gd name="T92" fmla="*/ 296 w 339"/>
              <a:gd name="T93" fmla="*/ 41 h 601"/>
              <a:gd name="T94" fmla="*/ 279 w 339"/>
              <a:gd name="T95" fmla="*/ 19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9" h="601">
                <a:moveTo>
                  <a:pt x="279" y="0"/>
                </a:moveTo>
                <a:lnTo>
                  <a:pt x="58" y="15"/>
                </a:lnTo>
                <a:lnTo>
                  <a:pt x="60" y="19"/>
                </a:lnTo>
                <a:lnTo>
                  <a:pt x="77" y="31"/>
                </a:lnTo>
                <a:lnTo>
                  <a:pt x="80" y="41"/>
                </a:lnTo>
                <a:lnTo>
                  <a:pt x="94" y="51"/>
                </a:lnTo>
                <a:lnTo>
                  <a:pt x="101" y="70"/>
                </a:lnTo>
                <a:lnTo>
                  <a:pt x="99" y="77"/>
                </a:lnTo>
                <a:lnTo>
                  <a:pt x="94" y="89"/>
                </a:lnTo>
                <a:lnTo>
                  <a:pt x="89" y="94"/>
                </a:lnTo>
                <a:lnTo>
                  <a:pt x="89" y="103"/>
                </a:lnTo>
                <a:lnTo>
                  <a:pt x="75" y="120"/>
                </a:lnTo>
                <a:lnTo>
                  <a:pt x="60" y="123"/>
                </a:lnTo>
                <a:lnTo>
                  <a:pt x="58" y="128"/>
                </a:lnTo>
                <a:lnTo>
                  <a:pt x="41" y="128"/>
                </a:lnTo>
                <a:lnTo>
                  <a:pt x="34" y="132"/>
                </a:lnTo>
                <a:lnTo>
                  <a:pt x="27" y="144"/>
                </a:lnTo>
                <a:lnTo>
                  <a:pt x="29" y="154"/>
                </a:lnTo>
                <a:lnTo>
                  <a:pt x="39" y="164"/>
                </a:lnTo>
                <a:lnTo>
                  <a:pt x="41" y="171"/>
                </a:lnTo>
                <a:lnTo>
                  <a:pt x="39" y="185"/>
                </a:lnTo>
                <a:lnTo>
                  <a:pt x="27" y="212"/>
                </a:lnTo>
                <a:lnTo>
                  <a:pt x="15" y="221"/>
                </a:lnTo>
                <a:lnTo>
                  <a:pt x="10" y="228"/>
                </a:lnTo>
                <a:lnTo>
                  <a:pt x="10" y="238"/>
                </a:lnTo>
                <a:lnTo>
                  <a:pt x="5" y="248"/>
                </a:lnTo>
                <a:lnTo>
                  <a:pt x="5" y="250"/>
                </a:lnTo>
                <a:lnTo>
                  <a:pt x="0" y="262"/>
                </a:lnTo>
                <a:lnTo>
                  <a:pt x="3" y="284"/>
                </a:lnTo>
                <a:lnTo>
                  <a:pt x="8" y="301"/>
                </a:lnTo>
                <a:lnTo>
                  <a:pt x="10" y="308"/>
                </a:lnTo>
                <a:lnTo>
                  <a:pt x="34" y="337"/>
                </a:lnTo>
                <a:lnTo>
                  <a:pt x="58" y="356"/>
                </a:lnTo>
                <a:lnTo>
                  <a:pt x="65" y="363"/>
                </a:lnTo>
                <a:lnTo>
                  <a:pt x="80" y="401"/>
                </a:lnTo>
                <a:lnTo>
                  <a:pt x="85" y="404"/>
                </a:lnTo>
                <a:lnTo>
                  <a:pt x="92" y="397"/>
                </a:lnTo>
                <a:lnTo>
                  <a:pt x="99" y="394"/>
                </a:lnTo>
                <a:lnTo>
                  <a:pt x="118" y="404"/>
                </a:lnTo>
                <a:lnTo>
                  <a:pt x="123" y="411"/>
                </a:lnTo>
                <a:lnTo>
                  <a:pt x="118" y="423"/>
                </a:lnTo>
                <a:lnTo>
                  <a:pt x="121" y="440"/>
                </a:lnTo>
                <a:lnTo>
                  <a:pt x="104" y="457"/>
                </a:lnTo>
                <a:lnTo>
                  <a:pt x="101" y="464"/>
                </a:lnTo>
                <a:lnTo>
                  <a:pt x="106" y="476"/>
                </a:lnTo>
                <a:lnTo>
                  <a:pt x="121" y="490"/>
                </a:lnTo>
                <a:lnTo>
                  <a:pt x="145" y="505"/>
                </a:lnTo>
                <a:lnTo>
                  <a:pt x="157" y="510"/>
                </a:lnTo>
                <a:lnTo>
                  <a:pt x="181" y="529"/>
                </a:lnTo>
                <a:lnTo>
                  <a:pt x="185" y="548"/>
                </a:lnTo>
                <a:lnTo>
                  <a:pt x="193" y="558"/>
                </a:lnTo>
                <a:lnTo>
                  <a:pt x="193" y="563"/>
                </a:lnTo>
                <a:lnTo>
                  <a:pt x="185" y="567"/>
                </a:lnTo>
                <a:lnTo>
                  <a:pt x="185" y="572"/>
                </a:lnTo>
                <a:lnTo>
                  <a:pt x="202" y="601"/>
                </a:lnTo>
                <a:lnTo>
                  <a:pt x="207" y="601"/>
                </a:lnTo>
                <a:lnTo>
                  <a:pt x="207" y="596"/>
                </a:lnTo>
                <a:lnTo>
                  <a:pt x="212" y="596"/>
                </a:lnTo>
                <a:lnTo>
                  <a:pt x="214" y="599"/>
                </a:lnTo>
                <a:lnTo>
                  <a:pt x="219" y="579"/>
                </a:lnTo>
                <a:lnTo>
                  <a:pt x="229" y="575"/>
                </a:lnTo>
                <a:lnTo>
                  <a:pt x="243" y="577"/>
                </a:lnTo>
                <a:lnTo>
                  <a:pt x="255" y="582"/>
                </a:lnTo>
                <a:lnTo>
                  <a:pt x="265" y="589"/>
                </a:lnTo>
                <a:lnTo>
                  <a:pt x="277" y="584"/>
                </a:lnTo>
                <a:lnTo>
                  <a:pt x="272" y="563"/>
                </a:lnTo>
                <a:lnTo>
                  <a:pt x="269" y="551"/>
                </a:lnTo>
                <a:lnTo>
                  <a:pt x="277" y="548"/>
                </a:lnTo>
                <a:lnTo>
                  <a:pt x="303" y="541"/>
                </a:lnTo>
                <a:lnTo>
                  <a:pt x="305" y="538"/>
                </a:lnTo>
                <a:lnTo>
                  <a:pt x="296" y="526"/>
                </a:lnTo>
                <a:lnTo>
                  <a:pt x="296" y="524"/>
                </a:lnTo>
                <a:lnTo>
                  <a:pt x="301" y="522"/>
                </a:lnTo>
                <a:lnTo>
                  <a:pt x="301" y="512"/>
                </a:lnTo>
                <a:lnTo>
                  <a:pt x="305" y="507"/>
                </a:lnTo>
                <a:lnTo>
                  <a:pt x="303" y="507"/>
                </a:lnTo>
                <a:lnTo>
                  <a:pt x="303" y="502"/>
                </a:lnTo>
                <a:lnTo>
                  <a:pt x="303" y="498"/>
                </a:lnTo>
                <a:lnTo>
                  <a:pt x="305" y="478"/>
                </a:lnTo>
                <a:lnTo>
                  <a:pt x="305" y="462"/>
                </a:lnTo>
                <a:lnTo>
                  <a:pt x="320" y="450"/>
                </a:lnTo>
                <a:lnTo>
                  <a:pt x="327" y="433"/>
                </a:lnTo>
                <a:lnTo>
                  <a:pt x="329" y="426"/>
                </a:lnTo>
                <a:lnTo>
                  <a:pt x="339" y="404"/>
                </a:lnTo>
                <a:lnTo>
                  <a:pt x="337" y="382"/>
                </a:lnTo>
                <a:lnTo>
                  <a:pt x="327" y="361"/>
                </a:lnTo>
                <a:lnTo>
                  <a:pt x="329" y="349"/>
                </a:lnTo>
                <a:lnTo>
                  <a:pt x="329" y="339"/>
                </a:lnTo>
                <a:lnTo>
                  <a:pt x="332" y="334"/>
                </a:lnTo>
                <a:lnTo>
                  <a:pt x="310" y="79"/>
                </a:lnTo>
                <a:lnTo>
                  <a:pt x="305" y="77"/>
                </a:lnTo>
                <a:lnTo>
                  <a:pt x="303" y="72"/>
                </a:lnTo>
                <a:lnTo>
                  <a:pt x="298" y="48"/>
                </a:lnTo>
                <a:lnTo>
                  <a:pt x="296" y="41"/>
                </a:lnTo>
                <a:lnTo>
                  <a:pt x="286" y="34"/>
                </a:lnTo>
                <a:lnTo>
                  <a:pt x="279" y="19"/>
                </a:lnTo>
                <a:lnTo>
                  <a:pt x="279"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1" name="Freeform 42"/>
          <p:cNvSpPr>
            <a:spLocks/>
          </p:cNvSpPr>
          <p:nvPr/>
        </p:nvSpPr>
        <p:spPr bwMode="auto">
          <a:xfrm>
            <a:off x="9950729" y="3773690"/>
            <a:ext cx="1185863" cy="514350"/>
          </a:xfrm>
          <a:custGeom>
            <a:avLst/>
            <a:gdLst>
              <a:gd name="T0" fmla="*/ 9 w 747"/>
              <a:gd name="T1" fmla="*/ 262 h 324"/>
              <a:gd name="T2" fmla="*/ 19 w 747"/>
              <a:gd name="T3" fmla="*/ 247 h 324"/>
              <a:gd name="T4" fmla="*/ 28 w 747"/>
              <a:gd name="T5" fmla="*/ 228 h 324"/>
              <a:gd name="T6" fmla="*/ 86 w 747"/>
              <a:gd name="T7" fmla="*/ 197 h 324"/>
              <a:gd name="T8" fmla="*/ 110 w 747"/>
              <a:gd name="T9" fmla="*/ 173 h 324"/>
              <a:gd name="T10" fmla="*/ 120 w 747"/>
              <a:gd name="T11" fmla="*/ 168 h 324"/>
              <a:gd name="T12" fmla="*/ 132 w 747"/>
              <a:gd name="T13" fmla="*/ 158 h 324"/>
              <a:gd name="T14" fmla="*/ 144 w 747"/>
              <a:gd name="T15" fmla="*/ 156 h 324"/>
              <a:gd name="T16" fmla="*/ 175 w 747"/>
              <a:gd name="T17" fmla="*/ 144 h 324"/>
              <a:gd name="T18" fmla="*/ 204 w 747"/>
              <a:gd name="T19" fmla="*/ 106 h 324"/>
              <a:gd name="T20" fmla="*/ 206 w 747"/>
              <a:gd name="T21" fmla="*/ 84 h 324"/>
              <a:gd name="T22" fmla="*/ 228 w 747"/>
              <a:gd name="T23" fmla="*/ 82 h 324"/>
              <a:gd name="T24" fmla="*/ 264 w 747"/>
              <a:gd name="T25" fmla="*/ 77 h 324"/>
              <a:gd name="T26" fmla="*/ 706 w 747"/>
              <a:gd name="T27" fmla="*/ 5 h 324"/>
              <a:gd name="T28" fmla="*/ 718 w 747"/>
              <a:gd name="T29" fmla="*/ 12 h 324"/>
              <a:gd name="T30" fmla="*/ 730 w 747"/>
              <a:gd name="T31" fmla="*/ 31 h 324"/>
              <a:gd name="T32" fmla="*/ 725 w 747"/>
              <a:gd name="T33" fmla="*/ 36 h 324"/>
              <a:gd name="T34" fmla="*/ 713 w 747"/>
              <a:gd name="T35" fmla="*/ 33 h 324"/>
              <a:gd name="T36" fmla="*/ 708 w 747"/>
              <a:gd name="T37" fmla="*/ 36 h 324"/>
              <a:gd name="T38" fmla="*/ 682 w 747"/>
              <a:gd name="T39" fmla="*/ 53 h 324"/>
              <a:gd name="T40" fmla="*/ 660 w 747"/>
              <a:gd name="T41" fmla="*/ 70 h 324"/>
              <a:gd name="T42" fmla="*/ 667 w 747"/>
              <a:gd name="T43" fmla="*/ 72 h 324"/>
              <a:gd name="T44" fmla="*/ 701 w 747"/>
              <a:gd name="T45" fmla="*/ 58 h 324"/>
              <a:gd name="T46" fmla="*/ 713 w 747"/>
              <a:gd name="T47" fmla="*/ 67 h 324"/>
              <a:gd name="T48" fmla="*/ 725 w 747"/>
              <a:gd name="T49" fmla="*/ 72 h 324"/>
              <a:gd name="T50" fmla="*/ 739 w 747"/>
              <a:gd name="T51" fmla="*/ 58 h 324"/>
              <a:gd name="T52" fmla="*/ 747 w 747"/>
              <a:gd name="T53" fmla="*/ 91 h 324"/>
              <a:gd name="T54" fmla="*/ 735 w 747"/>
              <a:gd name="T55" fmla="*/ 108 h 324"/>
              <a:gd name="T56" fmla="*/ 718 w 747"/>
              <a:gd name="T57" fmla="*/ 122 h 324"/>
              <a:gd name="T58" fmla="*/ 691 w 747"/>
              <a:gd name="T59" fmla="*/ 125 h 324"/>
              <a:gd name="T60" fmla="*/ 686 w 747"/>
              <a:gd name="T61" fmla="*/ 120 h 324"/>
              <a:gd name="T62" fmla="*/ 679 w 747"/>
              <a:gd name="T63" fmla="*/ 113 h 324"/>
              <a:gd name="T64" fmla="*/ 677 w 747"/>
              <a:gd name="T65" fmla="*/ 132 h 324"/>
              <a:gd name="T66" fmla="*/ 686 w 747"/>
              <a:gd name="T67" fmla="*/ 137 h 324"/>
              <a:gd name="T68" fmla="*/ 691 w 747"/>
              <a:gd name="T69" fmla="*/ 156 h 324"/>
              <a:gd name="T70" fmla="*/ 660 w 747"/>
              <a:gd name="T71" fmla="*/ 173 h 324"/>
              <a:gd name="T72" fmla="*/ 658 w 747"/>
              <a:gd name="T73" fmla="*/ 180 h 324"/>
              <a:gd name="T74" fmla="*/ 703 w 747"/>
              <a:gd name="T75" fmla="*/ 168 h 324"/>
              <a:gd name="T76" fmla="*/ 715 w 747"/>
              <a:gd name="T77" fmla="*/ 170 h 324"/>
              <a:gd name="T78" fmla="*/ 682 w 747"/>
              <a:gd name="T79" fmla="*/ 199 h 324"/>
              <a:gd name="T80" fmla="*/ 643 w 747"/>
              <a:gd name="T81" fmla="*/ 231 h 324"/>
              <a:gd name="T82" fmla="*/ 638 w 747"/>
              <a:gd name="T83" fmla="*/ 235 h 324"/>
              <a:gd name="T84" fmla="*/ 602 w 747"/>
              <a:gd name="T85" fmla="*/ 279 h 324"/>
              <a:gd name="T86" fmla="*/ 586 w 747"/>
              <a:gd name="T87" fmla="*/ 315 h 324"/>
              <a:gd name="T88" fmla="*/ 432 w 747"/>
              <a:gd name="T89" fmla="*/ 245 h 324"/>
              <a:gd name="T90" fmla="*/ 314 w 747"/>
              <a:gd name="T91" fmla="*/ 231 h 324"/>
              <a:gd name="T92" fmla="*/ 305 w 747"/>
              <a:gd name="T93" fmla="*/ 226 h 324"/>
              <a:gd name="T94" fmla="*/ 187 w 747"/>
              <a:gd name="T95" fmla="*/ 238 h 324"/>
              <a:gd name="T96" fmla="*/ 161 w 747"/>
              <a:gd name="T97" fmla="*/ 255 h 324"/>
              <a:gd name="T98" fmla="*/ 0 w 747"/>
              <a:gd name="T99" fmla="*/ 28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47" h="324">
                <a:moveTo>
                  <a:pt x="0" y="286"/>
                </a:moveTo>
                <a:lnTo>
                  <a:pt x="2" y="262"/>
                </a:lnTo>
                <a:lnTo>
                  <a:pt x="9" y="262"/>
                </a:lnTo>
                <a:lnTo>
                  <a:pt x="12" y="259"/>
                </a:lnTo>
                <a:lnTo>
                  <a:pt x="19" y="255"/>
                </a:lnTo>
                <a:lnTo>
                  <a:pt x="19" y="247"/>
                </a:lnTo>
                <a:lnTo>
                  <a:pt x="19" y="243"/>
                </a:lnTo>
                <a:lnTo>
                  <a:pt x="21" y="238"/>
                </a:lnTo>
                <a:lnTo>
                  <a:pt x="28" y="228"/>
                </a:lnTo>
                <a:lnTo>
                  <a:pt x="45" y="221"/>
                </a:lnTo>
                <a:lnTo>
                  <a:pt x="67" y="216"/>
                </a:lnTo>
                <a:lnTo>
                  <a:pt x="86" y="197"/>
                </a:lnTo>
                <a:lnTo>
                  <a:pt x="93" y="194"/>
                </a:lnTo>
                <a:lnTo>
                  <a:pt x="105" y="182"/>
                </a:lnTo>
                <a:lnTo>
                  <a:pt x="110" y="173"/>
                </a:lnTo>
                <a:lnTo>
                  <a:pt x="110" y="173"/>
                </a:lnTo>
                <a:lnTo>
                  <a:pt x="117" y="173"/>
                </a:lnTo>
                <a:lnTo>
                  <a:pt x="120" y="168"/>
                </a:lnTo>
                <a:lnTo>
                  <a:pt x="122" y="166"/>
                </a:lnTo>
                <a:lnTo>
                  <a:pt x="127" y="158"/>
                </a:lnTo>
                <a:lnTo>
                  <a:pt x="132" y="158"/>
                </a:lnTo>
                <a:lnTo>
                  <a:pt x="137" y="163"/>
                </a:lnTo>
                <a:lnTo>
                  <a:pt x="144" y="158"/>
                </a:lnTo>
                <a:lnTo>
                  <a:pt x="144" y="156"/>
                </a:lnTo>
                <a:lnTo>
                  <a:pt x="156" y="149"/>
                </a:lnTo>
                <a:lnTo>
                  <a:pt x="163" y="144"/>
                </a:lnTo>
                <a:lnTo>
                  <a:pt x="175" y="144"/>
                </a:lnTo>
                <a:lnTo>
                  <a:pt x="189" y="120"/>
                </a:lnTo>
                <a:lnTo>
                  <a:pt x="201" y="113"/>
                </a:lnTo>
                <a:lnTo>
                  <a:pt x="204" y="106"/>
                </a:lnTo>
                <a:lnTo>
                  <a:pt x="204" y="98"/>
                </a:lnTo>
                <a:lnTo>
                  <a:pt x="204" y="91"/>
                </a:lnTo>
                <a:lnTo>
                  <a:pt x="206" y="84"/>
                </a:lnTo>
                <a:lnTo>
                  <a:pt x="206" y="82"/>
                </a:lnTo>
                <a:lnTo>
                  <a:pt x="228" y="77"/>
                </a:lnTo>
                <a:lnTo>
                  <a:pt x="228" y="82"/>
                </a:lnTo>
                <a:lnTo>
                  <a:pt x="249" y="79"/>
                </a:lnTo>
                <a:lnTo>
                  <a:pt x="259" y="77"/>
                </a:lnTo>
                <a:lnTo>
                  <a:pt x="264" y="77"/>
                </a:lnTo>
                <a:lnTo>
                  <a:pt x="490" y="41"/>
                </a:lnTo>
                <a:lnTo>
                  <a:pt x="703" y="0"/>
                </a:lnTo>
                <a:lnTo>
                  <a:pt x="706" y="5"/>
                </a:lnTo>
                <a:lnTo>
                  <a:pt x="708" y="7"/>
                </a:lnTo>
                <a:lnTo>
                  <a:pt x="713" y="12"/>
                </a:lnTo>
                <a:lnTo>
                  <a:pt x="718" y="12"/>
                </a:lnTo>
                <a:lnTo>
                  <a:pt x="722" y="17"/>
                </a:lnTo>
                <a:lnTo>
                  <a:pt x="725" y="21"/>
                </a:lnTo>
                <a:lnTo>
                  <a:pt x="730" y="31"/>
                </a:lnTo>
                <a:lnTo>
                  <a:pt x="727" y="33"/>
                </a:lnTo>
                <a:lnTo>
                  <a:pt x="727" y="36"/>
                </a:lnTo>
                <a:lnTo>
                  <a:pt x="725" y="36"/>
                </a:lnTo>
                <a:lnTo>
                  <a:pt x="725" y="31"/>
                </a:lnTo>
                <a:lnTo>
                  <a:pt x="718" y="33"/>
                </a:lnTo>
                <a:lnTo>
                  <a:pt x="713" y="33"/>
                </a:lnTo>
                <a:lnTo>
                  <a:pt x="708" y="31"/>
                </a:lnTo>
                <a:lnTo>
                  <a:pt x="706" y="33"/>
                </a:lnTo>
                <a:lnTo>
                  <a:pt x="708" y="36"/>
                </a:lnTo>
                <a:lnTo>
                  <a:pt x="708" y="38"/>
                </a:lnTo>
                <a:lnTo>
                  <a:pt x="686" y="48"/>
                </a:lnTo>
                <a:lnTo>
                  <a:pt x="682" y="53"/>
                </a:lnTo>
                <a:lnTo>
                  <a:pt x="674" y="60"/>
                </a:lnTo>
                <a:lnTo>
                  <a:pt x="662" y="62"/>
                </a:lnTo>
                <a:lnTo>
                  <a:pt x="660" y="70"/>
                </a:lnTo>
                <a:lnTo>
                  <a:pt x="660" y="72"/>
                </a:lnTo>
                <a:lnTo>
                  <a:pt x="662" y="74"/>
                </a:lnTo>
                <a:lnTo>
                  <a:pt x="667" y="72"/>
                </a:lnTo>
                <a:lnTo>
                  <a:pt x="679" y="67"/>
                </a:lnTo>
                <a:lnTo>
                  <a:pt x="694" y="62"/>
                </a:lnTo>
                <a:lnTo>
                  <a:pt x="701" y="58"/>
                </a:lnTo>
                <a:lnTo>
                  <a:pt x="713" y="58"/>
                </a:lnTo>
                <a:lnTo>
                  <a:pt x="715" y="60"/>
                </a:lnTo>
                <a:lnTo>
                  <a:pt x="713" y="67"/>
                </a:lnTo>
                <a:lnTo>
                  <a:pt x="715" y="72"/>
                </a:lnTo>
                <a:lnTo>
                  <a:pt x="718" y="74"/>
                </a:lnTo>
                <a:lnTo>
                  <a:pt x="725" y="72"/>
                </a:lnTo>
                <a:lnTo>
                  <a:pt x="725" y="67"/>
                </a:lnTo>
                <a:lnTo>
                  <a:pt x="732" y="58"/>
                </a:lnTo>
                <a:lnTo>
                  <a:pt x="739" y="58"/>
                </a:lnTo>
                <a:lnTo>
                  <a:pt x="744" y="70"/>
                </a:lnTo>
                <a:lnTo>
                  <a:pt x="747" y="86"/>
                </a:lnTo>
                <a:lnTo>
                  <a:pt x="747" y="91"/>
                </a:lnTo>
                <a:lnTo>
                  <a:pt x="747" y="94"/>
                </a:lnTo>
                <a:lnTo>
                  <a:pt x="737" y="103"/>
                </a:lnTo>
                <a:lnTo>
                  <a:pt x="735" y="108"/>
                </a:lnTo>
                <a:lnTo>
                  <a:pt x="732" y="113"/>
                </a:lnTo>
                <a:lnTo>
                  <a:pt x="725" y="120"/>
                </a:lnTo>
                <a:lnTo>
                  <a:pt x="718" y="122"/>
                </a:lnTo>
                <a:lnTo>
                  <a:pt x="710" y="127"/>
                </a:lnTo>
                <a:lnTo>
                  <a:pt x="696" y="125"/>
                </a:lnTo>
                <a:lnTo>
                  <a:pt x="691" y="125"/>
                </a:lnTo>
                <a:lnTo>
                  <a:pt x="691" y="125"/>
                </a:lnTo>
                <a:lnTo>
                  <a:pt x="689" y="125"/>
                </a:lnTo>
                <a:lnTo>
                  <a:pt x="686" y="120"/>
                </a:lnTo>
                <a:lnTo>
                  <a:pt x="686" y="115"/>
                </a:lnTo>
                <a:lnTo>
                  <a:pt x="684" y="113"/>
                </a:lnTo>
                <a:lnTo>
                  <a:pt x="679" y="113"/>
                </a:lnTo>
                <a:lnTo>
                  <a:pt x="677" y="115"/>
                </a:lnTo>
                <a:lnTo>
                  <a:pt x="679" y="127"/>
                </a:lnTo>
                <a:lnTo>
                  <a:pt x="677" y="132"/>
                </a:lnTo>
                <a:lnTo>
                  <a:pt x="677" y="130"/>
                </a:lnTo>
                <a:lnTo>
                  <a:pt x="679" y="137"/>
                </a:lnTo>
                <a:lnTo>
                  <a:pt x="686" y="137"/>
                </a:lnTo>
                <a:lnTo>
                  <a:pt x="691" y="144"/>
                </a:lnTo>
                <a:lnTo>
                  <a:pt x="689" y="151"/>
                </a:lnTo>
                <a:lnTo>
                  <a:pt x="691" y="156"/>
                </a:lnTo>
                <a:lnTo>
                  <a:pt x="674" y="175"/>
                </a:lnTo>
                <a:lnTo>
                  <a:pt x="670" y="175"/>
                </a:lnTo>
                <a:lnTo>
                  <a:pt x="660" y="173"/>
                </a:lnTo>
                <a:lnTo>
                  <a:pt x="653" y="173"/>
                </a:lnTo>
                <a:lnTo>
                  <a:pt x="653" y="175"/>
                </a:lnTo>
                <a:lnTo>
                  <a:pt x="658" y="180"/>
                </a:lnTo>
                <a:lnTo>
                  <a:pt x="677" y="180"/>
                </a:lnTo>
                <a:lnTo>
                  <a:pt x="686" y="175"/>
                </a:lnTo>
                <a:lnTo>
                  <a:pt x="703" y="168"/>
                </a:lnTo>
                <a:lnTo>
                  <a:pt x="706" y="163"/>
                </a:lnTo>
                <a:lnTo>
                  <a:pt x="708" y="163"/>
                </a:lnTo>
                <a:lnTo>
                  <a:pt x="715" y="170"/>
                </a:lnTo>
                <a:lnTo>
                  <a:pt x="708" y="182"/>
                </a:lnTo>
                <a:lnTo>
                  <a:pt x="696" y="197"/>
                </a:lnTo>
                <a:lnTo>
                  <a:pt x="682" y="199"/>
                </a:lnTo>
                <a:lnTo>
                  <a:pt x="674" y="204"/>
                </a:lnTo>
                <a:lnTo>
                  <a:pt x="658" y="207"/>
                </a:lnTo>
                <a:lnTo>
                  <a:pt x="643" y="231"/>
                </a:lnTo>
                <a:lnTo>
                  <a:pt x="636" y="231"/>
                </a:lnTo>
                <a:lnTo>
                  <a:pt x="636" y="233"/>
                </a:lnTo>
                <a:lnTo>
                  <a:pt x="638" y="235"/>
                </a:lnTo>
                <a:lnTo>
                  <a:pt x="622" y="245"/>
                </a:lnTo>
                <a:lnTo>
                  <a:pt x="612" y="257"/>
                </a:lnTo>
                <a:lnTo>
                  <a:pt x="602" y="279"/>
                </a:lnTo>
                <a:lnTo>
                  <a:pt x="598" y="303"/>
                </a:lnTo>
                <a:lnTo>
                  <a:pt x="593" y="310"/>
                </a:lnTo>
                <a:lnTo>
                  <a:pt x="586" y="315"/>
                </a:lnTo>
                <a:lnTo>
                  <a:pt x="550" y="319"/>
                </a:lnTo>
                <a:lnTo>
                  <a:pt x="545" y="324"/>
                </a:lnTo>
                <a:lnTo>
                  <a:pt x="432" y="245"/>
                </a:lnTo>
                <a:lnTo>
                  <a:pt x="333" y="257"/>
                </a:lnTo>
                <a:lnTo>
                  <a:pt x="331" y="243"/>
                </a:lnTo>
                <a:lnTo>
                  <a:pt x="314" y="231"/>
                </a:lnTo>
                <a:lnTo>
                  <a:pt x="307" y="233"/>
                </a:lnTo>
                <a:lnTo>
                  <a:pt x="302" y="231"/>
                </a:lnTo>
                <a:lnTo>
                  <a:pt x="305" y="226"/>
                </a:lnTo>
                <a:lnTo>
                  <a:pt x="302" y="223"/>
                </a:lnTo>
                <a:lnTo>
                  <a:pt x="189" y="238"/>
                </a:lnTo>
                <a:lnTo>
                  <a:pt x="187" y="238"/>
                </a:lnTo>
                <a:lnTo>
                  <a:pt x="185" y="240"/>
                </a:lnTo>
                <a:lnTo>
                  <a:pt x="161" y="250"/>
                </a:lnTo>
                <a:lnTo>
                  <a:pt x="161" y="255"/>
                </a:lnTo>
                <a:lnTo>
                  <a:pt x="153" y="255"/>
                </a:lnTo>
                <a:lnTo>
                  <a:pt x="127" y="267"/>
                </a:lnTo>
                <a:lnTo>
                  <a:pt x="0" y="28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2" name="Freeform 43"/>
          <p:cNvSpPr>
            <a:spLocks/>
          </p:cNvSpPr>
          <p:nvPr/>
        </p:nvSpPr>
        <p:spPr bwMode="auto">
          <a:xfrm>
            <a:off x="9168092" y="3907040"/>
            <a:ext cx="1109663" cy="388937"/>
          </a:xfrm>
          <a:custGeom>
            <a:avLst/>
            <a:gdLst>
              <a:gd name="T0" fmla="*/ 699 w 699"/>
              <a:gd name="T1" fmla="*/ 0 h 245"/>
              <a:gd name="T2" fmla="*/ 557 w 699"/>
              <a:gd name="T3" fmla="*/ 17 h 245"/>
              <a:gd name="T4" fmla="*/ 548 w 699"/>
              <a:gd name="T5" fmla="*/ 22 h 245"/>
              <a:gd name="T6" fmla="*/ 197 w 699"/>
              <a:gd name="T7" fmla="*/ 55 h 245"/>
              <a:gd name="T8" fmla="*/ 190 w 699"/>
              <a:gd name="T9" fmla="*/ 50 h 245"/>
              <a:gd name="T10" fmla="*/ 176 w 699"/>
              <a:gd name="T11" fmla="*/ 53 h 245"/>
              <a:gd name="T12" fmla="*/ 180 w 699"/>
              <a:gd name="T13" fmla="*/ 58 h 245"/>
              <a:gd name="T14" fmla="*/ 180 w 699"/>
              <a:gd name="T15" fmla="*/ 70 h 245"/>
              <a:gd name="T16" fmla="*/ 56 w 699"/>
              <a:gd name="T17" fmla="*/ 79 h 245"/>
              <a:gd name="T18" fmla="*/ 48 w 699"/>
              <a:gd name="T19" fmla="*/ 94 h 245"/>
              <a:gd name="T20" fmla="*/ 44 w 699"/>
              <a:gd name="T21" fmla="*/ 113 h 245"/>
              <a:gd name="T22" fmla="*/ 46 w 699"/>
              <a:gd name="T23" fmla="*/ 118 h 245"/>
              <a:gd name="T24" fmla="*/ 41 w 699"/>
              <a:gd name="T25" fmla="*/ 135 h 245"/>
              <a:gd name="T26" fmla="*/ 39 w 699"/>
              <a:gd name="T27" fmla="*/ 139 h 245"/>
              <a:gd name="T28" fmla="*/ 41 w 699"/>
              <a:gd name="T29" fmla="*/ 144 h 245"/>
              <a:gd name="T30" fmla="*/ 36 w 699"/>
              <a:gd name="T31" fmla="*/ 154 h 245"/>
              <a:gd name="T32" fmla="*/ 27 w 699"/>
              <a:gd name="T33" fmla="*/ 166 h 245"/>
              <a:gd name="T34" fmla="*/ 22 w 699"/>
              <a:gd name="T35" fmla="*/ 187 h 245"/>
              <a:gd name="T36" fmla="*/ 10 w 699"/>
              <a:gd name="T37" fmla="*/ 202 h 245"/>
              <a:gd name="T38" fmla="*/ 12 w 699"/>
              <a:gd name="T39" fmla="*/ 216 h 245"/>
              <a:gd name="T40" fmla="*/ 12 w 699"/>
              <a:gd name="T41" fmla="*/ 235 h 245"/>
              <a:gd name="T42" fmla="*/ 8 w 699"/>
              <a:gd name="T43" fmla="*/ 235 h 245"/>
              <a:gd name="T44" fmla="*/ 0 w 699"/>
              <a:gd name="T45" fmla="*/ 245 h 245"/>
              <a:gd name="T46" fmla="*/ 180 w 699"/>
              <a:gd name="T47" fmla="*/ 233 h 245"/>
              <a:gd name="T48" fmla="*/ 404 w 699"/>
              <a:gd name="T49" fmla="*/ 211 h 245"/>
              <a:gd name="T50" fmla="*/ 493 w 699"/>
              <a:gd name="T51" fmla="*/ 202 h 245"/>
              <a:gd name="T52" fmla="*/ 495 w 699"/>
              <a:gd name="T53" fmla="*/ 178 h 245"/>
              <a:gd name="T54" fmla="*/ 502 w 699"/>
              <a:gd name="T55" fmla="*/ 178 h 245"/>
              <a:gd name="T56" fmla="*/ 505 w 699"/>
              <a:gd name="T57" fmla="*/ 175 h 245"/>
              <a:gd name="T58" fmla="*/ 512 w 699"/>
              <a:gd name="T59" fmla="*/ 171 h 245"/>
              <a:gd name="T60" fmla="*/ 512 w 699"/>
              <a:gd name="T61" fmla="*/ 163 h 245"/>
              <a:gd name="T62" fmla="*/ 512 w 699"/>
              <a:gd name="T63" fmla="*/ 159 h 245"/>
              <a:gd name="T64" fmla="*/ 514 w 699"/>
              <a:gd name="T65" fmla="*/ 154 h 245"/>
              <a:gd name="T66" fmla="*/ 521 w 699"/>
              <a:gd name="T67" fmla="*/ 144 h 245"/>
              <a:gd name="T68" fmla="*/ 538 w 699"/>
              <a:gd name="T69" fmla="*/ 137 h 245"/>
              <a:gd name="T70" fmla="*/ 560 w 699"/>
              <a:gd name="T71" fmla="*/ 132 h 245"/>
              <a:gd name="T72" fmla="*/ 579 w 699"/>
              <a:gd name="T73" fmla="*/ 113 h 245"/>
              <a:gd name="T74" fmla="*/ 586 w 699"/>
              <a:gd name="T75" fmla="*/ 110 h 245"/>
              <a:gd name="T76" fmla="*/ 598 w 699"/>
              <a:gd name="T77" fmla="*/ 98 h 245"/>
              <a:gd name="T78" fmla="*/ 603 w 699"/>
              <a:gd name="T79" fmla="*/ 89 h 245"/>
              <a:gd name="T80" fmla="*/ 603 w 699"/>
              <a:gd name="T81" fmla="*/ 89 h 245"/>
              <a:gd name="T82" fmla="*/ 610 w 699"/>
              <a:gd name="T83" fmla="*/ 89 h 245"/>
              <a:gd name="T84" fmla="*/ 613 w 699"/>
              <a:gd name="T85" fmla="*/ 84 h 245"/>
              <a:gd name="T86" fmla="*/ 615 w 699"/>
              <a:gd name="T87" fmla="*/ 82 h 245"/>
              <a:gd name="T88" fmla="*/ 620 w 699"/>
              <a:gd name="T89" fmla="*/ 74 h 245"/>
              <a:gd name="T90" fmla="*/ 625 w 699"/>
              <a:gd name="T91" fmla="*/ 74 h 245"/>
              <a:gd name="T92" fmla="*/ 630 w 699"/>
              <a:gd name="T93" fmla="*/ 79 h 245"/>
              <a:gd name="T94" fmla="*/ 637 w 699"/>
              <a:gd name="T95" fmla="*/ 74 h 245"/>
              <a:gd name="T96" fmla="*/ 637 w 699"/>
              <a:gd name="T97" fmla="*/ 72 h 245"/>
              <a:gd name="T98" fmla="*/ 649 w 699"/>
              <a:gd name="T99" fmla="*/ 65 h 245"/>
              <a:gd name="T100" fmla="*/ 656 w 699"/>
              <a:gd name="T101" fmla="*/ 60 h 245"/>
              <a:gd name="T102" fmla="*/ 668 w 699"/>
              <a:gd name="T103" fmla="*/ 60 h 245"/>
              <a:gd name="T104" fmla="*/ 682 w 699"/>
              <a:gd name="T105" fmla="*/ 36 h 245"/>
              <a:gd name="T106" fmla="*/ 694 w 699"/>
              <a:gd name="T107" fmla="*/ 29 h 245"/>
              <a:gd name="T108" fmla="*/ 697 w 699"/>
              <a:gd name="T109" fmla="*/ 22 h 245"/>
              <a:gd name="T110" fmla="*/ 697 w 699"/>
              <a:gd name="T111" fmla="*/ 14 h 245"/>
              <a:gd name="T112" fmla="*/ 697 w 699"/>
              <a:gd name="T113" fmla="*/ 7 h 245"/>
              <a:gd name="T114" fmla="*/ 699 w 699"/>
              <a:gd name="T11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99" h="245">
                <a:moveTo>
                  <a:pt x="699" y="0"/>
                </a:moveTo>
                <a:lnTo>
                  <a:pt x="557" y="17"/>
                </a:lnTo>
                <a:lnTo>
                  <a:pt x="548" y="22"/>
                </a:lnTo>
                <a:lnTo>
                  <a:pt x="197" y="55"/>
                </a:lnTo>
                <a:lnTo>
                  <a:pt x="190" y="50"/>
                </a:lnTo>
                <a:lnTo>
                  <a:pt x="176" y="53"/>
                </a:lnTo>
                <a:lnTo>
                  <a:pt x="180" y="58"/>
                </a:lnTo>
                <a:lnTo>
                  <a:pt x="180" y="70"/>
                </a:lnTo>
                <a:lnTo>
                  <a:pt x="56" y="79"/>
                </a:lnTo>
                <a:lnTo>
                  <a:pt x="48" y="94"/>
                </a:lnTo>
                <a:lnTo>
                  <a:pt x="44" y="113"/>
                </a:lnTo>
                <a:lnTo>
                  <a:pt x="46" y="118"/>
                </a:lnTo>
                <a:lnTo>
                  <a:pt x="41" y="135"/>
                </a:lnTo>
                <a:lnTo>
                  <a:pt x="39" y="139"/>
                </a:lnTo>
                <a:lnTo>
                  <a:pt x="41" y="144"/>
                </a:lnTo>
                <a:lnTo>
                  <a:pt x="36" y="154"/>
                </a:lnTo>
                <a:lnTo>
                  <a:pt x="27" y="166"/>
                </a:lnTo>
                <a:lnTo>
                  <a:pt x="22" y="187"/>
                </a:lnTo>
                <a:lnTo>
                  <a:pt x="10" y="202"/>
                </a:lnTo>
                <a:lnTo>
                  <a:pt x="12" y="216"/>
                </a:lnTo>
                <a:lnTo>
                  <a:pt x="12" y="235"/>
                </a:lnTo>
                <a:lnTo>
                  <a:pt x="8" y="235"/>
                </a:lnTo>
                <a:lnTo>
                  <a:pt x="0" y="245"/>
                </a:lnTo>
                <a:lnTo>
                  <a:pt x="180" y="233"/>
                </a:lnTo>
                <a:lnTo>
                  <a:pt x="404" y="211"/>
                </a:lnTo>
                <a:lnTo>
                  <a:pt x="493" y="202"/>
                </a:lnTo>
                <a:lnTo>
                  <a:pt x="495" y="178"/>
                </a:lnTo>
                <a:lnTo>
                  <a:pt x="502" y="178"/>
                </a:lnTo>
                <a:lnTo>
                  <a:pt x="505" y="175"/>
                </a:lnTo>
                <a:lnTo>
                  <a:pt x="512" y="171"/>
                </a:lnTo>
                <a:lnTo>
                  <a:pt x="512" y="163"/>
                </a:lnTo>
                <a:lnTo>
                  <a:pt x="512" y="159"/>
                </a:lnTo>
                <a:lnTo>
                  <a:pt x="514" y="154"/>
                </a:lnTo>
                <a:lnTo>
                  <a:pt x="521" y="144"/>
                </a:lnTo>
                <a:lnTo>
                  <a:pt x="538" y="137"/>
                </a:lnTo>
                <a:lnTo>
                  <a:pt x="560" y="132"/>
                </a:lnTo>
                <a:lnTo>
                  <a:pt x="579" y="113"/>
                </a:lnTo>
                <a:lnTo>
                  <a:pt x="586" y="110"/>
                </a:lnTo>
                <a:lnTo>
                  <a:pt x="598" y="98"/>
                </a:lnTo>
                <a:lnTo>
                  <a:pt x="603" y="89"/>
                </a:lnTo>
                <a:lnTo>
                  <a:pt x="603" y="89"/>
                </a:lnTo>
                <a:lnTo>
                  <a:pt x="610" y="89"/>
                </a:lnTo>
                <a:lnTo>
                  <a:pt x="613" y="84"/>
                </a:lnTo>
                <a:lnTo>
                  <a:pt x="615" y="82"/>
                </a:lnTo>
                <a:lnTo>
                  <a:pt x="620" y="74"/>
                </a:lnTo>
                <a:lnTo>
                  <a:pt x="625" y="74"/>
                </a:lnTo>
                <a:lnTo>
                  <a:pt x="630" y="79"/>
                </a:lnTo>
                <a:lnTo>
                  <a:pt x="637" y="74"/>
                </a:lnTo>
                <a:lnTo>
                  <a:pt x="637" y="72"/>
                </a:lnTo>
                <a:lnTo>
                  <a:pt x="649" y="65"/>
                </a:lnTo>
                <a:lnTo>
                  <a:pt x="656" y="60"/>
                </a:lnTo>
                <a:lnTo>
                  <a:pt x="668" y="60"/>
                </a:lnTo>
                <a:lnTo>
                  <a:pt x="682" y="36"/>
                </a:lnTo>
                <a:lnTo>
                  <a:pt x="694" y="29"/>
                </a:lnTo>
                <a:lnTo>
                  <a:pt x="697" y="22"/>
                </a:lnTo>
                <a:lnTo>
                  <a:pt x="697" y="14"/>
                </a:lnTo>
                <a:lnTo>
                  <a:pt x="697" y="7"/>
                </a:lnTo>
                <a:lnTo>
                  <a:pt x="699"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3" name="Freeform 44"/>
          <p:cNvSpPr>
            <a:spLocks/>
          </p:cNvSpPr>
          <p:nvPr/>
        </p:nvSpPr>
        <p:spPr bwMode="auto">
          <a:xfrm>
            <a:off x="10125354" y="4127703"/>
            <a:ext cx="690563" cy="523875"/>
          </a:xfrm>
          <a:custGeom>
            <a:avLst/>
            <a:gdLst>
              <a:gd name="T0" fmla="*/ 257 w 435"/>
              <a:gd name="T1" fmla="*/ 330 h 330"/>
              <a:gd name="T2" fmla="*/ 240 w 435"/>
              <a:gd name="T3" fmla="*/ 327 h 330"/>
              <a:gd name="T4" fmla="*/ 233 w 435"/>
              <a:gd name="T5" fmla="*/ 298 h 330"/>
              <a:gd name="T6" fmla="*/ 209 w 435"/>
              <a:gd name="T7" fmla="*/ 279 h 330"/>
              <a:gd name="T8" fmla="*/ 192 w 435"/>
              <a:gd name="T9" fmla="*/ 245 h 330"/>
              <a:gd name="T10" fmla="*/ 183 w 435"/>
              <a:gd name="T11" fmla="*/ 231 h 330"/>
              <a:gd name="T12" fmla="*/ 156 w 435"/>
              <a:gd name="T13" fmla="*/ 214 h 330"/>
              <a:gd name="T14" fmla="*/ 147 w 435"/>
              <a:gd name="T15" fmla="*/ 200 h 330"/>
              <a:gd name="T16" fmla="*/ 137 w 435"/>
              <a:gd name="T17" fmla="*/ 188 h 330"/>
              <a:gd name="T18" fmla="*/ 96 w 435"/>
              <a:gd name="T19" fmla="*/ 157 h 330"/>
              <a:gd name="T20" fmla="*/ 79 w 435"/>
              <a:gd name="T21" fmla="*/ 142 h 330"/>
              <a:gd name="T22" fmla="*/ 60 w 435"/>
              <a:gd name="T23" fmla="*/ 116 h 330"/>
              <a:gd name="T24" fmla="*/ 48 w 435"/>
              <a:gd name="T25" fmla="*/ 101 h 330"/>
              <a:gd name="T26" fmla="*/ 7 w 435"/>
              <a:gd name="T27" fmla="*/ 87 h 330"/>
              <a:gd name="T28" fmla="*/ 7 w 435"/>
              <a:gd name="T29" fmla="*/ 60 h 330"/>
              <a:gd name="T30" fmla="*/ 17 w 435"/>
              <a:gd name="T31" fmla="*/ 51 h 330"/>
              <a:gd name="T32" fmla="*/ 17 w 435"/>
              <a:gd name="T33" fmla="*/ 44 h 330"/>
              <a:gd name="T34" fmla="*/ 51 w 435"/>
              <a:gd name="T35" fmla="*/ 32 h 330"/>
              <a:gd name="T36" fmla="*/ 75 w 435"/>
              <a:gd name="T37" fmla="*/ 17 h 330"/>
              <a:gd name="T38" fmla="*/ 79 w 435"/>
              <a:gd name="T39" fmla="*/ 15 h 330"/>
              <a:gd name="T40" fmla="*/ 195 w 435"/>
              <a:gd name="T41" fmla="*/ 3 h 330"/>
              <a:gd name="T42" fmla="*/ 197 w 435"/>
              <a:gd name="T43" fmla="*/ 10 h 330"/>
              <a:gd name="T44" fmla="*/ 221 w 435"/>
              <a:gd name="T45" fmla="*/ 20 h 330"/>
              <a:gd name="T46" fmla="*/ 322 w 435"/>
              <a:gd name="T47" fmla="*/ 22 h 330"/>
              <a:gd name="T48" fmla="*/ 432 w 435"/>
              <a:gd name="T49" fmla="*/ 104 h 330"/>
              <a:gd name="T50" fmla="*/ 416 w 435"/>
              <a:gd name="T51" fmla="*/ 121 h 330"/>
              <a:gd name="T52" fmla="*/ 396 w 435"/>
              <a:gd name="T53" fmla="*/ 149 h 330"/>
              <a:gd name="T54" fmla="*/ 392 w 435"/>
              <a:gd name="T55" fmla="*/ 173 h 330"/>
              <a:gd name="T56" fmla="*/ 389 w 435"/>
              <a:gd name="T57" fmla="*/ 188 h 330"/>
              <a:gd name="T58" fmla="*/ 380 w 435"/>
              <a:gd name="T59" fmla="*/ 193 h 330"/>
              <a:gd name="T60" fmla="*/ 370 w 435"/>
              <a:gd name="T61" fmla="*/ 205 h 330"/>
              <a:gd name="T62" fmla="*/ 358 w 435"/>
              <a:gd name="T63" fmla="*/ 221 h 330"/>
              <a:gd name="T64" fmla="*/ 336 w 435"/>
              <a:gd name="T65" fmla="*/ 245 h 330"/>
              <a:gd name="T66" fmla="*/ 320 w 435"/>
              <a:gd name="T67" fmla="*/ 260 h 330"/>
              <a:gd name="T68" fmla="*/ 308 w 435"/>
              <a:gd name="T69" fmla="*/ 270 h 330"/>
              <a:gd name="T70" fmla="*/ 293 w 435"/>
              <a:gd name="T71" fmla="*/ 277 h 330"/>
              <a:gd name="T72" fmla="*/ 291 w 435"/>
              <a:gd name="T73" fmla="*/ 282 h 330"/>
              <a:gd name="T74" fmla="*/ 286 w 435"/>
              <a:gd name="T75" fmla="*/ 294 h 330"/>
              <a:gd name="T76" fmla="*/ 271 w 435"/>
              <a:gd name="T77" fmla="*/ 298 h 330"/>
              <a:gd name="T78" fmla="*/ 269 w 435"/>
              <a:gd name="T79" fmla="*/ 303 h 330"/>
              <a:gd name="T80" fmla="*/ 274 w 435"/>
              <a:gd name="T81" fmla="*/ 306 h 330"/>
              <a:gd name="T82" fmla="*/ 276 w 435"/>
              <a:gd name="T83" fmla="*/ 313 h 330"/>
              <a:gd name="T84" fmla="*/ 264 w 435"/>
              <a:gd name="T85" fmla="*/ 322 h 330"/>
              <a:gd name="T86" fmla="*/ 262 w 435"/>
              <a:gd name="T87"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5" h="330">
                <a:moveTo>
                  <a:pt x="262" y="330"/>
                </a:moveTo>
                <a:lnTo>
                  <a:pt x="257" y="330"/>
                </a:lnTo>
                <a:lnTo>
                  <a:pt x="245" y="330"/>
                </a:lnTo>
                <a:lnTo>
                  <a:pt x="240" y="327"/>
                </a:lnTo>
                <a:lnTo>
                  <a:pt x="238" y="320"/>
                </a:lnTo>
                <a:lnTo>
                  <a:pt x="233" y="298"/>
                </a:lnTo>
                <a:lnTo>
                  <a:pt x="221" y="284"/>
                </a:lnTo>
                <a:lnTo>
                  <a:pt x="209" y="279"/>
                </a:lnTo>
                <a:lnTo>
                  <a:pt x="202" y="258"/>
                </a:lnTo>
                <a:lnTo>
                  <a:pt x="192" y="245"/>
                </a:lnTo>
                <a:lnTo>
                  <a:pt x="190" y="233"/>
                </a:lnTo>
                <a:lnTo>
                  <a:pt x="183" y="231"/>
                </a:lnTo>
                <a:lnTo>
                  <a:pt x="166" y="226"/>
                </a:lnTo>
                <a:lnTo>
                  <a:pt x="156" y="214"/>
                </a:lnTo>
                <a:lnTo>
                  <a:pt x="147" y="207"/>
                </a:lnTo>
                <a:lnTo>
                  <a:pt x="147" y="200"/>
                </a:lnTo>
                <a:lnTo>
                  <a:pt x="142" y="190"/>
                </a:lnTo>
                <a:lnTo>
                  <a:pt x="137" y="188"/>
                </a:lnTo>
                <a:lnTo>
                  <a:pt x="123" y="181"/>
                </a:lnTo>
                <a:lnTo>
                  <a:pt x="96" y="157"/>
                </a:lnTo>
                <a:lnTo>
                  <a:pt x="84" y="152"/>
                </a:lnTo>
                <a:lnTo>
                  <a:pt x="79" y="142"/>
                </a:lnTo>
                <a:lnTo>
                  <a:pt x="67" y="133"/>
                </a:lnTo>
                <a:lnTo>
                  <a:pt x="60" y="116"/>
                </a:lnTo>
                <a:lnTo>
                  <a:pt x="51" y="108"/>
                </a:lnTo>
                <a:lnTo>
                  <a:pt x="48" y="101"/>
                </a:lnTo>
                <a:lnTo>
                  <a:pt x="31" y="96"/>
                </a:lnTo>
                <a:lnTo>
                  <a:pt x="7" y="87"/>
                </a:lnTo>
                <a:lnTo>
                  <a:pt x="0" y="80"/>
                </a:lnTo>
                <a:lnTo>
                  <a:pt x="7" y="60"/>
                </a:lnTo>
                <a:lnTo>
                  <a:pt x="15" y="56"/>
                </a:lnTo>
                <a:lnTo>
                  <a:pt x="17" y="51"/>
                </a:lnTo>
                <a:lnTo>
                  <a:pt x="19" y="46"/>
                </a:lnTo>
                <a:lnTo>
                  <a:pt x="17" y="44"/>
                </a:lnTo>
                <a:lnTo>
                  <a:pt x="43" y="32"/>
                </a:lnTo>
                <a:lnTo>
                  <a:pt x="51" y="32"/>
                </a:lnTo>
                <a:lnTo>
                  <a:pt x="51" y="27"/>
                </a:lnTo>
                <a:lnTo>
                  <a:pt x="75" y="17"/>
                </a:lnTo>
                <a:lnTo>
                  <a:pt x="77" y="15"/>
                </a:lnTo>
                <a:lnTo>
                  <a:pt x="79" y="15"/>
                </a:lnTo>
                <a:lnTo>
                  <a:pt x="192" y="0"/>
                </a:lnTo>
                <a:lnTo>
                  <a:pt x="195" y="3"/>
                </a:lnTo>
                <a:lnTo>
                  <a:pt x="192" y="8"/>
                </a:lnTo>
                <a:lnTo>
                  <a:pt x="197" y="10"/>
                </a:lnTo>
                <a:lnTo>
                  <a:pt x="204" y="8"/>
                </a:lnTo>
                <a:lnTo>
                  <a:pt x="221" y="20"/>
                </a:lnTo>
                <a:lnTo>
                  <a:pt x="223" y="34"/>
                </a:lnTo>
                <a:lnTo>
                  <a:pt x="322" y="22"/>
                </a:lnTo>
                <a:lnTo>
                  <a:pt x="435" y="101"/>
                </a:lnTo>
                <a:lnTo>
                  <a:pt x="432" y="104"/>
                </a:lnTo>
                <a:lnTo>
                  <a:pt x="423" y="108"/>
                </a:lnTo>
                <a:lnTo>
                  <a:pt x="416" y="121"/>
                </a:lnTo>
                <a:lnTo>
                  <a:pt x="404" y="135"/>
                </a:lnTo>
                <a:lnTo>
                  <a:pt x="396" y="149"/>
                </a:lnTo>
                <a:lnTo>
                  <a:pt x="392" y="161"/>
                </a:lnTo>
                <a:lnTo>
                  <a:pt x="392" y="173"/>
                </a:lnTo>
                <a:lnTo>
                  <a:pt x="392" y="183"/>
                </a:lnTo>
                <a:lnTo>
                  <a:pt x="389" y="188"/>
                </a:lnTo>
                <a:lnTo>
                  <a:pt x="387" y="193"/>
                </a:lnTo>
                <a:lnTo>
                  <a:pt x="380" y="193"/>
                </a:lnTo>
                <a:lnTo>
                  <a:pt x="375" y="197"/>
                </a:lnTo>
                <a:lnTo>
                  <a:pt x="370" y="205"/>
                </a:lnTo>
                <a:lnTo>
                  <a:pt x="363" y="214"/>
                </a:lnTo>
                <a:lnTo>
                  <a:pt x="358" y="221"/>
                </a:lnTo>
                <a:lnTo>
                  <a:pt x="344" y="231"/>
                </a:lnTo>
                <a:lnTo>
                  <a:pt x="336" y="245"/>
                </a:lnTo>
                <a:lnTo>
                  <a:pt x="329" y="250"/>
                </a:lnTo>
                <a:lnTo>
                  <a:pt x="320" y="260"/>
                </a:lnTo>
                <a:lnTo>
                  <a:pt x="312" y="265"/>
                </a:lnTo>
                <a:lnTo>
                  <a:pt x="308" y="270"/>
                </a:lnTo>
                <a:lnTo>
                  <a:pt x="298" y="274"/>
                </a:lnTo>
                <a:lnTo>
                  <a:pt x="293" y="277"/>
                </a:lnTo>
                <a:lnTo>
                  <a:pt x="291" y="279"/>
                </a:lnTo>
                <a:lnTo>
                  <a:pt x="291" y="282"/>
                </a:lnTo>
                <a:lnTo>
                  <a:pt x="291" y="284"/>
                </a:lnTo>
                <a:lnTo>
                  <a:pt x="286" y="294"/>
                </a:lnTo>
                <a:lnTo>
                  <a:pt x="279" y="298"/>
                </a:lnTo>
                <a:lnTo>
                  <a:pt x="271" y="298"/>
                </a:lnTo>
                <a:lnTo>
                  <a:pt x="271" y="301"/>
                </a:lnTo>
                <a:lnTo>
                  <a:pt x="269" y="303"/>
                </a:lnTo>
                <a:lnTo>
                  <a:pt x="271" y="306"/>
                </a:lnTo>
                <a:lnTo>
                  <a:pt x="274" y="306"/>
                </a:lnTo>
                <a:lnTo>
                  <a:pt x="276" y="308"/>
                </a:lnTo>
                <a:lnTo>
                  <a:pt x="276" y="313"/>
                </a:lnTo>
                <a:lnTo>
                  <a:pt x="271" y="315"/>
                </a:lnTo>
                <a:lnTo>
                  <a:pt x="264" y="322"/>
                </a:lnTo>
                <a:lnTo>
                  <a:pt x="262" y="327"/>
                </a:lnTo>
                <a:lnTo>
                  <a:pt x="262" y="33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4" name="Freeform 45"/>
          <p:cNvSpPr>
            <a:spLocks/>
          </p:cNvSpPr>
          <p:nvPr/>
        </p:nvSpPr>
        <p:spPr bwMode="auto">
          <a:xfrm>
            <a:off x="9453842" y="4242003"/>
            <a:ext cx="519113" cy="831850"/>
          </a:xfrm>
          <a:custGeom>
            <a:avLst/>
            <a:gdLst>
              <a:gd name="T0" fmla="*/ 0 w 327"/>
              <a:gd name="T1" fmla="*/ 22 h 524"/>
              <a:gd name="T2" fmla="*/ 8 w 327"/>
              <a:gd name="T3" fmla="*/ 32 h 524"/>
              <a:gd name="T4" fmla="*/ 0 w 327"/>
              <a:gd name="T5" fmla="*/ 347 h 524"/>
              <a:gd name="T6" fmla="*/ 3 w 327"/>
              <a:gd name="T7" fmla="*/ 361 h 524"/>
              <a:gd name="T8" fmla="*/ 22 w 327"/>
              <a:gd name="T9" fmla="*/ 522 h 524"/>
              <a:gd name="T10" fmla="*/ 27 w 327"/>
              <a:gd name="T11" fmla="*/ 517 h 524"/>
              <a:gd name="T12" fmla="*/ 32 w 327"/>
              <a:gd name="T13" fmla="*/ 515 h 524"/>
              <a:gd name="T14" fmla="*/ 46 w 327"/>
              <a:gd name="T15" fmla="*/ 520 h 524"/>
              <a:gd name="T16" fmla="*/ 48 w 327"/>
              <a:gd name="T17" fmla="*/ 512 h 524"/>
              <a:gd name="T18" fmla="*/ 51 w 327"/>
              <a:gd name="T19" fmla="*/ 491 h 524"/>
              <a:gd name="T20" fmla="*/ 58 w 327"/>
              <a:gd name="T21" fmla="*/ 474 h 524"/>
              <a:gd name="T22" fmla="*/ 68 w 327"/>
              <a:gd name="T23" fmla="*/ 491 h 524"/>
              <a:gd name="T24" fmla="*/ 65 w 327"/>
              <a:gd name="T25" fmla="*/ 496 h 524"/>
              <a:gd name="T26" fmla="*/ 70 w 327"/>
              <a:gd name="T27" fmla="*/ 508 h 524"/>
              <a:gd name="T28" fmla="*/ 80 w 327"/>
              <a:gd name="T29" fmla="*/ 522 h 524"/>
              <a:gd name="T30" fmla="*/ 89 w 327"/>
              <a:gd name="T31" fmla="*/ 524 h 524"/>
              <a:gd name="T32" fmla="*/ 97 w 327"/>
              <a:gd name="T33" fmla="*/ 522 h 524"/>
              <a:gd name="T34" fmla="*/ 109 w 327"/>
              <a:gd name="T35" fmla="*/ 510 h 524"/>
              <a:gd name="T36" fmla="*/ 111 w 327"/>
              <a:gd name="T37" fmla="*/ 510 h 524"/>
              <a:gd name="T38" fmla="*/ 116 w 327"/>
              <a:gd name="T39" fmla="*/ 505 h 524"/>
              <a:gd name="T40" fmla="*/ 116 w 327"/>
              <a:gd name="T41" fmla="*/ 503 h 524"/>
              <a:gd name="T42" fmla="*/ 113 w 327"/>
              <a:gd name="T43" fmla="*/ 500 h 524"/>
              <a:gd name="T44" fmla="*/ 109 w 327"/>
              <a:gd name="T45" fmla="*/ 498 h 524"/>
              <a:gd name="T46" fmla="*/ 109 w 327"/>
              <a:gd name="T47" fmla="*/ 496 h 524"/>
              <a:gd name="T48" fmla="*/ 113 w 327"/>
              <a:gd name="T49" fmla="*/ 486 h 524"/>
              <a:gd name="T50" fmla="*/ 111 w 327"/>
              <a:gd name="T51" fmla="*/ 484 h 524"/>
              <a:gd name="T52" fmla="*/ 104 w 327"/>
              <a:gd name="T53" fmla="*/ 476 h 524"/>
              <a:gd name="T54" fmla="*/ 101 w 327"/>
              <a:gd name="T55" fmla="*/ 476 h 524"/>
              <a:gd name="T56" fmla="*/ 97 w 327"/>
              <a:gd name="T57" fmla="*/ 472 h 524"/>
              <a:gd name="T58" fmla="*/ 89 w 327"/>
              <a:gd name="T59" fmla="*/ 462 h 524"/>
              <a:gd name="T60" fmla="*/ 89 w 327"/>
              <a:gd name="T61" fmla="*/ 455 h 524"/>
              <a:gd name="T62" fmla="*/ 92 w 327"/>
              <a:gd name="T63" fmla="*/ 452 h 524"/>
              <a:gd name="T64" fmla="*/ 92 w 327"/>
              <a:gd name="T65" fmla="*/ 450 h 524"/>
              <a:gd name="T66" fmla="*/ 92 w 327"/>
              <a:gd name="T67" fmla="*/ 445 h 524"/>
              <a:gd name="T68" fmla="*/ 327 w 327"/>
              <a:gd name="T69" fmla="*/ 421 h 524"/>
              <a:gd name="T70" fmla="*/ 327 w 327"/>
              <a:gd name="T71" fmla="*/ 416 h 524"/>
              <a:gd name="T72" fmla="*/ 315 w 327"/>
              <a:gd name="T73" fmla="*/ 399 h 524"/>
              <a:gd name="T74" fmla="*/ 317 w 327"/>
              <a:gd name="T75" fmla="*/ 371 h 524"/>
              <a:gd name="T76" fmla="*/ 305 w 327"/>
              <a:gd name="T77" fmla="*/ 347 h 524"/>
              <a:gd name="T78" fmla="*/ 305 w 327"/>
              <a:gd name="T79" fmla="*/ 327 h 524"/>
              <a:gd name="T80" fmla="*/ 310 w 327"/>
              <a:gd name="T81" fmla="*/ 315 h 524"/>
              <a:gd name="T82" fmla="*/ 310 w 327"/>
              <a:gd name="T83" fmla="*/ 301 h 524"/>
              <a:gd name="T84" fmla="*/ 317 w 327"/>
              <a:gd name="T85" fmla="*/ 289 h 524"/>
              <a:gd name="T86" fmla="*/ 320 w 327"/>
              <a:gd name="T87" fmla="*/ 286 h 524"/>
              <a:gd name="T88" fmla="*/ 313 w 327"/>
              <a:gd name="T89" fmla="*/ 277 h 524"/>
              <a:gd name="T90" fmla="*/ 315 w 327"/>
              <a:gd name="T91" fmla="*/ 267 h 524"/>
              <a:gd name="T92" fmla="*/ 310 w 327"/>
              <a:gd name="T93" fmla="*/ 260 h 524"/>
              <a:gd name="T94" fmla="*/ 301 w 327"/>
              <a:gd name="T95" fmla="*/ 255 h 524"/>
              <a:gd name="T96" fmla="*/ 298 w 327"/>
              <a:gd name="T97" fmla="*/ 248 h 524"/>
              <a:gd name="T98" fmla="*/ 293 w 327"/>
              <a:gd name="T99" fmla="*/ 234 h 524"/>
              <a:gd name="T100" fmla="*/ 289 w 327"/>
              <a:gd name="T101" fmla="*/ 226 h 524"/>
              <a:gd name="T102" fmla="*/ 224 w 327"/>
              <a:gd name="T103" fmla="*/ 0 h 524"/>
              <a:gd name="T104" fmla="*/ 0 w 327"/>
              <a:gd name="T105" fmla="*/ 2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7" h="524">
                <a:moveTo>
                  <a:pt x="0" y="22"/>
                </a:moveTo>
                <a:lnTo>
                  <a:pt x="8" y="32"/>
                </a:lnTo>
                <a:lnTo>
                  <a:pt x="0" y="347"/>
                </a:lnTo>
                <a:lnTo>
                  <a:pt x="3" y="361"/>
                </a:lnTo>
                <a:lnTo>
                  <a:pt x="22" y="522"/>
                </a:lnTo>
                <a:lnTo>
                  <a:pt x="27" y="517"/>
                </a:lnTo>
                <a:lnTo>
                  <a:pt x="32" y="515"/>
                </a:lnTo>
                <a:lnTo>
                  <a:pt x="46" y="520"/>
                </a:lnTo>
                <a:lnTo>
                  <a:pt x="48" y="512"/>
                </a:lnTo>
                <a:lnTo>
                  <a:pt x="51" y="491"/>
                </a:lnTo>
                <a:lnTo>
                  <a:pt x="58" y="474"/>
                </a:lnTo>
                <a:lnTo>
                  <a:pt x="68" y="491"/>
                </a:lnTo>
                <a:lnTo>
                  <a:pt x="65" y="496"/>
                </a:lnTo>
                <a:lnTo>
                  <a:pt x="70" y="508"/>
                </a:lnTo>
                <a:lnTo>
                  <a:pt x="80" y="522"/>
                </a:lnTo>
                <a:lnTo>
                  <a:pt x="89" y="524"/>
                </a:lnTo>
                <a:lnTo>
                  <a:pt x="97" y="522"/>
                </a:lnTo>
                <a:lnTo>
                  <a:pt x="109" y="510"/>
                </a:lnTo>
                <a:lnTo>
                  <a:pt x="111" y="510"/>
                </a:lnTo>
                <a:lnTo>
                  <a:pt x="116" y="505"/>
                </a:lnTo>
                <a:lnTo>
                  <a:pt x="116" y="503"/>
                </a:lnTo>
                <a:lnTo>
                  <a:pt x="113" y="500"/>
                </a:lnTo>
                <a:lnTo>
                  <a:pt x="109" y="498"/>
                </a:lnTo>
                <a:lnTo>
                  <a:pt x="109" y="496"/>
                </a:lnTo>
                <a:lnTo>
                  <a:pt x="113" y="486"/>
                </a:lnTo>
                <a:lnTo>
                  <a:pt x="111" y="484"/>
                </a:lnTo>
                <a:lnTo>
                  <a:pt x="104" y="476"/>
                </a:lnTo>
                <a:lnTo>
                  <a:pt x="101" y="476"/>
                </a:lnTo>
                <a:lnTo>
                  <a:pt x="97" y="472"/>
                </a:lnTo>
                <a:lnTo>
                  <a:pt x="89" y="462"/>
                </a:lnTo>
                <a:lnTo>
                  <a:pt x="89" y="455"/>
                </a:lnTo>
                <a:lnTo>
                  <a:pt x="92" y="452"/>
                </a:lnTo>
                <a:lnTo>
                  <a:pt x="92" y="450"/>
                </a:lnTo>
                <a:lnTo>
                  <a:pt x="92" y="445"/>
                </a:lnTo>
                <a:lnTo>
                  <a:pt x="327" y="421"/>
                </a:lnTo>
                <a:lnTo>
                  <a:pt x="327" y="416"/>
                </a:lnTo>
                <a:lnTo>
                  <a:pt x="315" y="399"/>
                </a:lnTo>
                <a:lnTo>
                  <a:pt x="317" y="371"/>
                </a:lnTo>
                <a:lnTo>
                  <a:pt x="305" y="347"/>
                </a:lnTo>
                <a:lnTo>
                  <a:pt x="305" y="327"/>
                </a:lnTo>
                <a:lnTo>
                  <a:pt x="310" y="315"/>
                </a:lnTo>
                <a:lnTo>
                  <a:pt x="310" y="301"/>
                </a:lnTo>
                <a:lnTo>
                  <a:pt x="317" y="289"/>
                </a:lnTo>
                <a:lnTo>
                  <a:pt x="320" y="286"/>
                </a:lnTo>
                <a:lnTo>
                  <a:pt x="313" y="277"/>
                </a:lnTo>
                <a:lnTo>
                  <a:pt x="315" y="267"/>
                </a:lnTo>
                <a:lnTo>
                  <a:pt x="310" y="260"/>
                </a:lnTo>
                <a:lnTo>
                  <a:pt x="301" y="255"/>
                </a:lnTo>
                <a:lnTo>
                  <a:pt x="298" y="248"/>
                </a:lnTo>
                <a:lnTo>
                  <a:pt x="293" y="234"/>
                </a:lnTo>
                <a:lnTo>
                  <a:pt x="289" y="226"/>
                </a:lnTo>
                <a:lnTo>
                  <a:pt x="224" y="0"/>
                </a:lnTo>
                <a:lnTo>
                  <a:pt x="0" y="2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5" name="Freeform 46"/>
          <p:cNvSpPr>
            <a:spLocks/>
          </p:cNvSpPr>
          <p:nvPr/>
        </p:nvSpPr>
        <p:spPr bwMode="auto">
          <a:xfrm>
            <a:off x="9012517" y="4276928"/>
            <a:ext cx="476250" cy="831850"/>
          </a:xfrm>
          <a:custGeom>
            <a:avLst/>
            <a:gdLst>
              <a:gd name="T0" fmla="*/ 278 w 300"/>
              <a:gd name="T1" fmla="*/ 0 h 524"/>
              <a:gd name="T2" fmla="*/ 98 w 300"/>
              <a:gd name="T3" fmla="*/ 12 h 524"/>
              <a:gd name="T4" fmla="*/ 96 w 300"/>
              <a:gd name="T5" fmla="*/ 17 h 524"/>
              <a:gd name="T6" fmla="*/ 79 w 300"/>
              <a:gd name="T7" fmla="*/ 34 h 524"/>
              <a:gd name="T8" fmla="*/ 74 w 300"/>
              <a:gd name="T9" fmla="*/ 48 h 524"/>
              <a:gd name="T10" fmla="*/ 74 w 300"/>
              <a:gd name="T11" fmla="*/ 67 h 524"/>
              <a:gd name="T12" fmla="*/ 72 w 300"/>
              <a:gd name="T13" fmla="*/ 77 h 524"/>
              <a:gd name="T14" fmla="*/ 58 w 300"/>
              <a:gd name="T15" fmla="*/ 87 h 524"/>
              <a:gd name="T16" fmla="*/ 46 w 300"/>
              <a:gd name="T17" fmla="*/ 101 h 524"/>
              <a:gd name="T18" fmla="*/ 43 w 300"/>
              <a:gd name="T19" fmla="*/ 106 h 524"/>
              <a:gd name="T20" fmla="*/ 43 w 300"/>
              <a:gd name="T21" fmla="*/ 120 h 524"/>
              <a:gd name="T22" fmla="*/ 33 w 300"/>
              <a:gd name="T23" fmla="*/ 130 h 524"/>
              <a:gd name="T24" fmla="*/ 33 w 300"/>
              <a:gd name="T25" fmla="*/ 139 h 524"/>
              <a:gd name="T26" fmla="*/ 29 w 300"/>
              <a:gd name="T27" fmla="*/ 154 h 524"/>
              <a:gd name="T28" fmla="*/ 19 w 300"/>
              <a:gd name="T29" fmla="*/ 168 h 524"/>
              <a:gd name="T30" fmla="*/ 24 w 300"/>
              <a:gd name="T31" fmla="*/ 185 h 524"/>
              <a:gd name="T32" fmla="*/ 31 w 300"/>
              <a:gd name="T33" fmla="*/ 195 h 524"/>
              <a:gd name="T34" fmla="*/ 33 w 300"/>
              <a:gd name="T35" fmla="*/ 204 h 524"/>
              <a:gd name="T36" fmla="*/ 36 w 300"/>
              <a:gd name="T37" fmla="*/ 209 h 524"/>
              <a:gd name="T38" fmla="*/ 36 w 300"/>
              <a:gd name="T39" fmla="*/ 212 h 524"/>
              <a:gd name="T40" fmla="*/ 31 w 300"/>
              <a:gd name="T41" fmla="*/ 216 h 524"/>
              <a:gd name="T42" fmla="*/ 29 w 300"/>
              <a:gd name="T43" fmla="*/ 226 h 524"/>
              <a:gd name="T44" fmla="*/ 29 w 300"/>
              <a:gd name="T45" fmla="*/ 231 h 524"/>
              <a:gd name="T46" fmla="*/ 29 w 300"/>
              <a:gd name="T47" fmla="*/ 240 h 524"/>
              <a:gd name="T48" fmla="*/ 41 w 300"/>
              <a:gd name="T49" fmla="*/ 262 h 524"/>
              <a:gd name="T50" fmla="*/ 43 w 300"/>
              <a:gd name="T51" fmla="*/ 281 h 524"/>
              <a:gd name="T52" fmla="*/ 48 w 300"/>
              <a:gd name="T53" fmla="*/ 293 h 524"/>
              <a:gd name="T54" fmla="*/ 53 w 300"/>
              <a:gd name="T55" fmla="*/ 298 h 524"/>
              <a:gd name="T56" fmla="*/ 53 w 300"/>
              <a:gd name="T57" fmla="*/ 310 h 524"/>
              <a:gd name="T58" fmla="*/ 43 w 300"/>
              <a:gd name="T59" fmla="*/ 315 h 524"/>
              <a:gd name="T60" fmla="*/ 38 w 300"/>
              <a:gd name="T61" fmla="*/ 320 h 524"/>
              <a:gd name="T62" fmla="*/ 33 w 300"/>
              <a:gd name="T63" fmla="*/ 341 h 524"/>
              <a:gd name="T64" fmla="*/ 17 w 300"/>
              <a:gd name="T65" fmla="*/ 368 h 524"/>
              <a:gd name="T66" fmla="*/ 2 w 300"/>
              <a:gd name="T67" fmla="*/ 413 h 524"/>
              <a:gd name="T68" fmla="*/ 0 w 300"/>
              <a:gd name="T69" fmla="*/ 447 h 524"/>
              <a:gd name="T70" fmla="*/ 168 w 300"/>
              <a:gd name="T71" fmla="*/ 440 h 524"/>
              <a:gd name="T72" fmla="*/ 173 w 300"/>
              <a:gd name="T73" fmla="*/ 445 h 524"/>
              <a:gd name="T74" fmla="*/ 168 w 300"/>
              <a:gd name="T75" fmla="*/ 462 h 524"/>
              <a:gd name="T76" fmla="*/ 168 w 300"/>
              <a:gd name="T77" fmla="*/ 486 h 524"/>
              <a:gd name="T78" fmla="*/ 187 w 300"/>
              <a:gd name="T79" fmla="*/ 502 h 524"/>
              <a:gd name="T80" fmla="*/ 190 w 300"/>
              <a:gd name="T81" fmla="*/ 522 h 524"/>
              <a:gd name="T82" fmla="*/ 202 w 300"/>
              <a:gd name="T83" fmla="*/ 524 h 524"/>
              <a:gd name="T84" fmla="*/ 221 w 300"/>
              <a:gd name="T85" fmla="*/ 507 h 524"/>
              <a:gd name="T86" fmla="*/ 262 w 300"/>
              <a:gd name="T87" fmla="*/ 495 h 524"/>
              <a:gd name="T88" fmla="*/ 271 w 300"/>
              <a:gd name="T89" fmla="*/ 500 h 524"/>
              <a:gd name="T90" fmla="*/ 286 w 300"/>
              <a:gd name="T91" fmla="*/ 495 h 524"/>
              <a:gd name="T92" fmla="*/ 288 w 300"/>
              <a:gd name="T93" fmla="*/ 498 h 524"/>
              <a:gd name="T94" fmla="*/ 298 w 300"/>
              <a:gd name="T95" fmla="*/ 500 h 524"/>
              <a:gd name="T96" fmla="*/ 300 w 300"/>
              <a:gd name="T97" fmla="*/ 500 h 524"/>
              <a:gd name="T98" fmla="*/ 281 w 300"/>
              <a:gd name="T99" fmla="*/ 339 h 524"/>
              <a:gd name="T100" fmla="*/ 278 w 300"/>
              <a:gd name="T101" fmla="*/ 325 h 524"/>
              <a:gd name="T102" fmla="*/ 286 w 300"/>
              <a:gd name="T103" fmla="*/ 10 h 524"/>
              <a:gd name="T104" fmla="*/ 278 w 300"/>
              <a:gd name="T105"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0" h="524">
                <a:moveTo>
                  <a:pt x="278" y="0"/>
                </a:moveTo>
                <a:lnTo>
                  <a:pt x="98" y="12"/>
                </a:lnTo>
                <a:lnTo>
                  <a:pt x="96" y="17"/>
                </a:lnTo>
                <a:lnTo>
                  <a:pt x="79" y="34"/>
                </a:lnTo>
                <a:lnTo>
                  <a:pt x="74" y="48"/>
                </a:lnTo>
                <a:lnTo>
                  <a:pt x="74" y="67"/>
                </a:lnTo>
                <a:lnTo>
                  <a:pt x="72" y="77"/>
                </a:lnTo>
                <a:lnTo>
                  <a:pt x="58" y="87"/>
                </a:lnTo>
                <a:lnTo>
                  <a:pt x="46" y="101"/>
                </a:lnTo>
                <a:lnTo>
                  <a:pt x="43" y="106"/>
                </a:lnTo>
                <a:lnTo>
                  <a:pt x="43" y="120"/>
                </a:lnTo>
                <a:lnTo>
                  <a:pt x="33" y="130"/>
                </a:lnTo>
                <a:lnTo>
                  <a:pt x="33" y="139"/>
                </a:lnTo>
                <a:lnTo>
                  <a:pt x="29" y="154"/>
                </a:lnTo>
                <a:lnTo>
                  <a:pt x="19" y="168"/>
                </a:lnTo>
                <a:lnTo>
                  <a:pt x="24" y="185"/>
                </a:lnTo>
                <a:lnTo>
                  <a:pt x="31" y="195"/>
                </a:lnTo>
                <a:lnTo>
                  <a:pt x="33" y="204"/>
                </a:lnTo>
                <a:lnTo>
                  <a:pt x="36" y="209"/>
                </a:lnTo>
                <a:lnTo>
                  <a:pt x="36" y="212"/>
                </a:lnTo>
                <a:lnTo>
                  <a:pt x="31" y="216"/>
                </a:lnTo>
                <a:lnTo>
                  <a:pt x="29" y="226"/>
                </a:lnTo>
                <a:lnTo>
                  <a:pt x="29" y="231"/>
                </a:lnTo>
                <a:lnTo>
                  <a:pt x="29" y="240"/>
                </a:lnTo>
                <a:lnTo>
                  <a:pt x="41" y="262"/>
                </a:lnTo>
                <a:lnTo>
                  <a:pt x="43" y="281"/>
                </a:lnTo>
                <a:lnTo>
                  <a:pt x="48" y="293"/>
                </a:lnTo>
                <a:lnTo>
                  <a:pt x="53" y="298"/>
                </a:lnTo>
                <a:lnTo>
                  <a:pt x="53" y="310"/>
                </a:lnTo>
                <a:lnTo>
                  <a:pt x="43" y="315"/>
                </a:lnTo>
                <a:lnTo>
                  <a:pt x="38" y="320"/>
                </a:lnTo>
                <a:lnTo>
                  <a:pt x="33" y="341"/>
                </a:lnTo>
                <a:lnTo>
                  <a:pt x="17" y="368"/>
                </a:lnTo>
                <a:lnTo>
                  <a:pt x="2" y="413"/>
                </a:lnTo>
                <a:lnTo>
                  <a:pt x="0" y="447"/>
                </a:lnTo>
                <a:lnTo>
                  <a:pt x="168" y="440"/>
                </a:lnTo>
                <a:lnTo>
                  <a:pt x="173" y="445"/>
                </a:lnTo>
                <a:lnTo>
                  <a:pt x="168" y="462"/>
                </a:lnTo>
                <a:lnTo>
                  <a:pt x="168" y="486"/>
                </a:lnTo>
                <a:lnTo>
                  <a:pt x="187" y="502"/>
                </a:lnTo>
                <a:lnTo>
                  <a:pt x="190" y="522"/>
                </a:lnTo>
                <a:lnTo>
                  <a:pt x="202" y="524"/>
                </a:lnTo>
                <a:lnTo>
                  <a:pt x="221" y="507"/>
                </a:lnTo>
                <a:lnTo>
                  <a:pt x="262" y="495"/>
                </a:lnTo>
                <a:lnTo>
                  <a:pt x="271" y="500"/>
                </a:lnTo>
                <a:lnTo>
                  <a:pt x="286" y="495"/>
                </a:lnTo>
                <a:lnTo>
                  <a:pt x="288" y="498"/>
                </a:lnTo>
                <a:lnTo>
                  <a:pt x="298" y="500"/>
                </a:lnTo>
                <a:lnTo>
                  <a:pt x="300" y="500"/>
                </a:lnTo>
                <a:lnTo>
                  <a:pt x="281" y="339"/>
                </a:lnTo>
                <a:lnTo>
                  <a:pt x="278" y="325"/>
                </a:lnTo>
                <a:lnTo>
                  <a:pt x="286" y="10"/>
                </a:lnTo>
                <a:lnTo>
                  <a:pt x="278"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6" name="Freeform 47"/>
          <p:cNvSpPr>
            <a:spLocks/>
          </p:cNvSpPr>
          <p:nvPr/>
        </p:nvSpPr>
        <p:spPr bwMode="auto">
          <a:xfrm>
            <a:off x="8561667" y="4037215"/>
            <a:ext cx="671513" cy="617537"/>
          </a:xfrm>
          <a:custGeom>
            <a:avLst/>
            <a:gdLst>
              <a:gd name="T0" fmla="*/ 0 w 423"/>
              <a:gd name="T1" fmla="*/ 16 h 389"/>
              <a:gd name="T2" fmla="*/ 380 w 423"/>
              <a:gd name="T3" fmla="*/ 0 h 389"/>
              <a:gd name="T4" fmla="*/ 380 w 423"/>
              <a:gd name="T5" fmla="*/ 4 h 389"/>
              <a:gd name="T6" fmla="*/ 387 w 423"/>
              <a:gd name="T7" fmla="*/ 9 h 389"/>
              <a:gd name="T8" fmla="*/ 390 w 423"/>
              <a:gd name="T9" fmla="*/ 19 h 389"/>
              <a:gd name="T10" fmla="*/ 390 w 423"/>
              <a:gd name="T11" fmla="*/ 28 h 389"/>
              <a:gd name="T12" fmla="*/ 378 w 423"/>
              <a:gd name="T13" fmla="*/ 38 h 389"/>
              <a:gd name="T14" fmla="*/ 368 w 423"/>
              <a:gd name="T15" fmla="*/ 48 h 389"/>
              <a:gd name="T16" fmla="*/ 366 w 423"/>
              <a:gd name="T17" fmla="*/ 57 h 389"/>
              <a:gd name="T18" fmla="*/ 423 w 423"/>
              <a:gd name="T19" fmla="*/ 53 h 389"/>
              <a:gd name="T20" fmla="*/ 421 w 423"/>
              <a:gd name="T21" fmla="*/ 57 h 389"/>
              <a:gd name="T22" fmla="*/ 423 w 423"/>
              <a:gd name="T23" fmla="*/ 62 h 389"/>
              <a:gd name="T24" fmla="*/ 418 w 423"/>
              <a:gd name="T25" fmla="*/ 72 h 389"/>
              <a:gd name="T26" fmla="*/ 409 w 423"/>
              <a:gd name="T27" fmla="*/ 84 h 389"/>
              <a:gd name="T28" fmla="*/ 404 w 423"/>
              <a:gd name="T29" fmla="*/ 105 h 389"/>
              <a:gd name="T30" fmla="*/ 392 w 423"/>
              <a:gd name="T31" fmla="*/ 120 h 389"/>
              <a:gd name="T32" fmla="*/ 394 w 423"/>
              <a:gd name="T33" fmla="*/ 134 h 389"/>
              <a:gd name="T34" fmla="*/ 394 w 423"/>
              <a:gd name="T35" fmla="*/ 153 h 389"/>
              <a:gd name="T36" fmla="*/ 390 w 423"/>
              <a:gd name="T37" fmla="*/ 153 h 389"/>
              <a:gd name="T38" fmla="*/ 382 w 423"/>
              <a:gd name="T39" fmla="*/ 163 h 389"/>
              <a:gd name="T40" fmla="*/ 380 w 423"/>
              <a:gd name="T41" fmla="*/ 168 h 389"/>
              <a:gd name="T42" fmla="*/ 363 w 423"/>
              <a:gd name="T43" fmla="*/ 185 h 389"/>
              <a:gd name="T44" fmla="*/ 358 w 423"/>
              <a:gd name="T45" fmla="*/ 199 h 389"/>
              <a:gd name="T46" fmla="*/ 358 w 423"/>
              <a:gd name="T47" fmla="*/ 218 h 389"/>
              <a:gd name="T48" fmla="*/ 356 w 423"/>
              <a:gd name="T49" fmla="*/ 228 h 389"/>
              <a:gd name="T50" fmla="*/ 342 w 423"/>
              <a:gd name="T51" fmla="*/ 238 h 389"/>
              <a:gd name="T52" fmla="*/ 330 w 423"/>
              <a:gd name="T53" fmla="*/ 252 h 389"/>
              <a:gd name="T54" fmla="*/ 327 w 423"/>
              <a:gd name="T55" fmla="*/ 257 h 389"/>
              <a:gd name="T56" fmla="*/ 327 w 423"/>
              <a:gd name="T57" fmla="*/ 271 h 389"/>
              <a:gd name="T58" fmla="*/ 317 w 423"/>
              <a:gd name="T59" fmla="*/ 281 h 389"/>
              <a:gd name="T60" fmla="*/ 317 w 423"/>
              <a:gd name="T61" fmla="*/ 290 h 389"/>
              <a:gd name="T62" fmla="*/ 313 w 423"/>
              <a:gd name="T63" fmla="*/ 305 h 389"/>
              <a:gd name="T64" fmla="*/ 303 w 423"/>
              <a:gd name="T65" fmla="*/ 319 h 389"/>
              <a:gd name="T66" fmla="*/ 308 w 423"/>
              <a:gd name="T67" fmla="*/ 336 h 389"/>
              <a:gd name="T68" fmla="*/ 315 w 423"/>
              <a:gd name="T69" fmla="*/ 346 h 389"/>
              <a:gd name="T70" fmla="*/ 317 w 423"/>
              <a:gd name="T71" fmla="*/ 355 h 389"/>
              <a:gd name="T72" fmla="*/ 320 w 423"/>
              <a:gd name="T73" fmla="*/ 360 h 389"/>
              <a:gd name="T74" fmla="*/ 320 w 423"/>
              <a:gd name="T75" fmla="*/ 363 h 389"/>
              <a:gd name="T76" fmla="*/ 315 w 423"/>
              <a:gd name="T77" fmla="*/ 367 h 389"/>
              <a:gd name="T78" fmla="*/ 313 w 423"/>
              <a:gd name="T79" fmla="*/ 377 h 389"/>
              <a:gd name="T80" fmla="*/ 313 w 423"/>
              <a:gd name="T81" fmla="*/ 382 h 389"/>
              <a:gd name="T82" fmla="*/ 56 w 423"/>
              <a:gd name="T83" fmla="*/ 389 h 389"/>
              <a:gd name="T84" fmla="*/ 56 w 423"/>
              <a:gd name="T85" fmla="*/ 334 h 389"/>
              <a:gd name="T86" fmla="*/ 41 w 423"/>
              <a:gd name="T87" fmla="*/ 329 h 389"/>
              <a:gd name="T88" fmla="*/ 29 w 423"/>
              <a:gd name="T89" fmla="*/ 334 h 389"/>
              <a:gd name="T90" fmla="*/ 25 w 423"/>
              <a:gd name="T91" fmla="*/ 334 h 389"/>
              <a:gd name="T92" fmla="*/ 13 w 423"/>
              <a:gd name="T93" fmla="*/ 324 h 389"/>
              <a:gd name="T94" fmla="*/ 15 w 423"/>
              <a:gd name="T95" fmla="*/ 134 h 389"/>
              <a:gd name="T96" fmla="*/ 0 w 423"/>
              <a:gd name="T97" fmla="*/ 16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3" h="389">
                <a:moveTo>
                  <a:pt x="0" y="16"/>
                </a:moveTo>
                <a:lnTo>
                  <a:pt x="380" y="0"/>
                </a:lnTo>
                <a:lnTo>
                  <a:pt x="380" y="4"/>
                </a:lnTo>
                <a:lnTo>
                  <a:pt x="387" y="9"/>
                </a:lnTo>
                <a:lnTo>
                  <a:pt x="390" y="19"/>
                </a:lnTo>
                <a:lnTo>
                  <a:pt x="390" y="28"/>
                </a:lnTo>
                <a:lnTo>
                  <a:pt x="378" y="38"/>
                </a:lnTo>
                <a:lnTo>
                  <a:pt x="368" y="48"/>
                </a:lnTo>
                <a:lnTo>
                  <a:pt x="366" y="57"/>
                </a:lnTo>
                <a:lnTo>
                  <a:pt x="423" y="53"/>
                </a:lnTo>
                <a:lnTo>
                  <a:pt x="421" y="57"/>
                </a:lnTo>
                <a:lnTo>
                  <a:pt x="423" y="62"/>
                </a:lnTo>
                <a:lnTo>
                  <a:pt x="418" y="72"/>
                </a:lnTo>
                <a:lnTo>
                  <a:pt x="409" y="84"/>
                </a:lnTo>
                <a:lnTo>
                  <a:pt x="404" y="105"/>
                </a:lnTo>
                <a:lnTo>
                  <a:pt x="392" y="120"/>
                </a:lnTo>
                <a:lnTo>
                  <a:pt x="394" y="134"/>
                </a:lnTo>
                <a:lnTo>
                  <a:pt x="394" y="153"/>
                </a:lnTo>
                <a:lnTo>
                  <a:pt x="390" y="153"/>
                </a:lnTo>
                <a:lnTo>
                  <a:pt x="382" y="163"/>
                </a:lnTo>
                <a:lnTo>
                  <a:pt x="380" y="168"/>
                </a:lnTo>
                <a:lnTo>
                  <a:pt x="363" y="185"/>
                </a:lnTo>
                <a:lnTo>
                  <a:pt x="358" y="199"/>
                </a:lnTo>
                <a:lnTo>
                  <a:pt x="358" y="218"/>
                </a:lnTo>
                <a:lnTo>
                  <a:pt x="356" y="228"/>
                </a:lnTo>
                <a:lnTo>
                  <a:pt x="342" y="238"/>
                </a:lnTo>
                <a:lnTo>
                  <a:pt x="330" y="252"/>
                </a:lnTo>
                <a:lnTo>
                  <a:pt x="327" y="257"/>
                </a:lnTo>
                <a:lnTo>
                  <a:pt x="327" y="271"/>
                </a:lnTo>
                <a:lnTo>
                  <a:pt x="317" y="281"/>
                </a:lnTo>
                <a:lnTo>
                  <a:pt x="317" y="290"/>
                </a:lnTo>
                <a:lnTo>
                  <a:pt x="313" y="305"/>
                </a:lnTo>
                <a:lnTo>
                  <a:pt x="303" y="319"/>
                </a:lnTo>
                <a:lnTo>
                  <a:pt x="308" y="336"/>
                </a:lnTo>
                <a:lnTo>
                  <a:pt x="315" y="346"/>
                </a:lnTo>
                <a:lnTo>
                  <a:pt x="317" y="355"/>
                </a:lnTo>
                <a:lnTo>
                  <a:pt x="320" y="360"/>
                </a:lnTo>
                <a:lnTo>
                  <a:pt x="320" y="363"/>
                </a:lnTo>
                <a:lnTo>
                  <a:pt x="315" y="367"/>
                </a:lnTo>
                <a:lnTo>
                  <a:pt x="313" y="377"/>
                </a:lnTo>
                <a:lnTo>
                  <a:pt x="313" y="382"/>
                </a:lnTo>
                <a:lnTo>
                  <a:pt x="56" y="389"/>
                </a:lnTo>
                <a:lnTo>
                  <a:pt x="56" y="334"/>
                </a:lnTo>
                <a:lnTo>
                  <a:pt x="41" y="329"/>
                </a:lnTo>
                <a:lnTo>
                  <a:pt x="29" y="334"/>
                </a:lnTo>
                <a:lnTo>
                  <a:pt x="25" y="334"/>
                </a:lnTo>
                <a:lnTo>
                  <a:pt x="13" y="324"/>
                </a:lnTo>
                <a:lnTo>
                  <a:pt x="15" y="134"/>
                </a:lnTo>
                <a:lnTo>
                  <a:pt x="0" y="1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7" name="Freeform 48"/>
          <p:cNvSpPr>
            <a:spLocks/>
          </p:cNvSpPr>
          <p:nvPr/>
        </p:nvSpPr>
        <p:spPr bwMode="auto">
          <a:xfrm>
            <a:off x="8650567" y="4643640"/>
            <a:ext cx="765175" cy="666750"/>
          </a:xfrm>
          <a:custGeom>
            <a:avLst/>
            <a:gdLst>
              <a:gd name="T0" fmla="*/ 257 w 482"/>
              <a:gd name="T1" fmla="*/ 9 h 420"/>
              <a:gd name="T2" fmla="*/ 276 w 482"/>
              <a:gd name="T3" fmla="*/ 62 h 420"/>
              <a:gd name="T4" fmla="*/ 271 w 482"/>
              <a:gd name="T5" fmla="*/ 84 h 420"/>
              <a:gd name="T6" fmla="*/ 245 w 482"/>
              <a:gd name="T7" fmla="*/ 137 h 420"/>
              <a:gd name="T8" fmla="*/ 396 w 482"/>
              <a:gd name="T9" fmla="*/ 209 h 420"/>
              <a:gd name="T10" fmla="*/ 396 w 482"/>
              <a:gd name="T11" fmla="*/ 255 h 420"/>
              <a:gd name="T12" fmla="*/ 394 w 482"/>
              <a:gd name="T13" fmla="*/ 286 h 420"/>
              <a:gd name="T14" fmla="*/ 360 w 482"/>
              <a:gd name="T15" fmla="*/ 279 h 420"/>
              <a:gd name="T16" fmla="*/ 350 w 482"/>
              <a:gd name="T17" fmla="*/ 310 h 420"/>
              <a:gd name="T18" fmla="*/ 386 w 482"/>
              <a:gd name="T19" fmla="*/ 303 h 420"/>
              <a:gd name="T20" fmla="*/ 410 w 482"/>
              <a:gd name="T21" fmla="*/ 300 h 420"/>
              <a:gd name="T22" fmla="*/ 401 w 482"/>
              <a:gd name="T23" fmla="*/ 312 h 420"/>
              <a:gd name="T24" fmla="*/ 415 w 482"/>
              <a:gd name="T25" fmla="*/ 324 h 420"/>
              <a:gd name="T26" fmla="*/ 446 w 482"/>
              <a:gd name="T27" fmla="*/ 300 h 420"/>
              <a:gd name="T28" fmla="*/ 461 w 482"/>
              <a:gd name="T29" fmla="*/ 303 h 420"/>
              <a:gd name="T30" fmla="*/ 458 w 482"/>
              <a:gd name="T31" fmla="*/ 319 h 420"/>
              <a:gd name="T32" fmla="*/ 422 w 482"/>
              <a:gd name="T33" fmla="*/ 353 h 420"/>
              <a:gd name="T34" fmla="*/ 446 w 482"/>
              <a:gd name="T35" fmla="*/ 382 h 420"/>
              <a:gd name="T36" fmla="*/ 480 w 482"/>
              <a:gd name="T37" fmla="*/ 408 h 420"/>
              <a:gd name="T38" fmla="*/ 446 w 482"/>
              <a:gd name="T39" fmla="*/ 401 h 420"/>
              <a:gd name="T40" fmla="*/ 401 w 482"/>
              <a:gd name="T41" fmla="*/ 375 h 420"/>
              <a:gd name="T42" fmla="*/ 384 w 482"/>
              <a:gd name="T43" fmla="*/ 394 h 420"/>
              <a:gd name="T44" fmla="*/ 372 w 482"/>
              <a:gd name="T45" fmla="*/ 411 h 420"/>
              <a:gd name="T46" fmla="*/ 355 w 482"/>
              <a:gd name="T47" fmla="*/ 396 h 420"/>
              <a:gd name="T48" fmla="*/ 336 w 482"/>
              <a:gd name="T49" fmla="*/ 396 h 420"/>
              <a:gd name="T50" fmla="*/ 305 w 482"/>
              <a:gd name="T51" fmla="*/ 408 h 420"/>
              <a:gd name="T52" fmla="*/ 254 w 482"/>
              <a:gd name="T53" fmla="*/ 375 h 420"/>
              <a:gd name="T54" fmla="*/ 233 w 482"/>
              <a:gd name="T55" fmla="*/ 360 h 420"/>
              <a:gd name="T56" fmla="*/ 233 w 482"/>
              <a:gd name="T57" fmla="*/ 353 h 420"/>
              <a:gd name="T58" fmla="*/ 213 w 482"/>
              <a:gd name="T59" fmla="*/ 351 h 420"/>
              <a:gd name="T60" fmla="*/ 204 w 482"/>
              <a:gd name="T61" fmla="*/ 341 h 420"/>
              <a:gd name="T62" fmla="*/ 192 w 482"/>
              <a:gd name="T63" fmla="*/ 370 h 420"/>
              <a:gd name="T64" fmla="*/ 89 w 482"/>
              <a:gd name="T65" fmla="*/ 353 h 420"/>
              <a:gd name="T66" fmla="*/ 19 w 482"/>
              <a:gd name="T67" fmla="*/ 351 h 420"/>
              <a:gd name="T68" fmla="*/ 31 w 482"/>
              <a:gd name="T69" fmla="*/ 334 h 420"/>
              <a:gd name="T70" fmla="*/ 33 w 482"/>
              <a:gd name="T71" fmla="*/ 293 h 420"/>
              <a:gd name="T72" fmla="*/ 36 w 482"/>
              <a:gd name="T73" fmla="*/ 267 h 420"/>
              <a:gd name="T74" fmla="*/ 50 w 482"/>
              <a:gd name="T75" fmla="*/ 233 h 420"/>
              <a:gd name="T76" fmla="*/ 41 w 482"/>
              <a:gd name="T77" fmla="*/ 192 h 420"/>
              <a:gd name="T78" fmla="*/ 36 w 482"/>
              <a:gd name="T79" fmla="*/ 180 h 420"/>
              <a:gd name="T80" fmla="*/ 21 w 482"/>
              <a:gd name="T81" fmla="*/ 161 h 420"/>
              <a:gd name="T82" fmla="*/ 5 w 482"/>
              <a:gd name="T83" fmla="*/ 122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2" h="420">
                <a:moveTo>
                  <a:pt x="0" y="7"/>
                </a:moveTo>
                <a:lnTo>
                  <a:pt x="257" y="0"/>
                </a:lnTo>
                <a:lnTo>
                  <a:pt x="257" y="9"/>
                </a:lnTo>
                <a:lnTo>
                  <a:pt x="269" y="31"/>
                </a:lnTo>
                <a:lnTo>
                  <a:pt x="271" y="50"/>
                </a:lnTo>
                <a:lnTo>
                  <a:pt x="276" y="62"/>
                </a:lnTo>
                <a:lnTo>
                  <a:pt x="281" y="67"/>
                </a:lnTo>
                <a:lnTo>
                  <a:pt x="281" y="79"/>
                </a:lnTo>
                <a:lnTo>
                  <a:pt x="271" y="84"/>
                </a:lnTo>
                <a:lnTo>
                  <a:pt x="266" y="89"/>
                </a:lnTo>
                <a:lnTo>
                  <a:pt x="261" y="110"/>
                </a:lnTo>
                <a:lnTo>
                  <a:pt x="245" y="137"/>
                </a:lnTo>
                <a:lnTo>
                  <a:pt x="230" y="182"/>
                </a:lnTo>
                <a:lnTo>
                  <a:pt x="228" y="216"/>
                </a:lnTo>
                <a:lnTo>
                  <a:pt x="396" y="209"/>
                </a:lnTo>
                <a:lnTo>
                  <a:pt x="401" y="214"/>
                </a:lnTo>
                <a:lnTo>
                  <a:pt x="396" y="231"/>
                </a:lnTo>
                <a:lnTo>
                  <a:pt x="396" y="255"/>
                </a:lnTo>
                <a:lnTo>
                  <a:pt x="415" y="271"/>
                </a:lnTo>
                <a:lnTo>
                  <a:pt x="418" y="291"/>
                </a:lnTo>
                <a:lnTo>
                  <a:pt x="394" y="286"/>
                </a:lnTo>
                <a:lnTo>
                  <a:pt x="372" y="276"/>
                </a:lnTo>
                <a:lnTo>
                  <a:pt x="367" y="276"/>
                </a:lnTo>
                <a:lnTo>
                  <a:pt x="360" y="279"/>
                </a:lnTo>
                <a:lnTo>
                  <a:pt x="346" y="293"/>
                </a:lnTo>
                <a:lnTo>
                  <a:pt x="343" y="300"/>
                </a:lnTo>
                <a:lnTo>
                  <a:pt x="350" y="310"/>
                </a:lnTo>
                <a:lnTo>
                  <a:pt x="360" y="312"/>
                </a:lnTo>
                <a:lnTo>
                  <a:pt x="377" y="310"/>
                </a:lnTo>
                <a:lnTo>
                  <a:pt x="386" y="303"/>
                </a:lnTo>
                <a:lnTo>
                  <a:pt x="394" y="300"/>
                </a:lnTo>
                <a:lnTo>
                  <a:pt x="406" y="300"/>
                </a:lnTo>
                <a:lnTo>
                  <a:pt x="410" y="300"/>
                </a:lnTo>
                <a:lnTo>
                  <a:pt x="410" y="303"/>
                </a:lnTo>
                <a:lnTo>
                  <a:pt x="408" y="307"/>
                </a:lnTo>
                <a:lnTo>
                  <a:pt x="401" y="312"/>
                </a:lnTo>
                <a:lnTo>
                  <a:pt x="403" y="319"/>
                </a:lnTo>
                <a:lnTo>
                  <a:pt x="410" y="324"/>
                </a:lnTo>
                <a:lnTo>
                  <a:pt x="415" y="324"/>
                </a:lnTo>
                <a:lnTo>
                  <a:pt x="420" y="322"/>
                </a:lnTo>
                <a:lnTo>
                  <a:pt x="427" y="307"/>
                </a:lnTo>
                <a:lnTo>
                  <a:pt x="446" y="300"/>
                </a:lnTo>
                <a:lnTo>
                  <a:pt x="451" y="298"/>
                </a:lnTo>
                <a:lnTo>
                  <a:pt x="456" y="298"/>
                </a:lnTo>
                <a:lnTo>
                  <a:pt x="461" y="303"/>
                </a:lnTo>
                <a:lnTo>
                  <a:pt x="458" y="310"/>
                </a:lnTo>
                <a:lnTo>
                  <a:pt x="461" y="315"/>
                </a:lnTo>
                <a:lnTo>
                  <a:pt x="458" y="319"/>
                </a:lnTo>
                <a:lnTo>
                  <a:pt x="451" y="327"/>
                </a:lnTo>
                <a:lnTo>
                  <a:pt x="437" y="343"/>
                </a:lnTo>
                <a:lnTo>
                  <a:pt x="422" y="353"/>
                </a:lnTo>
                <a:lnTo>
                  <a:pt x="422" y="363"/>
                </a:lnTo>
                <a:lnTo>
                  <a:pt x="427" y="372"/>
                </a:lnTo>
                <a:lnTo>
                  <a:pt x="446" y="382"/>
                </a:lnTo>
                <a:lnTo>
                  <a:pt x="478" y="394"/>
                </a:lnTo>
                <a:lnTo>
                  <a:pt x="482" y="401"/>
                </a:lnTo>
                <a:lnTo>
                  <a:pt x="480" y="408"/>
                </a:lnTo>
                <a:lnTo>
                  <a:pt x="473" y="411"/>
                </a:lnTo>
                <a:lnTo>
                  <a:pt x="449" y="420"/>
                </a:lnTo>
                <a:lnTo>
                  <a:pt x="446" y="401"/>
                </a:lnTo>
                <a:lnTo>
                  <a:pt x="432" y="394"/>
                </a:lnTo>
                <a:lnTo>
                  <a:pt x="403" y="382"/>
                </a:lnTo>
                <a:lnTo>
                  <a:pt x="401" y="375"/>
                </a:lnTo>
                <a:lnTo>
                  <a:pt x="396" y="370"/>
                </a:lnTo>
                <a:lnTo>
                  <a:pt x="386" y="375"/>
                </a:lnTo>
                <a:lnTo>
                  <a:pt x="384" y="394"/>
                </a:lnTo>
                <a:lnTo>
                  <a:pt x="386" y="396"/>
                </a:lnTo>
                <a:lnTo>
                  <a:pt x="386" y="401"/>
                </a:lnTo>
                <a:lnTo>
                  <a:pt x="372" y="411"/>
                </a:lnTo>
                <a:lnTo>
                  <a:pt x="367" y="408"/>
                </a:lnTo>
                <a:lnTo>
                  <a:pt x="360" y="399"/>
                </a:lnTo>
                <a:lnTo>
                  <a:pt x="355" y="396"/>
                </a:lnTo>
                <a:lnTo>
                  <a:pt x="346" y="401"/>
                </a:lnTo>
                <a:lnTo>
                  <a:pt x="341" y="396"/>
                </a:lnTo>
                <a:lnTo>
                  <a:pt x="336" y="396"/>
                </a:lnTo>
                <a:lnTo>
                  <a:pt x="324" y="411"/>
                </a:lnTo>
                <a:lnTo>
                  <a:pt x="310" y="411"/>
                </a:lnTo>
                <a:lnTo>
                  <a:pt x="305" y="408"/>
                </a:lnTo>
                <a:lnTo>
                  <a:pt x="290" y="406"/>
                </a:lnTo>
                <a:lnTo>
                  <a:pt x="266" y="377"/>
                </a:lnTo>
                <a:lnTo>
                  <a:pt x="254" y="375"/>
                </a:lnTo>
                <a:lnTo>
                  <a:pt x="242" y="370"/>
                </a:lnTo>
                <a:lnTo>
                  <a:pt x="237" y="360"/>
                </a:lnTo>
                <a:lnTo>
                  <a:pt x="233" y="360"/>
                </a:lnTo>
                <a:lnTo>
                  <a:pt x="233" y="358"/>
                </a:lnTo>
                <a:lnTo>
                  <a:pt x="230" y="358"/>
                </a:lnTo>
                <a:lnTo>
                  <a:pt x="233" y="353"/>
                </a:lnTo>
                <a:lnTo>
                  <a:pt x="228" y="351"/>
                </a:lnTo>
                <a:lnTo>
                  <a:pt x="223" y="353"/>
                </a:lnTo>
                <a:lnTo>
                  <a:pt x="213" y="351"/>
                </a:lnTo>
                <a:lnTo>
                  <a:pt x="211" y="348"/>
                </a:lnTo>
                <a:lnTo>
                  <a:pt x="209" y="341"/>
                </a:lnTo>
                <a:lnTo>
                  <a:pt x="204" y="341"/>
                </a:lnTo>
                <a:lnTo>
                  <a:pt x="187" y="358"/>
                </a:lnTo>
                <a:lnTo>
                  <a:pt x="194" y="368"/>
                </a:lnTo>
                <a:lnTo>
                  <a:pt x="192" y="370"/>
                </a:lnTo>
                <a:lnTo>
                  <a:pt x="163" y="372"/>
                </a:lnTo>
                <a:lnTo>
                  <a:pt x="115" y="363"/>
                </a:lnTo>
                <a:lnTo>
                  <a:pt x="89" y="353"/>
                </a:lnTo>
                <a:lnTo>
                  <a:pt x="24" y="360"/>
                </a:lnTo>
                <a:lnTo>
                  <a:pt x="21" y="358"/>
                </a:lnTo>
                <a:lnTo>
                  <a:pt x="19" y="351"/>
                </a:lnTo>
                <a:lnTo>
                  <a:pt x="21" y="346"/>
                </a:lnTo>
                <a:lnTo>
                  <a:pt x="24" y="341"/>
                </a:lnTo>
                <a:lnTo>
                  <a:pt x="31" y="334"/>
                </a:lnTo>
                <a:lnTo>
                  <a:pt x="38" y="310"/>
                </a:lnTo>
                <a:lnTo>
                  <a:pt x="33" y="300"/>
                </a:lnTo>
                <a:lnTo>
                  <a:pt x="33" y="293"/>
                </a:lnTo>
                <a:lnTo>
                  <a:pt x="33" y="288"/>
                </a:lnTo>
                <a:lnTo>
                  <a:pt x="33" y="281"/>
                </a:lnTo>
                <a:lnTo>
                  <a:pt x="36" y="267"/>
                </a:lnTo>
                <a:lnTo>
                  <a:pt x="43" y="262"/>
                </a:lnTo>
                <a:lnTo>
                  <a:pt x="48" y="252"/>
                </a:lnTo>
                <a:lnTo>
                  <a:pt x="50" y="233"/>
                </a:lnTo>
                <a:lnTo>
                  <a:pt x="50" y="221"/>
                </a:lnTo>
                <a:lnTo>
                  <a:pt x="48" y="204"/>
                </a:lnTo>
                <a:lnTo>
                  <a:pt x="41" y="192"/>
                </a:lnTo>
                <a:lnTo>
                  <a:pt x="36" y="190"/>
                </a:lnTo>
                <a:lnTo>
                  <a:pt x="38" y="182"/>
                </a:lnTo>
                <a:lnTo>
                  <a:pt x="36" y="180"/>
                </a:lnTo>
                <a:lnTo>
                  <a:pt x="31" y="168"/>
                </a:lnTo>
                <a:lnTo>
                  <a:pt x="24" y="163"/>
                </a:lnTo>
                <a:lnTo>
                  <a:pt x="21" y="161"/>
                </a:lnTo>
                <a:lnTo>
                  <a:pt x="26" y="149"/>
                </a:lnTo>
                <a:lnTo>
                  <a:pt x="19" y="134"/>
                </a:lnTo>
                <a:lnTo>
                  <a:pt x="5" y="122"/>
                </a:lnTo>
                <a:lnTo>
                  <a:pt x="2" y="115"/>
                </a:lnTo>
                <a:lnTo>
                  <a:pt x="0" y="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8" name="Freeform 49"/>
          <p:cNvSpPr>
            <a:spLocks/>
          </p:cNvSpPr>
          <p:nvPr/>
        </p:nvSpPr>
        <p:spPr bwMode="auto">
          <a:xfrm>
            <a:off x="8406092" y="3341890"/>
            <a:ext cx="903288" cy="785812"/>
          </a:xfrm>
          <a:custGeom>
            <a:avLst/>
            <a:gdLst>
              <a:gd name="T0" fmla="*/ 478 w 569"/>
              <a:gd name="T1" fmla="*/ 438 h 495"/>
              <a:gd name="T2" fmla="*/ 485 w 569"/>
              <a:gd name="T3" fmla="*/ 447 h 495"/>
              <a:gd name="T4" fmla="*/ 488 w 569"/>
              <a:gd name="T5" fmla="*/ 466 h 495"/>
              <a:gd name="T6" fmla="*/ 466 w 569"/>
              <a:gd name="T7" fmla="*/ 486 h 495"/>
              <a:gd name="T8" fmla="*/ 521 w 569"/>
              <a:gd name="T9" fmla="*/ 491 h 495"/>
              <a:gd name="T10" fmla="*/ 524 w 569"/>
              <a:gd name="T11" fmla="*/ 469 h 495"/>
              <a:gd name="T12" fmla="*/ 536 w 569"/>
              <a:gd name="T13" fmla="*/ 435 h 495"/>
              <a:gd name="T14" fmla="*/ 552 w 569"/>
              <a:gd name="T15" fmla="*/ 423 h 495"/>
              <a:gd name="T16" fmla="*/ 560 w 569"/>
              <a:gd name="T17" fmla="*/ 421 h 495"/>
              <a:gd name="T18" fmla="*/ 567 w 569"/>
              <a:gd name="T19" fmla="*/ 385 h 495"/>
              <a:gd name="T20" fmla="*/ 560 w 569"/>
              <a:gd name="T21" fmla="*/ 380 h 495"/>
              <a:gd name="T22" fmla="*/ 555 w 569"/>
              <a:gd name="T23" fmla="*/ 375 h 495"/>
              <a:gd name="T24" fmla="*/ 550 w 569"/>
              <a:gd name="T25" fmla="*/ 380 h 495"/>
              <a:gd name="T26" fmla="*/ 528 w 569"/>
              <a:gd name="T27" fmla="*/ 351 h 495"/>
              <a:gd name="T28" fmla="*/ 536 w 569"/>
              <a:gd name="T29" fmla="*/ 342 h 495"/>
              <a:gd name="T30" fmla="*/ 528 w 569"/>
              <a:gd name="T31" fmla="*/ 327 h 495"/>
              <a:gd name="T32" fmla="*/ 500 w 569"/>
              <a:gd name="T33" fmla="*/ 289 h 495"/>
              <a:gd name="T34" fmla="*/ 464 w 569"/>
              <a:gd name="T35" fmla="*/ 269 h 495"/>
              <a:gd name="T36" fmla="*/ 444 w 569"/>
              <a:gd name="T37" fmla="*/ 243 h 495"/>
              <a:gd name="T38" fmla="*/ 464 w 569"/>
              <a:gd name="T39" fmla="*/ 219 h 495"/>
              <a:gd name="T40" fmla="*/ 466 w 569"/>
              <a:gd name="T41" fmla="*/ 190 h 495"/>
              <a:gd name="T42" fmla="*/ 442 w 569"/>
              <a:gd name="T43" fmla="*/ 173 h 495"/>
              <a:gd name="T44" fmla="*/ 428 w 569"/>
              <a:gd name="T45" fmla="*/ 183 h 495"/>
              <a:gd name="T46" fmla="*/ 408 w 569"/>
              <a:gd name="T47" fmla="*/ 142 h 495"/>
              <a:gd name="T48" fmla="*/ 377 w 569"/>
              <a:gd name="T49" fmla="*/ 116 h 495"/>
              <a:gd name="T50" fmla="*/ 351 w 569"/>
              <a:gd name="T51" fmla="*/ 80 h 495"/>
              <a:gd name="T52" fmla="*/ 343 w 569"/>
              <a:gd name="T53" fmla="*/ 41 h 495"/>
              <a:gd name="T54" fmla="*/ 348 w 569"/>
              <a:gd name="T55" fmla="*/ 27 h 495"/>
              <a:gd name="T56" fmla="*/ 0 w 569"/>
              <a:gd name="T57" fmla="*/ 12 h 495"/>
              <a:gd name="T58" fmla="*/ 14 w 569"/>
              <a:gd name="T59" fmla="*/ 29 h 495"/>
              <a:gd name="T60" fmla="*/ 29 w 569"/>
              <a:gd name="T61" fmla="*/ 58 h 495"/>
              <a:gd name="T62" fmla="*/ 31 w 569"/>
              <a:gd name="T63" fmla="*/ 72 h 495"/>
              <a:gd name="T64" fmla="*/ 67 w 569"/>
              <a:gd name="T65" fmla="*/ 101 h 495"/>
              <a:gd name="T66" fmla="*/ 53 w 569"/>
              <a:gd name="T67" fmla="*/ 130 h 495"/>
              <a:gd name="T68" fmla="*/ 70 w 569"/>
              <a:gd name="T69" fmla="*/ 140 h 495"/>
              <a:gd name="T70" fmla="*/ 82 w 569"/>
              <a:gd name="T71" fmla="*/ 164 h 495"/>
              <a:gd name="T72" fmla="*/ 94 w 569"/>
              <a:gd name="T73" fmla="*/ 168 h 495"/>
              <a:gd name="T74" fmla="*/ 98 w 569"/>
              <a:gd name="T75" fmla="*/ 45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9" h="495">
                <a:moveTo>
                  <a:pt x="98" y="454"/>
                </a:moveTo>
                <a:lnTo>
                  <a:pt x="478" y="438"/>
                </a:lnTo>
                <a:lnTo>
                  <a:pt x="478" y="442"/>
                </a:lnTo>
                <a:lnTo>
                  <a:pt x="485" y="447"/>
                </a:lnTo>
                <a:lnTo>
                  <a:pt x="488" y="457"/>
                </a:lnTo>
                <a:lnTo>
                  <a:pt x="488" y="466"/>
                </a:lnTo>
                <a:lnTo>
                  <a:pt x="476" y="476"/>
                </a:lnTo>
                <a:lnTo>
                  <a:pt x="466" y="486"/>
                </a:lnTo>
                <a:lnTo>
                  <a:pt x="464" y="495"/>
                </a:lnTo>
                <a:lnTo>
                  <a:pt x="521" y="491"/>
                </a:lnTo>
                <a:lnTo>
                  <a:pt x="526" y="474"/>
                </a:lnTo>
                <a:lnTo>
                  <a:pt x="524" y="469"/>
                </a:lnTo>
                <a:lnTo>
                  <a:pt x="528" y="450"/>
                </a:lnTo>
                <a:lnTo>
                  <a:pt x="536" y="435"/>
                </a:lnTo>
                <a:lnTo>
                  <a:pt x="540" y="428"/>
                </a:lnTo>
                <a:lnTo>
                  <a:pt x="552" y="423"/>
                </a:lnTo>
                <a:lnTo>
                  <a:pt x="555" y="426"/>
                </a:lnTo>
                <a:lnTo>
                  <a:pt x="560" y="421"/>
                </a:lnTo>
                <a:lnTo>
                  <a:pt x="569" y="394"/>
                </a:lnTo>
                <a:lnTo>
                  <a:pt x="567" y="385"/>
                </a:lnTo>
                <a:lnTo>
                  <a:pt x="562" y="380"/>
                </a:lnTo>
                <a:lnTo>
                  <a:pt x="560" y="380"/>
                </a:lnTo>
                <a:lnTo>
                  <a:pt x="557" y="378"/>
                </a:lnTo>
                <a:lnTo>
                  <a:pt x="555" y="375"/>
                </a:lnTo>
                <a:lnTo>
                  <a:pt x="550" y="375"/>
                </a:lnTo>
                <a:lnTo>
                  <a:pt x="550" y="380"/>
                </a:lnTo>
                <a:lnTo>
                  <a:pt x="545" y="380"/>
                </a:lnTo>
                <a:lnTo>
                  <a:pt x="528" y="351"/>
                </a:lnTo>
                <a:lnTo>
                  <a:pt x="528" y="346"/>
                </a:lnTo>
                <a:lnTo>
                  <a:pt x="536" y="342"/>
                </a:lnTo>
                <a:lnTo>
                  <a:pt x="536" y="337"/>
                </a:lnTo>
                <a:lnTo>
                  <a:pt x="528" y="327"/>
                </a:lnTo>
                <a:lnTo>
                  <a:pt x="524" y="308"/>
                </a:lnTo>
                <a:lnTo>
                  <a:pt x="500" y="289"/>
                </a:lnTo>
                <a:lnTo>
                  <a:pt x="488" y="284"/>
                </a:lnTo>
                <a:lnTo>
                  <a:pt x="464" y="269"/>
                </a:lnTo>
                <a:lnTo>
                  <a:pt x="449" y="255"/>
                </a:lnTo>
                <a:lnTo>
                  <a:pt x="444" y="243"/>
                </a:lnTo>
                <a:lnTo>
                  <a:pt x="447" y="236"/>
                </a:lnTo>
                <a:lnTo>
                  <a:pt x="464" y="219"/>
                </a:lnTo>
                <a:lnTo>
                  <a:pt x="461" y="202"/>
                </a:lnTo>
                <a:lnTo>
                  <a:pt x="466" y="190"/>
                </a:lnTo>
                <a:lnTo>
                  <a:pt x="461" y="183"/>
                </a:lnTo>
                <a:lnTo>
                  <a:pt x="442" y="173"/>
                </a:lnTo>
                <a:lnTo>
                  <a:pt x="435" y="176"/>
                </a:lnTo>
                <a:lnTo>
                  <a:pt x="428" y="183"/>
                </a:lnTo>
                <a:lnTo>
                  <a:pt x="423" y="180"/>
                </a:lnTo>
                <a:lnTo>
                  <a:pt x="408" y="142"/>
                </a:lnTo>
                <a:lnTo>
                  <a:pt x="401" y="135"/>
                </a:lnTo>
                <a:lnTo>
                  <a:pt x="377" y="116"/>
                </a:lnTo>
                <a:lnTo>
                  <a:pt x="353" y="87"/>
                </a:lnTo>
                <a:lnTo>
                  <a:pt x="351" y="80"/>
                </a:lnTo>
                <a:lnTo>
                  <a:pt x="346" y="63"/>
                </a:lnTo>
                <a:lnTo>
                  <a:pt x="343" y="41"/>
                </a:lnTo>
                <a:lnTo>
                  <a:pt x="348" y="29"/>
                </a:lnTo>
                <a:lnTo>
                  <a:pt x="348" y="27"/>
                </a:lnTo>
                <a:lnTo>
                  <a:pt x="324" y="0"/>
                </a:lnTo>
                <a:lnTo>
                  <a:pt x="0" y="12"/>
                </a:lnTo>
                <a:lnTo>
                  <a:pt x="5" y="22"/>
                </a:lnTo>
                <a:lnTo>
                  <a:pt x="14" y="29"/>
                </a:lnTo>
                <a:lnTo>
                  <a:pt x="17" y="43"/>
                </a:lnTo>
                <a:lnTo>
                  <a:pt x="29" y="58"/>
                </a:lnTo>
                <a:lnTo>
                  <a:pt x="34" y="60"/>
                </a:lnTo>
                <a:lnTo>
                  <a:pt x="31" y="72"/>
                </a:lnTo>
                <a:lnTo>
                  <a:pt x="31" y="75"/>
                </a:lnTo>
                <a:lnTo>
                  <a:pt x="67" y="101"/>
                </a:lnTo>
                <a:lnTo>
                  <a:pt x="55" y="116"/>
                </a:lnTo>
                <a:lnTo>
                  <a:pt x="53" y="130"/>
                </a:lnTo>
                <a:lnTo>
                  <a:pt x="60" y="135"/>
                </a:lnTo>
                <a:lnTo>
                  <a:pt x="70" y="140"/>
                </a:lnTo>
                <a:lnTo>
                  <a:pt x="74" y="159"/>
                </a:lnTo>
                <a:lnTo>
                  <a:pt x="82" y="164"/>
                </a:lnTo>
                <a:lnTo>
                  <a:pt x="91" y="166"/>
                </a:lnTo>
                <a:lnTo>
                  <a:pt x="94" y="168"/>
                </a:lnTo>
                <a:lnTo>
                  <a:pt x="96" y="402"/>
                </a:lnTo>
                <a:lnTo>
                  <a:pt x="98" y="454"/>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9" name="Freeform 50"/>
          <p:cNvSpPr>
            <a:spLocks/>
          </p:cNvSpPr>
          <p:nvPr/>
        </p:nvSpPr>
        <p:spPr bwMode="auto">
          <a:xfrm>
            <a:off x="8294967" y="2841828"/>
            <a:ext cx="815975" cy="542925"/>
          </a:xfrm>
          <a:custGeom>
            <a:avLst/>
            <a:gdLst>
              <a:gd name="T0" fmla="*/ 418 w 514"/>
              <a:gd name="T1" fmla="*/ 0 h 342"/>
              <a:gd name="T2" fmla="*/ 430 w 514"/>
              <a:gd name="T3" fmla="*/ 24 h 342"/>
              <a:gd name="T4" fmla="*/ 423 w 514"/>
              <a:gd name="T5" fmla="*/ 41 h 342"/>
              <a:gd name="T6" fmla="*/ 435 w 514"/>
              <a:gd name="T7" fmla="*/ 82 h 342"/>
              <a:gd name="T8" fmla="*/ 469 w 514"/>
              <a:gd name="T9" fmla="*/ 99 h 342"/>
              <a:gd name="T10" fmla="*/ 473 w 514"/>
              <a:gd name="T11" fmla="*/ 113 h 342"/>
              <a:gd name="T12" fmla="*/ 493 w 514"/>
              <a:gd name="T13" fmla="*/ 135 h 342"/>
              <a:gd name="T14" fmla="*/ 514 w 514"/>
              <a:gd name="T15" fmla="*/ 164 h 342"/>
              <a:gd name="T16" fmla="*/ 507 w 514"/>
              <a:gd name="T17" fmla="*/ 183 h 342"/>
              <a:gd name="T18" fmla="*/ 502 w 514"/>
              <a:gd name="T19" fmla="*/ 197 h 342"/>
              <a:gd name="T20" fmla="*/ 473 w 514"/>
              <a:gd name="T21" fmla="*/ 217 h 342"/>
              <a:gd name="T22" fmla="*/ 454 w 514"/>
              <a:gd name="T23" fmla="*/ 222 h 342"/>
              <a:gd name="T24" fmla="*/ 440 w 514"/>
              <a:gd name="T25" fmla="*/ 238 h 342"/>
              <a:gd name="T26" fmla="*/ 452 w 514"/>
              <a:gd name="T27" fmla="*/ 258 h 342"/>
              <a:gd name="T28" fmla="*/ 452 w 514"/>
              <a:gd name="T29" fmla="*/ 279 h 342"/>
              <a:gd name="T30" fmla="*/ 428 w 514"/>
              <a:gd name="T31" fmla="*/ 315 h 342"/>
              <a:gd name="T32" fmla="*/ 423 w 514"/>
              <a:gd name="T33" fmla="*/ 332 h 342"/>
              <a:gd name="T34" fmla="*/ 394 w 514"/>
              <a:gd name="T35" fmla="*/ 315 h 342"/>
              <a:gd name="T36" fmla="*/ 65 w 514"/>
              <a:gd name="T37" fmla="*/ 322 h 342"/>
              <a:gd name="T38" fmla="*/ 65 w 514"/>
              <a:gd name="T39" fmla="*/ 301 h 342"/>
              <a:gd name="T40" fmla="*/ 58 w 514"/>
              <a:gd name="T41" fmla="*/ 284 h 342"/>
              <a:gd name="T42" fmla="*/ 60 w 514"/>
              <a:gd name="T43" fmla="*/ 267 h 342"/>
              <a:gd name="T44" fmla="*/ 51 w 514"/>
              <a:gd name="T45" fmla="*/ 246 h 342"/>
              <a:gd name="T46" fmla="*/ 51 w 514"/>
              <a:gd name="T47" fmla="*/ 226 h 342"/>
              <a:gd name="T48" fmla="*/ 36 w 514"/>
              <a:gd name="T49" fmla="*/ 209 h 342"/>
              <a:gd name="T50" fmla="*/ 32 w 514"/>
              <a:gd name="T51" fmla="*/ 193 h 342"/>
              <a:gd name="T52" fmla="*/ 17 w 514"/>
              <a:gd name="T53" fmla="*/ 169 h 342"/>
              <a:gd name="T54" fmla="*/ 22 w 514"/>
              <a:gd name="T55" fmla="*/ 145 h 342"/>
              <a:gd name="T56" fmla="*/ 12 w 514"/>
              <a:gd name="T57" fmla="*/ 128 h 342"/>
              <a:gd name="T58" fmla="*/ 10 w 514"/>
              <a:gd name="T59" fmla="*/ 113 h 342"/>
              <a:gd name="T60" fmla="*/ 10 w 514"/>
              <a:gd name="T61" fmla="*/ 75 h 342"/>
              <a:gd name="T62" fmla="*/ 15 w 514"/>
              <a:gd name="T63" fmla="*/ 60 h 342"/>
              <a:gd name="T64" fmla="*/ 5 w 514"/>
              <a:gd name="T65" fmla="*/ 39 h 342"/>
              <a:gd name="T66" fmla="*/ 5 w 514"/>
              <a:gd name="T67" fmla="*/ 22 h 342"/>
              <a:gd name="T68" fmla="*/ 10 w 514"/>
              <a:gd name="T69" fmla="*/ 15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4" h="342">
                <a:moveTo>
                  <a:pt x="15" y="15"/>
                </a:moveTo>
                <a:lnTo>
                  <a:pt x="418" y="0"/>
                </a:lnTo>
                <a:lnTo>
                  <a:pt x="421" y="15"/>
                </a:lnTo>
                <a:lnTo>
                  <a:pt x="430" y="24"/>
                </a:lnTo>
                <a:lnTo>
                  <a:pt x="430" y="29"/>
                </a:lnTo>
                <a:lnTo>
                  <a:pt x="423" y="41"/>
                </a:lnTo>
                <a:lnTo>
                  <a:pt x="428" y="53"/>
                </a:lnTo>
                <a:lnTo>
                  <a:pt x="435" y="82"/>
                </a:lnTo>
                <a:lnTo>
                  <a:pt x="461" y="92"/>
                </a:lnTo>
                <a:lnTo>
                  <a:pt x="469" y="99"/>
                </a:lnTo>
                <a:lnTo>
                  <a:pt x="471" y="109"/>
                </a:lnTo>
                <a:lnTo>
                  <a:pt x="473" y="113"/>
                </a:lnTo>
                <a:lnTo>
                  <a:pt x="490" y="125"/>
                </a:lnTo>
                <a:lnTo>
                  <a:pt x="493" y="135"/>
                </a:lnTo>
                <a:lnTo>
                  <a:pt x="507" y="145"/>
                </a:lnTo>
                <a:lnTo>
                  <a:pt x="514" y="164"/>
                </a:lnTo>
                <a:lnTo>
                  <a:pt x="512" y="171"/>
                </a:lnTo>
                <a:lnTo>
                  <a:pt x="507" y="183"/>
                </a:lnTo>
                <a:lnTo>
                  <a:pt x="502" y="188"/>
                </a:lnTo>
                <a:lnTo>
                  <a:pt x="502" y="197"/>
                </a:lnTo>
                <a:lnTo>
                  <a:pt x="488" y="214"/>
                </a:lnTo>
                <a:lnTo>
                  <a:pt x="473" y="217"/>
                </a:lnTo>
                <a:lnTo>
                  <a:pt x="471" y="222"/>
                </a:lnTo>
                <a:lnTo>
                  <a:pt x="454" y="222"/>
                </a:lnTo>
                <a:lnTo>
                  <a:pt x="447" y="226"/>
                </a:lnTo>
                <a:lnTo>
                  <a:pt x="440" y="238"/>
                </a:lnTo>
                <a:lnTo>
                  <a:pt x="442" y="248"/>
                </a:lnTo>
                <a:lnTo>
                  <a:pt x="452" y="258"/>
                </a:lnTo>
                <a:lnTo>
                  <a:pt x="454" y="265"/>
                </a:lnTo>
                <a:lnTo>
                  <a:pt x="452" y="279"/>
                </a:lnTo>
                <a:lnTo>
                  <a:pt x="440" y="306"/>
                </a:lnTo>
                <a:lnTo>
                  <a:pt x="428" y="315"/>
                </a:lnTo>
                <a:lnTo>
                  <a:pt x="423" y="322"/>
                </a:lnTo>
                <a:lnTo>
                  <a:pt x="423" y="332"/>
                </a:lnTo>
                <a:lnTo>
                  <a:pt x="418" y="342"/>
                </a:lnTo>
                <a:lnTo>
                  <a:pt x="394" y="315"/>
                </a:lnTo>
                <a:lnTo>
                  <a:pt x="70" y="327"/>
                </a:lnTo>
                <a:lnTo>
                  <a:pt x="65" y="322"/>
                </a:lnTo>
                <a:lnTo>
                  <a:pt x="63" y="310"/>
                </a:lnTo>
                <a:lnTo>
                  <a:pt x="65" y="301"/>
                </a:lnTo>
                <a:lnTo>
                  <a:pt x="60" y="294"/>
                </a:lnTo>
                <a:lnTo>
                  <a:pt x="58" y="284"/>
                </a:lnTo>
                <a:lnTo>
                  <a:pt x="63" y="277"/>
                </a:lnTo>
                <a:lnTo>
                  <a:pt x="60" y="267"/>
                </a:lnTo>
                <a:lnTo>
                  <a:pt x="48" y="262"/>
                </a:lnTo>
                <a:lnTo>
                  <a:pt x="51" y="246"/>
                </a:lnTo>
                <a:lnTo>
                  <a:pt x="56" y="236"/>
                </a:lnTo>
                <a:lnTo>
                  <a:pt x="51" y="226"/>
                </a:lnTo>
                <a:lnTo>
                  <a:pt x="41" y="219"/>
                </a:lnTo>
                <a:lnTo>
                  <a:pt x="36" y="209"/>
                </a:lnTo>
                <a:lnTo>
                  <a:pt x="41" y="202"/>
                </a:lnTo>
                <a:lnTo>
                  <a:pt x="32" y="193"/>
                </a:lnTo>
                <a:lnTo>
                  <a:pt x="27" y="176"/>
                </a:lnTo>
                <a:lnTo>
                  <a:pt x="17" y="169"/>
                </a:lnTo>
                <a:lnTo>
                  <a:pt x="22" y="152"/>
                </a:lnTo>
                <a:lnTo>
                  <a:pt x="22" y="145"/>
                </a:lnTo>
                <a:lnTo>
                  <a:pt x="12" y="137"/>
                </a:lnTo>
                <a:lnTo>
                  <a:pt x="12" y="128"/>
                </a:lnTo>
                <a:lnTo>
                  <a:pt x="12" y="125"/>
                </a:lnTo>
                <a:lnTo>
                  <a:pt x="10" y="113"/>
                </a:lnTo>
                <a:lnTo>
                  <a:pt x="0" y="94"/>
                </a:lnTo>
                <a:lnTo>
                  <a:pt x="10" y="75"/>
                </a:lnTo>
                <a:lnTo>
                  <a:pt x="8" y="65"/>
                </a:lnTo>
                <a:lnTo>
                  <a:pt x="15" y="60"/>
                </a:lnTo>
                <a:lnTo>
                  <a:pt x="10" y="44"/>
                </a:lnTo>
                <a:lnTo>
                  <a:pt x="5" y="39"/>
                </a:lnTo>
                <a:lnTo>
                  <a:pt x="10" y="27"/>
                </a:lnTo>
                <a:lnTo>
                  <a:pt x="5" y="22"/>
                </a:lnTo>
                <a:lnTo>
                  <a:pt x="3" y="15"/>
                </a:lnTo>
                <a:lnTo>
                  <a:pt x="10" y="15"/>
                </a:lnTo>
                <a:lnTo>
                  <a:pt x="15" y="1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0" name="Freeform 51"/>
          <p:cNvSpPr>
            <a:spLocks/>
          </p:cNvSpPr>
          <p:nvPr/>
        </p:nvSpPr>
        <p:spPr bwMode="auto">
          <a:xfrm>
            <a:off x="8231467" y="1865515"/>
            <a:ext cx="887413" cy="1000125"/>
          </a:xfrm>
          <a:custGeom>
            <a:avLst/>
            <a:gdLst>
              <a:gd name="T0" fmla="*/ 55 w 559"/>
              <a:gd name="T1" fmla="*/ 435 h 630"/>
              <a:gd name="T2" fmla="*/ 26 w 559"/>
              <a:gd name="T3" fmla="*/ 399 h 630"/>
              <a:gd name="T4" fmla="*/ 45 w 559"/>
              <a:gd name="T5" fmla="*/ 373 h 630"/>
              <a:gd name="T6" fmla="*/ 43 w 559"/>
              <a:gd name="T7" fmla="*/ 349 h 630"/>
              <a:gd name="T8" fmla="*/ 33 w 559"/>
              <a:gd name="T9" fmla="*/ 296 h 630"/>
              <a:gd name="T10" fmla="*/ 31 w 559"/>
              <a:gd name="T11" fmla="*/ 269 h 630"/>
              <a:gd name="T12" fmla="*/ 26 w 559"/>
              <a:gd name="T13" fmla="*/ 204 h 630"/>
              <a:gd name="T14" fmla="*/ 12 w 559"/>
              <a:gd name="T15" fmla="*/ 164 h 630"/>
              <a:gd name="T16" fmla="*/ 4 w 559"/>
              <a:gd name="T17" fmla="*/ 99 h 630"/>
              <a:gd name="T18" fmla="*/ 9 w 559"/>
              <a:gd name="T19" fmla="*/ 72 h 630"/>
              <a:gd name="T20" fmla="*/ 0 w 559"/>
              <a:gd name="T21" fmla="*/ 39 h 630"/>
              <a:gd name="T22" fmla="*/ 146 w 559"/>
              <a:gd name="T23" fmla="*/ 15 h 630"/>
              <a:gd name="T24" fmla="*/ 158 w 559"/>
              <a:gd name="T25" fmla="*/ 0 h 630"/>
              <a:gd name="T26" fmla="*/ 175 w 559"/>
              <a:gd name="T27" fmla="*/ 29 h 630"/>
              <a:gd name="T28" fmla="*/ 180 w 559"/>
              <a:gd name="T29" fmla="*/ 60 h 630"/>
              <a:gd name="T30" fmla="*/ 201 w 559"/>
              <a:gd name="T31" fmla="*/ 70 h 630"/>
              <a:gd name="T32" fmla="*/ 216 w 559"/>
              <a:gd name="T33" fmla="*/ 77 h 630"/>
              <a:gd name="T34" fmla="*/ 242 w 559"/>
              <a:gd name="T35" fmla="*/ 77 h 630"/>
              <a:gd name="T36" fmla="*/ 247 w 559"/>
              <a:gd name="T37" fmla="*/ 87 h 630"/>
              <a:gd name="T38" fmla="*/ 273 w 559"/>
              <a:gd name="T39" fmla="*/ 77 h 630"/>
              <a:gd name="T40" fmla="*/ 324 w 559"/>
              <a:gd name="T41" fmla="*/ 82 h 630"/>
              <a:gd name="T42" fmla="*/ 326 w 559"/>
              <a:gd name="T43" fmla="*/ 89 h 630"/>
              <a:gd name="T44" fmla="*/ 336 w 559"/>
              <a:gd name="T45" fmla="*/ 91 h 630"/>
              <a:gd name="T46" fmla="*/ 343 w 559"/>
              <a:gd name="T47" fmla="*/ 111 h 630"/>
              <a:gd name="T48" fmla="*/ 360 w 559"/>
              <a:gd name="T49" fmla="*/ 103 h 630"/>
              <a:gd name="T50" fmla="*/ 372 w 559"/>
              <a:gd name="T51" fmla="*/ 103 h 630"/>
              <a:gd name="T52" fmla="*/ 393 w 559"/>
              <a:gd name="T53" fmla="*/ 118 h 630"/>
              <a:gd name="T54" fmla="*/ 405 w 559"/>
              <a:gd name="T55" fmla="*/ 132 h 630"/>
              <a:gd name="T56" fmla="*/ 427 w 559"/>
              <a:gd name="T57" fmla="*/ 127 h 630"/>
              <a:gd name="T58" fmla="*/ 461 w 559"/>
              <a:gd name="T59" fmla="*/ 111 h 630"/>
              <a:gd name="T60" fmla="*/ 509 w 559"/>
              <a:gd name="T61" fmla="*/ 120 h 630"/>
              <a:gd name="T62" fmla="*/ 521 w 559"/>
              <a:gd name="T63" fmla="*/ 125 h 630"/>
              <a:gd name="T64" fmla="*/ 542 w 559"/>
              <a:gd name="T65" fmla="*/ 127 h 630"/>
              <a:gd name="T66" fmla="*/ 550 w 559"/>
              <a:gd name="T67" fmla="*/ 137 h 630"/>
              <a:gd name="T68" fmla="*/ 511 w 559"/>
              <a:gd name="T69" fmla="*/ 156 h 630"/>
              <a:gd name="T70" fmla="*/ 489 w 559"/>
              <a:gd name="T71" fmla="*/ 171 h 630"/>
              <a:gd name="T72" fmla="*/ 458 w 559"/>
              <a:gd name="T73" fmla="*/ 188 h 630"/>
              <a:gd name="T74" fmla="*/ 374 w 559"/>
              <a:gd name="T75" fmla="*/ 272 h 630"/>
              <a:gd name="T76" fmla="*/ 362 w 559"/>
              <a:gd name="T77" fmla="*/ 284 h 630"/>
              <a:gd name="T78" fmla="*/ 357 w 559"/>
              <a:gd name="T79" fmla="*/ 349 h 630"/>
              <a:gd name="T80" fmla="*/ 331 w 559"/>
              <a:gd name="T81" fmla="*/ 370 h 630"/>
              <a:gd name="T82" fmla="*/ 326 w 559"/>
              <a:gd name="T83" fmla="*/ 382 h 630"/>
              <a:gd name="T84" fmla="*/ 333 w 559"/>
              <a:gd name="T85" fmla="*/ 404 h 630"/>
              <a:gd name="T86" fmla="*/ 333 w 559"/>
              <a:gd name="T87" fmla="*/ 430 h 630"/>
              <a:gd name="T88" fmla="*/ 333 w 559"/>
              <a:gd name="T89" fmla="*/ 459 h 630"/>
              <a:gd name="T90" fmla="*/ 336 w 559"/>
              <a:gd name="T91" fmla="*/ 493 h 630"/>
              <a:gd name="T92" fmla="*/ 348 w 559"/>
              <a:gd name="T93" fmla="*/ 505 h 630"/>
              <a:gd name="T94" fmla="*/ 369 w 559"/>
              <a:gd name="T95" fmla="*/ 510 h 630"/>
              <a:gd name="T96" fmla="*/ 377 w 559"/>
              <a:gd name="T97" fmla="*/ 519 h 630"/>
              <a:gd name="T98" fmla="*/ 408 w 559"/>
              <a:gd name="T99" fmla="*/ 546 h 630"/>
              <a:gd name="T100" fmla="*/ 453 w 559"/>
              <a:gd name="T101" fmla="*/ 577 h 630"/>
              <a:gd name="T102" fmla="*/ 456 w 559"/>
              <a:gd name="T103" fmla="*/ 596 h 630"/>
              <a:gd name="T104" fmla="*/ 55 w 559"/>
              <a:gd name="T10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9" h="630">
                <a:moveTo>
                  <a:pt x="55" y="630"/>
                </a:moveTo>
                <a:lnTo>
                  <a:pt x="55" y="435"/>
                </a:lnTo>
                <a:lnTo>
                  <a:pt x="26" y="409"/>
                </a:lnTo>
                <a:lnTo>
                  <a:pt x="26" y="399"/>
                </a:lnTo>
                <a:lnTo>
                  <a:pt x="40" y="385"/>
                </a:lnTo>
                <a:lnTo>
                  <a:pt x="45" y="373"/>
                </a:lnTo>
                <a:lnTo>
                  <a:pt x="43" y="365"/>
                </a:lnTo>
                <a:lnTo>
                  <a:pt x="43" y="349"/>
                </a:lnTo>
                <a:lnTo>
                  <a:pt x="45" y="334"/>
                </a:lnTo>
                <a:lnTo>
                  <a:pt x="33" y="296"/>
                </a:lnTo>
                <a:lnTo>
                  <a:pt x="31" y="289"/>
                </a:lnTo>
                <a:lnTo>
                  <a:pt x="31" y="269"/>
                </a:lnTo>
                <a:lnTo>
                  <a:pt x="28" y="257"/>
                </a:lnTo>
                <a:lnTo>
                  <a:pt x="26" y="204"/>
                </a:lnTo>
                <a:lnTo>
                  <a:pt x="21" y="173"/>
                </a:lnTo>
                <a:lnTo>
                  <a:pt x="12" y="164"/>
                </a:lnTo>
                <a:lnTo>
                  <a:pt x="4" y="127"/>
                </a:lnTo>
                <a:lnTo>
                  <a:pt x="4" y="99"/>
                </a:lnTo>
                <a:lnTo>
                  <a:pt x="7" y="82"/>
                </a:lnTo>
                <a:lnTo>
                  <a:pt x="9" y="72"/>
                </a:lnTo>
                <a:lnTo>
                  <a:pt x="2" y="48"/>
                </a:lnTo>
                <a:lnTo>
                  <a:pt x="0" y="39"/>
                </a:lnTo>
                <a:lnTo>
                  <a:pt x="146" y="39"/>
                </a:lnTo>
                <a:lnTo>
                  <a:pt x="146" y="15"/>
                </a:lnTo>
                <a:lnTo>
                  <a:pt x="148" y="0"/>
                </a:lnTo>
                <a:lnTo>
                  <a:pt x="158" y="0"/>
                </a:lnTo>
                <a:lnTo>
                  <a:pt x="175" y="5"/>
                </a:lnTo>
                <a:lnTo>
                  <a:pt x="175" y="29"/>
                </a:lnTo>
                <a:lnTo>
                  <a:pt x="180" y="46"/>
                </a:lnTo>
                <a:lnTo>
                  <a:pt x="180" y="60"/>
                </a:lnTo>
                <a:lnTo>
                  <a:pt x="194" y="72"/>
                </a:lnTo>
                <a:lnTo>
                  <a:pt x="201" y="70"/>
                </a:lnTo>
                <a:lnTo>
                  <a:pt x="211" y="72"/>
                </a:lnTo>
                <a:lnTo>
                  <a:pt x="216" y="77"/>
                </a:lnTo>
                <a:lnTo>
                  <a:pt x="230" y="75"/>
                </a:lnTo>
                <a:lnTo>
                  <a:pt x="242" y="77"/>
                </a:lnTo>
                <a:lnTo>
                  <a:pt x="247" y="84"/>
                </a:lnTo>
                <a:lnTo>
                  <a:pt x="247" y="87"/>
                </a:lnTo>
                <a:lnTo>
                  <a:pt x="266" y="87"/>
                </a:lnTo>
                <a:lnTo>
                  <a:pt x="273" y="77"/>
                </a:lnTo>
                <a:lnTo>
                  <a:pt x="305" y="77"/>
                </a:lnTo>
                <a:lnTo>
                  <a:pt x="324" y="82"/>
                </a:lnTo>
                <a:lnTo>
                  <a:pt x="331" y="82"/>
                </a:lnTo>
                <a:lnTo>
                  <a:pt x="326" y="89"/>
                </a:lnTo>
                <a:lnTo>
                  <a:pt x="333" y="94"/>
                </a:lnTo>
                <a:lnTo>
                  <a:pt x="336" y="91"/>
                </a:lnTo>
                <a:lnTo>
                  <a:pt x="341" y="96"/>
                </a:lnTo>
                <a:lnTo>
                  <a:pt x="343" y="111"/>
                </a:lnTo>
                <a:lnTo>
                  <a:pt x="350" y="115"/>
                </a:lnTo>
                <a:lnTo>
                  <a:pt x="360" y="103"/>
                </a:lnTo>
                <a:lnTo>
                  <a:pt x="365" y="101"/>
                </a:lnTo>
                <a:lnTo>
                  <a:pt x="372" y="103"/>
                </a:lnTo>
                <a:lnTo>
                  <a:pt x="377" y="115"/>
                </a:lnTo>
                <a:lnTo>
                  <a:pt x="393" y="118"/>
                </a:lnTo>
                <a:lnTo>
                  <a:pt x="398" y="125"/>
                </a:lnTo>
                <a:lnTo>
                  <a:pt x="405" y="132"/>
                </a:lnTo>
                <a:lnTo>
                  <a:pt x="417" y="132"/>
                </a:lnTo>
                <a:lnTo>
                  <a:pt x="427" y="127"/>
                </a:lnTo>
                <a:lnTo>
                  <a:pt x="456" y="108"/>
                </a:lnTo>
                <a:lnTo>
                  <a:pt x="461" y="111"/>
                </a:lnTo>
                <a:lnTo>
                  <a:pt x="468" y="120"/>
                </a:lnTo>
                <a:lnTo>
                  <a:pt x="509" y="120"/>
                </a:lnTo>
                <a:lnTo>
                  <a:pt x="516" y="123"/>
                </a:lnTo>
                <a:lnTo>
                  <a:pt x="521" y="125"/>
                </a:lnTo>
                <a:lnTo>
                  <a:pt x="533" y="132"/>
                </a:lnTo>
                <a:lnTo>
                  <a:pt x="542" y="127"/>
                </a:lnTo>
                <a:lnTo>
                  <a:pt x="559" y="127"/>
                </a:lnTo>
                <a:lnTo>
                  <a:pt x="550" y="137"/>
                </a:lnTo>
                <a:lnTo>
                  <a:pt x="525" y="152"/>
                </a:lnTo>
                <a:lnTo>
                  <a:pt x="511" y="156"/>
                </a:lnTo>
                <a:lnTo>
                  <a:pt x="501" y="159"/>
                </a:lnTo>
                <a:lnTo>
                  <a:pt x="489" y="171"/>
                </a:lnTo>
                <a:lnTo>
                  <a:pt x="468" y="180"/>
                </a:lnTo>
                <a:lnTo>
                  <a:pt x="458" y="188"/>
                </a:lnTo>
                <a:lnTo>
                  <a:pt x="425" y="226"/>
                </a:lnTo>
                <a:lnTo>
                  <a:pt x="374" y="272"/>
                </a:lnTo>
                <a:lnTo>
                  <a:pt x="367" y="279"/>
                </a:lnTo>
                <a:lnTo>
                  <a:pt x="362" y="284"/>
                </a:lnTo>
                <a:lnTo>
                  <a:pt x="365" y="344"/>
                </a:lnTo>
                <a:lnTo>
                  <a:pt x="357" y="349"/>
                </a:lnTo>
                <a:lnTo>
                  <a:pt x="353" y="353"/>
                </a:lnTo>
                <a:lnTo>
                  <a:pt x="331" y="370"/>
                </a:lnTo>
                <a:lnTo>
                  <a:pt x="329" y="380"/>
                </a:lnTo>
                <a:lnTo>
                  <a:pt x="326" y="382"/>
                </a:lnTo>
                <a:lnTo>
                  <a:pt x="321" y="399"/>
                </a:lnTo>
                <a:lnTo>
                  <a:pt x="333" y="404"/>
                </a:lnTo>
                <a:lnTo>
                  <a:pt x="341" y="418"/>
                </a:lnTo>
                <a:lnTo>
                  <a:pt x="333" y="430"/>
                </a:lnTo>
                <a:lnTo>
                  <a:pt x="333" y="440"/>
                </a:lnTo>
                <a:lnTo>
                  <a:pt x="333" y="459"/>
                </a:lnTo>
                <a:lnTo>
                  <a:pt x="333" y="488"/>
                </a:lnTo>
                <a:lnTo>
                  <a:pt x="336" y="493"/>
                </a:lnTo>
                <a:lnTo>
                  <a:pt x="345" y="500"/>
                </a:lnTo>
                <a:lnTo>
                  <a:pt x="348" y="505"/>
                </a:lnTo>
                <a:lnTo>
                  <a:pt x="367" y="507"/>
                </a:lnTo>
                <a:lnTo>
                  <a:pt x="369" y="510"/>
                </a:lnTo>
                <a:lnTo>
                  <a:pt x="372" y="514"/>
                </a:lnTo>
                <a:lnTo>
                  <a:pt x="377" y="519"/>
                </a:lnTo>
                <a:lnTo>
                  <a:pt x="401" y="529"/>
                </a:lnTo>
                <a:lnTo>
                  <a:pt x="408" y="546"/>
                </a:lnTo>
                <a:lnTo>
                  <a:pt x="427" y="560"/>
                </a:lnTo>
                <a:lnTo>
                  <a:pt x="453" y="577"/>
                </a:lnTo>
                <a:lnTo>
                  <a:pt x="456" y="584"/>
                </a:lnTo>
                <a:lnTo>
                  <a:pt x="456" y="596"/>
                </a:lnTo>
                <a:lnTo>
                  <a:pt x="458" y="615"/>
                </a:lnTo>
                <a:lnTo>
                  <a:pt x="55" y="63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1" name="Freeform 52"/>
          <p:cNvSpPr>
            <a:spLocks/>
          </p:cNvSpPr>
          <p:nvPr/>
        </p:nvSpPr>
        <p:spPr bwMode="auto">
          <a:xfrm>
            <a:off x="8741054" y="2254453"/>
            <a:ext cx="712788" cy="760412"/>
          </a:xfrm>
          <a:custGeom>
            <a:avLst/>
            <a:gdLst>
              <a:gd name="T0" fmla="*/ 188 w 449"/>
              <a:gd name="T1" fmla="*/ 469 h 479"/>
              <a:gd name="T2" fmla="*/ 154 w 449"/>
              <a:gd name="T3" fmla="*/ 452 h 479"/>
              <a:gd name="T4" fmla="*/ 142 w 449"/>
              <a:gd name="T5" fmla="*/ 411 h 479"/>
              <a:gd name="T6" fmla="*/ 149 w 449"/>
              <a:gd name="T7" fmla="*/ 394 h 479"/>
              <a:gd name="T8" fmla="*/ 137 w 449"/>
              <a:gd name="T9" fmla="*/ 370 h 479"/>
              <a:gd name="T10" fmla="*/ 135 w 449"/>
              <a:gd name="T11" fmla="*/ 339 h 479"/>
              <a:gd name="T12" fmla="*/ 106 w 449"/>
              <a:gd name="T13" fmla="*/ 315 h 479"/>
              <a:gd name="T14" fmla="*/ 80 w 449"/>
              <a:gd name="T15" fmla="*/ 284 h 479"/>
              <a:gd name="T16" fmla="*/ 51 w 449"/>
              <a:gd name="T17" fmla="*/ 269 h 479"/>
              <a:gd name="T18" fmla="*/ 46 w 449"/>
              <a:gd name="T19" fmla="*/ 262 h 479"/>
              <a:gd name="T20" fmla="*/ 24 w 449"/>
              <a:gd name="T21" fmla="*/ 255 h 479"/>
              <a:gd name="T22" fmla="*/ 12 w 449"/>
              <a:gd name="T23" fmla="*/ 243 h 479"/>
              <a:gd name="T24" fmla="*/ 12 w 449"/>
              <a:gd name="T25" fmla="*/ 195 h 479"/>
              <a:gd name="T26" fmla="*/ 20 w 449"/>
              <a:gd name="T27" fmla="*/ 173 h 479"/>
              <a:gd name="T28" fmla="*/ 0 w 449"/>
              <a:gd name="T29" fmla="*/ 154 h 479"/>
              <a:gd name="T30" fmla="*/ 8 w 449"/>
              <a:gd name="T31" fmla="*/ 135 h 479"/>
              <a:gd name="T32" fmla="*/ 32 w 449"/>
              <a:gd name="T33" fmla="*/ 108 h 479"/>
              <a:gd name="T34" fmla="*/ 44 w 449"/>
              <a:gd name="T35" fmla="*/ 99 h 479"/>
              <a:gd name="T36" fmla="*/ 46 w 449"/>
              <a:gd name="T37" fmla="*/ 34 h 479"/>
              <a:gd name="T38" fmla="*/ 60 w 449"/>
              <a:gd name="T39" fmla="*/ 32 h 479"/>
              <a:gd name="T40" fmla="*/ 82 w 449"/>
              <a:gd name="T41" fmla="*/ 32 h 479"/>
              <a:gd name="T42" fmla="*/ 140 w 449"/>
              <a:gd name="T43" fmla="*/ 0 h 479"/>
              <a:gd name="T44" fmla="*/ 149 w 449"/>
              <a:gd name="T45" fmla="*/ 5 h 479"/>
              <a:gd name="T46" fmla="*/ 147 w 449"/>
              <a:gd name="T47" fmla="*/ 17 h 479"/>
              <a:gd name="T48" fmla="*/ 142 w 449"/>
              <a:gd name="T49" fmla="*/ 39 h 479"/>
              <a:gd name="T50" fmla="*/ 164 w 449"/>
              <a:gd name="T51" fmla="*/ 32 h 479"/>
              <a:gd name="T52" fmla="*/ 183 w 449"/>
              <a:gd name="T53" fmla="*/ 39 h 479"/>
              <a:gd name="T54" fmla="*/ 197 w 449"/>
              <a:gd name="T55" fmla="*/ 46 h 479"/>
              <a:gd name="T56" fmla="*/ 204 w 449"/>
              <a:gd name="T57" fmla="*/ 63 h 479"/>
              <a:gd name="T58" fmla="*/ 281 w 449"/>
              <a:gd name="T59" fmla="*/ 80 h 479"/>
              <a:gd name="T60" fmla="*/ 305 w 449"/>
              <a:gd name="T61" fmla="*/ 92 h 479"/>
              <a:gd name="T62" fmla="*/ 317 w 449"/>
              <a:gd name="T63" fmla="*/ 96 h 479"/>
              <a:gd name="T64" fmla="*/ 327 w 449"/>
              <a:gd name="T65" fmla="*/ 92 h 479"/>
              <a:gd name="T66" fmla="*/ 356 w 449"/>
              <a:gd name="T67" fmla="*/ 99 h 479"/>
              <a:gd name="T68" fmla="*/ 358 w 449"/>
              <a:gd name="T69" fmla="*/ 106 h 479"/>
              <a:gd name="T70" fmla="*/ 368 w 449"/>
              <a:gd name="T71" fmla="*/ 111 h 479"/>
              <a:gd name="T72" fmla="*/ 382 w 449"/>
              <a:gd name="T73" fmla="*/ 128 h 479"/>
              <a:gd name="T74" fmla="*/ 382 w 449"/>
              <a:gd name="T75" fmla="*/ 156 h 479"/>
              <a:gd name="T76" fmla="*/ 397 w 449"/>
              <a:gd name="T77" fmla="*/ 156 h 479"/>
              <a:gd name="T78" fmla="*/ 392 w 449"/>
              <a:gd name="T79" fmla="*/ 166 h 479"/>
              <a:gd name="T80" fmla="*/ 406 w 449"/>
              <a:gd name="T81" fmla="*/ 185 h 479"/>
              <a:gd name="T82" fmla="*/ 389 w 449"/>
              <a:gd name="T83" fmla="*/ 202 h 479"/>
              <a:gd name="T84" fmla="*/ 375 w 449"/>
              <a:gd name="T85" fmla="*/ 238 h 479"/>
              <a:gd name="T86" fmla="*/ 377 w 449"/>
              <a:gd name="T87" fmla="*/ 245 h 479"/>
              <a:gd name="T88" fmla="*/ 401 w 449"/>
              <a:gd name="T89" fmla="*/ 217 h 479"/>
              <a:gd name="T90" fmla="*/ 421 w 449"/>
              <a:gd name="T91" fmla="*/ 202 h 479"/>
              <a:gd name="T92" fmla="*/ 428 w 449"/>
              <a:gd name="T93" fmla="*/ 193 h 479"/>
              <a:gd name="T94" fmla="*/ 430 w 449"/>
              <a:gd name="T95" fmla="*/ 178 h 479"/>
              <a:gd name="T96" fmla="*/ 435 w 449"/>
              <a:gd name="T97" fmla="*/ 168 h 479"/>
              <a:gd name="T98" fmla="*/ 442 w 449"/>
              <a:gd name="T99" fmla="*/ 159 h 479"/>
              <a:gd name="T100" fmla="*/ 449 w 449"/>
              <a:gd name="T101" fmla="*/ 161 h 479"/>
              <a:gd name="T102" fmla="*/ 435 w 449"/>
              <a:gd name="T103" fmla="*/ 202 h 479"/>
              <a:gd name="T104" fmla="*/ 428 w 449"/>
              <a:gd name="T105" fmla="*/ 219 h 479"/>
              <a:gd name="T106" fmla="*/ 418 w 449"/>
              <a:gd name="T107" fmla="*/ 248 h 479"/>
              <a:gd name="T108" fmla="*/ 418 w 449"/>
              <a:gd name="T109" fmla="*/ 279 h 479"/>
              <a:gd name="T110" fmla="*/ 406 w 449"/>
              <a:gd name="T111" fmla="*/ 296 h 479"/>
              <a:gd name="T112" fmla="*/ 409 w 449"/>
              <a:gd name="T113" fmla="*/ 337 h 479"/>
              <a:gd name="T114" fmla="*/ 397 w 449"/>
              <a:gd name="T115" fmla="*/ 370 h 479"/>
              <a:gd name="T116" fmla="*/ 413 w 449"/>
              <a:gd name="T117" fmla="*/ 438 h 479"/>
              <a:gd name="T118" fmla="*/ 411 w 449"/>
              <a:gd name="T119" fmla="*/ 447 h 479"/>
              <a:gd name="T120" fmla="*/ 411 w 449"/>
              <a:gd name="T121" fmla="*/ 46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9" h="479">
                <a:moveTo>
                  <a:pt x="190" y="479"/>
                </a:moveTo>
                <a:lnTo>
                  <a:pt x="188" y="469"/>
                </a:lnTo>
                <a:lnTo>
                  <a:pt x="180" y="462"/>
                </a:lnTo>
                <a:lnTo>
                  <a:pt x="154" y="452"/>
                </a:lnTo>
                <a:lnTo>
                  <a:pt x="147" y="423"/>
                </a:lnTo>
                <a:lnTo>
                  <a:pt x="142" y="411"/>
                </a:lnTo>
                <a:lnTo>
                  <a:pt x="149" y="399"/>
                </a:lnTo>
                <a:lnTo>
                  <a:pt x="149" y="394"/>
                </a:lnTo>
                <a:lnTo>
                  <a:pt x="140" y="385"/>
                </a:lnTo>
                <a:lnTo>
                  <a:pt x="137" y="370"/>
                </a:lnTo>
                <a:lnTo>
                  <a:pt x="135" y="351"/>
                </a:lnTo>
                <a:lnTo>
                  <a:pt x="135" y="339"/>
                </a:lnTo>
                <a:lnTo>
                  <a:pt x="132" y="332"/>
                </a:lnTo>
                <a:lnTo>
                  <a:pt x="106" y="315"/>
                </a:lnTo>
                <a:lnTo>
                  <a:pt x="87" y="301"/>
                </a:lnTo>
                <a:lnTo>
                  <a:pt x="80" y="284"/>
                </a:lnTo>
                <a:lnTo>
                  <a:pt x="56" y="274"/>
                </a:lnTo>
                <a:lnTo>
                  <a:pt x="51" y="269"/>
                </a:lnTo>
                <a:lnTo>
                  <a:pt x="48" y="265"/>
                </a:lnTo>
                <a:lnTo>
                  <a:pt x="46" y="262"/>
                </a:lnTo>
                <a:lnTo>
                  <a:pt x="27" y="260"/>
                </a:lnTo>
                <a:lnTo>
                  <a:pt x="24" y="255"/>
                </a:lnTo>
                <a:lnTo>
                  <a:pt x="15" y="248"/>
                </a:lnTo>
                <a:lnTo>
                  <a:pt x="12" y="243"/>
                </a:lnTo>
                <a:lnTo>
                  <a:pt x="12" y="214"/>
                </a:lnTo>
                <a:lnTo>
                  <a:pt x="12" y="195"/>
                </a:lnTo>
                <a:lnTo>
                  <a:pt x="12" y="185"/>
                </a:lnTo>
                <a:lnTo>
                  <a:pt x="20" y="173"/>
                </a:lnTo>
                <a:lnTo>
                  <a:pt x="12" y="159"/>
                </a:lnTo>
                <a:lnTo>
                  <a:pt x="0" y="154"/>
                </a:lnTo>
                <a:lnTo>
                  <a:pt x="5" y="137"/>
                </a:lnTo>
                <a:lnTo>
                  <a:pt x="8" y="135"/>
                </a:lnTo>
                <a:lnTo>
                  <a:pt x="10" y="125"/>
                </a:lnTo>
                <a:lnTo>
                  <a:pt x="32" y="108"/>
                </a:lnTo>
                <a:lnTo>
                  <a:pt x="36" y="104"/>
                </a:lnTo>
                <a:lnTo>
                  <a:pt x="44" y="99"/>
                </a:lnTo>
                <a:lnTo>
                  <a:pt x="41" y="39"/>
                </a:lnTo>
                <a:lnTo>
                  <a:pt x="46" y="34"/>
                </a:lnTo>
                <a:lnTo>
                  <a:pt x="53" y="27"/>
                </a:lnTo>
                <a:lnTo>
                  <a:pt x="60" y="32"/>
                </a:lnTo>
                <a:lnTo>
                  <a:pt x="70" y="34"/>
                </a:lnTo>
                <a:lnTo>
                  <a:pt x="82" y="32"/>
                </a:lnTo>
                <a:lnTo>
                  <a:pt x="104" y="19"/>
                </a:lnTo>
                <a:lnTo>
                  <a:pt x="140" y="0"/>
                </a:lnTo>
                <a:lnTo>
                  <a:pt x="147" y="0"/>
                </a:lnTo>
                <a:lnTo>
                  <a:pt x="149" y="5"/>
                </a:lnTo>
                <a:lnTo>
                  <a:pt x="149" y="12"/>
                </a:lnTo>
                <a:lnTo>
                  <a:pt x="147" y="17"/>
                </a:lnTo>
                <a:lnTo>
                  <a:pt x="147" y="22"/>
                </a:lnTo>
                <a:lnTo>
                  <a:pt x="142" y="39"/>
                </a:lnTo>
                <a:lnTo>
                  <a:pt x="156" y="32"/>
                </a:lnTo>
                <a:lnTo>
                  <a:pt x="164" y="32"/>
                </a:lnTo>
                <a:lnTo>
                  <a:pt x="173" y="39"/>
                </a:lnTo>
                <a:lnTo>
                  <a:pt x="183" y="39"/>
                </a:lnTo>
                <a:lnTo>
                  <a:pt x="185" y="44"/>
                </a:lnTo>
                <a:lnTo>
                  <a:pt x="197" y="46"/>
                </a:lnTo>
                <a:lnTo>
                  <a:pt x="202" y="51"/>
                </a:lnTo>
                <a:lnTo>
                  <a:pt x="204" y="63"/>
                </a:lnTo>
                <a:lnTo>
                  <a:pt x="209" y="65"/>
                </a:lnTo>
                <a:lnTo>
                  <a:pt x="281" y="80"/>
                </a:lnTo>
                <a:lnTo>
                  <a:pt x="289" y="80"/>
                </a:lnTo>
                <a:lnTo>
                  <a:pt x="305" y="92"/>
                </a:lnTo>
                <a:lnTo>
                  <a:pt x="315" y="92"/>
                </a:lnTo>
                <a:lnTo>
                  <a:pt x="317" y="96"/>
                </a:lnTo>
                <a:lnTo>
                  <a:pt x="322" y="92"/>
                </a:lnTo>
                <a:lnTo>
                  <a:pt x="327" y="92"/>
                </a:lnTo>
                <a:lnTo>
                  <a:pt x="344" y="96"/>
                </a:lnTo>
                <a:lnTo>
                  <a:pt x="356" y="99"/>
                </a:lnTo>
                <a:lnTo>
                  <a:pt x="358" y="104"/>
                </a:lnTo>
                <a:lnTo>
                  <a:pt x="358" y="106"/>
                </a:lnTo>
                <a:lnTo>
                  <a:pt x="356" y="108"/>
                </a:lnTo>
                <a:lnTo>
                  <a:pt x="368" y="111"/>
                </a:lnTo>
                <a:lnTo>
                  <a:pt x="382" y="118"/>
                </a:lnTo>
                <a:lnTo>
                  <a:pt x="382" y="128"/>
                </a:lnTo>
                <a:lnTo>
                  <a:pt x="380" y="156"/>
                </a:lnTo>
                <a:lnTo>
                  <a:pt x="382" y="156"/>
                </a:lnTo>
                <a:lnTo>
                  <a:pt x="394" y="154"/>
                </a:lnTo>
                <a:lnTo>
                  <a:pt x="397" y="156"/>
                </a:lnTo>
                <a:lnTo>
                  <a:pt x="394" y="161"/>
                </a:lnTo>
                <a:lnTo>
                  <a:pt x="392" y="166"/>
                </a:lnTo>
                <a:lnTo>
                  <a:pt x="394" y="178"/>
                </a:lnTo>
                <a:lnTo>
                  <a:pt x="406" y="185"/>
                </a:lnTo>
                <a:lnTo>
                  <a:pt x="404" y="188"/>
                </a:lnTo>
                <a:lnTo>
                  <a:pt x="389" y="202"/>
                </a:lnTo>
                <a:lnTo>
                  <a:pt x="377" y="224"/>
                </a:lnTo>
                <a:lnTo>
                  <a:pt x="375" y="238"/>
                </a:lnTo>
                <a:lnTo>
                  <a:pt x="373" y="243"/>
                </a:lnTo>
                <a:lnTo>
                  <a:pt x="377" y="245"/>
                </a:lnTo>
                <a:lnTo>
                  <a:pt x="389" y="241"/>
                </a:lnTo>
                <a:lnTo>
                  <a:pt x="401" y="217"/>
                </a:lnTo>
                <a:lnTo>
                  <a:pt x="413" y="207"/>
                </a:lnTo>
                <a:lnTo>
                  <a:pt x="421" y="202"/>
                </a:lnTo>
                <a:lnTo>
                  <a:pt x="423" y="197"/>
                </a:lnTo>
                <a:lnTo>
                  <a:pt x="428" y="193"/>
                </a:lnTo>
                <a:lnTo>
                  <a:pt x="433" y="185"/>
                </a:lnTo>
                <a:lnTo>
                  <a:pt x="430" y="178"/>
                </a:lnTo>
                <a:lnTo>
                  <a:pt x="433" y="171"/>
                </a:lnTo>
                <a:lnTo>
                  <a:pt x="435" y="168"/>
                </a:lnTo>
                <a:lnTo>
                  <a:pt x="437" y="161"/>
                </a:lnTo>
                <a:lnTo>
                  <a:pt x="442" y="159"/>
                </a:lnTo>
                <a:lnTo>
                  <a:pt x="447" y="159"/>
                </a:lnTo>
                <a:lnTo>
                  <a:pt x="449" y="161"/>
                </a:lnTo>
                <a:lnTo>
                  <a:pt x="447" y="176"/>
                </a:lnTo>
                <a:lnTo>
                  <a:pt x="435" y="202"/>
                </a:lnTo>
                <a:lnTo>
                  <a:pt x="430" y="209"/>
                </a:lnTo>
                <a:lnTo>
                  <a:pt x="428" y="219"/>
                </a:lnTo>
                <a:lnTo>
                  <a:pt x="428" y="226"/>
                </a:lnTo>
                <a:lnTo>
                  <a:pt x="418" y="248"/>
                </a:lnTo>
                <a:lnTo>
                  <a:pt x="418" y="267"/>
                </a:lnTo>
                <a:lnTo>
                  <a:pt x="418" y="279"/>
                </a:lnTo>
                <a:lnTo>
                  <a:pt x="409" y="291"/>
                </a:lnTo>
                <a:lnTo>
                  <a:pt x="406" y="296"/>
                </a:lnTo>
                <a:lnTo>
                  <a:pt x="409" y="313"/>
                </a:lnTo>
                <a:lnTo>
                  <a:pt x="409" y="337"/>
                </a:lnTo>
                <a:lnTo>
                  <a:pt x="406" y="344"/>
                </a:lnTo>
                <a:lnTo>
                  <a:pt x="397" y="370"/>
                </a:lnTo>
                <a:lnTo>
                  <a:pt x="401" y="411"/>
                </a:lnTo>
                <a:lnTo>
                  <a:pt x="413" y="438"/>
                </a:lnTo>
                <a:lnTo>
                  <a:pt x="411" y="440"/>
                </a:lnTo>
                <a:lnTo>
                  <a:pt x="411" y="447"/>
                </a:lnTo>
                <a:lnTo>
                  <a:pt x="411" y="452"/>
                </a:lnTo>
                <a:lnTo>
                  <a:pt x="411" y="464"/>
                </a:lnTo>
                <a:lnTo>
                  <a:pt x="190" y="479"/>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2" name="Freeform 53"/>
          <p:cNvSpPr>
            <a:spLocks/>
          </p:cNvSpPr>
          <p:nvPr/>
        </p:nvSpPr>
        <p:spPr bwMode="auto">
          <a:xfrm>
            <a:off x="11017529" y="2925965"/>
            <a:ext cx="182563" cy="415925"/>
          </a:xfrm>
          <a:custGeom>
            <a:avLst/>
            <a:gdLst>
              <a:gd name="T0" fmla="*/ 0 w 115"/>
              <a:gd name="T1" fmla="*/ 195 h 262"/>
              <a:gd name="T2" fmla="*/ 2 w 115"/>
              <a:gd name="T3" fmla="*/ 197 h 262"/>
              <a:gd name="T4" fmla="*/ 14 w 115"/>
              <a:gd name="T5" fmla="*/ 214 h 262"/>
              <a:gd name="T6" fmla="*/ 38 w 115"/>
              <a:gd name="T7" fmla="*/ 231 h 262"/>
              <a:gd name="T8" fmla="*/ 58 w 115"/>
              <a:gd name="T9" fmla="*/ 236 h 262"/>
              <a:gd name="T10" fmla="*/ 65 w 115"/>
              <a:gd name="T11" fmla="*/ 250 h 262"/>
              <a:gd name="T12" fmla="*/ 70 w 115"/>
              <a:gd name="T13" fmla="*/ 262 h 262"/>
              <a:gd name="T14" fmla="*/ 79 w 115"/>
              <a:gd name="T15" fmla="*/ 243 h 262"/>
              <a:gd name="T16" fmla="*/ 89 w 115"/>
              <a:gd name="T17" fmla="*/ 217 h 262"/>
              <a:gd name="T18" fmla="*/ 96 w 115"/>
              <a:gd name="T19" fmla="*/ 161 h 262"/>
              <a:gd name="T20" fmla="*/ 115 w 115"/>
              <a:gd name="T21" fmla="*/ 164 h 262"/>
              <a:gd name="T22" fmla="*/ 113 w 115"/>
              <a:gd name="T23" fmla="*/ 118 h 262"/>
              <a:gd name="T24" fmla="*/ 103 w 115"/>
              <a:gd name="T25" fmla="*/ 82 h 262"/>
              <a:gd name="T26" fmla="*/ 89 w 115"/>
              <a:gd name="T27" fmla="*/ 89 h 262"/>
              <a:gd name="T28" fmla="*/ 82 w 115"/>
              <a:gd name="T29" fmla="*/ 84 h 262"/>
              <a:gd name="T30" fmla="*/ 77 w 115"/>
              <a:gd name="T31" fmla="*/ 87 h 262"/>
              <a:gd name="T32" fmla="*/ 82 w 115"/>
              <a:gd name="T33" fmla="*/ 68 h 262"/>
              <a:gd name="T34" fmla="*/ 91 w 115"/>
              <a:gd name="T35" fmla="*/ 65 h 262"/>
              <a:gd name="T36" fmla="*/ 91 w 115"/>
              <a:gd name="T37" fmla="*/ 46 h 262"/>
              <a:gd name="T38" fmla="*/ 101 w 115"/>
              <a:gd name="T39" fmla="*/ 36 h 262"/>
              <a:gd name="T40" fmla="*/ 26 w 115"/>
              <a:gd name="T41" fmla="*/ 0 h 262"/>
              <a:gd name="T42" fmla="*/ 17 w 115"/>
              <a:gd name="T43" fmla="*/ 12 h 262"/>
              <a:gd name="T44" fmla="*/ 12 w 115"/>
              <a:gd name="T45" fmla="*/ 32 h 262"/>
              <a:gd name="T46" fmla="*/ 2 w 115"/>
              <a:gd name="T47" fmla="*/ 46 h 262"/>
              <a:gd name="T48" fmla="*/ 7 w 115"/>
              <a:gd name="T49" fmla="*/ 56 h 262"/>
              <a:gd name="T50" fmla="*/ 5 w 115"/>
              <a:gd name="T51" fmla="*/ 70 h 262"/>
              <a:gd name="T52" fmla="*/ 7 w 115"/>
              <a:gd name="T53" fmla="*/ 92 h 262"/>
              <a:gd name="T54" fmla="*/ 22 w 115"/>
              <a:gd name="T55" fmla="*/ 104 h 262"/>
              <a:gd name="T56" fmla="*/ 31 w 115"/>
              <a:gd name="T57" fmla="*/ 111 h 262"/>
              <a:gd name="T58" fmla="*/ 43 w 115"/>
              <a:gd name="T59" fmla="*/ 118 h 262"/>
              <a:gd name="T60" fmla="*/ 53 w 115"/>
              <a:gd name="T61" fmla="*/ 130 h 262"/>
              <a:gd name="T62" fmla="*/ 26 w 115"/>
              <a:gd name="T63" fmla="*/ 149 h 262"/>
              <a:gd name="T64" fmla="*/ 5 w 115"/>
              <a:gd name="T65" fmla="*/ 176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262">
                <a:moveTo>
                  <a:pt x="5" y="176"/>
                </a:moveTo>
                <a:lnTo>
                  <a:pt x="0" y="195"/>
                </a:lnTo>
                <a:lnTo>
                  <a:pt x="0" y="200"/>
                </a:lnTo>
                <a:lnTo>
                  <a:pt x="2" y="197"/>
                </a:lnTo>
                <a:lnTo>
                  <a:pt x="7" y="207"/>
                </a:lnTo>
                <a:lnTo>
                  <a:pt x="14" y="214"/>
                </a:lnTo>
                <a:lnTo>
                  <a:pt x="19" y="221"/>
                </a:lnTo>
                <a:lnTo>
                  <a:pt x="38" y="231"/>
                </a:lnTo>
                <a:lnTo>
                  <a:pt x="46" y="233"/>
                </a:lnTo>
                <a:lnTo>
                  <a:pt x="58" y="236"/>
                </a:lnTo>
                <a:lnTo>
                  <a:pt x="63" y="236"/>
                </a:lnTo>
                <a:lnTo>
                  <a:pt x="65" y="250"/>
                </a:lnTo>
                <a:lnTo>
                  <a:pt x="63" y="257"/>
                </a:lnTo>
                <a:lnTo>
                  <a:pt x="70" y="262"/>
                </a:lnTo>
                <a:lnTo>
                  <a:pt x="75" y="255"/>
                </a:lnTo>
                <a:lnTo>
                  <a:pt x="79" y="243"/>
                </a:lnTo>
                <a:lnTo>
                  <a:pt x="79" y="231"/>
                </a:lnTo>
                <a:lnTo>
                  <a:pt x="89" y="217"/>
                </a:lnTo>
                <a:lnTo>
                  <a:pt x="94" y="205"/>
                </a:lnTo>
                <a:lnTo>
                  <a:pt x="96" y="161"/>
                </a:lnTo>
                <a:lnTo>
                  <a:pt x="111" y="173"/>
                </a:lnTo>
                <a:lnTo>
                  <a:pt x="115" y="164"/>
                </a:lnTo>
                <a:lnTo>
                  <a:pt x="115" y="154"/>
                </a:lnTo>
                <a:lnTo>
                  <a:pt x="113" y="118"/>
                </a:lnTo>
                <a:lnTo>
                  <a:pt x="111" y="92"/>
                </a:lnTo>
                <a:lnTo>
                  <a:pt x="103" y="82"/>
                </a:lnTo>
                <a:lnTo>
                  <a:pt x="91" y="84"/>
                </a:lnTo>
                <a:lnTo>
                  <a:pt x="89" y="89"/>
                </a:lnTo>
                <a:lnTo>
                  <a:pt x="84" y="87"/>
                </a:lnTo>
                <a:lnTo>
                  <a:pt x="82" y="84"/>
                </a:lnTo>
                <a:lnTo>
                  <a:pt x="79" y="87"/>
                </a:lnTo>
                <a:lnTo>
                  <a:pt x="77" y="87"/>
                </a:lnTo>
                <a:lnTo>
                  <a:pt x="77" y="82"/>
                </a:lnTo>
                <a:lnTo>
                  <a:pt x="82" y="68"/>
                </a:lnTo>
                <a:lnTo>
                  <a:pt x="87" y="65"/>
                </a:lnTo>
                <a:lnTo>
                  <a:pt x="91" y="65"/>
                </a:lnTo>
                <a:lnTo>
                  <a:pt x="91" y="53"/>
                </a:lnTo>
                <a:lnTo>
                  <a:pt x="91" y="46"/>
                </a:lnTo>
                <a:lnTo>
                  <a:pt x="96" y="41"/>
                </a:lnTo>
                <a:lnTo>
                  <a:pt x="101" y="36"/>
                </a:lnTo>
                <a:lnTo>
                  <a:pt x="96" y="24"/>
                </a:lnTo>
                <a:lnTo>
                  <a:pt x="26" y="0"/>
                </a:lnTo>
                <a:lnTo>
                  <a:pt x="22" y="3"/>
                </a:lnTo>
                <a:lnTo>
                  <a:pt x="17" y="12"/>
                </a:lnTo>
                <a:lnTo>
                  <a:pt x="17" y="17"/>
                </a:lnTo>
                <a:lnTo>
                  <a:pt x="12" y="32"/>
                </a:lnTo>
                <a:lnTo>
                  <a:pt x="2" y="41"/>
                </a:lnTo>
                <a:lnTo>
                  <a:pt x="2" y="46"/>
                </a:lnTo>
                <a:lnTo>
                  <a:pt x="2" y="48"/>
                </a:lnTo>
                <a:lnTo>
                  <a:pt x="7" y="56"/>
                </a:lnTo>
                <a:lnTo>
                  <a:pt x="10" y="65"/>
                </a:lnTo>
                <a:lnTo>
                  <a:pt x="5" y="70"/>
                </a:lnTo>
                <a:lnTo>
                  <a:pt x="5" y="89"/>
                </a:lnTo>
                <a:lnTo>
                  <a:pt x="7" y="92"/>
                </a:lnTo>
                <a:lnTo>
                  <a:pt x="17" y="92"/>
                </a:lnTo>
                <a:lnTo>
                  <a:pt x="22" y="104"/>
                </a:lnTo>
                <a:lnTo>
                  <a:pt x="29" y="108"/>
                </a:lnTo>
                <a:lnTo>
                  <a:pt x="31" y="111"/>
                </a:lnTo>
                <a:lnTo>
                  <a:pt x="38" y="113"/>
                </a:lnTo>
                <a:lnTo>
                  <a:pt x="43" y="118"/>
                </a:lnTo>
                <a:lnTo>
                  <a:pt x="55" y="128"/>
                </a:lnTo>
                <a:lnTo>
                  <a:pt x="53" y="130"/>
                </a:lnTo>
                <a:lnTo>
                  <a:pt x="41" y="137"/>
                </a:lnTo>
                <a:lnTo>
                  <a:pt x="26" y="149"/>
                </a:lnTo>
                <a:lnTo>
                  <a:pt x="24" y="161"/>
                </a:lnTo>
                <a:lnTo>
                  <a:pt x="5" y="17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3" name="Freeform 54"/>
          <p:cNvSpPr>
            <a:spLocks/>
          </p:cNvSpPr>
          <p:nvPr/>
        </p:nvSpPr>
        <p:spPr bwMode="auto">
          <a:xfrm>
            <a:off x="11074679" y="2227465"/>
            <a:ext cx="233363" cy="428625"/>
          </a:xfrm>
          <a:custGeom>
            <a:avLst/>
            <a:gdLst>
              <a:gd name="T0" fmla="*/ 0 w 147"/>
              <a:gd name="T1" fmla="*/ 34 h 270"/>
              <a:gd name="T2" fmla="*/ 5 w 147"/>
              <a:gd name="T3" fmla="*/ 46 h 270"/>
              <a:gd name="T4" fmla="*/ 2 w 147"/>
              <a:gd name="T5" fmla="*/ 51 h 270"/>
              <a:gd name="T6" fmla="*/ 7 w 147"/>
              <a:gd name="T7" fmla="*/ 56 h 270"/>
              <a:gd name="T8" fmla="*/ 7 w 147"/>
              <a:gd name="T9" fmla="*/ 58 h 270"/>
              <a:gd name="T10" fmla="*/ 19 w 147"/>
              <a:gd name="T11" fmla="*/ 89 h 270"/>
              <a:gd name="T12" fmla="*/ 24 w 147"/>
              <a:gd name="T13" fmla="*/ 113 h 270"/>
              <a:gd name="T14" fmla="*/ 19 w 147"/>
              <a:gd name="T15" fmla="*/ 123 h 270"/>
              <a:gd name="T16" fmla="*/ 19 w 147"/>
              <a:gd name="T17" fmla="*/ 135 h 270"/>
              <a:gd name="T18" fmla="*/ 34 w 147"/>
              <a:gd name="T19" fmla="*/ 166 h 270"/>
              <a:gd name="T20" fmla="*/ 31 w 147"/>
              <a:gd name="T21" fmla="*/ 178 h 270"/>
              <a:gd name="T22" fmla="*/ 34 w 147"/>
              <a:gd name="T23" fmla="*/ 183 h 270"/>
              <a:gd name="T24" fmla="*/ 36 w 147"/>
              <a:gd name="T25" fmla="*/ 183 h 270"/>
              <a:gd name="T26" fmla="*/ 34 w 147"/>
              <a:gd name="T27" fmla="*/ 178 h 270"/>
              <a:gd name="T28" fmla="*/ 39 w 147"/>
              <a:gd name="T29" fmla="*/ 178 h 270"/>
              <a:gd name="T30" fmla="*/ 48 w 147"/>
              <a:gd name="T31" fmla="*/ 193 h 270"/>
              <a:gd name="T32" fmla="*/ 53 w 147"/>
              <a:gd name="T33" fmla="*/ 219 h 270"/>
              <a:gd name="T34" fmla="*/ 53 w 147"/>
              <a:gd name="T35" fmla="*/ 234 h 270"/>
              <a:gd name="T36" fmla="*/ 58 w 147"/>
              <a:gd name="T37" fmla="*/ 253 h 270"/>
              <a:gd name="T38" fmla="*/ 67 w 147"/>
              <a:gd name="T39" fmla="*/ 270 h 270"/>
              <a:gd name="T40" fmla="*/ 125 w 147"/>
              <a:gd name="T41" fmla="*/ 258 h 270"/>
              <a:gd name="T42" fmla="*/ 123 w 147"/>
              <a:gd name="T43" fmla="*/ 250 h 270"/>
              <a:gd name="T44" fmla="*/ 115 w 147"/>
              <a:gd name="T45" fmla="*/ 243 h 270"/>
              <a:gd name="T46" fmla="*/ 118 w 147"/>
              <a:gd name="T47" fmla="*/ 234 h 270"/>
              <a:gd name="T48" fmla="*/ 120 w 147"/>
              <a:gd name="T49" fmla="*/ 229 h 270"/>
              <a:gd name="T50" fmla="*/ 115 w 147"/>
              <a:gd name="T51" fmla="*/ 219 h 270"/>
              <a:gd name="T52" fmla="*/ 113 w 147"/>
              <a:gd name="T53" fmla="*/ 176 h 270"/>
              <a:gd name="T54" fmla="*/ 113 w 147"/>
              <a:gd name="T55" fmla="*/ 161 h 270"/>
              <a:gd name="T56" fmla="*/ 118 w 147"/>
              <a:gd name="T57" fmla="*/ 137 h 270"/>
              <a:gd name="T58" fmla="*/ 123 w 147"/>
              <a:gd name="T59" fmla="*/ 121 h 270"/>
              <a:gd name="T60" fmla="*/ 123 w 147"/>
              <a:gd name="T61" fmla="*/ 109 h 270"/>
              <a:gd name="T62" fmla="*/ 118 w 147"/>
              <a:gd name="T63" fmla="*/ 99 h 270"/>
              <a:gd name="T64" fmla="*/ 118 w 147"/>
              <a:gd name="T65" fmla="*/ 89 h 270"/>
              <a:gd name="T66" fmla="*/ 123 w 147"/>
              <a:gd name="T67" fmla="*/ 82 h 270"/>
              <a:gd name="T68" fmla="*/ 139 w 147"/>
              <a:gd name="T69" fmla="*/ 68 h 270"/>
              <a:gd name="T70" fmla="*/ 147 w 147"/>
              <a:gd name="T71" fmla="*/ 46 h 270"/>
              <a:gd name="T72" fmla="*/ 139 w 147"/>
              <a:gd name="T73" fmla="*/ 32 h 270"/>
              <a:gd name="T74" fmla="*/ 137 w 147"/>
              <a:gd name="T75" fmla="*/ 24 h 270"/>
              <a:gd name="T76" fmla="*/ 139 w 147"/>
              <a:gd name="T77" fmla="*/ 22 h 270"/>
              <a:gd name="T78" fmla="*/ 139 w 147"/>
              <a:gd name="T79" fmla="*/ 17 h 270"/>
              <a:gd name="T80" fmla="*/ 137 w 147"/>
              <a:gd name="T81" fmla="*/ 0 h 270"/>
              <a:gd name="T82" fmla="*/ 0 w 147"/>
              <a:gd name="T83" fmla="*/ 34 h 270"/>
              <a:gd name="T84" fmla="*/ 0 w 147"/>
              <a:gd name="T85" fmla="*/ 3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 h="270">
                <a:moveTo>
                  <a:pt x="0" y="34"/>
                </a:moveTo>
                <a:lnTo>
                  <a:pt x="5" y="46"/>
                </a:lnTo>
                <a:lnTo>
                  <a:pt x="2" y="51"/>
                </a:lnTo>
                <a:lnTo>
                  <a:pt x="7" y="56"/>
                </a:lnTo>
                <a:lnTo>
                  <a:pt x="7" y="58"/>
                </a:lnTo>
                <a:lnTo>
                  <a:pt x="19" y="89"/>
                </a:lnTo>
                <a:lnTo>
                  <a:pt x="24" y="113"/>
                </a:lnTo>
                <a:lnTo>
                  <a:pt x="19" y="123"/>
                </a:lnTo>
                <a:lnTo>
                  <a:pt x="19" y="135"/>
                </a:lnTo>
                <a:lnTo>
                  <a:pt x="34" y="166"/>
                </a:lnTo>
                <a:lnTo>
                  <a:pt x="31" y="178"/>
                </a:lnTo>
                <a:lnTo>
                  <a:pt x="34" y="183"/>
                </a:lnTo>
                <a:lnTo>
                  <a:pt x="36" y="183"/>
                </a:lnTo>
                <a:lnTo>
                  <a:pt x="34" y="178"/>
                </a:lnTo>
                <a:lnTo>
                  <a:pt x="39" y="178"/>
                </a:lnTo>
                <a:lnTo>
                  <a:pt x="48" y="193"/>
                </a:lnTo>
                <a:lnTo>
                  <a:pt x="53" y="219"/>
                </a:lnTo>
                <a:lnTo>
                  <a:pt x="53" y="234"/>
                </a:lnTo>
                <a:lnTo>
                  <a:pt x="58" y="253"/>
                </a:lnTo>
                <a:lnTo>
                  <a:pt x="67" y="270"/>
                </a:lnTo>
                <a:lnTo>
                  <a:pt x="125" y="258"/>
                </a:lnTo>
                <a:lnTo>
                  <a:pt x="123" y="250"/>
                </a:lnTo>
                <a:lnTo>
                  <a:pt x="115" y="243"/>
                </a:lnTo>
                <a:lnTo>
                  <a:pt x="118" y="234"/>
                </a:lnTo>
                <a:lnTo>
                  <a:pt x="120" y="229"/>
                </a:lnTo>
                <a:lnTo>
                  <a:pt x="115" y="219"/>
                </a:lnTo>
                <a:lnTo>
                  <a:pt x="113" y="176"/>
                </a:lnTo>
                <a:lnTo>
                  <a:pt x="113" y="161"/>
                </a:lnTo>
                <a:lnTo>
                  <a:pt x="118" y="137"/>
                </a:lnTo>
                <a:lnTo>
                  <a:pt x="123" y="121"/>
                </a:lnTo>
                <a:lnTo>
                  <a:pt x="123" y="109"/>
                </a:lnTo>
                <a:lnTo>
                  <a:pt x="118" y="99"/>
                </a:lnTo>
                <a:lnTo>
                  <a:pt x="118" y="89"/>
                </a:lnTo>
                <a:lnTo>
                  <a:pt x="123" y="82"/>
                </a:lnTo>
                <a:lnTo>
                  <a:pt x="139" y="68"/>
                </a:lnTo>
                <a:lnTo>
                  <a:pt x="147" y="46"/>
                </a:lnTo>
                <a:lnTo>
                  <a:pt x="139" y="32"/>
                </a:lnTo>
                <a:lnTo>
                  <a:pt x="137" y="24"/>
                </a:lnTo>
                <a:lnTo>
                  <a:pt x="139" y="22"/>
                </a:lnTo>
                <a:lnTo>
                  <a:pt x="139" y="17"/>
                </a:lnTo>
                <a:lnTo>
                  <a:pt x="137" y="0"/>
                </a:lnTo>
                <a:lnTo>
                  <a:pt x="0" y="34"/>
                </a:lnTo>
                <a:lnTo>
                  <a:pt x="0" y="34"/>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4" name="Freeform 55"/>
          <p:cNvSpPr>
            <a:spLocks/>
          </p:cNvSpPr>
          <p:nvPr/>
        </p:nvSpPr>
        <p:spPr bwMode="auto">
          <a:xfrm>
            <a:off x="11254067" y="2167140"/>
            <a:ext cx="217488" cy="469900"/>
          </a:xfrm>
          <a:custGeom>
            <a:avLst/>
            <a:gdLst>
              <a:gd name="T0" fmla="*/ 134 w 137"/>
              <a:gd name="T1" fmla="*/ 248 h 296"/>
              <a:gd name="T2" fmla="*/ 130 w 137"/>
              <a:gd name="T3" fmla="*/ 245 h 296"/>
              <a:gd name="T4" fmla="*/ 122 w 137"/>
              <a:gd name="T5" fmla="*/ 248 h 296"/>
              <a:gd name="T6" fmla="*/ 118 w 137"/>
              <a:gd name="T7" fmla="*/ 260 h 296"/>
              <a:gd name="T8" fmla="*/ 110 w 137"/>
              <a:gd name="T9" fmla="*/ 262 h 296"/>
              <a:gd name="T10" fmla="*/ 110 w 137"/>
              <a:gd name="T11" fmla="*/ 267 h 296"/>
              <a:gd name="T12" fmla="*/ 110 w 137"/>
              <a:gd name="T13" fmla="*/ 269 h 296"/>
              <a:gd name="T14" fmla="*/ 106 w 137"/>
              <a:gd name="T15" fmla="*/ 267 h 296"/>
              <a:gd name="T16" fmla="*/ 103 w 137"/>
              <a:gd name="T17" fmla="*/ 269 h 296"/>
              <a:gd name="T18" fmla="*/ 103 w 137"/>
              <a:gd name="T19" fmla="*/ 274 h 296"/>
              <a:gd name="T20" fmla="*/ 12 w 137"/>
              <a:gd name="T21" fmla="*/ 296 h 296"/>
              <a:gd name="T22" fmla="*/ 10 w 137"/>
              <a:gd name="T23" fmla="*/ 288 h 296"/>
              <a:gd name="T24" fmla="*/ 2 w 137"/>
              <a:gd name="T25" fmla="*/ 281 h 296"/>
              <a:gd name="T26" fmla="*/ 5 w 137"/>
              <a:gd name="T27" fmla="*/ 272 h 296"/>
              <a:gd name="T28" fmla="*/ 7 w 137"/>
              <a:gd name="T29" fmla="*/ 267 h 296"/>
              <a:gd name="T30" fmla="*/ 2 w 137"/>
              <a:gd name="T31" fmla="*/ 257 h 296"/>
              <a:gd name="T32" fmla="*/ 0 w 137"/>
              <a:gd name="T33" fmla="*/ 214 h 296"/>
              <a:gd name="T34" fmla="*/ 0 w 137"/>
              <a:gd name="T35" fmla="*/ 199 h 296"/>
              <a:gd name="T36" fmla="*/ 5 w 137"/>
              <a:gd name="T37" fmla="*/ 175 h 296"/>
              <a:gd name="T38" fmla="*/ 10 w 137"/>
              <a:gd name="T39" fmla="*/ 159 h 296"/>
              <a:gd name="T40" fmla="*/ 10 w 137"/>
              <a:gd name="T41" fmla="*/ 147 h 296"/>
              <a:gd name="T42" fmla="*/ 5 w 137"/>
              <a:gd name="T43" fmla="*/ 137 h 296"/>
              <a:gd name="T44" fmla="*/ 5 w 137"/>
              <a:gd name="T45" fmla="*/ 127 h 296"/>
              <a:gd name="T46" fmla="*/ 10 w 137"/>
              <a:gd name="T47" fmla="*/ 120 h 296"/>
              <a:gd name="T48" fmla="*/ 26 w 137"/>
              <a:gd name="T49" fmla="*/ 106 h 296"/>
              <a:gd name="T50" fmla="*/ 34 w 137"/>
              <a:gd name="T51" fmla="*/ 84 h 296"/>
              <a:gd name="T52" fmla="*/ 26 w 137"/>
              <a:gd name="T53" fmla="*/ 70 h 296"/>
              <a:gd name="T54" fmla="*/ 24 w 137"/>
              <a:gd name="T55" fmla="*/ 62 h 296"/>
              <a:gd name="T56" fmla="*/ 26 w 137"/>
              <a:gd name="T57" fmla="*/ 60 h 296"/>
              <a:gd name="T58" fmla="*/ 26 w 137"/>
              <a:gd name="T59" fmla="*/ 55 h 296"/>
              <a:gd name="T60" fmla="*/ 24 w 137"/>
              <a:gd name="T61" fmla="*/ 38 h 296"/>
              <a:gd name="T62" fmla="*/ 26 w 137"/>
              <a:gd name="T63" fmla="*/ 19 h 296"/>
              <a:gd name="T64" fmla="*/ 22 w 137"/>
              <a:gd name="T65" fmla="*/ 12 h 296"/>
              <a:gd name="T66" fmla="*/ 24 w 137"/>
              <a:gd name="T67" fmla="*/ 10 h 296"/>
              <a:gd name="T68" fmla="*/ 29 w 137"/>
              <a:gd name="T69" fmla="*/ 10 h 296"/>
              <a:gd name="T70" fmla="*/ 31 w 137"/>
              <a:gd name="T71" fmla="*/ 2 h 296"/>
              <a:gd name="T72" fmla="*/ 36 w 137"/>
              <a:gd name="T73" fmla="*/ 5 h 296"/>
              <a:gd name="T74" fmla="*/ 43 w 137"/>
              <a:gd name="T75" fmla="*/ 2 h 296"/>
              <a:gd name="T76" fmla="*/ 46 w 137"/>
              <a:gd name="T77" fmla="*/ 0 h 296"/>
              <a:gd name="T78" fmla="*/ 106 w 137"/>
              <a:gd name="T79" fmla="*/ 180 h 296"/>
              <a:gd name="T80" fmla="*/ 108 w 137"/>
              <a:gd name="T81" fmla="*/ 183 h 296"/>
              <a:gd name="T82" fmla="*/ 106 w 137"/>
              <a:gd name="T83" fmla="*/ 192 h 296"/>
              <a:gd name="T84" fmla="*/ 108 w 137"/>
              <a:gd name="T85" fmla="*/ 195 h 296"/>
              <a:gd name="T86" fmla="*/ 122 w 137"/>
              <a:gd name="T87" fmla="*/ 207 h 296"/>
              <a:gd name="T88" fmla="*/ 125 w 137"/>
              <a:gd name="T89" fmla="*/ 207 h 296"/>
              <a:gd name="T90" fmla="*/ 127 w 137"/>
              <a:gd name="T91" fmla="*/ 214 h 296"/>
              <a:gd name="T92" fmla="*/ 127 w 137"/>
              <a:gd name="T93" fmla="*/ 216 h 296"/>
              <a:gd name="T94" fmla="*/ 137 w 137"/>
              <a:gd name="T95" fmla="*/ 231 h 296"/>
              <a:gd name="T96" fmla="*/ 134 w 137"/>
              <a:gd name="T97" fmla="*/ 233 h 296"/>
              <a:gd name="T98" fmla="*/ 134 w 137"/>
              <a:gd name="T99" fmla="*/ 243 h 296"/>
              <a:gd name="T100" fmla="*/ 134 w 137"/>
              <a:gd name="T101" fmla="*/ 24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 h="296">
                <a:moveTo>
                  <a:pt x="134" y="248"/>
                </a:moveTo>
                <a:lnTo>
                  <a:pt x="130" y="245"/>
                </a:lnTo>
                <a:lnTo>
                  <a:pt x="122" y="248"/>
                </a:lnTo>
                <a:lnTo>
                  <a:pt x="118" y="260"/>
                </a:lnTo>
                <a:lnTo>
                  <a:pt x="110" y="262"/>
                </a:lnTo>
                <a:lnTo>
                  <a:pt x="110" y="267"/>
                </a:lnTo>
                <a:lnTo>
                  <a:pt x="110" y="269"/>
                </a:lnTo>
                <a:lnTo>
                  <a:pt x="106" y="267"/>
                </a:lnTo>
                <a:lnTo>
                  <a:pt x="103" y="269"/>
                </a:lnTo>
                <a:lnTo>
                  <a:pt x="103" y="274"/>
                </a:lnTo>
                <a:lnTo>
                  <a:pt x="12" y="296"/>
                </a:lnTo>
                <a:lnTo>
                  <a:pt x="10" y="288"/>
                </a:lnTo>
                <a:lnTo>
                  <a:pt x="2" y="281"/>
                </a:lnTo>
                <a:lnTo>
                  <a:pt x="5" y="272"/>
                </a:lnTo>
                <a:lnTo>
                  <a:pt x="7" y="267"/>
                </a:lnTo>
                <a:lnTo>
                  <a:pt x="2" y="257"/>
                </a:lnTo>
                <a:lnTo>
                  <a:pt x="0" y="214"/>
                </a:lnTo>
                <a:lnTo>
                  <a:pt x="0" y="199"/>
                </a:lnTo>
                <a:lnTo>
                  <a:pt x="5" y="175"/>
                </a:lnTo>
                <a:lnTo>
                  <a:pt x="10" y="159"/>
                </a:lnTo>
                <a:lnTo>
                  <a:pt x="10" y="147"/>
                </a:lnTo>
                <a:lnTo>
                  <a:pt x="5" y="137"/>
                </a:lnTo>
                <a:lnTo>
                  <a:pt x="5" y="127"/>
                </a:lnTo>
                <a:lnTo>
                  <a:pt x="10" y="120"/>
                </a:lnTo>
                <a:lnTo>
                  <a:pt x="26" y="106"/>
                </a:lnTo>
                <a:lnTo>
                  <a:pt x="34" y="84"/>
                </a:lnTo>
                <a:lnTo>
                  <a:pt x="26" y="70"/>
                </a:lnTo>
                <a:lnTo>
                  <a:pt x="24" y="62"/>
                </a:lnTo>
                <a:lnTo>
                  <a:pt x="26" y="60"/>
                </a:lnTo>
                <a:lnTo>
                  <a:pt x="26" y="55"/>
                </a:lnTo>
                <a:lnTo>
                  <a:pt x="24" y="38"/>
                </a:lnTo>
                <a:lnTo>
                  <a:pt x="26" y="19"/>
                </a:lnTo>
                <a:lnTo>
                  <a:pt x="22" y="12"/>
                </a:lnTo>
                <a:lnTo>
                  <a:pt x="24" y="10"/>
                </a:lnTo>
                <a:lnTo>
                  <a:pt x="29" y="10"/>
                </a:lnTo>
                <a:lnTo>
                  <a:pt x="31" y="2"/>
                </a:lnTo>
                <a:lnTo>
                  <a:pt x="36" y="5"/>
                </a:lnTo>
                <a:lnTo>
                  <a:pt x="43" y="2"/>
                </a:lnTo>
                <a:lnTo>
                  <a:pt x="46" y="0"/>
                </a:lnTo>
                <a:lnTo>
                  <a:pt x="106" y="180"/>
                </a:lnTo>
                <a:lnTo>
                  <a:pt x="108" y="183"/>
                </a:lnTo>
                <a:lnTo>
                  <a:pt x="106" y="192"/>
                </a:lnTo>
                <a:lnTo>
                  <a:pt x="108" y="195"/>
                </a:lnTo>
                <a:lnTo>
                  <a:pt x="122" y="207"/>
                </a:lnTo>
                <a:lnTo>
                  <a:pt x="125" y="207"/>
                </a:lnTo>
                <a:lnTo>
                  <a:pt x="127" y="214"/>
                </a:lnTo>
                <a:lnTo>
                  <a:pt x="127" y="216"/>
                </a:lnTo>
                <a:lnTo>
                  <a:pt x="137" y="231"/>
                </a:lnTo>
                <a:lnTo>
                  <a:pt x="134" y="233"/>
                </a:lnTo>
                <a:lnTo>
                  <a:pt x="134" y="243"/>
                </a:lnTo>
                <a:lnTo>
                  <a:pt x="134" y="24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5" name="Freeform 56"/>
          <p:cNvSpPr>
            <a:spLocks/>
          </p:cNvSpPr>
          <p:nvPr/>
        </p:nvSpPr>
        <p:spPr bwMode="auto">
          <a:xfrm>
            <a:off x="10979429" y="3200603"/>
            <a:ext cx="149225" cy="241300"/>
          </a:xfrm>
          <a:custGeom>
            <a:avLst/>
            <a:gdLst>
              <a:gd name="T0" fmla="*/ 94 w 94"/>
              <a:gd name="T1" fmla="*/ 140 h 152"/>
              <a:gd name="T2" fmla="*/ 91 w 94"/>
              <a:gd name="T3" fmla="*/ 130 h 152"/>
              <a:gd name="T4" fmla="*/ 87 w 94"/>
              <a:gd name="T5" fmla="*/ 113 h 152"/>
              <a:gd name="T6" fmla="*/ 77 w 94"/>
              <a:gd name="T7" fmla="*/ 104 h 152"/>
              <a:gd name="T8" fmla="*/ 60 w 94"/>
              <a:gd name="T9" fmla="*/ 94 h 152"/>
              <a:gd name="T10" fmla="*/ 55 w 94"/>
              <a:gd name="T11" fmla="*/ 87 h 152"/>
              <a:gd name="T12" fmla="*/ 53 w 94"/>
              <a:gd name="T13" fmla="*/ 80 h 152"/>
              <a:gd name="T14" fmla="*/ 41 w 94"/>
              <a:gd name="T15" fmla="*/ 60 h 152"/>
              <a:gd name="T16" fmla="*/ 36 w 94"/>
              <a:gd name="T17" fmla="*/ 51 h 152"/>
              <a:gd name="T18" fmla="*/ 26 w 94"/>
              <a:gd name="T19" fmla="*/ 41 h 152"/>
              <a:gd name="T20" fmla="*/ 24 w 94"/>
              <a:gd name="T21" fmla="*/ 34 h 152"/>
              <a:gd name="T22" fmla="*/ 22 w 94"/>
              <a:gd name="T23" fmla="*/ 27 h 152"/>
              <a:gd name="T24" fmla="*/ 24 w 94"/>
              <a:gd name="T25" fmla="*/ 27 h 152"/>
              <a:gd name="T26" fmla="*/ 24 w 94"/>
              <a:gd name="T27" fmla="*/ 22 h 152"/>
              <a:gd name="T28" fmla="*/ 29 w 94"/>
              <a:gd name="T29" fmla="*/ 3 h 152"/>
              <a:gd name="T30" fmla="*/ 22 w 94"/>
              <a:gd name="T31" fmla="*/ 0 h 152"/>
              <a:gd name="T32" fmla="*/ 12 w 94"/>
              <a:gd name="T33" fmla="*/ 3 h 152"/>
              <a:gd name="T34" fmla="*/ 5 w 94"/>
              <a:gd name="T35" fmla="*/ 10 h 152"/>
              <a:gd name="T36" fmla="*/ 5 w 94"/>
              <a:gd name="T37" fmla="*/ 17 h 152"/>
              <a:gd name="T38" fmla="*/ 0 w 94"/>
              <a:gd name="T39" fmla="*/ 17 h 152"/>
              <a:gd name="T40" fmla="*/ 0 w 94"/>
              <a:gd name="T41" fmla="*/ 20 h 152"/>
              <a:gd name="T42" fmla="*/ 41 w 94"/>
              <a:gd name="T43" fmla="*/ 152 h 152"/>
              <a:gd name="T44" fmla="*/ 94 w 94"/>
              <a:gd name="T45" fmla="*/ 14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152">
                <a:moveTo>
                  <a:pt x="94" y="140"/>
                </a:moveTo>
                <a:lnTo>
                  <a:pt x="91" y="130"/>
                </a:lnTo>
                <a:lnTo>
                  <a:pt x="87" y="113"/>
                </a:lnTo>
                <a:lnTo>
                  <a:pt x="77" y="104"/>
                </a:lnTo>
                <a:lnTo>
                  <a:pt x="60" y="94"/>
                </a:lnTo>
                <a:lnTo>
                  <a:pt x="55" y="87"/>
                </a:lnTo>
                <a:lnTo>
                  <a:pt x="53" y="80"/>
                </a:lnTo>
                <a:lnTo>
                  <a:pt x="41" y="60"/>
                </a:lnTo>
                <a:lnTo>
                  <a:pt x="36" y="51"/>
                </a:lnTo>
                <a:lnTo>
                  <a:pt x="26" y="41"/>
                </a:lnTo>
                <a:lnTo>
                  <a:pt x="24" y="34"/>
                </a:lnTo>
                <a:lnTo>
                  <a:pt x="22" y="27"/>
                </a:lnTo>
                <a:lnTo>
                  <a:pt x="24" y="27"/>
                </a:lnTo>
                <a:lnTo>
                  <a:pt x="24" y="22"/>
                </a:lnTo>
                <a:lnTo>
                  <a:pt x="29" y="3"/>
                </a:lnTo>
                <a:lnTo>
                  <a:pt x="22" y="0"/>
                </a:lnTo>
                <a:lnTo>
                  <a:pt x="12" y="3"/>
                </a:lnTo>
                <a:lnTo>
                  <a:pt x="5" y="10"/>
                </a:lnTo>
                <a:lnTo>
                  <a:pt x="5" y="17"/>
                </a:lnTo>
                <a:lnTo>
                  <a:pt x="0" y="17"/>
                </a:lnTo>
                <a:lnTo>
                  <a:pt x="0" y="20"/>
                </a:lnTo>
                <a:lnTo>
                  <a:pt x="41" y="152"/>
                </a:lnTo>
                <a:lnTo>
                  <a:pt x="94" y="14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6" name="Freeform 57"/>
          <p:cNvSpPr>
            <a:spLocks/>
          </p:cNvSpPr>
          <p:nvPr/>
        </p:nvSpPr>
        <p:spPr bwMode="auto">
          <a:xfrm>
            <a:off x="10830204" y="3387928"/>
            <a:ext cx="46038" cy="53975"/>
          </a:xfrm>
          <a:custGeom>
            <a:avLst/>
            <a:gdLst>
              <a:gd name="T0" fmla="*/ 0 w 29"/>
              <a:gd name="T1" fmla="*/ 12 h 34"/>
              <a:gd name="T2" fmla="*/ 15 w 29"/>
              <a:gd name="T3" fmla="*/ 0 h 34"/>
              <a:gd name="T4" fmla="*/ 29 w 29"/>
              <a:gd name="T5" fmla="*/ 22 h 34"/>
              <a:gd name="T6" fmla="*/ 12 w 29"/>
              <a:gd name="T7" fmla="*/ 34 h 34"/>
              <a:gd name="T8" fmla="*/ 0 w 29"/>
              <a:gd name="T9" fmla="*/ 12 h 34"/>
            </a:gdLst>
            <a:ahLst/>
            <a:cxnLst>
              <a:cxn ang="0">
                <a:pos x="T0" y="T1"/>
              </a:cxn>
              <a:cxn ang="0">
                <a:pos x="T2" y="T3"/>
              </a:cxn>
              <a:cxn ang="0">
                <a:pos x="T4" y="T5"/>
              </a:cxn>
              <a:cxn ang="0">
                <a:pos x="T6" y="T7"/>
              </a:cxn>
              <a:cxn ang="0">
                <a:pos x="T8" y="T9"/>
              </a:cxn>
            </a:cxnLst>
            <a:rect l="0" t="0" r="r" b="b"/>
            <a:pathLst>
              <a:path w="29" h="34">
                <a:moveTo>
                  <a:pt x="0" y="12"/>
                </a:moveTo>
                <a:lnTo>
                  <a:pt x="15" y="0"/>
                </a:lnTo>
                <a:lnTo>
                  <a:pt x="29" y="22"/>
                </a:lnTo>
                <a:lnTo>
                  <a:pt x="12" y="34"/>
                </a:lnTo>
                <a:lnTo>
                  <a:pt x="0" y="1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7" name="Freeform 31"/>
          <p:cNvSpPr>
            <a:spLocks/>
          </p:cNvSpPr>
          <p:nvPr/>
        </p:nvSpPr>
        <p:spPr bwMode="auto">
          <a:xfrm>
            <a:off x="11331588" y="1733356"/>
            <a:ext cx="495300" cy="793750"/>
          </a:xfrm>
          <a:custGeom>
            <a:avLst/>
            <a:gdLst>
              <a:gd name="T0" fmla="*/ 60 w 312"/>
              <a:gd name="T1" fmla="*/ 449 h 500"/>
              <a:gd name="T2" fmla="*/ 60 w 312"/>
              <a:gd name="T3" fmla="*/ 461 h 500"/>
              <a:gd name="T4" fmla="*/ 76 w 312"/>
              <a:gd name="T5" fmla="*/ 476 h 500"/>
              <a:gd name="T6" fmla="*/ 81 w 312"/>
              <a:gd name="T7" fmla="*/ 483 h 500"/>
              <a:gd name="T8" fmla="*/ 91 w 312"/>
              <a:gd name="T9" fmla="*/ 500 h 500"/>
              <a:gd name="T10" fmla="*/ 93 w 312"/>
              <a:gd name="T11" fmla="*/ 485 h 500"/>
              <a:gd name="T12" fmla="*/ 103 w 312"/>
              <a:gd name="T13" fmla="*/ 459 h 500"/>
              <a:gd name="T14" fmla="*/ 115 w 312"/>
              <a:gd name="T15" fmla="*/ 432 h 500"/>
              <a:gd name="T16" fmla="*/ 110 w 312"/>
              <a:gd name="T17" fmla="*/ 425 h 500"/>
              <a:gd name="T18" fmla="*/ 127 w 312"/>
              <a:gd name="T19" fmla="*/ 394 h 500"/>
              <a:gd name="T20" fmla="*/ 134 w 312"/>
              <a:gd name="T21" fmla="*/ 406 h 500"/>
              <a:gd name="T22" fmla="*/ 139 w 312"/>
              <a:gd name="T23" fmla="*/ 406 h 500"/>
              <a:gd name="T24" fmla="*/ 141 w 312"/>
              <a:gd name="T25" fmla="*/ 392 h 500"/>
              <a:gd name="T26" fmla="*/ 163 w 312"/>
              <a:gd name="T27" fmla="*/ 382 h 500"/>
              <a:gd name="T28" fmla="*/ 165 w 312"/>
              <a:gd name="T29" fmla="*/ 372 h 500"/>
              <a:gd name="T30" fmla="*/ 177 w 312"/>
              <a:gd name="T31" fmla="*/ 370 h 500"/>
              <a:gd name="T32" fmla="*/ 185 w 312"/>
              <a:gd name="T33" fmla="*/ 353 h 500"/>
              <a:gd name="T34" fmla="*/ 192 w 312"/>
              <a:gd name="T35" fmla="*/ 331 h 500"/>
              <a:gd name="T36" fmla="*/ 197 w 312"/>
              <a:gd name="T37" fmla="*/ 324 h 500"/>
              <a:gd name="T38" fmla="*/ 213 w 312"/>
              <a:gd name="T39" fmla="*/ 324 h 500"/>
              <a:gd name="T40" fmla="*/ 221 w 312"/>
              <a:gd name="T41" fmla="*/ 307 h 500"/>
              <a:gd name="T42" fmla="*/ 230 w 312"/>
              <a:gd name="T43" fmla="*/ 295 h 500"/>
              <a:gd name="T44" fmla="*/ 252 w 312"/>
              <a:gd name="T45" fmla="*/ 305 h 500"/>
              <a:gd name="T46" fmla="*/ 273 w 312"/>
              <a:gd name="T47" fmla="*/ 279 h 500"/>
              <a:gd name="T48" fmla="*/ 293 w 312"/>
              <a:gd name="T49" fmla="*/ 257 h 500"/>
              <a:gd name="T50" fmla="*/ 300 w 312"/>
              <a:gd name="T51" fmla="*/ 255 h 500"/>
              <a:gd name="T52" fmla="*/ 312 w 312"/>
              <a:gd name="T53" fmla="*/ 240 h 500"/>
              <a:gd name="T54" fmla="*/ 302 w 312"/>
              <a:gd name="T55" fmla="*/ 231 h 500"/>
              <a:gd name="T56" fmla="*/ 297 w 312"/>
              <a:gd name="T57" fmla="*/ 231 h 500"/>
              <a:gd name="T58" fmla="*/ 302 w 312"/>
              <a:gd name="T59" fmla="*/ 221 h 500"/>
              <a:gd name="T60" fmla="*/ 297 w 312"/>
              <a:gd name="T61" fmla="*/ 202 h 500"/>
              <a:gd name="T62" fmla="*/ 283 w 312"/>
              <a:gd name="T63" fmla="*/ 199 h 500"/>
              <a:gd name="T64" fmla="*/ 273 w 312"/>
              <a:gd name="T65" fmla="*/ 204 h 500"/>
              <a:gd name="T66" fmla="*/ 259 w 312"/>
              <a:gd name="T67" fmla="*/ 173 h 500"/>
              <a:gd name="T68" fmla="*/ 261 w 312"/>
              <a:gd name="T69" fmla="*/ 166 h 500"/>
              <a:gd name="T70" fmla="*/ 252 w 312"/>
              <a:gd name="T71" fmla="*/ 163 h 500"/>
              <a:gd name="T72" fmla="*/ 240 w 312"/>
              <a:gd name="T73" fmla="*/ 161 h 500"/>
              <a:gd name="T74" fmla="*/ 228 w 312"/>
              <a:gd name="T75" fmla="*/ 158 h 500"/>
              <a:gd name="T76" fmla="*/ 223 w 312"/>
              <a:gd name="T77" fmla="*/ 137 h 500"/>
              <a:gd name="T78" fmla="*/ 153 w 312"/>
              <a:gd name="T79" fmla="*/ 0 h 500"/>
              <a:gd name="T80" fmla="*/ 136 w 312"/>
              <a:gd name="T81" fmla="*/ 0 h 500"/>
              <a:gd name="T82" fmla="*/ 132 w 312"/>
              <a:gd name="T83" fmla="*/ 9 h 500"/>
              <a:gd name="T84" fmla="*/ 115 w 312"/>
              <a:gd name="T85" fmla="*/ 17 h 500"/>
              <a:gd name="T86" fmla="*/ 93 w 312"/>
              <a:gd name="T87" fmla="*/ 31 h 500"/>
              <a:gd name="T88" fmla="*/ 88 w 312"/>
              <a:gd name="T89" fmla="*/ 12 h 500"/>
              <a:gd name="T90" fmla="*/ 79 w 312"/>
              <a:gd name="T91" fmla="*/ 7 h 500"/>
              <a:gd name="T92" fmla="*/ 40 w 312"/>
              <a:gd name="T93" fmla="*/ 103 h 500"/>
              <a:gd name="T94" fmla="*/ 43 w 312"/>
              <a:gd name="T95" fmla="*/ 122 h 500"/>
              <a:gd name="T96" fmla="*/ 40 w 312"/>
              <a:gd name="T97" fmla="*/ 139 h 500"/>
              <a:gd name="T98" fmla="*/ 33 w 312"/>
              <a:gd name="T99" fmla="*/ 151 h 500"/>
              <a:gd name="T100" fmla="*/ 38 w 312"/>
              <a:gd name="T101" fmla="*/ 202 h 500"/>
              <a:gd name="T102" fmla="*/ 24 w 312"/>
              <a:gd name="T103" fmla="*/ 228 h 500"/>
              <a:gd name="T104" fmla="*/ 28 w 312"/>
              <a:gd name="T105" fmla="*/ 247 h 500"/>
              <a:gd name="T106" fmla="*/ 19 w 312"/>
              <a:gd name="T107" fmla="*/ 250 h 500"/>
              <a:gd name="T108" fmla="*/ 19 w 312"/>
              <a:gd name="T109" fmla="*/ 264 h 500"/>
              <a:gd name="T110" fmla="*/ 7 w 312"/>
              <a:gd name="T111" fmla="*/ 26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2" h="500">
                <a:moveTo>
                  <a:pt x="0" y="269"/>
                </a:moveTo>
                <a:lnTo>
                  <a:pt x="60" y="449"/>
                </a:lnTo>
                <a:lnTo>
                  <a:pt x="62" y="452"/>
                </a:lnTo>
                <a:lnTo>
                  <a:pt x="60" y="461"/>
                </a:lnTo>
                <a:lnTo>
                  <a:pt x="62" y="464"/>
                </a:lnTo>
                <a:lnTo>
                  <a:pt x="76" y="476"/>
                </a:lnTo>
                <a:lnTo>
                  <a:pt x="79" y="476"/>
                </a:lnTo>
                <a:lnTo>
                  <a:pt x="81" y="483"/>
                </a:lnTo>
                <a:lnTo>
                  <a:pt x="81" y="485"/>
                </a:lnTo>
                <a:lnTo>
                  <a:pt x="91" y="500"/>
                </a:lnTo>
                <a:lnTo>
                  <a:pt x="91" y="497"/>
                </a:lnTo>
                <a:lnTo>
                  <a:pt x="93" y="485"/>
                </a:lnTo>
                <a:lnTo>
                  <a:pt x="96" y="473"/>
                </a:lnTo>
                <a:lnTo>
                  <a:pt x="103" y="459"/>
                </a:lnTo>
                <a:lnTo>
                  <a:pt x="105" y="440"/>
                </a:lnTo>
                <a:lnTo>
                  <a:pt x="115" y="432"/>
                </a:lnTo>
                <a:lnTo>
                  <a:pt x="115" y="428"/>
                </a:lnTo>
                <a:lnTo>
                  <a:pt x="110" y="425"/>
                </a:lnTo>
                <a:lnTo>
                  <a:pt x="108" y="413"/>
                </a:lnTo>
                <a:lnTo>
                  <a:pt x="127" y="394"/>
                </a:lnTo>
                <a:lnTo>
                  <a:pt x="129" y="396"/>
                </a:lnTo>
                <a:lnTo>
                  <a:pt x="134" y="406"/>
                </a:lnTo>
                <a:lnTo>
                  <a:pt x="136" y="408"/>
                </a:lnTo>
                <a:lnTo>
                  <a:pt x="139" y="406"/>
                </a:lnTo>
                <a:lnTo>
                  <a:pt x="139" y="396"/>
                </a:lnTo>
                <a:lnTo>
                  <a:pt x="141" y="392"/>
                </a:lnTo>
                <a:lnTo>
                  <a:pt x="156" y="389"/>
                </a:lnTo>
                <a:lnTo>
                  <a:pt x="163" y="382"/>
                </a:lnTo>
                <a:lnTo>
                  <a:pt x="163" y="375"/>
                </a:lnTo>
                <a:lnTo>
                  <a:pt x="165" y="372"/>
                </a:lnTo>
                <a:lnTo>
                  <a:pt x="172" y="372"/>
                </a:lnTo>
                <a:lnTo>
                  <a:pt x="177" y="370"/>
                </a:lnTo>
                <a:lnTo>
                  <a:pt x="180" y="365"/>
                </a:lnTo>
                <a:lnTo>
                  <a:pt x="185" y="353"/>
                </a:lnTo>
                <a:lnTo>
                  <a:pt x="182" y="341"/>
                </a:lnTo>
                <a:lnTo>
                  <a:pt x="192" y="331"/>
                </a:lnTo>
                <a:lnTo>
                  <a:pt x="192" y="324"/>
                </a:lnTo>
                <a:lnTo>
                  <a:pt x="197" y="324"/>
                </a:lnTo>
                <a:lnTo>
                  <a:pt x="209" y="327"/>
                </a:lnTo>
                <a:lnTo>
                  <a:pt x="213" y="324"/>
                </a:lnTo>
                <a:lnTo>
                  <a:pt x="216" y="317"/>
                </a:lnTo>
                <a:lnTo>
                  <a:pt x="221" y="307"/>
                </a:lnTo>
                <a:lnTo>
                  <a:pt x="225" y="307"/>
                </a:lnTo>
                <a:lnTo>
                  <a:pt x="230" y="295"/>
                </a:lnTo>
                <a:lnTo>
                  <a:pt x="242" y="295"/>
                </a:lnTo>
                <a:lnTo>
                  <a:pt x="252" y="305"/>
                </a:lnTo>
                <a:lnTo>
                  <a:pt x="264" y="283"/>
                </a:lnTo>
                <a:lnTo>
                  <a:pt x="273" y="279"/>
                </a:lnTo>
                <a:lnTo>
                  <a:pt x="288" y="264"/>
                </a:lnTo>
                <a:lnTo>
                  <a:pt x="293" y="257"/>
                </a:lnTo>
                <a:lnTo>
                  <a:pt x="295" y="255"/>
                </a:lnTo>
                <a:lnTo>
                  <a:pt x="300" y="255"/>
                </a:lnTo>
                <a:lnTo>
                  <a:pt x="307" y="250"/>
                </a:lnTo>
                <a:lnTo>
                  <a:pt x="312" y="240"/>
                </a:lnTo>
                <a:lnTo>
                  <a:pt x="309" y="235"/>
                </a:lnTo>
                <a:lnTo>
                  <a:pt x="302" y="231"/>
                </a:lnTo>
                <a:lnTo>
                  <a:pt x="302" y="233"/>
                </a:lnTo>
                <a:lnTo>
                  <a:pt x="297" y="231"/>
                </a:lnTo>
                <a:lnTo>
                  <a:pt x="300" y="223"/>
                </a:lnTo>
                <a:lnTo>
                  <a:pt x="302" y="221"/>
                </a:lnTo>
                <a:lnTo>
                  <a:pt x="302" y="216"/>
                </a:lnTo>
                <a:lnTo>
                  <a:pt x="297" y="202"/>
                </a:lnTo>
                <a:lnTo>
                  <a:pt x="288" y="197"/>
                </a:lnTo>
                <a:lnTo>
                  <a:pt x="283" y="199"/>
                </a:lnTo>
                <a:lnTo>
                  <a:pt x="281" y="202"/>
                </a:lnTo>
                <a:lnTo>
                  <a:pt x="273" y="204"/>
                </a:lnTo>
                <a:lnTo>
                  <a:pt x="266" y="202"/>
                </a:lnTo>
                <a:lnTo>
                  <a:pt x="259" y="173"/>
                </a:lnTo>
                <a:lnTo>
                  <a:pt x="261" y="170"/>
                </a:lnTo>
                <a:lnTo>
                  <a:pt x="261" y="166"/>
                </a:lnTo>
                <a:lnTo>
                  <a:pt x="259" y="163"/>
                </a:lnTo>
                <a:lnTo>
                  <a:pt x="252" y="163"/>
                </a:lnTo>
                <a:lnTo>
                  <a:pt x="249" y="166"/>
                </a:lnTo>
                <a:lnTo>
                  <a:pt x="240" y="161"/>
                </a:lnTo>
                <a:lnTo>
                  <a:pt x="233" y="161"/>
                </a:lnTo>
                <a:lnTo>
                  <a:pt x="228" y="158"/>
                </a:lnTo>
                <a:lnTo>
                  <a:pt x="223" y="142"/>
                </a:lnTo>
                <a:lnTo>
                  <a:pt x="223" y="137"/>
                </a:lnTo>
                <a:lnTo>
                  <a:pt x="187" y="21"/>
                </a:lnTo>
                <a:lnTo>
                  <a:pt x="153" y="0"/>
                </a:lnTo>
                <a:lnTo>
                  <a:pt x="144" y="0"/>
                </a:lnTo>
                <a:lnTo>
                  <a:pt x="136" y="0"/>
                </a:lnTo>
                <a:lnTo>
                  <a:pt x="134" y="5"/>
                </a:lnTo>
                <a:lnTo>
                  <a:pt x="132" y="9"/>
                </a:lnTo>
                <a:lnTo>
                  <a:pt x="127" y="9"/>
                </a:lnTo>
                <a:lnTo>
                  <a:pt x="115" y="17"/>
                </a:lnTo>
                <a:lnTo>
                  <a:pt x="98" y="29"/>
                </a:lnTo>
                <a:lnTo>
                  <a:pt x="93" y="31"/>
                </a:lnTo>
                <a:lnTo>
                  <a:pt x="86" y="24"/>
                </a:lnTo>
                <a:lnTo>
                  <a:pt x="88" y="12"/>
                </a:lnTo>
                <a:lnTo>
                  <a:pt x="86" y="7"/>
                </a:lnTo>
                <a:lnTo>
                  <a:pt x="79" y="7"/>
                </a:lnTo>
                <a:lnTo>
                  <a:pt x="67" y="12"/>
                </a:lnTo>
                <a:lnTo>
                  <a:pt x="40" y="103"/>
                </a:lnTo>
                <a:lnTo>
                  <a:pt x="38" y="115"/>
                </a:lnTo>
                <a:lnTo>
                  <a:pt x="43" y="122"/>
                </a:lnTo>
                <a:lnTo>
                  <a:pt x="45" y="132"/>
                </a:lnTo>
                <a:lnTo>
                  <a:pt x="40" y="139"/>
                </a:lnTo>
                <a:lnTo>
                  <a:pt x="38" y="144"/>
                </a:lnTo>
                <a:lnTo>
                  <a:pt x="33" y="151"/>
                </a:lnTo>
                <a:lnTo>
                  <a:pt x="43" y="190"/>
                </a:lnTo>
                <a:lnTo>
                  <a:pt x="38" y="202"/>
                </a:lnTo>
                <a:lnTo>
                  <a:pt x="38" y="211"/>
                </a:lnTo>
                <a:lnTo>
                  <a:pt x="24" y="228"/>
                </a:lnTo>
                <a:lnTo>
                  <a:pt x="24" y="235"/>
                </a:lnTo>
                <a:lnTo>
                  <a:pt x="28" y="247"/>
                </a:lnTo>
                <a:lnTo>
                  <a:pt x="26" y="250"/>
                </a:lnTo>
                <a:lnTo>
                  <a:pt x="19" y="250"/>
                </a:lnTo>
                <a:lnTo>
                  <a:pt x="21" y="259"/>
                </a:lnTo>
                <a:lnTo>
                  <a:pt x="19" y="264"/>
                </a:lnTo>
                <a:lnTo>
                  <a:pt x="14" y="264"/>
                </a:lnTo>
                <a:lnTo>
                  <a:pt x="7" y="262"/>
                </a:lnTo>
                <a:lnTo>
                  <a:pt x="0" y="2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8" name="Freeform 44"/>
          <p:cNvSpPr>
            <a:spLocks/>
          </p:cNvSpPr>
          <p:nvPr/>
        </p:nvSpPr>
        <p:spPr bwMode="auto">
          <a:xfrm>
            <a:off x="10130677" y="4134053"/>
            <a:ext cx="690563" cy="523875"/>
          </a:xfrm>
          <a:custGeom>
            <a:avLst/>
            <a:gdLst>
              <a:gd name="T0" fmla="*/ 257 w 435"/>
              <a:gd name="T1" fmla="*/ 330 h 330"/>
              <a:gd name="T2" fmla="*/ 240 w 435"/>
              <a:gd name="T3" fmla="*/ 327 h 330"/>
              <a:gd name="T4" fmla="*/ 233 w 435"/>
              <a:gd name="T5" fmla="*/ 298 h 330"/>
              <a:gd name="T6" fmla="*/ 209 w 435"/>
              <a:gd name="T7" fmla="*/ 279 h 330"/>
              <a:gd name="T8" fmla="*/ 192 w 435"/>
              <a:gd name="T9" fmla="*/ 245 h 330"/>
              <a:gd name="T10" fmla="*/ 183 w 435"/>
              <a:gd name="T11" fmla="*/ 231 h 330"/>
              <a:gd name="T12" fmla="*/ 156 w 435"/>
              <a:gd name="T13" fmla="*/ 214 h 330"/>
              <a:gd name="T14" fmla="*/ 147 w 435"/>
              <a:gd name="T15" fmla="*/ 200 h 330"/>
              <a:gd name="T16" fmla="*/ 137 w 435"/>
              <a:gd name="T17" fmla="*/ 188 h 330"/>
              <a:gd name="T18" fmla="*/ 96 w 435"/>
              <a:gd name="T19" fmla="*/ 157 h 330"/>
              <a:gd name="T20" fmla="*/ 79 w 435"/>
              <a:gd name="T21" fmla="*/ 142 h 330"/>
              <a:gd name="T22" fmla="*/ 60 w 435"/>
              <a:gd name="T23" fmla="*/ 116 h 330"/>
              <a:gd name="T24" fmla="*/ 48 w 435"/>
              <a:gd name="T25" fmla="*/ 101 h 330"/>
              <a:gd name="T26" fmla="*/ 7 w 435"/>
              <a:gd name="T27" fmla="*/ 87 h 330"/>
              <a:gd name="T28" fmla="*/ 7 w 435"/>
              <a:gd name="T29" fmla="*/ 60 h 330"/>
              <a:gd name="T30" fmla="*/ 17 w 435"/>
              <a:gd name="T31" fmla="*/ 51 h 330"/>
              <a:gd name="T32" fmla="*/ 17 w 435"/>
              <a:gd name="T33" fmla="*/ 44 h 330"/>
              <a:gd name="T34" fmla="*/ 51 w 435"/>
              <a:gd name="T35" fmla="*/ 32 h 330"/>
              <a:gd name="T36" fmla="*/ 75 w 435"/>
              <a:gd name="T37" fmla="*/ 17 h 330"/>
              <a:gd name="T38" fmla="*/ 79 w 435"/>
              <a:gd name="T39" fmla="*/ 15 h 330"/>
              <a:gd name="T40" fmla="*/ 195 w 435"/>
              <a:gd name="T41" fmla="*/ 3 h 330"/>
              <a:gd name="T42" fmla="*/ 197 w 435"/>
              <a:gd name="T43" fmla="*/ 10 h 330"/>
              <a:gd name="T44" fmla="*/ 221 w 435"/>
              <a:gd name="T45" fmla="*/ 20 h 330"/>
              <a:gd name="T46" fmla="*/ 322 w 435"/>
              <a:gd name="T47" fmla="*/ 22 h 330"/>
              <a:gd name="T48" fmla="*/ 432 w 435"/>
              <a:gd name="T49" fmla="*/ 104 h 330"/>
              <a:gd name="T50" fmla="*/ 416 w 435"/>
              <a:gd name="T51" fmla="*/ 121 h 330"/>
              <a:gd name="T52" fmla="*/ 396 w 435"/>
              <a:gd name="T53" fmla="*/ 149 h 330"/>
              <a:gd name="T54" fmla="*/ 392 w 435"/>
              <a:gd name="T55" fmla="*/ 173 h 330"/>
              <a:gd name="T56" fmla="*/ 389 w 435"/>
              <a:gd name="T57" fmla="*/ 188 h 330"/>
              <a:gd name="T58" fmla="*/ 380 w 435"/>
              <a:gd name="T59" fmla="*/ 193 h 330"/>
              <a:gd name="T60" fmla="*/ 370 w 435"/>
              <a:gd name="T61" fmla="*/ 205 h 330"/>
              <a:gd name="T62" fmla="*/ 358 w 435"/>
              <a:gd name="T63" fmla="*/ 221 h 330"/>
              <a:gd name="T64" fmla="*/ 336 w 435"/>
              <a:gd name="T65" fmla="*/ 245 h 330"/>
              <a:gd name="T66" fmla="*/ 320 w 435"/>
              <a:gd name="T67" fmla="*/ 260 h 330"/>
              <a:gd name="T68" fmla="*/ 308 w 435"/>
              <a:gd name="T69" fmla="*/ 270 h 330"/>
              <a:gd name="T70" fmla="*/ 293 w 435"/>
              <a:gd name="T71" fmla="*/ 277 h 330"/>
              <a:gd name="T72" fmla="*/ 291 w 435"/>
              <a:gd name="T73" fmla="*/ 282 h 330"/>
              <a:gd name="T74" fmla="*/ 286 w 435"/>
              <a:gd name="T75" fmla="*/ 294 h 330"/>
              <a:gd name="T76" fmla="*/ 271 w 435"/>
              <a:gd name="T77" fmla="*/ 298 h 330"/>
              <a:gd name="T78" fmla="*/ 269 w 435"/>
              <a:gd name="T79" fmla="*/ 303 h 330"/>
              <a:gd name="T80" fmla="*/ 274 w 435"/>
              <a:gd name="T81" fmla="*/ 306 h 330"/>
              <a:gd name="T82" fmla="*/ 276 w 435"/>
              <a:gd name="T83" fmla="*/ 313 h 330"/>
              <a:gd name="T84" fmla="*/ 264 w 435"/>
              <a:gd name="T85" fmla="*/ 322 h 330"/>
              <a:gd name="T86" fmla="*/ 262 w 435"/>
              <a:gd name="T87"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5" h="330">
                <a:moveTo>
                  <a:pt x="262" y="330"/>
                </a:moveTo>
                <a:lnTo>
                  <a:pt x="257" y="330"/>
                </a:lnTo>
                <a:lnTo>
                  <a:pt x="245" y="330"/>
                </a:lnTo>
                <a:lnTo>
                  <a:pt x="240" y="327"/>
                </a:lnTo>
                <a:lnTo>
                  <a:pt x="238" y="320"/>
                </a:lnTo>
                <a:lnTo>
                  <a:pt x="233" y="298"/>
                </a:lnTo>
                <a:lnTo>
                  <a:pt x="221" y="284"/>
                </a:lnTo>
                <a:lnTo>
                  <a:pt x="209" y="279"/>
                </a:lnTo>
                <a:lnTo>
                  <a:pt x="202" y="258"/>
                </a:lnTo>
                <a:lnTo>
                  <a:pt x="192" y="245"/>
                </a:lnTo>
                <a:lnTo>
                  <a:pt x="190" y="233"/>
                </a:lnTo>
                <a:lnTo>
                  <a:pt x="183" y="231"/>
                </a:lnTo>
                <a:lnTo>
                  <a:pt x="166" y="226"/>
                </a:lnTo>
                <a:lnTo>
                  <a:pt x="156" y="214"/>
                </a:lnTo>
                <a:lnTo>
                  <a:pt x="147" y="207"/>
                </a:lnTo>
                <a:lnTo>
                  <a:pt x="147" y="200"/>
                </a:lnTo>
                <a:lnTo>
                  <a:pt x="142" y="190"/>
                </a:lnTo>
                <a:lnTo>
                  <a:pt x="137" y="188"/>
                </a:lnTo>
                <a:lnTo>
                  <a:pt x="123" y="181"/>
                </a:lnTo>
                <a:lnTo>
                  <a:pt x="96" y="157"/>
                </a:lnTo>
                <a:lnTo>
                  <a:pt x="84" y="152"/>
                </a:lnTo>
                <a:lnTo>
                  <a:pt x="79" y="142"/>
                </a:lnTo>
                <a:lnTo>
                  <a:pt x="67" y="133"/>
                </a:lnTo>
                <a:lnTo>
                  <a:pt x="60" y="116"/>
                </a:lnTo>
                <a:lnTo>
                  <a:pt x="51" y="108"/>
                </a:lnTo>
                <a:lnTo>
                  <a:pt x="48" y="101"/>
                </a:lnTo>
                <a:lnTo>
                  <a:pt x="31" y="96"/>
                </a:lnTo>
                <a:lnTo>
                  <a:pt x="7" y="87"/>
                </a:lnTo>
                <a:lnTo>
                  <a:pt x="0" y="80"/>
                </a:lnTo>
                <a:lnTo>
                  <a:pt x="7" y="60"/>
                </a:lnTo>
                <a:lnTo>
                  <a:pt x="15" y="56"/>
                </a:lnTo>
                <a:lnTo>
                  <a:pt x="17" y="51"/>
                </a:lnTo>
                <a:lnTo>
                  <a:pt x="19" y="46"/>
                </a:lnTo>
                <a:lnTo>
                  <a:pt x="17" y="44"/>
                </a:lnTo>
                <a:lnTo>
                  <a:pt x="43" y="32"/>
                </a:lnTo>
                <a:lnTo>
                  <a:pt x="51" y="32"/>
                </a:lnTo>
                <a:lnTo>
                  <a:pt x="51" y="27"/>
                </a:lnTo>
                <a:lnTo>
                  <a:pt x="75" y="17"/>
                </a:lnTo>
                <a:lnTo>
                  <a:pt x="77" y="15"/>
                </a:lnTo>
                <a:lnTo>
                  <a:pt x="79" y="15"/>
                </a:lnTo>
                <a:lnTo>
                  <a:pt x="192" y="0"/>
                </a:lnTo>
                <a:lnTo>
                  <a:pt x="195" y="3"/>
                </a:lnTo>
                <a:lnTo>
                  <a:pt x="192" y="8"/>
                </a:lnTo>
                <a:lnTo>
                  <a:pt x="197" y="10"/>
                </a:lnTo>
                <a:lnTo>
                  <a:pt x="204" y="8"/>
                </a:lnTo>
                <a:lnTo>
                  <a:pt x="221" y="20"/>
                </a:lnTo>
                <a:lnTo>
                  <a:pt x="223" y="34"/>
                </a:lnTo>
                <a:lnTo>
                  <a:pt x="322" y="22"/>
                </a:lnTo>
                <a:lnTo>
                  <a:pt x="435" y="101"/>
                </a:lnTo>
                <a:lnTo>
                  <a:pt x="432" y="104"/>
                </a:lnTo>
                <a:lnTo>
                  <a:pt x="423" y="108"/>
                </a:lnTo>
                <a:lnTo>
                  <a:pt x="416" y="121"/>
                </a:lnTo>
                <a:lnTo>
                  <a:pt x="404" y="135"/>
                </a:lnTo>
                <a:lnTo>
                  <a:pt x="396" y="149"/>
                </a:lnTo>
                <a:lnTo>
                  <a:pt x="392" y="161"/>
                </a:lnTo>
                <a:lnTo>
                  <a:pt x="392" y="173"/>
                </a:lnTo>
                <a:lnTo>
                  <a:pt x="392" y="183"/>
                </a:lnTo>
                <a:lnTo>
                  <a:pt x="389" y="188"/>
                </a:lnTo>
                <a:lnTo>
                  <a:pt x="387" y="193"/>
                </a:lnTo>
                <a:lnTo>
                  <a:pt x="380" y="193"/>
                </a:lnTo>
                <a:lnTo>
                  <a:pt x="375" y="197"/>
                </a:lnTo>
                <a:lnTo>
                  <a:pt x="370" y="205"/>
                </a:lnTo>
                <a:lnTo>
                  <a:pt x="363" y="214"/>
                </a:lnTo>
                <a:lnTo>
                  <a:pt x="358" y="221"/>
                </a:lnTo>
                <a:lnTo>
                  <a:pt x="344" y="231"/>
                </a:lnTo>
                <a:lnTo>
                  <a:pt x="336" y="245"/>
                </a:lnTo>
                <a:lnTo>
                  <a:pt x="329" y="250"/>
                </a:lnTo>
                <a:lnTo>
                  <a:pt x="320" y="260"/>
                </a:lnTo>
                <a:lnTo>
                  <a:pt x="312" y="265"/>
                </a:lnTo>
                <a:lnTo>
                  <a:pt x="308" y="270"/>
                </a:lnTo>
                <a:lnTo>
                  <a:pt x="298" y="274"/>
                </a:lnTo>
                <a:lnTo>
                  <a:pt x="293" y="277"/>
                </a:lnTo>
                <a:lnTo>
                  <a:pt x="291" y="279"/>
                </a:lnTo>
                <a:lnTo>
                  <a:pt x="291" y="282"/>
                </a:lnTo>
                <a:lnTo>
                  <a:pt x="291" y="284"/>
                </a:lnTo>
                <a:lnTo>
                  <a:pt x="286" y="294"/>
                </a:lnTo>
                <a:lnTo>
                  <a:pt x="279" y="298"/>
                </a:lnTo>
                <a:lnTo>
                  <a:pt x="271" y="298"/>
                </a:lnTo>
                <a:lnTo>
                  <a:pt x="271" y="301"/>
                </a:lnTo>
                <a:lnTo>
                  <a:pt x="269" y="303"/>
                </a:lnTo>
                <a:lnTo>
                  <a:pt x="271" y="306"/>
                </a:lnTo>
                <a:lnTo>
                  <a:pt x="274" y="306"/>
                </a:lnTo>
                <a:lnTo>
                  <a:pt x="276" y="308"/>
                </a:lnTo>
                <a:lnTo>
                  <a:pt x="276" y="313"/>
                </a:lnTo>
                <a:lnTo>
                  <a:pt x="271" y="315"/>
                </a:lnTo>
                <a:lnTo>
                  <a:pt x="264" y="322"/>
                </a:lnTo>
                <a:lnTo>
                  <a:pt x="262" y="327"/>
                </a:lnTo>
                <a:lnTo>
                  <a:pt x="262" y="33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9" name="TextBox 58"/>
          <p:cNvSpPr txBox="1"/>
          <p:nvPr/>
        </p:nvSpPr>
        <p:spPr>
          <a:xfrm>
            <a:off x="1124224" y="4133841"/>
            <a:ext cx="668581" cy="276999"/>
          </a:xfrm>
          <a:prstGeom prst="rect">
            <a:avLst/>
          </a:prstGeom>
          <a:noFill/>
        </p:spPr>
        <p:txBody>
          <a:bodyPr wrap="none" lIns="0" rIns="0" rtlCol="0">
            <a:spAutoFit/>
          </a:bodyPr>
          <a:lstStyle/>
          <a:p>
            <a:r>
              <a:rPr lang="en-US" sz="1200" b="1" dirty="0">
                <a:solidFill>
                  <a:schemeClr val="tx1">
                    <a:alpha val="60000"/>
                  </a:schemeClr>
                </a:solidFill>
                <a:latin typeface="RBC Display" panose="02000000000000000000" pitchFamily="2" charset="77"/>
                <a:ea typeface="Open Sans" charset="0"/>
                <a:cs typeface="Open Sans" charset="0"/>
              </a:rPr>
              <a:t>New York</a:t>
            </a:r>
          </a:p>
        </p:txBody>
      </p:sp>
      <p:sp>
        <p:nvSpPr>
          <p:cNvPr id="60" name="TextBox 59"/>
          <p:cNvSpPr txBox="1"/>
          <p:nvPr/>
        </p:nvSpPr>
        <p:spPr>
          <a:xfrm>
            <a:off x="925164" y="4402261"/>
            <a:ext cx="2677473" cy="526298"/>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a:t>
            </a:r>
          </a:p>
        </p:txBody>
      </p:sp>
      <p:sp>
        <p:nvSpPr>
          <p:cNvPr id="61" name="TextBox 60"/>
          <p:cNvSpPr txBox="1"/>
          <p:nvPr/>
        </p:nvSpPr>
        <p:spPr>
          <a:xfrm>
            <a:off x="917226" y="3726275"/>
            <a:ext cx="904094" cy="461665"/>
          </a:xfrm>
          <a:prstGeom prst="rect">
            <a:avLst/>
          </a:prstGeom>
          <a:noFill/>
        </p:spPr>
        <p:txBody>
          <a:bodyPr wrap="none" lIns="0" rIns="0" rtlCol="0">
            <a:spAutoFit/>
          </a:bodyPr>
          <a:lstStyle/>
          <a:p>
            <a:r>
              <a:rPr lang="en-US" sz="2400" b="1" dirty="0">
                <a:latin typeface="RBC Display" panose="02000000000000000000" pitchFamily="2" charset="77"/>
                <a:ea typeface="Open Sans" charset="0"/>
                <a:cs typeface="Open Sans" charset="0"/>
              </a:rPr>
              <a:t>$500B</a:t>
            </a:r>
          </a:p>
        </p:txBody>
      </p:sp>
      <p:sp>
        <p:nvSpPr>
          <p:cNvPr id="62" name="TextBox 61"/>
          <p:cNvSpPr txBox="1"/>
          <p:nvPr/>
        </p:nvSpPr>
        <p:spPr>
          <a:xfrm>
            <a:off x="1124224" y="5267962"/>
            <a:ext cx="668581" cy="276999"/>
          </a:xfrm>
          <a:prstGeom prst="rect">
            <a:avLst/>
          </a:prstGeom>
          <a:noFill/>
        </p:spPr>
        <p:txBody>
          <a:bodyPr wrap="none" lIns="0" rIns="0" rtlCol="0">
            <a:spAutoFit/>
          </a:bodyPr>
          <a:lstStyle/>
          <a:p>
            <a:r>
              <a:rPr lang="en-US" sz="1200" b="1" dirty="0">
                <a:solidFill>
                  <a:schemeClr val="tx1">
                    <a:alpha val="60000"/>
                  </a:schemeClr>
                </a:solidFill>
                <a:latin typeface="RBC Display" panose="02000000000000000000" pitchFamily="2" charset="77"/>
                <a:ea typeface="Open Sans" charset="0"/>
                <a:cs typeface="Open Sans" charset="0"/>
              </a:rPr>
              <a:t>New York</a:t>
            </a:r>
          </a:p>
        </p:txBody>
      </p:sp>
      <p:sp>
        <p:nvSpPr>
          <p:cNvPr id="63" name="TextBox 62"/>
          <p:cNvSpPr txBox="1"/>
          <p:nvPr/>
        </p:nvSpPr>
        <p:spPr>
          <a:xfrm>
            <a:off x="925164" y="5536382"/>
            <a:ext cx="2677473" cy="526298"/>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a:t>
            </a:r>
          </a:p>
        </p:txBody>
      </p:sp>
      <p:sp>
        <p:nvSpPr>
          <p:cNvPr id="64" name="TextBox 63"/>
          <p:cNvSpPr txBox="1"/>
          <p:nvPr/>
        </p:nvSpPr>
        <p:spPr>
          <a:xfrm>
            <a:off x="917226" y="4860396"/>
            <a:ext cx="913583" cy="461665"/>
          </a:xfrm>
          <a:prstGeom prst="rect">
            <a:avLst/>
          </a:prstGeom>
          <a:noFill/>
        </p:spPr>
        <p:txBody>
          <a:bodyPr wrap="none" lIns="0" rIns="0" rtlCol="0">
            <a:spAutoFit/>
          </a:bodyPr>
          <a:lstStyle/>
          <a:p>
            <a:r>
              <a:rPr lang="en-US" sz="2400" b="1" dirty="0">
                <a:latin typeface="RBC Display" panose="02000000000000000000" pitchFamily="2" charset="77"/>
                <a:ea typeface="Open Sans" charset="0"/>
                <a:cs typeface="Open Sans" charset="0"/>
              </a:rPr>
              <a:t>$340B</a:t>
            </a:r>
          </a:p>
        </p:txBody>
      </p:sp>
      <p:sp>
        <p:nvSpPr>
          <p:cNvPr id="65" name="Oval 64"/>
          <p:cNvSpPr/>
          <p:nvPr/>
        </p:nvSpPr>
        <p:spPr>
          <a:xfrm>
            <a:off x="931904" y="4201192"/>
            <a:ext cx="130546" cy="130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66" name="Oval 65"/>
          <p:cNvSpPr/>
          <p:nvPr/>
        </p:nvSpPr>
        <p:spPr>
          <a:xfrm>
            <a:off x="931904" y="5335620"/>
            <a:ext cx="130546" cy="13054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67" name="Text Placeholder 6">
            <a:extLst>
              <a:ext uri="{FF2B5EF4-FFF2-40B4-BE49-F238E27FC236}">
                <a16:creationId xmlns:a16="http://schemas.microsoft.com/office/drawing/2014/main" id="{2D44989C-A3AA-B748-80F2-ACE5D5685B9F}"/>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4580848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itle 67"/>
          <p:cNvSpPr>
            <a:spLocks noGrp="1"/>
          </p:cNvSpPr>
          <p:nvPr>
            <p:ph type="title"/>
          </p:nvPr>
        </p:nvSpPr>
        <p:spPr/>
        <p:txBody>
          <a:bodyPr/>
          <a:lstStyle/>
          <a:p>
            <a:r>
              <a:rPr lang="en-US"/>
              <a:t>USA Chart</a:t>
            </a:r>
            <a:br>
              <a:rPr lang="en-US"/>
            </a:br>
            <a:r>
              <a:rPr lang="en-US"/>
              <a:t>Slides</a:t>
            </a:r>
            <a:endParaRPr lang="en-US" dirty="0"/>
          </a:p>
        </p:txBody>
      </p:sp>
      <p:grpSp>
        <p:nvGrpSpPr>
          <p:cNvPr id="55" name="Group 54"/>
          <p:cNvGrpSpPr/>
          <p:nvPr/>
        </p:nvGrpSpPr>
        <p:grpSpPr>
          <a:xfrm>
            <a:off x="3380275" y="1120231"/>
            <a:ext cx="8811725" cy="5449588"/>
            <a:chOff x="2527724" y="1866779"/>
            <a:chExt cx="7056438" cy="4364037"/>
          </a:xfrm>
        </p:grpSpPr>
        <p:sp>
          <p:nvSpPr>
            <p:cNvPr id="3" name="Freeform 7"/>
            <p:cNvSpPr>
              <a:spLocks/>
            </p:cNvSpPr>
            <p:nvPr/>
          </p:nvSpPr>
          <p:spPr bwMode="auto">
            <a:xfrm>
              <a:off x="5183612" y="4303591"/>
              <a:ext cx="1163638" cy="603250"/>
            </a:xfrm>
            <a:custGeom>
              <a:avLst/>
              <a:gdLst>
                <a:gd name="T0" fmla="*/ 87 w 733"/>
                <a:gd name="T1" fmla="*/ 5 h 380"/>
                <a:gd name="T2" fmla="*/ 0 w 733"/>
                <a:gd name="T3" fmla="*/ 53 h 380"/>
                <a:gd name="T4" fmla="*/ 250 w 733"/>
                <a:gd name="T5" fmla="*/ 274 h 380"/>
                <a:gd name="T6" fmla="*/ 265 w 733"/>
                <a:gd name="T7" fmla="*/ 282 h 380"/>
                <a:gd name="T8" fmla="*/ 281 w 733"/>
                <a:gd name="T9" fmla="*/ 301 h 380"/>
                <a:gd name="T10" fmla="*/ 305 w 733"/>
                <a:gd name="T11" fmla="*/ 294 h 380"/>
                <a:gd name="T12" fmla="*/ 317 w 733"/>
                <a:gd name="T13" fmla="*/ 303 h 380"/>
                <a:gd name="T14" fmla="*/ 322 w 733"/>
                <a:gd name="T15" fmla="*/ 315 h 380"/>
                <a:gd name="T16" fmla="*/ 349 w 733"/>
                <a:gd name="T17" fmla="*/ 322 h 380"/>
                <a:gd name="T18" fmla="*/ 361 w 733"/>
                <a:gd name="T19" fmla="*/ 325 h 380"/>
                <a:gd name="T20" fmla="*/ 370 w 733"/>
                <a:gd name="T21" fmla="*/ 322 h 380"/>
                <a:gd name="T22" fmla="*/ 385 w 733"/>
                <a:gd name="T23" fmla="*/ 334 h 380"/>
                <a:gd name="T24" fmla="*/ 414 w 733"/>
                <a:gd name="T25" fmla="*/ 332 h 380"/>
                <a:gd name="T26" fmla="*/ 423 w 733"/>
                <a:gd name="T27" fmla="*/ 344 h 380"/>
                <a:gd name="T28" fmla="*/ 428 w 733"/>
                <a:gd name="T29" fmla="*/ 356 h 380"/>
                <a:gd name="T30" fmla="*/ 447 w 733"/>
                <a:gd name="T31" fmla="*/ 349 h 380"/>
                <a:gd name="T32" fmla="*/ 476 w 733"/>
                <a:gd name="T33" fmla="*/ 361 h 380"/>
                <a:gd name="T34" fmla="*/ 488 w 733"/>
                <a:gd name="T35" fmla="*/ 356 h 380"/>
                <a:gd name="T36" fmla="*/ 495 w 733"/>
                <a:gd name="T37" fmla="*/ 358 h 380"/>
                <a:gd name="T38" fmla="*/ 498 w 733"/>
                <a:gd name="T39" fmla="*/ 375 h 380"/>
                <a:gd name="T40" fmla="*/ 502 w 733"/>
                <a:gd name="T41" fmla="*/ 366 h 380"/>
                <a:gd name="T42" fmla="*/ 517 w 733"/>
                <a:gd name="T43" fmla="*/ 351 h 380"/>
                <a:gd name="T44" fmla="*/ 522 w 733"/>
                <a:gd name="T45" fmla="*/ 358 h 380"/>
                <a:gd name="T46" fmla="*/ 536 w 733"/>
                <a:gd name="T47" fmla="*/ 361 h 380"/>
                <a:gd name="T48" fmla="*/ 546 w 733"/>
                <a:gd name="T49" fmla="*/ 358 h 380"/>
                <a:gd name="T50" fmla="*/ 548 w 733"/>
                <a:gd name="T51" fmla="*/ 361 h 380"/>
                <a:gd name="T52" fmla="*/ 570 w 733"/>
                <a:gd name="T53" fmla="*/ 375 h 380"/>
                <a:gd name="T54" fmla="*/ 589 w 733"/>
                <a:gd name="T55" fmla="*/ 361 h 380"/>
                <a:gd name="T56" fmla="*/ 625 w 733"/>
                <a:gd name="T57" fmla="*/ 354 h 380"/>
                <a:gd name="T58" fmla="*/ 637 w 733"/>
                <a:gd name="T59" fmla="*/ 354 h 380"/>
                <a:gd name="T60" fmla="*/ 670 w 733"/>
                <a:gd name="T61" fmla="*/ 351 h 380"/>
                <a:gd name="T62" fmla="*/ 716 w 733"/>
                <a:gd name="T63" fmla="*/ 373 h 380"/>
                <a:gd name="T64" fmla="*/ 726 w 733"/>
                <a:gd name="T65" fmla="*/ 378 h 380"/>
                <a:gd name="T66" fmla="*/ 733 w 733"/>
                <a:gd name="T67" fmla="*/ 190 h 380"/>
                <a:gd name="T68" fmla="*/ 716 w 733"/>
                <a:gd name="T69" fmla="*/ 2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3" h="380">
                  <a:moveTo>
                    <a:pt x="716" y="20"/>
                  </a:moveTo>
                  <a:lnTo>
                    <a:pt x="87" y="5"/>
                  </a:lnTo>
                  <a:lnTo>
                    <a:pt x="3" y="0"/>
                  </a:lnTo>
                  <a:lnTo>
                    <a:pt x="0" y="53"/>
                  </a:lnTo>
                  <a:lnTo>
                    <a:pt x="255" y="68"/>
                  </a:lnTo>
                  <a:lnTo>
                    <a:pt x="250" y="274"/>
                  </a:lnTo>
                  <a:lnTo>
                    <a:pt x="257" y="277"/>
                  </a:lnTo>
                  <a:lnTo>
                    <a:pt x="265" y="282"/>
                  </a:lnTo>
                  <a:lnTo>
                    <a:pt x="277" y="296"/>
                  </a:lnTo>
                  <a:lnTo>
                    <a:pt x="281" y="301"/>
                  </a:lnTo>
                  <a:lnTo>
                    <a:pt x="301" y="298"/>
                  </a:lnTo>
                  <a:lnTo>
                    <a:pt x="305" y="294"/>
                  </a:lnTo>
                  <a:lnTo>
                    <a:pt x="315" y="298"/>
                  </a:lnTo>
                  <a:lnTo>
                    <a:pt x="317" y="303"/>
                  </a:lnTo>
                  <a:lnTo>
                    <a:pt x="317" y="308"/>
                  </a:lnTo>
                  <a:lnTo>
                    <a:pt x="322" y="315"/>
                  </a:lnTo>
                  <a:lnTo>
                    <a:pt x="325" y="318"/>
                  </a:lnTo>
                  <a:lnTo>
                    <a:pt x="349" y="322"/>
                  </a:lnTo>
                  <a:lnTo>
                    <a:pt x="356" y="325"/>
                  </a:lnTo>
                  <a:lnTo>
                    <a:pt x="361" y="325"/>
                  </a:lnTo>
                  <a:lnTo>
                    <a:pt x="363" y="325"/>
                  </a:lnTo>
                  <a:lnTo>
                    <a:pt x="370" y="322"/>
                  </a:lnTo>
                  <a:lnTo>
                    <a:pt x="375" y="330"/>
                  </a:lnTo>
                  <a:lnTo>
                    <a:pt x="385" y="334"/>
                  </a:lnTo>
                  <a:lnTo>
                    <a:pt x="392" y="327"/>
                  </a:lnTo>
                  <a:lnTo>
                    <a:pt x="414" y="332"/>
                  </a:lnTo>
                  <a:lnTo>
                    <a:pt x="414" y="334"/>
                  </a:lnTo>
                  <a:lnTo>
                    <a:pt x="423" y="344"/>
                  </a:lnTo>
                  <a:lnTo>
                    <a:pt x="428" y="344"/>
                  </a:lnTo>
                  <a:lnTo>
                    <a:pt x="428" y="356"/>
                  </a:lnTo>
                  <a:lnTo>
                    <a:pt x="445" y="358"/>
                  </a:lnTo>
                  <a:lnTo>
                    <a:pt x="447" y="349"/>
                  </a:lnTo>
                  <a:lnTo>
                    <a:pt x="454" y="346"/>
                  </a:lnTo>
                  <a:lnTo>
                    <a:pt x="476" y="361"/>
                  </a:lnTo>
                  <a:lnTo>
                    <a:pt x="478" y="361"/>
                  </a:lnTo>
                  <a:lnTo>
                    <a:pt x="488" y="356"/>
                  </a:lnTo>
                  <a:lnTo>
                    <a:pt x="495" y="356"/>
                  </a:lnTo>
                  <a:lnTo>
                    <a:pt x="495" y="358"/>
                  </a:lnTo>
                  <a:lnTo>
                    <a:pt x="495" y="368"/>
                  </a:lnTo>
                  <a:lnTo>
                    <a:pt x="498" y="375"/>
                  </a:lnTo>
                  <a:lnTo>
                    <a:pt x="502" y="371"/>
                  </a:lnTo>
                  <a:lnTo>
                    <a:pt x="502" y="366"/>
                  </a:lnTo>
                  <a:lnTo>
                    <a:pt x="510" y="356"/>
                  </a:lnTo>
                  <a:lnTo>
                    <a:pt x="517" y="351"/>
                  </a:lnTo>
                  <a:lnTo>
                    <a:pt x="522" y="351"/>
                  </a:lnTo>
                  <a:lnTo>
                    <a:pt x="522" y="358"/>
                  </a:lnTo>
                  <a:lnTo>
                    <a:pt x="531" y="361"/>
                  </a:lnTo>
                  <a:lnTo>
                    <a:pt x="536" y="361"/>
                  </a:lnTo>
                  <a:lnTo>
                    <a:pt x="541" y="356"/>
                  </a:lnTo>
                  <a:lnTo>
                    <a:pt x="546" y="358"/>
                  </a:lnTo>
                  <a:lnTo>
                    <a:pt x="548" y="358"/>
                  </a:lnTo>
                  <a:lnTo>
                    <a:pt x="548" y="361"/>
                  </a:lnTo>
                  <a:lnTo>
                    <a:pt x="555" y="366"/>
                  </a:lnTo>
                  <a:lnTo>
                    <a:pt x="570" y="375"/>
                  </a:lnTo>
                  <a:lnTo>
                    <a:pt x="584" y="363"/>
                  </a:lnTo>
                  <a:lnTo>
                    <a:pt x="589" y="361"/>
                  </a:lnTo>
                  <a:lnTo>
                    <a:pt x="608" y="361"/>
                  </a:lnTo>
                  <a:lnTo>
                    <a:pt x="625" y="354"/>
                  </a:lnTo>
                  <a:lnTo>
                    <a:pt x="630" y="354"/>
                  </a:lnTo>
                  <a:lnTo>
                    <a:pt x="637" y="354"/>
                  </a:lnTo>
                  <a:lnTo>
                    <a:pt x="656" y="356"/>
                  </a:lnTo>
                  <a:lnTo>
                    <a:pt x="670" y="351"/>
                  </a:lnTo>
                  <a:lnTo>
                    <a:pt x="673" y="349"/>
                  </a:lnTo>
                  <a:lnTo>
                    <a:pt x="716" y="373"/>
                  </a:lnTo>
                  <a:lnTo>
                    <a:pt x="723" y="375"/>
                  </a:lnTo>
                  <a:lnTo>
                    <a:pt x="726" y="378"/>
                  </a:lnTo>
                  <a:lnTo>
                    <a:pt x="731" y="380"/>
                  </a:lnTo>
                  <a:lnTo>
                    <a:pt x="733" y="190"/>
                  </a:lnTo>
                  <a:lnTo>
                    <a:pt x="718" y="72"/>
                  </a:lnTo>
                  <a:lnTo>
                    <a:pt x="716" y="2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 name="Freeform 8"/>
            <p:cNvSpPr>
              <a:spLocks/>
            </p:cNvSpPr>
            <p:nvPr/>
          </p:nvSpPr>
          <p:spPr bwMode="auto">
            <a:xfrm>
              <a:off x="7571212" y="4552829"/>
              <a:ext cx="742950" cy="766762"/>
            </a:xfrm>
            <a:custGeom>
              <a:avLst/>
              <a:gdLst>
                <a:gd name="T0" fmla="*/ 65 w 468"/>
                <a:gd name="T1" fmla="*/ 254 h 483"/>
                <a:gd name="T2" fmla="*/ 74 w 468"/>
                <a:gd name="T3" fmla="*/ 276 h 483"/>
                <a:gd name="T4" fmla="*/ 86 w 468"/>
                <a:gd name="T5" fmla="*/ 288 h 483"/>
                <a:gd name="T6" fmla="*/ 89 w 468"/>
                <a:gd name="T7" fmla="*/ 305 h 483"/>
                <a:gd name="T8" fmla="*/ 93 w 468"/>
                <a:gd name="T9" fmla="*/ 317 h 483"/>
                <a:gd name="T10" fmla="*/ 86 w 468"/>
                <a:gd name="T11" fmla="*/ 343 h 483"/>
                <a:gd name="T12" fmla="*/ 81 w 468"/>
                <a:gd name="T13" fmla="*/ 375 h 483"/>
                <a:gd name="T14" fmla="*/ 91 w 468"/>
                <a:gd name="T15" fmla="*/ 427 h 483"/>
                <a:gd name="T16" fmla="*/ 103 w 468"/>
                <a:gd name="T17" fmla="*/ 449 h 483"/>
                <a:gd name="T18" fmla="*/ 113 w 468"/>
                <a:gd name="T19" fmla="*/ 463 h 483"/>
                <a:gd name="T20" fmla="*/ 117 w 468"/>
                <a:gd name="T21" fmla="*/ 478 h 483"/>
                <a:gd name="T22" fmla="*/ 367 w 468"/>
                <a:gd name="T23" fmla="*/ 475 h 483"/>
                <a:gd name="T24" fmla="*/ 384 w 468"/>
                <a:gd name="T25" fmla="*/ 483 h 483"/>
                <a:gd name="T26" fmla="*/ 379 w 468"/>
                <a:gd name="T27" fmla="*/ 447 h 483"/>
                <a:gd name="T28" fmla="*/ 382 w 468"/>
                <a:gd name="T29" fmla="*/ 432 h 483"/>
                <a:gd name="T30" fmla="*/ 406 w 468"/>
                <a:gd name="T31" fmla="*/ 437 h 483"/>
                <a:gd name="T32" fmla="*/ 430 w 468"/>
                <a:gd name="T33" fmla="*/ 435 h 483"/>
                <a:gd name="T34" fmla="*/ 422 w 468"/>
                <a:gd name="T35" fmla="*/ 408 h 483"/>
                <a:gd name="T36" fmla="*/ 425 w 468"/>
                <a:gd name="T37" fmla="*/ 387 h 483"/>
                <a:gd name="T38" fmla="*/ 439 w 468"/>
                <a:gd name="T39" fmla="*/ 334 h 483"/>
                <a:gd name="T40" fmla="*/ 454 w 468"/>
                <a:gd name="T41" fmla="*/ 305 h 483"/>
                <a:gd name="T42" fmla="*/ 466 w 468"/>
                <a:gd name="T43" fmla="*/ 295 h 483"/>
                <a:gd name="T44" fmla="*/ 461 w 468"/>
                <a:gd name="T45" fmla="*/ 288 h 483"/>
                <a:gd name="T46" fmla="*/ 456 w 468"/>
                <a:gd name="T47" fmla="*/ 286 h 483"/>
                <a:gd name="T48" fmla="*/ 439 w 468"/>
                <a:gd name="T49" fmla="*/ 283 h 483"/>
                <a:gd name="T50" fmla="*/ 432 w 468"/>
                <a:gd name="T51" fmla="*/ 254 h 483"/>
                <a:gd name="T52" fmla="*/ 408 w 468"/>
                <a:gd name="T53" fmla="*/ 235 h 483"/>
                <a:gd name="T54" fmla="*/ 391 w 468"/>
                <a:gd name="T55" fmla="*/ 201 h 483"/>
                <a:gd name="T56" fmla="*/ 382 w 468"/>
                <a:gd name="T57" fmla="*/ 187 h 483"/>
                <a:gd name="T58" fmla="*/ 355 w 468"/>
                <a:gd name="T59" fmla="*/ 170 h 483"/>
                <a:gd name="T60" fmla="*/ 346 w 468"/>
                <a:gd name="T61" fmla="*/ 156 h 483"/>
                <a:gd name="T62" fmla="*/ 336 w 468"/>
                <a:gd name="T63" fmla="*/ 144 h 483"/>
                <a:gd name="T64" fmla="*/ 295 w 468"/>
                <a:gd name="T65" fmla="*/ 113 h 483"/>
                <a:gd name="T66" fmla="*/ 278 w 468"/>
                <a:gd name="T67" fmla="*/ 98 h 483"/>
                <a:gd name="T68" fmla="*/ 259 w 468"/>
                <a:gd name="T69" fmla="*/ 72 h 483"/>
                <a:gd name="T70" fmla="*/ 247 w 468"/>
                <a:gd name="T71" fmla="*/ 57 h 483"/>
                <a:gd name="T72" fmla="*/ 206 w 468"/>
                <a:gd name="T73" fmla="*/ 43 h 483"/>
                <a:gd name="T74" fmla="*/ 206 w 468"/>
                <a:gd name="T75" fmla="*/ 16 h 483"/>
                <a:gd name="T76" fmla="*/ 216 w 468"/>
                <a:gd name="T77" fmla="*/ 7 h 483"/>
                <a:gd name="T78" fmla="*/ 216 w 468"/>
                <a:gd name="T79" fmla="*/ 0 h 483"/>
                <a:gd name="T80" fmla="*/ 0 w 468"/>
                <a:gd name="T81" fmla="*/ 28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8" h="483">
                  <a:moveTo>
                    <a:pt x="0" y="28"/>
                  </a:moveTo>
                  <a:lnTo>
                    <a:pt x="65" y="254"/>
                  </a:lnTo>
                  <a:lnTo>
                    <a:pt x="69" y="262"/>
                  </a:lnTo>
                  <a:lnTo>
                    <a:pt x="74" y="276"/>
                  </a:lnTo>
                  <a:lnTo>
                    <a:pt x="77" y="283"/>
                  </a:lnTo>
                  <a:lnTo>
                    <a:pt x="86" y="288"/>
                  </a:lnTo>
                  <a:lnTo>
                    <a:pt x="91" y="295"/>
                  </a:lnTo>
                  <a:lnTo>
                    <a:pt x="89" y="305"/>
                  </a:lnTo>
                  <a:lnTo>
                    <a:pt x="96" y="314"/>
                  </a:lnTo>
                  <a:lnTo>
                    <a:pt x="93" y="317"/>
                  </a:lnTo>
                  <a:lnTo>
                    <a:pt x="86" y="329"/>
                  </a:lnTo>
                  <a:lnTo>
                    <a:pt x="86" y="343"/>
                  </a:lnTo>
                  <a:lnTo>
                    <a:pt x="81" y="355"/>
                  </a:lnTo>
                  <a:lnTo>
                    <a:pt x="81" y="375"/>
                  </a:lnTo>
                  <a:lnTo>
                    <a:pt x="93" y="399"/>
                  </a:lnTo>
                  <a:lnTo>
                    <a:pt x="91" y="427"/>
                  </a:lnTo>
                  <a:lnTo>
                    <a:pt x="103" y="444"/>
                  </a:lnTo>
                  <a:lnTo>
                    <a:pt x="103" y="449"/>
                  </a:lnTo>
                  <a:lnTo>
                    <a:pt x="105" y="454"/>
                  </a:lnTo>
                  <a:lnTo>
                    <a:pt x="113" y="463"/>
                  </a:lnTo>
                  <a:lnTo>
                    <a:pt x="113" y="471"/>
                  </a:lnTo>
                  <a:lnTo>
                    <a:pt x="117" y="478"/>
                  </a:lnTo>
                  <a:lnTo>
                    <a:pt x="362" y="463"/>
                  </a:lnTo>
                  <a:lnTo>
                    <a:pt x="367" y="475"/>
                  </a:lnTo>
                  <a:lnTo>
                    <a:pt x="370" y="480"/>
                  </a:lnTo>
                  <a:lnTo>
                    <a:pt x="384" y="483"/>
                  </a:lnTo>
                  <a:lnTo>
                    <a:pt x="386" y="468"/>
                  </a:lnTo>
                  <a:lnTo>
                    <a:pt x="379" y="447"/>
                  </a:lnTo>
                  <a:lnTo>
                    <a:pt x="379" y="437"/>
                  </a:lnTo>
                  <a:lnTo>
                    <a:pt x="382" y="432"/>
                  </a:lnTo>
                  <a:lnTo>
                    <a:pt x="389" y="427"/>
                  </a:lnTo>
                  <a:lnTo>
                    <a:pt x="406" y="437"/>
                  </a:lnTo>
                  <a:lnTo>
                    <a:pt x="422" y="437"/>
                  </a:lnTo>
                  <a:lnTo>
                    <a:pt x="430" y="435"/>
                  </a:lnTo>
                  <a:lnTo>
                    <a:pt x="427" y="418"/>
                  </a:lnTo>
                  <a:lnTo>
                    <a:pt x="422" y="408"/>
                  </a:lnTo>
                  <a:lnTo>
                    <a:pt x="422" y="396"/>
                  </a:lnTo>
                  <a:lnTo>
                    <a:pt x="425" y="387"/>
                  </a:lnTo>
                  <a:lnTo>
                    <a:pt x="437" y="350"/>
                  </a:lnTo>
                  <a:lnTo>
                    <a:pt x="439" y="334"/>
                  </a:lnTo>
                  <a:lnTo>
                    <a:pt x="446" y="319"/>
                  </a:lnTo>
                  <a:lnTo>
                    <a:pt x="454" y="305"/>
                  </a:lnTo>
                  <a:lnTo>
                    <a:pt x="461" y="295"/>
                  </a:lnTo>
                  <a:lnTo>
                    <a:pt x="466" y="295"/>
                  </a:lnTo>
                  <a:lnTo>
                    <a:pt x="468" y="290"/>
                  </a:lnTo>
                  <a:lnTo>
                    <a:pt x="461" y="288"/>
                  </a:lnTo>
                  <a:lnTo>
                    <a:pt x="461" y="286"/>
                  </a:lnTo>
                  <a:lnTo>
                    <a:pt x="456" y="286"/>
                  </a:lnTo>
                  <a:lnTo>
                    <a:pt x="444" y="286"/>
                  </a:lnTo>
                  <a:lnTo>
                    <a:pt x="439" y="283"/>
                  </a:lnTo>
                  <a:lnTo>
                    <a:pt x="437" y="276"/>
                  </a:lnTo>
                  <a:lnTo>
                    <a:pt x="432" y="254"/>
                  </a:lnTo>
                  <a:lnTo>
                    <a:pt x="420" y="240"/>
                  </a:lnTo>
                  <a:lnTo>
                    <a:pt x="408" y="235"/>
                  </a:lnTo>
                  <a:lnTo>
                    <a:pt x="401" y="214"/>
                  </a:lnTo>
                  <a:lnTo>
                    <a:pt x="391" y="201"/>
                  </a:lnTo>
                  <a:lnTo>
                    <a:pt x="389" y="189"/>
                  </a:lnTo>
                  <a:lnTo>
                    <a:pt x="382" y="187"/>
                  </a:lnTo>
                  <a:lnTo>
                    <a:pt x="365" y="182"/>
                  </a:lnTo>
                  <a:lnTo>
                    <a:pt x="355" y="170"/>
                  </a:lnTo>
                  <a:lnTo>
                    <a:pt x="346" y="163"/>
                  </a:lnTo>
                  <a:lnTo>
                    <a:pt x="346" y="156"/>
                  </a:lnTo>
                  <a:lnTo>
                    <a:pt x="341" y="146"/>
                  </a:lnTo>
                  <a:lnTo>
                    <a:pt x="336" y="144"/>
                  </a:lnTo>
                  <a:lnTo>
                    <a:pt x="322" y="137"/>
                  </a:lnTo>
                  <a:lnTo>
                    <a:pt x="295" y="113"/>
                  </a:lnTo>
                  <a:lnTo>
                    <a:pt x="283" y="108"/>
                  </a:lnTo>
                  <a:lnTo>
                    <a:pt x="278" y="98"/>
                  </a:lnTo>
                  <a:lnTo>
                    <a:pt x="266" y="89"/>
                  </a:lnTo>
                  <a:lnTo>
                    <a:pt x="259" y="72"/>
                  </a:lnTo>
                  <a:lnTo>
                    <a:pt x="250" y="64"/>
                  </a:lnTo>
                  <a:lnTo>
                    <a:pt x="247" y="57"/>
                  </a:lnTo>
                  <a:lnTo>
                    <a:pt x="230" y="52"/>
                  </a:lnTo>
                  <a:lnTo>
                    <a:pt x="206" y="43"/>
                  </a:lnTo>
                  <a:lnTo>
                    <a:pt x="199" y="36"/>
                  </a:lnTo>
                  <a:lnTo>
                    <a:pt x="206" y="16"/>
                  </a:lnTo>
                  <a:lnTo>
                    <a:pt x="214" y="12"/>
                  </a:lnTo>
                  <a:lnTo>
                    <a:pt x="216" y="7"/>
                  </a:lnTo>
                  <a:lnTo>
                    <a:pt x="218" y="2"/>
                  </a:lnTo>
                  <a:lnTo>
                    <a:pt x="216" y="0"/>
                  </a:lnTo>
                  <a:lnTo>
                    <a:pt x="89" y="19"/>
                  </a:lnTo>
                  <a:lnTo>
                    <a:pt x="0" y="2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 name="Freeform 9"/>
            <p:cNvSpPr>
              <a:spLocks noEditPoints="1"/>
            </p:cNvSpPr>
            <p:nvPr/>
          </p:nvSpPr>
          <p:spPr bwMode="auto">
            <a:xfrm>
              <a:off x="7814099" y="3697166"/>
              <a:ext cx="1060450" cy="592137"/>
            </a:xfrm>
            <a:custGeom>
              <a:avLst/>
              <a:gdLst>
                <a:gd name="T0" fmla="*/ 200 w 668"/>
                <a:gd name="T1" fmla="*/ 349 h 373"/>
                <a:gd name="T2" fmla="*/ 164 w 668"/>
                <a:gd name="T3" fmla="*/ 354 h 373"/>
                <a:gd name="T4" fmla="*/ 142 w 668"/>
                <a:gd name="T5" fmla="*/ 356 h 373"/>
                <a:gd name="T6" fmla="*/ 37 w 668"/>
                <a:gd name="T7" fmla="*/ 354 h 373"/>
                <a:gd name="T8" fmla="*/ 56 w 668"/>
                <a:gd name="T9" fmla="*/ 327 h 373"/>
                <a:gd name="T10" fmla="*/ 68 w 668"/>
                <a:gd name="T11" fmla="*/ 308 h 373"/>
                <a:gd name="T12" fmla="*/ 123 w 668"/>
                <a:gd name="T13" fmla="*/ 255 h 373"/>
                <a:gd name="T14" fmla="*/ 137 w 668"/>
                <a:gd name="T15" fmla="*/ 277 h 373"/>
                <a:gd name="T16" fmla="*/ 173 w 668"/>
                <a:gd name="T17" fmla="*/ 277 h 373"/>
                <a:gd name="T18" fmla="*/ 188 w 668"/>
                <a:gd name="T19" fmla="*/ 274 h 373"/>
                <a:gd name="T20" fmla="*/ 219 w 668"/>
                <a:gd name="T21" fmla="*/ 267 h 373"/>
                <a:gd name="T22" fmla="*/ 231 w 668"/>
                <a:gd name="T23" fmla="*/ 257 h 373"/>
                <a:gd name="T24" fmla="*/ 267 w 668"/>
                <a:gd name="T25" fmla="*/ 226 h 373"/>
                <a:gd name="T26" fmla="*/ 279 w 668"/>
                <a:gd name="T27" fmla="*/ 180 h 373"/>
                <a:gd name="T28" fmla="*/ 310 w 668"/>
                <a:gd name="T29" fmla="*/ 116 h 373"/>
                <a:gd name="T30" fmla="*/ 329 w 668"/>
                <a:gd name="T31" fmla="*/ 123 h 373"/>
                <a:gd name="T32" fmla="*/ 349 w 668"/>
                <a:gd name="T33" fmla="*/ 75 h 373"/>
                <a:gd name="T34" fmla="*/ 373 w 668"/>
                <a:gd name="T35" fmla="*/ 60 h 373"/>
                <a:gd name="T36" fmla="*/ 387 w 668"/>
                <a:gd name="T37" fmla="*/ 34 h 373"/>
                <a:gd name="T38" fmla="*/ 387 w 668"/>
                <a:gd name="T39" fmla="*/ 7 h 373"/>
                <a:gd name="T40" fmla="*/ 430 w 668"/>
                <a:gd name="T41" fmla="*/ 27 h 373"/>
                <a:gd name="T42" fmla="*/ 442 w 668"/>
                <a:gd name="T43" fmla="*/ 5 h 373"/>
                <a:gd name="T44" fmla="*/ 464 w 668"/>
                <a:gd name="T45" fmla="*/ 10 h 373"/>
                <a:gd name="T46" fmla="*/ 483 w 668"/>
                <a:gd name="T47" fmla="*/ 29 h 373"/>
                <a:gd name="T48" fmla="*/ 510 w 668"/>
                <a:gd name="T49" fmla="*/ 48 h 373"/>
                <a:gd name="T50" fmla="*/ 490 w 668"/>
                <a:gd name="T51" fmla="*/ 89 h 373"/>
                <a:gd name="T52" fmla="*/ 514 w 668"/>
                <a:gd name="T53" fmla="*/ 96 h 373"/>
                <a:gd name="T54" fmla="*/ 534 w 668"/>
                <a:gd name="T55" fmla="*/ 108 h 373"/>
                <a:gd name="T56" fmla="*/ 548 w 668"/>
                <a:gd name="T57" fmla="*/ 113 h 373"/>
                <a:gd name="T58" fmla="*/ 584 w 668"/>
                <a:gd name="T59" fmla="*/ 128 h 373"/>
                <a:gd name="T60" fmla="*/ 586 w 668"/>
                <a:gd name="T61" fmla="*/ 144 h 373"/>
                <a:gd name="T62" fmla="*/ 582 w 668"/>
                <a:gd name="T63" fmla="*/ 164 h 373"/>
                <a:gd name="T64" fmla="*/ 603 w 668"/>
                <a:gd name="T65" fmla="*/ 183 h 373"/>
                <a:gd name="T66" fmla="*/ 589 w 668"/>
                <a:gd name="T67" fmla="*/ 188 h 373"/>
                <a:gd name="T68" fmla="*/ 594 w 668"/>
                <a:gd name="T69" fmla="*/ 197 h 373"/>
                <a:gd name="T70" fmla="*/ 582 w 668"/>
                <a:gd name="T71" fmla="*/ 202 h 373"/>
                <a:gd name="T72" fmla="*/ 596 w 668"/>
                <a:gd name="T73" fmla="*/ 209 h 373"/>
                <a:gd name="T74" fmla="*/ 598 w 668"/>
                <a:gd name="T75" fmla="*/ 229 h 373"/>
                <a:gd name="T76" fmla="*/ 579 w 668"/>
                <a:gd name="T77" fmla="*/ 229 h 373"/>
                <a:gd name="T78" fmla="*/ 606 w 668"/>
                <a:gd name="T79" fmla="*/ 236 h 373"/>
                <a:gd name="T80" fmla="*/ 637 w 668"/>
                <a:gd name="T81" fmla="*/ 231 h 373"/>
                <a:gd name="T82" fmla="*/ 639 w 668"/>
                <a:gd name="T83" fmla="*/ 267 h 373"/>
                <a:gd name="T84" fmla="*/ 634 w 668"/>
                <a:gd name="T85" fmla="*/ 118 h 373"/>
                <a:gd name="T86" fmla="*/ 637 w 668"/>
                <a:gd name="T87" fmla="*/ 132 h 373"/>
                <a:gd name="T88" fmla="*/ 625 w 668"/>
                <a:gd name="T89" fmla="*/ 164 h 373"/>
                <a:gd name="T90" fmla="*/ 632 w 668"/>
                <a:gd name="T91" fmla="*/ 207 h 373"/>
                <a:gd name="T92" fmla="*/ 649 w 668"/>
                <a:gd name="T93" fmla="*/ 152 h 373"/>
                <a:gd name="T94" fmla="*/ 654 w 668"/>
                <a:gd name="T95" fmla="*/ 118 h 373"/>
                <a:gd name="T96" fmla="*/ 668 w 668"/>
                <a:gd name="T97" fmla="*/ 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8" h="373">
                  <a:moveTo>
                    <a:pt x="639" y="272"/>
                  </a:moveTo>
                  <a:lnTo>
                    <a:pt x="426" y="313"/>
                  </a:lnTo>
                  <a:lnTo>
                    <a:pt x="200" y="349"/>
                  </a:lnTo>
                  <a:lnTo>
                    <a:pt x="195" y="349"/>
                  </a:lnTo>
                  <a:lnTo>
                    <a:pt x="185" y="351"/>
                  </a:lnTo>
                  <a:lnTo>
                    <a:pt x="164" y="354"/>
                  </a:lnTo>
                  <a:lnTo>
                    <a:pt x="164" y="349"/>
                  </a:lnTo>
                  <a:lnTo>
                    <a:pt x="142" y="354"/>
                  </a:lnTo>
                  <a:lnTo>
                    <a:pt x="142" y="356"/>
                  </a:lnTo>
                  <a:lnTo>
                    <a:pt x="0" y="373"/>
                  </a:lnTo>
                  <a:lnTo>
                    <a:pt x="5" y="368"/>
                  </a:lnTo>
                  <a:lnTo>
                    <a:pt x="37" y="354"/>
                  </a:lnTo>
                  <a:lnTo>
                    <a:pt x="39" y="346"/>
                  </a:lnTo>
                  <a:lnTo>
                    <a:pt x="56" y="334"/>
                  </a:lnTo>
                  <a:lnTo>
                    <a:pt x="56" y="327"/>
                  </a:lnTo>
                  <a:lnTo>
                    <a:pt x="58" y="322"/>
                  </a:lnTo>
                  <a:lnTo>
                    <a:pt x="68" y="317"/>
                  </a:lnTo>
                  <a:lnTo>
                    <a:pt x="68" y="308"/>
                  </a:lnTo>
                  <a:lnTo>
                    <a:pt x="77" y="301"/>
                  </a:lnTo>
                  <a:lnTo>
                    <a:pt x="121" y="262"/>
                  </a:lnTo>
                  <a:lnTo>
                    <a:pt x="123" y="255"/>
                  </a:lnTo>
                  <a:lnTo>
                    <a:pt x="125" y="257"/>
                  </a:lnTo>
                  <a:lnTo>
                    <a:pt x="123" y="265"/>
                  </a:lnTo>
                  <a:lnTo>
                    <a:pt x="137" y="277"/>
                  </a:lnTo>
                  <a:lnTo>
                    <a:pt x="154" y="284"/>
                  </a:lnTo>
                  <a:lnTo>
                    <a:pt x="164" y="286"/>
                  </a:lnTo>
                  <a:lnTo>
                    <a:pt x="173" y="277"/>
                  </a:lnTo>
                  <a:lnTo>
                    <a:pt x="173" y="272"/>
                  </a:lnTo>
                  <a:lnTo>
                    <a:pt x="181" y="267"/>
                  </a:lnTo>
                  <a:lnTo>
                    <a:pt x="188" y="274"/>
                  </a:lnTo>
                  <a:lnTo>
                    <a:pt x="193" y="277"/>
                  </a:lnTo>
                  <a:lnTo>
                    <a:pt x="197" y="274"/>
                  </a:lnTo>
                  <a:lnTo>
                    <a:pt x="219" y="267"/>
                  </a:lnTo>
                  <a:lnTo>
                    <a:pt x="224" y="253"/>
                  </a:lnTo>
                  <a:lnTo>
                    <a:pt x="226" y="253"/>
                  </a:lnTo>
                  <a:lnTo>
                    <a:pt x="231" y="257"/>
                  </a:lnTo>
                  <a:lnTo>
                    <a:pt x="248" y="241"/>
                  </a:lnTo>
                  <a:lnTo>
                    <a:pt x="253" y="245"/>
                  </a:lnTo>
                  <a:lnTo>
                    <a:pt x="267" y="226"/>
                  </a:lnTo>
                  <a:lnTo>
                    <a:pt x="265" y="219"/>
                  </a:lnTo>
                  <a:lnTo>
                    <a:pt x="265" y="207"/>
                  </a:lnTo>
                  <a:lnTo>
                    <a:pt x="279" y="180"/>
                  </a:lnTo>
                  <a:lnTo>
                    <a:pt x="298" y="111"/>
                  </a:lnTo>
                  <a:lnTo>
                    <a:pt x="301" y="108"/>
                  </a:lnTo>
                  <a:lnTo>
                    <a:pt x="310" y="116"/>
                  </a:lnTo>
                  <a:lnTo>
                    <a:pt x="313" y="120"/>
                  </a:lnTo>
                  <a:lnTo>
                    <a:pt x="317" y="125"/>
                  </a:lnTo>
                  <a:lnTo>
                    <a:pt x="329" y="123"/>
                  </a:lnTo>
                  <a:lnTo>
                    <a:pt x="337" y="111"/>
                  </a:lnTo>
                  <a:lnTo>
                    <a:pt x="342" y="84"/>
                  </a:lnTo>
                  <a:lnTo>
                    <a:pt x="349" y="75"/>
                  </a:lnTo>
                  <a:lnTo>
                    <a:pt x="358" y="80"/>
                  </a:lnTo>
                  <a:lnTo>
                    <a:pt x="366" y="63"/>
                  </a:lnTo>
                  <a:lnTo>
                    <a:pt x="373" y="60"/>
                  </a:lnTo>
                  <a:lnTo>
                    <a:pt x="378" y="53"/>
                  </a:lnTo>
                  <a:lnTo>
                    <a:pt x="382" y="39"/>
                  </a:lnTo>
                  <a:lnTo>
                    <a:pt x="387" y="34"/>
                  </a:lnTo>
                  <a:lnTo>
                    <a:pt x="387" y="31"/>
                  </a:lnTo>
                  <a:lnTo>
                    <a:pt x="385" y="29"/>
                  </a:lnTo>
                  <a:lnTo>
                    <a:pt x="387" y="7"/>
                  </a:lnTo>
                  <a:lnTo>
                    <a:pt x="387" y="5"/>
                  </a:lnTo>
                  <a:lnTo>
                    <a:pt x="392" y="0"/>
                  </a:lnTo>
                  <a:lnTo>
                    <a:pt x="430" y="27"/>
                  </a:lnTo>
                  <a:lnTo>
                    <a:pt x="435" y="27"/>
                  </a:lnTo>
                  <a:lnTo>
                    <a:pt x="438" y="27"/>
                  </a:lnTo>
                  <a:lnTo>
                    <a:pt x="442" y="5"/>
                  </a:lnTo>
                  <a:lnTo>
                    <a:pt x="450" y="5"/>
                  </a:lnTo>
                  <a:lnTo>
                    <a:pt x="454" y="7"/>
                  </a:lnTo>
                  <a:lnTo>
                    <a:pt x="464" y="10"/>
                  </a:lnTo>
                  <a:lnTo>
                    <a:pt x="459" y="17"/>
                  </a:lnTo>
                  <a:lnTo>
                    <a:pt x="469" y="29"/>
                  </a:lnTo>
                  <a:lnTo>
                    <a:pt x="483" y="29"/>
                  </a:lnTo>
                  <a:lnTo>
                    <a:pt x="490" y="36"/>
                  </a:lnTo>
                  <a:lnTo>
                    <a:pt x="502" y="41"/>
                  </a:lnTo>
                  <a:lnTo>
                    <a:pt x="510" y="48"/>
                  </a:lnTo>
                  <a:lnTo>
                    <a:pt x="507" y="56"/>
                  </a:lnTo>
                  <a:lnTo>
                    <a:pt x="498" y="72"/>
                  </a:lnTo>
                  <a:lnTo>
                    <a:pt x="490" y="89"/>
                  </a:lnTo>
                  <a:lnTo>
                    <a:pt x="493" y="101"/>
                  </a:lnTo>
                  <a:lnTo>
                    <a:pt x="505" y="101"/>
                  </a:lnTo>
                  <a:lnTo>
                    <a:pt x="514" y="96"/>
                  </a:lnTo>
                  <a:lnTo>
                    <a:pt x="524" y="106"/>
                  </a:lnTo>
                  <a:lnTo>
                    <a:pt x="529" y="108"/>
                  </a:lnTo>
                  <a:lnTo>
                    <a:pt x="534" y="108"/>
                  </a:lnTo>
                  <a:lnTo>
                    <a:pt x="541" y="116"/>
                  </a:lnTo>
                  <a:lnTo>
                    <a:pt x="543" y="116"/>
                  </a:lnTo>
                  <a:lnTo>
                    <a:pt x="548" y="113"/>
                  </a:lnTo>
                  <a:lnTo>
                    <a:pt x="553" y="113"/>
                  </a:lnTo>
                  <a:lnTo>
                    <a:pt x="572" y="123"/>
                  </a:lnTo>
                  <a:lnTo>
                    <a:pt x="584" y="128"/>
                  </a:lnTo>
                  <a:lnTo>
                    <a:pt x="594" y="135"/>
                  </a:lnTo>
                  <a:lnTo>
                    <a:pt x="591" y="140"/>
                  </a:lnTo>
                  <a:lnTo>
                    <a:pt x="586" y="144"/>
                  </a:lnTo>
                  <a:lnTo>
                    <a:pt x="589" y="156"/>
                  </a:lnTo>
                  <a:lnTo>
                    <a:pt x="586" y="161"/>
                  </a:lnTo>
                  <a:lnTo>
                    <a:pt x="582" y="164"/>
                  </a:lnTo>
                  <a:lnTo>
                    <a:pt x="582" y="164"/>
                  </a:lnTo>
                  <a:lnTo>
                    <a:pt x="598" y="171"/>
                  </a:lnTo>
                  <a:lnTo>
                    <a:pt x="603" y="183"/>
                  </a:lnTo>
                  <a:lnTo>
                    <a:pt x="601" y="185"/>
                  </a:lnTo>
                  <a:lnTo>
                    <a:pt x="598" y="190"/>
                  </a:lnTo>
                  <a:lnTo>
                    <a:pt x="589" y="188"/>
                  </a:lnTo>
                  <a:lnTo>
                    <a:pt x="586" y="193"/>
                  </a:lnTo>
                  <a:lnTo>
                    <a:pt x="591" y="197"/>
                  </a:lnTo>
                  <a:lnTo>
                    <a:pt x="594" y="197"/>
                  </a:lnTo>
                  <a:lnTo>
                    <a:pt x="594" y="200"/>
                  </a:lnTo>
                  <a:lnTo>
                    <a:pt x="586" y="202"/>
                  </a:lnTo>
                  <a:lnTo>
                    <a:pt x="582" y="202"/>
                  </a:lnTo>
                  <a:lnTo>
                    <a:pt x="582" y="205"/>
                  </a:lnTo>
                  <a:lnTo>
                    <a:pt x="586" y="209"/>
                  </a:lnTo>
                  <a:lnTo>
                    <a:pt x="596" y="209"/>
                  </a:lnTo>
                  <a:lnTo>
                    <a:pt x="606" y="214"/>
                  </a:lnTo>
                  <a:lnTo>
                    <a:pt x="608" y="219"/>
                  </a:lnTo>
                  <a:lnTo>
                    <a:pt x="598" y="229"/>
                  </a:lnTo>
                  <a:lnTo>
                    <a:pt x="594" y="229"/>
                  </a:lnTo>
                  <a:lnTo>
                    <a:pt x="579" y="224"/>
                  </a:lnTo>
                  <a:lnTo>
                    <a:pt x="579" y="229"/>
                  </a:lnTo>
                  <a:lnTo>
                    <a:pt x="589" y="233"/>
                  </a:lnTo>
                  <a:lnTo>
                    <a:pt x="596" y="241"/>
                  </a:lnTo>
                  <a:lnTo>
                    <a:pt x="606" y="236"/>
                  </a:lnTo>
                  <a:lnTo>
                    <a:pt x="615" y="231"/>
                  </a:lnTo>
                  <a:lnTo>
                    <a:pt x="625" y="231"/>
                  </a:lnTo>
                  <a:lnTo>
                    <a:pt x="637" y="231"/>
                  </a:lnTo>
                  <a:lnTo>
                    <a:pt x="637" y="231"/>
                  </a:lnTo>
                  <a:lnTo>
                    <a:pt x="646" y="260"/>
                  </a:lnTo>
                  <a:lnTo>
                    <a:pt x="639" y="267"/>
                  </a:lnTo>
                  <a:lnTo>
                    <a:pt x="637" y="267"/>
                  </a:lnTo>
                  <a:lnTo>
                    <a:pt x="639" y="272"/>
                  </a:lnTo>
                  <a:close/>
                  <a:moveTo>
                    <a:pt x="634" y="118"/>
                  </a:moveTo>
                  <a:lnTo>
                    <a:pt x="637" y="118"/>
                  </a:lnTo>
                  <a:lnTo>
                    <a:pt x="637" y="128"/>
                  </a:lnTo>
                  <a:lnTo>
                    <a:pt x="637" y="132"/>
                  </a:lnTo>
                  <a:lnTo>
                    <a:pt x="630" y="140"/>
                  </a:lnTo>
                  <a:lnTo>
                    <a:pt x="627" y="147"/>
                  </a:lnTo>
                  <a:lnTo>
                    <a:pt x="625" y="164"/>
                  </a:lnTo>
                  <a:lnTo>
                    <a:pt x="627" y="178"/>
                  </a:lnTo>
                  <a:lnTo>
                    <a:pt x="627" y="195"/>
                  </a:lnTo>
                  <a:lnTo>
                    <a:pt x="632" y="207"/>
                  </a:lnTo>
                  <a:lnTo>
                    <a:pt x="634" y="190"/>
                  </a:lnTo>
                  <a:lnTo>
                    <a:pt x="639" y="173"/>
                  </a:lnTo>
                  <a:lnTo>
                    <a:pt x="649" y="152"/>
                  </a:lnTo>
                  <a:lnTo>
                    <a:pt x="654" y="140"/>
                  </a:lnTo>
                  <a:lnTo>
                    <a:pt x="656" y="132"/>
                  </a:lnTo>
                  <a:lnTo>
                    <a:pt x="654" y="118"/>
                  </a:lnTo>
                  <a:lnTo>
                    <a:pt x="656" y="113"/>
                  </a:lnTo>
                  <a:lnTo>
                    <a:pt x="668" y="104"/>
                  </a:lnTo>
                  <a:lnTo>
                    <a:pt x="668" y="99"/>
                  </a:lnTo>
                  <a:lnTo>
                    <a:pt x="642" y="108"/>
                  </a:lnTo>
                  <a:lnTo>
                    <a:pt x="634" y="11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 name="Freeform 10"/>
            <p:cNvSpPr>
              <a:spLocks/>
            </p:cNvSpPr>
            <p:nvPr/>
          </p:nvSpPr>
          <p:spPr bwMode="auto">
            <a:xfrm>
              <a:off x="8158587" y="2636716"/>
              <a:ext cx="1020763" cy="782637"/>
            </a:xfrm>
            <a:custGeom>
              <a:avLst/>
              <a:gdLst>
                <a:gd name="T0" fmla="*/ 492 w 643"/>
                <a:gd name="T1" fmla="*/ 442 h 493"/>
                <a:gd name="T2" fmla="*/ 482 w 643"/>
                <a:gd name="T3" fmla="*/ 459 h 493"/>
                <a:gd name="T4" fmla="*/ 473 w 643"/>
                <a:gd name="T5" fmla="*/ 474 h 493"/>
                <a:gd name="T6" fmla="*/ 470 w 643"/>
                <a:gd name="T7" fmla="*/ 493 h 493"/>
                <a:gd name="T8" fmla="*/ 485 w 643"/>
                <a:gd name="T9" fmla="*/ 476 h 493"/>
                <a:gd name="T10" fmla="*/ 514 w 643"/>
                <a:gd name="T11" fmla="*/ 474 h 493"/>
                <a:gd name="T12" fmla="*/ 547 w 643"/>
                <a:gd name="T13" fmla="*/ 459 h 493"/>
                <a:gd name="T14" fmla="*/ 605 w 643"/>
                <a:gd name="T15" fmla="*/ 418 h 493"/>
                <a:gd name="T16" fmla="*/ 624 w 643"/>
                <a:gd name="T17" fmla="*/ 404 h 493"/>
                <a:gd name="T18" fmla="*/ 641 w 643"/>
                <a:gd name="T19" fmla="*/ 387 h 493"/>
                <a:gd name="T20" fmla="*/ 634 w 643"/>
                <a:gd name="T21" fmla="*/ 389 h 493"/>
                <a:gd name="T22" fmla="*/ 607 w 643"/>
                <a:gd name="T23" fmla="*/ 401 h 493"/>
                <a:gd name="T24" fmla="*/ 593 w 643"/>
                <a:gd name="T25" fmla="*/ 411 h 493"/>
                <a:gd name="T26" fmla="*/ 612 w 643"/>
                <a:gd name="T27" fmla="*/ 382 h 493"/>
                <a:gd name="T28" fmla="*/ 598 w 643"/>
                <a:gd name="T29" fmla="*/ 394 h 493"/>
                <a:gd name="T30" fmla="*/ 542 w 643"/>
                <a:gd name="T31" fmla="*/ 425 h 493"/>
                <a:gd name="T32" fmla="*/ 504 w 643"/>
                <a:gd name="T33" fmla="*/ 452 h 493"/>
                <a:gd name="T34" fmla="*/ 499 w 643"/>
                <a:gd name="T35" fmla="*/ 430 h 493"/>
                <a:gd name="T36" fmla="*/ 511 w 643"/>
                <a:gd name="T37" fmla="*/ 404 h 493"/>
                <a:gd name="T38" fmla="*/ 497 w 643"/>
                <a:gd name="T39" fmla="*/ 313 h 493"/>
                <a:gd name="T40" fmla="*/ 485 w 643"/>
                <a:gd name="T41" fmla="*/ 219 h 493"/>
                <a:gd name="T42" fmla="*/ 475 w 643"/>
                <a:gd name="T43" fmla="*/ 159 h 493"/>
                <a:gd name="T44" fmla="*/ 463 w 643"/>
                <a:gd name="T45" fmla="*/ 149 h 493"/>
                <a:gd name="T46" fmla="*/ 461 w 643"/>
                <a:gd name="T47" fmla="*/ 132 h 493"/>
                <a:gd name="T48" fmla="*/ 451 w 643"/>
                <a:gd name="T49" fmla="*/ 79 h 493"/>
                <a:gd name="T50" fmla="*/ 434 w 643"/>
                <a:gd name="T51" fmla="*/ 22 h 493"/>
                <a:gd name="T52" fmla="*/ 427 w 643"/>
                <a:gd name="T53" fmla="*/ 0 h 493"/>
                <a:gd name="T54" fmla="*/ 324 w 643"/>
                <a:gd name="T55" fmla="*/ 22 h 493"/>
                <a:gd name="T56" fmla="*/ 288 w 643"/>
                <a:gd name="T57" fmla="*/ 53 h 493"/>
                <a:gd name="T58" fmla="*/ 261 w 643"/>
                <a:gd name="T59" fmla="*/ 99 h 493"/>
                <a:gd name="T60" fmla="*/ 228 w 643"/>
                <a:gd name="T61" fmla="*/ 142 h 493"/>
                <a:gd name="T62" fmla="*/ 230 w 643"/>
                <a:gd name="T63" fmla="*/ 159 h 493"/>
                <a:gd name="T64" fmla="*/ 242 w 643"/>
                <a:gd name="T65" fmla="*/ 166 h 493"/>
                <a:gd name="T66" fmla="*/ 247 w 643"/>
                <a:gd name="T67" fmla="*/ 190 h 493"/>
                <a:gd name="T68" fmla="*/ 206 w 643"/>
                <a:gd name="T69" fmla="*/ 238 h 493"/>
                <a:gd name="T70" fmla="*/ 134 w 643"/>
                <a:gd name="T71" fmla="*/ 250 h 493"/>
                <a:gd name="T72" fmla="*/ 79 w 643"/>
                <a:gd name="T73" fmla="*/ 255 h 493"/>
                <a:gd name="T74" fmla="*/ 40 w 643"/>
                <a:gd name="T75" fmla="*/ 284 h 493"/>
                <a:gd name="T76" fmla="*/ 60 w 643"/>
                <a:gd name="T77" fmla="*/ 313 h 493"/>
                <a:gd name="T78" fmla="*/ 52 w 643"/>
                <a:gd name="T79" fmla="*/ 332 h 493"/>
                <a:gd name="T80" fmla="*/ 0 w 643"/>
                <a:gd name="T81" fmla="*/ 389 h 493"/>
                <a:gd name="T82" fmla="*/ 357 w 643"/>
                <a:gd name="T83" fmla="*/ 353 h 493"/>
                <a:gd name="T84" fmla="*/ 365 w 643"/>
                <a:gd name="T85" fmla="*/ 361 h 493"/>
                <a:gd name="T86" fmla="*/ 384 w 643"/>
                <a:gd name="T87" fmla="*/ 385 h 493"/>
                <a:gd name="T88" fmla="*/ 391 w 643"/>
                <a:gd name="T89" fmla="*/ 39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3" h="493">
                  <a:moveTo>
                    <a:pt x="417" y="406"/>
                  </a:moveTo>
                  <a:lnTo>
                    <a:pt x="487" y="430"/>
                  </a:lnTo>
                  <a:lnTo>
                    <a:pt x="492" y="442"/>
                  </a:lnTo>
                  <a:lnTo>
                    <a:pt x="487" y="447"/>
                  </a:lnTo>
                  <a:lnTo>
                    <a:pt x="482" y="452"/>
                  </a:lnTo>
                  <a:lnTo>
                    <a:pt x="482" y="459"/>
                  </a:lnTo>
                  <a:lnTo>
                    <a:pt x="482" y="471"/>
                  </a:lnTo>
                  <a:lnTo>
                    <a:pt x="478" y="471"/>
                  </a:lnTo>
                  <a:lnTo>
                    <a:pt x="473" y="474"/>
                  </a:lnTo>
                  <a:lnTo>
                    <a:pt x="468" y="488"/>
                  </a:lnTo>
                  <a:lnTo>
                    <a:pt x="468" y="493"/>
                  </a:lnTo>
                  <a:lnTo>
                    <a:pt x="470" y="493"/>
                  </a:lnTo>
                  <a:lnTo>
                    <a:pt x="473" y="490"/>
                  </a:lnTo>
                  <a:lnTo>
                    <a:pt x="475" y="488"/>
                  </a:lnTo>
                  <a:lnTo>
                    <a:pt x="485" y="476"/>
                  </a:lnTo>
                  <a:lnTo>
                    <a:pt x="492" y="478"/>
                  </a:lnTo>
                  <a:lnTo>
                    <a:pt x="506" y="478"/>
                  </a:lnTo>
                  <a:lnTo>
                    <a:pt x="514" y="474"/>
                  </a:lnTo>
                  <a:lnTo>
                    <a:pt x="526" y="471"/>
                  </a:lnTo>
                  <a:lnTo>
                    <a:pt x="538" y="464"/>
                  </a:lnTo>
                  <a:lnTo>
                    <a:pt x="547" y="459"/>
                  </a:lnTo>
                  <a:lnTo>
                    <a:pt x="557" y="452"/>
                  </a:lnTo>
                  <a:lnTo>
                    <a:pt x="595" y="425"/>
                  </a:lnTo>
                  <a:lnTo>
                    <a:pt x="605" y="418"/>
                  </a:lnTo>
                  <a:lnTo>
                    <a:pt x="612" y="411"/>
                  </a:lnTo>
                  <a:lnTo>
                    <a:pt x="619" y="409"/>
                  </a:lnTo>
                  <a:lnTo>
                    <a:pt x="624" y="404"/>
                  </a:lnTo>
                  <a:lnTo>
                    <a:pt x="634" y="399"/>
                  </a:lnTo>
                  <a:lnTo>
                    <a:pt x="638" y="397"/>
                  </a:lnTo>
                  <a:lnTo>
                    <a:pt x="641" y="387"/>
                  </a:lnTo>
                  <a:lnTo>
                    <a:pt x="643" y="382"/>
                  </a:lnTo>
                  <a:lnTo>
                    <a:pt x="641" y="382"/>
                  </a:lnTo>
                  <a:lnTo>
                    <a:pt x="634" y="389"/>
                  </a:lnTo>
                  <a:lnTo>
                    <a:pt x="624" y="392"/>
                  </a:lnTo>
                  <a:lnTo>
                    <a:pt x="614" y="397"/>
                  </a:lnTo>
                  <a:lnTo>
                    <a:pt x="607" y="401"/>
                  </a:lnTo>
                  <a:lnTo>
                    <a:pt x="605" y="409"/>
                  </a:lnTo>
                  <a:lnTo>
                    <a:pt x="595" y="413"/>
                  </a:lnTo>
                  <a:lnTo>
                    <a:pt x="593" y="411"/>
                  </a:lnTo>
                  <a:lnTo>
                    <a:pt x="598" y="404"/>
                  </a:lnTo>
                  <a:lnTo>
                    <a:pt x="605" y="397"/>
                  </a:lnTo>
                  <a:lnTo>
                    <a:pt x="612" y="382"/>
                  </a:lnTo>
                  <a:lnTo>
                    <a:pt x="610" y="380"/>
                  </a:lnTo>
                  <a:lnTo>
                    <a:pt x="602" y="387"/>
                  </a:lnTo>
                  <a:lnTo>
                    <a:pt x="598" y="394"/>
                  </a:lnTo>
                  <a:lnTo>
                    <a:pt x="593" y="399"/>
                  </a:lnTo>
                  <a:lnTo>
                    <a:pt x="571" y="411"/>
                  </a:lnTo>
                  <a:lnTo>
                    <a:pt x="542" y="425"/>
                  </a:lnTo>
                  <a:lnTo>
                    <a:pt x="521" y="438"/>
                  </a:lnTo>
                  <a:lnTo>
                    <a:pt x="511" y="440"/>
                  </a:lnTo>
                  <a:lnTo>
                    <a:pt x="504" y="452"/>
                  </a:lnTo>
                  <a:lnTo>
                    <a:pt x="499" y="450"/>
                  </a:lnTo>
                  <a:lnTo>
                    <a:pt x="497" y="440"/>
                  </a:lnTo>
                  <a:lnTo>
                    <a:pt x="499" y="430"/>
                  </a:lnTo>
                  <a:lnTo>
                    <a:pt x="506" y="425"/>
                  </a:lnTo>
                  <a:lnTo>
                    <a:pt x="499" y="416"/>
                  </a:lnTo>
                  <a:lnTo>
                    <a:pt x="511" y="404"/>
                  </a:lnTo>
                  <a:lnTo>
                    <a:pt x="514" y="397"/>
                  </a:lnTo>
                  <a:lnTo>
                    <a:pt x="506" y="389"/>
                  </a:lnTo>
                  <a:lnTo>
                    <a:pt x="497" y="313"/>
                  </a:lnTo>
                  <a:lnTo>
                    <a:pt x="494" y="310"/>
                  </a:lnTo>
                  <a:lnTo>
                    <a:pt x="494" y="236"/>
                  </a:lnTo>
                  <a:lnTo>
                    <a:pt x="485" y="219"/>
                  </a:lnTo>
                  <a:lnTo>
                    <a:pt x="480" y="200"/>
                  </a:lnTo>
                  <a:lnTo>
                    <a:pt x="480" y="185"/>
                  </a:lnTo>
                  <a:lnTo>
                    <a:pt x="475" y="159"/>
                  </a:lnTo>
                  <a:lnTo>
                    <a:pt x="466" y="144"/>
                  </a:lnTo>
                  <a:lnTo>
                    <a:pt x="461" y="144"/>
                  </a:lnTo>
                  <a:lnTo>
                    <a:pt x="463" y="149"/>
                  </a:lnTo>
                  <a:lnTo>
                    <a:pt x="461" y="149"/>
                  </a:lnTo>
                  <a:lnTo>
                    <a:pt x="458" y="144"/>
                  </a:lnTo>
                  <a:lnTo>
                    <a:pt x="461" y="132"/>
                  </a:lnTo>
                  <a:lnTo>
                    <a:pt x="446" y="101"/>
                  </a:lnTo>
                  <a:lnTo>
                    <a:pt x="446" y="89"/>
                  </a:lnTo>
                  <a:lnTo>
                    <a:pt x="451" y="79"/>
                  </a:lnTo>
                  <a:lnTo>
                    <a:pt x="446" y="55"/>
                  </a:lnTo>
                  <a:lnTo>
                    <a:pt x="434" y="24"/>
                  </a:lnTo>
                  <a:lnTo>
                    <a:pt x="434" y="22"/>
                  </a:lnTo>
                  <a:lnTo>
                    <a:pt x="429" y="17"/>
                  </a:lnTo>
                  <a:lnTo>
                    <a:pt x="432" y="12"/>
                  </a:lnTo>
                  <a:lnTo>
                    <a:pt x="427" y="0"/>
                  </a:lnTo>
                  <a:lnTo>
                    <a:pt x="427" y="0"/>
                  </a:lnTo>
                  <a:lnTo>
                    <a:pt x="326" y="27"/>
                  </a:lnTo>
                  <a:lnTo>
                    <a:pt x="324" y="22"/>
                  </a:lnTo>
                  <a:lnTo>
                    <a:pt x="319" y="24"/>
                  </a:lnTo>
                  <a:lnTo>
                    <a:pt x="312" y="29"/>
                  </a:lnTo>
                  <a:lnTo>
                    <a:pt x="288" y="53"/>
                  </a:lnTo>
                  <a:lnTo>
                    <a:pt x="264" y="87"/>
                  </a:lnTo>
                  <a:lnTo>
                    <a:pt x="259" y="94"/>
                  </a:lnTo>
                  <a:lnTo>
                    <a:pt x="261" y="99"/>
                  </a:lnTo>
                  <a:lnTo>
                    <a:pt x="257" y="111"/>
                  </a:lnTo>
                  <a:lnTo>
                    <a:pt x="252" y="118"/>
                  </a:lnTo>
                  <a:lnTo>
                    <a:pt x="228" y="142"/>
                  </a:lnTo>
                  <a:lnTo>
                    <a:pt x="225" y="147"/>
                  </a:lnTo>
                  <a:lnTo>
                    <a:pt x="228" y="156"/>
                  </a:lnTo>
                  <a:lnTo>
                    <a:pt x="230" y="159"/>
                  </a:lnTo>
                  <a:lnTo>
                    <a:pt x="237" y="159"/>
                  </a:lnTo>
                  <a:lnTo>
                    <a:pt x="242" y="161"/>
                  </a:lnTo>
                  <a:lnTo>
                    <a:pt x="242" y="166"/>
                  </a:lnTo>
                  <a:lnTo>
                    <a:pt x="237" y="173"/>
                  </a:lnTo>
                  <a:lnTo>
                    <a:pt x="240" y="180"/>
                  </a:lnTo>
                  <a:lnTo>
                    <a:pt x="247" y="190"/>
                  </a:lnTo>
                  <a:lnTo>
                    <a:pt x="245" y="204"/>
                  </a:lnTo>
                  <a:lnTo>
                    <a:pt x="228" y="212"/>
                  </a:lnTo>
                  <a:lnTo>
                    <a:pt x="206" y="238"/>
                  </a:lnTo>
                  <a:lnTo>
                    <a:pt x="187" y="243"/>
                  </a:lnTo>
                  <a:lnTo>
                    <a:pt x="149" y="255"/>
                  </a:lnTo>
                  <a:lnTo>
                    <a:pt x="134" y="250"/>
                  </a:lnTo>
                  <a:lnTo>
                    <a:pt x="122" y="248"/>
                  </a:lnTo>
                  <a:lnTo>
                    <a:pt x="100" y="250"/>
                  </a:lnTo>
                  <a:lnTo>
                    <a:pt x="79" y="255"/>
                  </a:lnTo>
                  <a:lnTo>
                    <a:pt x="55" y="262"/>
                  </a:lnTo>
                  <a:lnTo>
                    <a:pt x="45" y="272"/>
                  </a:lnTo>
                  <a:lnTo>
                    <a:pt x="40" y="284"/>
                  </a:lnTo>
                  <a:lnTo>
                    <a:pt x="40" y="293"/>
                  </a:lnTo>
                  <a:lnTo>
                    <a:pt x="55" y="310"/>
                  </a:lnTo>
                  <a:lnTo>
                    <a:pt x="60" y="313"/>
                  </a:lnTo>
                  <a:lnTo>
                    <a:pt x="60" y="320"/>
                  </a:lnTo>
                  <a:lnTo>
                    <a:pt x="57" y="327"/>
                  </a:lnTo>
                  <a:lnTo>
                    <a:pt x="52" y="332"/>
                  </a:lnTo>
                  <a:lnTo>
                    <a:pt x="45" y="346"/>
                  </a:lnTo>
                  <a:lnTo>
                    <a:pt x="14" y="380"/>
                  </a:lnTo>
                  <a:lnTo>
                    <a:pt x="0" y="389"/>
                  </a:lnTo>
                  <a:lnTo>
                    <a:pt x="7" y="418"/>
                  </a:lnTo>
                  <a:lnTo>
                    <a:pt x="350" y="349"/>
                  </a:lnTo>
                  <a:lnTo>
                    <a:pt x="357" y="353"/>
                  </a:lnTo>
                  <a:lnTo>
                    <a:pt x="360" y="358"/>
                  </a:lnTo>
                  <a:lnTo>
                    <a:pt x="362" y="361"/>
                  </a:lnTo>
                  <a:lnTo>
                    <a:pt x="365" y="361"/>
                  </a:lnTo>
                  <a:lnTo>
                    <a:pt x="367" y="363"/>
                  </a:lnTo>
                  <a:lnTo>
                    <a:pt x="372" y="365"/>
                  </a:lnTo>
                  <a:lnTo>
                    <a:pt x="384" y="385"/>
                  </a:lnTo>
                  <a:lnTo>
                    <a:pt x="386" y="394"/>
                  </a:lnTo>
                  <a:lnTo>
                    <a:pt x="389" y="397"/>
                  </a:lnTo>
                  <a:lnTo>
                    <a:pt x="391" y="399"/>
                  </a:lnTo>
                  <a:lnTo>
                    <a:pt x="410" y="401"/>
                  </a:lnTo>
                  <a:lnTo>
                    <a:pt x="417" y="40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7" name="Freeform 11"/>
            <p:cNvSpPr>
              <a:spLocks/>
            </p:cNvSpPr>
            <p:nvPr/>
          </p:nvSpPr>
          <p:spPr bwMode="auto">
            <a:xfrm>
              <a:off x="7356899" y="5230691"/>
              <a:ext cx="1231900" cy="935037"/>
            </a:xfrm>
            <a:custGeom>
              <a:avLst/>
              <a:gdLst>
                <a:gd name="T0" fmla="*/ 3 w 776"/>
                <a:gd name="T1" fmla="*/ 51 h 589"/>
                <a:gd name="T2" fmla="*/ 0 w 776"/>
                <a:gd name="T3" fmla="*/ 63 h 589"/>
                <a:gd name="T4" fmla="*/ 15 w 776"/>
                <a:gd name="T5" fmla="*/ 77 h 589"/>
                <a:gd name="T6" fmla="*/ 20 w 776"/>
                <a:gd name="T7" fmla="*/ 97 h 589"/>
                <a:gd name="T8" fmla="*/ 27 w 776"/>
                <a:gd name="T9" fmla="*/ 104 h 589"/>
                <a:gd name="T10" fmla="*/ 22 w 776"/>
                <a:gd name="T11" fmla="*/ 118 h 589"/>
                <a:gd name="T12" fmla="*/ 41 w 776"/>
                <a:gd name="T13" fmla="*/ 111 h 589"/>
                <a:gd name="T14" fmla="*/ 53 w 776"/>
                <a:gd name="T15" fmla="*/ 97 h 589"/>
                <a:gd name="T16" fmla="*/ 65 w 776"/>
                <a:gd name="T17" fmla="*/ 97 h 589"/>
                <a:gd name="T18" fmla="*/ 58 w 776"/>
                <a:gd name="T19" fmla="*/ 109 h 589"/>
                <a:gd name="T20" fmla="*/ 118 w 776"/>
                <a:gd name="T21" fmla="*/ 89 h 589"/>
                <a:gd name="T22" fmla="*/ 118 w 776"/>
                <a:gd name="T23" fmla="*/ 101 h 589"/>
                <a:gd name="T24" fmla="*/ 156 w 776"/>
                <a:gd name="T25" fmla="*/ 111 h 589"/>
                <a:gd name="T26" fmla="*/ 180 w 776"/>
                <a:gd name="T27" fmla="*/ 116 h 589"/>
                <a:gd name="T28" fmla="*/ 200 w 776"/>
                <a:gd name="T29" fmla="*/ 121 h 589"/>
                <a:gd name="T30" fmla="*/ 200 w 776"/>
                <a:gd name="T31" fmla="*/ 125 h 589"/>
                <a:gd name="T32" fmla="*/ 226 w 776"/>
                <a:gd name="T33" fmla="*/ 154 h 589"/>
                <a:gd name="T34" fmla="*/ 219 w 776"/>
                <a:gd name="T35" fmla="*/ 161 h 589"/>
                <a:gd name="T36" fmla="*/ 216 w 776"/>
                <a:gd name="T37" fmla="*/ 166 h 589"/>
                <a:gd name="T38" fmla="*/ 257 w 776"/>
                <a:gd name="T39" fmla="*/ 154 h 589"/>
                <a:gd name="T40" fmla="*/ 313 w 776"/>
                <a:gd name="T41" fmla="*/ 130 h 589"/>
                <a:gd name="T42" fmla="*/ 315 w 776"/>
                <a:gd name="T43" fmla="*/ 111 h 589"/>
                <a:gd name="T44" fmla="*/ 387 w 776"/>
                <a:gd name="T45" fmla="*/ 135 h 589"/>
                <a:gd name="T46" fmla="*/ 435 w 776"/>
                <a:gd name="T47" fmla="*/ 178 h 589"/>
                <a:gd name="T48" fmla="*/ 466 w 776"/>
                <a:gd name="T49" fmla="*/ 190 h 589"/>
                <a:gd name="T50" fmla="*/ 483 w 776"/>
                <a:gd name="T51" fmla="*/ 224 h 589"/>
                <a:gd name="T52" fmla="*/ 481 w 776"/>
                <a:gd name="T53" fmla="*/ 303 h 589"/>
                <a:gd name="T54" fmla="*/ 502 w 776"/>
                <a:gd name="T55" fmla="*/ 344 h 589"/>
                <a:gd name="T56" fmla="*/ 497 w 776"/>
                <a:gd name="T57" fmla="*/ 315 h 589"/>
                <a:gd name="T58" fmla="*/ 514 w 776"/>
                <a:gd name="T59" fmla="*/ 325 h 589"/>
                <a:gd name="T60" fmla="*/ 521 w 776"/>
                <a:gd name="T61" fmla="*/ 315 h 589"/>
                <a:gd name="T62" fmla="*/ 521 w 776"/>
                <a:gd name="T63" fmla="*/ 334 h 589"/>
                <a:gd name="T64" fmla="*/ 507 w 776"/>
                <a:gd name="T65" fmla="*/ 361 h 589"/>
                <a:gd name="T66" fmla="*/ 521 w 776"/>
                <a:gd name="T67" fmla="*/ 385 h 589"/>
                <a:gd name="T68" fmla="*/ 560 w 776"/>
                <a:gd name="T69" fmla="*/ 431 h 589"/>
                <a:gd name="T70" fmla="*/ 574 w 776"/>
                <a:gd name="T71" fmla="*/ 435 h 589"/>
                <a:gd name="T72" fmla="*/ 591 w 776"/>
                <a:gd name="T73" fmla="*/ 467 h 589"/>
                <a:gd name="T74" fmla="*/ 622 w 776"/>
                <a:gd name="T75" fmla="*/ 517 h 589"/>
                <a:gd name="T76" fmla="*/ 680 w 776"/>
                <a:gd name="T77" fmla="*/ 558 h 589"/>
                <a:gd name="T78" fmla="*/ 702 w 776"/>
                <a:gd name="T79" fmla="*/ 570 h 589"/>
                <a:gd name="T80" fmla="*/ 694 w 776"/>
                <a:gd name="T81" fmla="*/ 575 h 589"/>
                <a:gd name="T82" fmla="*/ 687 w 776"/>
                <a:gd name="T83" fmla="*/ 582 h 589"/>
                <a:gd name="T84" fmla="*/ 709 w 776"/>
                <a:gd name="T85" fmla="*/ 584 h 589"/>
                <a:gd name="T86" fmla="*/ 764 w 776"/>
                <a:gd name="T87" fmla="*/ 553 h 589"/>
                <a:gd name="T88" fmla="*/ 762 w 776"/>
                <a:gd name="T89" fmla="*/ 520 h 589"/>
                <a:gd name="T90" fmla="*/ 766 w 776"/>
                <a:gd name="T91" fmla="*/ 467 h 589"/>
                <a:gd name="T92" fmla="*/ 762 w 776"/>
                <a:gd name="T93" fmla="*/ 387 h 589"/>
                <a:gd name="T94" fmla="*/ 714 w 776"/>
                <a:gd name="T95" fmla="*/ 306 h 589"/>
                <a:gd name="T96" fmla="*/ 692 w 776"/>
                <a:gd name="T97" fmla="*/ 267 h 589"/>
                <a:gd name="T98" fmla="*/ 692 w 776"/>
                <a:gd name="T99" fmla="*/ 238 h 589"/>
                <a:gd name="T100" fmla="*/ 651 w 776"/>
                <a:gd name="T101" fmla="*/ 183 h 589"/>
                <a:gd name="T102" fmla="*/ 622 w 776"/>
                <a:gd name="T103" fmla="*/ 149 h 589"/>
                <a:gd name="T104" fmla="*/ 579 w 776"/>
                <a:gd name="T105" fmla="*/ 53 h 589"/>
                <a:gd name="T106" fmla="*/ 569 w 776"/>
                <a:gd name="T107" fmla="*/ 39 h 589"/>
                <a:gd name="T108" fmla="*/ 557 w 776"/>
                <a:gd name="T109" fmla="*/ 10 h 589"/>
                <a:gd name="T110" fmla="*/ 517 w 776"/>
                <a:gd name="T111" fmla="*/ 5 h 589"/>
                <a:gd name="T112" fmla="*/ 521 w 776"/>
                <a:gd name="T113" fmla="*/ 41 h 589"/>
                <a:gd name="T114" fmla="*/ 502 w 776"/>
                <a:gd name="T115" fmla="*/ 48 h 589"/>
                <a:gd name="T116" fmla="*/ 248 w 776"/>
                <a:gd name="T117" fmla="*/ 44 h 589"/>
                <a:gd name="T118" fmla="*/ 238 w 776"/>
                <a:gd name="T119" fmla="*/ 22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6" h="589">
                  <a:moveTo>
                    <a:pt x="238" y="22"/>
                  </a:moveTo>
                  <a:lnTo>
                    <a:pt x="3" y="46"/>
                  </a:lnTo>
                  <a:lnTo>
                    <a:pt x="3" y="51"/>
                  </a:lnTo>
                  <a:lnTo>
                    <a:pt x="3" y="53"/>
                  </a:lnTo>
                  <a:lnTo>
                    <a:pt x="0" y="56"/>
                  </a:lnTo>
                  <a:lnTo>
                    <a:pt x="0" y="63"/>
                  </a:lnTo>
                  <a:lnTo>
                    <a:pt x="8" y="73"/>
                  </a:lnTo>
                  <a:lnTo>
                    <a:pt x="12" y="77"/>
                  </a:lnTo>
                  <a:lnTo>
                    <a:pt x="15" y="77"/>
                  </a:lnTo>
                  <a:lnTo>
                    <a:pt x="22" y="85"/>
                  </a:lnTo>
                  <a:lnTo>
                    <a:pt x="24" y="87"/>
                  </a:lnTo>
                  <a:lnTo>
                    <a:pt x="20" y="97"/>
                  </a:lnTo>
                  <a:lnTo>
                    <a:pt x="20" y="99"/>
                  </a:lnTo>
                  <a:lnTo>
                    <a:pt x="24" y="101"/>
                  </a:lnTo>
                  <a:lnTo>
                    <a:pt x="27" y="104"/>
                  </a:lnTo>
                  <a:lnTo>
                    <a:pt x="27" y="106"/>
                  </a:lnTo>
                  <a:lnTo>
                    <a:pt x="22" y="111"/>
                  </a:lnTo>
                  <a:lnTo>
                    <a:pt x="22" y="118"/>
                  </a:lnTo>
                  <a:lnTo>
                    <a:pt x="24" y="121"/>
                  </a:lnTo>
                  <a:lnTo>
                    <a:pt x="36" y="116"/>
                  </a:lnTo>
                  <a:lnTo>
                    <a:pt x="41" y="111"/>
                  </a:lnTo>
                  <a:lnTo>
                    <a:pt x="46" y="99"/>
                  </a:lnTo>
                  <a:lnTo>
                    <a:pt x="48" y="94"/>
                  </a:lnTo>
                  <a:lnTo>
                    <a:pt x="53" y="97"/>
                  </a:lnTo>
                  <a:lnTo>
                    <a:pt x="60" y="97"/>
                  </a:lnTo>
                  <a:lnTo>
                    <a:pt x="63" y="94"/>
                  </a:lnTo>
                  <a:lnTo>
                    <a:pt x="65" y="97"/>
                  </a:lnTo>
                  <a:lnTo>
                    <a:pt x="65" y="99"/>
                  </a:lnTo>
                  <a:lnTo>
                    <a:pt x="56" y="106"/>
                  </a:lnTo>
                  <a:lnTo>
                    <a:pt x="58" y="109"/>
                  </a:lnTo>
                  <a:lnTo>
                    <a:pt x="65" y="106"/>
                  </a:lnTo>
                  <a:lnTo>
                    <a:pt x="77" y="104"/>
                  </a:lnTo>
                  <a:lnTo>
                    <a:pt x="118" y="89"/>
                  </a:lnTo>
                  <a:lnTo>
                    <a:pt x="125" y="89"/>
                  </a:lnTo>
                  <a:lnTo>
                    <a:pt x="125" y="94"/>
                  </a:lnTo>
                  <a:lnTo>
                    <a:pt x="118" y="101"/>
                  </a:lnTo>
                  <a:lnTo>
                    <a:pt x="120" y="101"/>
                  </a:lnTo>
                  <a:lnTo>
                    <a:pt x="140" y="104"/>
                  </a:lnTo>
                  <a:lnTo>
                    <a:pt x="156" y="111"/>
                  </a:lnTo>
                  <a:lnTo>
                    <a:pt x="176" y="121"/>
                  </a:lnTo>
                  <a:lnTo>
                    <a:pt x="180" y="121"/>
                  </a:lnTo>
                  <a:lnTo>
                    <a:pt x="180" y="116"/>
                  </a:lnTo>
                  <a:lnTo>
                    <a:pt x="185" y="111"/>
                  </a:lnTo>
                  <a:lnTo>
                    <a:pt x="188" y="118"/>
                  </a:lnTo>
                  <a:lnTo>
                    <a:pt x="200" y="121"/>
                  </a:lnTo>
                  <a:lnTo>
                    <a:pt x="202" y="123"/>
                  </a:lnTo>
                  <a:lnTo>
                    <a:pt x="202" y="123"/>
                  </a:lnTo>
                  <a:lnTo>
                    <a:pt x="200" y="125"/>
                  </a:lnTo>
                  <a:lnTo>
                    <a:pt x="200" y="130"/>
                  </a:lnTo>
                  <a:lnTo>
                    <a:pt x="224" y="147"/>
                  </a:lnTo>
                  <a:lnTo>
                    <a:pt x="226" y="154"/>
                  </a:lnTo>
                  <a:lnTo>
                    <a:pt x="224" y="159"/>
                  </a:lnTo>
                  <a:lnTo>
                    <a:pt x="224" y="164"/>
                  </a:lnTo>
                  <a:lnTo>
                    <a:pt x="219" y="161"/>
                  </a:lnTo>
                  <a:lnTo>
                    <a:pt x="219" y="157"/>
                  </a:lnTo>
                  <a:lnTo>
                    <a:pt x="216" y="161"/>
                  </a:lnTo>
                  <a:lnTo>
                    <a:pt x="216" y="166"/>
                  </a:lnTo>
                  <a:lnTo>
                    <a:pt x="221" y="166"/>
                  </a:lnTo>
                  <a:lnTo>
                    <a:pt x="255" y="159"/>
                  </a:lnTo>
                  <a:lnTo>
                    <a:pt x="257" y="154"/>
                  </a:lnTo>
                  <a:lnTo>
                    <a:pt x="269" y="154"/>
                  </a:lnTo>
                  <a:lnTo>
                    <a:pt x="296" y="130"/>
                  </a:lnTo>
                  <a:lnTo>
                    <a:pt x="313" y="130"/>
                  </a:lnTo>
                  <a:lnTo>
                    <a:pt x="313" y="128"/>
                  </a:lnTo>
                  <a:lnTo>
                    <a:pt x="310" y="123"/>
                  </a:lnTo>
                  <a:lnTo>
                    <a:pt x="315" y="111"/>
                  </a:lnTo>
                  <a:lnTo>
                    <a:pt x="344" y="109"/>
                  </a:lnTo>
                  <a:lnTo>
                    <a:pt x="387" y="130"/>
                  </a:lnTo>
                  <a:lnTo>
                    <a:pt x="387" y="135"/>
                  </a:lnTo>
                  <a:lnTo>
                    <a:pt x="399" y="145"/>
                  </a:lnTo>
                  <a:lnTo>
                    <a:pt x="409" y="159"/>
                  </a:lnTo>
                  <a:lnTo>
                    <a:pt x="435" y="178"/>
                  </a:lnTo>
                  <a:lnTo>
                    <a:pt x="437" y="185"/>
                  </a:lnTo>
                  <a:lnTo>
                    <a:pt x="445" y="193"/>
                  </a:lnTo>
                  <a:lnTo>
                    <a:pt x="466" y="190"/>
                  </a:lnTo>
                  <a:lnTo>
                    <a:pt x="481" y="214"/>
                  </a:lnTo>
                  <a:lnTo>
                    <a:pt x="485" y="217"/>
                  </a:lnTo>
                  <a:lnTo>
                    <a:pt x="483" y="224"/>
                  </a:lnTo>
                  <a:lnTo>
                    <a:pt x="490" y="248"/>
                  </a:lnTo>
                  <a:lnTo>
                    <a:pt x="488" y="274"/>
                  </a:lnTo>
                  <a:lnTo>
                    <a:pt x="481" y="303"/>
                  </a:lnTo>
                  <a:lnTo>
                    <a:pt x="483" y="325"/>
                  </a:lnTo>
                  <a:lnTo>
                    <a:pt x="485" y="332"/>
                  </a:lnTo>
                  <a:lnTo>
                    <a:pt x="502" y="344"/>
                  </a:lnTo>
                  <a:lnTo>
                    <a:pt x="507" y="334"/>
                  </a:lnTo>
                  <a:lnTo>
                    <a:pt x="502" y="330"/>
                  </a:lnTo>
                  <a:lnTo>
                    <a:pt x="497" y="315"/>
                  </a:lnTo>
                  <a:lnTo>
                    <a:pt x="497" y="313"/>
                  </a:lnTo>
                  <a:lnTo>
                    <a:pt x="507" y="310"/>
                  </a:lnTo>
                  <a:lnTo>
                    <a:pt x="514" y="325"/>
                  </a:lnTo>
                  <a:lnTo>
                    <a:pt x="519" y="325"/>
                  </a:lnTo>
                  <a:lnTo>
                    <a:pt x="519" y="318"/>
                  </a:lnTo>
                  <a:lnTo>
                    <a:pt x="521" y="315"/>
                  </a:lnTo>
                  <a:lnTo>
                    <a:pt x="526" y="320"/>
                  </a:lnTo>
                  <a:lnTo>
                    <a:pt x="526" y="327"/>
                  </a:lnTo>
                  <a:lnTo>
                    <a:pt x="521" y="334"/>
                  </a:lnTo>
                  <a:lnTo>
                    <a:pt x="517" y="339"/>
                  </a:lnTo>
                  <a:lnTo>
                    <a:pt x="512" y="359"/>
                  </a:lnTo>
                  <a:lnTo>
                    <a:pt x="507" y="361"/>
                  </a:lnTo>
                  <a:lnTo>
                    <a:pt x="507" y="368"/>
                  </a:lnTo>
                  <a:lnTo>
                    <a:pt x="512" y="375"/>
                  </a:lnTo>
                  <a:lnTo>
                    <a:pt x="521" y="385"/>
                  </a:lnTo>
                  <a:lnTo>
                    <a:pt x="536" y="416"/>
                  </a:lnTo>
                  <a:lnTo>
                    <a:pt x="557" y="431"/>
                  </a:lnTo>
                  <a:lnTo>
                    <a:pt x="560" y="431"/>
                  </a:lnTo>
                  <a:lnTo>
                    <a:pt x="562" y="421"/>
                  </a:lnTo>
                  <a:lnTo>
                    <a:pt x="569" y="421"/>
                  </a:lnTo>
                  <a:lnTo>
                    <a:pt x="574" y="435"/>
                  </a:lnTo>
                  <a:lnTo>
                    <a:pt x="574" y="443"/>
                  </a:lnTo>
                  <a:lnTo>
                    <a:pt x="581" y="459"/>
                  </a:lnTo>
                  <a:lnTo>
                    <a:pt x="591" y="467"/>
                  </a:lnTo>
                  <a:lnTo>
                    <a:pt x="601" y="469"/>
                  </a:lnTo>
                  <a:lnTo>
                    <a:pt x="617" y="515"/>
                  </a:lnTo>
                  <a:lnTo>
                    <a:pt x="622" y="517"/>
                  </a:lnTo>
                  <a:lnTo>
                    <a:pt x="644" y="522"/>
                  </a:lnTo>
                  <a:lnTo>
                    <a:pt x="654" y="527"/>
                  </a:lnTo>
                  <a:lnTo>
                    <a:pt x="680" y="558"/>
                  </a:lnTo>
                  <a:lnTo>
                    <a:pt x="690" y="565"/>
                  </a:lnTo>
                  <a:lnTo>
                    <a:pt x="694" y="565"/>
                  </a:lnTo>
                  <a:lnTo>
                    <a:pt x="702" y="570"/>
                  </a:lnTo>
                  <a:lnTo>
                    <a:pt x="704" y="575"/>
                  </a:lnTo>
                  <a:lnTo>
                    <a:pt x="697" y="577"/>
                  </a:lnTo>
                  <a:lnTo>
                    <a:pt x="694" y="575"/>
                  </a:lnTo>
                  <a:lnTo>
                    <a:pt x="692" y="575"/>
                  </a:lnTo>
                  <a:lnTo>
                    <a:pt x="687" y="577"/>
                  </a:lnTo>
                  <a:lnTo>
                    <a:pt x="687" y="582"/>
                  </a:lnTo>
                  <a:lnTo>
                    <a:pt x="690" y="584"/>
                  </a:lnTo>
                  <a:lnTo>
                    <a:pt x="704" y="589"/>
                  </a:lnTo>
                  <a:lnTo>
                    <a:pt x="709" y="584"/>
                  </a:lnTo>
                  <a:lnTo>
                    <a:pt x="721" y="582"/>
                  </a:lnTo>
                  <a:lnTo>
                    <a:pt x="757" y="570"/>
                  </a:lnTo>
                  <a:lnTo>
                    <a:pt x="764" y="553"/>
                  </a:lnTo>
                  <a:lnTo>
                    <a:pt x="766" y="551"/>
                  </a:lnTo>
                  <a:lnTo>
                    <a:pt x="762" y="529"/>
                  </a:lnTo>
                  <a:lnTo>
                    <a:pt x="762" y="520"/>
                  </a:lnTo>
                  <a:lnTo>
                    <a:pt x="769" y="503"/>
                  </a:lnTo>
                  <a:lnTo>
                    <a:pt x="776" y="505"/>
                  </a:lnTo>
                  <a:lnTo>
                    <a:pt x="766" y="467"/>
                  </a:lnTo>
                  <a:lnTo>
                    <a:pt x="769" y="450"/>
                  </a:lnTo>
                  <a:lnTo>
                    <a:pt x="769" y="414"/>
                  </a:lnTo>
                  <a:lnTo>
                    <a:pt x="762" y="387"/>
                  </a:lnTo>
                  <a:lnTo>
                    <a:pt x="757" y="375"/>
                  </a:lnTo>
                  <a:lnTo>
                    <a:pt x="730" y="344"/>
                  </a:lnTo>
                  <a:lnTo>
                    <a:pt x="714" y="306"/>
                  </a:lnTo>
                  <a:lnTo>
                    <a:pt x="694" y="279"/>
                  </a:lnTo>
                  <a:lnTo>
                    <a:pt x="694" y="274"/>
                  </a:lnTo>
                  <a:lnTo>
                    <a:pt x="692" y="267"/>
                  </a:lnTo>
                  <a:lnTo>
                    <a:pt x="687" y="253"/>
                  </a:lnTo>
                  <a:lnTo>
                    <a:pt x="687" y="248"/>
                  </a:lnTo>
                  <a:lnTo>
                    <a:pt x="692" y="238"/>
                  </a:lnTo>
                  <a:lnTo>
                    <a:pt x="692" y="234"/>
                  </a:lnTo>
                  <a:lnTo>
                    <a:pt x="668" y="197"/>
                  </a:lnTo>
                  <a:lnTo>
                    <a:pt x="651" y="183"/>
                  </a:lnTo>
                  <a:lnTo>
                    <a:pt x="642" y="178"/>
                  </a:lnTo>
                  <a:lnTo>
                    <a:pt x="639" y="173"/>
                  </a:lnTo>
                  <a:lnTo>
                    <a:pt x="622" y="149"/>
                  </a:lnTo>
                  <a:lnTo>
                    <a:pt x="601" y="109"/>
                  </a:lnTo>
                  <a:lnTo>
                    <a:pt x="593" y="87"/>
                  </a:lnTo>
                  <a:lnTo>
                    <a:pt x="579" y="53"/>
                  </a:lnTo>
                  <a:lnTo>
                    <a:pt x="579" y="48"/>
                  </a:lnTo>
                  <a:lnTo>
                    <a:pt x="574" y="41"/>
                  </a:lnTo>
                  <a:lnTo>
                    <a:pt x="569" y="39"/>
                  </a:lnTo>
                  <a:lnTo>
                    <a:pt x="567" y="17"/>
                  </a:lnTo>
                  <a:lnTo>
                    <a:pt x="565" y="8"/>
                  </a:lnTo>
                  <a:lnTo>
                    <a:pt x="557" y="10"/>
                  </a:lnTo>
                  <a:lnTo>
                    <a:pt x="541" y="10"/>
                  </a:lnTo>
                  <a:lnTo>
                    <a:pt x="524" y="0"/>
                  </a:lnTo>
                  <a:lnTo>
                    <a:pt x="517" y="5"/>
                  </a:lnTo>
                  <a:lnTo>
                    <a:pt x="514" y="10"/>
                  </a:lnTo>
                  <a:lnTo>
                    <a:pt x="514" y="20"/>
                  </a:lnTo>
                  <a:lnTo>
                    <a:pt x="521" y="41"/>
                  </a:lnTo>
                  <a:lnTo>
                    <a:pt x="519" y="56"/>
                  </a:lnTo>
                  <a:lnTo>
                    <a:pt x="505" y="53"/>
                  </a:lnTo>
                  <a:lnTo>
                    <a:pt x="502" y="48"/>
                  </a:lnTo>
                  <a:lnTo>
                    <a:pt x="497" y="36"/>
                  </a:lnTo>
                  <a:lnTo>
                    <a:pt x="252" y="51"/>
                  </a:lnTo>
                  <a:lnTo>
                    <a:pt x="248" y="44"/>
                  </a:lnTo>
                  <a:lnTo>
                    <a:pt x="248" y="36"/>
                  </a:lnTo>
                  <a:lnTo>
                    <a:pt x="240" y="27"/>
                  </a:lnTo>
                  <a:lnTo>
                    <a:pt x="238" y="2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 name="Freeform 12"/>
            <p:cNvSpPr>
              <a:spLocks/>
            </p:cNvSpPr>
            <p:nvPr/>
          </p:nvSpPr>
          <p:spPr bwMode="auto">
            <a:xfrm>
              <a:off x="4242224" y="4213104"/>
              <a:ext cx="946150" cy="976312"/>
            </a:xfrm>
            <a:custGeom>
              <a:avLst/>
              <a:gdLst>
                <a:gd name="T0" fmla="*/ 87 w 596"/>
                <a:gd name="T1" fmla="*/ 0 h 615"/>
                <a:gd name="T2" fmla="*/ 0 w 596"/>
                <a:gd name="T3" fmla="*/ 605 h 615"/>
                <a:gd name="T4" fmla="*/ 0 w 596"/>
                <a:gd name="T5" fmla="*/ 608 h 615"/>
                <a:gd name="T6" fmla="*/ 80 w 596"/>
                <a:gd name="T7" fmla="*/ 615 h 615"/>
                <a:gd name="T8" fmla="*/ 84 w 596"/>
                <a:gd name="T9" fmla="*/ 569 h 615"/>
                <a:gd name="T10" fmla="*/ 233 w 596"/>
                <a:gd name="T11" fmla="*/ 586 h 615"/>
                <a:gd name="T12" fmla="*/ 231 w 596"/>
                <a:gd name="T13" fmla="*/ 586 h 615"/>
                <a:gd name="T14" fmla="*/ 226 w 596"/>
                <a:gd name="T15" fmla="*/ 577 h 615"/>
                <a:gd name="T16" fmla="*/ 231 w 596"/>
                <a:gd name="T17" fmla="*/ 569 h 615"/>
                <a:gd name="T18" fmla="*/ 231 w 596"/>
                <a:gd name="T19" fmla="*/ 569 h 615"/>
                <a:gd name="T20" fmla="*/ 226 w 596"/>
                <a:gd name="T21" fmla="*/ 564 h 615"/>
                <a:gd name="T22" fmla="*/ 228 w 596"/>
                <a:gd name="T23" fmla="*/ 562 h 615"/>
                <a:gd name="T24" fmla="*/ 550 w 596"/>
                <a:gd name="T25" fmla="*/ 593 h 615"/>
                <a:gd name="T26" fmla="*/ 589 w 596"/>
                <a:gd name="T27" fmla="*/ 110 h 615"/>
                <a:gd name="T28" fmla="*/ 593 w 596"/>
                <a:gd name="T29" fmla="*/ 110 h 615"/>
                <a:gd name="T30" fmla="*/ 596 w 596"/>
                <a:gd name="T31" fmla="*/ 57 h 615"/>
                <a:gd name="T32" fmla="*/ 87 w 596"/>
                <a:gd name="T33"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6" h="615">
                  <a:moveTo>
                    <a:pt x="87" y="0"/>
                  </a:moveTo>
                  <a:lnTo>
                    <a:pt x="0" y="605"/>
                  </a:lnTo>
                  <a:lnTo>
                    <a:pt x="0" y="608"/>
                  </a:lnTo>
                  <a:lnTo>
                    <a:pt x="80" y="615"/>
                  </a:lnTo>
                  <a:lnTo>
                    <a:pt x="84" y="569"/>
                  </a:lnTo>
                  <a:lnTo>
                    <a:pt x="233" y="586"/>
                  </a:lnTo>
                  <a:lnTo>
                    <a:pt x="231" y="586"/>
                  </a:lnTo>
                  <a:lnTo>
                    <a:pt x="226" y="577"/>
                  </a:lnTo>
                  <a:lnTo>
                    <a:pt x="231" y="569"/>
                  </a:lnTo>
                  <a:lnTo>
                    <a:pt x="231" y="569"/>
                  </a:lnTo>
                  <a:lnTo>
                    <a:pt x="226" y="564"/>
                  </a:lnTo>
                  <a:lnTo>
                    <a:pt x="228" y="562"/>
                  </a:lnTo>
                  <a:lnTo>
                    <a:pt x="550" y="593"/>
                  </a:lnTo>
                  <a:lnTo>
                    <a:pt x="589" y="110"/>
                  </a:lnTo>
                  <a:lnTo>
                    <a:pt x="593" y="110"/>
                  </a:lnTo>
                  <a:lnTo>
                    <a:pt x="596" y="57"/>
                  </a:lnTo>
                  <a:lnTo>
                    <a:pt x="87"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9" name="Freeform 13"/>
            <p:cNvSpPr>
              <a:spLocks/>
            </p:cNvSpPr>
            <p:nvPr/>
          </p:nvSpPr>
          <p:spPr bwMode="auto">
            <a:xfrm>
              <a:off x="8272887" y="3587629"/>
              <a:ext cx="617538" cy="296862"/>
            </a:xfrm>
            <a:custGeom>
              <a:avLst/>
              <a:gdLst>
                <a:gd name="T0" fmla="*/ 223 w 389"/>
                <a:gd name="T1" fmla="*/ 12 h 187"/>
                <a:gd name="T2" fmla="*/ 12 w 389"/>
                <a:gd name="T3" fmla="*/ 110 h 187"/>
                <a:gd name="T4" fmla="*/ 21 w 389"/>
                <a:gd name="T5" fmla="*/ 100 h 187"/>
                <a:gd name="T6" fmla="*/ 45 w 389"/>
                <a:gd name="T7" fmla="*/ 79 h 187"/>
                <a:gd name="T8" fmla="*/ 57 w 389"/>
                <a:gd name="T9" fmla="*/ 67 h 187"/>
                <a:gd name="T10" fmla="*/ 67 w 389"/>
                <a:gd name="T11" fmla="*/ 62 h 187"/>
                <a:gd name="T12" fmla="*/ 86 w 389"/>
                <a:gd name="T13" fmla="*/ 60 h 187"/>
                <a:gd name="T14" fmla="*/ 117 w 389"/>
                <a:gd name="T15" fmla="*/ 43 h 187"/>
                <a:gd name="T16" fmla="*/ 129 w 389"/>
                <a:gd name="T17" fmla="*/ 48 h 187"/>
                <a:gd name="T18" fmla="*/ 139 w 389"/>
                <a:gd name="T19" fmla="*/ 55 h 187"/>
                <a:gd name="T20" fmla="*/ 153 w 389"/>
                <a:gd name="T21" fmla="*/ 74 h 187"/>
                <a:gd name="T22" fmla="*/ 161 w 389"/>
                <a:gd name="T23" fmla="*/ 74 h 187"/>
                <a:gd name="T24" fmla="*/ 175 w 389"/>
                <a:gd name="T25" fmla="*/ 79 h 187"/>
                <a:gd name="T26" fmla="*/ 180 w 389"/>
                <a:gd name="T27" fmla="*/ 98 h 187"/>
                <a:gd name="T28" fmla="*/ 201 w 389"/>
                <a:gd name="T29" fmla="*/ 105 h 187"/>
                <a:gd name="T30" fmla="*/ 221 w 389"/>
                <a:gd name="T31" fmla="*/ 117 h 187"/>
                <a:gd name="T32" fmla="*/ 209 w 389"/>
                <a:gd name="T33" fmla="*/ 141 h 187"/>
                <a:gd name="T34" fmla="*/ 204 w 389"/>
                <a:gd name="T35" fmla="*/ 170 h 187"/>
                <a:gd name="T36" fmla="*/ 225 w 389"/>
                <a:gd name="T37" fmla="*/ 165 h 187"/>
                <a:gd name="T38" fmla="*/ 240 w 389"/>
                <a:gd name="T39" fmla="*/ 177 h 187"/>
                <a:gd name="T40" fmla="*/ 252 w 389"/>
                <a:gd name="T41" fmla="*/ 170 h 187"/>
                <a:gd name="T42" fmla="*/ 281 w 389"/>
                <a:gd name="T43" fmla="*/ 177 h 187"/>
                <a:gd name="T44" fmla="*/ 293 w 389"/>
                <a:gd name="T45" fmla="*/ 182 h 187"/>
                <a:gd name="T46" fmla="*/ 290 w 389"/>
                <a:gd name="T47" fmla="*/ 173 h 187"/>
                <a:gd name="T48" fmla="*/ 273 w 389"/>
                <a:gd name="T49" fmla="*/ 161 h 187"/>
                <a:gd name="T50" fmla="*/ 273 w 389"/>
                <a:gd name="T51" fmla="*/ 153 h 187"/>
                <a:gd name="T52" fmla="*/ 281 w 389"/>
                <a:gd name="T53" fmla="*/ 151 h 187"/>
                <a:gd name="T54" fmla="*/ 264 w 389"/>
                <a:gd name="T55" fmla="*/ 137 h 187"/>
                <a:gd name="T56" fmla="*/ 257 w 389"/>
                <a:gd name="T57" fmla="*/ 110 h 187"/>
                <a:gd name="T58" fmla="*/ 259 w 389"/>
                <a:gd name="T59" fmla="*/ 81 h 187"/>
                <a:gd name="T60" fmla="*/ 254 w 389"/>
                <a:gd name="T61" fmla="*/ 72 h 187"/>
                <a:gd name="T62" fmla="*/ 254 w 389"/>
                <a:gd name="T63" fmla="*/ 62 h 187"/>
                <a:gd name="T64" fmla="*/ 259 w 389"/>
                <a:gd name="T65" fmla="*/ 50 h 187"/>
                <a:gd name="T66" fmla="*/ 276 w 389"/>
                <a:gd name="T67" fmla="*/ 38 h 187"/>
                <a:gd name="T68" fmla="*/ 290 w 389"/>
                <a:gd name="T69" fmla="*/ 24 h 187"/>
                <a:gd name="T70" fmla="*/ 288 w 389"/>
                <a:gd name="T71" fmla="*/ 40 h 187"/>
                <a:gd name="T72" fmla="*/ 276 w 389"/>
                <a:gd name="T73" fmla="*/ 55 h 187"/>
                <a:gd name="T74" fmla="*/ 276 w 389"/>
                <a:gd name="T75" fmla="*/ 74 h 187"/>
                <a:gd name="T76" fmla="*/ 288 w 389"/>
                <a:gd name="T77" fmla="*/ 96 h 187"/>
                <a:gd name="T78" fmla="*/ 276 w 389"/>
                <a:gd name="T79" fmla="*/ 108 h 187"/>
                <a:gd name="T80" fmla="*/ 288 w 389"/>
                <a:gd name="T81" fmla="*/ 115 h 187"/>
                <a:gd name="T82" fmla="*/ 288 w 389"/>
                <a:gd name="T83" fmla="*/ 127 h 187"/>
                <a:gd name="T84" fmla="*/ 288 w 389"/>
                <a:gd name="T85" fmla="*/ 137 h 187"/>
                <a:gd name="T86" fmla="*/ 305 w 389"/>
                <a:gd name="T87" fmla="*/ 158 h 187"/>
                <a:gd name="T88" fmla="*/ 314 w 389"/>
                <a:gd name="T89" fmla="*/ 153 h 187"/>
                <a:gd name="T90" fmla="*/ 326 w 389"/>
                <a:gd name="T91" fmla="*/ 156 h 187"/>
                <a:gd name="T92" fmla="*/ 331 w 389"/>
                <a:gd name="T93" fmla="*/ 175 h 187"/>
                <a:gd name="T94" fmla="*/ 336 w 389"/>
                <a:gd name="T95" fmla="*/ 185 h 187"/>
                <a:gd name="T96" fmla="*/ 345 w 389"/>
                <a:gd name="T97" fmla="*/ 187 h 187"/>
                <a:gd name="T98" fmla="*/ 379 w 389"/>
                <a:gd name="T99" fmla="*/ 168 h 187"/>
                <a:gd name="T100" fmla="*/ 382 w 389"/>
                <a:gd name="T101" fmla="*/ 158 h 187"/>
                <a:gd name="T102" fmla="*/ 389 w 389"/>
                <a:gd name="T103" fmla="*/ 120 h 187"/>
                <a:gd name="T104" fmla="*/ 295 w 389"/>
                <a:gd name="T10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9" h="187">
                  <a:moveTo>
                    <a:pt x="295" y="0"/>
                  </a:moveTo>
                  <a:lnTo>
                    <a:pt x="223" y="12"/>
                  </a:lnTo>
                  <a:lnTo>
                    <a:pt x="0" y="55"/>
                  </a:lnTo>
                  <a:lnTo>
                    <a:pt x="12" y="110"/>
                  </a:lnTo>
                  <a:lnTo>
                    <a:pt x="16" y="103"/>
                  </a:lnTo>
                  <a:lnTo>
                    <a:pt x="21" y="100"/>
                  </a:lnTo>
                  <a:lnTo>
                    <a:pt x="38" y="81"/>
                  </a:lnTo>
                  <a:lnTo>
                    <a:pt x="45" y="79"/>
                  </a:lnTo>
                  <a:lnTo>
                    <a:pt x="50" y="69"/>
                  </a:lnTo>
                  <a:lnTo>
                    <a:pt x="57" y="67"/>
                  </a:lnTo>
                  <a:lnTo>
                    <a:pt x="62" y="57"/>
                  </a:lnTo>
                  <a:lnTo>
                    <a:pt x="67" y="62"/>
                  </a:lnTo>
                  <a:lnTo>
                    <a:pt x="77" y="64"/>
                  </a:lnTo>
                  <a:lnTo>
                    <a:pt x="86" y="60"/>
                  </a:lnTo>
                  <a:lnTo>
                    <a:pt x="91" y="52"/>
                  </a:lnTo>
                  <a:lnTo>
                    <a:pt x="117" y="43"/>
                  </a:lnTo>
                  <a:lnTo>
                    <a:pt x="122" y="48"/>
                  </a:lnTo>
                  <a:lnTo>
                    <a:pt x="129" y="48"/>
                  </a:lnTo>
                  <a:lnTo>
                    <a:pt x="137" y="45"/>
                  </a:lnTo>
                  <a:lnTo>
                    <a:pt x="139" y="55"/>
                  </a:lnTo>
                  <a:lnTo>
                    <a:pt x="144" y="55"/>
                  </a:lnTo>
                  <a:lnTo>
                    <a:pt x="153" y="74"/>
                  </a:lnTo>
                  <a:lnTo>
                    <a:pt x="153" y="74"/>
                  </a:lnTo>
                  <a:lnTo>
                    <a:pt x="161" y="74"/>
                  </a:lnTo>
                  <a:lnTo>
                    <a:pt x="165" y="76"/>
                  </a:lnTo>
                  <a:lnTo>
                    <a:pt x="175" y="79"/>
                  </a:lnTo>
                  <a:lnTo>
                    <a:pt x="170" y="86"/>
                  </a:lnTo>
                  <a:lnTo>
                    <a:pt x="180" y="98"/>
                  </a:lnTo>
                  <a:lnTo>
                    <a:pt x="194" y="98"/>
                  </a:lnTo>
                  <a:lnTo>
                    <a:pt x="201" y="105"/>
                  </a:lnTo>
                  <a:lnTo>
                    <a:pt x="213" y="110"/>
                  </a:lnTo>
                  <a:lnTo>
                    <a:pt x="221" y="117"/>
                  </a:lnTo>
                  <a:lnTo>
                    <a:pt x="218" y="125"/>
                  </a:lnTo>
                  <a:lnTo>
                    <a:pt x="209" y="141"/>
                  </a:lnTo>
                  <a:lnTo>
                    <a:pt x="201" y="158"/>
                  </a:lnTo>
                  <a:lnTo>
                    <a:pt x="204" y="170"/>
                  </a:lnTo>
                  <a:lnTo>
                    <a:pt x="216" y="170"/>
                  </a:lnTo>
                  <a:lnTo>
                    <a:pt x="225" y="165"/>
                  </a:lnTo>
                  <a:lnTo>
                    <a:pt x="235" y="175"/>
                  </a:lnTo>
                  <a:lnTo>
                    <a:pt x="240" y="177"/>
                  </a:lnTo>
                  <a:lnTo>
                    <a:pt x="240" y="173"/>
                  </a:lnTo>
                  <a:lnTo>
                    <a:pt x="252" y="170"/>
                  </a:lnTo>
                  <a:lnTo>
                    <a:pt x="264" y="173"/>
                  </a:lnTo>
                  <a:lnTo>
                    <a:pt x="281" y="177"/>
                  </a:lnTo>
                  <a:lnTo>
                    <a:pt x="290" y="182"/>
                  </a:lnTo>
                  <a:lnTo>
                    <a:pt x="293" y="182"/>
                  </a:lnTo>
                  <a:lnTo>
                    <a:pt x="293" y="177"/>
                  </a:lnTo>
                  <a:lnTo>
                    <a:pt x="290" y="173"/>
                  </a:lnTo>
                  <a:lnTo>
                    <a:pt x="283" y="161"/>
                  </a:lnTo>
                  <a:lnTo>
                    <a:pt x="273" y="161"/>
                  </a:lnTo>
                  <a:lnTo>
                    <a:pt x="273" y="158"/>
                  </a:lnTo>
                  <a:lnTo>
                    <a:pt x="273" y="153"/>
                  </a:lnTo>
                  <a:lnTo>
                    <a:pt x="276" y="153"/>
                  </a:lnTo>
                  <a:lnTo>
                    <a:pt x="281" y="151"/>
                  </a:lnTo>
                  <a:lnTo>
                    <a:pt x="271" y="146"/>
                  </a:lnTo>
                  <a:lnTo>
                    <a:pt x="264" y="137"/>
                  </a:lnTo>
                  <a:lnTo>
                    <a:pt x="259" y="117"/>
                  </a:lnTo>
                  <a:lnTo>
                    <a:pt x="257" y="110"/>
                  </a:lnTo>
                  <a:lnTo>
                    <a:pt x="254" y="98"/>
                  </a:lnTo>
                  <a:lnTo>
                    <a:pt x="259" y="81"/>
                  </a:lnTo>
                  <a:lnTo>
                    <a:pt x="257" y="74"/>
                  </a:lnTo>
                  <a:lnTo>
                    <a:pt x="254" y="72"/>
                  </a:lnTo>
                  <a:lnTo>
                    <a:pt x="254" y="67"/>
                  </a:lnTo>
                  <a:lnTo>
                    <a:pt x="254" y="62"/>
                  </a:lnTo>
                  <a:lnTo>
                    <a:pt x="257" y="57"/>
                  </a:lnTo>
                  <a:lnTo>
                    <a:pt x="259" y="50"/>
                  </a:lnTo>
                  <a:lnTo>
                    <a:pt x="273" y="40"/>
                  </a:lnTo>
                  <a:lnTo>
                    <a:pt x="276" y="38"/>
                  </a:lnTo>
                  <a:lnTo>
                    <a:pt x="281" y="24"/>
                  </a:lnTo>
                  <a:lnTo>
                    <a:pt x="290" y="24"/>
                  </a:lnTo>
                  <a:lnTo>
                    <a:pt x="293" y="28"/>
                  </a:lnTo>
                  <a:lnTo>
                    <a:pt x="288" y="40"/>
                  </a:lnTo>
                  <a:lnTo>
                    <a:pt x="283" y="48"/>
                  </a:lnTo>
                  <a:lnTo>
                    <a:pt x="276" y="55"/>
                  </a:lnTo>
                  <a:lnTo>
                    <a:pt x="273" y="64"/>
                  </a:lnTo>
                  <a:lnTo>
                    <a:pt x="276" y="74"/>
                  </a:lnTo>
                  <a:lnTo>
                    <a:pt x="283" y="76"/>
                  </a:lnTo>
                  <a:lnTo>
                    <a:pt x="288" y="96"/>
                  </a:lnTo>
                  <a:lnTo>
                    <a:pt x="288" y="100"/>
                  </a:lnTo>
                  <a:lnTo>
                    <a:pt x="276" y="108"/>
                  </a:lnTo>
                  <a:lnTo>
                    <a:pt x="278" y="110"/>
                  </a:lnTo>
                  <a:lnTo>
                    <a:pt x="288" y="115"/>
                  </a:lnTo>
                  <a:lnTo>
                    <a:pt x="290" y="117"/>
                  </a:lnTo>
                  <a:lnTo>
                    <a:pt x="288" y="127"/>
                  </a:lnTo>
                  <a:lnTo>
                    <a:pt x="290" y="132"/>
                  </a:lnTo>
                  <a:lnTo>
                    <a:pt x="288" y="137"/>
                  </a:lnTo>
                  <a:lnTo>
                    <a:pt x="293" y="149"/>
                  </a:lnTo>
                  <a:lnTo>
                    <a:pt x="305" y="158"/>
                  </a:lnTo>
                  <a:lnTo>
                    <a:pt x="312" y="158"/>
                  </a:lnTo>
                  <a:lnTo>
                    <a:pt x="314" y="153"/>
                  </a:lnTo>
                  <a:lnTo>
                    <a:pt x="321" y="153"/>
                  </a:lnTo>
                  <a:lnTo>
                    <a:pt x="326" y="156"/>
                  </a:lnTo>
                  <a:lnTo>
                    <a:pt x="324" y="163"/>
                  </a:lnTo>
                  <a:lnTo>
                    <a:pt x="331" y="175"/>
                  </a:lnTo>
                  <a:lnTo>
                    <a:pt x="331" y="180"/>
                  </a:lnTo>
                  <a:lnTo>
                    <a:pt x="336" y="185"/>
                  </a:lnTo>
                  <a:lnTo>
                    <a:pt x="345" y="185"/>
                  </a:lnTo>
                  <a:lnTo>
                    <a:pt x="345" y="187"/>
                  </a:lnTo>
                  <a:lnTo>
                    <a:pt x="353" y="177"/>
                  </a:lnTo>
                  <a:lnTo>
                    <a:pt x="379" y="168"/>
                  </a:lnTo>
                  <a:lnTo>
                    <a:pt x="382" y="165"/>
                  </a:lnTo>
                  <a:lnTo>
                    <a:pt x="382" y="158"/>
                  </a:lnTo>
                  <a:lnTo>
                    <a:pt x="389" y="122"/>
                  </a:lnTo>
                  <a:lnTo>
                    <a:pt x="389" y="120"/>
                  </a:lnTo>
                  <a:lnTo>
                    <a:pt x="336" y="132"/>
                  </a:lnTo>
                  <a:lnTo>
                    <a:pt x="295"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0" name="Freeform 14"/>
            <p:cNvSpPr>
              <a:spLocks/>
            </p:cNvSpPr>
            <p:nvPr/>
          </p:nvSpPr>
          <p:spPr bwMode="auto">
            <a:xfrm>
              <a:off x="4600999" y="4387729"/>
              <a:ext cx="1890713" cy="1843087"/>
            </a:xfrm>
            <a:custGeom>
              <a:avLst/>
              <a:gdLst>
                <a:gd name="T0" fmla="*/ 1083 w 1191"/>
                <a:gd name="T1" fmla="*/ 320 h 1161"/>
                <a:gd name="T2" fmla="*/ 1004 w 1191"/>
                <a:gd name="T3" fmla="*/ 301 h 1161"/>
                <a:gd name="T4" fmla="*/ 956 w 1191"/>
                <a:gd name="T5" fmla="*/ 308 h 1161"/>
                <a:gd name="T6" fmla="*/ 915 w 1191"/>
                <a:gd name="T7" fmla="*/ 308 h 1161"/>
                <a:gd name="T8" fmla="*/ 903 w 1191"/>
                <a:gd name="T9" fmla="*/ 308 h 1161"/>
                <a:gd name="T10" fmla="*/ 884 w 1191"/>
                <a:gd name="T11" fmla="*/ 298 h 1161"/>
                <a:gd name="T12" fmla="*/ 865 w 1191"/>
                <a:gd name="T13" fmla="*/ 322 h 1161"/>
                <a:gd name="T14" fmla="*/ 855 w 1191"/>
                <a:gd name="T15" fmla="*/ 303 h 1161"/>
                <a:gd name="T16" fmla="*/ 814 w 1191"/>
                <a:gd name="T17" fmla="*/ 296 h 1161"/>
                <a:gd name="T18" fmla="*/ 790 w 1191"/>
                <a:gd name="T19" fmla="*/ 291 h 1161"/>
                <a:gd name="T20" fmla="*/ 752 w 1191"/>
                <a:gd name="T21" fmla="*/ 281 h 1161"/>
                <a:gd name="T22" fmla="*/ 728 w 1191"/>
                <a:gd name="T23" fmla="*/ 272 h 1161"/>
                <a:gd name="T24" fmla="*/ 689 w 1191"/>
                <a:gd name="T25" fmla="*/ 262 h 1161"/>
                <a:gd name="T26" fmla="*/ 672 w 1191"/>
                <a:gd name="T27" fmla="*/ 241 h 1161"/>
                <a:gd name="T28" fmla="*/ 632 w 1191"/>
                <a:gd name="T29" fmla="*/ 229 h 1161"/>
                <a:gd name="T30" fmla="*/ 367 w 1191"/>
                <a:gd name="T31" fmla="*/ 0 h 1161"/>
                <a:gd name="T32" fmla="*/ 0 w 1191"/>
                <a:gd name="T33" fmla="*/ 454 h 1161"/>
                <a:gd name="T34" fmla="*/ 5 w 1191"/>
                <a:gd name="T35" fmla="*/ 476 h 1161"/>
                <a:gd name="T36" fmla="*/ 34 w 1191"/>
                <a:gd name="T37" fmla="*/ 515 h 1161"/>
                <a:gd name="T38" fmla="*/ 147 w 1191"/>
                <a:gd name="T39" fmla="*/ 623 h 1161"/>
                <a:gd name="T40" fmla="*/ 161 w 1191"/>
                <a:gd name="T41" fmla="*/ 661 h 1161"/>
                <a:gd name="T42" fmla="*/ 240 w 1191"/>
                <a:gd name="T43" fmla="*/ 777 h 1161"/>
                <a:gd name="T44" fmla="*/ 312 w 1191"/>
                <a:gd name="T45" fmla="*/ 789 h 1161"/>
                <a:gd name="T46" fmla="*/ 353 w 1191"/>
                <a:gd name="T47" fmla="*/ 724 h 1161"/>
                <a:gd name="T48" fmla="*/ 377 w 1191"/>
                <a:gd name="T49" fmla="*/ 714 h 1161"/>
                <a:gd name="T50" fmla="*/ 425 w 1191"/>
                <a:gd name="T51" fmla="*/ 731 h 1161"/>
                <a:gd name="T52" fmla="*/ 473 w 1191"/>
                <a:gd name="T53" fmla="*/ 753 h 1161"/>
                <a:gd name="T54" fmla="*/ 490 w 1191"/>
                <a:gd name="T55" fmla="*/ 765 h 1161"/>
                <a:gd name="T56" fmla="*/ 528 w 1191"/>
                <a:gd name="T57" fmla="*/ 817 h 1161"/>
                <a:gd name="T58" fmla="*/ 593 w 1191"/>
                <a:gd name="T59" fmla="*/ 940 h 1161"/>
                <a:gd name="T60" fmla="*/ 632 w 1191"/>
                <a:gd name="T61" fmla="*/ 981 h 1161"/>
                <a:gd name="T62" fmla="*/ 644 w 1191"/>
                <a:gd name="T63" fmla="*/ 1046 h 1161"/>
                <a:gd name="T64" fmla="*/ 701 w 1191"/>
                <a:gd name="T65" fmla="*/ 1111 h 1161"/>
                <a:gd name="T66" fmla="*/ 800 w 1191"/>
                <a:gd name="T67" fmla="*/ 1142 h 1161"/>
                <a:gd name="T68" fmla="*/ 850 w 1191"/>
                <a:gd name="T69" fmla="*/ 1151 h 1161"/>
                <a:gd name="T70" fmla="*/ 848 w 1191"/>
                <a:gd name="T71" fmla="*/ 1137 h 1161"/>
                <a:gd name="T72" fmla="*/ 829 w 1191"/>
                <a:gd name="T73" fmla="*/ 1024 h 1161"/>
                <a:gd name="T74" fmla="*/ 819 w 1191"/>
                <a:gd name="T75" fmla="*/ 1010 h 1161"/>
                <a:gd name="T76" fmla="*/ 843 w 1191"/>
                <a:gd name="T77" fmla="*/ 969 h 1161"/>
                <a:gd name="T78" fmla="*/ 850 w 1191"/>
                <a:gd name="T79" fmla="*/ 952 h 1161"/>
                <a:gd name="T80" fmla="*/ 865 w 1191"/>
                <a:gd name="T81" fmla="*/ 914 h 1161"/>
                <a:gd name="T82" fmla="*/ 881 w 1191"/>
                <a:gd name="T83" fmla="*/ 916 h 1161"/>
                <a:gd name="T84" fmla="*/ 891 w 1191"/>
                <a:gd name="T85" fmla="*/ 899 h 1161"/>
                <a:gd name="T86" fmla="*/ 903 w 1191"/>
                <a:gd name="T87" fmla="*/ 897 h 1161"/>
                <a:gd name="T88" fmla="*/ 927 w 1191"/>
                <a:gd name="T89" fmla="*/ 882 h 1161"/>
                <a:gd name="T90" fmla="*/ 939 w 1191"/>
                <a:gd name="T91" fmla="*/ 861 h 1161"/>
                <a:gd name="T92" fmla="*/ 949 w 1191"/>
                <a:gd name="T93" fmla="*/ 870 h 1161"/>
                <a:gd name="T94" fmla="*/ 1042 w 1191"/>
                <a:gd name="T95" fmla="*/ 822 h 1161"/>
                <a:gd name="T96" fmla="*/ 1059 w 1191"/>
                <a:gd name="T97" fmla="*/ 767 h 1161"/>
                <a:gd name="T98" fmla="*/ 1081 w 1191"/>
                <a:gd name="T99" fmla="*/ 762 h 1161"/>
                <a:gd name="T100" fmla="*/ 1143 w 1191"/>
                <a:gd name="T101" fmla="*/ 753 h 1161"/>
                <a:gd name="T102" fmla="*/ 1162 w 1191"/>
                <a:gd name="T103" fmla="*/ 743 h 1161"/>
                <a:gd name="T104" fmla="*/ 1172 w 1191"/>
                <a:gd name="T105" fmla="*/ 719 h 1161"/>
                <a:gd name="T106" fmla="*/ 1174 w 1191"/>
                <a:gd name="T107" fmla="*/ 673 h 1161"/>
                <a:gd name="T108" fmla="*/ 1189 w 1191"/>
                <a:gd name="T109" fmla="*/ 637 h 1161"/>
                <a:gd name="T110" fmla="*/ 1182 w 1191"/>
                <a:gd name="T111" fmla="*/ 577 h 1161"/>
                <a:gd name="T112" fmla="*/ 1172 w 1191"/>
                <a:gd name="T113" fmla="*/ 553 h 1161"/>
                <a:gd name="T114" fmla="*/ 1160 w 1191"/>
                <a:gd name="T115" fmla="*/ 519 h 1161"/>
                <a:gd name="T116" fmla="*/ 1141 w 1191"/>
                <a:gd name="T117" fmla="*/ 337 h 1161"/>
                <a:gd name="T118" fmla="*/ 1098 w 1191"/>
                <a:gd name="T119" fmla="*/ 327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91" h="1161">
                  <a:moveTo>
                    <a:pt x="1098" y="327"/>
                  </a:moveTo>
                  <a:lnTo>
                    <a:pt x="1093" y="325"/>
                  </a:lnTo>
                  <a:lnTo>
                    <a:pt x="1090" y="322"/>
                  </a:lnTo>
                  <a:lnTo>
                    <a:pt x="1083" y="320"/>
                  </a:lnTo>
                  <a:lnTo>
                    <a:pt x="1040" y="296"/>
                  </a:lnTo>
                  <a:lnTo>
                    <a:pt x="1037" y="298"/>
                  </a:lnTo>
                  <a:lnTo>
                    <a:pt x="1023" y="303"/>
                  </a:lnTo>
                  <a:lnTo>
                    <a:pt x="1004" y="301"/>
                  </a:lnTo>
                  <a:lnTo>
                    <a:pt x="997" y="301"/>
                  </a:lnTo>
                  <a:lnTo>
                    <a:pt x="992" y="301"/>
                  </a:lnTo>
                  <a:lnTo>
                    <a:pt x="975" y="308"/>
                  </a:lnTo>
                  <a:lnTo>
                    <a:pt x="956" y="308"/>
                  </a:lnTo>
                  <a:lnTo>
                    <a:pt x="951" y="310"/>
                  </a:lnTo>
                  <a:lnTo>
                    <a:pt x="937" y="322"/>
                  </a:lnTo>
                  <a:lnTo>
                    <a:pt x="922" y="313"/>
                  </a:lnTo>
                  <a:lnTo>
                    <a:pt x="915" y="308"/>
                  </a:lnTo>
                  <a:lnTo>
                    <a:pt x="915" y="305"/>
                  </a:lnTo>
                  <a:lnTo>
                    <a:pt x="913" y="305"/>
                  </a:lnTo>
                  <a:lnTo>
                    <a:pt x="908" y="303"/>
                  </a:lnTo>
                  <a:lnTo>
                    <a:pt x="903" y="308"/>
                  </a:lnTo>
                  <a:lnTo>
                    <a:pt x="898" y="308"/>
                  </a:lnTo>
                  <a:lnTo>
                    <a:pt x="889" y="305"/>
                  </a:lnTo>
                  <a:lnTo>
                    <a:pt x="889" y="298"/>
                  </a:lnTo>
                  <a:lnTo>
                    <a:pt x="884" y="298"/>
                  </a:lnTo>
                  <a:lnTo>
                    <a:pt x="877" y="303"/>
                  </a:lnTo>
                  <a:lnTo>
                    <a:pt x="869" y="313"/>
                  </a:lnTo>
                  <a:lnTo>
                    <a:pt x="869" y="318"/>
                  </a:lnTo>
                  <a:lnTo>
                    <a:pt x="865" y="322"/>
                  </a:lnTo>
                  <a:lnTo>
                    <a:pt x="862" y="315"/>
                  </a:lnTo>
                  <a:lnTo>
                    <a:pt x="862" y="305"/>
                  </a:lnTo>
                  <a:lnTo>
                    <a:pt x="862" y="303"/>
                  </a:lnTo>
                  <a:lnTo>
                    <a:pt x="855" y="303"/>
                  </a:lnTo>
                  <a:lnTo>
                    <a:pt x="845" y="308"/>
                  </a:lnTo>
                  <a:lnTo>
                    <a:pt x="843" y="308"/>
                  </a:lnTo>
                  <a:lnTo>
                    <a:pt x="821" y="293"/>
                  </a:lnTo>
                  <a:lnTo>
                    <a:pt x="814" y="296"/>
                  </a:lnTo>
                  <a:lnTo>
                    <a:pt x="812" y="305"/>
                  </a:lnTo>
                  <a:lnTo>
                    <a:pt x="795" y="303"/>
                  </a:lnTo>
                  <a:lnTo>
                    <a:pt x="795" y="291"/>
                  </a:lnTo>
                  <a:lnTo>
                    <a:pt x="790" y="291"/>
                  </a:lnTo>
                  <a:lnTo>
                    <a:pt x="781" y="281"/>
                  </a:lnTo>
                  <a:lnTo>
                    <a:pt x="781" y="279"/>
                  </a:lnTo>
                  <a:lnTo>
                    <a:pt x="759" y="274"/>
                  </a:lnTo>
                  <a:lnTo>
                    <a:pt x="752" y="281"/>
                  </a:lnTo>
                  <a:lnTo>
                    <a:pt x="742" y="277"/>
                  </a:lnTo>
                  <a:lnTo>
                    <a:pt x="737" y="269"/>
                  </a:lnTo>
                  <a:lnTo>
                    <a:pt x="730" y="272"/>
                  </a:lnTo>
                  <a:lnTo>
                    <a:pt x="728" y="272"/>
                  </a:lnTo>
                  <a:lnTo>
                    <a:pt x="723" y="272"/>
                  </a:lnTo>
                  <a:lnTo>
                    <a:pt x="716" y="269"/>
                  </a:lnTo>
                  <a:lnTo>
                    <a:pt x="692" y="265"/>
                  </a:lnTo>
                  <a:lnTo>
                    <a:pt x="689" y="262"/>
                  </a:lnTo>
                  <a:lnTo>
                    <a:pt x="684" y="255"/>
                  </a:lnTo>
                  <a:lnTo>
                    <a:pt x="684" y="250"/>
                  </a:lnTo>
                  <a:lnTo>
                    <a:pt x="682" y="245"/>
                  </a:lnTo>
                  <a:lnTo>
                    <a:pt x="672" y="241"/>
                  </a:lnTo>
                  <a:lnTo>
                    <a:pt x="668" y="245"/>
                  </a:lnTo>
                  <a:lnTo>
                    <a:pt x="648" y="248"/>
                  </a:lnTo>
                  <a:lnTo>
                    <a:pt x="644" y="243"/>
                  </a:lnTo>
                  <a:lnTo>
                    <a:pt x="632" y="229"/>
                  </a:lnTo>
                  <a:lnTo>
                    <a:pt x="624" y="224"/>
                  </a:lnTo>
                  <a:lnTo>
                    <a:pt x="617" y="221"/>
                  </a:lnTo>
                  <a:lnTo>
                    <a:pt x="622" y="15"/>
                  </a:lnTo>
                  <a:lnTo>
                    <a:pt x="367" y="0"/>
                  </a:lnTo>
                  <a:lnTo>
                    <a:pt x="363" y="0"/>
                  </a:lnTo>
                  <a:lnTo>
                    <a:pt x="324" y="483"/>
                  </a:lnTo>
                  <a:lnTo>
                    <a:pt x="2" y="452"/>
                  </a:lnTo>
                  <a:lnTo>
                    <a:pt x="0" y="454"/>
                  </a:lnTo>
                  <a:lnTo>
                    <a:pt x="5" y="459"/>
                  </a:lnTo>
                  <a:lnTo>
                    <a:pt x="5" y="459"/>
                  </a:lnTo>
                  <a:lnTo>
                    <a:pt x="0" y="467"/>
                  </a:lnTo>
                  <a:lnTo>
                    <a:pt x="5" y="476"/>
                  </a:lnTo>
                  <a:lnTo>
                    <a:pt x="7" y="476"/>
                  </a:lnTo>
                  <a:lnTo>
                    <a:pt x="24" y="488"/>
                  </a:lnTo>
                  <a:lnTo>
                    <a:pt x="26" y="498"/>
                  </a:lnTo>
                  <a:lnTo>
                    <a:pt x="34" y="515"/>
                  </a:lnTo>
                  <a:lnTo>
                    <a:pt x="50" y="524"/>
                  </a:lnTo>
                  <a:lnTo>
                    <a:pt x="101" y="584"/>
                  </a:lnTo>
                  <a:lnTo>
                    <a:pt x="142" y="618"/>
                  </a:lnTo>
                  <a:lnTo>
                    <a:pt x="147" y="623"/>
                  </a:lnTo>
                  <a:lnTo>
                    <a:pt x="149" y="632"/>
                  </a:lnTo>
                  <a:lnTo>
                    <a:pt x="147" y="640"/>
                  </a:lnTo>
                  <a:lnTo>
                    <a:pt x="151" y="644"/>
                  </a:lnTo>
                  <a:lnTo>
                    <a:pt x="161" y="661"/>
                  </a:lnTo>
                  <a:lnTo>
                    <a:pt x="159" y="695"/>
                  </a:lnTo>
                  <a:lnTo>
                    <a:pt x="161" y="704"/>
                  </a:lnTo>
                  <a:lnTo>
                    <a:pt x="178" y="728"/>
                  </a:lnTo>
                  <a:lnTo>
                    <a:pt x="240" y="777"/>
                  </a:lnTo>
                  <a:lnTo>
                    <a:pt x="283" y="803"/>
                  </a:lnTo>
                  <a:lnTo>
                    <a:pt x="293" y="805"/>
                  </a:lnTo>
                  <a:lnTo>
                    <a:pt x="303" y="801"/>
                  </a:lnTo>
                  <a:lnTo>
                    <a:pt x="312" y="789"/>
                  </a:lnTo>
                  <a:lnTo>
                    <a:pt x="319" y="781"/>
                  </a:lnTo>
                  <a:lnTo>
                    <a:pt x="339" y="741"/>
                  </a:lnTo>
                  <a:lnTo>
                    <a:pt x="346" y="726"/>
                  </a:lnTo>
                  <a:lnTo>
                    <a:pt x="353" y="724"/>
                  </a:lnTo>
                  <a:lnTo>
                    <a:pt x="367" y="728"/>
                  </a:lnTo>
                  <a:lnTo>
                    <a:pt x="372" y="726"/>
                  </a:lnTo>
                  <a:lnTo>
                    <a:pt x="375" y="721"/>
                  </a:lnTo>
                  <a:lnTo>
                    <a:pt x="377" y="714"/>
                  </a:lnTo>
                  <a:lnTo>
                    <a:pt x="387" y="719"/>
                  </a:lnTo>
                  <a:lnTo>
                    <a:pt x="394" y="724"/>
                  </a:lnTo>
                  <a:lnTo>
                    <a:pt x="418" y="726"/>
                  </a:lnTo>
                  <a:lnTo>
                    <a:pt x="425" y="731"/>
                  </a:lnTo>
                  <a:lnTo>
                    <a:pt x="439" y="736"/>
                  </a:lnTo>
                  <a:lnTo>
                    <a:pt x="449" y="731"/>
                  </a:lnTo>
                  <a:lnTo>
                    <a:pt x="468" y="743"/>
                  </a:lnTo>
                  <a:lnTo>
                    <a:pt x="473" y="753"/>
                  </a:lnTo>
                  <a:lnTo>
                    <a:pt x="476" y="755"/>
                  </a:lnTo>
                  <a:lnTo>
                    <a:pt x="478" y="760"/>
                  </a:lnTo>
                  <a:lnTo>
                    <a:pt x="480" y="760"/>
                  </a:lnTo>
                  <a:lnTo>
                    <a:pt x="490" y="765"/>
                  </a:lnTo>
                  <a:lnTo>
                    <a:pt x="500" y="779"/>
                  </a:lnTo>
                  <a:lnTo>
                    <a:pt x="519" y="796"/>
                  </a:lnTo>
                  <a:lnTo>
                    <a:pt x="528" y="810"/>
                  </a:lnTo>
                  <a:lnTo>
                    <a:pt x="528" y="817"/>
                  </a:lnTo>
                  <a:lnTo>
                    <a:pt x="555" y="882"/>
                  </a:lnTo>
                  <a:lnTo>
                    <a:pt x="560" y="897"/>
                  </a:lnTo>
                  <a:lnTo>
                    <a:pt x="591" y="930"/>
                  </a:lnTo>
                  <a:lnTo>
                    <a:pt x="593" y="940"/>
                  </a:lnTo>
                  <a:lnTo>
                    <a:pt x="615" y="962"/>
                  </a:lnTo>
                  <a:lnTo>
                    <a:pt x="620" y="966"/>
                  </a:lnTo>
                  <a:lnTo>
                    <a:pt x="629" y="976"/>
                  </a:lnTo>
                  <a:lnTo>
                    <a:pt x="632" y="981"/>
                  </a:lnTo>
                  <a:lnTo>
                    <a:pt x="629" y="1005"/>
                  </a:lnTo>
                  <a:lnTo>
                    <a:pt x="636" y="1012"/>
                  </a:lnTo>
                  <a:lnTo>
                    <a:pt x="639" y="1039"/>
                  </a:lnTo>
                  <a:lnTo>
                    <a:pt x="644" y="1046"/>
                  </a:lnTo>
                  <a:lnTo>
                    <a:pt x="668" y="1089"/>
                  </a:lnTo>
                  <a:lnTo>
                    <a:pt x="668" y="1101"/>
                  </a:lnTo>
                  <a:lnTo>
                    <a:pt x="684" y="1101"/>
                  </a:lnTo>
                  <a:lnTo>
                    <a:pt x="701" y="1111"/>
                  </a:lnTo>
                  <a:lnTo>
                    <a:pt x="720" y="1118"/>
                  </a:lnTo>
                  <a:lnTo>
                    <a:pt x="752" y="1137"/>
                  </a:lnTo>
                  <a:lnTo>
                    <a:pt x="790" y="1142"/>
                  </a:lnTo>
                  <a:lnTo>
                    <a:pt x="800" y="1142"/>
                  </a:lnTo>
                  <a:lnTo>
                    <a:pt x="821" y="1156"/>
                  </a:lnTo>
                  <a:lnTo>
                    <a:pt x="831" y="1161"/>
                  </a:lnTo>
                  <a:lnTo>
                    <a:pt x="843" y="1149"/>
                  </a:lnTo>
                  <a:lnTo>
                    <a:pt x="850" y="1151"/>
                  </a:lnTo>
                  <a:lnTo>
                    <a:pt x="855" y="1149"/>
                  </a:lnTo>
                  <a:lnTo>
                    <a:pt x="855" y="1142"/>
                  </a:lnTo>
                  <a:lnTo>
                    <a:pt x="845" y="1139"/>
                  </a:lnTo>
                  <a:lnTo>
                    <a:pt x="848" y="1137"/>
                  </a:lnTo>
                  <a:lnTo>
                    <a:pt x="838" y="1125"/>
                  </a:lnTo>
                  <a:lnTo>
                    <a:pt x="824" y="1075"/>
                  </a:lnTo>
                  <a:lnTo>
                    <a:pt x="817" y="1055"/>
                  </a:lnTo>
                  <a:lnTo>
                    <a:pt x="829" y="1024"/>
                  </a:lnTo>
                  <a:lnTo>
                    <a:pt x="826" y="1014"/>
                  </a:lnTo>
                  <a:lnTo>
                    <a:pt x="824" y="1012"/>
                  </a:lnTo>
                  <a:lnTo>
                    <a:pt x="821" y="1012"/>
                  </a:lnTo>
                  <a:lnTo>
                    <a:pt x="819" y="1010"/>
                  </a:lnTo>
                  <a:lnTo>
                    <a:pt x="819" y="1007"/>
                  </a:lnTo>
                  <a:lnTo>
                    <a:pt x="821" y="1005"/>
                  </a:lnTo>
                  <a:lnTo>
                    <a:pt x="833" y="998"/>
                  </a:lnTo>
                  <a:lnTo>
                    <a:pt x="843" y="969"/>
                  </a:lnTo>
                  <a:lnTo>
                    <a:pt x="836" y="966"/>
                  </a:lnTo>
                  <a:lnTo>
                    <a:pt x="833" y="954"/>
                  </a:lnTo>
                  <a:lnTo>
                    <a:pt x="841" y="945"/>
                  </a:lnTo>
                  <a:lnTo>
                    <a:pt x="850" y="952"/>
                  </a:lnTo>
                  <a:lnTo>
                    <a:pt x="865" y="940"/>
                  </a:lnTo>
                  <a:lnTo>
                    <a:pt x="869" y="928"/>
                  </a:lnTo>
                  <a:lnTo>
                    <a:pt x="862" y="921"/>
                  </a:lnTo>
                  <a:lnTo>
                    <a:pt x="865" y="914"/>
                  </a:lnTo>
                  <a:lnTo>
                    <a:pt x="867" y="916"/>
                  </a:lnTo>
                  <a:lnTo>
                    <a:pt x="872" y="916"/>
                  </a:lnTo>
                  <a:lnTo>
                    <a:pt x="877" y="914"/>
                  </a:lnTo>
                  <a:lnTo>
                    <a:pt x="881" y="916"/>
                  </a:lnTo>
                  <a:lnTo>
                    <a:pt x="886" y="916"/>
                  </a:lnTo>
                  <a:lnTo>
                    <a:pt x="891" y="914"/>
                  </a:lnTo>
                  <a:lnTo>
                    <a:pt x="891" y="911"/>
                  </a:lnTo>
                  <a:lnTo>
                    <a:pt x="891" y="899"/>
                  </a:lnTo>
                  <a:lnTo>
                    <a:pt x="893" y="894"/>
                  </a:lnTo>
                  <a:lnTo>
                    <a:pt x="896" y="894"/>
                  </a:lnTo>
                  <a:lnTo>
                    <a:pt x="898" y="897"/>
                  </a:lnTo>
                  <a:lnTo>
                    <a:pt x="903" y="897"/>
                  </a:lnTo>
                  <a:lnTo>
                    <a:pt x="925" y="892"/>
                  </a:lnTo>
                  <a:lnTo>
                    <a:pt x="927" y="890"/>
                  </a:lnTo>
                  <a:lnTo>
                    <a:pt x="929" y="885"/>
                  </a:lnTo>
                  <a:lnTo>
                    <a:pt x="927" y="882"/>
                  </a:lnTo>
                  <a:lnTo>
                    <a:pt x="915" y="878"/>
                  </a:lnTo>
                  <a:lnTo>
                    <a:pt x="915" y="870"/>
                  </a:lnTo>
                  <a:lnTo>
                    <a:pt x="937" y="865"/>
                  </a:lnTo>
                  <a:lnTo>
                    <a:pt x="939" y="861"/>
                  </a:lnTo>
                  <a:lnTo>
                    <a:pt x="946" y="861"/>
                  </a:lnTo>
                  <a:lnTo>
                    <a:pt x="946" y="861"/>
                  </a:lnTo>
                  <a:lnTo>
                    <a:pt x="944" y="863"/>
                  </a:lnTo>
                  <a:lnTo>
                    <a:pt x="949" y="870"/>
                  </a:lnTo>
                  <a:lnTo>
                    <a:pt x="951" y="870"/>
                  </a:lnTo>
                  <a:lnTo>
                    <a:pt x="956" y="865"/>
                  </a:lnTo>
                  <a:lnTo>
                    <a:pt x="987" y="856"/>
                  </a:lnTo>
                  <a:lnTo>
                    <a:pt x="1042" y="822"/>
                  </a:lnTo>
                  <a:lnTo>
                    <a:pt x="1045" y="808"/>
                  </a:lnTo>
                  <a:lnTo>
                    <a:pt x="1071" y="786"/>
                  </a:lnTo>
                  <a:lnTo>
                    <a:pt x="1071" y="781"/>
                  </a:lnTo>
                  <a:lnTo>
                    <a:pt x="1059" y="767"/>
                  </a:lnTo>
                  <a:lnTo>
                    <a:pt x="1061" y="755"/>
                  </a:lnTo>
                  <a:lnTo>
                    <a:pt x="1078" y="748"/>
                  </a:lnTo>
                  <a:lnTo>
                    <a:pt x="1083" y="748"/>
                  </a:lnTo>
                  <a:lnTo>
                    <a:pt x="1081" y="762"/>
                  </a:lnTo>
                  <a:lnTo>
                    <a:pt x="1083" y="767"/>
                  </a:lnTo>
                  <a:lnTo>
                    <a:pt x="1102" y="765"/>
                  </a:lnTo>
                  <a:lnTo>
                    <a:pt x="1105" y="769"/>
                  </a:lnTo>
                  <a:lnTo>
                    <a:pt x="1143" y="753"/>
                  </a:lnTo>
                  <a:lnTo>
                    <a:pt x="1165" y="750"/>
                  </a:lnTo>
                  <a:lnTo>
                    <a:pt x="1167" y="748"/>
                  </a:lnTo>
                  <a:lnTo>
                    <a:pt x="1165" y="745"/>
                  </a:lnTo>
                  <a:lnTo>
                    <a:pt x="1162" y="743"/>
                  </a:lnTo>
                  <a:lnTo>
                    <a:pt x="1160" y="736"/>
                  </a:lnTo>
                  <a:lnTo>
                    <a:pt x="1162" y="731"/>
                  </a:lnTo>
                  <a:lnTo>
                    <a:pt x="1165" y="726"/>
                  </a:lnTo>
                  <a:lnTo>
                    <a:pt x="1172" y="719"/>
                  </a:lnTo>
                  <a:lnTo>
                    <a:pt x="1179" y="695"/>
                  </a:lnTo>
                  <a:lnTo>
                    <a:pt x="1174" y="685"/>
                  </a:lnTo>
                  <a:lnTo>
                    <a:pt x="1174" y="678"/>
                  </a:lnTo>
                  <a:lnTo>
                    <a:pt x="1174" y="673"/>
                  </a:lnTo>
                  <a:lnTo>
                    <a:pt x="1174" y="666"/>
                  </a:lnTo>
                  <a:lnTo>
                    <a:pt x="1177" y="652"/>
                  </a:lnTo>
                  <a:lnTo>
                    <a:pt x="1184" y="647"/>
                  </a:lnTo>
                  <a:lnTo>
                    <a:pt x="1189" y="637"/>
                  </a:lnTo>
                  <a:lnTo>
                    <a:pt x="1191" y="618"/>
                  </a:lnTo>
                  <a:lnTo>
                    <a:pt x="1191" y="606"/>
                  </a:lnTo>
                  <a:lnTo>
                    <a:pt x="1189" y="589"/>
                  </a:lnTo>
                  <a:lnTo>
                    <a:pt x="1182" y="577"/>
                  </a:lnTo>
                  <a:lnTo>
                    <a:pt x="1177" y="575"/>
                  </a:lnTo>
                  <a:lnTo>
                    <a:pt x="1179" y="567"/>
                  </a:lnTo>
                  <a:lnTo>
                    <a:pt x="1177" y="565"/>
                  </a:lnTo>
                  <a:lnTo>
                    <a:pt x="1172" y="553"/>
                  </a:lnTo>
                  <a:lnTo>
                    <a:pt x="1165" y="548"/>
                  </a:lnTo>
                  <a:lnTo>
                    <a:pt x="1162" y="546"/>
                  </a:lnTo>
                  <a:lnTo>
                    <a:pt x="1167" y="534"/>
                  </a:lnTo>
                  <a:lnTo>
                    <a:pt x="1160" y="519"/>
                  </a:lnTo>
                  <a:lnTo>
                    <a:pt x="1146" y="507"/>
                  </a:lnTo>
                  <a:lnTo>
                    <a:pt x="1143" y="500"/>
                  </a:lnTo>
                  <a:lnTo>
                    <a:pt x="1141" y="392"/>
                  </a:lnTo>
                  <a:lnTo>
                    <a:pt x="1141" y="337"/>
                  </a:lnTo>
                  <a:lnTo>
                    <a:pt x="1126" y="332"/>
                  </a:lnTo>
                  <a:lnTo>
                    <a:pt x="1114" y="337"/>
                  </a:lnTo>
                  <a:lnTo>
                    <a:pt x="1110" y="337"/>
                  </a:lnTo>
                  <a:lnTo>
                    <a:pt x="1098" y="32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1" name="Freeform 15"/>
            <p:cNvSpPr>
              <a:spLocks/>
            </p:cNvSpPr>
            <p:nvPr/>
          </p:nvSpPr>
          <p:spPr bwMode="auto">
            <a:xfrm>
              <a:off x="5321723" y="3797179"/>
              <a:ext cx="998538" cy="538162"/>
            </a:xfrm>
            <a:custGeom>
              <a:avLst/>
              <a:gdLst>
                <a:gd name="T0" fmla="*/ 19 w 629"/>
                <a:gd name="T1" fmla="*/ 0 h 339"/>
                <a:gd name="T2" fmla="*/ 564 w 629"/>
                <a:gd name="T3" fmla="*/ 12 h 339"/>
                <a:gd name="T4" fmla="*/ 600 w 629"/>
                <a:gd name="T5" fmla="*/ 38 h 339"/>
                <a:gd name="T6" fmla="*/ 588 w 629"/>
                <a:gd name="T7" fmla="*/ 53 h 339"/>
                <a:gd name="T8" fmla="*/ 586 w 629"/>
                <a:gd name="T9" fmla="*/ 67 h 339"/>
                <a:gd name="T10" fmla="*/ 593 w 629"/>
                <a:gd name="T11" fmla="*/ 72 h 339"/>
                <a:gd name="T12" fmla="*/ 603 w 629"/>
                <a:gd name="T13" fmla="*/ 77 h 339"/>
                <a:gd name="T14" fmla="*/ 607 w 629"/>
                <a:gd name="T15" fmla="*/ 96 h 339"/>
                <a:gd name="T16" fmla="*/ 615 w 629"/>
                <a:gd name="T17" fmla="*/ 101 h 339"/>
                <a:gd name="T18" fmla="*/ 624 w 629"/>
                <a:gd name="T19" fmla="*/ 103 h 339"/>
                <a:gd name="T20" fmla="*/ 627 w 629"/>
                <a:gd name="T21" fmla="*/ 105 h 339"/>
                <a:gd name="T22" fmla="*/ 629 w 629"/>
                <a:gd name="T23" fmla="*/ 339 h 339"/>
                <a:gd name="T24" fmla="*/ 0 w 629"/>
                <a:gd name="T25" fmla="*/ 324 h 339"/>
                <a:gd name="T26" fmla="*/ 19 w 629"/>
                <a:gd name="T27"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9" h="339">
                  <a:moveTo>
                    <a:pt x="19" y="0"/>
                  </a:moveTo>
                  <a:lnTo>
                    <a:pt x="564" y="12"/>
                  </a:lnTo>
                  <a:lnTo>
                    <a:pt x="600" y="38"/>
                  </a:lnTo>
                  <a:lnTo>
                    <a:pt x="588" y="53"/>
                  </a:lnTo>
                  <a:lnTo>
                    <a:pt x="586" y="67"/>
                  </a:lnTo>
                  <a:lnTo>
                    <a:pt x="593" y="72"/>
                  </a:lnTo>
                  <a:lnTo>
                    <a:pt x="603" y="77"/>
                  </a:lnTo>
                  <a:lnTo>
                    <a:pt x="607" y="96"/>
                  </a:lnTo>
                  <a:lnTo>
                    <a:pt x="615" y="101"/>
                  </a:lnTo>
                  <a:lnTo>
                    <a:pt x="624" y="103"/>
                  </a:lnTo>
                  <a:lnTo>
                    <a:pt x="627" y="105"/>
                  </a:lnTo>
                  <a:lnTo>
                    <a:pt x="629" y="339"/>
                  </a:lnTo>
                  <a:lnTo>
                    <a:pt x="0" y="324"/>
                  </a:lnTo>
                  <a:lnTo>
                    <a:pt x="19"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2" name="Freeform 16"/>
            <p:cNvSpPr>
              <a:spLocks/>
            </p:cNvSpPr>
            <p:nvPr/>
          </p:nvSpPr>
          <p:spPr bwMode="auto">
            <a:xfrm>
              <a:off x="5104237" y="3262191"/>
              <a:ext cx="1117600" cy="554037"/>
            </a:xfrm>
            <a:custGeom>
              <a:avLst/>
              <a:gdLst>
                <a:gd name="T0" fmla="*/ 0 w 704"/>
                <a:gd name="T1" fmla="*/ 217 h 349"/>
                <a:gd name="T2" fmla="*/ 19 w 704"/>
                <a:gd name="T3" fmla="*/ 0 h 349"/>
                <a:gd name="T4" fmla="*/ 451 w 704"/>
                <a:gd name="T5" fmla="*/ 24 h 349"/>
                <a:gd name="T6" fmla="*/ 464 w 704"/>
                <a:gd name="T7" fmla="*/ 41 h 349"/>
                <a:gd name="T8" fmla="*/ 478 w 704"/>
                <a:gd name="T9" fmla="*/ 41 h 349"/>
                <a:gd name="T10" fmla="*/ 490 w 704"/>
                <a:gd name="T11" fmla="*/ 39 h 349"/>
                <a:gd name="T12" fmla="*/ 497 w 704"/>
                <a:gd name="T13" fmla="*/ 44 h 349"/>
                <a:gd name="T14" fmla="*/ 504 w 704"/>
                <a:gd name="T15" fmla="*/ 58 h 349"/>
                <a:gd name="T16" fmla="*/ 514 w 704"/>
                <a:gd name="T17" fmla="*/ 60 h 349"/>
                <a:gd name="T18" fmla="*/ 526 w 704"/>
                <a:gd name="T19" fmla="*/ 58 h 349"/>
                <a:gd name="T20" fmla="*/ 538 w 704"/>
                <a:gd name="T21" fmla="*/ 48 h 349"/>
                <a:gd name="T22" fmla="*/ 552 w 704"/>
                <a:gd name="T23" fmla="*/ 48 h 349"/>
                <a:gd name="T24" fmla="*/ 560 w 704"/>
                <a:gd name="T25" fmla="*/ 53 h 349"/>
                <a:gd name="T26" fmla="*/ 596 w 704"/>
                <a:gd name="T27" fmla="*/ 75 h 349"/>
                <a:gd name="T28" fmla="*/ 612 w 704"/>
                <a:gd name="T29" fmla="*/ 87 h 349"/>
                <a:gd name="T30" fmla="*/ 612 w 704"/>
                <a:gd name="T31" fmla="*/ 96 h 349"/>
                <a:gd name="T32" fmla="*/ 622 w 704"/>
                <a:gd name="T33" fmla="*/ 104 h 349"/>
                <a:gd name="T34" fmla="*/ 622 w 704"/>
                <a:gd name="T35" fmla="*/ 111 h 349"/>
                <a:gd name="T36" fmla="*/ 617 w 704"/>
                <a:gd name="T37" fmla="*/ 128 h 349"/>
                <a:gd name="T38" fmla="*/ 627 w 704"/>
                <a:gd name="T39" fmla="*/ 135 h 349"/>
                <a:gd name="T40" fmla="*/ 632 w 704"/>
                <a:gd name="T41" fmla="*/ 152 h 349"/>
                <a:gd name="T42" fmla="*/ 641 w 704"/>
                <a:gd name="T43" fmla="*/ 161 h 349"/>
                <a:gd name="T44" fmla="*/ 636 w 704"/>
                <a:gd name="T45" fmla="*/ 168 h 349"/>
                <a:gd name="T46" fmla="*/ 641 w 704"/>
                <a:gd name="T47" fmla="*/ 178 h 349"/>
                <a:gd name="T48" fmla="*/ 651 w 704"/>
                <a:gd name="T49" fmla="*/ 185 h 349"/>
                <a:gd name="T50" fmla="*/ 656 w 704"/>
                <a:gd name="T51" fmla="*/ 195 h 349"/>
                <a:gd name="T52" fmla="*/ 651 w 704"/>
                <a:gd name="T53" fmla="*/ 205 h 349"/>
                <a:gd name="T54" fmla="*/ 648 w 704"/>
                <a:gd name="T55" fmla="*/ 221 h 349"/>
                <a:gd name="T56" fmla="*/ 660 w 704"/>
                <a:gd name="T57" fmla="*/ 226 h 349"/>
                <a:gd name="T58" fmla="*/ 663 w 704"/>
                <a:gd name="T59" fmla="*/ 236 h 349"/>
                <a:gd name="T60" fmla="*/ 658 w 704"/>
                <a:gd name="T61" fmla="*/ 243 h 349"/>
                <a:gd name="T62" fmla="*/ 660 w 704"/>
                <a:gd name="T63" fmla="*/ 253 h 349"/>
                <a:gd name="T64" fmla="*/ 665 w 704"/>
                <a:gd name="T65" fmla="*/ 260 h 349"/>
                <a:gd name="T66" fmla="*/ 663 w 704"/>
                <a:gd name="T67" fmla="*/ 269 h 349"/>
                <a:gd name="T68" fmla="*/ 665 w 704"/>
                <a:gd name="T69" fmla="*/ 281 h 349"/>
                <a:gd name="T70" fmla="*/ 670 w 704"/>
                <a:gd name="T71" fmla="*/ 286 h 349"/>
                <a:gd name="T72" fmla="*/ 675 w 704"/>
                <a:gd name="T73" fmla="*/ 296 h 349"/>
                <a:gd name="T74" fmla="*/ 684 w 704"/>
                <a:gd name="T75" fmla="*/ 303 h 349"/>
                <a:gd name="T76" fmla="*/ 687 w 704"/>
                <a:gd name="T77" fmla="*/ 317 h 349"/>
                <a:gd name="T78" fmla="*/ 699 w 704"/>
                <a:gd name="T79" fmla="*/ 332 h 349"/>
                <a:gd name="T80" fmla="*/ 704 w 704"/>
                <a:gd name="T81" fmla="*/ 334 h 349"/>
                <a:gd name="T82" fmla="*/ 701 w 704"/>
                <a:gd name="T83" fmla="*/ 346 h 349"/>
                <a:gd name="T84" fmla="*/ 701 w 704"/>
                <a:gd name="T85" fmla="*/ 349 h 349"/>
                <a:gd name="T86" fmla="*/ 156 w 704"/>
                <a:gd name="T87" fmla="*/ 337 h 349"/>
                <a:gd name="T88" fmla="*/ 161 w 704"/>
                <a:gd name="T89" fmla="*/ 229 h 349"/>
                <a:gd name="T90" fmla="*/ 0 w 704"/>
                <a:gd name="T91" fmla="*/ 217 h 349"/>
                <a:gd name="T92" fmla="*/ 0 w 704"/>
                <a:gd name="T93" fmla="*/ 217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4" h="349">
                  <a:moveTo>
                    <a:pt x="0" y="217"/>
                  </a:moveTo>
                  <a:lnTo>
                    <a:pt x="19" y="0"/>
                  </a:lnTo>
                  <a:lnTo>
                    <a:pt x="451" y="24"/>
                  </a:lnTo>
                  <a:lnTo>
                    <a:pt x="464" y="41"/>
                  </a:lnTo>
                  <a:lnTo>
                    <a:pt x="478" y="41"/>
                  </a:lnTo>
                  <a:lnTo>
                    <a:pt x="490" y="39"/>
                  </a:lnTo>
                  <a:lnTo>
                    <a:pt x="497" y="44"/>
                  </a:lnTo>
                  <a:lnTo>
                    <a:pt x="504" y="58"/>
                  </a:lnTo>
                  <a:lnTo>
                    <a:pt x="514" y="60"/>
                  </a:lnTo>
                  <a:lnTo>
                    <a:pt x="526" y="58"/>
                  </a:lnTo>
                  <a:lnTo>
                    <a:pt x="538" y="48"/>
                  </a:lnTo>
                  <a:lnTo>
                    <a:pt x="552" y="48"/>
                  </a:lnTo>
                  <a:lnTo>
                    <a:pt x="560" y="53"/>
                  </a:lnTo>
                  <a:lnTo>
                    <a:pt x="596" y="75"/>
                  </a:lnTo>
                  <a:lnTo>
                    <a:pt x="612" y="87"/>
                  </a:lnTo>
                  <a:lnTo>
                    <a:pt x="612" y="96"/>
                  </a:lnTo>
                  <a:lnTo>
                    <a:pt x="622" y="104"/>
                  </a:lnTo>
                  <a:lnTo>
                    <a:pt x="622" y="111"/>
                  </a:lnTo>
                  <a:lnTo>
                    <a:pt x="617" y="128"/>
                  </a:lnTo>
                  <a:lnTo>
                    <a:pt x="627" y="135"/>
                  </a:lnTo>
                  <a:lnTo>
                    <a:pt x="632" y="152"/>
                  </a:lnTo>
                  <a:lnTo>
                    <a:pt x="641" y="161"/>
                  </a:lnTo>
                  <a:lnTo>
                    <a:pt x="636" y="168"/>
                  </a:lnTo>
                  <a:lnTo>
                    <a:pt x="641" y="178"/>
                  </a:lnTo>
                  <a:lnTo>
                    <a:pt x="651" y="185"/>
                  </a:lnTo>
                  <a:lnTo>
                    <a:pt x="656" y="195"/>
                  </a:lnTo>
                  <a:lnTo>
                    <a:pt x="651" y="205"/>
                  </a:lnTo>
                  <a:lnTo>
                    <a:pt x="648" y="221"/>
                  </a:lnTo>
                  <a:lnTo>
                    <a:pt x="660" y="226"/>
                  </a:lnTo>
                  <a:lnTo>
                    <a:pt x="663" y="236"/>
                  </a:lnTo>
                  <a:lnTo>
                    <a:pt x="658" y="243"/>
                  </a:lnTo>
                  <a:lnTo>
                    <a:pt x="660" y="253"/>
                  </a:lnTo>
                  <a:lnTo>
                    <a:pt x="665" y="260"/>
                  </a:lnTo>
                  <a:lnTo>
                    <a:pt x="663" y="269"/>
                  </a:lnTo>
                  <a:lnTo>
                    <a:pt x="665" y="281"/>
                  </a:lnTo>
                  <a:lnTo>
                    <a:pt x="670" y="286"/>
                  </a:lnTo>
                  <a:lnTo>
                    <a:pt x="675" y="296"/>
                  </a:lnTo>
                  <a:lnTo>
                    <a:pt x="684" y="303"/>
                  </a:lnTo>
                  <a:lnTo>
                    <a:pt x="687" y="317"/>
                  </a:lnTo>
                  <a:lnTo>
                    <a:pt x="699" y="332"/>
                  </a:lnTo>
                  <a:lnTo>
                    <a:pt x="704" y="334"/>
                  </a:lnTo>
                  <a:lnTo>
                    <a:pt x="701" y="346"/>
                  </a:lnTo>
                  <a:lnTo>
                    <a:pt x="701" y="349"/>
                  </a:lnTo>
                  <a:lnTo>
                    <a:pt x="156" y="337"/>
                  </a:lnTo>
                  <a:lnTo>
                    <a:pt x="161" y="229"/>
                  </a:lnTo>
                  <a:lnTo>
                    <a:pt x="0" y="217"/>
                  </a:lnTo>
                  <a:lnTo>
                    <a:pt x="0" y="21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3" name="Freeform 17"/>
            <p:cNvSpPr>
              <a:spLocks/>
            </p:cNvSpPr>
            <p:nvPr/>
          </p:nvSpPr>
          <p:spPr bwMode="auto">
            <a:xfrm>
              <a:off x="5134399" y="2762129"/>
              <a:ext cx="946150" cy="638175"/>
            </a:xfrm>
            <a:custGeom>
              <a:avLst/>
              <a:gdLst>
                <a:gd name="T0" fmla="*/ 0 w 596"/>
                <a:gd name="T1" fmla="*/ 315 h 402"/>
                <a:gd name="T2" fmla="*/ 17 w 596"/>
                <a:gd name="T3" fmla="*/ 104 h 402"/>
                <a:gd name="T4" fmla="*/ 27 w 596"/>
                <a:gd name="T5" fmla="*/ 0 h 402"/>
                <a:gd name="T6" fmla="*/ 584 w 596"/>
                <a:gd name="T7" fmla="*/ 24 h 402"/>
                <a:gd name="T8" fmla="*/ 586 w 596"/>
                <a:gd name="T9" fmla="*/ 32 h 402"/>
                <a:gd name="T10" fmla="*/ 581 w 596"/>
                <a:gd name="T11" fmla="*/ 44 h 402"/>
                <a:gd name="T12" fmla="*/ 567 w 596"/>
                <a:gd name="T13" fmla="*/ 58 h 402"/>
                <a:gd name="T14" fmla="*/ 567 w 596"/>
                <a:gd name="T15" fmla="*/ 68 h 402"/>
                <a:gd name="T16" fmla="*/ 596 w 596"/>
                <a:gd name="T17" fmla="*/ 94 h 402"/>
                <a:gd name="T18" fmla="*/ 596 w 596"/>
                <a:gd name="T19" fmla="*/ 289 h 402"/>
                <a:gd name="T20" fmla="*/ 591 w 596"/>
                <a:gd name="T21" fmla="*/ 289 h 402"/>
                <a:gd name="T22" fmla="*/ 584 w 596"/>
                <a:gd name="T23" fmla="*/ 289 h 402"/>
                <a:gd name="T24" fmla="*/ 586 w 596"/>
                <a:gd name="T25" fmla="*/ 296 h 402"/>
                <a:gd name="T26" fmla="*/ 591 w 596"/>
                <a:gd name="T27" fmla="*/ 301 h 402"/>
                <a:gd name="T28" fmla="*/ 586 w 596"/>
                <a:gd name="T29" fmla="*/ 313 h 402"/>
                <a:gd name="T30" fmla="*/ 591 w 596"/>
                <a:gd name="T31" fmla="*/ 318 h 402"/>
                <a:gd name="T32" fmla="*/ 596 w 596"/>
                <a:gd name="T33" fmla="*/ 334 h 402"/>
                <a:gd name="T34" fmla="*/ 589 w 596"/>
                <a:gd name="T35" fmla="*/ 339 h 402"/>
                <a:gd name="T36" fmla="*/ 591 w 596"/>
                <a:gd name="T37" fmla="*/ 349 h 402"/>
                <a:gd name="T38" fmla="*/ 581 w 596"/>
                <a:gd name="T39" fmla="*/ 368 h 402"/>
                <a:gd name="T40" fmla="*/ 591 w 596"/>
                <a:gd name="T41" fmla="*/ 387 h 402"/>
                <a:gd name="T42" fmla="*/ 593 w 596"/>
                <a:gd name="T43" fmla="*/ 399 h 402"/>
                <a:gd name="T44" fmla="*/ 593 w 596"/>
                <a:gd name="T45" fmla="*/ 402 h 402"/>
                <a:gd name="T46" fmla="*/ 577 w 596"/>
                <a:gd name="T47" fmla="*/ 390 h 402"/>
                <a:gd name="T48" fmla="*/ 541 w 596"/>
                <a:gd name="T49" fmla="*/ 368 h 402"/>
                <a:gd name="T50" fmla="*/ 533 w 596"/>
                <a:gd name="T51" fmla="*/ 363 h 402"/>
                <a:gd name="T52" fmla="*/ 519 w 596"/>
                <a:gd name="T53" fmla="*/ 363 h 402"/>
                <a:gd name="T54" fmla="*/ 507 w 596"/>
                <a:gd name="T55" fmla="*/ 373 h 402"/>
                <a:gd name="T56" fmla="*/ 495 w 596"/>
                <a:gd name="T57" fmla="*/ 375 h 402"/>
                <a:gd name="T58" fmla="*/ 485 w 596"/>
                <a:gd name="T59" fmla="*/ 373 h 402"/>
                <a:gd name="T60" fmla="*/ 478 w 596"/>
                <a:gd name="T61" fmla="*/ 359 h 402"/>
                <a:gd name="T62" fmla="*/ 471 w 596"/>
                <a:gd name="T63" fmla="*/ 354 h 402"/>
                <a:gd name="T64" fmla="*/ 459 w 596"/>
                <a:gd name="T65" fmla="*/ 356 h 402"/>
                <a:gd name="T66" fmla="*/ 445 w 596"/>
                <a:gd name="T67" fmla="*/ 356 h 402"/>
                <a:gd name="T68" fmla="*/ 432 w 596"/>
                <a:gd name="T69" fmla="*/ 339 h 402"/>
                <a:gd name="T70" fmla="*/ 0 w 596"/>
                <a:gd name="T71" fmla="*/ 315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96" h="402">
                  <a:moveTo>
                    <a:pt x="0" y="315"/>
                  </a:moveTo>
                  <a:lnTo>
                    <a:pt x="17" y="104"/>
                  </a:lnTo>
                  <a:lnTo>
                    <a:pt x="27" y="0"/>
                  </a:lnTo>
                  <a:lnTo>
                    <a:pt x="584" y="24"/>
                  </a:lnTo>
                  <a:lnTo>
                    <a:pt x="586" y="32"/>
                  </a:lnTo>
                  <a:lnTo>
                    <a:pt x="581" y="44"/>
                  </a:lnTo>
                  <a:lnTo>
                    <a:pt x="567" y="58"/>
                  </a:lnTo>
                  <a:lnTo>
                    <a:pt x="567" y="68"/>
                  </a:lnTo>
                  <a:lnTo>
                    <a:pt x="596" y="94"/>
                  </a:lnTo>
                  <a:lnTo>
                    <a:pt x="596" y="289"/>
                  </a:lnTo>
                  <a:lnTo>
                    <a:pt x="591" y="289"/>
                  </a:lnTo>
                  <a:lnTo>
                    <a:pt x="584" y="289"/>
                  </a:lnTo>
                  <a:lnTo>
                    <a:pt x="586" y="296"/>
                  </a:lnTo>
                  <a:lnTo>
                    <a:pt x="591" y="301"/>
                  </a:lnTo>
                  <a:lnTo>
                    <a:pt x="586" y="313"/>
                  </a:lnTo>
                  <a:lnTo>
                    <a:pt x="591" y="318"/>
                  </a:lnTo>
                  <a:lnTo>
                    <a:pt x="596" y="334"/>
                  </a:lnTo>
                  <a:lnTo>
                    <a:pt x="589" y="339"/>
                  </a:lnTo>
                  <a:lnTo>
                    <a:pt x="591" y="349"/>
                  </a:lnTo>
                  <a:lnTo>
                    <a:pt x="581" y="368"/>
                  </a:lnTo>
                  <a:lnTo>
                    <a:pt x="591" y="387"/>
                  </a:lnTo>
                  <a:lnTo>
                    <a:pt x="593" y="399"/>
                  </a:lnTo>
                  <a:lnTo>
                    <a:pt x="593" y="402"/>
                  </a:lnTo>
                  <a:lnTo>
                    <a:pt x="577" y="390"/>
                  </a:lnTo>
                  <a:lnTo>
                    <a:pt x="541" y="368"/>
                  </a:lnTo>
                  <a:lnTo>
                    <a:pt x="533" y="363"/>
                  </a:lnTo>
                  <a:lnTo>
                    <a:pt x="519" y="363"/>
                  </a:lnTo>
                  <a:lnTo>
                    <a:pt x="507" y="373"/>
                  </a:lnTo>
                  <a:lnTo>
                    <a:pt x="495" y="375"/>
                  </a:lnTo>
                  <a:lnTo>
                    <a:pt x="485" y="373"/>
                  </a:lnTo>
                  <a:lnTo>
                    <a:pt x="478" y="359"/>
                  </a:lnTo>
                  <a:lnTo>
                    <a:pt x="471" y="354"/>
                  </a:lnTo>
                  <a:lnTo>
                    <a:pt x="459" y="356"/>
                  </a:lnTo>
                  <a:lnTo>
                    <a:pt x="445" y="356"/>
                  </a:lnTo>
                  <a:lnTo>
                    <a:pt x="432" y="339"/>
                  </a:lnTo>
                  <a:lnTo>
                    <a:pt x="0" y="31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4" name="Freeform 18"/>
            <p:cNvSpPr>
              <a:spLocks/>
            </p:cNvSpPr>
            <p:nvPr/>
          </p:nvSpPr>
          <p:spPr bwMode="auto">
            <a:xfrm>
              <a:off x="5177262" y="2244604"/>
              <a:ext cx="887413" cy="555625"/>
            </a:xfrm>
            <a:custGeom>
              <a:avLst/>
              <a:gdLst>
                <a:gd name="T0" fmla="*/ 0 w 559"/>
                <a:gd name="T1" fmla="*/ 326 h 350"/>
                <a:gd name="T2" fmla="*/ 26 w 559"/>
                <a:gd name="T3" fmla="*/ 0 h 350"/>
                <a:gd name="T4" fmla="*/ 170 w 559"/>
                <a:gd name="T5" fmla="*/ 9 h 350"/>
                <a:gd name="T6" fmla="*/ 273 w 559"/>
                <a:gd name="T7" fmla="*/ 19 h 350"/>
                <a:gd name="T8" fmla="*/ 514 w 559"/>
                <a:gd name="T9" fmla="*/ 24 h 350"/>
                <a:gd name="T10" fmla="*/ 516 w 559"/>
                <a:gd name="T11" fmla="*/ 33 h 350"/>
                <a:gd name="T12" fmla="*/ 523 w 559"/>
                <a:gd name="T13" fmla="*/ 57 h 350"/>
                <a:gd name="T14" fmla="*/ 521 w 559"/>
                <a:gd name="T15" fmla="*/ 67 h 350"/>
                <a:gd name="T16" fmla="*/ 518 w 559"/>
                <a:gd name="T17" fmla="*/ 84 h 350"/>
                <a:gd name="T18" fmla="*/ 518 w 559"/>
                <a:gd name="T19" fmla="*/ 112 h 350"/>
                <a:gd name="T20" fmla="*/ 526 w 559"/>
                <a:gd name="T21" fmla="*/ 149 h 350"/>
                <a:gd name="T22" fmla="*/ 535 w 559"/>
                <a:gd name="T23" fmla="*/ 158 h 350"/>
                <a:gd name="T24" fmla="*/ 540 w 559"/>
                <a:gd name="T25" fmla="*/ 189 h 350"/>
                <a:gd name="T26" fmla="*/ 542 w 559"/>
                <a:gd name="T27" fmla="*/ 242 h 350"/>
                <a:gd name="T28" fmla="*/ 545 w 559"/>
                <a:gd name="T29" fmla="*/ 254 h 350"/>
                <a:gd name="T30" fmla="*/ 545 w 559"/>
                <a:gd name="T31" fmla="*/ 274 h 350"/>
                <a:gd name="T32" fmla="*/ 547 w 559"/>
                <a:gd name="T33" fmla="*/ 281 h 350"/>
                <a:gd name="T34" fmla="*/ 559 w 559"/>
                <a:gd name="T35" fmla="*/ 319 h 350"/>
                <a:gd name="T36" fmla="*/ 557 w 559"/>
                <a:gd name="T37" fmla="*/ 334 h 350"/>
                <a:gd name="T38" fmla="*/ 557 w 559"/>
                <a:gd name="T39" fmla="*/ 350 h 350"/>
                <a:gd name="T40" fmla="*/ 0 w 559"/>
                <a:gd name="T41" fmla="*/ 32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9" h="350">
                  <a:moveTo>
                    <a:pt x="0" y="326"/>
                  </a:moveTo>
                  <a:lnTo>
                    <a:pt x="26" y="0"/>
                  </a:lnTo>
                  <a:lnTo>
                    <a:pt x="170" y="9"/>
                  </a:lnTo>
                  <a:lnTo>
                    <a:pt x="273" y="19"/>
                  </a:lnTo>
                  <a:lnTo>
                    <a:pt x="514" y="24"/>
                  </a:lnTo>
                  <a:lnTo>
                    <a:pt x="516" y="33"/>
                  </a:lnTo>
                  <a:lnTo>
                    <a:pt x="523" y="57"/>
                  </a:lnTo>
                  <a:lnTo>
                    <a:pt x="521" y="67"/>
                  </a:lnTo>
                  <a:lnTo>
                    <a:pt x="518" y="84"/>
                  </a:lnTo>
                  <a:lnTo>
                    <a:pt x="518" y="112"/>
                  </a:lnTo>
                  <a:lnTo>
                    <a:pt x="526" y="149"/>
                  </a:lnTo>
                  <a:lnTo>
                    <a:pt x="535" y="158"/>
                  </a:lnTo>
                  <a:lnTo>
                    <a:pt x="540" y="189"/>
                  </a:lnTo>
                  <a:lnTo>
                    <a:pt x="542" y="242"/>
                  </a:lnTo>
                  <a:lnTo>
                    <a:pt x="545" y="254"/>
                  </a:lnTo>
                  <a:lnTo>
                    <a:pt x="545" y="274"/>
                  </a:lnTo>
                  <a:lnTo>
                    <a:pt x="547" y="281"/>
                  </a:lnTo>
                  <a:lnTo>
                    <a:pt x="559" y="319"/>
                  </a:lnTo>
                  <a:lnTo>
                    <a:pt x="557" y="334"/>
                  </a:lnTo>
                  <a:lnTo>
                    <a:pt x="557" y="350"/>
                  </a:lnTo>
                  <a:lnTo>
                    <a:pt x="0" y="32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5" name="Freeform 19"/>
            <p:cNvSpPr>
              <a:spLocks/>
            </p:cNvSpPr>
            <p:nvPr/>
          </p:nvSpPr>
          <p:spPr bwMode="auto">
            <a:xfrm>
              <a:off x="3838999" y="2052516"/>
              <a:ext cx="1379538" cy="874712"/>
            </a:xfrm>
            <a:custGeom>
              <a:avLst/>
              <a:gdLst>
                <a:gd name="T0" fmla="*/ 305 w 869"/>
                <a:gd name="T1" fmla="*/ 486 h 551"/>
                <a:gd name="T2" fmla="*/ 297 w 869"/>
                <a:gd name="T3" fmla="*/ 541 h 551"/>
                <a:gd name="T4" fmla="*/ 285 w 869"/>
                <a:gd name="T5" fmla="*/ 519 h 551"/>
                <a:gd name="T6" fmla="*/ 266 w 869"/>
                <a:gd name="T7" fmla="*/ 517 h 551"/>
                <a:gd name="T8" fmla="*/ 245 w 869"/>
                <a:gd name="T9" fmla="*/ 524 h 551"/>
                <a:gd name="T10" fmla="*/ 233 w 869"/>
                <a:gd name="T11" fmla="*/ 522 h 551"/>
                <a:gd name="T12" fmla="*/ 209 w 869"/>
                <a:gd name="T13" fmla="*/ 517 h 551"/>
                <a:gd name="T14" fmla="*/ 194 w 869"/>
                <a:gd name="T15" fmla="*/ 524 h 551"/>
                <a:gd name="T16" fmla="*/ 170 w 869"/>
                <a:gd name="T17" fmla="*/ 517 h 551"/>
                <a:gd name="T18" fmla="*/ 161 w 869"/>
                <a:gd name="T19" fmla="*/ 529 h 551"/>
                <a:gd name="T20" fmla="*/ 146 w 869"/>
                <a:gd name="T21" fmla="*/ 512 h 551"/>
                <a:gd name="T22" fmla="*/ 149 w 869"/>
                <a:gd name="T23" fmla="*/ 493 h 551"/>
                <a:gd name="T24" fmla="*/ 139 w 869"/>
                <a:gd name="T25" fmla="*/ 476 h 551"/>
                <a:gd name="T26" fmla="*/ 122 w 869"/>
                <a:gd name="T27" fmla="*/ 462 h 551"/>
                <a:gd name="T28" fmla="*/ 127 w 869"/>
                <a:gd name="T29" fmla="*/ 447 h 551"/>
                <a:gd name="T30" fmla="*/ 113 w 869"/>
                <a:gd name="T31" fmla="*/ 421 h 551"/>
                <a:gd name="T32" fmla="*/ 115 w 869"/>
                <a:gd name="T33" fmla="*/ 385 h 551"/>
                <a:gd name="T34" fmla="*/ 108 w 869"/>
                <a:gd name="T35" fmla="*/ 380 h 551"/>
                <a:gd name="T36" fmla="*/ 103 w 869"/>
                <a:gd name="T37" fmla="*/ 370 h 551"/>
                <a:gd name="T38" fmla="*/ 77 w 869"/>
                <a:gd name="T39" fmla="*/ 390 h 551"/>
                <a:gd name="T40" fmla="*/ 57 w 869"/>
                <a:gd name="T41" fmla="*/ 378 h 551"/>
                <a:gd name="T42" fmla="*/ 60 w 869"/>
                <a:gd name="T43" fmla="*/ 363 h 551"/>
                <a:gd name="T44" fmla="*/ 72 w 869"/>
                <a:gd name="T45" fmla="*/ 344 h 551"/>
                <a:gd name="T46" fmla="*/ 72 w 869"/>
                <a:gd name="T47" fmla="*/ 334 h 551"/>
                <a:gd name="T48" fmla="*/ 79 w 869"/>
                <a:gd name="T49" fmla="*/ 313 h 551"/>
                <a:gd name="T50" fmla="*/ 93 w 869"/>
                <a:gd name="T51" fmla="*/ 272 h 551"/>
                <a:gd name="T52" fmla="*/ 74 w 869"/>
                <a:gd name="T53" fmla="*/ 262 h 551"/>
                <a:gd name="T54" fmla="*/ 60 w 869"/>
                <a:gd name="T55" fmla="*/ 253 h 551"/>
                <a:gd name="T56" fmla="*/ 53 w 869"/>
                <a:gd name="T57" fmla="*/ 226 h 551"/>
                <a:gd name="T58" fmla="*/ 21 w 869"/>
                <a:gd name="T59" fmla="*/ 181 h 551"/>
                <a:gd name="T60" fmla="*/ 7 w 869"/>
                <a:gd name="T61" fmla="*/ 164 h 551"/>
                <a:gd name="T62" fmla="*/ 17 w 869"/>
                <a:gd name="T63" fmla="*/ 147 h 551"/>
                <a:gd name="T64" fmla="*/ 0 w 869"/>
                <a:gd name="T65" fmla="*/ 101 h 551"/>
                <a:gd name="T66" fmla="*/ 98 w 869"/>
                <a:gd name="T67" fmla="*/ 12 h 551"/>
                <a:gd name="T68" fmla="*/ 528 w 869"/>
                <a:gd name="T69" fmla="*/ 87 h 551"/>
                <a:gd name="T70" fmla="*/ 843 w 869"/>
                <a:gd name="T71" fmla="*/ 44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9" h="551">
                  <a:moveTo>
                    <a:pt x="833" y="551"/>
                  </a:moveTo>
                  <a:lnTo>
                    <a:pt x="305" y="486"/>
                  </a:lnTo>
                  <a:lnTo>
                    <a:pt x="297" y="539"/>
                  </a:lnTo>
                  <a:lnTo>
                    <a:pt x="297" y="541"/>
                  </a:lnTo>
                  <a:lnTo>
                    <a:pt x="288" y="532"/>
                  </a:lnTo>
                  <a:lnTo>
                    <a:pt x="285" y="519"/>
                  </a:lnTo>
                  <a:lnTo>
                    <a:pt x="276" y="507"/>
                  </a:lnTo>
                  <a:lnTo>
                    <a:pt x="266" y="517"/>
                  </a:lnTo>
                  <a:lnTo>
                    <a:pt x="266" y="524"/>
                  </a:lnTo>
                  <a:lnTo>
                    <a:pt x="245" y="524"/>
                  </a:lnTo>
                  <a:lnTo>
                    <a:pt x="242" y="527"/>
                  </a:lnTo>
                  <a:lnTo>
                    <a:pt x="233" y="522"/>
                  </a:lnTo>
                  <a:lnTo>
                    <a:pt x="211" y="519"/>
                  </a:lnTo>
                  <a:lnTo>
                    <a:pt x="209" y="517"/>
                  </a:lnTo>
                  <a:lnTo>
                    <a:pt x="201" y="517"/>
                  </a:lnTo>
                  <a:lnTo>
                    <a:pt x="194" y="524"/>
                  </a:lnTo>
                  <a:lnTo>
                    <a:pt x="187" y="522"/>
                  </a:lnTo>
                  <a:lnTo>
                    <a:pt x="170" y="517"/>
                  </a:lnTo>
                  <a:lnTo>
                    <a:pt x="165" y="519"/>
                  </a:lnTo>
                  <a:lnTo>
                    <a:pt x="161" y="529"/>
                  </a:lnTo>
                  <a:lnTo>
                    <a:pt x="151" y="524"/>
                  </a:lnTo>
                  <a:lnTo>
                    <a:pt x="146" y="512"/>
                  </a:lnTo>
                  <a:lnTo>
                    <a:pt x="146" y="507"/>
                  </a:lnTo>
                  <a:lnTo>
                    <a:pt x="149" y="493"/>
                  </a:lnTo>
                  <a:lnTo>
                    <a:pt x="146" y="486"/>
                  </a:lnTo>
                  <a:lnTo>
                    <a:pt x="139" y="476"/>
                  </a:lnTo>
                  <a:lnTo>
                    <a:pt x="129" y="476"/>
                  </a:lnTo>
                  <a:lnTo>
                    <a:pt x="122" y="462"/>
                  </a:lnTo>
                  <a:lnTo>
                    <a:pt x="127" y="455"/>
                  </a:lnTo>
                  <a:lnTo>
                    <a:pt x="127" y="447"/>
                  </a:lnTo>
                  <a:lnTo>
                    <a:pt x="117" y="435"/>
                  </a:lnTo>
                  <a:lnTo>
                    <a:pt x="113" y="421"/>
                  </a:lnTo>
                  <a:lnTo>
                    <a:pt x="113" y="399"/>
                  </a:lnTo>
                  <a:lnTo>
                    <a:pt x="115" y="385"/>
                  </a:lnTo>
                  <a:lnTo>
                    <a:pt x="110" y="383"/>
                  </a:lnTo>
                  <a:lnTo>
                    <a:pt x="108" y="380"/>
                  </a:lnTo>
                  <a:lnTo>
                    <a:pt x="105" y="373"/>
                  </a:lnTo>
                  <a:lnTo>
                    <a:pt x="103" y="370"/>
                  </a:lnTo>
                  <a:lnTo>
                    <a:pt x="101" y="373"/>
                  </a:lnTo>
                  <a:lnTo>
                    <a:pt x="77" y="390"/>
                  </a:lnTo>
                  <a:lnTo>
                    <a:pt x="72" y="392"/>
                  </a:lnTo>
                  <a:lnTo>
                    <a:pt x="57" y="378"/>
                  </a:lnTo>
                  <a:lnTo>
                    <a:pt x="60" y="368"/>
                  </a:lnTo>
                  <a:lnTo>
                    <a:pt x="60" y="363"/>
                  </a:lnTo>
                  <a:lnTo>
                    <a:pt x="60" y="354"/>
                  </a:lnTo>
                  <a:lnTo>
                    <a:pt x="72" y="344"/>
                  </a:lnTo>
                  <a:lnTo>
                    <a:pt x="74" y="334"/>
                  </a:lnTo>
                  <a:lnTo>
                    <a:pt x="72" y="334"/>
                  </a:lnTo>
                  <a:lnTo>
                    <a:pt x="72" y="318"/>
                  </a:lnTo>
                  <a:lnTo>
                    <a:pt x="79" y="313"/>
                  </a:lnTo>
                  <a:lnTo>
                    <a:pt x="77" y="306"/>
                  </a:lnTo>
                  <a:lnTo>
                    <a:pt x="93" y="272"/>
                  </a:lnTo>
                  <a:lnTo>
                    <a:pt x="89" y="265"/>
                  </a:lnTo>
                  <a:lnTo>
                    <a:pt x="74" y="262"/>
                  </a:lnTo>
                  <a:lnTo>
                    <a:pt x="72" y="255"/>
                  </a:lnTo>
                  <a:lnTo>
                    <a:pt x="60" y="253"/>
                  </a:lnTo>
                  <a:lnTo>
                    <a:pt x="55" y="241"/>
                  </a:lnTo>
                  <a:lnTo>
                    <a:pt x="53" y="226"/>
                  </a:lnTo>
                  <a:lnTo>
                    <a:pt x="41" y="197"/>
                  </a:lnTo>
                  <a:lnTo>
                    <a:pt x="21" y="181"/>
                  </a:lnTo>
                  <a:lnTo>
                    <a:pt x="14" y="169"/>
                  </a:lnTo>
                  <a:lnTo>
                    <a:pt x="7" y="164"/>
                  </a:lnTo>
                  <a:lnTo>
                    <a:pt x="12" y="159"/>
                  </a:lnTo>
                  <a:lnTo>
                    <a:pt x="17" y="147"/>
                  </a:lnTo>
                  <a:lnTo>
                    <a:pt x="12" y="130"/>
                  </a:lnTo>
                  <a:lnTo>
                    <a:pt x="0" y="101"/>
                  </a:lnTo>
                  <a:lnTo>
                    <a:pt x="19" y="0"/>
                  </a:lnTo>
                  <a:lnTo>
                    <a:pt x="98" y="12"/>
                  </a:lnTo>
                  <a:lnTo>
                    <a:pt x="312" y="48"/>
                  </a:lnTo>
                  <a:lnTo>
                    <a:pt x="528" y="87"/>
                  </a:lnTo>
                  <a:lnTo>
                    <a:pt x="869" y="121"/>
                  </a:lnTo>
                  <a:lnTo>
                    <a:pt x="843" y="447"/>
                  </a:lnTo>
                  <a:lnTo>
                    <a:pt x="833" y="551"/>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6" name="Freeform 20"/>
            <p:cNvSpPr>
              <a:spLocks/>
            </p:cNvSpPr>
            <p:nvPr/>
          </p:nvSpPr>
          <p:spPr bwMode="auto">
            <a:xfrm>
              <a:off x="4219999" y="2824041"/>
              <a:ext cx="941388" cy="782637"/>
            </a:xfrm>
            <a:custGeom>
              <a:avLst/>
              <a:gdLst>
                <a:gd name="T0" fmla="*/ 557 w 593"/>
                <a:gd name="T1" fmla="*/ 493 h 493"/>
                <a:gd name="T2" fmla="*/ 576 w 593"/>
                <a:gd name="T3" fmla="*/ 276 h 493"/>
                <a:gd name="T4" fmla="*/ 593 w 593"/>
                <a:gd name="T5" fmla="*/ 65 h 493"/>
                <a:gd name="T6" fmla="*/ 65 w 593"/>
                <a:gd name="T7" fmla="*/ 0 h 493"/>
                <a:gd name="T8" fmla="*/ 57 w 593"/>
                <a:gd name="T9" fmla="*/ 53 h 493"/>
                <a:gd name="T10" fmla="*/ 19 w 593"/>
                <a:gd name="T11" fmla="*/ 320 h 493"/>
                <a:gd name="T12" fmla="*/ 17 w 593"/>
                <a:gd name="T13" fmla="*/ 320 h 493"/>
                <a:gd name="T14" fmla="*/ 0 w 593"/>
                <a:gd name="T15" fmla="*/ 423 h 493"/>
                <a:gd name="T16" fmla="*/ 158 w 593"/>
                <a:gd name="T17" fmla="*/ 449 h 493"/>
                <a:gd name="T18" fmla="*/ 557 w 593"/>
                <a:gd name="T19" fmla="*/ 493 h 493"/>
                <a:gd name="T20" fmla="*/ 557 w 593"/>
                <a:gd name="T21"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3" h="493">
                  <a:moveTo>
                    <a:pt x="557" y="493"/>
                  </a:moveTo>
                  <a:lnTo>
                    <a:pt x="576" y="276"/>
                  </a:lnTo>
                  <a:lnTo>
                    <a:pt x="593" y="65"/>
                  </a:lnTo>
                  <a:lnTo>
                    <a:pt x="65" y="0"/>
                  </a:lnTo>
                  <a:lnTo>
                    <a:pt x="57" y="53"/>
                  </a:lnTo>
                  <a:lnTo>
                    <a:pt x="19" y="320"/>
                  </a:lnTo>
                  <a:lnTo>
                    <a:pt x="17" y="320"/>
                  </a:lnTo>
                  <a:lnTo>
                    <a:pt x="0" y="423"/>
                  </a:lnTo>
                  <a:lnTo>
                    <a:pt x="158" y="449"/>
                  </a:lnTo>
                  <a:lnTo>
                    <a:pt x="557" y="493"/>
                  </a:lnTo>
                  <a:lnTo>
                    <a:pt x="557" y="493"/>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7" name="Freeform 21"/>
            <p:cNvSpPr>
              <a:spLocks/>
            </p:cNvSpPr>
            <p:nvPr/>
          </p:nvSpPr>
          <p:spPr bwMode="auto">
            <a:xfrm>
              <a:off x="4380337" y="3536829"/>
              <a:ext cx="979488" cy="774700"/>
            </a:xfrm>
            <a:custGeom>
              <a:avLst/>
              <a:gdLst>
                <a:gd name="T0" fmla="*/ 0 w 617"/>
                <a:gd name="T1" fmla="*/ 426 h 488"/>
                <a:gd name="T2" fmla="*/ 57 w 617"/>
                <a:gd name="T3" fmla="*/ 0 h 488"/>
                <a:gd name="T4" fmla="*/ 456 w 617"/>
                <a:gd name="T5" fmla="*/ 44 h 488"/>
                <a:gd name="T6" fmla="*/ 617 w 617"/>
                <a:gd name="T7" fmla="*/ 56 h 488"/>
                <a:gd name="T8" fmla="*/ 612 w 617"/>
                <a:gd name="T9" fmla="*/ 164 h 488"/>
                <a:gd name="T10" fmla="*/ 593 w 617"/>
                <a:gd name="T11" fmla="*/ 488 h 488"/>
                <a:gd name="T12" fmla="*/ 509 w 617"/>
                <a:gd name="T13" fmla="*/ 483 h 488"/>
                <a:gd name="T14" fmla="*/ 0 w 617"/>
                <a:gd name="T15" fmla="*/ 426 h 4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7" h="488">
                  <a:moveTo>
                    <a:pt x="0" y="426"/>
                  </a:moveTo>
                  <a:lnTo>
                    <a:pt x="57" y="0"/>
                  </a:lnTo>
                  <a:lnTo>
                    <a:pt x="456" y="44"/>
                  </a:lnTo>
                  <a:lnTo>
                    <a:pt x="617" y="56"/>
                  </a:lnTo>
                  <a:lnTo>
                    <a:pt x="612" y="164"/>
                  </a:lnTo>
                  <a:lnTo>
                    <a:pt x="593" y="488"/>
                  </a:lnTo>
                  <a:lnTo>
                    <a:pt x="509" y="483"/>
                  </a:lnTo>
                  <a:lnTo>
                    <a:pt x="0" y="42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8" name="Freeform 22"/>
            <p:cNvSpPr>
              <a:spLocks/>
            </p:cNvSpPr>
            <p:nvPr/>
          </p:nvSpPr>
          <p:spPr bwMode="auto">
            <a:xfrm>
              <a:off x="3708824" y="3266954"/>
              <a:ext cx="762000" cy="946150"/>
            </a:xfrm>
            <a:custGeom>
              <a:avLst/>
              <a:gdLst>
                <a:gd name="T0" fmla="*/ 423 w 480"/>
                <a:gd name="T1" fmla="*/ 596 h 596"/>
                <a:gd name="T2" fmla="*/ 480 w 480"/>
                <a:gd name="T3" fmla="*/ 170 h 596"/>
                <a:gd name="T4" fmla="*/ 322 w 480"/>
                <a:gd name="T5" fmla="*/ 144 h 596"/>
                <a:gd name="T6" fmla="*/ 339 w 480"/>
                <a:gd name="T7" fmla="*/ 41 h 596"/>
                <a:gd name="T8" fmla="*/ 103 w 480"/>
                <a:gd name="T9" fmla="*/ 0 h 596"/>
                <a:gd name="T10" fmla="*/ 0 w 480"/>
                <a:gd name="T11" fmla="*/ 531 h 596"/>
                <a:gd name="T12" fmla="*/ 0 w 480"/>
                <a:gd name="T13" fmla="*/ 531 h 596"/>
                <a:gd name="T14" fmla="*/ 423 w 480"/>
                <a:gd name="T15" fmla="*/ 596 h 5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596">
                  <a:moveTo>
                    <a:pt x="423" y="596"/>
                  </a:moveTo>
                  <a:lnTo>
                    <a:pt x="480" y="170"/>
                  </a:lnTo>
                  <a:lnTo>
                    <a:pt x="322" y="144"/>
                  </a:lnTo>
                  <a:lnTo>
                    <a:pt x="339" y="41"/>
                  </a:lnTo>
                  <a:lnTo>
                    <a:pt x="103" y="0"/>
                  </a:lnTo>
                  <a:lnTo>
                    <a:pt x="0" y="531"/>
                  </a:lnTo>
                  <a:lnTo>
                    <a:pt x="0" y="531"/>
                  </a:lnTo>
                  <a:lnTo>
                    <a:pt x="423" y="59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9" name="Freeform 23"/>
            <p:cNvSpPr>
              <a:spLocks/>
            </p:cNvSpPr>
            <p:nvPr/>
          </p:nvSpPr>
          <p:spPr bwMode="auto">
            <a:xfrm>
              <a:off x="3502449" y="2030291"/>
              <a:ext cx="808038" cy="1301750"/>
            </a:xfrm>
            <a:custGeom>
              <a:avLst/>
              <a:gdLst>
                <a:gd name="T0" fmla="*/ 231 w 509"/>
                <a:gd name="T1" fmla="*/ 14 h 820"/>
                <a:gd name="T2" fmla="*/ 224 w 509"/>
                <a:gd name="T3" fmla="*/ 144 h 820"/>
                <a:gd name="T4" fmla="*/ 224 w 509"/>
                <a:gd name="T5" fmla="*/ 173 h 820"/>
                <a:gd name="T6" fmla="*/ 226 w 509"/>
                <a:gd name="T7" fmla="*/ 183 h 820"/>
                <a:gd name="T8" fmla="*/ 253 w 509"/>
                <a:gd name="T9" fmla="*/ 211 h 820"/>
                <a:gd name="T10" fmla="*/ 267 w 509"/>
                <a:gd name="T11" fmla="*/ 255 h 820"/>
                <a:gd name="T12" fmla="*/ 284 w 509"/>
                <a:gd name="T13" fmla="*/ 269 h 820"/>
                <a:gd name="T14" fmla="*/ 301 w 509"/>
                <a:gd name="T15" fmla="*/ 279 h 820"/>
                <a:gd name="T16" fmla="*/ 289 w 509"/>
                <a:gd name="T17" fmla="*/ 320 h 820"/>
                <a:gd name="T18" fmla="*/ 284 w 509"/>
                <a:gd name="T19" fmla="*/ 332 h 820"/>
                <a:gd name="T20" fmla="*/ 286 w 509"/>
                <a:gd name="T21" fmla="*/ 348 h 820"/>
                <a:gd name="T22" fmla="*/ 272 w 509"/>
                <a:gd name="T23" fmla="*/ 368 h 820"/>
                <a:gd name="T24" fmla="*/ 272 w 509"/>
                <a:gd name="T25" fmla="*/ 382 h 820"/>
                <a:gd name="T26" fmla="*/ 284 w 509"/>
                <a:gd name="T27" fmla="*/ 406 h 820"/>
                <a:gd name="T28" fmla="*/ 313 w 509"/>
                <a:gd name="T29" fmla="*/ 387 h 820"/>
                <a:gd name="T30" fmla="*/ 317 w 509"/>
                <a:gd name="T31" fmla="*/ 387 h 820"/>
                <a:gd name="T32" fmla="*/ 322 w 509"/>
                <a:gd name="T33" fmla="*/ 397 h 820"/>
                <a:gd name="T34" fmla="*/ 325 w 509"/>
                <a:gd name="T35" fmla="*/ 413 h 820"/>
                <a:gd name="T36" fmla="*/ 329 w 509"/>
                <a:gd name="T37" fmla="*/ 449 h 820"/>
                <a:gd name="T38" fmla="*/ 339 w 509"/>
                <a:gd name="T39" fmla="*/ 469 h 820"/>
                <a:gd name="T40" fmla="*/ 341 w 509"/>
                <a:gd name="T41" fmla="*/ 490 h 820"/>
                <a:gd name="T42" fmla="*/ 358 w 509"/>
                <a:gd name="T43" fmla="*/ 500 h 820"/>
                <a:gd name="T44" fmla="*/ 358 w 509"/>
                <a:gd name="T45" fmla="*/ 521 h 820"/>
                <a:gd name="T46" fmla="*/ 363 w 509"/>
                <a:gd name="T47" fmla="*/ 538 h 820"/>
                <a:gd name="T48" fmla="*/ 377 w 509"/>
                <a:gd name="T49" fmla="*/ 533 h 820"/>
                <a:gd name="T50" fmla="*/ 399 w 509"/>
                <a:gd name="T51" fmla="*/ 536 h 820"/>
                <a:gd name="T52" fmla="*/ 413 w 509"/>
                <a:gd name="T53" fmla="*/ 531 h 820"/>
                <a:gd name="T54" fmla="*/ 423 w 509"/>
                <a:gd name="T55" fmla="*/ 533 h 820"/>
                <a:gd name="T56" fmla="*/ 454 w 509"/>
                <a:gd name="T57" fmla="*/ 541 h 820"/>
                <a:gd name="T58" fmla="*/ 478 w 509"/>
                <a:gd name="T59" fmla="*/ 538 h 820"/>
                <a:gd name="T60" fmla="*/ 488 w 509"/>
                <a:gd name="T61" fmla="*/ 521 h 820"/>
                <a:gd name="T62" fmla="*/ 500 w 509"/>
                <a:gd name="T63" fmla="*/ 546 h 820"/>
                <a:gd name="T64" fmla="*/ 509 w 509"/>
                <a:gd name="T65" fmla="*/ 553 h 820"/>
                <a:gd name="T66" fmla="*/ 469 w 509"/>
                <a:gd name="T67" fmla="*/ 820 h 820"/>
                <a:gd name="T68" fmla="*/ 0 w 509"/>
                <a:gd name="T69" fmla="*/ 728 h 820"/>
                <a:gd name="T70" fmla="*/ 53 w 509"/>
                <a:gd name="T71" fmla="*/ 526 h 820"/>
                <a:gd name="T72" fmla="*/ 56 w 509"/>
                <a:gd name="T73" fmla="*/ 512 h 820"/>
                <a:gd name="T74" fmla="*/ 60 w 509"/>
                <a:gd name="T75" fmla="*/ 502 h 820"/>
                <a:gd name="T76" fmla="*/ 44 w 509"/>
                <a:gd name="T77" fmla="*/ 488 h 820"/>
                <a:gd name="T78" fmla="*/ 44 w 509"/>
                <a:gd name="T79" fmla="*/ 469 h 820"/>
                <a:gd name="T80" fmla="*/ 75 w 509"/>
                <a:gd name="T81" fmla="*/ 433 h 820"/>
                <a:gd name="T82" fmla="*/ 82 w 509"/>
                <a:gd name="T83" fmla="*/ 418 h 820"/>
                <a:gd name="T84" fmla="*/ 128 w 509"/>
                <a:gd name="T85" fmla="*/ 353 h 820"/>
                <a:gd name="T86" fmla="*/ 116 w 509"/>
                <a:gd name="T87" fmla="*/ 332 h 820"/>
                <a:gd name="T88" fmla="*/ 104 w 509"/>
                <a:gd name="T89" fmla="*/ 322 h 820"/>
                <a:gd name="T90" fmla="*/ 99 w 509"/>
                <a:gd name="T91" fmla="*/ 298 h 820"/>
                <a:gd name="T92" fmla="*/ 106 w 509"/>
                <a:gd name="T93" fmla="*/ 288 h 820"/>
                <a:gd name="T94" fmla="*/ 99 w 509"/>
                <a:gd name="T95" fmla="*/ 269 h 820"/>
                <a:gd name="T96" fmla="*/ 161 w 509"/>
                <a:gd name="T97" fmla="*/ 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9" h="820">
                  <a:moveTo>
                    <a:pt x="161" y="0"/>
                  </a:moveTo>
                  <a:lnTo>
                    <a:pt x="231" y="14"/>
                  </a:lnTo>
                  <a:lnTo>
                    <a:pt x="212" y="115"/>
                  </a:lnTo>
                  <a:lnTo>
                    <a:pt x="224" y="144"/>
                  </a:lnTo>
                  <a:lnTo>
                    <a:pt x="229" y="161"/>
                  </a:lnTo>
                  <a:lnTo>
                    <a:pt x="224" y="173"/>
                  </a:lnTo>
                  <a:lnTo>
                    <a:pt x="219" y="178"/>
                  </a:lnTo>
                  <a:lnTo>
                    <a:pt x="226" y="183"/>
                  </a:lnTo>
                  <a:lnTo>
                    <a:pt x="233" y="195"/>
                  </a:lnTo>
                  <a:lnTo>
                    <a:pt x="253" y="211"/>
                  </a:lnTo>
                  <a:lnTo>
                    <a:pt x="265" y="240"/>
                  </a:lnTo>
                  <a:lnTo>
                    <a:pt x="267" y="255"/>
                  </a:lnTo>
                  <a:lnTo>
                    <a:pt x="272" y="267"/>
                  </a:lnTo>
                  <a:lnTo>
                    <a:pt x="284" y="269"/>
                  </a:lnTo>
                  <a:lnTo>
                    <a:pt x="286" y="276"/>
                  </a:lnTo>
                  <a:lnTo>
                    <a:pt x="301" y="279"/>
                  </a:lnTo>
                  <a:lnTo>
                    <a:pt x="305" y="286"/>
                  </a:lnTo>
                  <a:lnTo>
                    <a:pt x="289" y="320"/>
                  </a:lnTo>
                  <a:lnTo>
                    <a:pt x="291" y="327"/>
                  </a:lnTo>
                  <a:lnTo>
                    <a:pt x="284" y="332"/>
                  </a:lnTo>
                  <a:lnTo>
                    <a:pt x="284" y="348"/>
                  </a:lnTo>
                  <a:lnTo>
                    <a:pt x="286" y="348"/>
                  </a:lnTo>
                  <a:lnTo>
                    <a:pt x="284" y="358"/>
                  </a:lnTo>
                  <a:lnTo>
                    <a:pt x="272" y="368"/>
                  </a:lnTo>
                  <a:lnTo>
                    <a:pt x="272" y="377"/>
                  </a:lnTo>
                  <a:lnTo>
                    <a:pt x="272" y="382"/>
                  </a:lnTo>
                  <a:lnTo>
                    <a:pt x="269" y="392"/>
                  </a:lnTo>
                  <a:lnTo>
                    <a:pt x="284" y="406"/>
                  </a:lnTo>
                  <a:lnTo>
                    <a:pt x="289" y="404"/>
                  </a:lnTo>
                  <a:lnTo>
                    <a:pt x="313" y="387"/>
                  </a:lnTo>
                  <a:lnTo>
                    <a:pt x="315" y="384"/>
                  </a:lnTo>
                  <a:lnTo>
                    <a:pt x="317" y="387"/>
                  </a:lnTo>
                  <a:lnTo>
                    <a:pt x="320" y="394"/>
                  </a:lnTo>
                  <a:lnTo>
                    <a:pt x="322" y="397"/>
                  </a:lnTo>
                  <a:lnTo>
                    <a:pt x="327" y="399"/>
                  </a:lnTo>
                  <a:lnTo>
                    <a:pt x="325" y="413"/>
                  </a:lnTo>
                  <a:lnTo>
                    <a:pt x="325" y="435"/>
                  </a:lnTo>
                  <a:lnTo>
                    <a:pt x="329" y="449"/>
                  </a:lnTo>
                  <a:lnTo>
                    <a:pt x="339" y="461"/>
                  </a:lnTo>
                  <a:lnTo>
                    <a:pt x="339" y="469"/>
                  </a:lnTo>
                  <a:lnTo>
                    <a:pt x="334" y="476"/>
                  </a:lnTo>
                  <a:lnTo>
                    <a:pt x="341" y="490"/>
                  </a:lnTo>
                  <a:lnTo>
                    <a:pt x="351" y="490"/>
                  </a:lnTo>
                  <a:lnTo>
                    <a:pt x="358" y="500"/>
                  </a:lnTo>
                  <a:lnTo>
                    <a:pt x="361" y="507"/>
                  </a:lnTo>
                  <a:lnTo>
                    <a:pt x="358" y="521"/>
                  </a:lnTo>
                  <a:lnTo>
                    <a:pt x="358" y="526"/>
                  </a:lnTo>
                  <a:lnTo>
                    <a:pt x="363" y="538"/>
                  </a:lnTo>
                  <a:lnTo>
                    <a:pt x="373" y="543"/>
                  </a:lnTo>
                  <a:lnTo>
                    <a:pt x="377" y="533"/>
                  </a:lnTo>
                  <a:lnTo>
                    <a:pt x="382" y="531"/>
                  </a:lnTo>
                  <a:lnTo>
                    <a:pt x="399" y="536"/>
                  </a:lnTo>
                  <a:lnTo>
                    <a:pt x="406" y="538"/>
                  </a:lnTo>
                  <a:lnTo>
                    <a:pt x="413" y="531"/>
                  </a:lnTo>
                  <a:lnTo>
                    <a:pt x="421" y="531"/>
                  </a:lnTo>
                  <a:lnTo>
                    <a:pt x="423" y="533"/>
                  </a:lnTo>
                  <a:lnTo>
                    <a:pt x="445" y="536"/>
                  </a:lnTo>
                  <a:lnTo>
                    <a:pt x="454" y="541"/>
                  </a:lnTo>
                  <a:lnTo>
                    <a:pt x="457" y="538"/>
                  </a:lnTo>
                  <a:lnTo>
                    <a:pt x="478" y="538"/>
                  </a:lnTo>
                  <a:lnTo>
                    <a:pt x="478" y="531"/>
                  </a:lnTo>
                  <a:lnTo>
                    <a:pt x="488" y="521"/>
                  </a:lnTo>
                  <a:lnTo>
                    <a:pt x="497" y="533"/>
                  </a:lnTo>
                  <a:lnTo>
                    <a:pt x="500" y="546"/>
                  </a:lnTo>
                  <a:lnTo>
                    <a:pt x="509" y="555"/>
                  </a:lnTo>
                  <a:lnTo>
                    <a:pt x="509" y="553"/>
                  </a:lnTo>
                  <a:lnTo>
                    <a:pt x="471" y="820"/>
                  </a:lnTo>
                  <a:lnTo>
                    <a:pt x="469" y="820"/>
                  </a:lnTo>
                  <a:lnTo>
                    <a:pt x="233" y="779"/>
                  </a:lnTo>
                  <a:lnTo>
                    <a:pt x="0" y="728"/>
                  </a:lnTo>
                  <a:lnTo>
                    <a:pt x="41" y="538"/>
                  </a:lnTo>
                  <a:lnTo>
                    <a:pt x="53" y="526"/>
                  </a:lnTo>
                  <a:lnTo>
                    <a:pt x="53" y="514"/>
                  </a:lnTo>
                  <a:lnTo>
                    <a:pt x="56" y="512"/>
                  </a:lnTo>
                  <a:lnTo>
                    <a:pt x="58" y="507"/>
                  </a:lnTo>
                  <a:lnTo>
                    <a:pt x="60" y="502"/>
                  </a:lnTo>
                  <a:lnTo>
                    <a:pt x="56" y="493"/>
                  </a:lnTo>
                  <a:lnTo>
                    <a:pt x="44" y="488"/>
                  </a:lnTo>
                  <a:lnTo>
                    <a:pt x="41" y="481"/>
                  </a:lnTo>
                  <a:lnTo>
                    <a:pt x="44" y="469"/>
                  </a:lnTo>
                  <a:lnTo>
                    <a:pt x="63" y="440"/>
                  </a:lnTo>
                  <a:lnTo>
                    <a:pt x="75" y="433"/>
                  </a:lnTo>
                  <a:lnTo>
                    <a:pt x="82" y="425"/>
                  </a:lnTo>
                  <a:lnTo>
                    <a:pt x="82" y="418"/>
                  </a:lnTo>
                  <a:lnTo>
                    <a:pt x="89" y="411"/>
                  </a:lnTo>
                  <a:lnTo>
                    <a:pt x="128" y="353"/>
                  </a:lnTo>
                  <a:lnTo>
                    <a:pt x="125" y="339"/>
                  </a:lnTo>
                  <a:lnTo>
                    <a:pt x="116" y="332"/>
                  </a:lnTo>
                  <a:lnTo>
                    <a:pt x="111" y="332"/>
                  </a:lnTo>
                  <a:lnTo>
                    <a:pt x="104" y="322"/>
                  </a:lnTo>
                  <a:lnTo>
                    <a:pt x="101" y="312"/>
                  </a:lnTo>
                  <a:lnTo>
                    <a:pt x="99" y="298"/>
                  </a:lnTo>
                  <a:lnTo>
                    <a:pt x="104" y="293"/>
                  </a:lnTo>
                  <a:lnTo>
                    <a:pt x="106" y="288"/>
                  </a:lnTo>
                  <a:lnTo>
                    <a:pt x="99" y="279"/>
                  </a:lnTo>
                  <a:lnTo>
                    <a:pt x="99" y="269"/>
                  </a:lnTo>
                  <a:lnTo>
                    <a:pt x="104" y="264"/>
                  </a:lnTo>
                  <a:lnTo>
                    <a:pt x="161"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0" name="Freeform 24"/>
            <p:cNvSpPr>
              <a:spLocks/>
            </p:cNvSpPr>
            <p:nvPr/>
          </p:nvSpPr>
          <p:spPr bwMode="auto">
            <a:xfrm>
              <a:off x="3457999" y="4109916"/>
              <a:ext cx="922338" cy="1068387"/>
            </a:xfrm>
            <a:custGeom>
              <a:avLst/>
              <a:gdLst>
                <a:gd name="T0" fmla="*/ 494 w 581"/>
                <a:gd name="T1" fmla="*/ 670 h 673"/>
                <a:gd name="T2" fmla="*/ 581 w 581"/>
                <a:gd name="T3" fmla="*/ 65 h 673"/>
                <a:gd name="T4" fmla="*/ 158 w 581"/>
                <a:gd name="T5" fmla="*/ 0 h 673"/>
                <a:gd name="T6" fmla="*/ 158 w 581"/>
                <a:gd name="T7" fmla="*/ 0 h 673"/>
                <a:gd name="T8" fmla="*/ 148 w 581"/>
                <a:gd name="T9" fmla="*/ 55 h 673"/>
                <a:gd name="T10" fmla="*/ 132 w 581"/>
                <a:gd name="T11" fmla="*/ 101 h 673"/>
                <a:gd name="T12" fmla="*/ 122 w 581"/>
                <a:gd name="T13" fmla="*/ 101 h 673"/>
                <a:gd name="T14" fmla="*/ 117 w 581"/>
                <a:gd name="T15" fmla="*/ 94 h 673"/>
                <a:gd name="T16" fmla="*/ 117 w 581"/>
                <a:gd name="T17" fmla="*/ 89 h 673"/>
                <a:gd name="T18" fmla="*/ 110 w 581"/>
                <a:gd name="T19" fmla="*/ 82 h 673"/>
                <a:gd name="T20" fmla="*/ 93 w 581"/>
                <a:gd name="T21" fmla="*/ 79 h 673"/>
                <a:gd name="T22" fmla="*/ 81 w 581"/>
                <a:gd name="T23" fmla="*/ 82 h 673"/>
                <a:gd name="T24" fmla="*/ 76 w 581"/>
                <a:gd name="T25" fmla="*/ 86 h 673"/>
                <a:gd name="T26" fmla="*/ 81 w 581"/>
                <a:gd name="T27" fmla="*/ 106 h 673"/>
                <a:gd name="T28" fmla="*/ 76 w 581"/>
                <a:gd name="T29" fmla="*/ 156 h 673"/>
                <a:gd name="T30" fmla="*/ 81 w 581"/>
                <a:gd name="T31" fmla="*/ 166 h 673"/>
                <a:gd name="T32" fmla="*/ 74 w 581"/>
                <a:gd name="T33" fmla="*/ 187 h 673"/>
                <a:gd name="T34" fmla="*/ 69 w 581"/>
                <a:gd name="T35" fmla="*/ 194 h 673"/>
                <a:gd name="T36" fmla="*/ 69 w 581"/>
                <a:gd name="T37" fmla="*/ 199 h 673"/>
                <a:gd name="T38" fmla="*/ 69 w 581"/>
                <a:gd name="T39" fmla="*/ 216 h 673"/>
                <a:gd name="T40" fmla="*/ 69 w 581"/>
                <a:gd name="T41" fmla="*/ 221 h 673"/>
                <a:gd name="T42" fmla="*/ 69 w 581"/>
                <a:gd name="T43" fmla="*/ 226 h 673"/>
                <a:gd name="T44" fmla="*/ 76 w 581"/>
                <a:gd name="T45" fmla="*/ 238 h 673"/>
                <a:gd name="T46" fmla="*/ 76 w 581"/>
                <a:gd name="T47" fmla="*/ 250 h 673"/>
                <a:gd name="T48" fmla="*/ 79 w 581"/>
                <a:gd name="T49" fmla="*/ 257 h 673"/>
                <a:gd name="T50" fmla="*/ 84 w 581"/>
                <a:gd name="T51" fmla="*/ 269 h 673"/>
                <a:gd name="T52" fmla="*/ 88 w 581"/>
                <a:gd name="T53" fmla="*/ 271 h 673"/>
                <a:gd name="T54" fmla="*/ 93 w 581"/>
                <a:gd name="T55" fmla="*/ 279 h 673"/>
                <a:gd name="T56" fmla="*/ 93 w 581"/>
                <a:gd name="T57" fmla="*/ 288 h 673"/>
                <a:gd name="T58" fmla="*/ 93 w 581"/>
                <a:gd name="T59" fmla="*/ 293 h 673"/>
                <a:gd name="T60" fmla="*/ 88 w 581"/>
                <a:gd name="T61" fmla="*/ 291 h 673"/>
                <a:gd name="T62" fmla="*/ 79 w 581"/>
                <a:gd name="T63" fmla="*/ 300 h 673"/>
                <a:gd name="T64" fmla="*/ 67 w 581"/>
                <a:gd name="T65" fmla="*/ 303 h 673"/>
                <a:gd name="T66" fmla="*/ 57 w 581"/>
                <a:gd name="T67" fmla="*/ 315 h 673"/>
                <a:gd name="T68" fmla="*/ 50 w 581"/>
                <a:gd name="T69" fmla="*/ 346 h 673"/>
                <a:gd name="T70" fmla="*/ 33 w 581"/>
                <a:gd name="T71" fmla="*/ 368 h 673"/>
                <a:gd name="T72" fmla="*/ 24 w 581"/>
                <a:gd name="T73" fmla="*/ 368 h 673"/>
                <a:gd name="T74" fmla="*/ 24 w 581"/>
                <a:gd name="T75" fmla="*/ 372 h 673"/>
                <a:gd name="T76" fmla="*/ 26 w 581"/>
                <a:gd name="T77" fmla="*/ 380 h 673"/>
                <a:gd name="T78" fmla="*/ 24 w 581"/>
                <a:gd name="T79" fmla="*/ 387 h 673"/>
                <a:gd name="T80" fmla="*/ 21 w 581"/>
                <a:gd name="T81" fmla="*/ 399 h 673"/>
                <a:gd name="T82" fmla="*/ 24 w 581"/>
                <a:gd name="T83" fmla="*/ 406 h 673"/>
                <a:gd name="T84" fmla="*/ 36 w 581"/>
                <a:gd name="T85" fmla="*/ 416 h 673"/>
                <a:gd name="T86" fmla="*/ 38 w 581"/>
                <a:gd name="T87" fmla="*/ 420 h 673"/>
                <a:gd name="T88" fmla="*/ 33 w 581"/>
                <a:gd name="T89" fmla="*/ 425 h 673"/>
                <a:gd name="T90" fmla="*/ 33 w 581"/>
                <a:gd name="T91" fmla="*/ 432 h 673"/>
                <a:gd name="T92" fmla="*/ 24 w 581"/>
                <a:gd name="T93" fmla="*/ 440 h 673"/>
                <a:gd name="T94" fmla="*/ 21 w 581"/>
                <a:gd name="T95" fmla="*/ 440 h 673"/>
                <a:gd name="T96" fmla="*/ 7 w 581"/>
                <a:gd name="T97" fmla="*/ 437 h 673"/>
                <a:gd name="T98" fmla="*/ 0 w 581"/>
                <a:gd name="T99" fmla="*/ 461 h 673"/>
                <a:gd name="T100" fmla="*/ 312 w 581"/>
                <a:gd name="T101" fmla="*/ 642 h 673"/>
                <a:gd name="T102" fmla="*/ 494 w 581"/>
                <a:gd name="T103" fmla="*/ 673 h 673"/>
                <a:gd name="T104" fmla="*/ 494 w 581"/>
                <a:gd name="T105" fmla="*/ 67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673">
                  <a:moveTo>
                    <a:pt x="494" y="670"/>
                  </a:moveTo>
                  <a:lnTo>
                    <a:pt x="581" y="65"/>
                  </a:lnTo>
                  <a:lnTo>
                    <a:pt x="158" y="0"/>
                  </a:lnTo>
                  <a:lnTo>
                    <a:pt x="158" y="0"/>
                  </a:lnTo>
                  <a:lnTo>
                    <a:pt x="148" y="55"/>
                  </a:lnTo>
                  <a:lnTo>
                    <a:pt x="132" y="101"/>
                  </a:lnTo>
                  <a:lnTo>
                    <a:pt x="122" y="101"/>
                  </a:lnTo>
                  <a:lnTo>
                    <a:pt x="117" y="94"/>
                  </a:lnTo>
                  <a:lnTo>
                    <a:pt x="117" y="89"/>
                  </a:lnTo>
                  <a:lnTo>
                    <a:pt x="110" y="82"/>
                  </a:lnTo>
                  <a:lnTo>
                    <a:pt x="93" y="79"/>
                  </a:lnTo>
                  <a:lnTo>
                    <a:pt x="81" y="82"/>
                  </a:lnTo>
                  <a:lnTo>
                    <a:pt x="76" y="86"/>
                  </a:lnTo>
                  <a:lnTo>
                    <a:pt x="81" y="106"/>
                  </a:lnTo>
                  <a:lnTo>
                    <a:pt x="76" y="156"/>
                  </a:lnTo>
                  <a:lnTo>
                    <a:pt x="81" y="166"/>
                  </a:lnTo>
                  <a:lnTo>
                    <a:pt x="74" y="187"/>
                  </a:lnTo>
                  <a:lnTo>
                    <a:pt x="69" y="194"/>
                  </a:lnTo>
                  <a:lnTo>
                    <a:pt x="69" y="199"/>
                  </a:lnTo>
                  <a:lnTo>
                    <a:pt x="69" y="216"/>
                  </a:lnTo>
                  <a:lnTo>
                    <a:pt x="69" y="221"/>
                  </a:lnTo>
                  <a:lnTo>
                    <a:pt x="69" y="226"/>
                  </a:lnTo>
                  <a:lnTo>
                    <a:pt x="76" y="238"/>
                  </a:lnTo>
                  <a:lnTo>
                    <a:pt x="76" y="250"/>
                  </a:lnTo>
                  <a:lnTo>
                    <a:pt x="79" y="257"/>
                  </a:lnTo>
                  <a:lnTo>
                    <a:pt x="84" y="269"/>
                  </a:lnTo>
                  <a:lnTo>
                    <a:pt x="88" y="271"/>
                  </a:lnTo>
                  <a:lnTo>
                    <a:pt x="93" y="279"/>
                  </a:lnTo>
                  <a:lnTo>
                    <a:pt x="93" y="288"/>
                  </a:lnTo>
                  <a:lnTo>
                    <a:pt x="93" y="293"/>
                  </a:lnTo>
                  <a:lnTo>
                    <a:pt x="88" y="291"/>
                  </a:lnTo>
                  <a:lnTo>
                    <a:pt x="79" y="300"/>
                  </a:lnTo>
                  <a:lnTo>
                    <a:pt x="67" y="303"/>
                  </a:lnTo>
                  <a:lnTo>
                    <a:pt x="57" y="315"/>
                  </a:lnTo>
                  <a:lnTo>
                    <a:pt x="50" y="346"/>
                  </a:lnTo>
                  <a:lnTo>
                    <a:pt x="33" y="368"/>
                  </a:lnTo>
                  <a:lnTo>
                    <a:pt x="24" y="368"/>
                  </a:lnTo>
                  <a:lnTo>
                    <a:pt x="24" y="372"/>
                  </a:lnTo>
                  <a:lnTo>
                    <a:pt x="26" y="380"/>
                  </a:lnTo>
                  <a:lnTo>
                    <a:pt x="24" y="387"/>
                  </a:lnTo>
                  <a:lnTo>
                    <a:pt x="21" y="399"/>
                  </a:lnTo>
                  <a:lnTo>
                    <a:pt x="24" y="406"/>
                  </a:lnTo>
                  <a:lnTo>
                    <a:pt x="36" y="416"/>
                  </a:lnTo>
                  <a:lnTo>
                    <a:pt x="38" y="420"/>
                  </a:lnTo>
                  <a:lnTo>
                    <a:pt x="33" y="425"/>
                  </a:lnTo>
                  <a:lnTo>
                    <a:pt x="33" y="432"/>
                  </a:lnTo>
                  <a:lnTo>
                    <a:pt x="24" y="440"/>
                  </a:lnTo>
                  <a:lnTo>
                    <a:pt x="21" y="440"/>
                  </a:lnTo>
                  <a:lnTo>
                    <a:pt x="7" y="437"/>
                  </a:lnTo>
                  <a:lnTo>
                    <a:pt x="0" y="461"/>
                  </a:lnTo>
                  <a:lnTo>
                    <a:pt x="312" y="642"/>
                  </a:lnTo>
                  <a:lnTo>
                    <a:pt x="494" y="673"/>
                  </a:lnTo>
                  <a:lnTo>
                    <a:pt x="494" y="67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1" name="Freeform 25"/>
            <p:cNvSpPr>
              <a:spLocks/>
            </p:cNvSpPr>
            <p:nvPr/>
          </p:nvSpPr>
          <p:spPr bwMode="auto">
            <a:xfrm>
              <a:off x="3011912" y="3101854"/>
              <a:ext cx="860425" cy="1323975"/>
            </a:xfrm>
            <a:custGeom>
              <a:avLst/>
              <a:gdLst>
                <a:gd name="T0" fmla="*/ 79 w 542"/>
                <a:gd name="T1" fmla="*/ 0 h 834"/>
                <a:gd name="T2" fmla="*/ 0 w 542"/>
                <a:gd name="T3" fmla="*/ 318 h 834"/>
                <a:gd name="T4" fmla="*/ 350 w 542"/>
                <a:gd name="T5" fmla="*/ 834 h 834"/>
                <a:gd name="T6" fmla="*/ 350 w 542"/>
                <a:gd name="T7" fmla="*/ 829 h 834"/>
                <a:gd name="T8" fmla="*/ 355 w 542"/>
                <a:gd name="T9" fmla="*/ 822 h 834"/>
                <a:gd name="T10" fmla="*/ 362 w 542"/>
                <a:gd name="T11" fmla="*/ 801 h 834"/>
                <a:gd name="T12" fmla="*/ 357 w 542"/>
                <a:gd name="T13" fmla="*/ 791 h 834"/>
                <a:gd name="T14" fmla="*/ 362 w 542"/>
                <a:gd name="T15" fmla="*/ 741 h 834"/>
                <a:gd name="T16" fmla="*/ 357 w 542"/>
                <a:gd name="T17" fmla="*/ 721 h 834"/>
                <a:gd name="T18" fmla="*/ 362 w 542"/>
                <a:gd name="T19" fmla="*/ 717 h 834"/>
                <a:gd name="T20" fmla="*/ 374 w 542"/>
                <a:gd name="T21" fmla="*/ 714 h 834"/>
                <a:gd name="T22" fmla="*/ 391 w 542"/>
                <a:gd name="T23" fmla="*/ 717 h 834"/>
                <a:gd name="T24" fmla="*/ 398 w 542"/>
                <a:gd name="T25" fmla="*/ 724 h 834"/>
                <a:gd name="T26" fmla="*/ 398 w 542"/>
                <a:gd name="T27" fmla="*/ 729 h 834"/>
                <a:gd name="T28" fmla="*/ 403 w 542"/>
                <a:gd name="T29" fmla="*/ 736 h 834"/>
                <a:gd name="T30" fmla="*/ 413 w 542"/>
                <a:gd name="T31" fmla="*/ 736 h 834"/>
                <a:gd name="T32" fmla="*/ 429 w 542"/>
                <a:gd name="T33" fmla="*/ 690 h 834"/>
                <a:gd name="T34" fmla="*/ 439 w 542"/>
                <a:gd name="T35" fmla="*/ 635 h 834"/>
                <a:gd name="T36" fmla="*/ 542 w 542"/>
                <a:gd name="T37" fmla="*/ 104 h 834"/>
                <a:gd name="T38" fmla="*/ 309 w 542"/>
                <a:gd name="T39" fmla="*/ 53 h 834"/>
                <a:gd name="T40" fmla="*/ 79 w 542"/>
                <a:gd name="T41"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2" h="834">
                  <a:moveTo>
                    <a:pt x="79" y="0"/>
                  </a:moveTo>
                  <a:lnTo>
                    <a:pt x="0" y="318"/>
                  </a:lnTo>
                  <a:lnTo>
                    <a:pt x="350" y="834"/>
                  </a:lnTo>
                  <a:lnTo>
                    <a:pt x="350" y="829"/>
                  </a:lnTo>
                  <a:lnTo>
                    <a:pt x="355" y="822"/>
                  </a:lnTo>
                  <a:lnTo>
                    <a:pt x="362" y="801"/>
                  </a:lnTo>
                  <a:lnTo>
                    <a:pt x="357" y="791"/>
                  </a:lnTo>
                  <a:lnTo>
                    <a:pt x="362" y="741"/>
                  </a:lnTo>
                  <a:lnTo>
                    <a:pt x="357" y="721"/>
                  </a:lnTo>
                  <a:lnTo>
                    <a:pt x="362" y="717"/>
                  </a:lnTo>
                  <a:lnTo>
                    <a:pt x="374" y="714"/>
                  </a:lnTo>
                  <a:lnTo>
                    <a:pt x="391" y="717"/>
                  </a:lnTo>
                  <a:lnTo>
                    <a:pt x="398" y="724"/>
                  </a:lnTo>
                  <a:lnTo>
                    <a:pt x="398" y="729"/>
                  </a:lnTo>
                  <a:lnTo>
                    <a:pt x="403" y="736"/>
                  </a:lnTo>
                  <a:lnTo>
                    <a:pt x="413" y="736"/>
                  </a:lnTo>
                  <a:lnTo>
                    <a:pt x="429" y="690"/>
                  </a:lnTo>
                  <a:lnTo>
                    <a:pt x="439" y="635"/>
                  </a:lnTo>
                  <a:lnTo>
                    <a:pt x="542" y="104"/>
                  </a:lnTo>
                  <a:lnTo>
                    <a:pt x="309" y="53"/>
                  </a:lnTo>
                  <a:lnTo>
                    <a:pt x="79"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2" name="Freeform 26"/>
            <p:cNvSpPr>
              <a:spLocks/>
            </p:cNvSpPr>
            <p:nvPr/>
          </p:nvSpPr>
          <p:spPr bwMode="auto">
            <a:xfrm>
              <a:off x="2862687" y="1866779"/>
              <a:ext cx="895350" cy="658812"/>
            </a:xfrm>
            <a:custGeom>
              <a:avLst/>
              <a:gdLst>
                <a:gd name="T0" fmla="*/ 507 w 564"/>
                <a:gd name="T1" fmla="*/ 396 h 415"/>
                <a:gd name="T2" fmla="*/ 504 w 564"/>
                <a:gd name="T3" fmla="*/ 415 h 415"/>
                <a:gd name="T4" fmla="*/ 343 w 564"/>
                <a:gd name="T5" fmla="*/ 384 h 415"/>
                <a:gd name="T6" fmla="*/ 329 w 564"/>
                <a:gd name="T7" fmla="*/ 382 h 415"/>
                <a:gd name="T8" fmla="*/ 312 w 564"/>
                <a:gd name="T9" fmla="*/ 379 h 415"/>
                <a:gd name="T10" fmla="*/ 298 w 564"/>
                <a:gd name="T11" fmla="*/ 382 h 415"/>
                <a:gd name="T12" fmla="*/ 276 w 564"/>
                <a:gd name="T13" fmla="*/ 379 h 415"/>
                <a:gd name="T14" fmla="*/ 257 w 564"/>
                <a:gd name="T15" fmla="*/ 384 h 415"/>
                <a:gd name="T16" fmla="*/ 233 w 564"/>
                <a:gd name="T17" fmla="*/ 379 h 415"/>
                <a:gd name="T18" fmla="*/ 187 w 564"/>
                <a:gd name="T19" fmla="*/ 379 h 415"/>
                <a:gd name="T20" fmla="*/ 154 w 564"/>
                <a:gd name="T21" fmla="*/ 363 h 415"/>
                <a:gd name="T22" fmla="*/ 122 w 564"/>
                <a:gd name="T23" fmla="*/ 363 h 415"/>
                <a:gd name="T24" fmla="*/ 74 w 564"/>
                <a:gd name="T25" fmla="*/ 348 h 415"/>
                <a:gd name="T26" fmla="*/ 72 w 564"/>
                <a:gd name="T27" fmla="*/ 312 h 415"/>
                <a:gd name="T28" fmla="*/ 72 w 564"/>
                <a:gd name="T29" fmla="*/ 290 h 415"/>
                <a:gd name="T30" fmla="*/ 43 w 564"/>
                <a:gd name="T31" fmla="*/ 278 h 415"/>
                <a:gd name="T32" fmla="*/ 34 w 564"/>
                <a:gd name="T33" fmla="*/ 269 h 415"/>
                <a:gd name="T34" fmla="*/ 19 w 564"/>
                <a:gd name="T35" fmla="*/ 259 h 415"/>
                <a:gd name="T36" fmla="*/ 2 w 564"/>
                <a:gd name="T37" fmla="*/ 252 h 415"/>
                <a:gd name="T38" fmla="*/ 0 w 564"/>
                <a:gd name="T39" fmla="*/ 245 h 415"/>
                <a:gd name="T40" fmla="*/ 5 w 564"/>
                <a:gd name="T41" fmla="*/ 228 h 415"/>
                <a:gd name="T42" fmla="*/ 5 w 564"/>
                <a:gd name="T43" fmla="*/ 218 h 415"/>
                <a:gd name="T44" fmla="*/ 10 w 564"/>
                <a:gd name="T45" fmla="*/ 218 h 415"/>
                <a:gd name="T46" fmla="*/ 10 w 564"/>
                <a:gd name="T47" fmla="*/ 230 h 415"/>
                <a:gd name="T48" fmla="*/ 10 w 564"/>
                <a:gd name="T49" fmla="*/ 238 h 415"/>
                <a:gd name="T50" fmla="*/ 19 w 564"/>
                <a:gd name="T51" fmla="*/ 223 h 415"/>
                <a:gd name="T52" fmla="*/ 24 w 564"/>
                <a:gd name="T53" fmla="*/ 213 h 415"/>
                <a:gd name="T54" fmla="*/ 14 w 564"/>
                <a:gd name="T55" fmla="*/ 206 h 415"/>
                <a:gd name="T56" fmla="*/ 14 w 564"/>
                <a:gd name="T57" fmla="*/ 187 h 415"/>
                <a:gd name="T58" fmla="*/ 24 w 564"/>
                <a:gd name="T59" fmla="*/ 187 h 415"/>
                <a:gd name="T60" fmla="*/ 26 w 564"/>
                <a:gd name="T61" fmla="*/ 177 h 415"/>
                <a:gd name="T62" fmla="*/ 24 w 564"/>
                <a:gd name="T63" fmla="*/ 173 h 415"/>
                <a:gd name="T64" fmla="*/ 17 w 564"/>
                <a:gd name="T65" fmla="*/ 168 h 415"/>
                <a:gd name="T66" fmla="*/ 19 w 564"/>
                <a:gd name="T67" fmla="*/ 146 h 415"/>
                <a:gd name="T68" fmla="*/ 17 w 564"/>
                <a:gd name="T69" fmla="*/ 127 h 415"/>
                <a:gd name="T70" fmla="*/ 22 w 564"/>
                <a:gd name="T71" fmla="*/ 96 h 415"/>
                <a:gd name="T72" fmla="*/ 12 w 564"/>
                <a:gd name="T73" fmla="*/ 48 h 415"/>
                <a:gd name="T74" fmla="*/ 19 w 564"/>
                <a:gd name="T75" fmla="*/ 21 h 415"/>
                <a:gd name="T76" fmla="*/ 98 w 564"/>
                <a:gd name="T77" fmla="*/ 72 h 415"/>
                <a:gd name="T78" fmla="*/ 132 w 564"/>
                <a:gd name="T79" fmla="*/ 86 h 415"/>
                <a:gd name="T80" fmla="*/ 149 w 564"/>
                <a:gd name="T81" fmla="*/ 89 h 415"/>
                <a:gd name="T82" fmla="*/ 154 w 564"/>
                <a:gd name="T83" fmla="*/ 122 h 415"/>
                <a:gd name="T84" fmla="*/ 144 w 564"/>
                <a:gd name="T85" fmla="*/ 134 h 415"/>
                <a:gd name="T86" fmla="*/ 142 w 564"/>
                <a:gd name="T87" fmla="*/ 156 h 415"/>
                <a:gd name="T88" fmla="*/ 142 w 564"/>
                <a:gd name="T89" fmla="*/ 165 h 415"/>
                <a:gd name="T90" fmla="*/ 137 w 564"/>
                <a:gd name="T91" fmla="*/ 173 h 415"/>
                <a:gd name="T92" fmla="*/ 154 w 564"/>
                <a:gd name="T93" fmla="*/ 173 h 415"/>
                <a:gd name="T94" fmla="*/ 163 w 564"/>
                <a:gd name="T95" fmla="*/ 144 h 415"/>
                <a:gd name="T96" fmla="*/ 182 w 564"/>
                <a:gd name="T97" fmla="*/ 120 h 415"/>
                <a:gd name="T98" fmla="*/ 178 w 564"/>
                <a:gd name="T99" fmla="*/ 91 h 415"/>
                <a:gd name="T100" fmla="*/ 166 w 564"/>
                <a:gd name="T101" fmla="*/ 57 h 415"/>
                <a:gd name="T102" fmla="*/ 175 w 564"/>
                <a:gd name="T103" fmla="*/ 57 h 415"/>
                <a:gd name="T104" fmla="*/ 180 w 564"/>
                <a:gd name="T105" fmla="*/ 28 h 415"/>
                <a:gd name="T106" fmla="*/ 170 w 564"/>
                <a:gd name="T107" fmla="*/ 19 h 415"/>
                <a:gd name="T108" fmla="*/ 283 w 564"/>
                <a:gd name="T109" fmla="*/ 31 h 415"/>
                <a:gd name="T110" fmla="*/ 564 w 564"/>
                <a:gd name="T111" fmla="*/ 103 h 415"/>
                <a:gd name="T112" fmla="*/ 502 w 564"/>
                <a:gd name="T113" fmla="*/ 372 h 415"/>
                <a:gd name="T114" fmla="*/ 509 w 564"/>
                <a:gd name="T115" fmla="*/ 391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4" h="415">
                  <a:moveTo>
                    <a:pt x="509" y="391"/>
                  </a:moveTo>
                  <a:lnTo>
                    <a:pt x="507" y="396"/>
                  </a:lnTo>
                  <a:lnTo>
                    <a:pt x="502" y="401"/>
                  </a:lnTo>
                  <a:lnTo>
                    <a:pt x="504" y="415"/>
                  </a:lnTo>
                  <a:lnTo>
                    <a:pt x="355" y="379"/>
                  </a:lnTo>
                  <a:lnTo>
                    <a:pt x="343" y="384"/>
                  </a:lnTo>
                  <a:lnTo>
                    <a:pt x="336" y="384"/>
                  </a:lnTo>
                  <a:lnTo>
                    <a:pt x="329" y="382"/>
                  </a:lnTo>
                  <a:lnTo>
                    <a:pt x="319" y="382"/>
                  </a:lnTo>
                  <a:lnTo>
                    <a:pt x="312" y="379"/>
                  </a:lnTo>
                  <a:lnTo>
                    <a:pt x="305" y="379"/>
                  </a:lnTo>
                  <a:lnTo>
                    <a:pt x="298" y="382"/>
                  </a:lnTo>
                  <a:lnTo>
                    <a:pt x="286" y="379"/>
                  </a:lnTo>
                  <a:lnTo>
                    <a:pt x="276" y="379"/>
                  </a:lnTo>
                  <a:lnTo>
                    <a:pt x="266" y="384"/>
                  </a:lnTo>
                  <a:lnTo>
                    <a:pt x="257" y="384"/>
                  </a:lnTo>
                  <a:lnTo>
                    <a:pt x="238" y="382"/>
                  </a:lnTo>
                  <a:lnTo>
                    <a:pt x="233" y="379"/>
                  </a:lnTo>
                  <a:lnTo>
                    <a:pt x="223" y="375"/>
                  </a:lnTo>
                  <a:lnTo>
                    <a:pt x="187" y="379"/>
                  </a:lnTo>
                  <a:lnTo>
                    <a:pt x="182" y="370"/>
                  </a:lnTo>
                  <a:lnTo>
                    <a:pt x="154" y="363"/>
                  </a:lnTo>
                  <a:lnTo>
                    <a:pt x="139" y="360"/>
                  </a:lnTo>
                  <a:lnTo>
                    <a:pt x="122" y="363"/>
                  </a:lnTo>
                  <a:lnTo>
                    <a:pt x="96" y="360"/>
                  </a:lnTo>
                  <a:lnTo>
                    <a:pt x="74" y="348"/>
                  </a:lnTo>
                  <a:lnTo>
                    <a:pt x="70" y="341"/>
                  </a:lnTo>
                  <a:lnTo>
                    <a:pt x="72" y="312"/>
                  </a:lnTo>
                  <a:lnTo>
                    <a:pt x="74" y="307"/>
                  </a:lnTo>
                  <a:lnTo>
                    <a:pt x="72" y="290"/>
                  </a:lnTo>
                  <a:lnTo>
                    <a:pt x="55" y="278"/>
                  </a:lnTo>
                  <a:lnTo>
                    <a:pt x="43" y="278"/>
                  </a:lnTo>
                  <a:lnTo>
                    <a:pt x="41" y="274"/>
                  </a:lnTo>
                  <a:lnTo>
                    <a:pt x="34" y="269"/>
                  </a:lnTo>
                  <a:lnTo>
                    <a:pt x="22" y="262"/>
                  </a:lnTo>
                  <a:lnTo>
                    <a:pt x="19" y="259"/>
                  </a:lnTo>
                  <a:lnTo>
                    <a:pt x="7" y="252"/>
                  </a:lnTo>
                  <a:lnTo>
                    <a:pt x="2" y="252"/>
                  </a:lnTo>
                  <a:lnTo>
                    <a:pt x="0" y="250"/>
                  </a:lnTo>
                  <a:lnTo>
                    <a:pt x="0" y="245"/>
                  </a:lnTo>
                  <a:lnTo>
                    <a:pt x="2" y="233"/>
                  </a:lnTo>
                  <a:lnTo>
                    <a:pt x="5" y="228"/>
                  </a:lnTo>
                  <a:lnTo>
                    <a:pt x="5" y="223"/>
                  </a:lnTo>
                  <a:lnTo>
                    <a:pt x="5" y="218"/>
                  </a:lnTo>
                  <a:lnTo>
                    <a:pt x="7" y="218"/>
                  </a:lnTo>
                  <a:lnTo>
                    <a:pt x="10" y="218"/>
                  </a:lnTo>
                  <a:lnTo>
                    <a:pt x="10" y="226"/>
                  </a:lnTo>
                  <a:lnTo>
                    <a:pt x="10" y="230"/>
                  </a:lnTo>
                  <a:lnTo>
                    <a:pt x="10" y="233"/>
                  </a:lnTo>
                  <a:lnTo>
                    <a:pt x="10" y="238"/>
                  </a:lnTo>
                  <a:lnTo>
                    <a:pt x="19" y="228"/>
                  </a:lnTo>
                  <a:lnTo>
                    <a:pt x="19" y="223"/>
                  </a:lnTo>
                  <a:lnTo>
                    <a:pt x="19" y="218"/>
                  </a:lnTo>
                  <a:lnTo>
                    <a:pt x="24" y="213"/>
                  </a:lnTo>
                  <a:lnTo>
                    <a:pt x="19" y="206"/>
                  </a:lnTo>
                  <a:lnTo>
                    <a:pt x="14" y="206"/>
                  </a:lnTo>
                  <a:lnTo>
                    <a:pt x="12" y="189"/>
                  </a:lnTo>
                  <a:lnTo>
                    <a:pt x="14" y="187"/>
                  </a:lnTo>
                  <a:lnTo>
                    <a:pt x="22" y="189"/>
                  </a:lnTo>
                  <a:lnTo>
                    <a:pt x="24" y="187"/>
                  </a:lnTo>
                  <a:lnTo>
                    <a:pt x="34" y="185"/>
                  </a:lnTo>
                  <a:lnTo>
                    <a:pt x="26" y="177"/>
                  </a:lnTo>
                  <a:lnTo>
                    <a:pt x="26" y="175"/>
                  </a:lnTo>
                  <a:lnTo>
                    <a:pt x="24" y="173"/>
                  </a:lnTo>
                  <a:lnTo>
                    <a:pt x="17" y="177"/>
                  </a:lnTo>
                  <a:lnTo>
                    <a:pt x="17" y="168"/>
                  </a:lnTo>
                  <a:lnTo>
                    <a:pt x="17" y="161"/>
                  </a:lnTo>
                  <a:lnTo>
                    <a:pt x="19" y="146"/>
                  </a:lnTo>
                  <a:lnTo>
                    <a:pt x="17" y="137"/>
                  </a:lnTo>
                  <a:lnTo>
                    <a:pt x="17" y="127"/>
                  </a:lnTo>
                  <a:lnTo>
                    <a:pt x="19" y="105"/>
                  </a:lnTo>
                  <a:lnTo>
                    <a:pt x="22" y="96"/>
                  </a:lnTo>
                  <a:lnTo>
                    <a:pt x="12" y="67"/>
                  </a:lnTo>
                  <a:lnTo>
                    <a:pt x="12" y="48"/>
                  </a:lnTo>
                  <a:lnTo>
                    <a:pt x="14" y="36"/>
                  </a:lnTo>
                  <a:lnTo>
                    <a:pt x="19" y="21"/>
                  </a:lnTo>
                  <a:lnTo>
                    <a:pt x="72" y="57"/>
                  </a:lnTo>
                  <a:lnTo>
                    <a:pt x="98" y="72"/>
                  </a:lnTo>
                  <a:lnTo>
                    <a:pt x="120" y="79"/>
                  </a:lnTo>
                  <a:lnTo>
                    <a:pt x="132" y="86"/>
                  </a:lnTo>
                  <a:lnTo>
                    <a:pt x="144" y="86"/>
                  </a:lnTo>
                  <a:lnTo>
                    <a:pt x="149" y="89"/>
                  </a:lnTo>
                  <a:lnTo>
                    <a:pt x="151" y="96"/>
                  </a:lnTo>
                  <a:lnTo>
                    <a:pt x="154" y="122"/>
                  </a:lnTo>
                  <a:lnTo>
                    <a:pt x="151" y="129"/>
                  </a:lnTo>
                  <a:lnTo>
                    <a:pt x="144" y="134"/>
                  </a:lnTo>
                  <a:lnTo>
                    <a:pt x="142" y="146"/>
                  </a:lnTo>
                  <a:lnTo>
                    <a:pt x="142" y="156"/>
                  </a:lnTo>
                  <a:lnTo>
                    <a:pt x="142" y="161"/>
                  </a:lnTo>
                  <a:lnTo>
                    <a:pt x="142" y="165"/>
                  </a:lnTo>
                  <a:lnTo>
                    <a:pt x="137" y="170"/>
                  </a:lnTo>
                  <a:lnTo>
                    <a:pt x="137" y="173"/>
                  </a:lnTo>
                  <a:lnTo>
                    <a:pt x="144" y="177"/>
                  </a:lnTo>
                  <a:lnTo>
                    <a:pt x="154" y="173"/>
                  </a:lnTo>
                  <a:lnTo>
                    <a:pt x="161" y="149"/>
                  </a:lnTo>
                  <a:lnTo>
                    <a:pt x="163" y="144"/>
                  </a:lnTo>
                  <a:lnTo>
                    <a:pt x="168" y="134"/>
                  </a:lnTo>
                  <a:lnTo>
                    <a:pt x="182" y="120"/>
                  </a:lnTo>
                  <a:lnTo>
                    <a:pt x="182" y="113"/>
                  </a:lnTo>
                  <a:lnTo>
                    <a:pt x="178" y="91"/>
                  </a:lnTo>
                  <a:lnTo>
                    <a:pt x="166" y="62"/>
                  </a:lnTo>
                  <a:lnTo>
                    <a:pt x="166" y="57"/>
                  </a:lnTo>
                  <a:lnTo>
                    <a:pt x="168" y="55"/>
                  </a:lnTo>
                  <a:lnTo>
                    <a:pt x="175" y="57"/>
                  </a:lnTo>
                  <a:lnTo>
                    <a:pt x="182" y="45"/>
                  </a:lnTo>
                  <a:lnTo>
                    <a:pt x="180" y="28"/>
                  </a:lnTo>
                  <a:lnTo>
                    <a:pt x="170" y="28"/>
                  </a:lnTo>
                  <a:lnTo>
                    <a:pt x="170" y="19"/>
                  </a:lnTo>
                  <a:lnTo>
                    <a:pt x="170" y="0"/>
                  </a:lnTo>
                  <a:lnTo>
                    <a:pt x="283" y="31"/>
                  </a:lnTo>
                  <a:lnTo>
                    <a:pt x="389" y="60"/>
                  </a:lnTo>
                  <a:lnTo>
                    <a:pt x="564" y="103"/>
                  </a:lnTo>
                  <a:lnTo>
                    <a:pt x="507" y="367"/>
                  </a:lnTo>
                  <a:lnTo>
                    <a:pt x="502" y="372"/>
                  </a:lnTo>
                  <a:lnTo>
                    <a:pt x="502" y="382"/>
                  </a:lnTo>
                  <a:lnTo>
                    <a:pt x="509" y="391"/>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3" name="Freeform 27"/>
            <p:cNvSpPr>
              <a:spLocks/>
            </p:cNvSpPr>
            <p:nvPr/>
          </p:nvSpPr>
          <p:spPr bwMode="auto">
            <a:xfrm>
              <a:off x="2527724" y="2965329"/>
              <a:ext cx="1077913" cy="1843087"/>
            </a:xfrm>
            <a:custGeom>
              <a:avLst/>
              <a:gdLst>
                <a:gd name="T0" fmla="*/ 670 w 679"/>
                <a:gd name="T1" fmla="*/ 990 h 1161"/>
                <a:gd name="T2" fmla="*/ 662 w 679"/>
                <a:gd name="T3" fmla="*/ 959 h 1161"/>
                <a:gd name="T4" fmla="*/ 655 w 679"/>
                <a:gd name="T5" fmla="*/ 937 h 1161"/>
                <a:gd name="T6" fmla="*/ 384 w 679"/>
                <a:gd name="T7" fmla="*/ 86 h 1161"/>
                <a:gd name="T8" fmla="*/ 57 w 679"/>
                <a:gd name="T9" fmla="*/ 19 h 1161"/>
                <a:gd name="T10" fmla="*/ 52 w 679"/>
                <a:gd name="T11" fmla="*/ 74 h 1161"/>
                <a:gd name="T12" fmla="*/ 43 w 679"/>
                <a:gd name="T13" fmla="*/ 101 h 1161"/>
                <a:gd name="T14" fmla="*/ 2 w 679"/>
                <a:gd name="T15" fmla="*/ 163 h 1161"/>
                <a:gd name="T16" fmla="*/ 4 w 679"/>
                <a:gd name="T17" fmla="*/ 190 h 1161"/>
                <a:gd name="T18" fmla="*/ 14 w 679"/>
                <a:gd name="T19" fmla="*/ 206 h 1161"/>
                <a:gd name="T20" fmla="*/ 24 w 679"/>
                <a:gd name="T21" fmla="*/ 259 h 1161"/>
                <a:gd name="T22" fmla="*/ 12 w 679"/>
                <a:gd name="T23" fmla="*/ 303 h 1161"/>
                <a:gd name="T24" fmla="*/ 19 w 679"/>
                <a:gd name="T25" fmla="*/ 355 h 1161"/>
                <a:gd name="T26" fmla="*/ 43 w 679"/>
                <a:gd name="T27" fmla="*/ 428 h 1161"/>
                <a:gd name="T28" fmla="*/ 62 w 679"/>
                <a:gd name="T29" fmla="*/ 461 h 1161"/>
                <a:gd name="T30" fmla="*/ 76 w 679"/>
                <a:gd name="T31" fmla="*/ 454 h 1161"/>
                <a:gd name="T32" fmla="*/ 86 w 679"/>
                <a:gd name="T33" fmla="*/ 461 h 1161"/>
                <a:gd name="T34" fmla="*/ 93 w 679"/>
                <a:gd name="T35" fmla="*/ 502 h 1161"/>
                <a:gd name="T36" fmla="*/ 76 w 679"/>
                <a:gd name="T37" fmla="*/ 492 h 1161"/>
                <a:gd name="T38" fmla="*/ 69 w 679"/>
                <a:gd name="T39" fmla="*/ 473 h 1161"/>
                <a:gd name="T40" fmla="*/ 64 w 679"/>
                <a:gd name="T41" fmla="*/ 502 h 1161"/>
                <a:gd name="T42" fmla="*/ 67 w 679"/>
                <a:gd name="T43" fmla="*/ 555 h 1161"/>
                <a:gd name="T44" fmla="*/ 98 w 679"/>
                <a:gd name="T45" fmla="*/ 579 h 1161"/>
                <a:gd name="T46" fmla="*/ 84 w 679"/>
                <a:gd name="T47" fmla="*/ 610 h 1161"/>
                <a:gd name="T48" fmla="*/ 96 w 679"/>
                <a:gd name="T49" fmla="*/ 668 h 1161"/>
                <a:gd name="T50" fmla="*/ 103 w 679"/>
                <a:gd name="T51" fmla="*/ 702 h 1161"/>
                <a:gd name="T52" fmla="*/ 139 w 679"/>
                <a:gd name="T53" fmla="*/ 766 h 1161"/>
                <a:gd name="T54" fmla="*/ 134 w 679"/>
                <a:gd name="T55" fmla="*/ 781 h 1161"/>
                <a:gd name="T56" fmla="*/ 146 w 679"/>
                <a:gd name="T57" fmla="*/ 805 h 1161"/>
                <a:gd name="T58" fmla="*/ 134 w 679"/>
                <a:gd name="T59" fmla="*/ 843 h 1161"/>
                <a:gd name="T60" fmla="*/ 158 w 679"/>
                <a:gd name="T61" fmla="*/ 872 h 1161"/>
                <a:gd name="T62" fmla="*/ 223 w 679"/>
                <a:gd name="T63" fmla="*/ 891 h 1161"/>
                <a:gd name="T64" fmla="*/ 261 w 679"/>
                <a:gd name="T65" fmla="*/ 940 h 1161"/>
                <a:gd name="T66" fmla="*/ 302 w 679"/>
                <a:gd name="T67" fmla="*/ 956 h 1161"/>
                <a:gd name="T68" fmla="*/ 302 w 679"/>
                <a:gd name="T69" fmla="*/ 978 h 1161"/>
                <a:gd name="T70" fmla="*/ 341 w 679"/>
                <a:gd name="T71" fmla="*/ 1004 h 1161"/>
                <a:gd name="T72" fmla="*/ 379 w 679"/>
                <a:gd name="T73" fmla="*/ 1067 h 1161"/>
                <a:gd name="T74" fmla="*/ 381 w 679"/>
                <a:gd name="T75" fmla="*/ 1115 h 1161"/>
                <a:gd name="T76" fmla="*/ 384 w 679"/>
                <a:gd name="T77" fmla="*/ 1117 h 1161"/>
                <a:gd name="T78" fmla="*/ 386 w 679"/>
                <a:gd name="T79" fmla="*/ 1137 h 1161"/>
                <a:gd name="T80" fmla="*/ 610 w 679"/>
                <a:gd name="T81" fmla="*/ 1161 h 1161"/>
                <a:gd name="T82" fmla="*/ 624 w 679"/>
                <a:gd name="T83" fmla="*/ 1141 h 1161"/>
                <a:gd name="T84" fmla="*/ 607 w 679"/>
                <a:gd name="T85" fmla="*/ 1120 h 1161"/>
                <a:gd name="T86" fmla="*/ 610 w 679"/>
                <a:gd name="T87" fmla="*/ 1093 h 1161"/>
                <a:gd name="T88" fmla="*/ 636 w 679"/>
                <a:gd name="T89" fmla="*/ 1067 h 1161"/>
                <a:gd name="T90" fmla="*/ 665 w 679"/>
                <a:gd name="T91" fmla="*/ 1021 h 1161"/>
                <a:gd name="T92" fmla="*/ 679 w 679"/>
                <a:gd name="T93" fmla="*/ 1009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9" h="1161">
                  <a:moveTo>
                    <a:pt x="679" y="1000"/>
                  </a:moveTo>
                  <a:lnTo>
                    <a:pt x="674" y="992"/>
                  </a:lnTo>
                  <a:lnTo>
                    <a:pt x="670" y="990"/>
                  </a:lnTo>
                  <a:lnTo>
                    <a:pt x="665" y="978"/>
                  </a:lnTo>
                  <a:lnTo>
                    <a:pt x="662" y="971"/>
                  </a:lnTo>
                  <a:lnTo>
                    <a:pt x="662" y="959"/>
                  </a:lnTo>
                  <a:lnTo>
                    <a:pt x="655" y="947"/>
                  </a:lnTo>
                  <a:lnTo>
                    <a:pt x="655" y="942"/>
                  </a:lnTo>
                  <a:lnTo>
                    <a:pt x="655" y="937"/>
                  </a:lnTo>
                  <a:lnTo>
                    <a:pt x="655" y="920"/>
                  </a:lnTo>
                  <a:lnTo>
                    <a:pt x="305" y="404"/>
                  </a:lnTo>
                  <a:lnTo>
                    <a:pt x="384" y="86"/>
                  </a:lnTo>
                  <a:lnTo>
                    <a:pt x="67" y="0"/>
                  </a:lnTo>
                  <a:lnTo>
                    <a:pt x="62" y="5"/>
                  </a:lnTo>
                  <a:lnTo>
                    <a:pt x="57" y="19"/>
                  </a:lnTo>
                  <a:lnTo>
                    <a:pt x="62" y="33"/>
                  </a:lnTo>
                  <a:lnTo>
                    <a:pt x="60" y="62"/>
                  </a:lnTo>
                  <a:lnTo>
                    <a:pt x="52" y="74"/>
                  </a:lnTo>
                  <a:lnTo>
                    <a:pt x="45" y="81"/>
                  </a:lnTo>
                  <a:lnTo>
                    <a:pt x="43" y="94"/>
                  </a:lnTo>
                  <a:lnTo>
                    <a:pt x="43" y="101"/>
                  </a:lnTo>
                  <a:lnTo>
                    <a:pt x="12" y="134"/>
                  </a:lnTo>
                  <a:lnTo>
                    <a:pt x="2" y="151"/>
                  </a:lnTo>
                  <a:lnTo>
                    <a:pt x="2" y="163"/>
                  </a:lnTo>
                  <a:lnTo>
                    <a:pt x="0" y="168"/>
                  </a:lnTo>
                  <a:lnTo>
                    <a:pt x="2" y="180"/>
                  </a:lnTo>
                  <a:lnTo>
                    <a:pt x="4" y="190"/>
                  </a:lnTo>
                  <a:lnTo>
                    <a:pt x="9" y="194"/>
                  </a:lnTo>
                  <a:lnTo>
                    <a:pt x="12" y="202"/>
                  </a:lnTo>
                  <a:lnTo>
                    <a:pt x="14" y="206"/>
                  </a:lnTo>
                  <a:lnTo>
                    <a:pt x="24" y="231"/>
                  </a:lnTo>
                  <a:lnTo>
                    <a:pt x="26" y="252"/>
                  </a:lnTo>
                  <a:lnTo>
                    <a:pt x="24" y="259"/>
                  </a:lnTo>
                  <a:lnTo>
                    <a:pt x="16" y="269"/>
                  </a:lnTo>
                  <a:lnTo>
                    <a:pt x="9" y="293"/>
                  </a:lnTo>
                  <a:lnTo>
                    <a:pt x="12" y="303"/>
                  </a:lnTo>
                  <a:lnTo>
                    <a:pt x="14" y="312"/>
                  </a:lnTo>
                  <a:lnTo>
                    <a:pt x="7" y="322"/>
                  </a:lnTo>
                  <a:lnTo>
                    <a:pt x="19" y="355"/>
                  </a:lnTo>
                  <a:lnTo>
                    <a:pt x="26" y="370"/>
                  </a:lnTo>
                  <a:lnTo>
                    <a:pt x="43" y="389"/>
                  </a:lnTo>
                  <a:lnTo>
                    <a:pt x="43" y="428"/>
                  </a:lnTo>
                  <a:lnTo>
                    <a:pt x="36" y="440"/>
                  </a:lnTo>
                  <a:lnTo>
                    <a:pt x="48" y="444"/>
                  </a:lnTo>
                  <a:lnTo>
                    <a:pt x="62" y="461"/>
                  </a:lnTo>
                  <a:lnTo>
                    <a:pt x="74" y="466"/>
                  </a:lnTo>
                  <a:lnTo>
                    <a:pt x="76" y="461"/>
                  </a:lnTo>
                  <a:lnTo>
                    <a:pt x="76" y="454"/>
                  </a:lnTo>
                  <a:lnTo>
                    <a:pt x="86" y="447"/>
                  </a:lnTo>
                  <a:lnTo>
                    <a:pt x="88" y="447"/>
                  </a:lnTo>
                  <a:lnTo>
                    <a:pt x="86" y="461"/>
                  </a:lnTo>
                  <a:lnTo>
                    <a:pt x="88" y="473"/>
                  </a:lnTo>
                  <a:lnTo>
                    <a:pt x="93" y="492"/>
                  </a:lnTo>
                  <a:lnTo>
                    <a:pt x="93" y="502"/>
                  </a:lnTo>
                  <a:lnTo>
                    <a:pt x="91" y="507"/>
                  </a:lnTo>
                  <a:lnTo>
                    <a:pt x="79" y="497"/>
                  </a:lnTo>
                  <a:lnTo>
                    <a:pt x="76" y="492"/>
                  </a:lnTo>
                  <a:lnTo>
                    <a:pt x="76" y="478"/>
                  </a:lnTo>
                  <a:lnTo>
                    <a:pt x="74" y="473"/>
                  </a:lnTo>
                  <a:lnTo>
                    <a:pt x="69" y="473"/>
                  </a:lnTo>
                  <a:lnTo>
                    <a:pt x="67" y="490"/>
                  </a:lnTo>
                  <a:lnTo>
                    <a:pt x="62" y="492"/>
                  </a:lnTo>
                  <a:lnTo>
                    <a:pt x="64" y="502"/>
                  </a:lnTo>
                  <a:lnTo>
                    <a:pt x="62" y="507"/>
                  </a:lnTo>
                  <a:lnTo>
                    <a:pt x="62" y="543"/>
                  </a:lnTo>
                  <a:lnTo>
                    <a:pt x="67" y="555"/>
                  </a:lnTo>
                  <a:lnTo>
                    <a:pt x="79" y="567"/>
                  </a:lnTo>
                  <a:lnTo>
                    <a:pt x="93" y="574"/>
                  </a:lnTo>
                  <a:lnTo>
                    <a:pt x="98" y="579"/>
                  </a:lnTo>
                  <a:lnTo>
                    <a:pt x="98" y="598"/>
                  </a:lnTo>
                  <a:lnTo>
                    <a:pt x="88" y="608"/>
                  </a:lnTo>
                  <a:lnTo>
                    <a:pt x="84" y="610"/>
                  </a:lnTo>
                  <a:lnTo>
                    <a:pt x="79" y="615"/>
                  </a:lnTo>
                  <a:lnTo>
                    <a:pt x="76" y="641"/>
                  </a:lnTo>
                  <a:lnTo>
                    <a:pt x="96" y="668"/>
                  </a:lnTo>
                  <a:lnTo>
                    <a:pt x="96" y="678"/>
                  </a:lnTo>
                  <a:lnTo>
                    <a:pt x="100" y="687"/>
                  </a:lnTo>
                  <a:lnTo>
                    <a:pt x="103" y="702"/>
                  </a:lnTo>
                  <a:lnTo>
                    <a:pt x="129" y="747"/>
                  </a:lnTo>
                  <a:lnTo>
                    <a:pt x="139" y="754"/>
                  </a:lnTo>
                  <a:lnTo>
                    <a:pt x="139" y="766"/>
                  </a:lnTo>
                  <a:lnTo>
                    <a:pt x="136" y="766"/>
                  </a:lnTo>
                  <a:lnTo>
                    <a:pt x="134" y="769"/>
                  </a:lnTo>
                  <a:lnTo>
                    <a:pt x="134" y="781"/>
                  </a:lnTo>
                  <a:lnTo>
                    <a:pt x="144" y="786"/>
                  </a:lnTo>
                  <a:lnTo>
                    <a:pt x="148" y="800"/>
                  </a:lnTo>
                  <a:lnTo>
                    <a:pt x="146" y="805"/>
                  </a:lnTo>
                  <a:lnTo>
                    <a:pt x="144" y="817"/>
                  </a:lnTo>
                  <a:lnTo>
                    <a:pt x="139" y="836"/>
                  </a:lnTo>
                  <a:lnTo>
                    <a:pt x="134" y="843"/>
                  </a:lnTo>
                  <a:lnTo>
                    <a:pt x="134" y="851"/>
                  </a:lnTo>
                  <a:lnTo>
                    <a:pt x="144" y="860"/>
                  </a:lnTo>
                  <a:lnTo>
                    <a:pt x="158" y="872"/>
                  </a:lnTo>
                  <a:lnTo>
                    <a:pt x="172" y="872"/>
                  </a:lnTo>
                  <a:lnTo>
                    <a:pt x="211" y="889"/>
                  </a:lnTo>
                  <a:lnTo>
                    <a:pt x="223" y="891"/>
                  </a:lnTo>
                  <a:lnTo>
                    <a:pt x="237" y="903"/>
                  </a:lnTo>
                  <a:lnTo>
                    <a:pt x="247" y="925"/>
                  </a:lnTo>
                  <a:lnTo>
                    <a:pt x="261" y="940"/>
                  </a:lnTo>
                  <a:lnTo>
                    <a:pt x="273" y="944"/>
                  </a:lnTo>
                  <a:lnTo>
                    <a:pt x="295" y="947"/>
                  </a:lnTo>
                  <a:lnTo>
                    <a:pt x="302" y="956"/>
                  </a:lnTo>
                  <a:lnTo>
                    <a:pt x="302" y="961"/>
                  </a:lnTo>
                  <a:lnTo>
                    <a:pt x="305" y="968"/>
                  </a:lnTo>
                  <a:lnTo>
                    <a:pt x="302" y="978"/>
                  </a:lnTo>
                  <a:lnTo>
                    <a:pt x="307" y="985"/>
                  </a:lnTo>
                  <a:lnTo>
                    <a:pt x="321" y="985"/>
                  </a:lnTo>
                  <a:lnTo>
                    <a:pt x="341" y="1004"/>
                  </a:lnTo>
                  <a:lnTo>
                    <a:pt x="350" y="1019"/>
                  </a:lnTo>
                  <a:lnTo>
                    <a:pt x="360" y="1028"/>
                  </a:lnTo>
                  <a:lnTo>
                    <a:pt x="379" y="1067"/>
                  </a:lnTo>
                  <a:lnTo>
                    <a:pt x="379" y="1101"/>
                  </a:lnTo>
                  <a:lnTo>
                    <a:pt x="379" y="1105"/>
                  </a:lnTo>
                  <a:lnTo>
                    <a:pt x="381" y="1115"/>
                  </a:lnTo>
                  <a:lnTo>
                    <a:pt x="384" y="1115"/>
                  </a:lnTo>
                  <a:lnTo>
                    <a:pt x="386" y="1117"/>
                  </a:lnTo>
                  <a:lnTo>
                    <a:pt x="384" y="1117"/>
                  </a:lnTo>
                  <a:lnTo>
                    <a:pt x="381" y="1125"/>
                  </a:lnTo>
                  <a:lnTo>
                    <a:pt x="384" y="1134"/>
                  </a:lnTo>
                  <a:lnTo>
                    <a:pt x="386" y="1137"/>
                  </a:lnTo>
                  <a:lnTo>
                    <a:pt x="593" y="1158"/>
                  </a:lnTo>
                  <a:lnTo>
                    <a:pt x="607" y="1161"/>
                  </a:lnTo>
                  <a:lnTo>
                    <a:pt x="610" y="1161"/>
                  </a:lnTo>
                  <a:lnTo>
                    <a:pt x="619" y="1153"/>
                  </a:lnTo>
                  <a:lnTo>
                    <a:pt x="619" y="1146"/>
                  </a:lnTo>
                  <a:lnTo>
                    <a:pt x="624" y="1141"/>
                  </a:lnTo>
                  <a:lnTo>
                    <a:pt x="622" y="1137"/>
                  </a:lnTo>
                  <a:lnTo>
                    <a:pt x="610" y="1127"/>
                  </a:lnTo>
                  <a:lnTo>
                    <a:pt x="607" y="1120"/>
                  </a:lnTo>
                  <a:lnTo>
                    <a:pt x="610" y="1108"/>
                  </a:lnTo>
                  <a:lnTo>
                    <a:pt x="612" y="1101"/>
                  </a:lnTo>
                  <a:lnTo>
                    <a:pt x="610" y="1093"/>
                  </a:lnTo>
                  <a:lnTo>
                    <a:pt x="610" y="1089"/>
                  </a:lnTo>
                  <a:lnTo>
                    <a:pt x="619" y="1089"/>
                  </a:lnTo>
                  <a:lnTo>
                    <a:pt x="636" y="1067"/>
                  </a:lnTo>
                  <a:lnTo>
                    <a:pt x="643" y="1036"/>
                  </a:lnTo>
                  <a:lnTo>
                    <a:pt x="653" y="1024"/>
                  </a:lnTo>
                  <a:lnTo>
                    <a:pt x="665" y="1021"/>
                  </a:lnTo>
                  <a:lnTo>
                    <a:pt x="674" y="1012"/>
                  </a:lnTo>
                  <a:lnTo>
                    <a:pt x="679" y="1014"/>
                  </a:lnTo>
                  <a:lnTo>
                    <a:pt x="679" y="1009"/>
                  </a:lnTo>
                  <a:lnTo>
                    <a:pt x="679" y="100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4" name="Freeform 28"/>
            <p:cNvSpPr>
              <a:spLocks/>
            </p:cNvSpPr>
            <p:nvPr/>
          </p:nvSpPr>
          <p:spPr bwMode="auto">
            <a:xfrm>
              <a:off x="2618212" y="2282704"/>
              <a:ext cx="1087438" cy="903287"/>
            </a:xfrm>
            <a:custGeom>
              <a:avLst/>
              <a:gdLst>
                <a:gd name="T0" fmla="*/ 613 w 685"/>
                <a:gd name="T1" fmla="*/ 353 h 569"/>
                <a:gd name="T2" fmla="*/ 610 w 685"/>
                <a:gd name="T3" fmla="*/ 367 h 569"/>
                <a:gd name="T4" fmla="*/ 557 w 685"/>
                <a:gd name="T5" fmla="*/ 569 h 569"/>
                <a:gd name="T6" fmla="*/ 10 w 685"/>
                <a:gd name="T7" fmla="*/ 430 h 569"/>
                <a:gd name="T8" fmla="*/ 0 w 685"/>
                <a:gd name="T9" fmla="*/ 401 h 569"/>
                <a:gd name="T10" fmla="*/ 5 w 685"/>
                <a:gd name="T11" fmla="*/ 382 h 569"/>
                <a:gd name="T12" fmla="*/ 7 w 685"/>
                <a:gd name="T13" fmla="*/ 331 h 569"/>
                <a:gd name="T14" fmla="*/ 19 w 685"/>
                <a:gd name="T15" fmla="*/ 322 h 569"/>
                <a:gd name="T16" fmla="*/ 27 w 685"/>
                <a:gd name="T17" fmla="*/ 305 h 569"/>
                <a:gd name="T18" fmla="*/ 34 w 685"/>
                <a:gd name="T19" fmla="*/ 286 h 569"/>
                <a:gd name="T20" fmla="*/ 58 w 685"/>
                <a:gd name="T21" fmla="*/ 259 h 569"/>
                <a:gd name="T22" fmla="*/ 84 w 685"/>
                <a:gd name="T23" fmla="*/ 204 h 569"/>
                <a:gd name="T24" fmla="*/ 118 w 685"/>
                <a:gd name="T25" fmla="*/ 120 h 569"/>
                <a:gd name="T26" fmla="*/ 147 w 685"/>
                <a:gd name="T27" fmla="*/ 36 h 569"/>
                <a:gd name="T28" fmla="*/ 154 w 685"/>
                <a:gd name="T29" fmla="*/ 7 h 569"/>
                <a:gd name="T30" fmla="*/ 161 w 685"/>
                <a:gd name="T31" fmla="*/ 0 h 569"/>
                <a:gd name="T32" fmla="*/ 176 w 685"/>
                <a:gd name="T33" fmla="*/ 0 h 569"/>
                <a:gd name="T34" fmla="*/ 195 w 685"/>
                <a:gd name="T35" fmla="*/ 12 h 569"/>
                <a:gd name="T36" fmla="*/ 209 w 685"/>
                <a:gd name="T37" fmla="*/ 16 h 569"/>
                <a:gd name="T38" fmla="*/ 228 w 685"/>
                <a:gd name="T39" fmla="*/ 45 h 569"/>
                <a:gd name="T40" fmla="*/ 224 w 685"/>
                <a:gd name="T41" fmla="*/ 79 h 569"/>
                <a:gd name="T42" fmla="*/ 250 w 685"/>
                <a:gd name="T43" fmla="*/ 98 h 569"/>
                <a:gd name="T44" fmla="*/ 293 w 685"/>
                <a:gd name="T45" fmla="*/ 98 h 569"/>
                <a:gd name="T46" fmla="*/ 336 w 685"/>
                <a:gd name="T47" fmla="*/ 108 h 569"/>
                <a:gd name="T48" fmla="*/ 377 w 685"/>
                <a:gd name="T49" fmla="*/ 113 h 569"/>
                <a:gd name="T50" fmla="*/ 392 w 685"/>
                <a:gd name="T51" fmla="*/ 120 h 569"/>
                <a:gd name="T52" fmla="*/ 420 w 685"/>
                <a:gd name="T53" fmla="*/ 122 h 569"/>
                <a:gd name="T54" fmla="*/ 440 w 685"/>
                <a:gd name="T55" fmla="*/ 117 h 569"/>
                <a:gd name="T56" fmla="*/ 459 w 685"/>
                <a:gd name="T57" fmla="*/ 117 h 569"/>
                <a:gd name="T58" fmla="*/ 473 w 685"/>
                <a:gd name="T59" fmla="*/ 120 h 569"/>
                <a:gd name="T60" fmla="*/ 490 w 685"/>
                <a:gd name="T61" fmla="*/ 122 h 569"/>
                <a:gd name="T62" fmla="*/ 509 w 685"/>
                <a:gd name="T63" fmla="*/ 117 h 569"/>
                <a:gd name="T64" fmla="*/ 661 w 685"/>
                <a:gd name="T65" fmla="*/ 163 h 569"/>
                <a:gd name="T66" fmla="*/ 673 w 685"/>
                <a:gd name="T67" fmla="*/ 173 h 569"/>
                <a:gd name="T68" fmla="*/ 685 w 685"/>
                <a:gd name="T69" fmla="*/ 194 h 569"/>
                <a:gd name="T70" fmla="*/ 639 w 685"/>
                <a:gd name="T71" fmla="*/ 259 h 569"/>
                <a:gd name="T72" fmla="*/ 632 w 685"/>
                <a:gd name="T73" fmla="*/ 274 h 569"/>
                <a:gd name="T74" fmla="*/ 601 w 685"/>
                <a:gd name="T75" fmla="*/ 310 h 569"/>
                <a:gd name="T76" fmla="*/ 601 w 685"/>
                <a:gd name="T77" fmla="*/ 329 h 569"/>
                <a:gd name="T78" fmla="*/ 615 w 685"/>
                <a:gd name="T79"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5" h="569">
                  <a:moveTo>
                    <a:pt x="615" y="348"/>
                  </a:moveTo>
                  <a:lnTo>
                    <a:pt x="613" y="353"/>
                  </a:lnTo>
                  <a:lnTo>
                    <a:pt x="610" y="355"/>
                  </a:lnTo>
                  <a:lnTo>
                    <a:pt x="610" y="367"/>
                  </a:lnTo>
                  <a:lnTo>
                    <a:pt x="598" y="379"/>
                  </a:lnTo>
                  <a:lnTo>
                    <a:pt x="557" y="569"/>
                  </a:lnTo>
                  <a:lnTo>
                    <a:pt x="327" y="516"/>
                  </a:lnTo>
                  <a:lnTo>
                    <a:pt x="10" y="430"/>
                  </a:lnTo>
                  <a:lnTo>
                    <a:pt x="5" y="425"/>
                  </a:lnTo>
                  <a:lnTo>
                    <a:pt x="0" y="401"/>
                  </a:lnTo>
                  <a:lnTo>
                    <a:pt x="5" y="391"/>
                  </a:lnTo>
                  <a:lnTo>
                    <a:pt x="5" y="382"/>
                  </a:lnTo>
                  <a:lnTo>
                    <a:pt x="10" y="365"/>
                  </a:lnTo>
                  <a:lnTo>
                    <a:pt x="7" y="331"/>
                  </a:lnTo>
                  <a:lnTo>
                    <a:pt x="12" y="324"/>
                  </a:lnTo>
                  <a:lnTo>
                    <a:pt x="19" y="322"/>
                  </a:lnTo>
                  <a:lnTo>
                    <a:pt x="24" y="314"/>
                  </a:lnTo>
                  <a:lnTo>
                    <a:pt x="27" y="305"/>
                  </a:lnTo>
                  <a:lnTo>
                    <a:pt x="31" y="300"/>
                  </a:lnTo>
                  <a:lnTo>
                    <a:pt x="34" y="286"/>
                  </a:lnTo>
                  <a:lnTo>
                    <a:pt x="36" y="283"/>
                  </a:lnTo>
                  <a:lnTo>
                    <a:pt x="58" y="259"/>
                  </a:lnTo>
                  <a:lnTo>
                    <a:pt x="67" y="238"/>
                  </a:lnTo>
                  <a:lnTo>
                    <a:pt x="84" y="204"/>
                  </a:lnTo>
                  <a:lnTo>
                    <a:pt x="103" y="144"/>
                  </a:lnTo>
                  <a:lnTo>
                    <a:pt x="118" y="120"/>
                  </a:lnTo>
                  <a:lnTo>
                    <a:pt x="130" y="81"/>
                  </a:lnTo>
                  <a:lnTo>
                    <a:pt x="147" y="36"/>
                  </a:lnTo>
                  <a:lnTo>
                    <a:pt x="152" y="19"/>
                  </a:lnTo>
                  <a:lnTo>
                    <a:pt x="154" y="7"/>
                  </a:lnTo>
                  <a:lnTo>
                    <a:pt x="154" y="2"/>
                  </a:lnTo>
                  <a:lnTo>
                    <a:pt x="161" y="0"/>
                  </a:lnTo>
                  <a:lnTo>
                    <a:pt x="171" y="2"/>
                  </a:lnTo>
                  <a:lnTo>
                    <a:pt x="176" y="0"/>
                  </a:lnTo>
                  <a:lnTo>
                    <a:pt x="188" y="7"/>
                  </a:lnTo>
                  <a:lnTo>
                    <a:pt x="195" y="12"/>
                  </a:lnTo>
                  <a:lnTo>
                    <a:pt x="197" y="16"/>
                  </a:lnTo>
                  <a:lnTo>
                    <a:pt x="209" y="16"/>
                  </a:lnTo>
                  <a:lnTo>
                    <a:pt x="226" y="28"/>
                  </a:lnTo>
                  <a:lnTo>
                    <a:pt x="228" y="45"/>
                  </a:lnTo>
                  <a:lnTo>
                    <a:pt x="226" y="50"/>
                  </a:lnTo>
                  <a:lnTo>
                    <a:pt x="224" y="79"/>
                  </a:lnTo>
                  <a:lnTo>
                    <a:pt x="228" y="86"/>
                  </a:lnTo>
                  <a:lnTo>
                    <a:pt x="250" y="98"/>
                  </a:lnTo>
                  <a:lnTo>
                    <a:pt x="276" y="101"/>
                  </a:lnTo>
                  <a:lnTo>
                    <a:pt x="293" y="98"/>
                  </a:lnTo>
                  <a:lnTo>
                    <a:pt x="308" y="101"/>
                  </a:lnTo>
                  <a:lnTo>
                    <a:pt x="336" y="108"/>
                  </a:lnTo>
                  <a:lnTo>
                    <a:pt x="341" y="117"/>
                  </a:lnTo>
                  <a:lnTo>
                    <a:pt x="377" y="113"/>
                  </a:lnTo>
                  <a:lnTo>
                    <a:pt x="387" y="117"/>
                  </a:lnTo>
                  <a:lnTo>
                    <a:pt x="392" y="120"/>
                  </a:lnTo>
                  <a:lnTo>
                    <a:pt x="411" y="122"/>
                  </a:lnTo>
                  <a:lnTo>
                    <a:pt x="420" y="122"/>
                  </a:lnTo>
                  <a:lnTo>
                    <a:pt x="430" y="117"/>
                  </a:lnTo>
                  <a:lnTo>
                    <a:pt x="440" y="117"/>
                  </a:lnTo>
                  <a:lnTo>
                    <a:pt x="452" y="120"/>
                  </a:lnTo>
                  <a:lnTo>
                    <a:pt x="459" y="117"/>
                  </a:lnTo>
                  <a:lnTo>
                    <a:pt x="466" y="117"/>
                  </a:lnTo>
                  <a:lnTo>
                    <a:pt x="473" y="120"/>
                  </a:lnTo>
                  <a:lnTo>
                    <a:pt x="483" y="120"/>
                  </a:lnTo>
                  <a:lnTo>
                    <a:pt x="490" y="122"/>
                  </a:lnTo>
                  <a:lnTo>
                    <a:pt x="497" y="122"/>
                  </a:lnTo>
                  <a:lnTo>
                    <a:pt x="509" y="117"/>
                  </a:lnTo>
                  <a:lnTo>
                    <a:pt x="658" y="153"/>
                  </a:lnTo>
                  <a:lnTo>
                    <a:pt x="661" y="163"/>
                  </a:lnTo>
                  <a:lnTo>
                    <a:pt x="668" y="173"/>
                  </a:lnTo>
                  <a:lnTo>
                    <a:pt x="673" y="173"/>
                  </a:lnTo>
                  <a:lnTo>
                    <a:pt x="682" y="180"/>
                  </a:lnTo>
                  <a:lnTo>
                    <a:pt x="685" y="194"/>
                  </a:lnTo>
                  <a:lnTo>
                    <a:pt x="646" y="252"/>
                  </a:lnTo>
                  <a:lnTo>
                    <a:pt x="639" y="259"/>
                  </a:lnTo>
                  <a:lnTo>
                    <a:pt x="639" y="266"/>
                  </a:lnTo>
                  <a:lnTo>
                    <a:pt x="632" y="274"/>
                  </a:lnTo>
                  <a:lnTo>
                    <a:pt x="620" y="281"/>
                  </a:lnTo>
                  <a:lnTo>
                    <a:pt x="601" y="310"/>
                  </a:lnTo>
                  <a:lnTo>
                    <a:pt x="598" y="322"/>
                  </a:lnTo>
                  <a:lnTo>
                    <a:pt x="601" y="329"/>
                  </a:lnTo>
                  <a:lnTo>
                    <a:pt x="613" y="334"/>
                  </a:lnTo>
                  <a:lnTo>
                    <a:pt x="615" y="34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5" name="Freeform 30"/>
            <p:cNvSpPr>
              <a:spLocks/>
            </p:cNvSpPr>
            <p:nvPr/>
          </p:nvSpPr>
          <p:spPr bwMode="auto">
            <a:xfrm>
              <a:off x="7018762" y="3881316"/>
              <a:ext cx="990600" cy="506412"/>
            </a:xfrm>
            <a:custGeom>
              <a:avLst/>
              <a:gdLst>
                <a:gd name="T0" fmla="*/ 124 w 624"/>
                <a:gd name="T1" fmla="*/ 310 h 319"/>
                <a:gd name="T2" fmla="*/ 120 w 624"/>
                <a:gd name="T3" fmla="*/ 293 h 319"/>
                <a:gd name="T4" fmla="*/ 141 w 624"/>
                <a:gd name="T5" fmla="*/ 295 h 319"/>
                <a:gd name="T6" fmla="*/ 501 w 624"/>
                <a:gd name="T7" fmla="*/ 257 h 319"/>
                <a:gd name="T8" fmla="*/ 538 w 624"/>
                <a:gd name="T9" fmla="*/ 238 h 319"/>
                <a:gd name="T10" fmla="*/ 557 w 624"/>
                <a:gd name="T11" fmla="*/ 218 h 319"/>
                <a:gd name="T12" fmla="*/ 559 w 624"/>
                <a:gd name="T13" fmla="*/ 206 h 319"/>
                <a:gd name="T14" fmla="*/ 569 w 624"/>
                <a:gd name="T15" fmla="*/ 192 h 319"/>
                <a:gd name="T16" fmla="*/ 622 w 624"/>
                <a:gd name="T17" fmla="*/ 146 h 319"/>
                <a:gd name="T18" fmla="*/ 617 w 624"/>
                <a:gd name="T19" fmla="*/ 139 h 319"/>
                <a:gd name="T20" fmla="*/ 610 w 624"/>
                <a:gd name="T21" fmla="*/ 134 h 319"/>
                <a:gd name="T22" fmla="*/ 598 w 624"/>
                <a:gd name="T23" fmla="*/ 127 h 319"/>
                <a:gd name="T24" fmla="*/ 593 w 624"/>
                <a:gd name="T25" fmla="*/ 125 h 319"/>
                <a:gd name="T26" fmla="*/ 564 w 624"/>
                <a:gd name="T27" fmla="*/ 86 h 319"/>
                <a:gd name="T28" fmla="*/ 562 w 624"/>
                <a:gd name="T29" fmla="*/ 74 h 319"/>
                <a:gd name="T30" fmla="*/ 559 w 624"/>
                <a:gd name="T31" fmla="*/ 50 h 319"/>
                <a:gd name="T32" fmla="*/ 547 w 624"/>
                <a:gd name="T33" fmla="*/ 40 h 319"/>
                <a:gd name="T34" fmla="*/ 530 w 624"/>
                <a:gd name="T35" fmla="*/ 26 h 319"/>
                <a:gd name="T36" fmla="*/ 516 w 624"/>
                <a:gd name="T37" fmla="*/ 26 h 319"/>
                <a:gd name="T38" fmla="*/ 506 w 624"/>
                <a:gd name="T39" fmla="*/ 33 h 319"/>
                <a:gd name="T40" fmla="*/ 492 w 624"/>
                <a:gd name="T41" fmla="*/ 38 h 319"/>
                <a:gd name="T42" fmla="*/ 473 w 624"/>
                <a:gd name="T43" fmla="*/ 33 h 319"/>
                <a:gd name="T44" fmla="*/ 449 w 624"/>
                <a:gd name="T45" fmla="*/ 31 h 319"/>
                <a:gd name="T46" fmla="*/ 417 w 624"/>
                <a:gd name="T47" fmla="*/ 26 h 319"/>
                <a:gd name="T48" fmla="*/ 396 w 624"/>
                <a:gd name="T49" fmla="*/ 0 h 319"/>
                <a:gd name="T50" fmla="*/ 381 w 624"/>
                <a:gd name="T51" fmla="*/ 4 h 319"/>
                <a:gd name="T52" fmla="*/ 365 w 624"/>
                <a:gd name="T53" fmla="*/ 0 h 319"/>
                <a:gd name="T54" fmla="*/ 362 w 624"/>
                <a:gd name="T55" fmla="*/ 14 h 319"/>
                <a:gd name="T56" fmla="*/ 365 w 624"/>
                <a:gd name="T57" fmla="*/ 38 h 319"/>
                <a:gd name="T58" fmla="*/ 343 w 624"/>
                <a:gd name="T59" fmla="*/ 50 h 319"/>
                <a:gd name="T60" fmla="*/ 321 w 624"/>
                <a:gd name="T61" fmla="*/ 52 h 319"/>
                <a:gd name="T62" fmla="*/ 288 w 624"/>
                <a:gd name="T63" fmla="*/ 110 h 319"/>
                <a:gd name="T64" fmla="*/ 261 w 624"/>
                <a:gd name="T65" fmla="*/ 132 h 319"/>
                <a:gd name="T66" fmla="*/ 247 w 624"/>
                <a:gd name="T67" fmla="*/ 120 h 319"/>
                <a:gd name="T68" fmla="*/ 235 w 624"/>
                <a:gd name="T69" fmla="*/ 149 h 319"/>
                <a:gd name="T70" fmla="*/ 221 w 624"/>
                <a:gd name="T71" fmla="*/ 149 h 319"/>
                <a:gd name="T72" fmla="*/ 199 w 624"/>
                <a:gd name="T73" fmla="*/ 146 h 319"/>
                <a:gd name="T74" fmla="*/ 189 w 624"/>
                <a:gd name="T75" fmla="*/ 163 h 319"/>
                <a:gd name="T76" fmla="*/ 160 w 624"/>
                <a:gd name="T77" fmla="*/ 151 h 319"/>
                <a:gd name="T78" fmla="*/ 124 w 624"/>
                <a:gd name="T79" fmla="*/ 156 h 319"/>
                <a:gd name="T80" fmla="*/ 124 w 624"/>
                <a:gd name="T81" fmla="*/ 168 h 319"/>
                <a:gd name="T82" fmla="*/ 110 w 624"/>
                <a:gd name="T83" fmla="*/ 170 h 319"/>
                <a:gd name="T84" fmla="*/ 112 w 624"/>
                <a:gd name="T85" fmla="*/ 170 h 319"/>
                <a:gd name="T86" fmla="*/ 108 w 624"/>
                <a:gd name="T87" fmla="*/ 185 h 319"/>
                <a:gd name="T88" fmla="*/ 103 w 624"/>
                <a:gd name="T89" fmla="*/ 189 h 319"/>
                <a:gd name="T90" fmla="*/ 110 w 624"/>
                <a:gd name="T91" fmla="*/ 204 h 319"/>
                <a:gd name="T92" fmla="*/ 76 w 624"/>
                <a:gd name="T93" fmla="*/ 214 h 319"/>
                <a:gd name="T94" fmla="*/ 84 w 624"/>
                <a:gd name="T95" fmla="*/ 247 h 319"/>
                <a:gd name="T96" fmla="*/ 62 w 624"/>
                <a:gd name="T97" fmla="*/ 245 h 319"/>
                <a:gd name="T98" fmla="*/ 36 w 624"/>
                <a:gd name="T99" fmla="*/ 238 h 319"/>
                <a:gd name="T100" fmla="*/ 21 w 624"/>
                <a:gd name="T101" fmla="*/ 262 h 319"/>
                <a:gd name="T102" fmla="*/ 26 w 624"/>
                <a:gd name="T103" fmla="*/ 264 h 319"/>
                <a:gd name="T104" fmla="*/ 33 w 624"/>
                <a:gd name="T105" fmla="*/ 278 h 319"/>
                <a:gd name="T106" fmla="*/ 19 w 624"/>
                <a:gd name="T107" fmla="*/ 310 h 319"/>
                <a:gd name="T108" fmla="*/ 4 w 624"/>
                <a:gd name="T109" fmla="*/ 312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4" h="319">
                  <a:moveTo>
                    <a:pt x="0" y="319"/>
                  </a:moveTo>
                  <a:lnTo>
                    <a:pt x="124" y="310"/>
                  </a:lnTo>
                  <a:lnTo>
                    <a:pt x="124" y="298"/>
                  </a:lnTo>
                  <a:lnTo>
                    <a:pt x="120" y="293"/>
                  </a:lnTo>
                  <a:lnTo>
                    <a:pt x="134" y="290"/>
                  </a:lnTo>
                  <a:lnTo>
                    <a:pt x="141" y="295"/>
                  </a:lnTo>
                  <a:lnTo>
                    <a:pt x="492" y="262"/>
                  </a:lnTo>
                  <a:lnTo>
                    <a:pt x="501" y="257"/>
                  </a:lnTo>
                  <a:lnTo>
                    <a:pt x="506" y="252"/>
                  </a:lnTo>
                  <a:lnTo>
                    <a:pt x="538" y="238"/>
                  </a:lnTo>
                  <a:lnTo>
                    <a:pt x="540" y="230"/>
                  </a:lnTo>
                  <a:lnTo>
                    <a:pt x="557" y="218"/>
                  </a:lnTo>
                  <a:lnTo>
                    <a:pt x="557" y="211"/>
                  </a:lnTo>
                  <a:lnTo>
                    <a:pt x="559" y="206"/>
                  </a:lnTo>
                  <a:lnTo>
                    <a:pt x="569" y="201"/>
                  </a:lnTo>
                  <a:lnTo>
                    <a:pt x="569" y="192"/>
                  </a:lnTo>
                  <a:lnTo>
                    <a:pt x="578" y="185"/>
                  </a:lnTo>
                  <a:lnTo>
                    <a:pt x="622" y="146"/>
                  </a:lnTo>
                  <a:lnTo>
                    <a:pt x="624" y="139"/>
                  </a:lnTo>
                  <a:lnTo>
                    <a:pt x="617" y="139"/>
                  </a:lnTo>
                  <a:lnTo>
                    <a:pt x="612" y="134"/>
                  </a:lnTo>
                  <a:lnTo>
                    <a:pt x="610" y="134"/>
                  </a:lnTo>
                  <a:lnTo>
                    <a:pt x="607" y="132"/>
                  </a:lnTo>
                  <a:lnTo>
                    <a:pt x="598" y="127"/>
                  </a:lnTo>
                  <a:lnTo>
                    <a:pt x="595" y="127"/>
                  </a:lnTo>
                  <a:lnTo>
                    <a:pt x="593" y="125"/>
                  </a:lnTo>
                  <a:lnTo>
                    <a:pt x="581" y="108"/>
                  </a:lnTo>
                  <a:lnTo>
                    <a:pt x="564" y="86"/>
                  </a:lnTo>
                  <a:lnTo>
                    <a:pt x="562" y="81"/>
                  </a:lnTo>
                  <a:lnTo>
                    <a:pt x="562" y="74"/>
                  </a:lnTo>
                  <a:lnTo>
                    <a:pt x="562" y="64"/>
                  </a:lnTo>
                  <a:lnTo>
                    <a:pt x="559" y="50"/>
                  </a:lnTo>
                  <a:lnTo>
                    <a:pt x="557" y="48"/>
                  </a:lnTo>
                  <a:lnTo>
                    <a:pt x="547" y="40"/>
                  </a:lnTo>
                  <a:lnTo>
                    <a:pt x="538" y="38"/>
                  </a:lnTo>
                  <a:lnTo>
                    <a:pt x="530" y="26"/>
                  </a:lnTo>
                  <a:lnTo>
                    <a:pt x="526" y="19"/>
                  </a:lnTo>
                  <a:lnTo>
                    <a:pt x="516" y="26"/>
                  </a:lnTo>
                  <a:lnTo>
                    <a:pt x="513" y="31"/>
                  </a:lnTo>
                  <a:lnTo>
                    <a:pt x="506" y="33"/>
                  </a:lnTo>
                  <a:lnTo>
                    <a:pt x="506" y="36"/>
                  </a:lnTo>
                  <a:lnTo>
                    <a:pt x="492" y="38"/>
                  </a:lnTo>
                  <a:lnTo>
                    <a:pt x="477" y="33"/>
                  </a:lnTo>
                  <a:lnTo>
                    <a:pt x="473" y="33"/>
                  </a:lnTo>
                  <a:lnTo>
                    <a:pt x="465" y="43"/>
                  </a:lnTo>
                  <a:lnTo>
                    <a:pt x="449" y="31"/>
                  </a:lnTo>
                  <a:lnTo>
                    <a:pt x="429" y="31"/>
                  </a:lnTo>
                  <a:lnTo>
                    <a:pt x="417" y="26"/>
                  </a:lnTo>
                  <a:lnTo>
                    <a:pt x="413" y="12"/>
                  </a:lnTo>
                  <a:lnTo>
                    <a:pt x="396" y="0"/>
                  </a:lnTo>
                  <a:lnTo>
                    <a:pt x="386" y="4"/>
                  </a:lnTo>
                  <a:lnTo>
                    <a:pt x="381" y="4"/>
                  </a:lnTo>
                  <a:lnTo>
                    <a:pt x="372" y="0"/>
                  </a:lnTo>
                  <a:lnTo>
                    <a:pt x="365" y="0"/>
                  </a:lnTo>
                  <a:lnTo>
                    <a:pt x="362" y="7"/>
                  </a:lnTo>
                  <a:lnTo>
                    <a:pt x="362" y="14"/>
                  </a:lnTo>
                  <a:lnTo>
                    <a:pt x="367" y="31"/>
                  </a:lnTo>
                  <a:lnTo>
                    <a:pt x="365" y="38"/>
                  </a:lnTo>
                  <a:lnTo>
                    <a:pt x="355" y="40"/>
                  </a:lnTo>
                  <a:lnTo>
                    <a:pt x="343" y="50"/>
                  </a:lnTo>
                  <a:lnTo>
                    <a:pt x="329" y="48"/>
                  </a:lnTo>
                  <a:lnTo>
                    <a:pt x="321" y="52"/>
                  </a:lnTo>
                  <a:lnTo>
                    <a:pt x="321" y="67"/>
                  </a:lnTo>
                  <a:lnTo>
                    <a:pt x="288" y="110"/>
                  </a:lnTo>
                  <a:lnTo>
                    <a:pt x="283" y="132"/>
                  </a:lnTo>
                  <a:lnTo>
                    <a:pt x="261" y="132"/>
                  </a:lnTo>
                  <a:lnTo>
                    <a:pt x="252" y="120"/>
                  </a:lnTo>
                  <a:lnTo>
                    <a:pt x="247" y="120"/>
                  </a:lnTo>
                  <a:lnTo>
                    <a:pt x="242" y="127"/>
                  </a:lnTo>
                  <a:lnTo>
                    <a:pt x="235" y="149"/>
                  </a:lnTo>
                  <a:lnTo>
                    <a:pt x="228" y="153"/>
                  </a:lnTo>
                  <a:lnTo>
                    <a:pt x="221" y="149"/>
                  </a:lnTo>
                  <a:lnTo>
                    <a:pt x="213" y="141"/>
                  </a:lnTo>
                  <a:lnTo>
                    <a:pt x="199" y="146"/>
                  </a:lnTo>
                  <a:lnTo>
                    <a:pt x="194" y="163"/>
                  </a:lnTo>
                  <a:lnTo>
                    <a:pt x="189" y="163"/>
                  </a:lnTo>
                  <a:lnTo>
                    <a:pt x="187" y="161"/>
                  </a:lnTo>
                  <a:lnTo>
                    <a:pt x="160" y="151"/>
                  </a:lnTo>
                  <a:lnTo>
                    <a:pt x="141" y="158"/>
                  </a:lnTo>
                  <a:lnTo>
                    <a:pt x="124" y="156"/>
                  </a:lnTo>
                  <a:lnTo>
                    <a:pt x="122" y="163"/>
                  </a:lnTo>
                  <a:lnTo>
                    <a:pt x="124" y="168"/>
                  </a:lnTo>
                  <a:lnTo>
                    <a:pt x="117" y="170"/>
                  </a:lnTo>
                  <a:lnTo>
                    <a:pt x="110" y="170"/>
                  </a:lnTo>
                  <a:lnTo>
                    <a:pt x="110" y="170"/>
                  </a:lnTo>
                  <a:lnTo>
                    <a:pt x="112" y="170"/>
                  </a:lnTo>
                  <a:lnTo>
                    <a:pt x="108" y="175"/>
                  </a:lnTo>
                  <a:lnTo>
                    <a:pt x="108" y="185"/>
                  </a:lnTo>
                  <a:lnTo>
                    <a:pt x="103" y="187"/>
                  </a:lnTo>
                  <a:lnTo>
                    <a:pt x="103" y="189"/>
                  </a:lnTo>
                  <a:lnTo>
                    <a:pt x="112" y="201"/>
                  </a:lnTo>
                  <a:lnTo>
                    <a:pt x="110" y="204"/>
                  </a:lnTo>
                  <a:lnTo>
                    <a:pt x="84" y="211"/>
                  </a:lnTo>
                  <a:lnTo>
                    <a:pt x="76" y="214"/>
                  </a:lnTo>
                  <a:lnTo>
                    <a:pt x="79" y="226"/>
                  </a:lnTo>
                  <a:lnTo>
                    <a:pt x="84" y="247"/>
                  </a:lnTo>
                  <a:lnTo>
                    <a:pt x="72" y="252"/>
                  </a:lnTo>
                  <a:lnTo>
                    <a:pt x="62" y="245"/>
                  </a:lnTo>
                  <a:lnTo>
                    <a:pt x="50" y="240"/>
                  </a:lnTo>
                  <a:lnTo>
                    <a:pt x="36" y="238"/>
                  </a:lnTo>
                  <a:lnTo>
                    <a:pt x="26" y="242"/>
                  </a:lnTo>
                  <a:lnTo>
                    <a:pt x="21" y="262"/>
                  </a:lnTo>
                  <a:lnTo>
                    <a:pt x="24" y="264"/>
                  </a:lnTo>
                  <a:lnTo>
                    <a:pt x="26" y="264"/>
                  </a:lnTo>
                  <a:lnTo>
                    <a:pt x="31" y="269"/>
                  </a:lnTo>
                  <a:lnTo>
                    <a:pt x="33" y="278"/>
                  </a:lnTo>
                  <a:lnTo>
                    <a:pt x="24" y="305"/>
                  </a:lnTo>
                  <a:lnTo>
                    <a:pt x="19" y="310"/>
                  </a:lnTo>
                  <a:lnTo>
                    <a:pt x="16" y="307"/>
                  </a:lnTo>
                  <a:lnTo>
                    <a:pt x="4" y="312"/>
                  </a:lnTo>
                  <a:lnTo>
                    <a:pt x="0" y="319"/>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6" name="Freeform 31"/>
            <p:cNvSpPr>
              <a:spLocks/>
            </p:cNvSpPr>
            <p:nvPr/>
          </p:nvSpPr>
          <p:spPr bwMode="auto">
            <a:xfrm>
              <a:off x="9088862" y="2095379"/>
              <a:ext cx="495300" cy="793750"/>
            </a:xfrm>
            <a:custGeom>
              <a:avLst/>
              <a:gdLst>
                <a:gd name="T0" fmla="*/ 60 w 312"/>
                <a:gd name="T1" fmla="*/ 449 h 500"/>
                <a:gd name="T2" fmla="*/ 60 w 312"/>
                <a:gd name="T3" fmla="*/ 461 h 500"/>
                <a:gd name="T4" fmla="*/ 76 w 312"/>
                <a:gd name="T5" fmla="*/ 476 h 500"/>
                <a:gd name="T6" fmla="*/ 81 w 312"/>
                <a:gd name="T7" fmla="*/ 483 h 500"/>
                <a:gd name="T8" fmla="*/ 91 w 312"/>
                <a:gd name="T9" fmla="*/ 500 h 500"/>
                <a:gd name="T10" fmla="*/ 93 w 312"/>
                <a:gd name="T11" fmla="*/ 485 h 500"/>
                <a:gd name="T12" fmla="*/ 103 w 312"/>
                <a:gd name="T13" fmla="*/ 459 h 500"/>
                <a:gd name="T14" fmla="*/ 115 w 312"/>
                <a:gd name="T15" fmla="*/ 432 h 500"/>
                <a:gd name="T16" fmla="*/ 110 w 312"/>
                <a:gd name="T17" fmla="*/ 425 h 500"/>
                <a:gd name="T18" fmla="*/ 127 w 312"/>
                <a:gd name="T19" fmla="*/ 394 h 500"/>
                <a:gd name="T20" fmla="*/ 134 w 312"/>
                <a:gd name="T21" fmla="*/ 406 h 500"/>
                <a:gd name="T22" fmla="*/ 139 w 312"/>
                <a:gd name="T23" fmla="*/ 406 h 500"/>
                <a:gd name="T24" fmla="*/ 141 w 312"/>
                <a:gd name="T25" fmla="*/ 392 h 500"/>
                <a:gd name="T26" fmla="*/ 163 w 312"/>
                <a:gd name="T27" fmla="*/ 382 h 500"/>
                <a:gd name="T28" fmla="*/ 165 w 312"/>
                <a:gd name="T29" fmla="*/ 372 h 500"/>
                <a:gd name="T30" fmla="*/ 177 w 312"/>
                <a:gd name="T31" fmla="*/ 370 h 500"/>
                <a:gd name="T32" fmla="*/ 185 w 312"/>
                <a:gd name="T33" fmla="*/ 353 h 500"/>
                <a:gd name="T34" fmla="*/ 192 w 312"/>
                <a:gd name="T35" fmla="*/ 331 h 500"/>
                <a:gd name="T36" fmla="*/ 197 w 312"/>
                <a:gd name="T37" fmla="*/ 324 h 500"/>
                <a:gd name="T38" fmla="*/ 213 w 312"/>
                <a:gd name="T39" fmla="*/ 324 h 500"/>
                <a:gd name="T40" fmla="*/ 221 w 312"/>
                <a:gd name="T41" fmla="*/ 307 h 500"/>
                <a:gd name="T42" fmla="*/ 230 w 312"/>
                <a:gd name="T43" fmla="*/ 295 h 500"/>
                <a:gd name="T44" fmla="*/ 252 w 312"/>
                <a:gd name="T45" fmla="*/ 305 h 500"/>
                <a:gd name="T46" fmla="*/ 273 w 312"/>
                <a:gd name="T47" fmla="*/ 279 h 500"/>
                <a:gd name="T48" fmla="*/ 293 w 312"/>
                <a:gd name="T49" fmla="*/ 257 h 500"/>
                <a:gd name="T50" fmla="*/ 300 w 312"/>
                <a:gd name="T51" fmla="*/ 255 h 500"/>
                <a:gd name="T52" fmla="*/ 312 w 312"/>
                <a:gd name="T53" fmla="*/ 240 h 500"/>
                <a:gd name="T54" fmla="*/ 302 w 312"/>
                <a:gd name="T55" fmla="*/ 231 h 500"/>
                <a:gd name="T56" fmla="*/ 297 w 312"/>
                <a:gd name="T57" fmla="*/ 231 h 500"/>
                <a:gd name="T58" fmla="*/ 302 w 312"/>
                <a:gd name="T59" fmla="*/ 221 h 500"/>
                <a:gd name="T60" fmla="*/ 297 w 312"/>
                <a:gd name="T61" fmla="*/ 202 h 500"/>
                <a:gd name="T62" fmla="*/ 283 w 312"/>
                <a:gd name="T63" fmla="*/ 199 h 500"/>
                <a:gd name="T64" fmla="*/ 273 w 312"/>
                <a:gd name="T65" fmla="*/ 204 h 500"/>
                <a:gd name="T66" fmla="*/ 259 w 312"/>
                <a:gd name="T67" fmla="*/ 173 h 500"/>
                <a:gd name="T68" fmla="*/ 261 w 312"/>
                <a:gd name="T69" fmla="*/ 166 h 500"/>
                <a:gd name="T70" fmla="*/ 252 w 312"/>
                <a:gd name="T71" fmla="*/ 163 h 500"/>
                <a:gd name="T72" fmla="*/ 240 w 312"/>
                <a:gd name="T73" fmla="*/ 161 h 500"/>
                <a:gd name="T74" fmla="*/ 228 w 312"/>
                <a:gd name="T75" fmla="*/ 158 h 500"/>
                <a:gd name="T76" fmla="*/ 223 w 312"/>
                <a:gd name="T77" fmla="*/ 137 h 500"/>
                <a:gd name="T78" fmla="*/ 153 w 312"/>
                <a:gd name="T79" fmla="*/ 0 h 500"/>
                <a:gd name="T80" fmla="*/ 136 w 312"/>
                <a:gd name="T81" fmla="*/ 0 h 500"/>
                <a:gd name="T82" fmla="*/ 132 w 312"/>
                <a:gd name="T83" fmla="*/ 9 h 500"/>
                <a:gd name="T84" fmla="*/ 115 w 312"/>
                <a:gd name="T85" fmla="*/ 17 h 500"/>
                <a:gd name="T86" fmla="*/ 93 w 312"/>
                <a:gd name="T87" fmla="*/ 31 h 500"/>
                <a:gd name="T88" fmla="*/ 88 w 312"/>
                <a:gd name="T89" fmla="*/ 12 h 500"/>
                <a:gd name="T90" fmla="*/ 79 w 312"/>
                <a:gd name="T91" fmla="*/ 7 h 500"/>
                <a:gd name="T92" fmla="*/ 40 w 312"/>
                <a:gd name="T93" fmla="*/ 103 h 500"/>
                <a:gd name="T94" fmla="*/ 43 w 312"/>
                <a:gd name="T95" fmla="*/ 122 h 500"/>
                <a:gd name="T96" fmla="*/ 40 w 312"/>
                <a:gd name="T97" fmla="*/ 139 h 500"/>
                <a:gd name="T98" fmla="*/ 33 w 312"/>
                <a:gd name="T99" fmla="*/ 151 h 500"/>
                <a:gd name="T100" fmla="*/ 38 w 312"/>
                <a:gd name="T101" fmla="*/ 202 h 500"/>
                <a:gd name="T102" fmla="*/ 24 w 312"/>
                <a:gd name="T103" fmla="*/ 228 h 500"/>
                <a:gd name="T104" fmla="*/ 28 w 312"/>
                <a:gd name="T105" fmla="*/ 247 h 500"/>
                <a:gd name="T106" fmla="*/ 19 w 312"/>
                <a:gd name="T107" fmla="*/ 250 h 500"/>
                <a:gd name="T108" fmla="*/ 19 w 312"/>
                <a:gd name="T109" fmla="*/ 264 h 500"/>
                <a:gd name="T110" fmla="*/ 7 w 312"/>
                <a:gd name="T111" fmla="*/ 26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2" h="500">
                  <a:moveTo>
                    <a:pt x="0" y="269"/>
                  </a:moveTo>
                  <a:lnTo>
                    <a:pt x="60" y="449"/>
                  </a:lnTo>
                  <a:lnTo>
                    <a:pt x="62" y="452"/>
                  </a:lnTo>
                  <a:lnTo>
                    <a:pt x="60" y="461"/>
                  </a:lnTo>
                  <a:lnTo>
                    <a:pt x="62" y="464"/>
                  </a:lnTo>
                  <a:lnTo>
                    <a:pt x="76" y="476"/>
                  </a:lnTo>
                  <a:lnTo>
                    <a:pt x="79" y="476"/>
                  </a:lnTo>
                  <a:lnTo>
                    <a:pt x="81" y="483"/>
                  </a:lnTo>
                  <a:lnTo>
                    <a:pt x="81" y="485"/>
                  </a:lnTo>
                  <a:lnTo>
                    <a:pt x="91" y="500"/>
                  </a:lnTo>
                  <a:lnTo>
                    <a:pt x="91" y="497"/>
                  </a:lnTo>
                  <a:lnTo>
                    <a:pt x="93" y="485"/>
                  </a:lnTo>
                  <a:lnTo>
                    <a:pt x="96" y="473"/>
                  </a:lnTo>
                  <a:lnTo>
                    <a:pt x="103" y="459"/>
                  </a:lnTo>
                  <a:lnTo>
                    <a:pt x="105" y="440"/>
                  </a:lnTo>
                  <a:lnTo>
                    <a:pt x="115" y="432"/>
                  </a:lnTo>
                  <a:lnTo>
                    <a:pt x="115" y="428"/>
                  </a:lnTo>
                  <a:lnTo>
                    <a:pt x="110" y="425"/>
                  </a:lnTo>
                  <a:lnTo>
                    <a:pt x="108" y="413"/>
                  </a:lnTo>
                  <a:lnTo>
                    <a:pt x="127" y="394"/>
                  </a:lnTo>
                  <a:lnTo>
                    <a:pt x="129" y="396"/>
                  </a:lnTo>
                  <a:lnTo>
                    <a:pt x="134" y="406"/>
                  </a:lnTo>
                  <a:lnTo>
                    <a:pt x="136" y="408"/>
                  </a:lnTo>
                  <a:lnTo>
                    <a:pt x="139" y="406"/>
                  </a:lnTo>
                  <a:lnTo>
                    <a:pt x="139" y="396"/>
                  </a:lnTo>
                  <a:lnTo>
                    <a:pt x="141" y="392"/>
                  </a:lnTo>
                  <a:lnTo>
                    <a:pt x="156" y="389"/>
                  </a:lnTo>
                  <a:lnTo>
                    <a:pt x="163" y="382"/>
                  </a:lnTo>
                  <a:lnTo>
                    <a:pt x="163" y="375"/>
                  </a:lnTo>
                  <a:lnTo>
                    <a:pt x="165" y="372"/>
                  </a:lnTo>
                  <a:lnTo>
                    <a:pt x="172" y="372"/>
                  </a:lnTo>
                  <a:lnTo>
                    <a:pt x="177" y="370"/>
                  </a:lnTo>
                  <a:lnTo>
                    <a:pt x="180" y="365"/>
                  </a:lnTo>
                  <a:lnTo>
                    <a:pt x="185" y="353"/>
                  </a:lnTo>
                  <a:lnTo>
                    <a:pt x="182" y="341"/>
                  </a:lnTo>
                  <a:lnTo>
                    <a:pt x="192" y="331"/>
                  </a:lnTo>
                  <a:lnTo>
                    <a:pt x="192" y="324"/>
                  </a:lnTo>
                  <a:lnTo>
                    <a:pt x="197" y="324"/>
                  </a:lnTo>
                  <a:lnTo>
                    <a:pt x="209" y="327"/>
                  </a:lnTo>
                  <a:lnTo>
                    <a:pt x="213" y="324"/>
                  </a:lnTo>
                  <a:lnTo>
                    <a:pt x="216" y="317"/>
                  </a:lnTo>
                  <a:lnTo>
                    <a:pt x="221" y="307"/>
                  </a:lnTo>
                  <a:lnTo>
                    <a:pt x="225" y="307"/>
                  </a:lnTo>
                  <a:lnTo>
                    <a:pt x="230" y="295"/>
                  </a:lnTo>
                  <a:lnTo>
                    <a:pt x="242" y="295"/>
                  </a:lnTo>
                  <a:lnTo>
                    <a:pt x="252" y="305"/>
                  </a:lnTo>
                  <a:lnTo>
                    <a:pt x="264" y="283"/>
                  </a:lnTo>
                  <a:lnTo>
                    <a:pt x="273" y="279"/>
                  </a:lnTo>
                  <a:lnTo>
                    <a:pt x="288" y="264"/>
                  </a:lnTo>
                  <a:lnTo>
                    <a:pt x="293" y="257"/>
                  </a:lnTo>
                  <a:lnTo>
                    <a:pt x="295" y="255"/>
                  </a:lnTo>
                  <a:lnTo>
                    <a:pt x="300" y="255"/>
                  </a:lnTo>
                  <a:lnTo>
                    <a:pt x="307" y="250"/>
                  </a:lnTo>
                  <a:lnTo>
                    <a:pt x="312" y="240"/>
                  </a:lnTo>
                  <a:lnTo>
                    <a:pt x="309" y="235"/>
                  </a:lnTo>
                  <a:lnTo>
                    <a:pt x="302" y="231"/>
                  </a:lnTo>
                  <a:lnTo>
                    <a:pt x="302" y="233"/>
                  </a:lnTo>
                  <a:lnTo>
                    <a:pt x="297" y="231"/>
                  </a:lnTo>
                  <a:lnTo>
                    <a:pt x="300" y="223"/>
                  </a:lnTo>
                  <a:lnTo>
                    <a:pt x="302" y="221"/>
                  </a:lnTo>
                  <a:lnTo>
                    <a:pt x="302" y="216"/>
                  </a:lnTo>
                  <a:lnTo>
                    <a:pt x="297" y="202"/>
                  </a:lnTo>
                  <a:lnTo>
                    <a:pt x="288" y="197"/>
                  </a:lnTo>
                  <a:lnTo>
                    <a:pt x="283" y="199"/>
                  </a:lnTo>
                  <a:lnTo>
                    <a:pt x="281" y="202"/>
                  </a:lnTo>
                  <a:lnTo>
                    <a:pt x="273" y="204"/>
                  </a:lnTo>
                  <a:lnTo>
                    <a:pt x="266" y="202"/>
                  </a:lnTo>
                  <a:lnTo>
                    <a:pt x="259" y="173"/>
                  </a:lnTo>
                  <a:lnTo>
                    <a:pt x="261" y="170"/>
                  </a:lnTo>
                  <a:lnTo>
                    <a:pt x="261" y="166"/>
                  </a:lnTo>
                  <a:lnTo>
                    <a:pt x="259" y="163"/>
                  </a:lnTo>
                  <a:lnTo>
                    <a:pt x="252" y="163"/>
                  </a:lnTo>
                  <a:lnTo>
                    <a:pt x="249" y="166"/>
                  </a:lnTo>
                  <a:lnTo>
                    <a:pt x="240" y="161"/>
                  </a:lnTo>
                  <a:lnTo>
                    <a:pt x="233" y="161"/>
                  </a:lnTo>
                  <a:lnTo>
                    <a:pt x="228" y="158"/>
                  </a:lnTo>
                  <a:lnTo>
                    <a:pt x="223" y="142"/>
                  </a:lnTo>
                  <a:lnTo>
                    <a:pt x="223" y="137"/>
                  </a:lnTo>
                  <a:lnTo>
                    <a:pt x="187" y="21"/>
                  </a:lnTo>
                  <a:lnTo>
                    <a:pt x="153" y="0"/>
                  </a:lnTo>
                  <a:lnTo>
                    <a:pt x="144" y="0"/>
                  </a:lnTo>
                  <a:lnTo>
                    <a:pt x="136" y="0"/>
                  </a:lnTo>
                  <a:lnTo>
                    <a:pt x="134" y="5"/>
                  </a:lnTo>
                  <a:lnTo>
                    <a:pt x="132" y="9"/>
                  </a:lnTo>
                  <a:lnTo>
                    <a:pt x="127" y="9"/>
                  </a:lnTo>
                  <a:lnTo>
                    <a:pt x="115" y="17"/>
                  </a:lnTo>
                  <a:lnTo>
                    <a:pt x="98" y="29"/>
                  </a:lnTo>
                  <a:lnTo>
                    <a:pt x="93" y="31"/>
                  </a:lnTo>
                  <a:lnTo>
                    <a:pt x="86" y="24"/>
                  </a:lnTo>
                  <a:lnTo>
                    <a:pt x="88" y="12"/>
                  </a:lnTo>
                  <a:lnTo>
                    <a:pt x="86" y="7"/>
                  </a:lnTo>
                  <a:lnTo>
                    <a:pt x="79" y="7"/>
                  </a:lnTo>
                  <a:lnTo>
                    <a:pt x="67" y="12"/>
                  </a:lnTo>
                  <a:lnTo>
                    <a:pt x="40" y="103"/>
                  </a:lnTo>
                  <a:lnTo>
                    <a:pt x="38" y="115"/>
                  </a:lnTo>
                  <a:lnTo>
                    <a:pt x="43" y="122"/>
                  </a:lnTo>
                  <a:lnTo>
                    <a:pt x="45" y="132"/>
                  </a:lnTo>
                  <a:lnTo>
                    <a:pt x="40" y="139"/>
                  </a:lnTo>
                  <a:lnTo>
                    <a:pt x="38" y="144"/>
                  </a:lnTo>
                  <a:lnTo>
                    <a:pt x="33" y="151"/>
                  </a:lnTo>
                  <a:lnTo>
                    <a:pt x="43" y="190"/>
                  </a:lnTo>
                  <a:lnTo>
                    <a:pt x="38" y="202"/>
                  </a:lnTo>
                  <a:lnTo>
                    <a:pt x="38" y="211"/>
                  </a:lnTo>
                  <a:lnTo>
                    <a:pt x="24" y="228"/>
                  </a:lnTo>
                  <a:lnTo>
                    <a:pt x="24" y="235"/>
                  </a:lnTo>
                  <a:lnTo>
                    <a:pt x="28" y="247"/>
                  </a:lnTo>
                  <a:lnTo>
                    <a:pt x="26" y="250"/>
                  </a:lnTo>
                  <a:lnTo>
                    <a:pt x="19" y="250"/>
                  </a:lnTo>
                  <a:lnTo>
                    <a:pt x="21" y="259"/>
                  </a:lnTo>
                  <a:lnTo>
                    <a:pt x="19" y="264"/>
                  </a:lnTo>
                  <a:lnTo>
                    <a:pt x="14" y="264"/>
                  </a:lnTo>
                  <a:lnTo>
                    <a:pt x="7" y="262"/>
                  </a:lnTo>
                  <a:lnTo>
                    <a:pt x="0" y="269"/>
                  </a:lnTo>
                  <a:close/>
                </a:path>
              </a:pathLst>
            </a:custGeom>
            <a:solidFill>
              <a:schemeClr val="tx1">
                <a:alpha val="13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7" name="Freeform 32"/>
            <p:cNvSpPr>
              <a:spLocks/>
            </p:cNvSpPr>
            <p:nvPr/>
          </p:nvSpPr>
          <p:spPr bwMode="auto">
            <a:xfrm>
              <a:off x="8074449" y="3190754"/>
              <a:ext cx="792163" cy="511175"/>
            </a:xfrm>
            <a:custGeom>
              <a:avLst/>
              <a:gdLst>
                <a:gd name="T0" fmla="*/ 125 w 499"/>
                <a:gd name="T1" fmla="*/ 305 h 322"/>
                <a:gd name="T2" fmla="*/ 348 w 499"/>
                <a:gd name="T3" fmla="*/ 262 h 322"/>
                <a:gd name="T4" fmla="*/ 420 w 499"/>
                <a:gd name="T5" fmla="*/ 250 h 322"/>
                <a:gd name="T6" fmla="*/ 420 w 499"/>
                <a:gd name="T7" fmla="*/ 247 h 322"/>
                <a:gd name="T8" fmla="*/ 425 w 499"/>
                <a:gd name="T9" fmla="*/ 247 h 322"/>
                <a:gd name="T10" fmla="*/ 425 w 499"/>
                <a:gd name="T11" fmla="*/ 240 h 322"/>
                <a:gd name="T12" fmla="*/ 432 w 499"/>
                <a:gd name="T13" fmla="*/ 233 h 322"/>
                <a:gd name="T14" fmla="*/ 442 w 499"/>
                <a:gd name="T15" fmla="*/ 230 h 322"/>
                <a:gd name="T16" fmla="*/ 449 w 499"/>
                <a:gd name="T17" fmla="*/ 233 h 322"/>
                <a:gd name="T18" fmla="*/ 468 w 499"/>
                <a:gd name="T19" fmla="*/ 218 h 322"/>
                <a:gd name="T20" fmla="*/ 470 w 499"/>
                <a:gd name="T21" fmla="*/ 206 h 322"/>
                <a:gd name="T22" fmla="*/ 485 w 499"/>
                <a:gd name="T23" fmla="*/ 194 h 322"/>
                <a:gd name="T24" fmla="*/ 497 w 499"/>
                <a:gd name="T25" fmla="*/ 187 h 322"/>
                <a:gd name="T26" fmla="*/ 499 w 499"/>
                <a:gd name="T27" fmla="*/ 185 h 322"/>
                <a:gd name="T28" fmla="*/ 487 w 499"/>
                <a:gd name="T29" fmla="*/ 175 h 322"/>
                <a:gd name="T30" fmla="*/ 482 w 499"/>
                <a:gd name="T31" fmla="*/ 170 h 322"/>
                <a:gd name="T32" fmla="*/ 475 w 499"/>
                <a:gd name="T33" fmla="*/ 168 h 322"/>
                <a:gd name="T34" fmla="*/ 473 w 499"/>
                <a:gd name="T35" fmla="*/ 165 h 322"/>
                <a:gd name="T36" fmla="*/ 466 w 499"/>
                <a:gd name="T37" fmla="*/ 161 h 322"/>
                <a:gd name="T38" fmla="*/ 461 w 499"/>
                <a:gd name="T39" fmla="*/ 149 h 322"/>
                <a:gd name="T40" fmla="*/ 451 w 499"/>
                <a:gd name="T41" fmla="*/ 149 h 322"/>
                <a:gd name="T42" fmla="*/ 449 w 499"/>
                <a:gd name="T43" fmla="*/ 146 h 322"/>
                <a:gd name="T44" fmla="*/ 449 w 499"/>
                <a:gd name="T45" fmla="*/ 127 h 322"/>
                <a:gd name="T46" fmla="*/ 454 w 499"/>
                <a:gd name="T47" fmla="*/ 122 h 322"/>
                <a:gd name="T48" fmla="*/ 451 w 499"/>
                <a:gd name="T49" fmla="*/ 113 h 322"/>
                <a:gd name="T50" fmla="*/ 446 w 499"/>
                <a:gd name="T51" fmla="*/ 105 h 322"/>
                <a:gd name="T52" fmla="*/ 446 w 499"/>
                <a:gd name="T53" fmla="*/ 103 h 322"/>
                <a:gd name="T54" fmla="*/ 446 w 499"/>
                <a:gd name="T55" fmla="*/ 98 h 322"/>
                <a:gd name="T56" fmla="*/ 456 w 499"/>
                <a:gd name="T57" fmla="*/ 89 h 322"/>
                <a:gd name="T58" fmla="*/ 461 w 499"/>
                <a:gd name="T59" fmla="*/ 74 h 322"/>
                <a:gd name="T60" fmla="*/ 461 w 499"/>
                <a:gd name="T61" fmla="*/ 69 h 322"/>
                <a:gd name="T62" fmla="*/ 466 w 499"/>
                <a:gd name="T63" fmla="*/ 60 h 322"/>
                <a:gd name="T64" fmla="*/ 470 w 499"/>
                <a:gd name="T65" fmla="*/ 57 h 322"/>
                <a:gd name="T66" fmla="*/ 463 w 499"/>
                <a:gd name="T67" fmla="*/ 52 h 322"/>
                <a:gd name="T68" fmla="*/ 444 w 499"/>
                <a:gd name="T69" fmla="*/ 50 h 322"/>
                <a:gd name="T70" fmla="*/ 442 w 499"/>
                <a:gd name="T71" fmla="*/ 48 h 322"/>
                <a:gd name="T72" fmla="*/ 439 w 499"/>
                <a:gd name="T73" fmla="*/ 45 h 322"/>
                <a:gd name="T74" fmla="*/ 437 w 499"/>
                <a:gd name="T75" fmla="*/ 36 h 322"/>
                <a:gd name="T76" fmla="*/ 425 w 499"/>
                <a:gd name="T77" fmla="*/ 16 h 322"/>
                <a:gd name="T78" fmla="*/ 420 w 499"/>
                <a:gd name="T79" fmla="*/ 14 h 322"/>
                <a:gd name="T80" fmla="*/ 418 w 499"/>
                <a:gd name="T81" fmla="*/ 12 h 322"/>
                <a:gd name="T82" fmla="*/ 415 w 499"/>
                <a:gd name="T83" fmla="*/ 12 h 322"/>
                <a:gd name="T84" fmla="*/ 413 w 499"/>
                <a:gd name="T85" fmla="*/ 9 h 322"/>
                <a:gd name="T86" fmla="*/ 410 w 499"/>
                <a:gd name="T87" fmla="*/ 4 h 322"/>
                <a:gd name="T88" fmla="*/ 403 w 499"/>
                <a:gd name="T89" fmla="*/ 0 h 322"/>
                <a:gd name="T90" fmla="*/ 60 w 499"/>
                <a:gd name="T91" fmla="*/ 69 h 322"/>
                <a:gd name="T92" fmla="*/ 53 w 499"/>
                <a:gd name="T93" fmla="*/ 40 h 322"/>
                <a:gd name="T94" fmla="*/ 36 w 499"/>
                <a:gd name="T95" fmla="*/ 57 h 322"/>
                <a:gd name="T96" fmla="*/ 31 w 499"/>
                <a:gd name="T97" fmla="*/ 60 h 322"/>
                <a:gd name="T98" fmla="*/ 29 w 499"/>
                <a:gd name="T99" fmla="*/ 57 h 322"/>
                <a:gd name="T100" fmla="*/ 26 w 499"/>
                <a:gd name="T101" fmla="*/ 57 h 322"/>
                <a:gd name="T102" fmla="*/ 21 w 499"/>
                <a:gd name="T103" fmla="*/ 67 h 322"/>
                <a:gd name="T104" fmla="*/ 7 w 499"/>
                <a:gd name="T105" fmla="*/ 81 h 322"/>
                <a:gd name="T106" fmla="*/ 0 w 499"/>
                <a:gd name="T107" fmla="*/ 86 h 322"/>
                <a:gd name="T108" fmla="*/ 26 w 499"/>
                <a:gd name="T109" fmla="*/ 226 h 322"/>
                <a:gd name="T110" fmla="*/ 41 w 499"/>
                <a:gd name="T111" fmla="*/ 322 h 322"/>
                <a:gd name="T112" fmla="*/ 125 w 499"/>
                <a:gd name="T113" fmla="*/ 305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9" h="322">
                  <a:moveTo>
                    <a:pt x="125" y="305"/>
                  </a:moveTo>
                  <a:lnTo>
                    <a:pt x="348" y="262"/>
                  </a:lnTo>
                  <a:lnTo>
                    <a:pt x="420" y="250"/>
                  </a:lnTo>
                  <a:lnTo>
                    <a:pt x="420" y="247"/>
                  </a:lnTo>
                  <a:lnTo>
                    <a:pt x="425" y="247"/>
                  </a:lnTo>
                  <a:lnTo>
                    <a:pt x="425" y="240"/>
                  </a:lnTo>
                  <a:lnTo>
                    <a:pt x="432" y="233"/>
                  </a:lnTo>
                  <a:lnTo>
                    <a:pt x="442" y="230"/>
                  </a:lnTo>
                  <a:lnTo>
                    <a:pt x="449" y="233"/>
                  </a:lnTo>
                  <a:lnTo>
                    <a:pt x="468" y="218"/>
                  </a:lnTo>
                  <a:lnTo>
                    <a:pt x="470" y="206"/>
                  </a:lnTo>
                  <a:lnTo>
                    <a:pt x="485" y="194"/>
                  </a:lnTo>
                  <a:lnTo>
                    <a:pt x="497" y="187"/>
                  </a:lnTo>
                  <a:lnTo>
                    <a:pt x="499" y="185"/>
                  </a:lnTo>
                  <a:lnTo>
                    <a:pt x="487" y="175"/>
                  </a:lnTo>
                  <a:lnTo>
                    <a:pt x="482" y="170"/>
                  </a:lnTo>
                  <a:lnTo>
                    <a:pt x="475" y="168"/>
                  </a:lnTo>
                  <a:lnTo>
                    <a:pt x="473" y="165"/>
                  </a:lnTo>
                  <a:lnTo>
                    <a:pt x="466" y="161"/>
                  </a:lnTo>
                  <a:lnTo>
                    <a:pt x="461" y="149"/>
                  </a:lnTo>
                  <a:lnTo>
                    <a:pt x="451" y="149"/>
                  </a:lnTo>
                  <a:lnTo>
                    <a:pt x="449" y="146"/>
                  </a:lnTo>
                  <a:lnTo>
                    <a:pt x="449" y="127"/>
                  </a:lnTo>
                  <a:lnTo>
                    <a:pt x="454" y="122"/>
                  </a:lnTo>
                  <a:lnTo>
                    <a:pt x="451" y="113"/>
                  </a:lnTo>
                  <a:lnTo>
                    <a:pt x="446" y="105"/>
                  </a:lnTo>
                  <a:lnTo>
                    <a:pt x="446" y="103"/>
                  </a:lnTo>
                  <a:lnTo>
                    <a:pt x="446" y="98"/>
                  </a:lnTo>
                  <a:lnTo>
                    <a:pt x="456" y="89"/>
                  </a:lnTo>
                  <a:lnTo>
                    <a:pt x="461" y="74"/>
                  </a:lnTo>
                  <a:lnTo>
                    <a:pt x="461" y="69"/>
                  </a:lnTo>
                  <a:lnTo>
                    <a:pt x="466" y="60"/>
                  </a:lnTo>
                  <a:lnTo>
                    <a:pt x="470" y="57"/>
                  </a:lnTo>
                  <a:lnTo>
                    <a:pt x="463" y="52"/>
                  </a:lnTo>
                  <a:lnTo>
                    <a:pt x="444" y="50"/>
                  </a:lnTo>
                  <a:lnTo>
                    <a:pt x="442" y="48"/>
                  </a:lnTo>
                  <a:lnTo>
                    <a:pt x="439" y="45"/>
                  </a:lnTo>
                  <a:lnTo>
                    <a:pt x="437" y="36"/>
                  </a:lnTo>
                  <a:lnTo>
                    <a:pt x="425" y="16"/>
                  </a:lnTo>
                  <a:lnTo>
                    <a:pt x="420" y="14"/>
                  </a:lnTo>
                  <a:lnTo>
                    <a:pt x="418" y="12"/>
                  </a:lnTo>
                  <a:lnTo>
                    <a:pt x="415" y="12"/>
                  </a:lnTo>
                  <a:lnTo>
                    <a:pt x="413" y="9"/>
                  </a:lnTo>
                  <a:lnTo>
                    <a:pt x="410" y="4"/>
                  </a:lnTo>
                  <a:lnTo>
                    <a:pt x="403" y="0"/>
                  </a:lnTo>
                  <a:lnTo>
                    <a:pt x="60" y="69"/>
                  </a:lnTo>
                  <a:lnTo>
                    <a:pt x="53" y="40"/>
                  </a:lnTo>
                  <a:lnTo>
                    <a:pt x="36" y="57"/>
                  </a:lnTo>
                  <a:lnTo>
                    <a:pt x="31" y="60"/>
                  </a:lnTo>
                  <a:lnTo>
                    <a:pt x="29" y="57"/>
                  </a:lnTo>
                  <a:lnTo>
                    <a:pt x="26" y="57"/>
                  </a:lnTo>
                  <a:lnTo>
                    <a:pt x="21" y="67"/>
                  </a:lnTo>
                  <a:lnTo>
                    <a:pt x="7" y="81"/>
                  </a:lnTo>
                  <a:lnTo>
                    <a:pt x="0" y="86"/>
                  </a:lnTo>
                  <a:lnTo>
                    <a:pt x="26" y="226"/>
                  </a:lnTo>
                  <a:lnTo>
                    <a:pt x="41" y="322"/>
                  </a:lnTo>
                  <a:lnTo>
                    <a:pt x="125" y="30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8" name="Freeform 33"/>
            <p:cNvSpPr>
              <a:spLocks/>
            </p:cNvSpPr>
            <p:nvPr/>
          </p:nvSpPr>
          <p:spPr bwMode="auto">
            <a:xfrm>
              <a:off x="7285462" y="2743079"/>
              <a:ext cx="525463" cy="722312"/>
            </a:xfrm>
            <a:custGeom>
              <a:avLst/>
              <a:gdLst>
                <a:gd name="T0" fmla="*/ 165 w 331"/>
                <a:gd name="T1" fmla="*/ 433 h 455"/>
                <a:gd name="T2" fmla="*/ 269 w 331"/>
                <a:gd name="T3" fmla="*/ 423 h 455"/>
                <a:gd name="T4" fmla="*/ 283 w 331"/>
                <a:gd name="T5" fmla="*/ 395 h 455"/>
                <a:gd name="T6" fmla="*/ 288 w 331"/>
                <a:gd name="T7" fmla="*/ 371 h 455"/>
                <a:gd name="T8" fmla="*/ 305 w 331"/>
                <a:gd name="T9" fmla="*/ 346 h 455"/>
                <a:gd name="T10" fmla="*/ 307 w 331"/>
                <a:gd name="T11" fmla="*/ 330 h 455"/>
                <a:gd name="T12" fmla="*/ 317 w 331"/>
                <a:gd name="T13" fmla="*/ 315 h 455"/>
                <a:gd name="T14" fmla="*/ 321 w 331"/>
                <a:gd name="T15" fmla="*/ 322 h 455"/>
                <a:gd name="T16" fmla="*/ 329 w 331"/>
                <a:gd name="T17" fmla="*/ 318 h 455"/>
                <a:gd name="T18" fmla="*/ 329 w 331"/>
                <a:gd name="T19" fmla="*/ 296 h 455"/>
                <a:gd name="T20" fmla="*/ 324 w 331"/>
                <a:gd name="T21" fmla="*/ 265 h 455"/>
                <a:gd name="T22" fmla="*/ 297 w 331"/>
                <a:gd name="T23" fmla="*/ 178 h 455"/>
                <a:gd name="T24" fmla="*/ 266 w 331"/>
                <a:gd name="T25" fmla="*/ 176 h 455"/>
                <a:gd name="T26" fmla="*/ 228 w 331"/>
                <a:gd name="T27" fmla="*/ 229 h 455"/>
                <a:gd name="T28" fmla="*/ 221 w 331"/>
                <a:gd name="T29" fmla="*/ 226 h 455"/>
                <a:gd name="T30" fmla="*/ 209 w 331"/>
                <a:gd name="T31" fmla="*/ 219 h 455"/>
                <a:gd name="T32" fmla="*/ 206 w 331"/>
                <a:gd name="T33" fmla="*/ 193 h 455"/>
                <a:gd name="T34" fmla="*/ 225 w 331"/>
                <a:gd name="T35" fmla="*/ 176 h 455"/>
                <a:gd name="T36" fmla="*/ 230 w 331"/>
                <a:gd name="T37" fmla="*/ 164 h 455"/>
                <a:gd name="T38" fmla="*/ 237 w 331"/>
                <a:gd name="T39" fmla="*/ 152 h 455"/>
                <a:gd name="T40" fmla="*/ 245 w 331"/>
                <a:gd name="T41" fmla="*/ 111 h 455"/>
                <a:gd name="T42" fmla="*/ 235 w 331"/>
                <a:gd name="T43" fmla="*/ 92 h 455"/>
                <a:gd name="T44" fmla="*/ 223 w 331"/>
                <a:gd name="T45" fmla="*/ 75 h 455"/>
                <a:gd name="T46" fmla="*/ 235 w 331"/>
                <a:gd name="T47" fmla="*/ 65 h 455"/>
                <a:gd name="T48" fmla="*/ 225 w 331"/>
                <a:gd name="T49" fmla="*/ 44 h 455"/>
                <a:gd name="T50" fmla="*/ 189 w 331"/>
                <a:gd name="T51" fmla="*/ 27 h 455"/>
                <a:gd name="T52" fmla="*/ 163 w 331"/>
                <a:gd name="T53" fmla="*/ 17 h 455"/>
                <a:gd name="T54" fmla="*/ 132 w 331"/>
                <a:gd name="T55" fmla="*/ 8 h 455"/>
                <a:gd name="T56" fmla="*/ 113 w 331"/>
                <a:gd name="T57" fmla="*/ 5 h 455"/>
                <a:gd name="T58" fmla="*/ 96 w 331"/>
                <a:gd name="T59" fmla="*/ 24 h 455"/>
                <a:gd name="T60" fmla="*/ 98 w 331"/>
                <a:gd name="T61" fmla="*/ 41 h 455"/>
                <a:gd name="T62" fmla="*/ 103 w 331"/>
                <a:gd name="T63" fmla="*/ 46 h 455"/>
                <a:gd name="T64" fmla="*/ 93 w 331"/>
                <a:gd name="T65" fmla="*/ 51 h 455"/>
                <a:gd name="T66" fmla="*/ 81 w 331"/>
                <a:gd name="T67" fmla="*/ 63 h 455"/>
                <a:gd name="T68" fmla="*/ 79 w 331"/>
                <a:gd name="T69" fmla="*/ 84 h 455"/>
                <a:gd name="T70" fmla="*/ 74 w 331"/>
                <a:gd name="T71" fmla="*/ 109 h 455"/>
                <a:gd name="T72" fmla="*/ 62 w 331"/>
                <a:gd name="T73" fmla="*/ 104 h 455"/>
                <a:gd name="T74" fmla="*/ 62 w 331"/>
                <a:gd name="T75" fmla="*/ 82 h 455"/>
                <a:gd name="T76" fmla="*/ 62 w 331"/>
                <a:gd name="T77" fmla="*/ 75 h 455"/>
                <a:gd name="T78" fmla="*/ 55 w 331"/>
                <a:gd name="T79" fmla="*/ 84 h 455"/>
                <a:gd name="T80" fmla="*/ 48 w 331"/>
                <a:gd name="T81" fmla="*/ 101 h 455"/>
                <a:gd name="T82" fmla="*/ 33 w 331"/>
                <a:gd name="T83" fmla="*/ 109 h 455"/>
                <a:gd name="T84" fmla="*/ 28 w 331"/>
                <a:gd name="T85" fmla="*/ 123 h 455"/>
                <a:gd name="T86" fmla="*/ 19 w 331"/>
                <a:gd name="T87" fmla="*/ 149 h 455"/>
                <a:gd name="T88" fmla="*/ 16 w 331"/>
                <a:gd name="T89" fmla="*/ 181 h 455"/>
                <a:gd name="T90" fmla="*/ 4 w 331"/>
                <a:gd name="T91" fmla="*/ 202 h 455"/>
                <a:gd name="T92" fmla="*/ 12 w 331"/>
                <a:gd name="T93" fmla="*/ 236 h 455"/>
                <a:gd name="T94" fmla="*/ 14 w 331"/>
                <a:gd name="T95" fmla="*/ 262 h 455"/>
                <a:gd name="T96" fmla="*/ 41 w 331"/>
                <a:gd name="T97" fmla="*/ 320 h 455"/>
                <a:gd name="T98" fmla="*/ 45 w 331"/>
                <a:gd name="T99" fmla="*/ 346 h 455"/>
                <a:gd name="T100" fmla="*/ 43 w 331"/>
                <a:gd name="T101" fmla="*/ 354 h 455"/>
                <a:gd name="T102" fmla="*/ 36 w 331"/>
                <a:gd name="T103" fmla="*/ 392 h 455"/>
                <a:gd name="T104" fmla="*/ 16 w 331"/>
                <a:gd name="T105" fmla="*/ 440 h 455"/>
                <a:gd name="T106" fmla="*/ 0 w 331"/>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1" h="455">
                  <a:moveTo>
                    <a:pt x="0" y="455"/>
                  </a:moveTo>
                  <a:lnTo>
                    <a:pt x="165" y="433"/>
                  </a:lnTo>
                  <a:lnTo>
                    <a:pt x="165" y="438"/>
                  </a:lnTo>
                  <a:lnTo>
                    <a:pt x="269" y="423"/>
                  </a:lnTo>
                  <a:lnTo>
                    <a:pt x="271" y="419"/>
                  </a:lnTo>
                  <a:lnTo>
                    <a:pt x="283" y="395"/>
                  </a:lnTo>
                  <a:lnTo>
                    <a:pt x="288" y="387"/>
                  </a:lnTo>
                  <a:lnTo>
                    <a:pt x="288" y="371"/>
                  </a:lnTo>
                  <a:lnTo>
                    <a:pt x="293" y="356"/>
                  </a:lnTo>
                  <a:lnTo>
                    <a:pt x="305" y="346"/>
                  </a:lnTo>
                  <a:lnTo>
                    <a:pt x="305" y="332"/>
                  </a:lnTo>
                  <a:lnTo>
                    <a:pt x="307" y="330"/>
                  </a:lnTo>
                  <a:lnTo>
                    <a:pt x="307" y="322"/>
                  </a:lnTo>
                  <a:lnTo>
                    <a:pt x="317" y="315"/>
                  </a:lnTo>
                  <a:lnTo>
                    <a:pt x="319" y="322"/>
                  </a:lnTo>
                  <a:lnTo>
                    <a:pt x="321" y="322"/>
                  </a:lnTo>
                  <a:lnTo>
                    <a:pt x="326" y="320"/>
                  </a:lnTo>
                  <a:lnTo>
                    <a:pt x="329" y="318"/>
                  </a:lnTo>
                  <a:lnTo>
                    <a:pt x="331" y="310"/>
                  </a:lnTo>
                  <a:lnTo>
                    <a:pt x="329" y="296"/>
                  </a:lnTo>
                  <a:lnTo>
                    <a:pt x="331" y="277"/>
                  </a:lnTo>
                  <a:lnTo>
                    <a:pt x="324" y="265"/>
                  </a:lnTo>
                  <a:lnTo>
                    <a:pt x="321" y="238"/>
                  </a:lnTo>
                  <a:lnTo>
                    <a:pt x="297" y="178"/>
                  </a:lnTo>
                  <a:lnTo>
                    <a:pt x="273" y="171"/>
                  </a:lnTo>
                  <a:lnTo>
                    <a:pt x="266" y="176"/>
                  </a:lnTo>
                  <a:lnTo>
                    <a:pt x="254" y="188"/>
                  </a:lnTo>
                  <a:lnTo>
                    <a:pt x="228" y="229"/>
                  </a:lnTo>
                  <a:lnTo>
                    <a:pt x="223" y="229"/>
                  </a:lnTo>
                  <a:lnTo>
                    <a:pt x="221" y="226"/>
                  </a:lnTo>
                  <a:lnTo>
                    <a:pt x="211" y="221"/>
                  </a:lnTo>
                  <a:lnTo>
                    <a:pt x="209" y="219"/>
                  </a:lnTo>
                  <a:lnTo>
                    <a:pt x="204" y="209"/>
                  </a:lnTo>
                  <a:lnTo>
                    <a:pt x="206" y="193"/>
                  </a:lnTo>
                  <a:lnTo>
                    <a:pt x="211" y="185"/>
                  </a:lnTo>
                  <a:lnTo>
                    <a:pt x="225" y="176"/>
                  </a:lnTo>
                  <a:lnTo>
                    <a:pt x="228" y="169"/>
                  </a:lnTo>
                  <a:lnTo>
                    <a:pt x="230" y="164"/>
                  </a:lnTo>
                  <a:lnTo>
                    <a:pt x="230" y="157"/>
                  </a:lnTo>
                  <a:lnTo>
                    <a:pt x="237" y="152"/>
                  </a:lnTo>
                  <a:lnTo>
                    <a:pt x="245" y="140"/>
                  </a:lnTo>
                  <a:lnTo>
                    <a:pt x="245" y="111"/>
                  </a:lnTo>
                  <a:lnTo>
                    <a:pt x="240" y="99"/>
                  </a:lnTo>
                  <a:lnTo>
                    <a:pt x="235" y="92"/>
                  </a:lnTo>
                  <a:lnTo>
                    <a:pt x="228" y="82"/>
                  </a:lnTo>
                  <a:lnTo>
                    <a:pt x="223" y="75"/>
                  </a:lnTo>
                  <a:lnTo>
                    <a:pt x="225" y="70"/>
                  </a:lnTo>
                  <a:lnTo>
                    <a:pt x="235" y="65"/>
                  </a:lnTo>
                  <a:lnTo>
                    <a:pt x="237" y="63"/>
                  </a:lnTo>
                  <a:lnTo>
                    <a:pt x="225" y="44"/>
                  </a:lnTo>
                  <a:lnTo>
                    <a:pt x="216" y="39"/>
                  </a:lnTo>
                  <a:lnTo>
                    <a:pt x="189" y="27"/>
                  </a:lnTo>
                  <a:lnTo>
                    <a:pt x="168" y="24"/>
                  </a:lnTo>
                  <a:lnTo>
                    <a:pt x="163" y="17"/>
                  </a:lnTo>
                  <a:lnTo>
                    <a:pt x="146" y="12"/>
                  </a:lnTo>
                  <a:lnTo>
                    <a:pt x="132" y="8"/>
                  </a:lnTo>
                  <a:lnTo>
                    <a:pt x="120" y="0"/>
                  </a:lnTo>
                  <a:lnTo>
                    <a:pt x="113" y="5"/>
                  </a:lnTo>
                  <a:lnTo>
                    <a:pt x="105" y="10"/>
                  </a:lnTo>
                  <a:lnTo>
                    <a:pt x="96" y="24"/>
                  </a:lnTo>
                  <a:lnTo>
                    <a:pt x="96" y="36"/>
                  </a:lnTo>
                  <a:lnTo>
                    <a:pt x="98" y="41"/>
                  </a:lnTo>
                  <a:lnTo>
                    <a:pt x="101" y="41"/>
                  </a:lnTo>
                  <a:lnTo>
                    <a:pt x="103" y="46"/>
                  </a:lnTo>
                  <a:lnTo>
                    <a:pt x="101" y="48"/>
                  </a:lnTo>
                  <a:lnTo>
                    <a:pt x="93" y="51"/>
                  </a:lnTo>
                  <a:lnTo>
                    <a:pt x="89" y="56"/>
                  </a:lnTo>
                  <a:lnTo>
                    <a:pt x="81" y="63"/>
                  </a:lnTo>
                  <a:lnTo>
                    <a:pt x="77" y="72"/>
                  </a:lnTo>
                  <a:lnTo>
                    <a:pt x="79" y="84"/>
                  </a:lnTo>
                  <a:lnTo>
                    <a:pt x="79" y="97"/>
                  </a:lnTo>
                  <a:lnTo>
                    <a:pt x="74" y="109"/>
                  </a:lnTo>
                  <a:lnTo>
                    <a:pt x="65" y="113"/>
                  </a:lnTo>
                  <a:lnTo>
                    <a:pt x="62" y="104"/>
                  </a:lnTo>
                  <a:lnTo>
                    <a:pt x="67" y="94"/>
                  </a:lnTo>
                  <a:lnTo>
                    <a:pt x="62" y="82"/>
                  </a:lnTo>
                  <a:lnTo>
                    <a:pt x="65" y="77"/>
                  </a:lnTo>
                  <a:lnTo>
                    <a:pt x="62" y="75"/>
                  </a:lnTo>
                  <a:lnTo>
                    <a:pt x="60" y="77"/>
                  </a:lnTo>
                  <a:lnTo>
                    <a:pt x="55" y="84"/>
                  </a:lnTo>
                  <a:lnTo>
                    <a:pt x="53" y="94"/>
                  </a:lnTo>
                  <a:lnTo>
                    <a:pt x="48" y="101"/>
                  </a:lnTo>
                  <a:lnTo>
                    <a:pt x="43" y="101"/>
                  </a:lnTo>
                  <a:lnTo>
                    <a:pt x="33" y="109"/>
                  </a:lnTo>
                  <a:lnTo>
                    <a:pt x="28" y="118"/>
                  </a:lnTo>
                  <a:lnTo>
                    <a:pt x="28" y="123"/>
                  </a:lnTo>
                  <a:lnTo>
                    <a:pt x="19" y="133"/>
                  </a:lnTo>
                  <a:lnTo>
                    <a:pt x="19" y="149"/>
                  </a:lnTo>
                  <a:lnTo>
                    <a:pt x="19" y="169"/>
                  </a:lnTo>
                  <a:lnTo>
                    <a:pt x="16" y="181"/>
                  </a:lnTo>
                  <a:lnTo>
                    <a:pt x="9" y="195"/>
                  </a:lnTo>
                  <a:lnTo>
                    <a:pt x="4" y="202"/>
                  </a:lnTo>
                  <a:lnTo>
                    <a:pt x="4" y="212"/>
                  </a:lnTo>
                  <a:lnTo>
                    <a:pt x="12" y="236"/>
                  </a:lnTo>
                  <a:lnTo>
                    <a:pt x="9" y="250"/>
                  </a:lnTo>
                  <a:lnTo>
                    <a:pt x="14" y="262"/>
                  </a:lnTo>
                  <a:lnTo>
                    <a:pt x="28" y="294"/>
                  </a:lnTo>
                  <a:lnTo>
                    <a:pt x="41" y="320"/>
                  </a:lnTo>
                  <a:lnTo>
                    <a:pt x="41" y="342"/>
                  </a:lnTo>
                  <a:lnTo>
                    <a:pt x="45" y="346"/>
                  </a:lnTo>
                  <a:lnTo>
                    <a:pt x="45" y="351"/>
                  </a:lnTo>
                  <a:lnTo>
                    <a:pt x="43" y="354"/>
                  </a:lnTo>
                  <a:lnTo>
                    <a:pt x="41" y="375"/>
                  </a:lnTo>
                  <a:lnTo>
                    <a:pt x="36" y="392"/>
                  </a:lnTo>
                  <a:lnTo>
                    <a:pt x="28" y="409"/>
                  </a:lnTo>
                  <a:lnTo>
                    <a:pt x="16" y="440"/>
                  </a:lnTo>
                  <a:lnTo>
                    <a:pt x="4" y="450"/>
                  </a:lnTo>
                  <a:lnTo>
                    <a:pt x="0" y="45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9" name="Freeform 34"/>
            <p:cNvSpPr>
              <a:spLocks/>
            </p:cNvSpPr>
            <p:nvPr/>
          </p:nvSpPr>
          <p:spPr bwMode="auto">
            <a:xfrm>
              <a:off x="6793337" y="2500191"/>
              <a:ext cx="819150" cy="403225"/>
            </a:xfrm>
            <a:custGeom>
              <a:avLst/>
              <a:gdLst>
                <a:gd name="T0" fmla="*/ 21 w 516"/>
                <a:gd name="T1" fmla="*/ 98 h 254"/>
                <a:gd name="T2" fmla="*/ 48 w 516"/>
                <a:gd name="T3" fmla="*/ 79 h 254"/>
                <a:gd name="T4" fmla="*/ 120 w 516"/>
                <a:gd name="T5" fmla="*/ 33 h 254"/>
                <a:gd name="T6" fmla="*/ 161 w 516"/>
                <a:gd name="T7" fmla="*/ 2 h 254"/>
                <a:gd name="T8" fmla="*/ 190 w 516"/>
                <a:gd name="T9" fmla="*/ 2 h 254"/>
                <a:gd name="T10" fmla="*/ 170 w 516"/>
                <a:gd name="T11" fmla="*/ 21 h 254"/>
                <a:gd name="T12" fmla="*/ 142 w 516"/>
                <a:gd name="T13" fmla="*/ 52 h 254"/>
                <a:gd name="T14" fmla="*/ 144 w 516"/>
                <a:gd name="T15" fmla="*/ 72 h 254"/>
                <a:gd name="T16" fmla="*/ 173 w 516"/>
                <a:gd name="T17" fmla="*/ 60 h 254"/>
                <a:gd name="T18" fmla="*/ 245 w 516"/>
                <a:gd name="T19" fmla="*/ 96 h 254"/>
                <a:gd name="T20" fmla="*/ 266 w 516"/>
                <a:gd name="T21" fmla="*/ 101 h 254"/>
                <a:gd name="T22" fmla="*/ 276 w 516"/>
                <a:gd name="T23" fmla="*/ 105 h 254"/>
                <a:gd name="T24" fmla="*/ 302 w 516"/>
                <a:gd name="T25" fmla="*/ 81 h 254"/>
                <a:gd name="T26" fmla="*/ 396 w 516"/>
                <a:gd name="T27" fmla="*/ 50 h 254"/>
                <a:gd name="T28" fmla="*/ 394 w 516"/>
                <a:gd name="T29" fmla="*/ 69 h 254"/>
                <a:gd name="T30" fmla="*/ 411 w 516"/>
                <a:gd name="T31" fmla="*/ 86 h 254"/>
                <a:gd name="T32" fmla="*/ 449 w 516"/>
                <a:gd name="T33" fmla="*/ 81 h 254"/>
                <a:gd name="T34" fmla="*/ 473 w 516"/>
                <a:gd name="T35" fmla="*/ 110 h 254"/>
                <a:gd name="T36" fmla="*/ 511 w 516"/>
                <a:gd name="T37" fmla="*/ 115 h 254"/>
                <a:gd name="T38" fmla="*/ 509 w 516"/>
                <a:gd name="T39" fmla="*/ 132 h 254"/>
                <a:gd name="T40" fmla="*/ 492 w 516"/>
                <a:gd name="T41" fmla="*/ 127 h 254"/>
                <a:gd name="T42" fmla="*/ 471 w 516"/>
                <a:gd name="T43" fmla="*/ 132 h 254"/>
                <a:gd name="T44" fmla="*/ 435 w 516"/>
                <a:gd name="T45" fmla="*/ 132 h 254"/>
                <a:gd name="T46" fmla="*/ 430 w 516"/>
                <a:gd name="T47" fmla="*/ 149 h 254"/>
                <a:gd name="T48" fmla="*/ 387 w 516"/>
                <a:gd name="T49" fmla="*/ 132 h 254"/>
                <a:gd name="T50" fmla="*/ 353 w 516"/>
                <a:gd name="T51" fmla="*/ 144 h 254"/>
                <a:gd name="T52" fmla="*/ 338 w 516"/>
                <a:gd name="T53" fmla="*/ 153 h 254"/>
                <a:gd name="T54" fmla="*/ 312 w 516"/>
                <a:gd name="T55" fmla="*/ 153 h 254"/>
                <a:gd name="T56" fmla="*/ 286 w 516"/>
                <a:gd name="T57" fmla="*/ 189 h 254"/>
                <a:gd name="T58" fmla="*/ 288 w 516"/>
                <a:gd name="T59" fmla="*/ 170 h 254"/>
                <a:gd name="T60" fmla="*/ 271 w 516"/>
                <a:gd name="T61" fmla="*/ 177 h 254"/>
                <a:gd name="T62" fmla="*/ 259 w 516"/>
                <a:gd name="T63" fmla="*/ 165 h 254"/>
                <a:gd name="T64" fmla="*/ 245 w 516"/>
                <a:gd name="T65" fmla="*/ 197 h 254"/>
                <a:gd name="T66" fmla="*/ 226 w 516"/>
                <a:gd name="T67" fmla="*/ 237 h 254"/>
                <a:gd name="T68" fmla="*/ 211 w 516"/>
                <a:gd name="T69" fmla="*/ 247 h 254"/>
                <a:gd name="T70" fmla="*/ 214 w 516"/>
                <a:gd name="T71" fmla="*/ 225 h 254"/>
                <a:gd name="T72" fmla="*/ 197 w 516"/>
                <a:gd name="T73" fmla="*/ 225 h 254"/>
                <a:gd name="T74" fmla="*/ 185 w 516"/>
                <a:gd name="T75" fmla="*/ 180 h 254"/>
                <a:gd name="T76" fmla="*/ 175 w 516"/>
                <a:gd name="T77" fmla="*/ 173 h 254"/>
                <a:gd name="T78" fmla="*/ 144 w 516"/>
                <a:gd name="T79" fmla="*/ 161 h 254"/>
                <a:gd name="T80" fmla="*/ 132 w 516"/>
                <a:gd name="T81" fmla="*/ 161 h 254"/>
                <a:gd name="T82" fmla="*/ 98 w 516"/>
                <a:gd name="T83" fmla="*/ 149 h 254"/>
                <a:gd name="T84" fmla="*/ 19 w 516"/>
                <a:gd name="T85" fmla="*/ 120 h 254"/>
                <a:gd name="T86" fmla="*/ 0 w 516"/>
                <a:gd name="T87" fmla="*/ 10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6" h="254">
                  <a:moveTo>
                    <a:pt x="0" y="108"/>
                  </a:moveTo>
                  <a:lnTo>
                    <a:pt x="14" y="103"/>
                  </a:lnTo>
                  <a:lnTo>
                    <a:pt x="21" y="98"/>
                  </a:lnTo>
                  <a:lnTo>
                    <a:pt x="38" y="88"/>
                  </a:lnTo>
                  <a:lnTo>
                    <a:pt x="41" y="81"/>
                  </a:lnTo>
                  <a:lnTo>
                    <a:pt x="48" y="79"/>
                  </a:lnTo>
                  <a:lnTo>
                    <a:pt x="77" y="69"/>
                  </a:lnTo>
                  <a:lnTo>
                    <a:pt x="96" y="57"/>
                  </a:lnTo>
                  <a:lnTo>
                    <a:pt x="120" y="33"/>
                  </a:lnTo>
                  <a:lnTo>
                    <a:pt x="127" y="31"/>
                  </a:lnTo>
                  <a:lnTo>
                    <a:pt x="146" y="9"/>
                  </a:lnTo>
                  <a:lnTo>
                    <a:pt x="161" y="2"/>
                  </a:lnTo>
                  <a:lnTo>
                    <a:pt x="182" y="0"/>
                  </a:lnTo>
                  <a:lnTo>
                    <a:pt x="190" y="0"/>
                  </a:lnTo>
                  <a:lnTo>
                    <a:pt x="190" y="2"/>
                  </a:lnTo>
                  <a:lnTo>
                    <a:pt x="178" y="12"/>
                  </a:lnTo>
                  <a:lnTo>
                    <a:pt x="175" y="12"/>
                  </a:lnTo>
                  <a:lnTo>
                    <a:pt x="170" y="21"/>
                  </a:lnTo>
                  <a:lnTo>
                    <a:pt x="154" y="40"/>
                  </a:lnTo>
                  <a:lnTo>
                    <a:pt x="146" y="48"/>
                  </a:lnTo>
                  <a:lnTo>
                    <a:pt x="142" y="52"/>
                  </a:lnTo>
                  <a:lnTo>
                    <a:pt x="139" y="67"/>
                  </a:lnTo>
                  <a:lnTo>
                    <a:pt x="142" y="79"/>
                  </a:lnTo>
                  <a:lnTo>
                    <a:pt x="144" y="72"/>
                  </a:lnTo>
                  <a:lnTo>
                    <a:pt x="158" y="62"/>
                  </a:lnTo>
                  <a:lnTo>
                    <a:pt x="166" y="62"/>
                  </a:lnTo>
                  <a:lnTo>
                    <a:pt x="173" y="60"/>
                  </a:lnTo>
                  <a:lnTo>
                    <a:pt x="202" y="72"/>
                  </a:lnTo>
                  <a:lnTo>
                    <a:pt x="226" y="98"/>
                  </a:lnTo>
                  <a:lnTo>
                    <a:pt x="245" y="96"/>
                  </a:lnTo>
                  <a:lnTo>
                    <a:pt x="252" y="98"/>
                  </a:lnTo>
                  <a:lnTo>
                    <a:pt x="259" y="101"/>
                  </a:lnTo>
                  <a:lnTo>
                    <a:pt x="266" y="101"/>
                  </a:lnTo>
                  <a:lnTo>
                    <a:pt x="269" y="101"/>
                  </a:lnTo>
                  <a:lnTo>
                    <a:pt x="276" y="103"/>
                  </a:lnTo>
                  <a:lnTo>
                    <a:pt x="276" y="105"/>
                  </a:lnTo>
                  <a:lnTo>
                    <a:pt x="278" y="103"/>
                  </a:lnTo>
                  <a:lnTo>
                    <a:pt x="283" y="96"/>
                  </a:lnTo>
                  <a:lnTo>
                    <a:pt x="302" y="81"/>
                  </a:lnTo>
                  <a:lnTo>
                    <a:pt x="370" y="64"/>
                  </a:lnTo>
                  <a:lnTo>
                    <a:pt x="389" y="52"/>
                  </a:lnTo>
                  <a:lnTo>
                    <a:pt x="396" y="50"/>
                  </a:lnTo>
                  <a:lnTo>
                    <a:pt x="401" y="55"/>
                  </a:lnTo>
                  <a:lnTo>
                    <a:pt x="394" y="64"/>
                  </a:lnTo>
                  <a:lnTo>
                    <a:pt x="394" y="69"/>
                  </a:lnTo>
                  <a:lnTo>
                    <a:pt x="403" y="86"/>
                  </a:lnTo>
                  <a:lnTo>
                    <a:pt x="408" y="88"/>
                  </a:lnTo>
                  <a:lnTo>
                    <a:pt x="411" y="86"/>
                  </a:lnTo>
                  <a:lnTo>
                    <a:pt x="423" y="86"/>
                  </a:lnTo>
                  <a:lnTo>
                    <a:pt x="427" y="84"/>
                  </a:lnTo>
                  <a:lnTo>
                    <a:pt x="449" y="81"/>
                  </a:lnTo>
                  <a:lnTo>
                    <a:pt x="459" y="86"/>
                  </a:lnTo>
                  <a:lnTo>
                    <a:pt x="468" y="103"/>
                  </a:lnTo>
                  <a:lnTo>
                    <a:pt x="473" y="110"/>
                  </a:lnTo>
                  <a:lnTo>
                    <a:pt x="490" y="117"/>
                  </a:lnTo>
                  <a:lnTo>
                    <a:pt x="507" y="115"/>
                  </a:lnTo>
                  <a:lnTo>
                    <a:pt x="511" y="115"/>
                  </a:lnTo>
                  <a:lnTo>
                    <a:pt x="516" y="117"/>
                  </a:lnTo>
                  <a:lnTo>
                    <a:pt x="516" y="125"/>
                  </a:lnTo>
                  <a:lnTo>
                    <a:pt x="509" y="132"/>
                  </a:lnTo>
                  <a:lnTo>
                    <a:pt x="499" y="132"/>
                  </a:lnTo>
                  <a:lnTo>
                    <a:pt x="492" y="132"/>
                  </a:lnTo>
                  <a:lnTo>
                    <a:pt x="492" y="127"/>
                  </a:lnTo>
                  <a:lnTo>
                    <a:pt x="487" y="127"/>
                  </a:lnTo>
                  <a:lnTo>
                    <a:pt x="478" y="134"/>
                  </a:lnTo>
                  <a:lnTo>
                    <a:pt x="471" y="132"/>
                  </a:lnTo>
                  <a:lnTo>
                    <a:pt x="463" y="129"/>
                  </a:lnTo>
                  <a:lnTo>
                    <a:pt x="444" y="134"/>
                  </a:lnTo>
                  <a:lnTo>
                    <a:pt x="435" y="132"/>
                  </a:lnTo>
                  <a:lnTo>
                    <a:pt x="430" y="134"/>
                  </a:lnTo>
                  <a:lnTo>
                    <a:pt x="432" y="144"/>
                  </a:lnTo>
                  <a:lnTo>
                    <a:pt x="430" y="149"/>
                  </a:lnTo>
                  <a:lnTo>
                    <a:pt x="425" y="146"/>
                  </a:lnTo>
                  <a:lnTo>
                    <a:pt x="413" y="137"/>
                  </a:lnTo>
                  <a:lnTo>
                    <a:pt x="387" y="132"/>
                  </a:lnTo>
                  <a:lnTo>
                    <a:pt x="379" y="134"/>
                  </a:lnTo>
                  <a:lnTo>
                    <a:pt x="372" y="132"/>
                  </a:lnTo>
                  <a:lnTo>
                    <a:pt x="353" y="144"/>
                  </a:lnTo>
                  <a:lnTo>
                    <a:pt x="351" y="144"/>
                  </a:lnTo>
                  <a:lnTo>
                    <a:pt x="341" y="149"/>
                  </a:lnTo>
                  <a:lnTo>
                    <a:pt x="338" y="153"/>
                  </a:lnTo>
                  <a:lnTo>
                    <a:pt x="336" y="153"/>
                  </a:lnTo>
                  <a:lnTo>
                    <a:pt x="324" y="151"/>
                  </a:lnTo>
                  <a:lnTo>
                    <a:pt x="312" y="153"/>
                  </a:lnTo>
                  <a:lnTo>
                    <a:pt x="312" y="163"/>
                  </a:lnTo>
                  <a:lnTo>
                    <a:pt x="310" y="168"/>
                  </a:lnTo>
                  <a:lnTo>
                    <a:pt x="286" y="189"/>
                  </a:lnTo>
                  <a:lnTo>
                    <a:pt x="281" y="187"/>
                  </a:lnTo>
                  <a:lnTo>
                    <a:pt x="278" y="185"/>
                  </a:lnTo>
                  <a:lnTo>
                    <a:pt x="288" y="170"/>
                  </a:lnTo>
                  <a:lnTo>
                    <a:pt x="288" y="165"/>
                  </a:lnTo>
                  <a:lnTo>
                    <a:pt x="276" y="165"/>
                  </a:lnTo>
                  <a:lnTo>
                    <a:pt x="271" y="177"/>
                  </a:lnTo>
                  <a:lnTo>
                    <a:pt x="266" y="182"/>
                  </a:lnTo>
                  <a:lnTo>
                    <a:pt x="262" y="177"/>
                  </a:lnTo>
                  <a:lnTo>
                    <a:pt x="259" y="165"/>
                  </a:lnTo>
                  <a:lnTo>
                    <a:pt x="257" y="168"/>
                  </a:lnTo>
                  <a:lnTo>
                    <a:pt x="254" y="182"/>
                  </a:lnTo>
                  <a:lnTo>
                    <a:pt x="245" y="197"/>
                  </a:lnTo>
                  <a:lnTo>
                    <a:pt x="240" y="211"/>
                  </a:lnTo>
                  <a:lnTo>
                    <a:pt x="235" y="221"/>
                  </a:lnTo>
                  <a:lnTo>
                    <a:pt x="226" y="237"/>
                  </a:lnTo>
                  <a:lnTo>
                    <a:pt x="226" y="250"/>
                  </a:lnTo>
                  <a:lnTo>
                    <a:pt x="223" y="254"/>
                  </a:lnTo>
                  <a:lnTo>
                    <a:pt x="211" y="247"/>
                  </a:lnTo>
                  <a:lnTo>
                    <a:pt x="209" y="235"/>
                  </a:lnTo>
                  <a:lnTo>
                    <a:pt x="211" y="230"/>
                  </a:lnTo>
                  <a:lnTo>
                    <a:pt x="214" y="225"/>
                  </a:lnTo>
                  <a:lnTo>
                    <a:pt x="211" y="223"/>
                  </a:lnTo>
                  <a:lnTo>
                    <a:pt x="199" y="225"/>
                  </a:lnTo>
                  <a:lnTo>
                    <a:pt x="197" y="225"/>
                  </a:lnTo>
                  <a:lnTo>
                    <a:pt x="199" y="197"/>
                  </a:lnTo>
                  <a:lnTo>
                    <a:pt x="199" y="187"/>
                  </a:lnTo>
                  <a:lnTo>
                    <a:pt x="185" y="180"/>
                  </a:lnTo>
                  <a:lnTo>
                    <a:pt x="173" y="177"/>
                  </a:lnTo>
                  <a:lnTo>
                    <a:pt x="175" y="175"/>
                  </a:lnTo>
                  <a:lnTo>
                    <a:pt x="175" y="173"/>
                  </a:lnTo>
                  <a:lnTo>
                    <a:pt x="173" y="168"/>
                  </a:lnTo>
                  <a:lnTo>
                    <a:pt x="161" y="165"/>
                  </a:lnTo>
                  <a:lnTo>
                    <a:pt x="144" y="161"/>
                  </a:lnTo>
                  <a:lnTo>
                    <a:pt x="139" y="161"/>
                  </a:lnTo>
                  <a:lnTo>
                    <a:pt x="134" y="165"/>
                  </a:lnTo>
                  <a:lnTo>
                    <a:pt x="132" y="161"/>
                  </a:lnTo>
                  <a:lnTo>
                    <a:pt x="122" y="161"/>
                  </a:lnTo>
                  <a:lnTo>
                    <a:pt x="106" y="149"/>
                  </a:lnTo>
                  <a:lnTo>
                    <a:pt x="98" y="149"/>
                  </a:lnTo>
                  <a:lnTo>
                    <a:pt x="26" y="134"/>
                  </a:lnTo>
                  <a:lnTo>
                    <a:pt x="21" y="132"/>
                  </a:lnTo>
                  <a:lnTo>
                    <a:pt x="19" y="120"/>
                  </a:lnTo>
                  <a:lnTo>
                    <a:pt x="14" y="115"/>
                  </a:lnTo>
                  <a:lnTo>
                    <a:pt x="2" y="113"/>
                  </a:lnTo>
                  <a:lnTo>
                    <a:pt x="0" y="10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0" name="Freeform 35"/>
            <p:cNvSpPr>
              <a:spLocks/>
            </p:cNvSpPr>
            <p:nvPr/>
          </p:nvSpPr>
          <p:spPr bwMode="auto">
            <a:xfrm>
              <a:off x="8942812" y="2911354"/>
              <a:ext cx="446088" cy="233362"/>
            </a:xfrm>
            <a:custGeom>
              <a:avLst/>
              <a:gdLst>
                <a:gd name="T0" fmla="*/ 58 w 281"/>
                <a:gd name="T1" fmla="*/ 51 h 147"/>
                <a:gd name="T2" fmla="*/ 149 w 281"/>
                <a:gd name="T3" fmla="*/ 24 h 147"/>
                <a:gd name="T4" fmla="*/ 156 w 281"/>
                <a:gd name="T5" fmla="*/ 24 h 147"/>
                <a:gd name="T6" fmla="*/ 156 w 281"/>
                <a:gd name="T7" fmla="*/ 17 h 147"/>
                <a:gd name="T8" fmla="*/ 168 w 281"/>
                <a:gd name="T9" fmla="*/ 3 h 147"/>
                <a:gd name="T10" fmla="*/ 180 w 281"/>
                <a:gd name="T11" fmla="*/ 3 h 147"/>
                <a:gd name="T12" fmla="*/ 195 w 281"/>
                <a:gd name="T13" fmla="*/ 24 h 147"/>
                <a:gd name="T14" fmla="*/ 195 w 281"/>
                <a:gd name="T15" fmla="*/ 34 h 147"/>
                <a:gd name="T16" fmla="*/ 185 w 281"/>
                <a:gd name="T17" fmla="*/ 46 h 147"/>
                <a:gd name="T18" fmla="*/ 183 w 281"/>
                <a:gd name="T19" fmla="*/ 63 h 147"/>
                <a:gd name="T20" fmla="*/ 204 w 281"/>
                <a:gd name="T21" fmla="*/ 70 h 147"/>
                <a:gd name="T22" fmla="*/ 226 w 281"/>
                <a:gd name="T23" fmla="*/ 96 h 147"/>
                <a:gd name="T24" fmla="*/ 252 w 281"/>
                <a:gd name="T25" fmla="*/ 106 h 147"/>
                <a:gd name="T26" fmla="*/ 272 w 281"/>
                <a:gd name="T27" fmla="*/ 89 h 147"/>
                <a:gd name="T28" fmla="*/ 260 w 281"/>
                <a:gd name="T29" fmla="*/ 79 h 147"/>
                <a:gd name="T30" fmla="*/ 250 w 281"/>
                <a:gd name="T31" fmla="*/ 70 h 147"/>
                <a:gd name="T32" fmla="*/ 262 w 281"/>
                <a:gd name="T33" fmla="*/ 70 h 147"/>
                <a:gd name="T34" fmla="*/ 281 w 281"/>
                <a:gd name="T35" fmla="*/ 106 h 147"/>
                <a:gd name="T36" fmla="*/ 274 w 281"/>
                <a:gd name="T37" fmla="*/ 111 h 147"/>
                <a:gd name="T38" fmla="*/ 250 w 281"/>
                <a:gd name="T39" fmla="*/ 123 h 147"/>
                <a:gd name="T40" fmla="*/ 233 w 281"/>
                <a:gd name="T41" fmla="*/ 135 h 147"/>
                <a:gd name="T42" fmla="*/ 231 w 281"/>
                <a:gd name="T43" fmla="*/ 128 h 147"/>
                <a:gd name="T44" fmla="*/ 226 w 281"/>
                <a:gd name="T45" fmla="*/ 118 h 147"/>
                <a:gd name="T46" fmla="*/ 209 w 281"/>
                <a:gd name="T47" fmla="*/ 144 h 147"/>
                <a:gd name="T48" fmla="*/ 200 w 281"/>
                <a:gd name="T49" fmla="*/ 140 h 147"/>
                <a:gd name="T50" fmla="*/ 195 w 281"/>
                <a:gd name="T51" fmla="*/ 137 h 147"/>
                <a:gd name="T52" fmla="*/ 188 w 281"/>
                <a:gd name="T53" fmla="*/ 130 h 147"/>
                <a:gd name="T54" fmla="*/ 173 w 281"/>
                <a:gd name="T55" fmla="*/ 123 h 147"/>
                <a:gd name="T56" fmla="*/ 164 w 281"/>
                <a:gd name="T57" fmla="*/ 111 h 147"/>
                <a:gd name="T58" fmla="*/ 130 w 281"/>
                <a:gd name="T59" fmla="*/ 108 h 147"/>
                <a:gd name="T60" fmla="*/ 58 w 281"/>
                <a:gd name="T61" fmla="*/ 130 h 147"/>
                <a:gd name="T62" fmla="*/ 51 w 281"/>
                <a:gd name="T63" fmla="*/ 128 h 147"/>
                <a:gd name="T64" fmla="*/ 0 w 281"/>
                <a:gd name="T65" fmla="*/ 13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1" h="147">
                  <a:moveTo>
                    <a:pt x="0" y="63"/>
                  </a:moveTo>
                  <a:lnTo>
                    <a:pt x="58" y="51"/>
                  </a:lnTo>
                  <a:lnTo>
                    <a:pt x="149" y="29"/>
                  </a:lnTo>
                  <a:lnTo>
                    <a:pt x="149" y="24"/>
                  </a:lnTo>
                  <a:lnTo>
                    <a:pt x="152" y="22"/>
                  </a:lnTo>
                  <a:lnTo>
                    <a:pt x="156" y="24"/>
                  </a:lnTo>
                  <a:lnTo>
                    <a:pt x="156" y="22"/>
                  </a:lnTo>
                  <a:lnTo>
                    <a:pt x="156" y="17"/>
                  </a:lnTo>
                  <a:lnTo>
                    <a:pt x="164" y="15"/>
                  </a:lnTo>
                  <a:lnTo>
                    <a:pt x="168" y="3"/>
                  </a:lnTo>
                  <a:lnTo>
                    <a:pt x="176" y="0"/>
                  </a:lnTo>
                  <a:lnTo>
                    <a:pt x="180" y="3"/>
                  </a:lnTo>
                  <a:lnTo>
                    <a:pt x="183" y="17"/>
                  </a:lnTo>
                  <a:lnTo>
                    <a:pt x="195" y="24"/>
                  </a:lnTo>
                  <a:lnTo>
                    <a:pt x="197" y="29"/>
                  </a:lnTo>
                  <a:lnTo>
                    <a:pt x="195" y="34"/>
                  </a:lnTo>
                  <a:lnTo>
                    <a:pt x="190" y="36"/>
                  </a:lnTo>
                  <a:lnTo>
                    <a:pt x="185" y="46"/>
                  </a:lnTo>
                  <a:lnTo>
                    <a:pt x="183" y="58"/>
                  </a:lnTo>
                  <a:lnTo>
                    <a:pt x="183" y="63"/>
                  </a:lnTo>
                  <a:lnTo>
                    <a:pt x="195" y="63"/>
                  </a:lnTo>
                  <a:lnTo>
                    <a:pt x="204" y="70"/>
                  </a:lnTo>
                  <a:lnTo>
                    <a:pt x="221" y="87"/>
                  </a:lnTo>
                  <a:lnTo>
                    <a:pt x="226" y="96"/>
                  </a:lnTo>
                  <a:lnTo>
                    <a:pt x="233" y="106"/>
                  </a:lnTo>
                  <a:lnTo>
                    <a:pt x="252" y="106"/>
                  </a:lnTo>
                  <a:lnTo>
                    <a:pt x="264" y="101"/>
                  </a:lnTo>
                  <a:lnTo>
                    <a:pt x="272" y="89"/>
                  </a:lnTo>
                  <a:lnTo>
                    <a:pt x="267" y="87"/>
                  </a:lnTo>
                  <a:lnTo>
                    <a:pt x="260" y="79"/>
                  </a:lnTo>
                  <a:lnTo>
                    <a:pt x="250" y="75"/>
                  </a:lnTo>
                  <a:lnTo>
                    <a:pt x="250" y="70"/>
                  </a:lnTo>
                  <a:lnTo>
                    <a:pt x="257" y="70"/>
                  </a:lnTo>
                  <a:lnTo>
                    <a:pt x="262" y="70"/>
                  </a:lnTo>
                  <a:lnTo>
                    <a:pt x="274" y="89"/>
                  </a:lnTo>
                  <a:lnTo>
                    <a:pt x="281" y="106"/>
                  </a:lnTo>
                  <a:lnTo>
                    <a:pt x="281" y="115"/>
                  </a:lnTo>
                  <a:lnTo>
                    <a:pt x="274" y="111"/>
                  </a:lnTo>
                  <a:lnTo>
                    <a:pt x="264" y="118"/>
                  </a:lnTo>
                  <a:lnTo>
                    <a:pt x="250" y="123"/>
                  </a:lnTo>
                  <a:lnTo>
                    <a:pt x="238" y="135"/>
                  </a:lnTo>
                  <a:lnTo>
                    <a:pt x="233" y="135"/>
                  </a:lnTo>
                  <a:lnTo>
                    <a:pt x="231" y="132"/>
                  </a:lnTo>
                  <a:lnTo>
                    <a:pt x="231" y="128"/>
                  </a:lnTo>
                  <a:lnTo>
                    <a:pt x="228" y="118"/>
                  </a:lnTo>
                  <a:lnTo>
                    <a:pt x="226" y="118"/>
                  </a:lnTo>
                  <a:lnTo>
                    <a:pt x="219" y="132"/>
                  </a:lnTo>
                  <a:lnTo>
                    <a:pt x="209" y="144"/>
                  </a:lnTo>
                  <a:lnTo>
                    <a:pt x="204" y="147"/>
                  </a:lnTo>
                  <a:lnTo>
                    <a:pt x="200" y="140"/>
                  </a:lnTo>
                  <a:lnTo>
                    <a:pt x="200" y="137"/>
                  </a:lnTo>
                  <a:lnTo>
                    <a:pt x="195" y="137"/>
                  </a:lnTo>
                  <a:lnTo>
                    <a:pt x="195" y="135"/>
                  </a:lnTo>
                  <a:lnTo>
                    <a:pt x="188" y="130"/>
                  </a:lnTo>
                  <a:lnTo>
                    <a:pt x="188" y="128"/>
                  </a:lnTo>
                  <a:lnTo>
                    <a:pt x="173" y="123"/>
                  </a:lnTo>
                  <a:lnTo>
                    <a:pt x="168" y="113"/>
                  </a:lnTo>
                  <a:lnTo>
                    <a:pt x="164" y="111"/>
                  </a:lnTo>
                  <a:lnTo>
                    <a:pt x="161" y="101"/>
                  </a:lnTo>
                  <a:lnTo>
                    <a:pt x="130" y="108"/>
                  </a:lnTo>
                  <a:lnTo>
                    <a:pt x="58" y="128"/>
                  </a:lnTo>
                  <a:lnTo>
                    <a:pt x="58" y="130"/>
                  </a:lnTo>
                  <a:lnTo>
                    <a:pt x="56" y="132"/>
                  </a:lnTo>
                  <a:lnTo>
                    <a:pt x="51" y="128"/>
                  </a:lnTo>
                  <a:lnTo>
                    <a:pt x="3" y="140"/>
                  </a:lnTo>
                  <a:lnTo>
                    <a:pt x="0" y="137"/>
                  </a:lnTo>
                  <a:lnTo>
                    <a:pt x="0" y="63"/>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1" name="Freeform 36"/>
            <p:cNvSpPr>
              <a:spLocks/>
            </p:cNvSpPr>
            <p:nvPr/>
          </p:nvSpPr>
          <p:spPr bwMode="auto">
            <a:xfrm>
              <a:off x="9149187" y="3071691"/>
              <a:ext cx="117475" cy="130175"/>
            </a:xfrm>
            <a:custGeom>
              <a:avLst/>
              <a:gdLst>
                <a:gd name="T0" fmla="*/ 0 w 74"/>
                <a:gd name="T1" fmla="*/ 7 h 82"/>
                <a:gd name="T2" fmla="*/ 19 w 74"/>
                <a:gd name="T3" fmla="*/ 67 h 82"/>
                <a:gd name="T4" fmla="*/ 17 w 74"/>
                <a:gd name="T5" fmla="*/ 72 h 82"/>
                <a:gd name="T6" fmla="*/ 14 w 74"/>
                <a:gd name="T7" fmla="*/ 77 h 82"/>
                <a:gd name="T8" fmla="*/ 14 w 74"/>
                <a:gd name="T9" fmla="*/ 79 h 82"/>
                <a:gd name="T10" fmla="*/ 17 w 74"/>
                <a:gd name="T11" fmla="*/ 82 h 82"/>
                <a:gd name="T12" fmla="*/ 19 w 74"/>
                <a:gd name="T13" fmla="*/ 82 h 82"/>
                <a:gd name="T14" fmla="*/ 36 w 74"/>
                <a:gd name="T15" fmla="*/ 72 h 82"/>
                <a:gd name="T16" fmla="*/ 46 w 74"/>
                <a:gd name="T17" fmla="*/ 63 h 82"/>
                <a:gd name="T18" fmla="*/ 46 w 74"/>
                <a:gd name="T19" fmla="*/ 58 h 82"/>
                <a:gd name="T20" fmla="*/ 41 w 74"/>
                <a:gd name="T21" fmla="*/ 53 h 82"/>
                <a:gd name="T22" fmla="*/ 41 w 74"/>
                <a:gd name="T23" fmla="*/ 43 h 82"/>
                <a:gd name="T24" fmla="*/ 48 w 74"/>
                <a:gd name="T25" fmla="*/ 36 h 82"/>
                <a:gd name="T26" fmla="*/ 50 w 74"/>
                <a:gd name="T27" fmla="*/ 39 h 82"/>
                <a:gd name="T28" fmla="*/ 50 w 74"/>
                <a:gd name="T29" fmla="*/ 43 h 82"/>
                <a:gd name="T30" fmla="*/ 50 w 74"/>
                <a:gd name="T31" fmla="*/ 58 h 82"/>
                <a:gd name="T32" fmla="*/ 53 w 74"/>
                <a:gd name="T33" fmla="*/ 60 h 82"/>
                <a:gd name="T34" fmla="*/ 58 w 74"/>
                <a:gd name="T35" fmla="*/ 60 h 82"/>
                <a:gd name="T36" fmla="*/ 58 w 74"/>
                <a:gd name="T37" fmla="*/ 53 h 82"/>
                <a:gd name="T38" fmla="*/ 62 w 74"/>
                <a:gd name="T39" fmla="*/ 53 h 82"/>
                <a:gd name="T40" fmla="*/ 67 w 74"/>
                <a:gd name="T41" fmla="*/ 48 h 82"/>
                <a:gd name="T42" fmla="*/ 74 w 74"/>
                <a:gd name="T43" fmla="*/ 46 h 82"/>
                <a:gd name="T44" fmla="*/ 74 w 74"/>
                <a:gd name="T45" fmla="*/ 46 h 82"/>
                <a:gd name="T46" fmla="*/ 70 w 74"/>
                <a:gd name="T47" fmla="*/ 39 h 82"/>
                <a:gd name="T48" fmla="*/ 70 w 74"/>
                <a:gd name="T49" fmla="*/ 36 h 82"/>
                <a:gd name="T50" fmla="*/ 65 w 74"/>
                <a:gd name="T51" fmla="*/ 36 h 82"/>
                <a:gd name="T52" fmla="*/ 65 w 74"/>
                <a:gd name="T53" fmla="*/ 34 h 82"/>
                <a:gd name="T54" fmla="*/ 58 w 74"/>
                <a:gd name="T55" fmla="*/ 29 h 82"/>
                <a:gd name="T56" fmla="*/ 58 w 74"/>
                <a:gd name="T57" fmla="*/ 27 h 82"/>
                <a:gd name="T58" fmla="*/ 43 w 74"/>
                <a:gd name="T59" fmla="*/ 22 h 82"/>
                <a:gd name="T60" fmla="*/ 38 w 74"/>
                <a:gd name="T61" fmla="*/ 12 h 82"/>
                <a:gd name="T62" fmla="*/ 34 w 74"/>
                <a:gd name="T63" fmla="*/ 10 h 82"/>
                <a:gd name="T64" fmla="*/ 31 w 74"/>
                <a:gd name="T65" fmla="*/ 0 h 82"/>
                <a:gd name="T66" fmla="*/ 0 w 74"/>
                <a:gd name="T67"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82">
                  <a:moveTo>
                    <a:pt x="0" y="7"/>
                  </a:moveTo>
                  <a:lnTo>
                    <a:pt x="19" y="67"/>
                  </a:lnTo>
                  <a:lnTo>
                    <a:pt x="17" y="72"/>
                  </a:lnTo>
                  <a:lnTo>
                    <a:pt x="14" y="77"/>
                  </a:lnTo>
                  <a:lnTo>
                    <a:pt x="14" y="79"/>
                  </a:lnTo>
                  <a:lnTo>
                    <a:pt x="17" y="82"/>
                  </a:lnTo>
                  <a:lnTo>
                    <a:pt x="19" y="82"/>
                  </a:lnTo>
                  <a:lnTo>
                    <a:pt x="36" y="72"/>
                  </a:lnTo>
                  <a:lnTo>
                    <a:pt x="46" y="63"/>
                  </a:lnTo>
                  <a:lnTo>
                    <a:pt x="46" y="58"/>
                  </a:lnTo>
                  <a:lnTo>
                    <a:pt x="41" y="53"/>
                  </a:lnTo>
                  <a:lnTo>
                    <a:pt x="41" y="43"/>
                  </a:lnTo>
                  <a:lnTo>
                    <a:pt x="48" y="36"/>
                  </a:lnTo>
                  <a:lnTo>
                    <a:pt x="50" y="39"/>
                  </a:lnTo>
                  <a:lnTo>
                    <a:pt x="50" y="43"/>
                  </a:lnTo>
                  <a:lnTo>
                    <a:pt x="50" y="58"/>
                  </a:lnTo>
                  <a:lnTo>
                    <a:pt x="53" y="60"/>
                  </a:lnTo>
                  <a:lnTo>
                    <a:pt x="58" y="60"/>
                  </a:lnTo>
                  <a:lnTo>
                    <a:pt x="58" y="53"/>
                  </a:lnTo>
                  <a:lnTo>
                    <a:pt x="62" y="53"/>
                  </a:lnTo>
                  <a:lnTo>
                    <a:pt x="67" y="48"/>
                  </a:lnTo>
                  <a:lnTo>
                    <a:pt x="74" y="46"/>
                  </a:lnTo>
                  <a:lnTo>
                    <a:pt x="74" y="46"/>
                  </a:lnTo>
                  <a:lnTo>
                    <a:pt x="70" y="39"/>
                  </a:lnTo>
                  <a:lnTo>
                    <a:pt x="70" y="36"/>
                  </a:lnTo>
                  <a:lnTo>
                    <a:pt x="65" y="36"/>
                  </a:lnTo>
                  <a:lnTo>
                    <a:pt x="65" y="34"/>
                  </a:lnTo>
                  <a:lnTo>
                    <a:pt x="58" y="29"/>
                  </a:lnTo>
                  <a:lnTo>
                    <a:pt x="58" y="27"/>
                  </a:lnTo>
                  <a:lnTo>
                    <a:pt x="43" y="22"/>
                  </a:lnTo>
                  <a:lnTo>
                    <a:pt x="38" y="12"/>
                  </a:lnTo>
                  <a:lnTo>
                    <a:pt x="34" y="10"/>
                  </a:lnTo>
                  <a:lnTo>
                    <a:pt x="31" y="0"/>
                  </a:lnTo>
                  <a:lnTo>
                    <a:pt x="0" y="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2" name="Freeform 37"/>
            <p:cNvSpPr>
              <a:spLocks/>
            </p:cNvSpPr>
            <p:nvPr/>
          </p:nvSpPr>
          <p:spPr bwMode="auto">
            <a:xfrm>
              <a:off x="8947574" y="3082804"/>
              <a:ext cx="231775" cy="228600"/>
            </a:xfrm>
            <a:custGeom>
              <a:avLst/>
              <a:gdLst>
                <a:gd name="T0" fmla="*/ 0 w 146"/>
                <a:gd name="T1" fmla="*/ 32 h 144"/>
                <a:gd name="T2" fmla="*/ 48 w 146"/>
                <a:gd name="T3" fmla="*/ 20 h 144"/>
                <a:gd name="T4" fmla="*/ 53 w 146"/>
                <a:gd name="T5" fmla="*/ 24 h 144"/>
                <a:gd name="T6" fmla="*/ 55 w 146"/>
                <a:gd name="T7" fmla="*/ 22 h 144"/>
                <a:gd name="T8" fmla="*/ 55 w 146"/>
                <a:gd name="T9" fmla="*/ 20 h 144"/>
                <a:gd name="T10" fmla="*/ 127 w 146"/>
                <a:gd name="T11" fmla="*/ 0 h 144"/>
                <a:gd name="T12" fmla="*/ 146 w 146"/>
                <a:gd name="T13" fmla="*/ 60 h 144"/>
                <a:gd name="T14" fmla="*/ 144 w 146"/>
                <a:gd name="T15" fmla="*/ 65 h 144"/>
                <a:gd name="T16" fmla="*/ 141 w 146"/>
                <a:gd name="T17" fmla="*/ 70 h 144"/>
                <a:gd name="T18" fmla="*/ 141 w 146"/>
                <a:gd name="T19" fmla="*/ 72 h 144"/>
                <a:gd name="T20" fmla="*/ 144 w 146"/>
                <a:gd name="T21" fmla="*/ 75 h 144"/>
                <a:gd name="T22" fmla="*/ 134 w 146"/>
                <a:gd name="T23" fmla="*/ 77 h 144"/>
                <a:gd name="T24" fmla="*/ 110 w 146"/>
                <a:gd name="T25" fmla="*/ 87 h 144"/>
                <a:gd name="T26" fmla="*/ 103 w 146"/>
                <a:gd name="T27" fmla="*/ 84 h 144"/>
                <a:gd name="T28" fmla="*/ 101 w 146"/>
                <a:gd name="T29" fmla="*/ 87 h 144"/>
                <a:gd name="T30" fmla="*/ 101 w 146"/>
                <a:gd name="T31" fmla="*/ 92 h 144"/>
                <a:gd name="T32" fmla="*/ 98 w 146"/>
                <a:gd name="T33" fmla="*/ 94 h 144"/>
                <a:gd name="T34" fmla="*/ 84 w 146"/>
                <a:gd name="T35" fmla="*/ 96 h 144"/>
                <a:gd name="T36" fmla="*/ 62 w 146"/>
                <a:gd name="T37" fmla="*/ 104 h 144"/>
                <a:gd name="T38" fmla="*/ 60 w 146"/>
                <a:gd name="T39" fmla="*/ 101 h 144"/>
                <a:gd name="T40" fmla="*/ 50 w 146"/>
                <a:gd name="T41" fmla="*/ 116 h 144"/>
                <a:gd name="T42" fmla="*/ 21 w 146"/>
                <a:gd name="T43" fmla="*/ 137 h 144"/>
                <a:gd name="T44" fmla="*/ 9 w 146"/>
                <a:gd name="T45" fmla="*/ 144 h 144"/>
                <a:gd name="T46" fmla="*/ 2 w 146"/>
                <a:gd name="T47" fmla="*/ 135 h 144"/>
                <a:gd name="T48" fmla="*/ 14 w 146"/>
                <a:gd name="T49" fmla="*/ 123 h 144"/>
                <a:gd name="T50" fmla="*/ 17 w 146"/>
                <a:gd name="T51" fmla="*/ 116 h 144"/>
                <a:gd name="T52" fmla="*/ 9 w 146"/>
                <a:gd name="T53" fmla="*/ 108 h 144"/>
                <a:gd name="T54" fmla="*/ 0 w 146"/>
                <a:gd name="T55"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6" h="144">
                  <a:moveTo>
                    <a:pt x="0" y="32"/>
                  </a:moveTo>
                  <a:lnTo>
                    <a:pt x="48" y="20"/>
                  </a:lnTo>
                  <a:lnTo>
                    <a:pt x="53" y="24"/>
                  </a:lnTo>
                  <a:lnTo>
                    <a:pt x="55" y="22"/>
                  </a:lnTo>
                  <a:lnTo>
                    <a:pt x="55" y="20"/>
                  </a:lnTo>
                  <a:lnTo>
                    <a:pt x="127" y="0"/>
                  </a:lnTo>
                  <a:lnTo>
                    <a:pt x="146" y="60"/>
                  </a:lnTo>
                  <a:lnTo>
                    <a:pt x="144" y="65"/>
                  </a:lnTo>
                  <a:lnTo>
                    <a:pt x="141" y="70"/>
                  </a:lnTo>
                  <a:lnTo>
                    <a:pt x="141" y="72"/>
                  </a:lnTo>
                  <a:lnTo>
                    <a:pt x="144" y="75"/>
                  </a:lnTo>
                  <a:lnTo>
                    <a:pt x="134" y="77"/>
                  </a:lnTo>
                  <a:lnTo>
                    <a:pt x="110" y="87"/>
                  </a:lnTo>
                  <a:lnTo>
                    <a:pt x="103" y="84"/>
                  </a:lnTo>
                  <a:lnTo>
                    <a:pt x="101" y="87"/>
                  </a:lnTo>
                  <a:lnTo>
                    <a:pt x="101" y="92"/>
                  </a:lnTo>
                  <a:lnTo>
                    <a:pt x="98" y="94"/>
                  </a:lnTo>
                  <a:lnTo>
                    <a:pt x="84" y="96"/>
                  </a:lnTo>
                  <a:lnTo>
                    <a:pt x="62" y="104"/>
                  </a:lnTo>
                  <a:lnTo>
                    <a:pt x="60" y="101"/>
                  </a:lnTo>
                  <a:lnTo>
                    <a:pt x="50" y="116"/>
                  </a:lnTo>
                  <a:lnTo>
                    <a:pt x="21" y="137"/>
                  </a:lnTo>
                  <a:lnTo>
                    <a:pt x="9" y="144"/>
                  </a:lnTo>
                  <a:lnTo>
                    <a:pt x="2" y="135"/>
                  </a:lnTo>
                  <a:lnTo>
                    <a:pt x="14" y="123"/>
                  </a:lnTo>
                  <a:lnTo>
                    <a:pt x="17" y="116"/>
                  </a:lnTo>
                  <a:lnTo>
                    <a:pt x="9" y="108"/>
                  </a:lnTo>
                  <a:lnTo>
                    <a:pt x="0" y="3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3" name="Freeform 38"/>
            <p:cNvSpPr>
              <a:spLocks/>
            </p:cNvSpPr>
            <p:nvPr/>
          </p:nvSpPr>
          <p:spPr bwMode="auto">
            <a:xfrm>
              <a:off x="7906174" y="3549529"/>
              <a:ext cx="609600" cy="601662"/>
            </a:xfrm>
            <a:custGeom>
              <a:avLst/>
              <a:gdLst>
                <a:gd name="T0" fmla="*/ 127 w 384"/>
                <a:gd name="T1" fmla="*/ 0 h 379"/>
                <a:gd name="T2" fmla="*/ 127 w 384"/>
                <a:gd name="T3" fmla="*/ 16 h 379"/>
                <a:gd name="T4" fmla="*/ 132 w 384"/>
                <a:gd name="T5" fmla="*/ 33 h 379"/>
                <a:gd name="T6" fmla="*/ 123 w 384"/>
                <a:gd name="T7" fmla="*/ 81 h 379"/>
                <a:gd name="T8" fmla="*/ 123 w 384"/>
                <a:gd name="T9" fmla="*/ 96 h 379"/>
                <a:gd name="T10" fmla="*/ 115 w 384"/>
                <a:gd name="T11" fmla="*/ 117 h 379"/>
                <a:gd name="T12" fmla="*/ 96 w 384"/>
                <a:gd name="T13" fmla="*/ 136 h 379"/>
                <a:gd name="T14" fmla="*/ 84 w 384"/>
                <a:gd name="T15" fmla="*/ 144 h 379"/>
                <a:gd name="T16" fmla="*/ 72 w 384"/>
                <a:gd name="T17" fmla="*/ 149 h 379"/>
                <a:gd name="T18" fmla="*/ 63 w 384"/>
                <a:gd name="T19" fmla="*/ 161 h 379"/>
                <a:gd name="T20" fmla="*/ 58 w 384"/>
                <a:gd name="T21" fmla="*/ 192 h 379"/>
                <a:gd name="T22" fmla="*/ 41 w 384"/>
                <a:gd name="T23" fmla="*/ 189 h 379"/>
                <a:gd name="T24" fmla="*/ 27 w 384"/>
                <a:gd name="T25" fmla="*/ 216 h 379"/>
                <a:gd name="T26" fmla="*/ 27 w 384"/>
                <a:gd name="T27" fmla="*/ 240 h 379"/>
                <a:gd name="T28" fmla="*/ 12 w 384"/>
                <a:gd name="T29" fmla="*/ 259 h 379"/>
                <a:gd name="T30" fmla="*/ 3 w 384"/>
                <a:gd name="T31" fmla="*/ 273 h 379"/>
                <a:gd name="T32" fmla="*/ 3 w 384"/>
                <a:gd name="T33" fmla="*/ 290 h 379"/>
                <a:gd name="T34" fmla="*/ 22 w 384"/>
                <a:gd name="T35" fmla="*/ 317 h 379"/>
                <a:gd name="T36" fmla="*/ 36 w 384"/>
                <a:gd name="T37" fmla="*/ 336 h 379"/>
                <a:gd name="T38" fmla="*/ 48 w 384"/>
                <a:gd name="T39" fmla="*/ 341 h 379"/>
                <a:gd name="T40" fmla="*/ 53 w 384"/>
                <a:gd name="T41" fmla="*/ 343 h 379"/>
                <a:gd name="T42" fmla="*/ 65 w 384"/>
                <a:gd name="T43" fmla="*/ 348 h 379"/>
                <a:gd name="T44" fmla="*/ 65 w 384"/>
                <a:gd name="T45" fmla="*/ 358 h 379"/>
                <a:gd name="T46" fmla="*/ 96 w 384"/>
                <a:gd name="T47" fmla="*/ 377 h 379"/>
                <a:gd name="T48" fmla="*/ 115 w 384"/>
                <a:gd name="T49" fmla="*/ 370 h 379"/>
                <a:gd name="T50" fmla="*/ 123 w 384"/>
                <a:gd name="T51" fmla="*/ 360 h 379"/>
                <a:gd name="T52" fmla="*/ 135 w 384"/>
                <a:gd name="T53" fmla="*/ 370 h 379"/>
                <a:gd name="T54" fmla="*/ 161 w 384"/>
                <a:gd name="T55" fmla="*/ 360 h 379"/>
                <a:gd name="T56" fmla="*/ 168 w 384"/>
                <a:gd name="T57" fmla="*/ 346 h 379"/>
                <a:gd name="T58" fmla="*/ 190 w 384"/>
                <a:gd name="T59" fmla="*/ 334 h 379"/>
                <a:gd name="T60" fmla="*/ 209 w 384"/>
                <a:gd name="T61" fmla="*/ 319 h 379"/>
                <a:gd name="T62" fmla="*/ 207 w 384"/>
                <a:gd name="T63" fmla="*/ 300 h 379"/>
                <a:gd name="T64" fmla="*/ 240 w 384"/>
                <a:gd name="T65" fmla="*/ 204 h 379"/>
                <a:gd name="T66" fmla="*/ 252 w 384"/>
                <a:gd name="T67" fmla="*/ 209 h 379"/>
                <a:gd name="T68" fmla="*/ 259 w 384"/>
                <a:gd name="T69" fmla="*/ 218 h 379"/>
                <a:gd name="T70" fmla="*/ 279 w 384"/>
                <a:gd name="T71" fmla="*/ 204 h 379"/>
                <a:gd name="T72" fmla="*/ 291 w 384"/>
                <a:gd name="T73" fmla="*/ 168 h 379"/>
                <a:gd name="T74" fmla="*/ 308 w 384"/>
                <a:gd name="T75" fmla="*/ 156 h 379"/>
                <a:gd name="T76" fmla="*/ 320 w 384"/>
                <a:gd name="T77" fmla="*/ 146 h 379"/>
                <a:gd name="T78" fmla="*/ 329 w 384"/>
                <a:gd name="T79" fmla="*/ 127 h 379"/>
                <a:gd name="T80" fmla="*/ 327 w 384"/>
                <a:gd name="T81" fmla="*/ 122 h 379"/>
                <a:gd name="T82" fmla="*/ 329 w 384"/>
                <a:gd name="T83" fmla="*/ 98 h 379"/>
                <a:gd name="T84" fmla="*/ 372 w 384"/>
                <a:gd name="T85" fmla="*/ 120 h 379"/>
                <a:gd name="T86" fmla="*/ 380 w 384"/>
                <a:gd name="T87" fmla="*/ 120 h 379"/>
                <a:gd name="T88" fmla="*/ 384 w 384"/>
                <a:gd name="T89" fmla="*/ 98 h 379"/>
                <a:gd name="T90" fmla="*/ 370 w 384"/>
                <a:gd name="T91" fmla="*/ 79 h 379"/>
                <a:gd name="T92" fmla="*/ 360 w 384"/>
                <a:gd name="T93" fmla="*/ 72 h 379"/>
                <a:gd name="T94" fmla="*/ 348 w 384"/>
                <a:gd name="T95" fmla="*/ 67 h 379"/>
                <a:gd name="T96" fmla="*/ 317 w 384"/>
                <a:gd name="T97" fmla="*/ 84 h 379"/>
                <a:gd name="T98" fmla="*/ 298 w 384"/>
                <a:gd name="T99" fmla="*/ 86 h 379"/>
                <a:gd name="T100" fmla="*/ 288 w 384"/>
                <a:gd name="T101" fmla="*/ 91 h 379"/>
                <a:gd name="T102" fmla="*/ 276 w 384"/>
                <a:gd name="T103" fmla="*/ 103 h 379"/>
                <a:gd name="T104" fmla="*/ 252 w 384"/>
                <a:gd name="T105" fmla="*/ 124 h 379"/>
                <a:gd name="T106" fmla="*/ 243 w 384"/>
                <a:gd name="T107" fmla="*/ 134 h 379"/>
                <a:gd name="T108" fmla="*/ 147 w 384"/>
                <a:gd name="T109" fmla="*/ 9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4" h="379">
                  <a:moveTo>
                    <a:pt x="132" y="0"/>
                  </a:moveTo>
                  <a:lnTo>
                    <a:pt x="127" y="0"/>
                  </a:lnTo>
                  <a:lnTo>
                    <a:pt x="123" y="4"/>
                  </a:lnTo>
                  <a:lnTo>
                    <a:pt x="127" y="16"/>
                  </a:lnTo>
                  <a:lnTo>
                    <a:pt x="115" y="26"/>
                  </a:lnTo>
                  <a:lnTo>
                    <a:pt x="132" y="33"/>
                  </a:lnTo>
                  <a:lnTo>
                    <a:pt x="125" y="72"/>
                  </a:lnTo>
                  <a:lnTo>
                    <a:pt x="123" y="81"/>
                  </a:lnTo>
                  <a:lnTo>
                    <a:pt x="123" y="91"/>
                  </a:lnTo>
                  <a:lnTo>
                    <a:pt x="123" y="96"/>
                  </a:lnTo>
                  <a:lnTo>
                    <a:pt x="125" y="108"/>
                  </a:lnTo>
                  <a:lnTo>
                    <a:pt x="115" y="117"/>
                  </a:lnTo>
                  <a:lnTo>
                    <a:pt x="111" y="117"/>
                  </a:lnTo>
                  <a:lnTo>
                    <a:pt x="96" y="136"/>
                  </a:lnTo>
                  <a:lnTo>
                    <a:pt x="96" y="141"/>
                  </a:lnTo>
                  <a:lnTo>
                    <a:pt x="84" y="144"/>
                  </a:lnTo>
                  <a:lnTo>
                    <a:pt x="79" y="141"/>
                  </a:lnTo>
                  <a:lnTo>
                    <a:pt x="72" y="149"/>
                  </a:lnTo>
                  <a:lnTo>
                    <a:pt x="70" y="153"/>
                  </a:lnTo>
                  <a:lnTo>
                    <a:pt x="63" y="161"/>
                  </a:lnTo>
                  <a:lnTo>
                    <a:pt x="55" y="177"/>
                  </a:lnTo>
                  <a:lnTo>
                    <a:pt x="58" y="192"/>
                  </a:lnTo>
                  <a:lnTo>
                    <a:pt x="48" y="204"/>
                  </a:lnTo>
                  <a:lnTo>
                    <a:pt x="41" y="189"/>
                  </a:lnTo>
                  <a:lnTo>
                    <a:pt x="34" y="189"/>
                  </a:lnTo>
                  <a:lnTo>
                    <a:pt x="27" y="216"/>
                  </a:lnTo>
                  <a:lnTo>
                    <a:pt x="29" y="228"/>
                  </a:lnTo>
                  <a:lnTo>
                    <a:pt x="27" y="240"/>
                  </a:lnTo>
                  <a:lnTo>
                    <a:pt x="19" y="245"/>
                  </a:lnTo>
                  <a:lnTo>
                    <a:pt x="12" y="259"/>
                  </a:lnTo>
                  <a:lnTo>
                    <a:pt x="0" y="259"/>
                  </a:lnTo>
                  <a:lnTo>
                    <a:pt x="3" y="273"/>
                  </a:lnTo>
                  <a:lnTo>
                    <a:pt x="3" y="283"/>
                  </a:lnTo>
                  <a:lnTo>
                    <a:pt x="3" y="290"/>
                  </a:lnTo>
                  <a:lnTo>
                    <a:pt x="5" y="295"/>
                  </a:lnTo>
                  <a:lnTo>
                    <a:pt x="22" y="317"/>
                  </a:lnTo>
                  <a:lnTo>
                    <a:pt x="34" y="334"/>
                  </a:lnTo>
                  <a:lnTo>
                    <a:pt x="36" y="336"/>
                  </a:lnTo>
                  <a:lnTo>
                    <a:pt x="39" y="336"/>
                  </a:lnTo>
                  <a:lnTo>
                    <a:pt x="48" y="341"/>
                  </a:lnTo>
                  <a:lnTo>
                    <a:pt x="51" y="343"/>
                  </a:lnTo>
                  <a:lnTo>
                    <a:pt x="53" y="343"/>
                  </a:lnTo>
                  <a:lnTo>
                    <a:pt x="58" y="348"/>
                  </a:lnTo>
                  <a:lnTo>
                    <a:pt x="65" y="348"/>
                  </a:lnTo>
                  <a:lnTo>
                    <a:pt x="67" y="350"/>
                  </a:lnTo>
                  <a:lnTo>
                    <a:pt x="65" y="358"/>
                  </a:lnTo>
                  <a:lnTo>
                    <a:pt x="79" y="370"/>
                  </a:lnTo>
                  <a:lnTo>
                    <a:pt x="96" y="377"/>
                  </a:lnTo>
                  <a:lnTo>
                    <a:pt x="106" y="379"/>
                  </a:lnTo>
                  <a:lnTo>
                    <a:pt x="115" y="370"/>
                  </a:lnTo>
                  <a:lnTo>
                    <a:pt x="115" y="365"/>
                  </a:lnTo>
                  <a:lnTo>
                    <a:pt x="123" y="360"/>
                  </a:lnTo>
                  <a:lnTo>
                    <a:pt x="130" y="367"/>
                  </a:lnTo>
                  <a:lnTo>
                    <a:pt x="135" y="370"/>
                  </a:lnTo>
                  <a:lnTo>
                    <a:pt x="139" y="367"/>
                  </a:lnTo>
                  <a:lnTo>
                    <a:pt x="161" y="360"/>
                  </a:lnTo>
                  <a:lnTo>
                    <a:pt x="166" y="346"/>
                  </a:lnTo>
                  <a:lnTo>
                    <a:pt x="168" y="346"/>
                  </a:lnTo>
                  <a:lnTo>
                    <a:pt x="173" y="350"/>
                  </a:lnTo>
                  <a:lnTo>
                    <a:pt x="190" y="334"/>
                  </a:lnTo>
                  <a:lnTo>
                    <a:pt x="195" y="338"/>
                  </a:lnTo>
                  <a:lnTo>
                    <a:pt x="209" y="319"/>
                  </a:lnTo>
                  <a:lnTo>
                    <a:pt x="207" y="312"/>
                  </a:lnTo>
                  <a:lnTo>
                    <a:pt x="207" y="300"/>
                  </a:lnTo>
                  <a:lnTo>
                    <a:pt x="221" y="273"/>
                  </a:lnTo>
                  <a:lnTo>
                    <a:pt x="240" y="204"/>
                  </a:lnTo>
                  <a:lnTo>
                    <a:pt x="243" y="201"/>
                  </a:lnTo>
                  <a:lnTo>
                    <a:pt x="252" y="209"/>
                  </a:lnTo>
                  <a:lnTo>
                    <a:pt x="255" y="213"/>
                  </a:lnTo>
                  <a:lnTo>
                    <a:pt x="259" y="218"/>
                  </a:lnTo>
                  <a:lnTo>
                    <a:pt x="271" y="216"/>
                  </a:lnTo>
                  <a:lnTo>
                    <a:pt x="279" y="204"/>
                  </a:lnTo>
                  <a:lnTo>
                    <a:pt x="284" y="177"/>
                  </a:lnTo>
                  <a:lnTo>
                    <a:pt x="291" y="168"/>
                  </a:lnTo>
                  <a:lnTo>
                    <a:pt x="300" y="173"/>
                  </a:lnTo>
                  <a:lnTo>
                    <a:pt x="308" y="156"/>
                  </a:lnTo>
                  <a:lnTo>
                    <a:pt x="315" y="153"/>
                  </a:lnTo>
                  <a:lnTo>
                    <a:pt x="320" y="146"/>
                  </a:lnTo>
                  <a:lnTo>
                    <a:pt x="324" y="132"/>
                  </a:lnTo>
                  <a:lnTo>
                    <a:pt x="329" y="127"/>
                  </a:lnTo>
                  <a:lnTo>
                    <a:pt x="329" y="124"/>
                  </a:lnTo>
                  <a:lnTo>
                    <a:pt x="327" y="122"/>
                  </a:lnTo>
                  <a:lnTo>
                    <a:pt x="329" y="100"/>
                  </a:lnTo>
                  <a:lnTo>
                    <a:pt x="329" y="98"/>
                  </a:lnTo>
                  <a:lnTo>
                    <a:pt x="334" y="93"/>
                  </a:lnTo>
                  <a:lnTo>
                    <a:pt x="372" y="120"/>
                  </a:lnTo>
                  <a:lnTo>
                    <a:pt x="377" y="120"/>
                  </a:lnTo>
                  <a:lnTo>
                    <a:pt x="380" y="120"/>
                  </a:lnTo>
                  <a:lnTo>
                    <a:pt x="384" y="98"/>
                  </a:lnTo>
                  <a:lnTo>
                    <a:pt x="384" y="98"/>
                  </a:lnTo>
                  <a:lnTo>
                    <a:pt x="375" y="79"/>
                  </a:lnTo>
                  <a:lnTo>
                    <a:pt x="370" y="79"/>
                  </a:lnTo>
                  <a:lnTo>
                    <a:pt x="368" y="69"/>
                  </a:lnTo>
                  <a:lnTo>
                    <a:pt x="360" y="72"/>
                  </a:lnTo>
                  <a:lnTo>
                    <a:pt x="353" y="72"/>
                  </a:lnTo>
                  <a:lnTo>
                    <a:pt x="348" y="67"/>
                  </a:lnTo>
                  <a:lnTo>
                    <a:pt x="322" y="76"/>
                  </a:lnTo>
                  <a:lnTo>
                    <a:pt x="317" y="84"/>
                  </a:lnTo>
                  <a:lnTo>
                    <a:pt x="308" y="88"/>
                  </a:lnTo>
                  <a:lnTo>
                    <a:pt x="298" y="86"/>
                  </a:lnTo>
                  <a:lnTo>
                    <a:pt x="293" y="81"/>
                  </a:lnTo>
                  <a:lnTo>
                    <a:pt x="288" y="91"/>
                  </a:lnTo>
                  <a:lnTo>
                    <a:pt x="281" y="93"/>
                  </a:lnTo>
                  <a:lnTo>
                    <a:pt x="276" y="103"/>
                  </a:lnTo>
                  <a:lnTo>
                    <a:pt x="269" y="105"/>
                  </a:lnTo>
                  <a:lnTo>
                    <a:pt x="252" y="124"/>
                  </a:lnTo>
                  <a:lnTo>
                    <a:pt x="247" y="127"/>
                  </a:lnTo>
                  <a:lnTo>
                    <a:pt x="243" y="134"/>
                  </a:lnTo>
                  <a:lnTo>
                    <a:pt x="231" y="79"/>
                  </a:lnTo>
                  <a:lnTo>
                    <a:pt x="147" y="96"/>
                  </a:lnTo>
                  <a:lnTo>
                    <a:pt x="132"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4" name="Freeform 39"/>
            <p:cNvSpPr>
              <a:spLocks/>
            </p:cNvSpPr>
            <p:nvPr/>
          </p:nvSpPr>
          <p:spPr bwMode="auto">
            <a:xfrm>
              <a:off x="7547399" y="3327279"/>
              <a:ext cx="568325" cy="633412"/>
            </a:xfrm>
            <a:custGeom>
              <a:avLst/>
              <a:gdLst>
                <a:gd name="T0" fmla="*/ 32 w 358"/>
                <a:gd name="T1" fmla="*/ 349 h 399"/>
                <a:gd name="T2" fmla="*/ 48 w 358"/>
                <a:gd name="T3" fmla="*/ 353 h 399"/>
                <a:gd name="T4" fmla="*/ 63 w 358"/>
                <a:gd name="T5" fmla="*/ 349 h 399"/>
                <a:gd name="T6" fmla="*/ 84 w 358"/>
                <a:gd name="T7" fmla="*/ 375 h 399"/>
                <a:gd name="T8" fmla="*/ 116 w 358"/>
                <a:gd name="T9" fmla="*/ 380 h 399"/>
                <a:gd name="T10" fmla="*/ 140 w 358"/>
                <a:gd name="T11" fmla="*/ 382 h 399"/>
                <a:gd name="T12" fmla="*/ 159 w 358"/>
                <a:gd name="T13" fmla="*/ 387 h 399"/>
                <a:gd name="T14" fmla="*/ 173 w 358"/>
                <a:gd name="T15" fmla="*/ 382 h 399"/>
                <a:gd name="T16" fmla="*/ 183 w 358"/>
                <a:gd name="T17" fmla="*/ 375 h 399"/>
                <a:gd name="T18" fmla="*/ 197 w 358"/>
                <a:gd name="T19" fmla="*/ 375 h 399"/>
                <a:gd name="T20" fmla="*/ 214 w 358"/>
                <a:gd name="T21" fmla="*/ 389 h 399"/>
                <a:gd name="T22" fmla="*/ 226 w 358"/>
                <a:gd name="T23" fmla="*/ 399 h 399"/>
                <a:gd name="T24" fmla="*/ 245 w 358"/>
                <a:gd name="T25" fmla="*/ 385 h 399"/>
                <a:gd name="T26" fmla="*/ 255 w 358"/>
                <a:gd name="T27" fmla="*/ 368 h 399"/>
                <a:gd name="T28" fmla="*/ 260 w 358"/>
                <a:gd name="T29" fmla="*/ 329 h 399"/>
                <a:gd name="T30" fmla="*/ 274 w 358"/>
                <a:gd name="T31" fmla="*/ 344 h 399"/>
                <a:gd name="T32" fmla="*/ 281 w 358"/>
                <a:gd name="T33" fmla="*/ 317 h 399"/>
                <a:gd name="T34" fmla="*/ 296 w 358"/>
                <a:gd name="T35" fmla="*/ 293 h 399"/>
                <a:gd name="T36" fmla="*/ 305 w 358"/>
                <a:gd name="T37" fmla="*/ 281 h 399"/>
                <a:gd name="T38" fmla="*/ 322 w 358"/>
                <a:gd name="T39" fmla="*/ 281 h 399"/>
                <a:gd name="T40" fmla="*/ 337 w 358"/>
                <a:gd name="T41" fmla="*/ 257 h 399"/>
                <a:gd name="T42" fmla="*/ 351 w 358"/>
                <a:gd name="T43" fmla="*/ 248 h 399"/>
                <a:gd name="T44" fmla="*/ 349 w 358"/>
                <a:gd name="T45" fmla="*/ 231 h 399"/>
                <a:gd name="T46" fmla="*/ 351 w 358"/>
                <a:gd name="T47" fmla="*/ 212 h 399"/>
                <a:gd name="T48" fmla="*/ 341 w 358"/>
                <a:gd name="T49" fmla="*/ 166 h 399"/>
                <a:gd name="T50" fmla="*/ 349 w 358"/>
                <a:gd name="T51" fmla="*/ 144 h 399"/>
                <a:gd name="T52" fmla="*/ 358 w 358"/>
                <a:gd name="T53" fmla="*/ 140 h 399"/>
                <a:gd name="T54" fmla="*/ 291 w 358"/>
                <a:gd name="T55" fmla="*/ 19 h 399"/>
                <a:gd name="T56" fmla="*/ 267 w 358"/>
                <a:gd name="T57" fmla="*/ 36 h 399"/>
                <a:gd name="T58" fmla="*/ 238 w 358"/>
                <a:gd name="T59" fmla="*/ 65 h 399"/>
                <a:gd name="T60" fmla="*/ 217 w 358"/>
                <a:gd name="T61" fmla="*/ 65 h 399"/>
                <a:gd name="T62" fmla="*/ 190 w 358"/>
                <a:gd name="T63" fmla="*/ 84 h 399"/>
                <a:gd name="T64" fmla="*/ 168 w 358"/>
                <a:gd name="T65" fmla="*/ 77 h 399"/>
                <a:gd name="T66" fmla="*/ 156 w 358"/>
                <a:gd name="T67" fmla="*/ 77 h 399"/>
                <a:gd name="T68" fmla="*/ 159 w 358"/>
                <a:gd name="T69" fmla="*/ 70 h 399"/>
                <a:gd name="T70" fmla="*/ 120 w 358"/>
                <a:gd name="T71" fmla="*/ 60 h 399"/>
                <a:gd name="T72" fmla="*/ 104 w 358"/>
                <a:gd name="T73" fmla="*/ 60 h 399"/>
                <a:gd name="T74" fmla="*/ 0 w 358"/>
                <a:gd name="T75" fmla="*/ 7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8" h="399">
                  <a:moveTo>
                    <a:pt x="0" y="70"/>
                  </a:moveTo>
                  <a:lnTo>
                    <a:pt x="32" y="349"/>
                  </a:lnTo>
                  <a:lnTo>
                    <a:pt x="39" y="349"/>
                  </a:lnTo>
                  <a:lnTo>
                    <a:pt x="48" y="353"/>
                  </a:lnTo>
                  <a:lnTo>
                    <a:pt x="53" y="353"/>
                  </a:lnTo>
                  <a:lnTo>
                    <a:pt x="63" y="349"/>
                  </a:lnTo>
                  <a:lnTo>
                    <a:pt x="80" y="361"/>
                  </a:lnTo>
                  <a:lnTo>
                    <a:pt x="84" y="375"/>
                  </a:lnTo>
                  <a:lnTo>
                    <a:pt x="96" y="380"/>
                  </a:lnTo>
                  <a:lnTo>
                    <a:pt x="116" y="380"/>
                  </a:lnTo>
                  <a:lnTo>
                    <a:pt x="132" y="392"/>
                  </a:lnTo>
                  <a:lnTo>
                    <a:pt x="140" y="382"/>
                  </a:lnTo>
                  <a:lnTo>
                    <a:pt x="144" y="382"/>
                  </a:lnTo>
                  <a:lnTo>
                    <a:pt x="159" y="387"/>
                  </a:lnTo>
                  <a:lnTo>
                    <a:pt x="173" y="385"/>
                  </a:lnTo>
                  <a:lnTo>
                    <a:pt x="173" y="382"/>
                  </a:lnTo>
                  <a:lnTo>
                    <a:pt x="180" y="380"/>
                  </a:lnTo>
                  <a:lnTo>
                    <a:pt x="183" y="375"/>
                  </a:lnTo>
                  <a:lnTo>
                    <a:pt x="193" y="368"/>
                  </a:lnTo>
                  <a:lnTo>
                    <a:pt x="197" y="375"/>
                  </a:lnTo>
                  <a:lnTo>
                    <a:pt x="205" y="387"/>
                  </a:lnTo>
                  <a:lnTo>
                    <a:pt x="214" y="389"/>
                  </a:lnTo>
                  <a:lnTo>
                    <a:pt x="224" y="397"/>
                  </a:lnTo>
                  <a:lnTo>
                    <a:pt x="226" y="399"/>
                  </a:lnTo>
                  <a:lnTo>
                    <a:pt x="238" y="399"/>
                  </a:lnTo>
                  <a:lnTo>
                    <a:pt x="245" y="385"/>
                  </a:lnTo>
                  <a:lnTo>
                    <a:pt x="253" y="380"/>
                  </a:lnTo>
                  <a:lnTo>
                    <a:pt x="255" y="368"/>
                  </a:lnTo>
                  <a:lnTo>
                    <a:pt x="253" y="356"/>
                  </a:lnTo>
                  <a:lnTo>
                    <a:pt x="260" y="329"/>
                  </a:lnTo>
                  <a:lnTo>
                    <a:pt x="267" y="329"/>
                  </a:lnTo>
                  <a:lnTo>
                    <a:pt x="274" y="344"/>
                  </a:lnTo>
                  <a:lnTo>
                    <a:pt x="284" y="332"/>
                  </a:lnTo>
                  <a:lnTo>
                    <a:pt x="281" y="317"/>
                  </a:lnTo>
                  <a:lnTo>
                    <a:pt x="289" y="301"/>
                  </a:lnTo>
                  <a:lnTo>
                    <a:pt x="296" y="293"/>
                  </a:lnTo>
                  <a:lnTo>
                    <a:pt x="298" y="289"/>
                  </a:lnTo>
                  <a:lnTo>
                    <a:pt x="305" y="281"/>
                  </a:lnTo>
                  <a:lnTo>
                    <a:pt x="310" y="284"/>
                  </a:lnTo>
                  <a:lnTo>
                    <a:pt x="322" y="281"/>
                  </a:lnTo>
                  <a:lnTo>
                    <a:pt x="322" y="276"/>
                  </a:lnTo>
                  <a:lnTo>
                    <a:pt x="337" y="257"/>
                  </a:lnTo>
                  <a:lnTo>
                    <a:pt x="341" y="257"/>
                  </a:lnTo>
                  <a:lnTo>
                    <a:pt x="351" y="248"/>
                  </a:lnTo>
                  <a:lnTo>
                    <a:pt x="349" y="236"/>
                  </a:lnTo>
                  <a:lnTo>
                    <a:pt x="349" y="231"/>
                  </a:lnTo>
                  <a:lnTo>
                    <a:pt x="349" y="221"/>
                  </a:lnTo>
                  <a:lnTo>
                    <a:pt x="351" y="212"/>
                  </a:lnTo>
                  <a:lnTo>
                    <a:pt x="358" y="173"/>
                  </a:lnTo>
                  <a:lnTo>
                    <a:pt x="341" y="166"/>
                  </a:lnTo>
                  <a:lnTo>
                    <a:pt x="353" y="156"/>
                  </a:lnTo>
                  <a:lnTo>
                    <a:pt x="349" y="144"/>
                  </a:lnTo>
                  <a:lnTo>
                    <a:pt x="353" y="140"/>
                  </a:lnTo>
                  <a:lnTo>
                    <a:pt x="358" y="140"/>
                  </a:lnTo>
                  <a:lnTo>
                    <a:pt x="332" y="0"/>
                  </a:lnTo>
                  <a:lnTo>
                    <a:pt x="291" y="19"/>
                  </a:lnTo>
                  <a:lnTo>
                    <a:pt x="274" y="31"/>
                  </a:lnTo>
                  <a:lnTo>
                    <a:pt x="267" y="36"/>
                  </a:lnTo>
                  <a:lnTo>
                    <a:pt x="243" y="63"/>
                  </a:lnTo>
                  <a:lnTo>
                    <a:pt x="238" y="65"/>
                  </a:lnTo>
                  <a:lnTo>
                    <a:pt x="231" y="65"/>
                  </a:lnTo>
                  <a:lnTo>
                    <a:pt x="217" y="65"/>
                  </a:lnTo>
                  <a:lnTo>
                    <a:pt x="209" y="67"/>
                  </a:lnTo>
                  <a:lnTo>
                    <a:pt x="190" y="84"/>
                  </a:lnTo>
                  <a:lnTo>
                    <a:pt x="183" y="82"/>
                  </a:lnTo>
                  <a:lnTo>
                    <a:pt x="168" y="77"/>
                  </a:lnTo>
                  <a:lnTo>
                    <a:pt x="164" y="79"/>
                  </a:lnTo>
                  <a:lnTo>
                    <a:pt x="156" y="77"/>
                  </a:lnTo>
                  <a:lnTo>
                    <a:pt x="161" y="70"/>
                  </a:lnTo>
                  <a:lnTo>
                    <a:pt x="159" y="70"/>
                  </a:lnTo>
                  <a:lnTo>
                    <a:pt x="147" y="67"/>
                  </a:lnTo>
                  <a:lnTo>
                    <a:pt x="120" y="60"/>
                  </a:lnTo>
                  <a:lnTo>
                    <a:pt x="116" y="58"/>
                  </a:lnTo>
                  <a:lnTo>
                    <a:pt x="104" y="60"/>
                  </a:lnTo>
                  <a:lnTo>
                    <a:pt x="104" y="55"/>
                  </a:lnTo>
                  <a:lnTo>
                    <a:pt x="0" y="7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5" name="Freeform 40"/>
            <p:cNvSpPr>
              <a:spLocks/>
            </p:cNvSpPr>
            <p:nvPr/>
          </p:nvSpPr>
          <p:spPr bwMode="auto">
            <a:xfrm>
              <a:off x="7193387" y="3430466"/>
              <a:ext cx="407988" cy="720725"/>
            </a:xfrm>
            <a:custGeom>
              <a:avLst/>
              <a:gdLst>
                <a:gd name="T0" fmla="*/ 7 w 257"/>
                <a:gd name="T1" fmla="*/ 26 h 454"/>
                <a:gd name="T2" fmla="*/ 29 w 257"/>
                <a:gd name="T3" fmla="*/ 281 h 454"/>
                <a:gd name="T4" fmla="*/ 26 w 257"/>
                <a:gd name="T5" fmla="*/ 286 h 454"/>
                <a:gd name="T6" fmla="*/ 26 w 257"/>
                <a:gd name="T7" fmla="*/ 296 h 454"/>
                <a:gd name="T8" fmla="*/ 24 w 257"/>
                <a:gd name="T9" fmla="*/ 308 h 454"/>
                <a:gd name="T10" fmla="*/ 34 w 257"/>
                <a:gd name="T11" fmla="*/ 329 h 454"/>
                <a:gd name="T12" fmla="*/ 36 w 257"/>
                <a:gd name="T13" fmla="*/ 351 h 454"/>
                <a:gd name="T14" fmla="*/ 26 w 257"/>
                <a:gd name="T15" fmla="*/ 373 h 454"/>
                <a:gd name="T16" fmla="*/ 24 w 257"/>
                <a:gd name="T17" fmla="*/ 380 h 454"/>
                <a:gd name="T18" fmla="*/ 17 w 257"/>
                <a:gd name="T19" fmla="*/ 397 h 454"/>
                <a:gd name="T20" fmla="*/ 2 w 257"/>
                <a:gd name="T21" fmla="*/ 409 h 454"/>
                <a:gd name="T22" fmla="*/ 2 w 257"/>
                <a:gd name="T23" fmla="*/ 425 h 454"/>
                <a:gd name="T24" fmla="*/ 0 w 257"/>
                <a:gd name="T25" fmla="*/ 445 h 454"/>
                <a:gd name="T26" fmla="*/ 0 w 257"/>
                <a:gd name="T27" fmla="*/ 449 h 454"/>
                <a:gd name="T28" fmla="*/ 0 w 257"/>
                <a:gd name="T29" fmla="*/ 454 h 454"/>
                <a:gd name="T30" fmla="*/ 0 w 257"/>
                <a:gd name="T31" fmla="*/ 454 h 454"/>
                <a:gd name="T32" fmla="*/ 7 w 257"/>
                <a:gd name="T33" fmla="*/ 454 h 454"/>
                <a:gd name="T34" fmla="*/ 14 w 257"/>
                <a:gd name="T35" fmla="*/ 452 h 454"/>
                <a:gd name="T36" fmla="*/ 12 w 257"/>
                <a:gd name="T37" fmla="*/ 447 h 454"/>
                <a:gd name="T38" fmla="*/ 14 w 257"/>
                <a:gd name="T39" fmla="*/ 440 h 454"/>
                <a:gd name="T40" fmla="*/ 31 w 257"/>
                <a:gd name="T41" fmla="*/ 442 h 454"/>
                <a:gd name="T42" fmla="*/ 50 w 257"/>
                <a:gd name="T43" fmla="*/ 435 h 454"/>
                <a:gd name="T44" fmla="*/ 77 w 257"/>
                <a:gd name="T45" fmla="*/ 445 h 454"/>
                <a:gd name="T46" fmla="*/ 79 w 257"/>
                <a:gd name="T47" fmla="*/ 447 h 454"/>
                <a:gd name="T48" fmla="*/ 84 w 257"/>
                <a:gd name="T49" fmla="*/ 447 h 454"/>
                <a:gd name="T50" fmla="*/ 89 w 257"/>
                <a:gd name="T51" fmla="*/ 430 h 454"/>
                <a:gd name="T52" fmla="*/ 103 w 257"/>
                <a:gd name="T53" fmla="*/ 425 h 454"/>
                <a:gd name="T54" fmla="*/ 111 w 257"/>
                <a:gd name="T55" fmla="*/ 433 h 454"/>
                <a:gd name="T56" fmla="*/ 118 w 257"/>
                <a:gd name="T57" fmla="*/ 437 h 454"/>
                <a:gd name="T58" fmla="*/ 125 w 257"/>
                <a:gd name="T59" fmla="*/ 433 h 454"/>
                <a:gd name="T60" fmla="*/ 132 w 257"/>
                <a:gd name="T61" fmla="*/ 411 h 454"/>
                <a:gd name="T62" fmla="*/ 137 w 257"/>
                <a:gd name="T63" fmla="*/ 404 h 454"/>
                <a:gd name="T64" fmla="*/ 142 w 257"/>
                <a:gd name="T65" fmla="*/ 404 h 454"/>
                <a:gd name="T66" fmla="*/ 151 w 257"/>
                <a:gd name="T67" fmla="*/ 416 h 454"/>
                <a:gd name="T68" fmla="*/ 173 w 257"/>
                <a:gd name="T69" fmla="*/ 416 h 454"/>
                <a:gd name="T70" fmla="*/ 178 w 257"/>
                <a:gd name="T71" fmla="*/ 394 h 454"/>
                <a:gd name="T72" fmla="*/ 211 w 257"/>
                <a:gd name="T73" fmla="*/ 351 h 454"/>
                <a:gd name="T74" fmla="*/ 211 w 257"/>
                <a:gd name="T75" fmla="*/ 336 h 454"/>
                <a:gd name="T76" fmla="*/ 219 w 257"/>
                <a:gd name="T77" fmla="*/ 332 h 454"/>
                <a:gd name="T78" fmla="*/ 233 w 257"/>
                <a:gd name="T79" fmla="*/ 334 h 454"/>
                <a:gd name="T80" fmla="*/ 245 w 257"/>
                <a:gd name="T81" fmla="*/ 324 h 454"/>
                <a:gd name="T82" fmla="*/ 255 w 257"/>
                <a:gd name="T83" fmla="*/ 322 h 454"/>
                <a:gd name="T84" fmla="*/ 257 w 257"/>
                <a:gd name="T85" fmla="*/ 315 h 454"/>
                <a:gd name="T86" fmla="*/ 252 w 257"/>
                <a:gd name="T87" fmla="*/ 298 h 454"/>
                <a:gd name="T88" fmla="*/ 252 w 257"/>
                <a:gd name="T89" fmla="*/ 291 h 454"/>
                <a:gd name="T90" fmla="*/ 255 w 257"/>
                <a:gd name="T91" fmla="*/ 284 h 454"/>
                <a:gd name="T92" fmla="*/ 223 w 257"/>
                <a:gd name="T93" fmla="*/ 5 h 454"/>
                <a:gd name="T94" fmla="*/ 223 w 257"/>
                <a:gd name="T95" fmla="*/ 0 h 454"/>
                <a:gd name="T96" fmla="*/ 58 w 257"/>
                <a:gd name="T97" fmla="*/ 22 h 454"/>
                <a:gd name="T98" fmla="*/ 53 w 257"/>
                <a:gd name="T99" fmla="*/ 24 h 454"/>
                <a:gd name="T100" fmla="*/ 41 w 257"/>
                <a:gd name="T101" fmla="*/ 29 h 454"/>
                <a:gd name="T102" fmla="*/ 34 w 257"/>
                <a:gd name="T103" fmla="*/ 34 h 454"/>
                <a:gd name="T104" fmla="*/ 19 w 257"/>
                <a:gd name="T105" fmla="*/ 36 h 454"/>
                <a:gd name="T106" fmla="*/ 7 w 257"/>
                <a:gd name="T107" fmla="*/ 2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 h="454">
                  <a:moveTo>
                    <a:pt x="7" y="26"/>
                  </a:moveTo>
                  <a:lnTo>
                    <a:pt x="29" y="281"/>
                  </a:lnTo>
                  <a:lnTo>
                    <a:pt x="26" y="286"/>
                  </a:lnTo>
                  <a:lnTo>
                    <a:pt x="26" y="296"/>
                  </a:lnTo>
                  <a:lnTo>
                    <a:pt x="24" y="308"/>
                  </a:lnTo>
                  <a:lnTo>
                    <a:pt x="34" y="329"/>
                  </a:lnTo>
                  <a:lnTo>
                    <a:pt x="36" y="351"/>
                  </a:lnTo>
                  <a:lnTo>
                    <a:pt x="26" y="373"/>
                  </a:lnTo>
                  <a:lnTo>
                    <a:pt x="24" y="380"/>
                  </a:lnTo>
                  <a:lnTo>
                    <a:pt x="17" y="397"/>
                  </a:lnTo>
                  <a:lnTo>
                    <a:pt x="2" y="409"/>
                  </a:lnTo>
                  <a:lnTo>
                    <a:pt x="2" y="425"/>
                  </a:lnTo>
                  <a:lnTo>
                    <a:pt x="0" y="445"/>
                  </a:lnTo>
                  <a:lnTo>
                    <a:pt x="0" y="449"/>
                  </a:lnTo>
                  <a:lnTo>
                    <a:pt x="0" y="454"/>
                  </a:lnTo>
                  <a:lnTo>
                    <a:pt x="0" y="454"/>
                  </a:lnTo>
                  <a:lnTo>
                    <a:pt x="7" y="454"/>
                  </a:lnTo>
                  <a:lnTo>
                    <a:pt x="14" y="452"/>
                  </a:lnTo>
                  <a:lnTo>
                    <a:pt x="12" y="447"/>
                  </a:lnTo>
                  <a:lnTo>
                    <a:pt x="14" y="440"/>
                  </a:lnTo>
                  <a:lnTo>
                    <a:pt x="31" y="442"/>
                  </a:lnTo>
                  <a:lnTo>
                    <a:pt x="50" y="435"/>
                  </a:lnTo>
                  <a:lnTo>
                    <a:pt x="77" y="445"/>
                  </a:lnTo>
                  <a:lnTo>
                    <a:pt x="79" y="447"/>
                  </a:lnTo>
                  <a:lnTo>
                    <a:pt x="84" y="447"/>
                  </a:lnTo>
                  <a:lnTo>
                    <a:pt x="89" y="430"/>
                  </a:lnTo>
                  <a:lnTo>
                    <a:pt x="103" y="425"/>
                  </a:lnTo>
                  <a:lnTo>
                    <a:pt x="111" y="433"/>
                  </a:lnTo>
                  <a:lnTo>
                    <a:pt x="118" y="437"/>
                  </a:lnTo>
                  <a:lnTo>
                    <a:pt x="125" y="433"/>
                  </a:lnTo>
                  <a:lnTo>
                    <a:pt x="132" y="411"/>
                  </a:lnTo>
                  <a:lnTo>
                    <a:pt x="137" y="404"/>
                  </a:lnTo>
                  <a:lnTo>
                    <a:pt x="142" y="404"/>
                  </a:lnTo>
                  <a:lnTo>
                    <a:pt x="151" y="416"/>
                  </a:lnTo>
                  <a:lnTo>
                    <a:pt x="173" y="416"/>
                  </a:lnTo>
                  <a:lnTo>
                    <a:pt x="178" y="394"/>
                  </a:lnTo>
                  <a:lnTo>
                    <a:pt x="211" y="351"/>
                  </a:lnTo>
                  <a:lnTo>
                    <a:pt x="211" y="336"/>
                  </a:lnTo>
                  <a:lnTo>
                    <a:pt x="219" y="332"/>
                  </a:lnTo>
                  <a:lnTo>
                    <a:pt x="233" y="334"/>
                  </a:lnTo>
                  <a:lnTo>
                    <a:pt x="245" y="324"/>
                  </a:lnTo>
                  <a:lnTo>
                    <a:pt x="255" y="322"/>
                  </a:lnTo>
                  <a:lnTo>
                    <a:pt x="257" y="315"/>
                  </a:lnTo>
                  <a:lnTo>
                    <a:pt x="252" y="298"/>
                  </a:lnTo>
                  <a:lnTo>
                    <a:pt x="252" y="291"/>
                  </a:lnTo>
                  <a:lnTo>
                    <a:pt x="255" y="284"/>
                  </a:lnTo>
                  <a:lnTo>
                    <a:pt x="223" y="5"/>
                  </a:lnTo>
                  <a:lnTo>
                    <a:pt x="223" y="0"/>
                  </a:lnTo>
                  <a:lnTo>
                    <a:pt x="58" y="22"/>
                  </a:lnTo>
                  <a:lnTo>
                    <a:pt x="53" y="24"/>
                  </a:lnTo>
                  <a:lnTo>
                    <a:pt x="41" y="29"/>
                  </a:lnTo>
                  <a:lnTo>
                    <a:pt x="34" y="34"/>
                  </a:lnTo>
                  <a:lnTo>
                    <a:pt x="19" y="36"/>
                  </a:lnTo>
                  <a:lnTo>
                    <a:pt x="7" y="2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6" name="Freeform 41"/>
            <p:cNvSpPr>
              <a:spLocks/>
            </p:cNvSpPr>
            <p:nvPr/>
          </p:nvSpPr>
          <p:spPr bwMode="auto">
            <a:xfrm>
              <a:off x="6712374" y="3346329"/>
              <a:ext cx="538163" cy="954087"/>
            </a:xfrm>
            <a:custGeom>
              <a:avLst/>
              <a:gdLst>
                <a:gd name="T0" fmla="*/ 58 w 339"/>
                <a:gd name="T1" fmla="*/ 15 h 601"/>
                <a:gd name="T2" fmla="*/ 77 w 339"/>
                <a:gd name="T3" fmla="*/ 31 h 601"/>
                <a:gd name="T4" fmla="*/ 94 w 339"/>
                <a:gd name="T5" fmla="*/ 51 h 601"/>
                <a:gd name="T6" fmla="*/ 99 w 339"/>
                <a:gd name="T7" fmla="*/ 77 h 601"/>
                <a:gd name="T8" fmla="*/ 89 w 339"/>
                <a:gd name="T9" fmla="*/ 94 h 601"/>
                <a:gd name="T10" fmla="*/ 75 w 339"/>
                <a:gd name="T11" fmla="*/ 120 h 601"/>
                <a:gd name="T12" fmla="*/ 58 w 339"/>
                <a:gd name="T13" fmla="*/ 128 h 601"/>
                <a:gd name="T14" fmla="*/ 34 w 339"/>
                <a:gd name="T15" fmla="*/ 132 h 601"/>
                <a:gd name="T16" fmla="*/ 29 w 339"/>
                <a:gd name="T17" fmla="*/ 154 h 601"/>
                <a:gd name="T18" fmla="*/ 41 w 339"/>
                <a:gd name="T19" fmla="*/ 171 h 601"/>
                <a:gd name="T20" fmla="*/ 27 w 339"/>
                <a:gd name="T21" fmla="*/ 212 h 601"/>
                <a:gd name="T22" fmla="*/ 10 w 339"/>
                <a:gd name="T23" fmla="*/ 228 h 601"/>
                <a:gd name="T24" fmla="*/ 5 w 339"/>
                <a:gd name="T25" fmla="*/ 248 h 601"/>
                <a:gd name="T26" fmla="*/ 0 w 339"/>
                <a:gd name="T27" fmla="*/ 262 h 601"/>
                <a:gd name="T28" fmla="*/ 8 w 339"/>
                <a:gd name="T29" fmla="*/ 301 h 601"/>
                <a:gd name="T30" fmla="*/ 34 w 339"/>
                <a:gd name="T31" fmla="*/ 337 h 601"/>
                <a:gd name="T32" fmla="*/ 65 w 339"/>
                <a:gd name="T33" fmla="*/ 363 h 601"/>
                <a:gd name="T34" fmla="*/ 85 w 339"/>
                <a:gd name="T35" fmla="*/ 404 h 601"/>
                <a:gd name="T36" fmla="*/ 99 w 339"/>
                <a:gd name="T37" fmla="*/ 394 h 601"/>
                <a:gd name="T38" fmla="*/ 123 w 339"/>
                <a:gd name="T39" fmla="*/ 411 h 601"/>
                <a:gd name="T40" fmla="*/ 121 w 339"/>
                <a:gd name="T41" fmla="*/ 440 h 601"/>
                <a:gd name="T42" fmla="*/ 101 w 339"/>
                <a:gd name="T43" fmla="*/ 464 h 601"/>
                <a:gd name="T44" fmla="*/ 121 w 339"/>
                <a:gd name="T45" fmla="*/ 490 h 601"/>
                <a:gd name="T46" fmla="*/ 157 w 339"/>
                <a:gd name="T47" fmla="*/ 510 h 601"/>
                <a:gd name="T48" fmla="*/ 185 w 339"/>
                <a:gd name="T49" fmla="*/ 548 h 601"/>
                <a:gd name="T50" fmla="*/ 193 w 339"/>
                <a:gd name="T51" fmla="*/ 563 h 601"/>
                <a:gd name="T52" fmla="*/ 185 w 339"/>
                <a:gd name="T53" fmla="*/ 572 h 601"/>
                <a:gd name="T54" fmla="*/ 207 w 339"/>
                <a:gd name="T55" fmla="*/ 601 h 601"/>
                <a:gd name="T56" fmla="*/ 212 w 339"/>
                <a:gd name="T57" fmla="*/ 596 h 601"/>
                <a:gd name="T58" fmla="*/ 219 w 339"/>
                <a:gd name="T59" fmla="*/ 579 h 601"/>
                <a:gd name="T60" fmla="*/ 243 w 339"/>
                <a:gd name="T61" fmla="*/ 577 h 601"/>
                <a:gd name="T62" fmla="*/ 265 w 339"/>
                <a:gd name="T63" fmla="*/ 589 h 601"/>
                <a:gd name="T64" fmla="*/ 272 w 339"/>
                <a:gd name="T65" fmla="*/ 563 h 601"/>
                <a:gd name="T66" fmla="*/ 277 w 339"/>
                <a:gd name="T67" fmla="*/ 548 h 601"/>
                <a:gd name="T68" fmla="*/ 305 w 339"/>
                <a:gd name="T69" fmla="*/ 538 h 601"/>
                <a:gd name="T70" fmla="*/ 296 w 339"/>
                <a:gd name="T71" fmla="*/ 524 h 601"/>
                <a:gd name="T72" fmla="*/ 301 w 339"/>
                <a:gd name="T73" fmla="*/ 512 h 601"/>
                <a:gd name="T74" fmla="*/ 303 w 339"/>
                <a:gd name="T75" fmla="*/ 507 h 601"/>
                <a:gd name="T76" fmla="*/ 303 w 339"/>
                <a:gd name="T77" fmla="*/ 498 h 601"/>
                <a:gd name="T78" fmla="*/ 305 w 339"/>
                <a:gd name="T79" fmla="*/ 462 h 601"/>
                <a:gd name="T80" fmla="*/ 327 w 339"/>
                <a:gd name="T81" fmla="*/ 433 h 601"/>
                <a:gd name="T82" fmla="*/ 339 w 339"/>
                <a:gd name="T83" fmla="*/ 404 h 601"/>
                <a:gd name="T84" fmla="*/ 327 w 339"/>
                <a:gd name="T85" fmla="*/ 361 h 601"/>
                <a:gd name="T86" fmla="*/ 329 w 339"/>
                <a:gd name="T87" fmla="*/ 339 h 601"/>
                <a:gd name="T88" fmla="*/ 310 w 339"/>
                <a:gd name="T89" fmla="*/ 79 h 601"/>
                <a:gd name="T90" fmla="*/ 303 w 339"/>
                <a:gd name="T91" fmla="*/ 72 h 601"/>
                <a:gd name="T92" fmla="*/ 296 w 339"/>
                <a:gd name="T93" fmla="*/ 41 h 601"/>
                <a:gd name="T94" fmla="*/ 279 w 339"/>
                <a:gd name="T95" fmla="*/ 19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9" h="601">
                  <a:moveTo>
                    <a:pt x="279" y="0"/>
                  </a:moveTo>
                  <a:lnTo>
                    <a:pt x="58" y="15"/>
                  </a:lnTo>
                  <a:lnTo>
                    <a:pt x="60" y="19"/>
                  </a:lnTo>
                  <a:lnTo>
                    <a:pt x="77" y="31"/>
                  </a:lnTo>
                  <a:lnTo>
                    <a:pt x="80" y="41"/>
                  </a:lnTo>
                  <a:lnTo>
                    <a:pt x="94" y="51"/>
                  </a:lnTo>
                  <a:lnTo>
                    <a:pt x="101" y="70"/>
                  </a:lnTo>
                  <a:lnTo>
                    <a:pt x="99" y="77"/>
                  </a:lnTo>
                  <a:lnTo>
                    <a:pt x="94" y="89"/>
                  </a:lnTo>
                  <a:lnTo>
                    <a:pt x="89" y="94"/>
                  </a:lnTo>
                  <a:lnTo>
                    <a:pt x="89" y="103"/>
                  </a:lnTo>
                  <a:lnTo>
                    <a:pt x="75" y="120"/>
                  </a:lnTo>
                  <a:lnTo>
                    <a:pt x="60" y="123"/>
                  </a:lnTo>
                  <a:lnTo>
                    <a:pt x="58" y="128"/>
                  </a:lnTo>
                  <a:lnTo>
                    <a:pt x="41" y="128"/>
                  </a:lnTo>
                  <a:lnTo>
                    <a:pt x="34" y="132"/>
                  </a:lnTo>
                  <a:lnTo>
                    <a:pt x="27" y="144"/>
                  </a:lnTo>
                  <a:lnTo>
                    <a:pt x="29" y="154"/>
                  </a:lnTo>
                  <a:lnTo>
                    <a:pt x="39" y="164"/>
                  </a:lnTo>
                  <a:lnTo>
                    <a:pt x="41" y="171"/>
                  </a:lnTo>
                  <a:lnTo>
                    <a:pt x="39" y="185"/>
                  </a:lnTo>
                  <a:lnTo>
                    <a:pt x="27" y="212"/>
                  </a:lnTo>
                  <a:lnTo>
                    <a:pt x="15" y="221"/>
                  </a:lnTo>
                  <a:lnTo>
                    <a:pt x="10" y="228"/>
                  </a:lnTo>
                  <a:lnTo>
                    <a:pt x="10" y="238"/>
                  </a:lnTo>
                  <a:lnTo>
                    <a:pt x="5" y="248"/>
                  </a:lnTo>
                  <a:lnTo>
                    <a:pt x="5" y="250"/>
                  </a:lnTo>
                  <a:lnTo>
                    <a:pt x="0" y="262"/>
                  </a:lnTo>
                  <a:lnTo>
                    <a:pt x="3" y="284"/>
                  </a:lnTo>
                  <a:lnTo>
                    <a:pt x="8" y="301"/>
                  </a:lnTo>
                  <a:lnTo>
                    <a:pt x="10" y="308"/>
                  </a:lnTo>
                  <a:lnTo>
                    <a:pt x="34" y="337"/>
                  </a:lnTo>
                  <a:lnTo>
                    <a:pt x="58" y="356"/>
                  </a:lnTo>
                  <a:lnTo>
                    <a:pt x="65" y="363"/>
                  </a:lnTo>
                  <a:lnTo>
                    <a:pt x="80" y="401"/>
                  </a:lnTo>
                  <a:lnTo>
                    <a:pt x="85" y="404"/>
                  </a:lnTo>
                  <a:lnTo>
                    <a:pt x="92" y="397"/>
                  </a:lnTo>
                  <a:lnTo>
                    <a:pt x="99" y="394"/>
                  </a:lnTo>
                  <a:lnTo>
                    <a:pt x="118" y="404"/>
                  </a:lnTo>
                  <a:lnTo>
                    <a:pt x="123" y="411"/>
                  </a:lnTo>
                  <a:lnTo>
                    <a:pt x="118" y="423"/>
                  </a:lnTo>
                  <a:lnTo>
                    <a:pt x="121" y="440"/>
                  </a:lnTo>
                  <a:lnTo>
                    <a:pt x="104" y="457"/>
                  </a:lnTo>
                  <a:lnTo>
                    <a:pt x="101" y="464"/>
                  </a:lnTo>
                  <a:lnTo>
                    <a:pt x="106" y="476"/>
                  </a:lnTo>
                  <a:lnTo>
                    <a:pt x="121" y="490"/>
                  </a:lnTo>
                  <a:lnTo>
                    <a:pt x="145" y="505"/>
                  </a:lnTo>
                  <a:lnTo>
                    <a:pt x="157" y="510"/>
                  </a:lnTo>
                  <a:lnTo>
                    <a:pt x="181" y="529"/>
                  </a:lnTo>
                  <a:lnTo>
                    <a:pt x="185" y="548"/>
                  </a:lnTo>
                  <a:lnTo>
                    <a:pt x="193" y="558"/>
                  </a:lnTo>
                  <a:lnTo>
                    <a:pt x="193" y="563"/>
                  </a:lnTo>
                  <a:lnTo>
                    <a:pt x="185" y="567"/>
                  </a:lnTo>
                  <a:lnTo>
                    <a:pt x="185" y="572"/>
                  </a:lnTo>
                  <a:lnTo>
                    <a:pt x="202" y="601"/>
                  </a:lnTo>
                  <a:lnTo>
                    <a:pt x="207" y="601"/>
                  </a:lnTo>
                  <a:lnTo>
                    <a:pt x="207" y="596"/>
                  </a:lnTo>
                  <a:lnTo>
                    <a:pt x="212" y="596"/>
                  </a:lnTo>
                  <a:lnTo>
                    <a:pt x="214" y="599"/>
                  </a:lnTo>
                  <a:lnTo>
                    <a:pt x="219" y="579"/>
                  </a:lnTo>
                  <a:lnTo>
                    <a:pt x="229" y="575"/>
                  </a:lnTo>
                  <a:lnTo>
                    <a:pt x="243" y="577"/>
                  </a:lnTo>
                  <a:lnTo>
                    <a:pt x="255" y="582"/>
                  </a:lnTo>
                  <a:lnTo>
                    <a:pt x="265" y="589"/>
                  </a:lnTo>
                  <a:lnTo>
                    <a:pt x="277" y="584"/>
                  </a:lnTo>
                  <a:lnTo>
                    <a:pt x="272" y="563"/>
                  </a:lnTo>
                  <a:lnTo>
                    <a:pt x="269" y="551"/>
                  </a:lnTo>
                  <a:lnTo>
                    <a:pt x="277" y="548"/>
                  </a:lnTo>
                  <a:lnTo>
                    <a:pt x="303" y="541"/>
                  </a:lnTo>
                  <a:lnTo>
                    <a:pt x="305" y="538"/>
                  </a:lnTo>
                  <a:lnTo>
                    <a:pt x="296" y="526"/>
                  </a:lnTo>
                  <a:lnTo>
                    <a:pt x="296" y="524"/>
                  </a:lnTo>
                  <a:lnTo>
                    <a:pt x="301" y="522"/>
                  </a:lnTo>
                  <a:lnTo>
                    <a:pt x="301" y="512"/>
                  </a:lnTo>
                  <a:lnTo>
                    <a:pt x="305" y="507"/>
                  </a:lnTo>
                  <a:lnTo>
                    <a:pt x="303" y="507"/>
                  </a:lnTo>
                  <a:lnTo>
                    <a:pt x="303" y="502"/>
                  </a:lnTo>
                  <a:lnTo>
                    <a:pt x="303" y="498"/>
                  </a:lnTo>
                  <a:lnTo>
                    <a:pt x="305" y="478"/>
                  </a:lnTo>
                  <a:lnTo>
                    <a:pt x="305" y="462"/>
                  </a:lnTo>
                  <a:lnTo>
                    <a:pt x="320" y="450"/>
                  </a:lnTo>
                  <a:lnTo>
                    <a:pt x="327" y="433"/>
                  </a:lnTo>
                  <a:lnTo>
                    <a:pt x="329" y="426"/>
                  </a:lnTo>
                  <a:lnTo>
                    <a:pt x="339" y="404"/>
                  </a:lnTo>
                  <a:lnTo>
                    <a:pt x="337" y="382"/>
                  </a:lnTo>
                  <a:lnTo>
                    <a:pt x="327" y="361"/>
                  </a:lnTo>
                  <a:lnTo>
                    <a:pt x="329" y="349"/>
                  </a:lnTo>
                  <a:lnTo>
                    <a:pt x="329" y="339"/>
                  </a:lnTo>
                  <a:lnTo>
                    <a:pt x="332" y="334"/>
                  </a:lnTo>
                  <a:lnTo>
                    <a:pt x="310" y="79"/>
                  </a:lnTo>
                  <a:lnTo>
                    <a:pt x="305" y="77"/>
                  </a:lnTo>
                  <a:lnTo>
                    <a:pt x="303" y="72"/>
                  </a:lnTo>
                  <a:lnTo>
                    <a:pt x="298" y="48"/>
                  </a:lnTo>
                  <a:lnTo>
                    <a:pt x="296" y="41"/>
                  </a:lnTo>
                  <a:lnTo>
                    <a:pt x="286" y="34"/>
                  </a:lnTo>
                  <a:lnTo>
                    <a:pt x="279" y="19"/>
                  </a:lnTo>
                  <a:lnTo>
                    <a:pt x="279"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7" name="Freeform 42"/>
            <p:cNvSpPr>
              <a:spLocks/>
            </p:cNvSpPr>
            <p:nvPr/>
          </p:nvSpPr>
          <p:spPr bwMode="auto">
            <a:xfrm>
              <a:off x="7712499" y="4128966"/>
              <a:ext cx="1185863" cy="514350"/>
            </a:xfrm>
            <a:custGeom>
              <a:avLst/>
              <a:gdLst>
                <a:gd name="T0" fmla="*/ 9 w 747"/>
                <a:gd name="T1" fmla="*/ 262 h 324"/>
                <a:gd name="T2" fmla="*/ 19 w 747"/>
                <a:gd name="T3" fmla="*/ 247 h 324"/>
                <a:gd name="T4" fmla="*/ 28 w 747"/>
                <a:gd name="T5" fmla="*/ 228 h 324"/>
                <a:gd name="T6" fmla="*/ 86 w 747"/>
                <a:gd name="T7" fmla="*/ 197 h 324"/>
                <a:gd name="T8" fmla="*/ 110 w 747"/>
                <a:gd name="T9" fmla="*/ 173 h 324"/>
                <a:gd name="T10" fmla="*/ 120 w 747"/>
                <a:gd name="T11" fmla="*/ 168 h 324"/>
                <a:gd name="T12" fmla="*/ 132 w 747"/>
                <a:gd name="T13" fmla="*/ 158 h 324"/>
                <a:gd name="T14" fmla="*/ 144 w 747"/>
                <a:gd name="T15" fmla="*/ 156 h 324"/>
                <a:gd name="T16" fmla="*/ 175 w 747"/>
                <a:gd name="T17" fmla="*/ 144 h 324"/>
                <a:gd name="T18" fmla="*/ 204 w 747"/>
                <a:gd name="T19" fmla="*/ 106 h 324"/>
                <a:gd name="T20" fmla="*/ 206 w 747"/>
                <a:gd name="T21" fmla="*/ 84 h 324"/>
                <a:gd name="T22" fmla="*/ 228 w 747"/>
                <a:gd name="T23" fmla="*/ 82 h 324"/>
                <a:gd name="T24" fmla="*/ 264 w 747"/>
                <a:gd name="T25" fmla="*/ 77 h 324"/>
                <a:gd name="T26" fmla="*/ 706 w 747"/>
                <a:gd name="T27" fmla="*/ 5 h 324"/>
                <a:gd name="T28" fmla="*/ 718 w 747"/>
                <a:gd name="T29" fmla="*/ 12 h 324"/>
                <a:gd name="T30" fmla="*/ 730 w 747"/>
                <a:gd name="T31" fmla="*/ 31 h 324"/>
                <a:gd name="T32" fmla="*/ 725 w 747"/>
                <a:gd name="T33" fmla="*/ 36 h 324"/>
                <a:gd name="T34" fmla="*/ 713 w 747"/>
                <a:gd name="T35" fmla="*/ 33 h 324"/>
                <a:gd name="T36" fmla="*/ 708 w 747"/>
                <a:gd name="T37" fmla="*/ 36 h 324"/>
                <a:gd name="T38" fmla="*/ 682 w 747"/>
                <a:gd name="T39" fmla="*/ 53 h 324"/>
                <a:gd name="T40" fmla="*/ 660 w 747"/>
                <a:gd name="T41" fmla="*/ 70 h 324"/>
                <a:gd name="T42" fmla="*/ 667 w 747"/>
                <a:gd name="T43" fmla="*/ 72 h 324"/>
                <a:gd name="T44" fmla="*/ 701 w 747"/>
                <a:gd name="T45" fmla="*/ 58 h 324"/>
                <a:gd name="T46" fmla="*/ 713 w 747"/>
                <a:gd name="T47" fmla="*/ 67 h 324"/>
                <a:gd name="T48" fmla="*/ 725 w 747"/>
                <a:gd name="T49" fmla="*/ 72 h 324"/>
                <a:gd name="T50" fmla="*/ 739 w 747"/>
                <a:gd name="T51" fmla="*/ 58 h 324"/>
                <a:gd name="T52" fmla="*/ 747 w 747"/>
                <a:gd name="T53" fmla="*/ 91 h 324"/>
                <a:gd name="T54" fmla="*/ 735 w 747"/>
                <a:gd name="T55" fmla="*/ 108 h 324"/>
                <a:gd name="T56" fmla="*/ 718 w 747"/>
                <a:gd name="T57" fmla="*/ 122 h 324"/>
                <a:gd name="T58" fmla="*/ 691 w 747"/>
                <a:gd name="T59" fmla="*/ 125 h 324"/>
                <a:gd name="T60" fmla="*/ 686 w 747"/>
                <a:gd name="T61" fmla="*/ 120 h 324"/>
                <a:gd name="T62" fmla="*/ 679 w 747"/>
                <a:gd name="T63" fmla="*/ 113 h 324"/>
                <a:gd name="T64" fmla="*/ 677 w 747"/>
                <a:gd name="T65" fmla="*/ 132 h 324"/>
                <a:gd name="T66" fmla="*/ 686 w 747"/>
                <a:gd name="T67" fmla="*/ 137 h 324"/>
                <a:gd name="T68" fmla="*/ 691 w 747"/>
                <a:gd name="T69" fmla="*/ 156 h 324"/>
                <a:gd name="T70" fmla="*/ 660 w 747"/>
                <a:gd name="T71" fmla="*/ 173 h 324"/>
                <a:gd name="T72" fmla="*/ 658 w 747"/>
                <a:gd name="T73" fmla="*/ 180 h 324"/>
                <a:gd name="T74" fmla="*/ 703 w 747"/>
                <a:gd name="T75" fmla="*/ 168 h 324"/>
                <a:gd name="T76" fmla="*/ 715 w 747"/>
                <a:gd name="T77" fmla="*/ 170 h 324"/>
                <a:gd name="T78" fmla="*/ 682 w 747"/>
                <a:gd name="T79" fmla="*/ 199 h 324"/>
                <a:gd name="T80" fmla="*/ 643 w 747"/>
                <a:gd name="T81" fmla="*/ 231 h 324"/>
                <a:gd name="T82" fmla="*/ 638 w 747"/>
                <a:gd name="T83" fmla="*/ 235 h 324"/>
                <a:gd name="T84" fmla="*/ 602 w 747"/>
                <a:gd name="T85" fmla="*/ 279 h 324"/>
                <a:gd name="T86" fmla="*/ 586 w 747"/>
                <a:gd name="T87" fmla="*/ 315 h 324"/>
                <a:gd name="T88" fmla="*/ 432 w 747"/>
                <a:gd name="T89" fmla="*/ 245 h 324"/>
                <a:gd name="T90" fmla="*/ 314 w 747"/>
                <a:gd name="T91" fmla="*/ 231 h 324"/>
                <a:gd name="T92" fmla="*/ 305 w 747"/>
                <a:gd name="T93" fmla="*/ 226 h 324"/>
                <a:gd name="T94" fmla="*/ 187 w 747"/>
                <a:gd name="T95" fmla="*/ 238 h 324"/>
                <a:gd name="T96" fmla="*/ 161 w 747"/>
                <a:gd name="T97" fmla="*/ 255 h 324"/>
                <a:gd name="T98" fmla="*/ 0 w 747"/>
                <a:gd name="T99" fmla="*/ 28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47" h="324">
                  <a:moveTo>
                    <a:pt x="0" y="286"/>
                  </a:moveTo>
                  <a:lnTo>
                    <a:pt x="2" y="262"/>
                  </a:lnTo>
                  <a:lnTo>
                    <a:pt x="9" y="262"/>
                  </a:lnTo>
                  <a:lnTo>
                    <a:pt x="12" y="259"/>
                  </a:lnTo>
                  <a:lnTo>
                    <a:pt x="19" y="255"/>
                  </a:lnTo>
                  <a:lnTo>
                    <a:pt x="19" y="247"/>
                  </a:lnTo>
                  <a:lnTo>
                    <a:pt x="19" y="243"/>
                  </a:lnTo>
                  <a:lnTo>
                    <a:pt x="21" y="238"/>
                  </a:lnTo>
                  <a:lnTo>
                    <a:pt x="28" y="228"/>
                  </a:lnTo>
                  <a:lnTo>
                    <a:pt x="45" y="221"/>
                  </a:lnTo>
                  <a:lnTo>
                    <a:pt x="67" y="216"/>
                  </a:lnTo>
                  <a:lnTo>
                    <a:pt x="86" y="197"/>
                  </a:lnTo>
                  <a:lnTo>
                    <a:pt x="93" y="194"/>
                  </a:lnTo>
                  <a:lnTo>
                    <a:pt x="105" y="182"/>
                  </a:lnTo>
                  <a:lnTo>
                    <a:pt x="110" y="173"/>
                  </a:lnTo>
                  <a:lnTo>
                    <a:pt x="110" y="173"/>
                  </a:lnTo>
                  <a:lnTo>
                    <a:pt x="117" y="173"/>
                  </a:lnTo>
                  <a:lnTo>
                    <a:pt x="120" y="168"/>
                  </a:lnTo>
                  <a:lnTo>
                    <a:pt x="122" y="166"/>
                  </a:lnTo>
                  <a:lnTo>
                    <a:pt x="127" y="158"/>
                  </a:lnTo>
                  <a:lnTo>
                    <a:pt x="132" y="158"/>
                  </a:lnTo>
                  <a:lnTo>
                    <a:pt x="137" y="163"/>
                  </a:lnTo>
                  <a:lnTo>
                    <a:pt x="144" y="158"/>
                  </a:lnTo>
                  <a:lnTo>
                    <a:pt x="144" y="156"/>
                  </a:lnTo>
                  <a:lnTo>
                    <a:pt x="156" y="149"/>
                  </a:lnTo>
                  <a:lnTo>
                    <a:pt x="163" y="144"/>
                  </a:lnTo>
                  <a:lnTo>
                    <a:pt x="175" y="144"/>
                  </a:lnTo>
                  <a:lnTo>
                    <a:pt x="189" y="120"/>
                  </a:lnTo>
                  <a:lnTo>
                    <a:pt x="201" y="113"/>
                  </a:lnTo>
                  <a:lnTo>
                    <a:pt x="204" y="106"/>
                  </a:lnTo>
                  <a:lnTo>
                    <a:pt x="204" y="98"/>
                  </a:lnTo>
                  <a:lnTo>
                    <a:pt x="204" y="91"/>
                  </a:lnTo>
                  <a:lnTo>
                    <a:pt x="206" y="84"/>
                  </a:lnTo>
                  <a:lnTo>
                    <a:pt x="206" y="82"/>
                  </a:lnTo>
                  <a:lnTo>
                    <a:pt x="228" y="77"/>
                  </a:lnTo>
                  <a:lnTo>
                    <a:pt x="228" y="82"/>
                  </a:lnTo>
                  <a:lnTo>
                    <a:pt x="249" y="79"/>
                  </a:lnTo>
                  <a:lnTo>
                    <a:pt x="259" y="77"/>
                  </a:lnTo>
                  <a:lnTo>
                    <a:pt x="264" y="77"/>
                  </a:lnTo>
                  <a:lnTo>
                    <a:pt x="490" y="41"/>
                  </a:lnTo>
                  <a:lnTo>
                    <a:pt x="703" y="0"/>
                  </a:lnTo>
                  <a:lnTo>
                    <a:pt x="706" y="5"/>
                  </a:lnTo>
                  <a:lnTo>
                    <a:pt x="708" y="7"/>
                  </a:lnTo>
                  <a:lnTo>
                    <a:pt x="713" y="12"/>
                  </a:lnTo>
                  <a:lnTo>
                    <a:pt x="718" y="12"/>
                  </a:lnTo>
                  <a:lnTo>
                    <a:pt x="722" y="17"/>
                  </a:lnTo>
                  <a:lnTo>
                    <a:pt x="725" y="21"/>
                  </a:lnTo>
                  <a:lnTo>
                    <a:pt x="730" y="31"/>
                  </a:lnTo>
                  <a:lnTo>
                    <a:pt x="727" y="33"/>
                  </a:lnTo>
                  <a:lnTo>
                    <a:pt x="727" y="36"/>
                  </a:lnTo>
                  <a:lnTo>
                    <a:pt x="725" y="36"/>
                  </a:lnTo>
                  <a:lnTo>
                    <a:pt x="725" y="31"/>
                  </a:lnTo>
                  <a:lnTo>
                    <a:pt x="718" y="33"/>
                  </a:lnTo>
                  <a:lnTo>
                    <a:pt x="713" y="33"/>
                  </a:lnTo>
                  <a:lnTo>
                    <a:pt x="708" y="31"/>
                  </a:lnTo>
                  <a:lnTo>
                    <a:pt x="706" y="33"/>
                  </a:lnTo>
                  <a:lnTo>
                    <a:pt x="708" y="36"/>
                  </a:lnTo>
                  <a:lnTo>
                    <a:pt x="708" y="38"/>
                  </a:lnTo>
                  <a:lnTo>
                    <a:pt x="686" y="48"/>
                  </a:lnTo>
                  <a:lnTo>
                    <a:pt x="682" y="53"/>
                  </a:lnTo>
                  <a:lnTo>
                    <a:pt x="674" y="60"/>
                  </a:lnTo>
                  <a:lnTo>
                    <a:pt x="662" y="62"/>
                  </a:lnTo>
                  <a:lnTo>
                    <a:pt x="660" y="70"/>
                  </a:lnTo>
                  <a:lnTo>
                    <a:pt x="660" y="72"/>
                  </a:lnTo>
                  <a:lnTo>
                    <a:pt x="662" y="74"/>
                  </a:lnTo>
                  <a:lnTo>
                    <a:pt x="667" y="72"/>
                  </a:lnTo>
                  <a:lnTo>
                    <a:pt x="679" y="67"/>
                  </a:lnTo>
                  <a:lnTo>
                    <a:pt x="694" y="62"/>
                  </a:lnTo>
                  <a:lnTo>
                    <a:pt x="701" y="58"/>
                  </a:lnTo>
                  <a:lnTo>
                    <a:pt x="713" y="58"/>
                  </a:lnTo>
                  <a:lnTo>
                    <a:pt x="715" y="60"/>
                  </a:lnTo>
                  <a:lnTo>
                    <a:pt x="713" y="67"/>
                  </a:lnTo>
                  <a:lnTo>
                    <a:pt x="715" y="72"/>
                  </a:lnTo>
                  <a:lnTo>
                    <a:pt x="718" y="74"/>
                  </a:lnTo>
                  <a:lnTo>
                    <a:pt x="725" y="72"/>
                  </a:lnTo>
                  <a:lnTo>
                    <a:pt x="725" y="67"/>
                  </a:lnTo>
                  <a:lnTo>
                    <a:pt x="732" y="58"/>
                  </a:lnTo>
                  <a:lnTo>
                    <a:pt x="739" y="58"/>
                  </a:lnTo>
                  <a:lnTo>
                    <a:pt x="744" y="70"/>
                  </a:lnTo>
                  <a:lnTo>
                    <a:pt x="747" y="86"/>
                  </a:lnTo>
                  <a:lnTo>
                    <a:pt x="747" y="91"/>
                  </a:lnTo>
                  <a:lnTo>
                    <a:pt x="747" y="94"/>
                  </a:lnTo>
                  <a:lnTo>
                    <a:pt x="737" y="103"/>
                  </a:lnTo>
                  <a:lnTo>
                    <a:pt x="735" y="108"/>
                  </a:lnTo>
                  <a:lnTo>
                    <a:pt x="732" y="113"/>
                  </a:lnTo>
                  <a:lnTo>
                    <a:pt x="725" y="120"/>
                  </a:lnTo>
                  <a:lnTo>
                    <a:pt x="718" y="122"/>
                  </a:lnTo>
                  <a:lnTo>
                    <a:pt x="710" y="127"/>
                  </a:lnTo>
                  <a:lnTo>
                    <a:pt x="696" y="125"/>
                  </a:lnTo>
                  <a:lnTo>
                    <a:pt x="691" y="125"/>
                  </a:lnTo>
                  <a:lnTo>
                    <a:pt x="691" y="125"/>
                  </a:lnTo>
                  <a:lnTo>
                    <a:pt x="689" y="125"/>
                  </a:lnTo>
                  <a:lnTo>
                    <a:pt x="686" y="120"/>
                  </a:lnTo>
                  <a:lnTo>
                    <a:pt x="686" y="115"/>
                  </a:lnTo>
                  <a:lnTo>
                    <a:pt x="684" y="113"/>
                  </a:lnTo>
                  <a:lnTo>
                    <a:pt x="679" y="113"/>
                  </a:lnTo>
                  <a:lnTo>
                    <a:pt x="677" y="115"/>
                  </a:lnTo>
                  <a:lnTo>
                    <a:pt x="679" y="127"/>
                  </a:lnTo>
                  <a:lnTo>
                    <a:pt x="677" y="132"/>
                  </a:lnTo>
                  <a:lnTo>
                    <a:pt x="677" y="130"/>
                  </a:lnTo>
                  <a:lnTo>
                    <a:pt x="679" y="137"/>
                  </a:lnTo>
                  <a:lnTo>
                    <a:pt x="686" y="137"/>
                  </a:lnTo>
                  <a:lnTo>
                    <a:pt x="691" y="144"/>
                  </a:lnTo>
                  <a:lnTo>
                    <a:pt x="689" y="151"/>
                  </a:lnTo>
                  <a:lnTo>
                    <a:pt x="691" y="156"/>
                  </a:lnTo>
                  <a:lnTo>
                    <a:pt x="674" y="175"/>
                  </a:lnTo>
                  <a:lnTo>
                    <a:pt x="670" y="175"/>
                  </a:lnTo>
                  <a:lnTo>
                    <a:pt x="660" y="173"/>
                  </a:lnTo>
                  <a:lnTo>
                    <a:pt x="653" y="173"/>
                  </a:lnTo>
                  <a:lnTo>
                    <a:pt x="653" y="175"/>
                  </a:lnTo>
                  <a:lnTo>
                    <a:pt x="658" y="180"/>
                  </a:lnTo>
                  <a:lnTo>
                    <a:pt x="677" y="180"/>
                  </a:lnTo>
                  <a:lnTo>
                    <a:pt x="686" y="175"/>
                  </a:lnTo>
                  <a:lnTo>
                    <a:pt x="703" y="168"/>
                  </a:lnTo>
                  <a:lnTo>
                    <a:pt x="706" y="163"/>
                  </a:lnTo>
                  <a:lnTo>
                    <a:pt x="708" y="163"/>
                  </a:lnTo>
                  <a:lnTo>
                    <a:pt x="715" y="170"/>
                  </a:lnTo>
                  <a:lnTo>
                    <a:pt x="708" y="182"/>
                  </a:lnTo>
                  <a:lnTo>
                    <a:pt x="696" y="197"/>
                  </a:lnTo>
                  <a:lnTo>
                    <a:pt x="682" y="199"/>
                  </a:lnTo>
                  <a:lnTo>
                    <a:pt x="674" y="204"/>
                  </a:lnTo>
                  <a:lnTo>
                    <a:pt x="658" y="207"/>
                  </a:lnTo>
                  <a:lnTo>
                    <a:pt x="643" y="231"/>
                  </a:lnTo>
                  <a:lnTo>
                    <a:pt x="636" y="231"/>
                  </a:lnTo>
                  <a:lnTo>
                    <a:pt x="636" y="233"/>
                  </a:lnTo>
                  <a:lnTo>
                    <a:pt x="638" y="235"/>
                  </a:lnTo>
                  <a:lnTo>
                    <a:pt x="622" y="245"/>
                  </a:lnTo>
                  <a:lnTo>
                    <a:pt x="612" y="257"/>
                  </a:lnTo>
                  <a:lnTo>
                    <a:pt x="602" y="279"/>
                  </a:lnTo>
                  <a:lnTo>
                    <a:pt x="598" y="303"/>
                  </a:lnTo>
                  <a:lnTo>
                    <a:pt x="593" y="310"/>
                  </a:lnTo>
                  <a:lnTo>
                    <a:pt x="586" y="315"/>
                  </a:lnTo>
                  <a:lnTo>
                    <a:pt x="550" y="319"/>
                  </a:lnTo>
                  <a:lnTo>
                    <a:pt x="545" y="324"/>
                  </a:lnTo>
                  <a:lnTo>
                    <a:pt x="432" y="245"/>
                  </a:lnTo>
                  <a:lnTo>
                    <a:pt x="333" y="257"/>
                  </a:lnTo>
                  <a:lnTo>
                    <a:pt x="331" y="243"/>
                  </a:lnTo>
                  <a:lnTo>
                    <a:pt x="314" y="231"/>
                  </a:lnTo>
                  <a:lnTo>
                    <a:pt x="307" y="233"/>
                  </a:lnTo>
                  <a:lnTo>
                    <a:pt x="302" y="231"/>
                  </a:lnTo>
                  <a:lnTo>
                    <a:pt x="305" y="226"/>
                  </a:lnTo>
                  <a:lnTo>
                    <a:pt x="302" y="223"/>
                  </a:lnTo>
                  <a:lnTo>
                    <a:pt x="189" y="238"/>
                  </a:lnTo>
                  <a:lnTo>
                    <a:pt x="187" y="238"/>
                  </a:lnTo>
                  <a:lnTo>
                    <a:pt x="185" y="240"/>
                  </a:lnTo>
                  <a:lnTo>
                    <a:pt x="161" y="250"/>
                  </a:lnTo>
                  <a:lnTo>
                    <a:pt x="161" y="255"/>
                  </a:lnTo>
                  <a:lnTo>
                    <a:pt x="153" y="255"/>
                  </a:lnTo>
                  <a:lnTo>
                    <a:pt x="127" y="267"/>
                  </a:lnTo>
                  <a:lnTo>
                    <a:pt x="0" y="28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8" name="Freeform 43"/>
            <p:cNvSpPr>
              <a:spLocks/>
            </p:cNvSpPr>
            <p:nvPr/>
          </p:nvSpPr>
          <p:spPr bwMode="auto">
            <a:xfrm>
              <a:off x="6929862" y="4262316"/>
              <a:ext cx="1109663" cy="388937"/>
            </a:xfrm>
            <a:custGeom>
              <a:avLst/>
              <a:gdLst>
                <a:gd name="T0" fmla="*/ 699 w 699"/>
                <a:gd name="T1" fmla="*/ 0 h 245"/>
                <a:gd name="T2" fmla="*/ 557 w 699"/>
                <a:gd name="T3" fmla="*/ 17 h 245"/>
                <a:gd name="T4" fmla="*/ 548 w 699"/>
                <a:gd name="T5" fmla="*/ 22 h 245"/>
                <a:gd name="T6" fmla="*/ 197 w 699"/>
                <a:gd name="T7" fmla="*/ 55 h 245"/>
                <a:gd name="T8" fmla="*/ 190 w 699"/>
                <a:gd name="T9" fmla="*/ 50 h 245"/>
                <a:gd name="T10" fmla="*/ 176 w 699"/>
                <a:gd name="T11" fmla="*/ 53 h 245"/>
                <a:gd name="T12" fmla="*/ 180 w 699"/>
                <a:gd name="T13" fmla="*/ 58 h 245"/>
                <a:gd name="T14" fmla="*/ 180 w 699"/>
                <a:gd name="T15" fmla="*/ 70 h 245"/>
                <a:gd name="T16" fmla="*/ 56 w 699"/>
                <a:gd name="T17" fmla="*/ 79 h 245"/>
                <a:gd name="T18" fmla="*/ 48 w 699"/>
                <a:gd name="T19" fmla="*/ 94 h 245"/>
                <a:gd name="T20" fmla="*/ 44 w 699"/>
                <a:gd name="T21" fmla="*/ 113 h 245"/>
                <a:gd name="T22" fmla="*/ 46 w 699"/>
                <a:gd name="T23" fmla="*/ 118 h 245"/>
                <a:gd name="T24" fmla="*/ 41 w 699"/>
                <a:gd name="T25" fmla="*/ 135 h 245"/>
                <a:gd name="T26" fmla="*/ 39 w 699"/>
                <a:gd name="T27" fmla="*/ 139 h 245"/>
                <a:gd name="T28" fmla="*/ 41 w 699"/>
                <a:gd name="T29" fmla="*/ 144 h 245"/>
                <a:gd name="T30" fmla="*/ 36 w 699"/>
                <a:gd name="T31" fmla="*/ 154 h 245"/>
                <a:gd name="T32" fmla="*/ 27 w 699"/>
                <a:gd name="T33" fmla="*/ 166 h 245"/>
                <a:gd name="T34" fmla="*/ 22 w 699"/>
                <a:gd name="T35" fmla="*/ 187 h 245"/>
                <a:gd name="T36" fmla="*/ 10 w 699"/>
                <a:gd name="T37" fmla="*/ 202 h 245"/>
                <a:gd name="T38" fmla="*/ 12 w 699"/>
                <a:gd name="T39" fmla="*/ 216 h 245"/>
                <a:gd name="T40" fmla="*/ 12 w 699"/>
                <a:gd name="T41" fmla="*/ 235 h 245"/>
                <a:gd name="T42" fmla="*/ 8 w 699"/>
                <a:gd name="T43" fmla="*/ 235 h 245"/>
                <a:gd name="T44" fmla="*/ 0 w 699"/>
                <a:gd name="T45" fmla="*/ 245 h 245"/>
                <a:gd name="T46" fmla="*/ 180 w 699"/>
                <a:gd name="T47" fmla="*/ 233 h 245"/>
                <a:gd name="T48" fmla="*/ 404 w 699"/>
                <a:gd name="T49" fmla="*/ 211 h 245"/>
                <a:gd name="T50" fmla="*/ 493 w 699"/>
                <a:gd name="T51" fmla="*/ 202 h 245"/>
                <a:gd name="T52" fmla="*/ 495 w 699"/>
                <a:gd name="T53" fmla="*/ 178 h 245"/>
                <a:gd name="T54" fmla="*/ 502 w 699"/>
                <a:gd name="T55" fmla="*/ 178 h 245"/>
                <a:gd name="T56" fmla="*/ 505 w 699"/>
                <a:gd name="T57" fmla="*/ 175 h 245"/>
                <a:gd name="T58" fmla="*/ 512 w 699"/>
                <a:gd name="T59" fmla="*/ 171 h 245"/>
                <a:gd name="T60" fmla="*/ 512 w 699"/>
                <a:gd name="T61" fmla="*/ 163 h 245"/>
                <a:gd name="T62" fmla="*/ 512 w 699"/>
                <a:gd name="T63" fmla="*/ 159 h 245"/>
                <a:gd name="T64" fmla="*/ 514 w 699"/>
                <a:gd name="T65" fmla="*/ 154 h 245"/>
                <a:gd name="T66" fmla="*/ 521 w 699"/>
                <a:gd name="T67" fmla="*/ 144 h 245"/>
                <a:gd name="T68" fmla="*/ 538 w 699"/>
                <a:gd name="T69" fmla="*/ 137 h 245"/>
                <a:gd name="T70" fmla="*/ 560 w 699"/>
                <a:gd name="T71" fmla="*/ 132 h 245"/>
                <a:gd name="T72" fmla="*/ 579 w 699"/>
                <a:gd name="T73" fmla="*/ 113 h 245"/>
                <a:gd name="T74" fmla="*/ 586 w 699"/>
                <a:gd name="T75" fmla="*/ 110 h 245"/>
                <a:gd name="T76" fmla="*/ 598 w 699"/>
                <a:gd name="T77" fmla="*/ 98 h 245"/>
                <a:gd name="T78" fmla="*/ 603 w 699"/>
                <a:gd name="T79" fmla="*/ 89 h 245"/>
                <a:gd name="T80" fmla="*/ 603 w 699"/>
                <a:gd name="T81" fmla="*/ 89 h 245"/>
                <a:gd name="T82" fmla="*/ 610 w 699"/>
                <a:gd name="T83" fmla="*/ 89 h 245"/>
                <a:gd name="T84" fmla="*/ 613 w 699"/>
                <a:gd name="T85" fmla="*/ 84 h 245"/>
                <a:gd name="T86" fmla="*/ 615 w 699"/>
                <a:gd name="T87" fmla="*/ 82 h 245"/>
                <a:gd name="T88" fmla="*/ 620 w 699"/>
                <a:gd name="T89" fmla="*/ 74 h 245"/>
                <a:gd name="T90" fmla="*/ 625 w 699"/>
                <a:gd name="T91" fmla="*/ 74 h 245"/>
                <a:gd name="T92" fmla="*/ 630 w 699"/>
                <a:gd name="T93" fmla="*/ 79 h 245"/>
                <a:gd name="T94" fmla="*/ 637 w 699"/>
                <a:gd name="T95" fmla="*/ 74 h 245"/>
                <a:gd name="T96" fmla="*/ 637 w 699"/>
                <a:gd name="T97" fmla="*/ 72 h 245"/>
                <a:gd name="T98" fmla="*/ 649 w 699"/>
                <a:gd name="T99" fmla="*/ 65 h 245"/>
                <a:gd name="T100" fmla="*/ 656 w 699"/>
                <a:gd name="T101" fmla="*/ 60 h 245"/>
                <a:gd name="T102" fmla="*/ 668 w 699"/>
                <a:gd name="T103" fmla="*/ 60 h 245"/>
                <a:gd name="T104" fmla="*/ 682 w 699"/>
                <a:gd name="T105" fmla="*/ 36 h 245"/>
                <a:gd name="T106" fmla="*/ 694 w 699"/>
                <a:gd name="T107" fmla="*/ 29 h 245"/>
                <a:gd name="T108" fmla="*/ 697 w 699"/>
                <a:gd name="T109" fmla="*/ 22 h 245"/>
                <a:gd name="T110" fmla="*/ 697 w 699"/>
                <a:gd name="T111" fmla="*/ 14 h 245"/>
                <a:gd name="T112" fmla="*/ 697 w 699"/>
                <a:gd name="T113" fmla="*/ 7 h 245"/>
                <a:gd name="T114" fmla="*/ 699 w 699"/>
                <a:gd name="T11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99" h="245">
                  <a:moveTo>
                    <a:pt x="699" y="0"/>
                  </a:moveTo>
                  <a:lnTo>
                    <a:pt x="557" y="17"/>
                  </a:lnTo>
                  <a:lnTo>
                    <a:pt x="548" y="22"/>
                  </a:lnTo>
                  <a:lnTo>
                    <a:pt x="197" y="55"/>
                  </a:lnTo>
                  <a:lnTo>
                    <a:pt x="190" y="50"/>
                  </a:lnTo>
                  <a:lnTo>
                    <a:pt x="176" y="53"/>
                  </a:lnTo>
                  <a:lnTo>
                    <a:pt x="180" y="58"/>
                  </a:lnTo>
                  <a:lnTo>
                    <a:pt x="180" y="70"/>
                  </a:lnTo>
                  <a:lnTo>
                    <a:pt x="56" y="79"/>
                  </a:lnTo>
                  <a:lnTo>
                    <a:pt x="48" y="94"/>
                  </a:lnTo>
                  <a:lnTo>
                    <a:pt x="44" y="113"/>
                  </a:lnTo>
                  <a:lnTo>
                    <a:pt x="46" y="118"/>
                  </a:lnTo>
                  <a:lnTo>
                    <a:pt x="41" y="135"/>
                  </a:lnTo>
                  <a:lnTo>
                    <a:pt x="39" y="139"/>
                  </a:lnTo>
                  <a:lnTo>
                    <a:pt x="41" y="144"/>
                  </a:lnTo>
                  <a:lnTo>
                    <a:pt x="36" y="154"/>
                  </a:lnTo>
                  <a:lnTo>
                    <a:pt x="27" y="166"/>
                  </a:lnTo>
                  <a:lnTo>
                    <a:pt x="22" y="187"/>
                  </a:lnTo>
                  <a:lnTo>
                    <a:pt x="10" y="202"/>
                  </a:lnTo>
                  <a:lnTo>
                    <a:pt x="12" y="216"/>
                  </a:lnTo>
                  <a:lnTo>
                    <a:pt x="12" y="235"/>
                  </a:lnTo>
                  <a:lnTo>
                    <a:pt x="8" y="235"/>
                  </a:lnTo>
                  <a:lnTo>
                    <a:pt x="0" y="245"/>
                  </a:lnTo>
                  <a:lnTo>
                    <a:pt x="180" y="233"/>
                  </a:lnTo>
                  <a:lnTo>
                    <a:pt x="404" y="211"/>
                  </a:lnTo>
                  <a:lnTo>
                    <a:pt x="493" y="202"/>
                  </a:lnTo>
                  <a:lnTo>
                    <a:pt x="495" y="178"/>
                  </a:lnTo>
                  <a:lnTo>
                    <a:pt x="502" y="178"/>
                  </a:lnTo>
                  <a:lnTo>
                    <a:pt x="505" y="175"/>
                  </a:lnTo>
                  <a:lnTo>
                    <a:pt x="512" y="171"/>
                  </a:lnTo>
                  <a:lnTo>
                    <a:pt x="512" y="163"/>
                  </a:lnTo>
                  <a:lnTo>
                    <a:pt x="512" y="159"/>
                  </a:lnTo>
                  <a:lnTo>
                    <a:pt x="514" y="154"/>
                  </a:lnTo>
                  <a:lnTo>
                    <a:pt x="521" y="144"/>
                  </a:lnTo>
                  <a:lnTo>
                    <a:pt x="538" y="137"/>
                  </a:lnTo>
                  <a:lnTo>
                    <a:pt x="560" y="132"/>
                  </a:lnTo>
                  <a:lnTo>
                    <a:pt x="579" y="113"/>
                  </a:lnTo>
                  <a:lnTo>
                    <a:pt x="586" y="110"/>
                  </a:lnTo>
                  <a:lnTo>
                    <a:pt x="598" y="98"/>
                  </a:lnTo>
                  <a:lnTo>
                    <a:pt x="603" y="89"/>
                  </a:lnTo>
                  <a:lnTo>
                    <a:pt x="603" y="89"/>
                  </a:lnTo>
                  <a:lnTo>
                    <a:pt x="610" y="89"/>
                  </a:lnTo>
                  <a:lnTo>
                    <a:pt x="613" y="84"/>
                  </a:lnTo>
                  <a:lnTo>
                    <a:pt x="615" y="82"/>
                  </a:lnTo>
                  <a:lnTo>
                    <a:pt x="620" y="74"/>
                  </a:lnTo>
                  <a:lnTo>
                    <a:pt x="625" y="74"/>
                  </a:lnTo>
                  <a:lnTo>
                    <a:pt x="630" y="79"/>
                  </a:lnTo>
                  <a:lnTo>
                    <a:pt x="637" y="74"/>
                  </a:lnTo>
                  <a:lnTo>
                    <a:pt x="637" y="72"/>
                  </a:lnTo>
                  <a:lnTo>
                    <a:pt x="649" y="65"/>
                  </a:lnTo>
                  <a:lnTo>
                    <a:pt x="656" y="60"/>
                  </a:lnTo>
                  <a:lnTo>
                    <a:pt x="668" y="60"/>
                  </a:lnTo>
                  <a:lnTo>
                    <a:pt x="682" y="36"/>
                  </a:lnTo>
                  <a:lnTo>
                    <a:pt x="694" y="29"/>
                  </a:lnTo>
                  <a:lnTo>
                    <a:pt x="697" y="22"/>
                  </a:lnTo>
                  <a:lnTo>
                    <a:pt x="697" y="14"/>
                  </a:lnTo>
                  <a:lnTo>
                    <a:pt x="697" y="7"/>
                  </a:lnTo>
                  <a:lnTo>
                    <a:pt x="699"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9" name="Freeform 44"/>
            <p:cNvSpPr>
              <a:spLocks/>
            </p:cNvSpPr>
            <p:nvPr/>
          </p:nvSpPr>
          <p:spPr bwMode="auto">
            <a:xfrm>
              <a:off x="7887124" y="4482979"/>
              <a:ext cx="690563" cy="523875"/>
            </a:xfrm>
            <a:custGeom>
              <a:avLst/>
              <a:gdLst>
                <a:gd name="T0" fmla="*/ 257 w 435"/>
                <a:gd name="T1" fmla="*/ 330 h 330"/>
                <a:gd name="T2" fmla="*/ 240 w 435"/>
                <a:gd name="T3" fmla="*/ 327 h 330"/>
                <a:gd name="T4" fmla="*/ 233 w 435"/>
                <a:gd name="T5" fmla="*/ 298 h 330"/>
                <a:gd name="T6" fmla="*/ 209 w 435"/>
                <a:gd name="T7" fmla="*/ 279 h 330"/>
                <a:gd name="T8" fmla="*/ 192 w 435"/>
                <a:gd name="T9" fmla="*/ 245 h 330"/>
                <a:gd name="T10" fmla="*/ 183 w 435"/>
                <a:gd name="T11" fmla="*/ 231 h 330"/>
                <a:gd name="T12" fmla="*/ 156 w 435"/>
                <a:gd name="T13" fmla="*/ 214 h 330"/>
                <a:gd name="T14" fmla="*/ 147 w 435"/>
                <a:gd name="T15" fmla="*/ 200 h 330"/>
                <a:gd name="T16" fmla="*/ 137 w 435"/>
                <a:gd name="T17" fmla="*/ 188 h 330"/>
                <a:gd name="T18" fmla="*/ 96 w 435"/>
                <a:gd name="T19" fmla="*/ 157 h 330"/>
                <a:gd name="T20" fmla="*/ 79 w 435"/>
                <a:gd name="T21" fmla="*/ 142 h 330"/>
                <a:gd name="T22" fmla="*/ 60 w 435"/>
                <a:gd name="T23" fmla="*/ 116 h 330"/>
                <a:gd name="T24" fmla="*/ 48 w 435"/>
                <a:gd name="T25" fmla="*/ 101 h 330"/>
                <a:gd name="T26" fmla="*/ 7 w 435"/>
                <a:gd name="T27" fmla="*/ 87 h 330"/>
                <a:gd name="T28" fmla="*/ 7 w 435"/>
                <a:gd name="T29" fmla="*/ 60 h 330"/>
                <a:gd name="T30" fmla="*/ 17 w 435"/>
                <a:gd name="T31" fmla="*/ 51 h 330"/>
                <a:gd name="T32" fmla="*/ 17 w 435"/>
                <a:gd name="T33" fmla="*/ 44 h 330"/>
                <a:gd name="T34" fmla="*/ 51 w 435"/>
                <a:gd name="T35" fmla="*/ 32 h 330"/>
                <a:gd name="T36" fmla="*/ 75 w 435"/>
                <a:gd name="T37" fmla="*/ 17 h 330"/>
                <a:gd name="T38" fmla="*/ 79 w 435"/>
                <a:gd name="T39" fmla="*/ 15 h 330"/>
                <a:gd name="T40" fmla="*/ 195 w 435"/>
                <a:gd name="T41" fmla="*/ 3 h 330"/>
                <a:gd name="T42" fmla="*/ 197 w 435"/>
                <a:gd name="T43" fmla="*/ 10 h 330"/>
                <a:gd name="T44" fmla="*/ 221 w 435"/>
                <a:gd name="T45" fmla="*/ 20 h 330"/>
                <a:gd name="T46" fmla="*/ 322 w 435"/>
                <a:gd name="T47" fmla="*/ 22 h 330"/>
                <a:gd name="T48" fmla="*/ 432 w 435"/>
                <a:gd name="T49" fmla="*/ 104 h 330"/>
                <a:gd name="T50" fmla="*/ 416 w 435"/>
                <a:gd name="T51" fmla="*/ 121 h 330"/>
                <a:gd name="T52" fmla="*/ 396 w 435"/>
                <a:gd name="T53" fmla="*/ 149 h 330"/>
                <a:gd name="T54" fmla="*/ 392 w 435"/>
                <a:gd name="T55" fmla="*/ 173 h 330"/>
                <a:gd name="T56" fmla="*/ 389 w 435"/>
                <a:gd name="T57" fmla="*/ 188 h 330"/>
                <a:gd name="T58" fmla="*/ 380 w 435"/>
                <a:gd name="T59" fmla="*/ 193 h 330"/>
                <a:gd name="T60" fmla="*/ 370 w 435"/>
                <a:gd name="T61" fmla="*/ 205 h 330"/>
                <a:gd name="T62" fmla="*/ 358 w 435"/>
                <a:gd name="T63" fmla="*/ 221 h 330"/>
                <a:gd name="T64" fmla="*/ 336 w 435"/>
                <a:gd name="T65" fmla="*/ 245 h 330"/>
                <a:gd name="T66" fmla="*/ 320 w 435"/>
                <a:gd name="T67" fmla="*/ 260 h 330"/>
                <a:gd name="T68" fmla="*/ 308 w 435"/>
                <a:gd name="T69" fmla="*/ 270 h 330"/>
                <a:gd name="T70" fmla="*/ 293 w 435"/>
                <a:gd name="T71" fmla="*/ 277 h 330"/>
                <a:gd name="T72" fmla="*/ 291 w 435"/>
                <a:gd name="T73" fmla="*/ 282 h 330"/>
                <a:gd name="T74" fmla="*/ 286 w 435"/>
                <a:gd name="T75" fmla="*/ 294 h 330"/>
                <a:gd name="T76" fmla="*/ 271 w 435"/>
                <a:gd name="T77" fmla="*/ 298 h 330"/>
                <a:gd name="T78" fmla="*/ 269 w 435"/>
                <a:gd name="T79" fmla="*/ 303 h 330"/>
                <a:gd name="T80" fmla="*/ 274 w 435"/>
                <a:gd name="T81" fmla="*/ 306 h 330"/>
                <a:gd name="T82" fmla="*/ 276 w 435"/>
                <a:gd name="T83" fmla="*/ 313 h 330"/>
                <a:gd name="T84" fmla="*/ 264 w 435"/>
                <a:gd name="T85" fmla="*/ 322 h 330"/>
                <a:gd name="T86" fmla="*/ 262 w 435"/>
                <a:gd name="T87"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5" h="330">
                  <a:moveTo>
                    <a:pt x="262" y="330"/>
                  </a:moveTo>
                  <a:lnTo>
                    <a:pt x="257" y="330"/>
                  </a:lnTo>
                  <a:lnTo>
                    <a:pt x="245" y="330"/>
                  </a:lnTo>
                  <a:lnTo>
                    <a:pt x="240" y="327"/>
                  </a:lnTo>
                  <a:lnTo>
                    <a:pt x="238" y="320"/>
                  </a:lnTo>
                  <a:lnTo>
                    <a:pt x="233" y="298"/>
                  </a:lnTo>
                  <a:lnTo>
                    <a:pt x="221" y="284"/>
                  </a:lnTo>
                  <a:lnTo>
                    <a:pt x="209" y="279"/>
                  </a:lnTo>
                  <a:lnTo>
                    <a:pt x="202" y="258"/>
                  </a:lnTo>
                  <a:lnTo>
                    <a:pt x="192" y="245"/>
                  </a:lnTo>
                  <a:lnTo>
                    <a:pt x="190" y="233"/>
                  </a:lnTo>
                  <a:lnTo>
                    <a:pt x="183" y="231"/>
                  </a:lnTo>
                  <a:lnTo>
                    <a:pt x="166" y="226"/>
                  </a:lnTo>
                  <a:lnTo>
                    <a:pt x="156" y="214"/>
                  </a:lnTo>
                  <a:lnTo>
                    <a:pt x="147" y="207"/>
                  </a:lnTo>
                  <a:lnTo>
                    <a:pt x="147" y="200"/>
                  </a:lnTo>
                  <a:lnTo>
                    <a:pt x="142" y="190"/>
                  </a:lnTo>
                  <a:lnTo>
                    <a:pt x="137" y="188"/>
                  </a:lnTo>
                  <a:lnTo>
                    <a:pt x="123" y="181"/>
                  </a:lnTo>
                  <a:lnTo>
                    <a:pt x="96" y="157"/>
                  </a:lnTo>
                  <a:lnTo>
                    <a:pt x="84" y="152"/>
                  </a:lnTo>
                  <a:lnTo>
                    <a:pt x="79" y="142"/>
                  </a:lnTo>
                  <a:lnTo>
                    <a:pt x="67" y="133"/>
                  </a:lnTo>
                  <a:lnTo>
                    <a:pt x="60" y="116"/>
                  </a:lnTo>
                  <a:lnTo>
                    <a:pt x="51" y="108"/>
                  </a:lnTo>
                  <a:lnTo>
                    <a:pt x="48" y="101"/>
                  </a:lnTo>
                  <a:lnTo>
                    <a:pt x="31" y="96"/>
                  </a:lnTo>
                  <a:lnTo>
                    <a:pt x="7" y="87"/>
                  </a:lnTo>
                  <a:lnTo>
                    <a:pt x="0" y="80"/>
                  </a:lnTo>
                  <a:lnTo>
                    <a:pt x="7" y="60"/>
                  </a:lnTo>
                  <a:lnTo>
                    <a:pt x="15" y="56"/>
                  </a:lnTo>
                  <a:lnTo>
                    <a:pt x="17" y="51"/>
                  </a:lnTo>
                  <a:lnTo>
                    <a:pt x="19" y="46"/>
                  </a:lnTo>
                  <a:lnTo>
                    <a:pt x="17" y="44"/>
                  </a:lnTo>
                  <a:lnTo>
                    <a:pt x="43" y="32"/>
                  </a:lnTo>
                  <a:lnTo>
                    <a:pt x="51" y="32"/>
                  </a:lnTo>
                  <a:lnTo>
                    <a:pt x="51" y="27"/>
                  </a:lnTo>
                  <a:lnTo>
                    <a:pt x="75" y="17"/>
                  </a:lnTo>
                  <a:lnTo>
                    <a:pt x="77" y="15"/>
                  </a:lnTo>
                  <a:lnTo>
                    <a:pt x="79" y="15"/>
                  </a:lnTo>
                  <a:lnTo>
                    <a:pt x="192" y="0"/>
                  </a:lnTo>
                  <a:lnTo>
                    <a:pt x="195" y="3"/>
                  </a:lnTo>
                  <a:lnTo>
                    <a:pt x="192" y="8"/>
                  </a:lnTo>
                  <a:lnTo>
                    <a:pt x="197" y="10"/>
                  </a:lnTo>
                  <a:lnTo>
                    <a:pt x="204" y="8"/>
                  </a:lnTo>
                  <a:lnTo>
                    <a:pt x="221" y="20"/>
                  </a:lnTo>
                  <a:lnTo>
                    <a:pt x="223" y="34"/>
                  </a:lnTo>
                  <a:lnTo>
                    <a:pt x="322" y="22"/>
                  </a:lnTo>
                  <a:lnTo>
                    <a:pt x="435" y="101"/>
                  </a:lnTo>
                  <a:lnTo>
                    <a:pt x="432" y="104"/>
                  </a:lnTo>
                  <a:lnTo>
                    <a:pt x="423" y="108"/>
                  </a:lnTo>
                  <a:lnTo>
                    <a:pt x="416" y="121"/>
                  </a:lnTo>
                  <a:lnTo>
                    <a:pt x="404" y="135"/>
                  </a:lnTo>
                  <a:lnTo>
                    <a:pt x="396" y="149"/>
                  </a:lnTo>
                  <a:lnTo>
                    <a:pt x="392" y="161"/>
                  </a:lnTo>
                  <a:lnTo>
                    <a:pt x="392" y="173"/>
                  </a:lnTo>
                  <a:lnTo>
                    <a:pt x="392" y="183"/>
                  </a:lnTo>
                  <a:lnTo>
                    <a:pt x="389" y="188"/>
                  </a:lnTo>
                  <a:lnTo>
                    <a:pt x="387" y="193"/>
                  </a:lnTo>
                  <a:lnTo>
                    <a:pt x="380" y="193"/>
                  </a:lnTo>
                  <a:lnTo>
                    <a:pt x="375" y="197"/>
                  </a:lnTo>
                  <a:lnTo>
                    <a:pt x="370" y="205"/>
                  </a:lnTo>
                  <a:lnTo>
                    <a:pt x="363" y="214"/>
                  </a:lnTo>
                  <a:lnTo>
                    <a:pt x="358" y="221"/>
                  </a:lnTo>
                  <a:lnTo>
                    <a:pt x="344" y="231"/>
                  </a:lnTo>
                  <a:lnTo>
                    <a:pt x="336" y="245"/>
                  </a:lnTo>
                  <a:lnTo>
                    <a:pt x="329" y="250"/>
                  </a:lnTo>
                  <a:lnTo>
                    <a:pt x="320" y="260"/>
                  </a:lnTo>
                  <a:lnTo>
                    <a:pt x="312" y="265"/>
                  </a:lnTo>
                  <a:lnTo>
                    <a:pt x="308" y="270"/>
                  </a:lnTo>
                  <a:lnTo>
                    <a:pt x="298" y="274"/>
                  </a:lnTo>
                  <a:lnTo>
                    <a:pt x="293" y="277"/>
                  </a:lnTo>
                  <a:lnTo>
                    <a:pt x="291" y="279"/>
                  </a:lnTo>
                  <a:lnTo>
                    <a:pt x="291" y="282"/>
                  </a:lnTo>
                  <a:lnTo>
                    <a:pt x="291" y="284"/>
                  </a:lnTo>
                  <a:lnTo>
                    <a:pt x="286" y="294"/>
                  </a:lnTo>
                  <a:lnTo>
                    <a:pt x="279" y="298"/>
                  </a:lnTo>
                  <a:lnTo>
                    <a:pt x="271" y="298"/>
                  </a:lnTo>
                  <a:lnTo>
                    <a:pt x="271" y="301"/>
                  </a:lnTo>
                  <a:lnTo>
                    <a:pt x="269" y="303"/>
                  </a:lnTo>
                  <a:lnTo>
                    <a:pt x="271" y="306"/>
                  </a:lnTo>
                  <a:lnTo>
                    <a:pt x="274" y="306"/>
                  </a:lnTo>
                  <a:lnTo>
                    <a:pt x="276" y="308"/>
                  </a:lnTo>
                  <a:lnTo>
                    <a:pt x="276" y="313"/>
                  </a:lnTo>
                  <a:lnTo>
                    <a:pt x="271" y="315"/>
                  </a:lnTo>
                  <a:lnTo>
                    <a:pt x="264" y="322"/>
                  </a:lnTo>
                  <a:lnTo>
                    <a:pt x="262" y="327"/>
                  </a:lnTo>
                  <a:lnTo>
                    <a:pt x="262" y="33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0" name="Freeform 45"/>
            <p:cNvSpPr>
              <a:spLocks/>
            </p:cNvSpPr>
            <p:nvPr/>
          </p:nvSpPr>
          <p:spPr bwMode="auto">
            <a:xfrm>
              <a:off x="7215612" y="4597279"/>
              <a:ext cx="519113" cy="831850"/>
            </a:xfrm>
            <a:custGeom>
              <a:avLst/>
              <a:gdLst>
                <a:gd name="T0" fmla="*/ 0 w 327"/>
                <a:gd name="T1" fmla="*/ 22 h 524"/>
                <a:gd name="T2" fmla="*/ 8 w 327"/>
                <a:gd name="T3" fmla="*/ 32 h 524"/>
                <a:gd name="T4" fmla="*/ 0 w 327"/>
                <a:gd name="T5" fmla="*/ 347 h 524"/>
                <a:gd name="T6" fmla="*/ 3 w 327"/>
                <a:gd name="T7" fmla="*/ 361 h 524"/>
                <a:gd name="T8" fmla="*/ 22 w 327"/>
                <a:gd name="T9" fmla="*/ 522 h 524"/>
                <a:gd name="T10" fmla="*/ 27 w 327"/>
                <a:gd name="T11" fmla="*/ 517 h 524"/>
                <a:gd name="T12" fmla="*/ 32 w 327"/>
                <a:gd name="T13" fmla="*/ 515 h 524"/>
                <a:gd name="T14" fmla="*/ 46 w 327"/>
                <a:gd name="T15" fmla="*/ 520 h 524"/>
                <a:gd name="T16" fmla="*/ 48 w 327"/>
                <a:gd name="T17" fmla="*/ 512 h 524"/>
                <a:gd name="T18" fmla="*/ 51 w 327"/>
                <a:gd name="T19" fmla="*/ 491 h 524"/>
                <a:gd name="T20" fmla="*/ 58 w 327"/>
                <a:gd name="T21" fmla="*/ 474 h 524"/>
                <a:gd name="T22" fmla="*/ 68 w 327"/>
                <a:gd name="T23" fmla="*/ 491 h 524"/>
                <a:gd name="T24" fmla="*/ 65 w 327"/>
                <a:gd name="T25" fmla="*/ 496 h 524"/>
                <a:gd name="T26" fmla="*/ 70 w 327"/>
                <a:gd name="T27" fmla="*/ 508 h 524"/>
                <a:gd name="T28" fmla="*/ 80 w 327"/>
                <a:gd name="T29" fmla="*/ 522 h 524"/>
                <a:gd name="T30" fmla="*/ 89 w 327"/>
                <a:gd name="T31" fmla="*/ 524 h 524"/>
                <a:gd name="T32" fmla="*/ 97 w 327"/>
                <a:gd name="T33" fmla="*/ 522 h 524"/>
                <a:gd name="T34" fmla="*/ 109 w 327"/>
                <a:gd name="T35" fmla="*/ 510 h 524"/>
                <a:gd name="T36" fmla="*/ 111 w 327"/>
                <a:gd name="T37" fmla="*/ 510 h 524"/>
                <a:gd name="T38" fmla="*/ 116 w 327"/>
                <a:gd name="T39" fmla="*/ 505 h 524"/>
                <a:gd name="T40" fmla="*/ 116 w 327"/>
                <a:gd name="T41" fmla="*/ 503 h 524"/>
                <a:gd name="T42" fmla="*/ 113 w 327"/>
                <a:gd name="T43" fmla="*/ 500 h 524"/>
                <a:gd name="T44" fmla="*/ 109 w 327"/>
                <a:gd name="T45" fmla="*/ 498 h 524"/>
                <a:gd name="T46" fmla="*/ 109 w 327"/>
                <a:gd name="T47" fmla="*/ 496 h 524"/>
                <a:gd name="T48" fmla="*/ 113 w 327"/>
                <a:gd name="T49" fmla="*/ 486 h 524"/>
                <a:gd name="T50" fmla="*/ 111 w 327"/>
                <a:gd name="T51" fmla="*/ 484 h 524"/>
                <a:gd name="T52" fmla="*/ 104 w 327"/>
                <a:gd name="T53" fmla="*/ 476 h 524"/>
                <a:gd name="T54" fmla="*/ 101 w 327"/>
                <a:gd name="T55" fmla="*/ 476 h 524"/>
                <a:gd name="T56" fmla="*/ 97 w 327"/>
                <a:gd name="T57" fmla="*/ 472 h 524"/>
                <a:gd name="T58" fmla="*/ 89 w 327"/>
                <a:gd name="T59" fmla="*/ 462 h 524"/>
                <a:gd name="T60" fmla="*/ 89 w 327"/>
                <a:gd name="T61" fmla="*/ 455 h 524"/>
                <a:gd name="T62" fmla="*/ 92 w 327"/>
                <a:gd name="T63" fmla="*/ 452 h 524"/>
                <a:gd name="T64" fmla="*/ 92 w 327"/>
                <a:gd name="T65" fmla="*/ 450 h 524"/>
                <a:gd name="T66" fmla="*/ 92 w 327"/>
                <a:gd name="T67" fmla="*/ 445 h 524"/>
                <a:gd name="T68" fmla="*/ 327 w 327"/>
                <a:gd name="T69" fmla="*/ 421 h 524"/>
                <a:gd name="T70" fmla="*/ 327 w 327"/>
                <a:gd name="T71" fmla="*/ 416 h 524"/>
                <a:gd name="T72" fmla="*/ 315 w 327"/>
                <a:gd name="T73" fmla="*/ 399 h 524"/>
                <a:gd name="T74" fmla="*/ 317 w 327"/>
                <a:gd name="T75" fmla="*/ 371 h 524"/>
                <a:gd name="T76" fmla="*/ 305 w 327"/>
                <a:gd name="T77" fmla="*/ 347 h 524"/>
                <a:gd name="T78" fmla="*/ 305 w 327"/>
                <a:gd name="T79" fmla="*/ 327 h 524"/>
                <a:gd name="T80" fmla="*/ 310 w 327"/>
                <a:gd name="T81" fmla="*/ 315 h 524"/>
                <a:gd name="T82" fmla="*/ 310 w 327"/>
                <a:gd name="T83" fmla="*/ 301 h 524"/>
                <a:gd name="T84" fmla="*/ 317 w 327"/>
                <a:gd name="T85" fmla="*/ 289 h 524"/>
                <a:gd name="T86" fmla="*/ 320 w 327"/>
                <a:gd name="T87" fmla="*/ 286 h 524"/>
                <a:gd name="T88" fmla="*/ 313 w 327"/>
                <a:gd name="T89" fmla="*/ 277 h 524"/>
                <a:gd name="T90" fmla="*/ 315 w 327"/>
                <a:gd name="T91" fmla="*/ 267 h 524"/>
                <a:gd name="T92" fmla="*/ 310 w 327"/>
                <a:gd name="T93" fmla="*/ 260 h 524"/>
                <a:gd name="T94" fmla="*/ 301 w 327"/>
                <a:gd name="T95" fmla="*/ 255 h 524"/>
                <a:gd name="T96" fmla="*/ 298 w 327"/>
                <a:gd name="T97" fmla="*/ 248 h 524"/>
                <a:gd name="T98" fmla="*/ 293 w 327"/>
                <a:gd name="T99" fmla="*/ 234 h 524"/>
                <a:gd name="T100" fmla="*/ 289 w 327"/>
                <a:gd name="T101" fmla="*/ 226 h 524"/>
                <a:gd name="T102" fmla="*/ 224 w 327"/>
                <a:gd name="T103" fmla="*/ 0 h 524"/>
                <a:gd name="T104" fmla="*/ 0 w 327"/>
                <a:gd name="T105" fmla="*/ 2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7" h="524">
                  <a:moveTo>
                    <a:pt x="0" y="22"/>
                  </a:moveTo>
                  <a:lnTo>
                    <a:pt x="8" y="32"/>
                  </a:lnTo>
                  <a:lnTo>
                    <a:pt x="0" y="347"/>
                  </a:lnTo>
                  <a:lnTo>
                    <a:pt x="3" y="361"/>
                  </a:lnTo>
                  <a:lnTo>
                    <a:pt x="22" y="522"/>
                  </a:lnTo>
                  <a:lnTo>
                    <a:pt x="27" y="517"/>
                  </a:lnTo>
                  <a:lnTo>
                    <a:pt x="32" y="515"/>
                  </a:lnTo>
                  <a:lnTo>
                    <a:pt x="46" y="520"/>
                  </a:lnTo>
                  <a:lnTo>
                    <a:pt x="48" y="512"/>
                  </a:lnTo>
                  <a:lnTo>
                    <a:pt x="51" y="491"/>
                  </a:lnTo>
                  <a:lnTo>
                    <a:pt x="58" y="474"/>
                  </a:lnTo>
                  <a:lnTo>
                    <a:pt x="68" y="491"/>
                  </a:lnTo>
                  <a:lnTo>
                    <a:pt x="65" y="496"/>
                  </a:lnTo>
                  <a:lnTo>
                    <a:pt x="70" y="508"/>
                  </a:lnTo>
                  <a:lnTo>
                    <a:pt x="80" y="522"/>
                  </a:lnTo>
                  <a:lnTo>
                    <a:pt x="89" y="524"/>
                  </a:lnTo>
                  <a:lnTo>
                    <a:pt x="97" y="522"/>
                  </a:lnTo>
                  <a:lnTo>
                    <a:pt x="109" y="510"/>
                  </a:lnTo>
                  <a:lnTo>
                    <a:pt x="111" y="510"/>
                  </a:lnTo>
                  <a:lnTo>
                    <a:pt x="116" y="505"/>
                  </a:lnTo>
                  <a:lnTo>
                    <a:pt x="116" y="503"/>
                  </a:lnTo>
                  <a:lnTo>
                    <a:pt x="113" y="500"/>
                  </a:lnTo>
                  <a:lnTo>
                    <a:pt x="109" y="498"/>
                  </a:lnTo>
                  <a:lnTo>
                    <a:pt x="109" y="496"/>
                  </a:lnTo>
                  <a:lnTo>
                    <a:pt x="113" y="486"/>
                  </a:lnTo>
                  <a:lnTo>
                    <a:pt x="111" y="484"/>
                  </a:lnTo>
                  <a:lnTo>
                    <a:pt x="104" y="476"/>
                  </a:lnTo>
                  <a:lnTo>
                    <a:pt x="101" y="476"/>
                  </a:lnTo>
                  <a:lnTo>
                    <a:pt x="97" y="472"/>
                  </a:lnTo>
                  <a:lnTo>
                    <a:pt x="89" y="462"/>
                  </a:lnTo>
                  <a:lnTo>
                    <a:pt x="89" y="455"/>
                  </a:lnTo>
                  <a:lnTo>
                    <a:pt x="92" y="452"/>
                  </a:lnTo>
                  <a:lnTo>
                    <a:pt x="92" y="450"/>
                  </a:lnTo>
                  <a:lnTo>
                    <a:pt x="92" y="445"/>
                  </a:lnTo>
                  <a:lnTo>
                    <a:pt x="327" y="421"/>
                  </a:lnTo>
                  <a:lnTo>
                    <a:pt x="327" y="416"/>
                  </a:lnTo>
                  <a:lnTo>
                    <a:pt x="315" y="399"/>
                  </a:lnTo>
                  <a:lnTo>
                    <a:pt x="317" y="371"/>
                  </a:lnTo>
                  <a:lnTo>
                    <a:pt x="305" y="347"/>
                  </a:lnTo>
                  <a:lnTo>
                    <a:pt x="305" y="327"/>
                  </a:lnTo>
                  <a:lnTo>
                    <a:pt x="310" y="315"/>
                  </a:lnTo>
                  <a:lnTo>
                    <a:pt x="310" y="301"/>
                  </a:lnTo>
                  <a:lnTo>
                    <a:pt x="317" y="289"/>
                  </a:lnTo>
                  <a:lnTo>
                    <a:pt x="320" y="286"/>
                  </a:lnTo>
                  <a:lnTo>
                    <a:pt x="313" y="277"/>
                  </a:lnTo>
                  <a:lnTo>
                    <a:pt x="315" y="267"/>
                  </a:lnTo>
                  <a:lnTo>
                    <a:pt x="310" y="260"/>
                  </a:lnTo>
                  <a:lnTo>
                    <a:pt x="301" y="255"/>
                  </a:lnTo>
                  <a:lnTo>
                    <a:pt x="298" y="248"/>
                  </a:lnTo>
                  <a:lnTo>
                    <a:pt x="293" y="234"/>
                  </a:lnTo>
                  <a:lnTo>
                    <a:pt x="289" y="226"/>
                  </a:lnTo>
                  <a:lnTo>
                    <a:pt x="224" y="0"/>
                  </a:lnTo>
                  <a:lnTo>
                    <a:pt x="0" y="2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1" name="Freeform 46"/>
            <p:cNvSpPr>
              <a:spLocks/>
            </p:cNvSpPr>
            <p:nvPr/>
          </p:nvSpPr>
          <p:spPr bwMode="auto">
            <a:xfrm>
              <a:off x="6774287" y="4632204"/>
              <a:ext cx="476250" cy="831850"/>
            </a:xfrm>
            <a:custGeom>
              <a:avLst/>
              <a:gdLst>
                <a:gd name="T0" fmla="*/ 278 w 300"/>
                <a:gd name="T1" fmla="*/ 0 h 524"/>
                <a:gd name="T2" fmla="*/ 98 w 300"/>
                <a:gd name="T3" fmla="*/ 12 h 524"/>
                <a:gd name="T4" fmla="*/ 96 w 300"/>
                <a:gd name="T5" fmla="*/ 17 h 524"/>
                <a:gd name="T6" fmla="*/ 79 w 300"/>
                <a:gd name="T7" fmla="*/ 34 h 524"/>
                <a:gd name="T8" fmla="*/ 74 w 300"/>
                <a:gd name="T9" fmla="*/ 48 h 524"/>
                <a:gd name="T10" fmla="*/ 74 w 300"/>
                <a:gd name="T11" fmla="*/ 67 h 524"/>
                <a:gd name="T12" fmla="*/ 72 w 300"/>
                <a:gd name="T13" fmla="*/ 77 h 524"/>
                <a:gd name="T14" fmla="*/ 58 w 300"/>
                <a:gd name="T15" fmla="*/ 87 h 524"/>
                <a:gd name="T16" fmla="*/ 46 w 300"/>
                <a:gd name="T17" fmla="*/ 101 h 524"/>
                <a:gd name="T18" fmla="*/ 43 w 300"/>
                <a:gd name="T19" fmla="*/ 106 h 524"/>
                <a:gd name="T20" fmla="*/ 43 w 300"/>
                <a:gd name="T21" fmla="*/ 120 h 524"/>
                <a:gd name="T22" fmla="*/ 33 w 300"/>
                <a:gd name="T23" fmla="*/ 130 h 524"/>
                <a:gd name="T24" fmla="*/ 33 w 300"/>
                <a:gd name="T25" fmla="*/ 139 h 524"/>
                <a:gd name="T26" fmla="*/ 29 w 300"/>
                <a:gd name="T27" fmla="*/ 154 h 524"/>
                <a:gd name="T28" fmla="*/ 19 w 300"/>
                <a:gd name="T29" fmla="*/ 168 h 524"/>
                <a:gd name="T30" fmla="*/ 24 w 300"/>
                <a:gd name="T31" fmla="*/ 185 h 524"/>
                <a:gd name="T32" fmla="*/ 31 w 300"/>
                <a:gd name="T33" fmla="*/ 195 h 524"/>
                <a:gd name="T34" fmla="*/ 33 w 300"/>
                <a:gd name="T35" fmla="*/ 204 h 524"/>
                <a:gd name="T36" fmla="*/ 36 w 300"/>
                <a:gd name="T37" fmla="*/ 209 h 524"/>
                <a:gd name="T38" fmla="*/ 36 w 300"/>
                <a:gd name="T39" fmla="*/ 212 h 524"/>
                <a:gd name="T40" fmla="*/ 31 w 300"/>
                <a:gd name="T41" fmla="*/ 216 h 524"/>
                <a:gd name="T42" fmla="*/ 29 w 300"/>
                <a:gd name="T43" fmla="*/ 226 h 524"/>
                <a:gd name="T44" fmla="*/ 29 w 300"/>
                <a:gd name="T45" fmla="*/ 231 h 524"/>
                <a:gd name="T46" fmla="*/ 29 w 300"/>
                <a:gd name="T47" fmla="*/ 240 h 524"/>
                <a:gd name="T48" fmla="*/ 41 w 300"/>
                <a:gd name="T49" fmla="*/ 262 h 524"/>
                <a:gd name="T50" fmla="*/ 43 w 300"/>
                <a:gd name="T51" fmla="*/ 281 h 524"/>
                <a:gd name="T52" fmla="*/ 48 w 300"/>
                <a:gd name="T53" fmla="*/ 293 h 524"/>
                <a:gd name="T54" fmla="*/ 53 w 300"/>
                <a:gd name="T55" fmla="*/ 298 h 524"/>
                <a:gd name="T56" fmla="*/ 53 w 300"/>
                <a:gd name="T57" fmla="*/ 310 h 524"/>
                <a:gd name="T58" fmla="*/ 43 w 300"/>
                <a:gd name="T59" fmla="*/ 315 h 524"/>
                <a:gd name="T60" fmla="*/ 38 w 300"/>
                <a:gd name="T61" fmla="*/ 320 h 524"/>
                <a:gd name="T62" fmla="*/ 33 w 300"/>
                <a:gd name="T63" fmla="*/ 341 h 524"/>
                <a:gd name="T64" fmla="*/ 17 w 300"/>
                <a:gd name="T65" fmla="*/ 368 h 524"/>
                <a:gd name="T66" fmla="*/ 2 w 300"/>
                <a:gd name="T67" fmla="*/ 413 h 524"/>
                <a:gd name="T68" fmla="*/ 0 w 300"/>
                <a:gd name="T69" fmla="*/ 447 h 524"/>
                <a:gd name="T70" fmla="*/ 168 w 300"/>
                <a:gd name="T71" fmla="*/ 440 h 524"/>
                <a:gd name="T72" fmla="*/ 173 w 300"/>
                <a:gd name="T73" fmla="*/ 445 h 524"/>
                <a:gd name="T74" fmla="*/ 168 w 300"/>
                <a:gd name="T75" fmla="*/ 462 h 524"/>
                <a:gd name="T76" fmla="*/ 168 w 300"/>
                <a:gd name="T77" fmla="*/ 486 h 524"/>
                <a:gd name="T78" fmla="*/ 187 w 300"/>
                <a:gd name="T79" fmla="*/ 502 h 524"/>
                <a:gd name="T80" fmla="*/ 190 w 300"/>
                <a:gd name="T81" fmla="*/ 522 h 524"/>
                <a:gd name="T82" fmla="*/ 202 w 300"/>
                <a:gd name="T83" fmla="*/ 524 h 524"/>
                <a:gd name="T84" fmla="*/ 221 w 300"/>
                <a:gd name="T85" fmla="*/ 507 h 524"/>
                <a:gd name="T86" fmla="*/ 262 w 300"/>
                <a:gd name="T87" fmla="*/ 495 h 524"/>
                <a:gd name="T88" fmla="*/ 271 w 300"/>
                <a:gd name="T89" fmla="*/ 500 h 524"/>
                <a:gd name="T90" fmla="*/ 286 w 300"/>
                <a:gd name="T91" fmla="*/ 495 h 524"/>
                <a:gd name="T92" fmla="*/ 288 w 300"/>
                <a:gd name="T93" fmla="*/ 498 h 524"/>
                <a:gd name="T94" fmla="*/ 298 w 300"/>
                <a:gd name="T95" fmla="*/ 500 h 524"/>
                <a:gd name="T96" fmla="*/ 300 w 300"/>
                <a:gd name="T97" fmla="*/ 500 h 524"/>
                <a:gd name="T98" fmla="*/ 281 w 300"/>
                <a:gd name="T99" fmla="*/ 339 h 524"/>
                <a:gd name="T100" fmla="*/ 278 w 300"/>
                <a:gd name="T101" fmla="*/ 325 h 524"/>
                <a:gd name="T102" fmla="*/ 286 w 300"/>
                <a:gd name="T103" fmla="*/ 10 h 524"/>
                <a:gd name="T104" fmla="*/ 278 w 300"/>
                <a:gd name="T105"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0" h="524">
                  <a:moveTo>
                    <a:pt x="278" y="0"/>
                  </a:moveTo>
                  <a:lnTo>
                    <a:pt x="98" y="12"/>
                  </a:lnTo>
                  <a:lnTo>
                    <a:pt x="96" y="17"/>
                  </a:lnTo>
                  <a:lnTo>
                    <a:pt x="79" y="34"/>
                  </a:lnTo>
                  <a:lnTo>
                    <a:pt x="74" y="48"/>
                  </a:lnTo>
                  <a:lnTo>
                    <a:pt x="74" y="67"/>
                  </a:lnTo>
                  <a:lnTo>
                    <a:pt x="72" y="77"/>
                  </a:lnTo>
                  <a:lnTo>
                    <a:pt x="58" y="87"/>
                  </a:lnTo>
                  <a:lnTo>
                    <a:pt x="46" y="101"/>
                  </a:lnTo>
                  <a:lnTo>
                    <a:pt x="43" y="106"/>
                  </a:lnTo>
                  <a:lnTo>
                    <a:pt x="43" y="120"/>
                  </a:lnTo>
                  <a:lnTo>
                    <a:pt x="33" y="130"/>
                  </a:lnTo>
                  <a:lnTo>
                    <a:pt x="33" y="139"/>
                  </a:lnTo>
                  <a:lnTo>
                    <a:pt x="29" y="154"/>
                  </a:lnTo>
                  <a:lnTo>
                    <a:pt x="19" y="168"/>
                  </a:lnTo>
                  <a:lnTo>
                    <a:pt x="24" y="185"/>
                  </a:lnTo>
                  <a:lnTo>
                    <a:pt x="31" y="195"/>
                  </a:lnTo>
                  <a:lnTo>
                    <a:pt x="33" y="204"/>
                  </a:lnTo>
                  <a:lnTo>
                    <a:pt x="36" y="209"/>
                  </a:lnTo>
                  <a:lnTo>
                    <a:pt x="36" y="212"/>
                  </a:lnTo>
                  <a:lnTo>
                    <a:pt x="31" y="216"/>
                  </a:lnTo>
                  <a:lnTo>
                    <a:pt x="29" y="226"/>
                  </a:lnTo>
                  <a:lnTo>
                    <a:pt x="29" y="231"/>
                  </a:lnTo>
                  <a:lnTo>
                    <a:pt x="29" y="240"/>
                  </a:lnTo>
                  <a:lnTo>
                    <a:pt x="41" y="262"/>
                  </a:lnTo>
                  <a:lnTo>
                    <a:pt x="43" y="281"/>
                  </a:lnTo>
                  <a:lnTo>
                    <a:pt x="48" y="293"/>
                  </a:lnTo>
                  <a:lnTo>
                    <a:pt x="53" y="298"/>
                  </a:lnTo>
                  <a:lnTo>
                    <a:pt x="53" y="310"/>
                  </a:lnTo>
                  <a:lnTo>
                    <a:pt x="43" y="315"/>
                  </a:lnTo>
                  <a:lnTo>
                    <a:pt x="38" y="320"/>
                  </a:lnTo>
                  <a:lnTo>
                    <a:pt x="33" y="341"/>
                  </a:lnTo>
                  <a:lnTo>
                    <a:pt x="17" y="368"/>
                  </a:lnTo>
                  <a:lnTo>
                    <a:pt x="2" y="413"/>
                  </a:lnTo>
                  <a:lnTo>
                    <a:pt x="0" y="447"/>
                  </a:lnTo>
                  <a:lnTo>
                    <a:pt x="168" y="440"/>
                  </a:lnTo>
                  <a:lnTo>
                    <a:pt x="173" y="445"/>
                  </a:lnTo>
                  <a:lnTo>
                    <a:pt x="168" y="462"/>
                  </a:lnTo>
                  <a:lnTo>
                    <a:pt x="168" y="486"/>
                  </a:lnTo>
                  <a:lnTo>
                    <a:pt x="187" y="502"/>
                  </a:lnTo>
                  <a:lnTo>
                    <a:pt x="190" y="522"/>
                  </a:lnTo>
                  <a:lnTo>
                    <a:pt x="202" y="524"/>
                  </a:lnTo>
                  <a:lnTo>
                    <a:pt x="221" y="507"/>
                  </a:lnTo>
                  <a:lnTo>
                    <a:pt x="262" y="495"/>
                  </a:lnTo>
                  <a:lnTo>
                    <a:pt x="271" y="500"/>
                  </a:lnTo>
                  <a:lnTo>
                    <a:pt x="286" y="495"/>
                  </a:lnTo>
                  <a:lnTo>
                    <a:pt x="288" y="498"/>
                  </a:lnTo>
                  <a:lnTo>
                    <a:pt x="298" y="500"/>
                  </a:lnTo>
                  <a:lnTo>
                    <a:pt x="300" y="500"/>
                  </a:lnTo>
                  <a:lnTo>
                    <a:pt x="281" y="339"/>
                  </a:lnTo>
                  <a:lnTo>
                    <a:pt x="278" y="325"/>
                  </a:lnTo>
                  <a:lnTo>
                    <a:pt x="286" y="10"/>
                  </a:lnTo>
                  <a:lnTo>
                    <a:pt x="278"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2" name="Freeform 47"/>
            <p:cNvSpPr>
              <a:spLocks/>
            </p:cNvSpPr>
            <p:nvPr/>
          </p:nvSpPr>
          <p:spPr bwMode="auto">
            <a:xfrm>
              <a:off x="6323437" y="4392491"/>
              <a:ext cx="671513" cy="617537"/>
            </a:xfrm>
            <a:custGeom>
              <a:avLst/>
              <a:gdLst>
                <a:gd name="T0" fmla="*/ 0 w 423"/>
                <a:gd name="T1" fmla="*/ 16 h 389"/>
                <a:gd name="T2" fmla="*/ 380 w 423"/>
                <a:gd name="T3" fmla="*/ 0 h 389"/>
                <a:gd name="T4" fmla="*/ 380 w 423"/>
                <a:gd name="T5" fmla="*/ 4 h 389"/>
                <a:gd name="T6" fmla="*/ 387 w 423"/>
                <a:gd name="T7" fmla="*/ 9 h 389"/>
                <a:gd name="T8" fmla="*/ 390 w 423"/>
                <a:gd name="T9" fmla="*/ 19 h 389"/>
                <a:gd name="T10" fmla="*/ 390 w 423"/>
                <a:gd name="T11" fmla="*/ 28 h 389"/>
                <a:gd name="T12" fmla="*/ 378 w 423"/>
                <a:gd name="T13" fmla="*/ 38 h 389"/>
                <a:gd name="T14" fmla="*/ 368 w 423"/>
                <a:gd name="T15" fmla="*/ 48 h 389"/>
                <a:gd name="T16" fmla="*/ 366 w 423"/>
                <a:gd name="T17" fmla="*/ 57 h 389"/>
                <a:gd name="T18" fmla="*/ 423 w 423"/>
                <a:gd name="T19" fmla="*/ 53 h 389"/>
                <a:gd name="T20" fmla="*/ 421 w 423"/>
                <a:gd name="T21" fmla="*/ 57 h 389"/>
                <a:gd name="T22" fmla="*/ 423 w 423"/>
                <a:gd name="T23" fmla="*/ 62 h 389"/>
                <a:gd name="T24" fmla="*/ 418 w 423"/>
                <a:gd name="T25" fmla="*/ 72 h 389"/>
                <a:gd name="T26" fmla="*/ 409 w 423"/>
                <a:gd name="T27" fmla="*/ 84 h 389"/>
                <a:gd name="T28" fmla="*/ 404 w 423"/>
                <a:gd name="T29" fmla="*/ 105 h 389"/>
                <a:gd name="T30" fmla="*/ 392 w 423"/>
                <a:gd name="T31" fmla="*/ 120 h 389"/>
                <a:gd name="T32" fmla="*/ 394 w 423"/>
                <a:gd name="T33" fmla="*/ 134 h 389"/>
                <a:gd name="T34" fmla="*/ 394 w 423"/>
                <a:gd name="T35" fmla="*/ 153 h 389"/>
                <a:gd name="T36" fmla="*/ 390 w 423"/>
                <a:gd name="T37" fmla="*/ 153 h 389"/>
                <a:gd name="T38" fmla="*/ 382 w 423"/>
                <a:gd name="T39" fmla="*/ 163 h 389"/>
                <a:gd name="T40" fmla="*/ 380 w 423"/>
                <a:gd name="T41" fmla="*/ 168 h 389"/>
                <a:gd name="T42" fmla="*/ 363 w 423"/>
                <a:gd name="T43" fmla="*/ 185 h 389"/>
                <a:gd name="T44" fmla="*/ 358 w 423"/>
                <a:gd name="T45" fmla="*/ 199 h 389"/>
                <a:gd name="T46" fmla="*/ 358 w 423"/>
                <a:gd name="T47" fmla="*/ 218 h 389"/>
                <a:gd name="T48" fmla="*/ 356 w 423"/>
                <a:gd name="T49" fmla="*/ 228 h 389"/>
                <a:gd name="T50" fmla="*/ 342 w 423"/>
                <a:gd name="T51" fmla="*/ 238 h 389"/>
                <a:gd name="T52" fmla="*/ 330 w 423"/>
                <a:gd name="T53" fmla="*/ 252 h 389"/>
                <a:gd name="T54" fmla="*/ 327 w 423"/>
                <a:gd name="T55" fmla="*/ 257 h 389"/>
                <a:gd name="T56" fmla="*/ 327 w 423"/>
                <a:gd name="T57" fmla="*/ 271 h 389"/>
                <a:gd name="T58" fmla="*/ 317 w 423"/>
                <a:gd name="T59" fmla="*/ 281 h 389"/>
                <a:gd name="T60" fmla="*/ 317 w 423"/>
                <a:gd name="T61" fmla="*/ 290 h 389"/>
                <a:gd name="T62" fmla="*/ 313 w 423"/>
                <a:gd name="T63" fmla="*/ 305 h 389"/>
                <a:gd name="T64" fmla="*/ 303 w 423"/>
                <a:gd name="T65" fmla="*/ 319 h 389"/>
                <a:gd name="T66" fmla="*/ 308 w 423"/>
                <a:gd name="T67" fmla="*/ 336 h 389"/>
                <a:gd name="T68" fmla="*/ 315 w 423"/>
                <a:gd name="T69" fmla="*/ 346 h 389"/>
                <a:gd name="T70" fmla="*/ 317 w 423"/>
                <a:gd name="T71" fmla="*/ 355 h 389"/>
                <a:gd name="T72" fmla="*/ 320 w 423"/>
                <a:gd name="T73" fmla="*/ 360 h 389"/>
                <a:gd name="T74" fmla="*/ 320 w 423"/>
                <a:gd name="T75" fmla="*/ 363 h 389"/>
                <a:gd name="T76" fmla="*/ 315 w 423"/>
                <a:gd name="T77" fmla="*/ 367 h 389"/>
                <a:gd name="T78" fmla="*/ 313 w 423"/>
                <a:gd name="T79" fmla="*/ 377 h 389"/>
                <a:gd name="T80" fmla="*/ 313 w 423"/>
                <a:gd name="T81" fmla="*/ 382 h 389"/>
                <a:gd name="T82" fmla="*/ 56 w 423"/>
                <a:gd name="T83" fmla="*/ 389 h 389"/>
                <a:gd name="T84" fmla="*/ 56 w 423"/>
                <a:gd name="T85" fmla="*/ 334 h 389"/>
                <a:gd name="T86" fmla="*/ 41 w 423"/>
                <a:gd name="T87" fmla="*/ 329 h 389"/>
                <a:gd name="T88" fmla="*/ 29 w 423"/>
                <a:gd name="T89" fmla="*/ 334 h 389"/>
                <a:gd name="T90" fmla="*/ 25 w 423"/>
                <a:gd name="T91" fmla="*/ 334 h 389"/>
                <a:gd name="T92" fmla="*/ 13 w 423"/>
                <a:gd name="T93" fmla="*/ 324 h 389"/>
                <a:gd name="T94" fmla="*/ 15 w 423"/>
                <a:gd name="T95" fmla="*/ 134 h 389"/>
                <a:gd name="T96" fmla="*/ 0 w 423"/>
                <a:gd name="T97" fmla="*/ 16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3" h="389">
                  <a:moveTo>
                    <a:pt x="0" y="16"/>
                  </a:moveTo>
                  <a:lnTo>
                    <a:pt x="380" y="0"/>
                  </a:lnTo>
                  <a:lnTo>
                    <a:pt x="380" y="4"/>
                  </a:lnTo>
                  <a:lnTo>
                    <a:pt x="387" y="9"/>
                  </a:lnTo>
                  <a:lnTo>
                    <a:pt x="390" y="19"/>
                  </a:lnTo>
                  <a:lnTo>
                    <a:pt x="390" y="28"/>
                  </a:lnTo>
                  <a:lnTo>
                    <a:pt x="378" y="38"/>
                  </a:lnTo>
                  <a:lnTo>
                    <a:pt x="368" y="48"/>
                  </a:lnTo>
                  <a:lnTo>
                    <a:pt x="366" y="57"/>
                  </a:lnTo>
                  <a:lnTo>
                    <a:pt x="423" y="53"/>
                  </a:lnTo>
                  <a:lnTo>
                    <a:pt x="421" y="57"/>
                  </a:lnTo>
                  <a:lnTo>
                    <a:pt x="423" y="62"/>
                  </a:lnTo>
                  <a:lnTo>
                    <a:pt x="418" y="72"/>
                  </a:lnTo>
                  <a:lnTo>
                    <a:pt x="409" y="84"/>
                  </a:lnTo>
                  <a:lnTo>
                    <a:pt x="404" y="105"/>
                  </a:lnTo>
                  <a:lnTo>
                    <a:pt x="392" y="120"/>
                  </a:lnTo>
                  <a:lnTo>
                    <a:pt x="394" y="134"/>
                  </a:lnTo>
                  <a:lnTo>
                    <a:pt x="394" y="153"/>
                  </a:lnTo>
                  <a:lnTo>
                    <a:pt x="390" y="153"/>
                  </a:lnTo>
                  <a:lnTo>
                    <a:pt x="382" y="163"/>
                  </a:lnTo>
                  <a:lnTo>
                    <a:pt x="380" y="168"/>
                  </a:lnTo>
                  <a:lnTo>
                    <a:pt x="363" y="185"/>
                  </a:lnTo>
                  <a:lnTo>
                    <a:pt x="358" y="199"/>
                  </a:lnTo>
                  <a:lnTo>
                    <a:pt x="358" y="218"/>
                  </a:lnTo>
                  <a:lnTo>
                    <a:pt x="356" y="228"/>
                  </a:lnTo>
                  <a:lnTo>
                    <a:pt x="342" y="238"/>
                  </a:lnTo>
                  <a:lnTo>
                    <a:pt x="330" y="252"/>
                  </a:lnTo>
                  <a:lnTo>
                    <a:pt x="327" y="257"/>
                  </a:lnTo>
                  <a:lnTo>
                    <a:pt x="327" y="271"/>
                  </a:lnTo>
                  <a:lnTo>
                    <a:pt x="317" y="281"/>
                  </a:lnTo>
                  <a:lnTo>
                    <a:pt x="317" y="290"/>
                  </a:lnTo>
                  <a:lnTo>
                    <a:pt x="313" y="305"/>
                  </a:lnTo>
                  <a:lnTo>
                    <a:pt x="303" y="319"/>
                  </a:lnTo>
                  <a:lnTo>
                    <a:pt x="308" y="336"/>
                  </a:lnTo>
                  <a:lnTo>
                    <a:pt x="315" y="346"/>
                  </a:lnTo>
                  <a:lnTo>
                    <a:pt x="317" y="355"/>
                  </a:lnTo>
                  <a:lnTo>
                    <a:pt x="320" y="360"/>
                  </a:lnTo>
                  <a:lnTo>
                    <a:pt x="320" y="363"/>
                  </a:lnTo>
                  <a:lnTo>
                    <a:pt x="315" y="367"/>
                  </a:lnTo>
                  <a:lnTo>
                    <a:pt x="313" y="377"/>
                  </a:lnTo>
                  <a:lnTo>
                    <a:pt x="313" y="382"/>
                  </a:lnTo>
                  <a:lnTo>
                    <a:pt x="56" y="389"/>
                  </a:lnTo>
                  <a:lnTo>
                    <a:pt x="56" y="334"/>
                  </a:lnTo>
                  <a:lnTo>
                    <a:pt x="41" y="329"/>
                  </a:lnTo>
                  <a:lnTo>
                    <a:pt x="29" y="334"/>
                  </a:lnTo>
                  <a:lnTo>
                    <a:pt x="25" y="334"/>
                  </a:lnTo>
                  <a:lnTo>
                    <a:pt x="13" y="324"/>
                  </a:lnTo>
                  <a:lnTo>
                    <a:pt x="15" y="134"/>
                  </a:lnTo>
                  <a:lnTo>
                    <a:pt x="0" y="1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3" name="Freeform 48"/>
            <p:cNvSpPr>
              <a:spLocks/>
            </p:cNvSpPr>
            <p:nvPr/>
          </p:nvSpPr>
          <p:spPr bwMode="auto">
            <a:xfrm>
              <a:off x="6412337" y="4998916"/>
              <a:ext cx="765175" cy="666750"/>
            </a:xfrm>
            <a:custGeom>
              <a:avLst/>
              <a:gdLst>
                <a:gd name="T0" fmla="*/ 257 w 482"/>
                <a:gd name="T1" fmla="*/ 9 h 420"/>
                <a:gd name="T2" fmla="*/ 276 w 482"/>
                <a:gd name="T3" fmla="*/ 62 h 420"/>
                <a:gd name="T4" fmla="*/ 271 w 482"/>
                <a:gd name="T5" fmla="*/ 84 h 420"/>
                <a:gd name="T6" fmla="*/ 245 w 482"/>
                <a:gd name="T7" fmla="*/ 137 h 420"/>
                <a:gd name="T8" fmla="*/ 396 w 482"/>
                <a:gd name="T9" fmla="*/ 209 h 420"/>
                <a:gd name="T10" fmla="*/ 396 w 482"/>
                <a:gd name="T11" fmla="*/ 255 h 420"/>
                <a:gd name="T12" fmla="*/ 394 w 482"/>
                <a:gd name="T13" fmla="*/ 286 h 420"/>
                <a:gd name="T14" fmla="*/ 360 w 482"/>
                <a:gd name="T15" fmla="*/ 279 h 420"/>
                <a:gd name="T16" fmla="*/ 350 w 482"/>
                <a:gd name="T17" fmla="*/ 310 h 420"/>
                <a:gd name="T18" fmla="*/ 386 w 482"/>
                <a:gd name="T19" fmla="*/ 303 h 420"/>
                <a:gd name="T20" fmla="*/ 410 w 482"/>
                <a:gd name="T21" fmla="*/ 300 h 420"/>
                <a:gd name="T22" fmla="*/ 401 w 482"/>
                <a:gd name="T23" fmla="*/ 312 h 420"/>
                <a:gd name="T24" fmla="*/ 415 w 482"/>
                <a:gd name="T25" fmla="*/ 324 h 420"/>
                <a:gd name="T26" fmla="*/ 446 w 482"/>
                <a:gd name="T27" fmla="*/ 300 h 420"/>
                <a:gd name="T28" fmla="*/ 461 w 482"/>
                <a:gd name="T29" fmla="*/ 303 h 420"/>
                <a:gd name="T30" fmla="*/ 458 w 482"/>
                <a:gd name="T31" fmla="*/ 319 h 420"/>
                <a:gd name="T32" fmla="*/ 422 w 482"/>
                <a:gd name="T33" fmla="*/ 353 h 420"/>
                <a:gd name="T34" fmla="*/ 446 w 482"/>
                <a:gd name="T35" fmla="*/ 382 h 420"/>
                <a:gd name="T36" fmla="*/ 480 w 482"/>
                <a:gd name="T37" fmla="*/ 408 h 420"/>
                <a:gd name="T38" fmla="*/ 446 w 482"/>
                <a:gd name="T39" fmla="*/ 401 h 420"/>
                <a:gd name="T40" fmla="*/ 401 w 482"/>
                <a:gd name="T41" fmla="*/ 375 h 420"/>
                <a:gd name="T42" fmla="*/ 384 w 482"/>
                <a:gd name="T43" fmla="*/ 394 h 420"/>
                <a:gd name="T44" fmla="*/ 372 w 482"/>
                <a:gd name="T45" fmla="*/ 411 h 420"/>
                <a:gd name="T46" fmla="*/ 355 w 482"/>
                <a:gd name="T47" fmla="*/ 396 h 420"/>
                <a:gd name="T48" fmla="*/ 336 w 482"/>
                <a:gd name="T49" fmla="*/ 396 h 420"/>
                <a:gd name="T50" fmla="*/ 305 w 482"/>
                <a:gd name="T51" fmla="*/ 408 h 420"/>
                <a:gd name="T52" fmla="*/ 254 w 482"/>
                <a:gd name="T53" fmla="*/ 375 h 420"/>
                <a:gd name="T54" fmla="*/ 233 w 482"/>
                <a:gd name="T55" fmla="*/ 360 h 420"/>
                <a:gd name="T56" fmla="*/ 233 w 482"/>
                <a:gd name="T57" fmla="*/ 353 h 420"/>
                <a:gd name="T58" fmla="*/ 213 w 482"/>
                <a:gd name="T59" fmla="*/ 351 h 420"/>
                <a:gd name="T60" fmla="*/ 204 w 482"/>
                <a:gd name="T61" fmla="*/ 341 h 420"/>
                <a:gd name="T62" fmla="*/ 192 w 482"/>
                <a:gd name="T63" fmla="*/ 370 h 420"/>
                <a:gd name="T64" fmla="*/ 89 w 482"/>
                <a:gd name="T65" fmla="*/ 353 h 420"/>
                <a:gd name="T66" fmla="*/ 19 w 482"/>
                <a:gd name="T67" fmla="*/ 351 h 420"/>
                <a:gd name="T68" fmla="*/ 31 w 482"/>
                <a:gd name="T69" fmla="*/ 334 h 420"/>
                <a:gd name="T70" fmla="*/ 33 w 482"/>
                <a:gd name="T71" fmla="*/ 293 h 420"/>
                <a:gd name="T72" fmla="*/ 36 w 482"/>
                <a:gd name="T73" fmla="*/ 267 h 420"/>
                <a:gd name="T74" fmla="*/ 50 w 482"/>
                <a:gd name="T75" fmla="*/ 233 h 420"/>
                <a:gd name="T76" fmla="*/ 41 w 482"/>
                <a:gd name="T77" fmla="*/ 192 h 420"/>
                <a:gd name="T78" fmla="*/ 36 w 482"/>
                <a:gd name="T79" fmla="*/ 180 h 420"/>
                <a:gd name="T80" fmla="*/ 21 w 482"/>
                <a:gd name="T81" fmla="*/ 161 h 420"/>
                <a:gd name="T82" fmla="*/ 5 w 482"/>
                <a:gd name="T83" fmla="*/ 122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2" h="420">
                  <a:moveTo>
                    <a:pt x="0" y="7"/>
                  </a:moveTo>
                  <a:lnTo>
                    <a:pt x="257" y="0"/>
                  </a:lnTo>
                  <a:lnTo>
                    <a:pt x="257" y="9"/>
                  </a:lnTo>
                  <a:lnTo>
                    <a:pt x="269" y="31"/>
                  </a:lnTo>
                  <a:lnTo>
                    <a:pt x="271" y="50"/>
                  </a:lnTo>
                  <a:lnTo>
                    <a:pt x="276" y="62"/>
                  </a:lnTo>
                  <a:lnTo>
                    <a:pt x="281" y="67"/>
                  </a:lnTo>
                  <a:lnTo>
                    <a:pt x="281" y="79"/>
                  </a:lnTo>
                  <a:lnTo>
                    <a:pt x="271" y="84"/>
                  </a:lnTo>
                  <a:lnTo>
                    <a:pt x="266" y="89"/>
                  </a:lnTo>
                  <a:lnTo>
                    <a:pt x="261" y="110"/>
                  </a:lnTo>
                  <a:lnTo>
                    <a:pt x="245" y="137"/>
                  </a:lnTo>
                  <a:lnTo>
                    <a:pt x="230" y="182"/>
                  </a:lnTo>
                  <a:lnTo>
                    <a:pt x="228" y="216"/>
                  </a:lnTo>
                  <a:lnTo>
                    <a:pt x="396" y="209"/>
                  </a:lnTo>
                  <a:lnTo>
                    <a:pt x="401" y="214"/>
                  </a:lnTo>
                  <a:lnTo>
                    <a:pt x="396" y="231"/>
                  </a:lnTo>
                  <a:lnTo>
                    <a:pt x="396" y="255"/>
                  </a:lnTo>
                  <a:lnTo>
                    <a:pt x="415" y="271"/>
                  </a:lnTo>
                  <a:lnTo>
                    <a:pt x="418" y="291"/>
                  </a:lnTo>
                  <a:lnTo>
                    <a:pt x="394" y="286"/>
                  </a:lnTo>
                  <a:lnTo>
                    <a:pt x="372" y="276"/>
                  </a:lnTo>
                  <a:lnTo>
                    <a:pt x="367" y="276"/>
                  </a:lnTo>
                  <a:lnTo>
                    <a:pt x="360" y="279"/>
                  </a:lnTo>
                  <a:lnTo>
                    <a:pt x="346" y="293"/>
                  </a:lnTo>
                  <a:lnTo>
                    <a:pt x="343" y="300"/>
                  </a:lnTo>
                  <a:lnTo>
                    <a:pt x="350" y="310"/>
                  </a:lnTo>
                  <a:lnTo>
                    <a:pt x="360" y="312"/>
                  </a:lnTo>
                  <a:lnTo>
                    <a:pt x="377" y="310"/>
                  </a:lnTo>
                  <a:lnTo>
                    <a:pt x="386" y="303"/>
                  </a:lnTo>
                  <a:lnTo>
                    <a:pt x="394" y="300"/>
                  </a:lnTo>
                  <a:lnTo>
                    <a:pt x="406" y="300"/>
                  </a:lnTo>
                  <a:lnTo>
                    <a:pt x="410" y="300"/>
                  </a:lnTo>
                  <a:lnTo>
                    <a:pt x="410" y="303"/>
                  </a:lnTo>
                  <a:lnTo>
                    <a:pt x="408" y="307"/>
                  </a:lnTo>
                  <a:lnTo>
                    <a:pt x="401" y="312"/>
                  </a:lnTo>
                  <a:lnTo>
                    <a:pt x="403" y="319"/>
                  </a:lnTo>
                  <a:lnTo>
                    <a:pt x="410" y="324"/>
                  </a:lnTo>
                  <a:lnTo>
                    <a:pt x="415" y="324"/>
                  </a:lnTo>
                  <a:lnTo>
                    <a:pt x="420" y="322"/>
                  </a:lnTo>
                  <a:lnTo>
                    <a:pt x="427" y="307"/>
                  </a:lnTo>
                  <a:lnTo>
                    <a:pt x="446" y="300"/>
                  </a:lnTo>
                  <a:lnTo>
                    <a:pt x="451" y="298"/>
                  </a:lnTo>
                  <a:lnTo>
                    <a:pt x="456" y="298"/>
                  </a:lnTo>
                  <a:lnTo>
                    <a:pt x="461" y="303"/>
                  </a:lnTo>
                  <a:lnTo>
                    <a:pt x="458" y="310"/>
                  </a:lnTo>
                  <a:lnTo>
                    <a:pt x="461" y="315"/>
                  </a:lnTo>
                  <a:lnTo>
                    <a:pt x="458" y="319"/>
                  </a:lnTo>
                  <a:lnTo>
                    <a:pt x="451" y="327"/>
                  </a:lnTo>
                  <a:lnTo>
                    <a:pt x="437" y="343"/>
                  </a:lnTo>
                  <a:lnTo>
                    <a:pt x="422" y="353"/>
                  </a:lnTo>
                  <a:lnTo>
                    <a:pt x="422" y="363"/>
                  </a:lnTo>
                  <a:lnTo>
                    <a:pt x="427" y="372"/>
                  </a:lnTo>
                  <a:lnTo>
                    <a:pt x="446" y="382"/>
                  </a:lnTo>
                  <a:lnTo>
                    <a:pt x="478" y="394"/>
                  </a:lnTo>
                  <a:lnTo>
                    <a:pt x="482" y="401"/>
                  </a:lnTo>
                  <a:lnTo>
                    <a:pt x="480" y="408"/>
                  </a:lnTo>
                  <a:lnTo>
                    <a:pt x="473" y="411"/>
                  </a:lnTo>
                  <a:lnTo>
                    <a:pt x="449" y="420"/>
                  </a:lnTo>
                  <a:lnTo>
                    <a:pt x="446" y="401"/>
                  </a:lnTo>
                  <a:lnTo>
                    <a:pt x="432" y="394"/>
                  </a:lnTo>
                  <a:lnTo>
                    <a:pt x="403" y="382"/>
                  </a:lnTo>
                  <a:lnTo>
                    <a:pt x="401" y="375"/>
                  </a:lnTo>
                  <a:lnTo>
                    <a:pt x="396" y="370"/>
                  </a:lnTo>
                  <a:lnTo>
                    <a:pt x="386" y="375"/>
                  </a:lnTo>
                  <a:lnTo>
                    <a:pt x="384" y="394"/>
                  </a:lnTo>
                  <a:lnTo>
                    <a:pt x="386" y="396"/>
                  </a:lnTo>
                  <a:lnTo>
                    <a:pt x="386" y="401"/>
                  </a:lnTo>
                  <a:lnTo>
                    <a:pt x="372" y="411"/>
                  </a:lnTo>
                  <a:lnTo>
                    <a:pt x="367" y="408"/>
                  </a:lnTo>
                  <a:lnTo>
                    <a:pt x="360" y="399"/>
                  </a:lnTo>
                  <a:lnTo>
                    <a:pt x="355" y="396"/>
                  </a:lnTo>
                  <a:lnTo>
                    <a:pt x="346" y="401"/>
                  </a:lnTo>
                  <a:lnTo>
                    <a:pt x="341" y="396"/>
                  </a:lnTo>
                  <a:lnTo>
                    <a:pt x="336" y="396"/>
                  </a:lnTo>
                  <a:lnTo>
                    <a:pt x="324" y="411"/>
                  </a:lnTo>
                  <a:lnTo>
                    <a:pt x="310" y="411"/>
                  </a:lnTo>
                  <a:lnTo>
                    <a:pt x="305" y="408"/>
                  </a:lnTo>
                  <a:lnTo>
                    <a:pt x="290" y="406"/>
                  </a:lnTo>
                  <a:lnTo>
                    <a:pt x="266" y="377"/>
                  </a:lnTo>
                  <a:lnTo>
                    <a:pt x="254" y="375"/>
                  </a:lnTo>
                  <a:lnTo>
                    <a:pt x="242" y="370"/>
                  </a:lnTo>
                  <a:lnTo>
                    <a:pt x="237" y="360"/>
                  </a:lnTo>
                  <a:lnTo>
                    <a:pt x="233" y="360"/>
                  </a:lnTo>
                  <a:lnTo>
                    <a:pt x="233" y="358"/>
                  </a:lnTo>
                  <a:lnTo>
                    <a:pt x="230" y="358"/>
                  </a:lnTo>
                  <a:lnTo>
                    <a:pt x="233" y="353"/>
                  </a:lnTo>
                  <a:lnTo>
                    <a:pt x="228" y="351"/>
                  </a:lnTo>
                  <a:lnTo>
                    <a:pt x="223" y="353"/>
                  </a:lnTo>
                  <a:lnTo>
                    <a:pt x="213" y="351"/>
                  </a:lnTo>
                  <a:lnTo>
                    <a:pt x="211" y="348"/>
                  </a:lnTo>
                  <a:lnTo>
                    <a:pt x="209" y="341"/>
                  </a:lnTo>
                  <a:lnTo>
                    <a:pt x="204" y="341"/>
                  </a:lnTo>
                  <a:lnTo>
                    <a:pt x="187" y="358"/>
                  </a:lnTo>
                  <a:lnTo>
                    <a:pt x="194" y="368"/>
                  </a:lnTo>
                  <a:lnTo>
                    <a:pt x="192" y="370"/>
                  </a:lnTo>
                  <a:lnTo>
                    <a:pt x="163" y="372"/>
                  </a:lnTo>
                  <a:lnTo>
                    <a:pt x="115" y="363"/>
                  </a:lnTo>
                  <a:lnTo>
                    <a:pt x="89" y="353"/>
                  </a:lnTo>
                  <a:lnTo>
                    <a:pt x="24" y="360"/>
                  </a:lnTo>
                  <a:lnTo>
                    <a:pt x="21" y="358"/>
                  </a:lnTo>
                  <a:lnTo>
                    <a:pt x="19" y="351"/>
                  </a:lnTo>
                  <a:lnTo>
                    <a:pt x="21" y="346"/>
                  </a:lnTo>
                  <a:lnTo>
                    <a:pt x="24" y="341"/>
                  </a:lnTo>
                  <a:lnTo>
                    <a:pt x="31" y="334"/>
                  </a:lnTo>
                  <a:lnTo>
                    <a:pt x="38" y="310"/>
                  </a:lnTo>
                  <a:lnTo>
                    <a:pt x="33" y="300"/>
                  </a:lnTo>
                  <a:lnTo>
                    <a:pt x="33" y="293"/>
                  </a:lnTo>
                  <a:lnTo>
                    <a:pt x="33" y="288"/>
                  </a:lnTo>
                  <a:lnTo>
                    <a:pt x="33" y="281"/>
                  </a:lnTo>
                  <a:lnTo>
                    <a:pt x="36" y="267"/>
                  </a:lnTo>
                  <a:lnTo>
                    <a:pt x="43" y="262"/>
                  </a:lnTo>
                  <a:lnTo>
                    <a:pt x="48" y="252"/>
                  </a:lnTo>
                  <a:lnTo>
                    <a:pt x="50" y="233"/>
                  </a:lnTo>
                  <a:lnTo>
                    <a:pt x="50" y="221"/>
                  </a:lnTo>
                  <a:lnTo>
                    <a:pt x="48" y="204"/>
                  </a:lnTo>
                  <a:lnTo>
                    <a:pt x="41" y="192"/>
                  </a:lnTo>
                  <a:lnTo>
                    <a:pt x="36" y="190"/>
                  </a:lnTo>
                  <a:lnTo>
                    <a:pt x="38" y="182"/>
                  </a:lnTo>
                  <a:lnTo>
                    <a:pt x="36" y="180"/>
                  </a:lnTo>
                  <a:lnTo>
                    <a:pt x="31" y="168"/>
                  </a:lnTo>
                  <a:lnTo>
                    <a:pt x="24" y="163"/>
                  </a:lnTo>
                  <a:lnTo>
                    <a:pt x="21" y="161"/>
                  </a:lnTo>
                  <a:lnTo>
                    <a:pt x="26" y="149"/>
                  </a:lnTo>
                  <a:lnTo>
                    <a:pt x="19" y="134"/>
                  </a:lnTo>
                  <a:lnTo>
                    <a:pt x="5" y="122"/>
                  </a:lnTo>
                  <a:lnTo>
                    <a:pt x="2" y="115"/>
                  </a:lnTo>
                  <a:lnTo>
                    <a:pt x="0" y="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4" name="Freeform 49"/>
            <p:cNvSpPr>
              <a:spLocks/>
            </p:cNvSpPr>
            <p:nvPr/>
          </p:nvSpPr>
          <p:spPr bwMode="auto">
            <a:xfrm>
              <a:off x="6167862" y="3697166"/>
              <a:ext cx="903288" cy="785812"/>
            </a:xfrm>
            <a:custGeom>
              <a:avLst/>
              <a:gdLst>
                <a:gd name="T0" fmla="*/ 478 w 569"/>
                <a:gd name="T1" fmla="*/ 438 h 495"/>
                <a:gd name="T2" fmla="*/ 485 w 569"/>
                <a:gd name="T3" fmla="*/ 447 h 495"/>
                <a:gd name="T4" fmla="*/ 488 w 569"/>
                <a:gd name="T5" fmla="*/ 466 h 495"/>
                <a:gd name="T6" fmla="*/ 466 w 569"/>
                <a:gd name="T7" fmla="*/ 486 h 495"/>
                <a:gd name="T8" fmla="*/ 521 w 569"/>
                <a:gd name="T9" fmla="*/ 491 h 495"/>
                <a:gd name="T10" fmla="*/ 524 w 569"/>
                <a:gd name="T11" fmla="*/ 469 h 495"/>
                <a:gd name="T12" fmla="*/ 536 w 569"/>
                <a:gd name="T13" fmla="*/ 435 h 495"/>
                <a:gd name="T14" fmla="*/ 552 w 569"/>
                <a:gd name="T15" fmla="*/ 423 h 495"/>
                <a:gd name="T16" fmla="*/ 560 w 569"/>
                <a:gd name="T17" fmla="*/ 421 h 495"/>
                <a:gd name="T18" fmla="*/ 567 w 569"/>
                <a:gd name="T19" fmla="*/ 385 h 495"/>
                <a:gd name="T20" fmla="*/ 560 w 569"/>
                <a:gd name="T21" fmla="*/ 380 h 495"/>
                <a:gd name="T22" fmla="*/ 555 w 569"/>
                <a:gd name="T23" fmla="*/ 375 h 495"/>
                <a:gd name="T24" fmla="*/ 550 w 569"/>
                <a:gd name="T25" fmla="*/ 380 h 495"/>
                <a:gd name="T26" fmla="*/ 528 w 569"/>
                <a:gd name="T27" fmla="*/ 351 h 495"/>
                <a:gd name="T28" fmla="*/ 536 w 569"/>
                <a:gd name="T29" fmla="*/ 342 h 495"/>
                <a:gd name="T30" fmla="*/ 528 w 569"/>
                <a:gd name="T31" fmla="*/ 327 h 495"/>
                <a:gd name="T32" fmla="*/ 500 w 569"/>
                <a:gd name="T33" fmla="*/ 289 h 495"/>
                <a:gd name="T34" fmla="*/ 464 w 569"/>
                <a:gd name="T35" fmla="*/ 269 h 495"/>
                <a:gd name="T36" fmla="*/ 444 w 569"/>
                <a:gd name="T37" fmla="*/ 243 h 495"/>
                <a:gd name="T38" fmla="*/ 464 w 569"/>
                <a:gd name="T39" fmla="*/ 219 h 495"/>
                <a:gd name="T40" fmla="*/ 466 w 569"/>
                <a:gd name="T41" fmla="*/ 190 h 495"/>
                <a:gd name="T42" fmla="*/ 442 w 569"/>
                <a:gd name="T43" fmla="*/ 173 h 495"/>
                <a:gd name="T44" fmla="*/ 428 w 569"/>
                <a:gd name="T45" fmla="*/ 183 h 495"/>
                <a:gd name="T46" fmla="*/ 408 w 569"/>
                <a:gd name="T47" fmla="*/ 142 h 495"/>
                <a:gd name="T48" fmla="*/ 377 w 569"/>
                <a:gd name="T49" fmla="*/ 116 h 495"/>
                <a:gd name="T50" fmla="*/ 351 w 569"/>
                <a:gd name="T51" fmla="*/ 80 h 495"/>
                <a:gd name="T52" fmla="*/ 343 w 569"/>
                <a:gd name="T53" fmla="*/ 41 h 495"/>
                <a:gd name="T54" fmla="*/ 348 w 569"/>
                <a:gd name="T55" fmla="*/ 27 h 495"/>
                <a:gd name="T56" fmla="*/ 0 w 569"/>
                <a:gd name="T57" fmla="*/ 12 h 495"/>
                <a:gd name="T58" fmla="*/ 14 w 569"/>
                <a:gd name="T59" fmla="*/ 29 h 495"/>
                <a:gd name="T60" fmla="*/ 29 w 569"/>
                <a:gd name="T61" fmla="*/ 58 h 495"/>
                <a:gd name="T62" fmla="*/ 31 w 569"/>
                <a:gd name="T63" fmla="*/ 72 h 495"/>
                <a:gd name="T64" fmla="*/ 67 w 569"/>
                <a:gd name="T65" fmla="*/ 101 h 495"/>
                <a:gd name="T66" fmla="*/ 53 w 569"/>
                <a:gd name="T67" fmla="*/ 130 h 495"/>
                <a:gd name="T68" fmla="*/ 70 w 569"/>
                <a:gd name="T69" fmla="*/ 140 h 495"/>
                <a:gd name="T70" fmla="*/ 82 w 569"/>
                <a:gd name="T71" fmla="*/ 164 h 495"/>
                <a:gd name="T72" fmla="*/ 94 w 569"/>
                <a:gd name="T73" fmla="*/ 168 h 495"/>
                <a:gd name="T74" fmla="*/ 98 w 569"/>
                <a:gd name="T75" fmla="*/ 45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9" h="495">
                  <a:moveTo>
                    <a:pt x="98" y="454"/>
                  </a:moveTo>
                  <a:lnTo>
                    <a:pt x="478" y="438"/>
                  </a:lnTo>
                  <a:lnTo>
                    <a:pt x="478" y="442"/>
                  </a:lnTo>
                  <a:lnTo>
                    <a:pt x="485" y="447"/>
                  </a:lnTo>
                  <a:lnTo>
                    <a:pt x="488" y="457"/>
                  </a:lnTo>
                  <a:lnTo>
                    <a:pt x="488" y="466"/>
                  </a:lnTo>
                  <a:lnTo>
                    <a:pt x="476" y="476"/>
                  </a:lnTo>
                  <a:lnTo>
                    <a:pt x="466" y="486"/>
                  </a:lnTo>
                  <a:lnTo>
                    <a:pt x="464" y="495"/>
                  </a:lnTo>
                  <a:lnTo>
                    <a:pt x="521" y="491"/>
                  </a:lnTo>
                  <a:lnTo>
                    <a:pt x="526" y="474"/>
                  </a:lnTo>
                  <a:lnTo>
                    <a:pt x="524" y="469"/>
                  </a:lnTo>
                  <a:lnTo>
                    <a:pt x="528" y="450"/>
                  </a:lnTo>
                  <a:lnTo>
                    <a:pt x="536" y="435"/>
                  </a:lnTo>
                  <a:lnTo>
                    <a:pt x="540" y="428"/>
                  </a:lnTo>
                  <a:lnTo>
                    <a:pt x="552" y="423"/>
                  </a:lnTo>
                  <a:lnTo>
                    <a:pt x="555" y="426"/>
                  </a:lnTo>
                  <a:lnTo>
                    <a:pt x="560" y="421"/>
                  </a:lnTo>
                  <a:lnTo>
                    <a:pt x="569" y="394"/>
                  </a:lnTo>
                  <a:lnTo>
                    <a:pt x="567" y="385"/>
                  </a:lnTo>
                  <a:lnTo>
                    <a:pt x="562" y="380"/>
                  </a:lnTo>
                  <a:lnTo>
                    <a:pt x="560" y="380"/>
                  </a:lnTo>
                  <a:lnTo>
                    <a:pt x="557" y="378"/>
                  </a:lnTo>
                  <a:lnTo>
                    <a:pt x="555" y="375"/>
                  </a:lnTo>
                  <a:lnTo>
                    <a:pt x="550" y="375"/>
                  </a:lnTo>
                  <a:lnTo>
                    <a:pt x="550" y="380"/>
                  </a:lnTo>
                  <a:lnTo>
                    <a:pt x="545" y="380"/>
                  </a:lnTo>
                  <a:lnTo>
                    <a:pt x="528" y="351"/>
                  </a:lnTo>
                  <a:lnTo>
                    <a:pt x="528" y="346"/>
                  </a:lnTo>
                  <a:lnTo>
                    <a:pt x="536" y="342"/>
                  </a:lnTo>
                  <a:lnTo>
                    <a:pt x="536" y="337"/>
                  </a:lnTo>
                  <a:lnTo>
                    <a:pt x="528" y="327"/>
                  </a:lnTo>
                  <a:lnTo>
                    <a:pt x="524" y="308"/>
                  </a:lnTo>
                  <a:lnTo>
                    <a:pt x="500" y="289"/>
                  </a:lnTo>
                  <a:lnTo>
                    <a:pt x="488" y="284"/>
                  </a:lnTo>
                  <a:lnTo>
                    <a:pt x="464" y="269"/>
                  </a:lnTo>
                  <a:lnTo>
                    <a:pt x="449" y="255"/>
                  </a:lnTo>
                  <a:lnTo>
                    <a:pt x="444" y="243"/>
                  </a:lnTo>
                  <a:lnTo>
                    <a:pt x="447" y="236"/>
                  </a:lnTo>
                  <a:lnTo>
                    <a:pt x="464" y="219"/>
                  </a:lnTo>
                  <a:lnTo>
                    <a:pt x="461" y="202"/>
                  </a:lnTo>
                  <a:lnTo>
                    <a:pt x="466" y="190"/>
                  </a:lnTo>
                  <a:lnTo>
                    <a:pt x="461" y="183"/>
                  </a:lnTo>
                  <a:lnTo>
                    <a:pt x="442" y="173"/>
                  </a:lnTo>
                  <a:lnTo>
                    <a:pt x="435" y="176"/>
                  </a:lnTo>
                  <a:lnTo>
                    <a:pt x="428" y="183"/>
                  </a:lnTo>
                  <a:lnTo>
                    <a:pt x="423" y="180"/>
                  </a:lnTo>
                  <a:lnTo>
                    <a:pt x="408" y="142"/>
                  </a:lnTo>
                  <a:lnTo>
                    <a:pt x="401" y="135"/>
                  </a:lnTo>
                  <a:lnTo>
                    <a:pt x="377" y="116"/>
                  </a:lnTo>
                  <a:lnTo>
                    <a:pt x="353" y="87"/>
                  </a:lnTo>
                  <a:lnTo>
                    <a:pt x="351" y="80"/>
                  </a:lnTo>
                  <a:lnTo>
                    <a:pt x="346" y="63"/>
                  </a:lnTo>
                  <a:lnTo>
                    <a:pt x="343" y="41"/>
                  </a:lnTo>
                  <a:lnTo>
                    <a:pt x="348" y="29"/>
                  </a:lnTo>
                  <a:lnTo>
                    <a:pt x="348" y="27"/>
                  </a:lnTo>
                  <a:lnTo>
                    <a:pt x="324" y="0"/>
                  </a:lnTo>
                  <a:lnTo>
                    <a:pt x="0" y="12"/>
                  </a:lnTo>
                  <a:lnTo>
                    <a:pt x="5" y="22"/>
                  </a:lnTo>
                  <a:lnTo>
                    <a:pt x="14" y="29"/>
                  </a:lnTo>
                  <a:lnTo>
                    <a:pt x="17" y="43"/>
                  </a:lnTo>
                  <a:lnTo>
                    <a:pt x="29" y="58"/>
                  </a:lnTo>
                  <a:lnTo>
                    <a:pt x="34" y="60"/>
                  </a:lnTo>
                  <a:lnTo>
                    <a:pt x="31" y="72"/>
                  </a:lnTo>
                  <a:lnTo>
                    <a:pt x="31" y="75"/>
                  </a:lnTo>
                  <a:lnTo>
                    <a:pt x="67" y="101"/>
                  </a:lnTo>
                  <a:lnTo>
                    <a:pt x="55" y="116"/>
                  </a:lnTo>
                  <a:lnTo>
                    <a:pt x="53" y="130"/>
                  </a:lnTo>
                  <a:lnTo>
                    <a:pt x="60" y="135"/>
                  </a:lnTo>
                  <a:lnTo>
                    <a:pt x="70" y="140"/>
                  </a:lnTo>
                  <a:lnTo>
                    <a:pt x="74" y="159"/>
                  </a:lnTo>
                  <a:lnTo>
                    <a:pt x="82" y="164"/>
                  </a:lnTo>
                  <a:lnTo>
                    <a:pt x="91" y="166"/>
                  </a:lnTo>
                  <a:lnTo>
                    <a:pt x="94" y="168"/>
                  </a:lnTo>
                  <a:lnTo>
                    <a:pt x="96" y="402"/>
                  </a:lnTo>
                  <a:lnTo>
                    <a:pt x="98" y="454"/>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5" name="Freeform 50"/>
            <p:cNvSpPr>
              <a:spLocks/>
            </p:cNvSpPr>
            <p:nvPr/>
          </p:nvSpPr>
          <p:spPr bwMode="auto">
            <a:xfrm>
              <a:off x="6056737" y="3197104"/>
              <a:ext cx="815975" cy="542925"/>
            </a:xfrm>
            <a:custGeom>
              <a:avLst/>
              <a:gdLst>
                <a:gd name="T0" fmla="*/ 418 w 514"/>
                <a:gd name="T1" fmla="*/ 0 h 342"/>
                <a:gd name="T2" fmla="*/ 430 w 514"/>
                <a:gd name="T3" fmla="*/ 24 h 342"/>
                <a:gd name="T4" fmla="*/ 423 w 514"/>
                <a:gd name="T5" fmla="*/ 41 h 342"/>
                <a:gd name="T6" fmla="*/ 435 w 514"/>
                <a:gd name="T7" fmla="*/ 82 h 342"/>
                <a:gd name="T8" fmla="*/ 469 w 514"/>
                <a:gd name="T9" fmla="*/ 99 h 342"/>
                <a:gd name="T10" fmla="*/ 473 w 514"/>
                <a:gd name="T11" fmla="*/ 113 h 342"/>
                <a:gd name="T12" fmla="*/ 493 w 514"/>
                <a:gd name="T13" fmla="*/ 135 h 342"/>
                <a:gd name="T14" fmla="*/ 514 w 514"/>
                <a:gd name="T15" fmla="*/ 164 h 342"/>
                <a:gd name="T16" fmla="*/ 507 w 514"/>
                <a:gd name="T17" fmla="*/ 183 h 342"/>
                <a:gd name="T18" fmla="*/ 502 w 514"/>
                <a:gd name="T19" fmla="*/ 197 h 342"/>
                <a:gd name="T20" fmla="*/ 473 w 514"/>
                <a:gd name="T21" fmla="*/ 217 h 342"/>
                <a:gd name="T22" fmla="*/ 454 w 514"/>
                <a:gd name="T23" fmla="*/ 222 h 342"/>
                <a:gd name="T24" fmla="*/ 440 w 514"/>
                <a:gd name="T25" fmla="*/ 238 h 342"/>
                <a:gd name="T26" fmla="*/ 452 w 514"/>
                <a:gd name="T27" fmla="*/ 258 h 342"/>
                <a:gd name="T28" fmla="*/ 452 w 514"/>
                <a:gd name="T29" fmla="*/ 279 h 342"/>
                <a:gd name="T30" fmla="*/ 428 w 514"/>
                <a:gd name="T31" fmla="*/ 315 h 342"/>
                <a:gd name="T32" fmla="*/ 423 w 514"/>
                <a:gd name="T33" fmla="*/ 332 h 342"/>
                <a:gd name="T34" fmla="*/ 394 w 514"/>
                <a:gd name="T35" fmla="*/ 315 h 342"/>
                <a:gd name="T36" fmla="*/ 65 w 514"/>
                <a:gd name="T37" fmla="*/ 322 h 342"/>
                <a:gd name="T38" fmla="*/ 65 w 514"/>
                <a:gd name="T39" fmla="*/ 301 h 342"/>
                <a:gd name="T40" fmla="*/ 58 w 514"/>
                <a:gd name="T41" fmla="*/ 284 h 342"/>
                <a:gd name="T42" fmla="*/ 60 w 514"/>
                <a:gd name="T43" fmla="*/ 267 h 342"/>
                <a:gd name="T44" fmla="*/ 51 w 514"/>
                <a:gd name="T45" fmla="*/ 246 h 342"/>
                <a:gd name="T46" fmla="*/ 51 w 514"/>
                <a:gd name="T47" fmla="*/ 226 h 342"/>
                <a:gd name="T48" fmla="*/ 36 w 514"/>
                <a:gd name="T49" fmla="*/ 209 h 342"/>
                <a:gd name="T50" fmla="*/ 32 w 514"/>
                <a:gd name="T51" fmla="*/ 193 h 342"/>
                <a:gd name="T52" fmla="*/ 17 w 514"/>
                <a:gd name="T53" fmla="*/ 169 h 342"/>
                <a:gd name="T54" fmla="*/ 22 w 514"/>
                <a:gd name="T55" fmla="*/ 145 h 342"/>
                <a:gd name="T56" fmla="*/ 12 w 514"/>
                <a:gd name="T57" fmla="*/ 128 h 342"/>
                <a:gd name="T58" fmla="*/ 10 w 514"/>
                <a:gd name="T59" fmla="*/ 113 h 342"/>
                <a:gd name="T60" fmla="*/ 10 w 514"/>
                <a:gd name="T61" fmla="*/ 75 h 342"/>
                <a:gd name="T62" fmla="*/ 15 w 514"/>
                <a:gd name="T63" fmla="*/ 60 h 342"/>
                <a:gd name="T64" fmla="*/ 5 w 514"/>
                <a:gd name="T65" fmla="*/ 39 h 342"/>
                <a:gd name="T66" fmla="*/ 5 w 514"/>
                <a:gd name="T67" fmla="*/ 22 h 342"/>
                <a:gd name="T68" fmla="*/ 10 w 514"/>
                <a:gd name="T69" fmla="*/ 15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4" h="342">
                  <a:moveTo>
                    <a:pt x="15" y="15"/>
                  </a:moveTo>
                  <a:lnTo>
                    <a:pt x="418" y="0"/>
                  </a:lnTo>
                  <a:lnTo>
                    <a:pt x="421" y="15"/>
                  </a:lnTo>
                  <a:lnTo>
                    <a:pt x="430" y="24"/>
                  </a:lnTo>
                  <a:lnTo>
                    <a:pt x="430" y="29"/>
                  </a:lnTo>
                  <a:lnTo>
                    <a:pt x="423" y="41"/>
                  </a:lnTo>
                  <a:lnTo>
                    <a:pt x="428" y="53"/>
                  </a:lnTo>
                  <a:lnTo>
                    <a:pt x="435" y="82"/>
                  </a:lnTo>
                  <a:lnTo>
                    <a:pt x="461" y="92"/>
                  </a:lnTo>
                  <a:lnTo>
                    <a:pt x="469" y="99"/>
                  </a:lnTo>
                  <a:lnTo>
                    <a:pt x="471" y="109"/>
                  </a:lnTo>
                  <a:lnTo>
                    <a:pt x="473" y="113"/>
                  </a:lnTo>
                  <a:lnTo>
                    <a:pt x="490" y="125"/>
                  </a:lnTo>
                  <a:lnTo>
                    <a:pt x="493" y="135"/>
                  </a:lnTo>
                  <a:lnTo>
                    <a:pt x="507" y="145"/>
                  </a:lnTo>
                  <a:lnTo>
                    <a:pt x="514" y="164"/>
                  </a:lnTo>
                  <a:lnTo>
                    <a:pt x="512" y="171"/>
                  </a:lnTo>
                  <a:lnTo>
                    <a:pt x="507" y="183"/>
                  </a:lnTo>
                  <a:lnTo>
                    <a:pt x="502" y="188"/>
                  </a:lnTo>
                  <a:lnTo>
                    <a:pt x="502" y="197"/>
                  </a:lnTo>
                  <a:lnTo>
                    <a:pt x="488" y="214"/>
                  </a:lnTo>
                  <a:lnTo>
                    <a:pt x="473" y="217"/>
                  </a:lnTo>
                  <a:lnTo>
                    <a:pt x="471" y="222"/>
                  </a:lnTo>
                  <a:lnTo>
                    <a:pt x="454" y="222"/>
                  </a:lnTo>
                  <a:lnTo>
                    <a:pt x="447" y="226"/>
                  </a:lnTo>
                  <a:lnTo>
                    <a:pt x="440" y="238"/>
                  </a:lnTo>
                  <a:lnTo>
                    <a:pt x="442" y="248"/>
                  </a:lnTo>
                  <a:lnTo>
                    <a:pt x="452" y="258"/>
                  </a:lnTo>
                  <a:lnTo>
                    <a:pt x="454" y="265"/>
                  </a:lnTo>
                  <a:lnTo>
                    <a:pt x="452" y="279"/>
                  </a:lnTo>
                  <a:lnTo>
                    <a:pt x="440" y="306"/>
                  </a:lnTo>
                  <a:lnTo>
                    <a:pt x="428" y="315"/>
                  </a:lnTo>
                  <a:lnTo>
                    <a:pt x="423" y="322"/>
                  </a:lnTo>
                  <a:lnTo>
                    <a:pt x="423" y="332"/>
                  </a:lnTo>
                  <a:lnTo>
                    <a:pt x="418" y="342"/>
                  </a:lnTo>
                  <a:lnTo>
                    <a:pt x="394" y="315"/>
                  </a:lnTo>
                  <a:lnTo>
                    <a:pt x="70" y="327"/>
                  </a:lnTo>
                  <a:lnTo>
                    <a:pt x="65" y="322"/>
                  </a:lnTo>
                  <a:lnTo>
                    <a:pt x="63" y="310"/>
                  </a:lnTo>
                  <a:lnTo>
                    <a:pt x="65" y="301"/>
                  </a:lnTo>
                  <a:lnTo>
                    <a:pt x="60" y="294"/>
                  </a:lnTo>
                  <a:lnTo>
                    <a:pt x="58" y="284"/>
                  </a:lnTo>
                  <a:lnTo>
                    <a:pt x="63" y="277"/>
                  </a:lnTo>
                  <a:lnTo>
                    <a:pt x="60" y="267"/>
                  </a:lnTo>
                  <a:lnTo>
                    <a:pt x="48" y="262"/>
                  </a:lnTo>
                  <a:lnTo>
                    <a:pt x="51" y="246"/>
                  </a:lnTo>
                  <a:lnTo>
                    <a:pt x="56" y="236"/>
                  </a:lnTo>
                  <a:lnTo>
                    <a:pt x="51" y="226"/>
                  </a:lnTo>
                  <a:lnTo>
                    <a:pt x="41" y="219"/>
                  </a:lnTo>
                  <a:lnTo>
                    <a:pt x="36" y="209"/>
                  </a:lnTo>
                  <a:lnTo>
                    <a:pt x="41" y="202"/>
                  </a:lnTo>
                  <a:lnTo>
                    <a:pt x="32" y="193"/>
                  </a:lnTo>
                  <a:lnTo>
                    <a:pt x="27" y="176"/>
                  </a:lnTo>
                  <a:lnTo>
                    <a:pt x="17" y="169"/>
                  </a:lnTo>
                  <a:lnTo>
                    <a:pt x="22" y="152"/>
                  </a:lnTo>
                  <a:lnTo>
                    <a:pt x="22" y="145"/>
                  </a:lnTo>
                  <a:lnTo>
                    <a:pt x="12" y="137"/>
                  </a:lnTo>
                  <a:lnTo>
                    <a:pt x="12" y="128"/>
                  </a:lnTo>
                  <a:lnTo>
                    <a:pt x="12" y="125"/>
                  </a:lnTo>
                  <a:lnTo>
                    <a:pt x="10" y="113"/>
                  </a:lnTo>
                  <a:lnTo>
                    <a:pt x="0" y="94"/>
                  </a:lnTo>
                  <a:lnTo>
                    <a:pt x="10" y="75"/>
                  </a:lnTo>
                  <a:lnTo>
                    <a:pt x="8" y="65"/>
                  </a:lnTo>
                  <a:lnTo>
                    <a:pt x="15" y="60"/>
                  </a:lnTo>
                  <a:lnTo>
                    <a:pt x="10" y="44"/>
                  </a:lnTo>
                  <a:lnTo>
                    <a:pt x="5" y="39"/>
                  </a:lnTo>
                  <a:lnTo>
                    <a:pt x="10" y="27"/>
                  </a:lnTo>
                  <a:lnTo>
                    <a:pt x="5" y="22"/>
                  </a:lnTo>
                  <a:lnTo>
                    <a:pt x="3" y="15"/>
                  </a:lnTo>
                  <a:lnTo>
                    <a:pt x="10" y="15"/>
                  </a:lnTo>
                  <a:lnTo>
                    <a:pt x="15" y="1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6" name="Freeform 51"/>
            <p:cNvSpPr>
              <a:spLocks/>
            </p:cNvSpPr>
            <p:nvPr/>
          </p:nvSpPr>
          <p:spPr bwMode="auto">
            <a:xfrm>
              <a:off x="5993237" y="2220791"/>
              <a:ext cx="887413" cy="1000125"/>
            </a:xfrm>
            <a:custGeom>
              <a:avLst/>
              <a:gdLst>
                <a:gd name="T0" fmla="*/ 55 w 559"/>
                <a:gd name="T1" fmla="*/ 435 h 630"/>
                <a:gd name="T2" fmla="*/ 26 w 559"/>
                <a:gd name="T3" fmla="*/ 399 h 630"/>
                <a:gd name="T4" fmla="*/ 45 w 559"/>
                <a:gd name="T5" fmla="*/ 373 h 630"/>
                <a:gd name="T6" fmla="*/ 43 w 559"/>
                <a:gd name="T7" fmla="*/ 349 h 630"/>
                <a:gd name="T8" fmla="*/ 33 w 559"/>
                <a:gd name="T9" fmla="*/ 296 h 630"/>
                <a:gd name="T10" fmla="*/ 31 w 559"/>
                <a:gd name="T11" fmla="*/ 269 h 630"/>
                <a:gd name="T12" fmla="*/ 26 w 559"/>
                <a:gd name="T13" fmla="*/ 204 h 630"/>
                <a:gd name="T14" fmla="*/ 12 w 559"/>
                <a:gd name="T15" fmla="*/ 164 h 630"/>
                <a:gd name="T16" fmla="*/ 4 w 559"/>
                <a:gd name="T17" fmla="*/ 99 h 630"/>
                <a:gd name="T18" fmla="*/ 9 w 559"/>
                <a:gd name="T19" fmla="*/ 72 h 630"/>
                <a:gd name="T20" fmla="*/ 0 w 559"/>
                <a:gd name="T21" fmla="*/ 39 h 630"/>
                <a:gd name="T22" fmla="*/ 146 w 559"/>
                <a:gd name="T23" fmla="*/ 15 h 630"/>
                <a:gd name="T24" fmla="*/ 158 w 559"/>
                <a:gd name="T25" fmla="*/ 0 h 630"/>
                <a:gd name="T26" fmla="*/ 175 w 559"/>
                <a:gd name="T27" fmla="*/ 29 h 630"/>
                <a:gd name="T28" fmla="*/ 180 w 559"/>
                <a:gd name="T29" fmla="*/ 60 h 630"/>
                <a:gd name="T30" fmla="*/ 201 w 559"/>
                <a:gd name="T31" fmla="*/ 70 h 630"/>
                <a:gd name="T32" fmla="*/ 216 w 559"/>
                <a:gd name="T33" fmla="*/ 77 h 630"/>
                <a:gd name="T34" fmla="*/ 242 w 559"/>
                <a:gd name="T35" fmla="*/ 77 h 630"/>
                <a:gd name="T36" fmla="*/ 247 w 559"/>
                <a:gd name="T37" fmla="*/ 87 h 630"/>
                <a:gd name="T38" fmla="*/ 273 w 559"/>
                <a:gd name="T39" fmla="*/ 77 h 630"/>
                <a:gd name="T40" fmla="*/ 324 w 559"/>
                <a:gd name="T41" fmla="*/ 82 h 630"/>
                <a:gd name="T42" fmla="*/ 326 w 559"/>
                <a:gd name="T43" fmla="*/ 89 h 630"/>
                <a:gd name="T44" fmla="*/ 336 w 559"/>
                <a:gd name="T45" fmla="*/ 91 h 630"/>
                <a:gd name="T46" fmla="*/ 343 w 559"/>
                <a:gd name="T47" fmla="*/ 111 h 630"/>
                <a:gd name="T48" fmla="*/ 360 w 559"/>
                <a:gd name="T49" fmla="*/ 103 h 630"/>
                <a:gd name="T50" fmla="*/ 372 w 559"/>
                <a:gd name="T51" fmla="*/ 103 h 630"/>
                <a:gd name="T52" fmla="*/ 393 w 559"/>
                <a:gd name="T53" fmla="*/ 118 h 630"/>
                <a:gd name="T54" fmla="*/ 405 w 559"/>
                <a:gd name="T55" fmla="*/ 132 h 630"/>
                <a:gd name="T56" fmla="*/ 427 w 559"/>
                <a:gd name="T57" fmla="*/ 127 h 630"/>
                <a:gd name="T58" fmla="*/ 461 w 559"/>
                <a:gd name="T59" fmla="*/ 111 h 630"/>
                <a:gd name="T60" fmla="*/ 509 w 559"/>
                <a:gd name="T61" fmla="*/ 120 h 630"/>
                <a:gd name="T62" fmla="*/ 521 w 559"/>
                <a:gd name="T63" fmla="*/ 125 h 630"/>
                <a:gd name="T64" fmla="*/ 542 w 559"/>
                <a:gd name="T65" fmla="*/ 127 h 630"/>
                <a:gd name="T66" fmla="*/ 550 w 559"/>
                <a:gd name="T67" fmla="*/ 137 h 630"/>
                <a:gd name="T68" fmla="*/ 511 w 559"/>
                <a:gd name="T69" fmla="*/ 156 h 630"/>
                <a:gd name="T70" fmla="*/ 489 w 559"/>
                <a:gd name="T71" fmla="*/ 171 h 630"/>
                <a:gd name="T72" fmla="*/ 458 w 559"/>
                <a:gd name="T73" fmla="*/ 188 h 630"/>
                <a:gd name="T74" fmla="*/ 374 w 559"/>
                <a:gd name="T75" fmla="*/ 272 h 630"/>
                <a:gd name="T76" fmla="*/ 362 w 559"/>
                <a:gd name="T77" fmla="*/ 284 h 630"/>
                <a:gd name="T78" fmla="*/ 357 w 559"/>
                <a:gd name="T79" fmla="*/ 349 h 630"/>
                <a:gd name="T80" fmla="*/ 331 w 559"/>
                <a:gd name="T81" fmla="*/ 370 h 630"/>
                <a:gd name="T82" fmla="*/ 326 w 559"/>
                <a:gd name="T83" fmla="*/ 382 h 630"/>
                <a:gd name="T84" fmla="*/ 333 w 559"/>
                <a:gd name="T85" fmla="*/ 404 h 630"/>
                <a:gd name="T86" fmla="*/ 333 w 559"/>
                <a:gd name="T87" fmla="*/ 430 h 630"/>
                <a:gd name="T88" fmla="*/ 333 w 559"/>
                <a:gd name="T89" fmla="*/ 459 h 630"/>
                <a:gd name="T90" fmla="*/ 336 w 559"/>
                <a:gd name="T91" fmla="*/ 493 h 630"/>
                <a:gd name="T92" fmla="*/ 348 w 559"/>
                <a:gd name="T93" fmla="*/ 505 h 630"/>
                <a:gd name="T94" fmla="*/ 369 w 559"/>
                <a:gd name="T95" fmla="*/ 510 h 630"/>
                <a:gd name="T96" fmla="*/ 377 w 559"/>
                <a:gd name="T97" fmla="*/ 519 h 630"/>
                <a:gd name="T98" fmla="*/ 408 w 559"/>
                <a:gd name="T99" fmla="*/ 546 h 630"/>
                <a:gd name="T100" fmla="*/ 453 w 559"/>
                <a:gd name="T101" fmla="*/ 577 h 630"/>
                <a:gd name="T102" fmla="*/ 456 w 559"/>
                <a:gd name="T103" fmla="*/ 596 h 630"/>
                <a:gd name="T104" fmla="*/ 55 w 559"/>
                <a:gd name="T10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9" h="630">
                  <a:moveTo>
                    <a:pt x="55" y="630"/>
                  </a:moveTo>
                  <a:lnTo>
                    <a:pt x="55" y="435"/>
                  </a:lnTo>
                  <a:lnTo>
                    <a:pt x="26" y="409"/>
                  </a:lnTo>
                  <a:lnTo>
                    <a:pt x="26" y="399"/>
                  </a:lnTo>
                  <a:lnTo>
                    <a:pt x="40" y="385"/>
                  </a:lnTo>
                  <a:lnTo>
                    <a:pt x="45" y="373"/>
                  </a:lnTo>
                  <a:lnTo>
                    <a:pt x="43" y="365"/>
                  </a:lnTo>
                  <a:lnTo>
                    <a:pt x="43" y="349"/>
                  </a:lnTo>
                  <a:lnTo>
                    <a:pt x="45" y="334"/>
                  </a:lnTo>
                  <a:lnTo>
                    <a:pt x="33" y="296"/>
                  </a:lnTo>
                  <a:lnTo>
                    <a:pt x="31" y="289"/>
                  </a:lnTo>
                  <a:lnTo>
                    <a:pt x="31" y="269"/>
                  </a:lnTo>
                  <a:lnTo>
                    <a:pt x="28" y="257"/>
                  </a:lnTo>
                  <a:lnTo>
                    <a:pt x="26" y="204"/>
                  </a:lnTo>
                  <a:lnTo>
                    <a:pt x="21" y="173"/>
                  </a:lnTo>
                  <a:lnTo>
                    <a:pt x="12" y="164"/>
                  </a:lnTo>
                  <a:lnTo>
                    <a:pt x="4" y="127"/>
                  </a:lnTo>
                  <a:lnTo>
                    <a:pt x="4" y="99"/>
                  </a:lnTo>
                  <a:lnTo>
                    <a:pt x="7" y="82"/>
                  </a:lnTo>
                  <a:lnTo>
                    <a:pt x="9" y="72"/>
                  </a:lnTo>
                  <a:lnTo>
                    <a:pt x="2" y="48"/>
                  </a:lnTo>
                  <a:lnTo>
                    <a:pt x="0" y="39"/>
                  </a:lnTo>
                  <a:lnTo>
                    <a:pt x="146" y="39"/>
                  </a:lnTo>
                  <a:lnTo>
                    <a:pt x="146" y="15"/>
                  </a:lnTo>
                  <a:lnTo>
                    <a:pt x="148" y="0"/>
                  </a:lnTo>
                  <a:lnTo>
                    <a:pt x="158" y="0"/>
                  </a:lnTo>
                  <a:lnTo>
                    <a:pt x="175" y="5"/>
                  </a:lnTo>
                  <a:lnTo>
                    <a:pt x="175" y="29"/>
                  </a:lnTo>
                  <a:lnTo>
                    <a:pt x="180" y="46"/>
                  </a:lnTo>
                  <a:lnTo>
                    <a:pt x="180" y="60"/>
                  </a:lnTo>
                  <a:lnTo>
                    <a:pt x="194" y="72"/>
                  </a:lnTo>
                  <a:lnTo>
                    <a:pt x="201" y="70"/>
                  </a:lnTo>
                  <a:lnTo>
                    <a:pt x="211" y="72"/>
                  </a:lnTo>
                  <a:lnTo>
                    <a:pt x="216" y="77"/>
                  </a:lnTo>
                  <a:lnTo>
                    <a:pt x="230" y="75"/>
                  </a:lnTo>
                  <a:lnTo>
                    <a:pt x="242" y="77"/>
                  </a:lnTo>
                  <a:lnTo>
                    <a:pt x="247" y="84"/>
                  </a:lnTo>
                  <a:lnTo>
                    <a:pt x="247" y="87"/>
                  </a:lnTo>
                  <a:lnTo>
                    <a:pt x="266" y="87"/>
                  </a:lnTo>
                  <a:lnTo>
                    <a:pt x="273" y="77"/>
                  </a:lnTo>
                  <a:lnTo>
                    <a:pt x="305" y="77"/>
                  </a:lnTo>
                  <a:lnTo>
                    <a:pt x="324" y="82"/>
                  </a:lnTo>
                  <a:lnTo>
                    <a:pt x="331" y="82"/>
                  </a:lnTo>
                  <a:lnTo>
                    <a:pt x="326" y="89"/>
                  </a:lnTo>
                  <a:lnTo>
                    <a:pt x="333" y="94"/>
                  </a:lnTo>
                  <a:lnTo>
                    <a:pt x="336" y="91"/>
                  </a:lnTo>
                  <a:lnTo>
                    <a:pt x="341" y="96"/>
                  </a:lnTo>
                  <a:lnTo>
                    <a:pt x="343" y="111"/>
                  </a:lnTo>
                  <a:lnTo>
                    <a:pt x="350" y="115"/>
                  </a:lnTo>
                  <a:lnTo>
                    <a:pt x="360" y="103"/>
                  </a:lnTo>
                  <a:lnTo>
                    <a:pt x="365" y="101"/>
                  </a:lnTo>
                  <a:lnTo>
                    <a:pt x="372" y="103"/>
                  </a:lnTo>
                  <a:lnTo>
                    <a:pt x="377" y="115"/>
                  </a:lnTo>
                  <a:lnTo>
                    <a:pt x="393" y="118"/>
                  </a:lnTo>
                  <a:lnTo>
                    <a:pt x="398" y="125"/>
                  </a:lnTo>
                  <a:lnTo>
                    <a:pt x="405" y="132"/>
                  </a:lnTo>
                  <a:lnTo>
                    <a:pt x="417" y="132"/>
                  </a:lnTo>
                  <a:lnTo>
                    <a:pt x="427" y="127"/>
                  </a:lnTo>
                  <a:lnTo>
                    <a:pt x="456" y="108"/>
                  </a:lnTo>
                  <a:lnTo>
                    <a:pt x="461" y="111"/>
                  </a:lnTo>
                  <a:lnTo>
                    <a:pt x="468" y="120"/>
                  </a:lnTo>
                  <a:lnTo>
                    <a:pt x="509" y="120"/>
                  </a:lnTo>
                  <a:lnTo>
                    <a:pt x="516" y="123"/>
                  </a:lnTo>
                  <a:lnTo>
                    <a:pt x="521" y="125"/>
                  </a:lnTo>
                  <a:lnTo>
                    <a:pt x="533" y="132"/>
                  </a:lnTo>
                  <a:lnTo>
                    <a:pt x="542" y="127"/>
                  </a:lnTo>
                  <a:lnTo>
                    <a:pt x="559" y="127"/>
                  </a:lnTo>
                  <a:lnTo>
                    <a:pt x="550" y="137"/>
                  </a:lnTo>
                  <a:lnTo>
                    <a:pt x="525" y="152"/>
                  </a:lnTo>
                  <a:lnTo>
                    <a:pt x="511" y="156"/>
                  </a:lnTo>
                  <a:lnTo>
                    <a:pt x="501" y="159"/>
                  </a:lnTo>
                  <a:lnTo>
                    <a:pt x="489" y="171"/>
                  </a:lnTo>
                  <a:lnTo>
                    <a:pt x="468" y="180"/>
                  </a:lnTo>
                  <a:lnTo>
                    <a:pt x="458" y="188"/>
                  </a:lnTo>
                  <a:lnTo>
                    <a:pt x="425" y="226"/>
                  </a:lnTo>
                  <a:lnTo>
                    <a:pt x="374" y="272"/>
                  </a:lnTo>
                  <a:lnTo>
                    <a:pt x="367" y="279"/>
                  </a:lnTo>
                  <a:lnTo>
                    <a:pt x="362" y="284"/>
                  </a:lnTo>
                  <a:lnTo>
                    <a:pt x="365" y="344"/>
                  </a:lnTo>
                  <a:lnTo>
                    <a:pt x="357" y="349"/>
                  </a:lnTo>
                  <a:lnTo>
                    <a:pt x="353" y="353"/>
                  </a:lnTo>
                  <a:lnTo>
                    <a:pt x="331" y="370"/>
                  </a:lnTo>
                  <a:lnTo>
                    <a:pt x="329" y="380"/>
                  </a:lnTo>
                  <a:lnTo>
                    <a:pt x="326" y="382"/>
                  </a:lnTo>
                  <a:lnTo>
                    <a:pt x="321" y="399"/>
                  </a:lnTo>
                  <a:lnTo>
                    <a:pt x="333" y="404"/>
                  </a:lnTo>
                  <a:lnTo>
                    <a:pt x="341" y="418"/>
                  </a:lnTo>
                  <a:lnTo>
                    <a:pt x="333" y="430"/>
                  </a:lnTo>
                  <a:lnTo>
                    <a:pt x="333" y="440"/>
                  </a:lnTo>
                  <a:lnTo>
                    <a:pt x="333" y="459"/>
                  </a:lnTo>
                  <a:lnTo>
                    <a:pt x="333" y="488"/>
                  </a:lnTo>
                  <a:lnTo>
                    <a:pt x="336" y="493"/>
                  </a:lnTo>
                  <a:lnTo>
                    <a:pt x="345" y="500"/>
                  </a:lnTo>
                  <a:lnTo>
                    <a:pt x="348" y="505"/>
                  </a:lnTo>
                  <a:lnTo>
                    <a:pt x="367" y="507"/>
                  </a:lnTo>
                  <a:lnTo>
                    <a:pt x="369" y="510"/>
                  </a:lnTo>
                  <a:lnTo>
                    <a:pt x="372" y="514"/>
                  </a:lnTo>
                  <a:lnTo>
                    <a:pt x="377" y="519"/>
                  </a:lnTo>
                  <a:lnTo>
                    <a:pt x="401" y="529"/>
                  </a:lnTo>
                  <a:lnTo>
                    <a:pt x="408" y="546"/>
                  </a:lnTo>
                  <a:lnTo>
                    <a:pt x="427" y="560"/>
                  </a:lnTo>
                  <a:lnTo>
                    <a:pt x="453" y="577"/>
                  </a:lnTo>
                  <a:lnTo>
                    <a:pt x="456" y="584"/>
                  </a:lnTo>
                  <a:lnTo>
                    <a:pt x="456" y="596"/>
                  </a:lnTo>
                  <a:lnTo>
                    <a:pt x="458" y="615"/>
                  </a:lnTo>
                  <a:lnTo>
                    <a:pt x="55" y="63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7" name="Freeform 52"/>
            <p:cNvSpPr>
              <a:spLocks/>
            </p:cNvSpPr>
            <p:nvPr/>
          </p:nvSpPr>
          <p:spPr bwMode="auto">
            <a:xfrm>
              <a:off x="6502824" y="2609729"/>
              <a:ext cx="712788" cy="760412"/>
            </a:xfrm>
            <a:custGeom>
              <a:avLst/>
              <a:gdLst>
                <a:gd name="T0" fmla="*/ 188 w 449"/>
                <a:gd name="T1" fmla="*/ 469 h 479"/>
                <a:gd name="T2" fmla="*/ 154 w 449"/>
                <a:gd name="T3" fmla="*/ 452 h 479"/>
                <a:gd name="T4" fmla="*/ 142 w 449"/>
                <a:gd name="T5" fmla="*/ 411 h 479"/>
                <a:gd name="T6" fmla="*/ 149 w 449"/>
                <a:gd name="T7" fmla="*/ 394 h 479"/>
                <a:gd name="T8" fmla="*/ 137 w 449"/>
                <a:gd name="T9" fmla="*/ 370 h 479"/>
                <a:gd name="T10" fmla="*/ 135 w 449"/>
                <a:gd name="T11" fmla="*/ 339 h 479"/>
                <a:gd name="T12" fmla="*/ 106 w 449"/>
                <a:gd name="T13" fmla="*/ 315 h 479"/>
                <a:gd name="T14" fmla="*/ 80 w 449"/>
                <a:gd name="T15" fmla="*/ 284 h 479"/>
                <a:gd name="T16" fmla="*/ 51 w 449"/>
                <a:gd name="T17" fmla="*/ 269 h 479"/>
                <a:gd name="T18" fmla="*/ 46 w 449"/>
                <a:gd name="T19" fmla="*/ 262 h 479"/>
                <a:gd name="T20" fmla="*/ 24 w 449"/>
                <a:gd name="T21" fmla="*/ 255 h 479"/>
                <a:gd name="T22" fmla="*/ 12 w 449"/>
                <a:gd name="T23" fmla="*/ 243 h 479"/>
                <a:gd name="T24" fmla="*/ 12 w 449"/>
                <a:gd name="T25" fmla="*/ 195 h 479"/>
                <a:gd name="T26" fmla="*/ 20 w 449"/>
                <a:gd name="T27" fmla="*/ 173 h 479"/>
                <a:gd name="T28" fmla="*/ 0 w 449"/>
                <a:gd name="T29" fmla="*/ 154 h 479"/>
                <a:gd name="T30" fmla="*/ 8 w 449"/>
                <a:gd name="T31" fmla="*/ 135 h 479"/>
                <a:gd name="T32" fmla="*/ 32 w 449"/>
                <a:gd name="T33" fmla="*/ 108 h 479"/>
                <a:gd name="T34" fmla="*/ 44 w 449"/>
                <a:gd name="T35" fmla="*/ 99 h 479"/>
                <a:gd name="T36" fmla="*/ 46 w 449"/>
                <a:gd name="T37" fmla="*/ 34 h 479"/>
                <a:gd name="T38" fmla="*/ 60 w 449"/>
                <a:gd name="T39" fmla="*/ 32 h 479"/>
                <a:gd name="T40" fmla="*/ 82 w 449"/>
                <a:gd name="T41" fmla="*/ 32 h 479"/>
                <a:gd name="T42" fmla="*/ 140 w 449"/>
                <a:gd name="T43" fmla="*/ 0 h 479"/>
                <a:gd name="T44" fmla="*/ 149 w 449"/>
                <a:gd name="T45" fmla="*/ 5 h 479"/>
                <a:gd name="T46" fmla="*/ 147 w 449"/>
                <a:gd name="T47" fmla="*/ 17 h 479"/>
                <a:gd name="T48" fmla="*/ 142 w 449"/>
                <a:gd name="T49" fmla="*/ 39 h 479"/>
                <a:gd name="T50" fmla="*/ 164 w 449"/>
                <a:gd name="T51" fmla="*/ 32 h 479"/>
                <a:gd name="T52" fmla="*/ 183 w 449"/>
                <a:gd name="T53" fmla="*/ 39 h 479"/>
                <a:gd name="T54" fmla="*/ 197 w 449"/>
                <a:gd name="T55" fmla="*/ 46 h 479"/>
                <a:gd name="T56" fmla="*/ 204 w 449"/>
                <a:gd name="T57" fmla="*/ 63 h 479"/>
                <a:gd name="T58" fmla="*/ 281 w 449"/>
                <a:gd name="T59" fmla="*/ 80 h 479"/>
                <a:gd name="T60" fmla="*/ 305 w 449"/>
                <a:gd name="T61" fmla="*/ 92 h 479"/>
                <a:gd name="T62" fmla="*/ 317 w 449"/>
                <a:gd name="T63" fmla="*/ 96 h 479"/>
                <a:gd name="T64" fmla="*/ 327 w 449"/>
                <a:gd name="T65" fmla="*/ 92 h 479"/>
                <a:gd name="T66" fmla="*/ 356 w 449"/>
                <a:gd name="T67" fmla="*/ 99 h 479"/>
                <a:gd name="T68" fmla="*/ 358 w 449"/>
                <a:gd name="T69" fmla="*/ 106 h 479"/>
                <a:gd name="T70" fmla="*/ 368 w 449"/>
                <a:gd name="T71" fmla="*/ 111 h 479"/>
                <a:gd name="T72" fmla="*/ 382 w 449"/>
                <a:gd name="T73" fmla="*/ 128 h 479"/>
                <a:gd name="T74" fmla="*/ 382 w 449"/>
                <a:gd name="T75" fmla="*/ 156 h 479"/>
                <a:gd name="T76" fmla="*/ 397 w 449"/>
                <a:gd name="T77" fmla="*/ 156 h 479"/>
                <a:gd name="T78" fmla="*/ 392 w 449"/>
                <a:gd name="T79" fmla="*/ 166 h 479"/>
                <a:gd name="T80" fmla="*/ 406 w 449"/>
                <a:gd name="T81" fmla="*/ 185 h 479"/>
                <a:gd name="T82" fmla="*/ 389 w 449"/>
                <a:gd name="T83" fmla="*/ 202 h 479"/>
                <a:gd name="T84" fmla="*/ 375 w 449"/>
                <a:gd name="T85" fmla="*/ 238 h 479"/>
                <a:gd name="T86" fmla="*/ 377 w 449"/>
                <a:gd name="T87" fmla="*/ 245 h 479"/>
                <a:gd name="T88" fmla="*/ 401 w 449"/>
                <a:gd name="T89" fmla="*/ 217 h 479"/>
                <a:gd name="T90" fmla="*/ 421 w 449"/>
                <a:gd name="T91" fmla="*/ 202 h 479"/>
                <a:gd name="T92" fmla="*/ 428 w 449"/>
                <a:gd name="T93" fmla="*/ 193 h 479"/>
                <a:gd name="T94" fmla="*/ 430 w 449"/>
                <a:gd name="T95" fmla="*/ 178 h 479"/>
                <a:gd name="T96" fmla="*/ 435 w 449"/>
                <a:gd name="T97" fmla="*/ 168 h 479"/>
                <a:gd name="T98" fmla="*/ 442 w 449"/>
                <a:gd name="T99" fmla="*/ 159 h 479"/>
                <a:gd name="T100" fmla="*/ 449 w 449"/>
                <a:gd name="T101" fmla="*/ 161 h 479"/>
                <a:gd name="T102" fmla="*/ 435 w 449"/>
                <a:gd name="T103" fmla="*/ 202 h 479"/>
                <a:gd name="T104" fmla="*/ 428 w 449"/>
                <a:gd name="T105" fmla="*/ 219 h 479"/>
                <a:gd name="T106" fmla="*/ 418 w 449"/>
                <a:gd name="T107" fmla="*/ 248 h 479"/>
                <a:gd name="T108" fmla="*/ 418 w 449"/>
                <a:gd name="T109" fmla="*/ 279 h 479"/>
                <a:gd name="T110" fmla="*/ 406 w 449"/>
                <a:gd name="T111" fmla="*/ 296 h 479"/>
                <a:gd name="T112" fmla="*/ 409 w 449"/>
                <a:gd name="T113" fmla="*/ 337 h 479"/>
                <a:gd name="T114" fmla="*/ 397 w 449"/>
                <a:gd name="T115" fmla="*/ 370 h 479"/>
                <a:gd name="T116" fmla="*/ 413 w 449"/>
                <a:gd name="T117" fmla="*/ 438 h 479"/>
                <a:gd name="T118" fmla="*/ 411 w 449"/>
                <a:gd name="T119" fmla="*/ 447 h 479"/>
                <a:gd name="T120" fmla="*/ 411 w 449"/>
                <a:gd name="T121" fmla="*/ 46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9" h="479">
                  <a:moveTo>
                    <a:pt x="190" y="479"/>
                  </a:moveTo>
                  <a:lnTo>
                    <a:pt x="188" y="469"/>
                  </a:lnTo>
                  <a:lnTo>
                    <a:pt x="180" y="462"/>
                  </a:lnTo>
                  <a:lnTo>
                    <a:pt x="154" y="452"/>
                  </a:lnTo>
                  <a:lnTo>
                    <a:pt x="147" y="423"/>
                  </a:lnTo>
                  <a:lnTo>
                    <a:pt x="142" y="411"/>
                  </a:lnTo>
                  <a:lnTo>
                    <a:pt x="149" y="399"/>
                  </a:lnTo>
                  <a:lnTo>
                    <a:pt x="149" y="394"/>
                  </a:lnTo>
                  <a:lnTo>
                    <a:pt x="140" y="385"/>
                  </a:lnTo>
                  <a:lnTo>
                    <a:pt x="137" y="370"/>
                  </a:lnTo>
                  <a:lnTo>
                    <a:pt x="135" y="351"/>
                  </a:lnTo>
                  <a:lnTo>
                    <a:pt x="135" y="339"/>
                  </a:lnTo>
                  <a:lnTo>
                    <a:pt x="132" y="332"/>
                  </a:lnTo>
                  <a:lnTo>
                    <a:pt x="106" y="315"/>
                  </a:lnTo>
                  <a:lnTo>
                    <a:pt x="87" y="301"/>
                  </a:lnTo>
                  <a:lnTo>
                    <a:pt x="80" y="284"/>
                  </a:lnTo>
                  <a:lnTo>
                    <a:pt x="56" y="274"/>
                  </a:lnTo>
                  <a:lnTo>
                    <a:pt x="51" y="269"/>
                  </a:lnTo>
                  <a:lnTo>
                    <a:pt x="48" y="265"/>
                  </a:lnTo>
                  <a:lnTo>
                    <a:pt x="46" y="262"/>
                  </a:lnTo>
                  <a:lnTo>
                    <a:pt x="27" y="260"/>
                  </a:lnTo>
                  <a:lnTo>
                    <a:pt x="24" y="255"/>
                  </a:lnTo>
                  <a:lnTo>
                    <a:pt x="15" y="248"/>
                  </a:lnTo>
                  <a:lnTo>
                    <a:pt x="12" y="243"/>
                  </a:lnTo>
                  <a:lnTo>
                    <a:pt x="12" y="214"/>
                  </a:lnTo>
                  <a:lnTo>
                    <a:pt x="12" y="195"/>
                  </a:lnTo>
                  <a:lnTo>
                    <a:pt x="12" y="185"/>
                  </a:lnTo>
                  <a:lnTo>
                    <a:pt x="20" y="173"/>
                  </a:lnTo>
                  <a:lnTo>
                    <a:pt x="12" y="159"/>
                  </a:lnTo>
                  <a:lnTo>
                    <a:pt x="0" y="154"/>
                  </a:lnTo>
                  <a:lnTo>
                    <a:pt x="5" y="137"/>
                  </a:lnTo>
                  <a:lnTo>
                    <a:pt x="8" y="135"/>
                  </a:lnTo>
                  <a:lnTo>
                    <a:pt x="10" y="125"/>
                  </a:lnTo>
                  <a:lnTo>
                    <a:pt x="32" y="108"/>
                  </a:lnTo>
                  <a:lnTo>
                    <a:pt x="36" y="104"/>
                  </a:lnTo>
                  <a:lnTo>
                    <a:pt x="44" y="99"/>
                  </a:lnTo>
                  <a:lnTo>
                    <a:pt x="41" y="39"/>
                  </a:lnTo>
                  <a:lnTo>
                    <a:pt x="46" y="34"/>
                  </a:lnTo>
                  <a:lnTo>
                    <a:pt x="53" y="27"/>
                  </a:lnTo>
                  <a:lnTo>
                    <a:pt x="60" y="32"/>
                  </a:lnTo>
                  <a:lnTo>
                    <a:pt x="70" y="34"/>
                  </a:lnTo>
                  <a:lnTo>
                    <a:pt x="82" y="32"/>
                  </a:lnTo>
                  <a:lnTo>
                    <a:pt x="104" y="19"/>
                  </a:lnTo>
                  <a:lnTo>
                    <a:pt x="140" y="0"/>
                  </a:lnTo>
                  <a:lnTo>
                    <a:pt x="147" y="0"/>
                  </a:lnTo>
                  <a:lnTo>
                    <a:pt x="149" y="5"/>
                  </a:lnTo>
                  <a:lnTo>
                    <a:pt x="149" y="12"/>
                  </a:lnTo>
                  <a:lnTo>
                    <a:pt x="147" y="17"/>
                  </a:lnTo>
                  <a:lnTo>
                    <a:pt x="147" y="22"/>
                  </a:lnTo>
                  <a:lnTo>
                    <a:pt x="142" y="39"/>
                  </a:lnTo>
                  <a:lnTo>
                    <a:pt x="156" y="32"/>
                  </a:lnTo>
                  <a:lnTo>
                    <a:pt x="164" y="32"/>
                  </a:lnTo>
                  <a:lnTo>
                    <a:pt x="173" y="39"/>
                  </a:lnTo>
                  <a:lnTo>
                    <a:pt x="183" y="39"/>
                  </a:lnTo>
                  <a:lnTo>
                    <a:pt x="185" y="44"/>
                  </a:lnTo>
                  <a:lnTo>
                    <a:pt x="197" y="46"/>
                  </a:lnTo>
                  <a:lnTo>
                    <a:pt x="202" y="51"/>
                  </a:lnTo>
                  <a:lnTo>
                    <a:pt x="204" y="63"/>
                  </a:lnTo>
                  <a:lnTo>
                    <a:pt x="209" y="65"/>
                  </a:lnTo>
                  <a:lnTo>
                    <a:pt x="281" y="80"/>
                  </a:lnTo>
                  <a:lnTo>
                    <a:pt x="289" y="80"/>
                  </a:lnTo>
                  <a:lnTo>
                    <a:pt x="305" y="92"/>
                  </a:lnTo>
                  <a:lnTo>
                    <a:pt x="315" y="92"/>
                  </a:lnTo>
                  <a:lnTo>
                    <a:pt x="317" y="96"/>
                  </a:lnTo>
                  <a:lnTo>
                    <a:pt x="322" y="92"/>
                  </a:lnTo>
                  <a:lnTo>
                    <a:pt x="327" y="92"/>
                  </a:lnTo>
                  <a:lnTo>
                    <a:pt x="344" y="96"/>
                  </a:lnTo>
                  <a:lnTo>
                    <a:pt x="356" y="99"/>
                  </a:lnTo>
                  <a:lnTo>
                    <a:pt x="358" y="104"/>
                  </a:lnTo>
                  <a:lnTo>
                    <a:pt x="358" y="106"/>
                  </a:lnTo>
                  <a:lnTo>
                    <a:pt x="356" y="108"/>
                  </a:lnTo>
                  <a:lnTo>
                    <a:pt x="368" y="111"/>
                  </a:lnTo>
                  <a:lnTo>
                    <a:pt x="382" y="118"/>
                  </a:lnTo>
                  <a:lnTo>
                    <a:pt x="382" y="128"/>
                  </a:lnTo>
                  <a:lnTo>
                    <a:pt x="380" y="156"/>
                  </a:lnTo>
                  <a:lnTo>
                    <a:pt x="382" y="156"/>
                  </a:lnTo>
                  <a:lnTo>
                    <a:pt x="394" y="154"/>
                  </a:lnTo>
                  <a:lnTo>
                    <a:pt x="397" y="156"/>
                  </a:lnTo>
                  <a:lnTo>
                    <a:pt x="394" y="161"/>
                  </a:lnTo>
                  <a:lnTo>
                    <a:pt x="392" y="166"/>
                  </a:lnTo>
                  <a:lnTo>
                    <a:pt x="394" y="178"/>
                  </a:lnTo>
                  <a:lnTo>
                    <a:pt x="406" y="185"/>
                  </a:lnTo>
                  <a:lnTo>
                    <a:pt x="404" y="188"/>
                  </a:lnTo>
                  <a:lnTo>
                    <a:pt x="389" y="202"/>
                  </a:lnTo>
                  <a:lnTo>
                    <a:pt x="377" y="224"/>
                  </a:lnTo>
                  <a:lnTo>
                    <a:pt x="375" y="238"/>
                  </a:lnTo>
                  <a:lnTo>
                    <a:pt x="373" y="243"/>
                  </a:lnTo>
                  <a:lnTo>
                    <a:pt x="377" y="245"/>
                  </a:lnTo>
                  <a:lnTo>
                    <a:pt x="389" y="241"/>
                  </a:lnTo>
                  <a:lnTo>
                    <a:pt x="401" y="217"/>
                  </a:lnTo>
                  <a:lnTo>
                    <a:pt x="413" y="207"/>
                  </a:lnTo>
                  <a:lnTo>
                    <a:pt x="421" y="202"/>
                  </a:lnTo>
                  <a:lnTo>
                    <a:pt x="423" y="197"/>
                  </a:lnTo>
                  <a:lnTo>
                    <a:pt x="428" y="193"/>
                  </a:lnTo>
                  <a:lnTo>
                    <a:pt x="433" y="185"/>
                  </a:lnTo>
                  <a:lnTo>
                    <a:pt x="430" y="178"/>
                  </a:lnTo>
                  <a:lnTo>
                    <a:pt x="433" y="171"/>
                  </a:lnTo>
                  <a:lnTo>
                    <a:pt x="435" y="168"/>
                  </a:lnTo>
                  <a:lnTo>
                    <a:pt x="437" y="161"/>
                  </a:lnTo>
                  <a:lnTo>
                    <a:pt x="442" y="159"/>
                  </a:lnTo>
                  <a:lnTo>
                    <a:pt x="447" y="159"/>
                  </a:lnTo>
                  <a:lnTo>
                    <a:pt x="449" y="161"/>
                  </a:lnTo>
                  <a:lnTo>
                    <a:pt x="447" y="176"/>
                  </a:lnTo>
                  <a:lnTo>
                    <a:pt x="435" y="202"/>
                  </a:lnTo>
                  <a:lnTo>
                    <a:pt x="430" y="209"/>
                  </a:lnTo>
                  <a:lnTo>
                    <a:pt x="428" y="219"/>
                  </a:lnTo>
                  <a:lnTo>
                    <a:pt x="428" y="226"/>
                  </a:lnTo>
                  <a:lnTo>
                    <a:pt x="418" y="248"/>
                  </a:lnTo>
                  <a:lnTo>
                    <a:pt x="418" y="267"/>
                  </a:lnTo>
                  <a:lnTo>
                    <a:pt x="418" y="279"/>
                  </a:lnTo>
                  <a:lnTo>
                    <a:pt x="409" y="291"/>
                  </a:lnTo>
                  <a:lnTo>
                    <a:pt x="406" y="296"/>
                  </a:lnTo>
                  <a:lnTo>
                    <a:pt x="409" y="313"/>
                  </a:lnTo>
                  <a:lnTo>
                    <a:pt x="409" y="337"/>
                  </a:lnTo>
                  <a:lnTo>
                    <a:pt x="406" y="344"/>
                  </a:lnTo>
                  <a:lnTo>
                    <a:pt x="397" y="370"/>
                  </a:lnTo>
                  <a:lnTo>
                    <a:pt x="401" y="411"/>
                  </a:lnTo>
                  <a:lnTo>
                    <a:pt x="413" y="438"/>
                  </a:lnTo>
                  <a:lnTo>
                    <a:pt x="411" y="440"/>
                  </a:lnTo>
                  <a:lnTo>
                    <a:pt x="411" y="447"/>
                  </a:lnTo>
                  <a:lnTo>
                    <a:pt x="411" y="452"/>
                  </a:lnTo>
                  <a:lnTo>
                    <a:pt x="411" y="464"/>
                  </a:lnTo>
                  <a:lnTo>
                    <a:pt x="190" y="479"/>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8" name="Freeform 53"/>
            <p:cNvSpPr>
              <a:spLocks/>
            </p:cNvSpPr>
            <p:nvPr/>
          </p:nvSpPr>
          <p:spPr bwMode="auto">
            <a:xfrm>
              <a:off x="8779299" y="3281241"/>
              <a:ext cx="182563" cy="415925"/>
            </a:xfrm>
            <a:custGeom>
              <a:avLst/>
              <a:gdLst>
                <a:gd name="T0" fmla="*/ 0 w 115"/>
                <a:gd name="T1" fmla="*/ 195 h 262"/>
                <a:gd name="T2" fmla="*/ 2 w 115"/>
                <a:gd name="T3" fmla="*/ 197 h 262"/>
                <a:gd name="T4" fmla="*/ 14 w 115"/>
                <a:gd name="T5" fmla="*/ 214 h 262"/>
                <a:gd name="T6" fmla="*/ 38 w 115"/>
                <a:gd name="T7" fmla="*/ 231 h 262"/>
                <a:gd name="T8" fmla="*/ 58 w 115"/>
                <a:gd name="T9" fmla="*/ 236 h 262"/>
                <a:gd name="T10" fmla="*/ 65 w 115"/>
                <a:gd name="T11" fmla="*/ 250 h 262"/>
                <a:gd name="T12" fmla="*/ 70 w 115"/>
                <a:gd name="T13" fmla="*/ 262 h 262"/>
                <a:gd name="T14" fmla="*/ 79 w 115"/>
                <a:gd name="T15" fmla="*/ 243 h 262"/>
                <a:gd name="T16" fmla="*/ 89 w 115"/>
                <a:gd name="T17" fmla="*/ 217 h 262"/>
                <a:gd name="T18" fmla="*/ 96 w 115"/>
                <a:gd name="T19" fmla="*/ 161 h 262"/>
                <a:gd name="T20" fmla="*/ 115 w 115"/>
                <a:gd name="T21" fmla="*/ 164 h 262"/>
                <a:gd name="T22" fmla="*/ 113 w 115"/>
                <a:gd name="T23" fmla="*/ 118 h 262"/>
                <a:gd name="T24" fmla="*/ 103 w 115"/>
                <a:gd name="T25" fmla="*/ 82 h 262"/>
                <a:gd name="T26" fmla="*/ 89 w 115"/>
                <a:gd name="T27" fmla="*/ 89 h 262"/>
                <a:gd name="T28" fmla="*/ 82 w 115"/>
                <a:gd name="T29" fmla="*/ 84 h 262"/>
                <a:gd name="T30" fmla="*/ 77 w 115"/>
                <a:gd name="T31" fmla="*/ 87 h 262"/>
                <a:gd name="T32" fmla="*/ 82 w 115"/>
                <a:gd name="T33" fmla="*/ 68 h 262"/>
                <a:gd name="T34" fmla="*/ 91 w 115"/>
                <a:gd name="T35" fmla="*/ 65 h 262"/>
                <a:gd name="T36" fmla="*/ 91 w 115"/>
                <a:gd name="T37" fmla="*/ 46 h 262"/>
                <a:gd name="T38" fmla="*/ 101 w 115"/>
                <a:gd name="T39" fmla="*/ 36 h 262"/>
                <a:gd name="T40" fmla="*/ 26 w 115"/>
                <a:gd name="T41" fmla="*/ 0 h 262"/>
                <a:gd name="T42" fmla="*/ 17 w 115"/>
                <a:gd name="T43" fmla="*/ 12 h 262"/>
                <a:gd name="T44" fmla="*/ 12 w 115"/>
                <a:gd name="T45" fmla="*/ 32 h 262"/>
                <a:gd name="T46" fmla="*/ 2 w 115"/>
                <a:gd name="T47" fmla="*/ 46 h 262"/>
                <a:gd name="T48" fmla="*/ 7 w 115"/>
                <a:gd name="T49" fmla="*/ 56 h 262"/>
                <a:gd name="T50" fmla="*/ 5 w 115"/>
                <a:gd name="T51" fmla="*/ 70 h 262"/>
                <a:gd name="T52" fmla="*/ 7 w 115"/>
                <a:gd name="T53" fmla="*/ 92 h 262"/>
                <a:gd name="T54" fmla="*/ 22 w 115"/>
                <a:gd name="T55" fmla="*/ 104 h 262"/>
                <a:gd name="T56" fmla="*/ 31 w 115"/>
                <a:gd name="T57" fmla="*/ 111 h 262"/>
                <a:gd name="T58" fmla="*/ 43 w 115"/>
                <a:gd name="T59" fmla="*/ 118 h 262"/>
                <a:gd name="T60" fmla="*/ 53 w 115"/>
                <a:gd name="T61" fmla="*/ 130 h 262"/>
                <a:gd name="T62" fmla="*/ 26 w 115"/>
                <a:gd name="T63" fmla="*/ 149 h 262"/>
                <a:gd name="T64" fmla="*/ 5 w 115"/>
                <a:gd name="T65" fmla="*/ 176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262">
                  <a:moveTo>
                    <a:pt x="5" y="176"/>
                  </a:moveTo>
                  <a:lnTo>
                    <a:pt x="0" y="195"/>
                  </a:lnTo>
                  <a:lnTo>
                    <a:pt x="0" y="200"/>
                  </a:lnTo>
                  <a:lnTo>
                    <a:pt x="2" y="197"/>
                  </a:lnTo>
                  <a:lnTo>
                    <a:pt x="7" y="207"/>
                  </a:lnTo>
                  <a:lnTo>
                    <a:pt x="14" y="214"/>
                  </a:lnTo>
                  <a:lnTo>
                    <a:pt x="19" y="221"/>
                  </a:lnTo>
                  <a:lnTo>
                    <a:pt x="38" y="231"/>
                  </a:lnTo>
                  <a:lnTo>
                    <a:pt x="46" y="233"/>
                  </a:lnTo>
                  <a:lnTo>
                    <a:pt x="58" y="236"/>
                  </a:lnTo>
                  <a:lnTo>
                    <a:pt x="63" y="236"/>
                  </a:lnTo>
                  <a:lnTo>
                    <a:pt x="65" y="250"/>
                  </a:lnTo>
                  <a:lnTo>
                    <a:pt x="63" y="257"/>
                  </a:lnTo>
                  <a:lnTo>
                    <a:pt x="70" y="262"/>
                  </a:lnTo>
                  <a:lnTo>
                    <a:pt x="75" y="255"/>
                  </a:lnTo>
                  <a:lnTo>
                    <a:pt x="79" y="243"/>
                  </a:lnTo>
                  <a:lnTo>
                    <a:pt x="79" y="231"/>
                  </a:lnTo>
                  <a:lnTo>
                    <a:pt x="89" y="217"/>
                  </a:lnTo>
                  <a:lnTo>
                    <a:pt x="94" y="205"/>
                  </a:lnTo>
                  <a:lnTo>
                    <a:pt x="96" y="161"/>
                  </a:lnTo>
                  <a:lnTo>
                    <a:pt x="111" y="173"/>
                  </a:lnTo>
                  <a:lnTo>
                    <a:pt x="115" y="164"/>
                  </a:lnTo>
                  <a:lnTo>
                    <a:pt x="115" y="154"/>
                  </a:lnTo>
                  <a:lnTo>
                    <a:pt x="113" y="118"/>
                  </a:lnTo>
                  <a:lnTo>
                    <a:pt x="111" y="92"/>
                  </a:lnTo>
                  <a:lnTo>
                    <a:pt x="103" y="82"/>
                  </a:lnTo>
                  <a:lnTo>
                    <a:pt x="91" y="84"/>
                  </a:lnTo>
                  <a:lnTo>
                    <a:pt x="89" y="89"/>
                  </a:lnTo>
                  <a:lnTo>
                    <a:pt x="84" y="87"/>
                  </a:lnTo>
                  <a:lnTo>
                    <a:pt x="82" y="84"/>
                  </a:lnTo>
                  <a:lnTo>
                    <a:pt x="79" y="87"/>
                  </a:lnTo>
                  <a:lnTo>
                    <a:pt x="77" y="87"/>
                  </a:lnTo>
                  <a:lnTo>
                    <a:pt x="77" y="82"/>
                  </a:lnTo>
                  <a:lnTo>
                    <a:pt x="82" y="68"/>
                  </a:lnTo>
                  <a:lnTo>
                    <a:pt x="87" y="65"/>
                  </a:lnTo>
                  <a:lnTo>
                    <a:pt x="91" y="65"/>
                  </a:lnTo>
                  <a:lnTo>
                    <a:pt x="91" y="53"/>
                  </a:lnTo>
                  <a:lnTo>
                    <a:pt x="91" y="46"/>
                  </a:lnTo>
                  <a:lnTo>
                    <a:pt x="96" y="41"/>
                  </a:lnTo>
                  <a:lnTo>
                    <a:pt x="101" y="36"/>
                  </a:lnTo>
                  <a:lnTo>
                    <a:pt x="96" y="24"/>
                  </a:lnTo>
                  <a:lnTo>
                    <a:pt x="26" y="0"/>
                  </a:lnTo>
                  <a:lnTo>
                    <a:pt x="22" y="3"/>
                  </a:lnTo>
                  <a:lnTo>
                    <a:pt x="17" y="12"/>
                  </a:lnTo>
                  <a:lnTo>
                    <a:pt x="17" y="17"/>
                  </a:lnTo>
                  <a:lnTo>
                    <a:pt x="12" y="32"/>
                  </a:lnTo>
                  <a:lnTo>
                    <a:pt x="2" y="41"/>
                  </a:lnTo>
                  <a:lnTo>
                    <a:pt x="2" y="46"/>
                  </a:lnTo>
                  <a:lnTo>
                    <a:pt x="2" y="48"/>
                  </a:lnTo>
                  <a:lnTo>
                    <a:pt x="7" y="56"/>
                  </a:lnTo>
                  <a:lnTo>
                    <a:pt x="10" y="65"/>
                  </a:lnTo>
                  <a:lnTo>
                    <a:pt x="5" y="70"/>
                  </a:lnTo>
                  <a:lnTo>
                    <a:pt x="5" y="89"/>
                  </a:lnTo>
                  <a:lnTo>
                    <a:pt x="7" y="92"/>
                  </a:lnTo>
                  <a:lnTo>
                    <a:pt x="17" y="92"/>
                  </a:lnTo>
                  <a:lnTo>
                    <a:pt x="22" y="104"/>
                  </a:lnTo>
                  <a:lnTo>
                    <a:pt x="29" y="108"/>
                  </a:lnTo>
                  <a:lnTo>
                    <a:pt x="31" y="111"/>
                  </a:lnTo>
                  <a:lnTo>
                    <a:pt x="38" y="113"/>
                  </a:lnTo>
                  <a:lnTo>
                    <a:pt x="43" y="118"/>
                  </a:lnTo>
                  <a:lnTo>
                    <a:pt x="55" y="128"/>
                  </a:lnTo>
                  <a:lnTo>
                    <a:pt x="53" y="130"/>
                  </a:lnTo>
                  <a:lnTo>
                    <a:pt x="41" y="137"/>
                  </a:lnTo>
                  <a:lnTo>
                    <a:pt x="26" y="149"/>
                  </a:lnTo>
                  <a:lnTo>
                    <a:pt x="24" y="161"/>
                  </a:lnTo>
                  <a:lnTo>
                    <a:pt x="5" y="176"/>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9" name="Freeform 54"/>
            <p:cNvSpPr>
              <a:spLocks/>
            </p:cNvSpPr>
            <p:nvPr/>
          </p:nvSpPr>
          <p:spPr bwMode="auto">
            <a:xfrm>
              <a:off x="8836449" y="2582741"/>
              <a:ext cx="233363" cy="428625"/>
            </a:xfrm>
            <a:custGeom>
              <a:avLst/>
              <a:gdLst>
                <a:gd name="T0" fmla="*/ 0 w 147"/>
                <a:gd name="T1" fmla="*/ 34 h 270"/>
                <a:gd name="T2" fmla="*/ 5 w 147"/>
                <a:gd name="T3" fmla="*/ 46 h 270"/>
                <a:gd name="T4" fmla="*/ 2 w 147"/>
                <a:gd name="T5" fmla="*/ 51 h 270"/>
                <a:gd name="T6" fmla="*/ 7 w 147"/>
                <a:gd name="T7" fmla="*/ 56 h 270"/>
                <a:gd name="T8" fmla="*/ 7 w 147"/>
                <a:gd name="T9" fmla="*/ 58 h 270"/>
                <a:gd name="T10" fmla="*/ 19 w 147"/>
                <a:gd name="T11" fmla="*/ 89 h 270"/>
                <a:gd name="T12" fmla="*/ 24 w 147"/>
                <a:gd name="T13" fmla="*/ 113 h 270"/>
                <a:gd name="T14" fmla="*/ 19 w 147"/>
                <a:gd name="T15" fmla="*/ 123 h 270"/>
                <a:gd name="T16" fmla="*/ 19 w 147"/>
                <a:gd name="T17" fmla="*/ 135 h 270"/>
                <a:gd name="T18" fmla="*/ 34 w 147"/>
                <a:gd name="T19" fmla="*/ 166 h 270"/>
                <a:gd name="T20" fmla="*/ 31 w 147"/>
                <a:gd name="T21" fmla="*/ 178 h 270"/>
                <a:gd name="T22" fmla="*/ 34 w 147"/>
                <a:gd name="T23" fmla="*/ 183 h 270"/>
                <a:gd name="T24" fmla="*/ 36 w 147"/>
                <a:gd name="T25" fmla="*/ 183 h 270"/>
                <a:gd name="T26" fmla="*/ 34 w 147"/>
                <a:gd name="T27" fmla="*/ 178 h 270"/>
                <a:gd name="T28" fmla="*/ 39 w 147"/>
                <a:gd name="T29" fmla="*/ 178 h 270"/>
                <a:gd name="T30" fmla="*/ 48 w 147"/>
                <a:gd name="T31" fmla="*/ 193 h 270"/>
                <a:gd name="T32" fmla="*/ 53 w 147"/>
                <a:gd name="T33" fmla="*/ 219 h 270"/>
                <a:gd name="T34" fmla="*/ 53 w 147"/>
                <a:gd name="T35" fmla="*/ 234 h 270"/>
                <a:gd name="T36" fmla="*/ 58 w 147"/>
                <a:gd name="T37" fmla="*/ 253 h 270"/>
                <a:gd name="T38" fmla="*/ 67 w 147"/>
                <a:gd name="T39" fmla="*/ 270 h 270"/>
                <a:gd name="T40" fmla="*/ 125 w 147"/>
                <a:gd name="T41" fmla="*/ 258 h 270"/>
                <a:gd name="T42" fmla="*/ 123 w 147"/>
                <a:gd name="T43" fmla="*/ 250 h 270"/>
                <a:gd name="T44" fmla="*/ 115 w 147"/>
                <a:gd name="T45" fmla="*/ 243 h 270"/>
                <a:gd name="T46" fmla="*/ 118 w 147"/>
                <a:gd name="T47" fmla="*/ 234 h 270"/>
                <a:gd name="T48" fmla="*/ 120 w 147"/>
                <a:gd name="T49" fmla="*/ 229 h 270"/>
                <a:gd name="T50" fmla="*/ 115 w 147"/>
                <a:gd name="T51" fmla="*/ 219 h 270"/>
                <a:gd name="T52" fmla="*/ 113 w 147"/>
                <a:gd name="T53" fmla="*/ 176 h 270"/>
                <a:gd name="T54" fmla="*/ 113 w 147"/>
                <a:gd name="T55" fmla="*/ 161 h 270"/>
                <a:gd name="T56" fmla="*/ 118 w 147"/>
                <a:gd name="T57" fmla="*/ 137 h 270"/>
                <a:gd name="T58" fmla="*/ 123 w 147"/>
                <a:gd name="T59" fmla="*/ 121 h 270"/>
                <a:gd name="T60" fmla="*/ 123 w 147"/>
                <a:gd name="T61" fmla="*/ 109 h 270"/>
                <a:gd name="T62" fmla="*/ 118 w 147"/>
                <a:gd name="T63" fmla="*/ 99 h 270"/>
                <a:gd name="T64" fmla="*/ 118 w 147"/>
                <a:gd name="T65" fmla="*/ 89 h 270"/>
                <a:gd name="T66" fmla="*/ 123 w 147"/>
                <a:gd name="T67" fmla="*/ 82 h 270"/>
                <a:gd name="T68" fmla="*/ 139 w 147"/>
                <a:gd name="T69" fmla="*/ 68 h 270"/>
                <a:gd name="T70" fmla="*/ 147 w 147"/>
                <a:gd name="T71" fmla="*/ 46 h 270"/>
                <a:gd name="T72" fmla="*/ 139 w 147"/>
                <a:gd name="T73" fmla="*/ 32 h 270"/>
                <a:gd name="T74" fmla="*/ 137 w 147"/>
                <a:gd name="T75" fmla="*/ 24 h 270"/>
                <a:gd name="T76" fmla="*/ 139 w 147"/>
                <a:gd name="T77" fmla="*/ 22 h 270"/>
                <a:gd name="T78" fmla="*/ 139 w 147"/>
                <a:gd name="T79" fmla="*/ 17 h 270"/>
                <a:gd name="T80" fmla="*/ 137 w 147"/>
                <a:gd name="T81" fmla="*/ 0 h 270"/>
                <a:gd name="T82" fmla="*/ 0 w 147"/>
                <a:gd name="T83" fmla="*/ 34 h 270"/>
                <a:gd name="T84" fmla="*/ 0 w 147"/>
                <a:gd name="T85" fmla="*/ 3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 h="270">
                  <a:moveTo>
                    <a:pt x="0" y="34"/>
                  </a:moveTo>
                  <a:lnTo>
                    <a:pt x="5" y="46"/>
                  </a:lnTo>
                  <a:lnTo>
                    <a:pt x="2" y="51"/>
                  </a:lnTo>
                  <a:lnTo>
                    <a:pt x="7" y="56"/>
                  </a:lnTo>
                  <a:lnTo>
                    <a:pt x="7" y="58"/>
                  </a:lnTo>
                  <a:lnTo>
                    <a:pt x="19" y="89"/>
                  </a:lnTo>
                  <a:lnTo>
                    <a:pt x="24" y="113"/>
                  </a:lnTo>
                  <a:lnTo>
                    <a:pt x="19" y="123"/>
                  </a:lnTo>
                  <a:lnTo>
                    <a:pt x="19" y="135"/>
                  </a:lnTo>
                  <a:lnTo>
                    <a:pt x="34" y="166"/>
                  </a:lnTo>
                  <a:lnTo>
                    <a:pt x="31" y="178"/>
                  </a:lnTo>
                  <a:lnTo>
                    <a:pt x="34" y="183"/>
                  </a:lnTo>
                  <a:lnTo>
                    <a:pt x="36" y="183"/>
                  </a:lnTo>
                  <a:lnTo>
                    <a:pt x="34" y="178"/>
                  </a:lnTo>
                  <a:lnTo>
                    <a:pt x="39" y="178"/>
                  </a:lnTo>
                  <a:lnTo>
                    <a:pt x="48" y="193"/>
                  </a:lnTo>
                  <a:lnTo>
                    <a:pt x="53" y="219"/>
                  </a:lnTo>
                  <a:lnTo>
                    <a:pt x="53" y="234"/>
                  </a:lnTo>
                  <a:lnTo>
                    <a:pt x="58" y="253"/>
                  </a:lnTo>
                  <a:lnTo>
                    <a:pt x="67" y="270"/>
                  </a:lnTo>
                  <a:lnTo>
                    <a:pt x="125" y="258"/>
                  </a:lnTo>
                  <a:lnTo>
                    <a:pt x="123" y="250"/>
                  </a:lnTo>
                  <a:lnTo>
                    <a:pt x="115" y="243"/>
                  </a:lnTo>
                  <a:lnTo>
                    <a:pt x="118" y="234"/>
                  </a:lnTo>
                  <a:lnTo>
                    <a:pt x="120" y="229"/>
                  </a:lnTo>
                  <a:lnTo>
                    <a:pt x="115" y="219"/>
                  </a:lnTo>
                  <a:lnTo>
                    <a:pt x="113" y="176"/>
                  </a:lnTo>
                  <a:lnTo>
                    <a:pt x="113" y="161"/>
                  </a:lnTo>
                  <a:lnTo>
                    <a:pt x="118" y="137"/>
                  </a:lnTo>
                  <a:lnTo>
                    <a:pt x="123" y="121"/>
                  </a:lnTo>
                  <a:lnTo>
                    <a:pt x="123" y="109"/>
                  </a:lnTo>
                  <a:lnTo>
                    <a:pt x="118" y="99"/>
                  </a:lnTo>
                  <a:lnTo>
                    <a:pt x="118" y="89"/>
                  </a:lnTo>
                  <a:lnTo>
                    <a:pt x="123" y="82"/>
                  </a:lnTo>
                  <a:lnTo>
                    <a:pt x="139" y="68"/>
                  </a:lnTo>
                  <a:lnTo>
                    <a:pt x="147" y="46"/>
                  </a:lnTo>
                  <a:lnTo>
                    <a:pt x="139" y="32"/>
                  </a:lnTo>
                  <a:lnTo>
                    <a:pt x="137" y="24"/>
                  </a:lnTo>
                  <a:lnTo>
                    <a:pt x="139" y="22"/>
                  </a:lnTo>
                  <a:lnTo>
                    <a:pt x="139" y="17"/>
                  </a:lnTo>
                  <a:lnTo>
                    <a:pt x="137" y="0"/>
                  </a:lnTo>
                  <a:lnTo>
                    <a:pt x="0" y="34"/>
                  </a:lnTo>
                  <a:lnTo>
                    <a:pt x="0" y="34"/>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0" name="Freeform 55"/>
            <p:cNvSpPr>
              <a:spLocks/>
            </p:cNvSpPr>
            <p:nvPr/>
          </p:nvSpPr>
          <p:spPr bwMode="auto">
            <a:xfrm>
              <a:off x="9015837" y="2522416"/>
              <a:ext cx="217488" cy="469900"/>
            </a:xfrm>
            <a:custGeom>
              <a:avLst/>
              <a:gdLst>
                <a:gd name="T0" fmla="*/ 134 w 137"/>
                <a:gd name="T1" fmla="*/ 248 h 296"/>
                <a:gd name="T2" fmla="*/ 130 w 137"/>
                <a:gd name="T3" fmla="*/ 245 h 296"/>
                <a:gd name="T4" fmla="*/ 122 w 137"/>
                <a:gd name="T5" fmla="*/ 248 h 296"/>
                <a:gd name="T6" fmla="*/ 118 w 137"/>
                <a:gd name="T7" fmla="*/ 260 h 296"/>
                <a:gd name="T8" fmla="*/ 110 w 137"/>
                <a:gd name="T9" fmla="*/ 262 h 296"/>
                <a:gd name="T10" fmla="*/ 110 w 137"/>
                <a:gd name="T11" fmla="*/ 267 h 296"/>
                <a:gd name="T12" fmla="*/ 110 w 137"/>
                <a:gd name="T13" fmla="*/ 269 h 296"/>
                <a:gd name="T14" fmla="*/ 106 w 137"/>
                <a:gd name="T15" fmla="*/ 267 h 296"/>
                <a:gd name="T16" fmla="*/ 103 w 137"/>
                <a:gd name="T17" fmla="*/ 269 h 296"/>
                <a:gd name="T18" fmla="*/ 103 w 137"/>
                <a:gd name="T19" fmla="*/ 274 h 296"/>
                <a:gd name="T20" fmla="*/ 12 w 137"/>
                <a:gd name="T21" fmla="*/ 296 h 296"/>
                <a:gd name="T22" fmla="*/ 10 w 137"/>
                <a:gd name="T23" fmla="*/ 288 h 296"/>
                <a:gd name="T24" fmla="*/ 2 w 137"/>
                <a:gd name="T25" fmla="*/ 281 h 296"/>
                <a:gd name="T26" fmla="*/ 5 w 137"/>
                <a:gd name="T27" fmla="*/ 272 h 296"/>
                <a:gd name="T28" fmla="*/ 7 w 137"/>
                <a:gd name="T29" fmla="*/ 267 h 296"/>
                <a:gd name="T30" fmla="*/ 2 w 137"/>
                <a:gd name="T31" fmla="*/ 257 h 296"/>
                <a:gd name="T32" fmla="*/ 0 w 137"/>
                <a:gd name="T33" fmla="*/ 214 h 296"/>
                <a:gd name="T34" fmla="*/ 0 w 137"/>
                <a:gd name="T35" fmla="*/ 199 h 296"/>
                <a:gd name="T36" fmla="*/ 5 w 137"/>
                <a:gd name="T37" fmla="*/ 175 h 296"/>
                <a:gd name="T38" fmla="*/ 10 w 137"/>
                <a:gd name="T39" fmla="*/ 159 h 296"/>
                <a:gd name="T40" fmla="*/ 10 w 137"/>
                <a:gd name="T41" fmla="*/ 147 h 296"/>
                <a:gd name="T42" fmla="*/ 5 w 137"/>
                <a:gd name="T43" fmla="*/ 137 h 296"/>
                <a:gd name="T44" fmla="*/ 5 w 137"/>
                <a:gd name="T45" fmla="*/ 127 h 296"/>
                <a:gd name="T46" fmla="*/ 10 w 137"/>
                <a:gd name="T47" fmla="*/ 120 h 296"/>
                <a:gd name="T48" fmla="*/ 26 w 137"/>
                <a:gd name="T49" fmla="*/ 106 h 296"/>
                <a:gd name="T50" fmla="*/ 34 w 137"/>
                <a:gd name="T51" fmla="*/ 84 h 296"/>
                <a:gd name="T52" fmla="*/ 26 w 137"/>
                <a:gd name="T53" fmla="*/ 70 h 296"/>
                <a:gd name="T54" fmla="*/ 24 w 137"/>
                <a:gd name="T55" fmla="*/ 62 h 296"/>
                <a:gd name="T56" fmla="*/ 26 w 137"/>
                <a:gd name="T57" fmla="*/ 60 h 296"/>
                <a:gd name="T58" fmla="*/ 26 w 137"/>
                <a:gd name="T59" fmla="*/ 55 h 296"/>
                <a:gd name="T60" fmla="*/ 24 w 137"/>
                <a:gd name="T61" fmla="*/ 38 h 296"/>
                <a:gd name="T62" fmla="*/ 26 w 137"/>
                <a:gd name="T63" fmla="*/ 19 h 296"/>
                <a:gd name="T64" fmla="*/ 22 w 137"/>
                <a:gd name="T65" fmla="*/ 12 h 296"/>
                <a:gd name="T66" fmla="*/ 24 w 137"/>
                <a:gd name="T67" fmla="*/ 10 h 296"/>
                <a:gd name="T68" fmla="*/ 29 w 137"/>
                <a:gd name="T69" fmla="*/ 10 h 296"/>
                <a:gd name="T70" fmla="*/ 31 w 137"/>
                <a:gd name="T71" fmla="*/ 2 h 296"/>
                <a:gd name="T72" fmla="*/ 36 w 137"/>
                <a:gd name="T73" fmla="*/ 5 h 296"/>
                <a:gd name="T74" fmla="*/ 43 w 137"/>
                <a:gd name="T75" fmla="*/ 2 h 296"/>
                <a:gd name="T76" fmla="*/ 46 w 137"/>
                <a:gd name="T77" fmla="*/ 0 h 296"/>
                <a:gd name="T78" fmla="*/ 106 w 137"/>
                <a:gd name="T79" fmla="*/ 180 h 296"/>
                <a:gd name="T80" fmla="*/ 108 w 137"/>
                <a:gd name="T81" fmla="*/ 183 h 296"/>
                <a:gd name="T82" fmla="*/ 106 w 137"/>
                <a:gd name="T83" fmla="*/ 192 h 296"/>
                <a:gd name="T84" fmla="*/ 108 w 137"/>
                <a:gd name="T85" fmla="*/ 195 h 296"/>
                <a:gd name="T86" fmla="*/ 122 w 137"/>
                <a:gd name="T87" fmla="*/ 207 h 296"/>
                <a:gd name="T88" fmla="*/ 125 w 137"/>
                <a:gd name="T89" fmla="*/ 207 h 296"/>
                <a:gd name="T90" fmla="*/ 127 w 137"/>
                <a:gd name="T91" fmla="*/ 214 h 296"/>
                <a:gd name="T92" fmla="*/ 127 w 137"/>
                <a:gd name="T93" fmla="*/ 216 h 296"/>
                <a:gd name="T94" fmla="*/ 137 w 137"/>
                <a:gd name="T95" fmla="*/ 231 h 296"/>
                <a:gd name="T96" fmla="*/ 134 w 137"/>
                <a:gd name="T97" fmla="*/ 233 h 296"/>
                <a:gd name="T98" fmla="*/ 134 w 137"/>
                <a:gd name="T99" fmla="*/ 243 h 296"/>
                <a:gd name="T100" fmla="*/ 134 w 137"/>
                <a:gd name="T101" fmla="*/ 24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 h="296">
                  <a:moveTo>
                    <a:pt x="134" y="248"/>
                  </a:moveTo>
                  <a:lnTo>
                    <a:pt x="130" y="245"/>
                  </a:lnTo>
                  <a:lnTo>
                    <a:pt x="122" y="248"/>
                  </a:lnTo>
                  <a:lnTo>
                    <a:pt x="118" y="260"/>
                  </a:lnTo>
                  <a:lnTo>
                    <a:pt x="110" y="262"/>
                  </a:lnTo>
                  <a:lnTo>
                    <a:pt x="110" y="267"/>
                  </a:lnTo>
                  <a:lnTo>
                    <a:pt x="110" y="269"/>
                  </a:lnTo>
                  <a:lnTo>
                    <a:pt x="106" y="267"/>
                  </a:lnTo>
                  <a:lnTo>
                    <a:pt x="103" y="269"/>
                  </a:lnTo>
                  <a:lnTo>
                    <a:pt x="103" y="274"/>
                  </a:lnTo>
                  <a:lnTo>
                    <a:pt x="12" y="296"/>
                  </a:lnTo>
                  <a:lnTo>
                    <a:pt x="10" y="288"/>
                  </a:lnTo>
                  <a:lnTo>
                    <a:pt x="2" y="281"/>
                  </a:lnTo>
                  <a:lnTo>
                    <a:pt x="5" y="272"/>
                  </a:lnTo>
                  <a:lnTo>
                    <a:pt x="7" y="267"/>
                  </a:lnTo>
                  <a:lnTo>
                    <a:pt x="2" y="257"/>
                  </a:lnTo>
                  <a:lnTo>
                    <a:pt x="0" y="214"/>
                  </a:lnTo>
                  <a:lnTo>
                    <a:pt x="0" y="199"/>
                  </a:lnTo>
                  <a:lnTo>
                    <a:pt x="5" y="175"/>
                  </a:lnTo>
                  <a:lnTo>
                    <a:pt x="10" y="159"/>
                  </a:lnTo>
                  <a:lnTo>
                    <a:pt x="10" y="147"/>
                  </a:lnTo>
                  <a:lnTo>
                    <a:pt x="5" y="137"/>
                  </a:lnTo>
                  <a:lnTo>
                    <a:pt x="5" y="127"/>
                  </a:lnTo>
                  <a:lnTo>
                    <a:pt x="10" y="120"/>
                  </a:lnTo>
                  <a:lnTo>
                    <a:pt x="26" y="106"/>
                  </a:lnTo>
                  <a:lnTo>
                    <a:pt x="34" y="84"/>
                  </a:lnTo>
                  <a:lnTo>
                    <a:pt x="26" y="70"/>
                  </a:lnTo>
                  <a:lnTo>
                    <a:pt x="24" y="62"/>
                  </a:lnTo>
                  <a:lnTo>
                    <a:pt x="26" y="60"/>
                  </a:lnTo>
                  <a:lnTo>
                    <a:pt x="26" y="55"/>
                  </a:lnTo>
                  <a:lnTo>
                    <a:pt x="24" y="38"/>
                  </a:lnTo>
                  <a:lnTo>
                    <a:pt x="26" y="19"/>
                  </a:lnTo>
                  <a:lnTo>
                    <a:pt x="22" y="12"/>
                  </a:lnTo>
                  <a:lnTo>
                    <a:pt x="24" y="10"/>
                  </a:lnTo>
                  <a:lnTo>
                    <a:pt x="29" y="10"/>
                  </a:lnTo>
                  <a:lnTo>
                    <a:pt x="31" y="2"/>
                  </a:lnTo>
                  <a:lnTo>
                    <a:pt x="36" y="5"/>
                  </a:lnTo>
                  <a:lnTo>
                    <a:pt x="43" y="2"/>
                  </a:lnTo>
                  <a:lnTo>
                    <a:pt x="46" y="0"/>
                  </a:lnTo>
                  <a:lnTo>
                    <a:pt x="106" y="180"/>
                  </a:lnTo>
                  <a:lnTo>
                    <a:pt x="108" y="183"/>
                  </a:lnTo>
                  <a:lnTo>
                    <a:pt x="106" y="192"/>
                  </a:lnTo>
                  <a:lnTo>
                    <a:pt x="108" y="195"/>
                  </a:lnTo>
                  <a:lnTo>
                    <a:pt x="122" y="207"/>
                  </a:lnTo>
                  <a:lnTo>
                    <a:pt x="125" y="207"/>
                  </a:lnTo>
                  <a:lnTo>
                    <a:pt x="127" y="214"/>
                  </a:lnTo>
                  <a:lnTo>
                    <a:pt x="127" y="216"/>
                  </a:lnTo>
                  <a:lnTo>
                    <a:pt x="137" y="231"/>
                  </a:lnTo>
                  <a:lnTo>
                    <a:pt x="134" y="233"/>
                  </a:lnTo>
                  <a:lnTo>
                    <a:pt x="134" y="243"/>
                  </a:lnTo>
                  <a:lnTo>
                    <a:pt x="134" y="24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1" name="Freeform 56"/>
            <p:cNvSpPr>
              <a:spLocks/>
            </p:cNvSpPr>
            <p:nvPr/>
          </p:nvSpPr>
          <p:spPr bwMode="auto">
            <a:xfrm>
              <a:off x="8741199" y="3555879"/>
              <a:ext cx="149225" cy="241300"/>
            </a:xfrm>
            <a:custGeom>
              <a:avLst/>
              <a:gdLst>
                <a:gd name="T0" fmla="*/ 94 w 94"/>
                <a:gd name="T1" fmla="*/ 140 h 152"/>
                <a:gd name="T2" fmla="*/ 91 w 94"/>
                <a:gd name="T3" fmla="*/ 130 h 152"/>
                <a:gd name="T4" fmla="*/ 87 w 94"/>
                <a:gd name="T5" fmla="*/ 113 h 152"/>
                <a:gd name="T6" fmla="*/ 77 w 94"/>
                <a:gd name="T7" fmla="*/ 104 h 152"/>
                <a:gd name="T8" fmla="*/ 60 w 94"/>
                <a:gd name="T9" fmla="*/ 94 h 152"/>
                <a:gd name="T10" fmla="*/ 55 w 94"/>
                <a:gd name="T11" fmla="*/ 87 h 152"/>
                <a:gd name="T12" fmla="*/ 53 w 94"/>
                <a:gd name="T13" fmla="*/ 80 h 152"/>
                <a:gd name="T14" fmla="*/ 41 w 94"/>
                <a:gd name="T15" fmla="*/ 60 h 152"/>
                <a:gd name="T16" fmla="*/ 36 w 94"/>
                <a:gd name="T17" fmla="*/ 51 h 152"/>
                <a:gd name="T18" fmla="*/ 26 w 94"/>
                <a:gd name="T19" fmla="*/ 41 h 152"/>
                <a:gd name="T20" fmla="*/ 24 w 94"/>
                <a:gd name="T21" fmla="*/ 34 h 152"/>
                <a:gd name="T22" fmla="*/ 22 w 94"/>
                <a:gd name="T23" fmla="*/ 27 h 152"/>
                <a:gd name="T24" fmla="*/ 24 w 94"/>
                <a:gd name="T25" fmla="*/ 27 h 152"/>
                <a:gd name="T26" fmla="*/ 24 w 94"/>
                <a:gd name="T27" fmla="*/ 22 h 152"/>
                <a:gd name="T28" fmla="*/ 29 w 94"/>
                <a:gd name="T29" fmla="*/ 3 h 152"/>
                <a:gd name="T30" fmla="*/ 22 w 94"/>
                <a:gd name="T31" fmla="*/ 0 h 152"/>
                <a:gd name="T32" fmla="*/ 12 w 94"/>
                <a:gd name="T33" fmla="*/ 3 h 152"/>
                <a:gd name="T34" fmla="*/ 5 w 94"/>
                <a:gd name="T35" fmla="*/ 10 h 152"/>
                <a:gd name="T36" fmla="*/ 5 w 94"/>
                <a:gd name="T37" fmla="*/ 17 h 152"/>
                <a:gd name="T38" fmla="*/ 0 w 94"/>
                <a:gd name="T39" fmla="*/ 17 h 152"/>
                <a:gd name="T40" fmla="*/ 0 w 94"/>
                <a:gd name="T41" fmla="*/ 20 h 152"/>
                <a:gd name="T42" fmla="*/ 41 w 94"/>
                <a:gd name="T43" fmla="*/ 152 h 152"/>
                <a:gd name="T44" fmla="*/ 94 w 94"/>
                <a:gd name="T45" fmla="*/ 14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152">
                  <a:moveTo>
                    <a:pt x="94" y="140"/>
                  </a:moveTo>
                  <a:lnTo>
                    <a:pt x="91" y="130"/>
                  </a:lnTo>
                  <a:lnTo>
                    <a:pt x="87" y="113"/>
                  </a:lnTo>
                  <a:lnTo>
                    <a:pt x="77" y="104"/>
                  </a:lnTo>
                  <a:lnTo>
                    <a:pt x="60" y="94"/>
                  </a:lnTo>
                  <a:lnTo>
                    <a:pt x="55" y="87"/>
                  </a:lnTo>
                  <a:lnTo>
                    <a:pt x="53" y="80"/>
                  </a:lnTo>
                  <a:lnTo>
                    <a:pt x="41" y="60"/>
                  </a:lnTo>
                  <a:lnTo>
                    <a:pt x="36" y="51"/>
                  </a:lnTo>
                  <a:lnTo>
                    <a:pt x="26" y="41"/>
                  </a:lnTo>
                  <a:lnTo>
                    <a:pt x="24" y="34"/>
                  </a:lnTo>
                  <a:lnTo>
                    <a:pt x="22" y="27"/>
                  </a:lnTo>
                  <a:lnTo>
                    <a:pt x="24" y="27"/>
                  </a:lnTo>
                  <a:lnTo>
                    <a:pt x="24" y="22"/>
                  </a:lnTo>
                  <a:lnTo>
                    <a:pt x="29" y="3"/>
                  </a:lnTo>
                  <a:lnTo>
                    <a:pt x="22" y="0"/>
                  </a:lnTo>
                  <a:lnTo>
                    <a:pt x="12" y="3"/>
                  </a:lnTo>
                  <a:lnTo>
                    <a:pt x="5" y="10"/>
                  </a:lnTo>
                  <a:lnTo>
                    <a:pt x="5" y="17"/>
                  </a:lnTo>
                  <a:lnTo>
                    <a:pt x="0" y="17"/>
                  </a:lnTo>
                  <a:lnTo>
                    <a:pt x="0" y="20"/>
                  </a:lnTo>
                  <a:lnTo>
                    <a:pt x="41" y="152"/>
                  </a:lnTo>
                  <a:lnTo>
                    <a:pt x="94" y="14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2" name="Freeform 57"/>
            <p:cNvSpPr>
              <a:spLocks/>
            </p:cNvSpPr>
            <p:nvPr/>
          </p:nvSpPr>
          <p:spPr bwMode="auto">
            <a:xfrm>
              <a:off x="8591974" y="3743204"/>
              <a:ext cx="46038" cy="53975"/>
            </a:xfrm>
            <a:custGeom>
              <a:avLst/>
              <a:gdLst>
                <a:gd name="T0" fmla="*/ 0 w 29"/>
                <a:gd name="T1" fmla="*/ 12 h 34"/>
                <a:gd name="T2" fmla="*/ 15 w 29"/>
                <a:gd name="T3" fmla="*/ 0 h 34"/>
                <a:gd name="T4" fmla="*/ 29 w 29"/>
                <a:gd name="T5" fmla="*/ 22 h 34"/>
                <a:gd name="T6" fmla="*/ 12 w 29"/>
                <a:gd name="T7" fmla="*/ 34 h 34"/>
                <a:gd name="T8" fmla="*/ 0 w 29"/>
                <a:gd name="T9" fmla="*/ 12 h 34"/>
              </a:gdLst>
              <a:ahLst/>
              <a:cxnLst>
                <a:cxn ang="0">
                  <a:pos x="T0" y="T1"/>
                </a:cxn>
                <a:cxn ang="0">
                  <a:pos x="T2" y="T3"/>
                </a:cxn>
                <a:cxn ang="0">
                  <a:pos x="T4" y="T5"/>
                </a:cxn>
                <a:cxn ang="0">
                  <a:pos x="T6" y="T7"/>
                </a:cxn>
                <a:cxn ang="0">
                  <a:pos x="T8" y="T9"/>
                </a:cxn>
              </a:cxnLst>
              <a:rect l="0" t="0" r="r" b="b"/>
              <a:pathLst>
                <a:path w="29" h="34">
                  <a:moveTo>
                    <a:pt x="0" y="12"/>
                  </a:moveTo>
                  <a:lnTo>
                    <a:pt x="15" y="0"/>
                  </a:lnTo>
                  <a:lnTo>
                    <a:pt x="29" y="22"/>
                  </a:lnTo>
                  <a:lnTo>
                    <a:pt x="12" y="34"/>
                  </a:lnTo>
                  <a:lnTo>
                    <a:pt x="0" y="1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grpSp>
      <p:grpSp>
        <p:nvGrpSpPr>
          <p:cNvPr id="56" name="Group 55"/>
          <p:cNvGrpSpPr/>
          <p:nvPr/>
        </p:nvGrpSpPr>
        <p:grpSpPr>
          <a:xfrm>
            <a:off x="5931434" y="3574455"/>
            <a:ext cx="1014770" cy="1424070"/>
            <a:chOff x="5992648" y="1603744"/>
            <a:chExt cx="1014770" cy="1424070"/>
          </a:xfrm>
        </p:grpSpPr>
        <p:sp>
          <p:nvSpPr>
            <p:cNvPr id="57" name="Oval 56"/>
            <p:cNvSpPr/>
            <p:nvPr/>
          </p:nvSpPr>
          <p:spPr>
            <a:xfrm>
              <a:off x="6056774" y="1654386"/>
              <a:ext cx="913022" cy="913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RBC Display" panose="02000000000000000000" pitchFamily="2" charset="77"/>
                  <a:ea typeface="Open Sans" charset="0"/>
                  <a:cs typeface="Open Sans" charset="0"/>
                </a:rPr>
                <a:t>30B</a:t>
              </a:r>
            </a:p>
          </p:txBody>
        </p:sp>
        <p:sp>
          <p:nvSpPr>
            <p:cNvPr id="58" name="Arc 57"/>
            <p:cNvSpPr/>
            <p:nvPr/>
          </p:nvSpPr>
          <p:spPr>
            <a:xfrm>
              <a:off x="5992648" y="1603744"/>
              <a:ext cx="1014770" cy="1014768"/>
            </a:xfrm>
            <a:prstGeom prst="arc">
              <a:avLst>
                <a:gd name="adj1" fmla="val 16200000"/>
                <a:gd name="adj2" fmla="val 5361434"/>
              </a:avLst>
            </a:prstGeom>
            <a:ln w="38100" cap="rnd" cmpd="sng">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RBC Display" panose="02000000000000000000" pitchFamily="2" charset="77"/>
              </a:endParaRPr>
            </a:p>
          </p:txBody>
        </p:sp>
        <p:sp>
          <p:nvSpPr>
            <p:cNvPr id="59" name="TextBox 58"/>
            <p:cNvSpPr txBox="1"/>
            <p:nvPr/>
          </p:nvSpPr>
          <p:spPr>
            <a:xfrm>
              <a:off x="6111627" y="2720037"/>
              <a:ext cx="776816" cy="307777"/>
            </a:xfrm>
            <a:prstGeom prst="rect">
              <a:avLst/>
            </a:prstGeom>
            <a:noFill/>
          </p:spPr>
          <p:txBody>
            <a:bodyPr wrap="none" lIns="0" rIns="0" rtlCol="0">
              <a:spAutoFit/>
            </a:bodyPr>
            <a:lstStyle/>
            <a:p>
              <a:pPr algn="ctr"/>
              <a:r>
                <a:rPr lang="en-US" sz="1400" b="1" dirty="0">
                  <a:latin typeface="RBC Display" panose="02000000000000000000" pitchFamily="2" charset="77"/>
                  <a:ea typeface="Open Sans" charset="0"/>
                  <a:cs typeface="Open Sans" charset="0"/>
                </a:rPr>
                <a:t>New York</a:t>
              </a:r>
            </a:p>
          </p:txBody>
        </p:sp>
      </p:grpSp>
      <p:grpSp>
        <p:nvGrpSpPr>
          <p:cNvPr id="60" name="Group 59"/>
          <p:cNvGrpSpPr/>
          <p:nvPr/>
        </p:nvGrpSpPr>
        <p:grpSpPr>
          <a:xfrm>
            <a:off x="8064768" y="2425910"/>
            <a:ext cx="1014770" cy="1424070"/>
            <a:chOff x="5992648" y="1603744"/>
            <a:chExt cx="1014770" cy="1424070"/>
          </a:xfrm>
        </p:grpSpPr>
        <p:sp>
          <p:nvSpPr>
            <p:cNvPr id="61" name="Oval 60"/>
            <p:cNvSpPr/>
            <p:nvPr/>
          </p:nvSpPr>
          <p:spPr>
            <a:xfrm>
              <a:off x="6056774" y="1654386"/>
              <a:ext cx="913022" cy="913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RBC Display" panose="02000000000000000000" pitchFamily="2" charset="77"/>
                  <a:ea typeface="Open Sans" charset="0"/>
                  <a:cs typeface="Open Sans" charset="0"/>
                </a:rPr>
                <a:t>300B</a:t>
              </a:r>
            </a:p>
          </p:txBody>
        </p:sp>
        <p:sp>
          <p:nvSpPr>
            <p:cNvPr id="62" name="Arc 61"/>
            <p:cNvSpPr/>
            <p:nvPr/>
          </p:nvSpPr>
          <p:spPr>
            <a:xfrm>
              <a:off x="5992648" y="1603744"/>
              <a:ext cx="1014770" cy="1014768"/>
            </a:xfrm>
            <a:prstGeom prst="arc">
              <a:avLst>
                <a:gd name="adj1" fmla="val 16200000"/>
                <a:gd name="adj2" fmla="val 14357667"/>
              </a:avLst>
            </a:prstGeom>
            <a:ln w="38100" cap="rnd" cmpd="sng">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RBC Display" panose="02000000000000000000" pitchFamily="2" charset="77"/>
              </a:endParaRPr>
            </a:p>
          </p:txBody>
        </p:sp>
        <p:sp>
          <p:nvSpPr>
            <p:cNvPr id="63" name="TextBox 62"/>
            <p:cNvSpPr txBox="1"/>
            <p:nvPr/>
          </p:nvSpPr>
          <p:spPr>
            <a:xfrm>
              <a:off x="6111628" y="2720037"/>
              <a:ext cx="776816" cy="307777"/>
            </a:xfrm>
            <a:prstGeom prst="rect">
              <a:avLst/>
            </a:prstGeom>
            <a:noFill/>
          </p:spPr>
          <p:txBody>
            <a:bodyPr wrap="none" lIns="0" rIns="0" rtlCol="0">
              <a:spAutoFit/>
            </a:bodyPr>
            <a:lstStyle/>
            <a:p>
              <a:pPr algn="ctr"/>
              <a:r>
                <a:rPr lang="en-US" sz="1400" b="1" dirty="0">
                  <a:latin typeface="RBC Display" panose="02000000000000000000" pitchFamily="2" charset="77"/>
                  <a:ea typeface="Open Sans" charset="0"/>
                  <a:cs typeface="Open Sans" charset="0"/>
                </a:rPr>
                <a:t>New York</a:t>
              </a:r>
            </a:p>
          </p:txBody>
        </p:sp>
      </p:grpSp>
      <p:grpSp>
        <p:nvGrpSpPr>
          <p:cNvPr id="64" name="Group 63"/>
          <p:cNvGrpSpPr/>
          <p:nvPr/>
        </p:nvGrpSpPr>
        <p:grpSpPr>
          <a:xfrm>
            <a:off x="10556740" y="3379798"/>
            <a:ext cx="1014770" cy="1424070"/>
            <a:chOff x="5992648" y="1603744"/>
            <a:chExt cx="1014770" cy="1424070"/>
          </a:xfrm>
        </p:grpSpPr>
        <p:sp>
          <p:nvSpPr>
            <p:cNvPr id="65" name="Oval 64"/>
            <p:cNvSpPr/>
            <p:nvPr/>
          </p:nvSpPr>
          <p:spPr>
            <a:xfrm>
              <a:off x="6056774" y="1654386"/>
              <a:ext cx="913022" cy="913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RBC Display" panose="02000000000000000000" pitchFamily="2" charset="77"/>
                  <a:ea typeface="Open Sans" charset="0"/>
                  <a:cs typeface="Open Sans" charset="0"/>
                </a:rPr>
                <a:t>50B</a:t>
              </a:r>
            </a:p>
          </p:txBody>
        </p:sp>
        <p:sp>
          <p:nvSpPr>
            <p:cNvPr id="66" name="Arc 65"/>
            <p:cNvSpPr/>
            <p:nvPr/>
          </p:nvSpPr>
          <p:spPr>
            <a:xfrm>
              <a:off x="5992648" y="1603744"/>
              <a:ext cx="1014770" cy="1014768"/>
            </a:xfrm>
            <a:prstGeom prst="arc">
              <a:avLst>
                <a:gd name="adj1" fmla="val 16200000"/>
                <a:gd name="adj2" fmla="val 9036583"/>
              </a:avLst>
            </a:prstGeom>
            <a:ln w="38100" cap="rnd" cmpd="sng">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RBC Display" panose="02000000000000000000" pitchFamily="2" charset="77"/>
              </a:endParaRPr>
            </a:p>
          </p:txBody>
        </p:sp>
        <p:sp>
          <p:nvSpPr>
            <p:cNvPr id="67" name="TextBox 66"/>
            <p:cNvSpPr txBox="1"/>
            <p:nvPr/>
          </p:nvSpPr>
          <p:spPr>
            <a:xfrm>
              <a:off x="6111627" y="2720037"/>
              <a:ext cx="776816" cy="307777"/>
            </a:xfrm>
            <a:prstGeom prst="rect">
              <a:avLst/>
            </a:prstGeom>
            <a:noFill/>
          </p:spPr>
          <p:txBody>
            <a:bodyPr wrap="none" lIns="0" rIns="0" rtlCol="0">
              <a:spAutoFit/>
            </a:bodyPr>
            <a:lstStyle/>
            <a:p>
              <a:pPr algn="ctr"/>
              <a:r>
                <a:rPr lang="en-US" sz="1400" b="1" dirty="0">
                  <a:latin typeface="RBC Display" panose="02000000000000000000" pitchFamily="2" charset="77"/>
                  <a:ea typeface="Open Sans" charset="0"/>
                  <a:cs typeface="Open Sans" charset="0"/>
                </a:rPr>
                <a:t>New York</a:t>
              </a:r>
            </a:p>
          </p:txBody>
        </p:sp>
      </p:grpSp>
      <p:sp>
        <p:nvSpPr>
          <p:cNvPr id="77" name="TextBox 76"/>
          <p:cNvSpPr txBox="1"/>
          <p:nvPr/>
        </p:nvSpPr>
        <p:spPr>
          <a:xfrm>
            <a:off x="1124224" y="5267962"/>
            <a:ext cx="668581" cy="276999"/>
          </a:xfrm>
          <a:prstGeom prst="rect">
            <a:avLst/>
          </a:prstGeom>
          <a:noFill/>
        </p:spPr>
        <p:txBody>
          <a:bodyPr wrap="none" lIns="0" rIns="0" rtlCol="0">
            <a:spAutoFit/>
          </a:bodyPr>
          <a:lstStyle/>
          <a:p>
            <a:r>
              <a:rPr lang="en-US" sz="1200" b="1" dirty="0">
                <a:solidFill>
                  <a:schemeClr val="tx1">
                    <a:alpha val="60000"/>
                  </a:schemeClr>
                </a:solidFill>
                <a:latin typeface="RBC Display" panose="02000000000000000000" pitchFamily="2" charset="77"/>
                <a:ea typeface="Open Sans" charset="0"/>
                <a:cs typeface="Open Sans" charset="0"/>
              </a:rPr>
              <a:t>New York</a:t>
            </a:r>
          </a:p>
        </p:txBody>
      </p:sp>
      <p:sp>
        <p:nvSpPr>
          <p:cNvPr id="78" name="TextBox 77"/>
          <p:cNvSpPr txBox="1"/>
          <p:nvPr/>
        </p:nvSpPr>
        <p:spPr>
          <a:xfrm>
            <a:off x="925164" y="5536382"/>
            <a:ext cx="2677473" cy="526298"/>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a:t>
            </a:r>
          </a:p>
        </p:txBody>
      </p:sp>
      <p:sp>
        <p:nvSpPr>
          <p:cNvPr id="79" name="TextBox 78"/>
          <p:cNvSpPr txBox="1"/>
          <p:nvPr/>
        </p:nvSpPr>
        <p:spPr>
          <a:xfrm>
            <a:off x="917226" y="4860396"/>
            <a:ext cx="913583" cy="461665"/>
          </a:xfrm>
          <a:prstGeom prst="rect">
            <a:avLst/>
          </a:prstGeom>
          <a:noFill/>
        </p:spPr>
        <p:txBody>
          <a:bodyPr wrap="none" lIns="0" rIns="0" rtlCol="0">
            <a:spAutoFit/>
          </a:bodyPr>
          <a:lstStyle/>
          <a:p>
            <a:r>
              <a:rPr lang="en-US" sz="2400" b="1" dirty="0">
                <a:latin typeface="RBC Display" panose="02000000000000000000" pitchFamily="2" charset="77"/>
                <a:ea typeface="Open Sans" charset="0"/>
                <a:cs typeface="Open Sans" charset="0"/>
              </a:rPr>
              <a:t>$340B</a:t>
            </a:r>
          </a:p>
        </p:txBody>
      </p:sp>
      <p:sp>
        <p:nvSpPr>
          <p:cNvPr id="81" name="Oval 80"/>
          <p:cNvSpPr/>
          <p:nvPr/>
        </p:nvSpPr>
        <p:spPr>
          <a:xfrm>
            <a:off x="931904" y="5335620"/>
            <a:ext cx="130546" cy="13054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70" name="Text Placeholder 6">
            <a:extLst>
              <a:ext uri="{FF2B5EF4-FFF2-40B4-BE49-F238E27FC236}">
                <a16:creationId xmlns:a16="http://schemas.microsoft.com/office/drawing/2014/main" id="{E52776C5-2658-5748-A629-3F97A34E46EE}"/>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10401134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9" name="Table 118"/>
          <p:cNvGraphicFramePr>
            <a:graphicFrameLocks noGrp="1"/>
          </p:cNvGraphicFramePr>
          <p:nvPr>
            <p:extLst>
              <p:ext uri="{D42A27DB-BD31-4B8C-83A1-F6EECF244321}">
                <p14:modId xmlns:p14="http://schemas.microsoft.com/office/powerpoint/2010/main" val="43728506"/>
              </p:ext>
            </p:extLst>
          </p:nvPr>
        </p:nvGraphicFramePr>
        <p:xfrm>
          <a:off x="913016" y="3786188"/>
          <a:ext cx="3937946" cy="1854200"/>
        </p:xfrm>
        <a:graphic>
          <a:graphicData uri="http://schemas.openxmlformats.org/drawingml/2006/table">
            <a:tbl>
              <a:tblPr firstRow="1" bandRow="1">
                <a:tableStyleId>{2D5ABB26-0587-4C30-8999-92F81FD0307C}</a:tableStyleId>
              </a:tblPr>
              <a:tblGrid>
                <a:gridCol w="1968973">
                  <a:extLst>
                    <a:ext uri="{9D8B030D-6E8A-4147-A177-3AD203B41FA5}">
                      <a16:colId xmlns:a16="http://schemas.microsoft.com/office/drawing/2014/main" val="20000"/>
                    </a:ext>
                  </a:extLst>
                </a:gridCol>
                <a:gridCol w="1968973">
                  <a:extLst>
                    <a:ext uri="{9D8B030D-6E8A-4147-A177-3AD203B41FA5}">
                      <a16:colId xmlns:a16="http://schemas.microsoft.com/office/drawing/2014/main" val="20001"/>
                    </a:ext>
                  </a:extLst>
                </a:gridCol>
              </a:tblGrid>
              <a:tr h="370840">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Display" panose="02000000000000000000" pitchFamily="2" charset="77"/>
                          <a:ea typeface="Open Sans" charset="0"/>
                          <a:cs typeface="Open Sans" charset="0"/>
                        </a:rPr>
                        <a:t>China</a:t>
                      </a:r>
                    </a:p>
                  </a:txBody>
                  <a:tcPr marL="360000" anchor="ctr">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Display" panose="02000000000000000000" pitchFamily="2" charset="77"/>
                          <a:ea typeface="Open Sans" charset="0"/>
                          <a:cs typeface="Open Sans" charset="0"/>
                        </a:rPr>
                        <a:t>$2300B</a:t>
                      </a:r>
                    </a:p>
                  </a:txBody>
                  <a:tcPr anchor="ctr">
                    <a:lnL w="12700" cap="flat" cmpd="sng" algn="ctr">
                      <a:solidFill>
                        <a:schemeClr val="accent1"/>
                      </a:solidFill>
                      <a:prstDash val="solid"/>
                      <a:round/>
                      <a:headEnd type="none" w="med" len="med"/>
                      <a:tailEnd type="none" w="med" len="med"/>
                    </a:lnL>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Display" panose="02000000000000000000" pitchFamily="2" charset="77"/>
                          <a:ea typeface="Open Sans" charset="0"/>
                          <a:cs typeface="Open Sans" charset="0"/>
                        </a:rPr>
                        <a:t>Japan</a:t>
                      </a:r>
                    </a:p>
                  </a:txBody>
                  <a:tcPr marL="360000"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Display" panose="02000000000000000000" pitchFamily="2" charset="77"/>
                          <a:ea typeface="Open Sans" charset="0"/>
                          <a:cs typeface="Open Sans" charset="0"/>
                        </a:rPr>
                        <a:t>$400B</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Display" panose="02000000000000000000" pitchFamily="2" charset="77"/>
                          <a:ea typeface="Open Sans" charset="0"/>
                          <a:cs typeface="Open Sans" charset="0"/>
                        </a:rPr>
                        <a:t>India</a:t>
                      </a:r>
                    </a:p>
                  </a:txBody>
                  <a:tcPr marL="360000"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Display" panose="02000000000000000000" pitchFamily="2" charset="77"/>
                          <a:ea typeface="Open Sans" charset="0"/>
                          <a:cs typeface="Open Sans" charset="0"/>
                        </a:rPr>
                        <a:t>$50B</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Display" panose="02000000000000000000" pitchFamily="2" charset="77"/>
                          <a:ea typeface="Open Sans" charset="0"/>
                          <a:cs typeface="Open Sans" charset="0"/>
                        </a:rPr>
                        <a:t>Saudi</a:t>
                      </a:r>
                      <a:r>
                        <a:rPr lang="en-US" sz="1200" b="1" i="0" baseline="0" dirty="0">
                          <a:solidFill>
                            <a:schemeClr val="tx1"/>
                          </a:solidFill>
                          <a:latin typeface="RBC Display" panose="02000000000000000000" pitchFamily="2" charset="77"/>
                          <a:ea typeface="Open Sans" charset="0"/>
                          <a:cs typeface="Open Sans" charset="0"/>
                        </a:rPr>
                        <a:t> Arabia</a:t>
                      </a:r>
                      <a:endParaRPr lang="en-US" sz="1200" b="1" i="0" dirty="0">
                        <a:solidFill>
                          <a:schemeClr val="tx1"/>
                        </a:solidFill>
                        <a:latin typeface="RBC Display" panose="02000000000000000000" pitchFamily="2" charset="77"/>
                        <a:ea typeface="Open Sans" charset="0"/>
                        <a:cs typeface="Open Sans" charset="0"/>
                      </a:endParaRPr>
                    </a:p>
                  </a:txBody>
                  <a:tcPr marL="360000"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Display" panose="02000000000000000000" pitchFamily="2" charset="77"/>
                          <a:ea typeface="Open Sans" charset="0"/>
                          <a:cs typeface="Open Sans" charset="0"/>
                        </a:rPr>
                        <a:t>$54B</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3"/>
                  </a:ext>
                </a:extLst>
              </a:tr>
              <a:tr h="370840">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Display" panose="02000000000000000000" pitchFamily="2" charset="77"/>
                          <a:ea typeface="Open Sans" charset="0"/>
                          <a:cs typeface="Open Sans" charset="0"/>
                        </a:rPr>
                        <a:t>Russia</a:t>
                      </a:r>
                    </a:p>
                  </a:txBody>
                  <a:tcPr marL="360000"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Display" panose="02000000000000000000" pitchFamily="2" charset="77"/>
                          <a:ea typeface="Open Sans" charset="0"/>
                          <a:cs typeface="Open Sans" charset="0"/>
                        </a:rPr>
                        <a:t>$28B</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
        <p:nvSpPr>
          <p:cNvPr id="34" name="Freeform 175"/>
          <p:cNvSpPr>
            <a:spLocks/>
          </p:cNvSpPr>
          <p:nvPr/>
        </p:nvSpPr>
        <p:spPr bwMode="auto">
          <a:xfrm>
            <a:off x="10058400" y="3629025"/>
            <a:ext cx="196850" cy="344488"/>
          </a:xfrm>
          <a:custGeom>
            <a:avLst/>
            <a:gdLst>
              <a:gd name="T0" fmla="*/ 0 w 124"/>
              <a:gd name="T1" fmla="*/ 120 h 217"/>
              <a:gd name="T2" fmla="*/ 10 w 124"/>
              <a:gd name="T3" fmla="*/ 107 h 217"/>
              <a:gd name="T4" fmla="*/ 15 w 124"/>
              <a:gd name="T5" fmla="*/ 97 h 217"/>
              <a:gd name="T6" fmla="*/ 25 w 124"/>
              <a:gd name="T7" fmla="*/ 87 h 217"/>
              <a:gd name="T8" fmla="*/ 32 w 124"/>
              <a:gd name="T9" fmla="*/ 70 h 217"/>
              <a:gd name="T10" fmla="*/ 32 w 124"/>
              <a:gd name="T11" fmla="*/ 57 h 217"/>
              <a:gd name="T12" fmla="*/ 42 w 124"/>
              <a:gd name="T13" fmla="*/ 60 h 217"/>
              <a:gd name="T14" fmla="*/ 50 w 124"/>
              <a:gd name="T15" fmla="*/ 65 h 217"/>
              <a:gd name="T16" fmla="*/ 60 w 124"/>
              <a:gd name="T17" fmla="*/ 65 h 217"/>
              <a:gd name="T18" fmla="*/ 77 w 124"/>
              <a:gd name="T19" fmla="*/ 65 h 217"/>
              <a:gd name="T20" fmla="*/ 82 w 124"/>
              <a:gd name="T21" fmla="*/ 55 h 217"/>
              <a:gd name="T22" fmla="*/ 69 w 124"/>
              <a:gd name="T23" fmla="*/ 45 h 217"/>
              <a:gd name="T24" fmla="*/ 79 w 124"/>
              <a:gd name="T25" fmla="*/ 43 h 217"/>
              <a:gd name="T26" fmla="*/ 89 w 124"/>
              <a:gd name="T27" fmla="*/ 28 h 217"/>
              <a:gd name="T28" fmla="*/ 99 w 124"/>
              <a:gd name="T29" fmla="*/ 20 h 217"/>
              <a:gd name="T30" fmla="*/ 99 w 124"/>
              <a:gd name="T31" fmla="*/ 13 h 217"/>
              <a:gd name="T32" fmla="*/ 99 w 124"/>
              <a:gd name="T33" fmla="*/ 0 h 217"/>
              <a:gd name="T34" fmla="*/ 109 w 124"/>
              <a:gd name="T35" fmla="*/ 3 h 217"/>
              <a:gd name="T36" fmla="*/ 112 w 124"/>
              <a:gd name="T37" fmla="*/ 10 h 217"/>
              <a:gd name="T38" fmla="*/ 124 w 124"/>
              <a:gd name="T39" fmla="*/ 23 h 217"/>
              <a:gd name="T40" fmla="*/ 114 w 124"/>
              <a:gd name="T41" fmla="*/ 30 h 217"/>
              <a:gd name="T42" fmla="*/ 112 w 124"/>
              <a:gd name="T43" fmla="*/ 38 h 217"/>
              <a:gd name="T44" fmla="*/ 109 w 124"/>
              <a:gd name="T45" fmla="*/ 57 h 217"/>
              <a:gd name="T46" fmla="*/ 114 w 124"/>
              <a:gd name="T47" fmla="*/ 75 h 217"/>
              <a:gd name="T48" fmla="*/ 117 w 124"/>
              <a:gd name="T49" fmla="*/ 85 h 217"/>
              <a:gd name="T50" fmla="*/ 112 w 124"/>
              <a:gd name="T51" fmla="*/ 92 h 217"/>
              <a:gd name="T52" fmla="*/ 99 w 124"/>
              <a:gd name="T53" fmla="*/ 110 h 217"/>
              <a:gd name="T54" fmla="*/ 94 w 124"/>
              <a:gd name="T55" fmla="*/ 117 h 217"/>
              <a:gd name="T56" fmla="*/ 84 w 124"/>
              <a:gd name="T57" fmla="*/ 120 h 217"/>
              <a:gd name="T58" fmla="*/ 74 w 124"/>
              <a:gd name="T59" fmla="*/ 130 h 217"/>
              <a:gd name="T60" fmla="*/ 77 w 124"/>
              <a:gd name="T61" fmla="*/ 142 h 217"/>
              <a:gd name="T62" fmla="*/ 74 w 124"/>
              <a:gd name="T63" fmla="*/ 152 h 217"/>
              <a:gd name="T64" fmla="*/ 87 w 124"/>
              <a:gd name="T65" fmla="*/ 160 h 217"/>
              <a:gd name="T66" fmla="*/ 109 w 124"/>
              <a:gd name="T67" fmla="*/ 177 h 217"/>
              <a:gd name="T68" fmla="*/ 82 w 124"/>
              <a:gd name="T69" fmla="*/ 185 h 217"/>
              <a:gd name="T70" fmla="*/ 62 w 124"/>
              <a:gd name="T71" fmla="*/ 195 h 217"/>
              <a:gd name="T72" fmla="*/ 52 w 124"/>
              <a:gd name="T73" fmla="*/ 210 h 217"/>
              <a:gd name="T74" fmla="*/ 45 w 124"/>
              <a:gd name="T75" fmla="*/ 205 h 217"/>
              <a:gd name="T76" fmla="*/ 40 w 124"/>
              <a:gd name="T77" fmla="*/ 215 h 217"/>
              <a:gd name="T78" fmla="*/ 32 w 124"/>
              <a:gd name="T79" fmla="*/ 217 h 217"/>
              <a:gd name="T80" fmla="*/ 35 w 124"/>
              <a:gd name="T81" fmla="*/ 205 h 217"/>
              <a:gd name="T82" fmla="*/ 25 w 124"/>
              <a:gd name="T83" fmla="*/ 205 h 217"/>
              <a:gd name="T84" fmla="*/ 22 w 124"/>
              <a:gd name="T85" fmla="*/ 200 h 217"/>
              <a:gd name="T86" fmla="*/ 27 w 124"/>
              <a:gd name="T87" fmla="*/ 182 h 217"/>
              <a:gd name="T88" fmla="*/ 40 w 124"/>
              <a:gd name="T89" fmla="*/ 177 h 217"/>
              <a:gd name="T90" fmla="*/ 25 w 124"/>
              <a:gd name="T91" fmla="*/ 177 h 217"/>
              <a:gd name="T92" fmla="*/ 22 w 124"/>
              <a:gd name="T93" fmla="*/ 165 h 217"/>
              <a:gd name="T94" fmla="*/ 25 w 124"/>
              <a:gd name="T95" fmla="*/ 147 h 217"/>
              <a:gd name="T96" fmla="*/ 30 w 124"/>
              <a:gd name="T97" fmla="*/ 140 h 217"/>
              <a:gd name="T98" fmla="*/ 25 w 124"/>
              <a:gd name="T99" fmla="*/ 145 h 217"/>
              <a:gd name="T100" fmla="*/ 12 w 124"/>
              <a:gd name="T101" fmla="*/ 142 h 217"/>
              <a:gd name="T102" fmla="*/ 7 w 124"/>
              <a:gd name="T103" fmla="*/ 145 h 217"/>
              <a:gd name="T104" fmla="*/ 0 w 124"/>
              <a:gd name="T105" fmla="*/ 137 h 217"/>
              <a:gd name="T106" fmla="*/ 0 w 124"/>
              <a:gd name="T107"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4" h="217">
                <a:moveTo>
                  <a:pt x="0" y="135"/>
                </a:moveTo>
                <a:lnTo>
                  <a:pt x="0" y="120"/>
                </a:lnTo>
                <a:lnTo>
                  <a:pt x="5" y="115"/>
                </a:lnTo>
                <a:lnTo>
                  <a:pt x="10" y="107"/>
                </a:lnTo>
                <a:lnTo>
                  <a:pt x="10" y="102"/>
                </a:lnTo>
                <a:lnTo>
                  <a:pt x="15" y="97"/>
                </a:lnTo>
                <a:lnTo>
                  <a:pt x="20" y="90"/>
                </a:lnTo>
                <a:lnTo>
                  <a:pt x="25" y="87"/>
                </a:lnTo>
                <a:lnTo>
                  <a:pt x="30" y="75"/>
                </a:lnTo>
                <a:lnTo>
                  <a:pt x="32" y="70"/>
                </a:lnTo>
                <a:lnTo>
                  <a:pt x="32" y="67"/>
                </a:lnTo>
                <a:lnTo>
                  <a:pt x="32" y="57"/>
                </a:lnTo>
                <a:lnTo>
                  <a:pt x="37" y="52"/>
                </a:lnTo>
                <a:lnTo>
                  <a:pt x="42" y="60"/>
                </a:lnTo>
                <a:lnTo>
                  <a:pt x="47" y="62"/>
                </a:lnTo>
                <a:lnTo>
                  <a:pt x="50" y="65"/>
                </a:lnTo>
                <a:lnTo>
                  <a:pt x="55" y="62"/>
                </a:lnTo>
                <a:lnTo>
                  <a:pt x="60" y="65"/>
                </a:lnTo>
                <a:lnTo>
                  <a:pt x="72" y="65"/>
                </a:lnTo>
                <a:lnTo>
                  <a:pt x="77" y="65"/>
                </a:lnTo>
                <a:lnTo>
                  <a:pt x="82" y="57"/>
                </a:lnTo>
                <a:lnTo>
                  <a:pt x="82" y="55"/>
                </a:lnTo>
                <a:lnTo>
                  <a:pt x="74" y="50"/>
                </a:lnTo>
                <a:lnTo>
                  <a:pt x="69" y="45"/>
                </a:lnTo>
                <a:lnTo>
                  <a:pt x="74" y="43"/>
                </a:lnTo>
                <a:lnTo>
                  <a:pt x="79" y="43"/>
                </a:lnTo>
                <a:lnTo>
                  <a:pt x="89" y="33"/>
                </a:lnTo>
                <a:lnTo>
                  <a:pt x="89" y="28"/>
                </a:lnTo>
                <a:lnTo>
                  <a:pt x="94" y="23"/>
                </a:lnTo>
                <a:lnTo>
                  <a:pt x="99" y="20"/>
                </a:lnTo>
                <a:lnTo>
                  <a:pt x="102" y="15"/>
                </a:lnTo>
                <a:lnTo>
                  <a:pt x="99" y="13"/>
                </a:lnTo>
                <a:lnTo>
                  <a:pt x="99" y="8"/>
                </a:lnTo>
                <a:lnTo>
                  <a:pt x="99" y="0"/>
                </a:lnTo>
                <a:lnTo>
                  <a:pt x="104" y="0"/>
                </a:lnTo>
                <a:lnTo>
                  <a:pt x="109" y="3"/>
                </a:lnTo>
                <a:lnTo>
                  <a:pt x="109" y="8"/>
                </a:lnTo>
                <a:lnTo>
                  <a:pt x="112" y="10"/>
                </a:lnTo>
                <a:lnTo>
                  <a:pt x="119" y="13"/>
                </a:lnTo>
                <a:lnTo>
                  <a:pt x="124" y="23"/>
                </a:lnTo>
                <a:lnTo>
                  <a:pt x="124" y="20"/>
                </a:lnTo>
                <a:lnTo>
                  <a:pt x="114" y="30"/>
                </a:lnTo>
                <a:lnTo>
                  <a:pt x="112" y="30"/>
                </a:lnTo>
                <a:lnTo>
                  <a:pt x="112" y="38"/>
                </a:lnTo>
                <a:lnTo>
                  <a:pt x="109" y="50"/>
                </a:lnTo>
                <a:lnTo>
                  <a:pt x="109" y="57"/>
                </a:lnTo>
                <a:lnTo>
                  <a:pt x="114" y="62"/>
                </a:lnTo>
                <a:lnTo>
                  <a:pt x="114" y="75"/>
                </a:lnTo>
                <a:lnTo>
                  <a:pt x="119" y="80"/>
                </a:lnTo>
                <a:lnTo>
                  <a:pt x="117" y="85"/>
                </a:lnTo>
                <a:lnTo>
                  <a:pt x="109" y="90"/>
                </a:lnTo>
                <a:lnTo>
                  <a:pt x="112" y="92"/>
                </a:lnTo>
                <a:lnTo>
                  <a:pt x="97" y="107"/>
                </a:lnTo>
                <a:lnTo>
                  <a:pt x="99" y="110"/>
                </a:lnTo>
                <a:lnTo>
                  <a:pt x="94" y="115"/>
                </a:lnTo>
                <a:lnTo>
                  <a:pt x="94" y="117"/>
                </a:lnTo>
                <a:lnTo>
                  <a:pt x="89" y="117"/>
                </a:lnTo>
                <a:lnTo>
                  <a:pt x="84" y="120"/>
                </a:lnTo>
                <a:lnTo>
                  <a:pt x="82" y="127"/>
                </a:lnTo>
                <a:lnTo>
                  <a:pt x="74" y="130"/>
                </a:lnTo>
                <a:lnTo>
                  <a:pt x="74" y="137"/>
                </a:lnTo>
                <a:lnTo>
                  <a:pt x="77" y="142"/>
                </a:lnTo>
                <a:lnTo>
                  <a:pt x="74" y="147"/>
                </a:lnTo>
                <a:lnTo>
                  <a:pt x="74" y="152"/>
                </a:lnTo>
                <a:lnTo>
                  <a:pt x="84" y="155"/>
                </a:lnTo>
                <a:lnTo>
                  <a:pt x="87" y="160"/>
                </a:lnTo>
                <a:lnTo>
                  <a:pt x="107" y="170"/>
                </a:lnTo>
                <a:lnTo>
                  <a:pt x="109" y="177"/>
                </a:lnTo>
                <a:lnTo>
                  <a:pt x="99" y="182"/>
                </a:lnTo>
                <a:lnTo>
                  <a:pt x="82" y="185"/>
                </a:lnTo>
                <a:lnTo>
                  <a:pt x="72" y="192"/>
                </a:lnTo>
                <a:lnTo>
                  <a:pt x="62" y="195"/>
                </a:lnTo>
                <a:lnTo>
                  <a:pt x="55" y="205"/>
                </a:lnTo>
                <a:lnTo>
                  <a:pt x="52" y="210"/>
                </a:lnTo>
                <a:lnTo>
                  <a:pt x="47" y="202"/>
                </a:lnTo>
                <a:lnTo>
                  <a:pt x="45" y="205"/>
                </a:lnTo>
                <a:lnTo>
                  <a:pt x="45" y="207"/>
                </a:lnTo>
                <a:lnTo>
                  <a:pt x="40" y="215"/>
                </a:lnTo>
                <a:lnTo>
                  <a:pt x="37" y="212"/>
                </a:lnTo>
                <a:lnTo>
                  <a:pt x="32" y="217"/>
                </a:lnTo>
                <a:lnTo>
                  <a:pt x="30" y="212"/>
                </a:lnTo>
                <a:lnTo>
                  <a:pt x="35" y="205"/>
                </a:lnTo>
                <a:lnTo>
                  <a:pt x="30" y="202"/>
                </a:lnTo>
                <a:lnTo>
                  <a:pt x="25" y="205"/>
                </a:lnTo>
                <a:lnTo>
                  <a:pt x="22" y="205"/>
                </a:lnTo>
                <a:lnTo>
                  <a:pt x="22" y="200"/>
                </a:lnTo>
                <a:lnTo>
                  <a:pt x="25" y="190"/>
                </a:lnTo>
                <a:lnTo>
                  <a:pt x="27" y="182"/>
                </a:lnTo>
                <a:lnTo>
                  <a:pt x="35" y="182"/>
                </a:lnTo>
                <a:lnTo>
                  <a:pt x="40" y="177"/>
                </a:lnTo>
                <a:lnTo>
                  <a:pt x="35" y="180"/>
                </a:lnTo>
                <a:lnTo>
                  <a:pt x="25" y="177"/>
                </a:lnTo>
                <a:lnTo>
                  <a:pt x="22" y="177"/>
                </a:lnTo>
                <a:lnTo>
                  <a:pt x="22" y="165"/>
                </a:lnTo>
                <a:lnTo>
                  <a:pt x="30" y="152"/>
                </a:lnTo>
                <a:lnTo>
                  <a:pt x="25" y="147"/>
                </a:lnTo>
                <a:lnTo>
                  <a:pt x="30" y="145"/>
                </a:lnTo>
                <a:lnTo>
                  <a:pt x="30" y="140"/>
                </a:lnTo>
                <a:lnTo>
                  <a:pt x="27" y="142"/>
                </a:lnTo>
                <a:lnTo>
                  <a:pt x="25" y="145"/>
                </a:lnTo>
                <a:lnTo>
                  <a:pt x="15" y="147"/>
                </a:lnTo>
                <a:lnTo>
                  <a:pt x="12" y="142"/>
                </a:lnTo>
                <a:lnTo>
                  <a:pt x="7" y="140"/>
                </a:lnTo>
                <a:lnTo>
                  <a:pt x="7" y="145"/>
                </a:lnTo>
                <a:lnTo>
                  <a:pt x="2" y="147"/>
                </a:lnTo>
                <a:lnTo>
                  <a:pt x="0" y="137"/>
                </a:lnTo>
                <a:lnTo>
                  <a:pt x="0" y="137"/>
                </a:lnTo>
                <a:lnTo>
                  <a:pt x="0" y="13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2" name="Title 1"/>
          <p:cNvSpPr>
            <a:spLocks noGrp="1"/>
          </p:cNvSpPr>
          <p:nvPr>
            <p:ph type="title"/>
          </p:nvPr>
        </p:nvSpPr>
        <p:spPr/>
        <p:txBody>
          <a:bodyPr/>
          <a:lstStyle/>
          <a:p>
            <a:r>
              <a:rPr lang="en-US" dirty="0">
                <a:solidFill>
                  <a:schemeClr val="accent1"/>
                </a:solidFill>
              </a:rPr>
              <a:t>Asia</a:t>
            </a:r>
            <a:r>
              <a:rPr lang="en-US" dirty="0"/>
              <a:t> Chart</a:t>
            </a:r>
          </a:p>
        </p:txBody>
      </p:sp>
      <p:sp>
        <p:nvSpPr>
          <p:cNvPr id="5" name="Freeform 146"/>
          <p:cNvSpPr>
            <a:spLocks/>
          </p:cNvSpPr>
          <p:nvPr/>
        </p:nvSpPr>
        <p:spPr bwMode="auto">
          <a:xfrm>
            <a:off x="6600825" y="4132263"/>
            <a:ext cx="420687" cy="400050"/>
          </a:xfrm>
          <a:custGeom>
            <a:avLst/>
            <a:gdLst>
              <a:gd name="T0" fmla="*/ 38 w 265"/>
              <a:gd name="T1" fmla="*/ 160 h 252"/>
              <a:gd name="T2" fmla="*/ 217 w 265"/>
              <a:gd name="T3" fmla="*/ 247 h 252"/>
              <a:gd name="T4" fmla="*/ 250 w 265"/>
              <a:gd name="T5" fmla="*/ 222 h 252"/>
              <a:gd name="T6" fmla="*/ 262 w 265"/>
              <a:gd name="T7" fmla="*/ 215 h 252"/>
              <a:gd name="T8" fmla="*/ 260 w 265"/>
              <a:gd name="T9" fmla="*/ 212 h 252"/>
              <a:gd name="T10" fmla="*/ 252 w 265"/>
              <a:gd name="T11" fmla="*/ 210 h 252"/>
              <a:gd name="T12" fmla="*/ 245 w 265"/>
              <a:gd name="T13" fmla="*/ 190 h 252"/>
              <a:gd name="T14" fmla="*/ 235 w 265"/>
              <a:gd name="T15" fmla="*/ 182 h 252"/>
              <a:gd name="T16" fmla="*/ 242 w 265"/>
              <a:gd name="T17" fmla="*/ 170 h 252"/>
              <a:gd name="T18" fmla="*/ 230 w 265"/>
              <a:gd name="T19" fmla="*/ 155 h 252"/>
              <a:gd name="T20" fmla="*/ 222 w 265"/>
              <a:gd name="T21" fmla="*/ 142 h 252"/>
              <a:gd name="T22" fmla="*/ 200 w 265"/>
              <a:gd name="T23" fmla="*/ 132 h 252"/>
              <a:gd name="T24" fmla="*/ 192 w 265"/>
              <a:gd name="T25" fmla="*/ 135 h 252"/>
              <a:gd name="T26" fmla="*/ 187 w 265"/>
              <a:gd name="T27" fmla="*/ 127 h 252"/>
              <a:gd name="T28" fmla="*/ 190 w 265"/>
              <a:gd name="T29" fmla="*/ 120 h 252"/>
              <a:gd name="T30" fmla="*/ 182 w 265"/>
              <a:gd name="T31" fmla="*/ 110 h 252"/>
              <a:gd name="T32" fmla="*/ 172 w 265"/>
              <a:gd name="T33" fmla="*/ 105 h 252"/>
              <a:gd name="T34" fmla="*/ 170 w 265"/>
              <a:gd name="T35" fmla="*/ 102 h 252"/>
              <a:gd name="T36" fmla="*/ 170 w 265"/>
              <a:gd name="T37" fmla="*/ 95 h 252"/>
              <a:gd name="T38" fmla="*/ 172 w 265"/>
              <a:gd name="T39" fmla="*/ 82 h 252"/>
              <a:gd name="T40" fmla="*/ 175 w 265"/>
              <a:gd name="T41" fmla="*/ 72 h 252"/>
              <a:gd name="T42" fmla="*/ 182 w 265"/>
              <a:gd name="T43" fmla="*/ 70 h 252"/>
              <a:gd name="T44" fmla="*/ 180 w 265"/>
              <a:gd name="T45" fmla="*/ 60 h 252"/>
              <a:gd name="T46" fmla="*/ 182 w 265"/>
              <a:gd name="T47" fmla="*/ 52 h 252"/>
              <a:gd name="T48" fmla="*/ 190 w 265"/>
              <a:gd name="T49" fmla="*/ 50 h 252"/>
              <a:gd name="T50" fmla="*/ 185 w 265"/>
              <a:gd name="T51" fmla="*/ 45 h 252"/>
              <a:gd name="T52" fmla="*/ 175 w 265"/>
              <a:gd name="T53" fmla="*/ 45 h 252"/>
              <a:gd name="T54" fmla="*/ 160 w 265"/>
              <a:gd name="T55" fmla="*/ 40 h 252"/>
              <a:gd name="T56" fmla="*/ 155 w 265"/>
              <a:gd name="T57" fmla="*/ 30 h 252"/>
              <a:gd name="T58" fmla="*/ 147 w 265"/>
              <a:gd name="T59" fmla="*/ 25 h 252"/>
              <a:gd name="T60" fmla="*/ 145 w 265"/>
              <a:gd name="T61" fmla="*/ 15 h 252"/>
              <a:gd name="T62" fmla="*/ 137 w 265"/>
              <a:gd name="T63" fmla="*/ 8 h 252"/>
              <a:gd name="T64" fmla="*/ 130 w 265"/>
              <a:gd name="T65" fmla="*/ 10 h 252"/>
              <a:gd name="T66" fmla="*/ 128 w 265"/>
              <a:gd name="T67" fmla="*/ 3 h 252"/>
              <a:gd name="T68" fmla="*/ 115 w 265"/>
              <a:gd name="T69" fmla="*/ 3 h 252"/>
              <a:gd name="T70" fmla="*/ 95 w 265"/>
              <a:gd name="T71" fmla="*/ 0 h 252"/>
              <a:gd name="T72" fmla="*/ 88 w 265"/>
              <a:gd name="T73" fmla="*/ 3 h 252"/>
              <a:gd name="T74" fmla="*/ 78 w 265"/>
              <a:gd name="T75" fmla="*/ 8 h 252"/>
              <a:gd name="T76" fmla="*/ 78 w 265"/>
              <a:gd name="T77" fmla="*/ 15 h 252"/>
              <a:gd name="T78" fmla="*/ 70 w 265"/>
              <a:gd name="T79" fmla="*/ 20 h 252"/>
              <a:gd name="T80" fmla="*/ 55 w 265"/>
              <a:gd name="T81" fmla="*/ 30 h 252"/>
              <a:gd name="T82" fmla="*/ 58 w 265"/>
              <a:gd name="T83" fmla="*/ 50 h 252"/>
              <a:gd name="T84" fmla="*/ 55 w 265"/>
              <a:gd name="T85" fmla="*/ 67 h 252"/>
              <a:gd name="T86" fmla="*/ 55 w 265"/>
              <a:gd name="T87" fmla="*/ 80 h 252"/>
              <a:gd name="T88" fmla="*/ 48 w 265"/>
              <a:gd name="T89" fmla="*/ 90 h 252"/>
              <a:gd name="T90" fmla="*/ 0 w 265"/>
              <a:gd name="T91" fmla="*/ 122 h 252"/>
              <a:gd name="T92" fmla="*/ 15 w 265"/>
              <a:gd name="T93" fmla="*/ 15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252">
                <a:moveTo>
                  <a:pt x="15" y="157"/>
                </a:moveTo>
                <a:lnTo>
                  <a:pt x="38" y="160"/>
                </a:lnTo>
                <a:lnTo>
                  <a:pt x="162" y="247"/>
                </a:lnTo>
                <a:lnTo>
                  <a:pt x="217" y="247"/>
                </a:lnTo>
                <a:lnTo>
                  <a:pt x="235" y="252"/>
                </a:lnTo>
                <a:lnTo>
                  <a:pt x="250" y="222"/>
                </a:lnTo>
                <a:lnTo>
                  <a:pt x="265" y="217"/>
                </a:lnTo>
                <a:lnTo>
                  <a:pt x="262" y="215"/>
                </a:lnTo>
                <a:lnTo>
                  <a:pt x="262" y="212"/>
                </a:lnTo>
                <a:lnTo>
                  <a:pt x="260" y="212"/>
                </a:lnTo>
                <a:lnTo>
                  <a:pt x="257" y="212"/>
                </a:lnTo>
                <a:lnTo>
                  <a:pt x="252" y="210"/>
                </a:lnTo>
                <a:lnTo>
                  <a:pt x="247" y="207"/>
                </a:lnTo>
                <a:lnTo>
                  <a:pt x="245" y="190"/>
                </a:lnTo>
                <a:lnTo>
                  <a:pt x="237" y="190"/>
                </a:lnTo>
                <a:lnTo>
                  <a:pt x="235" y="182"/>
                </a:lnTo>
                <a:lnTo>
                  <a:pt x="235" y="175"/>
                </a:lnTo>
                <a:lnTo>
                  <a:pt x="242" y="170"/>
                </a:lnTo>
                <a:lnTo>
                  <a:pt x="235" y="157"/>
                </a:lnTo>
                <a:lnTo>
                  <a:pt x="230" y="155"/>
                </a:lnTo>
                <a:lnTo>
                  <a:pt x="225" y="145"/>
                </a:lnTo>
                <a:lnTo>
                  <a:pt x="222" y="142"/>
                </a:lnTo>
                <a:lnTo>
                  <a:pt x="220" y="145"/>
                </a:lnTo>
                <a:lnTo>
                  <a:pt x="200" y="132"/>
                </a:lnTo>
                <a:lnTo>
                  <a:pt x="195" y="132"/>
                </a:lnTo>
                <a:lnTo>
                  <a:pt x="192" y="135"/>
                </a:lnTo>
                <a:lnTo>
                  <a:pt x="187" y="130"/>
                </a:lnTo>
                <a:lnTo>
                  <a:pt x="187" y="127"/>
                </a:lnTo>
                <a:lnTo>
                  <a:pt x="187" y="125"/>
                </a:lnTo>
                <a:lnTo>
                  <a:pt x="190" y="120"/>
                </a:lnTo>
                <a:lnTo>
                  <a:pt x="182" y="115"/>
                </a:lnTo>
                <a:lnTo>
                  <a:pt x="182" y="110"/>
                </a:lnTo>
                <a:lnTo>
                  <a:pt x="177" y="110"/>
                </a:lnTo>
                <a:lnTo>
                  <a:pt x="172" y="105"/>
                </a:lnTo>
                <a:lnTo>
                  <a:pt x="170" y="105"/>
                </a:lnTo>
                <a:lnTo>
                  <a:pt x="170" y="102"/>
                </a:lnTo>
                <a:lnTo>
                  <a:pt x="172" y="97"/>
                </a:lnTo>
                <a:lnTo>
                  <a:pt x="170" y="95"/>
                </a:lnTo>
                <a:lnTo>
                  <a:pt x="172" y="92"/>
                </a:lnTo>
                <a:lnTo>
                  <a:pt x="172" y="82"/>
                </a:lnTo>
                <a:lnTo>
                  <a:pt x="175" y="80"/>
                </a:lnTo>
                <a:lnTo>
                  <a:pt x="175" y="72"/>
                </a:lnTo>
                <a:lnTo>
                  <a:pt x="180" y="72"/>
                </a:lnTo>
                <a:lnTo>
                  <a:pt x="182" y="70"/>
                </a:lnTo>
                <a:lnTo>
                  <a:pt x="182" y="60"/>
                </a:lnTo>
                <a:lnTo>
                  <a:pt x="180" y="60"/>
                </a:lnTo>
                <a:lnTo>
                  <a:pt x="180" y="52"/>
                </a:lnTo>
                <a:lnTo>
                  <a:pt x="182" y="52"/>
                </a:lnTo>
                <a:lnTo>
                  <a:pt x="187" y="50"/>
                </a:lnTo>
                <a:lnTo>
                  <a:pt x="190" y="50"/>
                </a:lnTo>
                <a:lnTo>
                  <a:pt x="187" y="47"/>
                </a:lnTo>
                <a:lnTo>
                  <a:pt x="185" y="45"/>
                </a:lnTo>
                <a:lnTo>
                  <a:pt x="177" y="47"/>
                </a:lnTo>
                <a:lnTo>
                  <a:pt x="175" y="45"/>
                </a:lnTo>
                <a:lnTo>
                  <a:pt x="165" y="40"/>
                </a:lnTo>
                <a:lnTo>
                  <a:pt x="160" y="40"/>
                </a:lnTo>
                <a:lnTo>
                  <a:pt x="157" y="37"/>
                </a:lnTo>
                <a:lnTo>
                  <a:pt x="155" y="30"/>
                </a:lnTo>
                <a:lnTo>
                  <a:pt x="150" y="27"/>
                </a:lnTo>
                <a:lnTo>
                  <a:pt x="147" y="25"/>
                </a:lnTo>
                <a:lnTo>
                  <a:pt x="145" y="20"/>
                </a:lnTo>
                <a:lnTo>
                  <a:pt x="145" y="15"/>
                </a:lnTo>
                <a:lnTo>
                  <a:pt x="142" y="10"/>
                </a:lnTo>
                <a:lnTo>
                  <a:pt x="137" y="8"/>
                </a:lnTo>
                <a:lnTo>
                  <a:pt x="137" y="8"/>
                </a:lnTo>
                <a:lnTo>
                  <a:pt x="130" y="10"/>
                </a:lnTo>
                <a:lnTo>
                  <a:pt x="128" y="8"/>
                </a:lnTo>
                <a:lnTo>
                  <a:pt x="128" y="3"/>
                </a:lnTo>
                <a:lnTo>
                  <a:pt x="123" y="0"/>
                </a:lnTo>
                <a:lnTo>
                  <a:pt x="115" y="3"/>
                </a:lnTo>
                <a:lnTo>
                  <a:pt x="108" y="0"/>
                </a:lnTo>
                <a:lnTo>
                  <a:pt x="95" y="0"/>
                </a:lnTo>
                <a:lnTo>
                  <a:pt x="93" y="3"/>
                </a:lnTo>
                <a:lnTo>
                  <a:pt x="88" y="3"/>
                </a:lnTo>
                <a:lnTo>
                  <a:pt x="80" y="8"/>
                </a:lnTo>
                <a:lnTo>
                  <a:pt x="78" y="8"/>
                </a:lnTo>
                <a:lnTo>
                  <a:pt x="80" y="10"/>
                </a:lnTo>
                <a:lnTo>
                  <a:pt x="78" y="15"/>
                </a:lnTo>
                <a:lnTo>
                  <a:pt x="75" y="15"/>
                </a:lnTo>
                <a:lnTo>
                  <a:pt x="70" y="20"/>
                </a:lnTo>
                <a:lnTo>
                  <a:pt x="60" y="22"/>
                </a:lnTo>
                <a:lnTo>
                  <a:pt x="55" y="30"/>
                </a:lnTo>
                <a:lnTo>
                  <a:pt x="53" y="40"/>
                </a:lnTo>
                <a:lnTo>
                  <a:pt x="58" y="50"/>
                </a:lnTo>
                <a:lnTo>
                  <a:pt x="58" y="57"/>
                </a:lnTo>
                <a:lnTo>
                  <a:pt x="55" y="67"/>
                </a:lnTo>
                <a:lnTo>
                  <a:pt x="55" y="72"/>
                </a:lnTo>
                <a:lnTo>
                  <a:pt x="55" y="80"/>
                </a:lnTo>
                <a:lnTo>
                  <a:pt x="50" y="85"/>
                </a:lnTo>
                <a:lnTo>
                  <a:pt x="48" y="90"/>
                </a:lnTo>
                <a:lnTo>
                  <a:pt x="0" y="122"/>
                </a:lnTo>
                <a:lnTo>
                  <a:pt x="0" y="122"/>
                </a:lnTo>
                <a:lnTo>
                  <a:pt x="0" y="122"/>
                </a:lnTo>
                <a:lnTo>
                  <a:pt x="15" y="15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6" name="Freeform 147"/>
          <p:cNvSpPr>
            <a:spLocks/>
          </p:cNvSpPr>
          <p:nvPr/>
        </p:nvSpPr>
        <p:spPr bwMode="auto">
          <a:xfrm>
            <a:off x="6589713" y="4468813"/>
            <a:ext cx="3175" cy="4763"/>
          </a:xfrm>
          <a:custGeom>
            <a:avLst/>
            <a:gdLst>
              <a:gd name="T0" fmla="*/ 0 w 2"/>
              <a:gd name="T1" fmla="*/ 3 h 3"/>
              <a:gd name="T2" fmla="*/ 0 w 2"/>
              <a:gd name="T3" fmla="*/ 3 h 3"/>
              <a:gd name="T4" fmla="*/ 2 w 2"/>
              <a:gd name="T5" fmla="*/ 0 h 3"/>
              <a:gd name="T6" fmla="*/ 0 w 2"/>
              <a:gd name="T7" fmla="*/ 3 h 3"/>
            </a:gdLst>
            <a:ahLst/>
            <a:cxnLst>
              <a:cxn ang="0">
                <a:pos x="T0" y="T1"/>
              </a:cxn>
              <a:cxn ang="0">
                <a:pos x="T2" y="T3"/>
              </a:cxn>
              <a:cxn ang="0">
                <a:pos x="T4" y="T5"/>
              </a:cxn>
              <a:cxn ang="0">
                <a:pos x="T6" y="T7"/>
              </a:cxn>
            </a:cxnLst>
            <a:rect l="0" t="0" r="r" b="b"/>
            <a:pathLst>
              <a:path w="2" h="3">
                <a:moveTo>
                  <a:pt x="0" y="3"/>
                </a:moveTo>
                <a:lnTo>
                  <a:pt x="0" y="3"/>
                </a:lnTo>
                <a:lnTo>
                  <a:pt x="2" y="0"/>
                </a:lnTo>
                <a:lnTo>
                  <a:pt x="0" y="3"/>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7" name="Freeform 148"/>
          <p:cNvSpPr>
            <a:spLocks/>
          </p:cNvSpPr>
          <p:nvPr/>
        </p:nvSpPr>
        <p:spPr bwMode="auto">
          <a:xfrm>
            <a:off x="6451600" y="4381500"/>
            <a:ext cx="874712" cy="741363"/>
          </a:xfrm>
          <a:custGeom>
            <a:avLst/>
            <a:gdLst>
              <a:gd name="T0" fmla="*/ 334 w 551"/>
              <a:gd name="T1" fmla="*/ 98 h 467"/>
              <a:gd name="T2" fmla="*/ 132 w 551"/>
              <a:gd name="T3" fmla="*/ 3 h 467"/>
              <a:gd name="T4" fmla="*/ 59 w 551"/>
              <a:gd name="T5" fmla="*/ 23 h 467"/>
              <a:gd name="T6" fmla="*/ 77 w 551"/>
              <a:gd name="T7" fmla="*/ 78 h 467"/>
              <a:gd name="T8" fmla="*/ 10 w 551"/>
              <a:gd name="T9" fmla="*/ 90 h 467"/>
              <a:gd name="T10" fmla="*/ 2 w 551"/>
              <a:gd name="T11" fmla="*/ 113 h 467"/>
              <a:gd name="T12" fmla="*/ 2 w 551"/>
              <a:gd name="T13" fmla="*/ 120 h 467"/>
              <a:gd name="T14" fmla="*/ 14 w 551"/>
              <a:gd name="T15" fmla="*/ 125 h 467"/>
              <a:gd name="T16" fmla="*/ 24 w 551"/>
              <a:gd name="T17" fmla="*/ 143 h 467"/>
              <a:gd name="T18" fmla="*/ 34 w 551"/>
              <a:gd name="T19" fmla="*/ 155 h 467"/>
              <a:gd name="T20" fmla="*/ 44 w 551"/>
              <a:gd name="T21" fmla="*/ 172 h 467"/>
              <a:gd name="T22" fmla="*/ 52 w 551"/>
              <a:gd name="T23" fmla="*/ 185 h 467"/>
              <a:gd name="T24" fmla="*/ 67 w 551"/>
              <a:gd name="T25" fmla="*/ 205 h 467"/>
              <a:gd name="T26" fmla="*/ 69 w 551"/>
              <a:gd name="T27" fmla="*/ 217 h 467"/>
              <a:gd name="T28" fmla="*/ 77 w 551"/>
              <a:gd name="T29" fmla="*/ 230 h 467"/>
              <a:gd name="T30" fmla="*/ 89 w 551"/>
              <a:gd name="T31" fmla="*/ 232 h 467"/>
              <a:gd name="T32" fmla="*/ 107 w 551"/>
              <a:gd name="T33" fmla="*/ 250 h 467"/>
              <a:gd name="T34" fmla="*/ 112 w 551"/>
              <a:gd name="T35" fmla="*/ 260 h 467"/>
              <a:gd name="T36" fmla="*/ 122 w 551"/>
              <a:gd name="T37" fmla="*/ 282 h 467"/>
              <a:gd name="T38" fmla="*/ 119 w 551"/>
              <a:gd name="T39" fmla="*/ 295 h 467"/>
              <a:gd name="T40" fmla="*/ 124 w 551"/>
              <a:gd name="T41" fmla="*/ 320 h 467"/>
              <a:gd name="T42" fmla="*/ 144 w 551"/>
              <a:gd name="T43" fmla="*/ 342 h 467"/>
              <a:gd name="T44" fmla="*/ 157 w 551"/>
              <a:gd name="T45" fmla="*/ 350 h 467"/>
              <a:gd name="T46" fmla="*/ 167 w 551"/>
              <a:gd name="T47" fmla="*/ 360 h 467"/>
              <a:gd name="T48" fmla="*/ 177 w 551"/>
              <a:gd name="T49" fmla="*/ 367 h 467"/>
              <a:gd name="T50" fmla="*/ 189 w 551"/>
              <a:gd name="T51" fmla="*/ 400 h 467"/>
              <a:gd name="T52" fmla="*/ 214 w 551"/>
              <a:gd name="T53" fmla="*/ 432 h 467"/>
              <a:gd name="T54" fmla="*/ 231 w 551"/>
              <a:gd name="T55" fmla="*/ 447 h 467"/>
              <a:gd name="T56" fmla="*/ 246 w 551"/>
              <a:gd name="T57" fmla="*/ 440 h 467"/>
              <a:gd name="T58" fmla="*/ 251 w 551"/>
              <a:gd name="T59" fmla="*/ 415 h 467"/>
              <a:gd name="T60" fmla="*/ 299 w 551"/>
              <a:gd name="T61" fmla="*/ 432 h 467"/>
              <a:gd name="T62" fmla="*/ 371 w 551"/>
              <a:gd name="T63" fmla="*/ 402 h 467"/>
              <a:gd name="T64" fmla="*/ 546 w 551"/>
              <a:gd name="T65" fmla="*/ 270 h 467"/>
              <a:gd name="T66" fmla="*/ 458 w 551"/>
              <a:gd name="T67" fmla="*/ 265 h 467"/>
              <a:gd name="T68" fmla="*/ 446 w 551"/>
              <a:gd name="T69" fmla="*/ 227 h 467"/>
              <a:gd name="T70" fmla="*/ 443 w 551"/>
              <a:gd name="T71" fmla="*/ 225 h 467"/>
              <a:gd name="T72" fmla="*/ 441 w 551"/>
              <a:gd name="T73" fmla="*/ 220 h 467"/>
              <a:gd name="T74" fmla="*/ 429 w 551"/>
              <a:gd name="T75" fmla="*/ 212 h 467"/>
              <a:gd name="T76" fmla="*/ 421 w 551"/>
              <a:gd name="T77" fmla="*/ 205 h 467"/>
              <a:gd name="T78" fmla="*/ 401 w 551"/>
              <a:gd name="T79" fmla="*/ 175 h 467"/>
              <a:gd name="T80" fmla="*/ 401 w 551"/>
              <a:gd name="T81" fmla="*/ 160 h 467"/>
              <a:gd name="T82" fmla="*/ 394 w 551"/>
              <a:gd name="T83" fmla="*/ 153 h 467"/>
              <a:gd name="T84" fmla="*/ 379 w 551"/>
              <a:gd name="T85" fmla="*/ 135 h 467"/>
              <a:gd name="T86" fmla="*/ 384 w 551"/>
              <a:gd name="T87" fmla="*/ 135 h 467"/>
              <a:gd name="T88" fmla="*/ 369 w 551"/>
              <a:gd name="T89" fmla="*/ 128 h 467"/>
              <a:gd name="T90" fmla="*/ 356 w 551"/>
              <a:gd name="T91" fmla="*/ 108 h 467"/>
              <a:gd name="T92" fmla="*/ 351 w 551"/>
              <a:gd name="T93" fmla="*/ 10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1" h="467">
                <a:moveTo>
                  <a:pt x="351" y="100"/>
                </a:moveTo>
                <a:lnTo>
                  <a:pt x="336" y="108"/>
                </a:lnTo>
                <a:lnTo>
                  <a:pt x="334" y="98"/>
                </a:lnTo>
                <a:lnTo>
                  <a:pt x="311" y="90"/>
                </a:lnTo>
                <a:lnTo>
                  <a:pt x="256" y="90"/>
                </a:lnTo>
                <a:lnTo>
                  <a:pt x="132" y="3"/>
                </a:lnTo>
                <a:lnTo>
                  <a:pt x="107" y="0"/>
                </a:lnTo>
                <a:lnTo>
                  <a:pt x="97" y="10"/>
                </a:lnTo>
                <a:lnTo>
                  <a:pt x="59" y="23"/>
                </a:lnTo>
                <a:lnTo>
                  <a:pt x="89" y="55"/>
                </a:lnTo>
                <a:lnTo>
                  <a:pt x="77" y="68"/>
                </a:lnTo>
                <a:lnTo>
                  <a:pt x="77" y="78"/>
                </a:lnTo>
                <a:lnTo>
                  <a:pt x="57" y="80"/>
                </a:lnTo>
                <a:lnTo>
                  <a:pt x="37" y="98"/>
                </a:lnTo>
                <a:lnTo>
                  <a:pt x="10" y="90"/>
                </a:lnTo>
                <a:lnTo>
                  <a:pt x="2" y="90"/>
                </a:lnTo>
                <a:lnTo>
                  <a:pt x="2" y="100"/>
                </a:lnTo>
                <a:lnTo>
                  <a:pt x="2" y="113"/>
                </a:lnTo>
                <a:lnTo>
                  <a:pt x="0" y="120"/>
                </a:lnTo>
                <a:lnTo>
                  <a:pt x="0" y="123"/>
                </a:lnTo>
                <a:lnTo>
                  <a:pt x="2" y="120"/>
                </a:lnTo>
                <a:lnTo>
                  <a:pt x="5" y="123"/>
                </a:lnTo>
                <a:lnTo>
                  <a:pt x="7" y="120"/>
                </a:lnTo>
                <a:lnTo>
                  <a:pt x="14" y="125"/>
                </a:lnTo>
                <a:lnTo>
                  <a:pt x="12" y="125"/>
                </a:lnTo>
                <a:lnTo>
                  <a:pt x="24" y="138"/>
                </a:lnTo>
                <a:lnTo>
                  <a:pt x="24" y="143"/>
                </a:lnTo>
                <a:lnTo>
                  <a:pt x="27" y="145"/>
                </a:lnTo>
                <a:lnTo>
                  <a:pt x="29" y="150"/>
                </a:lnTo>
                <a:lnTo>
                  <a:pt x="34" y="155"/>
                </a:lnTo>
                <a:lnTo>
                  <a:pt x="37" y="155"/>
                </a:lnTo>
                <a:lnTo>
                  <a:pt x="44" y="170"/>
                </a:lnTo>
                <a:lnTo>
                  <a:pt x="44" y="172"/>
                </a:lnTo>
                <a:lnTo>
                  <a:pt x="47" y="177"/>
                </a:lnTo>
                <a:lnTo>
                  <a:pt x="52" y="177"/>
                </a:lnTo>
                <a:lnTo>
                  <a:pt x="52" y="185"/>
                </a:lnTo>
                <a:lnTo>
                  <a:pt x="54" y="190"/>
                </a:lnTo>
                <a:lnTo>
                  <a:pt x="62" y="192"/>
                </a:lnTo>
                <a:lnTo>
                  <a:pt x="67" y="205"/>
                </a:lnTo>
                <a:lnTo>
                  <a:pt x="69" y="207"/>
                </a:lnTo>
                <a:lnTo>
                  <a:pt x="72" y="215"/>
                </a:lnTo>
                <a:lnTo>
                  <a:pt x="69" y="217"/>
                </a:lnTo>
                <a:lnTo>
                  <a:pt x="69" y="222"/>
                </a:lnTo>
                <a:lnTo>
                  <a:pt x="74" y="225"/>
                </a:lnTo>
                <a:lnTo>
                  <a:pt x="77" y="230"/>
                </a:lnTo>
                <a:lnTo>
                  <a:pt x="79" y="232"/>
                </a:lnTo>
                <a:lnTo>
                  <a:pt x="84" y="227"/>
                </a:lnTo>
                <a:lnTo>
                  <a:pt x="89" y="232"/>
                </a:lnTo>
                <a:lnTo>
                  <a:pt x="97" y="237"/>
                </a:lnTo>
                <a:lnTo>
                  <a:pt x="104" y="245"/>
                </a:lnTo>
                <a:lnTo>
                  <a:pt x="107" y="250"/>
                </a:lnTo>
                <a:lnTo>
                  <a:pt x="109" y="250"/>
                </a:lnTo>
                <a:lnTo>
                  <a:pt x="109" y="257"/>
                </a:lnTo>
                <a:lnTo>
                  <a:pt x="112" y="260"/>
                </a:lnTo>
                <a:lnTo>
                  <a:pt x="114" y="267"/>
                </a:lnTo>
                <a:lnTo>
                  <a:pt x="119" y="272"/>
                </a:lnTo>
                <a:lnTo>
                  <a:pt x="122" y="282"/>
                </a:lnTo>
                <a:lnTo>
                  <a:pt x="122" y="285"/>
                </a:lnTo>
                <a:lnTo>
                  <a:pt x="119" y="295"/>
                </a:lnTo>
                <a:lnTo>
                  <a:pt x="119" y="295"/>
                </a:lnTo>
                <a:lnTo>
                  <a:pt x="119" y="300"/>
                </a:lnTo>
                <a:lnTo>
                  <a:pt x="122" y="310"/>
                </a:lnTo>
                <a:lnTo>
                  <a:pt x="124" y="320"/>
                </a:lnTo>
                <a:lnTo>
                  <a:pt x="129" y="325"/>
                </a:lnTo>
                <a:lnTo>
                  <a:pt x="129" y="327"/>
                </a:lnTo>
                <a:lnTo>
                  <a:pt x="144" y="342"/>
                </a:lnTo>
                <a:lnTo>
                  <a:pt x="147" y="345"/>
                </a:lnTo>
                <a:lnTo>
                  <a:pt x="154" y="345"/>
                </a:lnTo>
                <a:lnTo>
                  <a:pt x="157" y="350"/>
                </a:lnTo>
                <a:lnTo>
                  <a:pt x="159" y="350"/>
                </a:lnTo>
                <a:lnTo>
                  <a:pt x="167" y="355"/>
                </a:lnTo>
                <a:lnTo>
                  <a:pt x="167" y="360"/>
                </a:lnTo>
                <a:lnTo>
                  <a:pt x="174" y="362"/>
                </a:lnTo>
                <a:lnTo>
                  <a:pt x="174" y="365"/>
                </a:lnTo>
                <a:lnTo>
                  <a:pt x="177" y="367"/>
                </a:lnTo>
                <a:lnTo>
                  <a:pt x="182" y="390"/>
                </a:lnTo>
                <a:lnTo>
                  <a:pt x="189" y="392"/>
                </a:lnTo>
                <a:lnTo>
                  <a:pt x="189" y="400"/>
                </a:lnTo>
                <a:lnTo>
                  <a:pt x="209" y="420"/>
                </a:lnTo>
                <a:lnTo>
                  <a:pt x="212" y="420"/>
                </a:lnTo>
                <a:lnTo>
                  <a:pt x="214" y="432"/>
                </a:lnTo>
                <a:lnTo>
                  <a:pt x="222" y="435"/>
                </a:lnTo>
                <a:lnTo>
                  <a:pt x="226" y="447"/>
                </a:lnTo>
                <a:lnTo>
                  <a:pt x="231" y="447"/>
                </a:lnTo>
                <a:lnTo>
                  <a:pt x="236" y="449"/>
                </a:lnTo>
                <a:lnTo>
                  <a:pt x="239" y="445"/>
                </a:lnTo>
                <a:lnTo>
                  <a:pt x="246" y="440"/>
                </a:lnTo>
                <a:lnTo>
                  <a:pt x="241" y="430"/>
                </a:lnTo>
                <a:lnTo>
                  <a:pt x="244" y="417"/>
                </a:lnTo>
                <a:lnTo>
                  <a:pt x="251" y="415"/>
                </a:lnTo>
                <a:lnTo>
                  <a:pt x="259" y="422"/>
                </a:lnTo>
                <a:lnTo>
                  <a:pt x="276" y="422"/>
                </a:lnTo>
                <a:lnTo>
                  <a:pt x="299" y="432"/>
                </a:lnTo>
                <a:lnTo>
                  <a:pt x="321" y="442"/>
                </a:lnTo>
                <a:lnTo>
                  <a:pt x="324" y="467"/>
                </a:lnTo>
                <a:lnTo>
                  <a:pt x="371" y="402"/>
                </a:lnTo>
                <a:lnTo>
                  <a:pt x="548" y="350"/>
                </a:lnTo>
                <a:lnTo>
                  <a:pt x="551" y="290"/>
                </a:lnTo>
                <a:lnTo>
                  <a:pt x="546" y="270"/>
                </a:lnTo>
                <a:lnTo>
                  <a:pt x="546" y="270"/>
                </a:lnTo>
                <a:lnTo>
                  <a:pt x="536" y="277"/>
                </a:lnTo>
                <a:lnTo>
                  <a:pt x="458" y="265"/>
                </a:lnTo>
                <a:lnTo>
                  <a:pt x="453" y="245"/>
                </a:lnTo>
                <a:lnTo>
                  <a:pt x="446" y="237"/>
                </a:lnTo>
                <a:lnTo>
                  <a:pt x="446" y="227"/>
                </a:lnTo>
                <a:lnTo>
                  <a:pt x="446" y="227"/>
                </a:lnTo>
                <a:lnTo>
                  <a:pt x="446" y="227"/>
                </a:lnTo>
                <a:lnTo>
                  <a:pt x="443" y="225"/>
                </a:lnTo>
                <a:lnTo>
                  <a:pt x="443" y="222"/>
                </a:lnTo>
                <a:lnTo>
                  <a:pt x="446" y="220"/>
                </a:lnTo>
                <a:lnTo>
                  <a:pt x="441" y="220"/>
                </a:lnTo>
                <a:lnTo>
                  <a:pt x="441" y="217"/>
                </a:lnTo>
                <a:lnTo>
                  <a:pt x="436" y="217"/>
                </a:lnTo>
                <a:lnTo>
                  <a:pt x="429" y="212"/>
                </a:lnTo>
                <a:lnTo>
                  <a:pt x="426" y="210"/>
                </a:lnTo>
                <a:lnTo>
                  <a:pt x="426" y="212"/>
                </a:lnTo>
                <a:lnTo>
                  <a:pt x="421" y="205"/>
                </a:lnTo>
                <a:lnTo>
                  <a:pt x="419" y="197"/>
                </a:lnTo>
                <a:lnTo>
                  <a:pt x="406" y="182"/>
                </a:lnTo>
                <a:lnTo>
                  <a:pt x="401" y="175"/>
                </a:lnTo>
                <a:lnTo>
                  <a:pt x="406" y="175"/>
                </a:lnTo>
                <a:lnTo>
                  <a:pt x="406" y="172"/>
                </a:lnTo>
                <a:lnTo>
                  <a:pt x="401" y="160"/>
                </a:lnTo>
                <a:lnTo>
                  <a:pt x="401" y="157"/>
                </a:lnTo>
                <a:lnTo>
                  <a:pt x="396" y="153"/>
                </a:lnTo>
                <a:lnTo>
                  <a:pt x="394" y="153"/>
                </a:lnTo>
                <a:lnTo>
                  <a:pt x="386" y="140"/>
                </a:lnTo>
                <a:lnTo>
                  <a:pt x="384" y="140"/>
                </a:lnTo>
                <a:lnTo>
                  <a:pt x="379" y="135"/>
                </a:lnTo>
                <a:lnTo>
                  <a:pt x="379" y="133"/>
                </a:lnTo>
                <a:lnTo>
                  <a:pt x="381" y="133"/>
                </a:lnTo>
                <a:lnTo>
                  <a:pt x="384" y="135"/>
                </a:lnTo>
                <a:lnTo>
                  <a:pt x="381" y="130"/>
                </a:lnTo>
                <a:lnTo>
                  <a:pt x="376" y="130"/>
                </a:lnTo>
                <a:lnTo>
                  <a:pt x="369" y="128"/>
                </a:lnTo>
                <a:lnTo>
                  <a:pt x="364" y="115"/>
                </a:lnTo>
                <a:lnTo>
                  <a:pt x="359" y="108"/>
                </a:lnTo>
                <a:lnTo>
                  <a:pt x="356" y="108"/>
                </a:lnTo>
                <a:lnTo>
                  <a:pt x="356" y="103"/>
                </a:lnTo>
                <a:lnTo>
                  <a:pt x="354" y="103"/>
                </a:lnTo>
                <a:lnTo>
                  <a:pt x="351" y="10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8" name="Freeform 149"/>
          <p:cNvSpPr>
            <a:spLocks noEditPoints="1"/>
          </p:cNvSpPr>
          <p:nvPr/>
        </p:nvSpPr>
        <p:spPr bwMode="auto">
          <a:xfrm>
            <a:off x="7867650" y="4302125"/>
            <a:ext cx="1189037" cy="1157288"/>
          </a:xfrm>
          <a:custGeom>
            <a:avLst/>
            <a:gdLst>
              <a:gd name="T0" fmla="*/ 255 w 749"/>
              <a:gd name="T1" fmla="*/ 63 h 729"/>
              <a:gd name="T2" fmla="*/ 297 w 749"/>
              <a:gd name="T3" fmla="*/ 83 h 729"/>
              <a:gd name="T4" fmla="*/ 305 w 749"/>
              <a:gd name="T5" fmla="*/ 140 h 729"/>
              <a:gd name="T6" fmla="*/ 390 w 749"/>
              <a:gd name="T7" fmla="*/ 175 h 729"/>
              <a:gd name="T8" fmla="*/ 487 w 749"/>
              <a:gd name="T9" fmla="*/ 198 h 729"/>
              <a:gd name="T10" fmla="*/ 524 w 749"/>
              <a:gd name="T11" fmla="*/ 160 h 729"/>
              <a:gd name="T12" fmla="*/ 567 w 749"/>
              <a:gd name="T13" fmla="*/ 195 h 729"/>
              <a:gd name="T14" fmla="*/ 602 w 749"/>
              <a:gd name="T15" fmla="*/ 165 h 729"/>
              <a:gd name="T16" fmla="*/ 639 w 749"/>
              <a:gd name="T17" fmla="*/ 138 h 729"/>
              <a:gd name="T18" fmla="*/ 696 w 749"/>
              <a:gd name="T19" fmla="*/ 118 h 729"/>
              <a:gd name="T20" fmla="*/ 724 w 749"/>
              <a:gd name="T21" fmla="*/ 120 h 729"/>
              <a:gd name="T22" fmla="*/ 749 w 749"/>
              <a:gd name="T23" fmla="*/ 150 h 729"/>
              <a:gd name="T24" fmla="*/ 709 w 749"/>
              <a:gd name="T25" fmla="*/ 185 h 729"/>
              <a:gd name="T26" fmla="*/ 684 w 749"/>
              <a:gd name="T27" fmla="*/ 267 h 729"/>
              <a:gd name="T28" fmla="*/ 659 w 749"/>
              <a:gd name="T29" fmla="*/ 317 h 729"/>
              <a:gd name="T30" fmla="*/ 646 w 749"/>
              <a:gd name="T31" fmla="*/ 332 h 729"/>
              <a:gd name="T32" fmla="*/ 626 w 749"/>
              <a:gd name="T33" fmla="*/ 285 h 729"/>
              <a:gd name="T34" fmla="*/ 611 w 749"/>
              <a:gd name="T35" fmla="*/ 295 h 729"/>
              <a:gd name="T36" fmla="*/ 619 w 749"/>
              <a:gd name="T37" fmla="*/ 270 h 729"/>
              <a:gd name="T38" fmla="*/ 614 w 749"/>
              <a:gd name="T39" fmla="*/ 237 h 729"/>
              <a:gd name="T40" fmla="*/ 562 w 749"/>
              <a:gd name="T41" fmla="*/ 220 h 729"/>
              <a:gd name="T42" fmla="*/ 542 w 749"/>
              <a:gd name="T43" fmla="*/ 207 h 729"/>
              <a:gd name="T44" fmla="*/ 524 w 749"/>
              <a:gd name="T45" fmla="*/ 205 h 729"/>
              <a:gd name="T46" fmla="*/ 532 w 749"/>
              <a:gd name="T47" fmla="*/ 237 h 729"/>
              <a:gd name="T48" fmla="*/ 542 w 749"/>
              <a:gd name="T49" fmla="*/ 297 h 729"/>
              <a:gd name="T50" fmla="*/ 549 w 749"/>
              <a:gd name="T51" fmla="*/ 345 h 729"/>
              <a:gd name="T52" fmla="*/ 532 w 749"/>
              <a:gd name="T53" fmla="*/ 340 h 729"/>
              <a:gd name="T54" fmla="*/ 524 w 749"/>
              <a:gd name="T55" fmla="*/ 340 h 729"/>
              <a:gd name="T56" fmla="*/ 497 w 749"/>
              <a:gd name="T57" fmla="*/ 380 h 729"/>
              <a:gd name="T58" fmla="*/ 464 w 749"/>
              <a:gd name="T59" fmla="*/ 400 h 729"/>
              <a:gd name="T60" fmla="*/ 412 w 749"/>
              <a:gd name="T61" fmla="*/ 462 h 729"/>
              <a:gd name="T62" fmla="*/ 362 w 749"/>
              <a:gd name="T63" fmla="*/ 507 h 729"/>
              <a:gd name="T64" fmla="*/ 337 w 749"/>
              <a:gd name="T65" fmla="*/ 562 h 729"/>
              <a:gd name="T66" fmla="*/ 330 w 749"/>
              <a:gd name="T67" fmla="*/ 672 h 729"/>
              <a:gd name="T68" fmla="*/ 320 w 749"/>
              <a:gd name="T69" fmla="*/ 702 h 729"/>
              <a:gd name="T70" fmla="*/ 287 w 749"/>
              <a:gd name="T71" fmla="*/ 724 h 729"/>
              <a:gd name="T72" fmla="*/ 230 w 749"/>
              <a:gd name="T73" fmla="*/ 657 h 729"/>
              <a:gd name="T74" fmla="*/ 195 w 749"/>
              <a:gd name="T75" fmla="*/ 592 h 729"/>
              <a:gd name="T76" fmla="*/ 165 w 749"/>
              <a:gd name="T77" fmla="*/ 529 h 729"/>
              <a:gd name="T78" fmla="*/ 140 w 749"/>
              <a:gd name="T79" fmla="*/ 450 h 729"/>
              <a:gd name="T80" fmla="*/ 125 w 749"/>
              <a:gd name="T81" fmla="*/ 390 h 729"/>
              <a:gd name="T82" fmla="*/ 120 w 749"/>
              <a:gd name="T83" fmla="*/ 347 h 729"/>
              <a:gd name="T84" fmla="*/ 120 w 749"/>
              <a:gd name="T85" fmla="*/ 327 h 729"/>
              <a:gd name="T86" fmla="*/ 95 w 749"/>
              <a:gd name="T87" fmla="*/ 367 h 729"/>
              <a:gd name="T88" fmla="*/ 18 w 749"/>
              <a:gd name="T89" fmla="*/ 330 h 729"/>
              <a:gd name="T90" fmla="*/ 40 w 749"/>
              <a:gd name="T91" fmla="*/ 330 h 729"/>
              <a:gd name="T92" fmla="*/ 45 w 749"/>
              <a:gd name="T93" fmla="*/ 317 h 729"/>
              <a:gd name="T94" fmla="*/ 0 w 749"/>
              <a:gd name="T95" fmla="*/ 292 h 729"/>
              <a:gd name="T96" fmla="*/ 58 w 749"/>
              <a:gd name="T97" fmla="*/ 267 h 729"/>
              <a:gd name="T98" fmla="*/ 55 w 749"/>
              <a:gd name="T99" fmla="*/ 230 h 729"/>
              <a:gd name="T100" fmla="*/ 18 w 749"/>
              <a:gd name="T101" fmla="*/ 195 h 729"/>
              <a:gd name="T102" fmla="*/ 63 w 749"/>
              <a:gd name="T103" fmla="*/ 165 h 729"/>
              <a:gd name="T104" fmla="*/ 125 w 749"/>
              <a:gd name="T105" fmla="*/ 93 h 729"/>
              <a:gd name="T106" fmla="*/ 150 w 749"/>
              <a:gd name="T107" fmla="*/ 33 h 729"/>
              <a:gd name="T108" fmla="*/ 220 w 749"/>
              <a:gd name="T109" fmla="*/ 8 h 729"/>
              <a:gd name="T110" fmla="*/ 542 w 749"/>
              <a:gd name="T111" fmla="*/ 345 h 729"/>
              <a:gd name="T112" fmla="*/ 537 w 749"/>
              <a:gd name="T113"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9" h="729">
                <a:moveTo>
                  <a:pt x="240" y="23"/>
                </a:moveTo>
                <a:lnTo>
                  <a:pt x="242" y="25"/>
                </a:lnTo>
                <a:lnTo>
                  <a:pt x="242" y="30"/>
                </a:lnTo>
                <a:lnTo>
                  <a:pt x="250" y="33"/>
                </a:lnTo>
                <a:lnTo>
                  <a:pt x="250" y="43"/>
                </a:lnTo>
                <a:lnTo>
                  <a:pt x="252" y="48"/>
                </a:lnTo>
                <a:lnTo>
                  <a:pt x="250" y="53"/>
                </a:lnTo>
                <a:lnTo>
                  <a:pt x="252" y="53"/>
                </a:lnTo>
                <a:lnTo>
                  <a:pt x="255" y="58"/>
                </a:lnTo>
                <a:lnTo>
                  <a:pt x="255" y="63"/>
                </a:lnTo>
                <a:lnTo>
                  <a:pt x="257" y="63"/>
                </a:lnTo>
                <a:lnTo>
                  <a:pt x="260" y="68"/>
                </a:lnTo>
                <a:lnTo>
                  <a:pt x="267" y="73"/>
                </a:lnTo>
                <a:lnTo>
                  <a:pt x="270" y="68"/>
                </a:lnTo>
                <a:lnTo>
                  <a:pt x="275" y="68"/>
                </a:lnTo>
                <a:lnTo>
                  <a:pt x="277" y="70"/>
                </a:lnTo>
                <a:lnTo>
                  <a:pt x="285" y="70"/>
                </a:lnTo>
                <a:lnTo>
                  <a:pt x="290" y="75"/>
                </a:lnTo>
                <a:lnTo>
                  <a:pt x="292" y="78"/>
                </a:lnTo>
                <a:lnTo>
                  <a:pt x="297" y="83"/>
                </a:lnTo>
                <a:lnTo>
                  <a:pt x="300" y="85"/>
                </a:lnTo>
                <a:lnTo>
                  <a:pt x="302" y="90"/>
                </a:lnTo>
                <a:lnTo>
                  <a:pt x="302" y="88"/>
                </a:lnTo>
                <a:lnTo>
                  <a:pt x="305" y="98"/>
                </a:lnTo>
                <a:lnTo>
                  <a:pt x="300" y="113"/>
                </a:lnTo>
                <a:lnTo>
                  <a:pt x="300" y="120"/>
                </a:lnTo>
                <a:lnTo>
                  <a:pt x="292" y="130"/>
                </a:lnTo>
                <a:lnTo>
                  <a:pt x="295" y="138"/>
                </a:lnTo>
                <a:lnTo>
                  <a:pt x="300" y="138"/>
                </a:lnTo>
                <a:lnTo>
                  <a:pt x="305" y="140"/>
                </a:lnTo>
                <a:lnTo>
                  <a:pt x="310" y="140"/>
                </a:lnTo>
                <a:lnTo>
                  <a:pt x="315" y="145"/>
                </a:lnTo>
                <a:lnTo>
                  <a:pt x="325" y="148"/>
                </a:lnTo>
                <a:lnTo>
                  <a:pt x="337" y="155"/>
                </a:lnTo>
                <a:lnTo>
                  <a:pt x="345" y="165"/>
                </a:lnTo>
                <a:lnTo>
                  <a:pt x="355" y="168"/>
                </a:lnTo>
                <a:lnTo>
                  <a:pt x="360" y="170"/>
                </a:lnTo>
                <a:lnTo>
                  <a:pt x="367" y="170"/>
                </a:lnTo>
                <a:lnTo>
                  <a:pt x="375" y="178"/>
                </a:lnTo>
                <a:lnTo>
                  <a:pt x="390" y="175"/>
                </a:lnTo>
                <a:lnTo>
                  <a:pt x="394" y="180"/>
                </a:lnTo>
                <a:lnTo>
                  <a:pt x="407" y="175"/>
                </a:lnTo>
                <a:lnTo>
                  <a:pt x="419" y="180"/>
                </a:lnTo>
                <a:lnTo>
                  <a:pt x="422" y="185"/>
                </a:lnTo>
                <a:lnTo>
                  <a:pt x="429" y="193"/>
                </a:lnTo>
                <a:lnTo>
                  <a:pt x="442" y="195"/>
                </a:lnTo>
                <a:lnTo>
                  <a:pt x="447" y="193"/>
                </a:lnTo>
                <a:lnTo>
                  <a:pt x="457" y="193"/>
                </a:lnTo>
                <a:lnTo>
                  <a:pt x="479" y="200"/>
                </a:lnTo>
                <a:lnTo>
                  <a:pt x="487" y="198"/>
                </a:lnTo>
                <a:lnTo>
                  <a:pt x="497" y="203"/>
                </a:lnTo>
                <a:lnTo>
                  <a:pt x="512" y="200"/>
                </a:lnTo>
                <a:lnTo>
                  <a:pt x="514" y="188"/>
                </a:lnTo>
                <a:lnTo>
                  <a:pt x="509" y="178"/>
                </a:lnTo>
                <a:lnTo>
                  <a:pt x="512" y="165"/>
                </a:lnTo>
                <a:lnTo>
                  <a:pt x="509" y="160"/>
                </a:lnTo>
                <a:lnTo>
                  <a:pt x="509" y="160"/>
                </a:lnTo>
                <a:lnTo>
                  <a:pt x="514" y="155"/>
                </a:lnTo>
                <a:lnTo>
                  <a:pt x="522" y="155"/>
                </a:lnTo>
                <a:lnTo>
                  <a:pt x="524" y="160"/>
                </a:lnTo>
                <a:lnTo>
                  <a:pt x="524" y="168"/>
                </a:lnTo>
                <a:lnTo>
                  <a:pt x="529" y="170"/>
                </a:lnTo>
                <a:lnTo>
                  <a:pt x="529" y="170"/>
                </a:lnTo>
                <a:lnTo>
                  <a:pt x="529" y="175"/>
                </a:lnTo>
                <a:lnTo>
                  <a:pt x="527" y="180"/>
                </a:lnTo>
                <a:lnTo>
                  <a:pt x="532" y="190"/>
                </a:lnTo>
                <a:lnTo>
                  <a:pt x="542" y="190"/>
                </a:lnTo>
                <a:lnTo>
                  <a:pt x="547" y="188"/>
                </a:lnTo>
                <a:lnTo>
                  <a:pt x="559" y="195"/>
                </a:lnTo>
                <a:lnTo>
                  <a:pt x="567" y="195"/>
                </a:lnTo>
                <a:lnTo>
                  <a:pt x="572" y="190"/>
                </a:lnTo>
                <a:lnTo>
                  <a:pt x="577" y="188"/>
                </a:lnTo>
                <a:lnTo>
                  <a:pt x="582" y="190"/>
                </a:lnTo>
                <a:lnTo>
                  <a:pt x="592" y="188"/>
                </a:lnTo>
                <a:lnTo>
                  <a:pt x="599" y="190"/>
                </a:lnTo>
                <a:lnTo>
                  <a:pt x="609" y="185"/>
                </a:lnTo>
                <a:lnTo>
                  <a:pt x="609" y="180"/>
                </a:lnTo>
                <a:lnTo>
                  <a:pt x="609" y="173"/>
                </a:lnTo>
                <a:lnTo>
                  <a:pt x="602" y="170"/>
                </a:lnTo>
                <a:lnTo>
                  <a:pt x="602" y="165"/>
                </a:lnTo>
                <a:lnTo>
                  <a:pt x="602" y="158"/>
                </a:lnTo>
                <a:lnTo>
                  <a:pt x="606" y="158"/>
                </a:lnTo>
                <a:lnTo>
                  <a:pt x="616" y="155"/>
                </a:lnTo>
                <a:lnTo>
                  <a:pt x="621" y="155"/>
                </a:lnTo>
                <a:lnTo>
                  <a:pt x="624" y="148"/>
                </a:lnTo>
                <a:lnTo>
                  <a:pt x="626" y="145"/>
                </a:lnTo>
                <a:lnTo>
                  <a:pt x="631" y="148"/>
                </a:lnTo>
                <a:lnTo>
                  <a:pt x="631" y="143"/>
                </a:lnTo>
                <a:lnTo>
                  <a:pt x="636" y="143"/>
                </a:lnTo>
                <a:lnTo>
                  <a:pt x="639" y="138"/>
                </a:lnTo>
                <a:lnTo>
                  <a:pt x="644" y="130"/>
                </a:lnTo>
                <a:lnTo>
                  <a:pt x="649" y="130"/>
                </a:lnTo>
                <a:lnTo>
                  <a:pt x="659" y="128"/>
                </a:lnTo>
                <a:lnTo>
                  <a:pt x="664" y="120"/>
                </a:lnTo>
                <a:lnTo>
                  <a:pt x="664" y="115"/>
                </a:lnTo>
                <a:lnTo>
                  <a:pt x="669" y="115"/>
                </a:lnTo>
                <a:lnTo>
                  <a:pt x="674" y="110"/>
                </a:lnTo>
                <a:lnTo>
                  <a:pt x="679" y="118"/>
                </a:lnTo>
                <a:lnTo>
                  <a:pt x="686" y="115"/>
                </a:lnTo>
                <a:lnTo>
                  <a:pt x="696" y="118"/>
                </a:lnTo>
                <a:lnTo>
                  <a:pt x="699" y="115"/>
                </a:lnTo>
                <a:lnTo>
                  <a:pt x="699" y="110"/>
                </a:lnTo>
                <a:lnTo>
                  <a:pt x="709" y="105"/>
                </a:lnTo>
                <a:lnTo>
                  <a:pt x="714" y="105"/>
                </a:lnTo>
                <a:lnTo>
                  <a:pt x="716" y="110"/>
                </a:lnTo>
                <a:lnTo>
                  <a:pt x="719" y="108"/>
                </a:lnTo>
                <a:lnTo>
                  <a:pt x="721" y="110"/>
                </a:lnTo>
                <a:lnTo>
                  <a:pt x="716" y="118"/>
                </a:lnTo>
                <a:lnTo>
                  <a:pt x="719" y="123"/>
                </a:lnTo>
                <a:lnTo>
                  <a:pt x="724" y="120"/>
                </a:lnTo>
                <a:lnTo>
                  <a:pt x="726" y="120"/>
                </a:lnTo>
                <a:lnTo>
                  <a:pt x="726" y="125"/>
                </a:lnTo>
                <a:lnTo>
                  <a:pt x="731" y="130"/>
                </a:lnTo>
                <a:lnTo>
                  <a:pt x="731" y="133"/>
                </a:lnTo>
                <a:lnTo>
                  <a:pt x="726" y="138"/>
                </a:lnTo>
                <a:lnTo>
                  <a:pt x="729" y="143"/>
                </a:lnTo>
                <a:lnTo>
                  <a:pt x="734" y="143"/>
                </a:lnTo>
                <a:lnTo>
                  <a:pt x="736" y="143"/>
                </a:lnTo>
                <a:lnTo>
                  <a:pt x="741" y="143"/>
                </a:lnTo>
                <a:lnTo>
                  <a:pt x="749" y="150"/>
                </a:lnTo>
                <a:lnTo>
                  <a:pt x="749" y="153"/>
                </a:lnTo>
                <a:lnTo>
                  <a:pt x="744" y="158"/>
                </a:lnTo>
                <a:lnTo>
                  <a:pt x="744" y="165"/>
                </a:lnTo>
                <a:lnTo>
                  <a:pt x="744" y="170"/>
                </a:lnTo>
                <a:lnTo>
                  <a:pt x="739" y="168"/>
                </a:lnTo>
                <a:lnTo>
                  <a:pt x="734" y="163"/>
                </a:lnTo>
                <a:lnTo>
                  <a:pt x="726" y="170"/>
                </a:lnTo>
                <a:lnTo>
                  <a:pt x="719" y="173"/>
                </a:lnTo>
                <a:lnTo>
                  <a:pt x="716" y="178"/>
                </a:lnTo>
                <a:lnTo>
                  <a:pt x="709" y="185"/>
                </a:lnTo>
                <a:lnTo>
                  <a:pt x="704" y="188"/>
                </a:lnTo>
                <a:lnTo>
                  <a:pt x="694" y="203"/>
                </a:lnTo>
                <a:lnTo>
                  <a:pt x="694" y="207"/>
                </a:lnTo>
                <a:lnTo>
                  <a:pt x="696" y="212"/>
                </a:lnTo>
                <a:lnTo>
                  <a:pt x="691" y="222"/>
                </a:lnTo>
                <a:lnTo>
                  <a:pt x="684" y="235"/>
                </a:lnTo>
                <a:lnTo>
                  <a:pt x="686" y="237"/>
                </a:lnTo>
                <a:lnTo>
                  <a:pt x="691" y="242"/>
                </a:lnTo>
                <a:lnTo>
                  <a:pt x="686" y="255"/>
                </a:lnTo>
                <a:lnTo>
                  <a:pt x="684" y="267"/>
                </a:lnTo>
                <a:lnTo>
                  <a:pt x="679" y="277"/>
                </a:lnTo>
                <a:lnTo>
                  <a:pt x="671" y="277"/>
                </a:lnTo>
                <a:lnTo>
                  <a:pt x="669" y="275"/>
                </a:lnTo>
                <a:lnTo>
                  <a:pt x="661" y="275"/>
                </a:lnTo>
                <a:lnTo>
                  <a:pt x="666" y="287"/>
                </a:lnTo>
                <a:lnTo>
                  <a:pt x="666" y="295"/>
                </a:lnTo>
                <a:lnTo>
                  <a:pt x="664" y="305"/>
                </a:lnTo>
                <a:lnTo>
                  <a:pt x="659" y="302"/>
                </a:lnTo>
                <a:lnTo>
                  <a:pt x="659" y="310"/>
                </a:lnTo>
                <a:lnTo>
                  <a:pt x="659" y="317"/>
                </a:lnTo>
                <a:lnTo>
                  <a:pt x="661" y="322"/>
                </a:lnTo>
                <a:lnTo>
                  <a:pt x="656" y="332"/>
                </a:lnTo>
                <a:lnTo>
                  <a:pt x="654" y="332"/>
                </a:lnTo>
                <a:lnTo>
                  <a:pt x="651" y="332"/>
                </a:lnTo>
                <a:lnTo>
                  <a:pt x="651" y="337"/>
                </a:lnTo>
                <a:lnTo>
                  <a:pt x="651" y="340"/>
                </a:lnTo>
                <a:lnTo>
                  <a:pt x="649" y="340"/>
                </a:lnTo>
                <a:lnTo>
                  <a:pt x="649" y="337"/>
                </a:lnTo>
                <a:lnTo>
                  <a:pt x="649" y="335"/>
                </a:lnTo>
                <a:lnTo>
                  <a:pt x="646" y="332"/>
                </a:lnTo>
                <a:lnTo>
                  <a:pt x="646" y="327"/>
                </a:lnTo>
                <a:lnTo>
                  <a:pt x="644" y="320"/>
                </a:lnTo>
                <a:lnTo>
                  <a:pt x="641" y="310"/>
                </a:lnTo>
                <a:lnTo>
                  <a:pt x="639" y="305"/>
                </a:lnTo>
                <a:lnTo>
                  <a:pt x="639" y="300"/>
                </a:lnTo>
                <a:lnTo>
                  <a:pt x="639" y="292"/>
                </a:lnTo>
                <a:lnTo>
                  <a:pt x="636" y="290"/>
                </a:lnTo>
                <a:lnTo>
                  <a:pt x="634" y="287"/>
                </a:lnTo>
                <a:lnTo>
                  <a:pt x="629" y="287"/>
                </a:lnTo>
                <a:lnTo>
                  <a:pt x="626" y="285"/>
                </a:lnTo>
                <a:lnTo>
                  <a:pt x="624" y="287"/>
                </a:lnTo>
                <a:lnTo>
                  <a:pt x="626" y="290"/>
                </a:lnTo>
                <a:lnTo>
                  <a:pt x="624" y="292"/>
                </a:lnTo>
                <a:lnTo>
                  <a:pt x="624" y="295"/>
                </a:lnTo>
                <a:lnTo>
                  <a:pt x="621" y="297"/>
                </a:lnTo>
                <a:lnTo>
                  <a:pt x="624" y="300"/>
                </a:lnTo>
                <a:lnTo>
                  <a:pt x="621" y="305"/>
                </a:lnTo>
                <a:lnTo>
                  <a:pt x="619" y="305"/>
                </a:lnTo>
                <a:lnTo>
                  <a:pt x="616" y="297"/>
                </a:lnTo>
                <a:lnTo>
                  <a:pt x="611" y="295"/>
                </a:lnTo>
                <a:lnTo>
                  <a:pt x="611" y="292"/>
                </a:lnTo>
                <a:lnTo>
                  <a:pt x="606" y="290"/>
                </a:lnTo>
                <a:lnTo>
                  <a:pt x="604" y="282"/>
                </a:lnTo>
                <a:lnTo>
                  <a:pt x="604" y="280"/>
                </a:lnTo>
                <a:lnTo>
                  <a:pt x="606" y="277"/>
                </a:lnTo>
                <a:lnTo>
                  <a:pt x="609" y="275"/>
                </a:lnTo>
                <a:lnTo>
                  <a:pt x="614" y="270"/>
                </a:lnTo>
                <a:lnTo>
                  <a:pt x="614" y="272"/>
                </a:lnTo>
                <a:lnTo>
                  <a:pt x="619" y="272"/>
                </a:lnTo>
                <a:lnTo>
                  <a:pt x="619" y="270"/>
                </a:lnTo>
                <a:lnTo>
                  <a:pt x="619" y="267"/>
                </a:lnTo>
                <a:lnTo>
                  <a:pt x="624" y="265"/>
                </a:lnTo>
                <a:lnTo>
                  <a:pt x="626" y="255"/>
                </a:lnTo>
                <a:lnTo>
                  <a:pt x="626" y="250"/>
                </a:lnTo>
                <a:lnTo>
                  <a:pt x="631" y="245"/>
                </a:lnTo>
                <a:lnTo>
                  <a:pt x="629" y="242"/>
                </a:lnTo>
                <a:lnTo>
                  <a:pt x="624" y="237"/>
                </a:lnTo>
                <a:lnTo>
                  <a:pt x="619" y="240"/>
                </a:lnTo>
                <a:lnTo>
                  <a:pt x="619" y="237"/>
                </a:lnTo>
                <a:lnTo>
                  <a:pt x="614" y="237"/>
                </a:lnTo>
                <a:lnTo>
                  <a:pt x="604" y="237"/>
                </a:lnTo>
                <a:lnTo>
                  <a:pt x="597" y="237"/>
                </a:lnTo>
                <a:lnTo>
                  <a:pt x="587" y="237"/>
                </a:lnTo>
                <a:lnTo>
                  <a:pt x="579" y="237"/>
                </a:lnTo>
                <a:lnTo>
                  <a:pt x="574" y="235"/>
                </a:lnTo>
                <a:lnTo>
                  <a:pt x="569" y="235"/>
                </a:lnTo>
                <a:lnTo>
                  <a:pt x="564" y="235"/>
                </a:lnTo>
                <a:lnTo>
                  <a:pt x="564" y="230"/>
                </a:lnTo>
                <a:lnTo>
                  <a:pt x="562" y="225"/>
                </a:lnTo>
                <a:lnTo>
                  <a:pt x="562" y="220"/>
                </a:lnTo>
                <a:lnTo>
                  <a:pt x="559" y="215"/>
                </a:lnTo>
                <a:lnTo>
                  <a:pt x="557" y="207"/>
                </a:lnTo>
                <a:lnTo>
                  <a:pt x="554" y="210"/>
                </a:lnTo>
                <a:lnTo>
                  <a:pt x="554" y="210"/>
                </a:lnTo>
                <a:lnTo>
                  <a:pt x="549" y="210"/>
                </a:lnTo>
                <a:lnTo>
                  <a:pt x="544" y="207"/>
                </a:lnTo>
                <a:lnTo>
                  <a:pt x="542" y="203"/>
                </a:lnTo>
                <a:lnTo>
                  <a:pt x="539" y="203"/>
                </a:lnTo>
                <a:lnTo>
                  <a:pt x="539" y="205"/>
                </a:lnTo>
                <a:lnTo>
                  <a:pt x="542" y="207"/>
                </a:lnTo>
                <a:lnTo>
                  <a:pt x="539" y="210"/>
                </a:lnTo>
                <a:lnTo>
                  <a:pt x="534" y="210"/>
                </a:lnTo>
                <a:lnTo>
                  <a:pt x="529" y="205"/>
                </a:lnTo>
                <a:lnTo>
                  <a:pt x="529" y="200"/>
                </a:lnTo>
                <a:lnTo>
                  <a:pt x="527" y="198"/>
                </a:lnTo>
                <a:lnTo>
                  <a:pt x="524" y="195"/>
                </a:lnTo>
                <a:lnTo>
                  <a:pt x="522" y="198"/>
                </a:lnTo>
                <a:lnTo>
                  <a:pt x="519" y="198"/>
                </a:lnTo>
                <a:lnTo>
                  <a:pt x="522" y="203"/>
                </a:lnTo>
                <a:lnTo>
                  <a:pt x="524" y="205"/>
                </a:lnTo>
                <a:lnTo>
                  <a:pt x="522" y="210"/>
                </a:lnTo>
                <a:lnTo>
                  <a:pt x="517" y="217"/>
                </a:lnTo>
                <a:lnTo>
                  <a:pt x="514" y="222"/>
                </a:lnTo>
                <a:lnTo>
                  <a:pt x="527" y="227"/>
                </a:lnTo>
                <a:lnTo>
                  <a:pt x="532" y="225"/>
                </a:lnTo>
                <a:lnTo>
                  <a:pt x="539" y="225"/>
                </a:lnTo>
                <a:lnTo>
                  <a:pt x="537" y="230"/>
                </a:lnTo>
                <a:lnTo>
                  <a:pt x="539" y="237"/>
                </a:lnTo>
                <a:lnTo>
                  <a:pt x="537" y="240"/>
                </a:lnTo>
                <a:lnTo>
                  <a:pt x="532" y="237"/>
                </a:lnTo>
                <a:lnTo>
                  <a:pt x="529" y="240"/>
                </a:lnTo>
                <a:lnTo>
                  <a:pt x="527" y="247"/>
                </a:lnTo>
                <a:lnTo>
                  <a:pt x="522" y="247"/>
                </a:lnTo>
                <a:lnTo>
                  <a:pt x="522" y="260"/>
                </a:lnTo>
                <a:lnTo>
                  <a:pt x="527" y="265"/>
                </a:lnTo>
                <a:lnTo>
                  <a:pt x="534" y="270"/>
                </a:lnTo>
                <a:lnTo>
                  <a:pt x="542" y="277"/>
                </a:lnTo>
                <a:lnTo>
                  <a:pt x="542" y="285"/>
                </a:lnTo>
                <a:lnTo>
                  <a:pt x="544" y="292"/>
                </a:lnTo>
                <a:lnTo>
                  <a:pt x="542" y="297"/>
                </a:lnTo>
                <a:lnTo>
                  <a:pt x="544" y="305"/>
                </a:lnTo>
                <a:lnTo>
                  <a:pt x="552" y="317"/>
                </a:lnTo>
                <a:lnTo>
                  <a:pt x="552" y="322"/>
                </a:lnTo>
                <a:lnTo>
                  <a:pt x="554" y="327"/>
                </a:lnTo>
                <a:lnTo>
                  <a:pt x="554" y="337"/>
                </a:lnTo>
                <a:lnTo>
                  <a:pt x="552" y="337"/>
                </a:lnTo>
                <a:lnTo>
                  <a:pt x="557" y="342"/>
                </a:lnTo>
                <a:lnTo>
                  <a:pt x="552" y="347"/>
                </a:lnTo>
                <a:lnTo>
                  <a:pt x="549" y="342"/>
                </a:lnTo>
                <a:lnTo>
                  <a:pt x="549" y="345"/>
                </a:lnTo>
                <a:lnTo>
                  <a:pt x="547" y="345"/>
                </a:lnTo>
                <a:lnTo>
                  <a:pt x="544" y="337"/>
                </a:lnTo>
                <a:lnTo>
                  <a:pt x="542" y="335"/>
                </a:lnTo>
                <a:lnTo>
                  <a:pt x="542" y="337"/>
                </a:lnTo>
                <a:lnTo>
                  <a:pt x="542" y="340"/>
                </a:lnTo>
                <a:lnTo>
                  <a:pt x="542" y="340"/>
                </a:lnTo>
                <a:lnTo>
                  <a:pt x="539" y="342"/>
                </a:lnTo>
                <a:lnTo>
                  <a:pt x="537" y="342"/>
                </a:lnTo>
                <a:lnTo>
                  <a:pt x="534" y="342"/>
                </a:lnTo>
                <a:lnTo>
                  <a:pt x="532" y="340"/>
                </a:lnTo>
                <a:lnTo>
                  <a:pt x="529" y="335"/>
                </a:lnTo>
                <a:lnTo>
                  <a:pt x="532" y="330"/>
                </a:lnTo>
                <a:lnTo>
                  <a:pt x="527" y="327"/>
                </a:lnTo>
                <a:lnTo>
                  <a:pt x="522" y="327"/>
                </a:lnTo>
                <a:lnTo>
                  <a:pt x="522" y="327"/>
                </a:lnTo>
                <a:lnTo>
                  <a:pt x="524" y="327"/>
                </a:lnTo>
                <a:lnTo>
                  <a:pt x="527" y="330"/>
                </a:lnTo>
                <a:lnTo>
                  <a:pt x="527" y="332"/>
                </a:lnTo>
                <a:lnTo>
                  <a:pt x="524" y="337"/>
                </a:lnTo>
                <a:lnTo>
                  <a:pt x="524" y="340"/>
                </a:lnTo>
                <a:lnTo>
                  <a:pt x="519" y="345"/>
                </a:lnTo>
                <a:lnTo>
                  <a:pt x="504" y="350"/>
                </a:lnTo>
                <a:lnTo>
                  <a:pt x="502" y="352"/>
                </a:lnTo>
                <a:lnTo>
                  <a:pt x="499" y="357"/>
                </a:lnTo>
                <a:lnTo>
                  <a:pt x="497" y="362"/>
                </a:lnTo>
                <a:lnTo>
                  <a:pt x="497" y="365"/>
                </a:lnTo>
                <a:lnTo>
                  <a:pt x="502" y="370"/>
                </a:lnTo>
                <a:lnTo>
                  <a:pt x="499" y="372"/>
                </a:lnTo>
                <a:lnTo>
                  <a:pt x="502" y="372"/>
                </a:lnTo>
                <a:lnTo>
                  <a:pt x="497" y="380"/>
                </a:lnTo>
                <a:lnTo>
                  <a:pt x="494" y="382"/>
                </a:lnTo>
                <a:lnTo>
                  <a:pt x="492" y="385"/>
                </a:lnTo>
                <a:lnTo>
                  <a:pt x="492" y="387"/>
                </a:lnTo>
                <a:lnTo>
                  <a:pt x="484" y="395"/>
                </a:lnTo>
                <a:lnTo>
                  <a:pt x="482" y="397"/>
                </a:lnTo>
                <a:lnTo>
                  <a:pt x="469" y="405"/>
                </a:lnTo>
                <a:lnTo>
                  <a:pt x="467" y="402"/>
                </a:lnTo>
                <a:lnTo>
                  <a:pt x="467" y="400"/>
                </a:lnTo>
                <a:lnTo>
                  <a:pt x="464" y="400"/>
                </a:lnTo>
                <a:lnTo>
                  <a:pt x="464" y="400"/>
                </a:lnTo>
                <a:lnTo>
                  <a:pt x="459" y="402"/>
                </a:lnTo>
                <a:lnTo>
                  <a:pt x="457" y="402"/>
                </a:lnTo>
                <a:lnTo>
                  <a:pt x="454" y="410"/>
                </a:lnTo>
                <a:lnTo>
                  <a:pt x="459" y="407"/>
                </a:lnTo>
                <a:lnTo>
                  <a:pt x="462" y="407"/>
                </a:lnTo>
                <a:lnTo>
                  <a:pt x="462" y="407"/>
                </a:lnTo>
                <a:lnTo>
                  <a:pt x="444" y="425"/>
                </a:lnTo>
                <a:lnTo>
                  <a:pt x="439" y="437"/>
                </a:lnTo>
                <a:lnTo>
                  <a:pt x="417" y="455"/>
                </a:lnTo>
                <a:lnTo>
                  <a:pt x="412" y="462"/>
                </a:lnTo>
                <a:lnTo>
                  <a:pt x="407" y="467"/>
                </a:lnTo>
                <a:lnTo>
                  <a:pt x="397" y="472"/>
                </a:lnTo>
                <a:lnTo>
                  <a:pt x="390" y="477"/>
                </a:lnTo>
                <a:lnTo>
                  <a:pt x="390" y="482"/>
                </a:lnTo>
                <a:lnTo>
                  <a:pt x="390" y="490"/>
                </a:lnTo>
                <a:lnTo>
                  <a:pt x="387" y="495"/>
                </a:lnTo>
                <a:lnTo>
                  <a:pt x="380" y="499"/>
                </a:lnTo>
                <a:lnTo>
                  <a:pt x="367" y="497"/>
                </a:lnTo>
                <a:lnTo>
                  <a:pt x="362" y="502"/>
                </a:lnTo>
                <a:lnTo>
                  <a:pt x="362" y="507"/>
                </a:lnTo>
                <a:lnTo>
                  <a:pt x="355" y="517"/>
                </a:lnTo>
                <a:lnTo>
                  <a:pt x="352" y="517"/>
                </a:lnTo>
                <a:lnTo>
                  <a:pt x="350" y="512"/>
                </a:lnTo>
                <a:lnTo>
                  <a:pt x="347" y="512"/>
                </a:lnTo>
                <a:lnTo>
                  <a:pt x="337" y="522"/>
                </a:lnTo>
                <a:lnTo>
                  <a:pt x="335" y="527"/>
                </a:lnTo>
                <a:lnTo>
                  <a:pt x="335" y="537"/>
                </a:lnTo>
                <a:lnTo>
                  <a:pt x="340" y="549"/>
                </a:lnTo>
                <a:lnTo>
                  <a:pt x="335" y="554"/>
                </a:lnTo>
                <a:lnTo>
                  <a:pt x="337" y="562"/>
                </a:lnTo>
                <a:lnTo>
                  <a:pt x="337" y="582"/>
                </a:lnTo>
                <a:lnTo>
                  <a:pt x="342" y="584"/>
                </a:lnTo>
                <a:lnTo>
                  <a:pt x="345" y="597"/>
                </a:lnTo>
                <a:lnTo>
                  <a:pt x="337" y="614"/>
                </a:lnTo>
                <a:lnTo>
                  <a:pt x="330" y="627"/>
                </a:lnTo>
                <a:lnTo>
                  <a:pt x="330" y="637"/>
                </a:lnTo>
                <a:lnTo>
                  <a:pt x="335" y="642"/>
                </a:lnTo>
                <a:lnTo>
                  <a:pt x="335" y="662"/>
                </a:lnTo>
                <a:lnTo>
                  <a:pt x="335" y="669"/>
                </a:lnTo>
                <a:lnTo>
                  <a:pt x="330" y="672"/>
                </a:lnTo>
                <a:lnTo>
                  <a:pt x="327" y="669"/>
                </a:lnTo>
                <a:lnTo>
                  <a:pt x="320" y="672"/>
                </a:lnTo>
                <a:lnTo>
                  <a:pt x="317" y="677"/>
                </a:lnTo>
                <a:lnTo>
                  <a:pt x="320" y="679"/>
                </a:lnTo>
                <a:lnTo>
                  <a:pt x="312" y="687"/>
                </a:lnTo>
                <a:lnTo>
                  <a:pt x="310" y="689"/>
                </a:lnTo>
                <a:lnTo>
                  <a:pt x="310" y="694"/>
                </a:lnTo>
                <a:lnTo>
                  <a:pt x="320" y="699"/>
                </a:lnTo>
                <a:lnTo>
                  <a:pt x="320" y="699"/>
                </a:lnTo>
                <a:lnTo>
                  <a:pt x="320" y="702"/>
                </a:lnTo>
                <a:lnTo>
                  <a:pt x="320" y="699"/>
                </a:lnTo>
                <a:lnTo>
                  <a:pt x="315" y="697"/>
                </a:lnTo>
                <a:lnTo>
                  <a:pt x="305" y="702"/>
                </a:lnTo>
                <a:lnTo>
                  <a:pt x="302" y="702"/>
                </a:lnTo>
                <a:lnTo>
                  <a:pt x="292" y="704"/>
                </a:lnTo>
                <a:lnTo>
                  <a:pt x="290" y="709"/>
                </a:lnTo>
                <a:lnTo>
                  <a:pt x="290" y="712"/>
                </a:lnTo>
                <a:lnTo>
                  <a:pt x="287" y="714"/>
                </a:lnTo>
                <a:lnTo>
                  <a:pt x="290" y="717"/>
                </a:lnTo>
                <a:lnTo>
                  <a:pt x="287" y="724"/>
                </a:lnTo>
                <a:lnTo>
                  <a:pt x="277" y="729"/>
                </a:lnTo>
                <a:lnTo>
                  <a:pt x="267" y="729"/>
                </a:lnTo>
                <a:lnTo>
                  <a:pt x="260" y="724"/>
                </a:lnTo>
                <a:lnTo>
                  <a:pt x="252" y="714"/>
                </a:lnTo>
                <a:lnTo>
                  <a:pt x="242" y="694"/>
                </a:lnTo>
                <a:lnTo>
                  <a:pt x="242" y="684"/>
                </a:lnTo>
                <a:lnTo>
                  <a:pt x="240" y="674"/>
                </a:lnTo>
                <a:lnTo>
                  <a:pt x="232" y="662"/>
                </a:lnTo>
                <a:lnTo>
                  <a:pt x="232" y="657"/>
                </a:lnTo>
                <a:lnTo>
                  <a:pt x="230" y="657"/>
                </a:lnTo>
                <a:lnTo>
                  <a:pt x="227" y="649"/>
                </a:lnTo>
                <a:lnTo>
                  <a:pt x="225" y="639"/>
                </a:lnTo>
                <a:lnTo>
                  <a:pt x="217" y="632"/>
                </a:lnTo>
                <a:lnTo>
                  <a:pt x="212" y="624"/>
                </a:lnTo>
                <a:lnTo>
                  <a:pt x="212" y="624"/>
                </a:lnTo>
                <a:lnTo>
                  <a:pt x="205" y="617"/>
                </a:lnTo>
                <a:lnTo>
                  <a:pt x="200" y="609"/>
                </a:lnTo>
                <a:lnTo>
                  <a:pt x="197" y="607"/>
                </a:lnTo>
                <a:lnTo>
                  <a:pt x="197" y="597"/>
                </a:lnTo>
                <a:lnTo>
                  <a:pt x="195" y="592"/>
                </a:lnTo>
                <a:lnTo>
                  <a:pt x="190" y="579"/>
                </a:lnTo>
                <a:lnTo>
                  <a:pt x="187" y="572"/>
                </a:lnTo>
                <a:lnTo>
                  <a:pt x="185" y="564"/>
                </a:lnTo>
                <a:lnTo>
                  <a:pt x="182" y="562"/>
                </a:lnTo>
                <a:lnTo>
                  <a:pt x="182" y="552"/>
                </a:lnTo>
                <a:lnTo>
                  <a:pt x="180" y="552"/>
                </a:lnTo>
                <a:lnTo>
                  <a:pt x="175" y="542"/>
                </a:lnTo>
                <a:lnTo>
                  <a:pt x="175" y="539"/>
                </a:lnTo>
                <a:lnTo>
                  <a:pt x="173" y="539"/>
                </a:lnTo>
                <a:lnTo>
                  <a:pt x="165" y="529"/>
                </a:lnTo>
                <a:lnTo>
                  <a:pt x="165" y="524"/>
                </a:lnTo>
                <a:lnTo>
                  <a:pt x="163" y="522"/>
                </a:lnTo>
                <a:lnTo>
                  <a:pt x="160" y="514"/>
                </a:lnTo>
                <a:lnTo>
                  <a:pt x="155" y="512"/>
                </a:lnTo>
                <a:lnTo>
                  <a:pt x="153" y="502"/>
                </a:lnTo>
                <a:lnTo>
                  <a:pt x="153" y="487"/>
                </a:lnTo>
                <a:lnTo>
                  <a:pt x="140" y="465"/>
                </a:lnTo>
                <a:lnTo>
                  <a:pt x="140" y="457"/>
                </a:lnTo>
                <a:lnTo>
                  <a:pt x="135" y="450"/>
                </a:lnTo>
                <a:lnTo>
                  <a:pt x="140" y="450"/>
                </a:lnTo>
                <a:lnTo>
                  <a:pt x="133" y="440"/>
                </a:lnTo>
                <a:lnTo>
                  <a:pt x="133" y="432"/>
                </a:lnTo>
                <a:lnTo>
                  <a:pt x="138" y="432"/>
                </a:lnTo>
                <a:lnTo>
                  <a:pt x="135" y="430"/>
                </a:lnTo>
                <a:lnTo>
                  <a:pt x="133" y="425"/>
                </a:lnTo>
                <a:lnTo>
                  <a:pt x="125" y="410"/>
                </a:lnTo>
                <a:lnTo>
                  <a:pt x="125" y="400"/>
                </a:lnTo>
                <a:lnTo>
                  <a:pt x="130" y="397"/>
                </a:lnTo>
                <a:lnTo>
                  <a:pt x="125" y="395"/>
                </a:lnTo>
                <a:lnTo>
                  <a:pt x="125" y="390"/>
                </a:lnTo>
                <a:lnTo>
                  <a:pt x="128" y="385"/>
                </a:lnTo>
                <a:lnTo>
                  <a:pt x="128" y="377"/>
                </a:lnTo>
                <a:lnTo>
                  <a:pt x="125" y="370"/>
                </a:lnTo>
                <a:lnTo>
                  <a:pt x="123" y="367"/>
                </a:lnTo>
                <a:lnTo>
                  <a:pt x="120" y="355"/>
                </a:lnTo>
                <a:lnTo>
                  <a:pt x="125" y="352"/>
                </a:lnTo>
                <a:lnTo>
                  <a:pt x="128" y="347"/>
                </a:lnTo>
                <a:lnTo>
                  <a:pt x="133" y="347"/>
                </a:lnTo>
                <a:lnTo>
                  <a:pt x="128" y="347"/>
                </a:lnTo>
                <a:lnTo>
                  <a:pt x="120" y="347"/>
                </a:lnTo>
                <a:lnTo>
                  <a:pt x="118" y="347"/>
                </a:lnTo>
                <a:lnTo>
                  <a:pt x="118" y="342"/>
                </a:lnTo>
                <a:lnTo>
                  <a:pt x="115" y="337"/>
                </a:lnTo>
                <a:lnTo>
                  <a:pt x="115" y="332"/>
                </a:lnTo>
                <a:lnTo>
                  <a:pt x="118" y="332"/>
                </a:lnTo>
                <a:lnTo>
                  <a:pt x="120" y="332"/>
                </a:lnTo>
                <a:lnTo>
                  <a:pt x="125" y="327"/>
                </a:lnTo>
                <a:lnTo>
                  <a:pt x="128" y="325"/>
                </a:lnTo>
                <a:lnTo>
                  <a:pt x="123" y="327"/>
                </a:lnTo>
                <a:lnTo>
                  <a:pt x="120" y="327"/>
                </a:lnTo>
                <a:lnTo>
                  <a:pt x="113" y="327"/>
                </a:lnTo>
                <a:lnTo>
                  <a:pt x="110" y="322"/>
                </a:lnTo>
                <a:lnTo>
                  <a:pt x="110" y="327"/>
                </a:lnTo>
                <a:lnTo>
                  <a:pt x="110" y="332"/>
                </a:lnTo>
                <a:lnTo>
                  <a:pt x="108" y="342"/>
                </a:lnTo>
                <a:lnTo>
                  <a:pt x="110" y="347"/>
                </a:lnTo>
                <a:lnTo>
                  <a:pt x="110" y="357"/>
                </a:lnTo>
                <a:lnTo>
                  <a:pt x="105" y="360"/>
                </a:lnTo>
                <a:lnTo>
                  <a:pt x="105" y="362"/>
                </a:lnTo>
                <a:lnTo>
                  <a:pt x="95" y="367"/>
                </a:lnTo>
                <a:lnTo>
                  <a:pt x="83" y="377"/>
                </a:lnTo>
                <a:lnTo>
                  <a:pt x="75" y="380"/>
                </a:lnTo>
                <a:lnTo>
                  <a:pt x="65" y="377"/>
                </a:lnTo>
                <a:lnTo>
                  <a:pt x="45" y="360"/>
                </a:lnTo>
                <a:lnTo>
                  <a:pt x="38" y="350"/>
                </a:lnTo>
                <a:lnTo>
                  <a:pt x="38" y="347"/>
                </a:lnTo>
                <a:lnTo>
                  <a:pt x="35" y="347"/>
                </a:lnTo>
                <a:lnTo>
                  <a:pt x="30" y="345"/>
                </a:lnTo>
                <a:lnTo>
                  <a:pt x="20" y="335"/>
                </a:lnTo>
                <a:lnTo>
                  <a:pt x="18" y="330"/>
                </a:lnTo>
                <a:lnTo>
                  <a:pt x="20" y="327"/>
                </a:lnTo>
                <a:lnTo>
                  <a:pt x="23" y="327"/>
                </a:lnTo>
                <a:lnTo>
                  <a:pt x="23" y="327"/>
                </a:lnTo>
                <a:lnTo>
                  <a:pt x="28" y="327"/>
                </a:lnTo>
                <a:lnTo>
                  <a:pt x="28" y="332"/>
                </a:lnTo>
                <a:lnTo>
                  <a:pt x="30" y="335"/>
                </a:lnTo>
                <a:lnTo>
                  <a:pt x="35" y="332"/>
                </a:lnTo>
                <a:lnTo>
                  <a:pt x="35" y="332"/>
                </a:lnTo>
                <a:lnTo>
                  <a:pt x="38" y="332"/>
                </a:lnTo>
                <a:lnTo>
                  <a:pt x="40" y="330"/>
                </a:lnTo>
                <a:lnTo>
                  <a:pt x="50" y="322"/>
                </a:lnTo>
                <a:lnTo>
                  <a:pt x="53" y="322"/>
                </a:lnTo>
                <a:lnTo>
                  <a:pt x="58" y="315"/>
                </a:lnTo>
                <a:lnTo>
                  <a:pt x="60" y="315"/>
                </a:lnTo>
                <a:lnTo>
                  <a:pt x="63" y="310"/>
                </a:lnTo>
                <a:lnTo>
                  <a:pt x="58" y="310"/>
                </a:lnTo>
                <a:lnTo>
                  <a:pt x="55" y="307"/>
                </a:lnTo>
                <a:lnTo>
                  <a:pt x="55" y="310"/>
                </a:lnTo>
                <a:lnTo>
                  <a:pt x="55" y="312"/>
                </a:lnTo>
                <a:lnTo>
                  <a:pt x="45" y="317"/>
                </a:lnTo>
                <a:lnTo>
                  <a:pt x="38" y="317"/>
                </a:lnTo>
                <a:lnTo>
                  <a:pt x="33" y="320"/>
                </a:lnTo>
                <a:lnTo>
                  <a:pt x="15" y="312"/>
                </a:lnTo>
                <a:lnTo>
                  <a:pt x="8" y="305"/>
                </a:lnTo>
                <a:lnTo>
                  <a:pt x="5" y="302"/>
                </a:lnTo>
                <a:lnTo>
                  <a:pt x="5" y="297"/>
                </a:lnTo>
                <a:lnTo>
                  <a:pt x="10" y="290"/>
                </a:lnTo>
                <a:lnTo>
                  <a:pt x="15" y="287"/>
                </a:lnTo>
                <a:lnTo>
                  <a:pt x="8" y="287"/>
                </a:lnTo>
                <a:lnTo>
                  <a:pt x="0" y="292"/>
                </a:lnTo>
                <a:lnTo>
                  <a:pt x="0" y="285"/>
                </a:lnTo>
                <a:lnTo>
                  <a:pt x="8" y="282"/>
                </a:lnTo>
                <a:lnTo>
                  <a:pt x="10" y="282"/>
                </a:lnTo>
                <a:lnTo>
                  <a:pt x="13" y="275"/>
                </a:lnTo>
                <a:lnTo>
                  <a:pt x="18" y="275"/>
                </a:lnTo>
                <a:lnTo>
                  <a:pt x="20" y="272"/>
                </a:lnTo>
                <a:lnTo>
                  <a:pt x="40" y="275"/>
                </a:lnTo>
                <a:lnTo>
                  <a:pt x="50" y="270"/>
                </a:lnTo>
                <a:lnTo>
                  <a:pt x="53" y="267"/>
                </a:lnTo>
                <a:lnTo>
                  <a:pt x="58" y="267"/>
                </a:lnTo>
                <a:lnTo>
                  <a:pt x="55" y="270"/>
                </a:lnTo>
                <a:lnTo>
                  <a:pt x="58" y="272"/>
                </a:lnTo>
                <a:lnTo>
                  <a:pt x="65" y="270"/>
                </a:lnTo>
                <a:lnTo>
                  <a:pt x="70" y="267"/>
                </a:lnTo>
                <a:lnTo>
                  <a:pt x="68" y="265"/>
                </a:lnTo>
                <a:lnTo>
                  <a:pt x="68" y="262"/>
                </a:lnTo>
                <a:lnTo>
                  <a:pt x="63" y="245"/>
                </a:lnTo>
                <a:lnTo>
                  <a:pt x="58" y="237"/>
                </a:lnTo>
                <a:lnTo>
                  <a:pt x="58" y="235"/>
                </a:lnTo>
                <a:lnTo>
                  <a:pt x="55" y="230"/>
                </a:lnTo>
                <a:lnTo>
                  <a:pt x="50" y="232"/>
                </a:lnTo>
                <a:lnTo>
                  <a:pt x="40" y="225"/>
                </a:lnTo>
                <a:lnTo>
                  <a:pt x="40" y="215"/>
                </a:lnTo>
                <a:lnTo>
                  <a:pt x="40" y="210"/>
                </a:lnTo>
                <a:lnTo>
                  <a:pt x="35" y="203"/>
                </a:lnTo>
                <a:lnTo>
                  <a:pt x="30" y="200"/>
                </a:lnTo>
                <a:lnTo>
                  <a:pt x="28" y="203"/>
                </a:lnTo>
                <a:lnTo>
                  <a:pt x="23" y="200"/>
                </a:lnTo>
                <a:lnTo>
                  <a:pt x="18" y="200"/>
                </a:lnTo>
                <a:lnTo>
                  <a:pt x="18" y="195"/>
                </a:lnTo>
                <a:lnTo>
                  <a:pt x="23" y="183"/>
                </a:lnTo>
                <a:lnTo>
                  <a:pt x="25" y="183"/>
                </a:lnTo>
                <a:lnTo>
                  <a:pt x="33" y="173"/>
                </a:lnTo>
                <a:lnTo>
                  <a:pt x="35" y="168"/>
                </a:lnTo>
                <a:lnTo>
                  <a:pt x="40" y="165"/>
                </a:lnTo>
                <a:lnTo>
                  <a:pt x="43" y="163"/>
                </a:lnTo>
                <a:lnTo>
                  <a:pt x="48" y="165"/>
                </a:lnTo>
                <a:lnTo>
                  <a:pt x="50" y="170"/>
                </a:lnTo>
                <a:lnTo>
                  <a:pt x="53" y="170"/>
                </a:lnTo>
                <a:lnTo>
                  <a:pt x="63" y="165"/>
                </a:lnTo>
                <a:lnTo>
                  <a:pt x="78" y="165"/>
                </a:lnTo>
                <a:lnTo>
                  <a:pt x="85" y="155"/>
                </a:lnTo>
                <a:lnTo>
                  <a:pt x="90" y="140"/>
                </a:lnTo>
                <a:lnTo>
                  <a:pt x="103" y="130"/>
                </a:lnTo>
                <a:lnTo>
                  <a:pt x="105" y="125"/>
                </a:lnTo>
                <a:lnTo>
                  <a:pt x="108" y="118"/>
                </a:lnTo>
                <a:lnTo>
                  <a:pt x="113" y="108"/>
                </a:lnTo>
                <a:lnTo>
                  <a:pt x="123" y="105"/>
                </a:lnTo>
                <a:lnTo>
                  <a:pt x="125" y="98"/>
                </a:lnTo>
                <a:lnTo>
                  <a:pt x="125" y="93"/>
                </a:lnTo>
                <a:lnTo>
                  <a:pt x="120" y="90"/>
                </a:lnTo>
                <a:lnTo>
                  <a:pt x="130" y="83"/>
                </a:lnTo>
                <a:lnTo>
                  <a:pt x="133" y="78"/>
                </a:lnTo>
                <a:lnTo>
                  <a:pt x="135" y="73"/>
                </a:lnTo>
                <a:lnTo>
                  <a:pt x="135" y="58"/>
                </a:lnTo>
                <a:lnTo>
                  <a:pt x="133" y="48"/>
                </a:lnTo>
                <a:lnTo>
                  <a:pt x="130" y="48"/>
                </a:lnTo>
                <a:lnTo>
                  <a:pt x="140" y="38"/>
                </a:lnTo>
                <a:lnTo>
                  <a:pt x="145" y="38"/>
                </a:lnTo>
                <a:lnTo>
                  <a:pt x="150" y="33"/>
                </a:lnTo>
                <a:lnTo>
                  <a:pt x="153" y="35"/>
                </a:lnTo>
                <a:lnTo>
                  <a:pt x="160" y="25"/>
                </a:lnTo>
                <a:lnTo>
                  <a:pt x="168" y="13"/>
                </a:lnTo>
                <a:lnTo>
                  <a:pt x="175" y="5"/>
                </a:lnTo>
                <a:lnTo>
                  <a:pt x="182" y="5"/>
                </a:lnTo>
                <a:lnTo>
                  <a:pt x="185" y="0"/>
                </a:lnTo>
                <a:lnTo>
                  <a:pt x="190" y="0"/>
                </a:lnTo>
                <a:lnTo>
                  <a:pt x="205" y="10"/>
                </a:lnTo>
                <a:lnTo>
                  <a:pt x="212" y="5"/>
                </a:lnTo>
                <a:lnTo>
                  <a:pt x="220" y="8"/>
                </a:lnTo>
                <a:lnTo>
                  <a:pt x="222" y="15"/>
                </a:lnTo>
                <a:lnTo>
                  <a:pt x="230" y="15"/>
                </a:lnTo>
                <a:lnTo>
                  <a:pt x="240" y="23"/>
                </a:lnTo>
                <a:lnTo>
                  <a:pt x="240" y="23"/>
                </a:lnTo>
                <a:lnTo>
                  <a:pt x="240" y="23"/>
                </a:lnTo>
                <a:close/>
                <a:moveTo>
                  <a:pt x="542" y="345"/>
                </a:moveTo>
                <a:lnTo>
                  <a:pt x="542" y="350"/>
                </a:lnTo>
                <a:lnTo>
                  <a:pt x="544" y="347"/>
                </a:lnTo>
                <a:lnTo>
                  <a:pt x="542" y="345"/>
                </a:lnTo>
                <a:lnTo>
                  <a:pt x="542" y="345"/>
                </a:lnTo>
                <a:close/>
                <a:moveTo>
                  <a:pt x="539" y="342"/>
                </a:moveTo>
                <a:lnTo>
                  <a:pt x="537" y="345"/>
                </a:lnTo>
                <a:lnTo>
                  <a:pt x="537" y="347"/>
                </a:lnTo>
                <a:lnTo>
                  <a:pt x="539" y="350"/>
                </a:lnTo>
                <a:lnTo>
                  <a:pt x="539" y="345"/>
                </a:lnTo>
                <a:lnTo>
                  <a:pt x="539" y="342"/>
                </a:lnTo>
                <a:lnTo>
                  <a:pt x="539" y="342"/>
                </a:lnTo>
                <a:close/>
                <a:moveTo>
                  <a:pt x="532" y="345"/>
                </a:moveTo>
                <a:lnTo>
                  <a:pt x="532" y="350"/>
                </a:lnTo>
                <a:lnTo>
                  <a:pt x="537" y="352"/>
                </a:lnTo>
                <a:lnTo>
                  <a:pt x="534" y="347"/>
                </a:lnTo>
                <a:lnTo>
                  <a:pt x="532" y="345"/>
                </a:lnTo>
                <a:lnTo>
                  <a:pt x="532" y="345"/>
                </a:lnTo>
                <a:close/>
                <a:moveTo>
                  <a:pt x="524" y="345"/>
                </a:moveTo>
                <a:lnTo>
                  <a:pt x="524" y="347"/>
                </a:lnTo>
                <a:lnTo>
                  <a:pt x="527" y="347"/>
                </a:lnTo>
                <a:lnTo>
                  <a:pt x="529" y="340"/>
                </a:lnTo>
                <a:lnTo>
                  <a:pt x="527" y="337"/>
                </a:lnTo>
                <a:lnTo>
                  <a:pt x="524" y="34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9" name="Freeform 150"/>
          <p:cNvSpPr>
            <a:spLocks/>
          </p:cNvSpPr>
          <p:nvPr/>
        </p:nvSpPr>
        <p:spPr bwMode="auto">
          <a:xfrm>
            <a:off x="8331200" y="4441825"/>
            <a:ext cx="352425" cy="182563"/>
          </a:xfrm>
          <a:custGeom>
            <a:avLst/>
            <a:gdLst>
              <a:gd name="T0" fmla="*/ 13 w 222"/>
              <a:gd name="T1" fmla="*/ 0 h 115"/>
              <a:gd name="T2" fmla="*/ 23 w 222"/>
              <a:gd name="T3" fmla="*/ 5 h 115"/>
              <a:gd name="T4" fmla="*/ 30 w 222"/>
              <a:gd name="T5" fmla="*/ 7 h 115"/>
              <a:gd name="T6" fmla="*/ 40 w 222"/>
              <a:gd name="T7" fmla="*/ 2 h 115"/>
              <a:gd name="T8" fmla="*/ 53 w 222"/>
              <a:gd name="T9" fmla="*/ 7 h 115"/>
              <a:gd name="T10" fmla="*/ 63 w 222"/>
              <a:gd name="T11" fmla="*/ 12 h 115"/>
              <a:gd name="T12" fmla="*/ 78 w 222"/>
              <a:gd name="T13" fmla="*/ 20 h 115"/>
              <a:gd name="T14" fmla="*/ 85 w 222"/>
              <a:gd name="T15" fmla="*/ 25 h 115"/>
              <a:gd name="T16" fmla="*/ 93 w 222"/>
              <a:gd name="T17" fmla="*/ 37 h 115"/>
              <a:gd name="T18" fmla="*/ 95 w 222"/>
              <a:gd name="T19" fmla="*/ 27 h 115"/>
              <a:gd name="T20" fmla="*/ 100 w 222"/>
              <a:gd name="T21" fmla="*/ 27 h 115"/>
              <a:gd name="T22" fmla="*/ 110 w 222"/>
              <a:gd name="T23" fmla="*/ 32 h 115"/>
              <a:gd name="T24" fmla="*/ 117 w 222"/>
              <a:gd name="T25" fmla="*/ 45 h 115"/>
              <a:gd name="T26" fmla="*/ 132 w 222"/>
              <a:gd name="T27" fmla="*/ 42 h 115"/>
              <a:gd name="T28" fmla="*/ 135 w 222"/>
              <a:gd name="T29" fmla="*/ 60 h 115"/>
              <a:gd name="T30" fmla="*/ 147 w 222"/>
              <a:gd name="T31" fmla="*/ 62 h 115"/>
              <a:gd name="T32" fmla="*/ 155 w 222"/>
              <a:gd name="T33" fmla="*/ 57 h 115"/>
              <a:gd name="T34" fmla="*/ 170 w 222"/>
              <a:gd name="T35" fmla="*/ 55 h 115"/>
              <a:gd name="T36" fmla="*/ 177 w 222"/>
              <a:gd name="T37" fmla="*/ 62 h 115"/>
              <a:gd name="T38" fmla="*/ 192 w 222"/>
              <a:gd name="T39" fmla="*/ 75 h 115"/>
              <a:gd name="T40" fmla="*/ 202 w 222"/>
              <a:gd name="T41" fmla="*/ 72 h 115"/>
              <a:gd name="T42" fmla="*/ 212 w 222"/>
              <a:gd name="T43" fmla="*/ 70 h 115"/>
              <a:gd name="T44" fmla="*/ 220 w 222"/>
              <a:gd name="T45" fmla="*/ 77 h 115"/>
              <a:gd name="T46" fmla="*/ 222 w 222"/>
              <a:gd name="T47" fmla="*/ 100 h 115"/>
              <a:gd name="T48" fmla="*/ 205 w 222"/>
              <a:gd name="T49" fmla="*/ 115 h 115"/>
              <a:gd name="T50" fmla="*/ 187 w 222"/>
              <a:gd name="T51" fmla="*/ 112 h 115"/>
              <a:gd name="T52" fmla="*/ 155 w 222"/>
              <a:gd name="T53" fmla="*/ 105 h 115"/>
              <a:gd name="T54" fmla="*/ 137 w 222"/>
              <a:gd name="T55" fmla="*/ 105 h 115"/>
              <a:gd name="T56" fmla="*/ 127 w 222"/>
              <a:gd name="T57" fmla="*/ 92 h 115"/>
              <a:gd name="T58" fmla="*/ 102 w 222"/>
              <a:gd name="T59" fmla="*/ 92 h 115"/>
              <a:gd name="T60" fmla="*/ 83 w 222"/>
              <a:gd name="T61" fmla="*/ 90 h 115"/>
              <a:gd name="T62" fmla="*/ 68 w 222"/>
              <a:gd name="T63" fmla="*/ 82 h 115"/>
              <a:gd name="T64" fmla="*/ 53 w 222"/>
              <a:gd name="T65" fmla="*/ 77 h 115"/>
              <a:gd name="T66" fmla="*/ 33 w 222"/>
              <a:gd name="T67" fmla="*/ 60 h 115"/>
              <a:gd name="T68" fmla="*/ 18 w 222"/>
              <a:gd name="T69" fmla="*/ 52 h 115"/>
              <a:gd name="T70" fmla="*/ 8 w 222"/>
              <a:gd name="T71" fmla="*/ 50 h 115"/>
              <a:gd name="T72" fmla="*/ 0 w 222"/>
              <a:gd name="T73" fmla="*/ 42 h 115"/>
              <a:gd name="T74" fmla="*/ 8 w 222"/>
              <a:gd name="T75" fmla="*/ 25 h 115"/>
              <a:gd name="T76" fmla="*/ 10 w 222"/>
              <a:gd name="T7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2" h="115">
                <a:moveTo>
                  <a:pt x="10" y="0"/>
                </a:moveTo>
                <a:lnTo>
                  <a:pt x="13" y="0"/>
                </a:lnTo>
                <a:lnTo>
                  <a:pt x="20" y="2"/>
                </a:lnTo>
                <a:lnTo>
                  <a:pt x="23" y="5"/>
                </a:lnTo>
                <a:lnTo>
                  <a:pt x="28" y="5"/>
                </a:lnTo>
                <a:lnTo>
                  <a:pt x="30" y="7"/>
                </a:lnTo>
                <a:lnTo>
                  <a:pt x="33" y="2"/>
                </a:lnTo>
                <a:lnTo>
                  <a:pt x="40" y="2"/>
                </a:lnTo>
                <a:lnTo>
                  <a:pt x="50" y="5"/>
                </a:lnTo>
                <a:lnTo>
                  <a:pt x="53" y="7"/>
                </a:lnTo>
                <a:lnTo>
                  <a:pt x="58" y="7"/>
                </a:lnTo>
                <a:lnTo>
                  <a:pt x="63" y="12"/>
                </a:lnTo>
                <a:lnTo>
                  <a:pt x="70" y="20"/>
                </a:lnTo>
                <a:lnTo>
                  <a:pt x="78" y="20"/>
                </a:lnTo>
                <a:lnTo>
                  <a:pt x="83" y="22"/>
                </a:lnTo>
                <a:lnTo>
                  <a:pt x="85" y="25"/>
                </a:lnTo>
                <a:lnTo>
                  <a:pt x="90" y="32"/>
                </a:lnTo>
                <a:lnTo>
                  <a:pt x="93" y="37"/>
                </a:lnTo>
                <a:lnTo>
                  <a:pt x="95" y="37"/>
                </a:lnTo>
                <a:lnTo>
                  <a:pt x="95" y="27"/>
                </a:lnTo>
                <a:lnTo>
                  <a:pt x="98" y="25"/>
                </a:lnTo>
                <a:lnTo>
                  <a:pt x="100" y="27"/>
                </a:lnTo>
                <a:lnTo>
                  <a:pt x="105" y="27"/>
                </a:lnTo>
                <a:lnTo>
                  <a:pt x="110" y="32"/>
                </a:lnTo>
                <a:lnTo>
                  <a:pt x="112" y="37"/>
                </a:lnTo>
                <a:lnTo>
                  <a:pt x="117" y="45"/>
                </a:lnTo>
                <a:lnTo>
                  <a:pt x="127" y="42"/>
                </a:lnTo>
                <a:lnTo>
                  <a:pt x="132" y="42"/>
                </a:lnTo>
                <a:lnTo>
                  <a:pt x="132" y="55"/>
                </a:lnTo>
                <a:lnTo>
                  <a:pt x="135" y="60"/>
                </a:lnTo>
                <a:lnTo>
                  <a:pt x="140" y="60"/>
                </a:lnTo>
                <a:lnTo>
                  <a:pt x="147" y="62"/>
                </a:lnTo>
                <a:lnTo>
                  <a:pt x="150" y="60"/>
                </a:lnTo>
                <a:lnTo>
                  <a:pt x="155" y="57"/>
                </a:lnTo>
                <a:lnTo>
                  <a:pt x="160" y="52"/>
                </a:lnTo>
                <a:lnTo>
                  <a:pt x="170" y="55"/>
                </a:lnTo>
                <a:lnTo>
                  <a:pt x="177" y="57"/>
                </a:lnTo>
                <a:lnTo>
                  <a:pt x="177" y="62"/>
                </a:lnTo>
                <a:lnTo>
                  <a:pt x="187" y="67"/>
                </a:lnTo>
                <a:lnTo>
                  <a:pt x="192" y="75"/>
                </a:lnTo>
                <a:lnTo>
                  <a:pt x="197" y="75"/>
                </a:lnTo>
                <a:lnTo>
                  <a:pt x="202" y="72"/>
                </a:lnTo>
                <a:lnTo>
                  <a:pt x="205" y="72"/>
                </a:lnTo>
                <a:lnTo>
                  <a:pt x="212" y="70"/>
                </a:lnTo>
                <a:lnTo>
                  <a:pt x="217" y="72"/>
                </a:lnTo>
                <a:lnTo>
                  <a:pt x="220" y="77"/>
                </a:lnTo>
                <a:lnTo>
                  <a:pt x="217" y="90"/>
                </a:lnTo>
                <a:lnTo>
                  <a:pt x="222" y="100"/>
                </a:lnTo>
                <a:lnTo>
                  <a:pt x="220" y="112"/>
                </a:lnTo>
                <a:lnTo>
                  <a:pt x="205" y="115"/>
                </a:lnTo>
                <a:lnTo>
                  <a:pt x="195" y="110"/>
                </a:lnTo>
                <a:lnTo>
                  <a:pt x="187" y="112"/>
                </a:lnTo>
                <a:lnTo>
                  <a:pt x="165" y="105"/>
                </a:lnTo>
                <a:lnTo>
                  <a:pt x="155" y="105"/>
                </a:lnTo>
                <a:lnTo>
                  <a:pt x="150" y="107"/>
                </a:lnTo>
                <a:lnTo>
                  <a:pt x="137" y="105"/>
                </a:lnTo>
                <a:lnTo>
                  <a:pt x="130" y="97"/>
                </a:lnTo>
                <a:lnTo>
                  <a:pt x="127" y="92"/>
                </a:lnTo>
                <a:lnTo>
                  <a:pt x="115" y="87"/>
                </a:lnTo>
                <a:lnTo>
                  <a:pt x="102" y="92"/>
                </a:lnTo>
                <a:lnTo>
                  <a:pt x="98" y="87"/>
                </a:lnTo>
                <a:lnTo>
                  <a:pt x="83" y="90"/>
                </a:lnTo>
                <a:lnTo>
                  <a:pt x="75" y="82"/>
                </a:lnTo>
                <a:lnTo>
                  <a:pt x="68" y="82"/>
                </a:lnTo>
                <a:lnTo>
                  <a:pt x="63" y="80"/>
                </a:lnTo>
                <a:lnTo>
                  <a:pt x="53" y="77"/>
                </a:lnTo>
                <a:lnTo>
                  <a:pt x="45" y="67"/>
                </a:lnTo>
                <a:lnTo>
                  <a:pt x="33" y="60"/>
                </a:lnTo>
                <a:lnTo>
                  <a:pt x="23" y="57"/>
                </a:lnTo>
                <a:lnTo>
                  <a:pt x="18" y="52"/>
                </a:lnTo>
                <a:lnTo>
                  <a:pt x="13" y="52"/>
                </a:lnTo>
                <a:lnTo>
                  <a:pt x="8" y="50"/>
                </a:lnTo>
                <a:lnTo>
                  <a:pt x="3" y="50"/>
                </a:lnTo>
                <a:lnTo>
                  <a:pt x="0" y="42"/>
                </a:lnTo>
                <a:lnTo>
                  <a:pt x="8" y="32"/>
                </a:lnTo>
                <a:lnTo>
                  <a:pt x="8" y="25"/>
                </a:lnTo>
                <a:lnTo>
                  <a:pt x="13" y="10"/>
                </a:lnTo>
                <a:lnTo>
                  <a:pt x="10"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10" name="Freeform 151"/>
          <p:cNvSpPr>
            <a:spLocks/>
          </p:cNvSpPr>
          <p:nvPr/>
        </p:nvSpPr>
        <p:spPr bwMode="auto">
          <a:xfrm>
            <a:off x="8704263" y="4537075"/>
            <a:ext cx="130175" cy="74613"/>
          </a:xfrm>
          <a:custGeom>
            <a:avLst/>
            <a:gdLst>
              <a:gd name="T0" fmla="*/ 2 w 82"/>
              <a:gd name="T1" fmla="*/ 22 h 47"/>
              <a:gd name="T2" fmla="*/ 10 w 82"/>
              <a:gd name="T3" fmla="*/ 20 h 47"/>
              <a:gd name="T4" fmla="*/ 15 w 82"/>
              <a:gd name="T5" fmla="*/ 7 h 47"/>
              <a:gd name="T6" fmla="*/ 27 w 82"/>
              <a:gd name="T7" fmla="*/ 0 h 47"/>
              <a:gd name="T8" fmla="*/ 37 w 82"/>
              <a:gd name="T9" fmla="*/ 0 h 47"/>
              <a:gd name="T10" fmla="*/ 40 w 82"/>
              <a:gd name="T11" fmla="*/ 5 h 47"/>
              <a:gd name="T12" fmla="*/ 52 w 82"/>
              <a:gd name="T13" fmla="*/ 5 h 47"/>
              <a:gd name="T14" fmla="*/ 57 w 82"/>
              <a:gd name="T15" fmla="*/ 7 h 47"/>
              <a:gd name="T16" fmla="*/ 62 w 82"/>
              <a:gd name="T17" fmla="*/ 5 h 47"/>
              <a:gd name="T18" fmla="*/ 70 w 82"/>
              <a:gd name="T19" fmla="*/ 5 h 47"/>
              <a:gd name="T20" fmla="*/ 75 w 82"/>
              <a:gd name="T21" fmla="*/ 10 h 47"/>
              <a:gd name="T22" fmla="*/ 75 w 82"/>
              <a:gd name="T23" fmla="*/ 10 h 47"/>
              <a:gd name="T24" fmla="*/ 75 w 82"/>
              <a:gd name="T25" fmla="*/ 17 h 47"/>
              <a:gd name="T26" fmla="*/ 75 w 82"/>
              <a:gd name="T27" fmla="*/ 22 h 47"/>
              <a:gd name="T28" fmla="*/ 82 w 82"/>
              <a:gd name="T29" fmla="*/ 25 h 47"/>
              <a:gd name="T30" fmla="*/ 82 w 82"/>
              <a:gd name="T31" fmla="*/ 32 h 47"/>
              <a:gd name="T32" fmla="*/ 82 w 82"/>
              <a:gd name="T33" fmla="*/ 37 h 47"/>
              <a:gd name="T34" fmla="*/ 72 w 82"/>
              <a:gd name="T35" fmla="*/ 42 h 47"/>
              <a:gd name="T36" fmla="*/ 65 w 82"/>
              <a:gd name="T37" fmla="*/ 40 h 47"/>
              <a:gd name="T38" fmla="*/ 55 w 82"/>
              <a:gd name="T39" fmla="*/ 42 h 47"/>
              <a:gd name="T40" fmla="*/ 50 w 82"/>
              <a:gd name="T41" fmla="*/ 40 h 47"/>
              <a:gd name="T42" fmla="*/ 45 w 82"/>
              <a:gd name="T43" fmla="*/ 42 h 47"/>
              <a:gd name="T44" fmla="*/ 40 w 82"/>
              <a:gd name="T45" fmla="*/ 47 h 47"/>
              <a:gd name="T46" fmla="*/ 32 w 82"/>
              <a:gd name="T47" fmla="*/ 47 h 47"/>
              <a:gd name="T48" fmla="*/ 20 w 82"/>
              <a:gd name="T49" fmla="*/ 40 h 47"/>
              <a:gd name="T50" fmla="*/ 15 w 82"/>
              <a:gd name="T51" fmla="*/ 42 h 47"/>
              <a:gd name="T52" fmla="*/ 5 w 82"/>
              <a:gd name="T53" fmla="*/ 42 h 47"/>
              <a:gd name="T54" fmla="*/ 0 w 82"/>
              <a:gd name="T55" fmla="*/ 32 h 47"/>
              <a:gd name="T56" fmla="*/ 2 w 82"/>
              <a:gd name="T57" fmla="*/ 27 h 47"/>
              <a:gd name="T58" fmla="*/ 2 w 82"/>
              <a:gd name="T59" fmla="*/ 2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 h="47">
                <a:moveTo>
                  <a:pt x="2" y="22"/>
                </a:moveTo>
                <a:lnTo>
                  <a:pt x="10" y="20"/>
                </a:lnTo>
                <a:lnTo>
                  <a:pt x="15" y="7"/>
                </a:lnTo>
                <a:lnTo>
                  <a:pt x="27" y="0"/>
                </a:lnTo>
                <a:lnTo>
                  <a:pt x="37" y="0"/>
                </a:lnTo>
                <a:lnTo>
                  <a:pt x="40" y="5"/>
                </a:lnTo>
                <a:lnTo>
                  <a:pt x="52" y="5"/>
                </a:lnTo>
                <a:lnTo>
                  <a:pt x="57" y="7"/>
                </a:lnTo>
                <a:lnTo>
                  <a:pt x="62" y="5"/>
                </a:lnTo>
                <a:lnTo>
                  <a:pt x="70" y="5"/>
                </a:lnTo>
                <a:lnTo>
                  <a:pt x="75" y="10"/>
                </a:lnTo>
                <a:lnTo>
                  <a:pt x="75" y="10"/>
                </a:lnTo>
                <a:lnTo>
                  <a:pt x="75" y="17"/>
                </a:lnTo>
                <a:lnTo>
                  <a:pt x="75" y="22"/>
                </a:lnTo>
                <a:lnTo>
                  <a:pt x="82" y="25"/>
                </a:lnTo>
                <a:lnTo>
                  <a:pt x="82" y="32"/>
                </a:lnTo>
                <a:lnTo>
                  <a:pt x="82" y="37"/>
                </a:lnTo>
                <a:lnTo>
                  <a:pt x="72" y="42"/>
                </a:lnTo>
                <a:lnTo>
                  <a:pt x="65" y="40"/>
                </a:lnTo>
                <a:lnTo>
                  <a:pt x="55" y="42"/>
                </a:lnTo>
                <a:lnTo>
                  <a:pt x="50" y="40"/>
                </a:lnTo>
                <a:lnTo>
                  <a:pt x="45" y="42"/>
                </a:lnTo>
                <a:lnTo>
                  <a:pt x="40" y="47"/>
                </a:lnTo>
                <a:lnTo>
                  <a:pt x="32" y="47"/>
                </a:lnTo>
                <a:lnTo>
                  <a:pt x="20" y="40"/>
                </a:lnTo>
                <a:lnTo>
                  <a:pt x="15" y="42"/>
                </a:lnTo>
                <a:lnTo>
                  <a:pt x="5" y="42"/>
                </a:lnTo>
                <a:lnTo>
                  <a:pt x="0" y="32"/>
                </a:lnTo>
                <a:lnTo>
                  <a:pt x="2" y="27"/>
                </a:lnTo>
                <a:lnTo>
                  <a:pt x="2" y="2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11" name="Freeform 152"/>
          <p:cNvSpPr>
            <a:spLocks/>
          </p:cNvSpPr>
          <p:nvPr/>
        </p:nvSpPr>
        <p:spPr bwMode="auto">
          <a:xfrm>
            <a:off x="8431213" y="3181350"/>
            <a:ext cx="1301750" cy="614363"/>
          </a:xfrm>
          <a:custGeom>
            <a:avLst/>
            <a:gdLst>
              <a:gd name="T0" fmla="*/ 27 w 820"/>
              <a:gd name="T1" fmla="*/ 117 h 387"/>
              <a:gd name="T2" fmla="*/ 49 w 820"/>
              <a:gd name="T3" fmla="*/ 92 h 387"/>
              <a:gd name="T4" fmla="*/ 59 w 820"/>
              <a:gd name="T5" fmla="*/ 75 h 387"/>
              <a:gd name="T6" fmla="*/ 94 w 820"/>
              <a:gd name="T7" fmla="*/ 65 h 387"/>
              <a:gd name="T8" fmla="*/ 112 w 820"/>
              <a:gd name="T9" fmla="*/ 70 h 387"/>
              <a:gd name="T10" fmla="*/ 142 w 820"/>
              <a:gd name="T11" fmla="*/ 70 h 387"/>
              <a:gd name="T12" fmla="*/ 174 w 820"/>
              <a:gd name="T13" fmla="*/ 97 h 387"/>
              <a:gd name="T14" fmla="*/ 202 w 820"/>
              <a:gd name="T15" fmla="*/ 92 h 387"/>
              <a:gd name="T16" fmla="*/ 232 w 820"/>
              <a:gd name="T17" fmla="*/ 92 h 387"/>
              <a:gd name="T18" fmla="*/ 239 w 820"/>
              <a:gd name="T19" fmla="*/ 60 h 387"/>
              <a:gd name="T20" fmla="*/ 222 w 820"/>
              <a:gd name="T21" fmla="*/ 30 h 387"/>
              <a:gd name="T22" fmla="*/ 239 w 820"/>
              <a:gd name="T23" fmla="*/ 10 h 387"/>
              <a:gd name="T24" fmla="*/ 256 w 820"/>
              <a:gd name="T25" fmla="*/ 3 h 387"/>
              <a:gd name="T26" fmla="*/ 291 w 820"/>
              <a:gd name="T27" fmla="*/ 13 h 387"/>
              <a:gd name="T28" fmla="*/ 324 w 820"/>
              <a:gd name="T29" fmla="*/ 20 h 387"/>
              <a:gd name="T30" fmla="*/ 334 w 820"/>
              <a:gd name="T31" fmla="*/ 45 h 387"/>
              <a:gd name="T32" fmla="*/ 356 w 820"/>
              <a:gd name="T33" fmla="*/ 62 h 387"/>
              <a:gd name="T34" fmla="*/ 384 w 820"/>
              <a:gd name="T35" fmla="*/ 62 h 387"/>
              <a:gd name="T36" fmla="*/ 419 w 820"/>
              <a:gd name="T37" fmla="*/ 52 h 387"/>
              <a:gd name="T38" fmla="*/ 463 w 820"/>
              <a:gd name="T39" fmla="*/ 60 h 387"/>
              <a:gd name="T40" fmla="*/ 496 w 820"/>
              <a:gd name="T41" fmla="*/ 77 h 387"/>
              <a:gd name="T42" fmla="*/ 533 w 820"/>
              <a:gd name="T43" fmla="*/ 87 h 387"/>
              <a:gd name="T44" fmla="*/ 573 w 820"/>
              <a:gd name="T45" fmla="*/ 87 h 387"/>
              <a:gd name="T46" fmla="*/ 616 w 820"/>
              <a:gd name="T47" fmla="*/ 70 h 387"/>
              <a:gd name="T48" fmla="*/ 633 w 820"/>
              <a:gd name="T49" fmla="*/ 45 h 387"/>
              <a:gd name="T50" fmla="*/ 658 w 820"/>
              <a:gd name="T51" fmla="*/ 35 h 387"/>
              <a:gd name="T52" fmla="*/ 685 w 820"/>
              <a:gd name="T53" fmla="*/ 45 h 387"/>
              <a:gd name="T54" fmla="*/ 708 w 820"/>
              <a:gd name="T55" fmla="*/ 85 h 387"/>
              <a:gd name="T56" fmla="*/ 720 w 820"/>
              <a:gd name="T57" fmla="*/ 132 h 387"/>
              <a:gd name="T58" fmla="*/ 763 w 820"/>
              <a:gd name="T59" fmla="*/ 117 h 387"/>
              <a:gd name="T60" fmla="*/ 800 w 820"/>
              <a:gd name="T61" fmla="*/ 127 h 387"/>
              <a:gd name="T62" fmla="*/ 818 w 820"/>
              <a:gd name="T63" fmla="*/ 160 h 387"/>
              <a:gd name="T64" fmla="*/ 800 w 820"/>
              <a:gd name="T65" fmla="*/ 167 h 387"/>
              <a:gd name="T66" fmla="*/ 768 w 820"/>
              <a:gd name="T67" fmla="*/ 177 h 387"/>
              <a:gd name="T68" fmla="*/ 755 w 820"/>
              <a:gd name="T69" fmla="*/ 187 h 387"/>
              <a:gd name="T70" fmla="*/ 730 w 820"/>
              <a:gd name="T71" fmla="*/ 222 h 387"/>
              <a:gd name="T72" fmla="*/ 698 w 820"/>
              <a:gd name="T73" fmla="*/ 242 h 387"/>
              <a:gd name="T74" fmla="*/ 670 w 820"/>
              <a:gd name="T75" fmla="*/ 242 h 387"/>
              <a:gd name="T76" fmla="*/ 636 w 820"/>
              <a:gd name="T77" fmla="*/ 262 h 387"/>
              <a:gd name="T78" fmla="*/ 656 w 820"/>
              <a:gd name="T79" fmla="*/ 295 h 387"/>
              <a:gd name="T80" fmla="*/ 618 w 820"/>
              <a:gd name="T81" fmla="*/ 334 h 387"/>
              <a:gd name="T82" fmla="*/ 571 w 820"/>
              <a:gd name="T83" fmla="*/ 349 h 387"/>
              <a:gd name="T84" fmla="*/ 503 w 820"/>
              <a:gd name="T85" fmla="*/ 387 h 387"/>
              <a:gd name="T86" fmla="*/ 468 w 820"/>
              <a:gd name="T87" fmla="*/ 382 h 387"/>
              <a:gd name="T88" fmla="*/ 401 w 820"/>
              <a:gd name="T89" fmla="*/ 352 h 387"/>
              <a:gd name="T90" fmla="*/ 349 w 820"/>
              <a:gd name="T91" fmla="*/ 359 h 387"/>
              <a:gd name="T92" fmla="*/ 271 w 820"/>
              <a:gd name="T93" fmla="*/ 359 h 387"/>
              <a:gd name="T94" fmla="*/ 244 w 820"/>
              <a:gd name="T95" fmla="*/ 320 h 387"/>
              <a:gd name="T96" fmla="*/ 232 w 820"/>
              <a:gd name="T97" fmla="*/ 302 h 387"/>
              <a:gd name="T98" fmla="*/ 202 w 820"/>
              <a:gd name="T99" fmla="*/ 290 h 387"/>
              <a:gd name="T100" fmla="*/ 164 w 820"/>
              <a:gd name="T101" fmla="*/ 277 h 387"/>
              <a:gd name="T102" fmla="*/ 104 w 820"/>
              <a:gd name="T103" fmla="*/ 262 h 387"/>
              <a:gd name="T104" fmla="*/ 107 w 820"/>
              <a:gd name="T105" fmla="*/ 240 h 387"/>
              <a:gd name="T106" fmla="*/ 97 w 820"/>
              <a:gd name="T107" fmla="*/ 215 h 387"/>
              <a:gd name="T108" fmla="*/ 84 w 820"/>
              <a:gd name="T109" fmla="*/ 190 h 387"/>
              <a:gd name="T110" fmla="*/ 62 w 820"/>
              <a:gd name="T111" fmla="*/ 182 h 387"/>
              <a:gd name="T112" fmla="*/ 42 w 820"/>
              <a:gd name="T113" fmla="*/ 177 h 387"/>
              <a:gd name="T114" fmla="*/ 30 w 820"/>
              <a:gd name="T115" fmla="*/ 175 h 387"/>
              <a:gd name="T116" fmla="*/ 10 w 820"/>
              <a:gd name="T117" fmla="*/ 155 h 387"/>
              <a:gd name="T118" fmla="*/ 2 w 820"/>
              <a:gd name="T119" fmla="*/ 14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0" h="387">
                <a:moveTo>
                  <a:pt x="0" y="137"/>
                </a:moveTo>
                <a:lnTo>
                  <a:pt x="5" y="127"/>
                </a:lnTo>
                <a:lnTo>
                  <a:pt x="10" y="125"/>
                </a:lnTo>
                <a:lnTo>
                  <a:pt x="22" y="125"/>
                </a:lnTo>
                <a:lnTo>
                  <a:pt x="25" y="122"/>
                </a:lnTo>
                <a:lnTo>
                  <a:pt x="27" y="117"/>
                </a:lnTo>
                <a:lnTo>
                  <a:pt x="37" y="115"/>
                </a:lnTo>
                <a:lnTo>
                  <a:pt x="37" y="110"/>
                </a:lnTo>
                <a:lnTo>
                  <a:pt x="39" y="105"/>
                </a:lnTo>
                <a:lnTo>
                  <a:pt x="47" y="100"/>
                </a:lnTo>
                <a:lnTo>
                  <a:pt x="47" y="97"/>
                </a:lnTo>
                <a:lnTo>
                  <a:pt x="49" y="92"/>
                </a:lnTo>
                <a:lnTo>
                  <a:pt x="54" y="92"/>
                </a:lnTo>
                <a:lnTo>
                  <a:pt x="59" y="87"/>
                </a:lnTo>
                <a:lnTo>
                  <a:pt x="59" y="85"/>
                </a:lnTo>
                <a:lnTo>
                  <a:pt x="57" y="82"/>
                </a:lnTo>
                <a:lnTo>
                  <a:pt x="57" y="77"/>
                </a:lnTo>
                <a:lnTo>
                  <a:pt x="59" y="75"/>
                </a:lnTo>
                <a:lnTo>
                  <a:pt x="67" y="77"/>
                </a:lnTo>
                <a:lnTo>
                  <a:pt x="72" y="77"/>
                </a:lnTo>
                <a:lnTo>
                  <a:pt x="74" y="70"/>
                </a:lnTo>
                <a:lnTo>
                  <a:pt x="79" y="67"/>
                </a:lnTo>
                <a:lnTo>
                  <a:pt x="87" y="67"/>
                </a:lnTo>
                <a:lnTo>
                  <a:pt x="94" y="65"/>
                </a:lnTo>
                <a:lnTo>
                  <a:pt x="97" y="65"/>
                </a:lnTo>
                <a:lnTo>
                  <a:pt x="104" y="65"/>
                </a:lnTo>
                <a:lnTo>
                  <a:pt x="107" y="62"/>
                </a:lnTo>
                <a:lnTo>
                  <a:pt x="109" y="62"/>
                </a:lnTo>
                <a:lnTo>
                  <a:pt x="112" y="67"/>
                </a:lnTo>
                <a:lnTo>
                  <a:pt x="112" y="70"/>
                </a:lnTo>
                <a:lnTo>
                  <a:pt x="117" y="75"/>
                </a:lnTo>
                <a:lnTo>
                  <a:pt x="122" y="72"/>
                </a:lnTo>
                <a:lnTo>
                  <a:pt x="124" y="72"/>
                </a:lnTo>
                <a:lnTo>
                  <a:pt x="129" y="72"/>
                </a:lnTo>
                <a:lnTo>
                  <a:pt x="134" y="70"/>
                </a:lnTo>
                <a:lnTo>
                  <a:pt x="142" y="70"/>
                </a:lnTo>
                <a:lnTo>
                  <a:pt x="144" y="75"/>
                </a:lnTo>
                <a:lnTo>
                  <a:pt x="144" y="77"/>
                </a:lnTo>
                <a:lnTo>
                  <a:pt x="147" y="82"/>
                </a:lnTo>
                <a:lnTo>
                  <a:pt x="159" y="90"/>
                </a:lnTo>
                <a:lnTo>
                  <a:pt x="164" y="92"/>
                </a:lnTo>
                <a:lnTo>
                  <a:pt x="174" y="97"/>
                </a:lnTo>
                <a:lnTo>
                  <a:pt x="177" y="95"/>
                </a:lnTo>
                <a:lnTo>
                  <a:pt x="182" y="95"/>
                </a:lnTo>
                <a:lnTo>
                  <a:pt x="189" y="90"/>
                </a:lnTo>
                <a:lnTo>
                  <a:pt x="192" y="90"/>
                </a:lnTo>
                <a:lnTo>
                  <a:pt x="197" y="90"/>
                </a:lnTo>
                <a:lnTo>
                  <a:pt x="202" y="92"/>
                </a:lnTo>
                <a:lnTo>
                  <a:pt x="207" y="92"/>
                </a:lnTo>
                <a:lnTo>
                  <a:pt x="217" y="92"/>
                </a:lnTo>
                <a:lnTo>
                  <a:pt x="222" y="95"/>
                </a:lnTo>
                <a:lnTo>
                  <a:pt x="227" y="95"/>
                </a:lnTo>
                <a:lnTo>
                  <a:pt x="229" y="92"/>
                </a:lnTo>
                <a:lnTo>
                  <a:pt x="232" y="92"/>
                </a:lnTo>
                <a:lnTo>
                  <a:pt x="242" y="92"/>
                </a:lnTo>
                <a:lnTo>
                  <a:pt x="247" y="85"/>
                </a:lnTo>
                <a:lnTo>
                  <a:pt x="244" y="80"/>
                </a:lnTo>
                <a:lnTo>
                  <a:pt x="239" y="77"/>
                </a:lnTo>
                <a:lnTo>
                  <a:pt x="239" y="70"/>
                </a:lnTo>
                <a:lnTo>
                  <a:pt x="239" y="60"/>
                </a:lnTo>
                <a:lnTo>
                  <a:pt x="239" y="57"/>
                </a:lnTo>
                <a:lnTo>
                  <a:pt x="234" y="55"/>
                </a:lnTo>
                <a:lnTo>
                  <a:pt x="232" y="52"/>
                </a:lnTo>
                <a:lnTo>
                  <a:pt x="224" y="50"/>
                </a:lnTo>
                <a:lnTo>
                  <a:pt x="222" y="42"/>
                </a:lnTo>
                <a:lnTo>
                  <a:pt x="222" y="30"/>
                </a:lnTo>
                <a:lnTo>
                  <a:pt x="227" y="25"/>
                </a:lnTo>
                <a:lnTo>
                  <a:pt x="227" y="20"/>
                </a:lnTo>
                <a:lnTo>
                  <a:pt x="229" y="15"/>
                </a:lnTo>
                <a:lnTo>
                  <a:pt x="234" y="15"/>
                </a:lnTo>
                <a:lnTo>
                  <a:pt x="237" y="15"/>
                </a:lnTo>
                <a:lnTo>
                  <a:pt x="239" y="10"/>
                </a:lnTo>
                <a:lnTo>
                  <a:pt x="237" y="8"/>
                </a:lnTo>
                <a:lnTo>
                  <a:pt x="239" y="3"/>
                </a:lnTo>
                <a:lnTo>
                  <a:pt x="242" y="0"/>
                </a:lnTo>
                <a:lnTo>
                  <a:pt x="247" y="0"/>
                </a:lnTo>
                <a:lnTo>
                  <a:pt x="251" y="3"/>
                </a:lnTo>
                <a:lnTo>
                  <a:pt x="256" y="3"/>
                </a:lnTo>
                <a:lnTo>
                  <a:pt x="264" y="8"/>
                </a:lnTo>
                <a:lnTo>
                  <a:pt x="266" y="10"/>
                </a:lnTo>
                <a:lnTo>
                  <a:pt x="271" y="10"/>
                </a:lnTo>
                <a:lnTo>
                  <a:pt x="279" y="13"/>
                </a:lnTo>
                <a:lnTo>
                  <a:pt x="289" y="13"/>
                </a:lnTo>
                <a:lnTo>
                  <a:pt x="291" y="13"/>
                </a:lnTo>
                <a:lnTo>
                  <a:pt x="294" y="15"/>
                </a:lnTo>
                <a:lnTo>
                  <a:pt x="301" y="18"/>
                </a:lnTo>
                <a:lnTo>
                  <a:pt x="304" y="18"/>
                </a:lnTo>
                <a:lnTo>
                  <a:pt x="309" y="20"/>
                </a:lnTo>
                <a:lnTo>
                  <a:pt x="321" y="20"/>
                </a:lnTo>
                <a:lnTo>
                  <a:pt x="324" y="20"/>
                </a:lnTo>
                <a:lnTo>
                  <a:pt x="326" y="25"/>
                </a:lnTo>
                <a:lnTo>
                  <a:pt x="326" y="28"/>
                </a:lnTo>
                <a:lnTo>
                  <a:pt x="329" y="33"/>
                </a:lnTo>
                <a:lnTo>
                  <a:pt x="329" y="35"/>
                </a:lnTo>
                <a:lnTo>
                  <a:pt x="331" y="40"/>
                </a:lnTo>
                <a:lnTo>
                  <a:pt x="334" y="45"/>
                </a:lnTo>
                <a:lnTo>
                  <a:pt x="334" y="50"/>
                </a:lnTo>
                <a:lnTo>
                  <a:pt x="336" y="52"/>
                </a:lnTo>
                <a:lnTo>
                  <a:pt x="341" y="52"/>
                </a:lnTo>
                <a:lnTo>
                  <a:pt x="346" y="57"/>
                </a:lnTo>
                <a:lnTo>
                  <a:pt x="346" y="60"/>
                </a:lnTo>
                <a:lnTo>
                  <a:pt x="356" y="62"/>
                </a:lnTo>
                <a:lnTo>
                  <a:pt x="364" y="67"/>
                </a:lnTo>
                <a:lnTo>
                  <a:pt x="366" y="67"/>
                </a:lnTo>
                <a:lnTo>
                  <a:pt x="369" y="65"/>
                </a:lnTo>
                <a:lnTo>
                  <a:pt x="376" y="65"/>
                </a:lnTo>
                <a:lnTo>
                  <a:pt x="381" y="62"/>
                </a:lnTo>
                <a:lnTo>
                  <a:pt x="384" y="62"/>
                </a:lnTo>
                <a:lnTo>
                  <a:pt x="389" y="65"/>
                </a:lnTo>
                <a:lnTo>
                  <a:pt x="391" y="62"/>
                </a:lnTo>
                <a:lnTo>
                  <a:pt x="396" y="57"/>
                </a:lnTo>
                <a:lnTo>
                  <a:pt x="404" y="55"/>
                </a:lnTo>
                <a:lnTo>
                  <a:pt x="414" y="55"/>
                </a:lnTo>
                <a:lnTo>
                  <a:pt x="419" y="52"/>
                </a:lnTo>
                <a:lnTo>
                  <a:pt x="426" y="52"/>
                </a:lnTo>
                <a:lnTo>
                  <a:pt x="434" y="50"/>
                </a:lnTo>
                <a:lnTo>
                  <a:pt x="439" y="52"/>
                </a:lnTo>
                <a:lnTo>
                  <a:pt x="446" y="52"/>
                </a:lnTo>
                <a:lnTo>
                  <a:pt x="458" y="52"/>
                </a:lnTo>
                <a:lnTo>
                  <a:pt x="463" y="60"/>
                </a:lnTo>
                <a:lnTo>
                  <a:pt x="471" y="65"/>
                </a:lnTo>
                <a:lnTo>
                  <a:pt x="481" y="65"/>
                </a:lnTo>
                <a:lnTo>
                  <a:pt x="486" y="62"/>
                </a:lnTo>
                <a:lnTo>
                  <a:pt x="488" y="65"/>
                </a:lnTo>
                <a:lnTo>
                  <a:pt x="491" y="75"/>
                </a:lnTo>
                <a:lnTo>
                  <a:pt x="496" y="77"/>
                </a:lnTo>
                <a:lnTo>
                  <a:pt x="498" y="80"/>
                </a:lnTo>
                <a:lnTo>
                  <a:pt x="503" y="80"/>
                </a:lnTo>
                <a:lnTo>
                  <a:pt x="508" y="85"/>
                </a:lnTo>
                <a:lnTo>
                  <a:pt x="511" y="85"/>
                </a:lnTo>
                <a:lnTo>
                  <a:pt x="523" y="85"/>
                </a:lnTo>
                <a:lnTo>
                  <a:pt x="533" y="87"/>
                </a:lnTo>
                <a:lnTo>
                  <a:pt x="551" y="87"/>
                </a:lnTo>
                <a:lnTo>
                  <a:pt x="556" y="87"/>
                </a:lnTo>
                <a:lnTo>
                  <a:pt x="558" y="85"/>
                </a:lnTo>
                <a:lnTo>
                  <a:pt x="566" y="85"/>
                </a:lnTo>
                <a:lnTo>
                  <a:pt x="571" y="87"/>
                </a:lnTo>
                <a:lnTo>
                  <a:pt x="573" y="87"/>
                </a:lnTo>
                <a:lnTo>
                  <a:pt x="578" y="80"/>
                </a:lnTo>
                <a:lnTo>
                  <a:pt x="588" y="75"/>
                </a:lnTo>
                <a:lnTo>
                  <a:pt x="593" y="75"/>
                </a:lnTo>
                <a:lnTo>
                  <a:pt x="598" y="70"/>
                </a:lnTo>
                <a:lnTo>
                  <a:pt x="603" y="70"/>
                </a:lnTo>
                <a:lnTo>
                  <a:pt x="616" y="70"/>
                </a:lnTo>
                <a:lnTo>
                  <a:pt x="621" y="65"/>
                </a:lnTo>
                <a:lnTo>
                  <a:pt x="621" y="60"/>
                </a:lnTo>
                <a:lnTo>
                  <a:pt x="621" y="57"/>
                </a:lnTo>
                <a:lnTo>
                  <a:pt x="626" y="52"/>
                </a:lnTo>
                <a:lnTo>
                  <a:pt x="631" y="50"/>
                </a:lnTo>
                <a:lnTo>
                  <a:pt x="633" y="45"/>
                </a:lnTo>
                <a:lnTo>
                  <a:pt x="636" y="40"/>
                </a:lnTo>
                <a:lnTo>
                  <a:pt x="641" y="35"/>
                </a:lnTo>
                <a:lnTo>
                  <a:pt x="646" y="35"/>
                </a:lnTo>
                <a:lnTo>
                  <a:pt x="646" y="38"/>
                </a:lnTo>
                <a:lnTo>
                  <a:pt x="653" y="35"/>
                </a:lnTo>
                <a:lnTo>
                  <a:pt x="658" y="35"/>
                </a:lnTo>
                <a:lnTo>
                  <a:pt x="666" y="40"/>
                </a:lnTo>
                <a:lnTo>
                  <a:pt x="668" y="45"/>
                </a:lnTo>
                <a:lnTo>
                  <a:pt x="673" y="45"/>
                </a:lnTo>
                <a:lnTo>
                  <a:pt x="678" y="42"/>
                </a:lnTo>
                <a:lnTo>
                  <a:pt x="680" y="45"/>
                </a:lnTo>
                <a:lnTo>
                  <a:pt x="685" y="45"/>
                </a:lnTo>
                <a:lnTo>
                  <a:pt x="690" y="42"/>
                </a:lnTo>
                <a:lnTo>
                  <a:pt x="690" y="40"/>
                </a:lnTo>
                <a:lnTo>
                  <a:pt x="700" y="38"/>
                </a:lnTo>
                <a:lnTo>
                  <a:pt x="710" y="40"/>
                </a:lnTo>
                <a:lnTo>
                  <a:pt x="713" y="42"/>
                </a:lnTo>
                <a:lnTo>
                  <a:pt x="708" y="85"/>
                </a:lnTo>
                <a:lnTo>
                  <a:pt x="708" y="92"/>
                </a:lnTo>
                <a:lnTo>
                  <a:pt x="705" y="102"/>
                </a:lnTo>
                <a:lnTo>
                  <a:pt x="708" y="107"/>
                </a:lnTo>
                <a:lnTo>
                  <a:pt x="703" y="117"/>
                </a:lnTo>
                <a:lnTo>
                  <a:pt x="708" y="127"/>
                </a:lnTo>
                <a:lnTo>
                  <a:pt x="720" y="132"/>
                </a:lnTo>
                <a:lnTo>
                  <a:pt x="728" y="127"/>
                </a:lnTo>
                <a:lnTo>
                  <a:pt x="740" y="127"/>
                </a:lnTo>
                <a:lnTo>
                  <a:pt x="750" y="127"/>
                </a:lnTo>
                <a:lnTo>
                  <a:pt x="755" y="132"/>
                </a:lnTo>
                <a:lnTo>
                  <a:pt x="763" y="122"/>
                </a:lnTo>
                <a:lnTo>
                  <a:pt x="763" y="117"/>
                </a:lnTo>
                <a:lnTo>
                  <a:pt x="763" y="112"/>
                </a:lnTo>
                <a:lnTo>
                  <a:pt x="770" y="110"/>
                </a:lnTo>
                <a:lnTo>
                  <a:pt x="773" y="107"/>
                </a:lnTo>
                <a:lnTo>
                  <a:pt x="785" y="112"/>
                </a:lnTo>
                <a:lnTo>
                  <a:pt x="790" y="120"/>
                </a:lnTo>
                <a:lnTo>
                  <a:pt x="800" y="127"/>
                </a:lnTo>
                <a:lnTo>
                  <a:pt x="808" y="137"/>
                </a:lnTo>
                <a:lnTo>
                  <a:pt x="818" y="145"/>
                </a:lnTo>
                <a:lnTo>
                  <a:pt x="818" y="150"/>
                </a:lnTo>
                <a:lnTo>
                  <a:pt x="820" y="152"/>
                </a:lnTo>
                <a:lnTo>
                  <a:pt x="820" y="157"/>
                </a:lnTo>
                <a:lnTo>
                  <a:pt x="818" y="160"/>
                </a:lnTo>
                <a:lnTo>
                  <a:pt x="818" y="165"/>
                </a:lnTo>
                <a:lnTo>
                  <a:pt x="815" y="167"/>
                </a:lnTo>
                <a:lnTo>
                  <a:pt x="813" y="167"/>
                </a:lnTo>
                <a:lnTo>
                  <a:pt x="810" y="165"/>
                </a:lnTo>
                <a:lnTo>
                  <a:pt x="803" y="165"/>
                </a:lnTo>
                <a:lnTo>
                  <a:pt x="800" y="167"/>
                </a:lnTo>
                <a:lnTo>
                  <a:pt x="793" y="165"/>
                </a:lnTo>
                <a:lnTo>
                  <a:pt x="788" y="165"/>
                </a:lnTo>
                <a:lnTo>
                  <a:pt x="783" y="172"/>
                </a:lnTo>
                <a:lnTo>
                  <a:pt x="778" y="177"/>
                </a:lnTo>
                <a:lnTo>
                  <a:pt x="773" y="180"/>
                </a:lnTo>
                <a:lnTo>
                  <a:pt x="768" y="177"/>
                </a:lnTo>
                <a:lnTo>
                  <a:pt x="765" y="177"/>
                </a:lnTo>
                <a:lnTo>
                  <a:pt x="765" y="182"/>
                </a:lnTo>
                <a:lnTo>
                  <a:pt x="763" y="185"/>
                </a:lnTo>
                <a:lnTo>
                  <a:pt x="760" y="185"/>
                </a:lnTo>
                <a:lnTo>
                  <a:pt x="758" y="185"/>
                </a:lnTo>
                <a:lnTo>
                  <a:pt x="755" y="187"/>
                </a:lnTo>
                <a:lnTo>
                  <a:pt x="750" y="195"/>
                </a:lnTo>
                <a:lnTo>
                  <a:pt x="748" y="205"/>
                </a:lnTo>
                <a:lnTo>
                  <a:pt x="750" y="210"/>
                </a:lnTo>
                <a:lnTo>
                  <a:pt x="745" y="212"/>
                </a:lnTo>
                <a:lnTo>
                  <a:pt x="740" y="215"/>
                </a:lnTo>
                <a:lnTo>
                  <a:pt x="730" y="222"/>
                </a:lnTo>
                <a:lnTo>
                  <a:pt x="723" y="222"/>
                </a:lnTo>
                <a:lnTo>
                  <a:pt x="715" y="220"/>
                </a:lnTo>
                <a:lnTo>
                  <a:pt x="713" y="222"/>
                </a:lnTo>
                <a:lnTo>
                  <a:pt x="708" y="232"/>
                </a:lnTo>
                <a:lnTo>
                  <a:pt x="703" y="237"/>
                </a:lnTo>
                <a:lnTo>
                  <a:pt x="698" y="242"/>
                </a:lnTo>
                <a:lnTo>
                  <a:pt x="693" y="245"/>
                </a:lnTo>
                <a:lnTo>
                  <a:pt x="693" y="250"/>
                </a:lnTo>
                <a:lnTo>
                  <a:pt x="690" y="250"/>
                </a:lnTo>
                <a:lnTo>
                  <a:pt x="683" y="247"/>
                </a:lnTo>
                <a:lnTo>
                  <a:pt x="678" y="247"/>
                </a:lnTo>
                <a:lnTo>
                  <a:pt x="670" y="242"/>
                </a:lnTo>
                <a:lnTo>
                  <a:pt x="663" y="240"/>
                </a:lnTo>
                <a:lnTo>
                  <a:pt x="656" y="237"/>
                </a:lnTo>
                <a:lnTo>
                  <a:pt x="646" y="240"/>
                </a:lnTo>
                <a:lnTo>
                  <a:pt x="641" y="245"/>
                </a:lnTo>
                <a:lnTo>
                  <a:pt x="636" y="250"/>
                </a:lnTo>
                <a:lnTo>
                  <a:pt x="636" y="262"/>
                </a:lnTo>
                <a:lnTo>
                  <a:pt x="636" y="267"/>
                </a:lnTo>
                <a:lnTo>
                  <a:pt x="636" y="272"/>
                </a:lnTo>
                <a:lnTo>
                  <a:pt x="648" y="280"/>
                </a:lnTo>
                <a:lnTo>
                  <a:pt x="658" y="287"/>
                </a:lnTo>
                <a:lnTo>
                  <a:pt x="658" y="290"/>
                </a:lnTo>
                <a:lnTo>
                  <a:pt x="656" y="295"/>
                </a:lnTo>
                <a:lnTo>
                  <a:pt x="653" y="300"/>
                </a:lnTo>
                <a:lnTo>
                  <a:pt x="641" y="312"/>
                </a:lnTo>
                <a:lnTo>
                  <a:pt x="633" y="325"/>
                </a:lnTo>
                <a:lnTo>
                  <a:pt x="631" y="332"/>
                </a:lnTo>
                <a:lnTo>
                  <a:pt x="626" y="332"/>
                </a:lnTo>
                <a:lnTo>
                  <a:pt x="618" y="334"/>
                </a:lnTo>
                <a:lnTo>
                  <a:pt x="611" y="337"/>
                </a:lnTo>
                <a:lnTo>
                  <a:pt x="603" y="339"/>
                </a:lnTo>
                <a:lnTo>
                  <a:pt x="596" y="347"/>
                </a:lnTo>
                <a:lnTo>
                  <a:pt x="588" y="347"/>
                </a:lnTo>
                <a:lnTo>
                  <a:pt x="578" y="347"/>
                </a:lnTo>
                <a:lnTo>
                  <a:pt x="571" y="349"/>
                </a:lnTo>
                <a:lnTo>
                  <a:pt x="563" y="352"/>
                </a:lnTo>
                <a:lnTo>
                  <a:pt x="543" y="359"/>
                </a:lnTo>
                <a:lnTo>
                  <a:pt x="528" y="364"/>
                </a:lnTo>
                <a:lnTo>
                  <a:pt x="521" y="372"/>
                </a:lnTo>
                <a:lnTo>
                  <a:pt x="508" y="382"/>
                </a:lnTo>
                <a:lnTo>
                  <a:pt x="503" y="387"/>
                </a:lnTo>
                <a:lnTo>
                  <a:pt x="498" y="387"/>
                </a:lnTo>
                <a:lnTo>
                  <a:pt x="491" y="384"/>
                </a:lnTo>
                <a:lnTo>
                  <a:pt x="491" y="382"/>
                </a:lnTo>
                <a:lnTo>
                  <a:pt x="488" y="377"/>
                </a:lnTo>
                <a:lnTo>
                  <a:pt x="478" y="379"/>
                </a:lnTo>
                <a:lnTo>
                  <a:pt x="468" y="382"/>
                </a:lnTo>
                <a:lnTo>
                  <a:pt x="458" y="377"/>
                </a:lnTo>
                <a:lnTo>
                  <a:pt x="451" y="377"/>
                </a:lnTo>
                <a:lnTo>
                  <a:pt x="436" y="369"/>
                </a:lnTo>
                <a:lnTo>
                  <a:pt x="419" y="362"/>
                </a:lnTo>
                <a:lnTo>
                  <a:pt x="409" y="352"/>
                </a:lnTo>
                <a:lnTo>
                  <a:pt x="401" y="352"/>
                </a:lnTo>
                <a:lnTo>
                  <a:pt x="384" y="352"/>
                </a:lnTo>
                <a:lnTo>
                  <a:pt x="366" y="352"/>
                </a:lnTo>
                <a:lnTo>
                  <a:pt x="364" y="349"/>
                </a:lnTo>
                <a:lnTo>
                  <a:pt x="361" y="352"/>
                </a:lnTo>
                <a:lnTo>
                  <a:pt x="359" y="354"/>
                </a:lnTo>
                <a:lnTo>
                  <a:pt x="349" y="359"/>
                </a:lnTo>
                <a:lnTo>
                  <a:pt x="336" y="359"/>
                </a:lnTo>
                <a:lnTo>
                  <a:pt x="314" y="357"/>
                </a:lnTo>
                <a:lnTo>
                  <a:pt x="299" y="359"/>
                </a:lnTo>
                <a:lnTo>
                  <a:pt x="286" y="357"/>
                </a:lnTo>
                <a:lnTo>
                  <a:pt x="276" y="359"/>
                </a:lnTo>
                <a:lnTo>
                  <a:pt x="271" y="359"/>
                </a:lnTo>
                <a:lnTo>
                  <a:pt x="266" y="357"/>
                </a:lnTo>
                <a:lnTo>
                  <a:pt x="261" y="347"/>
                </a:lnTo>
                <a:lnTo>
                  <a:pt x="259" y="342"/>
                </a:lnTo>
                <a:lnTo>
                  <a:pt x="251" y="332"/>
                </a:lnTo>
                <a:lnTo>
                  <a:pt x="249" y="327"/>
                </a:lnTo>
                <a:lnTo>
                  <a:pt x="244" y="320"/>
                </a:lnTo>
                <a:lnTo>
                  <a:pt x="244" y="317"/>
                </a:lnTo>
                <a:lnTo>
                  <a:pt x="242" y="312"/>
                </a:lnTo>
                <a:lnTo>
                  <a:pt x="237" y="310"/>
                </a:lnTo>
                <a:lnTo>
                  <a:pt x="234" y="310"/>
                </a:lnTo>
                <a:lnTo>
                  <a:pt x="234" y="307"/>
                </a:lnTo>
                <a:lnTo>
                  <a:pt x="232" y="302"/>
                </a:lnTo>
                <a:lnTo>
                  <a:pt x="232" y="302"/>
                </a:lnTo>
                <a:lnTo>
                  <a:pt x="229" y="302"/>
                </a:lnTo>
                <a:lnTo>
                  <a:pt x="222" y="302"/>
                </a:lnTo>
                <a:lnTo>
                  <a:pt x="214" y="300"/>
                </a:lnTo>
                <a:lnTo>
                  <a:pt x="204" y="292"/>
                </a:lnTo>
                <a:lnTo>
                  <a:pt x="202" y="290"/>
                </a:lnTo>
                <a:lnTo>
                  <a:pt x="199" y="292"/>
                </a:lnTo>
                <a:lnTo>
                  <a:pt x="194" y="290"/>
                </a:lnTo>
                <a:lnTo>
                  <a:pt x="192" y="287"/>
                </a:lnTo>
                <a:lnTo>
                  <a:pt x="184" y="282"/>
                </a:lnTo>
                <a:lnTo>
                  <a:pt x="164" y="277"/>
                </a:lnTo>
                <a:lnTo>
                  <a:pt x="164" y="277"/>
                </a:lnTo>
                <a:lnTo>
                  <a:pt x="162" y="280"/>
                </a:lnTo>
                <a:lnTo>
                  <a:pt x="154" y="280"/>
                </a:lnTo>
                <a:lnTo>
                  <a:pt x="142" y="282"/>
                </a:lnTo>
                <a:lnTo>
                  <a:pt x="117" y="275"/>
                </a:lnTo>
                <a:lnTo>
                  <a:pt x="112" y="272"/>
                </a:lnTo>
                <a:lnTo>
                  <a:pt x="104" y="262"/>
                </a:lnTo>
                <a:lnTo>
                  <a:pt x="104" y="260"/>
                </a:lnTo>
                <a:lnTo>
                  <a:pt x="104" y="255"/>
                </a:lnTo>
                <a:lnTo>
                  <a:pt x="104" y="252"/>
                </a:lnTo>
                <a:lnTo>
                  <a:pt x="109" y="250"/>
                </a:lnTo>
                <a:lnTo>
                  <a:pt x="112" y="245"/>
                </a:lnTo>
                <a:lnTo>
                  <a:pt x="107" y="240"/>
                </a:lnTo>
                <a:lnTo>
                  <a:pt x="107" y="235"/>
                </a:lnTo>
                <a:lnTo>
                  <a:pt x="107" y="232"/>
                </a:lnTo>
                <a:lnTo>
                  <a:pt x="107" y="225"/>
                </a:lnTo>
                <a:lnTo>
                  <a:pt x="104" y="222"/>
                </a:lnTo>
                <a:lnTo>
                  <a:pt x="102" y="217"/>
                </a:lnTo>
                <a:lnTo>
                  <a:pt x="97" y="215"/>
                </a:lnTo>
                <a:lnTo>
                  <a:pt x="94" y="210"/>
                </a:lnTo>
                <a:lnTo>
                  <a:pt x="92" y="207"/>
                </a:lnTo>
                <a:lnTo>
                  <a:pt x="89" y="202"/>
                </a:lnTo>
                <a:lnTo>
                  <a:pt x="87" y="197"/>
                </a:lnTo>
                <a:lnTo>
                  <a:pt x="87" y="192"/>
                </a:lnTo>
                <a:lnTo>
                  <a:pt x="84" y="190"/>
                </a:lnTo>
                <a:lnTo>
                  <a:pt x="79" y="185"/>
                </a:lnTo>
                <a:lnTo>
                  <a:pt x="77" y="185"/>
                </a:lnTo>
                <a:lnTo>
                  <a:pt x="74" y="182"/>
                </a:lnTo>
                <a:lnTo>
                  <a:pt x="69" y="180"/>
                </a:lnTo>
                <a:lnTo>
                  <a:pt x="64" y="180"/>
                </a:lnTo>
                <a:lnTo>
                  <a:pt x="62" y="182"/>
                </a:lnTo>
                <a:lnTo>
                  <a:pt x="59" y="185"/>
                </a:lnTo>
                <a:lnTo>
                  <a:pt x="57" y="182"/>
                </a:lnTo>
                <a:lnTo>
                  <a:pt x="52" y="177"/>
                </a:lnTo>
                <a:lnTo>
                  <a:pt x="52" y="175"/>
                </a:lnTo>
                <a:lnTo>
                  <a:pt x="47" y="175"/>
                </a:lnTo>
                <a:lnTo>
                  <a:pt x="42" y="177"/>
                </a:lnTo>
                <a:lnTo>
                  <a:pt x="39" y="180"/>
                </a:lnTo>
                <a:lnTo>
                  <a:pt x="39" y="185"/>
                </a:lnTo>
                <a:lnTo>
                  <a:pt x="37" y="185"/>
                </a:lnTo>
                <a:lnTo>
                  <a:pt x="30" y="180"/>
                </a:lnTo>
                <a:lnTo>
                  <a:pt x="30" y="177"/>
                </a:lnTo>
                <a:lnTo>
                  <a:pt x="30" y="175"/>
                </a:lnTo>
                <a:lnTo>
                  <a:pt x="25" y="170"/>
                </a:lnTo>
                <a:lnTo>
                  <a:pt x="20" y="167"/>
                </a:lnTo>
                <a:lnTo>
                  <a:pt x="17" y="162"/>
                </a:lnTo>
                <a:lnTo>
                  <a:pt x="12" y="160"/>
                </a:lnTo>
                <a:lnTo>
                  <a:pt x="10" y="157"/>
                </a:lnTo>
                <a:lnTo>
                  <a:pt x="10" y="155"/>
                </a:lnTo>
                <a:lnTo>
                  <a:pt x="10" y="152"/>
                </a:lnTo>
                <a:lnTo>
                  <a:pt x="7" y="147"/>
                </a:lnTo>
                <a:lnTo>
                  <a:pt x="7" y="150"/>
                </a:lnTo>
                <a:lnTo>
                  <a:pt x="7" y="150"/>
                </a:lnTo>
                <a:lnTo>
                  <a:pt x="5" y="150"/>
                </a:lnTo>
                <a:lnTo>
                  <a:pt x="2" y="147"/>
                </a:lnTo>
                <a:lnTo>
                  <a:pt x="2" y="145"/>
                </a:lnTo>
                <a:lnTo>
                  <a:pt x="2" y="140"/>
                </a:lnTo>
                <a:lnTo>
                  <a:pt x="0" y="13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12" name="Freeform 153"/>
          <p:cNvSpPr>
            <a:spLocks/>
          </p:cNvSpPr>
          <p:nvPr/>
        </p:nvSpPr>
        <p:spPr bwMode="auto">
          <a:xfrm>
            <a:off x="7967663" y="4092575"/>
            <a:ext cx="307975" cy="254000"/>
          </a:xfrm>
          <a:custGeom>
            <a:avLst/>
            <a:gdLst>
              <a:gd name="T0" fmla="*/ 97 w 194"/>
              <a:gd name="T1" fmla="*/ 157 h 160"/>
              <a:gd name="T2" fmla="*/ 112 w 194"/>
              <a:gd name="T3" fmla="*/ 137 h 160"/>
              <a:gd name="T4" fmla="*/ 122 w 194"/>
              <a:gd name="T5" fmla="*/ 132 h 160"/>
              <a:gd name="T6" fmla="*/ 142 w 194"/>
              <a:gd name="T7" fmla="*/ 142 h 160"/>
              <a:gd name="T8" fmla="*/ 157 w 194"/>
              <a:gd name="T9" fmla="*/ 140 h 160"/>
              <a:gd name="T10" fmla="*/ 167 w 194"/>
              <a:gd name="T11" fmla="*/ 147 h 160"/>
              <a:gd name="T12" fmla="*/ 184 w 194"/>
              <a:gd name="T13" fmla="*/ 145 h 160"/>
              <a:gd name="T14" fmla="*/ 192 w 194"/>
              <a:gd name="T15" fmla="*/ 150 h 160"/>
              <a:gd name="T16" fmla="*/ 192 w 194"/>
              <a:gd name="T17" fmla="*/ 135 h 160"/>
              <a:gd name="T18" fmla="*/ 182 w 194"/>
              <a:gd name="T19" fmla="*/ 122 h 160"/>
              <a:gd name="T20" fmla="*/ 177 w 194"/>
              <a:gd name="T21" fmla="*/ 97 h 160"/>
              <a:gd name="T22" fmla="*/ 164 w 194"/>
              <a:gd name="T23" fmla="*/ 87 h 160"/>
              <a:gd name="T24" fmla="*/ 154 w 194"/>
              <a:gd name="T25" fmla="*/ 65 h 160"/>
              <a:gd name="T26" fmla="*/ 134 w 194"/>
              <a:gd name="T27" fmla="*/ 57 h 160"/>
              <a:gd name="T28" fmla="*/ 129 w 194"/>
              <a:gd name="T29" fmla="*/ 50 h 160"/>
              <a:gd name="T30" fmla="*/ 107 w 194"/>
              <a:gd name="T31" fmla="*/ 50 h 160"/>
              <a:gd name="T32" fmla="*/ 100 w 194"/>
              <a:gd name="T33" fmla="*/ 43 h 160"/>
              <a:gd name="T34" fmla="*/ 92 w 194"/>
              <a:gd name="T35" fmla="*/ 30 h 160"/>
              <a:gd name="T36" fmla="*/ 77 w 194"/>
              <a:gd name="T37" fmla="*/ 5 h 160"/>
              <a:gd name="T38" fmla="*/ 70 w 194"/>
              <a:gd name="T39" fmla="*/ 0 h 160"/>
              <a:gd name="T40" fmla="*/ 65 w 194"/>
              <a:gd name="T41" fmla="*/ 5 h 160"/>
              <a:gd name="T42" fmla="*/ 57 w 194"/>
              <a:gd name="T43" fmla="*/ 8 h 160"/>
              <a:gd name="T44" fmla="*/ 50 w 194"/>
              <a:gd name="T45" fmla="*/ 3 h 160"/>
              <a:gd name="T46" fmla="*/ 47 w 194"/>
              <a:gd name="T47" fmla="*/ 5 h 160"/>
              <a:gd name="T48" fmla="*/ 30 w 194"/>
              <a:gd name="T49" fmla="*/ 20 h 160"/>
              <a:gd name="T50" fmla="*/ 12 w 194"/>
              <a:gd name="T51" fmla="*/ 28 h 160"/>
              <a:gd name="T52" fmla="*/ 2 w 194"/>
              <a:gd name="T53" fmla="*/ 47 h 160"/>
              <a:gd name="T54" fmla="*/ 10 w 194"/>
              <a:gd name="T55" fmla="*/ 47 h 160"/>
              <a:gd name="T56" fmla="*/ 20 w 194"/>
              <a:gd name="T57" fmla="*/ 52 h 160"/>
              <a:gd name="T58" fmla="*/ 35 w 194"/>
              <a:gd name="T59" fmla="*/ 65 h 160"/>
              <a:gd name="T60" fmla="*/ 42 w 194"/>
              <a:gd name="T61" fmla="*/ 72 h 160"/>
              <a:gd name="T62" fmla="*/ 35 w 194"/>
              <a:gd name="T63" fmla="*/ 82 h 160"/>
              <a:gd name="T64" fmla="*/ 30 w 194"/>
              <a:gd name="T65" fmla="*/ 90 h 160"/>
              <a:gd name="T66" fmla="*/ 35 w 194"/>
              <a:gd name="T67" fmla="*/ 105 h 160"/>
              <a:gd name="T68" fmla="*/ 42 w 194"/>
              <a:gd name="T69" fmla="*/ 132 h 160"/>
              <a:gd name="T70" fmla="*/ 60 w 194"/>
              <a:gd name="T71" fmla="*/ 142 h 160"/>
              <a:gd name="T72" fmla="*/ 72 w 194"/>
              <a:gd name="T73" fmla="*/ 155 h 160"/>
              <a:gd name="T74" fmla="*/ 87 w 194"/>
              <a:gd name="T75" fmla="*/ 152 h 160"/>
              <a:gd name="T76" fmla="*/ 95 w 194"/>
              <a:gd name="T7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4" h="160">
                <a:moveTo>
                  <a:pt x="95" y="160"/>
                </a:moveTo>
                <a:lnTo>
                  <a:pt x="97" y="157"/>
                </a:lnTo>
                <a:lnTo>
                  <a:pt x="105" y="145"/>
                </a:lnTo>
                <a:lnTo>
                  <a:pt x="112" y="137"/>
                </a:lnTo>
                <a:lnTo>
                  <a:pt x="119" y="137"/>
                </a:lnTo>
                <a:lnTo>
                  <a:pt x="122" y="132"/>
                </a:lnTo>
                <a:lnTo>
                  <a:pt x="127" y="132"/>
                </a:lnTo>
                <a:lnTo>
                  <a:pt x="142" y="142"/>
                </a:lnTo>
                <a:lnTo>
                  <a:pt x="149" y="137"/>
                </a:lnTo>
                <a:lnTo>
                  <a:pt x="157" y="140"/>
                </a:lnTo>
                <a:lnTo>
                  <a:pt x="159" y="147"/>
                </a:lnTo>
                <a:lnTo>
                  <a:pt x="167" y="147"/>
                </a:lnTo>
                <a:lnTo>
                  <a:pt x="177" y="155"/>
                </a:lnTo>
                <a:lnTo>
                  <a:pt x="184" y="145"/>
                </a:lnTo>
                <a:lnTo>
                  <a:pt x="189" y="147"/>
                </a:lnTo>
                <a:lnTo>
                  <a:pt x="192" y="150"/>
                </a:lnTo>
                <a:lnTo>
                  <a:pt x="194" y="145"/>
                </a:lnTo>
                <a:lnTo>
                  <a:pt x="192" y="135"/>
                </a:lnTo>
                <a:lnTo>
                  <a:pt x="189" y="125"/>
                </a:lnTo>
                <a:lnTo>
                  <a:pt x="182" y="122"/>
                </a:lnTo>
                <a:lnTo>
                  <a:pt x="177" y="110"/>
                </a:lnTo>
                <a:lnTo>
                  <a:pt x="177" y="97"/>
                </a:lnTo>
                <a:lnTo>
                  <a:pt x="174" y="90"/>
                </a:lnTo>
                <a:lnTo>
                  <a:pt x="164" y="87"/>
                </a:lnTo>
                <a:lnTo>
                  <a:pt x="159" y="77"/>
                </a:lnTo>
                <a:lnTo>
                  <a:pt x="154" y="65"/>
                </a:lnTo>
                <a:lnTo>
                  <a:pt x="144" y="60"/>
                </a:lnTo>
                <a:lnTo>
                  <a:pt x="134" y="57"/>
                </a:lnTo>
                <a:lnTo>
                  <a:pt x="134" y="52"/>
                </a:lnTo>
                <a:lnTo>
                  <a:pt x="129" y="50"/>
                </a:lnTo>
                <a:lnTo>
                  <a:pt x="117" y="50"/>
                </a:lnTo>
                <a:lnTo>
                  <a:pt x="107" y="50"/>
                </a:lnTo>
                <a:lnTo>
                  <a:pt x="105" y="45"/>
                </a:lnTo>
                <a:lnTo>
                  <a:pt x="100" y="43"/>
                </a:lnTo>
                <a:lnTo>
                  <a:pt x="100" y="35"/>
                </a:lnTo>
                <a:lnTo>
                  <a:pt x="92" y="30"/>
                </a:lnTo>
                <a:lnTo>
                  <a:pt x="80" y="13"/>
                </a:lnTo>
                <a:lnTo>
                  <a:pt x="77" y="5"/>
                </a:lnTo>
                <a:lnTo>
                  <a:pt x="75" y="0"/>
                </a:lnTo>
                <a:lnTo>
                  <a:pt x="70" y="0"/>
                </a:lnTo>
                <a:lnTo>
                  <a:pt x="67" y="3"/>
                </a:lnTo>
                <a:lnTo>
                  <a:pt x="65" y="5"/>
                </a:lnTo>
                <a:lnTo>
                  <a:pt x="60" y="5"/>
                </a:lnTo>
                <a:lnTo>
                  <a:pt x="57" y="8"/>
                </a:lnTo>
                <a:lnTo>
                  <a:pt x="52" y="3"/>
                </a:lnTo>
                <a:lnTo>
                  <a:pt x="50" y="3"/>
                </a:lnTo>
                <a:lnTo>
                  <a:pt x="47" y="5"/>
                </a:lnTo>
                <a:lnTo>
                  <a:pt x="47" y="5"/>
                </a:lnTo>
                <a:lnTo>
                  <a:pt x="42" y="15"/>
                </a:lnTo>
                <a:lnTo>
                  <a:pt x="30" y="20"/>
                </a:lnTo>
                <a:lnTo>
                  <a:pt x="10" y="23"/>
                </a:lnTo>
                <a:lnTo>
                  <a:pt x="12" y="28"/>
                </a:lnTo>
                <a:lnTo>
                  <a:pt x="0" y="35"/>
                </a:lnTo>
                <a:lnTo>
                  <a:pt x="2" y="47"/>
                </a:lnTo>
                <a:lnTo>
                  <a:pt x="5" y="50"/>
                </a:lnTo>
                <a:lnTo>
                  <a:pt x="10" y="47"/>
                </a:lnTo>
                <a:lnTo>
                  <a:pt x="15" y="47"/>
                </a:lnTo>
                <a:lnTo>
                  <a:pt x="20" y="52"/>
                </a:lnTo>
                <a:lnTo>
                  <a:pt x="27" y="60"/>
                </a:lnTo>
                <a:lnTo>
                  <a:pt x="35" y="65"/>
                </a:lnTo>
                <a:lnTo>
                  <a:pt x="35" y="70"/>
                </a:lnTo>
                <a:lnTo>
                  <a:pt x="42" y="72"/>
                </a:lnTo>
                <a:lnTo>
                  <a:pt x="42" y="77"/>
                </a:lnTo>
                <a:lnTo>
                  <a:pt x="35" y="82"/>
                </a:lnTo>
                <a:lnTo>
                  <a:pt x="35" y="87"/>
                </a:lnTo>
                <a:lnTo>
                  <a:pt x="30" y="90"/>
                </a:lnTo>
                <a:lnTo>
                  <a:pt x="30" y="97"/>
                </a:lnTo>
                <a:lnTo>
                  <a:pt x="35" y="105"/>
                </a:lnTo>
                <a:lnTo>
                  <a:pt x="40" y="125"/>
                </a:lnTo>
                <a:lnTo>
                  <a:pt x="42" y="132"/>
                </a:lnTo>
                <a:lnTo>
                  <a:pt x="50" y="140"/>
                </a:lnTo>
                <a:lnTo>
                  <a:pt x="60" y="142"/>
                </a:lnTo>
                <a:lnTo>
                  <a:pt x="70" y="147"/>
                </a:lnTo>
                <a:lnTo>
                  <a:pt x="72" y="155"/>
                </a:lnTo>
                <a:lnTo>
                  <a:pt x="82" y="155"/>
                </a:lnTo>
                <a:lnTo>
                  <a:pt x="87" y="152"/>
                </a:lnTo>
                <a:lnTo>
                  <a:pt x="95" y="155"/>
                </a:lnTo>
                <a:lnTo>
                  <a:pt x="95" y="16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13" name="Freeform 154"/>
          <p:cNvSpPr>
            <a:spLocks/>
          </p:cNvSpPr>
          <p:nvPr/>
        </p:nvSpPr>
        <p:spPr bwMode="auto">
          <a:xfrm>
            <a:off x="7488238" y="4037013"/>
            <a:ext cx="561975" cy="468313"/>
          </a:xfrm>
          <a:custGeom>
            <a:avLst/>
            <a:gdLst>
              <a:gd name="T0" fmla="*/ 327 w 354"/>
              <a:gd name="T1" fmla="*/ 28 h 295"/>
              <a:gd name="T2" fmla="*/ 339 w 354"/>
              <a:gd name="T3" fmla="*/ 28 h 295"/>
              <a:gd name="T4" fmla="*/ 344 w 354"/>
              <a:gd name="T5" fmla="*/ 38 h 295"/>
              <a:gd name="T6" fmla="*/ 332 w 354"/>
              <a:gd name="T7" fmla="*/ 55 h 295"/>
              <a:gd name="T8" fmla="*/ 289 w 354"/>
              <a:gd name="T9" fmla="*/ 60 h 295"/>
              <a:gd name="T10" fmla="*/ 272 w 354"/>
              <a:gd name="T11" fmla="*/ 73 h 295"/>
              <a:gd name="T12" fmla="*/ 279 w 354"/>
              <a:gd name="T13" fmla="*/ 105 h 295"/>
              <a:gd name="T14" fmla="*/ 274 w 354"/>
              <a:gd name="T15" fmla="*/ 135 h 295"/>
              <a:gd name="T16" fmla="*/ 247 w 354"/>
              <a:gd name="T17" fmla="*/ 142 h 295"/>
              <a:gd name="T18" fmla="*/ 249 w 354"/>
              <a:gd name="T19" fmla="*/ 157 h 295"/>
              <a:gd name="T20" fmla="*/ 244 w 354"/>
              <a:gd name="T21" fmla="*/ 172 h 295"/>
              <a:gd name="T22" fmla="*/ 237 w 354"/>
              <a:gd name="T23" fmla="*/ 185 h 295"/>
              <a:gd name="T24" fmla="*/ 232 w 354"/>
              <a:gd name="T25" fmla="*/ 197 h 295"/>
              <a:gd name="T26" fmla="*/ 224 w 354"/>
              <a:gd name="T27" fmla="*/ 212 h 295"/>
              <a:gd name="T28" fmla="*/ 214 w 354"/>
              <a:gd name="T29" fmla="*/ 215 h 295"/>
              <a:gd name="T30" fmla="*/ 202 w 354"/>
              <a:gd name="T31" fmla="*/ 217 h 295"/>
              <a:gd name="T32" fmla="*/ 195 w 354"/>
              <a:gd name="T33" fmla="*/ 230 h 295"/>
              <a:gd name="T34" fmla="*/ 175 w 354"/>
              <a:gd name="T35" fmla="*/ 232 h 295"/>
              <a:gd name="T36" fmla="*/ 167 w 354"/>
              <a:gd name="T37" fmla="*/ 242 h 295"/>
              <a:gd name="T38" fmla="*/ 165 w 354"/>
              <a:gd name="T39" fmla="*/ 265 h 295"/>
              <a:gd name="T40" fmla="*/ 165 w 354"/>
              <a:gd name="T41" fmla="*/ 280 h 295"/>
              <a:gd name="T42" fmla="*/ 137 w 354"/>
              <a:gd name="T43" fmla="*/ 285 h 295"/>
              <a:gd name="T44" fmla="*/ 110 w 354"/>
              <a:gd name="T45" fmla="*/ 290 h 295"/>
              <a:gd name="T46" fmla="*/ 62 w 354"/>
              <a:gd name="T47" fmla="*/ 295 h 295"/>
              <a:gd name="T48" fmla="*/ 47 w 354"/>
              <a:gd name="T49" fmla="*/ 252 h 295"/>
              <a:gd name="T50" fmla="*/ 42 w 354"/>
              <a:gd name="T51" fmla="*/ 225 h 295"/>
              <a:gd name="T52" fmla="*/ 15 w 354"/>
              <a:gd name="T53" fmla="*/ 210 h 295"/>
              <a:gd name="T54" fmla="*/ 7 w 354"/>
              <a:gd name="T55" fmla="*/ 180 h 295"/>
              <a:gd name="T56" fmla="*/ 12 w 354"/>
              <a:gd name="T57" fmla="*/ 165 h 295"/>
              <a:gd name="T58" fmla="*/ 2 w 354"/>
              <a:gd name="T59" fmla="*/ 147 h 295"/>
              <a:gd name="T60" fmla="*/ 2 w 354"/>
              <a:gd name="T61" fmla="*/ 135 h 295"/>
              <a:gd name="T62" fmla="*/ 12 w 354"/>
              <a:gd name="T63" fmla="*/ 125 h 295"/>
              <a:gd name="T64" fmla="*/ 10 w 354"/>
              <a:gd name="T65" fmla="*/ 115 h 295"/>
              <a:gd name="T66" fmla="*/ 12 w 354"/>
              <a:gd name="T67" fmla="*/ 100 h 295"/>
              <a:gd name="T68" fmla="*/ 20 w 354"/>
              <a:gd name="T69" fmla="*/ 100 h 295"/>
              <a:gd name="T70" fmla="*/ 32 w 354"/>
              <a:gd name="T71" fmla="*/ 100 h 295"/>
              <a:gd name="T72" fmla="*/ 45 w 354"/>
              <a:gd name="T73" fmla="*/ 110 h 295"/>
              <a:gd name="T74" fmla="*/ 57 w 354"/>
              <a:gd name="T75" fmla="*/ 107 h 295"/>
              <a:gd name="T76" fmla="*/ 65 w 354"/>
              <a:gd name="T77" fmla="*/ 97 h 295"/>
              <a:gd name="T78" fmla="*/ 82 w 354"/>
              <a:gd name="T79" fmla="*/ 87 h 295"/>
              <a:gd name="T80" fmla="*/ 92 w 354"/>
              <a:gd name="T81" fmla="*/ 80 h 295"/>
              <a:gd name="T82" fmla="*/ 100 w 354"/>
              <a:gd name="T83" fmla="*/ 60 h 295"/>
              <a:gd name="T84" fmla="*/ 97 w 354"/>
              <a:gd name="T85" fmla="*/ 48 h 295"/>
              <a:gd name="T86" fmla="*/ 110 w 354"/>
              <a:gd name="T87" fmla="*/ 43 h 295"/>
              <a:gd name="T88" fmla="*/ 127 w 354"/>
              <a:gd name="T89" fmla="*/ 35 h 295"/>
              <a:gd name="T90" fmla="*/ 140 w 354"/>
              <a:gd name="T91" fmla="*/ 40 h 295"/>
              <a:gd name="T92" fmla="*/ 157 w 354"/>
              <a:gd name="T93" fmla="*/ 45 h 295"/>
              <a:gd name="T94" fmla="*/ 170 w 354"/>
              <a:gd name="T95" fmla="*/ 40 h 295"/>
              <a:gd name="T96" fmla="*/ 187 w 354"/>
              <a:gd name="T97" fmla="*/ 48 h 295"/>
              <a:gd name="T98" fmla="*/ 200 w 354"/>
              <a:gd name="T99" fmla="*/ 40 h 295"/>
              <a:gd name="T100" fmla="*/ 207 w 354"/>
              <a:gd name="T101" fmla="*/ 43 h 295"/>
              <a:gd name="T102" fmla="*/ 214 w 354"/>
              <a:gd name="T103" fmla="*/ 38 h 295"/>
              <a:gd name="T104" fmla="*/ 222 w 354"/>
              <a:gd name="T105" fmla="*/ 30 h 295"/>
              <a:gd name="T106" fmla="*/ 232 w 354"/>
              <a:gd name="T107" fmla="*/ 33 h 295"/>
              <a:gd name="T108" fmla="*/ 237 w 354"/>
              <a:gd name="T109" fmla="*/ 15 h 295"/>
              <a:gd name="T110" fmla="*/ 244 w 354"/>
              <a:gd name="T111" fmla="*/ 0 h 295"/>
              <a:gd name="T112" fmla="*/ 259 w 354"/>
              <a:gd name="T113" fmla="*/ 5 h 295"/>
              <a:gd name="T114" fmla="*/ 259 w 354"/>
              <a:gd name="T115" fmla="*/ 20 h 295"/>
              <a:gd name="T116" fmla="*/ 264 w 354"/>
              <a:gd name="T117" fmla="*/ 33 h 295"/>
              <a:gd name="T118" fmla="*/ 272 w 354"/>
              <a:gd name="T119" fmla="*/ 53 h 295"/>
              <a:gd name="T120" fmla="*/ 282 w 354"/>
              <a:gd name="T121" fmla="*/ 58 h 295"/>
              <a:gd name="T122" fmla="*/ 297 w 354"/>
              <a:gd name="T123" fmla="*/ 48 h 295"/>
              <a:gd name="T124" fmla="*/ 307 w 354"/>
              <a:gd name="T125" fmla="*/ 3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4" h="295">
                <a:moveTo>
                  <a:pt x="307" y="38"/>
                </a:moveTo>
                <a:lnTo>
                  <a:pt x="317" y="28"/>
                </a:lnTo>
                <a:lnTo>
                  <a:pt x="327" y="28"/>
                </a:lnTo>
                <a:lnTo>
                  <a:pt x="327" y="33"/>
                </a:lnTo>
                <a:lnTo>
                  <a:pt x="337" y="33"/>
                </a:lnTo>
                <a:lnTo>
                  <a:pt x="339" y="28"/>
                </a:lnTo>
                <a:lnTo>
                  <a:pt x="352" y="28"/>
                </a:lnTo>
                <a:lnTo>
                  <a:pt x="354" y="33"/>
                </a:lnTo>
                <a:lnTo>
                  <a:pt x="344" y="38"/>
                </a:lnTo>
                <a:lnTo>
                  <a:pt x="349" y="40"/>
                </a:lnTo>
                <a:lnTo>
                  <a:pt x="344" y="50"/>
                </a:lnTo>
                <a:lnTo>
                  <a:pt x="332" y="55"/>
                </a:lnTo>
                <a:lnTo>
                  <a:pt x="304" y="60"/>
                </a:lnTo>
                <a:lnTo>
                  <a:pt x="299" y="55"/>
                </a:lnTo>
                <a:lnTo>
                  <a:pt x="289" y="60"/>
                </a:lnTo>
                <a:lnTo>
                  <a:pt x="284" y="65"/>
                </a:lnTo>
                <a:lnTo>
                  <a:pt x="277" y="65"/>
                </a:lnTo>
                <a:lnTo>
                  <a:pt x="272" y="73"/>
                </a:lnTo>
                <a:lnTo>
                  <a:pt x="267" y="78"/>
                </a:lnTo>
                <a:lnTo>
                  <a:pt x="279" y="95"/>
                </a:lnTo>
                <a:lnTo>
                  <a:pt x="279" y="105"/>
                </a:lnTo>
                <a:lnTo>
                  <a:pt x="267" y="122"/>
                </a:lnTo>
                <a:lnTo>
                  <a:pt x="274" y="130"/>
                </a:lnTo>
                <a:lnTo>
                  <a:pt x="274" y="135"/>
                </a:lnTo>
                <a:lnTo>
                  <a:pt x="267" y="147"/>
                </a:lnTo>
                <a:lnTo>
                  <a:pt x="257" y="147"/>
                </a:lnTo>
                <a:lnTo>
                  <a:pt x="247" y="142"/>
                </a:lnTo>
                <a:lnTo>
                  <a:pt x="239" y="147"/>
                </a:lnTo>
                <a:lnTo>
                  <a:pt x="244" y="155"/>
                </a:lnTo>
                <a:lnTo>
                  <a:pt x="249" y="157"/>
                </a:lnTo>
                <a:lnTo>
                  <a:pt x="252" y="165"/>
                </a:lnTo>
                <a:lnTo>
                  <a:pt x="252" y="170"/>
                </a:lnTo>
                <a:lnTo>
                  <a:pt x="244" y="172"/>
                </a:lnTo>
                <a:lnTo>
                  <a:pt x="239" y="172"/>
                </a:lnTo>
                <a:lnTo>
                  <a:pt x="237" y="177"/>
                </a:lnTo>
                <a:lnTo>
                  <a:pt x="237" y="185"/>
                </a:lnTo>
                <a:lnTo>
                  <a:pt x="234" y="192"/>
                </a:lnTo>
                <a:lnTo>
                  <a:pt x="234" y="195"/>
                </a:lnTo>
                <a:lnTo>
                  <a:pt x="232" y="197"/>
                </a:lnTo>
                <a:lnTo>
                  <a:pt x="234" y="210"/>
                </a:lnTo>
                <a:lnTo>
                  <a:pt x="229" y="217"/>
                </a:lnTo>
                <a:lnTo>
                  <a:pt x="224" y="212"/>
                </a:lnTo>
                <a:lnTo>
                  <a:pt x="219" y="212"/>
                </a:lnTo>
                <a:lnTo>
                  <a:pt x="219" y="215"/>
                </a:lnTo>
                <a:lnTo>
                  <a:pt x="214" y="215"/>
                </a:lnTo>
                <a:lnTo>
                  <a:pt x="209" y="212"/>
                </a:lnTo>
                <a:lnTo>
                  <a:pt x="205" y="212"/>
                </a:lnTo>
                <a:lnTo>
                  <a:pt x="202" y="217"/>
                </a:lnTo>
                <a:lnTo>
                  <a:pt x="192" y="225"/>
                </a:lnTo>
                <a:lnTo>
                  <a:pt x="197" y="225"/>
                </a:lnTo>
                <a:lnTo>
                  <a:pt x="195" y="230"/>
                </a:lnTo>
                <a:lnTo>
                  <a:pt x="185" y="235"/>
                </a:lnTo>
                <a:lnTo>
                  <a:pt x="180" y="232"/>
                </a:lnTo>
                <a:lnTo>
                  <a:pt x="175" y="232"/>
                </a:lnTo>
                <a:lnTo>
                  <a:pt x="172" y="237"/>
                </a:lnTo>
                <a:lnTo>
                  <a:pt x="172" y="242"/>
                </a:lnTo>
                <a:lnTo>
                  <a:pt x="167" y="242"/>
                </a:lnTo>
                <a:lnTo>
                  <a:pt x="162" y="247"/>
                </a:lnTo>
                <a:lnTo>
                  <a:pt x="162" y="255"/>
                </a:lnTo>
                <a:lnTo>
                  <a:pt x="165" y="265"/>
                </a:lnTo>
                <a:lnTo>
                  <a:pt x="165" y="270"/>
                </a:lnTo>
                <a:lnTo>
                  <a:pt x="167" y="275"/>
                </a:lnTo>
                <a:lnTo>
                  <a:pt x="165" y="280"/>
                </a:lnTo>
                <a:lnTo>
                  <a:pt x="155" y="285"/>
                </a:lnTo>
                <a:lnTo>
                  <a:pt x="147" y="285"/>
                </a:lnTo>
                <a:lnTo>
                  <a:pt x="137" y="285"/>
                </a:lnTo>
                <a:lnTo>
                  <a:pt x="122" y="285"/>
                </a:lnTo>
                <a:lnTo>
                  <a:pt x="115" y="287"/>
                </a:lnTo>
                <a:lnTo>
                  <a:pt x="110" y="290"/>
                </a:lnTo>
                <a:lnTo>
                  <a:pt x="102" y="290"/>
                </a:lnTo>
                <a:lnTo>
                  <a:pt x="92" y="292"/>
                </a:lnTo>
                <a:lnTo>
                  <a:pt x="62" y="295"/>
                </a:lnTo>
                <a:lnTo>
                  <a:pt x="27" y="282"/>
                </a:lnTo>
                <a:lnTo>
                  <a:pt x="47" y="257"/>
                </a:lnTo>
                <a:lnTo>
                  <a:pt x="47" y="252"/>
                </a:lnTo>
                <a:lnTo>
                  <a:pt x="45" y="242"/>
                </a:lnTo>
                <a:lnTo>
                  <a:pt x="47" y="235"/>
                </a:lnTo>
                <a:lnTo>
                  <a:pt x="42" y="225"/>
                </a:lnTo>
                <a:lnTo>
                  <a:pt x="20" y="225"/>
                </a:lnTo>
                <a:lnTo>
                  <a:pt x="17" y="215"/>
                </a:lnTo>
                <a:lnTo>
                  <a:pt x="15" y="210"/>
                </a:lnTo>
                <a:lnTo>
                  <a:pt x="17" y="207"/>
                </a:lnTo>
                <a:lnTo>
                  <a:pt x="12" y="195"/>
                </a:lnTo>
                <a:lnTo>
                  <a:pt x="7" y="180"/>
                </a:lnTo>
                <a:lnTo>
                  <a:pt x="7" y="175"/>
                </a:lnTo>
                <a:lnTo>
                  <a:pt x="15" y="165"/>
                </a:lnTo>
                <a:lnTo>
                  <a:pt x="12" y="165"/>
                </a:lnTo>
                <a:lnTo>
                  <a:pt x="5" y="162"/>
                </a:lnTo>
                <a:lnTo>
                  <a:pt x="5" y="157"/>
                </a:lnTo>
                <a:lnTo>
                  <a:pt x="2" y="147"/>
                </a:lnTo>
                <a:lnTo>
                  <a:pt x="2" y="145"/>
                </a:lnTo>
                <a:lnTo>
                  <a:pt x="7" y="140"/>
                </a:lnTo>
                <a:lnTo>
                  <a:pt x="2" y="135"/>
                </a:lnTo>
                <a:lnTo>
                  <a:pt x="0" y="132"/>
                </a:lnTo>
                <a:lnTo>
                  <a:pt x="5" y="130"/>
                </a:lnTo>
                <a:lnTo>
                  <a:pt x="12" y="125"/>
                </a:lnTo>
                <a:lnTo>
                  <a:pt x="12" y="122"/>
                </a:lnTo>
                <a:lnTo>
                  <a:pt x="12" y="120"/>
                </a:lnTo>
                <a:lnTo>
                  <a:pt x="10" y="115"/>
                </a:lnTo>
                <a:lnTo>
                  <a:pt x="12" y="112"/>
                </a:lnTo>
                <a:lnTo>
                  <a:pt x="12" y="107"/>
                </a:lnTo>
                <a:lnTo>
                  <a:pt x="12" y="100"/>
                </a:lnTo>
                <a:lnTo>
                  <a:pt x="12" y="100"/>
                </a:lnTo>
                <a:lnTo>
                  <a:pt x="15" y="100"/>
                </a:lnTo>
                <a:lnTo>
                  <a:pt x="20" y="100"/>
                </a:lnTo>
                <a:lnTo>
                  <a:pt x="25" y="105"/>
                </a:lnTo>
                <a:lnTo>
                  <a:pt x="27" y="105"/>
                </a:lnTo>
                <a:lnTo>
                  <a:pt x="32" y="100"/>
                </a:lnTo>
                <a:lnTo>
                  <a:pt x="37" y="100"/>
                </a:lnTo>
                <a:lnTo>
                  <a:pt x="42" y="105"/>
                </a:lnTo>
                <a:lnTo>
                  <a:pt x="45" y="110"/>
                </a:lnTo>
                <a:lnTo>
                  <a:pt x="47" y="112"/>
                </a:lnTo>
                <a:lnTo>
                  <a:pt x="50" y="107"/>
                </a:lnTo>
                <a:lnTo>
                  <a:pt x="57" y="107"/>
                </a:lnTo>
                <a:lnTo>
                  <a:pt x="60" y="102"/>
                </a:lnTo>
                <a:lnTo>
                  <a:pt x="62" y="100"/>
                </a:lnTo>
                <a:lnTo>
                  <a:pt x="65" y="97"/>
                </a:lnTo>
                <a:lnTo>
                  <a:pt x="62" y="92"/>
                </a:lnTo>
                <a:lnTo>
                  <a:pt x="72" y="87"/>
                </a:lnTo>
                <a:lnTo>
                  <a:pt x="82" y="87"/>
                </a:lnTo>
                <a:lnTo>
                  <a:pt x="82" y="82"/>
                </a:lnTo>
                <a:lnTo>
                  <a:pt x="87" y="80"/>
                </a:lnTo>
                <a:lnTo>
                  <a:pt x="92" y="80"/>
                </a:lnTo>
                <a:lnTo>
                  <a:pt x="92" y="73"/>
                </a:lnTo>
                <a:lnTo>
                  <a:pt x="92" y="65"/>
                </a:lnTo>
                <a:lnTo>
                  <a:pt x="100" y="60"/>
                </a:lnTo>
                <a:lnTo>
                  <a:pt x="100" y="53"/>
                </a:lnTo>
                <a:lnTo>
                  <a:pt x="97" y="53"/>
                </a:lnTo>
                <a:lnTo>
                  <a:pt x="97" y="48"/>
                </a:lnTo>
                <a:lnTo>
                  <a:pt x="100" y="48"/>
                </a:lnTo>
                <a:lnTo>
                  <a:pt x="102" y="45"/>
                </a:lnTo>
                <a:lnTo>
                  <a:pt x="110" y="43"/>
                </a:lnTo>
                <a:lnTo>
                  <a:pt x="112" y="43"/>
                </a:lnTo>
                <a:lnTo>
                  <a:pt x="120" y="38"/>
                </a:lnTo>
                <a:lnTo>
                  <a:pt x="127" y="35"/>
                </a:lnTo>
                <a:lnTo>
                  <a:pt x="132" y="38"/>
                </a:lnTo>
                <a:lnTo>
                  <a:pt x="137" y="38"/>
                </a:lnTo>
                <a:lnTo>
                  <a:pt x="140" y="40"/>
                </a:lnTo>
                <a:lnTo>
                  <a:pt x="147" y="38"/>
                </a:lnTo>
                <a:lnTo>
                  <a:pt x="152" y="40"/>
                </a:lnTo>
                <a:lnTo>
                  <a:pt x="157" y="45"/>
                </a:lnTo>
                <a:lnTo>
                  <a:pt x="160" y="45"/>
                </a:lnTo>
                <a:lnTo>
                  <a:pt x="165" y="40"/>
                </a:lnTo>
                <a:lnTo>
                  <a:pt x="170" y="40"/>
                </a:lnTo>
                <a:lnTo>
                  <a:pt x="175" y="48"/>
                </a:lnTo>
                <a:lnTo>
                  <a:pt x="180" y="50"/>
                </a:lnTo>
                <a:lnTo>
                  <a:pt x="187" y="48"/>
                </a:lnTo>
                <a:lnTo>
                  <a:pt x="195" y="45"/>
                </a:lnTo>
                <a:lnTo>
                  <a:pt x="197" y="40"/>
                </a:lnTo>
                <a:lnTo>
                  <a:pt x="200" y="40"/>
                </a:lnTo>
                <a:lnTo>
                  <a:pt x="202" y="38"/>
                </a:lnTo>
                <a:lnTo>
                  <a:pt x="205" y="40"/>
                </a:lnTo>
                <a:lnTo>
                  <a:pt x="207" y="43"/>
                </a:lnTo>
                <a:lnTo>
                  <a:pt x="217" y="45"/>
                </a:lnTo>
                <a:lnTo>
                  <a:pt x="217" y="40"/>
                </a:lnTo>
                <a:lnTo>
                  <a:pt x="214" y="38"/>
                </a:lnTo>
                <a:lnTo>
                  <a:pt x="214" y="33"/>
                </a:lnTo>
                <a:lnTo>
                  <a:pt x="222" y="33"/>
                </a:lnTo>
                <a:lnTo>
                  <a:pt x="222" y="30"/>
                </a:lnTo>
                <a:lnTo>
                  <a:pt x="224" y="30"/>
                </a:lnTo>
                <a:lnTo>
                  <a:pt x="227" y="33"/>
                </a:lnTo>
                <a:lnTo>
                  <a:pt x="232" y="33"/>
                </a:lnTo>
                <a:lnTo>
                  <a:pt x="234" y="25"/>
                </a:lnTo>
                <a:lnTo>
                  <a:pt x="234" y="18"/>
                </a:lnTo>
                <a:lnTo>
                  <a:pt x="237" y="15"/>
                </a:lnTo>
                <a:lnTo>
                  <a:pt x="239" y="13"/>
                </a:lnTo>
                <a:lnTo>
                  <a:pt x="242" y="5"/>
                </a:lnTo>
                <a:lnTo>
                  <a:pt x="244" y="0"/>
                </a:lnTo>
                <a:lnTo>
                  <a:pt x="249" y="0"/>
                </a:lnTo>
                <a:lnTo>
                  <a:pt x="254" y="3"/>
                </a:lnTo>
                <a:lnTo>
                  <a:pt x="259" y="5"/>
                </a:lnTo>
                <a:lnTo>
                  <a:pt x="259" y="10"/>
                </a:lnTo>
                <a:lnTo>
                  <a:pt x="257" y="15"/>
                </a:lnTo>
                <a:lnTo>
                  <a:pt x="259" y="20"/>
                </a:lnTo>
                <a:lnTo>
                  <a:pt x="264" y="20"/>
                </a:lnTo>
                <a:lnTo>
                  <a:pt x="267" y="25"/>
                </a:lnTo>
                <a:lnTo>
                  <a:pt x="264" y="33"/>
                </a:lnTo>
                <a:lnTo>
                  <a:pt x="267" y="38"/>
                </a:lnTo>
                <a:lnTo>
                  <a:pt x="267" y="48"/>
                </a:lnTo>
                <a:lnTo>
                  <a:pt x="272" y="53"/>
                </a:lnTo>
                <a:lnTo>
                  <a:pt x="272" y="58"/>
                </a:lnTo>
                <a:lnTo>
                  <a:pt x="274" y="58"/>
                </a:lnTo>
                <a:lnTo>
                  <a:pt x="282" y="58"/>
                </a:lnTo>
                <a:lnTo>
                  <a:pt x="287" y="55"/>
                </a:lnTo>
                <a:lnTo>
                  <a:pt x="287" y="53"/>
                </a:lnTo>
                <a:lnTo>
                  <a:pt x="297" y="48"/>
                </a:lnTo>
                <a:lnTo>
                  <a:pt x="302" y="45"/>
                </a:lnTo>
                <a:lnTo>
                  <a:pt x="302" y="40"/>
                </a:lnTo>
                <a:lnTo>
                  <a:pt x="307" y="3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14" name="Freeform 155"/>
          <p:cNvSpPr>
            <a:spLocks/>
          </p:cNvSpPr>
          <p:nvPr/>
        </p:nvSpPr>
        <p:spPr bwMode="auto">
          <a:xfrm>
            <a:off x="7223125" y="3684588"/>
            <a:ext cx="681037" cy="423863"/>
          </a:xfrm>
          <a:custGeom>
            <a:avLst/>
            <a:gdLst>
              <a:gd name="T0" fmla="*/ 342 w 429"/>
              <a:gd name="T1" fmla="*/ 250 h 267"/>
              <a:gd name="T2" fmla="*/ 349 w 429"/>
              <a:gd name="T3" fmla="*/ 232 h 267"/>
              <a:gd name="T4" fmla="*/ 342 w 429"/>
              <a:gd name="T5" fmla="*/ 225 h 267"/>
              <a:gd name="T6" fmla="*/ 342 w 429"/>
              <a:gd name="T7" fmla="*/ 210 h 267"/>
              <a:gd name="T8" fmla="*/ 334 w 429"/>
              <a:gd name="T9" fmla="*/ 205 h 267"/>
              <a:gd name="T10" fmla="*/ 322 w 429"/>
              <a:gd name="T11" fmla="*/ 197 h 267"/>
              <a:gd name="T12" fmla="*/ 327 w 429"/>
              <a:gd name="T13" fmla="*/ 185 h 267"/>
              <a:gd name="T14" fmla="*/ 344 w 429"/>
              <a:gd name="T15" fmla="*/ 185 h 267"/>
              <a:gd name="T16" fmla="*/ 354 w 429"/>
              <a:gd name="T17" fmla="*/ 175 h 267"/>
              <a:gd name="T18" fmla="*/ 352 w 429"/>
              <a:gd name="T19" fmla="*/ 170 h 267"/>
              <a:gd name="T20" fmla="*/ 372 w 429"/>
              <a:gd name="T21" fmla="*/ 162 h 267"/>
              <a:gd name="T22" fmla="*/ 364 w 429"/>
              <a:gd name="T23" fmla="*/ 155 h 267"/>
              <a:gd name="T24" fmla="*/ 369 w 429"/>
              <a:gd name="T25" fmla="*/ 145 h 267"/>
              <a:gd name="T26" fmla="*/ 381 w 429"/>
              <a:gd name="T27" fmla="*/ 140 h 267"/>
              <a:gd name="T28" fmla="*/ 396 w 429"/>
              <a:gd name="T29" fmla="*/ 137 h 267"/>
              <a:gd name="T30" fmla="*/ 411 w 429"/>
              <a:gd name="T31" fmla="*/ 140 h 267"/>
              <a:gd name="T32" fmla="*/ 429 w 429"/>
              <a:gd name="T33" fmla="*/ 132 h 267"/>
              <a:gd name="T34" fmla="*/ 414 w 429"/>
              <a:gd name="T35" fmla="*/ 115 h 267"/>
              <a:gd name="T36" fmla="*/ 409 w 429"/>
              <a:gd name="T37" fmla="*/ 122 h 267"/>
              <a:gd name="T38" fmla="*/ 401 w 429"/>
              <a:gd name="T39" fmla="*/ 125 h 267"/>
              <a:gd name="T40" fmla="*/ 384 w 429"/>
              <a:gd name="T41" fmla="*/ 117 h 267"/>
              <a:gd name="T42" fmla="*/ 384 w 429"/>
              <a:gd name="T43" fmla="*/ 107 h 267"/>
              <a:gd name="T44" fmla="*/ 391 w 429"/>
              <a:gd name="T45" fmla="*/ 90 h 267"/>
              <a:gd name="T46" fmla="*/ 381 w 429"/>
              <a:gd name="T47" fmla="*/ 95 h 267"/>
              <a:gd name="T48" fmla="*/ 367 w 429"/>
              <a:gd name="T49" fmla="*/ 110 h 267"/>
              <a:gd name="T50" fmla="*/ 359 w 429"/>
              <a:gd name="T51" fmla="*/ 120 h 267"/>
              <a:gd name="T52" fmla="*/ 344 w 429"/>
              <a:gd name="T53" fmla="*/ 140 h 267"/>
              <a:gd name="T54" fmla="*/ 329 w 429"/>
              <a:gd name="T55" fmla="*/ 132 h 267"/>
              <a:gd name="T56" fmla="*/ 312 w 429"/>
              <a:gd name="T57" fmla="*/ 132 h 267"/>
              <a:gd name="T58" fmla="*/ 294 w 429"/>
              <a:gd name="T59" fmla="*/ 140 h 267"/>
              <a:gd name="T60" fmla="*/ 264 w 429"/>
              <a:gd name="T61" fmla="*/ 105 h 267"/>
              <a:gd name="T62" fmla="*/ 254 w 429"/>
              <a:gd name="T63" fmla="*/ 72 h 267"/>
              <a:gd name="T64" fmla="*/ 234 w 429"/>
              <a:gd name="T65" fmla="*/ 45 h 267"/>
              <a:gd name="T66" fmla="*/ 152 w 429"/>
              <a:gd name="T67" fmla="*/ 50 h 267"/>
              <a:gd name="T68" fmla="*/ 112 w 429"/>
              <a:gd name="T69" fmla="*/ 30 h 267"/>
              <a:gd name="T70" fmla="*/ 0 w 429"/>
              <a:gd name="T71" fmla="*/ 13 h 267"/>
              <a:gd name="T72" fmla="*/ 35 w 429"/>
              <a:gd name="T73" fmla="*/ 140 h 267"/>
              <a:gd name="T74" fmla="*/ 47 w 429"/>
              <a:gd name="T75" fmla="*/ 135 h 267"/>
              <a:gd name="T76" fmla="*/ 42 w 429"/>
              <a:gd name="T77" fmla="*/ 120 h 267"/>
              <a:gd name="T78" fmla="*/ 55 w 429"/>
              <a:gd name="T79" fmla="*/ 107 h 267"/>
              <a:gd name="T80" fmla="*/ 65 w 429"/>
              <a:gd name="T81" fmla="*/ 97 h 267"/>
              <a:gd name="T82" fmla="*/ 75 w 429"/>
              <a:gd name="T83" fmla="*/ 100 h 267"/>
              <a:gd name="T84" fmla="*/ 82 w 429"/>
              <a:gd name="T85" fmla="*/ 95 h 267"/>
              <a:gd name="T86" fmla="*/ 115 w 429"/>
              <a:gd name="T87" fmla="*/ 112 h 267"/>
              <a:gd name="T88" fmla="*/ 137 w 429"/>
              <a:gd name="T89" fmla="*/ 130 h 267"/>
              <a:gd name="T90" fmla="*/ 157 w 429"/>
              <a:gd name="T91" fmla="*/ 135 h 267"/>
              <a:gd name="T92" fmla="*/ 174 w 429"/>
              <a:gd name="T93" fmla="*/ 142 h 267"/>
              <a:gd name="T94" fmla="*/ 184 w 429"/>
              <a:gd name="T95" fmla="*/ 162 h 267"/>
              <a:gd name="T96" fmla="*/ 192 w 429"/>
              <a:gd name="T97" fmla="*/ 180 h 267"/>
              <a:gd name="T98" fmla="*/ 219 w 429"/>
              <a:gd name="T99" fmla="*/ 197 h 267"/>
              <a:gd name="T100" fmla="*/ 257 w 429"/>
              <a:gd name="T101" fmla="*/ 217 h 267"/>
              <a:gd name="T102" fmla="*/ 289 w 429"/>
              <a:gd name="T103" fmla="*/ 232 h 267"/>
              <a:gd name="T104" fmla="*/ 297 w 429"/>
              <a:gd name="T105" fmla="*/ 235 h 267"/>
              <a:gd name="T106" fmla="*/ 307 w 429"/>
              <a:gd name="T107" fmla="*/ 250 h 267"/>
              <a:gd name="T108" fmla="*/ 314 w 429"/>
              <a:gd name="T109" fmla="*/ 260 h 267"/>
              <a:gd name="T110" fmla="*/ 324 w 429"/>
              <a:gd name="T111" fmla="*/ 267 h 267"/>
              <a:gd name="T112" fmla="*/ 332 w 429"/>
              <a:gd name="T113" fmla="*/ 262 h 267"/>
              <a:gd name="T114" fmla="*/ 339 w 429"/>
              <a:gd name="T115"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9" h="267">
                <a:moveTo>
                  <a:pt x="339" y="267"/>
                </a:moveTo>
                <a:lnTo>
                  <a:pt x="342" y="250"/>
                </a:lnTo>
                <a:lnTo>
                  <a:pt x="347" y="237"/>
                </a:lnTo>
                <a:lnTo>
                  <a:pt x="349" y="232"/>
                </a:lnTo>
                <a:lnTo>
                  <a:pt x="347" y="227"/>
                </a:lnTo>
                <a:lnTo>
                  <a:pt x="342" y="225"/>
                </a:lnTo>
                <a:lnTo>
                  <a:pt x="339" y="217"/>
                </a:lnTo>
                <a:lnTo>
                  <a:pt x="342" y="210"/>
                </a:lnTo>
                <a:lnTo>
                  <a:pt x="342" y="205"/>
                </a:lnTo>
                <a:lnTo>
                  <a:pt x="334" y="205"/>
                </a:lnTo>
                <a:lnTo>
                  <a:pt x="329" y="207"/>
                </a:lnTo>
                <a:lnTo>
                  <a:pt x="322" y="197"/>
                </a:lnTo>
                <a:lnTo>
                  <a:pt x="322" y="190"/>
                </a:lnTo>
                <a:lnTo>
                  <a:pt x="327" y="185"/>
                </a:lnTo>
                <a:lnTo>
                  <a:pt x="339" y="187"/>
                </a:lnTo>
                <a:lnTo>
                  <a:pt x="344" y="185"/>
                </a:lnTo>
                <a:lnTo>
                  <a:pt x="344" y="180"/>
                </a:lnTo>
                <a:lnTo>
                  <a:pt x="354" y="175"/>
                </a:lnTo>
                <a:lnTo>
                  <a:pt x="354" y="172"/>
                </a:lnTo>
                <a:lnTo>
                  <a:pt x="352" y="170"/>
                </a:lnTo>
                <a:lnTo>
                  <a:pt x="362" y="167"/>
                </a:lnTo>
                <a:lnTo>
                  <a:pt x="372" y="162"/>
                </a:lnTo>
                <a:lnTo>
                  <a:pt x="372" y="157"/>
                </a:lnTo>
                <a:lnTo>
                  <a:pt x="364" y="155"/>
                </a:lnTo>
                <a:lnTo>
                  <a:pt x="364" y="147"/>
                </a:lnTo>
                <a:lnTo>
                  <a:pt x="369" y="145"/>
                </a:lnTo>
                <a:lnTo>
                  <a:pt x="376" y="140"/>
                </a:lnTo>
                <a:lnTo>
                  <a:pt x="381" y="140"/>
                </a:lnTo>
                <a:lnTo>
                  <a:pt x="391" y="132"/>
                </a:lnTo>
                <a:lnTo>
                  <a:pt x="396" y="137"/>
                </a:lnTo>
                <a:lnTo>
                  <a:pt x="399" y="142"/>
                </a:lnTo>
                <a:lnTo>
                  <a:pt x="411" y="140"/>
                </a:lnTo>
                <a:lnTo>
                  <a:pt x="421" y="140"/>
                </a:lnTo>
                <a:lnTo>
                  <a:pt x="429" y="132"/>
                </a:lnTo>
                <a:lnTo>
                  <a:pt x="426" y="125"/>
                </a:lnTo>
                <a:lnTo>
                  <a:pt x="414" y="115"/>
                </a:lnTo>
                <a:lnTo>
                  <a:pt x="411" y="115"/>
                </a:lnTo>
                <a:lnTo>
                  <a:pt x="409" y="122"/>
                </a:lnTo>
                <a:lnTo>
                  <a:pt x="406" y="127"/>
                </a:lnTo>
                <a:lnTo>
                  <a:pt x="401" y="125"/>
                </a:lnTo>
                <a:lnTo>
                  <a:pt x="396" y="120"/>
                </a:lnTo>
                <a:lnTo>
                  <a:pt x="384" y="117"/>
                </a:lnTo>
                <a:lnTo>
                  <a:pt x="379" y="115"/>
                </a:lnTo>
                <a:lnTo>
                  <a:pt x="384" y="107"/>
                </a:lnTo>
                <a:lnTo>
                  <a:pt x="391" y="95"/>
                </a:lnTo>
                <a:lnTo>
                  <a:pt x="391" y="90"/>
                </a:lnTo>
                <a:lnTo>
                  <a:pt x="386" y="87"/>
                </a:lnTo>
                <a:lnTo>
                  <a:pt x="381" y="95"/>
                </a:lnTo>
                <a:lnTo>
                  <a:pt x="376" y="97"/>
                </a:lnTo>
                <a:lnTo>
                  <a:pt x="367" y="110"/>
                </a:lnTo>
                <a:lnTo>
                  <a:pt x="362" y="117"/>
                </a:lnTo>
                <a:lnTo>
                  <a:pt x="359" y="120"/>
                </a:lnTo>
                <a:lnTo>
                  <a:pt x="354" y="130"/>
                </a:lnTo>
                <a:lnTo>
                  <a:pt x="344" y="140"/>
                </a:lnTo>
                <a:lnTo>
                  <a:pt x="342" y="140"/>
                </a:lnTo>
                <a:lnTo>
                  <a:pt x="329" y="132"/>
                </a:lnTo>
                <a:lnTo>
                  <a:pt x="319" y="132"/>
                </a:lnTo>
                <a:lnTo>
                  <a:pt x="312" y="132"/>
                </a:lnTo>
                <a:lnTo>
                  <a:pt x="299" y="140"/>
                </a:lnTo>
                <a:lnTo>
                  <a:pt x="294" y="140"/>
                </a:lnTo>
                <a:lnTo>
                  <a:pt x="284" y="107"/>
                </a:lnTo>
                <a:lnTo>
                  <a:pt x="264" y="105"/>
                </a:lnTo>
                <a:lnTo>
                  <a:pt x="264" y="67"/>
                </a:lnTo>
                <a:lnTo>
                  <a:pt x="254" y="72"/>
                </a:lnTo>
                <a:lnTo>
                  <a:pt x="247" y="55"/>
                </a:lnTo>
                <a:lnTo>
                  <a:pt x="234" y="45"/>
                </a:lnTo>
                <a:lnTo>
                  <a:pt x="189" y="45"/>
                </a:lnTo>
                <a:lnTo>
                  <a:pt x="152" y="50"/>
                </a:lnTo>
                <a:lnTo>
                  <a:pt x="130" y="35"/>
                </a:lnTo>
                <a:lnTo>
                  <a:pt x="112" y="30"/>
                </a:lnTo>
                <a:lnTo>
                  <a:pt x="70" y="0"/>
                </a:lnTo>
                <a:lnTo>
                  <a:pt x="0" y="13"/>
                </a:lnTo>
                <a:lnTo>
                  <a:pt x="22" y="140"/>
                </a:lnTo>
                <a:lnTo>
                  <a:pt x="35" y="140"/>
                </a:lnTo>
                <a:lnTo>
                  <a:pt x="45" y="140"/>
                </a:lnTo>
                <a:lnTo>
                  <a:pt x="47" y="135"/>
                </a:lnTo>
                <a:lnTo>
                  <a:pt x="42" y="130"/>
                </a:lnTo>
                <a:lnTo>
                  <a:pt x="42" y="120"/>
                </a:lnTo>
                <a:lnTo>
                  <a:pt x="47" y="110"/>
                </a:lnTo>
                <a:lnTo>
                  <a:pt x="55" y="107"/>
                </a:lnTo>
                <a:lnTo>
                  <a:pt x="60" y="102"/>
                </a:lnTo>
                <a:lnTo>
                  <a:pt x="65" y="97"/>
                </a:lnTo>
                <a:lnTo>
                  <a:pt x="72" y="102"/>
                </a:lnTo>
                <a:lnTo>
                  <a:pt x="75" y="100"/>
                </a:lnTo>
                <a:lnTo>
                  <a:pt x="70" y="92"/>
                </a:lnTo>
                <a:lnTo>
                  <a:pt x="82" y="95"/>
                </a:lnTo>
                <a:lnTo>
                  <a:pt x="100" y="102"/>
                </a:lnTo>
                <a:lnTo>
                  <a:pt x="115" y="112"/>
                </a:lnTo>
                <a:lnTo>
                  <a:pt x="117" y="117"/>
                </a:lnTo>
                <a:lnTo>
                  <a:pt x="137" y="130"/>
                </a:lnTo>
                <a:lnTo>
                  <a:pt x="155" y="137"/>
                </a:lnTo>
                <a:lnTo>
                  <a:pt x="157" y="135"/>
                </a:lnTo>
                <a:lnTo>
                  <a:pt x="162" y="135"/>
                </a:lnTo>
                <a:lnTo>
                  <a:pt x="174" y="142"/>
                </a:lnTo>
                <a:lnTo>
                  <a:pt x="179" y="160"/>
                </a:lnTo>
                <a:lnTo>
                  <a:pt x="184" y="162"/>
                </a:lnTo>
                <a:lnTo>
                  <a:pt x="187" y="170"/>
                </a:lnTo>
                <a:lnTo>
                  <a:pt x="192" y="180"/>
                </a:lnTo>
                <a:lnTo>
                  <a:pt x="202" y="185"/>
                </a:lnTo>
                <a:lnTo>
                  <a:pt x="219" y="197"/>
                </a:lnTo>
                <a:lnTo>
                  <a:pt x="237" y="210"/>
                </a:lnTo>
                <a:lnTo>
                  <a:pt x="257" y="217"/>
                </a:lnTo>
                <a:lnTo>
                  <a:pt x="274" y="230"/>
                </a:lnTo>
                <a:lnTo>
                  <a:pt x="289" y="232"/>
                </a:lnTo>
                <a:lnTo>
                  <a:pt x="292" y="237"/>
                </a:lnTo>
                <a:lnTo>
                  <a:pt x="297" y="235"/>
                </a:lnTo>
                <a:lnTo>
                  <a:pt x="307" y="242"/>
                </a:lnTo>
                <a:lnTo>
                  <a:pt x="307" y="250"/>
                </a:lnTo>
                <a:lnTo>
                  <a:pt x="307" y="262"/>
                </a:lnTo>
                <a:lnTo>
                  <a:pt x="314" y="260"/>
                </a:lnTo>
                <a:lnTo>
                  <a:pt x="319" y="262"/>
                </a:lnTo>
                <a:lnTo>
                  <a:pt x="324" y="267"/>
                </a:lnTo>
                <a:lnTo>
                  <a:pt x="327" y="267"/>
                </a:lnTo>
                <a:lnTo>
                  <a:pt x="332" y="262"/>
                </a:lnTo>
                <a:lnTo>
                  <a:pt x="337" y="262"/>
                </a:lnTo>
                <a:lnTo>
                  <a:pt x="339" y="26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15" name="Freeform 156"/>
          <p:cNvSpPr>
            <a:spLocks noEditPoints="1"/>
          </p:cNvSpPr>
          <p:nvPr/>
        </p:nvSpPr>
        <p:spPr bwMode="auto">
          <a:xfrm>
            <a:off x="8882063" y="4532313"/>
            <a:ext cx="376237" cy="844550"/>
          </a:xfrm>
          <a:custGeom>
            <a:avLst/>
            <a:gdLst>
              <a:gd name="T0" fmla="*/ 132 w 237"/>
              <a:gd name="T1" fmla="*/ 8 h 532"/>
              <a:gd name="T2" fmla="*/ 152 w 237"/>
              <a:gd name="T3" fmla="*/ 43 h 532"/>
              <a:gd name="T4" fmla="*/ 145 w 237"/>
              <a:gd name="T5" fmla="*/ 77 h 532"/>
              <a:gd name="T6" fmla="*/ 135 w 237"/>
              <a:gd name="T7" fmla="*/ 92 h 532"/>
              <a:gd name="T8" fmla="*/ 137 w 237"/>
              <a:gd name="T9" fmla="*/ 115 h 532"/>
              <a:gd name="T10" fmla="*/ 162 w 237"/>
              <a:gd name="T11" fmla="*/ 127 h 532"/>
              <a:gd name="T12" fmla="*/ 174 w 237"/>
              <a:gd name="T13" fmla="*/ 145 h 532"/>
              <a:gd name="T14" fmla="*/ 194 w 237"/>
              <a:gd name="T15" fmla="*/ 152 h 532"/>
              <a:gd name="T16" fmla="*/ 182 w 237"/>
              <a:gd name="T17" fmla="*/ 182 h 532"/>
              <a:gd name="T18" fmla="*/ 202 w 237"/>
              <a:gd name="T19" fmla="*/ 192 h 532"/>
              <a:gd name="T20" fmla="*/ 237 w 237"/>
              <a:gd name="T21" fmla="*/ 192 h 532"/>
              <a:gd name="T22" fmla="*/ 222 w 237"/>
              <a:gd name="T23" fmla="*/ 220 h 532"/>
              <a:gd name="T24" fmla="*/ 197 w 237"/>
              <a:gd name="T25" fmla="*/ 237 h 532"/>
              <a:gd name="T26" fmla="*/ 184 w 237"/>
              <a:gd name="T27" fmla="*/ 255 h 532"/>
              <a:gd name="T28" fmla="*/ 157 w 237"/>
              <a:gd name="T29" fmla="*/ 275 h 532"/>
              <a:gd name="T30" fmla="*/ 150 w 237"/>
              <a:gd name="T31" fmla="*/ 297 h 532"/>
              <a:gd name="T32" fmla="*/ 177 w 237"/>
              <a:gd name="T33" fmla="*/ 335 h 532"/>
              <a:gd name="T34" fmla="*/ 182 w 237"/>
              <a:gd name="T35" fmla="*/ 359 h 532"/>
              <a:gd name="T36" fmla="*/ 189 w 237"/>
              <a:gd name="T37" fmla="*/ 404 h 532"/>
              <a:gd name="T38" fmla="*/ 207 w 237"/>
              <a:gd name="T39" fmla="*/ 444 h 532"/>
              <a:gd name="T40" fmla="*/ 214 w 237"/>
              <a:gd name="T41" fmla="*/ 482 h 532"/>
              <a:gd name="T42" fmla="*/ 194 w 237"/>
              <a:gd name="T43" fmla="*/ 519 h 532"/>
              <a:gd name="T44" fmla="*/ 187 w 237"/>
              <a:gd name="T45" fmla="*/ 514 h 532"/>
              <a:gd name="T46" fmla="*/ 194 w 237"/>
              <a:gd name="T47" fmla="*/ 499 h 532"/>
              <a:gd name="T48" fmla="*/ 194 w 237"/>
              <a:gd name="T49" fmla="*/ 474 h 532"/>
              <a:gd name="T50" fmla="*/ 187 w 237"/>
              <a:gd name="T51" fmla="*/ 437 h 532"/>
              <a:gd name="T52" fmla="*/ 177 w 237"/>
              <a:gd name="T53" fmla="*/ 427 h 532"/>
              <a:gd name="T54" fmla="*/ 165 w 237"/>
              <a:gd name="T55" fmla="*/ 394 h 532"/>
              <a:gd name="T56" fmla="*/ 160 w 237"/>
              <a:gd name="T57" fmla="*/ 357 h 532"/>
              <a:gd name="T58" fmla="*/ 152 w 237"/>
              <a:gd name="T59" fmla="*/ 347 h 532"/>
              <a:gd name="T60" fmla="*/ 135 w 237"/>
              <a:gd name="T61" fmla="*/ 325 h 532"/>
              <a:gd name="T62" fmla="*/ 135 w 237"/>
              <a:gd name="T63" fmla="*/ 330 h 532"/>
              <a:gd name="T64" fmla="*/ 120 w 237"/>
              <a:gd name="T65" fmla="*/ 342 h 532"/>
              <a:gd name="T66" fmla="*/ 112 w 237"/>
              <a:gd name="T67" fmla="*/ 352 h 532"/>
              <a:gd name="T68" fmla="*/ 90 w 237"/>
              <a:gd name="T69" fmla="*/ 362 h 532"/>
              <a:gd name="T70" fmla="*/ 75 w 237"/>
              <a:gd name="T71" fmla="*/ 367 h 532"/>
              <a:gd name="T72" fmla="*/ 70 w 237"/>
              <a:gd name="T73" fmla="*/ 359 h 532"/>
              <a:gd name="T74" fmla="*/ 75 w 237"/>
              <a:gd name="T75" fmla="*/ 325 h 532"/>
              <a:gd name="T76" fmla="*/ 65 w 237"/>
              <a:gd name="T77" fmla="*/ 295 h 532"/>
              <a:gd name="T78" fmla="*/ 47 w 237"/>
              <a:gd name="T79" fmla="*/ 267 h 532"/>
              <a:gd name="T80" fmla="*/ 32 w 237"/>
              <a:gd name="T81" fmla="*/ 265 h 532"/>
              <a:gd name="T82" fmla="*/ 42 w 237"/>
              <a:gd name="T83" fmla="*/ 267 h 532"/>
              <a:gd name="T84" fmla="*/ 42 w 237"/>
              <a:gd name="T85" fmla="*/ 250 h 532"/>
              <a:gd name="T86" fmla="*/ 20 w 237"/>
              <a:gd name="T87" fmla="*/ 245 h 532"/>
              <a:gd name="T88" fmla="*/ 17 w 237"/>
              <a:gd name="T89" fmla="*/ 242 h 532"/>
              <a:gd name="T90" fmla="*/ 2 w 237"/>
              <a:gd name="T91" fmla="*/ 212 h 532"/>
              <a:gd name="T92" fmla="*/ 15 w 237"/>
              <a:gd name="T93" fmla="*/ 187 h 532"/>
              <a:gd name="T94" fmla="*/ 25 w 237"/>
              <a:gd name="T95" fmla="*/ 160 h 532"/>
              <a:gd name="T96" fmla="*/ 40 w 237"/>
              <a:gd name="T97" fmla="*/ 132 h 532"/>
              <a:gd name="T98" fmla="*/ 52 w 237"/>
              <a:gd name="T99" fmla="*/ 77 h 532"/>
              <a:gd name="T100" fmla="*/ 77 w 237"/>
              <a:gd name="T101" fmla="*/ 33 h 532"/>
              <a:gd name="T102" fmla="*/ 105 w 237"/>
              <a:gd name="T103" fmla="*/ 20 h 532"/>
              <a:gd name="T104" fmla="*/ 35 w 237"/>
              <a:gd name="T105" fmla="*/ 285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7" h="532">
                <a:moveTo>
                  <a:pt x="107" y="3"/>
                </a:moveTo>
                <a:lnTo>
                  <a:pt x="112" y="0"/>
                </a:lnTo>
                <a:lnTo>
                  <a:pt x="117" y="3"/>
                </a:lnTo>
                <a:lnTo>
                  <a:pt x="122" y="0"/>
                </a:lnTo>
                <a:lnTo>
                  <a:pt x="127" y="3"/>
                </a:lnTo>
                <a:lnTo>
                  <a:pt x="132" y="8"/>
                </a:lnTo>
                <a:lnTo>
                  <a:pt x="137" y="13"/>
                </a:lnTo>
                <a:lnTo>
                  <a:pt x="137" y="20"/>
                </a:lnTo>
                <a:lnTo>
                  <a:pt x="142" y="20"/>
                </a:lnTo>
                <a:lnTo>
                  <a:pt x="147" y="25"/>
                </a:lnTo>
                <a:lnTo>
                  <a:pt x="147" y="35"/>
                </a:lnTo>
                <a:lnTo>
                  <a:pt x="152" y="43"/>
                </a:lnTo>
                <a:lnTo>
                  <a:pt x="152" y="50"/>
                </a:lnTo>
                <a:lnTo>
                  <a:pt x="152" y="62"/>
                </a:lnTo>
                <a:lnTo>
                  <a:pt x="152" y="67"/>
                </a:lnTo>
                <a:lnTo>
                  <a:pt x="150" y="70"/>
                </a:lnTo>
                <a:lnTo>
                  <a:pt x="145" y="72"/>
                </a:lnTo>
                <a:lnTo>
                  <a:pt x="145" y="77"/>
                </a:lnTo>
                <a:lnTo>
                  <a:pt x="142" y="80"/>
                </a:lnTo>
                <a:lnTo>
                  <a:pt x="140" y="82"/>
                </a:lnTo>
                <a:lnTo>
                  <a:pt x="142" y="87"/>
                </a:lnTo>
                <a:lnTo>
                  <a:pt x="140" y="90"/>
                </a:lnTo>
                <a:lnTo>
                  <a:pt x="137" y="90"/>
                </a:lnTo>
                <a:lnTo>
                  <a:pt x="135" y="92"/>
                </a:lnTo>
                <a:lnTo>
                  <a:pt x="132" y="97"/>
                </a:lnTo>
                <a:lnTo>
                  <a:pt x="135" y="102"/>
                </a:lnTo>
                <a:lnTo>
                  <a:pt x="132" y="105"/>
                </a:lnTo>
                <a:lnTo>
                  <a:pt x="132" y="110"/>
                </a:lnTo>
                <a:lnTo>
                  <a:pt x="135" y="112"/>
                </a:lnTo>
                <a:lnTo>
                  <a:pt x="137" y="115"/>
                </a:lnTo>
                <a:lnTo>
                  <a:pt x="142" y="117"/>
                </a:lnTo>
                <a:lnTo>
                  <a:pt x="140" y="125"/>
                </a:lnTo>
                <a:lnTo>
                  <a:pt x="142" y="130"/>
                </a:lnTo>
                <a:lnTo>
                  <a:pt x="150" y="127"/>
                </a:lnTo>
                <a:lnTo>
                  <a:pt x="162" y="125"/>
                </a:lnTo>
                <a:lnTo>
                  <a:pt x="162" y="127"/>
                </a:lnTo>
                <a:lnTo>
                  <a:pt x="162" y="132"/>
                </a:lnTo>
                <a:lnTo>
                  <a:pt x="165" y="135"/>
                </a:lnTo>
                <a:lnTo>
                  <a:pt x="172" y="132"/>
                </a:lnTo>
                <a:lnTo>
                  <a:pt x="172" y="137"/>
                </a:lnTo>
                <a:lnTo>
                  <a:pt x="170" y="142"/>
                </a:lnTo>
                <a:lnTo>
                  <a:pt x="174" y="145"/>
                </a:lnTo>
                <a:lnTo>
                  <a:pt x="179" y="147"/>
                </a:lnTo>
                <a:lnTo>
                  <a:pt x="179" y="150"/>
                </a:lnTo>
                <a:lnTo>
                  <a:pt x="182" y="152"/>
                </a:lnTo>
                <a:lnTo>
                  <a:pt x="182" y="150"/>
                </a:lnTo>
                <a:lnTo>
                  <a:pt x="189" y="150"/>
                </a:lnTo>
                <a:lnTo>
                  <a:pt x="194" y="152"/>
                </a:lnTo>
                <a:lnTo>
                  <a:pt x="194" y="157"/>
                </a:lnTo>
                <a:lnTo>
                  <a:pt x="192" y="162"/>
                </a:lnTo>
                <a:lnTo>
                  <a:pt x="192" y="165"/>
                </a:lnTo>
                <a:lnTo>
                  <a:pt x="187" y="175"/>
                </a:lnTo>
                <a:lnTo>
                  <a:pt x="182" y="180"/>
                </a:lnTo>
                <a:lnTo>
                  <a:pt x="182" y="182"/>
                </a:lnTo>
                <a:lnTo>
                  <a:pt x="187" y="182"/>
                </a:lnTo>
                <a:lnTo>
                  <a:pt x="194" y="182"/>
                </a:lnTo>
                <a:lnTo>
                  <a:pt x="197" y="185"/>
                </a:lnTo>
                <a:lnTo>
                  <a:pt x="199" y="180"/>
                </a:lnTo>
                <a:lnTo>
                  <a:pt x="204" y="185"/>
                </a:lnTo>
                <a:lnTo>
                  <a:pt x="202" y="192"/>
                </a:lnTo>
                <a:lnTo>
                  <a:pt x="204" y="197"/>
                </a:lnTo>
                <a:lnTo>
                  <a:pt x="209" y="200"/>
                </a:lnTo>
                <a:lnTo>
                  <a:pt x="214" y="197"/>
                </a:lnTo>
                <a:lnTo>
                  <a:pt x="219" y="197"/>
                </a:lnTo>
                <a:lnTo>
                  <a:pt x="232" y="192"/>
                </a:lnTo>
                <a:lnTo>
                  <a:pt x="237" y="192"/>
                </a:lnTo>
                <a:lnTo>
                  <a:pt x="237" y="197"/>
                </a:lnTo>
                <a:lnTo>
                  <a:pt x="229" y="205"/>
                </a:lnTo>
                <a:lnTo>
                  <a:pt x="222" y="207"/>
                </a:lnTo>
                <a:lnTo>
                  <a:pt x="222" y="212"/>
                </a:lnTo>
                <a:lnTo>
                  <a:pt x="219" y="215"/>
                </a:lnTo>
                <a:lnTo>
                  <a:pt x="222" y="220"/>
                </a:lnTo>
                <a:lnTo>
                  <a:pt x="217" y="222"/>
                </a:lnTo>
                <a:lnTo>
                  <a:pt x="212" y="222"/>
                </a:lnTo>
                <a:lnTo>
                  <a:pt x="209" y="230"/>
                </a:lnTo>
                <a:lnTo>
                  <a:pt x="202" y="230"/>
                </a:lnTo>
                <a:lnTo>
                  <a:pt x="197" y="232"/>
                </a:lnTo>
                <a:lnTo>
                  <a:pt x="197" y="237"/>
                </a:lnTo>
                <a:lnTo>
                  <a:pt x="199" y="240"/>
                </a:lnTo>
                <a:lnTo>
                  <a:pt x="197" y="242"/>
                </a:lnTo>
                <a:lnTo>
                  <a:pt x="189" y="242"/>
                </a:lnTo>
                <a:lnTo>
                  <a:pt x="187" y="245"/>
                </a:lnTo>
                <a:lnTo>
                  <a:pt x="187" y="252"/>
                </a:lnTo>
                <a:lnTo>
                  <a:pt x="184" y="255"/>
                </a:lnTo>
                <a:lnTo>
                  <a:pt x="179" y="255"/>
                </a:lnTo>
                <a:lnTo>
                  <a:pt x="172" y="260"/>
                </a:lnTo>
                <a:lnTo>
                  <a:pt x="162" y="255"/>
                </a:lnTo>
                <a:lnTo>
                  <a:pt x="160" y="262"/>
                </a:lnTo>
                <a:lnTo>
                  <a:pt x="160" y="270"/>
                </a:lnTo>
                <a:lnTo>
                  <a:pt x="157" y="275"/>
                </a:lnTo>
                <a:lnTo>
                  <a:pt x="157" y="282"/>
                </a:lnTo>
                <a:lnTo>
                  <a:pt x="157" y="287"/>
                </a:lnTo>
                <a:lnTo>
                  <a:pt x="152" y="290"/>
                </a:lnTo>
                <a:lnTo>
                  <a:pt x="147" y="292"/>
                </a:lnTo>
                <a:lnTo>
                  <a:pt x="147" y="297"/>
                </a:lnTo>
                <a:lnTo>
                  <a:pt x="150" y="297"/>
                </a:lnTo>
                <a:lnTo>
                  <a:pt x="155" y="305"/>
                </a:lnTo>
                <a:lnTo>
                  <a:pt x="160" y="310"/>
                </a:lnTo>
                <a:lnTo>
                  <a:pt x="160" y="312"/>
                </a:lnTo>
                <a:lnTo>
                  <a:pt x="167" y="317"/>
                </a:lnTo>
                <a:lnTo>
                  <a:pt x="174" y="332"/>
                </a:lnTo>
                <a:lnTo>
                  <a:pt x="177" y="335"/>
                </a:lnTo>
                <a:lnTo>
                  <a:pt x="182" y="340"/>
                </a:lnTo>
                <a:lnTo>
                  <a:pt x="182" y="347"/>
                </a:lnTo>
                <a:lnTo>
                  <a:pt x="187" y="350"/>
                </a:lnTo>
                <a:lnTo>
                  <a:pt x="187" y="354"/>
                </a:lnTo>
                <a:lnTo>
                  <a:pt x="182" y="357"/>
                </a:lnTo>
                <a:lnTo>
                  <a:pt x="182" y="359"/>
                </a:lnTo>
                <a:lnTo>
                  <a:pt x="184" y="374"/>
                </a:lnTo>
                <a:lnTo>
                  <a:pt x="184" y="379"/>
                </a:lnTo>
                <a:lnTo>
                  <a:pt x="177" y="382"/>
                </a:lnTo>
                <a:lnTo>
                  <a:pt x="182" y="389"/>
                </a:lnTo>
                <a:lnTo>
                  <a:pt x="182" y="394"/>
                </a:lnTo>
                <a:lnTo>
                  <a:pt x="189" y="404"/>
                </a:lnTo>
                <a:lnTo>
                  <a:pt x="197" y="409"/>
                </a:lnTo>
                <a:lnTo>
                  <a:pt x="204" y="417"/>
                </a:lnTo>
                <a:lnTo>
                  <a:pt x="207" y="429"/>
                </a:lnTo>
                <a:lnTo>
                  <a:pt x="204" y="434"/>
                </a:lnTo>
                <a:lnTo>
                  <a:pt x="207" y="439"/>
                </a:lnTo>
                <a:lnTo>
                  <a:pt x="207" y="444"/>
                </a:lnTo>
                <a:lnTo>
                  <a:pt x="209" y="447"/>
                </a:lnTo>
                <a:lnTo>
                  <a:pt x="209" y="454"/>
                </a:lnTo>
                <a:lnTo>
                  <a:pt x="212" y="459"/>
                </a:lnTo>
                <a:lnTo>
                  <a:pt x="212" y="467"/>
                </a:lnTo>
                <a:lnTo>
                  <a:pt x="214" y="474"/>
                </a:lnTo>
                <a:lnTo>
                  <a:pt x="214" y="482"/>
                </a:lnTo>
                <a:lnTo>
                  <a:pt x="212" y="484"/>
                </a:lnTo>
                <a:lnTo>
                  <a:pt x="207" y="502"/>
                </a:lnTo>
                <a:lnTo>
                  <a:pt x="199" y="504"/>
                </a:lnTo>
                <a:lnTo>
                  <a:pt x="199" y="512"/>
                </a:lnTo>
                <a:lnTo>
                  <a:pt x="197" y="517"/>
                </a:lnTo>
                <a:lnTo>
                  <a:pt x="194" y="519"/>
                </a:lnTo>
                <a:lnTo>
                  <a:pt x="194" y="519"/>
                </a:lnTo>
                <a:lnTo>
                  <a:pt x="192" y="524"/>
                </a:lnTo>
                <a:lnTo>
                  <a:pt x="192" y="532"/>
                </a:lnTo>
                <a:lnTo>
                  <a:pt x="189" y="524"/>
                </a:lnTo>
                <a:lnTo>
                  <a:pt x="189" y="517"/>
                </a:lnTo>
                <a:lnTo>
                  <a:pt x="187" y="514"/>
                </a:lnTo>
                <a:lnTo>
                  <a:pt x="187" y="512"/>
                </a:lnTo>
                <a:lnTo>
                  <a:pt x="189" y="512"/>
                </a:lnTo>
                <a:lnTo>
                  <a:pt x="192" y="509"/>
                </a:lnTo>
                <a:lnTo>
                  <a:pt x="194" y="504"/>
                </a:lnTo>
                <a:lnTo>
                  <a:pt x="194" y="499"/>
                </a:lnTo>
                <a:lnTo>
                  <a:pt x="194" y="499"/>
                </a:lnTo>
                <a:lnTo>
                  <a:pt x="194" y="492"/>
                </a:lnTo>
                <a:lnTo>
                  <a:pt x="197" y="492"/>
                </a:lnTo>
                <a:lnTo>
                  <a:pt x="197" y="487"/>
                </a:lnTo>
                <a:lnTo>
                  <a:pt x="194" y="482"/>
                </a:lnTo>
                <a:lnTo>
                  <a:pt x="199" y="477"/>
                </a:lnTo>
                <a:lnTo>
                  <a:pt x="194" y="474"/>
                </a:lnTo>
                <a:lnTo>
                  <a:pt x="192" y="469"/>
                </a:lnTo>
                <a:lnTo>
                  <a:pt x="192" y="462"/>
                </a:lnTo>
                <a:lnTo>
                  <a:pt x="194" y="459"/>
                </a:lnTo>
                <a:lnTo>
                  <a:pt x="192" y="454"/>
                </a:lnTo>
                <a:lnTo>
                  <a:pt x="189" y="454"/>
                </a:lnTo>
                <a:lnTo>
                  <a:pt x="187" y="437"/>
                </a:lnTo>
                <a:lnTo>
                  <a:pt x="184" y="434"/>
                </a:lnTo>
                <a:lnTo>
                  <a:pt x="182" y="429"/>
                </a:lnTo>
                <a:lnTo>
                  <a:pt x="179" y="422"/>
                </a:lnTo>
                <a:lnTo>
                  <a:pt x="177" y="429"/>
                </a:lnTo>
                <a:lnTo>
                  <a:pt x="177" y="432"/>
                </a:lnTo>
                <a:lnTo>
                  <a:pt x="177" y="427"/>
                </a:lnTo>
                <a:lnTo>
                  <a:pt x="174" y="422"/>
                </a:lnTo>
                <a:lnTo>
                  <a:pt x="174" y="409"/>
                </a:lnTo>
                <a:lnTo>
                  <a:pt x="170" y="407"/>
                </a:lnTo>
                <a:lnTo>
                  <a:pt x="170" y="399"/>
                </a:lnTo>
                <a:lnTo>
                  <a:pt x="172" y="399"/>
                </a:lnTo>
                <a:lnTo>
                  <a:pt x="165" y="394"/>
                </a:lnTo>
                <a:lnTo>
                  <a:pt x="165" y="384"/>
                </a:lnTo>
                <a:lnTo>
                  <a:pt x="165" y="384"/>
                </a:lnTo>
                <a:lnTo>
                  <a:pt x="162" y="364"/>
                </a:lnTo>
                <a:lnTo>
                  <a:pt x="157" y="362"/>
                </a:lnTo>
                <a:lnTo>
                  <a:pt x="157" y="357"/>
                </a:lnTo>
                <a:lnTo>
                  <a:pt x="160" y="357"/>
                </a:lnTo>
                <a:lnTo>
                  <a:pt x="160" y="354"/>
                </a:lnTo>
                <a:lnTo>
                  <a:pt x="157" y="347"/>
                </a:lnTo>
                <a:lnTo>
                  <a:pt x="157" y="345"/>
                </a:lnTo>
                <a:lnTo>
                  <a:pt x="157" y="342"/>
                </a:lnTo>
                <a:lnTo>
                  <a:pt x="155" y="345"/>
                </a:lnTo>
                <a:lnTo>
                  <a:pt x="152" y="347"/>
                </a:lnTo>
                <a:lnTo>
                  <a:pt x="147" y="347"/>
                </a:lnTo>
                <a:lnTo>
                  <a:pt x="147" y="340"/>
                </a:lnTo>
                <a:lnTo>
                  <a:pt x="145" y="337"/>
                </a:lnTo>
                <a:lnTo>
                  <a:pt x="140" y="327"/>
                </a:lnTo>
                <a:lnTo>
                  <a:pt x="137" y="325"/>
                </a:lnTo>
                <a:lnTo>
                  <a:pt x="135" y="325"/>
                </a:lnTo>
                <a:lnTo>
                  <a:pt x="135" y="322"/>
                </a:lnTo>
                <a:lnTo>
                  <a:pt x="130" y="320"/>
                </a:lnTo>
                <a:lnTo>
                  <a:pt x="132" y="322"/>
                </a:lnTo>
                <a:lnTo>
                  <a:pt x="132" y="325"/>
                </a:lnTo>
                <a:lnTo>
                  <a:pt x="132" y="327"/>
                </a:lnTo>
                <a:lnTo>
                  <a:pt x="135" y="330"/>
                </a:lnTo>
                <a:lnTo>
                  <a:pt x="135" y="335"/>
                </a:lnTo>
                <a:lnTo>
                  <a:pt x="132" y="337"/>
                </a:lnTo>
                <a:lnTo>
                  <a:pt x="132" y="340"/>
                </a:lnTo>
                <a:lnTo>
                  <a:pt x="127" y="347"/>
                </a:lnTo>
                <a:lnTo>
                  <a:pt x="122" y="345"/>
                </a:lnTo>
                <a:lnTo>
                  <a:pt x="120" y="342"/>
                </a:lnTo>
                <a:lnTo>
                  <a:pt x="117" y="342"/>
                </a:lnTo>
                <a:lnTo>
                  <a:pt x="120" y="345"/>
                </a:lnTo>
                <a:lnTo>
                  <a:pt x="120" y="347"/>
                </a:lnTo>
                <a:lnTo>
                  <a:pt x="122" y="350"/>
                </a:lnTo>
                <a:lnTo>
                  <a:pt x="117" y="352"/>
                </a:lnTo>
                <a:lnTo>
                  <a:pt x="112" y="352"/>
                </a:lnTo>
                <a:lnTo>
                  <a:pt x="110" y="350"/>
                </a:lnTo>
                <a:lnTo>
                  <a:pt x="110" y="354"/>
                </a:lnTo>
                <a:lnTo>
                  <a:pt x="97" y="362"/>
                </a:lnTo>
                <a:lnTo>
                  <a:pt x="92" y="362"/>
                </a:lnTo>
                <a:lnTo>
                  <a:pt x="92" y="362"/>
                </a:lnTo>
                <a:lnTo>
                  <a:pt x="90" y="362"/>
                </a:lnTo>
                <a:lnTo>
                  <a:pt x="90" y="362"/>
                </a:lnTo>
                <a:lnTo>
                  <a:pt x="90" y="364"/>
                </a:lnTo>
                <a:lnTo>
                  <a:pt x="87" y="364"/>
                </a:lnTo>
                <a:lnTo>
                  <a:pt x="82" y="362"/>
                </a:lnTo>
                <a:lnTo>
                  <a:pt x="75" y="364"/>
                </a:lnTo>
                <a:lnTo>
                  <a:pt x="75" y="367"/>
                </a:lnTo>
                <a:lnTo>
                  <a:pt x="72" y="369"/>
                </a:lnTo>
                <a:lnTo>
                  <a:pt x="72" y="362"/>
                </a:lnTo>
                <a:lnTo>
                  <a:pt x="80" y="354"/>
                </a:lnTo>
                <a:lnTo>
                  <a:pt x="80" y="347"/>
                </a:lnTo>
                <a:lnTo>
                  <a:pt x="77" y="354"/>
                </a:lnTo>
                <a:lnTo>
                  <a:pt x="70" y="359"/>
                </a:lnTo>
                <a:lnTo>
                  <a:pt x="67" y="364"/>
                </a:lnTo>
                <a:lnTo>
                  <a:pt x="65" y="362"/>
                </a:lnTo>
                <a:lnTo>
                  <a:pt x="67" y="359"/>
                </a:lnTo>
                <a:lnTo>
                  <a:pt x="65" y="354"/>
                </a:lnTo>
                <a:lnTo>
                  <a:pt x="70" y="330"/>
                </a:lnTo>
                <a:lnTo>
                  <a:pt x="75" y="325"/>
                </a:lnTo>
                <a:lnTo>
                  <a:pt x="72" y="322"/>
                </a:lnTo>
                <a:lnTo>
                  <a:pt x="67" y="310"/>
                </a:lnTo>
                <a:lnTo>
                  <a:pt x="67" y="300"/>
                </a:lnTo>
                <a:lnTo>
                  <a:pt x="65" y="300"/>
                </a:lnTo>
                <a:lnTo>
                  <a:pt x="65" y="297"/>
                </a:lnTo>
                <a:lnTo>
                  <a:pt x="65" y="295"/>
                </a:lnTo>
                <a:lnTo>
                  <a:pt x="62" y="292"/>
                </a:lnTo>
                <a:lnTo>
                  <a:pt x="60" y="285"/>
                </a:lnTo>
                <a:lnTo>
                  <a:pt x="57" y="280"/>
                </a:lnTo>
                <a:lnTo>
                  <a:pt x="55" y="277"/>
                </a:lnTo>
                <a:lnTo>
                  <a:pt x="55" y="272"/>
                </a:lnTo>
                <a:lnTo>
                  <a:pt x="47" y="267"/>
                </a:lnTo>
                <a:lnTo>
                  <a:pt x="50" y="272"/>
                </a:lnTo>
                <a:lnTo>
                  <a:pt x="52" y="282"/>
                </a:lnTo>
                <a:lnTo>
                  <a:pt x="42" y="280"/>
                </a:lnTo>
                <a:lnTo>
                  <a:pt x="37" y="272"/>
                </a:lnTo>
                <a:lnTo>
                  <a:pt x="37" y="270"/>
                </a:lnTo>
                <a:lnTo>
                  <a:pt x="32" y="265"/>
                </a:lnTo>
                <a:lnTo>
                  <a:pt x="30" y="262"/>
                </a:lnTo>
                <a:lnTo>
                  <a:pt x="35" y="262"/>
                </a:lnTo>
                <a:lnTo>
                  <a:pt x="37" y="267"/>
                </a:lnTo>
                <a:lnTo>
                  <a:pt x="42" y="270"/>
                </a:lnTo>
                <a:lnTo>
                  <a:pt x="42" y="267"/>
                </a:lnTo>
                <a:lnTo>
                  <a:pt x="42" y="267"/>
                </a:lnTo>
                <a:lnTo>
                  <a:pt x="37" y="262"/>
                </a:lnTo>
                <a:lnTo>
                  <a:pt x="42" y="260"/>
                </a:lnTo>
                <a:lnTo>
                  <a:pt x="45" y="265"/>
                </a:lnTo>
                <a:lnTo>
                  <a:pt x="47" y="262"/>
                </a:lnTo>
                <a:lnTo>
                  <a:pt x="47" y="257"/>
                </a:lnTo>
                <a:lnTo>
                  <a:pt x="42" y="250"/>
                </a:lnTo>
                <a:lnTo>
                  <a:pt x="35" y="250"/>
                </a:lnTo>
                <a:lnTo>
                  <a:pt x="32" y="245"/>
                </a:lnTo>
                <a:lnTo>
                  <a:pt x="27" y="245"/>
                </a:lnTo>
                <a:lnTo>
                  <a:pt x="27" y="242"/>
                </a:lnTo>
                <a:lnTo>
                  <a:pt x="25" y="245"/>
                </a:lnTo>
                <a:lnTo>
                  <a:pt x="20" y="245"/>
                </a:lnTo>
                <a:lnTo>
                  <a:pt x="20" y="242"/>
                </a:lnTo>
                <a:lnTo>
                  <a:pt x="25" y="237"/>
                </a:lnTo>
                <a:lnTo>
                  <a:pt x="20" y="240"/>
                </a:lnTo>
                <a:lnTo>
                  <a:pt x="15" y="235"/>
                </a:lnTo>
                <a:lnTo>
                  <a:pt x="15" y="237"/>
                </a:lnTo>
                <a:lnTo>
                  <a:pt x="17" y="242"/>
                </a:lnTo>
                <a:lnTo>
                  <a:pt x="5" y="232"/>
                </a:lnTo>
                <a:lnTo>
                  <a:pt x="5" y="225"/>
                </a:lnTo>
                <a:lnTo>
                  <a:pt x="2" y="220"/>
                </a:lnTo>
                <a:lnTo>
                  <a:pt x="2" y="220"/>
                </a:lnTo>
                <a:lnTo>
                  <a:pt x="0" y="217"/>
                </a:lnTo>
                <a:lnTo>
                  <a:pt x="2" y="212"/>
                </a:lnTo>
                <a:lnTo>
                  <a:pt x="7" y="207"/>
                </a:lnTo>
                <a:lnTo>
                  <a:pt x="10" y="207"/>
                </a:lnTo>
                <a:lnTo>
                  <a:pt x="12" y="200"/>
                </a:lnTo>
                <a:lnTo>
                  <a:pt x="12" y="192"/>
                </a:lnTo>
                <a:lnTo>
                  <a:pt x="12" y="187"/>
                </a:lnTo>
                <a:lnTo>
                  <a:pt x="15" y="187"/>
                </a:lnTo>
                <a:lnTo>
                  <a:pt x="17" y="187"/>
                </a:lnTo>
                <a:lnTo>
                  <a:pt x="22" y="177"/>
                </a:lnTo>
                <a:lnTo>
                  <a:pt x="20" y="172"/>
                </a:lnTo>
                <a:lnTo>
                  <a:pt x="20" y="165"/>
                </a:lnTo>
                <a:lnTo>
                  <a:pt x="20" y="157"/>
                </a:lnTo>
                <a:lnTo>
                  <a:pt x="25" y="160"/>
                </a:lnTo>
                <a:lnTo>
                  <a:pt x="27" y="150"/>
                </a:lnTo>
                <a:lnTo>
                  <a:pt x="27" y="142"/>
                </a:lnTo>
                <a:lnTo>
                  <a:pt x="22" y="130"/>
                </a:lnTo>
                <a:lnTo>
                  <a:pt x="30" y="130"/>
                </a:lnTo>
                <a:lnTo>
                  <a:pt x="32" y="132"/>
                </a:lnTo>
                <a:lnTo>
                  <a:pt x="40" y="132"/>
                </a:lnTo>
                <a:lnTo>
                  <a:pt x="45" y="122"/>
                </a:lnTo>
                <a:lnTo>
                  <a:pt x="47" y="110"/>
                </a:lnTo>
                <a:lnTo>
                  <a:pt x="52" y="97"/>
                </a:lnTo>
                <a:lnTo>
                  <a:pt x="47" y="92"/>
                </a:lnTo>
                <a:lnTo>
                  <a:pt x="45" y="90"/>
                </a:lnTo>
                <a:lnTo>
                  <a:pt x="52" y="77"/>
                </a:lnTo>
                <a:lnTo>
                  <a:pt x="57" y="67"/>
                </a:lnTo>
                <a:lnTo>
                  <a:pt x="55" y="62"/>
                </a:lnTo>
                <a:lnTo>
                  <a:pt x="55" y="58"/>
                </a:lnTo>
                <a:lnTo>
                  <a:pt x="65" y="43"/>
                </a:lnTo>
                <a:lnTo>
                  <a:pt x="70" y="40"/>
                </a:lnTo>
                <a:lnTo>
                  <a:pt x="77" y="33"/>
                </a:lnTo>
                <a:lnTo>
                  <a:pt x="80" y="28"/>
                </a:lnTo>
                <a:lnTo>
                  <a:pt x="87" y="25"/>
                </a:lnTo>
                <a:lnTo>
                  <a:pt x="95" y="18"/>
                </a:lnTo>
                <a:lnTo>
                  <a:pt x="100" y="23"/>
                </a:lnTo>
                <a:lnTo>
                  <a:pt x="105" y="25"/>
                </a:lnTo>
                <a:lnTo>
                  <a:pt x="105" y="20"/>
                </a:lnTo>
                <a:lnTo>
                  <a:pt x="105" y="13"/>
                </a:lnTo>
                <a:lnTo>
                  <a:pt x="110" y="8"/>
                </a:lnTo>
                <a:lnTo>
                  <a:pt x="110" y="5"/>
                </a:lnTo>
                <a:lnTo>
                  <a:pt x="107" y="3"/>
                </a:lnTo>
                <a:lnTo>
                  <a:pt x="107" y="3"/>
                </a:lnTo>
                <a:close/>
                <a:moveTo>
                  <a:pt x="35" y="285"/>
                </a:moveTo>
                <a:lnTo>
                  <a:pt x="37" y="287"/>
                </a:lnTo>
                <a:lnTo>
                  <a:pt x="42" y="290"/>
                </a:lnTo>
                <a:lnTo>
                  <a:pt x="45" y="287"/>
                </a:lnTo>
                <a:lnTo>
                  <a:pt x="40" y="282"/>
                </a:lnTo>
                <a:lnTo>
                  <a:pt x="35" y="28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16" name="Freeform 157"/>
          <p:cNvSpPr>
            <a:spLocks/>
          </p:cNvSpPr>
          <p:nvPr/>
        </p:nvSpPr>
        <p:spPr bwMode="auto">
          <a:xfrm>
            <a:off x="9213850" y="4805363"/>
            <a:ext cx="344487" cy="396875"/>
          </a:xfrm>
          <a:custGeom>
            <a:avLst/>
            <a:gdLst>
              <a:gd name="T0" fmla="*/ 30 w 217"/>
              <a:gd name="T1" fmla="*/ 35 h 250"/>
              <a:gd name="T2" fmla="*/ 40 w 217"/>
              <a:gd name="T3" fmla="*/ 28 h 250"/>
              <a:gd name="T4" fmla="*/ 38 w 217"/>
              <a:gd name="T5" fmla="*/ 5 h 250"/>
              <a:gd name="T6" fmla="*/ 53 w 217"/>
              <a:gd name="T7" fmla="*/ 0 h 250"/>
              <a:gd name="T8" fmla="*/ 68 w 217"/>
              <a:gd name="T9" fmla="*/ 15 h 250"/>
              <a:gd name="T10" fmla="*/ 70 w 217"/>
              <a:gd name="T11" fmla="*/ 28 h 250"/>
              <a:gd name="T12" fmla="*/ 98 w 217"/>
              <a:gd name="T13" fmla="*/ 45 h 250"/>
              <a:gd name="T14" fmla="*/ 118 w 217"/>
              <a:gd name="T15" fmla="*/ 45 h 250"/>
              <a:gd name="T16" fmla="*/ 128 w 217"/>
              <a:gd name="T17" fmla="*/ 55 h 250"/>
              <a:gd name="T18" fmla="*/ 135 w 217"/>
              <a:gd name="T19" fmla="*/ 65 h 250"/>
              <a:gd name="T20" fmla="*/ 128 w 217"/>
              <a:gd name="T21" fmla="*/ 80 h 250"/>
              <a:gd name="T22" fmla="*/ 110 w 217"/>
              <a:gd name="T23" fmla="*/ 85 h 250"/>
              <a:gd name="T24" fmla="*/ 113 w 217"/>
              <a:gd name="T25" fmla="*/ 100 h 250"/>
              <a:gd name="T26" fmla="*/ 120 w 217"/>
              <a:gd name="T27" fmla="*/ 110 h 250"/>
              <a:gd name="T28" fmla="*/ 143 w 217"/>
              <a:gd name="T29" fmla="*/ 115 h 250"/>
              <a:gd name="T30" fmla="*/ 163 w 217"/>
              <a:gd name="T31" fmla="*/ 135 h 250"/>
              <a:gd name="T32" fmla="*/ 173 w 217"/>
              <a:gd name="T33" fmla="*/ 155 h 250"/>
              <a:gd name="T34" fmla="*/ 185 w 217"/>
              <a:gd name="T35" fmla="*/ 163 h 250"/>
              <a:gd name="T36" fmla="*/ 192 w 217"/>
              <a:gd name="T37" fmla="*/ 170 h 250"/>
              <a:gd name="T38" fmla="*/ 197 w 217"/>
              <a:gd name="T39" fmla="*/ 178 h 250"/>
              <a:gd name="T40" fmla="*/ 210 w 217"/>
              <a:gd name="T41" fmla="*/ 182 h 250"/>
              <a:gd name="T42" fmla="*/ 212 w 217"/>
              <a:gd name="T43" fmla="*/ 190 h 250"/>
              <a:gd name="T44" fmla="*/ 217 w 217"/>
              <a:gd name="T45" fmla="*/ 200 h 250"/>
              <a:gd name="T46" fmla="*/ 210 w 217"/>
              <a:gd name="T47" fmla="*/ 220 h 250"/>
              <a:gd name="T48" fmla="*/ 210 w 217"/>
              <a:gd name="T49" fmla="*/ 232 h 250"/>
              <a:gd name="T50" fmla="*/ 195 w 217"/>
              <a:gd name="T51" fmla="*/ 230 h 250"/>
              <a:gd name="T52" fmla="*/ 177 w 217"/>
              <a:gd name="T53" fmla="*/ 230 h 250"/>
              <a:gd name="T54" fmla="*/ 185 w 217"/>
              <a:gd name="T55" fmla="*/ 247 h 250"/>
              <a:gd name="T56" fmla="*/ 173 w 217"/>
              <a:gd name="T57" fmla="*/ 240 h 250"/>
              <a:gd name="T58" fmla="*/ 155 w 217"/>
              <a:gd name="T59" fmla="*/ 232 h 250"/>
              <a:gd name="T60" fmla="*/ 163 w 217"/>
              <a:gd name="T61" fmla="*/ 217 h 250"/>
              <a:gd name="T62" fmla="*/ 163 w 217"/>
              <a:gd name="T63" fmla="*/ 205 h 250"/>
              <a:gd name="T64" fmla="*/ 155 w 217"/>
              <a:gd name="T65" fmla="*/ 190 h 250"/>
              <a:gd name="T66" fmla="*/ 148 w 217"/>
              <a:gd name="T67" fmla="*/ 185 h 250"/>
              <a:gd name="T68" fmla="*/ 140 w 217"/>
              <a:gd name="T69" fmla="*/ 170 h 250"/>
              <a:gd name="T70" fmla="*/ 138 w 217"/>
              <a:gd name="T71" fmla="*/ 155 h 250"/>
              <a:gd name="T72" fmla="*/ 130 w 217"/>
              <a:gd name="T73" fmla="*/ 138 h 250"/>
              <a:gd name="T74" fmla="*/ 103 w 217"/>
              <a:gd name="T75" fmla="*/ 120 h 250"/>
              <a:gd name="T76" fmla="*/ 78 w 217"/>
              <a:gd name="T77" fmla="*/ 135 h 250"/>
              <a:gd name="T78" fmla="*/ 58 w 217"/>
              <a:gd name="T79" fmla="*/ 125 h 250"/>
              <a:gd name="T80" fmla="*/ 43 w 217"/>
              <a:gd name="T81" fmla="*/ 135 h 250"/>
              <a:gd name="T82" fmla="*/ 35 w 217"/>
              <a:gd name="T83" fmla="*/ 115 h 250"/>
              <a:gd name="T84" fmla="*/ 35 w 217"/>
              <a:gd name="T85" fmla="*/ 103 h 250"/>
              <a:gd name="T86" fmla="*/ 35 w 217"/>
              <a:gd name="T87" fmla="*/ 85 h 250"/>
              <a:gd name="T88" fmla="*/ 18 w 217"/>
              <a:gd name="T89" fmla="*/ 88 h 250"/>
              <a:gd name="T90" fmla="*/ 15 w 217"/>
              <a:gd name="T91" fmla="*/ 68 h 250"/>
              <a:gd name="T92" fmla="*/ 0 w 217"/>
              <a:gd name="T93" fmla="*/ 58 h 250"/>
              <a:gd name="T94" fmla="*/ 13 w 217"/>
              <a:gd name="T95" fmla="*/ 48 h 250"/>
              <a:gd name="T96" fmla="*/ 13 w 217"/>
              <a:gd name="T97" fmla="*/ 3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250">
                <a:moveTo>
                  <a:pt x="25" y="28"/>
                </a:moveTo>
                <a:lnTo>
                  <a:pt x="28" y="30"/>
                </a:lnTo>
                <a:lnTo>
                  <a:pt x="30" y="35"/>
                </a:lnTo>
                <a:lnTo>
                  <a:pt x="38" y="33"/>
                </a:lnTo>
                <a:lnTo>
                  <a:pt x="43" y="35"/>
                </a:lnTo>
                <a:lnTo>
                  <a:pt x="40" y="28"/>
                </a:lnTo>
                <a:lnTo>
                  <a:pt x="40" y="20"/>
                </a:lnTo>
                <a:lnTo>
                  <a:pt x="38" y="15"/>
                </a:lnTo>
                <a:lnTo>
                  <a:pt x="38" y="5"/>
                </a:lnTo>
                <a:lnTo>
                  <a:pt x="43" y="3"/>
                </a:lnTo>
                <a:lnTo>
                  <a:pt x="43" y="0"/>
                </a:lnTo>
                <a:lnTo>
                  <a:pt x="53" y="0"/>
                </a:lnTo>
                <a:lnTo>
                  <a:pt x="55" y="3"/>
                </a:lnTo>
                <a:lnTo>
                  <a:pt x="63" y="8"/>
                </a:lnTo>
                <a:lnTo>
                  <a:pt x="68" y="15"/>
                </a:lnTo>
                <a:lnTo>
                  <a:pt x="73" y="18"/>
                </a:lnTo>
                <a:lnTo>
                  <a:pt x="73" y="23"/>
                </a:lnTo>
                <a:lnTo>
                  <a:pt x="70" y="28"/>
                </a:lnTo>
                <a:lnTo>
                  <a:pt x="80" y="38"/>
                </a:lnTo>
                <a:lnTo>
                  <a:pt x="85" y="45"/>
                </a:lnTo>
                <a:lnTo>
                  <a:pt x="98" y="45"/>
                </a:lnTo>
                <a:lnTo>
                  <a:pt x="103" y="48"/>
                </a:lnTo>
                <a:lnTo>
                  <a:pt x="110" y="45"/>
                </a:lnTo>
                <a:lnTo>
                  <a:pt x="118" y="45"/>
                </a:lnTo>
                <a:lnTo>
                  <a:pt x="120" y="50"/>
                </a:lnTo>
                <a:lnTo>
                  <a:pt x="128" y="50"/>
                </a:lnTo>
                <a:lnTo>
                  <a:pt x="128" y="55"/>
                </a:lnTo>
                <a:lnTo>
                  <a:pt x="128" y="60"/>
                </a:lnTo>
                <a:lnTo>
                  <a:pt x="135" y="63"/>
                </a:lnTo>
                <a:lnTo>
                  <a:pt x="135" y="65"/>
                </a:lnTo>
                <a:lnTo>
                  <a:pt x="133" y="68"/>
                </a:lnTo>
                <a:lnTo>
                  <a:pt x="130" y="78"/>
                </a:lnTo>
                <a:lnTo>
                  <a:pt x="128" y="80"/>
                </a:lnTo>
                <a:lnTo>
                  <a:pt x="120" y="83"/>
                </a:lnTo>
                <a:lnTo>
                  <a:pt x="113" y="85"/>
                </a:lnTo>
                <a:lnTo>
                  <a:pt x="110" y="85"/>
                </a:lnTo>
                <a:lnTo>
                  <a:pt x="110" y="88"/>
                </a:lnTo>
                <a:lnTo>
                  <a:pt x="115" y="95"/>
                </a:lnTo>
                <a:lnTo>
                  <a:pt x="113" y="100"/>
                </a:lnTo>
                <a:lnTo>
                  <a:pt x="113" y="103"/>
                </a:lnTo>
                <a:lnTo>
                  <a:pt x="118" y="103"/>
                </a:lnTo>
                <a:lnTo>
                  <a:pt x="120" y="110"/>
                </a:lnTo>
                <a:lnTo>
                  <a:pt x="130" y="110"/>
                </a:lnTo>
                <a:lnTo>
                  <a:pt x="138" y="115"/>
                </a:lnTo>
                <a:lnTo>
                  <a:pt x="143" y="115"/>
                </a:lnTo>
                <a:lnTo>
                  <a:pt x="150" y="125"/>
                </a:lnTo>
                <a:lnTo>
                  <a:pt x="158" y="128"/>
                </a:lnTo>
                <a:lnTo>
                  <a:pt x="163" y="135"/>
                </a:lnTo>
                <a:lnTo>
                  <a:pt x="163" y="140"/>
                </a:lnTo>
                <a:lnTo>
                  <a:pt x="170" y="148"/>
                </a:lnTo>
                <a:lnTo>
                  <a:pt x="173" y="155"/>
                </a:lnTo>
                <a:lnTo>
                  <a:pt x="175" y="158"/>
                </a:lnTo>
                <a:lnTo>
                  <a:pt x="182" y="158"/>
                </a:lnTo>
                <a:lnTo>
                  <a:pt x="185" y="163"/>
                </a:lnTo>
                <a:lnTo>
                  <a:pt x="185" y="165"/>
                </a:lnTo>
                <a:lnTo>
                  <a:pt x="190" y="170"/>
                </a:lnTo>
                <a:lnTo>
                  <a:pt x="192" y="170"/>
                </a:lnTo>
                <a:lnTo>
                  <a:pt x="195" y="170"/>
                </a:lnTo>
                <a:lnTo>
                  <a:pt x="195" y="175"/>
                </a:lnTo>
                <a:lnTo>
                  <a:pt x="197" y="178"/>
                </a:lnTo>
                <a:lnTo>
                  <a:pt x="202" y="178"/>
                </a:lnTo>
                <a:lnTo>
                  <a:pt x="207" y="182"/>
                </a:lnTo>
                <a:lnTo>
                  <a:pt x="210" y="182"/>
                </a:lnTo>
                <a:lnTo>
                  <a:pt x="215" y="180"/>
                </a:lnTo>
                <a:lnTo>
                  <a:pt x="215" y="185"/>
                </a:lnTo>
                <a:lnTo>
                  <a:pt x="212" y="190"/>
                </a:lnTo>
                <a:lnTo>
                  <a:pt x="212" y="195"/>
                </a:lnTo>
                <a:lnTo>
                  <a:pt x="212" y="200"/>
                </a:lnTo>
                <a:lnTo>
                  <a:pt x="217" y="200"/>
                </a:lnTo>
                <a:lnTo>
                  <a:pt x="217" y="205"/>
                </a:lnTo>
                <a:lnTo>
                  <a:pt x="210" y="212"/>
                </a:lnTo>
                <a:lnTo>
                  <a:pt x="210" y="220"/>
                </a:lnTo>
                <a:lnTo>
                  <a:pt x="212" y="222"/>
                </a:lnTo>
                <a:lnTo>
                  <a:pt x="215" y="230"/>
                </a:lnTo>
                <a:lnTo>
                  <a:pt x="210" y="232"/>
                </a:lnTo>
                <a:lnTo>
                  <a:pt x="205" y="232"/>
                </a:lnTo>
                <a:lnTo>
                  <a:pt x="197" y="230"/>
                </a:lnTo>
                <a:lnTo>
                  <a:pt x="195" y="230"/>
                </a:lnTo>
                <a:lnTo>
                  <a:pt x="192" y="225"/>
                </a:lnTo>
                <a:lnTo>
                  <a:pt x="182" y="227"/>
                </a:lnTo>
                <a:lnTo>
                  <a:pt x="177" y="230"/>
                </a:lnTo>
                <a:lnTo>
                  <a:pt x="185" y="237"/>
                </a:lnTo>
                <a:lnTo>
                  <a:pt x="182" y="242"/>
                </a:lnTo>
                <a:lnTo>
                  <a:pt x="185" y="247"/>
                </a:lnTo>
                <a:lnTo>
                  <a:pt x="185" y="250"/>
                </a:lnTo>
                <a:lnTo>
                  <a:pt x="177" y="247"/>
                </a:lnTo>
                <a:lnTo>
                  <a:pt x="173" y="240"/>
                </a:lnTo>
                <a:lnTo>
                  <a:pt x="165" y="240"/>
                </a:lnTo>
                <a:lnTo>
                  <a:pt x="163" y="235"/>
                </a:lnTo>
                <a:lnTo>
                  <a:pt x="155" y="232"/>
                </a:lnTo>
                <a:lnTo>
                  <a:pt x="158" y="230"/>
                </a:lnTo>
                <a:lnTo>
                  <a:pt x="163" y="225"/>
                </a:lnTo>
                <a:lnTo>
                  <a:pt x="163" y="217"/>
                </a:lnTo>
                <a:lnTo>
                  <a:pt x="160" y="212"/>
                </a:lnTo>
                <a:lnTo>
                  <a:pt x="163" y="207"/>
                </a:lnTo>
                <a:lnTo>
                  <a:pt x="163" y="205"/>
                </a:lnTo>
                <a:lnTo>
                  <a:pt x="163" y="197"/>
                </a:lnTo>
                <a:lnTo>
                  <a:pt x="163" y="195"/>
                </a:lnTo>
                <a:lnTo>
                  <a:pt x="155" y="190"/>
                </a:lnTo>
                <a:lnTo>
                  <a:pt x="158" y="187"/>
                </a:lnTo>
                <a:lnTo>
                  <a:pt x="153" y="185"/>
                </a:lnTo>
                <a:lnTo>
                  <a:pt x="148" y="185"/>
                </a:lnTo>
                <a:lnTo>
                  <a:pt x="143" y="178"/>
                </a:lnTo>
                <a:lnTo>
                  <a:pt x="138" y="175"/>
                </a:lnTo>
                <a:lnTo>
                  <a:pt x="140" y="170"/>
                </a:lnTo>
                <a:lnTo>
                  <a:pt x="140" y="163"/>
                </a:lnTo>
                <a:lnTo>
                  <a:pt x="138" y="158"/>
                </a:lnTo>
                <a:lnTo>
                  <a:pt x="138" y="155"/>
                </a:lnTo>
                <a:lnTo>
                  <a:pt x="140" y="150"/>
                </a:lnTo>
                <a:lnTo>
                  <a:pt x="138" y="143"/>
                </a:lnTo>
                <a:lnTo>
                  <a:pt x="130" y="138"/>
                </a:lnTo>
                <a:lnTo>
                  <a:pt x="118" y="130"/>
                </a:lnTo>
                <a:lnTo>
                  <a:pt x="115" y="123"/>
                </a:lnTo>
                <a:lnTo>
                  <a:pt x="103" y="120"/>
                </a:lnTo>
                <a:lnTo>
                  <a:pt x="95" y="123"/>
                </a:lnTo>
                <a:lnTo>
                  <a:pt x="88" y="133"/>
                </a:lnTo>
                <a:lnTo>
                  <a:pt x="78" y="135"/>
                </a:lnTo>
                <a:lnTo>
                  <a:pt x="73" y="130"/>
                </a:lnTo>
                <a:lnTo>
                  <a:pt x="68" y="130"/>
                </a:lnTo>
                <a:lnTo>
                  <a:pt x="58" y="125"/>
                </a:lnTo>
                <a:lnTo>
                  <a:pt x="50" y="128"/>
                </a:lnTo>
                <a:lnTo>
                  <a:pt x="50" y="135"/>
                </a:lnTo>
                <a:lnTo>
                  <a:pt x="43" y="135"/>
                </a:lnTo>
                <a:lnTo>
                  <a:pt x="35" y="140"/>
                </a:lnTo>
                <a:lnTo>
                  <a:pt x="35" y="125"/>
                </a:lnTo>
                <a:lnTo>
                  <a:pt x="35" y="115"/>
                </a:lnTo>
                <a:lnTo>
                  <a:pt x="33" y="110"/>
                </a:lnTo>
                <a:lnTo>
                  <a:pt x="35" y="105"/>
                </a:lnTo>
                <a:lnTo>
                  <a:pt x="35" y="103"/>
                </a:lnTo>
                <a:lnTo>
                  <a:pt x="33" y="95"/>
                </a:lnTo>
                <a:lnTo>
                  <a:pt x="35" y="90"/>
                </a:lnTo>
                <a:lnTo>
                  <a:pt x="35" y="85"/>
                </a:lnTo>
                <a:lnTo>
                  <a:pt x="25" y="85"/>
                </a:lnTo>
                <a:lnTo>
                  <a:pt x="20" y="90"/>
                </a:lnTo>
                <a:lnTo>
                  <a:pt x="18" y="88"/>
                </a:lnTo>
                <a:lnTo>
                  <a:pt x="13" y="80"/>
                </a:lnTo>
                <a:lnTo>
                  <a:pt x="18" y="78"/>
                </a:lnTo>
                <a:lnTo>
                  <a:pt x="15" y="68"/>
                </a:lnTo>
                <a:lnTo>
                  <a:pt x="10" y="63"/>
                </a:lnTo>
                <a:lnTo>
                  <a:pt x="3" y="65"/>
                </a:lnTo>
                <a:lnTo>
                  <a:pt x="0" y="58"/>
                </a:lnTo>
                <a:lnTo>
                  <a:pt x="3" y="50"/>
                </a:lnTo>
                <a:lnTo>
                  <a:pt x="8" y="50"/>
                </a:lnTo>
                <a:lnTo>
                  <a:pt x="13" y="48"/>
                </a:lnTo>
                <a:lnTo>
                  <a:pt x="10" y="43"/>
                </a:lnTo>
                <a:lnTo>
                  <a:pt x="13" y="40"/>
                </a:lnTo>
                <a:lnTo>
                  <a:pt x="13" y="35"/>
                </a:lnTo>
                <a:lnTo>
                  <a:pt x="20" y="33"/>
                </a:lnTo>
                <a:lnTo>
                  <a:pt x="25" y="2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17" name="Freeform 158"/>
          <p:cNvSpPr>
            <a:spLocks noEditPoints="1"/>
          </p:cNvSpPr>
          <p:nvPr/>
        </p:nvSpPr>
        <p:spPr bwMode="auto">
          <a:xfrm>
            <a:off x="9297988" y="4757738"/>
            <a:ext cx="347662" cy="677863"/>
          </a:xfrm>
          <a:custGeom>
            <a:avLst/>
            <a:gdLst>
              <a:gd name="T0" fmla="*/ 7 w 219"/>
              <a:gd name="T1" fmla="*/ 23 h 427"/>
              <a:gd name="T2" fmla="*/ 22 w 219"/>
              <a:gd name="T3" fmla="*/ 28 h 427"/>
              <a:gd name="T4" fmla="*/ 40 w 219"/>
              <a:gd name="T5" fmla="*/ 20 h 427"/>
              <a:gd name="T6" fmla="*/ 60 w 219"/>
              <a:gd name="T7" fmla="*/ 18 h 427"/>
              <a:gd name="T8" fmla="*/ 82 w 219"/>
              <a:gd name="T9" fmla="*/ 0 h 427"/>
              <a:gd name="T10" fmla="*/ 110 w 219"/>
              <a:gd name="T11" fmla="*/ 13 h 427"/>
              <a:gd name="T12" fmla="*/ 117 w 219"/>
              <a:gd name="T13" fmla="*/ 23 h 427"/>
              <a:gd name="T14" fmla="*/ 132 w 219"/>
              <a:gd name="T15" fmla="*/ 48 h 427"/>
              <a:gd name="T16" fmla="*/ 154 w 219"/>
              <a:gd name="T17" fmla="*/ 50 h 427"/>
              <a:gd name="T18" fmla="*/ 154 w 219"/>
              <a:gd name="T19" fmla="*/ 60 h 427"/>
              <a:gd name="T20" fmla="*/ 137 w 219"/>
              <a:gd name="T21" fmla="*/ 65 h 427"/>
              <a:gd name="T22" fmla="*/ 127 w 219"/>
              <a:gd name="T23" fmla="*/ 73 h 427"/>
              <a:gd name="T24" fmla="*/ 120 w 219"/>
              <a:gd name="T25" fmla="*/ 75 h 427"/>
              <a:gd name="T26" fmla="*/ 117 w 219"/>
              <a:gd name="T27" fmla="*/ 90 h 427"/>
              <a:gd name="T28" fmla="*/ 110 w 219"/>
              <a:gd name="T29" fmla="*/ 103 h 427"/>
              <a:gd name="T30" fmla="*/ 100 w 219"/>
              <a:gd name="T31" fmla="*/ 110 h 427"/>
              <a:gd name="T32" fmla="*/ 100 w 219"/>
              <a:gd name="T33" fmla="*/ 133 h 427"/>
              <a:gd name="T34" fmla="*/ 112 w 219"/>
              <a:gd name="T35" fmla="*/ 148 h 427"/>
              <a:gd name="T36" fmla="*/ 124 w 219"/>
              <a:gd name="T37" fmla="*/ 165 h 427"/>
              <a:gd name="T38" fmla="*/ 144 w 219"/>
              <a:gd name="T39" fmla="*/ 188 h 427"/>
              <a:gd name="T40" fmla="*/ 189 w 219"/>
              <a:gd name="T41" fmla="*/ 225 h 427"/>
              <a:gd name="T42" fmla="*/ 197 w 219"/>
              <a:gd name="T43" fmla="*/ 242 h 427"/>
              <a:gd name="T44" fmla="*/ 207 w 219"/>
              <a:gd name="T45" fmla="*/ 262 h 427"/>
              <a:gd name="T46" fmla="*/ 212 w 219"/>
              <a:gd name="T47" fmla="*/ 285 h 427"/>
              <a:gd name="T48" fmla="*/ 214 w 219"/>
              <a:gd name="T49" fmla="*/ 302 h 427"/>
              <a:gd name="T50" fmla="*/ 214 w 219"/>
              <a:gd name="T51" fmla="*/ 307 h 427"/>
              <a:gd name="T52" fmla="*/ 212 w 219"/>
              <a:gd name="T53" fmla="*/ 320 h 427"/>
              <a:gd name="T54" fmla="*/ 212 w 219"/>
              <a:gd name="T55" fmla="*/ 340 h 427"/>
              <a:gd name="T56" fmla="*/ 194 w 219"/>
              <a:gd name="T57" fmla="*/ 357 h 427"/>
              <a:gd name="T58" fmla="*/ 177 w 219"/>
              <a:gd name="T59" fmla="*/ 370 h 427"/>
              <a:gd name="T60" fmla="*/ 149 w 219"/>
              <a:gd name="T61" fmla="*/ 377 h 427"/>
              <a:gd name="T62" fmla="*/ 144 w 219"/>
              <a:gd name="T63" fmla="*/ 375 h 427"/>
              <a:gd name="T64" fmla="*/ 149 w 219"/>
              <a:gd name="T65" fmla="*/ 382 h 427"/>
              <a:gd name="T66" fmla="*/ 144 w 219"/>
              <a:gd name="T67" fmla="*/ 392 h 427"/>
              <a:gd name="T68" fmla="*/ 134 w 219"/>
              <a:gd name="T69" fmla="*/ 395 h 427"/>
              <a:gd name="T70" fmla="*/ 132 w 219"/>
              <a:gd name="T71" fmla="*/ 405 h 427"/>
              <a:gd name="T72" fmla="*/ 117 w 219"/>
              <a:gd name="T73" fmla="*/ 412 h 427"/>
              <a:gd name="T74" fmla="*/ 102 w 219"/>
              <a:gd name="T75" fmla="*/ 427 h 427"/>
              <a:gd name="T76" fmla="*/ 105 w 219"/>
              <a:gd name="T77" fmla="*/ 420 h 427"/>
              <a:gd name="T78" fmla="*/ 100 w 219"/>
              <a:gd name="T79" fmla="*/ 405 h 427"/>
              <a:gd name="T80" fmla="*/ 110 w 219"/>
              <a:gd name="T81" fmla="*/ 385 h 427"/>
              <a:gd name="T82" fmla="*/ 90 w 219"/>
              <a:gd name="T83" fmla="*/ 382 h 427"/>
              <a:gd name="T84" fmla="*/ 100 w 219"/>
              <a:gd name="T85" fmla="*/ 367 h 427"/>
              <a:gd name="T86" fmla="*/ 129 w 219"/>
              <a:gd name="T87" fmla="*/ 362 h 427"/>
              <a:gd name="T88" fmla="*/ 132 w 219"/>
              <a:gd name="T89" fmla="*/ 352 h 427"/>
              <a:gd name="T90" fmla="*/ 144 w 219"/>
              <a:gd name="T91" fmla="*/ 332 h 427"/>
              <a:gd name="T92" fmla="*/ 167 w 219"/>
              <a:gd name="T93" fmla="*/ 312 h 427"/>
              <a:gd name="T94" fmla="*/ 162 w 219"/>
              <a:gd name="T95" fmla="*/ 275 h 427"/>
              <a:gd name="T96" fmla="*/ 159 w 219"/>
              <a:gd name="T97" fmla="*/ 252 h 427"/>
              <a:gd name="T98" fmla="*/ 159 w 219"/>
              <a:gd name="T99" fmla="*/ 230 h 427"/>
              <a:gd name="T100" fmla="*/ 157 w 219"/>
              <a:gd name="T101" fmla="*/ 212 h 427"/>
              <a:gd name="T102" fmla="*/ 142 w 219"/>
              <a:gd name="T103" fmla="*/ 200 h 427"/>
              <a:gd name="T104" fmla="*/ 129 w 219"/>
              <a:gd name="T105" fmla="*/ 188 h 427"/>
              <a:gd name="T106" fmla="*/ 110 w 219"/>
              <a:gd name="T107" fmla="*/ 165 h 427"/>
              <a:gd name="T108" fmla="*/ 77 w 219"/>
              <a:gd name="T109" fmla="*/ 140 h 427"/>
              <a:gd name="T110" fmla="*/ 62 w 219"/>
              <a:gd name="T111" fmla="*/ 125 h 427"/>
              <a:gd name="T112" fmla="*/ 75 w 219"/>
              <a:gd name="T113" fmla="*/ 110 h 427"/>
              <a:gd name="T114" fmla="*/ 75 w 219"/>
              <a:gd name="T115" fmla="*/ 90 h 427"/>
              <a:gd name="T116" fmla="*/ 57 w 219"/>
              <a:gd name="T117" fmla="*/ 75 h 427"/>
              <a:gd name="T118" fmla="*/ 17 w 219"/>
              <a:gd name="T119" fmla="*/ 58 h 427"/>
              <a:gd name="T120" fmla="*/ 2 w 219"/>
              <a:gd name="T121" fmla="*/ 33 h 427"/>
              <a:gd name="T122" fmla="*/ 75 w 219"/>
              <a:gd name="T123" fmla="*/ 385 h 427"/>
              <a:gd name="T124" fmla="*/ 77 w 219"/>
              <a:gd name="T125" fmla="*/ 37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9" h="427">
                <a:moveTo>
                  <a:pt x="0" y="30"/>
                </a:moveTo>
                <a:lnTo>
                  <a:pt x="2" y="28"/>
                </a:lnTo>
                <a:lnTo>
                  <a:pt x="2" y="28"/>
                </a:lnTo>
                <a:lnTo>
                  <a:pt x="5" y="25"/>
                </a:lnTo>
                <a:lnTo>
                  <a:pt x="7" y="23"/>
                </a:lnTo>
                <a:lnTo>
                  <a:pt x="12" y="20"/>
                </a:lnTo>
                <a:lnTo>
                  <a:pt x="17" y="20"/>
                </a:lnTo>
                <a:lnTo>
                  <a:pt x="17" y="25"/>
                </a:lnTo>
                <a:lnTo>
                  <a:pt x="20" y="28"/>
                </a:lnTo>
                <a:lnTo>
                  <a:pt x="22" y="28"/>
                </a:lnTo>
                <a:lnTo>
                  <a:pt x="22" y="23"/>
                </a:lnTo>
                <a:lnTo>
                  <a:pt x="27" y="20"/>
                </a:lnTo>
                <a:lnTo>
                  <a:pt x="32" y="25"/>
                </a:lnTo>
                <a:lnTo>
                  <a:pt x="35" y="20"/>
                </a:lnTo>
                <a:lnTo>
                  <a:pt x="40" y="20"/>
                </a:lnTo>
                <a:lnTo>
                  <a:pt x="40" y="25"/>
                </a:lnTo>
                <a:lnTo>
                  <a:pt x="45" y="23"/>
                </a:lnTo>
                <a:lnTo>
                  <a:pt x="47" y="18"/>
                </a:lnTo>
                <a:lnTo>
                  <a:pt x="52" y="15"/>
                </a:lnTo>
                <a:lnTo>
                  <a:pt x="60" y="18"/>
                </a:lnTo>
                <a:lnTo>
                  <a:pt x="67" y="15"/>
                </a:lnTo>
                <a:lnTo>
                  <a:pt x="67" y="8"/>
                </a:lnTo>
                <a:lnTo>
                  <a:pt x="72" y="5"/>
                </a:lnTo>
                <a:lnTo>
                  <a:pt x="80" y="5"/>
                </a:lnTo>
                <a:lnTo>
                  <a:pt x="82" y="0"/>
                </a:lnTo>
                <a:lnTo>
                  <a:pt x="90" y="5"/>
                </a:lnTo>
                <a:lnTo>
                  <a:pt x="90" y="8"/>
                </a:lnTo>
                <a:lnTo>
                  <a:pt x="95" y="10"/>
                </a:lnTo>
                <a:lnTo>
                  <a:pt x="97" y="13"/>
                </a:lnTo>
                <a:lnTo>
                  <a:pt x="110" y="13"/>
                </a:lnTo>
                <a:lnTo>
                  <a:pt x="112" y="15"/>
                </a:lnTo>
                <a:lnTo>
                  <a:pt x="117" y="13"/>
                </a:lnTo>
                <a:lnTo>
                  <a:pt x="122" y="18"/>
                </a:lnTo>
                <a:lnTo>
                  <a:pt x="122" y="23"/>
                </a:lnTo>
                <a:lnTo>
                  <a:pt x="117" y="23"/>
                </a:lnTo>
                <a:lnTo>
                  <a:pt x="115" y="33"/>
                </a:lnTo>
                <a:lnTo>
                  <a:pt x="117" y="33"/>
                </a:lnTo>
                <a:lnTo>
                  <a:pt x="120" y="38"/>
                </a:lnTo>
                <a:lnTo>
                  <a:pt x="129" y="43"/>
                </a:lnTo>
                <a:lnTo>
                  <a:pt x="132" y="48"/>
                </a:lnTo>
                <a:lnTo>
                  <a:pt x="137" y="48"/>
                </a:lnTo>
                <a:lnTo>
                  <a:pt x="142" y="53"/>
                </a:lnTo>
                <a:lnTo>
                  <a:pt x="147" y="50"/>
                </a:lnTo>
                <a:lnTo>
                  <a:pt x="149" y="53"/>
                </a:lnTo>
                <a:lnTo>
                  <a:pt x="154" y="50"/>
                </a:lnTo>
                <a:lnTo>
                  <a:pt x="159" y="53"/>
                </a:lnTo>
                <a:lnTo>
                  <a:pt x="157" y="53"/>
                </a:lnTo>
                <a:lnTo>
                  <a:pt x="159" y="55"/>
                </a:lnTo>
                <a:lnTo>
                  <a:pt x="157" y="58"/>
                </a:lnTo>
                <a:lnTo>
                  <a:pt x="154" y="60"/>
                </a:lnTo>
                <a:lnTo>
                  <a:pt x="152" y="60"/>
                </a:lnTo>
                <a:lnTo>
                  <a:pt x="147" y="63"/>
                </a:lnTo>
                <a:lnTo>
                  <a:pt x="142" y="63"/>
                </a:lnTo>
                <a:lnTo>
                  <a:pt x="137" y="63"/>
                </a:lnTo>
                <a:lnTo>
                  <a:pt x="137" y="65"/>
                </a:lnTo>
                <a:lnTo>
                  <a:pt x="137" y="70"/>
                </a:lnTo>
                <a:lnTo>
                  <a:pt x="134" y="70"/>
                </a:lnTo>
                <a:lnTo>
                  <a:pt x="134" y="73"/>
                </a:lnTo>
                <a:lnTo>
                  <a:pt x="132" y="70"/>
                </a:lnTo>
                <a:lnTo>
                  <a:pt x="127" y="73"/>
                </a:lnTo>
                <a:lnTo>
                  <a:pt x="124" y="75"/>
                </a:lnTo>
                <a:lnTo>
                  <a:pt x="124" y="75"/>
                </a:lnTo>
                <a:lnTo>
                  <a:pt x="122" y="73"/>
                </a:lnTo>
                <a:lnTo>
                  <a:pt x="120" y="73"/>
                </a:lnTo>
                <a:lnTo>
                  <a:pt x="120" y="75"/>
                </a:lnTo>
                <a:lnTo>
                  <a:pt x="117" y="78"/>
                </a:lnTo>
                <a:lnTo>
                  <a:pt x="120" y="80"/>
                </a:lnTo>
                <a:lnTo>
                  <a:pt x="117" y="85"/>
                </a:lnTo>
                <a:lnTo>
                  <a:pt x="120" y="88"/>
                </a:lnTo>
                <a:lnTo>
                  <a:pt x="117" y="90"/>
                </a:lnTo>
                <a:lnTo>
                  <a:pt x="120" y="93"/>
                </a:lnTo>
                <a:lnTo>
                  <a:pt x="117" y="95"/>
                </a:lnTo>
                <a:lnTo>
                  <a:pt x="115" y="95"/>
                </a:lnTo>
                <a:lnTo>
                  <a:pt x="112" y="103"/>
                </a:lnTo>
                <a:lnTo>
                  <a:pt x="110" y="103"/>
                </a:lnTo>
                <a:lnTo>
                  <a:pt x="107" y="100"/>
                </a:lnTo>
                <a:lnTo>
                  <a:pt x="107" y="103"/>
                </a:lnTo>
                <a:lnTo>
                  <a:pt x="105" y="105"/>
                </a:lnTo>
                <a:lnTo>
                  <a:pt x="102" y="108"/>
                </a:lnTo>
                <a:lnTo>
                  <a:pt x="100" y="110"/>
                </a:lnTo>
                <a:lnTo>
                  <a:pt x="100" y="115"/>
                </a:lnTo>
                <a:lnTo>
                  <a:pt x="102" y="115"/>
                </a:lnTo>
                <a:lnTo>
                  <a:pt x="105" y="118"/>
                </a:lnTo>
                <a:lnTo>
                  <a:pt x="102" y="128"/>
                </a:lnTo>
                <a:lnTo>
                  <a:pt x="100" y="133"/>
                </a:lnTo>
                <a:lnTo>
                  <a:pt x="105" y="138"/>
                </a:lnTo>
                <a:lnTo>
                  <a:pt x="105" y="140"/>
                </a:lnTo>
                <a:lnTo>
                  <a:pt x="100" y="140"/>
                </a:lnTo>
                <a:lnTo>
                  <a:pt x="105" y="143"/>
                </a:lnTo>
                <a:lnTo>
                  <a:pt x="112" y="148"/>
                </a:lnTo>
                <a:lnTo>
                  <a:pt x="120" y="153"/>
                </a:lnTo>
                <a:lnTo>
                  <a:pt x="122" y="153"/>
                </a:lnTo>
                <a:lnTo>
                  <a:pt x="124" y="160"/>
                </a:lnTo>
                <a:lnTo>
                  <a:pt x="124" y="163"/>
                </a:lnTo>
                <a:lnTo>
                  <a:pt x="124" y="165"/>
                </a:lnTo>
                <a:lnTo>
                  <a:pt x="127" y="170"/>
                </a:lnTo>
                <a:lnTo>
                  <a:pt x="127" y="173"/>
                </a:lnTo>
                <a:lnTo>
                  <a:pt x="137" y="183"/>
                </a:lnTo>
                <a:lnTo>
                  <a:pt x="144" y="185"/>
                </a:lnTo>
                <a:lnTo>
                  <a:pt x="144" y="188"/>
                </a:lnTo>
                <a:lnTo>
                  <a:pt x="159" y="195"/>
                </a:lnTo>
                <a:lnTo>
                  <a:pt x="172" y="205"/>
                </a:lnTo>
                <a:lnTo>
                  <a:pt x="174" y="210"/>
                </a:lnTo>
                <a:lnTo>
                  <a:pt x="187" y="217"/>
                </a:lnTo>
                <a:lnTo>
                  <a:pt x="189" y="225"/>
                </a:lnTo>
                <a:lnTo>
                  <a:pt x="189" y="230"/>
                </a:lnTo>
                <a:lnTo>
                  <a:pt x="192" y="230"/>
                </a:lnTo>
                <a:lnTo>
                  <a:pt x="192" y="232"/>
                </a:lnTo>
                <a:lnTo>
                  <a:pt x="197" y="240"/>
                </a:lnTo>
                <a:lnTo>
                  <a:pt x="197" y="242"/>
                </a:lnTo>
                <a:lnTo>
                  <a:pt x="199" y="245"/>
                </a:lnTo>
                <a:lnTo>
                  <a:pt x="199" y="247"/>
                </a:lnTo>
                <a:lnTo>
                  <a:pt x="202" y="252"/>
                </a:lnTo>
                <a:lnTo>
                  <a:pt x="204" y="262"/>
                </a:lnTo>
                <a:lnTo>
                  <a:pt x="207" y="262"/>
                </a:lnTo>
                <a:lnTo>
                  <a:pt x="209" y="272"/>
                </a:lnTo>
                <a:lnTo>
                  <a:pt x="209" y="272"/>
                </a:lnTo>
                <a:lnTo>
                  <a:pt x="209" y="277"/>
                </a:lnTo>
                <a:lnTo>
                  <a:pt x="209" y="282"/>
                </a:lnTo>
                <a:lnTo>
                  <a:pt x="212" y="285"/>
                </a:lnTo>
                <a:lnTo>
                  <a:pt x="209" y="287"/>
                </a:lnTo>
                <a:lnTo>
                  <a:pt x="212" y="295"/>
                </a:lnTo>
                <a:lnTo>
                  <a:pt x="212" y="297"/>
                </a:lnTo>
                <a:lnTo>
                  <a:pt x="214" y="297"/>
                </a:lnTo>
                <a:lnTo>
                  <a:pt x="214" y="302"/>
                </a:lnTo>
                <a:lnTo>
                  <a:pt x="219" y="307"/>
                </a:lnTo>
                <a:lnTo>
                  <a:pt x="217" y="312"/>
                </a:lnTo>
                <a:lnTo>
                  <a:pt x="217" y="312"/>
                </a:lnTo>
                <a:lnTo>
                  <a:pt x="217" y="310"/>
                </a:lnTo>
                <a:lnTo>
                  <a:pt x="214" y="307"/>
                </a:lnTo>
                <a:lnTo>
                  <a:pt x="212" y="310"/>
                </a:lnTo>
                <a:lnTo>
                  <a:pt x="212" y="312"/>
                </a:lnTo>
                <a:lnTo>
                  <a:pt x="214" y="315"/>
                </a:lnTo>
                <a:lnTo>
                  <a:pt x="214" y="317"/>
                </a:lnTo>
                <a:lnTo>
                  <a:pt x="212" y="320"/>
                </a:lnTo>
                <a:lnTo>
                  <a:pt x="212" y="322"/>
                </a:lnTo>
                <a:lnTo>
                  <a:pt x="207" y="327"/>
                </a:lnTo>
                <a:lnTo>
                  <a:pt x="212" y="332"/>
                </a:lnTo>
                <a:lnTo>
                  <a:pt x="209" y="337"/>
                </a:lnTo>
                <a:lnTo>
                  <a:pt x="212" y="340"/>
                </a:lnTo>
                <a:lnTo>
                  <a:pt x="207" y="342"/>
                </a:lnTo>
                <a:lnTo>
                  <a:pt x="204" y="342"/>
                </a:lnTo>
                <a:lnTo>
                  <a:pt x="204" y="350"/>
                </a:lnTo>
                <a:lnTo>
                  <a:pt x="202" y="350"/>
                </a:lnTo>
                <a:lnTo>
                  <a:pt x="194" y="357"/>
                </a:lnTo>
                <a:lnTo>
                  <a:pt x="192" y="360"/>
                </a:lnTo>
                <a:lnTo>
                  <a:pt x="187" y="362"/>
                </a:lnTo>
                <a:lnTo>
                  <a:pt x="184" y="367"/>
                </a:lnTo>
                <a:lnTo>
                  <a:pt x="179" y="367"/>
                </a:lnTo>
                <a:lnTo>
                  <a:pt x="177" y="370"/>
                </a:lnTo>
                <a:lnTo>
                  <a:pt x="167" y="377"/>
                </a:lnTo>
                <a:lnTo>
                  <a:pt x="159" y="377"/>
                </a:lnTo>
                <a:lnTo>
                  <a:pt x="157" y="377"/>
                </a:lnTo>
                <a:lnTo>
                  <a:pt x="152" y="377"/>
                </a:lnTo>
                <a:lnTo>
                  <a:pt x="149" y="377"/>
                </a:lnTo>
                <a:lnTo>
                  <a:pt x="152" y="375"/>
                </a:lnTo>
                <a:lnTo>
                  <a:pt x="149" y="370"/>
                </a:lnTo>
                <a:lnTo>
                  <a:pt x="149" y="375"/>
                </a:lnTo>
                <a:lnTo>
                  <a:pt x="149" y="375"/>
                </a:lnTo>
                <a:lnTo>
                  <a:pt x="144" y="375"/>
                </a:lnTo>
                <a:lnTo>
                  <a:pt x="147" y="377"/>
                </a:lnTo>
                <a:lnTo>
                  <a:pt x="147" y="377"/>
                </a:lnTo>
                <a:lnTo>
                  <a:pt x="144" y="380"/>
                </a:lnTo>
                <a:lnTo>
                  <a:pt x="142" y="377"/>
                </a:lnTo>
                <a:lnTo>
                  <a:pt x="149" y="382"/>
                </a:lnTo>
                <a:lnTo>
                  <a:pt x="147" y="385"/>
                </a:lnTo>
                <a:lnTo>
                  <a:pt x="149" y="387"/>
                </a:lnTo>
                <a:lnTo>
                  <a:pt x="144" y="390"/>
                </a:lnTo>
                <a:lnTo>
                  <a:pt x="139" y="387"/>
                </a:lnTo>
                <a:lnTo>
                  <a:pt x="144" y="392"/>
                </a:lnTo>
                <a:lnTo>
                  <a:pt x="144" y="395"/>
                </a:lnTo>
                <a:lnTo>
                  <a:pt x="142" y="397"/>
                </a:lnTo>
                <a:lnTo>
                  <a:pt x="139" y="397"/>
                </a:lnTo>
                <a:lnTo>
                  <a:pt x="137" y="392"/>
                </a:lnTo>
                <a:lnTo>
                  <a:pt x="134" y="395"/>
                </a:lnTo>
                <a:lnTo>
                  <a:pt x="134" y="397"/>
                </a:lnTo>
                <a:lnTo>
                  <a:pt x="134" y="400"/>
                </a:lnTo>
                <a:lnTo>
                  <a:pt x="137" y="400"/>
                </a:lnTo>
                <a:lnTo>
                  <a:pt x="134" y="402"/>
                </a:lnTo>
                <a:lnTo>
                  <a:pt x="132" y="405"/>
                </a:lnTo>
                <a:lnTo>
                  <a:pt x="129" y="405"/>
                </a:lnTo>
                <a:lnTo>
                  <a:pt x="124" y="407"/>
                </a:lnTo>
                <a:lnTo>
                  <a:pt x="122" y="410"/>
                </a:lnTo>
                <a:lnTo>
                  <a:pt x="120" y="410"/>
                </a:lnTo>
                <a:lnTo>
                  <a:pt x="117" y="412"/>
                </a:lnTo>
                <a:lnTo>
                  <a:pt x="117" y="417"/>
                </a:lnTo>
                <a:lnTo>
                  <a:pt x="115" y="422"/>
                </a:lnTo>
                <a:lnTo>
                  <a:pt x="112" y="422"/>
                </a:lnTo>
                <a:lnTo>
                  <a:pt x="112" y="422"/>
                </a:lnTo>
                <a:lnTo>
                  <a:pt x="102" y="427"/>
                </a:lnTo>
                <a:lnTo>
                  <a:pt x="95" y="427"/>
                </a:lnTo>
                <a:lnTo>
                  <a:pt x="100" y="425"/>
                </a:lnTo>
                <a:lnTo>
                  <a:pt x="105" y="422"/>
                </a:lnTo>
                <a:lnTo>
                  <a:pt x="107" y="420"/>
                </a:lnTo>
                <a:lnTo>
                  <a:pt x="105" y="420"/>
                </a:lnTo>
                <a:lnTo>
                  <a:pt x="100" y="417"/>
                </a:lnTo>
                <a:lnTo>
                  <a:pt x="100" y="410"/>
                </a:lnTo>
                <a:lnTo>
                  <a:pt x="102" y="410"/>
                </a:lnTo>
                <a:lnTo>
                  <a:pt x="100" y="410"/>
                </a:lnTo>
                <a:lnTo>
                  <a:pt x="100" y="405"/>
                </a:lnTo>
                <a:lnTo>
                  <a:pt x="100" y="397"/>
                </a:lnTo>
                <a:lnTo>
                  <a:pt x="105" y="390"/>
                </a:lnTo>
                <a:lnTo>
                  <a:pt x="112" y="385"/>
                </a:lnTo>
                <a:lnTo>
                  <a:pt x="115" y="382"/>
                </a:lnTo>
                <a:lnTo>
                  <a:pt x="110" y="385"/>
                </a:lnTo>
                <a:lnTo>
                  <a:pt x="105" y="382"/>
                </a:lnTo>
                <a:lnTo>
                  <a:pt x="100" y="385"/>
                </a:lnTo>
                <a:lnTo>
                  <a:pt x="97" y="382"/>
                </a:lnTo>
                <a:lnTo>
                  <a:pt x="95" y="382"/>
                </a:lnTo>
                <a:lnTo>
                  <a:pt x="90" y="382"/>
                </a:lnTo>
                <a:lnTo>
                  <a:pt x="92" y="380"/>
                </a:lnTo>
                <a:lnTo>
                  <a:pt x="90" y="377"/>
                </a:lnTo>
                <a:lnTo>
                  <a:pt x="90" y="375"/>
                </a:lnTo>
                <a:lnTo>
                  <a:pt x="95" y="370"/>
                </a:lnTo>
                <a:lnTo>
                  <a:pt x="100" y="367"/>
                </a:lnTo>
                <a:lnTo>
                  <a:pt x="105" y="360"/>
                </a:lnTo>
                <a:lnTo>
                  <a:pt x="110" y="360"/>
                </a:lnTo>
                <a:lnTo>
                  <a:pt x="112" y="362"/>
                </a:lnTo>
                <a:lnTo>
                  <a:pt x="124" y="360"/>
                </a:lnTo>
                <a:lnTo>
                  <a:pt x="129" y="362"/>
                </a:lnTo>
                <a:lnTo>
                  <a:pt x="129" y="367"/>
                </a:lnTo>
                <a:lnTo>
                  <a:pt x="139" y="365"/>
                </a:lnTo>
                <a:lnTo>
                  <a:pt x="137" y="360"/>
                </a:lnTo>
                <a:lnTo>
                  <a:pt x="137" y="357"/>
                </a:lnTo>
                <a:lnTo>
                  <a:pt x="132" y="352"/>
                </a:lnTo>
                <a:lnTo>
                  <a:pt x="127" y="350"/>
                </a:lnTo>
                <a:lnTo>
                  <a:pt x="124" y="340"/>
                </a:lnTo>
                <a:lnTo>
                  <a:pt x="132" y="337"/>
                </a:lnTo>
                <a:lnTo>
                  <a:pt x="139" y="337"/>
                </a:lnTo>
                <a:lnTo>
                  <a:pt x="144" y="332"/>
                </a:lnTo>
                <a:lnTo>
                  <a:pt x="152" y="327"/>
                </a:lnTo>
                <a:lnTo>
                  <a:pt x="159" y="325"/>
                </a:lnTo>
                <a:lnTo>
                  <a:pt x="159" y="322"/>
                </a:lnTo>
                <a:lnTo>
                  <a:pt x="164" y="320"/>
                </a:lnTo>
                <a:lnTo>
                  <a:pt x="167" y="312"/>
                </a:lnTo>
                <a:lnTo>
                  <a:pt x="167" y="305"/>
                </a:lnTo>
                <a:lnTo>
                  <a:pt x="169" y="297"/>
                </a:lnTo>
                <a:lnTo>
                  <a:pt x="167" y="292"/>
                </a:lnTo>
                <a:lnTo>
                  <a:pt x="167" y="285"/>
                </a:lnTo>
                <a:lnTo>
                  <a:pt x="162" y="275"/>
                </a:lnTo>
                <a:lnTo>
                  <a:pt x="157" y="272"/>
                </a:lnTo>
                <a:lnTo>
                  <a:pt x="154" y="262"/>
                </a:lnTo>
                <a:lnTo>
                  <a:pt x="157" y="262"/>
                </a:lnTo>
                <a:lnTo>
                  <a:pt x="162" y="260"/>
                </a:lnTo>
                <a:lnTo>
                  <a:pt x="159" y="252"/>
                </a:lnTo>
                <a:lnTo>
                  <a:pt x="157" y="250"/>
                </a:lnTo>
                <a:lnTo>
                  <a:pt x="157" y="242"/>
                </a:lnTo>
                <a:lnTo>
                  <a:pt x="164" y="235"/>
                </a:lnTo>
                <a:lnTo>
                  <a:pt x="164" y="230"/>
                </a:lnTo>
                <a:lnTo>
                  <a:pt x="159" y="230"/>
                </a:lnTo>
                <a:lnTo>
                  <a:pt x="159" y="225"/>
                </a:lnTo>
                <a:lnTo>
                  <a:pt x="159" y="220"/>
                </a:lnTo>
                <a:lnTo>
                  <a:pt x="162" y="215"/>
                </a:lnTo>
                <a:lnTo>
                  <a:pt x="162" y="210"/>
                </a:lnTo>
                <a:lnTo>
                  <a:pt x="157" y="212"/>
                </a:lnTo>
                <a:lnTo>
                  <a:pt x="154" y="212"/>
                </a:lnTo>
                <a:lnTo>
                  <a:pt x="149" y="208"/>
                </a:lnTo>
                <a:lnTo>
                  <a:pt x="144" y="208"/>
                </a:lnTo>
                <a:lnTo>
                  <a:pt x="142" y="205"/>
                </a:lnTo>
                <a:lnTo>
                  <a:pt x="142" y="200"/>
                </a:lnTo>
                <a:lnTo>
                  <a:pt x="139" y="200"/>
                </a:lnTo>
                <a:lnTo>
                  <a:pt x="137" y="200"/>
                </a:lnTo>
                <a:lnTo>
                  <a:pt x="132" y="195"/>
                </a:lnTo>
                <a:lnTo>
                  <a:pt x="132" y="193"/>
                </a:lnTo>
                <a:lnTo>
                  <a:pt x="129" y="188"/>
                </a:lnTo>
                <a:lnTo>
                  <a:pt x="122" y="188"/>
                </a:lnTo>
                <a:lnTo>
                  <a:pt x="120" y="185"/>
                </a:lnTo>
                <a:lnTo>
                  <a:pt x="117" y="178"/>
                </a:lnTo>
                <a:lnTo>
                  <a:pt x="110" y="170"/>
                </a:lnTo>
                <a:lnTo>
                  <a:pt x="110" y="165"/>
                </a:lnTo>
                <a:lnTo>
                  <a:pt x="105" y="158"/>
                </a:lnTo>
                <a:lnTo>
                  <a:pt x="97" y="155"/>
                </a:lnTo>
                <a:lnTo>
                  <a:pt x="90" y="145"/>
                </a:lnTo>
                <a:lnTo>
                  <a:pt x="85" y="145"/>
                </a:lnTo>
                <a:lnTo>
                  <a:pt x="77" y="140"/>
                </a:lnTo>
                <a:lnTo>
                  <a:pt x="67" y="140"/>
                </a:lnTo>
                <a:lnTo>
                  <a:pt x="65" y="133"/>
                </a:lnTo>
                <a:lnTo>
                  <a:pt x="60" y="133"/>
                </a:lnTo>
                <a:lnTo>
                  <a:pt x="60" y="130"/>
                </a:lnTo>
                <a:lnTo>
                  <a:pt x="62" y="125"/>
                </a:lnTo>
                <a:lnTo>
                  <a:pt x="57" y="118"/>
                </a:lnTo>
                <a:lnTo>
                  <a:pt x="57" y="115"/>
                </a:lnTo>
                <a:lnTo>
                  <a:pt x="60" y="115"/>
                </a:lnTo>
                <a:lnTo>
                  <a:pt x="67" y="113"/>
                </a:lnTo>
                <a:lnTo>
                  <a:pt x="75" y="110"/>
                </a:lnTo>
                <a:lnTo>
                  <a:pt x="77" y="108"/>
                </a:lnTo>
                <a:lnTo>
                  <a:pt x="80" y="98"/>
                </a:lnTo>
                <a:lnTo>
                  <a:pt x="82" y="95"/>
                </a:lnTo>
                <a:lnTo>
                  <a:pt x="82" y="93"/>
                </a:lnTo>
                <a:lnTo>
                  <a:pt x="75" y="90"/>
                </a:lnTo>
                <a:lnTo>
                  <a:pt x="75" y="85"/>
                </a:lnTo>
                <a:lnTo>
                  <a:pt x="75" y="80"/>
                </a:lnTo>
                <a:lnTo>
                  <a:pt x="67" y="80"/>
                </a:lnTo>
                <a:lnTo>
                  <a:pt x="65" y="75"/>
                </a:lnTo>
                <a:lnTo>
                  <a:pt x="57" y="75"/>
                </a:lnTo>
                <a:lnTo>
                  <a:pt x="50" y="78"/>
                </a:lnTo>
                <a:lnTo>
                  <a:pt x="45" y="75"/>
                </a:lnTo>
                <a:lnTo>
                  <a:pt x="32" y="75"/>
                </a:lnTo>
                <a:lnTo>
                  <a:pt x="27" y="68"/>
                </a:lnTo>
                <a:lnTo>
                  <a:pt x="17" y="58"/>
                </a:lnTo>
                <a:lnTo>
                  <a:pt x="20" y="53"/>
                </a:lnTo>
                <a:lnTo>
                  <a:pt x="20" y="48"/>
                </a:lnTo>
                <a:lnTo>
                  <a:pt x="15" y="45"/>
                </a:lnTo>
                <a:lnTo>
                  <a:pt x="10" y="38"/>
                </a:lnTo>
                <a:lnTo>
                  <a:pt x="2" y="33"/>
                </a:lnTo>
                <a:lnTo>
                  <a:pt x="0" y="30"/>
                </a:lnTo>
                <a:lnTo>
                  <a:pt x="0" y="30"/>
                </a:lnTo>
                <a:close/>
                <a:moveTo>
                  <a:pt x="72" y="377"/>
                </a:moveTo>
                <a:lnTo>
                  <a:pt x="75" y="382"/>
                </a:lnTo>
                <a:lnTo>
                  <a:pt x="75" y="385"/>
                </a:lnTo>
                <a:lnTo>
                  <a:pt x="77" y="387"/>
                </a:lnTo>
                <a:lnTo>
                  <a:pt x="80" y="387"/>
                </a:lnTo>
                <a:lnTo>
                  <a:pt x="82" y="380"/>
                </a:lnTo>
                <a:lnTo>
                  <a:pt x="80" y="377"/>
                </a:lnTo>
                <a:lnTo>
                  <a:pt x="77" y="375"/>
                </a:lnTo>
                <a:lnTo>
                  <a:pt x="72" y="37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18" name="Freeform 159"/>
          <p:cNvSpPr>
            <a:spLocks/>
          </p:cNvSpPr>
          <p:nvPr/>
        </p:nvSpPr>
        <p:spPr bwMode="auto">
          <a:xfrm>
            <a:off x="9650413" y="4865688"/>
            <a:ext cx="15875" cy="7938"/>
          </a:xfrm>
          <a:custGeom>
            <a:avLst/>
            <a:gdLst>
              <a:gd name="T0" fmla="*/ 10 w 10"/>
              <a:gd name="T1" fmla="*/ 2 h 5"/>
              <a:gd name="T2" fmla="*/ 5 w 10"/>
              <a:gd name="T3" fmla="*/ 0 h 5"/>
              <a:gd name="T4" fmla="*/ 0 w 10"/>
              <a:gd name="T5" fmla="*/ 0 h 5"/>
              <a:gd name="T6" fmla="*/ 2 w 10"/>
              <a:gd name="T7" fmla="*/ 2 h 5"/>
              <a:gd name="T8" fmla="*/ 5 w 10"/>
              <a:gd name="T9" fmla="*/ 2 h 5"/>
              <a:gd name="T10" fmla="*/ 10 w 10"/>
              <a:gd name="T11" fmla="*/ 5 h 5"/>
              <a:gd name="T12" fmla="*/ 10 w 10"/>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10" y="2"/>
                </a:moveTo>
                <a:lnTo>
                  <a:pt x="5" y="0"/>
                </a:lnTo>
                <a:lnTo>
                  <a:pt x="0" y="0"/>
                </a:lnTo>
                <a:lnTo>
                  <a:pt x="2" y="2"/>
                </a:lnTo>
                <a:lnTo>
                  <a:pt x="5" y="2"/>
                </a:lnTo>
                <a:lnTo>
                  <a:pt x="10" y="5"/>
                </a:lnTo>
                <a:lnTo>
                  <a:pt x="10" y="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19" name="Freeform 160"/>
          <p:cNvSpPr>
            <a:spLocks/>
          </p:cNvSpPr>
          <p:nvPr/>
        </p:nvSpPr>
        <p:spPr bwMode="auto">
          <a:xfrm>
            <a:off x="9582150" y="4908550"/>
            <a:ext cx="100012" cy="87313"/>
          </a:xfrm>
          <a:custGeom>
            <a:avLst/>
            <a:gdLst>
              <a:gd name="T0" fmla="*/ 22 w 25"/>
              <a:gd name="T1" fmla="*/ 1 h 22"/>
              <a:gd name="T2" fmla="*/ 20 w 25"/>
              <a:gd name="T3" fmla="*/ 0 h 22"/>
              <a:gd name="T4" fmla="*/ 18 w 25"/>
              <a:gd name="T5" fmla="*/ 1 h 22"/>
              <a:gd name="T6" fmla="*/ 17 w 25"/>
              <a:gd name="T7" fmla="*/ 0 h 22"/>
              <a:gd name="T8" fmla="*/ 15 w 25"/>
              <a:gd name="T9" fmla="*/ 1 h 22"/>
              <a:gd name="T10" fmla="*/ 14 w 25"/>
              <a:gd name="T11" fmla="*/ 0 h 22"/>
              <a:gd name="T12" fmla="*/ 12 w 25"/>
              <a:gd name="T13" fmla="*/ 1 h 22"/>
              <a:gd name="T14" fmla="*/ 10 w 25"/>
              <a:gd name="T15" fmla="*/ 1 h 22"/>
              <a:gd name="T16" fmla="*/ 8 w 25"/>
              <a:gd name="T17" fmla="*/ 2 h 22"/>
              <a:gd name="T18" fmla="*/ 6 w 25"/>
              <a:gd name="T19" fmla="*/ 3 h 22"/>
              <a:gd name="T20" fmla="*/ 6 w 25"/>
              <a:gd name="T21" fmla="*/ 5 h 22"/>
              <a:gd name="T22" fmla="*/ 3 w 25"/>
              <a:gd name="T23" fmla="*/ 6 h 22"/>
              <a:gd name="T24" fmla="*/ 0 w 25"/>
              <a:gd name="T25" fmla="*/ 9 h 22"/>
              <a:gd name="T26" fmla="*/ 1 w 25"/>
              <a:gd name="T27" fmla="*/ 11 h 22"/>
              <a:gd name="T28" fmla="*/ 1 w 25"/>
              <a:gd name="T29" fmla="*/ 15 h 22"/>
              <a:gd name="T30" fmla="*/ 2 w 25"/>
              <a:gd name="T31" fmla="*/ 17 h 22"/>
              <a:gd name="T32" fmla="*/ 2 w 25"/>
              <a:gd name="T33" fmla="*/ 18 h 22"/>
              <a:gd name="T34" fmla="*/ 4 w 25"/>
              <a:gd name="T35" fmla="*/ 20 h 22"/>
              <a:gd name="T36" fmla="*/ 6 w 25"/>
              <a:gd name="T37" fmla="*/ 20 h 22"/>
              <a:gd name="T38" fmla="*/ 8 w 25"/>
              <a:gd name="T39" fmla="*/ 21 h 22"/>
              <a:gd name="T40" fmla="*/ 9 w 25"/>
              <a:gd name="T41" fmla="*/ 21 h 22"/>
              <a:gd name="T42" fmla="*/ 11 w 25"/>
              <a:gd name="T43" fmla="*/ 22 h 22"/>
              <a:gd name="T44" fmla="*/ 12 w 25"/>
              <a:gd name="T45" fmla="*/ 22 h 22"/>
              <a:gd name="T46" fmla="*/ 13 w 25"/>
              <a:gd name="T47" fmla="*/ 20 h 22"/>
              <a:gd name="T48" fmla="*/ 15 w 25"/>
              <a:gd name="T49" fmla="*/ 20 h 22"/>
              <a:gd name="T50" fmla="*/ 16 w 25"/>
              <a:gd name="T51" fmla="*/ 20 h 22"/>
              <a:gd name="T52" fmla="*/ 18 w 25"/>
              <a:gd name="T53" fmla="*/ 18 h 22"/>
              <a:gd name="T54" fmla="*/ 18 w 25"/>
              <a:gd name="T55" fmla="*/ 17 h 22"/>
              <a:gd name="T56" fmla="*/ 20 w 25"/>
              <a:gd name="T57" fmla="*/ 17 h 22"/>
              <a:gd name="T58" fmla="*/ 21 w 25"/>
              <a:gd name="T59" fmla="*/ 15 h 22"/>
              <a:gd name="T60" fmla="*/ 21 w 25"/>
              <a:gd name="T61" fmla="*/ 13 h 22"/>
              <a:gd name="T62" fmla="*/ 22 w 25"/>
              <a:gd name="T63" fmla="*/ 10 h 22"/>
              <a:gd name="T64" fmla="*/ 23 w 25"/>
              <a:gd name="T65" fmla="*/ 9 h 22"/>
              <a:gd name="T66" fmla="*/ 24 w 25"/>
              <a:gd name="T67" fmla="*/ 8 h 22"/>
              <a:gd name="T68" fmla="*/ 25 w 25"/>
              <a:gd name="T69" fmla="*/ 5 h 22"/>
              <a:gd name="T70" fmla="*/ 24 w 25"/>
              <a:gd name="T71" fmla="*/ 2 h 22"/>
              <a:gd name="T72" fmla="*/ 22 w 25"/>
              <a:gd name="T73"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 h="22">
                <a:moveTo>
                  <a:pt x="22" y="1"/>
                </a:moveTo>
                <a:cubicBezTo>
                  <a:pt x="20" y="0"/>
                  <a:pt x="20" y="0"/>
                  <a:pt x="20" y="0"/>
                </a:cubicBezTo>
                <a:cubicBezTo>
                  <a:pt x="18" y="1"/>
                  <a:pt x="18" y="1"/>
                  <a:pt x="18" y="1"/>
                </a:cubicBezTo>
                <a:cubicBezTo>
                  <a:pt x="18" y="1"/>
                  <a:pt x="17" y="0"/>
                  <a:pt x="17" y="0"/>
                </a:cubicBezTo>
                <a:cubicBezTo>
                  <a:pt x="15" y="1"/>
                  <a:pt x="15" y="1"/>
                  <a:pt x="15" y="1"/>
                </a:cubicBezTo>
                <a:cubicBezTo>
                  <a:pt x="14" y="0"/>
                  <a:pt x="14" y="0"/>
                  <a:pt x="14" y="0"/>
                </a:cubicBezTo>
                <a:cubicBezTo>
                  <a:pt x="12" y="1"/>
                  <a:pt x="12" y="1"/>
                  <a:pt x="12" y="1"/>
                </a:cubicBezTo>
                <a:cubicBezTo>
                  <a:pt x="10" y="1"/>
                  <a:pt x="10" y="1"/>
                  <a:pt x="10" y="1"/>
                </a:cubicBezTo>
                <a:cubicBezTo>
                  <a:pt x="8" y="2"/>
                  <a:pt x="8" y="2"/>
                  <a:pt x="8" y="2"/>
                </a:cubicBezTo>
                <a:cubicBezTo>
                  <a:pt x="6" y="3"/>
                  <a:pt x="6" y="3"/>
                  <a:pt x="6" y="3"/>
                </a:cubicBezTo>
                <a:cubicBezTo>
                  <a:pt x="6" y="5"/>
                  <a:pt x="6" y="5"/>
                  <a:pt x="6" y="5"/>
                </a:cubicBezTo>
                <a:cubicBezTo>
                  <a:pt x="3" y="6"/>
                  <a:pt x="3" y="6"/>
                  <a:pt x="3" y="6"/>
                </a:cubicBezTo>
                <a:cubicBezTo>
                  <a:pt x="0" y="9"/>
                  <a:pt x="0" y="9"/>
                  <a:pt x="0" y="9"/>
                </a:cubicBezTo>
                <a:cubicBezTo>
                  <a:pt x="1" y="11"/>
                  <a:pt x="1" y="11"/>
                  <a:pt x="1" y="11"/>
                </a:cubicBezTo>
                <a:cubicBezTo>
                  <a:pt x="1" y="15"/>
                  <a:pt x="1" y="15"/>
                  <a:pt x="1" y="15"/>
                </a:cubicBezTo>
                <a:cubicBezTo>
                  <a:pt x="2" y="17"/>
                  <a:pt x="2" y="17"/>
                  <a:pt x="2" y="17"/>
                </a:cubicBezTo>
                <a:cubicBezTo>
                  <a:pt x="2" y="18"/>
                  <a:pt x="2" y="18"/>
                  <a:pt x="2" y="18"/>
                </a:cubicBezTo>
                <a:cubicBezTo>
                  <a:pt x="4" y="20"/>
                  <a:pt x="4" y="20"/>
                  <a:pt x="4" y="20"/>
                </a:cubicBezTo>
                <a:cubicBezTo>
                  <a:pt x="6" y="20"/>
                  <a:pt x="6" y="20"/>
                  <a:pt x="6" y="20"/>
                </a:cubicBezTo>
                <a:cubicBezTo>
                  <a:pt x="8" y="21"/>
                  <a:pt x="8" y="21"/>
                  <a:pt x="8" y="21"/>
                </a:cubicBezTo>
                <a:cubicBezTo>
                  <a:pt x="9" y="21"/>
                  <a:pt x="9" y="21"/>
                  <a:pt x="9" y="21"/>
                </a:cubicBezTo>
                <a:cubicBezTo>
                  <a:pt x="11" y="22"/>
                  <a:pt x="11" y="22"/>
                  <a:pt x="11" y="22"/>
                </a:cubicBezTo>
                <a:cubicBezTo>
                  <a:pt x="12" y="22"/>
                  <a:pt x="12" y="22"/>
                  <a:pt x="12" y="22"/>
                </a:cubicBezTo>
                <a:cubicBezTo>
                  <a:pt x="13" y="20"/>
                  <a:pt x="13" y="20"/>
                  <a:pt x="13" y="20"/>
                </a:cubicBezTo>
                <a:cubicBezTo>
                  <a:pt x="15" y="20"/>
                  <a:pt x="15" y="20"/>
                  <a:pt x="15" y="20"/>
                </a:cubicBezTo>
                <a:cubicBezTo>
                  <a:pt x="16" y="20"/>
                  <a:pt x="16" y="20"/>
                  <a:pt x="16" y="20"/>
                </a:cubicBezTo>
                <a:cubicBezTo>
                  <a:pt x="18" y="18"/>
                  <a:pt x="18" y="18"/>
                  <a:pt x="18" y="18"/>
                </a:cubicBezTo>
                <a:cubicBezTo>
                  <a:pt x="18" y="17"/>
                  <a:pt x="18" y="17"/>
                  <a:pt x="18" y="17"/>
                </a:cubicBezTo>
                <a:cubicBezTo>
                  <a:pt x="20" y="17"/>
                  <a:pt x="20" y="17"/>
                  <a:pt x="20" y="17"/>
                </a:cubicBezTo>
                <a:cubicBezTo>
                  <a:pt x="21" y="15"/>
                  <a:pt x="21" y="15"/>
                  <a:pt x="21" y="15"/>
                </a:cubicBezTo>
                <a:cubicBezTo>
                  <a:pt x="21" y="13"/>
                  <a:pt x="21" y="13"/>
                  <a:pt x="21" y="13"/>
                </a:cubicBezTo>
                <a:cubicBezTo>
                  <a:pt x="22" y="10"/>
                  <a:pt x="22" y="10"/>
                  <a:pt x="22" y="10"/>
                </a:cubicBezTo>
                <a:cubicBezTo>
                  <a:pt x="23" y="9"/>
                  <a:pt x="23" y="9"/>
                  <a:pt x="23" y="9"/>
                </a:cubicBezTo>
                <a:cubicBezTo>
                  <a:pt x="24" y="8"/>
                  <a:pt x="24" y="8"/>
                  <a:pt x="24" y="8"/>
                </a:cubicBezTo>
                <a:cubicBezTo>
                  <a:pt x="25" y="5"/>
                  <a:pt x="25" y="5"/>
                  <a:pt x="25" y="5"/>
                </a:cubicBezTo>
                <a:cubicBezTo>
                  <a:pt x="24" y="2"/>
                  <a:pt x="24" y="2"/>
                  <a:pt x="24" y="2"/>
                </a:cubicBezTo>
                <a:lnTo>
                  <a:pt x="22" y="1"/>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20" name="Freeform 161"/>
          <p:cNvSpPr>
            <a:spLocks/>
          </p:cNvSpPr>
          <p:nvPr/>
        </p:nvSpPr>
        <p:spPr bwMode="auto">
          <a:xfrm>
            <a:off x="9324975" y="4849813"/>
            <a:ext cx="4762" cy="3175"/>
          </a:xfrm>
          <a:custGeom>
            <a:avLst/>
            <a:gdLst>
              <a:gd name="T0" fmla="*/ 0 w 3"/>
              <a:gd name="T1" fmla="*/ 0 h 2"/>
              <a:gd name="T2" fmla="*/ 3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3" y="2"/>
                </a:lnTo>
                <a:lnTo>
                  <a:pt x="3" y="2"/>
                </a:lnTo>
                <a:lnTo>
                  <a:pt x="0"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21" name="Freeform 162"/>
          <p:cNvSpPr>
            <a:spLocks/>
          </p:cNvSpPr>
          <p:nvPr/>
        </p:nvSpPr>
        <p:spPr bwMode="auto">
          <a:xfrm>
            <a:off x="7678738" y="4057650"/>
            <a:ext cx="31750" cy="42863"/>
          </a:xfrm>
          <a:custGeom>
            <a:avLst/>
            <a:gdLst>
              <a:gd name="T0" fmla="*/ 20 w 20"/>
              <a:gd name="T1" fmla="*/ 7 h 27"/>
              <a:gd name="T2" fmla="*/ 10 w 20"/>
              <a:gd name="T3" fmla="*/ 0 h 27"/>
              <a:gd name="T4" fmla="*/ 7 w 20"/>
              <a:gd name="T5" fmla="*/ 0 h 27"/>
              <a:gd name="T6" fmla="*/ 0 w 20"/>
              <a:gd name="T7" fmla="*/ 25 h 27"/>
              <a:gd name="T8" fmla="*/ 7 w 20"/>
              <a:gd name="T9" fmla="*/ 22 h 27"/>
              <a:gd name="T10" fmla="*/ 12 w 20"/>
              <a:gd name="T11" fmla="*/ 25 h 27"/>
              <a:gd name="T12" fmla="*/ 17 w 20"/>
              <a:gd name="T13" fmla="*/ 25 h 27"/>
              <a:gd name="T14" fmla="*/ 20 w 20"/>
              <a:gd name="T15" fmla="*/ 27 h 27"/>
              <a:gd name="T16" fmla="*/ 20 w 20"/>
              <a:gd name="T17" fmla="*/ 27 h 27"/>
              <a:gd name="T18" fmla="*/ 20 w 20"/>
              <a:gd name="T19" fmla="*/ 15 h 27"/>
              <a:gd name="T20" fmla="*/ 20 w 20"/>
              <a:gd name="T2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7">
                <a:moveTo>
                  <a:pt x="20" y="7"/>
                </a:moveTo>
                <a:lnTo>
                  <a:pt x="10" y="0"/>
                </a:lnTo>
                <a:lnTo>
                  <a:pt x="7" y="0"/>
                </a:lnTo>
                <a:lnTo>
                  <a:pt x="0" y="25"/>
                </a:lnTo>
                <a:lnTo>
                  <a:pt x="7" y="22"/>
                </a:lnTo>
                <a:lnTo>
                  <a:pt x="12" y="25"/>
                </a:lnTo>
                <a:lnTo>
                  <a:pt x="17" y="25"/>
                </a:lnTo>
                <a:lnTo>
                  <a:pt x="20" y="27"/>
                </a:lnTo>
                <a:lnTo>
                  <a:pt x="20" y="27"/>
                </a:lnTo>
                <a:lnTo>
                  <a:pt x="20" y="15"/>
                </a:lnTo>
                <a:lnTo>
                  <a:pt x="20" y="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22" name="Rectangle 163"/>
          <p:cNvSpPr>
            <a:spLocks noChangeArrowheads="1"/>
          </p:cNvSpPr>
          <p:nvPr/>
        </p:nvSpPr>
        <p:spPr bwMode="auto">
          <a:xfrm>
            <a:off x="9547225" y="4841875"/>
            <a:ext cx="1587" cy="1588"/>
          </a:xfrm>
          <a:prstGeom prst="rect">
            <a:avLst/>
          </a:pr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24" name="Freeform 165"/>
          <p:cNvSpPr>
            <a:spLocks/>
          </p:cNvSpPr>
          <p:nvPr/>
        </p:nvSpPr>
        <p:spPr bwMode="auto">
          <a:xfrm>
            <a:off x="10002838" y="4635500"/>
            <a:ext cx="7937" cy="7938"/>
          </a:xfrm>
          <a:custGeom>
            <a:avLst/>
            <a:gdLst>
              <a:gd name="T0" fmla="*/ 0 w 5"/>
              <a:gd name="T1" fmla="*/ 0 h 5"/>
              <a:gd name="T2" fmla="*/ 2 w 5"/>
              <a:gd name="T3" fmla="*/ 5 h 5"/>
              <a:gd name="T4" fmla="*/ 5 w 5"/>
              <a:gd name="T5" fmla="*/ 5 h 5"/>
              <a:gd name="T6" fmla="*/ 5 w 5"/>
              <a:gd name="T7" fmla="*/ 2 h 5"/>
              <a:gd name="T8" fmla="*/ 2 w 5"/>
              <a:gd name="T9" fmla="*/ 0 h 5"/>
              <a:gd name="T10" fmla="*/ 0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0" y="0"/>
                </a:moveTo>
                <a:lnTo>
                  <a:pt x="2" y="5"/>
                </a:lnTo>
                <a:lnTo>
                  <a:pt x="5" y="5"/>
                </a:lnTo>
                <a:lnTo>
                  <a:pt x="5" y="2"/>
                </a:lnTo>
                <a:lnTo>
                  <a:pt x="2" y="0"/>
                </a:lnTo>
                <a:lnTo>
                  <a:pt x="0"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25" name="Freeform 166"/>
          <p:cNvSpPr>
            <a:spLocks/>
          </p:cNvSpPr>
          <p:nvPr/>
        </p:nvSpPr>
        <p:spPr bwMode="auto">
          <a:xfrm>
            <a:off x="7734300" y="2967038"/>
            <a:ext cx="2589212" cy="1933575"/>
          </a:xfrm>
          <a:custGeom>
            <a:avLst/>
            <a:gdLst>
              <a:gd name="T0" fmla="*/ 1573 w 1631"/>
              <a:gd name="T1" fmla="*/ 212 h 1218"/>
              <a:gd name="T2" fmla="*/ 1519 w 1631"/>
              <a:gd name="T3" fmla="*/ 190 h 1218"/>
              <a:gd name="T4" fmla="*/ 1474 w 1631"/>
              <a:gd name="T5" fmla="*/ 158 h 1218"/>
              <a:gd name="T6" fmla="*/ 1414 w 1631"/>
              <a:gd name="T7" fmla="*/ 140 h 1218"/>
              <a:gd name="T8" fmla="*/ 1364 w 1631"/>
              <a:gd name="T9" fmla="*/ 60 h 1218"/>
              <a:gd name="T10" fmla="*/ 1324 w 1631"/>
              <a:gd name="T11" fmla="*/ 15 h 1218"/>
              <a:gd name="T12" fmla="*/ 1252 w 1631"/>
              <a:gd name="T13" fmla="*/ 0 h 1218"/>
              <a:gd name="T14" fmla="*/ 1187 w 1631"/>
              <a:gd name="T15" fmla="*/ 48 h 1218"/>
              <a:gd name="T16" fmla="*/ 1202 w 1631"/>
              <a:gd name="T17" fmla="*/ 123 h 1218"/>
              <a:gd name="T18" fmla="*/ 1152 w 1631"/>
              <a:gd name="T19" fmla="*/ 177 h 1218"/>
              <a:gd name="T20" fmla="*/ 1259 w 1631"/>
              <a:gd name="T21" fmla="*/ 287 h 1218"/>
              <a:gd name="T22" fmla="*/ 1189 w 1631"/>
              <a:gd name="T23" fmla="*/ 345 h 1218"/>
              <a:gd name="T24" fmla="*/ 1075 w 1631"/>
              <a:gd name="T25" fmla="*/ 407 h 1218"/>
              <a:gd name="T26" fmla="*/ 937 w 1631"/>
              <a:gd name="T27" fmla="*/ 522 h 1218"/>
              <a:gd name="T28" fmla="*/ 710 w 1631"/>
              <a:gd name="T29" fmla="*/ 494 h 1218"/>
              <a:gd name="T30" fmla="*/ 603 w 1631"/>
              <a:gd name="T31" fmla="*/ 412 h 1218"/>
              <a:gd name="T32" fmla="*/ 526 w 1631"/>
              <a:gd name="T33" fmla="*/ 332 h 1218"/>
              <a:gd name="T34" fmla="*/ 456 w 1631"/>
              <a:gd name="T35" fmla="*/ 297 h 1218"/>
              <a:gd name="T36" fmla="*/ 404 w 1631"/>
              <a:gd name="T37" fmla="*/ 302 h 1218"/>
              <a:gd name="T38" fmla="*/ 334 w 1631"/>
              <a:gd name="T39" fmla="*/ 407 h 1218"/>
              <a:gd name="T40" fmla="*/ 294 w 1631"/>
              <a:gd name="T41" fmla="*/ 452 h 1218"/>
              <a:gd name="T42" fmla="*/ 224 w 1631"/>
              <a:gd name="T43" fmla="*/ 509 h 1218"/>
              <a:gd name="T44" fmla="*/ 72 w 1631"/>
              <a:gd name="T45" fmla="*/ 534 h 1218"/>
              <a:gd name="T46" fmla="*/ 54 w 1631"/>
              <a:gd name="T47" fmla="*/ 592 h 1218"/>
              <a:gd name="T48" fmla="*/ 27 w 1631"/>
              <a:gd name="T49" fmla="*/ 684 h 1218"/>
              <a:gd name="T50" fmla="*/ 79 w 1631"/>
              <a:gd name="T51" fmla="*/ 692 h 1218"/>
              <a:gd name="T52" fmla="*/ 147 w 1631"/>
              <a:gd name="T53" fmla="*/ 719 h 1218"/>
              <a:gd name="T54" fmla="*/ 239 w 1631"/>
              <a:gd name="T55" fmla="*/ 739 h 1218"/>
              <a:gd name="T56" fmla="*/ 324 w 1631"/>
              <a:gd name="T57" fmla="*/ 864 h 1218"/>
              <a:gd name="T58" fmla="*/ 389 w 1631"/>
              <a:gd name="T59" fmla="*/ 929 h 1218"/>
              <a:gd name="T60" fmla="*/ 488 w 1631"/>
              <a:gd name="T61" fmla="*/ 966 h 1218"/>
              <a:gd name="T62" fmla="*/ 606 w 1631"/>
              <a:gd name="T63" fmla="*/ 996 h 1218"/>
              <a:gd name="T64" fmla="*/ 720 w 1631"/>
              <a:gd name="T65" fmla="*/ 984 h 1218"/>
              <a:gd name="T66" fmla="*/ 810 w 1631"/>
              <a:gd name="T67" fmla="*/ 966 h 1218"/>
              <a:gd name="T68" fmla="*/ 875 w 1631"/>
              <a:gd name="T69" fmla="*/ 1053 h 1218"/>
              <a:gd name="T70" fmla="*/ 888 w 1631"/>
              <a:gd name="T71" fmla="*/ 1121 h 1218"/>
              <a:gd name="T72" fmla="*/ 927 w 1631"/>
              <a:gd name="T73" fmla="*/ 1183 h 1218"/>
              <a:gd name="T74" fmla="*/ 992 w 1631"/>
              <a:gd name="T75" fmla="*/ 1151 h 1218"/>
              <a:gd name="T76" fmla="*/ 1080 w 1631"/>
              <a:gd name="T77" fmla="*/ 1138 h 1218"/>
              <a:gd name="T78" fmla="*/ 1154 w 1631"/>
              <a:gd name="T79" fmla="*/ 1178 h 1218"/>
              <a:gd name="T80" fmla="*/ 1202 w 1631"/>
              <a:gd name="T81" fmla="*/ 1216 h 1218"/>
              <a:gd name="T82" fmla="*/ 1212 w 1631"/>
              <a:gd name="T83" fmla="*/ 1191 h 1218"/>
              <a:gd name="T84" fmla="*/ 1279 w 1631"/>
              <a:gd name="T85" fmla="*/ 1141 h 1218"/>
              <a:gd name="T86" fmla="*/ 1334 w 1631"/>
              <a:gd name="T87" fmla="*/ 1141 h 1218"/>
              <a:gd name="T88" fmla="*/ 1386 w 1631"/>
              <a:gd name="T89" fmla="*/ 1103 h 1218"/>
              <a:gd name="T90" fmla="*/ 1409 w 1631"/>
              <a:gd name="T91" fmla="*/ 1073 h 1218"/>
              <a:gd name="T92" fmla="*/ 1429 w 1631"/>
              <a:gd name="T93" fmla="*/ 1041 h 1218"/>
              <a:gd name="T94" fmla="*/ 1444 w 1631"/>
              <a:gd name="T95" fmla="*/ 1004 h 1218"/>
              <a:gd name="T96" fmla="*/ 1459 w 1631"/>
              <a:gd name="T97" fmla="*/ 956 h 1218"/>
              <a:gd name="T98" fmla="*/ 1466 w 1631"/>
              <a:gd name="T99" fmla="*/ 919 h 1218"/>
              <a:gd name="T100" fmla="*/ 1426 w 1631"/>
              <a:gd name="T101" fmla="*/ 894 h 1218"/>
              <a:gd name="T102" fmla="*/ 1366 w 1631"/>
              <a:gd name="T103" fmla="*/ 846 h 1218"/>
              <a:gd name="T104" fmla="*/ 1441 w 1631"/>
              <a:gd name="T105" fmla="*/ 824 h 1218"/>
              <a:gd name="T106" fmla="*/ 1381 w 1631"/>
              <a:gd name="T107" fmla="*/ 707 h 1218"/>
              <a:gd name="T108" fmla="*/ 1434 w 1631"/>
              <a:gd name="T109" fmla="*/ 662 h 1218"/>
              <a:gd name="T110" fmla="*/ 1366 w 1631"/>
              <a:gd name="T111" fmla="*/ 647 h 1218"/>
              <a:gd name="T112" fmla="*/ 1294 w 1631"/>
              <a:gd name="T113" fmla="*/ 612 h 1218"/>
              <a:gd name="T114" fmla="*/ 1359 w 1631"/>
              <a:gd name="T115" fmla="*/ 529 h 1218"/>
              <a:gd name="T116" fmla="*/ 1396 w 1631"/>
              <a:gd name="T117" fmla="*/ 577 h 1218"/>
              <a:gd name="T118" fmla="*/ 1429 w 1631"/>
              <a:gd name="T119" fmla="*/ 567 h 1218"/>
              <a:gd name="T120" fmla="*/ 1593 w 1631"/>
              <a:gd name="T121" fmla="*/ 410 h 1218"/>
              <a:gd name="T122" fmla="*/ 1601 w 1631"/>
              <a:gd name="T123" fmla="*/ 325 h 1218"/>
              <a:gd name="T124" fmla="*/ 1628 w 1631"/>
              <a:gd name="T125" fmla="*/ 272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1" h="1218">
                <a:moveTo>
                  <a:pt x="1628" y="212"/>
                </a:moveTo>
                <a:lnTo>
                  <a:pt x="1626" y="210"/>
                </a:lnTo>
                <a:lnTo>
                  <a:pt x="1626" y="207"/>
                </a:lnTo>
                <a:lnTo>
                  <a:pt x="1621" y="202"/>
                </a:lnTo>
                <a:lnTo>
                  <a:pt x="1618" y="200"/>
                </a:lnTo>
                <a:lnTo>
                  <a:pt x="1623" y="197"/>
                </a:lnTo>
                <a:lnTo>
                  <a:pt x="1618" y="192"/>
                </a:lnTo>
                <a:lnTo>
                  <a:pt x="1618" y="190"/>
                </a:lnTo>
                <a:lnTo>
                  <a:pt x="1613" y="190"/>
                </a:lnTo>
                <a:lnTo>
                  <a:pt x="1611" y="187"/>
                </a:lnTo>
                <a:lnTo>
                  <a:pt x="1606" y="185"/>
                </a:lnTo>
                <a:lnTo>
                  <a:pt x="1603" y="187"/>
                </a:lnTo>
                <a:lnTo>
                  <a:pt x="1598" y="187"/>
                </a:lnTo>
                <a:lnTo>
                  <a:pt x="1596" y="190"/>
                </a:lnTo>
                <a:lnTo>
                  <a:pt x="1596" y="195"/>
                </a:lnTo>
                <a:lnTo>
                  <a:pt x="1593" y="195"/>
                </a:lnTo>
                <a:lnTo>
                  <a:pt x="1588" y="195"/>
                </a:lnTo>
                <a:lnTo>
                  <a:pt x="1588" y="202"/>
                </a:lnTo>
                <a:lnTo>
                  <a:pt x="1583" y="202"/>
                </a:lnTo>
                <a:lnTo>
                  <a:pt x="1578" y="202"/>
                </a:lnTo>
                <a:lnTo>
                  <a:pt x="1578" y="205"/>
                </a:lnTo>
                <a:lnTo>
                  <a:pt x="1578" y="210"/>
                </a:lnTo>
                <a:lnTo>
                  <a:pt x="1573" y="212"/>
                </a:lnTo>
                <a:lnTo>
                  <a:pt x="1573" y="217"/>
                </a:lnTo>
                <a:lnTo>
                  <a:pt x="1573" y="220"/>
                </a:lnTo>
                <a:lnTo>
                  <a:pt x="1571" y="220"/>
                </a:lnTo>
                <a:lnTo>
                  <a:pt x="1568" y="225"/>
                </a:lnTo>
                <a:lnTo>
                  <a:pt x="1561" y="225"/>
                </a:lnTo>
                <a:lnTo>
                  <a:pt x="1558" y="227"/>
                </a:lnTo>
                <a:lnTo>
                  <a:pt x="1553" y="225"/>
                </a:lnTo>
                <a:lnTo>
                  <a:pt x="1551" y="227"/>
                </a:lnTo>
                <a:lnTo>
                  <a:pt x="1548" y="230"/>
                </a:lnTo>
                <a:lnTo>
                  <a:pt x="1546" y="225"/>
                </a:lnTo>
                <a:lnTo>
                  <a:pt x="1543" y="222"/>
                </a:lnTo>
                <a:lnTo>
                  <a:pt x="1541" y="222"/>
                </a:lnTo>
                <a:lnTo>
                  <a:pt x="1536" y="225"/>
                </a:lnTo>
                <a:lnTo>
                  <a:pt x="1533" y="225"/>
                </a:lnTo>
                <a:lnTo>
                  <a:pt x="1531" y="222"/>
                </a:lnTo>
                <a:lnTo>
                  <a:pt x="1529" y="217"/>
                </a:lnTo>
                <a:lnTo>
                  <a:pt x="1526" y="215"/>
                </a:lnTo>
                <a:lnTo>
                  <a:pt x="1521" y="210"/>
                </a:lnTo>
                <a:lnTo>
                  <a:pt x="1521" y="205"/>
                </a:lnTo>
                <a:lnTo>
                  <a:pt x="1521" y="205"/>
                </a:lnTo>
                <a:lnTo>
                  <a:pt x="1521" y="200"/>
                </a:lnTo>
                <a:lnTo>
                  <a:pt x="1521" y="195"/>
                </a:lnTo>
                <a:lnTo>
                  <a:pt x="1519" y="190"/>
                </a:lnTo>
                <a:lnTo>
                  <a:pt x="1516" y="190"/>
                </a:lnTo>
                <a:lnTo>
                  <a:pt x="1514" y="187"/>
                </a:lnTo>
                <a:lnTo>
                  <a:pt x="1514" y="182"/>
                </a:lnTo>
                <a:lnTo>
                  <a:pt x="1516" y="180"/>
                </a:lnTo>
                <a:lnTo>
                  <a:pt x="1516" y="177"/>
                </a:lnTo>
                <a:lnTo>
                  <a:pt x="1516" y="175"/>
                </a:lnTo>
                <a:lnTo>
                  <a:pt x="1514" y="177"/>
                </a:lnTo>
                <a:lnTo>
                  <a:pt x="1511" y="177"/>
                </a:lnTo>
                <a:lnTo>
                  <a:pt x="1506" y="180"/>
                </a:lnTo>
                <a:lnTo>
                  <a:pt x="1504" y="180"/>
                </a:lnTo>
                <a:lnTo>
                  <a:pt x="1501" y="180"/>
                </a:lnTo>
                <a:lnTo>
                  <a:pt x="1499" y="177"/>
                </a:lnTo>
                <a:lnTo>
                  <a:pt x="1496" y="177"/>
                </a:lnTo>
                <a:lnTo>
                  <a:pt x="1494" y="175"/>
                </a:lnTo>
                <a:lnTo>
                  <a:pt x="1489" y="173"/>
                </a:lnTo>
                <a:lnTo>
                  <a:pt x="1489" y="170"/>
                </a:lnTo>
                <a:lnTo>
                  <a:pt x="1486" y="168"/>
                </a:lnTo>
                <a:lnTo>
                  <a:pt x="1484" y="168"/>
                </a:lnTo>
                <a:lnTo>
                  <a:pt x="1481" y="165"/>
                </a:lnTo>
                <a:lnTo>
                  <a:pt x="1481" y="163"/>
                </a:lnTo>
                <a:lnTo>
                  <a:pt x="1476" y="163"/>
                </a:lnTo>
                <a:lnTo>
                  <a:pt x="1474" y="160"/>
                </a:lnTo>
                <a:lnTo>
                  <a:pt x="1474" y="158"/>
                </a:lnTo>
                <a:lnTo>
                  <a:pt x="1471" y="155"/>
                </a:lnTo>
                <a:lnTo>
                  <a:pt x="1469" y="155"/>
                </a:lnTo>
                <a:lnTo>
                  <a:pt x="1469" y="158"/>
                </a:lnTo>
                <a:lnTo>
                  <a:pt x="1466" y="158"/>
                </a:lnTo>
                <a:lnTo>
                  <a:pt x="1461" y="158"/>
                </a:lnTo>
                <a:lnTo>
                  <a:pt x="1461" y="160"/>
                </a:lnTo>
                <a:lnTo>
                  <a:pt x="1459" y="158"/>
                </a:lnTo>
                <a:lnTo>
                  <a:pt x="1456" y="155"/>
                </a:lnTo>
                <a:lnTo>
                  <a:pt x="1454" y="155"/>
                </a:lnTo>
                <a:lnTo>
                  <a:pt x="1449" y="155"/>
                </a:lnTo>
                <a:lnTo>
                  <a:pt x="1446" y="153"/>
                </a:lnTo>
                <a:lnTo>
                  <a:pt x="1449" y="150"/>
                </a:lnTo>
                <a:lnTo>
                  <a:pt x="1449" y="150"/>
                </a:lnTo>
                <a:lnTo>
                  <a:pt x="1444" y="150"/>
                </a:lnTo>
                <a:lnTo>
                  <a:pt x="1441" y="153"/>
                </a:lnTo>
                <a:lnTo>
                  <a:pt x="1436" y="150"/>
                </a:lnTo>
                <a:lnTo>
                  <a:pt x="1434" y="153"/>
                </a:lnTo>
                <a:lnTo>
                  <a:pt x="1431" y="150"/>
                </a:lnTo>
                <a:lnTo>
                  <a:pt x="1429" y="150"/>
                </a:lnTo>
                <a:lnTo>
                  <a:pt x="1426" y="150"/>
                </a:lnTo>
                <a:lnTo>
                  <a:pt x="1424" y="148"/>
                </a:lnTo>
                <a:lnTo>
                  <a:pt x="1419" y="145"/>
                </a:lnTo>
                <a:lnTo>
                  <a:pt x="1414" y="140"/>
                </a:lnTo>
                <a:lnTo>
                  <a:pt x="1411" y="135"/>
                </a:lnTo>
                <a:lnTo>
                  <a:pt x="1411" y="130"/>
                </a:lnTo>
                <a:lnTo>
                  <a:pt x="1409" y="125"/>
                </a:lnTo>
                <a:lnTo>
                  <a:pt x="1406" y="125"/>
                </a:lnTo>
                <a:lnTo>
                  <a:pt x="1404" y="123"/>
                </a:lnTo>
                <a:lnTo>
                  <a:pt x="1404" y="118"/>
                </a:lnTo>
                <a:lnTo>
                  <a:pt x="1401" y="118"/>
                </a:lnTo>
                <a:lnTo>
                  <a:pt x="1401" y="110"/>
                </a:lnTo>
                <a:lnTo>
                  <a:pt x="1399" y="105"/>
                </a:lnTo>
                <a:lnTo>
                  <a:pt x="1389" y="100"/>
                </a:lnTo>
                <a:lnTo>
                  <a:pt x="1384" y="93"/>
                </a:lnTo>
                <a:lnTo>
                  <a:pt x="1384" y="90"/>
                </a:lnTo>
                <a:lnTo>
                  <a:pt x="1381" y="85"/>
                </a:lnTo>
                <a:lnTo>
                  <a:pt x="1379" y="88"/>
                </a:lnTo>
                <a:lnTo>
                  <a:pt x="1376" y="85"/>
                </a:lnTo>
                <a:lnTo>
                  <a:pt x="1379" y="83"/>
                </a:lnTo>
                <a:lnTo>
                  <a:pt x="1379" y="80"/>
                </a:lnTo>
                <a:lnTo>
                  <a:pt x="1374" y="78"/>
                </a:lnTo>
                <a:lnTo>
                  <a:pt x="1374" y="75"/>
                </a:lnTo>
                <a:lnTo>
                  <a:pt x="1369" y="73"/>
                </a:lnTo>
                <a:lnTo>
                  <a:pt x="1369" y="70"/>
                </a:lnTo>
                <a:lnTo>
                  <a:pt x="1366" y="65"/>
                </a:lnTo>
                <a:lnTo>
                  <a:pt x="1364" y="60"/>
                </a:lnTo>
                <a:lnTo>
                  <a:pt x="1356" y="58"/>
                </a:lnTo>
                <a:lnTo>
                  <a:pt x="1356" y="53"/>
                </a:lnTo>
                <a:lnTo>
                  <a:pt x="1359" y="50"/>
                </a:lnTo>
                <a:lnTo>
                  <a:pt x="1359" y="48"/>
                </a:lnTo>
                <a:lnTo>
                  <a:pt x="1351" y="48"/>
                </a:lnTo>
                <a:lnTo>
                  <a:pt x="1349" y="45"/>
                </a:lnTo>
                <a:lnTo>
                  <a:pt x="1349" y="43"/>
                </a:lnTo>
                <a:lnTo>
                  <a:pt x="1349" y="40"/>
                </a:lnTo>
                <a:lnTo>
                  <a:pt x="1349" y="35"/>
                </a:lnTo>
                <a:lnTo>
                  <a:pt x="1346" y="33"/>
                </a:lnTo>
                <a:lnTo>
                  <a:pt x="1344" y="30"/>
                </a:lnTo>
                <a:lnTo>
                  <a:pt x="1344" y="28"/>
                </a:lnTo>
                <a:lnTo>
                  <a:pt x="1341" y="28"/>
                </a:lnTo>
                <a:lnTo>
                  <a:pt x="1339" y="28"/>
                </a:lnTo>
                <a:lnTo>
                  <a:pt x="1334" y="25"/>
                </a:lnTo>
                <a:lnTo>
                  <a:pt x="1334" y="23"/>
                </a:lnTo>
                <a:lnTo>
                  <a:pt x="1334" y="20"/>
                </a:lnTo>
                <a:lnTo>
                  <a:pt x="1334" y="18"/>
                </a:lnTo>
                <a:lnTo>
                  <a:pt x="1331" y="18"/>
                </a:lnTo>
                <a:lnTo>
                  <a:pt x="1329" y="20"/>
                </a:lnTo>
                <a:lnTo>
                  <a:pt x="1326" y="18"/>
                </a:lnTo>
                <a:lnTo>
                  <a:pt x="1324" y="18"/>
                </a:lnTo>
                <a:lnTo>
                  <a:pt x="1324" y="15"/>
                </a:lnTo>
                <a:lnTo>
                  <a:pt x="1324" y="13"/>
                </a:lnTo>
                <a:lnTo>
                  <a:pt x="1321" y="10"/>
                </a:lnTo>
                <a:lnTo>
                  <a:pt x="1319" y="8"/>
                </a:lnTo>
                <a:lnTo>
                  <a:pt x="1317" y="10"/>
                </a:lnTo>
                <a:lnTo>
                  <a:pt x="1314" y="5"/>
                </a:lnTo>
                <a:lnTo>
                  <a:pt x="1312" y="8"/>
                </a:lnTo>
                <a:lnTo>
                  <a:pt x="1307" y="8"/>
                </a:lnTo>
                <a:lnTo>
                  <a:pt x="1304" y="5"/>
                </a:lnTo>
                <a:lnTo>
                  <a:pt x="1302" y="8"/>
                </a:lnTo>
                <a:lnTo>
                  <a:pt x="1304" y="10"/>
                </a:lnTo>
                <a:lnTo>
                  <a:pt x="1302" y="13"/>
                </a:lnTo>
                <a:lnTo>
                  <a:pt x="1297" y="10"/>
                </a:lnTo>
                <a:lnTo>
                  <a:pt x="1294" y="8"/>
                </a:lnTo>
                <a:lnTo>
                  <a:pt x="1292" y="10"/>
                </a:lnTo>
                <a:lnTo>
                  <a:pt x="1284" y="10"/>
                </a:lnTo>
                <a:lnTo>
                  <a:pt x="1284" y="8"/>
                </a:lnTo>
                <a:lnTo>
                  <a:pt x="1279" y="3"/>
                </a:lnTo>
                <a:lnTo>
                  <a:pt x="1272" y="3"/>
                </a:lnTo>
                <a:lnTo>
                  <a:pt x="1269" y="0"/>
                </a:lnTo>
                <a:lnTo>
                  <a:pt x="1264" y="0"/>
                </a:lnTo>
                <a:lnTo>
                  <a:pt x="1262" y="0"/>
                </a:lnTo>
                <a:lnTo>
                  <a:pt x="1259" y="0"/>
                </a:lnTo>
                <a:lnTo>
                  <a:pt x="1252" y="0"/>
                </a:lnTo>
                <a:lnTo>
                  <a:pt x="1252" y="5"/>
                </a:lnTo>
                <a:lnTo>
                  <a:pt x="1249" y="5"/>
                </a:lnTo>
                <a:lnTo>
                  <a:pt x="1247" y="8"/>
                </a:lnTo>
                <a:lnTo>
                  <a:pt x="1242" y="8"/>
                </a:lnTo>
                <a:lnTo>
                  <a:pt x="1237" y="8"/>
                </a:lnTo>
                <a:lnTo>
                  <a:pt x="1232" y="8"/>
                </a:lnTo>
                <a:lnTo>
                  <a:pt x="1229" y="10"/>
                </a:lnTo>
                <a:lnTo>
                  <a:pt x="1224" y="10"/>
                </a:lnTo>
                <a:lnTo>
                  <a:pt x="1222" y="15"/>
                </a:lnTo>
                <a:lnTo>
                  <a:pt x="1217" y="15"/>
                </a:lnTo>
                <a:lnTo>
                  <a:pt x="1214" y="15"/>
                </a:lnTo>
                <a:lnTo>
                  <a:pt x="1212" y="15"/>
                </a:lnTo>
                <a:lnTo>
                  <a:pt x="1209" y="18"/>
                </a:lnTo>
                <a:lnTo>
                  <a:pt x="1207" y="18"/>
                </a:lnTo>
                <a:lnTo>
                  <a:pt x="1199" y="18"/>
                </a:lnTo>
                <a:lnTo>
                  <a:pt x="1197" y="20"/>
                </a:lnTo>
                <a:lnTo>
                  <a:pt x="1197" y="25"/>
                </a:lnTo>
                <a:lnTo>
                  <a:pt x="1192" y="28"/>
                </a:lnTo>
                <a:lnTo>
                  <a:pt x="1192" y="33"/>
                </a:lnTo>
                <a:lnTo>
                  <a:pt x="1189" y="35"/>
                </a:lnTo>
                <a:lnTo>
                  <a:pt x="1189" y="40"/>
                </a:lnTo>
                <a:lnTo>
                  <a:pt x="1187" y="40"/>
                </a:lnTo>
                <a:lnTo>
                  <a:pt x="1187" y="48"/>
                </a:lnTo>
                <a:lnTo>
                  <a:pt x="1189" y="50"/>
                </a:lnTo>
                <a:lnTo>
                  <a:pt x="1192" y="50"/>
                </a:lnTo>
                <a:lnTo>
                  <a:pt x="1197" y="48"/>
                </a:lnTo>
                <a:lnTo>
                  <a:pt x="1202" y="45"/>
                </a:lnTo>
                <a:lnTo>
                  <a:pt x="1204" y="45"/>
                </a:lnTo>
                <a:lnTo>
                  <a:pt x="1209" y="53"/>
                </a:lnTo>
                <a:lnTo>
                  <a:pt x="1209" y="58"/>
                </a:lnTo>
                <a:lnTo>
                  <a:pt x="1214" y="60"/>
                </a:lnTo>
                <a:lnTo>
                  <a:pt x="1214" y="65"/>
                </a:lnTo>
                <a:lnTo>
                  <a:pt x="1214" y="68"/>
                </a:lnTo>
                <a:lnTo>
                  <a:pt x="1214" y="73"/>
                </a:lnTo>
                <a:lnTo>
                  <a:pt x="1212" y="75"/>
                </a:lnTo>
                <a:lnTo>
                  <a:pt x="1209" y="83"/>
                </a:lnTo>
                <a:lnTo>
                  <a:pt x="1207" y="88"/>
                </a:lnTo>
                <a:lnTo>
                  <a:pt x="1204" y="90"/>
                </a:lnTo>
                <a:lnTo>
                  <a:pt x="1202" y="95"/>
                </a:lnTo>
                <a:lnTo>
                  <a:pt x="1199" y="100"/>
                </a:lnTo>
                <a:lnTo>
                  <a:pt x="1204" y="105"/>
                </a:lnTo>
                <a:lnTo>
                  <a:pt x="1202" y="108"/>
                </a:lnTo>
                <a:lnTo>
                  <a:pt x="1202" y="113"/>
                </a:lnTo>
                <a:lnTo>
                  <a:pt x="1207" y="118"/>
                </a:lnTo>
                <a:lnTo>
                  <a:pt x="1207" y="123"/>
                </a:lnTo>
                <a:lnTo>
                  <a:pt x="1202" y="123"/>
                </a:lnTo>
                <a:lnTo>
                  <a:pt x="1202" y="125"/>
                </a:lnTo>
                <a:lnTo>
                  <a:pt x="1204" y="130"/>
                </a:lnTo>
                <a:lnTo>
                  <a:pt x="1204" y="138"/>
                </a:lnTo>
                <a:lnTo>
                  <a:pt x="1202" y="140"/>
                </a:lnTo>
                <a:lnTo>
                  <a:pt x="1202" y="148"/>
                </a:lnTo>
                <a:lnTo>
                  <a:pt x="1204" y="148"/>
                </a:lnTo>
                <a:lnTo>
                  <a:pt x="1207" y="150"/>
                </a:lnTo>
                <a:lnTo>
                  <a:pt x="1209" y="148"/>
                </a:lnTo>
                <a:lnTo>
                  <a:pt x="1212" y="150"/>
                </a:lnTo>
                <a:lnTo>
                  <a:pt x="1212" y="155"/>
                </a:lnTo>
                <a:lnTo>
                  <a:pt x="1212" y="160"/>
                </a:lnTo>
                <a:lnTo>
                  <a:pt x="1207" y="165"/>
                </a:lnTo>
                <a:lnTo>
                  <a:pt x="1197" y="165"/>
                </a:lnTo>
                <a:lnTo>
                  <a:pt x="1192" y="170"/>
                </a:lnTo>
                <a:lnTo>
                  <a:pt x="1179" y="182"/>
                </a:lnTo>
                <a:lnTo>
                  <a:pt x="1174" y="182"/>
                </a:lnTo>
                <a:lnTo>
                  <a:pt x="1172" y="180"/>
                </a:lnTo>
                <a:lnTo>
                  <a:pt x="1164" y="177"/>
                </a:lnTo>
                <a:lnTo>
                  <a:pt x="1159" y="180"/>
                </a:lnTo>
                <a:lnTo>
                  <a:pt x="1159" y="177"/>
                </a:lnTo>
                <a:lnTo>
                  <a:pt x="1154" y="177"/>
                </a:lnTo>
                <a:lnTo>
                  <a:pt x="1152" y="177"/>
                </a:lnTo>
                <a:lnTo>
                  <a:pt x="1152" y="177"/>
                </a:lnTo>
                <a:lnTo>
                  <a:pt x="1147" y="220"/>
                </a:lnTo>
                <a:lnTo>
                  <a:pt x="1147" y="227"/>
                </a:lnTo>
                <a:lnTo>
                  <a:pt x="1144" y="237"/>
                </a:lnTo>
                <a:lnTo>
                  <a:pt x="1147" y="242"/>
                </a:lnTo>
                <a:lnTo>
                  <a:pt x="1142" y="252"/>
                </a:lnTo>
                <a:lnTo>
                  <a:pt x="1147" y="262"/>
                </a:lnTo>
                <a:lnTo>
                  <a:pt x="1159" y="267"/>
                </a:lnTo>
                <a:lnTo>
                  <a:pt x="1167" y="262"/>
                </a:lnTo>
                <a:lnTo>
                  <a:pt x="1179" y="262"/>
                </a:lnTo>
                <a:lnTo>
                  <a:pt x="1189" y="262"/>
                </a:lnTo>
                <a:lnTo>
                  <a:pt x="1194" y="267"/>
                </a:lnTo>
                <a:lnTo>
                  <a:pt x="1202" y="257"/>
                </a:lnTo>
                <a:lnTo>
                  <a:pt x="1202" y="252"/>
                </a:lnTo>
                <a:lnTo>
                  <a:pt x="1202" y="247"/>
                </a:lnTo>
                <a:lnTo>
                  <a:pt x="1209" y="245"/>
                </a:lnTo>
                <a:lnTo>
                  <a:pt x="1212" y="242"/>
                </a:lnTo>
                <a:lnTo>
                  <a:pt x="1224" y="247"/>
                </a:lnTo>
                <a:lnTo>
                  <a:pt x="1229" y="255"/>
                </a:lnTo>
                <a:lnTo>
                  <a:pt x="1239" y="262"/>
                </a:lnTo>
                <a:lnTo>
                  <a:pt x="1247" y="272"/>
                </a:lnTo>
                <a:lnTo>
                  <a:pt x="1257" y="280"/>
                </a:lnTo>
                <a:lnTo>
                  <a:pt x="1257" y="285"/>
                </a:lnTo>
                <a:lnTo>
                  <a:pt x="1259" y="287"/>
                </a:lnTo>
                <a:lnTo>
                  <a:pt x="1259" y="292"/>
                </a:lnTo>
                <a:lnTo>
                  <a:pt x="1257" y="295"/>
                </a:lnTo>
                <a:lnTo>
                  <a:pt x="1257" y="300"/>
                </a:lnTo>
                <a:lnTo>
                  <a:pt x="1254" y="302"/>
                </a:lnTo>
                <a:lnTo>
                  <a:pt x="1252" y="302"/>
                </a:lnTo>
                <a:lnTo>
                  <a:pt x="1249" y="300"/>
                </a:lnTo>
                <a:lnTo>
                  <a:pt x="1242" y="300"/>
                </a:lnTo>
                <a:lnTo>
                  <a:pt x="1239" y="302"/>
                </a:lnTo>
                <a:lnTo>
                  <a:pt x="1232" y="300"/>
                </a:lnTo>
                <a:lnTo>
                  <a:pt x="1227" y="300"/>
                </a:lnTo>
                <a:lnTo>
                  <a:pt x="1222" y="307"/>
                </a:lnTo>
                <a:lnTo>
                  <a:pt x="1217" y="312"/>
                </a:lnTo>
                <a:lnTo>
                  <a:pt x="1212" y="315"/>
                </a:lnTo>
                <a:lnTo>
                  <a:pt x="1207" y="312"/>
                </a:lnTo>
                <a:lnTo>
                  <a:pt x="1204" y="312"/>
                </a:lnTo>
                <a:lnTo>
                  <a:pt x="1204" y="317"/>
                </a:lnTo>
                <a:lnTo>
                  <a:pt x="1202" y="320"/>
                </a:lnTo>
                <a:lnTo>
                  <a:pt x="1199" y="320"/>
                </a:lnTo>
                <a:lnTo>
                  <a:pt x="1197" y="320"/>
                </a:lnTo>
                <a:lnTo>
                  <a:pt x="1194" y="322"/>
                </a:lnTo>
                <a:lnTo>
                  <a:pt x="1189" y="330"/>
                </a:lnTo>
                <a:lnTo>
                  <a:pt x="1187" y="340"/>
                </a:lnTo>
                <a:lnTo>
                  <a:pt x="1189" y="345"/>
                </a:lnTo>
                <a:lnTo>
                  <a:pt x="1184" y="347"/>
                </a:lnTo>
                <a:lnTo>
                  <a:pt x="1179" y="350"/>
                </a:lnTo>
                <a:lnTo>
                  <a:pt x="1169" y="357"/>
                </a:lnTo>
                <a:lnTo>
                  <a:pt x="1162" y="357"/>
                </a:lnTo>
                <a:lnTo>
                  <a:pt x="1154" y="355"/>
                </a:lnTo>
                <a:lnTo>
                  <a:pt x="1152" y="357"/>
                </a:lnTo>
                <a:lnTo>
                  <a:pt x="1147" y="367"/>
                </a:lnTo>
                <a:lnTo>
                  <a:pt x="1142" y="372"/>
                </a:lnTo>
                <a:lnTo>
                  <a:pt x="1137" y="377"/>
                </a:lnTo>
                <a:lnTo>
                  <a:pt x="1132" y="380"/>
                </a:lnTo>
                <a:lnTo>
                  <a:pt x="1132" y="385"/>
                </a:lnTo>
                <a:lnTo>
                  <a:pt x="1129" y="385"/>
                </a:lnTo>
                <a:lnTo>
                  <a:pt x="1122" y="382"/>
                </a:lnTo>
                <a:lnTo>
                  <a:pt x="1117" y="382"/>
                </a:lnTo>
                <a:lnTo>
                  <a:pt x="1109" y="377"/>
                </a:lnTo>
                <a:lnTo>
                  <a:pt x="1102" y="375"/>
                </a:lnTo>
                <a:lnTo>
                  <a:pt x="1095" y="372"/>
                </a:lnTo>
                <a:lnTo>
                  <a:pt x="1085" y="375"/>
                </a:lnTo>
                <a:lnTo>
                  <a:pt x="1080" y="380"/>
                </a:lnTo>
                <a:lnTo>
                  <a:pt x="1075" y="385"/>
                </a:lnTo>
                <a:lnTo>
                  <a:pt x="1075" y="397"/>
                </a:lnTo>
                <a:lnTo>
                  <a:pt x="1075" y="402"/>
                </a:lnTo>
                <a:lnTo>
                  <a:pt x="1075" y="407"/>
                </a:lnTo>
                <a:lnTo>
                  <a:pt x="1087" y="415"/>
                </a:lnTo>
                <a:lnTo>
                  <a:pt x="1097" y="422"/>
                </a:lnTo>
                <a:lnTo>
                  <a:pt x="1097" y="425"/>
                </a:lnTo>
                <a:lnTo>
                  <a:pt x="1095" y="430"/>
                </a:lnTo>
                <a:lnTo>
                  <a:pt x="1092" y="435"/>
                </a:lnTo>
                <a:lnTo>
                  <a:pt x="1080" y="447"/>
                </a:lnTo>
                <a:lnTo>
                  <a:pt x="1072" y="460"/>
                </a:lnTo>
                <a:lnTo>
                  <a:pt x="1070" y="467"/>
                </a:lnTo>
                <a:lnTo>
                  <a:pt x="1065" y="467"/>
                </a:lnTo>
                <a:lnTo>
                  <a:pt x="1057" y="469"/>
                </a:lnTo>
                <a:lnTo>
                  <a:pt x="1050" y="472"/>
                </a:lnTo>
                <a:lnTo>
                  <a:pt x="1042" y="474"/>
                </a:lnTo>
                <a:lnTo>
                  <a:pt x="1035" y="482"/>
                </a:lnTo>
                <a:lnTo>
                  <a:pt x="1027" y="482"/>
                </a:lnTo>
                <a:lnTo>
                  <a:pt x="1017" y="482"/>
                </a:lnTo>
                <a:lnTo>
                  <a:pt x="1010" y="484"/>
                </a:lnTo>
                <a:lnTo>
                  <a:pt x="1002" y="487"/>
                </a:lnTo>
                <a:lnTo>
                  <a:pt x="982" y="494"/>
                </a:lnTo>
                <a:lnTo>
                  <a:pt x="967" y="499"/>
                </a:lnTo>
                <a:lnTo>
                  <a:pt x="960" y="507"/>
                </a:lnTo>
                <a:lnTo>
                  <a:pt x="947" y="517"/>
                </a:lnTo>
                <a:lnTo>
                  <a:pt x="942" y="522"/>
                </a:lnTo>
                <a:lnTo>
                  <a:pt x="937" y="522"/>
                </a:lnTo>
                <a:lnTo>
                  <a:pt x="930" y="519"/>
                </a:lnTo>
                <a:lnTo>
                  <a:pt x="930" y="517"/>
                </a:lnTo>
                <a:lnTo>
                  <a:pt x="927" y="512"/>
                </a:lnTo>
                <a:lnTo>
                  <a:pt x="917" y="514"/>
                </a:lnTo>
                <a:lnTo>
                  <a:pt x="907" y="517"/>
                </a:lnTo>
                <a:lnTo>
                  <a:pt x="897" y="512"/>
                </a:lnTo>
                <a:lnTo>
                  <a:pt x="890" y="512"/>
                </a:lnTo>
                <a:lnTo>
                  <a:pt x="875" y="504"/>
                </a:lnTo>
                <a:lnTo>
                  <a:pt x="858" y="497"/>
                </a:lnTo>
                <a:lnTo>
                  <a:pt x="848" y="487"/>
                </a:lnTo>
                <a:lnTo>
                  <a:pt x="840" y="487"/>
                </a:lnTo>
                <a:lnTo>
                  <a:pt x="823" y="487"/>
                </a:lnTo>
                <a:lnTo>
                  <a:pt x="805" y="487"/>
                </a:lnTo>
                <a:lnTo>
                  <a:pt x="803" y="484"/>
                </a:lnTo>
                <a:lnTo>
                  <a:pt x="800" y="487"/>
                </a:lnTo>
                <a:lnTo>
                  <a:pt x="798" y="489"/>
                </a:lnTo>
                <a:lnTo>
                  <a:pt x="788" y="494"/>
                </a:lnTo>
                <a:lnTo>
                  <a:pt x="775" y="494"/>
                </a:lnTo>
                <a:lnTo>
                  <a:pt x="753" y="492"/>
                </a:lnTo>
                <a:lnTo>
                  <a:pt x="738" y="494"/>
                </a:lnTo>
                <a:lnTo>
                  <a:pt x="725" y="492"/>
                </a:lnTo>
                <a:lnTo>
                  <a:pt x="715" y="494"/>
                </a:lnTo>
                <a:lnTo>
                  <a:pt x="710" y="494"/>
                </a:lnTo>
                <a:lnTo>
                  <a:pt x="705" y="492"/>
                </a:lnTo>
                <a:lnTo>
                  <a:pt x="700" y="482"/>
                </a:lnTo>
                <a:lnTo>
                  <a:pt x="698" y="477"/>
                </a:lnTo>
                <a:lnTo>
                  <a:pt x="690" y="467"/>
                </a:lnTo>
                <a:lnTo>
                  <a:pt x="688" y="462"/>
                </a:lnTo>
                <a:lnTo>
                  <a:pt x="683" y="455"/>
                </a:lnTo>
                <a:lnTo>
                  <a:pt x="683" y="452"/>
                </a:lnTo>
                <a:lnTo>
                  <a:pt x="681" y="447"/>
                </a:lnTo>
                <a:lnTo>
                  <a:pt x="676" y="445"/>
                </a:lnTo>
                <a:lnTo>
                  <a:pt x="673" y="445"/>
                </a:lnTo>
                <a:lnTo>
                  <a:pt x="673" y="442"/>
                </a:lnTo>
                <a:lnTo>
                  <a:pt x="671" y="437"/>
                </a:lnTo>
                <a:lnTo>
                  <a:pt x="671" y="437"/>
                </a:lnTo>
                <a:lnTo>
                  <a:pt x="668" y="437"/>
                </a:lnTo>
                <a:lnTo>
                  <a:pt x="661" y="437"/>
                </a:lnTo>
                <a:lnTo>
                  <a:pt x="653" y="435"/>
                </a:lnTo>
                <a:lnTo>
                  <a:pt x="643" y="427"/>
                </a:lnTo>
                <a:lnTo>
                  <a:pt x="641" y="425"/>
                </a:lnTo>
                <a:lnTo>
                  <a:pt x="638" y="427"/>
                </a:lnTo>
                <a:lnTo>
                  <a:pt x="633" y="425"/>
                </a:lnTo>
                <a:lnTo>
                  <a:pt x="631" y="422"/>
                </a:lnTo>
                <a:lnTo>
                  <a:pt x="623" y="417"/>
                </a:lnTo>
                <a:lnTo>
                  <a:pt x="603" y="412"/>
                </a:lnTo>
                <a:lnTo>
                  <a:pt x="603" y="412"/>
                </a:lnTo>
                <a:lnTo>
                  <a:pt x="601" y="415"/>
                </a:lnTo>
                <a:lnTo>
                  <a:pt x="593" y="415"/>
                </a:lnTo>
                <a:lnTo>
                  <a:pt x="581" y="417"/>
                </a:lnTo>
                <a:lnTo>
                  <a:pt x="556" y="410"/>
                </a:lnTo>
                <a:lnTo>
                  <a:pt x="551" y="407"/>
                </a:lnTo>
                <a:lnTo>
                  <a:pt x="543" y="397"/>
                </a:lnTo>
                <a:lnTo>
                  <a:pt x="543" y="395"/>
                </a:lnTo>
                <a:lnTo>
                  <a:pt x="543" y="390"/>
                </a:lnTo>
                <a:lnTo>
                  <a:pt x="543" y="387"/>
                </a:lnTo>
                <a:lnTo>
                  <a:pt x="548" y="385"/>
                </a:lnTo>
                <a:lnTo>
                  <a:pt x="551" y="380"/>
                </a:lnTo>
                <a:lnTo>
                  <a:pt x="546" y="375"/>
                </a:lnTo>
                <a:lnTo>
                  <a:pt x="546" y="370"/>
                </a:lnTo>
                <a:lnTo>
                  <a:pt x="546" y="367"/>
                </a:lnTo>
                <a:lnTo>
                  <a:pt x="546" y="360"/>
                </a:lnTo>
                <a:lnTo>
                  <a:pt x="543" y="357"/>
                </a:lnTo>
                <a:lnTo>
                  <a:pt x="541" y="352"/>
                </a:lnTo>
                <a:lnTo>
                  <a:pt x="536" y="350"/>
                </a:lnTo>
                <a:lnTo>
                  <a:pt x="533" y="345"/>
                </a:lnTo>
                <a:lnTo>
                  <a:pt x="531" y="342"/>
                </a:lnTo>
                <a:lnTo>
                  <a:pt x="528" y="337"/>
                </a:lnTo>
                <a:lnTo>
                  <a:pt x="526" y="332"/>
                </a:lnTo>
                <a:lnTo>
                  <a:pt x="526" y="327"/>
                </a:lnTo>
                <a:lnTo>
                  <a:pt x="523" y="325"/>
                </a:lnTo>
                <a:lnTo>
                  <a:pt x="518" y="320"/>
                </a:lnTo>
                <a:lnTo>
                  <a:pt x="516" y="320"/>
                </a:lnTo>
                <a:lnTo>
                  <a:pt x="513" y="317"/>
                </a:lnTo>
                <a:lnTo>
                  <a:pt x="508" y="315"/>
                </a:lnTo>
                <a:lnTo>
                  <a:pt x="503" y="315"/>
                </a:lnTo>
                <a:lnTo>
                  <a:pt x="501" y="317"/>
                </a:lnTo>
                <a:lnTo>
                  <a:pt x="498" y="320"/>
                </a:lnTo>
                <a:lnTo>
                  <a:pt x="496" y="317"/>
                </a:lnTo>
                <a:lnTo>
                  <a:pt x="491" y="312"/>
                </a:lnTo>
                <a:lnTo>
                  <a:pt x="491" y="310"/>
                </a:lnTo>
                <a:lnTo>
                  <a:pt x="486" y="310"/>
                </a:lnTo>
                <a:lnTo>
                  <a:pt x="481" y="312"/>
                </a:lnTo>
                <a:lnTo>
                  <a:pt x="478" y="315"/>
                </a:lnTo>
                <a:lnTo>
                  <a:pt x="478" y="320"/>
                </a:lnTo>
                <a:lnTo>
                  <a:pt x="476" y="320"/>
                </a:lnTo>
                <a:lnTo>
                  <a:pt x="469" y="315"/>
                </a:lnTo>
                <a:lnTo>
                  <a:pt x="469" y="312"/>
                </a:lnTo>
                <a:lnTo>
                  <a:pt x="469" y="310"/>
                </a:lnTo>
                <a:lnTo>
                  <a:pt x="464" y="305"/>
                </a:lnTo>
                <a:lnTo>
                  <a:pt x="459" y="302"/>
                </a:lnTo>
                <a:lnTo>
                  <a:pt x="456" y="297"/>
                </a:lnTo>
                <a:lnTo>
                  <a:pt x="451" y="295"/>
                </a:lnTo>
                <a:lnTo>
                  <a:pt x="449" y="292"/>
                </a:lnTo>
                <a:lnTo>
                  <a:pt x="449" y="290"/>
                </a:lnTo>
                <a:lnTo>
                  <a:pt x="449" y="287"/>
                </a:lnTo>
                <a:lnTo>
                  <a:pt x="446" y="282"/>
                </a:lnTo>
                <a:lnTo>
                  <a:pt x="446" y="285"/>
                </a:lnTo>
                <a:lnTo>
                  <a:pt x="446" y="285"/>
                </a:lnTo>
                <a:lnTo>
                  <a:pt x="444" y="285"/>
                </a:lnTo>
                <a:lnTo>
                  <a:pt x="441" y="282"/>
                </a:lnTo>
                <a:lnTo>
                  <a:pt x="441" y="280"/>
                </a:lnTo>
                <a:lnTo>
                  <a:pt x="441" y="275"/>
                </a:lnTo>
                <a:lnTo>
                  <a:pt x="439" y="272"/>
                </a:lnTo>
                <a:lnTo>
                  <a:pt x="439" y="272"/>
                </a:lnTo>
                <a:lnTo>
                  <a:pt x="431" y="270"/>
                </a:lnTo>
                <a:lnTo>
                  <a:pt x="429" y="270"/>
                </a:lnTo>
                <a:lnTo>
                  <a:pt x="429" y="272"/>
                </a:lnTo>
                <a:lnTo>
                  <a:pt x="424" y="277"/>
                </a:lnTo>
                <a:lnTo>
                  <a:pt x="421" y="280"/>
                </a:lnTo>
                <a:lnTo>
                  <a:pt x="414" y="287"/>
                </a:lnTo>
                <a:lnTo>
                  <a:pt x="414" y="290"/>
                </a:lnTo>
                <a:lnTo>
                  <a:pt x="414" y="292"/>
                </a:lnTo>
                <a:lnTo>
                  <a:pt x="411" y="300"/>
                </a:lnTo>
                <a:lnTo>
                  <a:pt x="404" y="302"/>
                </a:lnTo>
                <a:lnTo>
                  <a:pt x="399" y="305"/>
                </a:lnTo>
                <a:lnTo>
                  <a:pt x="399" y="312"/>
                </a:lnTo>
                <a:lnTo>
                  <a:pt x="399" y="322"/>
                </a:lnTo>
                <a:lnTo>
                  <a:pt x="404" y="332"/>
                </a:lnTo>
                <a:lnTo>
                  <a:pt x="409" y="340"/>
                </a:lnTo>
                <a:lnTo>
                  <a:pt x="409" y="345"/>
                </a:lnTo>
                <a:lnTo>
                  <a:pt x="401" y="352"/>
                </a:lnTo>
                <a:lnTo>
                  <a:pt x="396" y="352"/>
                </a:lnTo>
                <a:lnTo>
                  <a:pt x="391" y="360"/>
                </a:lnTo>
                <a:lnTo>
                  <a:pt x="386" y="360"/>
                </a:lnTo>
                <a:lnTo>
                  <a:pt x="384" y="360"/>
                </a:lnTo>
                <a:lnTo>
                  <a:pt x="384" y="357"/>
                </a:lnTo>
                <a:lnTo>
                  <a:pt x="379" y="357"/>
                </a:lnTo>
                <a:lnTo>
                  <a:pt x="369" y="357"/>
                </a:lnTo>
                <a:lnTo>
                  <a:pt x="361" y="357"/>
                </a:lnTo>
                <a:lnTo>
                  <a:pt x="351" y="355"/>
                </a:lnTo>
                <a:lnTo>
                  <a:pt x="344" y="352"/>
                </a:lnTo>
                <a:lnTo>
                  <a:pt x="341" y="355"/>
                </a:lnTo>
                <a:lnTo>
                  <a:pt x="339" y="365"/>
                </a:lnTo>
                <a:lnTo>
                  <a:pt x="336" y="372"/>
                </a:lnTo>
                <a:lnTo>
                  <a:pt x="336" y="380"/>
                </a:lnTo>
                <a:lnTo>
                  <a:pt x="334" y="395"/>
                </a:lnTo>
                <a:lnTo>
                  <a:pt x="334" y="407"/>
                </a:lnTo>
                <a:lnTo>
                  <a:pt x="331" y="410"/>
                </a:lnTo>
                <a:lnTo>
                  <a:pt x="336" y="412"/>
                </a:lnTo>
                <a:lnTo>
                  <a:pt x="341" y="415"/>
                </a:lnTo>
                <a:lnTo>
                  <a:pt x="339" y="422"/>
                </a:lnTo>
                <a:lnTo>
                  <a:pt x="339" y="425"/>
                </a:lnTo>
                <a:lnTo>
                  <a:pt x="336" y="425"/>
                </a:lnTo>
                <a:lnTo>
                  <a:pt x="331" y="427"/>
                </a:lnTo>
                <a:lnTo>
                  <a:pt x="329" y="427"/>
                </a:lnTo>
                <a:lnTo>
                  <a:pt x="324" y="425"/>
                </a:lnTo>
                <a:lnTo>
                  <a:pt x="321" y="427"/>
                </a:lnTo>
                <a:lnTo>
                  <a:pt x="316" y="427"/>
                </a:lnTo>
                <a:lnTo>
                  <a:pt x="304" y="430"/>
                </a:lnTo>
                <a:lnTo>
                  <a:pt x="296" y="432"/>
                </a:lnTo>
                <a:lnTo>
                  <a:pt x="291" y="432"/>
                </a:lnTo>
                <a:lnTo>
                  <a:pt x="289" y="432"/>
                </a:lnTo>
                <a:lnTo>
                  <a:pt x="284" y="432"/>
                </a:lnTo>
                <a:lnTo>
                  <a:pt x="279" y="437"/>
                </a:lnTo>
                <a:lnTo>
                  <a:pt x="279" y="442"/>
                </a:lnTo>
                <a:lnTo>
                  <a:pt x="284" y="445"/>
                </a:lnTo>
                <a:lnTo>
                  <a:pt x="291" y="445"/>
                </a:lnTo>
                <a:lnTo>
                  <a:pt x="296" y="445"/>
                </a:lnTo>
                <a:lnTo>
                  <a:pt x="296" y="447"/>
                </a:lnTo>
                <a:lnTo>
                  <a:pt x="294" y="452"/>
                </a:lnTo>
                <a:lnTo>
                  <a:pt x="296" y="460"/>
                </a:lnTo>
                <a:lnTo>
                  <a:pt x="296" y="462"/>
                </a:lnTo>
                <a:lnTo>
                  <a:pt x="299" y="467"/>
                </a:lnTo>
                <a:lnTo>
                  <a:pt x="299" y="472"/>
                </a:lnTo>
                <a:lnTo>
                  <a:pt x="304" y="479"/>
                </a:lnTo>
                <a:lnTo>
                  <a:pt x="306" y="484"/>
                </a:lnTo>
                <a:lnTo>
                  <a:pt x="311" y="489"/>
                </a:lnTo>
                <a:lnTo>
                  <a:pt x="314" y="499"/>
                </a:lnTo>
                <a:lnTo>
                  <a:pt x="309" y="502"/>
                </a:lnTo>
                <a:lnTo>
                  <a:pt x="309" y="507"/>
                </a:lnTo>
                <a:lnTo>
                  <a:pt x="314" y="512"/>
                </a:lnTo>
                <a:lnTo>
                  <a:pt x="311" y="514"/>
                </a:lnTo>
                <a:lnTo>
                  <a:pt x="309" y="517"/>
                </a:lnTo>
                <a:lnTo>
                  <a:pt x="304" y="519"/>
                </a:lnTo>
                <a:lnTo>
                  <a:pt x="304" y="527"/>
                </a:lnTo>
                <a:lnTo>
                  <a:pt x="299" y="529"/>
                </a:lnTo>
                <a:lnTo>
                  <a:pt x="289" y="527"/>
                </a:lnTo>
                <a:lnTo>
                  <a:pt x="276" y="514"/>
                </a:lnTo>
                <a:lnTo>
                  <a:pt x="271" y="514"/>
                </a:lnTo>
                <a:lnTo>
                  <a:pt x="262" y="512"/>
                </a:lnTo>
                <a:lnTo>
                  <a:pt x="244" y="509"/>
                </a:lnTo>
                <a:lnTo>
                  <a:pt x="237" y="512"/>
                </a:lnTo>
                <a:lnTo>
                  <a:pt x="224" y="509"/>
                </a:lnTo>
                <a:lnTo>
                  <a:pt x="209" y="512"/>
                </a:lnTo>
                <a:lnTo>
                  <a:pt x="204" y="514"/>
                </a:lnTo>
                <a:lnTo>
                  <a:pt x="197" y="512"/>
                </a:lnTo>
                <a:lnTo>
                  <a:pt x="192" y="514"/>
                </a:lnTo>
                <a:lnTo>
                  <a:pt x="187" y="517"/>
                </a:lnTo>
                <a:lnTo>
                  <a:pt x="174" y="517"/>
                </a:lnTo>
                <a:lnTo>
                  <a:pt x="162" y="512"/>
                </a:lnTo>
                <a:lnTo>
                  <a:pt x="157" y="509"/>
                </a:lnTo>
                <a:lnTo>
                  <a:pt x="149" y="509"/>
                </a:lnTo>
                <a:lnTo>
                  <a:pt x="147" y="512"/>
                </a:lnTo>
                <a:lnTo>
                  <a:pt x="139" y="512"/>
                </a:lnTo>
                <a:lnTo>
                  <a:pt x="134" y="509"/>
                </a:lnTo>
                <a:lnTo>
                  <a:pt x="132" y="512"/>
                </a:lnTo>
                <a:lnTo>
                  <a:pt x="132" y="517"/>
                </a:lnTo>
                <a:lnTo>
                  <a:pt x="134" y="524"/>
                </a:lnTo>
                <a:lnTo>
                  <a:pt x="134" y="529"/>
                </a:lnTo>
                <a:lnTo>
                  <a:pt x="124" y="532"/>
                </a:lnTo>
                <a:lnTo>
                  <a:pt x="109" y="532"/>
                </a:lnTo>
                <a:lnTo>
                  <a:pt x="89" y="529"/>
                </a:lnTo>
                <a:lnTo>
                  <a:pt x="84" y="527"/>
                </a:lnTo>
                <a:lnTo>
                  <a:pt x="77" y="527"/>
                </a:lnTo>
                <a:lnTo>
                  <a:pt x="72" y="532"/>
                </a:lnTo>
                <a:lnTo>
                  <a:pt x="72" y="534"/>
                </a:lnTo>
                <a:lnTo>
                  <a:pt x="67" y="539"/>
                </a:lnTo>
                <a:lnTo>
                  <a:pt x="67" y="542"/>
                </a:lnTo>
                <a:lnTo>
                  <a:pt x="64" y="539"/>
                </a:lnTo>
                <a:lnTo>
                  <a:pt x="69" y="542"/>
                </a:lnTo>
                <a:lnTo>
                  <a:pt x="69" y="547"/>
                </a:lnTo>
                <a:lnTo>
                  <a:pt x="62" y="559"/>
                </a:lnTo>
                <a:lnTo>
                  <a:pt x="57" y="567"/>
                </a:lnTo>
                <a:lnTo>
                  <a:pt x="62" y="569"/>
                </a:lnTo>
                <a:lnTo>
                  <a:pt x="74" y="572"/>
                </a:lnTo>
                <a:lnTo>
                  <a:pt x="79" y="577"/>
                </a:lnTo>
                <a:lnTo>
                  <a:pt x="84" y="579"/>
                </a:lnTo>
                <a:lnTo>
                  <a:pt x="87" y="574"/>
                </a:lnTo>
                <a:lnTo>
                  <a:pt x="89" y="567"/>
                </a:lnTo>
                <a:lnTo>
                  <a:pt x="92" y="567"/>
                </a:lnTo>
                <a:lnTo>
                  <a:pt x="104" y="577"/>
                </a:lnTo>
                <a:lnTo>
                  <a:pt x="107" y="584"/>
                </a:lnTo>
                <a:lnTo>
                  <a:pt x="99" y="592"/>
                </a:lnTo>
                <a:lnTo>
                  <a:pt x="89" y="592"/>
                </a:lnTo>
                <a:lnTo>
                  <a:pt x="77" y="594"/>
                </a:lnTo>
                <a:lnTo>
                  <a:pt x="74" y="589"/>
                </a:lnTo>
                <a:lnTo>
                  <a:pt x="69" y="584"/>
                </a:lnTo>
                <a:lnTo>
                  <a:pt x="59" y="592"/>
                </a:lnTo>
                <a:lnTo>
                  <a:pt x="54" y="592"/>
                </a:lnTo>
                <a:lnTo>
                  <a:pt x="47" y="597"/>
                </a:lnTo>
                <a:lnTo>
                  <a:pt x="42" y="599"/>
                </a:lnTo>
                <a:lnTo>
                  <a:pt x="42" y="607"/>
                </a:lnTo>
                <a:lnTo>
                  <a:pt x="50" y="609"/>
                </a:lnTo>
                <a:lnTo>
                  <a:pt x="50" y="614"/>
                </a:lnTo>
                <a:lnTo>
                  <a:pt x="40" y="619"/>
                </a:lnTo>
                <a:lnTo>
                  <a:pt x="30" y="622"/>
                </a:lnTo>
                <a:lnTo>
                  <a:pt x="32" y="624"/>
                </a:lnTo>
                <a:lnTo>
                  <a:pt x="32" y="627"/>
                </a:lnTo>
                <a:lnTo>
                  <a:pt x="22" y="632"/>
                </a:lnTo>
                <a:lnTo>
                  <a:pt x="22" y="637"/>
                </a:lnTo>
                <a:lnTo>
                  <a:pt x="17" y="639"/>
                </a:lnTo>
                <a:lnTo>
                  <a:pt x="5" y="637"/>
                </a:lnTo>
                <a:lnTo>
                  <a:pt x="0" y="642"/>
                </a:lnTo>
                <a:lnTo>
                  <a:pt x="0" y="649"/>
                </a:lnTo>
                <a:lnTo>
                  <a:pt x="7" y="659"/>
                </a:lnTo>
                <a:lnTo>
                  <a:pt x="12" y="657"/>
                </a:lnTo>
                <a:lnTo>
                  <a:pt x="20" y="657"/>
                </a:lnTo>
                <a:lnTo>
                  <a:pt x="20" y="662"/>
                </a:lnTo>
                <a:lnTo>
                  <a:pt x="17" y="669"/>
                </a:lnTo>
                <a:lnTo>
                  <a:pt x="20" y="677"/>
                </a:lnTo>
                <a:lnTo>
                  <a:pt x="25" y="679"/>
                </a:lnTo>
                <a:lnTo>
                  <a:pt x="27" y="684"/>
                </a:lnTo>
                <a:lnTo>
                  <a:pt x="25" y="689"/>
                </a:lnTo>
                <a:lnTo>
                  <a:pt x="20" y="702"/>
                </a:lnTo>
                <a:lnTo>
                  <a:pt x="17" y="719"/>
                </a:lnTo>
                <a:lnTo>
                  <a:pt x="20" y="722"/>
                </a:lnTo>
                <a:lnTo>
                  <a:pt x="25" y="724"/>
                </a:lnTo>
                <a:lnTo>
                  <a:pt x="32" y="722"/>
                </a:lnTo>
                <a:lnTo>
                  <a:pt x="40" y="719"/>
                </a:lnTo>
                <a:lnTo>
                  <a:pt x="42" y="714"/>
                </a:lnTo>
                <a:lnTo>
                  <a:pt x="45" y="714"/>
                </a:lnTo>
                <a:lnTo>
                  <a:pt x="47" y="712"/>
                </a:lnTo>
                <a:lnTo>
                  <a:pt x="50" y="714"/>
                </a:lnTo>
                <a:lnTo>
                  <a:pt x="52" y="717"/>
                </a:lnTo>
                <a:lnTo>
                  <a:pt x="62" y="719"/>
                </a:lnTo>
                <a:lnTo>
                  <a:pt x="62" y="714"/>
                </a:lnTo>
                <a:lnTo>
                  <a:pt x="59" y="712"/>
                </a:lnTo>
                <a:lnTo>
                  <a:pt x="59" y="707"/>
                </a:lnTo>
                <a:lnTo>
                  <a:pt x="67" y="707"/>
                </a:lnTo>
                <a:lnTo>
                  <a:pt x="67" y="704"/>
                </a:lnTo>
                <a:lnTo>
                  <a:pt x="69" y="704"/>
                </a:lnTo>
                <a:lnTo>
                  <a:pt x="72" y="707"/>
                </a:lnTo>
                <a:lnTo>
                  <a:pt x="77" y="707"/>
                </a:lnTo>
                <a:lnTo>
                  <a:pt x="79" y="699"/>
                </a:lnTo>
                <a:lnTo>
                  <a:pt x="79" y="692"/>
                </a:lnTo>
                <a:lnTo>
                  <a:pt x="82" y="689"/>
                </a:lnTo>
                <a:lnTo>
                  <a:pt x="84" y="687"/>
                </a:lnTo>
                <a:lnTo>
                  <a:pt x="87" y="679"/>
                </a:lnTo>
                <a:lnTo>
                  <a:pt x="89" y="674"/>
                </a:lnTo>
                <a:lnTo>
                  <a:pt x="94" y="674"/>
                </a:lnTo>
                <a:lnTo>
                  <a:pt x="99" y="677"/>
                </a:lnTo>
                <a:lnTo>
                  <a:pt x="104" y="679"/>
                </a:lnTo>
                <a:lnTo>
                  <a:pt x="104" y="684"/>
                </a:lnTo>
                <a:lnTo>
                  <a:pt x="102" y="689"/>
                </a:lnTo>
                <a:lnTo>
                  <a:pt x="104" y="694"/>
                </a:lnTo>
                <a:lnTo>
                  <a:pt x="109" y="694"/>
                </a:lnTo>
                <a:lnTo>
                  <a:pt x="112" y="699"/>
                </a:lnTo>
                <a:lnTo>
                  <a:pt x="109" y="707"/>
                </a:lnTo>
                <a:lnTo>
                  <a:pt x="112" y="712"/>
                </a:lnTo>
                <a:lnTo>
                  <a:pt x="112" y="722"/>
                </a:lnTo>
                <a:lnTo>
                  <a:pt x="117" y="727"/>
                </a:lnTo>
                <a:lnTo>
                  <a:pt x="117" y="732"/>
                </a:lnTo>
                <a:lnTo>
                  <a:pt x="119" y="732"/>
                </a:lnTo>
                <a:lnTo>
                  <a:pt x="127" y="732"/>
                </a:lnTo>
                <a:lnTo>
                  <a:pt x="132" y="729"/>
                </a:lnTo>
                <a:lnTo>
                  <a:pt x="132" y="727"/>
                </a:lnTo>
                <a:lnTo>
                  <a:pt x="142" y="722"/>
                </a:lnTo>
                <a:lnTo>
                  <a:pt x="147" y="719"/>
                </a:lnTo>
                <a:lnTo>
                  <a:pt x="147" y="714"/>
                </a:lnTo>
                <a:lnTo>
                  <a:pt x="152" y="712"/>
                </a:lnTo>
                <a:lnTo>
                  <a:pt x="162" y="702"/>
                </a:lnTo>
                <a:lnTo>
                  <a:pt x="172" y="702"/>
                </a:lnTo>
                <a:lnTo>
                  <a:pt x="172" y="707"/>
                </a:lnTo>
                <a:lnTo>
                  <a:pt x="182" y="707"/>
                </a:lnTo>
                <a:lnTo>
                  <a:pt x="184" y="702"/>
                </a:lnTo>
                <a:lnTo>
                  <a:pt x="197" y="702"/>
                </a:lnTo>
                <a:lnTo>
                  <a:pt x="199" y="707"/>
                </a:lnTo>
                <a:lnTo>
                  <a:pt x="189" y="712"/>
                </a:lnTo>
                <a:lnTo>
                  <a:pt x="194" y="714"/>
                </a:lnTo>
                <a:lnTo>
                  <a:pt x="194" y="714"/>
                </a:lnTo>
                <a:lnTo>
                  <a:pt x="197" y="712"/>
                </a:lnTo>
                <a:lnTo>
                  <a:pt x="199" y="712"/>
                </a:lnTo>
                <a:lnTo>
                  <a:pt x="204" y="717"/>
                </a:lnTo>
                <a:lnTo>
                  <a:pt x="207" y="714"/>
                </a:lnTo>
                <a:lnTo>
                  <a:pt x="212" y="714"/>
                </a:lnTo>
                <a:lnTo>
                  <a:pt x="214" y="712"/>
                </a:lnTo>
                <a:lnTo>
                  <a:pt x="217" y="709"/>
                </a:lnTo>
                <a:lnTo>
                  <a:pt x="222" y="709"/>
                </a:lnTo>
                <a:lnTo>
                  <a:pt x="224" y="714"/>
                </a:lnTo>
                <a:lnTo>
                  <a:pt x="227" y="722"/>
                </a:lnTo>
                <a:lnTo>
                  <a:pt x="239" y="739"/>
                </a:lnTo>
                <a:lnTo>
                  <a:pt x="247" y="744"/>
                </a:lnTo>
                <a:lnTo>
                  <a:pt x="247" y="752"/>
                </a:lnTo>
                <a:lnTo>
                  <a:pt x="252" y="754"/>
                </a:lnTo>
                <a:lnTo>
                  <a:pt x="254" y="759"/>
                </a:lnTo>
                <a:lnTo>
                  <a:pt x="264" y="759"/>
                </a:lnTo>
                <a:lnTo>
                  <a:pt x="276" y="759"/>
                </a:lnTo>
                <a:lnTo>
                  <a:pt x="281" y="761"/>
                </a:lnTo>
                <a:lnTo>
                  <a:pt x="281" y="766"/>
                </a:lnTo>
                <a:lnTo>
                  <a:pt x="291" y="769"/>
                </a:lnTo>
                <a:lnTo>
                  <a:pt x="301" y="774"/>
                </a:lnTo>
                <a:lnTo>
                  <a:pt x="306" y="786"/>
                </a:lnTo>
                <a:lnTo>
                  <a:pt x="311" y="796"/>
                </a:lnTo>
                <a:lnTo>
                  <a:pt x="321" y="799"/>
                </a:lnTo>
                <a:lnTo>
                  <a:pt x="324" y="806"/>
                </a:lnTo>
                <a:lnTo>
                  <a:pt x="324" y="819"/>
                </a:lnTo>
                <a:lnTo>
                  <a:pt x="329" y="831"/>
                </a:lnTo>
                <a:lnTo>
                  <a:pt x="336" y="834"/>
                </a:lnTo>
                <a:lnTo>
                  <a:pt x="339" y="844"/>
                </a:lnTo>
                <a:lnTo>
                  <a:pt x="341" y="854"/>
                </a:lnTo>
                <a:lnTo>
                  <a:pt x="339" y="859"/>
                </a:lnTo>
                <a:lnTo>
                  <a:pt x="336" y="856"/>
                </a:lnTo>
                <a:lnTo>
                  <a:pt x="331" y="854"/>
                </a:lnTo>
                <a:lnTo>
                  <a:pt x="324" y="864"/>
                </a:lnTo>
                <a:lnTo>
                  <a:pt x="326" y="866"/>
                </a:lnTo>
                <a:lnTo>
                  <a:pt x="326" y="871"/>
                </a:lnTo>
                <a:lnTo>
                  <a:pt x="334" y="874"/>
                </a:lnTo>
                <a:lnTo>
                  <a:pt x="334" y="884"/>
                </a:lnTo>
                <a:lnTo>
                  <a:pt x="336" y="889"/>
                </a:lnTo>
                <a:lnTo>
                  <a:pt x="334" y="894"/>
                </a:lnTo>
                <a:lnTo>
                  <a:pt x="336" y="894"/>
                </a:lnTo>
                <a:lnTo>
                  <a:pt x="339" y="899"/>
                </a:lnTo>
                <a:lnTo>
                  <a:pt x="339" y="904"/>
                </a:lnTo>
                <a:lnTo>
                  <a:pt x="341" y="904"/>
                </a:lnTo>
                <a:lnTo>
                  <a:pt x="344" y="909"/>
                </a:lnTo>
                <a:lnTo>
                  <a:pt x="351" y="914"/>
                </a:lnTo>
                <a:lnTo>
                  <a:pt x="354" y="909"/>
                </a:lnTo>
                <a:lnTo>
                  <a:pt x="359" y="909"/>
                </a:lnTo>
                <a:lnTo>
                  <a:pt x="361" y="911"/>
                </a:lnTo>
                <a:lnTo>
                  <a:pt x="369" y="911"/>
                </a:lnTo>
                <a:lnTo>
                  <a:pt x="374" y="916"/>
                </a:lnTo>
                <a:lnTo>
                  <a:pt x="376" y="919"/>
                </a:lnTo>
                <a:lnTo>
                  <a:pt x="381" y="924"/>
                </a:lnTo>
                <a:lnTo>
                  <a:pt x="384" y="926"/>
                </a:lnTo>
                <a:lnTo>
                  <a:pt x="386" y="931"/>
                </a:lnTo>
                <a:lnTo>
                  <a:pt x="386" y="929"/>
                </a:lnTo>
                <a:lnTo>
                  <a:pt x="389" y="929"/>
                </a:lnTo>
                <a:lnTo>
                  <a:pt x="396" y="931"/>
                </a:lnTo>
                <a:lnTo>
                  <a:pt x="399" y="934"/>
                </a:lnTo>
                <a:lnTo>
                  <a:pt x="404" y="934"/>
                </a:lnTo>
                <a:lnTo>
                  <a:pt x="406" y="936"/>
                </a:lnTo>
                <a:lnTo>
                  <a:pt x="409" y="931"/>
                </a:lnTo>
                <a:lnTo>
                  <a:pt x="416" y="931"/>
                </a:lnTo>
                <a:lnTo>
                  <a:pt x="426" y="934"/>
                </a:lnTo>
                <a:lnTo>
                  <a:pt x="429" y="936"/>
                </a:lnTo>
                <a:lnTo>
                  <a:pt x="434" y="936"/>
                </a:lnTo>
                <a:lnTo>
                  <a:pt x="439" y="941"/>
                </a:lnTo>
                <a:lnTo>
                  <a:pt x="446" y="949"/>
                </a:lnTo>
                <a:lnTo>
                  <a:pt x="454" y="949"/>
                </a:lnTo>
                <a:lnTo>
                  <a:pt x="459" y="951"/>
                </a:lnTo>
                <a:lnTo>
                  <a:pt x="461" y="954"/>
                </a:lnTo>
                <a:lnTo>
                  <a:pt x="466" y="961"/>
                </a:lnTo>
                <a:lnTo>
                  <a:pt x="469" y="966"/>
                </a:lnTo>
                <a:lnTo>
                  <a:pt x="471" y="966"/>
                </a:lnTo>
                <a:lnTo>
                  <a:pt x="471" y="956"/>
                </a:lnTo>
                <a:lnTo>
                  <a:pt x="474" y="954"/>
                </a:lnTo>
                <a:lnTo>
                  <a:pt x="476" y="956"/>
                </a:lnTo>
                <a:lnTo>
                  <a:pt x="481" y="956"/>
                </a:lnTo>
                <a:lnTo>
                  <a:pt x="486" y="961"/>
                </a:lnTo>
                <a:lnTo>
                  <a:pt x="488" y="966"/>
                </a:lnTo>
                <a:lnTo>
                  <a:pt x="493" y="974"/>
                </a:lnTo>
                <a:lnTo>
                  <a:pt x="503" y="971"/>
                </a:lnTo>
                <a:lnTo>
                  <a:pt x="508" y="971"/>
                </a:lnTo>
                <a:lnTo>
                  <a:pt x="508" y="984"/>
                </a:lnTo>
                <a:lnTo>
                  <a:pt x="511" y="989"/>
                </a:lnTo>
                <a:lnTo>
                  <a:pt x="516" y="989"/>
                </a:lnTo>
                <a:lnTo>
                  <a:pt x="523" y="991"/>
                </a:lnTo>
                <a:lnTo>
                  <a:pt x="526" y="989"/>
                </a:lnTo>
                <a:lnTo>
                  <a:pt x="531" y="986"/>
                </a:lnTo>
                <a:lnTo>
                  <a:pt x="536" y="981"/>
                </a:lnTo>
                <a:lnTo>
                  <a:pt x="546" y="984"/>
                </a:lnTo>
                <a:lnTo>
                  <a:pt x="553" y="986"/>
                </a:lnTo>
                <a:lnTo>
                  <a:pt x="553" y="991"/>
                </a:lnTo>
                <a:lnTo>
                  <a:pt x="563" y="996"/>
                </a:lnTo>
                <a:lnTo>
                  <a:pt x="568" y="1004"/>
                </a:lnTo>
                <a:lnTo>
                  <a:pt x="573" y="1004"/>
                </a:lnTo>
                <a:lnTo>
                  <a:pt x="578" y="1001"/>
                </a:lnTo>
                <a:lnTo>
                  <a:pt x="581" y="1001"/>
                </a:lnTo>
                <a:lnTo>
                  <a:pt x="588" y="999"/>
                </a:lnTo>
                <a:lnTo>
                  <a:pt x="593" y="1001"/>
                </a:lnTo>
                <a:lnTo>
                  <a:pt x="593" y="1001"/>
                </a:lnTo>
                <a:lnTo>
                  <a:pt x="598" y="996"/>
                </a:lnTo>
                <a:lnTo>
                  <a:pt x="606" y="996"/>
                </a:lnTo>
                <a:lnTo>
                  <a:pt x="608" y="1001"/>
                </a:lnTo>
                <a:lnTo>
                  <a:pt x="608" y="1009"/>
                </a:lnTo>
                <a:lnTo>
                  <a:pt x="613" y="1011"/>
                </a:lnTo>
                <a:lnTo>
                  <a:pt x="613" y="1011"/>
                </a:lnTo>
                <a:lnTo>
                  <a:pt x="621" y="1009"/>
                </a:lnTo>
                <a:lnTo>
                  <a:pt x="626" y="996"/>
                </a:lnTo>
                <a:lnTo>
                  <a:pt x="638" y="989"/>
                </a:lnTo>
                <a:lnTo>
                  <a:pt x="648" y="989"/>
                </a:lnTo>
                <a:lnTo>
                  <a:pt x="651" y="994"/>
                </a:lnTo>
                <a:lnTo>
                  <a:pt x="663" y="994"/>
                </a:lnTo>
                <a:lnTo>
                  <a:pt x="668" y="996"/>
                </a:lnTo>
                <a:lnTo>
                  <a:pt x="673" y="994"/>
                </a:lnTo>
                <a:lnTo>
                  <a:pt x="681" y="994"/>
                </a:lnTo>
                <a:lnTo>
                  <a:pt x="686" y="999"/>
                </a:lnTo>
                <a:lnTo>
                  <a:pt x="686" y="999"/>
                </a:lnTo>
                <a:lnTo>
                  <a:pt x="690" y="999"/>
                </a:lnTo>
                <a:lnTo>
                  <a:pt x="700" y="996"/>
                </a:lnTo>
                <a:lnTo>
                  <a:pt x="705" y="996"/>
                </a:lnTo>
                <a:lnTo>
                  <a:pt x="708" y="989"/>
                </a:lnTo>
                <a:lnTo>
                  <a:pt x="710" y="986"/>
                </a:lnTo>
                <a:lnTo>
                  <a:pt x="715" y="989"/>
                </a:lnTo>
                <a:lnTo>
                  <a:pt x="715" y="984"/>
                </a:lnTo>
                <a:lnTo>
                  <a:pt x="720" y="984"/>
                </a:lnTo>
                <a:lnTo>
                  <a:pt x="723" y="979"/>
                </a:lnTo>
                <a:lnTo>
                  <a:pt x="728" y="971"/>
                </a:lnTo>
                <a:lnTo>
                  <a:pt x="733" y="971"/>
                </a:lnTo>
                <a:lnTo>
                  <a:pt x="743" y="969"/>
                </a:lnTo>
                <a:lnTo>
                  <a:pt x="748" y="961"/>
                </a:lnTo>
                <a:lnTo>
                  <a:pt x="748" y="956"/>
                </a:lnTo>
                <a:lnTo>
                  <a:pt x="753" y="956"/>
                </a:lnTo>
                <a:lnTo>
                  <a:pt x="758" y="951"/>
                </a:lnTo>
                <a:lnTo>
                  <a:pt x="763" y="959"/>
                </a:lnTo>
                <a:lnTo>
                  <a:pt x="770" y="956"/>
                </a:lnTo>
                <a:lnTo>
                  <a:pt x="780" y="959"/>
                </a:lnTo>
                <a:lnTo>
                  <a:pt x="783" y="956"/>
                </a:lnTo>
                <a:lnTo>
                  <a:pt x="783" y="951"/>
                </a:lnTo>
                <a:lnTo>
                  <a:pt x="793" y="946"/>
                </a:lnTo>
                <a:lnTo>
                  <a:pt x="798" y="946"/>
                </a:lnTo>
                <a:lnTo>
                  <a:pt x="800" y="951"/>
                </a:lnTo>
                <a:lnTo>
                  <a:pt x="803" y="949"/>
                </a:lnTo>
                <a:lnTo>
                  <a:pt x="805" y="951"/>
                </a:lnTo>
                <a:lnTo>
                  <a:pt x="800" y="959"/>
                </a:lnTo>
                <a:lnTo>
                  <a:pt x="803" y="964"/>
                </a:lnTo>
                <a:lnTo>
                  <a:pt x="808" y="961"/>
                </a:lnTo>
                <a:lnTo>
                  <a:pt x="810" y="961"/>
                </a:lnTo>
                <a:lnTo>
                  <a:pt x="810" y="966"/>
                </a:lnTo>
                <a:lnTo>
                  <a:pt x="815" y="971"/>
                </a:lnTo>
                <a:lnTo>
                  <a:pt x="815" y="974"/>
                </a:lnTo>
                <a:lnTo>
                  <a:pt x="810" y="979"/>
                </a:lnTo>
                <a:lnTo>
                  <a:pt x="813" y="984"/>
                </a:lnTo>
                <a:lnTo>
                  <a:pt x="818" y="984"/>
                </a:lnTo>
                <a:lnTo>
                  <a:pt x="820" y="984"/>
                </a:lnTo>
                <a:lnTo>
                  <a:pt x="825" y="984"/>
                </a:lnTo>
                <a:lnTo>
                  <a:pt x="833" y="991"/>
                </a:lnTo>
                <a:lnTo>
                  <a:pt x="830" y="989"/>
                </a:lnTo>
                <a:lnTo>
                  <a:pt x="835" y="986"/>
                </a:lnTo>
                <a:lnTo>
                  <a:pt x="840" y="989"/>
                </a:lnTo>
                <a:lnTo>
                  <a:pt x="845" y="986"/>
                </a:lnTo>
                <a:lnTo>
                  <a:pt x="850" y="989"/>
                </a:lnTo>
                <a:lnTo>
                  <a:pt x="855" y="994"/>
                </a:lnTo>
                <a:lnTo>
                  <a:pt x="860" y="999"/>
                </a:lnTo>
                <a:lnTo>
                  <a:pt x="860" y="1006"/>
                </a:lnTo>
                <a:lnTo>
                  <a:pt x="865" y="1006"/>
                </a:lnTo>
                <a:lnTo>
                  <a:pt x="870" y="1011"/>
                </a:lnTo>
                <a:lnTo>
                  <a:pt x="870" y="1021"/>
                </a:lnTo>
                <a:lnTo>
                  <a:pt x="875" y="1029"/>
                </a:lnTo>
                <a:lnTo>
                  <a:pt x="875" y="1036"/>
                </a:lnTo>
                <a:lnTo>
                  <a:pt x="875" y="1048"/>
                </a:lnTo>
                <a:lnTo>
                  <a:pt x="875" y="1053"/>
                </a:lnTo>
                <a:lnTo>
                  <a:pt x="873" y="1056"/>
                </a:lnTo>
                <a:lnTo>
                  <a:pt x="868" y="1058"/>
                </a:lnTo>
                <a:lnTo>
                  <a:pt x="868" y="1063"/>
                </a:lnTo>
                <a:lnTo>
                  <a:pt x="865" y="1066"/>
                </a:lnTo>
                <a:lnTo>
                  <a:pt x="863" y="1068"/>
                </a:lnTo>
                <a:lnTo>
                  <a:pt x="865" y="1073"/>
                </a:lnTo>
                <a:lnTo>
                  <a:pt x="863" y="1076"/>
                </a:lnTo>
                <a:lnTo>
                  <a:pt x="860" y="1076"/>
                </a:lnTo>
                <a:lnTo>
                  <a:pt x="858" y="1078"/>
                </a:lnTo>
                <a:lnTo>
                  <a:pt x="855" y="1083"/>
                </a:lnTo>
                <a:lnTo>
                  <a:pt x="858" y="1088"/>
                </a:lnTo>
                <a:lnTo>
                  <a:pt x="855" y="1091"/>
                </a:lnTo>
                <a:lnTo>
                  <a:pt x="855" y="1096"/>
                </a:lnTo>
                <a:lnTo>
                  <a:pt x="858" y="1098"/>
                </a:lnTo>
                <a:lnTo>
                  <a:pt x="860" y="1101"/>
                </a:lnTo>
                <a:lnTo>
                  <a:pt x="865" y="1103"/>
                </a:lnTo>
                <a:lnTo>
                  <a:pt x="863" y="1111"/>
                </a:lnTo>
                <a:lnTo>
                  <a:pt x="865" y="1116"/>
                </a:lnTo>
                <a:lnTo>
                  <a:pt x="873" y="1113"/>
                </a:lnTo>
                <a:lnTo>
                  <a:pt x="885" y="1111"/>
                </a:lnTo>
                <a:lnTo>
                  <a:pt x="885" y="1113"/>
                </a:lnTo>
                <a:lnTo>
                  <a:pt x="885" y="1118"/>
                </a:lnTo>
                <a:lnTo>
                  <a:pt x="888" y="1121"/>
                </a:lnTo>
                <a:lnTo>
                  <a:pt x="895" y="1118"/>
                </a:lnTo>
                <a:lnTo>
                  <a:pt x="895" y="1123"/>
                </a:lnTo>
                <a:lnTo>
                  <a:pt x="893" y="1128"/>
                </a:lnTo>
                <a:lnTo>
                  <a:pt x="897" y="1131"/>
                </a:lnTo>
                <a:lnTo>
                  <a:pt x="902" y="1133"/>
                </a:lnTo>
                <a:lnTo>
                  <a:pt x="902" y="1136"/>
                </a:lnTo>
                <a:lnTo>
                  <a:pt x="905" y="1138"/>
                </a:lnTo>
                <a:lnTo>
                  <a:pt x="905" y="1136"/>
                </a:lnTo>
                <a:lnTo>
                  <a:pt x="912" y="1136"/>
                </a:lnTo>
                <a:lnTo>
                  <a:pt x="917" y="1138"/>
                </a:lnTo>
                <a:lnTo>
                  <a:pt x="917" y="1143"/>
                </a:lnTo>
                <a:lnTo>
                  <a:pt x="915" y="1148"/>
                </a:lnTo>
                <a:lnTo>
                  <a:pt x="915" y="1151"/>
                </a:lnTo>
                <a:lnTo>
                  <a:pt x="910" y="1161"/>
                </a:lnTo>
                <a:lnTo>
                  <a:pt x="905" y="1166"/>
                </a:lnTo>
                <a:lnTo>
                  <a:pt x="905" y="1168"/>
                </a:lnTo>
                <a:lnTo>
                  <a:pt x="910" y="1168"/>
                </a:lnTo>
                <a:lnTo>
                  <a:pt x="917" y="1168"/>
                </a:lnTo>
                <a:lnTo>
                  <a:pt x="920" y="1171"/>
                </a:lnTo>
                <a:lnTo>
                  <a:pt x="922" y="1166"/>
                </a:lnTo>
                <a:lnTo>
                  <a:pt x="927" y="1171"/>
                </a:lnTo>
                <a:lnTo>
                  <a:pt x="925" y="1178"/>
                </a:lnTo>
                <a:lnTo>
                  <a:pt x="927" y="1183"/>
                </a:lnTo>
                <a:lnTo>
                  <a:pt x="932" y="1186"/>
                </a:lnTo>
                <a:lnTo>
                  <a:pt x="937" y="1183"/>
                </a:lnTo>
                <a:lnTo>
                  <a:pt x="942" y="1183"/>
                </a:lnTo>
                <a:lnTo>
                  <a:pt x="955" y="1178"/>
                </a:lnTo>
                <a:lnTo>
                  <a:pt x="960" y="1178"/>
                </a:lnTo>
                <a:lnTo>
                  <a:pt x="960" y="1183"/>
                </a:lnTo>
                <a:lnTo>
                  <a:pt x="957" y="1186"/>
                </a:lnTo>
                <a:lnTo>
                  <a:pt x="960" y="1188"/>
                </a:lnTo>
                <a:lnTo>
                  <a:pt x="962" y="1193"/>
                </a:lnTo>
                <a:lnTo>
                  <a:pt x="970" y="1191"/>
                </a:lnTo>
                <a:lnTo>
                  <a:pt x="975" y="1193"/>
                </a:lnTo>
                <a:lnTo>
                  <a:pt x="972" y="1186"/>
                </a:lnTo>
                <a:lnTo>
                  <a:pt x="972" y="1178"/>
                </a:lnTo>
                <a:lnTo>
                  <a:pt x="970" y="1173"/>
                </a:lnTo>
                <a:lnTo>
                  <a:pt x="970" y="1163"/>
                </a:lnTo>
                <a:lnTo>
                  <a:pt x="975" y="1161"/>
                </a:lnTo>
                <a:lnTo>
                  <a:pt x="975" y="1158"/>
                </a:lnTo>
                <a:lnTo>
                  <a:pt x="985" y="1158"/>
                </a:lnTo>
                <a:lnTo>
                  <a:pt x="985" y="1158"/>
                </a:lnTo>
                <a:lnTo>
                  <a:pt x="987" y="1156"/>
                </a:lnTo>
                <a:lnTo>
                  <a:pt x="987" y="1156"/>
                </a:lnTo>
                <a:lnTo>
                  <a:pt x="990" y="1153"/>
                </a:lnTo>
                <a:lnTo>
                  <a:pt x="992" y="1151"/>
                </a:lnTo>
                <a:lnTo>
                  <a:pt x="997" y="1148"/>
                </a:lnTo>
                <a:lnTo>
                  <a:pt x="1002" y="1148"/>
                </a:lnTo>
                <a:lnTo>
                  <a:pt x="1002" y="1153"/>
                </a:lnTo>
                <a:lnTo>
                  <a:pt x="1005" y="1156"/>
                </a:lnTo>
                <a:lnTo>
                  <a:pt x="1007" y="1156"/>
                </a:lnTo>
                <a:lnTo>
                  <a:pt x="1007" y="1151"/>
                </a:lnTo>
                <a:lnTo>
                  <a:pt x="1012" y="1148"/>
                </a:lnTo>
                <a:lnTo>
                  <a:pt x="1017" y="1153"/>
                </a:lnTo>
                <a:lnTo>
                  <a:pt x="1020" y="1148"/>
                </a:lnTo>
                <a:lnTo>
                  <a:pt x="1025" y="1148"/>
                </a:lnTo>
                <a:lnTo>
                  <a:pt x="1025" y="1153"/>
                </a:lnTo>
                <a:lnTo>
                  <a:pt x="1030" y="1151"/>
                </a:lnTo>
                <a:lnTo>
                  <a:pt x="1032" y="1146"/>
                </a:lnTo>
                <a:lnTo>
                  <a:pt x="1037" y="1143"/>
                </a:lnTo>
                <a:lnTo>
                  <a:pt x="1045" y="1146"/>
                </a:lnTo>
                <a:lnTo>
                  <a:pt x="1052" y="1143"/>
                </a:lnTo>
                <a:lnTo>
                  <a:pt x="1052" y="1136"/>
                </a:lnTo>
                <a:lnTo>
                  <a:pt x="1057" y="1133"/>
                </a:lnTo>
                <a:lnTo>
                  <a:pt x="1065" y="1133"/>
                </a:lnTo>
                <a:lnTo>
                  <a:pt x="1067" y="1128"/>
                </a:lnTo>
                <a:lnTo>
                  <a:pt x="1075" y="1133"/>
                </a:lnTo>
                <a:lnTo>
                  <a:pt x="1075" y="1136"/>
                </a:lnTo>
                <a:lnTo>
                  <a:pt x="1080" y="1138"/>
                </a:lnTo>
                <a:lnTo>
                  <a:pt x="1082" y="1141"/>
                </a:lnTo>
                <a:lnTo>
                  <a:pt x="1095" y="1141"/>
                </a:lnTo>
                <a:lnTo>
                  <a:pt x="1097" y="1143"/>
                </a:lnTo>
                <a:lnTo>
                  <a:pt x="1102" y="1141"/>
                </a:lnTo>
                <a:lnTo>
                  <a:pt x="1107" y="1146"/>
                </a:lnTo>
                <a:lnTo>
                  <a:pt x="1107" y="1151"/>
                </a:lnTo>
                <a:lnTo>
                  <a:pt x="1102" y="1151"/>
                </a:lnTo>
                <a:lnTo>
                  <a:pt x="1100" y="1161"/>
                </a:lnTo>
                <a:lnTo>
                  <a:pt x="1102" y="1161"/>
                </a:lnTo>
                <a:lnTo>
                  <a:pt x="1105" y="1166"/>
                </a:lnTo>
                <a:lnTo>
                  <a:pt x="1114" y="1171"/>
                </a:lnTo>
                <a:lnTo>
                  <a:pt x="1117" y="1176"/>
                </a:lnTo>
                <a:lnTo>
                  <a:pt x="1122" y="1176"/>
                </a:lnTo>
                <a:lnTo>
                  <a:pt x="1127" y="1181"/>
                </a:lnTo>
                <a:lnTo>
                  <a:pt x="1132" y="1178"/>
                </a:lnTo>
                <a:lnTo>
                  <a:pt x="1134" y="1181"/>
                </a:lnTo>
                <a:lnTo>
                  <a:pt x="1139" y="1178"/>
                </a:lnTo>
                <a:lnTo>
                  <a:pt x="1142" y="1181"/>
                </a:lnTo>
                <a:lnTo>
                  <a:pt x="1144" y="1181"/>
                </a:lnTo>
                <a:lnTo>
                  <a:pt x="1147" y="1181"/>
                </a:lnTo>
                <a:lnTo>
                  <a:pt x="1149" y="1181"/>
                </a:lnTo>
                <a:lnTo>
                  <a:pt x="1154" y="1181"/>
                </a:lnTo>
                <a:lnTo>
                  <a:pt x="1154" y="1178"/>
                </a:lnTo>
                <a:lnTo>
                  <a:pt x="1154" y="1173"/>
                </a:lnTo>
                <a:lnTo>
                  <a:pt x="1157" y="1176"/>
                </a:lnTo>
                <a:lnTo>
                  <a:pt x="1162" y="1181"/>
                </a:lnTo>
                <a:lnTo>
                  <a:pt x="1164" y="1181"/>
                </a:lnTo>
                <a:lnTo>
                  <a:pt x="1172" y="1186"/>
                </a:lnTo>
                <a:lnTo>
                  <a:pt x="1174" y="1186"/>
                </a:lnTo>
                <a:lnTo>
                  <a:pt x="1179" y="1186"/>
                </a:lnTo>
                <a:lnTo>
                  <a:pt x="1182" y="1181"/>
                </a:lnTo>
                <a:lnTo>
                  <a:pt x="1184" y="1186"/>
                </a:lnTo>
                <a:lnTo>
                  <a:pt x="1189" y="1183"/>
                </a:lnTo>
                <a:lnTo>
                  <a:pt x="1192" y="1186"/>
                </a:lnTo>
                <a:lnTo>
                  <a:pt x="1192" y="1186"/>
                </a:lnTo>
                <a:lnTo>
                  <a:pt x="1187" y="1186"/>
                </a:lnTo>
                <a:lnTo>
                  <a:pt x="1187" y="1191"/>
                </a:lnTo>
                <a:lnTo>
                  <a:pt x="1184" y="1196"/>
                </a:lnTo>
                <a:lnTo>
                  <a:pt x="1182" y="1198"/>
                </a:lnTo>
                <a:lnTo>
                  <a:pt x="1189" y="1208"/>
                </a:lnTo>
                <a:lnTo>
                  <a:pt x="1194" y="1211"/>
                </a:lnTo>
                <a:lnTo>
                  <a:pt x="1192" y="1213"/>
                </a:lnTo>
                <a:lnTo>
                  <a:pt x="1194" y="1218"/>
                </a:lnTo>
                <a:lnTo>
                  <a:pt x="1194" y="1218"/>
                </a:lnTo>
                <a:lnTo>
                  <a:pt x="1197" y="1213"/>
                </a:lnTo>
                <a:lnTo>
                  <a:pt x="1202" y="1216"/>
                </a:lnTo>
                <a:lnTo>
                  <a:pt x="1202" y="1216"/>
                </a:lnTo>
                <a:lnTo>
                  <a:pt x="1207" y="1216"/>
                </a:lnTo>
                <a:lnTo>
                  <a:pt x="1212" y="1211"/>
                </a:lnTo>
                <a:lnTo>
                  <a:pt x="1209" y="1208"/>
                </a:lnTo>
                <a:lnTo>
                  <a:pt x="1207" y="1208"/>
                </a:lnTo>
                <a:lnTo>
                  <a:pt x="1207" y="1206"/>
                </a:lnTo>
                <a:lnTo>
                  <a:pt x="1204" y="1201"/>
                </a:lnTo>
                <a:lnTo>
                  <a:pt x="1202" y="1201"/>
                </a:lnTo>
                <a:lnTo>
                  <a:pt x="1199" y="1196"/>
                </a:lnTo>
                <a:lnTo>
                  <a:pt x="1199" y="1193"/>
                </a:lnTo>
                <a:lnTo>
                  <a:pt x="1204" y="1191"/>
                </a:lnTo>
                <a:lnTo>
                  <a:pt x="1204" y="1188"/>
                </a:lnTo>
                <a:lnTo>
                  <a:pt x="1204" y="1186"/>
                </a:lnTo>
                <a:lnTo>
                  <a:pt x="1207" y="1186"/>
                </a:lnTo>
                <a:lnTo>
                  <a:pt x="1207" y="1183"/>
                </a:lnTo>
                <a:lnTo>
                  <a:pt x="1207" y="1183"/>
                </a:lnTo>
                <a:lnTo>
                  <a:pt x="1209" y="1186"/>
                </a:lnTo>
                <a:lnTo>
                  <a:pt x="1209" y="1186"/>
                </a:lnTo>
                <a:lnTo>
                  <a:pt x="1209" y="1186"/>
                </a:lnTo>
                <a:lnTo>
                  <a:pt x="1209" y="1188"/>
                </a:lnTo>
                <a:lnTo>
                  <a:pt x="1212" y="1188"/>
                </a:lnTo>
                <a:lnTo>
                  <a:pt x="1212" y="1191"/>
                </a:lnTo>
                <a:lnTo>
                  <a:pt x="1212" y="1191"/>
                </a:lnTo>
                <a:lnTo>
                  <a:pt x="1214" y="1188"/>
                </a:lnTo>
                <a:lnTo>
                  <a:pt x="1219" y="1186"/>
                </a:lnTo>
                <a:lnTo>
                  <a:pt x="1222" y="1183"/>
                </a:lnTo>
                <a:lnTo>
                  <a:pt x="1227" y="1183"/>
                </a:lnTo>
                <a:lnTo>
                  <a:pt x="1232" y="1183"/>
                </a:lnTo>
                <a:lnTo>
                  <a:pt x="1237" y="1178"/>
                </a:lnTo>
                <a:lnTo>
                  <a:pt x="1234" y="1176"/>
                </a:lnTo>
                <a:lnTo>
                  <a:pt x="1239" y="1176"/>
                </a:lnTo>
                <a:lnTo>
                  <a:pt x="1244" y="1173"/>
                </a:lnTo>
                <a:lnTo>
                  <a:pt x="1249" y="1176"/>
                </a:lnTo>
                <a:lnTo>
                  <a:pt x="1254" y="1176"/>
                </a:lnTo>
                <a:lnTo>
                  <a:pt x="1259" y="1173"/>
                </a:lnTo>
                <a:lnTo>
                  <a:pt x="1264" y="1168"/>
                </a:lnTo>
                <a:lnTo>
                  <a:pt x="1267" y="1163"/>
                </a:lnTo>
                <a:lnTo>
                  <a:pt x="1269" y="1161"/>
                </a:lnTo>
                <a:lnTo>
                  <a:pt x="1269" y="1161"/>
                </a:lnTo>
                <a:lnTo>
                  <a:pt x="1272" y="1163"/>
                </a:lnTo>
                <a:lnTo>
                  <a:pt x="1274" y="1161"/>
                </a:lnTo>
                <a:lnTo>
                  <a:pt x="1277" y="1158"/>
                </a:lnTo>
                <a:lnTo>
                  <a:pt x="1282" y="1156"/>
                </a:lnTo>
                <a:lnTo>
                  <a:pt x="1279" y="1148"/>
                </a:lnTo>
                <a:lnTo>
                  <a:pt x="1279" y="1143"/>
                </a:lnTo>
                <a:lnTo>
                  <a:pt x="1279" y="1141"/>
                </a:lnTo>
                <a:lnTo>
                  <a:pt x="1279" y="1138"/>
                </a:lnTo>
                <a:lnTo>
                  <a:pt x="1282" y="1141"/>
                </a:lnTo>
                <a:lnTo>
                  <a:pt x="1287" y="1143"/>
                </a:lnTo>
                <a:lnTo>
                  <a:pt x="1289" y="1146"/>
                </a:lnTo>
                <a:lnTo>
                  <a:pt x="1294" y="1153"/>
                </a:lnTo>
                <a:lnTo>
                  <a:pt x="1297" y="1151"/>
                </a:lnTo>
                <a:lnTo>
                  <a:pt x="1294" y="1156"/>
                </a:lnTo>
                <a:lnTo>
                  <a:pt x="1292" y="1156"/>
                </a:lnTo>
                <a:lnTo>
                  <a:pt x="1292" y="1158"/>
                </a:lnTo>
                <a:lnTo>
                  <a:pt x="1302" y="1153"/>
                </a:lnTo>
                <a:lnTo>
                  <a:pt x="1302" y="1148"/>
                </a:lnTo>
                <a:lnTo>
                  <a:pt x="1307" y="1148"/>
                </a:lnTo>
                <a:lnTo>
                  <a:pt x="1309" y="1146"/>
                </a:lnTo>
                <a:lnTo>
                  <a:pt x="1314" y="1148"/>
                </a:lnTo>
                <a:lnTo>
                  <a:pt x="1317" y="1146"/>
                </a:lnTo>
                <a:lnTo>
                  <a:pt x="1317" y="1143"/>
                </a:lnTo>
                <a:lnTo>
                  <a:pt x="1321" y="1141"/>
                </a:lnTo>
                <a:lnTo>
                  <a:pt x="1324" y="1138"/>
                </a:lnTo>
                <a:lnTo>
                  <a:pt x="1324" y="1143"/>
                </a:lnTo>
                <a:lnTo>
                  <a:pt x="1329" y="1146"/>
                </a:lnTo>
                <a:lnTo>
                  <a:pt x="1331" y="1146"/>
                </a:lnTo>
                <a:lnTo>
                  <a:pt x="1331" y="1141"/>
                </a:lnTo>
                <a:lnTo>
                  <a:pt x="1334" y="1141"/>
                </a:lnTo>
                <a:lnTo>
                  <a:pt x="1336" y="1141"/>
                </a:lnTo>
                <a:lnTo>
                  <a:pt x="1339" y="1141"/>
                </a:lnTo>
                <a:lnTo>
                  <a:pt x="1341" y="1138"/>
                </a:lnTo>
                <a:lnTo>
                  <a:pt x="1346" y="1138"/>
                </a:lnTo>
                <a:lnTo>
                  <a:pt x="1349" y="1136"/>
                </a:lnTo>
                <a:lnTo>
                  <a:pt x="1351" y="1133"/>
                </a:lnTo>
                <a:lnTo>
                  <a:pt x="1354" y="1136"/>
                </a:lnTo>
                <a:lnTo>
                  <a:pt x="1354" y="1133"/>
                </a:lnTo>
                <a:lnTo>
                  <a:pt x="1356" y="1133"/>
                </a:lnTo>
                <a:lnTo>
                  <a:pt x="1361" y="1133"/>
                </a:lnTo>
                <a:lnTo>
                  <a:pt x="1359" y="1128"/>
                </a:lnTo>
                <a:lnTo>
                  <a:pt x="1361" y="1126"/>
                </a:lnTo>
                <a:lnTo>
                  <a:pt x="1364" y="1121"/>
                </a:lnTo>
                <a:lnTo>
                  <a:pt x="1361" y="1116"/>
                </a:lnTo>
                <a:lnTo>
                  <a:pt x="1364" y="1116"/>
                </a:lnTo>
                <a:lnTo>
                  <a:pt x="1366" y="1113"/>
                </a:lnTo>
                <a:lnTo>
                  <a:pt x="1371" y="1111"/>
                </a:lnTo>
                <a:lnTo>
                  <a:pt x="1374" y="1113"/>
                </a:lnTo>
                <a:lnTo>
                  <a:pt x="1379" y="1113"/>
                </a:lnTo>
                <a:lnTo>
                  <a:pt x="1379" y="1108"/>
                </a:lnTo>
                <a:lnTo>
                  <a:pt x="1381" y="1108"/>
                </a:lnTo>
                <a:lnTo>
                  <a:pt x="1384" y="1103"/>
                </a:lnTo>
                <a:lnTo>
                  <a:pt x="1386" y="1103"/>
                </a:lnTo>
                <a:lnTo>
                  <a:pt x="1386" y="1106"/>
                </a:lnTo>
                <a:lnTo>
                  <a:pt x="1386" y="1103"/>
                </a:lnTo>
                <a:lnTo>
                  <a:pt x="1391" y="1101"/>
                </a:lnTo>
                <a:lnTo>
                  <a:pt x="1394" y="1103"/>
                </a:lnTo>
                <a:lnTo>
                  <a:pt x="1394" y="1098"/>
                </a:lnTo>
                <a:lnTo>
                  <a:pt x="1396" y="1098"/>
                </a:lnTo>
                <a:lnTo>
                  <a:pt x="1399" y="1093"/>
                </a:lnTo>
                <a:lnTo>
                  <a:pt x="1394" y="1093"/>
                </a:lnTo>
                <a:lnTo>
                  <a:pt x="1391" y="1093"/>
                </a:lnTo>
                <a:lnTo>
                  <a:pt x="1384" y="1088"/>
                </a:lnTo>
                <a:lnTo>
                  <a:pt x="1394" y="1088"/>
                </a:lnTo>
                <a:lnTo>
                  <a:pt x="1396" y="1083"/>
                </a:lnTo>
                <a:lnTo>
                  <a:pt x="1399" y="1086"/>
                </a:lnTo>
                <a:lnTo>
                  <a:pt x="1401" y="1081"/>
                </a:lnTo>
                <a:lnTo>
                  <a:pt x="1409" y="1086"/>
                </a:lnTo>
                <a:lnTo>
                  <a:pt x="1411" y="1081"/>
                </a:lnTo>
                <a:lnTo>
                  <a:pt x="1406" y="1078"/>
                </a:lnTo>
                <a:lnTo>
                  <a:pt x="1404" y="1076"/>
                </a:lnTo>
                <a:lnTo>
                  <a:pt x="1406" y="1073"/>
                </a:lnTo>
                <a:lnTo>
                  <a:pt x="1411" y="1078"/>
                </a:lnTo>
                <a:lnTo>
                  <a:pt x="1414" y="1073"/>
                </a:lnTo>
                <a:lnTo>
                  <a:pt x="1414" y="1073"/>
                </a:lnTo>
                <a:lnTo>
                  <a:pt x="1409" y="1073"/>
                </a:lnTo>
                <a:lnTo>
                  <a:pt x="1409" y="1068"/>
                </a:lnTo>
                <a:lnTo>
                  <a:pt x="1406" y="1066"/>
                </a:lnTo>
                <a:lnTo>
                  <a:pt x="1411" y="1063"/>
                </a:lnTo>
                <a:lnTo>
                  <a:pt x="1411" y="1066"/>
                </a:lnTo>
                <a:lnTo>
                  <a:pt x="1414" y="1066"/>
                </a:lnTo>
                <a:lnTo>
                  <a:pt x="1416" y="1068"/>
                </a:lnTo>
                <a:lnTo>
                  <a:pt x="1416" y="1066"/>
                </a:lnTo>
                <a:lnTo>
                  <a:pt x="1411" y="1061"/>
                </a:lnTo>
                <a:lnTo>
                  <a:pt x="1414" y="1058"/>
                </a:lnTo>
                <a:lnTo>
                  <a:pt x="1416" y="1058"/>
                </a:lnTo>
                <a:lnTo>
                  <a:pt x="1416" y="1053"/>
                </a:lnTo>
                <a:lnTo>
                  <a:pt x="1421" y="1058"/>
                </a:lnTo>
                <a:lnTo>
                  <a:pt x="1421" y="1061"/>
                </a:lnTo>
                <a:lnTo>
                  <a:pt x="1424" y="1061"/>
                </a:lnTo>
                <a:lnTo>
                  <a:pt x="1426" y="1066"/>
                </a:lnTo>
                <a:lnTo>
                  <a:pt x="1426" y="1058"/>
                </a:lnTo>
                <a:lnTo>
                  <a:pt x="1426" y="1056"/>
                </a:lnTo>
                <a:lnTo>
                  <a:pt x="1424" y="1056"/>
                </a:lnTo>
                <a:lnTo>
                  <a:pt x="1421" y="1053"/>
                </a:lnTo>
                <a:lnTo>
                  <a:pt x="1426" y="1051"/>
                </a:lnTo>
                <a:lnTo>
                  <a:pt x="1426" y="1048"/>
                </a:lnTo>
                <a:lnTo>
                  <a:pt x="1421" y="1046"/>
                </a:lnTo>
                <a:lnTo>
                  <a:pt x="1429" y="1041"/>
                </a:lnTo>
                <a:lnTo>
                  <a:pt x="1424" y="1039"/>
                </a:lnTo>
                <a:lnTo>
                  <a:pt x="1421" y="1039"/>
                </a:lnTo>
                <a:lnTo>
                  <a:pt x="1419" y="1041"/>
                </a:lnTo>
                <a:lnTo>
                  <a:pt x="1419" y="1036"/>
                </a:lnTo>
                <a:lnTo>
                  <a:pt x="1424" y="1034"/>
                </a:lnTo>
                <a:lnTo>
                  <a:pt x="1434" y="1029"/>
                </a:lnTo>
                <a:lnTo>
                  <a:pt x="1431" y="1026"/>
                </a:lnTo>
                <a:lnTo>
                  <a:pt x="1429" y="1029"/>
                </a:lnTo>
                <a:lnTo>
                  <a:pt x="1421" y="1024"/>
                </a:lnTo>
                <a:lnTo>
                  <a:pt x="1426" y="1024"/>
                </a:lnTo>
                <a:lnTo>
                  <a:pt x="1424" y="1019"/>
                </a:lnTo>
                <a:lnTo>
                  <a:pt x="1419" y="1019"/>
                </a:lnTo>
                <a:lnTo>
                  <a:pt x="1421" y="1016"/>
                </a:lnTo>
                <a:lnTo>
                  <a:pt x="1419" y="1014"/>
                </a:lnTo>
                <a:lnTo>
                  <a:pt x="1424" y="1014"/>
                </a:lnTo>
                <a:lnTo>
                  <a:pt x="1424" y="1009"/>
                </a:lnTo>
                <a:lnTo>
                  <a:pt x="1426" y="1009"/>
                </a:lnTo>
                <a:lnTo>
                  <a:pt x="1429" y="1009"/>
                </a:lnTo>
                <a:lnTo>
                  <a:pt x="1429" y="1014"/>
                </a:lnTo>
                <a:lnTo>
                  <a:pt x="1431" y="1014"/>
                </a:lnTo>
                <a:lnTo>
                  <a:pt x="1439" y="1009"/>
                </a:lnTo>
                <a:lnTo>
                  <a:pt x="1439" y="1004"/>
                </a:lnTo>
                <a:lnTo>
                  <a:pt x="1444" y="1004"/>
                </a:lnTo>
                <a:lnTo>
                  <a:pt x="1441" y="1001"/>
                </a:lnTo>
                <a:lnTo>
                  <a:pt x="1436" y="1001"/>
                </a:lnTo>
                <a:lnTo>
                  <a:pt x="1439" y="996"/>
                </a:lnTo>
                <a:lnTo>
                  <a:pt x="1441" y="999"/>
                </a:lnTo>
                <a:lnTo>
                  <a:pt x="1446" y="996"/>
                </a:lnTo>
                <a:lnTo>
                  <a:pt x="1446" y="991"/>
                </a:lnTo>
                <a:lnTo>
                  <a:pt x="1449" y="991"/>
                </a:lnTo>
                <a:lnTo>
                  <a:pt x="1446" y="986"/>
                </a:lnTo>
                <a:lnTo>
                  <a:pt x="1446" y="984"/>
                </a:lnTo>
                <a:lnTo>
                  <a:pt x="1449" y="981"/>
                </a:lnTo>
                <a:lnTo>
                  <a:pt x="1446" y="979"/>
                </a:lnTo>
                <a:lnTo>
                  <a:pt x="1446" y="976"/>
                </a:lnTo>
                <a:lnTo>
                  <a:pt x="1441" y="974"/>
                </a:lnTo>
                <a:lnTo>
                  <a:pt x="1449" y="976"/>
                </a:lnTo>
                <a:lnTo>
                  <a:pt x="1451" y="974"/>
                </a:lnTo>
                <a:lnTo>
                  <a:pt x="1456" y="964"/>
                </a:lnTo>
                <a:lnTo>
                  <a:pt x="1461" y="964"/>
                </a:lnTo>
                <a:lnTo>
                  <a:pt x="1461" y="966"/>
                </a:lnTo>
                <a:lnTo>
                  <a:pt x="1464" y="969"/>
                </a:lnTo>
                <a:lnTo>
                  <a:pt x="1464" y="964"/>
                </a:lnTo>
                <a:lnTo>
                  <a:pt x="1469" y="961"/>
                </a:lnTo>
                <a:lnTo>
                  <a:pt x="1464" y="956"/>
                </a:lnTo>
                <a:lnTo>
                  <a:pt x="1459" y="956"/>
                </a:lnTo>
                <a:lnTo>
                  <a:pt x="1456" y="954"/>
                </a:lnTo>
                <a:lnTo>
                  <a:pt x="1459" y="951"/>
                </a:lnTo>
                <a:lnTo>
                  <a:pt x="1464" y="951"/>
                </a:lnTo>
                <a:lnTo>
                  <a:pt x="1466" y="949"/>
                </a:lnTo>
                <a:lnTo>
                  <a:pt x="1464" y="946"/>
                </a:lnTo>
                <a:lnTo>
                  <a:pt x="1461" y="946"/>
                </a:lnTo>
                <a:lnTo>
                  <a:pt x="1464" y="941"/>
                </a:lnTo>
                <a:lnTo>
                  <a:pt x="1466" y="941"/>
                </a:lnTo>
                <a:lnTo>
                  <a:pt x="1466" y="941"/>
                </a:lnTo>
                <a:lnTo>
                  <a:pt x="1464" y="939"/>
                </a:lnTo>
                <a:lnTo>
                  <a:pt x="1454" y="939"/>
                </a:lnTo>
                <a:lnTo>
                  <a:pt x="1456" y="936"/>
                </a:lnTo>
                <a:lnTo>
                  <a:pt x="1461" y="931"/>
                </a:lnTo>
                <a:lnTo>
                  <a:pt x="1466" y="931"/>
                </a:lnTo>
                <a:lnTo>
                  <a:pt x="1469" y="931"/>
                </a:lnTo>
                <a:lnTo>
                  <a:pt x="1469" y="929"/>
                </a:lnTo>
                <a:lnTo>
                  <a:pt x="1471" y="929"/>
                </a:lnTo>
                <a:lnTo>
                  <a:pt x="1471" y="931"/>
                </a:lnTo>
                <a:lnTo>
                  <a:pt x="1476" y="929"/>
                </a:lnTo>
                <a:lnTo>
                  <a:pt x="1474" y="926"/>
                </a:lnTo>
                <a:lnTo>
                  <a:pt x="1474" y="919"/>
                </a:lnTo>
                <a:lnTo>
                  <a:pt x="1471" y="916"/>
                </a:lnTo>
                <a:lnTo>
                  <a:pt x="1466" y="919"/>
                </a:lnTo>
                <a:lnTo>
                  <a:pt x="1469" y="921"/>
                </a:lnTo>
                <a:lnTo>
                  <a:pt x="1469" y="924"/>
                </a:lnTo>
                <a:lnTo>
                  <a:pt x="1461" y="921"/>
                </a:lnTo>
                <a:lnTo>
                  <a:pt x="1456" y="929"/>
                </a:lnTo>
                <a:lnTo>
                  <a:pt x="1451" y="926"/>
                </a:lnTo>
                <a:lnTo>
                  <a:pt x="1451" y="921"/>
                </a:lnTo>
                <a:lnTo>
                  <a:pt x="1459" y="921"/>
                </a:lnTo>
                <a:lnTo>
                  <a:pt x="1471" y="909"/>
                </a:lnTo>
                <a:lnTo>
                  <a:pt x="1471" y="909"/>
                </a:lnTo>
                <a:lnTo>
                  <a:pt x="1464" y="909"/>
                </a:lnTo>
                <a:lnTo>
                  <a:pt x="1464" y="906"/>
                </a:lnTo>
                <a:lnTo>
                  <a:pt x="1461" y="909"/>
                </a:lnTo>
                <a:lnTo>
                  <a:pt x="1454" y="896"/>
                </a:lnTo>
                <a:lnTo>
                  <a:pt x="1446" y="896"/>
                </a:lnTo>
                <a:lnTo>
                  <a:pt x="1439" y="904"/>
                </a:lnTo>
                <a:lnTo>
                  <a:pt x="1434" y="901"/>
                </a:lnTo>
                <a:lnTo>
                  <a:pt x="1429" y="894"/>
                </a:lnTo>
                <a:lnTo>
                  <a:pt x="1424" y="894"/>
                </a:lnTo>
                <a:lnTo>
                  <a:pt x="1419" y="899"/>
                </a:lnTo>
                <a:lnTo>
                  <a:pt x="1416" y="904"/>
                </a:lnTo>
                <a:lnTo>
                  <a:pt x="1416" y="899"/>
                </a:lnTo>
                <a:lnTo>
                  <a:pt x="1424" y="894"/>
                </a:lnTo>
                <a:lnTo>
                  <a:pt x="1426" y="894"/>
                </a:lnTo>
                <a:lnTo>
                  <a:pt x="1429" y="891"/>
                </a:lnTo>
                <a:lnTo>
                  <a:pt x="1436" y="894"/>
                </a:lnTo>
                <a:lnTo>
                  <a:pt x="1441" y="891"/>
                </a:lnTo>
                <a:lnTo>
                  <a:pt x="1441" y="886"/>
                </a:lnTo>
                <a:lnTo>
                  <a:pt x="1444" y="884"/>
                </a:lnTo>
                <a:lnTo>
                  <a:pt x="1446" y="884"/>
                </a:lnTo>
                <a:lnTo>
                  <a:pt x="1454" y="876"/>
                </a:lnTo>
                <a:lnTo>
                  <a:pt x="1461" y="876"/>
                </a:lnTo>
                <a:lnTo>
                  <a:pt x="1461" y="874"/>
                </a:lnTo>
                <a:lnTo>
                  <a:pt x="1454" y="861"/>
                </a:lnTo>
                <a:lnTo>
                  <a:pt x="1441" y="854"/>
                </a:lnTo>
                <a:lnTo>
                  <a:pt x="1431" y="849"/>
                </a:lnTo>
                <a:lnTo>
                  <a:pt x="1421" y="839"/>
                </a:lnTo>
                <a:lnTo>
                  <a:pt x="1416" y="839"/>
                </a:lnTo>
                <a:lnTo>
                  <a:pt x="1406" y="844"/>
                </a:lnTo>
                <a:lnTo>
                  <a:pt x="1404" y="844"/>
                </a:lnTo>
                <a:lnTo>
                  <a:pt x="1396" y="836"/>
                </a:lnTo>
                <a:lnTo>
                  <a:pt x="1396" y="834"/>
                </a:lnTo>
                <a:lnTo>
                  <a:pt x="1394" y="834"/>
                </a:lnTo>
                <a:lnTo>
                  <a:pt x="1386" y="836"/>
                </a:lnTo>
                <a:lnTo>
                  <a:pt x="1381" y="834"/>
                </a:lnTo>
                <a:lnTo>
                  <a:pt x="1374" y="836"/>
                </a:lnTo>
                <a:lnTo>
                  <a:pt x="1366" y="846"/>
                </a:lnTo>
                <a:lnTo>
                  <a:pt x="1374" y="834"/>
                </a:lnTo>
                <a:lnTo>
                  <a:pt x="1379" y="831"/>
                </a:lnTo>
                <a:lnTo>
                  <a:pt x="1381" y="831"/>
                </a:lnTo>
                <a:lnTo>
                  <a:pt x="1384" y="831"/>
                </a:lnTo>
                <a:lnTo>
                  <a:pt x="1386" y="831"/>
                </a:lnTo>
                <a:lnTo>
                  <a:pt x="1389" y="831"/>
                </a:lnTo>
                <a:lnTo>
                  <a:pt x="1396" y="829"/>
                </a:lnTo>
                <a:lnTo>
                  <a:pt x="1401" y="836"/>
                </a:lnTo>
                <a:lnTo>
                  <a:pt x="1404" y="839"/>
                </a:lnTo>
                <a:lnTo>
                  <a:pt x="1409" y="839"/>
                </a:lnTo>
                <a:lnTo>
                  <a:pt x="1411" y="836"/>
                </a:lnTo>
                <a:lnTo>
                  <a:pt x="1421" y="836"/>
                </a:lnTo>
                <a:lnTo>
                  <a:pt x="1426" y="841"/>
                </a:lnTo>
                <a:lnTo>
                  <a:pt x="1431" y="841"/>
                </a:lnTo>
                <a:lnTo>
                  <a:pt x="1436" y="846"/>
                </a:lnTo>
                <a:lnTo>
                  <a:pt x="1444" y="841"/>
                </a:lnTo>
                <a:lnTo>
                  <a:pt x="1454" y="846"/>
                </a:lnTo>
                <a:lnTo>
                  <a:pt x="1456" y="844"/>
                </a:lnTo>
                <a:lnTo>
                  <a:pt x="1454" y="836"/>
                </a:lnTo>
                <a:lnTo>
                  <a:pt x="1451" y="834"/>
                </a:lnTo>
                <a:lnTo>
                  <a:pt x="1444" y="826"/>
                </a:lnTo>
                <a:lnTo>
                  <a:pt x="1444" y="826"/>
                </a:lnTo>
                <a:lnTo>
                  <a:pt x="1441" y="824"/>
                </a:lnTo>
                <a:lnTo>
                  <a:pt x="1436" y="824"/>
                </a:lnTo>
                <a:lnTo>
                  <a:pt x="1431" y="821"/>
                </a:lnTo>
                <a:lnTo>
                  <a:pt x="1424" y="811"/>
                </a:lnTo>
                <a:lnTo>
                  <a:pt x="1424" y="804"/>
                </a:lnTo>
                <a:lnTo>
                  <a:pt x="1414" y="796"/>
                </a:lnTo>
                <a:lnTo>
                  <a:pt x="1414" y="789"/>
                </a:lnTo>
                <a:lnTo>
                  <a:pt x="1406" y="786"/>
                </a:lnTo>
                <a:lnTo>
                  <a:pt x="1411" y="781"/>
                </a:lnTo>
                <a:lnTo>
                  <a:pt x="1409" y="779"/>
                </a:lnTo>
                <a:lnTo>
                  <a:pt x="1401" y="764"/>
                </a:lnTo>
                <a:lnTo>
                  <a:pt x="1386" y="756"/>
                </a:lnTo>
                <a:lnTo>
                  <a:pt x="1381" y="759"/>
                </a:lnTo>
                <a:lnTo>
                  <a:pt x="1381" y="754"/>
                </a:lnTo>
                <a:lnTo>
                  <a:pt x="1369" y="747"/>
                </a:lnTo>
                <a:lnTo>
                  <a:pt x="1366" y="749"/>
                </a:lnTo>
                <a:lnTo>
                  <a:pt x="1366" y="734"/>
                </a:lnTo>
                <a:lnTo>
                  <a:pt x="1369" y="727"/>
                </a:lnTo>
                <a:lnTo>
                  <a:pt x="1366" y="719"/>
                </a:lnTo>
                <a:lnTo>
                  <a:pt x="1366" y="712"/>
                </a:lnTo>
                <a:lnTo>
                  <a:pt x="1369" y="714"/>
                </a:lnTo>
                <a:lnTo>
                  <a:pt x="1374" y="712"/>
                </a:lnTo>
                <a:lnTo>
                  <a:pt x="1379" y="704"/>
                </a:lnTo>
                <a:lnTo>
                  <a:pt x="1381" y="707"/>
                </a:lnTo>
                <a:lnTo>
                  <a:pt x="1386" y="699"/>
                </a:lnTo>
                <a:lnTo>
                  <a:pt x="1381" y="697"/>
                </a:lnTo>
                <a:lnTo>
                  <a:pt x="1379" y="694"/>
                </a:lnTo>
                <a:lnTo>
                  <a:pt x="1381" y="689"/>
                </a:lnTo>
                <a:lnTo>
                  <a:pt x="1389" y="689"/>
                </a:lnTo>
                <a:lnTo>
                  <a:pt x="1391" y="684"/>
                </a:lnTo>
                <a:lnTo>
                  <a:pt x="1396" y="682"/>
                </a:lnTo>
                <a:lnTo>
                  <a:pt x="1396" y="679"/>
                </a:lnTo>
                <a:lnTo>
                  <a:pt x="1391" y="674"/>
                </a:lnTo>
                <a:lnTo>
                  <a:pt x="1396" y="674"/>
                </a:lnTo>
                <a:lnTo>
                  <a:pt x="1401" y="677"/>
                </a:lnTo>
                <a:lnTo>
                  <a:pt x="1401" y="674"/>
                </a:lnTo>
                <a:lnTo>
                  <a:pt x="1406" y="674"/>
                </a:lnTo>
                <a:lnTo>
                  <a:pt x="1411" y="669"/>
                </a:lnTo>
                <a:lnTo>
                  <a:pt x="1414" y="669"/>
                </a:lnTo>
                <a:lnTo>
                  <a:pt x="1421" y="662"/>
                </a:lnTo>
                <a:lnTo>
                  <a:pt x="1424" y="667"/>
                </a:lnTo>
                <a:lnTo>
                  <a:pt x="1424" y="664"/>
                </a:lnTo>
                <a:lnTo>
                  <a:pt x="1426" y="667"/>
                </a:lnTo>
                <a:lnTo>
                  <a:pt x="1431" y="669"/>
                </a:lnTo>
                <a:lnTo>
                  <a:pt x="1439" y="664"/>
                </a:lnTo>
                <a:lnTo>
                  <a:pt x="1439" y="662"/>
                </a:lnTo>
                <a:lnTo>
                  <a:pt x="1434" y="662"/>
                </a:lnTo>
                <a:lnTo>
                  <a:pt x="1434" y="657"/>
                </a:lnTo>
                <a:lnTo>
                  <a:pt x="1436" y="654"/>
                </a:lnTo>
                <a:lnTo>
                  <a:pt x="1441" y="654"/>
                </a:lnTo>
                <a:lnTo>
                  <a:pt x="1436" y="647"/>
                </a:lnTo>
                <a:lnTo>
                  <a:pt x="1436" y="644"/>
                </a:lnTo>
                <a:lnTo>
                  <a:pt x="1441" y="644"/>
                </a:lnTo>
                <a:lnTo>
                  <a:pt x="1439" y="642"/>
                </a:lnTo>
                <a:lnTo>
                  <a:pt x="1431" y="642"/>
                </a:lnTo>
                <a:lnTo>
                  <a:pt x="1424" y="642"/>
                </a:lnTo>
                <a:lnTo>
                  <a:pt x="1426" y="642"/>
                </a:lnTo>
                <a:lnTo>
                  <a:pt x="1419" y="642"/>
                </a:lnTo>
                <a:lnTo>
                  <a:pt x="1416" y="644"/>
                </a:lnTo>
                <a:lnTo>
                  <a:pt x="1401" y="644"/>
                </a:lnTo>
                <a:lnTo>
                  <a:pt x="1396" y="642"/>
                </a:lnTo>
                <a:lnTo>
                  <a:pt x="1394" y="639"/>
                </a:lnTo>
                <a:lnTo>
                  <a:pt x="1391" y="634"/>
                </a:lnTo>
                <a:lnTo>
                  <a:pt x="1389" y="634"/>
                </a:lnTo>
                <a:lnTo>
                  <a:pt x="1386" y="632"/>
                </a:lnTo>
                <a:lnTo>
                  <a:pt x="1374" y="637"/>
                </a:lnTo>
                <a:lnTo>
                  <a:pt x="1366" y="637"/>
                </a:lnTo>
                <a:lnTo>
                  <a:pt x="1369" y="639"/>
                </a:lnTo>
                <a:lnTo>
                  <a:pt x="1369" y="644"/>
                </a:lnTo>
                <a:lnTo>
                  <a:pt x="1366" y="647"/>
                </a:lnTo>
                <a:lnTo>
                  <a:pt x="1359" y="649"/>
                </a:lnTo>
                <a:lnTo>
                  <a:pt x="1359" y="652"/>
                </a:lnTo>
                <a:lnTo>
                  <a:pt x="1361" y="654"/>
                </a:lnTo>
                <a:lnTo>
                  <a:pt x="1359" y="659"/>
                </a:lnTo>
                <a:lnTo>
                  <a:pt x="1356" y="662"/>
                </a:lnTo>
                <a:lnTo>
                  <a:pt x="1351" y="659"/>
                </a:lnTo>
                <a:lnTo>
                  <a:pt x="1346" y="662"/>
                </a:lnTo>
                <a:lnTo>
                  <a:pt x="1339" y="662"/>
                </a:lnTo>
                <a:lnTo>
                  <a:pt x="1334" y="647"/>
                </a:lnTo>
                <a:lnTo>
                  <a:pt x="1334" y="639"/>
                </a:lnTo>
                <a:lnTo>
                  <a:pt x="1331" y="634"/>
                </a:lnTo>
                <a:lnTo>
                  <a:pt x="1324" y="637"/>
                </a:lnTo>
                <a:lnTo>
                  <a:pt x="1321" y="637"/>
                </a:lnTo>
                <a:lnTo>
                  <a:pt x="1321" y="634"/>
                </a:lnTo>
                <a:lnTo>
                  <a:pt x="1319" y="634"/>
                </a:lnTo>
                <a:lnTo>
                  <a:pt x="1317" y="637"/>
                </a:lnTo>
                <a:lnTo>
                  <a:pt x="1314" y="634"/>
                </a:lnTo>
                <a:lnTo>
                  <a:pt x="1314" y="637"/>
                </a:lnTo>
                <a:lnTo>
                  <a:pt x="1309" y="632"/>
                </a:lnTo>
                <a:lnTo>
                  <a:pt x="1309" y="627"/>
                </a:lnTo>
                <a:lnTo>
                  <a:pt x="1299" y="622"/>
                </a:lnTo>
                <a:lnTo>
                  <a:pt x="1294" y="619"/>
                </a:lnTo>
                <a:lnTo>
                  <a:pt x="1294" y="612"/>
                </a:lnTo>
                <a:lnTo>
                  <a:pt x="1292" y="607"/>
                </a:lnTo>
                <a:lnTo>
                  <a:pt x="1294" y="604"/>
                </a:lnTo>
                <a:lnTo>
                  <a:pt x="1294" y="602"/>
                </a:lnTo>
                <a:lnTo>
                  <a:pt x="1294" y="599"/>
                </a:lnTo>
                <a:lnTo>
                  <a:pt x="1294" y="592"/>
                </a:lnTo>
                <a:lnTo>
                  <a:pt x="1299" y="589"/>
                </a:lnTo>
                <a:lnTo>
                  <a:pt x="1299" y="587"/>
                </a:lnTo>
                <a:lnTo>
                  <a:pt x="1309" y="592"/>
                </a:lnTo>
                <a:lnTo>
                  <a:pt x="1317" y="592"/>
                </a:lnTo>
                <a:lnTo>
                  <a:pt x="1324" y="592"/>
                </a:lnTo>
                <a:lnTo>
                  <a:pt x="1326" y="584"/>
                </a:lnTo>
                <a:lnTo>
                  <a:pt x="1324" y="582"/>
                </a:lnTo>
                <a:lnTo>
                  <a:pt x="1329" y="582"/>
                </a:lnTo>
                <a:lnTo>
                  <a:pt x="1329" y="577"/>
                </a:lnTo>
                <a:lnTo>
                  <a:pt x="1326" y="574"/>
                </a:lnTo>
                <a:lnTo>
                  <a:pt x="1329" y="572"/>
                </a:lnTo>
                <a:lnTo>
                  <a:pt x="1331" y="559"/>
                </a:lnTo>
                <a:lnTo>
                  <a:pt x="1341" y="552"/>
                </a:lnTo>
                <a:lnTo>
                  <a:pt x="1346" y="552"/>
                </a:lnTo>
                <a:lnTo>
                  <a:pt x="1351" y="544"/>
                </a:lnTo>
                <a:lnTo>
                  <a:pt x="1354" y="544"/>
                </a:lnTo>
                <a:lnTo>
                  <a:pt x="1354" y="534"/>
                </a:lnTo>
                <a:lnTo>
                  <a:pt x="1359" y="529"/>
                </a:lnTo>
                <a:lnTo>
                  <a:pt x="1361" y="522"/>
                </a:lnTo>
                <a:lnTo>
                  <a:pt x="1361" y="522"/>
                </a:lnTo>
                <a:lnTo>
                  <a:pt x="1366" y="514"/>
                </a:lnTo>
                <a:lnTo>
                  <a:pt x="1371" y="514"/>
                </a:lnTo>
                <a:lnTo>
                  <a:pt x="1374" y="517"/>
                </a:lnTo>
                <a:lnTo>
                  <a:pt x="1379" y="517"/>
                </a:lnTo>
                <a:lnTo>
                  <a:pt x="1381" y="512"/>
                </a:lnTo>
                <a:lnTo>
                  <a:pt x="1389" y="522"/>
                </a:lnTo>
                <a:lnTo>
                  <a:pt x="1401" y="529"/>
                </a:lnTo>
                <a:lnTo>
                  <a:pt x="1401" y="532"/>
                </a:lnTo>
                <a:lnTo>
                  <a:pt x="1399" y="534"/>
                </a:lnTo>
                <a:lnTo>
                  <a:pt x="1396" y="539"/>
                </a:lnTo>
                <a:lnTo>
                  <a:pt x="1391" y="544"/>
                </a:lnTo>
                <a:lnTo>
                  <a:pt x="1391" y="552"/>
                </a:lnTo>
                <a:lnTo>
                  <a:pt x="1386" y="552"/>
                </a:lnTo>
                <a:lnTo>
                  <a:pt x="1386" y="554"/>
                </a:lnTo>
                <a:lnTo>
                  <a:pt x="1386" y="562"/>
                </a:lnTo>
                <a:lnTo>
                  <a:pt x="1391" y="567"/>
                </a:lnTo>
                <a:lnTo>
                  <a:pt x="1391" y="572"/>
                </a:lnTo>
                <a:lnTo>
                  <a:pt x="1389" y="572"/>
                </a:lnTo>
                <a:lnTo>
                  <a:pt x="1389" y="574"/>
                </a:lnTo>
                <a:lnTo>
                  <a:pt x="1391" y="577"/>
                </a:lnTo>
                <a:lnTo>
                  <a:pt x="1396" y="577"/>
                </a:lnTo>
                <a:lnTo>
                  <a:pt x="1404" y="572"/>
                </a:lnTo>
                <a:lnTo>
                  <a:pt x="1401" y="577"/>
                </a:lnTo>
                <a:lnTo>
                  <a:pt x="1396" y="579"/>
                </a:lnTo>
                <a:lnTo>
                  <a:pt x="1396" y="582"/>
                </a:lnTo>
                <a:lnTo>
                  <a:pt x="1399" y="582"/>
                </a:lnTo>
                <a:lnTo>
                  <a:pt x="1399" y="584"/>
                </a:lnTo>
                <a:lnTo>
                  <a:pt x="1396" y="587"/>
                </a:lnTo>
                <a:lnTo>
                  <a:pt x="1391" y="587"/>
                </a:lnTo>
                <a:lnTo>
                  <a:pt x="1386" y="589"/>
                </a:lnTo>
                <a:lnTo>
                  <a:pt x="1384" y="589"/>
                </a:lnTo>
                <a:lnTo>
                  <a:pt x="1381" y="594"/>
                </a:lnTo>
                <a:lnTo>
                  <a:pt x="1386" y="597"/>
                </a:lnTo>
                <a:lnTo>
                  <a:pt x="1386" y="602"/>
                </a:lnTo>
                <a:lnTo>
                  <a:pt x="1389" y="602"/>
                </a:lnTo>
                <a:lnTo>
                  <a:pt x="1391" y="597"/>
                </a:lnTo>
                <a:lnTo>
                  <a:pt x="1396" y="597"/>
                </a:lnTo>
                <a:lnTo>
                  <a:pt x="1399" y="589"/>
                </a:lnTo>
                <a:lnTo>
                  <a:pt x="1406" y="587"/>
                </a:lnTo>
                <a:lnTo>
                  <a:pt x="1409" y="584"/>
                </a:lnTo>
                <a:lnTo>
                  <a:pt x="1406" y="579"/>
                </a:lnTo>
                <a:lnTo>
                  <a:pt x="1414" y="574"/>
                </a:lnTo>
                <a:lnTo>
                  <a:pt x="1424" y="567"/>
                </a:lnTo>
                <a:lnTo>
                  <a:pt x="1429" y="567"/>
                </a:lnTo>
                <a:lnTo>
                  <a:pt x="1429" y="559"/>
                </a:lnTo>
                <a:lnTo>
                  <a:pt x="1434" y="559"/>
                </a:lnTo>
                <a:lnTo>
                  <a:pt x="1441" y="554"/>
                </a:lnTo>
                <a:lnTo>
                  <a:pt x="1444" y="557"/>
                </a:lnTo>
                <a:lnTo>
                  <a:pt x="1449" y="557"/>
                </a:lnTo>
                <a:lnTo>
                  <a:pt x="1454" y="557"/>
                </a:lnTo>
                <a:lnTo>
                  <a:pt x="1461" y="547"/>
                </a:lnTo>
                <a:lnTo>
                  <a:pt x="1464" y="552"/>
                </a:lnTo>
                <a:lnTo>
                  <a:pt x="1464" y="552"/>
                </a:lnTo>
                <a:lnTo>
                  <a:pt x="1476" y="547"/>
                </a:lnTo>
                <a:lnTo>
                  <a:pt x="1553" y="492"/>
                </a:lnTo>
                <a:lnTo>
                  <a:pt x="1561" y="452"/>
                </a:lnTo>
                <a:lnTo>
                  <a:pt x="1583" y="432"/>
                </a:lnTo>
                <a:lnTo>
                  <a:pt x="1586" y="430"/>
                </a:lnTo>
                <a:lnTo>
                  <a:pt x="1586" y="427"/>
                </a:lnTo>
                <a:lnTo>
                  <a:pt x="1583" y="427"/>
                </a:lnTo>
                <a:lnTo>
                  <a:pt x="1581" y="422"/>
                </a:lnTo>
                <a:lnTo>
                  <a:pt x="1583" y="420"/>
                </a:lnTo>
                <a:lnTo>
                  <a:pt x="1586" y="417"/>
                </a:lnTo>
                <a:lnTo>
                  <a:pt x="1591" y="417"/>
                </a:lnTo>
                <a:lnTo>
                  <a:pt x="1593" y="417"/>
                </a:lnTo>
                <a:lnTo>
                  <a:pt x="1593" y="412"/>
                </a:lnTo>
                <a:lnTo>
                  <a:pt x="1593" y="410"/>
                </a:lnTo>
                <a:lnTo>
                  <a:pt x="1593" y="407"/>
                </a:lnTo>
                <a:lnTo>
                  <a:pt x="1593" y="405"/>
                </a:lnTo>
                <a:lnTo>
                  <a:pt x="1593" y="400"/>
                </a:lnTo>
                <a:lnTo>
                  <a:pt x="1593" y="395"/>
                </a:lnTo>
                <a:lnTo>
                  <a:pt x="1591" y="392"/>
                </a:lnTo>
                <a:lnTo>
                  <a:pt x="1591" y="385"/>
                </a:lnTo>
                <a:lnTo>
                  <a:pt x="1591" y="380"/>
                </a:lnTo>
                <a:lnTo>
                  <a:pt x="1591" y="372"/>
                </a:lnTo>
                <a:lnTo>
                  <a:pt x="1591" y="367"/>
                </a:lnTo>
                <a:lnTo>
                  <a:pt x="1586" y="362"/>
                </a:lnTo>
                <a:lnTo>
                  <a:pt x="1586" y="360"/>
                </a:lnTo>
                <a:lnTo>
                  <a:pt x="1583" y="357"/>
                </a:lnTo>
                <a:lnTo>
                  <a:pt x="1578" y="347"/>
                </a:lnTo>
                <a:lnTo>
                  <a:pt x="1576" y="342"/>
                </a:lnTo>
                <a:lnTo>
                  <a:pt x="1576" y="340"/>
                </a:lnTo>
                <a:lnTo>
                  <a:pt x="1581" y="337"/>
                </a:lnTo>
                <a:lnTo>
                  <a:pt x="1583" y="337"/>
                </a:lnTo>
                <a:lnTo>
                  <a:pt x="1586" y="335"/>
                </a:lnTo>
                <a:lnTo>
                  <a:pt x="1586" y="330"/>
                </a:lnTo>
                <a:lnTo>
                  <a:pt x="1591" y="322"/>
                </a:lnTo>
                <a:lnTo>
                  <a:pt x="1593" y="322"/>
                </a:lnTo>
                <a:lnTo>
                  <a:pt x="1598" y="322"/>
                </a:lnTo>
                <a:lnTo>
                  <a:pt x="1601" y="325"/>
                </a:lnTo>
                <a:lnTo>
                  <a:pt x="1618" y="327"/>
                </a:lnTo>
                <a:lnTo>
                  <a:pt x="1621" y="327"/>
                </a:lnTo>
                <a:lnTo>
                  <a:pt x="1623" y="327"/>
                </a:lnTo>
                <a:lnTo>
                  <a:pt x="1626" y="325"/>
                </a:lnTo>
                <a:lnTo>
                  <a:pt x="1626" y="322"/>
                </a:lnTo>
                <a:lnTo>
                  <a:pt x="1623" y="320"/>
                </a:lnTo>
                <a:lnTo>
                  <a:pt x="1623" y="317"/>
                </a:lnTo>
                <a:lnTo>
                  <a:pt x="1623" y="315"/>
                </a:lnTo>
                <a:lnTo>
                  <a:pt x="1623" y="312"/>
                </a:lnTo>
                <a:lnTo>
                  <a:pt x="1623" y="307"/>
                </a:lnTo>
                <a:lnTo>
                  <a:pt x="1623" y="302"/>
                </a:lnTo>
                <a:lnTo>
                  <a:pt x="1626" y="302"/>
                </a:lnTo>
                <a:lnTo>
                  <a:pt x="1626" y="297"/>
                </a:lnTo>
                <a:lnTo>
                  <a:pt x="1623" y="295"/>
                </a:lnTo>
                <a:lnTo>
                  <a:pt x="1626" y="292"/>
                </a:lnTo>
                <a:lnTo>
                  <a:pt x="1628" y="290"/>
                </a:lnTo>
                <a:lnTo>
                  <a:pt x="1626" y="287"/>
                </a:lnTo>
                <a:lnTo>
                  <a:pt x="1626" y="285"/>
                </a:lnTo>
                <a:lnTo>
                  <a:pt x="1626" y="282"/>
                </a:lnTo>
                <a:lnTo>
                  <a:pt x="1626" y="280"/>
                </a:lnTo>
                <a:lnTo>
                  <a:pt x="1628" y="277"/>
                </a:lnTo>
                <a:lnTo>
                  <a:pt x="1628" y="275"/>
                </a:lnTo>
                <a:lnTo>
                  <a:pt x="1628" y="272"/>
                </a:lnTo>
                <a:lnTo>
                  <a:pt x="1626" y="267"/>
                </a:lnTo>
                <a:lnTo>
                  <a:pt x="1626" y="260"/>
                </a:lnTo>
                <a:lnTo>
                  <a:pt x="1626" y="260"/>
                </a:lnTo>
                <a:lnTo>
                  <a:pt x="1628" y="260"/>
                </a:lnTo>
                <a:lnTo>
                  <a:pt x="1628" y="257"/>
                </a:lnTo>
                <a:lnTo>
                  <a:pt x="1626" y="255"/>
                </a:lnTo>
                <a:lnTo>
                  <a:pt x="1626" y="252"/>
                </a:lnTo>
                <a:lnTo>
                  <a:pt x="1623" y="250"/>
                </a:lnTo>
                <a:lnTo>
                  <a:pt x="1623" y="247"/>
                </a:lnTo>
                <a:lnTo>
                  <a:pt x="1623" y="245"/>
                </a:lnTo>
                <a:lnTo>
                  <a:pt x="1626" y="240"/>
                </a:lnTo>
                <a:lnTo>
                  <a:pt x="1623" y="237"/>
                </a:lnTo>
                <a:lnTo>
                  <a:pt x="1621" y="235"/>
                </a:lnTo>
                <a:lnTo>
                  <a:pt x="1621" y="232"/>
                </a:lnTo>
                <a:lnTo>
                  <a:pt x="1626" y="227"/>
                </a:lnTo>
                <a:lnTo>
                  <a:pt x="1628" y="227"/>
                </a:lnTo>
                <a:lnTo>
                  <a:pt x="1631" y="225"/>
                </a:lnTo>
                <a:lnTo>
                  <a:pt x="1631" y="220"/>
                </a:lnTo>
                <a:lnTo>
                  <a:pt x="1631" y="215"/>
                </a:lnTo>
                <a:lnTo>
                  <a:pt x="1628" y="21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26" name="Freeform 167"/>
          <p:cNvSpPr>
            <a:spLocks/>
          </p:cNvSpPr>
          <p:nvPr/>
        </p:nvSpPr>
        <p:spPr bwMode="auto">
          <a:xfrm>
            <a:off x="10021888" y="4310063"/>
            <a:ext cx="23812" cy="12700"/>
          </a:xfrm>
          <a:custGeom>
            <a:avLst/>
            <a:gdLst>
              <a:gd name="T0" fmla="*/ 8 w 15"/>
              <a:gd name="T1" fmla="*/ 0 h 8"/>
              <a:gd name="T2" fmla="*/ 0 w 15"/>
              <a:gd name="T3" fmla="*/ 0 h 8"/>
              <a:gd name="T4" fmla="*/ 0 w 15"/>
              <a:gd name="T5" fmla="*/ 3 h 8"/>
              <a:gd name="T6" fmla="*/ 3 w 15"/>
              <a:gd name="T7" fmla="*/ 5 h 8"/>
              <a:gd name="T8" fmla="*/ 8 w 15"/>
              <a:gd name="T9" fmla="*/ 5 h 8"/>
              <a:gd name="T10" fmla="*/ 15 w 15"/>
              <a:gd name="T11" fmla="*/ 8 h 8"/>
              <a:gd name="T12" fmla="*/ 13 w 15"/>
              <a:gd name="T13" fmla="*/ 3 h 8"/>
              <a:gd name="T14" fmla="*/ 10 w 15"/>
              <a:gd name="T15" fmla="*/ 3 h 8"/>
              <a:gd name="T16" fmla="*/ 8 w 1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8">
                <a:moveTo>
                  <a:pt x="8" y="0"/>
                </a:moveTo>
                <a:lnTo>
                  <a:pt x="0" y="0"/>
                </a:lnTo>
                <a:lnTo>
                  <a:pt x="0" y="3"/>
                </a:lnTo>
                <a:lnTo>
                  <a:pt x="3" y="5"/>
                </a:lnTo>
                <a:lnTo>
                  <a:pt x="8" y="5"/>
                </a:lnTo>
                <a:lnTo>
                  <a:pt x="15" y="8"/>
                </a:lnTo>
                <a:lnTo>
                  <a:pt x="13" y="3"/>
                </a:lnTo>
                <a:lnTo>
                  <a:pt x="10" y="3"/>
                </a:lnTo>
                <a:lnTo>
                  <a:pt x="8"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27" name="Freeform 168"/>
          <p:cNvSpPr>
            <a:spLocks/>
          </p:cNvSpPr>
          <p:nvPr/>
        </p:nvSpPr>
        <p:spPr bwMode="auto">
          <a:xfrm>
            <a:off x="10037763" y="4638675"/>
            <a:ext cx="76200" cy="182563"/>
          </a:xfrm>
          <a:custGeom>
            <a:avLst/>
            <a:gdLst>
              <a:gd name="T0" fmla="*/ 43 w 48"/>
              <a:gd name="T1" fmla="*/ 10 h 115"/>
              <a:gd name="T2" fmla="*/ 40 w 48"/>
              <a:gd name="T3" fmla="*/ 10 h 115"/>
              <a:gd name="T4" fmla="*/ 38 w 48"/>
              <a:gd name="T5" fmla="*/ 3 h 115"/>
              <a:gd name="T6" fmla="*/ 33 w 48"/>
              <a:gd name="T7" fmla="*/ 0 h 115"/>
              <a:gd name="T8" fmla="*/ 28 w 48"/>
              <a:gd name="T9" fmla="*/ 3 h 115"/>
              <a:gd name="T10" fmla="*/ 28 w 48"/>
              <a:gd name="T11" fmla="*/ 8 h 115"/>
              <a:gd name="T12" fmla="*/ 23 w 48"/>
              <a:gd name="T13" fmla="*/ 8 h 115"/>
              <a:gd name="T14" fmla="*/ 18 w 48"/>
              <a:gd name="T15" fmla="*/ 15 h 115"/>
              <a:gd name="T16" fmla="*/ 13 w 48"/>
              <a:gd name="T17" fmla="*/ 25 h 115"/>
              <a:gd name="T18" fmla="*/ 15 w 48"/>
              <a:gd name="T19" fmla="*/ 28 h 115"/>
              <a:gd name="T20" fmla="*/ 13 w 48"/>
              <a:gd name="T21" fmla="*/ 30 h 115"/>
              <a:gd name="T22" fmla="*/ 10 w 48"/>
              <a:gd name="T23" fmla="*/ 33 h 115"/>
              <a:gd name="T24" fmla="*/ 5 w 48"/>
              <a:gd name="T25" fmla="*/ 43 h 115"/>
              <a:gd name="T26" fmla="*/ 3 w 48"/>
              <a:gd name="T27" fmla="*/ 53 h 115"/>
              <a:gd name="T28" fmla="*/ 0 w 48"/>
              <a:gd name="T29" fmla="*/ 55 h 115"/>
              <a:gd name="T30" fmla="*/ 3 w 48"/>
              <a:gd name="T31" fmla="*/ 58 h 115"/>
              <a:gd name="T32" fmla="*/ 3 w 48"/>
              <a:gd name="T33" fmla="*/ 68 h 115"/>
              <a:gd name="T34" fmla="*/ 3 w 48"/>
              <a:gd name="T35" fmla="*/ 78 h 115"/>
              <a:gd name="T36" fmla="*/ 5 w 48"/>
              <a:gd name="T37" fmla="*/ 80 h 115"/>
              <a:gd name="T38" fmla="*/ 5 w 48"/>
              <a:gd name="T39" fmla="*/ 83 h 115"/>
              <a:gd name="T40" fmla="*/ 5 w 48"/>
              <a:gd name="T41" fmla="*/ 83 h 115"/>
              <a:gd name="T42" fmla="*/ 5 w 48"/>
              <a:gd name="T43" fmla="*/ 88 h 115"/>
              <a:gd name="T44" fmla="*/ 8 w 48"/>
              <a:gd name="T45" fmla="*/ 90 h 115"/>
              <a:gd name="T46" fmla="*/ 10 w 48"/>
              <a:gd name="T47" fmla="*/ 93 h 115"/>
              <a:gd name="T48" fmla="*/ 13 w 48"/>
              <a:gd name="T49" fmla="*/ 95 h 115"/>
              <a:gd name="T50" fmla="*/ 20 w 48"/>
              <a:gd name="T51" fmla="*/ 98 h 115"/>
              <a:gd name="T52" fmla="*/ 23 w 48"/>
              <a:gd name="T53" fmla="*/ 103 h 115"/>
              <a:gd name="T54" fmla="*/ 23 w 48"/>
              <a:gd name="T55" fmla="*/ 110 h 115"/>
              <a:gd name="T56" fmla="*/ 23 w 48"/>
              <a:gd name="T57" fmla="*/ 115 h 115"/>
              <a:gd name="T58" fmla="*/ 28 w 48"/>
              <a:gd name="T59" fmla="*/ 113 h 115"/>
              <a:gd name="T60" fmla="*/ 30 w 48"/>
              <a:gd name="T61" fmla="*/ 115 h 115"/>
              <a:gd name="T62" fmla="*/ 30 w 48"/>
              <a:gd name="T63" fmla="*/ 108 h 115"/>
              <a:gd name="T64" fmla="*/ 30 w 48"/>
              <a:gd name="T65" fmla="*/ 103 h 115"/>
              <a:gd name="T66" fmla="*/ 28 w 48"/>
              <a:gd name="T67" fmla="*/ 95 h 115"/>
              <a:gd name="T68" fmla="*/ 33 w 48"/>
              <a:gd name="T69" fmla="*/ 88 h 115"/>
              <a:gd name="T70" fmla="*/ 40 w 48"/>
              <a:gd name="T71" fmla="*/ 78 h 115"/>
              <a:gd name="T72" fmla="*/ 40 w 48"/>
              <a:gd name="T73" fmla="*/ 73 h 115"/>
              <a:gd name="T74" fmla="*/ 40 w 48"/>
              <a:gd name="T75" fmla="*/ 70 h 115"/>
              <a:gd name="T76" fmla="*/ 38 w 48"/>
              <a:gd name="T77" fmla="*/ 70 h 115"/>
              <a:gd name="T78" fmla="*/ 40 w 48"/>
              <a:gd name="T79" fmla="*/ 60 h 115"/>
              <a:gd name="T80" fmla="*/ 40 w 48"/>
              <a:gd name="T81" fmla="*/ 53 h 115"/>
              <a:gd name="T82" fmla="*/ 40 w 48"/>
              <a:gd name="T83" fmla="*/ 45 h 115"/>
              <a:gd name="T84" fmla="*/ 43 w 48"/>
              <a:gd name="T85" fmla="*/ 38 h 115"/>
              <a:gd name="T86" fmla="*/ 45 w 48"/>
              <a:gd name="T87" fmla="*/ 25 h 115"/>
              <a:gd name="T88" fmla="*/ 45 w 48"/>
              <a:gd name="T89" fmla="*/ 18 h 115"/>
              <a:gd name="T90" fmla="*/ 48 w 48"/>
              <a:gd name="T91" fmla="*/ 18 h 115"/>
              <a:gd name="T92" fmla="*/ 48 w 48"/>
              <a:gd name="T93" fmla="*/ 13 h 115"/>
              <a:gd name="T94" fmla="*/ 43 w 48"/>
              <a:gd name="T95" fmla="*/ 1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15">
                <a:moveTo>
                  <a:pt x="43" y="10"/>
                </a:moveTo>
                <a:lnTo>
                  <a:pt x="40" y="10"/>
                </a:lnTo>
                <a:lnTo>
                  <a:pt x="38" y="3"/>
                </a:lnTo>
                <a:lnTo>
                  <a:pt x="33" y="0"/>
                </a:lnTo>
                <a:lnTo>
                  <a:pt x="28" y="3"/>
                </a:lnTo>
                <a:lnTo>
                  <a:pt x="28" y="8"/>
                </a:lnTo>
                <a:lnTo>
                  <a:pt x="23" y="8"/>
                </a:lnTo>
                <a:lnTo>
                  <a:pt x="18" y="15"/>
                </a:lnTo>
                <a:lnTo>
                  <a:pt x="13" y="25"/>
                </a:lnTo>
                <a:lnTo>
                  <a:pt x="15" y="28"/>
                </a:lnTo>
                <a:lnTo>
                  <a:pt x="13" y="30"/>
                </a:lnTo>
                <a:lnTo>
                  <a:pt x="10" y="33"/>
                </a:lnTo>
                <a:lnTo>
                  <a:pt x="5" y="43"/>
                </a:lnTo>
                <a:lnTo>
                  <a:pt x="3" y="53"/>
                </a:lnTo>
                <a:lnTo>
                  <a:pt x="0" y="55"/>
                </a:lnTo>
                <a:lnTo>
                  <a:pt x="3" y="58"/>
                </a:lnTo>
                <a:lnTo>
                  <a:pt x="3" y="68"/>
                </a:lnTo>
                <a:lnTo>
                  <a:pt x="3" y="78"/>
                </a:lnTo>
                <a:lnTo>
                  <a:pt x="5" y="80"/>
                </a:lnTo>
                <a:lnTo>
                  <a:pt x="5" y="83"/>
                </a:lnTo>
                <a:lnTo>
                  <a:pt x="5" y="83"/>
                </a:lnTo>
                <a:lnTo>
                  <a:pt x="5" y="88"/>
                </a:lnTo>
                <a:lnTo>
                  <a:pt x="8" y="90"/>
                </a:lnTo>
                <a:lnTo>
                  <a:pt x="10" y="93"/>
                </a:lnTo>
                <a:lnTo>
                  <a:pt x="13" y="95"/>
                </a:lnTo>
                <a:lnTo>
                  <a:pt x="20" y="98"/>
                </a:lnTo>
                <a:lnTo>
                  <a:pt x="23" y="103"/>
                </a:lnTo>
                <a:lnTo>
                  <a:pt x="23" y="110"/>
                </a:lnTo>
                <a:lnTo>
                  <a:pt x="23" y="115"/>
                </a:lnTo>
                <a:lnTo>
                  <a:pt x="28" y="113"/>
                </a:lnTo>
                <a:lnTo>
                  <a:pt x="30" y="115"/>
                </a:lnTo>
                <a:lnTo>
                  <a:pt x="30" y="108"/>
                </a:lnTo>
                <a:lnTo>
                  <a:pt x="30" y="103"/>
                </a:lnTo>
                <a:lnTo>
                  <a:pt x="28" y="95"/>
                </a:lnTo>
                <a:lnTo>
                  <a:pt x="33" y="88"/>
                </a:lnTo>
                <a:lnTo>
                  <a:pt x="40" y="78"/>
                </a:lnTo>
                <a:lnTo>
                  <a:pt x="40" y="73"/>
                </a:lnTo>
                <a:lnTo>
                  <a:pt x="40" y="70"/>
                </a:lnTo>
                <a:lnTo>
                  <a:pt x="38" y="70"/>
                </a:lnTo>
                <a:lnTo>
                  <a:pt x="40" y="60"/>
                </a:lnTo>
                <a:lnTo>
                  <a:pt x="40" y="53"/>
                </a:lnTo>
                <a:lnTo>
                  <a:pt x="40" y="45"/>
                </a:lnTo>
                <a:lnTo>
                  <a:pt x="43" y="38"/>
                </a:lnTo>
                <a:lnTo>
                  <a:pt x="45" y="25"/>
                </a:lnTo>
                <a:lnTo>
                  <a:pt x="45" y="18"/>
                </a:lnTo>
                <a:lnTo>
                  <a:pt x="48" y="18"/>
                </a:lnTo>
                <a:lnTo>
                  <a:pt x="48" y="13"/>
                </a:lnTo>
                <a:lnTo>
                  <a:pt x="43" y="1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28" name="Freeform 169"/>
          <p:cNvSpPr>
            <a:spLocks/>
          </p:cNvSpPr>
          <p:nvPr/>
        </p:nvSpPr>
        <p:spPr bwMode="auto">
          <a:xfrm>
            <a:off x="9910763" y="4741863"/>
            <a:ext cx="12700" cy="7938"/>
          </a:xfrm>
          <a:custGeom>
            <a:avLst/>
            <a:gdLst>
              <a:gd name="T0" fmla="*/ 0 w 8"/>
              <a:gd name="T1" fmla="*/ 3 h 5"/>
              <a:gd name="T2" fmla="*/ 3 w 8"/>
              <a:gd name="T3" fmla="*/ 5 h 5"/>
              <a:gd name="T4" fmla="*/ 8 w 8"/>
              <a:gd name="T5" fmla="*/ 5 h 5"/>
              <a:gd name="T6" fmla="*/ 8 w 8"/>
              <a:gd name="T7" fmla="*/ 3 h 5"/>
              <a:gd name="T8" fmla="*/ 5 w 8"/>
              <a:gd name="T9" fmla="*/ 0 h 5"/>
              <a:gd name="T10" fmla="*/ 0 w 8"/>
              <a:gd name="T11" fmla="*/ 3 h 5"/>
            </a:gdLst>
            <a:ahLst/>
            <a:cxnLst>
              <a:cxn ang="0">
                <a:pos x="T0" y="T1"/>
              </a:cxn>
              <a:cxn ang="0">
                <a:pos x="T2" y="T3"/>
              </a:cxn>
              <a:cxn ang="0">
                <a:pos x="T4" y="T5"/>
              </a:cxn>
              <a:cxn ang="0">
                <a:pos x="T6" y="T7"/>
              </a:cxn>
              <a:cxn ang="0">
                <a:pos x="T8" y="T9"/>
              </a:cxn>
              <a:cxn ang="0">
                <a:pos x="T10" y="T11"/>
              </a:cxn>
            </a:cxnLst>
            <a:rect l="0" t="0" r="r" b="b"/>
            <a:pathLst>
              <a:path w="8" h="5">
                <a:moveTo>
                  <a:pt x="0" y="3"/>
                </a:moveTo>
                <a:lnTo>
                  <a:pt x="3" y="5"/>
                </a:lnTo>
                <a:lnTo>
                  <a:pt x="8" y="5"/>
                </a:lnTo>
                <a:lnTo>
                  <a:pt x="8" y="3"/>
                </a:lnTo>
                <a:lnTo>
                  <a:pt x="5" y="0"/>
                </a:lnTo>
                <a:lnTo>
                  <a:pt x="0" y="3"/>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29" name="Freeform 170"/>
          <p:cNvSpPr>
            <a:spLocks/>
          </p:cNvSpPr>
          <p:nvPr/>
        </p:nvSpPr>
        <p:spPr bwMode="auto">
          <a:xfrm>
            <a:off x="10069513" y="4394200"/>
            <a:ext cx="15875" cy="11113"/>
          </a:xfrm>
          <a:custGeom>
            <a:avLst/>
            <a:gdLst>
              <a:gd name="T0" fmla="*/ 10 w 10"/>
              <a:gd name="T1" fmla="*/ 2 h 7"/>
              <a:gd name="T2" fmla="*/ 5 w 10"/>
              <a:gd name="T3" fmla="*/ 0 h 7"/>
              <a:gd name="T4" fmla="*/ 3 w 10"/>
              <a:gd name="T5" fmla="*/ 0 h 7"/>
              <a:gd name="T6" fmla="*/ 0 w 10"/>
              <a:gd name="T7" fmla="*/ 0 h 7"/>
              <a:gd name="T8" fmla="*/ 0 w 10"/>
              <a:gd name="T9" fmla="*/ 2 h 7"/>
              <a:gd name="T10" fmla="*/ 5 w 10"/>
              <a:gd name="T11" fmla="*/ 5 h 7"/>
              <a:gd name="T12" fmla="*/ 10 w 10"/>
              <a:gd name="T13" fmla="*/ 7 h 7"/>
              <a:gd name="T14" fmla="*/ 10 w 10"/>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10" y="2"/>
                </a:moveTo>
                <a:lnTo>
                  <a:pt x="5" y="0"/>
                </a:lnTo>
                <a:lnTo>
                  <a:pt x="3" y="0"/>
                </a:lnTo>
                <a:lnTo>
                  <a:pt x="0" y="0"/>
                </a:lnTo>
                <a:lnTo>
                  <a:pt x="0" y="2"/>
                </a:lnTo>
                <a:lnTo>
                  <a:pt x="5" y="5"/>
                </a:lnTo>
                <a:lnTo>
                  <a:pt x="10" y="7"/>
                </a:lnTo>
                <a:lnTo>
                  <a:pt x="10" y="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30" name="Freeform 171"/>
          <p:cNvSpPr>
            <a:spLocks noEditPoints="1"/>
          </p:cNvSpPr>
          <p:nvPr/>
        </p:nvSpPr>
        <p:spPr bwMode="auto">
          <a:xfrm>
            <a:off x="8909050" y="5213350"/>
            <a:ext cx="92075" cy="306388"/>
          </a:xfrm>
          <a:custGeom>
            <a:avLst/>
            <a:gdLst>
              <a:gd name="T0" fmla="*/ 10 w 23"/>
              <a:gd name="T1" fmla="*/ 12 h 77"/>
              <a:gd name="T2" fmla="*/ 8 w 23"/>
              <a:gd name="T3" fmla="*/ 8 h 77"/>
              <a:gd name="T4" fmla="*/ 10 w 23"/>
              <a:gd name="T5" fmla="*/ 3 h 77"/>
              <a:gd name="T6" fmla="*/ 10 w 23"/>
              <a:gd name="T7" fmla="*/ 1 h 77"/>
              <a:gd name="T8" fmla="*/ 7 w 23"/>
              <a:gd name="T9" fmla="*/ 2 h 77"/>
              <a:gd name="T10" fmla="*/ 7 w 23"/>
              <a:gd name="T11" fmla="*/ 7 h 77"/>
              <a:gd name="T12" fmla="*/ 6 w 23"/>
              <a:gd name="T13" fmla="*/ 13 h 77"/>
              <a:gd name="T14" fmla="*/ 6 w 23"/>
              <a:gd name="T15" fmla="*/ 26 h 77"/>
              <a:gd name="T16" fmla="*/ 7 w 23"/>
              <a:gd name="T17" fmla="*/ 21 h 77"/>
              <a:gd name="T18" fmla="*/ 7 w 23"/>
              <a:gd name="T19" fmla="*/ 17 h 77"/>
              <a:gd name="T20" fmla="*/ 8 w 23"/>
              <a:gd name="T21" fmla="*/ 15 h 77"/>
              <a:gd name="T22" fmla="*/ 6 w 23"/>
              <a:gd name="T23" fmla="*/ 19 h 77"/>
              <a:gd name="T24" fmla="*/ 6 w 23"/>
              <a:gd name="T25" fmla="*/ 23 h 77"/>
              <a:gd name="T26" fmla="*/ 6 w 23"/>
              <a:gd name="T27" fmla="*/ 26 h 77"/>
              <a:gd name="T28" fmla="*/ 3 w 23"/>
              <a:gd name="T29" fmla="*/ 25 h 77"/>
              <a:gd name="T30" fmla="*/ 0 w 23"/>
              <a:gd name="T31" fmla="*/ 24 h 77"/>
              <a:gd name="T32" fmla="*/ 6 w 23"/>
              <a:gd name="T33" fmla="*/ 36 h 77"/>
              <a:gd name="T34" fmla="*/ 7 w 23"/>
              <a:gd name="T35" fmla="*/ 31 h 77"/>
              <a:gd name="T36" fmla="*/ 4 w 23"/>
              <a:gd name="T37" fmla="*/ 34 h 77"/>
              <a:gd name="T38" fmla="*/ 10 w 23"/>
              <a:gd name="T39" fmla="*/ 49 h 77"/>
              <a:gd name="T40" fmla="*/ 10 w 23"/>
              <a:gd name="T41" fmla="*/ 50 h 77"/>
              <a:gd name="T42" fmla="*/ 13 w 23"/>
              <a:gd name="T43" fmla="*/ 58 h 77"/>
              <a:gd name="T44" fmla="*/ 15 w 23"/>
              <a:gd name="T45" fmla="*/ 61 h 77"/>
              <a:gd name="T46" fmla="*/ 13 w 23"/>
              <a:gd name="T47" fmla="*/ 58 h 77"/>
              <a:gd name="T48" fmla="*/ 18 w 23"/>
              <a:gd name="T49" fmla="*/ 61 h 77"/>
              <a:gd name="T50" fmla="*/ 19 w 23"/>
              <a:gd name="T51" fmla="*/ 61 h 77"/>
              <a:gd name="T52" fmla="*/ 19 w 23"/>
              <a:gd name="T53" fmla="*/ 59 h 77"/>
              <a:gd name="T54" fmla="*/ 17 w 23"/>
              <a:gd name="T55" fmla="*/ 65 h 77"/>
              <a:gd name="T56" fmla="*/ 17 w 23"/>
              <a:gd name="T57" fmla="*/ 63 h 77"/>
              <a:gd name="T58" fmla="*/ 16 w 23"/>
              <a:gd name="T59" fmla="*/ 64 h 77"/>
              <a:gd name="T60" fmla="*/ 21 w 23"/>
              <a:gd name="T61" fmla="*/ 68 h 77"/>
              <a:gd name="T62" fmla="*/ 19 w 23"/>
              <a:gd name="T63" fmla="*/ 69 h 77"/>
              <a:gd name="T64" fmla="*/ 21 w 23"/>
              <a:gd name="T65" fmla="*/ 71 h 77"/>
              <a:gd name="T66" fmla="*/ 20 w 23"/>
              <a:gd name="T67" fmla="*/ 74 h 77"/>
              <a:gd name="T68" fmla="*/ 22 w 23"/>
              <a:gd name="T69" fmla="*/ 77 h 77"/>
              <a:gd name="T70" fmla="*/ 23 w 23"/>
              <a:gd name="T71" fmla="*/ 74 h 77"/>
              <a:gd name="T72" fmla="*/ 21 w 23"/>
              <a:gd name="T73" fmla="*/ 7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77">
                <a:moveTo>
                  <a:pt x="7" y="14"/>
                </a:moveTo>
                <a:cubicBezTo>
                  <a:pt x="10" y="12"/>
                  <a:pt x="10" y="12"/>
                  <a:pt x="10" y="12"/>
                </a:cubicBezTo>
                <a:cubicBezTo>
                  <a:pt x="10" y="9"/>
                  <a:pt x="10" y="9"/>
                  <a:pt x="10" y="9"/>
                </a:cubicBezTo>
                <a:cubicBezTo>
                  <a:pt x="8" y="8"/>
                  <a:pt x="8" y="8"/>
                  <a:pt x="8" y="8"/>
                </a:cubicBezTo>
                <a:cubicBezTo>
                  <a:pt x="10" y="6"/>
                  <a:pt x="10" y="6"/>
                  <a:pt x="10" y="6"/>
                </a:cubicBezTo>
                <a:cubicBezTo>
                  <a:pt x="10" y="3"/>
                  <a:pt x="10" y="3"/>
                  <a:pt x="10" y="3"/>
                </a:cubicBezTo>
                <a:cubicBezTo>
                  <a:pt x="9" y="3"/>
                  <a:pt x="9" y="3"/>
                  <a:pt x="9" y="3"/>
                </a:cubicBezTo>
                <a:cubicBezTo>
                  <a:pt x="10" y="1"/>
                  <a:pt x="10" y="1"/>
                  <a:pt x="10" y="1"/>
                </a:cubicBezTo>
                <a:cubicBezTo>
                  <a:pt x="9" y="0"/>
                  <a:pt x="9" y="0"/>
                  <a:pt x="9" y="0"/>
                </a:cubicBezTo>
                <a:cubicBezTo>
                  <a:pt x="7" y="2"/>
                  <a:pt x="7" y="2"/>
                  <a:pt x="7" y="2"/>
                </a:cubicBezTo>
                <a:cubicBezTo>
                  <a:pt x="8" y="6"/>
                  <a:pt x="8" y="6"/>
                  <a:pt x="8" y="6"/>
                </a:cubicBezTo>
                <a:cubicBezTo>
                  <a:pt x="7" y="7"/>
                  <a:pt x="7" y="7"/>
                  <a:pt x="7" y="7"/>
                </a:cubicBezTo>
                <a:cubicBezTo>
                  <a:pt x="7" y="8"/>
                  <a:pt x="7" y="8"/>
                  <a:pt x="7" y="8"/>
                </a:cubicBezTo>
                <a:cubicBezTo>
                  <a:pt x="6" y="13"/>
                  <a:pt x="6" y="13"/>
                  <a:pt x="6" y="13"/>
                </a:cubicBezTo>
                <a:cubicBezTo>
                  <a:pt x="7" y="14"/>
                  <a:pt x="7" y="14"/>
                  <a:pt x="7" y="14"/>
                </a:cubicBezTo>
                <a:close/>
                <a:moveTo>
                  <a:pt x="6" y="26"/>
                </a:moveTo>
                <a:cubicBezTo>
                  <a:pt x="8" y="23"/>
                  <a:pt x="8" y="23"/>
                  <a:pt x="8" y="23"/>
                </a:cubicBezTo>
                <a:cubicBezTo>
                  <a:pt x="7" y="21"/>
                  <a:pt x="7" y="21"/>
                  <a:pt x="7" y="21"/>
                </a:cubicBezTo>
                <a:cubicBezTo>
                  <a:pt x="7" y="20"/>
                  <a:pt x="7" y="20"/>
                  <a:pt x="7" y="20"/>
                </a:cubicBezTo>
                <a:cubicBezTo>
                  <a:pt x="7" y="17"/>
                  <a:pt x="7" y="17"/>
                  <a:pt x="7" y="17"/>
                </a:cubicBezTo>
                <a:cubicBezTo>
                  <a:pt x="8" y="16"/>
                  <a:pt x="8" y="16"/>
                  <a:pt x="8" y="16"/>
                </a:cubicBezTo>
                <a:cubicBezTo>
                  <a:pt x="8" y="15"/>
                  <a:pt x="8" y="15"/>
                  <a:pt x="8" y="15"/>
                </a:cubicBezTo>
                <a:cubicBezTo>
                  <a:pt x="6" y="16"/>
                  <a:pt x="6" y="16"/>
                  <a:pt x="6" y="16"/>
                </a:cubicBezTo>
                <a:cubicBezTo>
                  <a:pt x="6" y="19"/>
                  <a:pt x="6" y="19"/>
                  <a:pt x="6" y="19"/>
                </a:cubicBezTo>
                <a:cubicBezTo>
                  <a:pt x="5" y="21"/>
                  <a:pt x="5" y="21"/>
                  <a:pt x="5" y="21"/>
                </a:cubicBezTo>
                <a:cubicBezTo>
                  <a:pt x="6" y="23"/>
                  <a:pt x="6" y="23"/>
                  <a:pt x="6" y="23"/>
                </a:cubicBezTo>
                <a:cubicBezTo>
                  <a:pt x="5" y="25"/>
                  <a:pt x="5" y="25"/>
                  <a:pt x="5" y="25"/>
                </a:cubicBezTo>
                <a:cubicBezTo>
                  <a:pt x="6" y="26"/>
                  <a:pt x="6" y="26"/>
                  <a:pt x="6" y="26"/>
                </a:cubicBezTo>
                <a:close/>
                <a:moveTo>
                  <a:pt x="0" y="24"/>
                </a:moveTo>
                <a:cubicBezTo>
                  <a:pt x="3" y="25"/>
                  <a:pt x="3" y="25"/>
                  <a:pt x="3" y="25"/>
                </a:cubicBezTo>
                <a:cubicBezTo>
                  <a:pt x="2" y="23"/>
                  <a:pt x="2" y="23"/>
                  <a:pt x="2" y="23"/>
                </a:cubicBezTo>
                <a:cubicBezTo>
                  <a:pt x="0" y="24"/>
                  <a:pt x="0" y="24"/>
                  <a:pt x="0" y="24"/>
                </a:cubicBezTo>
                <a:close/>
                <a:moveTo>
                  <a:pt x="4" y="36"/>
                </a:moveTo>
                <a:cubicBezTo>
                  <a:pt x="6" y="36"/>
                  <a:pt x="6" y="36"/>
                  <a:pt x="6" y="36"/>
                </a:cubicBezTo>
                <a:cubicBezTo>
                  <a:pt x="7" y="33"/>
                  <a:pt x="7" y="33"/>
                  <a:pt x="7" y="33"/>
                </a:cubicBezTo>
                <a:cubicBezTo>
                  <a:pt x="7" y="31"/>
                  <a:pt x="7" y="31"/>
                  <a:pt x="7" y="31"/>
                </a:cubicBezTo>
                <a:cubicBezTo>
                  <a:pt x="4" y="32"/>
                  <a:pt x="4" y="32"/>
                  <a:pt x="4" y="32"/>
                </a:cubicBezTo>
                <a:cubicBezTo>
                  <a:pt x="4" y="34"/>
                  <a:pt x="4" y="34"/>
                  <a:pt x="4" y="34"/>
                </a:cubicBezTo>
                <a:cubicBezTo>
                  <a:pt x="4" y="34"/>
                  <a:pt x="4" y="36"/>
                  <a:pt x="4" y="36"/>
                </a:cubicBezTo>
                <a:close/>
                <a:moveTo>
                  <a:pt x="10" y="49"/>
                </a:moveTo>
                <a:cubicBezTo>
                  <a:pt x="8" y="50"/>
                  <a:pt x="8" y="50"/>
                  <a:pt x="8" y="50"/>
                </a:cubicBezTo>
                <a:cubicBezTo>
                  <a:pt x="10" y="50"/>
                  <a:pt x="10" y="50"/>
                  <a:pt x="10" y="50"/>
                </a:cubicBezTo>
                <a:cubicBezTo>
                  <a:pt x="10" y="49"/>
                  <a:pt x="10" y="49"/>
                  <a:pt x="10" y="49"/>
                </a:cubicBezTo>
                <a:close/>
                <a:moveTo>
                  <a:pt x="13" y="58"/>
                </a:moveTo>
                <a:cubicBezTo>
                  <a:pt x="14" y="58"/>
                  <a:pt x="14" y="58"/>
                  <a:pt x="14" y="58"/>
                </a:cubicBezTo>
                <a:cubicBezTo>
                  <a:pt x="15" y="61"/>
                  <a:pt x="15" y="61"/>
                  <a:pt x="15" y="61"/>
                </a:cubicBezTo>
                <a:cubicBezTo>
                  <a:pt x="13" y="59"/>
                  <a:pt x="13" y="59"/>
                  <a:pt x="13" y="59"/>
                </a:cubicBezTo>
                <a:cubicBezTo>
                  <a:pt x="13" y="59"/>
                  <a:pt x="13" y="58"/>
                  <a:pt x="13" y="58"/>
                </a:cubicBezTo>
                <a:close/>
                <a:moveTo>
                  <a:pt x="19" y="59"/>
                </a:moveTo>
                <a:cubicBezTo>
                  <a:pt x="18" y="61"/>
                  <a:pt x="18" y="61"/>
                  <a:pt x="18" y="61"/>
                </a:cubicBezTo>
                <a:cubicBezTo>
                  <a:pt x="19" y="62"/>
                  <a:pt x="19" y="62"/>
                  <a:pt x="19" y="62"/>
                </a:cubicBezTo>
                <a:cubicBezTo>
                  <a:pt x="19" y="61"/>
                  <a:pt x="19" y="61"/>
                  <a:pt x="19" y="61"/>
                </a:cubicBezTo>
                <a:cubicBezTo>
                  <a:pt x="19" y="60"/>
                  <a:pt x="19" y="60"/>
                  <a:pt x="19" y="60"/>
                </a:cubicBezTo>
                <a:cubicBezTo>
                  <a:pt x="19" y="59"/>
                  <a:pt x="19" y="59"/>
                  <a:pt x="19" y="59"/>
                </a:cubicBezTo>
                <a:close/>
                <a:moveTo>
                  <a:pt x="16" y="64"/>
                </a:moveTo>
                <a:cubicBezTo>
                  <a:pt x="17" y="65"/>
                  <a:pt x="17" y="65"/>
                  <a:pt x="17" y="65"/>
                </a:cubicBezTo>
                <a:cubicBezTo>
                  <a:pt x="18" y="65"/>
                  <a:pt x="18" y="65"/>
                  <a:pt x="18" y="65"/>
                </a:cubicBezTo>
                <a:cubicBezTo>
                  <a:pt x="17" y="63"/>
                  <a:pt x="17" y="63"/>
                  <a:pt x="17" y="63"/>
                </a:cubicBezTo>
                <a:cubicBezTo>
                  <a:pt x="15" y="63"/>
                  <a:pt x="15" y="63"/>
                  <a:pt x="15" y="63"/>
                </a:cubicBezTo>
                <a:cubicBezTo>
                  <a:pt x="16" y="64"/>
                  <a:pt x="16" y="64"/>
                  <a:pt x="16" y="64"/>
                </a:cubicBezTo>
                <a:close/>
                <a:moveTo>
                  <a:pt x="20" y="70"/>
                </a:moveTo>
                <a:cubicBezTo>
                  <a:pt x="21" y="68"/>
                  <a:pt x="21" y="68"/>
                  <a:pt x="21" y="68"/>
                </a:cubicBezTo>
                <a:cubicBezTo>
                  <a:pt x="20" y="68"/>
                  <a:pt x="20" y="68"/>
                  <a:pt x="20" y="68"/>
                </a:cubicBezTo>
                <a:cubicBezTo>
                  <a:pt x="19" y="69"/>
                  <a:pt x="19" y="69"/>
                  <a:pt x="19" y="69"/>
                </a:cubicBezTo>
                <a:cubicBezTo>
                  <a:pt x="20" y="70"/>
                  <a:pt x="20" y="70"/>
                  <a:pt x="20" y="70"/>
                </a:cubicBezTo>
                <a:close/>
                <a:moveTo>
                  <a:pt x="21" y="71"/>
                </a:moveTo>
                <a:cubicBezTo>
                  <a:pt x="20" y="72"/>
                  <a:pt x="20" y="72"/>
                  <a:pt x="20" y="72"/>
                </a:cubicBezTo>
                <a:cubicBezTo>
                  <a:pt x="20" y="74"/>
                  <a:pt x="20" y="74"/>
                  <a:pt x="20" y="74"/>
                </a:cubicBezTo>
                <a:cubicBezTo>
                  <a:pt x="20" y="74"/>
                  <a:pt x="21" y="75"/>
                  <a:pt x="21" y="75"/>
                </a:cubicBezTo>
                <a:cubicBezTo>
                  <a:pt x="21" y="75"/>
                  <a:pt x="22" y="77"/>
                  <a:pt x="22" y="77"/>
                </a:cubicBezTo>
                <a:cubicBezTo>
                  <a:pt x="23" y="75"/>
                  <a:pt x="23" y="75"/>
                  <a:pt x="23" y="75"/>
                </a:cubicBezTo>
                <a:cubicBezTo>
                  <a:pt x="23" y="74"/>
                  <a:pt x="23" y="74"/>
                  <a:pt x="23" y="74"/>
                </a:cubicBezTo>
                <a:cubicBezTo>
                  <a:pt x="23" y="72"/>
                  <a:pt x="23" y="72"/>
                  <a:pt x="23" y="72"/>
                </a:cubicBezTo>
                <a:lnTo>
                  <a:pt x="21" y="71"/>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31" name="Freeform 172"/>
          <p:cNvSpPr>
            <a:spLocks noEditPoints="1"/>
          </p:cNvSpPr>
          <p:nvPr/>
        </p:nvSpPr>
        <p:spPr bwMode="auto">
          <a:xfrm>
            <a:off x="5943600" y="582613"/>
            <a:ext cx="5559425" cy="3351213"/>
          </a:xfrm>
          <a:custGeom>
            <a:avLst/>
            <a:gdLst>
              <a:gd name="T0" fmla="*/ 1074 w 1404"/>
              <a:gd name="T1" fmla="*/ 693 h 846"/>
              <a:gd name="T2" fmla="*/ 981 w 1404"/>
              <a:gd name="T3" fmla="*/ 605 h 846"/>
              <a:gd name="T4" fmla="*/ 877 w 1404"/>
              <a:gd name="T5" fmla="*/ 682 h 846"/>
              <a:gd name="T6" fmla="*/ 682 w 1404"/>
              <a:gd name="T7" fmla="*/ 684 h 846"/>
              <a:gd name="T8" fmla="*/ 480 w 1404"/>
              <a:gd name="T9" fmla="*/ 651 h 846"/>
              <a:gd name="T10" fmla="*/ 353 w 1404"/>
              <a:gd name="T11" fmla="*/ 668 h 846"/>
              <a:gd name="T12" fmla="*/ 239 w 1404"/>
              <a:gd name="T13" fmla="*/ 723 h 846"/>
              <a:gd name="T14" fmla="*/ 204 w 1404"/>
              <a:gd name="T15" fmla="*/ 845 h 846"/>
              <a:gd name="T16" fmla="*/ 118 w 1404"/>
              <a:gd name="T17" fmla="*/ 722 h 846"/>
              <a:gd name="T18" fmla="*/ 19 w 1404"/>
              <a:gd name="T19" fmla="*/ 568 h 846"/>
              <a:gd name="T20" fmla="*/ 39 w 1404"/>
              <a:gd name="T21" fmla="*/ 404 h 846"/>
              <a:gd name="T22" fmla="*/ 51 w 1404"/>
              <a:gd name="T23" fmla="*/ 460 h 846"/>
              <a:gd name="T24" fmla="*/ 144 w 1404"/>
              <a:gd name="T25" fmla="*/ 447 h 846"/>
              <a:gd name="T26" fmla="*/ 219 w 1404"/>
              <a:gd name="T27" fmla="*/ 406 h 846"/>
              <a:gd name="T28" fmla="*/ 346 w 1404"/>
              <a:gd name="T29" fmla="*/ 382 h 846"/>
              <a:gd name="T30" fmla="*/ 385 w 1404"/>
              <a:gd name="T31" fmla="*/ 386 h 846"/>
              <a:gd name="T32" fmla="*/ 419 w 1404"/>
              <a:gd name="T33" fmla="*/ 375 h 846"/>
              <a:gd name="T34" fmla="*/ 406 w 1404"/>
              <a:gd name="T35" fmla="*/ 292 h 846"/>
              <a:gd name="T36" fmla="*/ 421 w 1404"/>
              <a:gd name="T37" fmla="*/ 245 h 846"/>
              <a:gd name="T38" fmla="*/ 464 w 1404"/>
              <a:gd name="T39" fmla="*/ 163 h 846"/>
              <a:gd name="T40" fmla="*/ 529 w 1404"/>
              <a:gd name="T41" fmla="*/ 111 h 846"/>
              <a:gd name="T42" fmla="*/ 618 w 1404"/>
              <a:gd name="T43" fmla="*/ 161 h 846"/>
              <a:gd name="T44" fmla="*/ 655 w 1404"/>
              <a:gd name="T45" fmla="*/ 194 h 846"/>
              <a:gd name="T46" fmla="*/ 792 w 1404"/>
              <a:gd name="T47" fmla="*/ 185 h 846"/>
              <a:gd name="T48" fmla="*/ 892 w 1404"/>
              <a:gd name="T49" fmla="*/ 174 h 846"/>
              <a:gd name="T50" fmla="*/ 987 w 1404"/>
              <a:gd name="T51" fmla="*/ 156 h 846"/>
              <a:gd name="T52" fmla="*/ 1196 w 1404"/>
              <a:gd name="T53" fmla="*/ 160 h 846"/>
              <a:gd name="T54" fmla="*/ 1329 w 1404"/>
              <a:gd name="T55" fmla="*/ 131 h 846"/>
              <a:gd name="T56" fmla="*/ 1390 w 1404"/>
              <a:gd name="T57" fmla="*/ 166 h 846"/>
              <a:gd name="T58" fmla="*/ 1351 w 1404"/>
              <a:gd name="T59" fmla="*/ 224 h 846"/>
              <a:gd name="T60" fmla="*/ 1358 w 1404"/>
              <a:gd name="T61" fmla="*/ 318 h 846"/>
              <a:gd name="T62" fmla="*/ 1287 w 1404"/>
              <a:gd name="T63" fmla="*/ 421 h 846"/>
              <a:gd name="T64" fmla="*/ 1310 w 1404"/>
              <a:gd name="T65" fmla="*/ 576 h 846"/>
              <a:gd name="T66" fmla="*/ 1258 w 1404"/>
              <a:gd name="T67" fmla="*/ 351 h 846"/>
              <a:gd name="T68" fmla="*/ 1198 w 1404"/>
              <a:gd name="T69" fmla="*/ 391 h 846"/>
              <a:gd name="T70" fmla="*/ 1123 w 1404"/>
              <a:gd name="T71" fmla="*/ 448 h 846"/>
              <a:gd name="T72" fmla="*/ 1106 w 1404"/>
              <a:gd name="T73" fmla="*/ 566 h 846"/>
              <a:gd name="T74" fmla="*/ 1115 w 1404"/>
              <a:gd name="T75" fmla="*/ 770 h 846"/>
              <a:gd name="T76" fmla="*/ 95 w 1404"/>
              <a:gd name="T77" fmla="*/ 88 h 846"/>
              <a:gd name="T78" fmla="*/ 131 w 1404"/>
              <a:gd name="T79" fmla="*/ 53 h 846"/>
              <a:gd name="T80" fmla="*/ 120 w 1404"/>
              <a:gd name="T81" fmla="*/ 88 h 846"/>
              <a:gd name="T82" fmla="*/ 127 w 1404"/>
              <a:gd name="T83" fmla="*/ 90 h 846"/>
              <a:gd name="T84" fmla="*/ 157 w 1404"/>
              <a:gd name="T85" fmla="*/ 76 h 846"/>
              <a:gd name="T86" fmla="*/ 202 w 1404"/>
              <a:gd name="T87" fmla="*/ 292 h 846"/>
              <a:gd name="T88" fmla="*/ 247 w 1404"/>
              <a:gd name="T89" fmla="*/ 191 h 846"/>
              <a:gd name="T90" fmla="*/ 193 w 1404"/>
              <a:gd name="T91" fmla="*/ 270 h 846"/>
              <a:gd name="T92" fmla="*/ 183 w 1404"/>
              <a:gd name="T93" fmla="*/ 306 h 846"/>
              <a:gd name="T94" fmla="*/ 233 w 1404"/>
              <a:gd name="T95" fmla="*/ 358 h 846"/>
              <a:gd name="T96" fmla="*/ 450 w 1404"/>
              <a:gd name="T97" fmla="*/ 322 h 846"/>
              <a:gd name="T98" fmla="*/ 353 w 1404"/>
              <a:gd name="T99" fmla="*/ 280 h 846"/>
              <a:gd name="T100" fmla="*/ 380 w 1404"/>
              <a:gd name="T101" fmla="*/ 186 h 846"/>
              <a:gd name="T102" fmla="*/ 457 w 1404"/>
              <a:gd name="T103" fmla="*/ 135 h 846"/>
              <a:gd name="T104" fmla="*/ 349 w 1404"/>
              <a:gd name="T105" fmla="*/ 15 h 846"/>
              <a:gd name="T106" fmla="*/ 401 w 1404"/>
              <a:gd name="T107" fmla="*/ 65 h 846"/>
              <a:gd name="T108" fmla="*/ 866 w 1404"/>
              <a:gd name="T109" fmla="*/ 44 h 846"/>
              <a:gd name="T110" fmla="*/ 785 w 1404"/>
              <a:gd name="T111" fmla="*/ 66 h 846"/>
              <a:gd name="T112" fmla="*/ 470 w 1404"/>
              <a:gd name="T113" fmla="*/ 50 h 846"/>
              <a:gd name="T114" fmla="*/ 639 w 1404"/>
              <a:gd name="T115" fmla="*/ 176 h 846"/>
              <a:gd name="T116" fmla="*/ 1108 w 1404"/>
              <a:gd name="T117" fmla="*/ 166 h 846"/>
              <a:gd name="T118" fmla="*/ 1188 w 1404"/>
              <a:gd name="T119" fmla="*/ 644 h 846"/>
              <a:gd name="T120" fmla="*/ 1178 w 1404"/>
              <a:gd name="T121" fmla="*/ 682 h 846"/>
              <a:gd name="T122" fmla="*/ 1298 w 1404"/>
              <a:gd name="T123" fmla="*/ 429 h 846"/>
              <a:gd name="T124" fmla="*/ 1292 w 1404"/>
              <a:gd name="T125" fmla="*/ 6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4" h="846">
                <a:moveTo>
                  <a:pt x="1089" y="777"/>
                </a:moveTo>
                <a:cubicBezTo>
                  <a:pt x="1089" y="777"/>
                  <a:pt x="1089" y="777"/>
                  <a:pt x="1089" y="777"/>
                </a:cubicBezTo>
                <a:cubicBezTo>
                  <a:pt x="1087" y="775"/>
                  <a:pt x="1087" y="775"/>
                  <a:pt x="1087" y="775"/>
                </a:cubicBezTo>
                <a:cubicBezTo>
                  <a:pt x="1087" y="775"/>
                  <a:pt x="1087" y="775"/>
                  <a:pt x="1087" y="775"/>
                </a:cubicBezTo>
                <a:cubicBezTo>
                  <a:pt x="1088" y="774"/>
                  <a:pt x="1088" y="774"/>
                  <a:pt x="1088" y="774"/>
                </a:cubicBezTo>
                <a:cubicBezTo>
                  <a:pt x="1088" y="773"/>
                  <a:pt x="1088" y="773"/>
                  <a:pt x="1088" y="773"/>
                </a:cubicBezTo>
                <a:cubicBezTo>
                  <a:pt x="1087" y="773"/>
                  <a:pt x="1087" y="773"/>
                  <a:pt x="1087" y="773"/>
                </a:cubicBezTo>
                <a:cubicBezTo>
                  <a:pt x="1086" y="771"/>
                  <a:pt x="1086" y="771"/>
                  <a:pt x="1086" y="771"/>
                </a:cubicBezTo>
                <a:cubicBezTo>
                  <a:pt x="1087" y="770"/>
                  <a:pt x="1087" y="770"/>
                  <a:pt x="1087" y="770"/>
                </a:cubicBezTo>
                <a:cubicBezTo>
                  <a:pt x="1088" y="769"/>
                  <a:pt x="1088" y="769"/>
                  <a:pt x="1088" y="769"/>
                </a:cubicBezTo>
                <a:cubicBezTo>
                  <a:pt x="1090" y="769"/>
                  <a:pt x="1090" y="769"/>
                  <a:pt x="1090" y="769"/>
                </a:cubicBezTo>
                <a:cubicBezTo>
                  <a:pt x="1091" y="769"/>
                  <a:pt x="1091" y="769"/>
                  <a:pt x="1091" y="769"/>
                </a:cubicBezTo>
                <a:cubicBezTo>
                  <a:pt x="1091" y="767"/>
                  <a:pt x="1091" y="767"/>
                  <a:pt x="1091" y="767"/>
                </a:cubicBezTo>
                <a:cubicBezTo>
                  <a:pt x="1091" y="766"/>
                  <a:pt x="1091" y="766"/>
                  <a:pt x="1091" y="766"/>
                </a:cubicBezTo>
                <a:cubicBezTo>
                  <a:pt x="1091" y="765"/>
                  <a:pt x="1091" y="765"/>
                  <a:pt x="1091" y="765"/>
                </a:cubicBezTo>
                <a:cubicBezTo>
                  <a:pt x="1091" y="764"/>
                  <a:pt x="1091" y="764"/>
                  <a:pt x="1091" y="764"/>
                </a:cubicBezTo>
                <a:cubicBezTo>
                  <a:pt x="1091" y="762"/>
                  <a:pt x="1091" y="762"/>
                  <a:pt x="1091" y="762"/>
                </a:cubicBezTo>
                <a:cubicBezTo>
                  <a:pt x="1091" y="760"/>
                  <a:pt x="1091" y="760"/>
                  <a:pt x="1091" y="760"/>
                </a:cubicBezTo>
                <a:cubicBezTo>
                  <a:pt x="1090" y="759"/>
                  <a:pt x="1090" y="759"/>
                  <a:pt x="1090" y="759"/>
                </a:cubicBezTo>
                <a:cubicBezTo>
                  <a:pt x="1090" y="756"/>
                  <a:pt x="1090" y="756"/>
                  <a:pt x="1090" y="756"/>
                </a:cubicBezTo>
                <a:cubicBezTo>
                  <a:pt x="1090" y="754"/>
                  <a:pt x="1090" y="754"/>
                  <a:pt x="1090" y="754"/>
                </a:cubicBezTo>
                <a:cubicBezTo>
                  <a:pt x="1090" y="751"/>
                  <a:pt x="1090" y="751"/>
                  <a:pt x="1090" y="751"/>
                </a:cubicBezTo>
                <a:cubicBezTo>
                  <a:pt x="1090" y="749"/>
                  <a:pt x="1090" y="749"/>
                  <a:pt x="1090" y="749"/>
                </a:cubicBezTo>
                <a:cubicBezTo>
                  <a:pt x="1088" y="747"/>
                  <a:pt x="1088" y="747"/>
                  <a:pt x="1088" y="747"/>
                </a:cubicBezTo>
                <a:cubicBezTo>
                  <a:pt x="1088" y="746"/>
                  <a:pt x="1088" y="746"/>
                  <a:pt x="1088" y="746"/>
                </a:cubicBezTo>
                <a:cubicBezTo>
                  <a:pt x="1087" y="745"/>
                  <a:pt x="1087" y="745"/>
                  <a:pt x="1087" y="745"/>
                </a:cubicBezTo>
                <a:cubicBezTo>
                  <a:pt x="1085" y="741"/>
                  <a:pt x="1085" y="741"/>
                  <a:pt x="1085" y="741"/>
                </a:cubicBezTo>
                <a:cubicBezTo>
                  <a:pt x="1084" y="739"/>
                  <a:pt x="1084" y="739"/>
                  <a:pt x="1084" y="739"/>
                </a:cubicBezTo>
                <a:cubicBezTo>
                  <a:pt x="1084" y="738"/>
                  <a:pt x="1084" y="738"/>
                  <a:pt x="1084" y="738"/>
                </a:cubicBezTo>
                <a:cubicBezTo>
                  <a:pt x="1086" y="737"/>
                  <a:pt x="1086" y="737"/>
                  <a:pt x="1086" y="737"/>
                </a:cubicBezTo>
                <a:cubicBezTo>
                  <a:pt x="1087" y="737"/>
                  <a:pt x="1087" y="737"/>
                  <a:pt x="1087" y="737"/>
                </a:cubicBezTo>
                <a:cubicBezTo>
                  <a:pt x="1088" y="736"/>
                  <a:pt x="1088" y="736"/>
                  <a:pt x="1088" y="736"/>
                </a:cubicBezTo>
                <a:cubicBezTo>
                  <a:pt x="1088" y="734"/>
                  <a:pt x="1088" y="734"/>
                  <a:pt x="1088" y="734"/>
                </a:cubicBezTo>
                <a:cubicBezTo>
                  <a:pt x="1090" y="731"/>
                  <a:pt x="1090" y="731"/>
                  <a:pt x="1090" y="731"/>
                </a:cubicBezTo>
                <a:cubicBezTo>
                  <a:pt x="1091" y="731"/>
                  <a:pt x="1091" y="731"/>
                  <a:pt x="1091" y="731"/>
                </a:cubicBezTo>
                <a:cubicBezTo>
                  <a:pt x="1093" y="731"/>
                  <a:pt x="1093" y="731"/>
                  <a:pt x="1093" y="731"/>
                </a:cubicBezTo>
                <a:cubicBezTo>
                  <a:pt x="1094" y="732"/>
                  <a:pt x="1094" y="732"/>
                  <a:pt x="1094" y="732"/>
                </a:cubicBezTo>
                <a:cubicBezTo>
                  <a:pt x="1101" y="733"/>
                  <a:pt x="1101" y="733"/>
                  <a:pt x="1101" y="733"/>
                </a:cubicBezTo>
                <a:cubicBezTo>
                  <a:pt x="1102" y="733"/>
                  <a:pt x="1102" y="733"/>
                  <a:pt x="1102" y="733"/>
                </a:cubicBezTo>
                <a:cubicBezTo>
                  <a:pt x="1103" y="733"/>
                  <a:pt x="1103" y="733"/>
                  <a:pt x="1103" y="733"/>
                </a:cubicBezTo>
                <a:cubicBezTo>
                  <a:pt x="1104" y="732"/>
                  <a:pt x="1104" y="732"/>
                  <a:pt x="1104" y="732"/>
                </a:cubicBezTo>
                <a:cubicBezTo>
                  <a:pt x="1104" y="731"/>
                  <a:pt x="1104" y="731"/>
                  <a:pt x="1104" y="731"/>
                </a:cubicBezTo>
                <a:cubicBezTo>
                  <a:pt x="1103" y="730"/>
                  <a:pt x="1103" y="730"/>
                  <a:pt x="1103" y="730"/>
                </a:cubicBezTo>
                <a:cubicBezTo>
                  <a:pt x="1103" y="729"/>
                  <a:pt x="1103" y="729"/>
                  <a:pt x="1103" y="729"/>
                </a:cubicBezTo>
                <a:cubicBezTo>
                  <a:pt x="1103" y="728"/>
                  <a:pt x="1103" y="728"/>
                  <a:pt x="1103" y="728"/>
                </a:cubicBezTo>
                <a:cubicBezTo>
                  <a:pt x="1103" y="727"/>
                  <a:pt x="1103" y="727"/>
                  <a:pt x="1103" y="727"/>
                </a:cubicBezTo>
                <a:cubicBezTo>
                  <a:pt x="1103" y="725"/>
                  <a:pt x="1103" y="725"/>
                  <a:pt x="1103" y="725"/>
                </a:cubicBezTo>
                <a:cubicBezTo>
                  <a:pt x="1103" y="723"/>
                  <a:pt x="1103" y="723"/>
                  <a:pt x="1103" y="723"/>
                </a:cubicBezTo>
                <a:cubicBezTo>
                  <a:pt x="1104" y="723"/>
                  <a:pt x="1104" y="723"/>
                  <a:pt x="1104" y="723"/>
                </a:cubicBezTo>
                <a:cubicBezTo>
                  <a:pt x="1104" y="721"/>
                  <a:pt x="1104" y="721"/>
                  <a:pt x="1104" y="721"/>
                </a:cubicBezTo>
                <a:cubicBezTo>
                  <a:pt x="1103" y="720"/>
                  <a:pt x="1103" y="720"/>
                  <a:pt x="1103" y="720"/>
                </a:cubicBezTo>
                <a:cubicBezTo>
                  <a:pt x="1104" y="719"/>
                  <a:pt x="1104" y="719"/>
                  <a:pt x="1104" y="719"/>
                </a:cubicBezTo>
                <a:cubicBezTo>
                  <a:pt x="1105" y="718"/>
                  <a:pt x="1105" y="718"/>
                  <a:pt x="1105" y="718"/>
                </a:cubicBezTo>
                <a:cubicBezTo>
                  <a:pt x="1104" y="717"/>
                  <a:pt x="1104" y="717"/>
                  <a:pt x="1104" y="717"/>
                </a:cubicBezTo>
                <a:cubicBezTo>
                  <a:pt x="1104" y="716"/>
                  <a:pt x="1104" y="716"/>
                  <a:pt x="1104" y="716"/>
                </a:cubicBezTo>
                <a:cubicBezTo>
                  <a:pt x="1104" y="715"/>
                  <a:pt x="1104" y="715"/>
                  <a:pt x="1104" y="715"/>
                </a:cubicBezTo>
                <a:cubicBezTo>
                  <a:pt x="1104" y="714"/>
                  <a:pt x="1104" y="714"/>
                  <a:pt x="1104" y="714"/>
                </a:cubicBezTo>
                <a:cubicBezTo>
                  <a:pt x="1105" y="713"/>
                  <a:pt x="1105" y="713"/>
                  <a:pt x="1105" y="713"/>
                </a:cubicBezTo>
                <a:cubicBezTo>
                  <a:pt x="1105" y="712"/>
                  <a:pt x="1105" y="712"/>
                  <a:pt x="1105" y="712"/>
                </a:cubicBezTo>
                <a:cubicBezTo>
                  <a:pt x="1105" y="711"/>
                  <a:pt x="1105" y="711"/>
                  <a:pt x="1105" y="711"/>
                </a:cubicBezTo>
                <a:cubicBezTo>
                  <a:pt x="1104" y="709"/>
                  <a:pt x="1104" y="709"/>
                  <a:pt x="1104" y="709"/>
                </a:cubicBezTo>
                <a:cubicBezTo>
                  <a:pt x="1104" y="706"/>
                  <a:pt x="1104" y="706"/>
                  <a:pt x="1104" y="706"/>
                </a:cubicBezTo>
                <a:cubicBezTo>
                  <a:pt x="1104" y="706"/>
                  <a:pt x="1104" y="706"/>
                  <a:pt x="1104" y="706"/>
                </a:cubicBezTo>
                <a:cubicBezTo>
                  <a:pt x="1105" y="706"/>
                  <a:pt x="1105" y="706"/>
                  <a:pt x="1105" y="706"/>
                </a:cubicBezTo>
                <a:cubicBezTo>
                  <a:pt x="1105" y="705"/>
                  <a:pt x="1105" y="705"/>
                  <a:pt x="1105" y="705"/>
                </a:cubicBezTo>
                <a:cubicBezTo>
                  <a:pt x="1104" y="704"/>
                  <a:pt x="1104" y="704"/>
                  <a:pt x="1104" y="704"/>
                </a:cubicBezTo>
                <a:cubicBezTo>
                  <a:pt x="1104" y="703"/>
                  <a:pt x="1104" y="703"/>
                  <a:pt x="1104" y="703"/>
                </a:cubicBezTo>
                <a:cubicBezTo>
                  <a:pt x="1103" y="702"/>
                  <a:pt x="1103" y="702"/>
                  <a:pt x="1103" y="702"/>
                </a:cubicBezTo>
                <a:cubicBezTo>
                  <a:pt x="1103" y="701"/>
                  <a:pt x="1103" y="701"/>
                  <a:pt x="1103" y="701"/>
                </a:cubicBezTo>
                <a:cubicBezTo>
                  <a:pt x="1103" y="700"/>
                  <a:pt x="1103" y="700"/>
                  <a:pt x="1103" y="700"/>
                </a:cubicBezTo>
                <a:cubicBezTo>
                  <a:pt x="1104" y="698"/>
                  <a:pt x="1104" y="698"/>
                  <a:pt x="1104" y="698"/>
                </a:cubicBezTo>
                <a:cubicBezTo>
                  <a:pt x="1103" y="697"/>
                  <a:pt x="1103" y="697"/>
                  <a:pt x="1103" y="697"/>
                </a:cubicBezTo>
                <a:cubicBezTo>
                  <a:pt x="1102" y="696"/>
                  <a:pt x="1102" y="696"/>
                  <a:pt x="1102" y="696"/>
                </a:cubicBezTo>
                <a:cubicBezTo>
                  <a:pt x="1102" y="695"/>
                  <a:pt x="1102" y="695"/>
                  <a:pt x="1102" y="695"/>
                </a:cubicBezTo>
                <a:cubicBezTo>
                  <a:pt x="1104" y="693"/>
                  <a:pt x="1104" y="693"/>
                  <a:pt x="1104" y="693"/>
                </a:cubicBezTo>
                <a:cubicBezTo>
                  <a:pt x="1105" y="693"/>
                  <a:pt x="1105" y="693"/>
                  <a:pt x="1105" y="693"/>
                </a:cubicBezTo>
                <a:cubicBezTo>
                  <a:pt x="1106" y="692"/>
                  <a:pt x="1106" y="692"/>
                  <a:pt x="1106" y="692"/>
                </a:cubicBezTo>
                <a:cubicBezTo>
                  <a:pt x="1106" y="690"/>
                  <a:pt x="1106" y="690"/>
                  <a:pt x="1106" y="690"/>
                </a:cubicBezTo>
                <a:cubicBezTo>
                  <a:pt x="1106" y="688"/>
                  <a:pt x="1106" y="688"/>
                  <a:pt x="1106" y="688"/>
                </a:cubicBezTo>
                <a:cubicBezTo>
                  <a:pt x="1105" y="687"/>
                  <a:pt x="1105" y="687"/>
                  <a:pt x="1105" y="687"/>
                </a:cubicBezTo>
                <a:cubicBezTo>
                  <a:pt x="1104" y="686"/>
                  <a:pt x="1104" y="686"/>
                  <a:pt x="1104" y="686"/>
                </a:cubicBezTo>
                <a:cubicBezTo>
                  <a:pt x="1104" y="685"/>
                  <a:pt x="1104" y="685"/>
                  <a:pt x="1104" y="685"/>
                </a:cubicBezTo>
                <a:cubicBezTo>
                  <a:pt x="1102" y="683"/>
                  <a:pt x="1102" y="683"/>
                  <a:pt x="1102" y="683"/>
                </a:cubicBezTo>
                <a:cubicBezTo>
                  <a:pt x="1101" y="682"/>
                  <a:pt x="1101" y="682"/>
                  <a:pt x="1101" y="682"/>
                </a:cubicBezTo>
                <a:cubicBezTo>
                  <a:pt x="1103" y="681"/>
                  <a:pt x="1103" y="681"/>
                  <a:pt x="1103" y="681"/>
                </a:cubicBezTo>
                <a:cubicBezTo>
                  <a:pt x="1101" y="679"/>
                  <a:pt x="1101" y="679"/>
                  <a:pt x="1101" y="679"/>
                </a:cubicBezTo>
                <a:cubicBezTo>
                  <a:pt x="1101" y="678"/>
                  <a:pt x="1101" y="678"/>
                  <a:pt x="1101" y="678"/>
                </a:cubicBezTo>
                <a:cubicBezTo>
                  <a:pt x="1099" y="678"/>
                  <a:pt x="1099" y="678"/>
                  <a:pt x="1099" y="678"/>
                </a:cubicBezTo>
                <a:cubicBezTo>
                  <a:pt x="1098" y="677"/>
                  <a:pt x="1098" y="677"/>
                  <a:pt x="1098" y="677"/>
                </a:cubicBezTo>
                <a:cubicBezTo>
                  <a:pt x="1096" y="676"/>
                  <a:pt x="1096" y="676"/>
                  <a:pt x="1096" y="676"/>
                </a:cubicBezTo>
                <a:cubicBezTo>
                  <a:pt x="1095" y="677"/>
                  <a:pt x="1095" y="677"/>
                  <a:pt x="1095" y="677"/>
                </a:cubicBezTo>
                <a:cubicBezTo>
                  <a:pt x="1093" y="677"/>
                  <a:pt x="1093" y="677"/>
                  <a:pt x="1093" y="677"/>
                </a:cubicBezTo>
                <a:cubicBezTo>
                  <a:pt x="1092" y="678"/>
                  <a:pt x="1092" y="678"/>
                  <a:pt x="1092" y="678"/>
                </a:cubicBezTo>
                <a:cubicBezTo>
                  <a:pt x="1092" y="680"/>
                  <a:pt x="1092" y="680"/>
                  <a:pt x="1092" y="680"/>
                </a:cubicBezTo>
                <a:cubicBezTo>
                  <a:pt x="1091" y="680"/>
                  <a:pt x="1091" y="680"/>
                  <a:pt x="1091" y="680"/>
                </a:cubicBezTo>
                <a:cubicBezTo>
                  <a:pt x="1089" y="680"/>
                  <a:pt x="1089" y="680"/>
                  <a:pt x="1089" y="680"/>
                </a:cubicBezTo>
                <a:cubicBezTo>
                  <a:pt x="1089" y="683"/>
                  <a:pt x="1089" y="683"/>
                  <a:pt x="1089" y="683"/>
                </a:cubicBezTo>
                <a:cubicBezTo>
                  <a:pt x="1087" y="683"/>
                  <a:pt x="1087" y="683"/>
                  <a:pt x="1087" y="683"/>
                </a:cubicBezTo>
                <a:cubicBezTo>
                  <a:pt x="1085" y="683"/>
                  <a:pt x="1085" y="683"/>
                  <a:pt x="1085" y="683"/>
                </a:cubicBezTo>
                <a:cubicBezTo>
                  <a:pt x="1085" y="684"/>
                  <a:pt x="1085" y="684"/>
                  <a:pt x="1085" y="684"/>
                </a:cubicBezTo>
                <a:cubicBezTo>
                  <a:pt x="1085" y="686"/>
                  <a:pt x="1085" y="686"/>
                  <a:pt x="1085" y="686"/>
                </a:cubicBezTo>
                <a:cubicBezTo>
                  <a:pt x="1083" y="687"/>
                  <a:pt x="1083" y="687"/>
                  <a:pt x="1083" y="687"/>
                </a:cubicBezTo>
                <a:cubicBezTo>
                  <a:pt x="1083" y="689"/>
                  <a:pt x="1083" y="689"/>
                  <a:pt x="1083" y="689"/>
                </a:cubicBezTo>
                <a:cubicBezTo>
                  <a:pt x="1083" y="690"/>
                  <a:pt x="1083" y="690"/>
                  <a:pt x="1083" y="690"/>
                </a:cubicBezTo>
                <a:cubicBezTo>
                  <a:pt x="1082" y="690"/>
                  <a:pt x="1082" y="690"/>
                  <a:pt x="1082" y="690"/>
                </a:cubicBezTo>
                <a:cubicBezTo>
                  <a:pt x="1081" y="692"/>
                  <a:pt x="1081" y="692"/>
                  <a:pt x="1081" y="692"/>
                </a:cubicBezTo>
                <a:cubicBezTo>
                  <a:pt x="1078" y="692"/>
                  <a:pt x="1078" y="692"/>
                  <a:pt x="1078" y="692"/>
                </a:cubicBezTo>
                <a:cubicBezTo>
                  <a:pt x="1077" y="693"/>
                  <a:pt x="1077" y="693"/>
                  <a:pt x="1077" y="693"/>
                </a:cubicBezTo>
                <a:cubicBezTo>
                  <a:pt x="1075" y="692"/>
                  <a:pt x="1075" y="692"/>
                  <a:pt x="1075" y="692"/>
                </a:cubicBezTo>
                <a:cubicBezTo>
                  <a:pt x="1074" y="693"/>
                  <a:pt x="1074" y="693"/>
                  <a:pt x="1074" y="693"/>
                </a:cubicBezTo>
                <a:cubicBezTo>
                  <a:pt x="1073" y="694"/>
                  <a:pt x="1073" y="694"/>
                  <a:pt x="1073" y="694"/>
                </a:cubicBezTo>
                <a:cubicBezTo>
                  <a:pt x="1072" y="692"/>
                  <a:pt x="1072" y="692"/>
                  <a:pt x="1072" y="692"/>
                </a:cubicBezTo>
                <a:cubicBezTo>
                  <a:pt x="1071" y="691"/>
                  <a:pt x="1071" y="691"/>
                  <a:pt x="1071" y="691"/>
                </a:cubicBezTo>
                <a:cubicBezTo>
                  <a:pt x="1070" y="691"/>
                  <a:pt x="1070" y="691"/>
                  <a:pt x="1070" y="691"/>
                </a:cubicBezTo>
                <a:cubicBezTo>
                  <a:pt x="1068" y="692"/>
                  <a:pt x="1068" y="692"/>
                  <a:pt x="1068" y="692"/>
                </a:cubicBezTo>
                <a:cubicBezTo>
                  <a:pt x="1067" y="692"/>
                  <a:pt x="1067" y="692"/>
                  <a:pt x="1067" y="692"/>
                </a:cubicBezTo>
                <a:cubicBezTo>
                  <a:pt x="1066" y="691"/>
                  <a:pt x="1066" y="691"/>
                  <a:pt x="1066" y="691"/>
                </a:cubicBezTo>
                <a:cubicBezTo>
                  <a:pt x="1065" y="689"/>
                  <a:pt x="1065" y="689"/>
                  <a:pt x="1065" y="689"/>
                </a:cubicBezTo>
                <a:cubicBezTo>
                  <a:pt x="1064" y="688"/>
                  <a:pt x="1064" y="688"/>
                  <a:pt x="1064" y="688"/>
                </a:cubicBezTo>
                <a:cubicBezTo>
                  <a:pt x="1062" y="686"/>
                  <a:pt x="1062" y="686"/>
                  <a:pt x="1062" y="686"/>
                </a:cubicBezTo>
                <a:cubicBezTo>
                  <a:pt x="1062" y="684"/>
                  <a:pt x="1062" y="684"/>
                  <a:pt x="1062" y="684"/>
                </a:cubicBezTo>
                <a:cubicBezTo>
                  <a:pt x="1062" y="684"/>
                  <a:pt x="1062" y="684"/>
                  <a:pt x="1062" y="684"/>
                </a:cubicBezTo>
                <a:cubicBezTo>
                  <a:pt x="1062" y="682"/>
                  <a:pt x="1062" y="682"/>
                  <a:pt x="1062" y="682"/>
                </a:cubicBezTo>
                <a:cubicBezTo>
                  <a:pt x="1062" y="680"/>
                  <a:pt x="1062" y="680"/>
                  <a:pt x="1062" y="680"/>
                </a:cubicBezTo>
                <a:cubicBezTo>
                  <a:pt x="1061" y="678"/>
                  <a:pt x="1061" y="678"/>
                  <a:pt x="1061" y="678"/>
                </a:cubicBezTo>
                <a:cubicBezTo>
                  <a:pt x="1060" y="678"/>
                  <a:pt x="1060" y="678"/>
                  <a:pt x="1060" y="678"/>
                </a:cubicBezTo>
                <a:cubicBezTo>
                  <a:pt x="1059" y="677"/>
                  <a:pt x="1059" y="677"/>
                  <a:pt x="1059" y="677"/>
                </a:cubicBezTo>
                <a:cubicBezTo>
                  <a:pt x="1059" y="675"/>
                  <a:pt x="1059" y="675"/>
                  <a:pt x="1059" y="675"/>
                </a:cubicBezTo>
                <a:cubicBezTo>
                  <a:pt x="1060" y="674"/>
                  <a:pt x="1060" y="674"/>
                  <a:pt x="1060" y="674"/>
                </a:cubicBezTo>
                <a:cubicBezTo>
                  <a:pt x="1060" y="673"/>
                  <a:pt x="1060" y="673"/>
                  <a:pt x="1060" y="673"/>
                </a:cubicBezTo>
                <a:cubicBezTo>
                  <a:pt x="1060" y="672"/>
                  <a:pt x="1060" y="672"/>
                  <a:pt x="1060" y="672"/>
                </a:cubicBezTo>
                <a:cubicBezTo>
                  <a:pt x="1059" y="673"/>
                  <a:pt x="1059" y="673"/>
                  <a:pt x="1059" y="673"/>
                </a:cubicBezTo>
                <a:cubicBezTo>
                  <a:pt x="1058" y="673"/>
                  <a:pt x="1058" y="673"/>
                  <a:pt x="1058" y="673"/>
                </a:cubicBezTo>
                <a:cubicBezTo>
                  <a:pt x="1056" y="674"/>
                  <a:pt x="1056" y="674"/>
                  <a:pt x="1056" y="674"/>
                </a:cubicBezTo>
                <a:cubicBezTo>
                  <a:pt x="1055" y="674"/>
                  <a:pt x="1055" y="674"/>
                  <a:pt x="1055" y="674"/>
                </a:cubicBezTo>
                <a:cubicBezTo>
                  <a:pt x="1054" y="674"/>
                  <a:pt x="1054" y="674"/>
                  <a:pt x="1054" y="674"/>
                </a:cubicBezTo>
                <a:cubicBezTo>
                  <a:pt x="1053" y="673"/>
                  <a:pt x="1053" y="673"/>
                  <a:pt x="1053" y="673"/>
                </a:cubicBezTo>
                <a:cubicBezTo>
                  <a:pt x="1052" y="673"/>
                  <a:pt x="1052" y="673"/>
                  <a:pt x="1052" y="673"/>
                </a:cubicBezTo>
                <a:cubicBezTo>
                  <a:pt x="1051" y="672"/>
                  <a:pt x="1051" y="672"/>
                  <a:pt x="1051" y="672"/>
                </a:cubicBezTo>
                <a:cubicBezTo>
                  <a:pt x="1049" y="671"/>
                  <a:pt x="1049" y="671"/>
                  <a:pt x="1049" y="671"/>
                </a:cubicBezTo>
                <a:cubicBezTo>
                  <a:pt x="1049" y="670"/>
                  <a:pt x="1049" y="670"/>
                  <a:pt x="1049" y="670"/>
                </a:cubicBezTo>
                <a:cubicBezTo>
                  <a:pt x="1048" y="669"/>
                  <a:pt x="1048" y="669"/>
                  <a:pt x="1048" y="669"/>
                </a:cubicBezTo>
                <a:cubicBezTo>
                  <a:pt x="1047" y="669"/>
                  <a:pt x="1047" y="669"/>
                  <a:pt x="1047" y="669"/>
                </a:cubicBezTo>
                <a:cubicBezTo>
                  <a:pt x="1046" y="668"/>
                  <a:pt x="1046" y="668"/>
                  <a:pt x="1046" y="668"/>
                </a:cubicBezTo>
                <a:cubicBezTo>
                  <a:pt x="1046" y="667"/>
                  <a:pt x="1046" y="667"/>
                  <a:pt x="1046" y="667"/>
                </a:cubicBezTo>
                <a:cubicBezTo>
                  <a:pt x="1044" y="667"/>
                  <a:pt x="1044" y="667"/>
                  <a:pt x="1044" y="667"/>
                </a:cubicBezTo>
                <a:cubicBezTo>
                  <a:pt x="1043" y="666"/>
                  <a:pt x="1043" y="666"/>
                  <a:pt x="1043" y="666"/>
                </a:cubicBezTo>
                <a:cubicBezTo>
                  <a:pt x="1043" y="665"/>
                  <a:pt x="1043" y="665"/>
                  <a:pt x="1043" y="665"/>
                </a:cubicBezTo>
                <a:cubicBezTo>
                  <a:pt x="1042" y="664"/>
                  <a:pt x="1042" y="664"/>
                  <a:pt x="1042" y="664"/>
                </a:cubicBezTo>
                <a:cubicBezTo>
                  <a:pt x="1041" y="664"/>
                  <a:pt x="1041" y="664"/>
                  <a:pt x="1041" y="664"/>
                </a:cubicBezTo>
                <a:cubicBezTo>
                  <a:pt x="1041" y="665"/>
                  <a:pt x="1041" y="665"/>
                  <a:pt x="1041" y="665"/>
                </a:cubicBezTo>
                <a:cubicBezTo>
                  <a:pt x="1040" y="665"/>
                  <a:pt x="1040" y="665"/>
                  <a:pt x="1040" y="665"/>
                </a:cubicBezTo>
                <a:cubicBezTo>
                  <a:pt x="1038" y="665"/>
                  <a:pt x="1038" y="665"/>
                  <a:pt x="1038" y="665"/>
                </a:cubicBezTo>
                <a:cubicBezTo>
                  <a:pt x="1038" y="666"/>
                  <a:pt x="1038" y="666"/>
                  <a:pt x="1038" y="666"/>
                </a:cubicBezTo>
                <a:cubicBezTo>
                  <a:pt x="1037" y="665"/>
                  <a:pt x="1037" y="665"/>
                  <a:pt x="1037" y="665"/>
                </a:cubicBezTo>
                <a:cubicBezTo>
                  <a:pt x="1036" y="664"/>
                  <a:pt x="1036" y="664"/>
                  <a:pt x="1036" y="664"/>
                </a:cubicBezTo>
                <a:cubicBezTo>
                  <a:pt x="1035" y="664"/>
                  <a:pt x="1035" y="664"/>
                  <a:pt x="1035" y="664"/>
                </a:cubicBezTo>
                <a:cubicBezTo>
                  <a:pt x="1033" y="664"/>
                  <a:pt x="1033" y="664"/>
                  <a:pt x="1033" y="664"/>
                </a:cubicBezTo>
                <a:cubicBezTo>
                  <a:pt x="1032" y="663"/>
                  <a:pt x="1032" y="663"/>
                  <a:pt x="1032" y="663"/>
                </a:cubicBezTo>
                <a:cubicBezTo>
                  <a:pt x="1033" y="662"/>
                  <a:pt x="1033" y="662"/>
                  <a:pt x="1033" y="662"/>
                </a:cubicBezTo>
                <a:cubicBezTo>
                  <a:pt x="1033" y="662"/>
                  <a:pt x="1033" y="662"/>
                  <a:pt x="1033" y="662"/>
                </a:cubicBezTo>
                <a:cubicBezTo>
                  <a:pt x="1031" y="662"/>
                  <a:pt x="1031" y="662"/>
                  <a:pt x="1031" y="662"/>
                </a:cubicBezTo>
                <a:cubicBezTo>
                  <a:pt x="1030" y="663"/>
                  <a:pt x="1030" y="663"/>
                  <a:pt x="1030" y="663"/>
                </a:cubicBezTo>
                <a:cubicBezTo>
                  <a:pt x="1028" y="662"/>
                  <a:pt x="1028" y="662"/>
                  <a:pt x="1028" y="662"/>
                </a:cubicBezTo>
                <a:cubicBezTo>
                  <a:pt x="1027" y="663"/>
                  <a:pt x="1027" y="663"/>
                  <a:pt x="1027" y="663"/>
                </a:cubicBezTo>
                <a:cubicBezTo>
                  <a:pt x="1026" y="662"/>
                  <a:pt x="1026" y="662"/>
                  <a:pt x="1026" y="662"/>
                </a:cubicBezTo>
                <a:cubicBezTo>
                  <a:pt x="1025" y="662"/>
                  <a:pt x="1025" y="662"/>
                  <a:pt x="1025" y="662"/>
                </a:cubicBezTo>
                <a:cubicBezTo>
                  <a:pt x="1024" y="662"/>
                  <a:pt x="1024" y="662"/>
                  <a:pt x="1024" y="662"/>
                </a:cubicBezTo>
                <a:cubicBezTo>
                  <a:pt x="1023" y="661"/>
                  <a:pt x="1023" y="661"/>
                  <a:pt x="1023" y="661"/>
                </a:cubicBezTo>
                <a:cubicBezTo>
                  <a:pt x="1021" y="660"/>
                  <a:pt x="1021" y="660"/>
                  <a:pt x="1021" y="660"/>
                </a:cubicBezTo>
                <a:cubicBezTo>
                  <a:pt x="1019" y="658"/>
                  <a:pt x="1019" y="658"/>
                  <a:pt x="1019" y="658"/>
                </a:cubicBezTo>
                <a:cubicBezTo>
                  <a:pt x="1018" y="656"/>
                  <a:pt x="1018" y="656"/>
                  <a:pt x="1018" y="656"/>
                </a:cubicBezTo>
                <a:cubicBezTo>
                  <a:pt x="1018" y="654"/>
                  <a:pt x="1018" y="654"/>
                  <a:pt x="1018" y="654"/>
                </a:cubicBezTo>
                <a:cubicBezTo>
                  <a:pt x="1017" y="652"/>
                  <a:pt x="1017" y="652"/>
                  <a:pt x="1017" y="652"/>
                </a:cubicBezTo>
                <a:cubicBezTo>
                  <a:pt x="1016" y="652"/>
                  <a:pt x="1016" y="652"/>
                  <a:pt x="1016" y="652"/>
                </a:cubicBezTo>
                <a:cubicBezTo>
                  <a:pt x="1015" y="651"/>
                  <a:pt x="1015" y="651"/>
                  <a:pt x="1015" y="651"/>
                </a:cubicBezTo>
                <a:cubicBezTo>
                  <a:pt x="1015" y="649"/>
                  <a:pt x="1015" y="649"/>
                  <a:pt x="1015" y="649"/>
                </a:cubicBezTo>
                <a:cubicBezTo>
                  <a:pt x="1014" y="649"/>
                  <a:pt x="1014" y="649"/>
                  <a:pt x="1014" y="649"/>
                </a:cubicBezTo>
                <a:cubicBezTo>
                  <a:pt x="1014" y="646"/>
                  <a:pt x="1014" y="646"/>
                  <a:pt x="1014" y="646"/>
                </a:cubicBezTo>
                <a:cubicBezTo>
                  <a:pt x="1013" y="644"/>
                  <a:pt x="1013" y="644"/>
                  <a:pt x="1013" y="644"/>
                </a:cubicBezTo>
                <a:cubicBezTo>
                  <a:pt x="1009" y="642"/>
                  <a:pt x="1009" y="642"/>
                  <a:pt x="1009" y="642"/>
                </a:cubicBezTo>
                <a:cubicBezTo>
                  <a:pt x="1007" y="639"/>
                  <a:pt x="1007" y="639"/>
                  <a:pt x="1007" y="639"/>
                </a:cubicBezTo>
                <a:cubicBezTo>
                  <a:pt x="1007" y="638"/>
                  <a:pt x="1007" y="638"/>
                  <a:pt x="1007" y="638"/>
                </a:cubicBezTo>
                <a:cubicBezTo>
                  <a:pt x="1006" y="636"/>
                  <a:pt x="1006" y="636"/>
                  <a:pt x="1006" y="636"/>
                </a:cubicBezTo>
                <a:cubicBezTo>
                  <a:pt x="1005" y="637"/>
                  <a:pt x="1005" y="637"/>
                  <a:pt x="1005" y="637"/>
                </a:cubicBezTo>
                <a:cubicBezTo>
                  <a:pt x="1004" y="636"/>
                  <a:pt x="1004" y="636"/>
                  <a:pt x="1004" y="636"/>
                </a:cubicBezTo>
                <a:cubicBezTo>
                  <a:pt x="1005" y="635"/>
                  <a:pt x="1005" y="635"/>
                  <a:pt x="1005" y="635"/>
                </a:cubicBezTo>
                <a:cubicBezTo>
                  <a:pt x="1005" y="634"/>
                  <a:pt x="1005" y="634"/>
                  <a:pt x="1005" y="634"/>
                </a:cubicBezTo>
                <a:cubicBezTo>
                  <a:pt x="1003" y="633"/>
                  <a:pt x="1003" y="633"/>
                  <a:pt x="1003" y="633"/>
                </a:cubicBezTo>
                <a:cubicBezTo>
                  <a:pt x="1003" y="632"/>
                  <a:pt x="1003" y="632"/>
                  <a:pt x="1003" y="632"/>
                </a:cubicBezTo>
                <a:cubicBezTo>
                  <a:pt x="1001" y="631"/>
                  <a:pt x="1001" y="631"/>
                  <a:pt x="1001" y="631"/>
                </a:cubicBezTo>
                <a:cubicBezTo>
                  <a:pt x="1001" y="630"/>
                  <a:pt x="1001" y="630"/>
                  <a:pt x="1001" y="630"/>
                </a:cubicBezTo>
                <a:cubicBezTo>
                  <a:pt x="1000" y="628"/>
                  <a:pt x="1000" y="628"/>
                  <a:pt x="1000" y="628"/>
                </a:cubicBezTo>
                <a:cubicBezTo>
                  <a:pt x="999" y="626"/>
                  <a:pt x="999" y="626"/>
                  <a:pt x="999" y="626"/>
                </a:cubicBezTo>
                <a:cubicBezTo>
                  <a:pt x="996" y="625"/>
                  <a:pt x="996" y="625"/>
                  <a:pt x="996" y="625"/>
                </a:cubicBezTo>
                <a:cubicBezTo>
                  <a:pt x="996" y="623"/>
                  <a:pt x="996" y="623"/>
                  <a:pt x="996" y="623"/>
                </a:cubicBezTo>
                <a:cubicBezTo>
                  <a:pt x="997" y="622"/>
                  <a:pt x="997" y="622"/>
                  <a:pt x="997" y="622"/>
                </a:cubicBezTo>
                <a:cubicBezTo>
                  <a:pt x="997" y="621"/>
                  <a:pt x="997" y="621"/>
                  <a:pt x="997" y="621"/>
                </a:cubicBezTo>
                <a:cubicBezTo>
                  <a:pt x="994" y="621"/>
                  <a:pt x="994" y="621"/>
                  <a:pt x="994" y="621"/>
                </a:cubicBezTo>
                <a:cubicBezTo>
                  <a:pt x="993" y="620"/>
                  <a:pt x="993" y="620"/>
                  <a:pt x="993" y="620"/>
                </a:cubicBezTo>
                <a:cubicBezTo>
                  <a:pt x="993" y="619"/>
                  <a:pt x="993" y="619"/>
                  <a:pt x="993" y="619"/>
                </a:cubicBezTo>
                <a:cubicBezTo>
                  <a:pt x="993" y="618"/>
                  <a:pt x="993" y="618"/>
                  <a:pt x="993" y="618"/>
                </a:cubicBezTo>
                <a:cubicBezTo>
                  <a:pt x="993" y="616"/>
                  <a:pt x="993" y="616"/>
                  <a:pt x="993" y="616"/>
                </a:cubicBezTo>
                <a:cubicBezTo>
                  <a:pt x="992" y="615"/>
                  <a:pt x="992" y="615"/>
                  <a:pt x="992" y="615"/>
                </a:cubicBezTo>
                <a:cubicBezTo>
                  <a:pt x="991" y="614"/>
                  <a:pt x="991" y="614"/>
                  <a:pt x="991" y="614"/>
                </a:cubicBezTo>
                <a:cubicBezTo>
                  <a:pt x="991" y="613"/>
                  <a:pt x="991" y="613"/>
                  <a:pt x="991" y="613"/>
                </a:cubicBezTo>
                <a:cubicBezTo>
                  <a:pt x="990" y="613"/>
                  <a:pt x="990" y="613"/>
                  <a:pt x="990" y="613"/>
                </a:cubicBezTo>
                <a:cubicBezTo>
                  <a:pt x="989" y="613"/>
                  <a:pt x="989" y="613"/>
                  <a:pt x="989" y="613"/>
                </a:cubicBezTo>
                <a:cubicBezTo>
                  <a:pt x="987" y="612"/>
                  <a:pt x="987" y="612"/>
                  <a:pt x="987" y="612"/>
                </a:cubicBezTo>
                <a:cubicBezTo>
                  <a:pt x="987" y="611"/>
                  <a:pt x="987" y="611"/>
                  <a:pt x="987" y="611"/>
                </a:cubicBezTo>
                <a:cubicBezTo>
                  <a:pt x="987" y="610"/>
                  <a:pt x="987" y="610"/>
                  <a:pt x="987" y="610"/>
                </a:cubicBezTo>
                <a:cubicBezTo>
                  <a:pt x="987" y="609"/>
                  <a:pt x="987" y="609"/>
                  <a:pt x="987" y="609"/>
                </a:cubicBezTo>
                <a:cubicBezTo>
                  <a:pt x="986" y="609"/>
                  <a:pt x="986" y="609"/>
                  <a:pt x="986" y="609"/>
                </a:cubicBezTo>
                <a:cubicBezTo>
                  <a:pt x="985" y="610"/>
                  <a:pt x="985" y="610"/>
                  <a:pt x="985" y="610"/>
                </a:cubicBezTo>
                <a:cubicBezTo>
                  <a:pt x="984" y="609"/>
                  <a:pt x="984" y="609"/>
                  <a:pt x="984" y="609"/>
                </a:cubicBezTo>
                <a:cubicBezTo>
                  <a:pt x="983" y="609"/>
                  <a:pt x="983" y="609"/>
                  <a:pt x="983" y="609"/>
                </a:cubicBezTo>
                <a:cubicBezTo>
                  <a:pt x="983" y="608"/>
                  <a:pt x="983" y="608"/>
                  <a:pt x="983" y="608"/>
                </a:cubicBezTo>
                <a:cubicBezTo>
                  <a:pt x="983" y="607"/>
                  <a:pt x="983" y="607"/>
                  <a:pt x="983" y="607"/>
                </a:cubicBezTo>
                <a:cubicBezTo>
                  <a:pt x="982" y="606"/>
                  <a:pt x="982" y="606"/>
                  <a:pt x="982" y="606"/>
                </a:cubicBezTo>
                <a:cubicBezTo>
                  <a:pt x="981" y="605"/>
                  <a:pt x="981" y="605"/>
                  <a:pt x="981" y="605"/>
                </a:cubicBezTo>
                <a:cubicBezTo>
                  <a:pt x="980" y="606"/>
                  <a:pt x="980" y="606"/>
                  <a:pt x="980" y="606"/>
                </a:cubicBezTo>
                <a:cubicBezTo>
                  <a:pt x="979" y="604"/>
                  <a:pt x="979" y="604"/>
                  <a:pt x="979" y="604"/>
                </a:cubicBezTo>
                <a:cubicBezTo>
                  <a:pt x="978" y="605"/>
                  <a:pt x="978" y="605"/>
                  <a:pt x="978" y="605"/>
                </a:cubicBezTo>
                <a:cubicBezTo>
                  <a:pt x="976" y="605"/>
                  <a:pt x="976" y="605"/>
                  <a:pt x="976" y="605"/>
                </a:cubicBezTo>
                <a:cubicBezTo>
                  <a:pt x="975" y="604"/>
                  <a:pt x="975" y="604"/>
                  <a:pt x="975" y="604"/>
                </a:cubicBezTo>
                <a:cubicBezTo>
                  <a:pt x="974" y="605"/>
                  <a:pt x="974" y="605"/>
                  <a:pt x="974" y="605"/>
                </a:cubicBezTo>
                <a:cubicBezTo>
                  <a:pt x="975" y="606"/>
                  <a:pt x="975" y="606"/>
                  <a:pt x="975" y="606"/>
                </a:cubicBezTo>
                <a:cubicBezTo>
                  <a:pt x="974" y="607"/>
                  <a:pt x="974" y="607"/>
                  <a:pt x="974" y="607"/>
                </a:cubicBezTo>
                <a:cubicBezTo>
                  <a:pt x="972" y="606"/>
                  <a:pt x="972" y="606"/>
                  <a:pt x="972" y="606"/>
                </a:cubicBezTo>
                <a:cubicBezTo>
                  <a:pt x="971" y="605"/>
                  <a:pt x="971" y="605"/>
                  <a:pt x="971" y="605"/>
                </a:cubicBezTo>
                <a:cubicBezTo>
                  <a:pt x="970" y="606"/>
                  <a:pt x="970" y="606"/>
                  <a:pt x="970" y="606"/>
                </a:cubicBezTo>
                <a:cubicBezTo>
                  <a:pt x="967" y="606"/>
                  <a:pt x="967" y="606"/>
                  <a:pt x="967" y="606"/>
                </a:cubicBezTo>
                <a:cubicBezTo>
                  <a:pt x="967" y="605"/>
                  <a:pt x="967" y="605"/>
                  <a:pt x="967" y="605"/>
                </a:cubicBezTo>
                <a:cubicBezTo>
                  <a:pt x="965" y="603"/>
                  <a:pt x="965" y="603"/>
                  <a:pt x="965" y="603"/>
                </a:cubicBezTo>
                <a:cubicBezTo>
                  <a:pt x="962" y="603"/>
                  <a:pt x="962" y="603"/>
                  <a:pt x="962" y="603"/>
                </a:cubicBezTo>
                <a:cubicBezTo>
                  <a:pt x="961" y="602"/>
                  <a:pt x="961" y="602"/>
                  <a:pt x="961" y="602"/>
                </a:cubicBezTo>
                <a:cubicBezTo>
                  <a:pt x="959" y="602"/>
                  <a:pt x="959" y="602"/>
                  <a:pt x="959" y="602"/>
                </a:cubicBezTo>
                <a:cubicBezTo>
                  <a:pt x="958" y="602"/>
                  <a:pt x="958" y="602"/>
                  <a:pt x="958" y="602"/>
                </a:cubicBezTo>
                <a:cubicBezTo>
                  <a:pt x="957" y="602"/>
                  <a:pt x="957" y="602"/>
                  <a:pt x="957" y="602"/>
                </a:cubicBezTo>
                <a:cubicBezTo>
                  <a:pt x="954" y="602"/>
                  <a:pt x="954" y="602"/>
                  <a:pt x="954" y="602"/>
                </a:cubicBezTo>
                <a:cubicBezTo>
                  <a:pt x="954" y="604"/>
                  <a:pt x="954" y="604"/>
                  <a:pt x="954" y="604"/>
                </a:cubicBezTo>
                <a:cubicBezTo>
                  <a:pt x="953" y="604"/>
                  <a:pt x="953" y="604"/>
                  <a:pt x="953" y="604"/>
                </a:cubicBezTo>
                <a:cubicBezTo>
                  <a:pt x="952" y="605"/>
                  <a:pt x="952" y="605"/>
                  <a:pt x="952" y="605"/>
                </a:cubicBezTo>
                <a:cubicBezTo>
                  <a:pt x="950" y="605"/>
                  <a:pt x="950" y="605"/>
                  <a:pt x="950" y="605"/>
                </a:cubicBezTo>
                <a:cubicBezTo>
                  <a:pt x="948" y="605"/>
                  <a:pt x="948" y="605"/>
                  <a:pt x="948" y="605"/>
                </a:cubicBezTo>
                <a:cubicBezTo>
                  <a:pt x="946" y="605"/>
                  <a:pt x="946" y="605"/>
                  <a:pt x="946" y="605"/>
                </a:cubicBezTo>
                <a:cubicBezTo>
                  <a:pt x="945" y="606"/>
                  <a:pt x="945" y="606"/>
                  <a:pt x="945" y="606"/>
                </a:cubicBezTo>
                <a:cubicBezTo>
                  <a:pt x="943" y="606"/>
                  <a:pt x="943" y="606"/>
                  <a:pt x="943" y="606"/>
                </a:cubicBezTo>
                <a:cubicBezTo>
                  <a:pt x="942" y="608"/>
                  <a:pt x="942" y="608"/>
                  <a:pt x="942" y="608"/>
                </a:cubicBezTo>
                <a:cubicBezTo>
                  <a:pt x="940" y="608"/>
                  <a:pt x="940" y="608"/>
                  <a:pt x="940" y="608"/>
                </a:cubicBezTo>
                <a:cubicBezTo>
                  <a:pt x="939" y="608"/>
                  <a:pt x="939" y="608"/>
                  <a:pt x="939" y="608"/>
                </a:cubicBezTo>
                <a:cubicBezTo>
                  <a:pt x="938" y="608"/>
                  <a:pt x="938" y="608"/>
                  <a:pt x="938" y="608"/>
                </a:cubicBezTo>
                <a:cubicBezTo>
                  <a:pt x="937" y="609"/>
                  <a:pt x="937" y="609"/>
                  <a:pt x="937" y="609"/>
                </a:cubicBezTo>
                <a:cubicBezTo>
                  <a:pt x="936" y="609"/>
                  <a:pt x="936" y="609"/>
                  <a:pt x="936" y="609"/>
                </a:cubicBezTo>
                <a:cubicBezTo>
                  <a:pt x="933" y="609"/>
                  <a:pt x="933" y="609"/>
                  <a:pt x="933" y="609"/>
                </a:cubicBezTo>
                <a:cubicBezTo>
                  <a:pt x="932" y="610"/>
                  <a:pt x="932" y="610"/>
                  <a:pt x="932" y="610"/>
                </a:cubicBezTo>
                <a:cubicBezTo>
                  <a:pt x="932" y="612"/>
                  <a:pt x="932" y="612"/>
                  <a:pt x="932" y="612"/>
                </a:cubicBezTo>
                <a:cubicBezTo>
                  <a:pt x="930" y="613"/>
                  <a:pt x="930" y="613"/>
                  <a:pt x="930" y="613"/>
                </a:cubicBezTo>
                <a:cubicBezTo>
                  <a:pt x="930" y="615"/>
                  <a:pt x="930" y="615"/>
                  <a:pt x="930" y="615"/>
                </a:cubicBezTo>
                <a:cubicBezTo>
                  <a:pt x="929" y="616"/>
                  <a:pt x="929" y="616"/>
                  <a:pt x="929" y="616"/>
                </a:cubicBezTo>
                <a:cubicBezTo>
                  <a:pt x="929" y="618"/>
                  <a:pt x="929" y="618"/>
                  <a:pt x="929" y="618"/>
                </a:cubicBezTo>
                <a:cubicBezTo>
                  <a:pt x="928" y="618"/>
                  <a:pt x="928" y="618"/>
                  <a:pt x="928" y="618"/>
                </a:cubicBezTo>
                <a:cubicBezTo>
                  <a:pt x="928" y="621"/>
                  <a:pt x="928" y="621"/>
                  <a:pt x="928" y="621"/>
                </a:cubicBezTo>
                <a:cubicBezTo>
                  <a:pt x="929" y="622"/>
                  <a:pt x="929" y="622"/>
                  <a:pt x="929" y="622"/>
                </a:cubicBezTo>
                <a:cubicBezTo>
                  <a:pt x="930" y="622"/>
                  <a:pt x="930" y="622"/>
                  <a:pt x="930" y="622"/>
                </a:cubicBezTo>
                <a:cubicBezTo>
                  <a:pt x="932" y="621"/>
                  <a:pt x="932" y="621"/>
                  <a:pt x="932" y="621"/>
                </a:cubicBezTo>
                <a:cubicBezTo>
                  <a:pt x="934" y="620"/>
                  <a:pt x="934" y="620"/>
                  <a:pt x="934" y="620"/>
                </a:cubicBezTo>
                <a:cubicBezTo>
                  <a:pt x="935" y="620"/>
                  <a:pt x="935" y="620"/>
                  <a:pt x="935" y="620"/>
                </a:cubicBezTo>
                <a:cubicBezTo>
                  <a:pt x="937" y="623"/>
                  <a:pt x="937" y="623"/>
                  <a:pt x="937" y="623"/>
                </a:cubicBezTo>
                <a:cubicBezTo>
                  <a:pt x="937" y="625"/>
                  <a:pt x="937" y="625"/>
                  <a:pt x="937" y="625"/>
                </a:cubicBezTo>
                <a:cubicBezTo>
                  <a:pt x="939" y="626"/>
                  <a:pt x="939" y="626"/>
                  <a:pt x="939" y="626"/>
                </a:cubicBezTo>
                <a:cubicBezTo>
                  <a:pt x="939" y="628"/>
                  <a:pt x="939" y="628"/>
                  <a:pt x="939" y="628"/>
                </a:cubicBezTo>
                <a:cubicBezTo>
                  <a:pt x="939" y="629"/>
                  <a:pt x="939" y="629"/>
                  <a:pt x="939" y="629"/>
                </a:cubicBezTo>
                <a:cubicBezTo>
                  <a:pt x="939" y="631"/>
                  <a:pt x="939" y="631"/>
                  <a:pt x="939" y="631"/>
                </a:cubicBezTo>
                <a:cubicBezTo>
                  <a:pt x="938" y="632"/>
                  <a:pt x="938" y="632"/>
                  <a:pt x="938" y="632"/>
                </a:cubicBezTo>
                <a:cubicBezTo>
                  <a:pt x="937" y="635"/>
                  <a:pt x="937" y="635"/>
                  <a:pt x="937" y="635"/>
                </a:cubicBezTo>
                <a:cubicBezTo>
                  <a:pt x="936" y="637"/>
                  <a:pt x="936" y="637"/>
                  <a:pt x="936" y="637"/>
                </a:cubicBezTo>
                <a:cubicBezTo>
                  <a:pt x="935" y="638"/>
                  <a:pt x="935" y="638"/>
                  <a:pt x="935" y="638"/>
                </a:cubicBezTo>
                <a:cubicBezTo>
                  <a:pt x="934" y="640"/>
                  <a:pt x="934" y="640"/>
                  <a:pt x="934" y="640"/>
                </a:cubicBezTo>
                <a:cubicBezTo>
                  <a:pt x="933" y="642"/>
                  <a:pt x="933" y="642"/>
                  <a:pt x="933" y="642"/>
                </a:cubicBezTo>
                <a:cubicBezTo>
                  <a:pt x="935" y="644"/>
                  <a:pt x="935" y="644"/>
                  <a:pt x="935" y="644"/>
                </a:cubicBezTo>
                <a:cubicBezTo>
                  <a:pt x="934" y="645"/>
                  <a:pt x="934" y="645"/>
                  <a:pt x="934" y="645"/>
                </a:cubicBezTo>
                <a:cubicBezTo>
                  <a:pt x="934" y="647"/>
                  <a:pt x="934" y="647"/>
                  <a:pt x="934" y="647"/>
                </a:cubicBezTo>
                <a:cubicBezTo>
                  <a:pt x="936" y="649"/>
                  <a:pt x="936" y="649"/>
                  <a:pt x="936" y="649"/>
                </a:cubicBezTo>
                <a:cubicBezTo>
                  <a:pt x="936" y="651"/>
                  <a:pt x="936" y="651"/>
                  <a:pt x="936" y="651"/>
                </a:cubicBezTo>
                <a:cubicBezTo>
                  <a:pt x="934" y="651"/>
                  <a:pt x="934" y="651"/>
                  <a:pt x="934" y="651"/>
                </a:cubicBezTo>
                <a:cubicBezTo>
                  <a:pt x="934" y="652"/>
                  <a:pt x="934" y="652"/>
                  <a:pt x="934" y="652"/>
                </a:cubicBezTo>
                <a:cubicBezTo>
                  <a:pt x="935" y="654"/>
                  <a:pt x="935" y="654"/>
                  <a:pt x="935" y="654"/>
                </a:cubicBezTo>
                <a:cubicBezTo>
                  <a:pt x="935" y="657"/>
                  <a:pt x="935" y="657"/>
                  <a:pt x="935" y="657"/>
                </a:cubicBezTo>
                <a:cubicBezTo>
                  <a:pt x="934" y="658"/>
                  <a:pt x="934" y="658"/>
                  <a:pt x="934" y="658"/>
                </a:cubicBezTo>
                <a:cubicBezTo>
                  <a:pt x="934" y="661"/>
                  <a:pt x="934" y="661"/>
                  <a:pt x="934" y="661"/>
                </a:cubicBezTo>
                <a:cubicBezTo>
                  <a:pt x="935" y="661"/>
                  <a:pt x="935" y="661"/>
                  <a:pt x="935" y="661"/>
                </a:cubicBezTo>
                <a:cubicBezTo>
                  <a:pt x="936" y="662"/>
                  <a:pt x="936" y="662"/>
                  <a:pt x="936" y="662"/>
                </a:cubicBezTo>
                <a:cubicBezTo>
                  <a:pt x="937" y="661"/>
                  <a:pt x="937" y="661"/>
                  <a:pt x="937" y="661"/>
                </a:cubicBezTo>
                <a:cubicBezTo>
                  <a:pt x="938" y="662"/>
                  <a:pt x="938" y="662"/>
                  <a:pt x="938" y="662"/>
                </a:cubicBezTo>
                <a:cubicBezTo>
                  <a:pt x="938" y="664"/>
                  <a:pt x="938" y="664"/>
                  <a:pt x="938" y="664"/>
                </a:cubicBezTo>
                <a:cubicBezTo>
                  <a:pt x="938" y="666"/>
                  <a:pt x="938" y="666"/>
                  <a:pt x="938" y="666"/>
                </a:cubicBezTo>
                <a:cubicBezTo>
                  <a:pt x="936" y="668"/>
                  <a:pt x="936" y="668"/>
                  <a:pt x="936" y="668"/>
                </a:cubicBezTo>
                <a:cubicBezTo>
                  <a:pt x="932" y="668"/>
                  <a:pt x="932" y="668"/>
                  <a:pt x="932" y="668"/>
                </a:cubicBezTo>
                <a:cubicBezTo>
                  <a:pt x="930" y="670"/>
                  <a:pt x="930" y="670"/>
                  <a:pt x="930" y="670"/>
                </a:cubicBezTo>
                <a:cubicBezTo>
                  <a:pt x="925" y="675"/>
                  <a:pt x="925" y="675"/>
                  <a:pt x="925" y="675"/>
                </a:cubicBezTo>
                <a:cubicBezTo>
                  <a:pt x="923" y="675"/>
                  <a:pt x="923" y="675"/>
                  <a:pt x="923" y="675"/>
                </a:cubicBezTo>
                <a:cubicBezTo>
                  <a:pt x="922" y="674"/>
                  <a:pt x="922" y="674"/>
                  <a:pt x="922" y="674"/>
                </a:cubicBezTo>
                <a:cubicBezTo>
                  <a:pt x="919" y="673"/>
                  <a:pt x="919" y="673"/>
                  <a:pt x="919" y="673"/>
                </a:cubicBezTo>
                <a:cubicBezTo>
                  <a:pt x="917" y="674"/>
                  <a:pt x="917" y="674"/>
                  <a:pt x="917" y="674"/>
                </a:cubicBezTo>
                <a:cubicBezTo>
                  <a:pt x="917" y="673"/>
                  <a:pt x="917" y="673"/>
                  <a:pt x="917" y="673"/>
                </a:cubicBezTo>
                <a:cubicBezTo>
                  <a:pt x="915" y="673"/>
                  <a:pt x="915" y="673"/>
                  <a:pt x="915" y="673"/>
                </a:cubicBezTo>
                <a:cubicBezTo>
                  <a:pt x="914" y="673"/>
                  <a:pt x="914" y="673"/>
                  <a:pt x="914" y="673"/>
                </a:cubicBezTo>
                <a:cubicBezTo>
                  <a:pt x="913" y="672"/>
                  <a:pt x="913" y="672"/>
                  <a:pt x="913" y="672"/>
                </a:cubicBezTo>
                <a:cubicBezTo>
                  <a:pt x="909" y="671"/>
                  <a:pt x="909" y="671"/>
                  <a:pt x="909" y="671"/>
                </a:cubicBezTo>
                <a:cubicBezTo>
                  <a:pt x="905" y="672"/>
                  <a:pt x="905" y="672"/>
                  <a:pt x="905" y="672"/>
                </a:cubicBezTo>
                <a:cubicBezTo>
                  <a:pt x="905" y="673"/>
                  <a:pt x="905" y="673"/>
                  <a:pt x="905" y="673"/>
                </a:cubicBezTo>
                <a:cubicBezTo>
                  <a:pt x="903" y="674"/>
                  <a:pt x="903" y="674"/>
                  <a:pt x="903" y="674"/>
                </a:cubicBezTo>
                <a:cubicBezTo>
                  <a:pt x="901" y="674"/>
                  <a:pt x="901" y="674"/>
                  <a:pt x="901" y="674"/>
                </a:cubicBezTo>
                <a:cubicBezTo>
                  <a:pt x="900" y="673"/>
                  <a:pt x="900" y="673"/>
                  <a:pt x="900" y="673"/>
                </a:cubicBezTo>
                <a:cubicBezTo>
                  <a:pt x="898" y="674"/>
                  <a:pt x="898" y="674"/>
                  <a:pt x="898" y="674"/>
                </a:cubicBezTo>
                <a:cubicBezTo>
                  <a:pt x="896" y="674"/>
                  <a:pt x="896" y="674"/>
                  <a:pt x="896" y="674"/>
                </a:cubicBezTo>
                <a:cubicBezTo>
                  <a:pt x="895" y="672"/>
                  <a:pt x="895" y="672"/>
                  <a:pt x="895" y="672"/>
                </a:cubicBezTo>
                <a:cubicBezTo>
                  <a:pt x="892" y="670"/>
                  <a:pt x="892" y="670"/>
                  <a:pt x="892" y="670"/>
                </a:cubicBezTo>
                <a:cubicBezTo>
                  <a:pt x="890" y="670"/>
                  <a:pt x="890" y="670"/>
                  <a:pt x="890" y="670"/>
                </a:cubicBezTo>
                <a:cubicBezTo>
                  <a:pt x="887" y="671"/>
                  <a:pt x="887" y="671"/>
                  <a:pt x="887" y="671"/>
                </a:cubicBezTo>
                <a:cubicBezTo>
                  <a:pt x="887" y="670"/>
                  <a:pt x="887" y="670"/>
                  <a:pt x="887" y="670"/>
                </a:cubicBezTo>
                <a:cubicBezTo>
                  <a:pt x="885" y="670"/>
                  <a:pt x="885" y="670"/>
                  <a:pt x="885" y="670"/>
                </a:cubicBezTo>
                <a:cubicBezTo>
                  <a:pt x="883" y="672"/>
                  <a:pt x="883" y="672"/>
                  <a:pt x="883" y="672"/>
                </a:cubicBezTo>
                <a:cubicBezTo>
                  <a:pt x="882" y="674"/>
                  <a:pt x="882" y="674"/>
                  <a:pt x="882" y="674"/>
                </a:cubicBezTo>
                <a:cubicBezTo>
                  <a:pt x="881" y="676"/>
                  <a:pt x="881" y="676"/>
                  <a:pt x="881" y="676"/>
                </a:cubicBezTo>
                <a:cubicBezTo>
                  <a:pt x="879" y="677"/>
                  <a:pt x="879" y="677"/>
                  <a:pt x="879" y="677"/>
                </a:cubicBezTo>
                <a:cubicBezTo>
                  <a:pt x="877" y="679"/>
                  <a:pt x="877" y="679"/>
                  <a:pt x="877" y="679"/>
                </a:cubicBezTo>
                <a:cubicBezTo>
                  <a:pt x="877" y="680"/>
                  <a:pt x="877" y="680"/>
                  <a:pt x="877" y="680"/>
                </a:cubicBezTo>
                <a:cubicBezTo>
                  <a:pt x="877" y="682"/>
                  <a:pt x="877" y="682"/>
                  <a:pt x="877" y="682"/>
                </a:cubicBezTo>
                <a:cubicBezTo>
                  <a:pt x="875" y="684"/>
                  <a:pt x="875" y="684"/>
                  <a:pt x="875" y="684"/>
                </a:cubicBezTo>
                <a:cubicBezTo>
                  <a:pt x="870" y="684"/>
                  <a:pt x="870" y="684"/>
                  <a:pt x="870" y="684"/>
                </a:cubicBezTo>
                <a:cubicBezTo>
                  <a:pt x="868" y="684"/>
                  <a:pt x="868" y="684"/>
                  <a:pt x="868" y="684"/>
                </a:cubicBezTo>
                <a:cubicBezTo>
                  <a:pt x="866" y="686"/>
                  <a:pt x="866" y="686"/>
                  <a:pt x="866" y="686"/>
                </a:cubicBezTo>
                <a:cubicBezTo>
                  <a:pt x="864" y="686"/>
                  <a:pt x="864" y="686"/>
                  <a:pt x="864" y="686"/>
                </a:cubicBezTo>
                <a:cubicBezTo>
                  <a:pt x="860" y="688"/>
                  <a:pt x="860" y="688"/>
                  <a:pt x="860" y="688"/>
                </a:cubicBezTo>
                <a:cubicBezTo>
                  <a:pt x="858" y="691"/>
                  <a:pt x="858" y="691"/>
                  <a:pt x="858" y="691"/>
                </a:cubicBezTo>
                <a:cubicBezTo>
                  <a:pt x="857" y="691"/>
                  <a:pt x="857" y="691"/>
                  <a:pt x="857" y="691"/>
                </a:cubicBezTo>
                <a:cubicBezTo>
                  <a:pt x="855" y="690"/>
                  <a:pt x="855" y="690"/>
                  <a:pt x="855" y="690"/>
                </a:cubicBezTo>
                <a:cubicBezTo>
                  <a:pt x="852" y="690"/>
                  <a:pt x="852" y="690"/>
                  <a:pt x="852" y="690"/>
                </a:cubicBezTo>
                <a:cubicBezTo>
                  <a:pt x="851" y="691"/>
                  <a:pt x="851" y="691"/>
                  <a:pt x="851" y="691"/>
                </a:cubicBezTo>
                <a:cubicBezTo>
                  <a:pt x="849" y="691"/>
                  <a:pt x="849" y="691"/>
                  <a:pt x="849" y="691"/>
                </a:cubicBezTo>
                <a:cubicBezTo>
                  <a:pt x="842" y="691"/>
                  <a:pt x="842" y="691"/>
                  <a:pt x="842" y="691"/>
                </a:cubicBezTo>
                <a:cubicBezTo>
                  <a:pt x="838" y="690"/>
                  <a:pt x="838" y="690"/>
                  <a:pt x="838" y="690"/>
                </a:cubicBezTo>
                <a:cubicBezTo>
                  <a:pt x="833" y="690"/>
                  <a:pt x="833" y="690"/>
                  <a:pt x="833" y="690"/>
                </a:cubicBezTo>
                <a:cubicBezTo>
                  <a:pt x="832" y="690"/>
                  <a:pt x="832" y="690"/>
                  <a:pt x="832" y="690"/>
                </a:cubicBezTo>
                <a:cubicBezTo>
                  <a:pt x="830" y="688"/>
                  <a:pt x="830" y="688"/>
                  <a:pt x="830" y="688"/>
                </a:cubicBezTo>
                <a:cubicBezTo>
                  <a:pt x="828" y="688"/>
                  <a:pt x="828" y="688"/>
                  <a:pt x="828" y="688"/>
                </a:cubicBezTo>
                <a:cubicBezTo>
                  <a:pt x="827" y="687"/>
                  <a:pt x="827" y="687"/>
                  <a:pt x="827" y="687"/>
                </a:cubicBezTo>
                <a:cubicBezTo>
                  <a:pt x="825" y="686"/>
                  <a:pt x="825" y="686"/>
                  <a:pt x="825" y="686"/>
                </a:cubicBezTo>
                <a:cubicBezTo>
                  <a:pt x="824" y="682"/>
                  <a:pt x="824" y="682"/>
                  <a:pt x="824" y="682"/>
                </a:cubicBezTo>
                <a:cubicBezTo>
                  <a:pt x="823" y="681"/>
                  <a:pt x="823" y="681"/>
                  <a:pt x="823" y="681"/>
                </a:cubicBezTo>
                <a:cubicBezTo>
                  <a:pt x="821" y="682"/>
                  <a:pt x="821" y="682"/>
                  <a:pt x="821" y="682"/>
                </a:cubicBezTo>
                <a:cubicBezTo>
                  <a:pt x="817" y="682"/>
                  <a:pt x="817" y="682"/>
                  <a:pt x="817" y="682"/>
                </a:cubicBezTo>
                <a:cubicBezTo>
                  <a:pt x="814" y="680"/>
                  <a:pt x="814" y="680"/>
                  <a:pt x="814" y="680"/>
                </a:cubicBezTo>
                <a:cubicBezTo>
                  <a:pt x="812" y="677"/>
                  <a:pt x="812" y="677"/>
                  <a:pt x="812" y="677"/>
                </a:cubicBezTo>
                <a:cubicBezTo>
                  <a:pt x="807" y="677"/>
                  <a:pt x="807" y="677"/>
                  <a:pt x="807" y="677"/>
                </a:cubicBezTo>
                <a:cubicBezTo>
                  <a:pt x="804" y="677"/>
                  <a:pt x="804" y="677"/>
                  <a:pt x="804" y="677"/>
                </a:cubicBezTo>
                <a:cubicBezTo>
                  <a:pt x="802" y="676"/>
                  <a:pt x="802" y="676"/>
                  <a:pt x="802" y="676"/>
                </a:cubicBezTo>
                <a:cubicBezTo>
                  <a:pt x="799" y="677"/>
                  <a:pt x="799" y="677"/>
                  <a:pt x="799" y="677"/>
                </a:cubicBezTo>
                <a:cubicBezTo>
                  <a:pt x="796" y="677"/>
                  <a:pt x="796" y="677"/>
                  <a:pt x="796" y="677"/>
                </a:cubicBezTo>
                <a:cubicBezTo>
                  <a:pt x="794" y="678"/>
                  <a:pt x="794" y="678"/>
                  <a:pt x="794" y="678"/>
                </a:cubicBezTo>
                <a:cubicBezTo>
                  <a:pt x="790" y="678"/>
                  <a:pt x="790" y="678"/>
                  <a:pt x="790" y="678"/>
                </a:cubicBezTo>
                <a:cubicBezTo>
                  <a:pt x="787" y="679"/>
                  <a:pt x="787" y="679"/>
                  <a:pt x="787" y="679"/>
                </a:cubicBezTo>
                <a:cubicBezTo>
                  <a:pt x="785" y="681"/>
                  <a:pt x="785" y="681"/>
                  <a:pt x="785" y="681"/>
                </a:cubicBezTo>
                <a:cubicBezTo>
                  <a:pt x="784" y="682"/>
                  <a:pt x="784" y="682"/>
                  <a:pt x="784" y="682"/>
                </a:cubicBezTo>
                <a:cubicBezTo>
                  <a:pt x="782" y="681"/>
                  <a:pt x="782" y="681"/>
                  <a:pt x="782" y="681"/>
                </a:cubicBezTo>
                <a:cubicBezTo>
                  <a:pt x="781" y="681"/>
                  <a:pt x="781" y="681"/>
                  <a:pt x="781" y="681"/>
                </a:cubicBezTo>
                <a:cubicBezTo>
                  <a:pt x="779" y="682"/>
                  <a:pt x="779" y="682"/>
                  <a:pt x="779" y="682"/>
                </a:cubicBezTo>
                <a:cubicBezTo>
                  <a:pt x="776" y="682"/>
                  <a:pt x="776" y="682"/>
                  <a:pt x="776" y="682"/>
                </a:cubicBezTo>
                <a:cubicBezTo>
                  <a:pt x="775" y="683"/>
                  <a:pt x="775" y="683"/>
                  <a:pt x="775" y="683"/>
                </a:cubicBezTo>
                <a:cubicBezTo>
                  <a:pt x="774" y="683"/>
                  <a:pt x="774" y="683"/>
                  <a:pt x="774" y="683"/>
                </a:cubicBezTo>
                <a:cubicBezTo>
                  <a:pt x="771" y="681"/>
                  <a:pt x="771" y="681"/>
                  <a:pt x="771" y="681"/>
                </a:cubicBezTo>
                <a:cubicBezTo>
                  <a:pt x="767" y="680"/>
                  <a:pt x="767" y="680"/>
                  <a:pt x="767" y="680"/>
                </a:cubicBezTo>
                <a:cubicBezTo>
                  <a:pt x="767" y="679"/>
                  <a:pt x="767" y="679"/>
                  <a:pt x="767" y="679"/>
                </a:cubicBezTo>
                <a:cubicBezTo>
                  <a:pt x="765" y="677"/>
                  <a:pt x="765" y="677"/>
                  <a:pt x="765" y="677"/>
                </a:cubicBezTo>
                <a:cubicBezTo>
                  <a:pt x="763" y="677"/>
                  <a:pt x="763" y="677"/>
                  <a:pt x="763" y="677"/>
                </a:cubicBezTo>
                <a:cubicBezTo>
                  <a:pt x="762" y="676"/>
                  <a:pt x="762" y="676"/>
                  <a:pt x="762" y="676"/>
                </a:cubicBezTo>
                <a:cubicBezTo>
                  <a:pt x="762" y="674"/>
                  <a:pt x="762" y="674"/>
                  <a:pt x="762" y="674"/>
                </a:cubicBezTo>
                <a:cubicBezTo>
                  <a:pt x="761" y="672"/>
                  <a:pt x="761" y="672"/>
                  <a:pt x="761" y="672"/>
                </a:cubicBezTo>
                <a:cubicBezTo>
                  <a:pt x="760" y="670"/>
                  <a:pt x="760" y="670"/>
                  <a:pt x="760" y="670"/>
                </a:cubicBezTo>
                <a:cubicBezTo>
                  <a:pt x="760" y="669"/>
                  <a:pt x="760" y="669"/>
                  <a:pt x="760" y="669"/>
                </a:cubicBezTo>
                <a:cubicBezTo>
                  <a:pt x="759" y="667"/>
                  <a:pt x="759" y="667"/>
                  <a:pt x="759" y="667"/>
                </a:cubicBezTo>
                <a:cubicBezTo>
                  <a:pt x="759" y="666"/>
                  <a:pt x="759" y="666"/>
                  <a:pt x="759" y="666"/>
                </a:cubicBezTo>
                <a:cubicBezTo>
                  <a:pt x="758" y="664"/>
                  <a:pt x="758" y="664"/>
                  <a:pt x="758" y="664"/>
                </a:cubicBezTo>
                <a:cubicBezTo>
                  <a:pt x="757" y="664"/>
                  <a:pt x="757" y="664"/>
                  <a:pt x="757" y="664"/>
                </a:cubicBezTo>
                <a:cubicBezTo>
                  <a:pt x="752" y="664"/>
                  <a:pt x="752" y="664"/>
                  <a:pt x="752" y="664"/>
                </a:cubicBezTo>
                <a:cubicBezTo>
                  <a:pt x="750" y="663"/>
                  <a:pt x="750" y="663"/>
                  <a:pt x="750" y="663"/>
                </a:cubicBezTo>
                <a:cubicBezTo>
                  <a:pt x="749" y="663"/>
                  <a:pt x="749" y="663"/>
                  <a:pt x="749" y="663"/>
                </a:cubicBezTo>
                <a:cubicBezTo>
                  <a:pt x="746" y="662"/>
                  <a:pt x="746" y="662"/>
                  <a:pt x="746" y="662"/>
                </a:cubicBezTo>
                <a:cubicBezTo>
                  <a:pt x="745" y="661"/>
                  <a:pt x="745" y="661"/>
                  <a:pt x="745" y="661"/>
                </a:cubicBezTo>
                <a:cubicBezTo>
                  <a:pt x="744" y="661"/>
                  <a:pt x="744" y="661"/>
                  <a:pt x="744" y="661"/>
                </a:cubicBezTo>
                <a:cubicBezTo>
                  <a:pt x="740" y="661"/>
                  <a:pt x="740" y="661"/>
                  <a:pt x="740" y="661"/>
                </a:cubicBezTo>
                <a:cubicBezTo>
                  <a:pt x="737" y="660"/>
                  <a:pt x="737" y="660"/>
                  <a:pt x="737" y="660"/>
                </a:cubicBezTo>
                <a:cubicBezTo>
                  <a:pt x="735" y="660"/>
                  <a:pt x="735" y="660"/>
                  <a:pt x="735" y="660"/>
                </a:cubicBezTo>
                <a:cubicBezTo>
                  <a:pt x="734" y="659"/>
                  <a:pt x="734" y="659"/>
                  <a:pt x="734" y="659"/>
                </a:cubicBezTo>
                <a:cubicBezTo>
                  <a:pt x="731" y="657"/>
                  <a:pt x="731" y="657"/>
                  <a:pt x="731" y="657"/>
                </a:cubicBezTo>
                <a:cubicBezTo>
                  <a:pt x="729" y="657"/>
                  <a:pt x="729" y="657"/>
                  <a:pt x="729" y="657"/>
                </a:cubicBezTo>
                <a:cubicBezTo>
                  <a:pt x="727" y="656"/>
                  <a:pt x="727" y="656"/>
                  <a:pt x="727" y="656"/>
                </a:cubicBezTo>
                <a:cubicBezTo>
                  <a:pt x="725" y="656"/>
                  <a:pt x="725" y="656"/>
                  <a:pt x="725" y="656"/>
                </a:cubicBezTo>
                <a:cubicBezTo>
                  <a:pt x="724" y="657"/>
                  <a:pt x="724" y="657"/>
                  <a:pt x="724" y="657"/>
                </a:cubicBezTo>
                <a:cubicBezTo>
                  <a:pt x="723" y="659"/>
                  <a:pt x="723" y="659"/>
                  <a:pt x="723" y="659"/>
                </a:cubicBezTo>
                <a:cubicBezTo>
                  <a:pt x="724" y="660"/>
                  <a:pt x="724" y="660"/>
                  <a:pt x="724" y="660"/>
                </a:cubicBezTo>
                <a:cubicBezTo>
                  <a:pt x="723" y="662"/>
                  <a:pt x="723" y="662"/>
                  <a:pt x="723" y="662"/>
                </a:cubicBezTo>
                <a:cubicBezTo>
                  <a:pt x="722" y="662"/>
                  <a:pt x="722" y="662"/>
                  <a:pt x="722" y="662"/>
                </a:cubicBezTo>
                <a:cubicBezTo>
                  <a:pt x="720" y="662"/>
                  <a:pt x="720" y="662"/>
                  <a:pt x="720" y="662"/>
                </a:cubicBezTo>
                <a:cubicBezTo>
                  <a:pt x="719" y="664"/>
                  <a:pt x="719" y="664"/>
                  <a:pt x="719" y="664"/>
                </a:cubicBezTo>
                <a:cubicBezTo>
                  <a:pt x="719" y="666"/>
                  <a:pt x="719" y="666"/>
                  <a:pt x="719" y="666"/>
                </a:cubicBezTo>
                <a:cubicBezTo>
                  <a:pt x="717" y="668"/>
                  <a:pt x="717" y="668"/>
                  <a:pt x="717" y="668"/>
                </a:cubicBezTo>
                <a:cubicBezTo>
                  <a:pt x="717" y="673"/>
                  <a:pt x="717" y="673"/>
                  <a:pt x="717" y="673"/>
                </a:cubicBezTo>
                <a:cubicBezTo>
                  <a:pt x="718" y="676"/>
                  <a:pt x="718" y="676"/>
                  <a:pt x="718" y="676"/>
                </a:cubicBezTo>
                <a:cubicBezTo>
                  <a:pt x="721" y="677"/>
                  <a:pt x="721" y="677"/>
                  <a:pt x="721" y="677"/>
                </a:cubicBezTo>
                <a:cubicBezTo>
                  <a:pt x="722" y="678"/>
                  <a:pt x="722" y="678"/>
                  <a:pt x="722" y="678"/>
                </a:cubicBezTo>
                <a:cubicBezTo>
                  <a:pt x="724" y="679"/>
                  <a:pt x="724" y="679"/>
                  <a:pt x="724" y="679"/>
                </a:cubicBezTo>
                <a:cubicBezTo>
                  <a:pt x="724" y="680"/>
                  <a:pt x="724" y="680"/>
                  <a:pt x="724" y="680"/>
                </a:cubicBezTo>
                <a:cubicBezTo>
                  <a:pt x="724" y="684"/>
                  <a:pt x="724" y="684"/>
                  <a:pt x="724" y="684"/>
                </a:cubicBezTo>
                <a:cubicBezTo>
                  <a:pt x="724" y="687"/>
                  <a:pt x="724" y="687"/>
                  <a:pt x="724" y="687"/>
                </a:cubicBezTo>
                <a:cubicBezTo>
                  <a:pt x="726" y="688"/>
                  <a:pt x="726" y="688"/>
                  <a:pt x="726" y="688"/>
                </a:cubicBezTo>
                <a:cubicBezTo>
                  <a:pt x="727" y="690"/>
                  <a:pt x="727" y="690"/>
                  <a:pt x="727" y="690"/>
                </a:cubicBezTo>
                <a:cubicBezTo>
                  <a:pt x="725" y="693"/>
                  <a:pt x="725" y="693"/>
                  <a:pt x="725" y="693"/>
                </a:cubicBezTo>
                <a:cubicBezTo>
                  <a:pt x="721" y="693"/>
                  <a:pt x="721" y="693"/>
                  <a:pt x="721" y="693"/>
                </a:cubicBezTo>
                <a:cubicBezTo>
                  <a:pt x="720" y="693"/>
                  <a:pt x="720" y="693"/>
                  <a:pt x="720" y="693"/>
                </a:cubicBezTo>
                <a:cubicBezTo>
                  <a:pt x="719" y="694"/>
                  <a:pt x="719" y="694"/>
                  <a:pt x="719" y="694"/>
                </a:cubicBezTo>
                <a:cubicBezTo>
                  <a:pt x="717" y="694"/>
                  <a:pt x="717" y="694"/>
                  <a:pt x="717" y="694"/>
                </a:cubicBezTo>
                <a:cubicBezTo>
                  <a:pt x="715" y="693"/>
                  <a:pt x="715" y="693"/>
                  <a:pt x="715" y="693"/>
                </a:cubicBezTo>
                <a:cubicBezTo>
                  <a:pt x="711" y="693"/>
                  <a:pt x="711" y="693"/>
                  <a:pt x="711" y="693"/>
                </a:cubicBezTo>
                <a:cubicBezTo>
                  <a:pt x="709" y="693"/>
                  <a:pt x="709" y="693"/>
                  <a:pt x="709" y="693"/>
                </a:cubicBezTo>
                <a:cubicBezTo>
                  <a:pt x="707" y="692"/>
                  <a:pt x="707" y="692"/>
                  <a:pt x="707" y="692"/>
                </a:cubicBezTo>
                <a:cubicBezTo>
                  <a:pt x="705" y="692"/>
                  <a:pt x="705" y="692"/>
                  <a:pt x="705" y="692"/>
                </a:cubicBezTo>
                <a:cubicBezTo>
                  <a:pt x="704" y="692"/>
                  <a:pt x="704" y="692"/>
                  <a:pt x="704" y="692"/>
                </a:cubicBezTo>
                <a:cubicBezTo>
                  <a:pt x="701" y="694"/>
                  <a:pt x="701" y="694"/>
                  <a:pt x="701" y="694"/>
                </a:cubicBezTo>
                <a:cubicBezTo>
                  <a:pt x="699" y="694"/>
                  <a:pt x="699" y="694"/>
                  <a:pt x="699" y="694"/>
                </a:cubicBezTo>
                <a:cubicBezTo>
                  <a:pt x="698" y="695"/>
                  <a:pt x="698" y="695"/>
                  <a:pt x="698" y="695"/>
                </a:cubicBezTo>
                <a:cubicBezTo>
                  <a:pt x="694" y="693"/>
                  <a:pt x="694" y="693"/>
                  <a:pt x="694" y="693"/>
                </a:cubicBezTo>
                <a:cubicBezTo>
                  <a:pt x="692" y="692"/>
                  <a:pt x="692" y="692"/>
                  <a:pt x="692" y="692"/>
                </a:cubicBezTo>
                <a:cubicBezTo>
                  <a:pt x="687" y="689"/>
                  <a:pt x="687" y="689"/>
                  <a:pt x="687" y="689"/>
                </a:cubicBezTo>
                <a:cubicBezTo>
                  <a:pt x="686" y="687"/>
                  <a:pt x="686" y="687"/>
                  <a:pt x="686" y="687"/>
                </a:cubicBezTo>
                <a:cubicBezTo>
                  <a:pt x="686" y="686"/>
                  <a:pt x="686" y="686"/>
                  <a:pt x="686" y="686"/>
                </a:cubicBezTo>
                <a:cubicBezTo>
                  <a:pt x="685" y="684"/>
                  <a:pt x="685" y="684"/>
                  <a:pt x="685" y="684"/>
                </a:cubicBezTo>
                <a:cubicBezTo>
                  <a:pt x="682" y="684"/>
                  <a:pt x="682" y="684"/>
                  <a:pt x="682" y="684"/>
                </a:cubicBezTo>
                <a:cubicBezTo>
                  <a:pt x="680" y="685"/>
                  <a:pt x="680" y="685"/>
                  <a:pt x="680" y="685"/>
                </a:cubicBezTo>
                <a:cubicBezTo>
                  <a:pt x="678" y="685"/>
                  <a:pt x="678" y="685"/>
                  <a:pt x="678" y="685"/>
                </a:cubicBezTo>
                <a:cubicBezTo>
                  <a:pt x="677" y="685"/>
                  <a:pt x="677" y="685"/>
                  <a:pt x="677" y="685"/>
                </a:cubicBezTo>
                <a:cubicBezTo>
                  <a:pt x="675" y="686"/>
                  <a:pt x="675" y="686"/>
                  <a:pt x="675" y="686"/>
                </a:cubicBezTo>
                <a:cubicBezTo>
                  <a:pt x="673" y="684"/>
                  <a:pt x="673" y="684"/>
                  <a:pt x="673" y="684"/>
                </a:cubicBezTo>
                <a:cubicBezTo>
                  <a:pt x="673" y="683"/>
                  <a:pt x="673" y="683"/>
                  <a:pt x="673" y="683"/>
                </a:cubicBezTo>
                <a:cubicBezTo>
                  <a:pt x="672" y="681"/>
                  <a:pt x="672" y="681"/>
                  <a:pt x="672" y="681"/>
                </a:cubicBezTo>
                <a:cubicBezTo>
                  <a:pt x="671" y="681"/>
                  <a:pt x="671" y="681"/>
                  <a:pt x="671" y="681"/>
                </a:cubicBezTo>
                <a:cubicBezTo>
                  <a:pt x="670" y="682"/>
                  <a:pt x="670" y="682"/>
                  <a:pt x="670" y="682"/>
                </a:cubicBezTo>
                <a:cubicBezTo>
                  <a:pt x="667" y="682"/>
                  <a:pt x="667" y="682"/>
                  <a:pt x="667" y="682"/>
                </a:cubicBezTo>
                <a:cubicBezTo>
                  <a:pt x="666" y="682"/>
                  <a:pt x="666" y="682"/>
                  <a:pt x="666" y="682"/>
                </a:cubicBezTo>
                <a:cubicBezTo>
                  <a:pt x="663" y="683"/>
                  <a:pt x="663" y="683"/>
                  <a:pt x="663" y="683"/>
                </a:cubicBezTo>
                <a:cubicBezTo>
                  <a:pt x="660" y="683"/>
                  <a:pt x="660" y="683"/>
                  <a:pt x="660" y="683"/>
                </a:cubicBezTo>
                <a:cubicBezTo>
                  <a:pt x="658" y="684"/>
                  <a:pt x="658" y="684"/>
                  <a:pt x="658" y="684"/>
                </a:cubicBezTo>
                <a:cubicBezTo>
                  <a:pt x="657" y="687"/>
                  <a:pt x="657" y="687"/>
                  <a:pt x="657" y="687"/>
                </a:cubicBezTo>
                <a:cubicBezTo>
                  <a:pt x="655" y="687"/>
                  <a:pt x="655" y="687"/>
                  <a:pt x="655" y="687"/>
                </a:cubicBezTo>
                <a:cubicBezTo>
                  <a:pt x="652" y="686"/>
                  <a:pt x="652" y="686"/>
                  <a:pt x="652" y="686"/>
                </a:cubicBezTo>
                <a:cubicBezTo>
                  <a:pt x="651" y="687"/>
                  <a:pt x="651" y="687"/>
                  <a:pt x="651" y="687"/>
                </a:cubicBezTo>
                <a:cubicBezTo>
                  <a:pt x="651" y="689"/>
                  <a:pt x="651" y="689"/>
                  <a:pt x="651" y="689"/>
                </a:cubicBezTo>
                <a:cubicBezTo>
                  <a:pt x="652" y="690"/>
                  <a:pt x="652" y="690"/>
                  <a:pt x="652" y="690"/>
                </a:cubicBezTo>
                <a:cubicBezTo>
                  <a:pt x="652" y="691"/>
                  <a:pt x="652" y="691"/>
                  <a:pt x="652" y="691"/>
                </a:cubicBezTo>
                <a:cubicBezTo>
                  <a:pt x="650" y="693"/>
                  <a:pt x="650" y="693"/>
                  <a:pt x="650" y="693"/>
                </a:cubicBezTo>
                <a:cubicBezTo>
                  <a:pt x="648" y="693"/>
                  <a:pt x="648" y="693"/>
                  <a:pt x="648" y="693"/>
                </a:cubicBezTo>
                <a:cubicBezTo>
                  <a:pt x="647" y="695"/>
                  <a:pt x="647" y="695"/>
                  <a:pt x="647" y="695"/>
                </a:cubicBezTo>
                <a:cubicBezTo>
                  <a:pt x="647" y="696"/>
                  <a:pt x="647" y="696"/>
                  <a:pt x="647" y="696"/>
                </a:cubicBezTo>
                <a:cubicBezTo>
                  <a:pt x="644" y="698"/>
                  <a:pt x="644" y="698"/>
                  <a:pt x="644" y="698"/>
                </a:cubicBezTo>
                <a:cubicBezTo>
                  <a:pt x="643" y="700"/>
                  <a:pt x="643" y="700"/>
                  <a:pt x="643" y="700"/>
                </a:cubicBezTo>
                <a:cubicBezTo>
                  <a:pt x="643" y="702"/>
                  <a:pt x="643" y="702"/>
                  <a:pt x="643" y="702"/>
                </a:cubicBezTo>
                <a:cubicBezTo>
                  <a:pt x="639" y="703"/>
                  <a:pt x="639" y="703"/>
                  <a:pt x="639" y="703"/>
                </a:cubicBezTo>
                <a:cubicBezTo>
                  <a:pt x="638" y="705"/>
                  <a:pt x="638" y="705"/>
                  <a:pt x="638" y="705"/>
                </a:cubicBezTo>
                <a:cubicBezTo>
                  <a:pt x="637" y="706"/>
                  <a:pt x="637" y="706"/>
                  <a:pt x="637" y="706"/>
                </a:cubicBezTo>
                <a:cubicBezTo>
                  <a:pt x="632" y="706"/>
                  <a:pt x="632" y="706"/>
                  <a:pt x="632" y="706"/>
                </a:cubicBezTo>
                <a:cubicBezTo>
                  <a:pt x="630" y="707"/>
                  <a:pt x="630" y="707"/>
                  <a:pt x="630" y="707"/>
                </a:cubicBezTo>
                <a:cubicBezTo>
                  <a:pt x="628" y="711"/>
                  <a:pt x="628" y="711"/>
                  <a:pt x="628" y="711"/>
                </a:cubicBezTo>
                <a:cubicBezTo>
                  <a:pt x="628" y="711"/>
                  <a:pt x="628" y="711"/>
                  <a:pt x="628" y="711"/>
                </a:cubicBezTo>
                <a:cubicBezTo>
                  <a:pt x="628" y="711"/>
                  <a:pt x="628" y="711"/>
                  <a:pt x="628" y="711"/>
                </a:cubicBezTo>
                <a:cubicBezTo>
                  <a:pt x="625" y="710"/>
                  <a:pt x="625" y="710"/>
                  <a:pt x="625" y="710"/>
                </a:cubicBezTo>
                <a:cubicBezTo>
                  <a:pt x="624" y="710"/>
                  <a:pt x="624" y="710"/>
                  <a:pt x="624" y="710"/>
                </a:cubicBezTo>
                <a:cubicBezTo>
                  <a:pt x="624" y="710"/>
                  <a:pt x="624" y="710"/>
                  <a:pt x="624" y="710"/>
                </a:cubicBezTo>
                <a:cubicBezTo>
                  <a:pt x="620" y="709"/>
                  <a:pt x="620" y="709"/>
                  <a:pt x="620" y="709"/>
                </a:cubicBezTo>
                <a:cubicBezTo>
                  <a:pt x="618" y="707"/>
                  <a:pt x="618" y="707"/>
                  <a:pt x="618" y="707"/>
                </a:cubicBezTo>
                <a:cubicBezTo>
                  <a:pt x="617" y="706"/>
                  <a:pt x="617" y="706"/>
                  <a:pt x="617" y="706"/>
                </a:cubicBezTo>
                <a:cubicBezTo>
                  <a:pt x="616" y="704"/>
                  <a:pt x="616" y="704"/>
                  <a:pt x="616" y="704"/>
                </a:cubicBezTo>
                <a:cubicBezTo>
                  <a:pt x="617" y="702"/>
                  <a:pt x="617" y="702"/>
                  <a:pt x="617" y="702"/>
                </a:cubicBezTo>
                <a:cubicBezTo>
                  <a:pt x="616" y="701"/>
                  <a:pt x="616" y="701"/>
                  <a:pt x="616" y="701"/>
                </a:cubicBezTo>
                <a:cubicBezTo>
                  <a:pt x="614" y="702"/>
                  <a:pt x="614" y="702"/>
                  <a:pt x="614" y="702"/>
                </a:cubicBezTo>
                <a:cubicBezTo>
                  <a:pt x="613" y="704"/>
                  <a:pt x="613" y="704"/>
                  <a:pt x="613" y="704"/>
                </a:cubicBezTo>
                <a:cubicBezTo>
                  <a:pt x="610" y="705"/>
                  <a:pt x="610" y="705"/>
                  <a:pt x="610" y="705"/>
                </a:cubicBezTo>
                <a:cubicBezTo>
                  <a:pt x="605" y="705"/>
                  <a:pt x="605" y="705"/>
                  <a:pt x="605" y="705"/>
                </a:cubicBezTo>
                <a:cubicBezTo>
                  <a:pt x="603" y="706"/>
                  <a:pt x="603" y="706"/>
                  <a:pt x="603" y="706"/>
                </a:cubicBezTo>
                <a:cubicBezTo>
                  <a:pt x="603" y="707"/>
                  <a:pt x="603" y="707"/>
                  <a:pt x="603" y="707"/>
                </a:cubicBezTo>
                <a:cubicBezTo>
                  <a:pt x="601" y="706"/>
                  <a:pt x="601" y="706"/>
                  <a:pt x="601" y="706"/>
                </a:cubicBezTo>
                <a:cubicBezTo>
                  <a:pt x="599" y="705"/>
                  <a:pt x="599" y="705"/>
                  <a:pt x="599" y="705"/>
                </a:cubicBezTo>
                <a:cubicBezTo>
                  <a:pt x="598" y="706"/>
                  <a:pt x="598" y="706"/>
                  <a:pt x="598" y="706"/>
                </a:cubicBezTo>
                <a:cubicBezTo>
                  <a:pt x="598" y="705"/>
                  <a:pt x="598" y="705"/>
                  <a:pt x="598" y="705"/>
                </a:cubicBezTo>
                <a:cubicBezTo>
                  <a:pt x="597" y="704"/>
                  <a:pt x="597" y="704"/>
                  <a:pt x="597" y="704"/>
                </a:cubicBezTo>
                <a:cubicBezTo>
                  <a:pt x="596" y="703"/>
                  <a:pt x="596" y="703"/>
                  <a:pt x="596" y="703"/>
                </a:cubicBezTo>
                <a:cubicBezTo>
                  <a:pt x="596" y="701"/>
                  <a:pt x="596" y="701"/>
                  <a:pt x="596" y="701"/>
                </a:cubicBezTo>
                <a:cubicBezTo>
                  <a:pt x="596" y="700"/>
                  <a:pt x="596" y="700"/>
                  <a:pt x="596" y="700"/>
                </a:cubicBezTo>
                <a:cubicBezTo>
                  <a:pt x="596" y="699"/>
                  <a:pt x="596" y="699"/>
                  <a:pt x="596" y="699"/>
                </a:cubicBezTo>
                <a:cubicBezTo>
                  <a:pt x="595" y="698"/>
                  <a:pt x="595" y="698"/>
                  <a:pt x="595" y="698"/>
                </a:cubicBezTo>
                <a:cubicBezTo>
                  <a:pt x="594" y="698"/>
                  <a:pt x="594" y="698"/>
                  <a:pt x="594" y="698"/>
                </a:cubicBezTo>
                <a:cubicBezTo>
                  <a:pt x="592" y="696"/>
                  <a:pt x="592" y="696"/>
                  <a:pt x="592" y="696"/>
                </a:cubicBezTo>
                <a:cubicBezTo>
                  <a:pt x="589" y="696"/>
                  <a:pt x="589" y="696"/>
                  <a:pt x="589" y="696"/>
                </a:cubicBezTo>
                <a:cubicBezTo>
                  <a:pt x="588" y="696"/>
                  <a:pt x="588" y="696"/>
                  <a:pt x="588" y="696"/>
                </a:cubicBezTo>
                <a:cubicBezTo>
                  <a:pt x="587" y="693"/>
                  <a:pt x="587" y="693"/>
                  <a:pt x="587" y="693"/>
                </a:cubicBezTo>
                <a:cubicBezTo>
                  <a:pt x="585" y="690"/>
                  <a:pt x="585" y="690"/>
                  <a:pt x="585" y="690"/>
                </a:cubicBezTo>
                <a:cubicBezTo>
                  <a:pt x="582" y="688"/>
                  <a:pt x="582" y="688"/>
                  <a:pt x="582" y="688"/>
                </a:cubicBezTo>
                <a:cubicBezTo>
                  <a:pt x="579" y="687"/>
                  <a:pt x="579" y="687"/>
                  <a:pt x="579" y="687"/>
                </a:cubicBezTo>
                <a:cubicBezTo>
                  <a:pt x="575" y="687"/>
                  <a:pt x="575" y="687"/>
                  <a:pt x="575" y="687"/>
                </a:cubicBezTo>
                <a:cubicBezTo>
                  <a:pt x="572" y="687"/>
                  <a:pt x="572" y="687"/>
                  <a:pt x="572" y="687"/>
                </a:cubicBezTo>
                <a:cubicBezTo>
                  <a:pt x="571" y="688"/>
                  <a:pt x="571" y="688"/>
                  <a:pt x="571" y="688"/>
                </a:cubicBezTo>
                <a:cubicBezTo>
                  <a:pt x="572" y="690"/>
                  <a:pt x="572" y="690"/>
                  <a:pt x="572" y="690"/>
                </a:cubicBezTo>
                <a:cubicBezTo>
                  <a:pt x="571" y="691"/>
                  <a:pt x="571" y="691"/>
                  <a:pt x="571" y="691"/>
                </a:cubicBezTo>
                <a:cubicBezTo>
                  <a:pt x="569" y="691"/>
                  <a:pt x="569" y="691"/>
                  <a:pt x="569" y="691"/>
                </a:cubicBezTo>
                <a:cubicBezTo>
                  <a:pt x="568" y="691"/>
                  <a:pt x="568" y="691"/>
                  <a:pt x="568" y="691"/>
                </a:cubicBezTo>
                <a:cubicBezTo>
                  <a:pt x="565" y="692"/>
                  <a:pt x="565" y="692"/>
                  <a:pt x="565" y="692"/>
                </a:cubicBezTo>
                <a:cubicBezTo>
                  <a:pt x="563" y="691"/>
                  <a:pt x="563" y="691"/>
                  <a:pt x="563" y="691"/>
                </a:cubicBezTo>
                <a:cubicBezTo>
                  <a:pt x="561" y="691"/>
                  <a:pt x="561" y="691"/>
                  <a:pt x="561" y="691"/>
                </a:cubicBezTo>
                <a:cubicBezTo>
                  <a:pt x="559" y="692"/>
                  <a:pt x="559" y="692"/>
                  <a:pt x="559" y="692"/>
                </a:cubicBezTo>
                <a:cubicBezTo>
                  <a:pt x="557" y="692"/>
                  <a:pt x="557" y="692"/>
                  <a:pt x="557" y="692"/>
                </a:cubicBezTo>
                <a:cubicBezTo>
                  <a:pt x="556" y="690"/>
                  <a:pt x="556" y="690"/>
                  <a:pt x="556" y="690"/>
                </a:cubicBezTo>
                <a:cubicBezTo>
                  <a:pt x="554" y="690"/>
                  <a:pt x="554" y="690"/>
                  <a:pt x="554" y="690"/>
                </a:cubicBezTo>
                <a:cubicBezTo>
                  <a:pt x="553" y="688"/>
                  <a:pt x="553" y="688"/>
                  <a:pt x="553" y="688"/>
                </a:cubicBezTo>
                <a:cubicBezTo>
                  <a:pt x="554" y="687"/>
                  <a:pt x="554" y="687"/>
                  <a:pt x="554" y="687"/>
                </a:cubicBezTo>
                <a:cubicBezTo>
                  <a:pt x="551" y="685"/>
                  <a:pt x="551" y="685"/>
                  <a:pt x="551" y="685"/>
                </a:cubicBezTo>
                <a:cubicBezTo>
                  <a:pt x="549" y="686"/>
                  <a:pt x="549" y="686"/>
                  <a:pt x="549" y="686"/>
                </a:cubicBezTo>
                <a:cubicBezTo>
                  <a:pt x="549" y="688"/>
                  <a:pt x="549" y="688"/>
                  <a:pt x="549" y="688"/>
                </a:cubicBezTo>
                <a:cubicBezTo>
                  <a:pt x="550" y="689"/>
                  <a:pt x="550" y="689"/>
                  <a:pt x="550" y="689"/>
                </a:cubicBezTo>
                <a:cubicBezTo>
                  <a:pt x="549" y="690"/>
                  <a:pt x="549" y="690"/>
                  <a:pt x="549" y="690"/>
                </a:cubicBezTo>
                <a:cubicBezTo>
                  <a:pt x="547" y="691"/>
                  <a:pt x="547" y="691"/>
                  <a:pt x="547" y="691"/>
                </a:cubicBezTo>
                <a:cubicBezTo>
                  <a:pt x="545" y="692"/>
                  <a:pt x="545" y="692"/>
                  <a:pt x="545" y="692"/>
                </a:cubicBezTo>
                <a:cubicBezTo>
                  <a:pt x="519" y="659"/>
                  <a:pt x="519" y="659"/>
                  <a:pt x="519" y="659"/>
                </a:cubicBezTo>
                <a:cubicBezTo>
                  <a:pt x="499" y="644"/>
                  <a:pt x="499" y="644"/>
                  <a:pt x="499" y="644"/>
                </a:cubicBezTo>
                <a:cubicBezTo>
                  <a:pt x="499" y="643"/>
                  <a:pt x="499" y="643"/>
                  <a:pt x="499" y="643"/>
                </a:cubicBezTo>
                <a:cubicBezTo>
                  <a:pt x="500" y="642"/>
                  <a:pt x="500" y="642"/>
                  <a:pt x="500" y="642"/>
                </a:cubicBezTo>
                <a:cubicBezTo>
                  <a:pt x="502" y="641"/>
                  <a:pt x="502" y="641"/>
                  <a:pt x="502" y="641"/>
                </a:cubicBezTo>
                <a:cubicBezTo>
                  <a:pt x="502" y="639"/>
                  <a:pt x="502" y="639"/>
                  <a:pt x="502" y="639"/>
                </a:cubicBezTo>
                <a:cubicBezTo>
                  <a:pt x="501" y="638"/>
                  <a:pt x="501" y="638"/>
                  <a:pt x="501" y="638"/>
                </a:cubicBezTo>
                <a:cubicBezTo>
                  <a:pt x="498" y="639"/>
                  <a:pt x="498" y="639"/>
                  <a:pt x="498" y="639"/>
                </a:cubicBezTo>
                <a:cubicBezTo>
                  <a:pt x="496" y="639"/>
                  <a:pt x="496" y="639"/>
                  <a:pt x="496" y="639"/>
                </a:cubicBezTo>
                <a:cubicBezTo>
                  <a:pt x="494" y="641"/>
                  <a:pt x="494" y="641"/>
                  <a:pt x="494" y="641"/>
                </a:cubicBezTo>
                <a:cubicBezTo>
                  <a:pt x="493" y="642"/>
                  <a:pt x="493" y="642"/>
                  <a:pt x="493" y="642"/>
                </a:cubicBezTo>
                <a:cubicBezTo>
                  <a:pt x="490" y="644"/>
                  <a:pt x="490" y="644"/>
                  <a:pt x="490" y="644"/>
                </a:cubicBezTo>
                <a:cubicBezTo>
                  <a:pt x="490" y="646"/>
                  <a:pt x="490" y="646"/>
                  <a:pt x="490" y="646"/>
                </a:cubicBezTo>
                <a:cubicBezTo>
                  <a:pt x="488" y="647"/>
                  <a:pt x="488" y="647"/>
                  <a:pt x="488" y="647"/>
                </a:cubicBezTo>
                <a:cubicBezTo>
                  <a:pt x="488" y="649"/>
                  <a:pt x="488" y="649"/>
                  <a:pt x="488" y="649"/>
                </a:cubicBezTo>
                <a:cubicBezTo>
                  <a:pt x="486" y="650"/>
                  <a:pt x="486" y="650"/>
                  <a:pt x="486" y="650"/>
                </a:cubicBezTo>
                <a:cubicBezTo>
                  <a:pt x="482" y="650"/>
                  <a:pt x="482" y="650"/>
                  <a:pt x="482" y="650"/>
                </a:cubicBezTo>
                <a:cubicBezTo>
                  <a:pt x="480" y="651"/>
                  <a:pt x="480" y="651"/>
                  <a:pt x="480" y="651"/>
                </a:cubicBezTo>
                <a:cubicBezTo>
                  <a:pt x="481" y="654"/>
                  <a:pt x="481" y="654"/>
                  <a:pt x="481" y="654"/>
                </a:cubicBezTo>
                <a:cubicBezTo>
                  <a:pt x="480" y="655"/>
                  <a:pt x="480" y="655"/>
                  <a:pt x="480" y="655"/>
                </a:cubicBezTo>
                <a:cubicBezTo>
                  <a:pt x="478" y="654"/>
                  <a:pt x="478" y="654"/>
                  <a:pt x="478" y="654"/>
                </a:cubicBezTo>
                <a:cubicBezTo>
                  <a:pt x="474" y="653"/>
                  <a:pt x="474" y="653"/>
                  <a:pt x="474" y="653"/>
                </a:cubicBezTo>
                <a:cubicBezTo>
                  <a:pt x="472" y="653"/>
                  <a:pt x="472" y="653"/>
                  <a:pt x="472" y="653"/>
                </a:cubicBezTo>
                <a:cubicBezTo>
                  <a:pt x="471" y="655"/>
                  <a:pt x="471" y="655"/>
                  <a:pt x="471" y="655"/>
                </a:cubicBezTo>
                <a:cubicBezTo>
                  <a:pt x="469" y="655"/>
                  <a:pt x="469" y="655"/>
                  <a:pt x="469" y="655"/>
                </a:cubicBezTo>
                <a:cubicBezTo>
                  <a:pt x="468" y="653"/>
                  <a:pt x="468" y="653"/>
                  <a:pt x="468" y="653"/>
                </a:cubicBezTo>
                <a:cubicBezTo>
                  <a:pt x="468" y="650"/>
                  <a:pt x="468" y="650"/>
                  <a:pt x="468" y="650"/>
                </a:cubicBezTo>
                <a:cubicBezTo>
                  <a:pt x="469" y="649"/>
                  <a:pt x="469" y="649"/>
                  <a:pt x="469" y="649"/>
                </a:cubicBezTo>
                <a:cubicBezTo>
                  <a:pt x="470" y="647"/>
                  <a:pt x="470" y="647"/>
                  <a:pt x="470" y="647"/>
                </a:cubicBezTo>
                <a:cubicBezTo>
                  <a:pt x="469" y="647"/>
                  <a:pt x="469" y="647"/>
                  <a:pt x="469" y="647"/>
                </a:cubicBezTo>
                <a:cubicBezTo>
                  <a:pt x="467" y="648"/>
                  <a:pt x="467" y="648"/>
                  <a:pt x="467" y="648"/>
                </a:cubicBezTo>
                <a:cubicBezTo>
                  <a:pt x="466" y="648"/>
                  <a:pt x="466" y="648"/>
                  <a:pt x="466" y="648"/>
                </a:cubicBezTo>
                <a:cubicBezTo>
                  <a:pt x="462" y="646"/>
                  <a:pt x="462" y="646"/>
                  <a:pt x="462" y="646"/>
                </a:cubicBezTo>
                <a:cubicBezTo>
                  <a:pt x="459" y="646"/>
                  <a:pt x="459" y="646"/>
                  <a:pt x="459" y="646"/>
                </a:cubicBezTo>
                <a:cubicBezTo>
                  <a:pt x="460" y="648"/>
                  <a:pt x="460" y="648"/>
                  <a:pt x="460" y="648"/>
                </a:cubicBezTo>
                <a:cubicBezTo>
                  <a:pt x="461" y="648"/>
                  <a:pt x="461" y="648"/>
                  <a:pt x="461" y="648"/>
                </a:cubicBezTo>
                <a:cubicBezTo>
                  <a:pt x="460" y="650"/>
                  <a:pt x="460" y="650"/>
                  <a:pt x="460" y="650"/>
                </a:cubicBezTo>
                <a:cubicBezTo>
                  <a:pt x="458" y="650"/>
                  <a:pt x="458" y="650"/>
                  <a:pt x="458" y="650"/>
                </a:cubicBezTo>
                <a:cubicBezTo>
                  <a:pt x="457" y="647"/>
                  <a:pt x="457" y="647"/>
                  <a:pt x="457" y="647"/>
                </a:cubicBezTo>
                <a:cubicBezTo>
                  <a:pt x="457" y="644"/>
                  <a:pt x="457" y="644"/>
                  <a:pt x="457" y="644"/>
                </a:cubicBezTo>
                <a:cubicBezTo>
                  <a:pt x="453" y="641"/>
                  <a:pt x="453" y="641"/>
                  <a:pt x="453" y="641"/>
                </a:cubicBezTo>
                <a:cubicBezTo>
                  <a:pt x="452" y="642"/>
                  <a:pt x="452" y="642"/>
                  <a:pt x="452" y="642"/>
                </a:cubicBezTo>
                <a:cubicBezTo>
                  <a:pt x="453" y="644"/>
                  <a:pt x="453" y="644"/>
                  <a:pt x="453" y="644"/>
                </a:cubicBezTo>
                <a:cubicBezTo>
                  <a:pt x="453" y="645"/>
                  <a:pt x="453" y="645"/>
                  <a:pt x="453" y="645"/>
                </a:cubicBezTo>
                <a:cubicBezTo>
                  <a:pt x="451" y="645"/>
                  <a:pt x="451" y="645"/>
                  <a:pt x="451" y="645"/>
                </a:cubicBezTo>
                <a:cubicBezTo>
                  <a:pt x="451" y="643"/>
                  <a:pt x="451" y="643"/>
                  <a:pt x="451" y="643"/>
                </a:cubicBezTo>
                <a:cubicBezTo>
                  <a:pt x="449" y="644"/>
                  <a:pt x="449" y="644"/>
                  <a:pt x="449" y="644"/>
                </a:cubicBezTo>
                <a:cubicBezTo>
                  <a:pt x="449" y="646"/>
                  <a:pt x="449" y="646"/>
                  <a:pt x="449" y="646"/>
                </a:cubicBezTo>
                <a:cubicBezTo>
                  <a:pt x="448" y="646"/>
                  <a:pt x="448" y="646"/>
                  <a:pt x="448" y="646"/>
                </a:cubicBezTo>
                <a:cubicBezTo>
                  <a:pt x="446" y="645"/>
                  <a:pt x="446" y="645"/>
                  <a:pt x="446" y="645"/>
                </a:cubicBezTo>
                <a:cubicBezTo>
                  <a:pt x="444" y="646"/>
                  <a:pt x="444" y="646"/>
                  <a:pt x="444" y="646"/>
                </a:cubicBezTo>
                <a:cubicBezTo>
                  <a:pt x="443" y="646"/>
                  <a:pt x="443" y="646"/>
                  <a:pt x="443" y="646"/>
                </a:cubicBezTo>
                <a:cubicBezTo>
                  <a:pt x="442" y="644"/>
                  <a:pt x="442" y="644"/>
                  <a:pt x="442" y="644"/>
                </a:cubicBezTo>
                <a:cubicBezTo>
                  <a:pt x="443" y="643"/>
                  <a:pt x="443" y="643"/>
                  <a:pt x="443" y="643"/>
                </a:cubicBezTo>
                <a:cubicBezTo>
                  <a:pt x="443" y="642"/>
                  <a:pt x="443" y="642"/>
                  <a:pt x="443" y="642"/>
                </a:cubicBezTo>
                <a:cubicBezTo>
                  <a:pt x="443" y="640"/>
                  <a:pt x="443" y="640"/>
                  <a:pt x="443" y="640"/>
                </a:cubicBezTo>
                <a:cubicBezTo>
                  <a:pt x="443" y="638"/>
                  <a:pt x="443" y="638"/>
                  <a:pt x="443" y="638"/>
                </a:cubicBezTo>
                <a:cubicBezTo>
                  <a:pt x="443" y="637"/>
                  <a:pt x="443" y="637"/>
                  <a:pt x="443" y="637"/>
                </a:cubicBezTo>
                <a:cubicBezTo>
                  <a:pt x="442" y="636"/>
                  <a:pt x="442" y="636"/>
                  <a:pt x="442" y="636"/>
                </a:cubicBezTo>
                <a:cubicBezTo>
                  <a:pt x="440" y="635"/>
                  <a:pt x="440" y="635"/>
                  <a:pt x="440" y="635"/>
                </a:cubicBezTo>
                <a:cubicBezTo>
                  <a:pt x="440" y="632"/>
                  <a:pt x="440" y="632"/>
                  <a:pt x="440" y="632"/>
                </a:cubicBezTo>
                <a:cubicBezTo>
                  <a:pt x="439" y="632"/>
                  <a:pt x="439" y="632"/>
                  <a:pt x="439" y="632"/>
                </a:cubicBezTo>
                <a:cubicBezTo>
                  <a:pt x="438" y="629"/>
                  <a:pt x="438" y="629"/>
                  <a:pt x="438" y="629"/>
                </a:cubicBezTo>
                <a:cubicBezTo>
                  <a:pt x="436" y="629"/>
                  <a:pt x="436" y="629"/>
                  <a:pt x="436" y="629"/>
                </a:cubicBezTo>
                <a:cubicBezTo>
                  <a:pt x="433" y="630"/>
                  <a:pt x="433" y="630"/>
                  <a:pt x="433" y="630"/>
                </a:cubicBezTo>
                <a:cubicBezTo>
                  <a:pt x="431" y="630"/>
                  <a:pt x="431" y="630"/>
                  <a:pt x="431" y="630"/>
                </a:cubicBezTo>
                <a:cubicBezTo>
                  <a:pt x="428" y="628"/>
                  <a:pt x="428" y="628"/>
                  <a:pt x="428" y="628"/>
                </a:cubicBezTo>
                <a:cubicBezTo>
                  <a:pt x="425" y="629"/>
                  <a:pt x="425" y="629"/>
                  <a:pt x="425" y="629"/>
                </a:cubicBezTo>
                <a:cubicBezTo>
                  <a:pt x="423" y="627"/>
                  <a:pt x="423" y="627"/>
                  <a:pt x="423" y="627"/>
                </a:cubicBezTo>
                <a:cubicBezTo>
                  <a:pt x="421" y="628"/>
                  <a:pt x="421" y="628"/>
                  <a:pt x="421" y="628"/>
                </a:cubicBezTo>
                <a:cubicBezTo>
                  <a:pt x="420" y="628"/>
                  <a:pt x="420" y="628"/>
                  <a:pt x="420" y="628"/>
                </a:cubicBezTo>
                <a:cubicBezTo>
                  <a:pt x="418" y="629"/>
                  <a:pt x="418" y="629"/>
                  <a:pt x="418" y="629"/>
                </a:cubicBezTo>
                <a:cubicBezTo>
                  <a:pt x="417" y="631"/>
                  <a:pt x="417" y="631"/>
                  <a:pt x="417" y="631"/>
                </a:cubicBezTo>
                <a:cubicBezTo>
                  <a:pt x="414" y="631"/>
                  <a:pt x="414" y="631"/>
                  <a:pt x="414" y="631"/>
                </a:cubicBezTo>
                <a:cubicBezTo>
                  <a:pt x="413" y="632"/>
                  <a:pt x="413" y="632"/>
                  <a:pt x="413" y="632"/>
                </a:cubicBezTo>
                <a:cubicBezTo>
                  <a:pt x="414" y="633"/>
                  <a:pt x="414" y="633"/>
                  <a:pt x="414" y="633"/>
                </a:cubicBezTo>
                <a:cubicBezTo>
                  <a:pt x="414" y="635"/>
                  <a:pt x="414" y="635"/>
                  <a:pt x="414" y="635"/>
                </a:cubicBezTo>
                <a:cubicBezTo>
                  <a:pt x="412" y="635"/>
                  <a:pt x="412" y="635"/>
                  <a:pt x="412" y="635"/>
                </a:cubicBezTo>
                <a:cubicBezTo>
                  <a:pt x="410" y="635"/>
                  <a:pt x="410" y="635"/>
                  <a:pt x="410" y="635"/>
                </a:cubicBezTo>
                <a:cubicBezTo>
                  <a:pt x="409" y="637"/>
                  <a:pt x="409" y="637"/>
                  <a:pt x="409" y="637"/>
                </a:cubicBezTo>
                <a:cubicBezTo>
                  <a:pt x="406" y="637"/>
                  <a:pt x="406" y="637"/>
                  <a:pt x="406" y="637"/>
                </a:cubicBezTo>
                <a:cubicBezTo>
                  <a:pt x="405" y="638"/>
                  <a:pt x="405" y="638"/>
                  <a:pt x="405" y="638"/>
                </a:cubicBezTo>
                <a:cubicBezTo>
                  <a:pt x="404" y="638"/>
                  <a:pt x="404" y="638"/>
                  <a:pt x="404" y="638"/>
                </a:cubicBezTo>
                <a:cubicBezTo>
                  <a:pt x="400" y="641"/>
                  <a:pt x="400" y="641"/>
                  <a:pt x="400" y="641"/>
                </a:cubicBezTo>
                <a:cubicBezTo>
                  <a:pt x="397" y="642"/>
                  <a:pt x="397" y="642"/>
                  <a:pt x="397" y="642"/>
                </a:cubicBezTo>
                <a:cubicBezTo>
                  <a:pt x="395" y="643"/>
                  <a:pt x="395" y="643"/>
                  <a:pt x="395" y="643"/>
                </a:cubicBezTo>
                <a:cubicBezTo>
                  <a:pt x="394" y="643"/>
                  <a:pt x="394" y="643"/>
                  <a:pt x="394" y="643"/>
                </a:cubicBezTo>
                <a:cubicBezTo>
                  <a:pt x="393" y="642"/>
                  <a:pt x="393" y="642"/>
                  <a:pt x="393" y="642"/>
                </a:cubicBezTo>
                <a:cubicBezTo>
                  <a:pt x="391" y="643"/>
                  <a:pt x="391" y="643"/>
                  <a:pt x="391" y="643"/>
                </a:cubicBezTo>
                <a:cubicBezTo>
                  <a:pt x="391" y="644"/>
                  <a:pt x="391" y="644"/>
                  <a:pt x="391" y="644"/>
                </a:cubicBezTo>
                <a:cubicBezTo>
                  <a:pt x="389" y="644"/>
                  <a:pt x="389" y="644"/>
                  <a:pt x="389" y="644"/>
                </a:cubicBezTo>
                <a:cubicBezTo>
                  <a:pt x="387" y="645"/>
                  <a:pt x="387" y="645"/>
                  <a:pt x="387" y="645"/>
                </a:cubicBezTo>
                <a:cubicBezTo>
                  <a:pt x="387" y="648"/>
                  <a:pt x="387" y="648"/>
                  <a:pt x="387" y="648"/>
                </a:cubicBezTo>
                <a:cubicBezTo>
                  <a:pt x="387" y="648"/>
                  <a:pt x="387" y="648"/>
                  <a:pt x="387" y="648"/>
                </a:cubicBezTo>
                <a:cubicBezTo>
                  <a:pt x="385" y="648"/>
                  <a:pt x="385" y="648"/>
                  <a:pt x="385" y="648"/>
                </a:cubicBezTo>
                <a:cubicBezTo>
                  <a:pt x="384" y="648"/>
                  <a:pt x="384" y="648"/>
                  <a:pt x="384" y="648"/>
                </a:cubicBezTo>
                <a:cubicBezTo>
                  <a:pt x="382" y="649"/>
                  <a:pt x="382" y="649"/>
                  <a:pt x="382" y="649"/>
                </a:cubicBezTo>
                <a:cubicBezTo>
                  <a:pt x="379" y="649"/>
                  <a:pt x="379" y="649"/>
                  <a:pt x="379" y="649"/>
                </a:cubicBezTo>
                <a:cubicBezTo>
                  <a:pt x="376" y="651"/>
                  <a:pt x="376" y="651"/>
                  <a:pt x="376" y="651"/>
                </a:cubicBezTo>
                <a:cubicBezTo>
                  <a:pt x="376" y="652"/>
                  <a:pt x="376" y="652"/>
                  <a:pt x="376" y="652"/>
                </a:cubicBezTo>
                <a:cubicBezTo>
                  <a:pt x="373" y="652"/>
                  <a:pt x="373" y="652"/>
                  <a:pt x="373" y="652"/>
                </a:cubicBezTo>
                <a:cubicBezTo>
                  <a:pt x="370" y="653"/>
                  <a:pt x="370" y="653"/>
                  <a:pt x="370" y="653"/>
                </a:cubicBezTo>
                <a:cubicBezTo>
                  <a:pt x="368" y="654"/>
                  <a:pt x="368" y="654"/>
                  <a:pt x="368" y="654"/>
                </a:cubicBezTo>
                <a:cubicBezTo>
                  <a:pt x="364" y="655"/>
                  <a:pt x="364" y="655"/>
                  <a:pt x="364" y="655"/>
                </a:cubicBezTo>
                <a:cubicBezTo>
                  <a:pt x="364" y="656"/>
                  <a:pt x="364" y="656"/>
                  <a:pt x="364" y="656"/>
                </a:cubicBezTo>
                <a:cubicBezTo>
                  <a:pt x="363" y="658"/>
                  <a:pt x="363" y="658"/>
                  <a:pt x="363" y="658"/>
                </a:cubicBezTo>
                <a:cubicBezTo>
                  <a:pt x="362" y="656"/>
                  <a:pt x="362" y="656"/>
                  <a:pt x="362" y="656"/>
                </a:cubicBezTo>
                <a:cubicBezTo>
                  <a:pt x="360" y="656"/>
                  <a:pt x="360" y="656"/>
                  <a:pt x="360" y="656"/>
                </a:cubicBezTo>
                <a:cubicBezTo>
                  <a:pt x="358" y="657"/>
                  <a:pt x="358" y="657"/>
                  <a:pt x="358" y="657"/>
                </a:cubicBezTo>
                <a:cubicBezTo>
                  <a:pt x="358" y="658"/>
                  <a:pt x="358" y="658"/>
                  <a:pt x="358" y="658"/>
                </a:cubicBezTo>
                <a:cubicBezTo>
                  <a:pt x="357" y="659"/>
                  <a:pt x="357" y="659"/>
                  <a:pt x="357" y="659"/>
                </a:cubicBezTo>
                <a:cubicBezTo>
                  <a:pt x="355" y="658"/>
                  <a:pt x="355" y="658"/>
                  <a:pt x="355" y="658"/>
                </a:cubicBezTo>
                <a:cubicBezTo>
                  <a:pt x="353" y="658"/>
                  <a:pt x="353" y="658"/>
                  <a:pt x="353" y="658"/>
                </a:cubicBezTo>
                <a:cubicBezTo>
                  <a:pt x="352" y="657"/>
                  <a:pt x="352" y="657"/>
                  <a:pt x="352" y="657"/>
                </a:cubicBezTo>
                <a:cubicBezTo>
                  <a:pt x="351" y="657"/>
                  <a:pt x="351" y="657"/>
                  <a:pt x="351" y="657"/>
                </a:cubicBezTo>
                <a:cubicBezTo>
                  <a:pt x="349" y="658"/>
                  <a:pt x="349" y="658"/>
                  <a:pt x="349" y="658"/>
                </a:cubicBezTo>
                <a:cubicBezTo>
                  <a:pt x="347" y="658"/>
                  <a:pt x="347" y="658"/>
                  <a:pt x="347" y="658"/>
                </a:cubicBezTo>
                <a:cubicBezTo>
                  <a:pt x="346" y="659"/>
                  <a:pt x="346" y="659"/>
                  <a:pt x="346" y="659"/>
                </a:cubicBezTo>
                <a:cubicBezTo>
                  <a:pt x="348" y="662"/>
                  <a:pt x="348" y="662"/>
                  <a:pt x="348" y="662"/>
                </a:cubicBezTo>
                <a:cubicBezTo>
                  <a:pt x="347" y="663"/>
                  <a:pt x="347" y="663"/>
                  <a:pt x="347" y="663"/>
                </a:cubicBezTo>
                <a:cubicBezTo>
                  <a:pt x="348" y="663"/>
                  <a:pt x="348" y="663"/>
                  <a:pt x="348" y="663"/>
                </a:cubicBezTo>
                <a:cubicBezTo>
                  <a:pt x="351" y="663"/>
                  <a:pt x="351" y="663"/>
                  <a:pt x="351" y="663"/>
                </a:cubicBezTo>
                <a:cubicBezTo>
                  <a:pt x="352" y="665"/>
                  <a:pt x="352" y="665"/>
                  <a:pt x="352" y="665"/>
                </a:cubicBezTo>
                <a:cubicBezTo>
                  <a:pt x="349" y="665"/>
                  <a:pt x="349" y="665"/>
                  <a:pt x="349" y="665"/>
                </a:cubicBezTo>
                <a:cubicBezTo>
                  <a:pt x="348" y="666"/>
                  <a:pt x="348" y="666"/>
                  <a:pt x="348" y="666"/>
                </a:cubicBezTo>
                <a:cubicBezTo>
                  <a:pt x="348" y="667"/>
                  <a:pt x="348" y="667"/>
                  <a:pt x="348" y="667"/>
                </a:cubicBezTo>
                <a:cubicBezTo>
                  <a:pt x="351" y="667"/>
                  <a:pt x="351" y="667"/>
                  <a:pt x="351" y="667"/>
                </a:cubicBezTo>
                <a:cubicBezTo>
                  <a:pt x="353" y="668"/>
                  <a:pt x="353" y="668"/>
                  <a:pt x="353" y="668"/>
                </a:cubicBezTo>
                <a:cubicBezTo>
                  <a:pt x="355" y="667"/>
                  <a:pt x="355" y="667"/>
                  <a:pt x="355" y="667"/>
                </a:cubicBezTo>
                <a:cubicBezTo>
                  <a:pt x="356" y="667"/>
                  <a:pt x="356" y="667"/>
                  <a:pt x="356" y="667"/>
                </a:cubicBezTo>
                <a:cubicBezTo>
                  <a:pt x="358" y="669"/>
                  <a:pt x="358" y="669"/>
                  <a:pt x="358" y="669"/>
                </a:cubicBezTo>
                <a:cubicBezTo>
                  <a:pt x="360" y="670"/>
                  <a:pt x="360" y="670"/>
                  <a:pt x="360" y="670"/>
                </a:cubicBezTo>
                <a:cubicBezTo>
                  <a:pt x="360" y="672"/>
                  <a:pt x="360" y="672"/>
                  <a:pt x="360" y="672"/>
                </a:cubicBezTo>
                <a:cubicBezTo>
                  <a:pt x="359" y="673"/>
                  <a:pt x="359" y="673"/>
                  <a:pt x="359" y="673"/>
                </a:cubicBezTo>
                <a:cubicBezTo>
                  <a:pt x="357" y="672"/>
                  <a:pt x="357" y="672"/>
                  <a:pt x="357" y="672"/>
                </a:cubicBezTo>
                <a:cubicBezTo>
                  <a:pt x="353" y="672"/>
                  <a:pt x="353" y="672"/>
                  <a:pt x="353" y="672"/>
                </a:cubicBezTo>
                <a:cubicBezTo>
                  <a:pt x="350" y="675"/>
                  <a:pt x="350" y="675"/>
                  <a:pt x="350" y="675"/>
                </a:cubicBezTo>
                <a:cubicBezTo>
                  <a:pt x="348" y="678"/>
                  <a:pt x="348" y="678"/>
                  <a:pt x="348" y="678"/>
                </a:cubicBezTo>
                <a:cubicBezTo>
                  <a:pt x="348" y="680"/>
                  <a:pt x="348" y="680"/>
                  <a:pt x="348" y="680"/>
                </a:cubicBezTo>
                <a:cubicBezTo>
                  <a:pt x="349" y="681"/>
                  <a:pt x="349" y="681"/>
                  <a:pt x="349" y="681"/>
                </a:cubicBezTo>
                <a:cubicBezTo>
                  <a:pt x="350" y="683"/>
                  <a:pt x="350" y="683"/>
                  <a:pt x="350" y="683"/>
                </a:cubicBezTo>
                <a:cubicBezTo>
                  <a:pt x="348" y="685"/>
                  <a:pt x="348" y="685"/>
                  <a:pt x="348" y="685"/>
                </a:cubicBezTo>
                <a:cubicBezTo>
                  <a:pt x="348" y="687"/>
                  <a:pt x="348" y="687"/>
                  <a:pt x="348" y="687"/>
                </a:cubicBezTo>
                <a:cubicBezTo>
                  <a:pt x="346" y="687"/>
                  <a:pt x="346" y="687"/>
                  <a:pt x="346" y="687"/>
                </a:cubicBezTo>
                <a:cubicBezTo>
                  <a:pt x="346" y="689"/>
                  <a:pt x="346" y="689"/>
                  <a:pt x="346" y="689"/>
                </a:cubicBezTo>
                <a:cubicBezTo>
                  <a:pt x="347" y="690"/>
                  <a:pt x="347" y="690"/>
                  <a:pt x="347" y="690"/>
                </a:cubicBezTo>
                <a:cubicBezTo>
                  <a:pt x="347" y="691"/>
                  <a:pt x="347" y="691"/>
                  <a:pt x="347" y="691"/>
                </a:cubicBezTo>
                <a:cubicBezTo>
                  <a:pt x="349" y="691"/>
                  <a:pt x="349" y="691"/>
                  <a:pt x="349" y="691"/>
                </a:cubicBezTo>
                <a:cubicBezTo>
                  <a:pt x="351" y="693"/>
                  <a:pt x="351" y="693"/>
                  <a:pt x="351" y="693"/>
                </a:cubicBezTo>
                <a:cubicBezTo>
                  <a:pt x="353" y="693"/>
                  <a:pt x="353" y="693"/>
                  <a:pt x="353" y="693"/>
                </a:cubicBezTo>
                <a:cubicBezTo>
                  <a:pt x="353" y="694"/>
                  <a:pt x="353" y="694"/>
                  <a:pt x="353" y="694"/>
                </a:cubicBezTo>
                <a:cubicBezTo>
                  <a:pt x="355" y="696"/>
                  <a:pt x="355" y="696"/>
                  <a:pt x="355" y="696"/>
                </a:cubicBezTo>
                <a:cubicBezTo>
                  <a:pt x="359" y="696"/>
                  <a:pt x="359" y="696"/>
                  <a:pt x="359" y="696"/>
                </a:cubicBezTo>
                <a:cubicBezTo>
                  <a:pt x="360" y="697"/>
                  <a:pt x="360" y="697"/>
                  <a:pt x="360" y="697"/>
                </a:cubicBezTo>
                <a:cubicBezTo>
                  <a:pt x="360" y="705"/>
                  <a:pt x="360" y="705"/>
                  <a:pt x="360" y="705"/>
                </a:cubicBezTo>
                <a:cubicBezTo>
                  <a:pt x="359" y="707"/>
                  <a:pt x="359" y="707"/>
                  <a:pt x="359" y="707"/>
                </a:cubicBezTo>
                <a:cubicBezTo>
                  <a:pt x="355" y="708"/>
                  <a:pt x="355" y="708"/>
                  <a:pt x="355" y="708"/>
                </a:cubicBezTo>
                <a:cubicBezTo>
                  <a:pt x="352" y="708"/>
                  <a:pt x="352" y="708"/>
                  <a:pt x="352" y="708"/>
                </a:cubicBezTo>
                <a:cubicBezTo>
                  <a:pt x="349" y="706"/>
                  <a:pt x="349" y="706"/>
                  <a:pt x="349" y="706"/>
                </a:cubicBezTo>
                <a:cubicBezTo>
                  <a:pt x="348" y="707"/>
                  <a:pt x="348" y="707"/>
                  <a:pt x="348" y="707"/>
                </a:cubicBezTo>
                <a:cubicBezTo>
                  <a:pt x="348" y="709"/>
                  <a:pt x="348" y="709"/>
                  <a:pt x="348" y="709"/>
                </a:cubicBezTo>
                <a:cubicBezTo>
                  <a:pt x="347" y="711"/>
                  <a:pt x="347" y="711"/>
                  <a:pt x="347" y="711"/>
                </a:cubicBezTo>
                <a:cubicBezTo>
                  <a:pt x="345" y="712"/>
                  <a:pt x="345" y="712"/>
                  <a:pt x="345" y="712"/>
                </a:cubicBezTo>
                <a:cubicBezTo>
                  <a:pt x="341" y="710"/>
                  <a:pt x="341" y="710"/>
                  <a:pt x="341" y="710"/>
                </a:cubicBezTo>
                <a:cubicBezTo>
                  <a:pt x="338" y="710"/>
                  <a:pt x="338" y="710"/>
                  <a:pt x="338" y="710"/>
                </a:cubicBezTo>
                <a:cubicBezTo>
                  <a:pt x="336" y="709"/>
                  <a:pt x="336" y="709"/>
                  <a:pt x="336" y="709"/>
                </a:cubicBezTo>
                <a:cubicBezTo>
                  <a:pt x="335" y="709"/>
                  <a:pt x="335" y="709"/>
                  <a:pt x="335" y="709"/>
                </a:cubicBezTo>
                <a:cubicBezTo>
                  <a:pt x="333" y="709"/>
                  <a:pt x="333" y="709"/>
                  <a:pt x="333" y="709"/>
                </a:cubicBezTo>
                <a:cubicBezTo>
                  <a:pt x="331" y="706"/>
                  <a:pt x="331" y="706"/>
                  <a:pt x="331" y="706"/>
                </a:cubicBezTo>
                <a:cubicBezTo>
                  <a:pt x="333" y="706"/>
                  <a:pt x="333" y="706"/>
                  <a:pt x="333" y="706"/>
                </a:cubicBezTo>
                <a:cubicBezTo>
                  <a:pt x="333" y="704"/>
                  <a:pt x="333" y="704"/>
                  <a:pt x="333" y="704"/>
                </a:cubicBezTo>
                <a:cubicBezTo>
                  <a:pt x="332" y="703"/>
                  <a:pt x="332" y="703"/>
                  <a:pt x="332" y="703"/>
                </a:cubicBezTo>
                <a:cubicBezTo>
                  <a:pt x="329" y="702"/>
                  <a:pt x="329" y="702"/>
                  <a:pt x="329" y="702"/>
                </a:cubicBezTo>
                <a:cubicBezTo>
                  <a:pt x="328" y="703"/>
                  <a:pt x="328" y="703"/>
                  <a:pt x="328" y="703"/>
                </a:cubicBezTo>
                <a:cubicBezTo>
                  <a:pt x="326" y="703"/>
                  <a:pt x="326" y="703"/>
                  <a:pt x="326" y="703"/>
                </a:cubicBezTo>
                <a:cubicBezTo>
                  <a:pt x="324" y="704"/>
                  <a:pt x="324" y="704"/>
                  <a:pt x="324" y="704"/>
                </a:cubicBezTo>
                <a:cubicBezTo>
                  <a:pt x="325" y="706"/>
                  <a:pt x="325" y="706"/>
                  <a:pt x="325" y="706"/>
                </a:cubicBezTo>
                <a:cubicBezTo>
                  <a:pt x="322" y="707"/>
                  <a:pt x="322" y="707"/>
                  <a:pt x="322" y="707"/>
                </a:cubicBezTo>
                <a:cubicBezTo>
                  <a:pt x="321" y="705"/>
                  <a:pt x="321" y="705"/>
                  <a:pt x="321" y="705"/>
                </a:cubicBezTo>
                <a:cubicBezTo>
                  <a:pt x="318" y="703"/>
                  <a:pt x="318" y="703"/>
                  <a:pt x="318" y="703"/>
                </a:cubicBezTo>
                <a:cubicBezTo>
                  <a:pt x="315" y="703"/>
                  <a:pt x="315" y="703"/>
                  <a:pt x="315" y="703"/>
                </a:cubicBezTo>
                <a:cubicBezTo>
                  <a:pt x="314" y="705"/>
                  <a:pt x="314" y="705"/>
                  <a:pt x="314" y="705"/>
                </a:cubicBezTo>
                <a:cubicBezTo>
                  <a:pt x="313" y="703"/>
                  <a:pt x="313" y="703"/>
                  <a:pt x="313" y="703"/>
                </a:cubicBezTo>
                <a:cubicBezTo>
                  <a:pt x="312" y="704"/>
                  <a:pt x="312" y="704"/>
                  <a:pt x="312" y="704"/>
                </a:cubicBezTo>
                <a:cubicBezTo>
                  <a:pt x="311" y="706"/>
                  <a:pt x="311" y="706"/>
                  <a:pt x="311" y="706"/>
                </a:cubicBezTo>
                <a:cubicBezTo>
                  <a:pt x="309" y="706"/>
                  <a:pt x="309" y="706"/>
                  <a:pt x="309" y="706"/>
                </a:cubicBezTo>
                <a:cubicBezTo>
                  <a:pt x="309" y="710"/>
                  <a:pt x="309" y="710"/>
                  <a:pt x="309" y="710"/>
                </a:cubicBezTo>
                <a:cubicBezTo>
                  <a:pt x="306" y="712"/>
                  <a:pt x="306" y="712"/>
                  <a:pt x="306" y="712"/>
                </a:cubicBezTo>
                <a:cubicBezTo>
                  <a:pt x="305" y="711"/>
                  <a:pt x="305" y="711"/>
                  <a:pt x="305" y="711"/>
                </a:cubicBezTo>
                <a:cubicBezTo>
                  <a:pt x="303" y="709"/>
                  <a:pt x="303" y="709"/>
                  <a:pt x="303" y="709"/>
                </a:cubicBezTo>
                <a:cubicBezTo>
                  <a:pt x="299" y="709"/>
                  <a:pt x="299" y="709"/>
                  <a:pt x="299" y="709"/>
                </a:cubicBezTo>
                <a:cubicBezTo>
                  <a:pt x="298" y="707"/>
                  <a:pt x="298" y="707"/>
                  <a:pt x="298" y="707"/>
                </a:cubicBezTo>
                <a:cubicBezTo>
                  <a:pt x="296" y="708"/>
                  <a:pt x="296" y="708"/>
                  <a:pt x="296" y="708"/>
                </a:cubicBezTo>
                <a:cubicBezTo>
                  <a:pt x="296" y="710"/>
                  <a:pt x="296" y="710"/>
                  <a:pt x="296" y="710"/>
                </a:cubicBezTo>
                <a:cubicBezTo>
                  <a:pt x="295" y="712"/>
                  <a:pt x="295" y="712"/>
                  <a:pt x="295" y="712"/>
                </a:cubicBezTo>
                <a:cubicBezTo>
                  <a:pt x="293" y="712"/>
                  <a:pt x="293" y="712"/>
                  <a:pt x="293" y="712"/>
                </a:cubicBezTo>
                <a:cubicBezTo>
                  <a:pt x="293" y="710"/>
                  <a:pt x="293" y="710"/>
                  <a:pt x="293" y="710"/>
                </a:cubicBezTo>
                <a:cubicBezTo>
                  <a:pt x="292" y="708"/>
                  <a:pt x="292" y="708"/>
                  <a:pt x="292" y="708"/>
                </a:cubicBezTo>
                <a:cubicBezTo>
                  <a:pt x="291" y="708"/>
                  <a:pt x="291" y="708"/>
                  <a:pt x="291" y="708"/>
                </a:cubicBezTo>
                <a:cubicBezTo>
                  <a:pt x="288" y="706"/>
                  <a:pt x="288" y="706"/>
                  <a:pt x="288" y="706"/>
                </a:cubicBezTo>
                <a:cubicBezTo>
                  <a:pt x="286" y="704"/>
                  <a:pt x="286" y="704"/>
                  <a:pt x="286" y="704"/>
                </a:cubicBezTo>
                <a:cubicBezTo>
                  <a:pt x="284" y="704"/>
                  <a:pt x="284" y="704"/>
                  <a:pt x="284" y="704"/>
                </a:cubicBezTo>
                <a:cubicBezTo>
                  <a:pt x="282" y="701"/>
                  <a:pt x="282" y="701"/>
                  <a:pt x="282" y="701"/>
                </a:cubicBezTo>
                <a:cubicBezTo>
                  <a:pt x="280" y="701"/>
                  <a:pt x="280" y="701"/>
                  <a:pt x="280" y="701"/>
                </a:cubicBezTo>
                <a:cubicBezTo>
                  <a:pt x="279" y="699"/>
                  <a:pt x="279" y="699"/>
                  <a:pt x="279" y="699"/>
                </a:cubicBezTo>
                <a:cubicBezTo>
                  <a:pt x="278" y="699"/>
                  <a:pt x="278" y="699"/>
                  <a:pt x="278" y="699"/>
                </a:cubicBezTo>
                <a:cubicBezTo>
                  <a:pt x="274" y="700"/>
                  <a:pt x="274" y="700"/>
                  <a:pt x="274" y="700"/>
                </a:cubicBezTo>
                <a:cubicBezTo>
                  <a:pt x="271" y="699"/>
                  <a:pt x="271" y="699"/>
                  <a:pt x="271" y="699"/>
                </a:cubicBezTo>
                <a:cubicBezTo>
                  <a:pt x="270" y="696"/>
                  <a:pt x="270" y="696"/>
                  <a:pt x="270" y="696"/>
                </a:cubicBezTo>
                <a:cubicBezTo>
                  <a:pt x="268" y="696"/>
                  <a:pt x="268" y="696"/>
                  <a:pt x="268" y="696"/>
                </a:cubicBezTo>
                <a:cubicBezTo>
                  <a:pt x="266" y="697"/>
                  <a:pt x="266" y="697"/>
                  <a:pt x="266" y="697"/>
                </a:cubicBezTo>
                <a:cubicBezTo>
                  <a:pt x="264" y="698"/>
                  <a:pt x="264" y="698"/>
                  <a:pt x="264" y="698"/>
                </a:cubicBezTo>
                <a:cubicBezTo>
                  <a:pt x="264" y="699"/>
                  <a:pt x="264" y="699"/>
                  <a:pt x="264" y="699"/>
                </a:cubicBezTo>
                <a:cubicBezTo>
                  <a:pt x="262" y="700"/>
                  <a:pt x="262" y="700"/>
                  <a:pt x="262" y="700"/>
                </a:cubicBezTo>
                <a:cubicBezTo>
                  <a:pt x="262" y="699"/>
                  <a:pt x="262" y="699"/>
                  <a:pt x="262" y="699"/>
                </a:cubicBezTo>
                <a:cubicBezTo>
                  <a:pt x="261" y="700"/>
                  <a:pt x="261" y="700"/>
                  <a:pt x="261" y="700"/>
                </a:cubicBezTo>
                <a:cubicBezTo>
                  <a:pt x="260" y="701"/>
                  <a:pt x="260" y="701"/>
                  <a:pt x="260" y="701"/>
                </a:cubicBezTo>
                <a:cubicBezTo>
                  <a:pt x="258" y="702"/>
                  <a:pt x="258" y="702"/>
                  <a:pt x="258" y="702"/>
                </a:cubicBezTo>
                <a:cubicBezTo>
                  <a:pt x="257" y="701"/>
                  <a:pt x="257" y="701"/>
                  <a:pt x="257" y="701"/>
                </a:cubicBezTo>
                <a:cubicBezTo>
                  <a:pt x="259" y="699"/>
                  <a:pt x="259" y="699"/>
                  <a:pt x="259" y="699"/>
                </a:cubicBezTo>
                <a:cubicBezTo>
                  <a:pt x="259" y="698"/>
                  <a:pt x="259" y="698"/>
                  <a:pt x="259" y="698"/>
                </a:cubicBezTo>
                <a:cubicBezTo>
                  <a:pt x="256" y="697"/>
                  <a:pt x="256" y="697"/>
                  <a:pt x="256" y="697"/>
                </a:cubicBezTo>
                <a:cubicBezTo>
                  <a:pt x="253" y="695"/>
                  <a:pt x="253" y="695"/>
                  <a:pt x="253" y="695"/>
                </a:cubicBezTo>
                <a:cubicBezTo>
                  <a:pt x="253" y="697"/>
                  <a:pt x="253" y="697"/>
                  <a:pt x="253" y="697"/>
                </a:cubicBezTo>
                <a:cubicBezTo>
                  <a:pt x="253" y="698"/>
                  <a:pt x="253" y="698"/>
                  <a:pt x="253" y="698"/>
                </a:cubicBezTo>
                <a:cubicBezTo>
                  <a:pt x="253" y="700"/>
                  <a:pt x="253" y="700"/>
                  <a:pt x="253" y="700"/>
                </a:cubicBezTo>
                <a:cubicBezTo>
                  <a:pt x="251" y="700"/>
                  <a:pt x="251" y="700"/>
                  <a:pt x="251" y="700"/>
                </a:cubicBezTo>
                <a:cubicBezTo>
                  <a:pt x="249" y="701"/>
                  <a:pt x="249" y="701"/>
                  <a:pt x="249" y="701"/>
                </a:cubicBezTo>
                <a:cubicBezTo>
                  <a:pt x="248" y="704"/>
                  <a:pt x="248" y="704"/>
                  <a:pt x="248" y="704"/>
                </a:cubicBezTo>
                <a:cubicBezTo>
                  <a:pt x="247" y="704"/>
                  <a:pt x="247" y="704"/>
                  <a:pt x="247" y="704"/>
                </a:cubicBezTo>
                <a:cubicBezTo>
                  <a:pt x="244" y="706"/>
                  <a:pt x="244" y="706"/>
                  <a:pt x="244" y="706"/>
                </a:cubicBezTo>
                <a:cubicBezTo>
                  <a:pt x="243" y="708"/>
                  <a:pt x="243" y="708"/>
                  <a:pt x="243" y="708"/>
                </a:cubicBezTo>
                <a:cubicBezTo>
                  <a:pt x="244" y="710"/>
                  <a:pt x="244" y="710"/>
                  <a:pt x="244" y="710"/>
                </a:cubicBezTo>
                <a:cubicBezTo>
                  <a:pt x="244" y="713"/>
                  <a:pt x="244" y="713"/>
                  <a:pt x="244" y="713"/>
                </a:cubicBezTo>
                <a:cubicBezTo>
                  <a:pt x="241" y="713"/>
                  <a:pt x="241" y="713"/>
                  <a:pt x="241" y="713"/>
                </a:cubicBezTo>
                <a:cubicBezTo>
                  <a:pt x="238" y="713"/>
                  <a:pt x="238" y="713"/>
                  <a:pt x="238" y="713"/>
                </a:cubicBezTo>
                <a:cubicBezTo>
                  <a:pt x="240" y="722"/>
                  <a:pt x="240" y="722"/>
                  <a:pt x="240" y="722"/>
                </a:cubicBezTo>
                <a:cubicBezTo>
                  <a:pt x="239" y="723"/>
                  <a:pt x="239" y="723"/>
                  <a:pt x="239" y="723"/>
                </a:cubicBezTo>
                <a:cubicBezTo>
                  <a:pt x="239" y="726"/>
                  <a:pt x="239" y="726"/>
                  <a:pt x="239" y="726"/>
                </a:cubicBezTo>
                <a:cubicBezTo>
                  <a:pt x="236" y="726"/>
                  <a:pt x="236" y="726"/>
                  <a:pt x="236" y="726"/>
                </a:cubicBezTo>
                <a:cubicBezTo>
                  <a:pt x="233" y="724"/>
                  <a:pt x="233" y="724"/>
                  <a:pt x="233" y="724"/>
                </a:cubicBezTo>
                <a:cubicBezTo>
                  <a:pt x="232" y="722"/>
                  <a:pt x="232" y="722"/>
                  <a:pt x="232" y="722"/>
                </a:cubicBezTo>
                <a:cubicBezTo>
                  <a:pt x="226" y="717"/>
                  <a:pt x="226" y="717"/>
                  <a:pt x="226" y="717"/>
                </a:cubicBezTo>
                <a:cubicBezTo>
                  <a:pt x="225" y="719"/>
                  <a:pt x="225" y="719"/>
                  <a:pt x="225" y="719"/>
                </a:cubicBezTo>
                <a:cubicBezTo>
                  <a:pt x="225" y="722"/>
                  <a:pt x="225" y="722"/>
                  <a:pt x="225" y="722"/>
                </a:cubicBezTo>
                <a:cubicBezTo>
                  <a:pt x="222" y="725"/>
                  <a:pt x="222" y="725"/>
                  <a:pt x="222" y="725"/>
                </a:cubicBezTo>
                <a:cubicBezTo>
                  <a:pt x="220" y="726"/>
                  <a:pt x="220" y="726"/>
                  <a:pt x="220" y="726"/>
                </a:cubicBezTo>
                <a:cubicBezTo>
                  <a:pt x="220" y="732"/>
                  <a:pt x="220" y="732"/>
                  <a:pt x="220" y="732"/>
                </a:cubicBezTo>
                <a:cubicBezTo>
                  <a:pt x="222" y="733"/>
                  <a:pt x="222" y="733"/>
                  <a:pt x="222" y="733"/>
                </a:cubicBezTo>
                <a:cubicBezTo>
                  <a:pt x="221" y="740"/>
                  <a:pt x="221" y="740"/>
                  <a:pt x="221" y="740"/>
                </a:cubicBezTo>
                <a:cubicBezTo>
                  <a:pt x="219" y="744"/>
                  <a:pt x="219" y="744"/>
                  <a:pt x="219" y="744"/>
                </a:cubicBezTo>
                <a:cubicBezTo>
                  <a:pt x="224" y="745"/>
                  <a:pt x="224" y="745"/>
                  <a:pt x="224" y="745"/>
                </a:cubicBezTo>
                <a:cubicBezTo>
                  <a:pt x="226" y="748"/>
                  <a:pt x="226" y="748"/>
                  <a:pt x="226" y="748"/>
                </a:cubicBezTo>
                <a:cubicBezTo>
                  <a:pt x="225" y="750"/>
                  <a:pt x="225" y="750"/>
                  <a:pt x="225" y="750"/>
                </a:cubicBezTo>
                <a:cubicBezTo>
                  <a:pt x="228" y="753"/>
                  <a:pt x="228" y="753"/>
                  <a:pt x="228" y="753"/>
                </a:cubicBezTo>
                <a:cubicBezTo>
                  <a:pt x="229" y="751"/>
                  <a:pt x="229" y="751"/>
                  <a:pt x="229" y="751"/>
                </a:cubicBezTo>
                <a:cubicBezTo>
                  <a:pt x="236" y="753"/>
                  <a:pt x="236" y="753"/>
                  <a:pt x="236" y="753"/>
                </a:cubicBezTo>
                <a:cubicBezTo>
                  <a:pt x="241" y="758"/>
                  <a:pt x="241" y="758"/>
                  <a:pt x="241" y="758"/>
                </a:cubicBezTo>
                <a:cubicBezTo>
                  <a:pt x="245" y="765"/>
                  <a:pt x="245" y="765"/>
                  <a:pt x="245" y="765"/>
                </a:cubicBezTo>
                <a:cubicBezTo>
                  <a:pt x="241" y="765"/>
                  <a:pt x="241" y="765"/>
                  <a:pt x="241" y="765"/>
                </a:cubicBezTo>
                <a:cubicBezTo>
                  <a:pt x="241" y="767"/>
                  <a:pt x="241" y="767"/>
                  <a:pt x="241" y="767"/>
                </a:cubicBezTo>
                <a:cubicBezTo>
                  <a:pt x="245" y="769"/>
                  <a:pt x="245" y="769"/>
                  <a:pt x="245" y="769"/>
                </a:cubicBezTo>
                <a:cubicBezTo>
                  <a:pt x="248" y="768"/>
                  <a:pt x="248" y="768"/>
                  <a:pt x="248" y="768"/>
                </a:cubicBezTo>
                <a:cubicBezTo>
                  <a:pt x="250" y="770"/>
                  <a:pt x="250" y="770"/>
                  <a:pt x="250" y="770"/>
                </a:cubicBezTo>
                <a:cubicBezTo>
                  <a:pt x="250" y="770"/>
                  <a:pt x="250" y="770"/>
                  <a:pt x="250" y="770"/>
                </a:cubicBezTo>
                <a:cubicBezTo>
                  <a:pt x="250" y="770"/>
                  <a:pt x="250" y="770"/>
                  <a:pt x="250" y="770"/>
                </a:cubicBezTo>
                <a:cubicBezTo>
                  <a:pt x="250" y="771"/>
                  <a:pt x="250" y="771"/>
                  <a:pt x="250" y="771"/>
                </a:cubicBezTo>
                <a:cubicBezTo>
                  <a:pt x="250" y="772"/>
                  <a:pt x="250" y="772"/>
                  <a:pt x="250" y="772"/>
                </a:cubicBezTo>
                <a:cubicBezTo>
                  <a:pt x="248" y="772"/>
                  <a:pt x="248" y="772"/>
                  <a:pt x="248" y="772"/>
                </a:cubicBezTo>
                <a:cubicBezTo>
                  <a:pt x="249" y="773"/>
                  <a:pt x="249" y="773"/>
                  <a:pt x="249" y="773"/>
                </a:cubicBezTo>
                <a:cubicBezTo>
                  <a:pt x="249" y="774"/>
                  <a:pt x="249" y="774"/>
                  <a:pt x="249" y="774"/>
                </a:cubicBezTo>
                <a:cubicBezTo>
                  <a:pt x="248" y="774"/>
                  <a:pt x="248" y="774"/>
                  <a:pt x="248" y="774"/>
                </a:cubicBezTo>
                <a:cubicBezTo>
                  <a:pt x="249" y="775"/>
                  <a:pt x="249" y="775"/>
                  <a:pt x="249" y="775"/>
                </a:cubicBezTo>
                <a:cubicBezTo>
                  <a:pt x="249" y="776"/>
                  <a:pt x="249" y="776"/>
                  <a:pt x="249" y="776"/>
                </a:cubicBezTo>
                <a:cubicBezTo>
                  <a:pt x="248" y="776"/>
                  <a:pt x="248" y="776"/>
                  <a:pt x="248" y="776"/>
                </a:cubicBezTo>
                <a:cubicBezTo>
                  <a:pt x="247" y="776"/>
                  <a:pt x="247" y="776"/>
                  <a:pt x="247" y="776"/>
                </a:cubicBezTo>
                <a:cubicBezTo>
                  <a:pt x="245" y="776"/>
                  <a:pt x="245" y="776"/>
                  <a:pt x="245" y="776"/>
                </a:cubicBezTo>
                <a:cubicBezTo>
                  <a:pt x="243" y="776"/>
                  <a:pt x="243" y="776"/>
                  <a:pt x="243" y="776"/>
                </a:cubicBezTo>
                <a:cubicBezTo>
                  <a:pt x="246" y="778"/>
                  <a:pt x="246" y="778"/>
                  <a:pt x="246" y="778"/>
                </a:cubicBezTo>
                <a:cubicBezTo>
                  <a:pt x="247" y="779"/>
                  <a:pt x="247" y="779"/>
                  <a:pt x="247" y="779"/>
                </a:cubicBezTo>
                <a:cubicBezTo>
                  <a:pt x="246" y="780"/>
                  <a:pt x="246" y="780"/>
                  <a:pt x="246" y="780"/>
                </a:cubicBezTo>
                <a:cubicBezTo>
                  <a:pt x="245" y="779"/>
                  <a:pt x="245" y="779"/>
                  <a:pt x="245" y="779"/>
                </a:cubicBezTo>
                <a:cubicBezTo>
                  <a:pt x="245" y="779"/>
                  <a:pt x="244" y="779"/>
                  <a:pt x="243" y="779"/>
                </a:cubicBezTo>
                <a:cubicBezTo>
                  <a:pt x="243" y="779"/>
                  <a:pt x="243" y="779"/>
                  <a:pt x="243" y="779"/>
                </a:cubicBezTo>
                <a:cubicBezTo>
                  <a:pt x="242" y="779"/>
                  <a:pt x="242" y="779"/>
                  <a:pt x="242" y="779"/>
                </a:cubicBezTo>
                <a:cubicBezTo>
                  <a:pt x="243" y="779"/>
                  <a:pt x="243" y="779"/>
                  <a:pt x="243" y="779"/>
                </a:cubicBezTo>
                <a:cubicBezTo>
                  <a:pt x="243" y="780"/>
                  <a:pt x="243" y="780"/>
                  <a:pt x="243" y="780"/>
                </a:cubicBezTo>
                <a:cubicBezTo>
                  <a:pt x="242" y="781"/>
                  <a:pt x="242" y="781"/>
                  <a:pt x="242" y="781"/>
                </a:cubicBezTo>
                <a:cubicBezTo>
                  <a:pt x="240" y="781"/>
                  <a:pt x="240" y="781"/>
                  <a:pt x="240" y="781"/>
                </a:cubicBezTo>
                <a:cubicBezTo>
                  <a:pt x="239" y="782"/>
                  <a:pt x="239" y="782"/>
                  <a:pt x="239" y="782"/>
                </a:cubicBezTo>
                <a:cubicBezTo>
                  <a:pt x="239" y="781"/>
                  <a:pt x="239" y="781"/>
                  <a:pt x="239" y="781"/>
                </a:cubicBezTo>
                <a:cubicBezTo>
                  <a:pt x="238" y="782"/>
                  <a:pt x="238" y="782"/>
                  <a:pt x="238" y="782"/>
                </a:cubicBezTo>
                <a:cubicBezTo>
                  <a:pt x="237" y="783"/>
                  <a:pt x="237" y="783"/>
                  <a:pt x="237" y="783"/>
                </a:cubicBezTo>
                <a:cubicBezTo>
                  <a:pt x="236" y="782"/>
                  <a:pt x="236" y="782"/>
                  <a:pt x="236" y="782"/>
                </a:cubicBezTo>
                <a:cubicBezTo>
                  <a:pt x="235" y="782"/>
                  <a:pt x="235" y="782"/>
                  <a:pt x="235" y="782"/>
                </a:cubicBezTo>
                <a:cubicBezTo>
                  <a:pt x="235" y="783"/>
                  <a:pt x="235" y="783"/>
                  <a:pt x="235" y="783"/>
                </a:cubicBezTo>
                <a:cubicBezTo>
                  <a:pt x="234" y="785"/>
                  <a:pt x="234" y="785"/>
                  <a:pt x="234" y="785"/>
                </a:cubicBezTo>
                <a:cubicBezTo>
                  <a:pt x="234" y="787"/>
                  <a:pt x="234" y="787"/>
                  <a:pt x="234" y="787"/>
                </a:cubicBezTo>
                <a:cubicBezTo>
                  <a:pt x="233" y="788"/>
                  <a:pt x="233" y="788"/>
                  <a:pt x="233" y="788"/>
                </a:cubicBezTo>
                <a:cubicBezTo>
                  <a:pt x="232" y="790"/>
                  <a:pt x="232" y="790"/>
                  <a:pt x="232" y="790"/>
                </a:cubicBezTo>
                <a:cubicBezTo>
                  <a:pt x="231" y="792"/>
                  <a:pt x="231" y="792"/>
                  <a:pt x="231" y="792"/>
                </a:cubicBezTo>
                <a:cubicBezTo>
                  <a:pt x="231" y="796"/>
                  <a:pt x="231" y="796"/>
                  <a:pt x="231" y="796"/>
                </a:cubicBezTo>
                <a:cubicBezTo>
                  <a:pt x="230" y="796"/>
                  <a:pt x="230" y="796"/>
                  <a:pt x="230" y="796"/>
                </a:cubicBezTo>
                <a:cubicBezTo>
                  <a:pt x="229" y="798"/>
                  <a:pt x="229" y="798"/>
                  <a:pt x="229" y="798"/>
                </a:cubicBezTo>
                <a:cubicBezTo>
                  <a:pt x="230" y="802"/>
                  <a:pt x="230" y="802"/>
                  <a:pt x="230" y="802"/>
                </a:cubicBezTo>
                <a:cubicBezTo>
                  <a:pt x="232" y="802"/>
                  <a:pt x="232" y="802"/>
                  <a:pt x="232" y="802"/>
                </a:cubicBezTo>
                <a:cubicBezTo>
                  <a:pt x="233" y="802"/>
                  <a:pt x="233" y="802"/>
                  <a:pt x="233" y="802"/>
                </a:cubicBezTo>
                <a:cubicBezTo>
                  <a:pt x="235" y="804"/>
                  <a:pt x="235" y="804"/>
                  <a:pt x="235" y="804"/>
                </a:cubicBezTo>
                <a:cubicBezTo>
                  <a:pt x="237" y="804"/>
                  <a:pt x="237" y="804"/>
                  <a:pt x="237" y="804"/>
                </a:cubicBezTo>
                <a:cubicBezTo>
                  <a:pt x="237" y="808"/>
                  <a:pt x="237" y="808"/>
                  <a:pt x="237" y="808"/>
                </a:cubicBezTo>
                <a:cubicBezTo>
                  <a:pt x="239" y="809"/>
                  <a:pt x="239" y="809"/>
                  <a:pt x="239" y="809"/>
                </a:cubicBezTo>
                <a:cubicBezTo>
                  <a:pt x="240" y="808"/>
                  <a:pt x="240" y="808"/>
                  <a:pt x="240" y="808"/>
                </a:cubicBezTo>
                <a:cubicBezTo>
                  <a:pt x="241" y="808"/>
                  <a:pt x="241" y="808"/>
                  <a:pt x="241" y="808"/>
                </a:cubicBezTo>
                <a:cubicBezTo>
                  <a:pt x="240" y="810"/>
                  <a:pt x="240" y="810"/>
                  <a:pt x="240" y="810"/>
                </a:cubicBezTo>
                <a:cubicBezTo>
                  <a:pt x="240" y="812"/>
                  <a:pt x="240" y="812"/>
                  <a:pt x="240" y="812"/>
                </a:cubicBezTo>
                <a:cubicBezTo>
                  <a:pt x="239" y="812"/>
                  <a:pt x="239" y="812"/>
                  <a:pt x="239" y="812"/>
                </a:cubicBezTo>
                <a:cubicBezTo>
                  <a:pt x="239" y="813"/>
                  <a:pt x="239" y="813"/>
                  <a:pt x="239" y="813"/>
                </a:cubicBezTo>
                <a:cubicBezTo>
                  <a:pt x="240" y="813"/>
                  <a:pt x="240" y="813"/>
                  <a:pt x="240" y="813"/>
                </a:cubicBezTo>
                <a:cubicBezTo>
                  <a:pt x="240" y="815"/>
                  <a:pt x="240" y="815"/>
                  <a:pt x="240" y="815"/>
                </a:cubicBezTo>
                <a:cubicBezTo>
                  <a:pt x="241" y="816"/>
                  <a:pt x="241" y="816"/>
                  <a:pt x="241" y="816"/>
                </a:cubicBezTo>
                <a:cubicBezTo>
                  <a:pt x="241" y="819"/>
                  <a:pt x="241" y="819"/>
                  <a:pt x="241" y="819"/>
                </a:cubicBezTo>
                <a:cubicBezTo>
                  <a:pt x="243" y="821"/>
                  <a:pt x="243" y="821"/>
                  <a:pt x="243" y="821"/>
                </a:cubicBezTo>
                <a:cubicBezTo>
                  <a:pt x="244" y="824"/>
                  <a:pt x="244" y="824"/>
                  <a:pt x="244" y="824"/>
                </a:cubicBezTo>
                <a:cubicBezTo>
                  <a:pt x="248" y="829"/>
                  <a:pt x="248" y="829"/>
                  <a:pt x="248" y="829"/>
                </a:cubicBezTo>
                <a:cubicBezTo>
                  <a:pt x="253" y="833"/>
                  <a:pt x="253" y="833"/>
                  <a:pt x="253" y="833"/>
                </a:cubicBezTo>
                <a:cubicBezTo>
                  <a:pt x="254" y="834"/>
                  <a:pt x="254" y="834"/>
                  <a:pt x="254" y="834"/>
                </a:cubicBezTo>
                <a:cubicBezTo>
                  <a:pt x="254" y="834"/>
                  <a:pt x="254" y="834"/>
                  <a:pt x="254" y="834"/>
                </a:cubicBezTo>
                <a:cubicBezTo>
                  <a:pt x="251" y="839"/>
                  <a:pt x="251" y="839"/>
                  <a:pt x="251" y="839"/>
                </a:cubicBezTo>
                <a:cubicBezTo>
                  <a:pt x="247" y="840"/>
                  <a:pt x="247" y="840"/>
                  <a:pt x="247" y="840"/>
                </a:cubicBezTo>
                <a:cubicBezTo>
                  <a:pt x="247" y="842"/>
                  <a:pt x="247" y="842"/>
                  <a:pt x="247" y="842"/>
                </a:cubicBezTo>
                <a:cubicBezTo>
                  <a:pt x="242" y="842"/>
                  <a:pt x="242" y="842"/>
                  <a:pt x="242" y="842"/>
                </a:cubicBezTo>
                <a:cubicBezTo>
                  <a:pt x="240" y="839"/>
                  <a:pt x="240" y="839"/>
                  <a:pt x="240" y="839"/>
                </a:cubicBezTo>
                <a:cubicBezTo>
                  <a:pt x="235" y="835"/>
                  <a:pt x="235" y="835"/>
                  <a:pt x="235" y="835"/>
                </a:cubicBezTo>
                <a:cubicBezTo>
                  <a:pt x="232" y="835"/>
                  <a:pt x="232" y="835"/>
                  <a:pt x="232" y="835"/>
                </a:cubicBezTo>
                <a:cubicBezTo>
                  <a:pt x="231" y="839"/>
                  <a:pt x="231" y="839"/>
                  <a:pt x="231" y="839"/>
                </a:cubicBezTo>
                <a:cubicBezTo>
                  <a:pt x="234" y="840"/>
                  <a:pt x="234" y="840"/>
                  <a:pt x="234" y="840"/>
                </a:cubicBezTo>
                <a:cubicBezTo>
                  <a:pt x="235" y="843"/>
                  <a:pt x="235" y="843"/>
                  <a:pt x="235" y="843"/>
                </a:cubicBezTo>
                <a:cubicBezTo>
                  <a:pt x="235" y="846"/>
                  <a:pt x="235" y="846"/>
                  <a:pt x="235" y="846"/>
                </a:cubicBezTo>
                <a:cubicBezTo>
                  <a:pt x="231" y="844"/>
                  <a:pt x="231" y="844"/>
                  <a:pt x="231" y="844"/>
                </a:cubicBezTo>
                <a:cubicBezTo>
                  <a:pt x="227" y="844"/>
                  <a:pt x="227" y="844"/>
                  <a:pt x="227" y="844"/>
                </a:cubicBezTo>
                <a:cubicBezTo>
                  <a:pt x="221" y="841"/>
                  <a:pt x="221" y="841"/>
                  <a:pt x="221" y="841"/>
                </a:cubicBezTo>
                <a:cubicBezTo>
                  <a:pt x="217" y="842"/>
                  <a:pt x="217" y="842"/>
                  <a:pt x="217" y="842"/>
                </a:cubicBezTo>
                <a:cubicBezTo>
                  <a:pt x="217" y="844"/>
                  <a:pt x="217" y="844"/>
                  <a:pt x="217" y="844"/>
                </a:cubicBezTo>
                <a:cubicBezTo>
                  <a:pt x="219" y="846"/>
                  <a:pt x="219" y="846"/>
                  <a:pt x="219" y="846"/>
                </a:cubicBezTo>
                <a:cubicBezTo>
                  <a:pt x="216" y="844"/>
                  <a:pt x="216" y="844"/>
                  <a:pt x="216" y="844"/>
                </a:cubicBezTo>
                <a:cubicBezTo>
                  <a:pt x="210" y="844"/>
                  <a:pt x="210" y="844"/>
                  <a:pt x="210" y="844"/>
                </a:cubicBezTo>
                <a:cubicBezTo>
                  <a:pt x="209" y="843"/>
                  <a:pt x="209" y="843"/>
                  <a:pt x="209" y="843"/>
                </a:cubicBezTo>
                <a:cubicBezTo>
                  <a:pt x="204" y="845"/>
                  <a:pt x="204" y="845"/>
                  <a:pt x="204" y="845"/>
                </a:cubicBezTo>
                <a:cubicBezTo>
                  <a:pt x="201" y="846"/>
                  <a:pt x="201" y="846"/>
                  <a:pt x="201" y="846"/>
                </a:cubicBezTo>
                <a:cubicBezTo>
                  <a:pt x="201" y="846"/>
                  <a:pt x="201" y="846"/>
                  <a:pt x="201" y="846"/>
                </a:cubicBezTo>
                <a:cubicBezTo>
                  <a:pt x="199" y="845"/>
                  <a:pt x="199" y="845"/>
                  <a:pt x="199" y="845"/>
                </a:cubicBezTo>
                <a:cubicBezTo>
                  <a:pt x="194" y="841"/>
                  <a:pt x="194" y="841"/>
                  <a:pt x="194" y="841"/>
                </a:cubicBezTo>
                <a:cubicBezTo>
                  <a:pt x="192" y="841"/>
                  <a:pt x="192" y="841"/>
                  <a:pt x="192" y="841"/>
                </a:cubicBezTo>
                <a:cubicBezTo>
                  <a:pt x="191" y="842"/>
                  <a:pt x="191" y="842"/>
                  <a:pt x="191" y="842"/>
                </a:cubicBezTo>
                <a:cubicBezTo>
                  <a:pt x="190" y="842"/>
                  <a:pt x="190" y="842"/>
                  <a:pt x="190" y="842"/>
                </a:cubicBezTo>
                <a:cubicBezTo>
                  <a:pt x="187" y="841"/>
                  <a:pt x="187" y="841"/>
                  <a:pt x="187" y="841"/>
                </a:cubicBezTo>
                <a:cubicBezTo>
                  <a:pt x="186" y="843"/>
                  <a:pt x="186" y="843"/>
                  <a:pt x="186" y="843"/>
                </a:cubicBezTo>
                <a:cubicBezTo>
                  <a:pt x="185" y="842"/>
                  <a:pt x="185" y="842"/>
                  <a:pt x="185" y="842"/>
                </a:cubicBezTo>
                <a:cubicBezTo>
                  <a:pt x="184" y="840"/>
                  <a:pt x="184" y="840"/>
                  <a:pt x="184" y="840"/>
                </a:cubicBezTo>
                <a:cubicBezTo>
                  <a:pt x="183" y="840"/>
                  <a:pt x="183" y="840"/>
                  <a:pt x="183" y="840"/>
                </a:cubicBezTo>
                <a:cubicBezTo>
                  <a:pt x="183" y="840"/>
                  <a:pt x="183" y="840"/>
                  <a:pt x="183" y="840"/>
                </a:cubicBezTo>
                <a:cubicBezTo>
                  <a:pt x="183" y="840"/>
                  <a:pt x="183" y="840"/>
                  <a:pt x="183" y="840"/>
                </a:cubicBezTo>
                <a:cubicBezTo>
                  <a:pt x="183" y="838"/>
                  <a:pt x="183" y="838"/>
                  <a:pt x="183" y="838"/>
                </a:cubicBezTo>
                <a:cubicBezTo>
                  <a:pt x="183" y="837"/>
                  <a:pt x="183" y="837"/>
                  <a:pt x="183" y="837"/>
                </a:cubicBezTo>
                <a:cubicBezTo>
                  <a:pt x="182" y="833"/>
                  <a:pt x="182" y="833"/>
                  <a:pt x="182" y="833"/>
                </a:cubicBezTo>
                <a:cubicBezTo>
                  <a:pt x="181" y="829"/>
                  <a:pt x="181" y="829"/>
                  <a:pt x="181" y="829"/>
                </a:cubicBezTo>
                <a:cubicBezTo>
                  <a:pt x="180" y="827"/>
                  <a:pt x="180" y="827"/>
                  <a:pt x="180" y="827"/>
                </a:cubicBezTo>
                <a:cubicBezTo>
                  <a:pt x="177" y="824"/>
                  <a:pt x="177" y="824"/>
                  <a:pt x="177" y="824"/>
                </a:cubicBezTo>
                <a:cubicBezTo>
                  <a:pt x="175" y="823"/>
                  <a:pt x="175" y="823"/>
                  <a:pt x="175" y="823"/>
                </a:cubicBezTo>
                <a:cubicBezTo>
                  <a:pt x="175" y="822"/>
                  <a:pt x="175" y="822"/>
                  <a:pt x="175" y="822"/>
                </a:cubicBezTo>
                <a:cubicBezTo>
                  <a:pt x="172" y="820"/>
                  <a:pt x="172" y="820"/>
                  <a:pt x="172" y="820"/>
                </a:cubicBezTo>
                <a:cubicBezTo>
                  <a:pt x="171" y="820"/>
                  <a:pt x="171" y="820"/>
                  <a:pt x="171" y="820"/>
                </a:cubicBezTo>
                <a:cubicBezTo>
                  <a:pt x="170" y="820"/>
                  <a:pt x="170" y="820"/>
                  <a:pt x="170" y="820"/>
                </a:cubicBezTo>
                <a:cubicBezTo>
                  <a:pt x="168" y="819"/>
                  <a:pt x="168" y="819"/>
                  <a:pt x="168" y="819"/>
                </a:cubicBezTo>
                <a:cubicBezTo>
                  <a:pt x="166" y="817"/>
                  <a:pt x="166" y="817"/>
                  <a:pt x="166" y="817"/>
                </a:cubicBezTo>
                <a:cubicBezTo>
                  <a:pt x="165" y="817"/>
                  <a:pt x="165" y="817"/>
                  <a:pt x="165" y="817"/>
                </a:cubicBezTo>
                <a:cubicBezTo>
                  <a:pt x="163" y="816"/>
                  <a:pt x="163" y="816"/>
                  <a:pt x="163" y="816"/>
                </a:cubicBezTo>
                <a:cubicBezTo>
                  <a:pt x="162" y="815"/>
                  <a:pt x="162" y="815"/>
                  <a:pt x="162" y="815"/>
                </a:cubicBezTo>
                <a:cubicBezTo>
                  <a:pt x="161" y="815"/>
                  <a:pt x="161" y="815"/>
                  <a:pt x="161" y="815"/>
                </a:cubicBezTo>
                <a:cubicBezTo>
                  <a:pt x="159" y="813"/>
                  <a:pt x="159" y="813"/>
                  <a:pt x="159" y="813"/>
                </a:cubicBezTo>
                <a:cubicBezTo>
                  <a:pt x="158" y="812"/>
                  <a:pt x="158" y="812"/>
                  <a:pt x="158" y="812"/>
                </a:cubicBezTo>
                <a:cubicBezTo>
                  <a:pt x="156" y="811"/>
                  <a:pt x="156" y="811"/>
                  <a:pt x="156" y="811"/>
                </a:cubicBezTo>
                <a:cubicBezTo>
                  <a:pt x="155" y="809"/>
                  <a:pt x="155" y="809"/>
                  <a:pt x="155" y="809"/>
                </a:cubicBezTo>
                <a:cubicBezTo>
                  <a:pt x="148" y="804"/>
                  <a:pt x="148" y="804"/>
                  <a:pt x="148" y="804"/>
                </a:cubicBezTo>
                <a:cubicBezTo>
                  <a:pt x="145" y="803"/>
                  <a:pt x="145" y="803"/>
                  <a:pt x="145" y="803"/>
                </a:cubicBezTo>
                <a:cubicBezTo>
                  <a:pt x="141" y="800"/>
                  <a:pt x="141" y="800"/>
                  <a:pt x="141" y="800"/>
                </a:cubicBezTo>
                <a:cubicBezTo>
                  <a:pt x="137" y="801"/>
                  <a:pt x="137" y="801"/>
                  <a:pt x="137" y="801"/>
                </a:cubicBezTo>
                <a:cubicBezTo>
                  <a:pt x="135" y="798"/>
                  <a:pt x="135" y="798"/>
                  <a:pt x="135" y="798"/>
                </a:cubicBezTo>
                <a:cubicBezTo>
                  <a:pt x="135" y="797"/>
                  <a:pt x="135" y="797"/>
                  <a:pt x="135" y="797"/>
                </a:cubicBezTo>
                <a:cubicBezTo>
                  <a:pt x="132" y="794"/>
                  <a:pt x="132" y="794"/>
                  <a:pt x="132" y="794"/>
                </a:cubicBezTo>
                <a:cubicBezTo>
                  <a:pt x="131" y="794"/>
                  <a:pt x="131" y="794"/>
                  <a:pt x="131" y="794"/>
                </a:cubicBezTo>
                <a:cubicBezTo>
                  <a:pt x="128" y="794"/>
                  <a:pt x="128" y="794"/>
                  <a:pt x="128" y="794"/>
                </a:cubicBezTo>
                <a:cubicBezTo>
                  <a:pt x="129" y="793"/>
                  <a:pt x="129" y="793"/>
                  <a:pt x="129" y="793"/>
                </a:cubicBezTo>
                <a:cubicBezTo>
                  <a:pt x="131" y="792"/>
                  <a:pt x="131" y="792"/>
                  <a:pt x="131" y="792"/>
                </a:cubicBezTo>
                <a:cubicBezTo>
                  <a:pt x="130" y="791"/>
                  <a:pt x="130" y="791"/>
                  <a:pt x="130" y="791"/>
                </a:cubicBezTo>
                <a:cubicBezTo>
                  <a:pt x="130" y="790"/>
                  <a:pt x="130" y="790"/>
                  <a:pt x="130" y="790"/>
                </a:cubicBezTo>
                <a:cubicBezTo>
                  <a:pt x="133" y="790"/>
                  <a:pt x="133" y="790"/>
                  <a:pt x="133" y="790"/>
                </a:cubicBezTo>
                <a:cubicBezTo>
                  <a:pt x="134" y="791"/>
                  <a:pt x="134" y="791"/>
                  <a:pt x="134" y="791"/>
                </a:cubicBezTo>
                <a:cubicBezTo>
                  <a:pt x="135" y="791"/>
                  <a:pt x="135" y="791"/>
                  <a:pt x="135" y="791"/>
                </a:cubicBezTo>
                <a:cubicBezTo>
                  <a:pt x="137" y="791"/>
                  <a:pt x="137" y="791"/>
                  <a:pt x="137" y="791"/>
                </a:cubicBezTo>
                <a:cubicBezTo>
                  <a:pt x="137" y="788"/>
                  <a:pt x="137" y="788"/>
                  <a:pt x="137" y="788"/>
                </a:cubicBezTo>
                <a:cubicBezTo>
                  <a:pt x="136" y="788"/>
                  <a:pt x="136" y="788"/>
                  <a:pt x="136" y="788"/>
                </a:cubicBezTo>
                <a:cubicBezTo>
                  <a:pt x="136" y="786"/>
                  <a:pt x="136" y="786"/>
                  <a:pt x="136" y="786"/>
                </a:cubicBezTo>
                <a:cubicBezTo>
                  <a:pt x="139" y="783"/>
                  <a:pt x="139" y="783"/>
                  <a:pt x="139" y="783"/>
                </a:cubicBezTo>
                <a:cubicBezTo>
                  <a:pt x="139" y="782"/>
                  <a:pt x="139" y="782"/>
                  <a:pt x="139" y="782"/>
                </a:cubicBezTo>
                <a:cubicBezTo>
                  <a:pt x="140" y="782"/>
                  <a:pt x="140" y="782"/>
                  <a:pt x="140" y="782"/>
                </a:cubicBezTo>
                <a:cubicBezTo>
                  <a:pt x="141" y="782"/>
                  <a:pt x="141" y="782"/>
                  <a:pt x="141" y="782"/>
                </a:cubicBezTo>
                <a:cubicBezTo>
                  <a:pt x="142" y="781"/>
                  <a:pt x="142" y="781"/>
                  <a:pt x="142" y="781"/>
                </a:cubicBezTo>
                <a:cubicBezTo>
                  <a:pt x="143" y="780"/>
                  <a:pt x="143" y="780"/>
                  <a:pt x="143" y="780"/>
                </a:cubicBezTo>
                <a:cubicBezTo>
                  <a:pt x="143" y="779"/>
                  <a:pt x="143" y="779"/>
                  <a:pt x="143" y="779"/>
                </a:cubicBezTo>
                <a:cubicBezTo>
                  <a:pt x="141" y="779"/>
                  <a:pt x="141" y="779"/>
                  <a:pt x="141" y="779"/>
                </a:cubicBezTo>
                <a:cubicBezTo>
                  <a:pt x="141" y="778"/>
                  <a:pt x="141" y="778"/>
                  <a:pt x="141" y="778"/>
                </a:cubicBezTo>
                <a:cubicBezTo>
                  <a:pt x="139" y="779"/>
                  <a:pt x="139" y="779"/>
                  <a:pt x="139" y="779"/>
                </a:cubicBezTo>
                <a:cubicBezTo>
                  <a:pt x="138" y="777"/>
                  <a:pt x="138" y="777"/>
                  <a:pt x="138" y="777"/>
                </a:cubicBezTo>
                <a:cubicBezTo>
                  <a:pt x="136" y="774"/>
                  <a:pt x="136" y="774"/>
                  <a:pt x="136" y="774"/>
                </a:cubicBezTo>
                <a:cubicBezTo>
                  <a:pt x="140" y="773"/>
                  <a:pt x="140" y="773"/>
                  <a:pt x="140" y="773"/>
                </a:cubicBezTo>
                <a:cubicBezTo>
                  <a:pt x="143" y="774"/>
                  <a:pt x="143" y="774"/>
                  <a:pt x="143" y="774"/>
                </a:cubicBezTo>
                <a:cubicBezTo>
                  <a:pt x="144" y="772"/>
                  <a:pt x="144" y="772"/>
                  <a:pt x="144" y="772"/>
                </a:cubicBezTo>
                <a:cubicBezTo>
                  <a:pt x="143" y="772"/>
                  <a:pt x="143" y="772"/>
                  <a:pt x="143" y="772"/>
                </a:cubicBezTo>
                <a:cubicBezTo>
                  <a:pt x="142" y="771"/>
                  <a:pt x="142" y="771"/>
                  <a:pt x="142" y="771"/>
                </a:cubicBezTo>
                <a:cubicBezTo>
                  <a:pt x="144" y="770"/>
                  <a:pt x="144" y="770"/>
                  <a:pt x="144" y="770"/>
                </a:cubicBezTo>
                <a:cubicBezTo>
                  <a:pt x="149" y="767"/>
                  <a:pt x="149" y="767"/>
                  <a:pt x="149" y="767"/>
                </a:cubicBezTo>
                <a:cubicBezTo>
                  <a:pt x="150" y="765"/>
                  <a:pt x="150" y="765"/>
                  <a:pt x="150" y="765"/>
                </a:cubicBezTo>
                <a:cubicBezTo>
                  <a:pt x="149" y="764"/>
                  <a:pt x="149" y="764"/>
                  <a:pt x="149" y="764"/>
                </a:cubicBezTo>
                <a:cubicBezTo>
                  <a:pt x="147" y="764"/>
                  <a:pt x="147" y="764"/>
                  <a:pt x="147" y="764"/>
                </a:cubicBezTo>
                <a:cubicBezTo>
                  <a:pt x="144" y="766"/>
                  <a:pt x="144" y="766"/>
                  <a:pt x="144" y="766"/>
                </a:cubicBezTo>
                <a:cubicBezTo>
                  <a:pt x="142" y="766"/>
                  <a:pt x="142" y="766"/>
                  <a:pt x="142" y="766"/>
                </a:cubicBezTo>
                <a:cubicBezTo>
                  <a:pt x="142" y="766"/>
                  <a:pt x="142" y="766"/>
                  <a:pt x="142" y="766"/>
                </a:cubicBezTo>
                <a:cubicBezTo>
                  <a:pt x="142" y="766"/>
                  <a:pt x="142" y="766"/>
                  <a:pt x="142" y="766"/>
                </a:cubicBezTo>
                <a:cubicBezTo>
                  <a:pt x="142" y="761"/>
                  <a:pt x="142" y="761"/>
                  <a:pt x="142" y="761"/>
                </a:cubicBezTo>
                <a:cubicBezTo>
                  <a:pt x="144" y="760"/>
                  <a:pt x="144" y="760"/>
                  <a:pt x="144" y="760"/>
                </a:cubicBezTo>
                <a:cubicBezTo>
                  <a:pt x="146" y="757"/>
                  <a:pt x="146" y="757"/>
                  <a:pt x="146" y="757"/>
                </a:cubicBezTo>
                <a:cubicBezTo>
                  <a:pt x="151" y="756"/>
                  <a:pt x="151" y="756"/>
                  <a:pt x="151" y="756"/>
                </a:cubicBezTo>
                <a:cubicBezTo>
                  <a:pt x="153" y="755"/>
                  <a:pt x="153" y="755"/>
                  <a:pt x="153" y="755"/>
                </a:cubicBezTo>
                <a:cubicBezTo>
                  <a:pt x="153" y="752"/>
                  <a:pt x="153" y="752"/>
                  <a:pt x="153" y="752"/>
                </a:cubicBezTo>
                <a:cubicBezTo>
                  <a:pt x="154" y="748"/>
                  <a:pt x="154" y="748"/>
                  <a:pt x="154" y="748"/>
                </a:cubicBezTo>
                <a:cubicBezTo>
                  <a:pt x="153" y="745"/>
                  <a:pt x="153" y="745"/>
                  <a:pt x="153" y="745"/>
                </a:cubicBezTo>
                <a:cubicBezTo>
                  <a:pt x="150" y="743"/>
                  <a:pt x="150" y="743"/>
                  <a:pt x="150" y="743"/>
                </a:cubicBezTo>
                <a:cubicBezTo>
                  <a:pt x="151" y="738"/>
                  <a:pt x="151" y="738"/>
                  <a:pt x="151" y="738"/>
                </a:cubicBezTo>
                <a:cubicBezTo>
                  <a:pt x="153" y="738"/>
                  <a:pt x="153" y="738"/>
                  <a:pt x="153" y="738"/>
                </a:cubicBezTo>
                <a:cubicBezTo>
                  <a:pt x="155" y="736"/>
                  <a:pt x="155" y="736"/>
                  <a:pt x="155" y="736"/>
                </a:cubicBezTo>
                <a:cubicBezTo>
                  <a:pt x="155" y="733"/>
                  <a:pt x="155" y="733"/>
                  <a:pt x="155" y="733"/>
                </a:cubicBezTo>
                <a:cubicBezTo>
                  <a:pt x="153" y="732"/>
                  <a:pt x="153" y="732"/>
                  <a:pt x="153" y="732"/>
                </a:cubicBezTo>
                <a:cubicBezTo>
                  <a:pt x="153" y="729"/>
                  <a:pt x="153" y="729"/>
                  <a:pt x="153" y="729"/>
                </a:cubicBezTo>
                <a:cubicBezTo>
                  <a:pt x="151" y="731"/>
                  <a:pt x="151" y="731"/>
                  <a:pt x="151" y="731"/>
                </a:cubicBezTo>
                <a:cubicBezTo>
                  <a:pt x="148" y="730"/>
                  <a:pt x="148" y="730"/>
                  <a:pt x="148" y="730"/>
                </a:cubicBezTo>
                <a:cubicBezTo>
                  <a:pt x="145" y="729"/>
                  <a:pt x="145" y="729"/>
                  <a:pt x="145" y="729"/>
                </a:cubicBezTo>
                <a:cubicBezTo>
                  <a:pt x="143" y="729"/>
                  <a:pt x="143" y="729"/>
                  <a:pt x="143" y="729"/>
                </a:cubicBezTo>
                <a:cubicBezTo>
                  <a:pt x="141" y="728"/>
                  <a:pt x="141" y="728"/>
                  <a:pt x="141" y="728"/>
                </a:cubicBezTo>
                <a:cubicBezTo>
                  <a:pt x="138" y="728"/>
                  <a:pt x="138" y="728"/>
                  <a:pt x="138" y="728"/>
                </a:cubicBezTo>
                <a:cubicBezTo>
                  <a:pt x="134" y="727"/>
                  <a:pt x="134" y="727"/>
                  <a:pt x="134" y="727"/>
                </a:cubicBezTo>
                <a:cubicBezTo>
                  <a:pt x="133" y="728"/>
                  <a:pt x="133" y="728"/>
                  <a:pt x="133" y="728"/>
                </a:cubicBezTo>
                <a:cubicBezTo>
                  <a:pt x="132" y="726"/>
                  <a:pt x="132" y="726"/>
                  <a:pt x="132" y="726"/>
                </a:cubicBezTo>
                <a:cubicBezTo>
                  <a:pt x="128" y="724"/>
                  <a:pt x="128" y="724"/>
                  <a:pt x="128" y="724"/>
                </a:cubicBezTo>
                <a:cubicBezTo>
                  <a:pt x="126" y="719"/>
                  <a:pt x="126" y="719"/>
                  <a:pt x="126" y="719"/>
                </a:cubicBezTo>
                <a:cubicBezTo>
                  <a:pt x="124" y="719"/>
                  <a:pt x="124" y="719"/>
                  <a:pt x="124" y="719"/>
                </a:cubicBezTo>
                <a:cubicBezTo>
                  <a:pt x="121" y="722"/>
                  <a:pt x="121" y="722"/>
                  <a:pt x="121" y="722"/>
                </a:cubicBezTo>
                <a:cubicBezTo>
                  <a:pt x="118" y="722"/>
                  <a:pt x="118" y="722"/>
                  <a:pt x="118" y="722"/>
                </a:cubicBezTo>
                <a:cubicBezTo>
                  <a:pt x="116" y="722"/>
                  <a:pt x="116" y="722"/>
                  <a:pt x="116" y="722"/>
                </a:cubicBezTo>
                <a:cubicBezTo>
                  <a:pt x="113" y="721"/>
                  <a:pt x="113" y="721"/>
                  <a:pt x="113" y="721"/>
                </a:cubicBezTo>
                <a:cubicBezTo>
                  <a:pt x="111" y="723"/>
                  <a:pt x="111" y="723"/>
                  <a:pt x="111" y="723"/>
                </a:cubicBezTo>
                <a:cubicBezTo>
                  <a:pt x="106" y="718"/>
                  <a:pt x="106" y="718"/>
                  <a:pt x="106" y="718"/>
                </a:cubicBezTo>
                <a:cubicBezTo>
                  <a:pt x="105" y="715"/>
                  <a:pt x="105" y="715"/>
                  <a:pt x="105" y="715"/>
                </a:cubicBezTo>
                <a:cubicBezTo>
                  <a:pt x="105" y="712"/>
                  <a:pt x="105" y="712"/>
                  <a:pt x="105" y="712"/>
                </a:cubicBezTo>
                <a:cubicBezTo>
                  <a:pt x="103" y="711"/>
                  <a:pt x="103" y="711"/>
                  <a:pt x="103" y="711"/>
                </a:cubicBezTo>
                <a:cubicBezTo>
                  <a:pt x="103" y="709"/>
                  <a:pt x="103" y="709"/>
                  <a:pt x="103" y="709"/>
                </a:cubicBezTo>
                <a:cubicBezTo>
                  <a:pt x="100" y="707"/>
                  <a:pt x="100" y="707"/>
                  <a:pt x="100" y="707"/>
                </a:cubicBezTo>
                <a:cubicBezTo>
                  <a:pt x="95" y="708"/>
                  <a:pt x="95" y="708"/>
                  <a:pt x="95" y="708"/>
                </a:cubicBezTo>
                <a:cubicBezTo>
                  <a:pt x="92" y="704"/>
                  <a:pt x="92" y="704"/>
                  <a:pt x="92" y="704"/>
                </a:cubicBezTo>
                <a:cubicBezTo>
                  <a:pt x="93" y="702"/>
                  <a:pt x="93" y="702"/>
                  <a:pt x="93" y="702"/>
                </a:cubicBezTo>
                <a:cubicBezTo>
                  <a:pt x="91" y="700"/>
                  <a:pt x="91" y="700"/>
                  <a:pt x="91" y="700"/>
                </a:cubicBezTo>
                <a:cubicBezTo>
                  <a:pt x="89" y="695"/>
                  <a:pt x="89" y="695"/>
                  <a:pt x="89" y="695"/>
                </a:cubicBezTo>
                <a:cubicBezTo>
                  <a:pt x="87" y="695"/>
                  <a:pt x="87" y="695"/>
                  <a:pt x="87" y="695"/>
                </a:cubicBezTo>
                <a:cubicBezTo>
                  <a:pt x="84" y="697"/>
                  <a:pt x="84" y="697"/>
                  <a:pt x="84" y="697"/>
                </a:cubicBezTo>
                <a:cubicBezTo>
                  <a:pt x="78" y="697"/>
                  <a:pt x="78" y="697"/>
                  <a:pt x="78" y="697"/>
                </a:cubicBezTo>
                <a:cubicBezTo>
                  <a:pt x="73" y="695"/>
                  <a:pt x="73" y="695"/>
                  <a:pt x="73" y="695"/>
                </a:cubicBezTo>
                <a:cubicBezTo>
                  <a:pt x="72" y="696"/>
                  <a:pt x="72" y="696"/>
                  <a:pt x="72" y="696"/>
                </a:cubicBezTo>
                <a:cubicBezTo>
                  <a:pt x="72" y="698"/>
                  <a:pt x="72" y="698"/>
                  <a:pt x="72" y="698"/>
                </a:cubicBezTo>
                <a:cubicBezTo>
                  <a:pt x="69" y="699"/>
                  <a:pt x="69" y="699"/>
                  <a:pt x="69" y="699"/>
                </a:cubicBezTo>
                <a:cubicBezTo>
                  <a:pt x="68" y="699"/>
                  <a:pt x="68" y="699"/>
                  <a:pt x="68" y="699"/>
                </a:cubicBezTo>
                <a:cubicBezTo>
                  <a:pt x="68" y="696"/>
                  <a:pt x="68" y="696"/>
                  <a:pt x="68" y="696"/>
                </a:cubicBezTo>
                <a:cubicBezTo>
                  <a:pt x="65" y="693"/>
                  <a:pt x="65" y="693"/>
                  <a:pt x="65" y="693"/>
                </a:cubicBezTo>
                <a:cubicBezTo>
                  <a:pt x="65" y="690"/>
                  <a:pt x="65" y="690"/>
                  <a:pt x="65" y="690"/>
                </a:cubicBezTo>
                <a:cubicBezTo>
                  <a:pt x="63" y="687"/>
                  <a:pt x="63" y="687"/>
                  <a:pt x="63" y="687"/>
                </a:cubicBezTo>
                <a:cubicBezTo>
                  <a:pt x="63" y="684"/>
                  <a:pt x="63" y="684"/>
                  <a:pt x="63" y="684"/>
                </a:cubicBezTo>
                <a:cubicBezTo>
                  <a:pt x="64" y="683"/>
                  <a:pt x="64" y="683"/>
                  <a:pt x="64" y="683"/>
                </a:cubicBezTo>
                <a:cubicBezTo>
                  <a:pt x="66" y="685"/>
                  <a:pt x="66" y="685"/>
                  <a:pt x="66" y="685"/>
                </a:cubicBezTo>
                <a:cubicBezTo>
                  <a:pt x="72" y="684"/>
                  <a:pt x="72" y="684"/>
                  <a:pt x="72" y="684"/>
                </a:cubicBezTo>
                <a:cubicBezTo>
                  <a:pt x="74" y="680"/>
                  <a:pt x="74" y="680"/>
                  <a:pt x="74" y="680"/>
                </a:cubicBezTo>
                <a:cubicBezTo>
                  <a:pt x="75" y="679"/>
                  <a:pt x="75" y="679"/>
                  <a:pt x="75" y="679"/>
                </a:cubicBezTo>
                <a:cubicBezTo>
                  <a:pt x="72" y="677"/>
                  <a:pt x="72" y="677"/>
                  <a:pt x="72" y="677"/>
                </a:cubicBezTo>
                <a:cubicBezTo>
                  <a:pt x="72" y="675"/>
                  <a:pt x="72" y="675"/>
                  <a:pt x="72" y="675"/>
                </a:cubicBezTo>
                <a:cubicBezTo>
                  <a:pt x="68" y="672"/>
                  <a:pt x="68" y="672"/>
                  <a:pt x="68" y="672"/>
                </a:cubicBezTo>
                <a:cubicBezTo>
                  <a:pt x="65" y="671"/>
                  <a:pt x="65" y="671"/>
                  <a:pt x="65" y="671"/>
                </a:cubicBezTo>
                <a:cubicBezTo>
                  <a:pt x="64" y="667"/>
                  <a:pt x="64" y="667"/>
                  <a:pt x="64" y="667"/>
                </a:cubicBezTo>
                <a:cubicBezTo>
                  <a:pt x="62" y="666"/>
                  <a:pt x="62" y="666"/>
                  <a:pt x="62" y="666"/>
                </a:cubicBezTo>
                <a:cubicBezTo>
                  <a:pt x="59" y="662"/>
                  <a:pt x="59" y="662"/>
                  <a:pt x="59" y="662"/>
                </a:cubicBezTo>
                <a:cubicBezTo>
                  <a:pt x="58" y="659"/>
                  <a:pt x="58" y="659"/>
                  <a:pt x="58" y="659"/>
                </a:cubicBezTo>
                <a:cubicBezTo>
                  <a:pt x="55" y="657"/>
                  <a:pt x="55" y="657"/>
                  <a:pt x="55" y="657"/>
                </a:cubicBezTo>
                <a:cubicBezTo>
                  <a:pt x="55" y="653"/>
                  <a:pt x="55" y="653"/>
                  <a:pt x="55" y="653"/>
                </a:cubicBezTo>
                <a:cubicBezTo>
                  <a:pt x="53" y="651"/>
                  <a:pt x="53" y="651"/>
                  <a:pt x="53" y="651"/>
                </a:cubicBezTo>
                <a:cubicBezTo>
                  <a:pt x="54" y="648"/>
                  <a:pt x="54" y="648"/>
                  <a:pt x="54" y="648"/>
                </a:cubicBezTo>
                <a:cubicBezTo>
                  <a:pt x="53" y="646"/>
                  <a:pt x="53" y="646"/>
                  <a:pt x="53" y="646"/>
                </a:cubicBezTo>
                <a:cubicBezTo>
                  <a:pt x="49" y="644"/>
                  <a:pt x="49" y="644"/>
                  <a:pt x="49" y="644"/>
                </a:cubicBezTo>
                <a:cubicBezTo>
                  <a:pt x="47" y="644"/>
                  <a:pt x="47" y="644"/>
                  <a:pt x="47" y="644"/>
                </a:cubicBezTo>
                <a:cubicBezTo>
                  <a:pt x="46" y="643"/>
                  <a:pt x="46" y="643"/>
                  <a:pt x="46" y="643"/>
                </a:cubicBezTo>
                <a:cubicBezTo>
                  <a:pt x="43" y="644"/>
                  <a:pt x="43" y="644"/>
                  <a:pt x="43" y="644"/>
                </a:cubicBezTo>
                <a:cubicBezTo>
                  <a:pt x="40" y="646"/>
                  <a:pt x="40" y="646"/>
                  <a:pt x="40" y="646"/>
                </a:cubicBezTo>
                <a:cubicBezTo>
                  <a:pt x="38" y="642"/>
                  <a:pt x="38" y="642"/>
                  <a:pt x="38" y="642"/>
                </a:cubicBezTo>
                <a:cubicBezTo>
                  <a:pt x="36" y="642"/>
                  <a:pt x="36" y="642"/>
                  <a:pt x="36" y="642"/>
                </a:cubicBezTo>
                <a:cubicBezTo>
                  <a:pt x="33" y="643"/>
                  <a:pt x="33" y="643"/>
                  <a:pt x="33" y="643"/>
                </a:cubicBezTo>
                <a:cubicBezTo>
                  <a:pt x="31" y="640"/>
                  <a:pt x="31" y="640"/>
                  <a:pt x="31" y="640"/>
                </a:cubicBezTo>
                <a:cubicBezTo>
                  <a:pt x="29" y="641"/>
                  <a:pt x="29" y="641"/>
                  <a:pt x="29" y="641"/>
                </a:cubicBezTo>
                <a:cubicBezTo>
                  <a:pt x="27" y="640"/>
                  <a:pt x="27" y="640"/>
                  <a:pt x="27" y="640"/>
                </a:cubicBezTo>
                <a:cubicBezTo>
                  <a:pt x="26" y="640"/>
                  <a:pt x="26" y="640"/>
                  <a:pt x="26" y="640"/>
                </a:cubicBezTo>
                <a:cubicBezTo>
                  <a:pt x="26" y="637"/>
                  <a:pt x="26" y="637"/>
                  <a:pt x="26" y="637"/>
                </a:cubicBezTo>
                <a:cubicBezTo>
                  <a:pt x="24" y="635"/>
                  <a:pt x="24" y="635"/>
                  <a:pt x="24" y="635"/>
                </a:cubicBezTo>
                <a:cubicBezTo>
                  <a:pt x="23" y="632"/>
                  <a:pt x="23" y="632"/>
                  <a:pt x="23" y="632"/>
                </a:cubicBezTo>
                <a:cubicBezTo>
                  <a:pt x="22" y="631"/>
                  <a:pt x="22" y="631"/>
                  <a:pt x="22" y="631"/>
                </a:cubicBezTo>
                <a:cubicBezTo>
                  <a:pt x="21" y="628"/>
                  <a:pt x="21" y="628"/>
                  <a:pt x="21" y="628"/>
                </a:cubicBezTo>
                <a:cubicBezTo>
                  <a:pt x="21" y="627"/>
                  <a:pt x="21" y="627"/>
                  <a:pt x="21" y="627"/>
                </a:cubicBezTo>
                <a:cubicBezTo>
                  <a:pt x="21" y="625"/>
                  <a:pt x="21" y="625"/>
                  <a:pt x="21" y="625"/>
                </a:cubicBezTo>
                <a:cubicBezTo>
                  <a:pt x="20" y="624"/>
                  <a:pt x="20" y="624"/>
                  <a:pt x="20" y="624"/>
                </a:cubicBezTo>
                <a:cubicBezTo>
                  <a:pt x="20" y="623"/>
                  <a:pt x="20" y="623"/>
                  <a:pt x="20" y="623"/>
                </a:cubicBezTo>
                <a:cubicBezTo>
                  <a:pt x="20" y="622"/>
                  <a:pt x="20" y="622"/>
                  <a:pt x="20" y="622"/>
                </a:cubicBezTo>
                <a:cubicBezTo>
                  <a:pt x="18" y="621"/>
                  <a:pt x="18" y="621"/>
                  <a:pt x="18" y="621"/>
                </a:cubicBezTo>
                <a:cubicBezTo>
                  <a:pt x="19" y="619"/>
                  <a:pt x="19" y="619"/>
                  <a:pt x="19" y="619"/>
                </a:cubicBezTo>
                <a:cubicBezTo>
                  <a:pt x="19" y="617"/>
                  <a:pt x="19" y="617"/>
                  <a:pt x="19" y="617"/>
                </a:cubicBezTo>
                <a:cubicBezTo>
                  <a:pt x="21" y="615"/>
                  <a:pt x="21" y="615"/>
                  <a:pt x="21" y="615"/>
                </a:cubicBezTo>
                <a:cubicBezTo>
                  <a:pt x="21" y="613"/>
                  <a:pt x="21" y="613"/>
                  <a:pt x="21" y="613"/>
                </a:cubicBezTo>
                <a:cubicBezTo>
                  <a:pt x="16" y="604"/>
                  <a:pt x="16" y="604"/>
                  <a:pt x="16" y="604"/>
                </a:cubicBezTo>
                <a:cubicBezTo>
                  <a:pt x="17" y="596"/>
                  <a:pt x="17" y="596"/>
                  <a:pt x="17" y="596"/>
                </a:cubicBezTo>
                <a:cubicBezTo>
                  <a:pt x="18" y="596"/>
                  <a:pt x="18" y="596"/>
                  <a:pt x="18" y="596"/>
                </a:cubicBezTo>
                <a:cubicBezTo>
                  <a:pt x="19" y="593"/>
                  <a:pt x="19" y="593"/>
                  <a:pt x="19" y="593"/>
                </a:cubicBezTo>
                <a:cubicBezTo>
                  <a:pt x="20" y="590"/>
                  <a:pt x="20" y="590"/>
                  <a:pt x="20" y="590"/>
                </a:cubicBezTo>
                <a:cubicBezTo>
                  <a:pt x="21" y="590"/>
                  <a:pt x="21" y="590"/>
                  <a:pt x="21" y="590"/>
                </a:cubicBezTo>
                <a:cubicBezTo>
                  <a:pt x="21" y="589"/>
                  <a:pt x="21" y="589"/>
                  <a:pt x="21" y="589"/>
                </a:cubicBezTo>
                <a:cubicBezTo>
                  <a:pt x="20" y="588"/>
                  <a:pt x="20" y="588"/>
                  <a:pt x="20" y="588"/>
                </a:cubicBezTo>
                <a:cubicBezTo>
                  <a:pt x="20" y="588"/>
                  <a:pt x="20" y="588"/>
                  <a:pt x="20" y="588"/>
                </a:cubicBezTo>
                <a:cubicBezTo>
                  <a:pt x="20" y="585"/>
                  <a:pt x="20" y="585"/>
                  <a:pt x="20" y="585"/>
                </a:cubicBezTo>
                <a:cubicBezTo>
                  <a:pt x="19" y="584"/>
                  <a:pt x="19" y="584"/>
                  <a:pt x="19" y="584"/>
                </a:cubicBezTo>
                <a:cubicBezTo>
                  <a:pt x="19" y="582"/>
                  <a:pt x="19" y="582"/>
                  <a:pt x="19" y="582"/>
                </a:cubicBezTo>
                <a:cubicBezTo>
                  <a:pt x="20" y="582"/>
                  <a:pt x="20" y="582"/>
                  <a:pt x="20" y="582"/>
                </a:cubicBezTo>
                <a:cubicBezTo>
                  <a:pt x="21" y="584"/>
                  <a:pt x="21" y="584"/>
                  <a:pt x="21" y="584"/>
                </a:cubicBezTo>
                <a:cubicBezTo>
                  <a:pt x="23" y="583"/>
                  <a:pt x="23" y="583"/>
                  <a:pt x="23" y="583"/>
                </a:cubicBezTo>
                <a:cubicBezTo>
                  <a:pt x="23" y="581"/>
                  <a:pt x="23" y="581"/>
                  <a:pt x="23" y="581"/>
                </a:cubicBezTo>
                <a:cubicBezTo>
                  <a:pt x="24" y="580"/>
                  <a:pt x="24" y="580"/>
                  <a:pt x="24" y="580"/>
                </a:cubicBezTo>
                <a:cubicBezTo>
                  <a:pt x="26" y="581"/>
                  <a:pt x="26" y="581"/>
                  <a:pt x="26" y="581"/>
                </a:cubicBezTo>
                <a:cubicBezTo>
                  <a:pt x="29" y="580"/>
                  <a:pt x="29" y="580"/>
                  <a:pt x="29" y="580"/>
                </a:cubicBezTo>
                <a:cubicBezTo>
                  <a:pt x="29" y="578"/>
                  <a:pt x="29" y="578"/>
                  <a:pt x="29" y="578"/>
                </a:cubicBezTo>
                <a:cubicBezTo>
                  <a:pt x="31" y="577"/>
                  <a:pt x="31" y="577"/>
                  <a:pt x="31" y="577"/>
                </a:cubicBezTo>
                <a:cubicBezTo>
                  <a:pt x="34" y="578"/>
                  <a:pt x="34" y="578"/>
                  <a:pt x="34" y="578"/>
                </a:cubicBezTo>
                <a:cubicBezTo>
                  <a:pt x="35" y="577"/>
                  <a:pt x="35" y="577"/>
                  <a:pt x="35" y="577"/>
                </a:cubicBezTo>
                <a:cubicBezTo>
                  <a:pt x="33" y="574"/>
                  <a:pt x="33" y="574"/>
                  <a:pt x="33" y="574"/>
                </a:cubicBezTo>
                <a:cubicBezTo>
                  <a:pt x="31" y="574"/>
                  <a:pt x="31" y="574"/>
                  <a:pt x="31" y="574"/>
                </a:cubicBezTo>
                <a:cubicBezTo>
                  <a:pt x="30" y="574"/>
                  <a:pt x="30" y="574"/>
                  <a:pt x="30" y="574"/>
                </a:cubicBezTo>
                <a:cubicBezTo>
                  <a:pt x="28" y="574"/>
                  <a:pt x="28" y="574"/>
                  <a:pt x="28" y="574"/>
                </a:cubicBezTo>
                <a:cubicBezTo>
                  <a:pt x="27" y="572"/>
                  <a:pt x="27" y="572"/>
                  <a:pt x="27" y="572"/>
                </a:cubicBezTo>
                <a:cubicBezTo>
                  <a:pt x="24" y="572"/>
                  <a:pt x="24" y="572"/>
                  <a:pt x="24" y="572"/>
                </a:cubicBezTo>
                <a:cubicBezTo>
                  <a:pt x="22" y="569"/>
                  <a:pt x="22" y="569"/>
                  <a:pt x="22" y="569"/>
                </a:cubicBezTo>
                <a:cubicBezTo>
                  <a:pt x="22" y="568"/>
                  <a:pt x="22" y="568"/>
                  <a:pt x="22" y="568"/>
                </a:cubicBezTo>
                <a:cubicBezTo>
                  <a:pt x="24" y="570"/>
                  <a:pt x="24" y="570"/>
                  <a:pt x="24" y="570"/>
                </a:cubicBezTo>
                <a:cubicBezTo>
                  <a:pt x="24" y="568"/>
                  <a:pt x="24" y="568"/>
                  <a:pt x="24" y="568"/>
                </a:cubicBezTo>
                <a:cubicBezTo>
                  <a:pt x="24" y="567"/>
                  <a:pt x="24" y="567"/>
                  <a:pt x="24" y="567"/>
                </a:cubicBezTo>
                <a:cubicBezTo>
                  <a:pt x="25" y="565"/>
                  <a:pt x="25" y="565"/>
                  <a:pt x="25" y="565"/>
                </a:cubicBezTo>
                <a:cubicBezTo>
                  <a:pt x="23" y="566"/>
                  <a:pt x="23" y="566"/>
                  <a:pt x="23" y="566"/>
                </a:cubicBezTo>
                <a:cubicBezTo>
                  <a:pt x="23" y="566"/>
                  <a:pt x="20" y="567"/>
                  <a:pt x="20" y="568"/>
                </a:cubicBezTo>
                <a:cubicBezTo>
                  <a:pt x="20" y="568"/>
                  <a:pt x="20" y="568"/>
                  <a:pt x="19" y="568"/>
                </a:cubicBezTo>
                <a:cubicBezTo>
                  <a:pt x="19" y="568"/>
                  <a:pt x="19" y="568"/>
                  <a:pt x="19" y="568"/>
                </a:cubicBezTo>
                <a:cubicBezTo>
                  <a:pt x="19" y="565"/>
                  <a:pt x="19" y="565"/>
                  <a:pt x="19" y="565"/>
                </a:cubicBezTo>
                <a:cubicBezTo>
                  <a:pt x="24" y="560"/>
                  <a:pt x="24" y="560"/>
                  <a:pt x="24" y="560"/>
                </a:cubicBezTo>
                <a:cubicBezTo>
                  <a:pt x="26" y="559"/>
                  <a:pt x="26" y="559"/>
                  <a:pt x="26" y="559"/>
                </a:cubicBezTo>
                <a:cubicBezTo>
                  <a:pt x="29" y="554"/>
                  <a:pt x="29" y="554"/>
                  <a:pt x="29" y="554"/>
                </a:cubicBezTo>
                <a:cubicBezTo>
                  <a:pt x="32" y="550"/>
                  <a:pt x="32" y="550"/>
                  <a:pt x="32" y="550"/>
                </a:cubicBezTo>
                <a:cubicBezTo>
                  <a:pt x="35" y="544"/>
                  <a:pt x="35" y="544"/>
                  <a:pt x="35" y="544"/>
                </a:cubicBezTo>
                <a:cubicBezTo>
                  <a:pt x="39" y="537"/>
                  <a:pt x="39" y="537"/>
                  <a:pt x="39" y="537"/>
                </a:cubicBezTo>
                <a:cubicBezTo>
                  <a:pt x="42" y="530"/>
                  <a:pt x="42" y="530"/>
                  <a:pt x="42" y="530"/>
                </a:cubicBezTo>
                <a:cubicBezTo>
                  <a:pt x="41" y="526"/>
                  <a:pt x="41" y="526"/>
                  <a:pt x="41" y="526"/>
                </a:cubicBezTo>
                <a:cubicBezTo>
                  <a:pt x="37" y="521"/>
                  <a:pt x="37" y="521"/>
                  <a:pt x="37" y="521"/>
                </a:cubicBezTo>
                <a:cubicBezTo>
                  <a:pt x="34" y="520"/>
                  <a:pt x="34" y="520"/>
                  <a:pt x="34" y="520"/>
                </a:cubicBezTo>
                <a:cubicBezTo>
                  <a:pt x="29" y="513"/>
                  <a:pt x="29" y="513"/>
                  <a:pt x="29" y="513"/>
                </a:cubicBezTo>
                <a:cubicBezTo>
                  <a:pt x="30" y="510"/>
                  <a:pt x="30" y="510"/>
                  <a:pt x="30" y="510"/>
                </a:cubicBezTo>
                <a:cubicBezTo>
                  <a:pt x="32" y="507"/>
                  <a:pt x="32" y="507"/>
                  <a:pt x="32" y="507"/>
                </a:cubicBezTo>
                <a:cubicBezTo>
                  <a:pt x="32" y="504"/>
                  <a:pt x="32" y="504"/>
                  <a:pt x="32" y="504"/>
                </a:cubicBezTo>
                <a:cubicBezTo>
                  <a:pt x="28" y="502"/>
                  <a:pt x="28" y="502"/>
                  <a:pt x="28" y="502"/>
                </a:cubicBezTo>
                <a:cubicBezTo>
                  <a:pt x="27" y="499"/>
                  <a:pt x="27" y="499"/>
                  <a:pt x="27" y="499"/>
                </a:cubicBezTo>
                <a:cubicBezTo>
                  <a:pt x="27" y="496"/>
                  <a:pt x="27" y="496"/>
                  <a:pt x="27" y="496"/>
                </a:cubicBezTo>
                <a:cubicBezTo>
                  <a:pt x="28" y="495"/>
                  <a:pt x="28" y="495"/>
                  <a:pt x="28" y="495"/>
                </a:cubicBezTo>
                <a:cubicBezTo>
                  <a:pt x="27" y="493"/>
                  <a:pt x="27" y="493"/>
                  <a:pt x="27" y="493"/>
                </a:cubicBezTo>
                <a:cubicBezTo>
                  <a:pt x="24" y="492"/>
                  <a:pt x="24" y="492"/>
                  <a:pt x="24" y="492"/>
                </a:cubicBezTo>
                <a:cubicBezTo>
                  <a:pt x="23" y="490"/>
                  <a:pt x="23" y="490"/>
                  <a:pt x="23" y="490"/>
                </a:cubicBezTo>
                <a:cubicBezTo>
                  <a:pt x="23" y="487"/>
                  <a:pt x="23" y="487"/>
                  <a:pt x="23" y="487"/>
                </a:cubicBezTo>
                <a:cubicBezTo>
                  <a:pt x="24" y="485"/>
                  <a:pt x="24" y="485"/>
                  <a:pt x="24" y="485"/>
                </a:cubicBezTo>
                <a:cubicBezTo>
                  <a:pt x="22" y="484"/>
                  <a:pt x="22" y="484"/>
                  <a:pt x="22" y="484"/>
                </a:cubicBezTo>
                <a:cubicBezTo>
                  <a:pt x="22" y="482"/>
                  <a:pt x="22" y="482"/>
                  <a:pt x="22" y="482"/>
                </a:cubicBezTo>
                <a:cubicBezTo>
                  <a:pt x="23" y="476"/>
                  <a:pt x="23" y="476"/>
                  <a:pt x="23" y="476"/>
                </a:cubicBezTo>
                <a:cubicBezTo>
                  <a:pt x="25" y="475"/>
                  <a:pt x="25" y="475"/>
                  <a:pt x="25" y="475"/>
                </a:cubicBezTo>
                <a:cubicBezTo>
                  <a:pt x="20" y="464"/>
                  <a:pt x="20" y="464"/>
                  <a:pt x="20" y="464"/>
                </a:cubicBezTo>
                <a:cubicBezTo>
                  <a:pt x="15" y="456"/>
                  <a:pt x="15" y="456"/>
                  <a:pt x="15" y="456"/>
                </a:cubicBezTo>
                <a:cubicBezTo>
                  <a:pt x="15" y="453"/>
                  <a:pt x="15" y="453"/>
                  <a:pt x="15" y="453"/>
                </a:cubicBezTo>
                <a:cubicBezTo>
                  <a:pt x="12" y="450"/>
                  <a:pt x="12" y="450"/>
                  <a:pt x="12" y="450"/>
                </a:cubicBezTo>
                <a:cubicBezTo>
                  <a:pt x="14" y="445"/>
                  <a:pt x="14" y="445"/>
                  <a:pt x="14" y="445"/>
                </a:cubicBezTo>
                <a:cubicBezTo>
                  <a:pt x="16" y="442"/>
                  <a:pt x="16" y="442"/>
                  <a:pt x="16" y="442"/>
                </a:cubicBezTo>
                <a:cubicBezTo>
                  <a:pt x="17" y="439"/>
                  <a:pt x="17" y="439"/>
                  <a:pt x="17" y="439"/>
                </a:cubicBezTo>
                <a:cubicBezTo>
                  <a:pt x="16" y="437"/>
                  <a:pt x="16" y="437"/>
                  <a:pt x="16" y="437"/>
                </a:cubicBezTo>
                <a:cubicBezTo>
                  <a:pt x="11" y="434"/>
                  <a:pt x="11" y="434"/>
                  <a:pt x="11" y="434"/>
                </a:cubicBezTo>
                <a:cubicBezTo>
                  <a:pt x="10" y="432"/>
                  <a:pt x="10" y="432"/>
                  <a:pt x="10" y="432"/>
                </a:cubicBezTo>
                <a:cubicBezTo>
                  <a:pt x="8" y="430"/>
                  <a:pt x="8" y="430"/>
                  <a:pt x="8" y="430"/>
                </a:cubicBezTo>
                <a:cubicBezTo>
                  <a:pt x="5" y="428"/>
                  <a:pt x="5" y="428"/>
                  <a:pt x="5" y="428"/>
                </a:cubicBezTo>
                <a:cubicBezTo>
                  <a:pt x="4" y="428"/>
                  <a:pt x="4" y="428"/>
                  <a:pt x="4" y="428"/>
                </a:cubicBezTo>
                <a:cubicBezTo>
                  <a:pt x="2" y="423"/>
                  <a:pt x="2" y="423"/>
                  <a:pt x="2" y="423"/>
                </a:cubicBezTo>
                <a:cubicBezTo>
                  <a:pt x="1" y="421"/>
                  <a:pt x="1" y="421"/>
                  <a:pt x="1" y="421"/>
                </a:cubicBezTo>
                <a:cubicBezTo>
                  <a:pt x="1" y="418"/>
                  <a:pt x="1" y="418"/>
                  <a:pt x="1" y="418"/>
                </a:cubicBezTo>
                <a:cubicBezTo>
                  <a:pt x="2" y="415"/>
                  <a:pt x="2" y="415"/>
                  <a:pt x="2" y="415"/>
                </a:cubicBezTo>
                <a:cubicBezTo>
                  <a:pt x="0" y="414"/>
                  <a:pt x="0" y="414"/>
                  <a:pt x="0" y="414"/>
                </a:cubicBezTo>
                <a:cubicBezTo>
                  <a:pt x="2" y="413"/>
                  <a:pt x="2" y="413"/>
                  <a:pt x="2" y="413"/>
                </a:cubicBezTo>
                <a:cubicBezTo>
                  <a:pt x="5" y="412"/>
                  <a:pt x="5" y="412"/>
                  <a:pt x="5" y="412"/>
                </a:cubicBezTo>
                <a:cubicBezTo>
                  <a:pt x="5" y="412"/>
                  <a:pt x="5" y="412"/>
                  <a:pt x="5" y="412"/>
                </a:cubicBezTo>
                <a:cubicBezTo>
                  <a:pt x="6" y="412"/>
                  <a:pt x="6" y="412"/>
                  <a:pt x="6" y="412"/>
                </a:cubicBezTo>
                <a:cubicBezTo>
                  <a:pt x="6" y="408"/>
                  <a:pt x="6" y="408"/>
                  <a:pt x="6" y="408"/>
                </a:cubicBezTo>
                <a:cubicBezTo>
                  <a:pt x="9" y="405"/>
                  <a:pt x="9" y="405"/>
                  <a:pt x="9" y="405"/>
                </a:cubicBezTo>
                <a:cubicBezTo>
                  <a:pt x="11" y="405"/>
                  <a:pt x="11" y="405"/>
                  <a:pt x="11" y="405"/>
                </a:cubicBezTo>
                <a:cubicBezTo>
                  <a:pt x="13" y="403"/>
                  <a:pt x="13" y="403"/>
                  <a:pt x="13" y="403"/>
                </a:cubicBezTo>
                <a:cubicBezTo>
                  <a:pt x="13" y="400"/>
                  <a:pt x="13" y="400"/>
                  <a:pt x="13" y="400"/>
                </a:cubicBezTo>
                <a:cubicBezTo>
                  <a:pt x="15" y="400"/>
                  <a:pt x="15" y="400"/>
                  <a:pt x="15" y="400"/>
                </a:cubicBezTo>
                <a:cubicBezTo>
                  <a:pt x="17" y="400"/>
                  <a:pt x="17" y="400"/>
                  <a:pt x="17" y="400"/>
                </a:cubicBezTo>
                <a:cubicBezTo>
                  <a:pt x="18" y="399"/>
                  <a:pt x="18" y="399"/>
                  <a:pt x="18" y="399"/>
                </a:cubicBezTo>
                <a:cubicBezTo>
                  <a:pt x="18" y="397"/>
                  <a:pt x="18" y="397"/>
                  <a:pt x="18" y="397"/>
                </a:cubicBezTo>
                <a:cubicBezTo>
                  <a:pt x="18" y="396"/>
                  <a:pt x="18" y="396"/>
                  <a:pt x="18" y="396"/>
                </a:cubicBezTo>
                <a:cubicBezTo>
                  <a:pt x="20" y="397"/>
                  <a:pt x="20" y="397"/>
                  <a:pt x="20" y="397"/>
                </a:cubicBezTo>
                <a:cubicBezTo>
                  <a:pt x="21" y="398"/>
                  <a:pt x="21" y="398"/>
                  <a:pt x="21" y="398"/>
                </a:cubicBezTo>
                <a:cubicBezTo>
                  <a:pt x="21" y="400"/>
                  <a:pt x="21" y="400"/>
                  <a:pt x="21" y="400"/>
                </a:cubicBezTo>
                <a:cubicBezTo>
                  <a:pt x="22" y="401"/>
                  <a:pt x="22" y="401"/>
                  <a:pt x="22" y="401"/>
                </a:cubicBezTo>
                <a:cubicBezTo>
                  <a:pt x="22" y="398"/>
                  <a:pt x="22" y="398"/>
                  <a:pt x="22" y="398"/>
                </a:cubicBezTo>
                <a:cubicBezTo>
                  <a:pt x="23" y="397"/>
                  <a:pt x="23" y="397"/>
                  <a:pt x="23" y="397"/>
                </a:cubicBezTo>
                <a:cubicBezTo>
                  <a:pt x="25" y="397"/>
                  <a:pt x="25" y="397"/>
                  <a:pt x="25" y="397"/>
                </a:cubicBezTo>
                <a:cubicBezTo>
                  <a:pt x="26" y="397"/>
                  <a:pt x="26" y="397"/>
                  <a:pt x="26" y="397"/>
                </a:cubicBezTo>
                <a:cubicBezTo>
                  <a:pt x="24" y="395"/>
                  <a:pt x="24" y="395"/>
                  <a:pt x="24" y="395"/>
                </a:cubicBezTo>
                <a:cubicBezTo>
                  <a:pt x="24" y="395"/>
                  <a:pt x="24" y="395"/>
                  <a:pt x="24" y="395"/>
                </a:cubicBezTo>
                <a:cubicBezTo>
                  <a:pt x="25" y="395"/>
                  <a:pt x="25" y="395"/>
                  <a:pt x="25" y="395"/>
                </a:cubicBezTo>
                <a:cubicBezTo>
                  <a:pt x="26" y="395"/>
                  <a:pt x="26" y="395"/>
                  <a:pt x="26" y="395"/>
                </a:cubicBezTo>
                <a:cubicBezTo>
                  <a:pt x="26" y="394"/>
                  <a:pt x="26" y="394"/>
                  <a:pt x="26" y="394"/>
                </a:cubicBezTo>
                <a:cubicBezTo>
                  <a:pt x="26" y="394"/>
                  <a:pt x="26" y="394"/>
                  <a:pt x="26" y="394"/>
                </a:cubicBezTo>
                <a:cubicBezTo>
                  <a:pt x="25" y="392"/>
                  <a:pt x="25" y="392"/>
                  <a:pt x="25" y="392"/>
                </a:cubicBezTo>
                <a:cubicBezTo>
                  <a:pt x="25" y="392"/>
                  <a:pt x="25" y="392"/>
                  <a:pt x="25" y="392"/>
                </a:cubicBezTo>
                <a:cubicBezTo>
                  <a:pt x="27" y="392"/>
                  <a:pt x="27" y="392"/>
                  <a:pt x="27" y="392"/>
                </a:cubicBezTo>
                <a:cubicBezTo>
                  <a:pt x="30" y="393"/>
                  <a:pt x="30" y="393"/>
                  <a:pt x="30" y="393"/>
                </a:cubicBezTo>
                <a:cubicBezTo>
                  <a:pt x="31" y="394"/>
                  <a:pt x="31" y="394"/>
                  <a:pt x="31" y="394"/>
                </a:cubicBezTo>
                <a:cubicBezTo>
                  <a:pt x="32" y="395"/>
                  <a:pt x="32" y="395"/>
                  <a:pt x="32" y="395"/>
                </a:cubicBezTo>
                <a:cubicBezTo>
                  <a:pt x="33" y="395"/>
                  <a:pt x="33" y="395"/>
                  <a:pt x="33" y="395"/>
                </a:cubicBezTo>
                <a:cubicBezTo>
                  <a:pt x="34" y="395"/>
                  <a:pt x="34" y="395"/>
                  <a:pt x="34" y="395"/>
                </a:cubicBezTo>
                <a:cubicBezTo>
                  <a:pt x="35" y="396"/>
                  <a:pt x="35" y="396"/>
                  <a:pt x="35" y="396"/>
                </a:cubicBezTo>
                <a:cubicBezTo>
                  <a:pt x="36" y="397"/>
                  <a:pt x="36" y="397"/>
                  <a:pt x="36" y="397"/>
                </a:cubicBezTo>
                <a:cubicBezTo>
                  <a:pt x="36" y="398"/>
                  <a:pt x="36" y="398"/>
                  <a:pt x="36" y="398"/>
                </a:cubicBezTo>
                <a:cubicBezTo>
                  <a:pt x="34" y="399"/>
                  <a:pt x="34" y="399"/>
                  <a:pt x="34" y="399"/>
                </a:cubicBezTo>
                <a:cubicBezTo>
                  <a:pt x="33" y="399"/>
                  <a:pt x="33" y="399"/>
                  <a:pt x="33" y="399"/>
                </a:cubicBezTo>
                <a:cubicBezTo>
                  <a:pt x="30" y="399"/>
                  <a:pt x="30" y="399"/>
                  <a:pt x="30" y="399"/>
                </a:cubicBezTo>
                <a:cubicBezTo>
                  <a:pt x="29" y="397"/>
                  <a:pt x="29" y="397"/>
                  <a:pt x="29" y="397"/>
                </a:cubicBezTo>
                <a:cubicBezTo>
                  <a:pt x="29" y="396"/>
                  <a:pt x="29" y="396"/>
                  <a:pt x="29" y="396"/>
                </a:cubicBezTo>
                <a:cubicBezTo>
                  <a:pt x="27" y="397"/>
                  <a:pt x="27" y="397"/>
                  <a:pt x="27" y="397"/>
                </a:cubicBezTo>
                <a:cubicBezTo>
                  <a:pt x="27" y="400"/>
                  <a:pt x="27" y="400"/>
                  <a:pt x="27" y="400"/>
                </a:cubicBezTo>
                <a:cubicBezTo>
                  <a:pt x="28" y="402"/>
                  <a:pt x="28" y="402"/>
                  <a:pt x="28" y="402"/>
                </a:cubicBezTo>
                <a:cubicBezTo>
                  <a:pt x="29" y="400"/>
                  <a:pt x="29" y="400"/>
                  <a:pt x="29" y="400"/>
                </a:cubicBezTo>
                <a:cubicBezTo>
                  <a:pt x="30" y="401"/>
                  <a:pt x="30" y="401"/>
                  <a:pt x="30" y="401"/>
                </a:cubicBezTo>
                <a:cubicBezTo>
                  <a:pt x="31" y="403"/>
                  <a:pt x="31" y="403"/>
                  <a:pt x="31" y="403"/>
                </a:cubicBezTo>
                <a:cubicBezTo>
                  <a:pt x="32" y="401"/>
                  <a:pt x="32" y="401"/>
                  <a:pt x="32" y="401"/>
                </a:cubicBezTo>
                <a:cubicBezTo>
                  <a:pt x="34" y="402"/>
                  <a:pt x="34" y="402"/>
                  <a:pt x="34" y="402"/>
                </a:cubicBezTo>
                <a:cubicBezTo>
                  <a:pt x="34" y="403"/>
                  <a:pt x="34" y="403"/>
                  <a:pt x="34" y="403"/>
                </a:cubicBezTo>
                <a:cubicBezTo>
                  <a:pt x="35" y="403"/>
                  <a:pt x="35" y="403"/>
                  <a:pt x="35" y="403"/>
                </a:cubicBezTo>
                <a:cubicBezTo>
                  <a:pt x="36" y="402"/>
                  <a:pt x="36" y="402"/>
                  <a:pt x="36" y="402"/>
                </a:cubicBezTo>
                <a:cubicBezTo>
                  <a:pt x="37" y="403"/>
                  <a:pt x="37" y="403"/>
                  <a:pt x="37" y="403"/>
                </a:cubicBezTo>
                <a:cubicBezTo>
                  <a:pt x="36" y="403"/>
                  <a:pt x="36" y="403"/>
                  <a:pt x="36" y="403"/>
                </a:cubicBezTo>
                <a:cubicBezTo>
                  <a:pt x="36" y="405"/>
                  <a:pt x="36" y="405"/>
                  <a:pt x="36" y="405"/>
                </a:cubicBezTo>
                <a:cubicBezTo>
                  <a:pt x="38" y="403"/>
                  <a:pt x="38" y="403"/>
                  <a:pt x="38" y="403"/>
                </a:cubicBezTo>
                <a:cubicBezTo>
                  <a:pt x="39" y="402"/>
                  <a:pt x="39" y="402"/>
                  <a:pt x="39" y="402"/>
                </a:cubicBezTo>
                <a:cubicBezTo>
                  <a:pt x="40" y="402"/>
                  <a:pt x="40" y="402"/>
                  <a:pt x="40" y="402"/>
                </a:cubicBezTo>
                <a:cubicBezTo>
                  <a:pt x="39" y="403"/>
                  <a:pt x="39" y="403"/>
                  <a:pt x="39" y="403"/>
                </a:cubicBezTo>
                <a:cubicBezTo>
                  <a:pt x="39" y="404"/>
                  <a:pt x="39" y="404"/>
                  <a:pt x="39" y="404"/>
                </a:cubicBezTo>
                <a:cubicBezTo>
                  <a:pt x="41" y="404"/>
                  <a:pt x="41" y="404"/>
                  <a:pt x="41" y="404"/>
                </a:cubicBezTo>
                <a:cubicBezTo>
                  <a:pt x="41" y="405"/>
                  <a:pt x="41" y="405"/>
                  <a:pt x="41" y="405"/>
                </a:cubicBezTo>
                <a:cubicBezTo>
                  <a:pt x="40" y="406"/>
                  <a:pt x="40" y="406"/>
                  <a:pt x="40" y="406"/>
                </a:cubicBezTo>
                <a:cubicBezTo>
                  <a:pt x="39" y="408"/>
                  <a:pt x="39" y="408"/>
                  <a:pt x="39" y="408"/>
                </a:cubicBezTo>
                <a:cubicBezTo>
                  <a:pt x="41" y="408"/>
                  <a:pt x="41" y="408"/>
                  <a:pt x="41" y="408"/>
                </a:cubicBezTo>
                <a:cubicBezTo>
                  <a:pt x="42" y="405"/>
                  <a:pt x="42" y="405"/>
                  <a:pt x="42" y="405"/>
                </a:cubicBezTo>
                <a:cubicBezTo>
                  <a:pt x="42" y="404"/>
                  <a:pt x="42" y="404"/>
                  <a:pt x="42" y="404"/>
                </a:cubicBezTo>
                <a:cubicBezTo>
                  <a:pt x="43" y="403"/>
                  <a:pt x="43" y="403"/>
                  <a:pt x="43" y="403"/>
                </a:cubicBezTo>
                <a:cubicBezTo>
                  <a:pt x="45" y="403"/>
                  <a:pt x="45" y="403"/>
                  <a:pt x="45" y="403"/>
                </a:cubicBezTo>
                <a:cubicBezTo>
                  <a:pt x="46" y="404"/>
                  <a:pt x="46" y="404"/>
                  <a:pt x="46" y="404"/>
                </a:cubicBezTo>
                <a:cubicBezTo>
                  <a:pt x="47" y="403"/>
                  <a:pt x="47" y="403"/>
                  <a:pt x="47" y="403"/>
                </a:cubicBezTo>
                <a:cubicBezTo>
                  <a:pt x="46" y="401"/>
                  <a:pt x="46" y="401"/>
                  <a:pt x="46" y="401"/>
                </a:cubicBezTo>
                <a:cubicBezTo>
                  <a:pt x="46" y="401"/>
                  <a:pt x="46" y="401"/>
                  <a:pt x="46" y="401"/>
                </a:cubicBezTo>
                <a:cubicBezTo>
                  <a:pt x="48" y="401"/>
                  <a:pt x="48" y="401"/>
                  <a:pt x="48" y="401"/>
                </a:cubicBezTo>
                <a:cubicBezTo>
                  <a:pt x="49" y="403"/>
                  <a:pt x="49" y="403"/>
                  <a:pt x="49" y="403"/>
                </a:cubicBezTo>
                <a:cubicBezTo>
                  <a:pt x="52" y="403"/>
                  <a:pt x="52" y="403"/>
                  <a:pt x="52" y="403"/>
                </a:cubicBezTo>
                <a:cubicBezTo>
                  <a:pt x="54" y="404"/>
                  <a:pt x="54" y="404"/>
                  <a:pt x="54" y="404"/>
                </a:cubicBezTo>
                <a:cubicBezTo>
                  <a:pt x="56" y="403"/>
                  <a:pt x="56" y="403"/>
                  <a:pt x="56" y="403"/>
                </a:cubicBezTo>
                <a:cubicBezTo>
                  <a:pt x="56" y="402"/>
                  <a:pt x="56" y="402"/>
                  <a:pt x="56" y="402"/>
                </a:cubicBezTo>
                <a:cubicBezTo>
                  <a:pt x="58" y="403"/>
                  <a:pt x="58" y="403"/>
                  <a:pt x="58" y="403"/>
                </a:cubicBezTo>
                <a:cubicBezTo>
                  <a:pt x="60" y="404"/>
                  <a:pt x="60" y="404"/>
                  <a:pt x="60" y="404"/>
                </a:cubicBezTo>
                <a:cubicBezTo>
                  <a:pt x="61" y="403"/>
                  <a:pt x="61" y="403"/>
                  <a:pt x="61" y="403"/>
                </a:cubicBezTo>
                <a:cubicBezTo>
                  <a:pt x="63" y="404"/>
                  <a:pt x="63" y="404"/>
                  <a:pt x="63" y="404"/>
                </a:cubicBezTo>
                <a:cubicBezTo>
                  <a:pt x="74" y="410"/>
                  <a:pt x="74" y="410"/>
                  <a:pt x="74" y="410"/>
                </a:cubicBezTo>
                <a:cubicBezTo>
                  <a:pt x="81" y="415"/>
                  <a:pt x="81" y="415"/>
                  <a:pt x="81" y="415"/>
                </a:cubicBezTo>
                <a:cubicBezTo>
                  <a:pt x="83" y="417"/>
                  <a:pt x="83" y="417"/>
                  <a:pt x="83" y="417"/>
                </a:cubicBezTo>
                <a:cubicBezTo>
                  <a:pt x="85" y="417"/>
                  <a:pt x="85" y="417"/>
                  <a:pt x="85" y="417"/>
                </a:cubicBezTo>
                <a:cubicBezTo>
                  <a:pt x="87" y="421"/>
                  <a:pt x="87" y="421"/>
                  <a:pt x="87" y="421"/>
                </a:cubicBezTo>
                <a:cubicBezTo>
                  <a:pt x="89" y="422"/>
                  <a:pt x="89" y="422"/>
                  <a:pt x="89" y="422"/>
                </a:cubicBezTo>
                <a:cubicBezTo>
                  <a:pt x="89" y="420"/>
                  <a:pt x="89" y="420"/>
                  <a:pt x="89" y="420"/>
                </a:cubicBezTo>
                <a:cubicBezTo>
                  <a:pt x="89" y="420"/>
                  <a:pt x="89" y="420"/>
                  <a:pt x="89" y="420"/>
                </a:cubicBezTo>
                <a:cubicBezTo>
                  <a:pt x="90" y="420"/>
                  <a:pt x="90" y="420"/>
                  <a:pt x="90" y="420"/>
                </a:cubicBezTo>
                <a:cubicBezTo>
                  <a:pt x="93" y="422"/>
                  <a:pt x="93" y="422"/>
                  <a:pt x="93" y="422"/>
                </a:cubicBezTo>
                <a:cubicBezTo>
                  <a:pt x="94" y="422"/>
                  <a:pt x="94" y="422"/>
                  <a:pt x="94" y="422"/>
                </a:cubicBezTo>
                <a:cubicBezTo>
                  <a:pt x="97" y="425"/>
                  <a:pt x="97" y="425"/>
                  <a:pt x="97" y="425"/>
                </a:cubicBezTo>
                <a:cubicBezTo>
                  <a:pt x="99" y="424"/>
                  <a:pt x="99" y="424"/>
                  <a:pt x="99" y="424"/>
                </a:cubicBezTo>
                <a:cubicBezTo>
                  <a:pt x="97" y="422"/>
                  <a:pt x="97" y="422"/>
                  <a:pt x="97" y="422"/>
                </a:cubicBezTo>
                <a:cubicBezTo>
                  <a:pt x="96" y="421"/>
                  <a:pt x="96" y="421"/>
                  <a:pt x="96" y="421"/>
                </a:cubicBezTo>
                <a:cubicBezTo>
                  <a:pt x="98" y="421"/>
                  <a:pt x="98" y="421"/>
                  <a:pt x="98" y="421"/>
                </a:cubicBezTo>
                <a:cubicBezTo>
                  <a:pt x="100" y="423"/>
                  <a:pt x="100" y="423"/>
                  <a:pt x="100" y="423"/>
                </a:cubicBezTo>
                <a:cubicBezTo>
                  <a:pt x="100" y="425"/>
                  <a:pt x="100" y="425"/>
                  <a:pt x="100" y="425"/>
                </a:cubicBezTo>
                <a:cubicBezTo>
                  <a:pt x="104" y="428"/>
                  <a:pt x="104" y="428"/>
                  <a:pt x="104" y="428"/>
                </a:cubicBezTo>
                <a:cubicBezTo>
                  <a:pt x="104" y="429"/>
                  <a:pt x="104" y="429"/>
                  <a:pt x="104" y="429"/>
                </a:cubicBezTo>
                <a:cubicBezTo>
                  <a:pt x="106" y="430"/>
                  <a:pt x="106" y="430"/>
                  <a:pt x="106" y="430"/>
                </a:cubicBezTo>
                <a:cubicBezTo>
                  <a:pt x="107" y="430"/>
                  <a:pt x="107" y="430"/>
                  <a:pt x="107" y="430"/>
                </a:cubicBezTo>
                <a:cubicBezTo>
                  <a:pt x="108" y="430"/>
                  <a:pt x="108" y="430"/>
                  <a:pt x="108" y="430"/>
                </a:cubicBezTo>
                <a:cubicBezTo>
                  <a:pt x="111" y="432"/>
                  <a:pt x="111" y="432"/>
                  <a:pt x="111" y="432"/>
                </a:cubicBezTo>
                <a:cubicBezTo>
                  <a:pt x="111" y="435"/>
                  <a:pt x="111" y="435"/>
                  <a:pt x="111" y="435"/>
                </a:cubicBezTo>
                <a:cubicBezTo>
                  <a:pt x="113" y="436"/>
                  <a:pt x="113" y="436"/>
                  <a:pt x="113" y="436"/>
                </a:cubicBezTo>
                <a:cubicBezTo>
                  <a:pt x="114" y="438"/>
                  <a:pt x="114" y="438"/>
                  <a:pt x="114" y="438"/>
                </a:cubicBezTo>
                <a:cubicBezTo>
                  <a:pt x="115" y="438"/>
                  <a:pt x="115" y="438"/>
                  <a:pt x="115" y="438"/>
                </a:cubicBezTo>
                <a:cubicBezTo>
                  <a:pt x="116" y="439"/>
                  <a:pt x="116" y="439"/>
                  <a:pt x="116" y="439"/>
                </a:cubicBezTo>
                <a:cubicBezTo>
                  <a:pt x="116" y="442"/>
                  <a:pt x="116" y="442"/>
                  <a:pt x="116" y="442"/>
                </a:cubicBezTo>
                <a:cubicBezTo>
                  <a:pt x="116" y="444"/>
                  <a:pt x="116" y="444"/>
                  <a:pt x="116" y="444"/>
                </a:cubicBezTo>
                <a:cubicBezTo>
                  <a:pt x="116" y="447"/>
                  <a:pt x="116" y="447"/>
                  <a:pt x="116" y="447"/>
                </a:cubicBezTo>
                <a:cubicBezTo>
                  <a:pt x="115" y="449"/>
                  <a:pt x="115" y="449"/>
                  <a:pt x="115" y="449"/>
                </a:cubicBezTo>
                <a:cubicBezTo>
                  <a:pt x="115" y="450"/>
                  <a:pt x="115" y="450"/>
                  <a:pt x="115" y="450"/>
                </a:cubicBezTo>
                <a:cubicBezTo>
                  <a:pt x="113" y="453"/>
                  <a:pt x="113" y="453"/>
                  <a:pt x="113" y="453"/>
                </a:cubicBezTo>
                <a:cubicBezTo>
                  <a:pt x="112" y="455"/>
                  <a:pt x="112" y="455"/>
                  <a:pt x="112" y="455"/>
                </a:cubicBezTo>
                <a:cubicBezTo>
                  <a:pt x="108" y="460"/>
                  <a:pt x="108" y="460"/>
                  <a:pt x="108" y="460"/>
                </a:cubicBezTo>
                <a:cubicBezTo>
                  <a:pt x="105" y="462"/>
                  <a:pt x="105" y="462"/>
                  <a:pt x="105" y="462"/>
                </a:cubicBezTo>
                <a:cubicBezTo>
                  <a:pt x="102" y="462"/>
                  <a:pt x="102" y="462"/>
                  <a:pt x="102" y="462"/>
                </a:cubicBezTo>
                <a:cubicBezTo>
                  <a:pt x="100" y="464"/>
                  <a:pt x="100" y="464"/>
                  <a:pt x="100" y="464"/>
                </a:cubicBezTo>
                <a:cubicBezTo>
                  <a:pt x="97" y="464"/>
                  <a:pt x="97" y="464"/>
                  <a:pt x="97" y="464"/>
                </a:cubicBezTo>
                <a:cubicBezTo>
                  <a:pt x="97" y="464"/>
                  <a:pt x="97" y="464"/>
                  <a:pt x="97" y="464"/>
                </a:cubicBezTo>
                <a:cubicBezTo>
                  <a:pt x="92" y="465"/>
                  <a:pt x="92" y="465"/>
                  <a:pt x="92" y="465"/>
                </a:cubicBezTo>
                <a:cubicBezTo>
                  <a:pt x="86" y="465"/>
                  <a:pt x="86" y="465"/>
                  <a:pt x="86" y="465"/>
                </a:cubicBezTo>
                <a:cubicBezTo>
                  <a:pt x="82" y="464"/>
                  <a:pt x="82" y="464"/>
                  <a:pt x="82" y="464"/>
                </a:cubicBezTo>
                <a:cubicBezTo>
                  <a:pt x="80" y="462"/>
                  <a:pt x="80" y="462"/>
                  <a:pt x="80" y="462"/>
                </a:cubicBezTo>
                <a:cubicBezTo>
                  <a:pt x="78" y="463"/>
                  <a:pt x="78" y="463"/>
                  <a:pt x="78" y="463"/>
                </a:cubicBezTo>
                <a:cubicBezTo>
                  <a:pt x="76" y="462"/>
                  <a:pt x="76" y="462"/>
                  <a:pt x="76" y="462"/>
                </a:cubicBezTo>
                <a:cubicBezTo>
                  <a:pt x="73" y="462"/>
                  <a:pt x="73" y="462"/>
                  <a:pt x="73" y="462"/>
                </a:cubicBezTo>
                <a:cubicBezTo>
                  <a:pt x="73" y="461"/>
                  <a:pt x="73" y="461"/>
                  <a:pt x="73" y="461"/>
                </a:cubicBezTo>
                <a:cubicBezTo>
                  <a:pt x="71" y="461"/>
                  <a:pt x="71" y="461"/>
                  <a:pt x="71" y="461"/>
                </a:cubicBezTo>
                <a:cubicBezTo>
                  <a:pt x="69" y="462"/>
                  <a:pt x="69" y="462"/>
                  <a:pt x="69" y="462"/>
                </a:cubicBezTo>
                <a:cubicBezTo>
                  <a:pt x="67" y="459"/>
                  <a:pt x="67" y="459"/>
                  <a:pt x="67" y="459"/>
                </a:cubicBezTo>
                <a:cubicBezTo>
                  <a:pt x="67" y="458"/>
                  <a:pt x="67" y="458"/>
                  <a:pt x="67" y="458"/>
                </a:cubicBezTo>
                <a:cubicBezTo>
                  <a:pt x="65" y="458"/>
                  <a:pt x="65" y="458"/>
                  <a:pt x="65" y="458"/>
                </a:cubicBezTo>
                <a:cubicBezTo>
                  <a:pt x="63" y="458"/>
                  <a:pt x="63" y="458"/>
                  <a:pt x="63" y="458"/>
                </a:cubicBezTo>
                <a:cubicBezTo>
                  <a:pt x="64" y="458"/>
                  <a:pt x="64" y="458"/>
                  <a:pt x="64" y="458"/>
                </a:cubicBezTo>
                <a:cubicBezTo>
                  <a:pt x="60" y="458"/>
                  <a:pt x="60" y="458"/>
                  <a:pt x="60" y="458"/>
                </a:cubicBezTo>
                <a:cubicBezTo>
                  <a:pt x="59" y="459"/>
                  <a:pt x="59" y="459"/>
                  <a:pt x="59" y="459"/>
                </a:cubicBezTo>
                <a:cubicBezTo>
                  <a:pt x="57" y="459"/>
                  <a:pt x="57" y="459"/>
                  <a:pt x="57" y="459"/>
                </a:cubicBezTo>
                <a:cubicBezTo>
                  <a:pt x="57" y="457"/>
                  <a:pt x="57" y="457"/>
                  <a:pt x="57" y="457"/>
                </a:cubicBezTo>
                <a:cubicBezTo>
                  <a:pt x="57" y="457"/>
                  <a:pt x="57" y="457"/>
                  <a:pt x="57" y="457"/>
                </a:cubicBezTo>
                <a:cubicBezTo>
                  <a:pt x="58" y="456"/>
                  <a:pt x="58" y="456"/>
                  <a:pt x="58" y="456"/>
                </a:cubicBezTo>
                <a:cubicBezTo>
                  <a:pt x="57" y="454"/>
                  <a:pt x="57" y="454"/>
                  <a:pt x="57" y="454"/>
                </a:cubicBezTo>
                <a:cubicBezTo>
                  <a:pt x="56" y="455"/>
                  <a:pt x="56" y="455"/>
                  <a:pt x="56" y="455"/>
                </a:cubicBezTo>
                <a:cubicBezTo>
                  <a:pt x="53" y="455"/>
                  <a:pt x="53" y="455"/>
                  <a:pt x="53" y="455"/>
                </a:cubicBezTo>
                <a:cubicBezTo>
                  <a:pt x="50" y="454"/>
                  <a:pt x="50" y="454"/>
                  <a:pt x="50" y="454"/>
                </a:cubicBezTo>
                <a:cubicBezTo>
                  <a:pt x="50" y="454"/>
                  <a:pt x="50" y="454"/>
                  <a:pt x="50" y="454"/>
                </a:cubicBezTo>
                <a:cubicBezTo>
                  <a:pt x="49" y="454"/>
                  <a:pt x="49" y="454"/>
                  <a:pt x="49" y="454"/>
                </a:cubicBezTo>
                <a:cubicBezTo>
                  <a:pt x="44" y="450"/>
                  <a:pt x="44" y="450"/>
                  <a:pt x="44" y="450"/>
                </a:cubicBezTo>
                <a:cubicBezTo>
                  <a:pt x="44" y="448"/>
                  <a:pt x="44" y="448"/>
                  <a:pt x="44" y="448"/>
                </a:cubicBezTo>
                <a:cubicBezTo>
                  <a:pt x="41" y="448"/>
                  <a:pt x="41" y="448"/>
                  <a:pt x="41" y="448"/>
                </a:cubicBezTo>
                <a:cubicBezTo>
                  <a:pt x="40" y="448"/>
                  <a:pt x="40" y="448"/>
                  <a:pt x="40" y="448"/>
                </a:cubicBezTo>
                <a:cubicBezTo>
                  <a:pt x="38" y="448"/>
                  <a:pt x="38" y="448"/>
                  <a:pt x="38" y="448"/>
                </a:cubicBezTo>
                <a:cubicBezTo>
                  <a:pt x="38" y="448"/>
                  <a:pt x="38" y="448"/>
                  <a:pt x="38" y="448"/>
                </a:cubicBezTo>
                <a:cubicBezTo>
                  <a:pt x="40" y="450"/>
                  <a:pt x="40" y="450"/>
                  <a:pt x="40" y="450"/>
                </a:cubicBezTo>
                <a:cubicBezTo>
                  <a:pt x="41" y="453"/>
                  <a:pt x="41" y="453"/>
                  <a:pt x="41" y="453"/>
                </a:cubicBezTo>
                <a:cubicBezTo>
                  <a:pt x="43" y="454"/>
                  <a:pt x="43" y="454"/>
                  <a:pt x="43" y="454"/>
                </a:cubicBezTo>
                <a:cubicBezTo>
                  <a:pt x="44" y="456"/>
                  <a:pt x="44" y="456"/>
                  <a:pt x="44" y="456"/>
                </a:cubicBezTo>
                <a:cubicBezTo>
                  <a:pt x="47" y="457"/>
                  <a:pt x="47" y="457"/>
                  <a:pt x="47" y="457"/>
                </a:cubicBezTo>
                <a:cubicBezTo>
                  <a:pt x="47" y="458"/>
                  <a:pt x="47" y="458"/>
                  <a:pt x="47" y="458"/>
                </a:cubicBezTo>
                <a:cubicBezTo>
                  <a:pt x="45" y="459"/>
                  <a:pt x="45" y="459"/>
                  <a:pt x="45" y="459"/>
                </a:cubicBezTo>
                <a:cubicBezTo>
                  <a:pt x="44" y="460"/>
                  <a:pt x="44" y="460"/>
                  <a:pt x="44" y="460"/>
                </a:cubicBezTo>
                <a:cubicBezTo>
                  <a:pt x="45" y="460"/>
                  <a:pt x="45" y="460"/>
                  <a:pt x="45" y="460"/>
                </a:cubicBezTo>
                <a:cubicBezTo>
                  <a:pt x="48" y="460"/>
                  <a:pt x="48" y="460"/>
                  <a:pt x="48" y="460"/>
                </a:cubicBezTo>
                <a:cubicBezTo>
                  <a:pt x="50" y="459"/>
                  <a:pt x="50" y="459"/>
                  <a:pt x="50" y="459"/>
                </a:cubicBezTo>
                <a:cubicBezTo>
                  <a:pt x="51" y="460"/>
                  <a:pt x="51" y="460"/>
                  <a:pt x="51" y="460"/>
                </a:cubicBezTo>
                <a:cubicBezTo>
                  <a:pt x="50" y="460"/>
                  <a:pt x="50" y="460"/>
                  <a:pt x="50" y="460"/>
                </a:cubicBezTo>
                <a:cubicBezTo>
                  <a:pt x="50" y="461"/>
                  <a:pt x="50" y="461"/>
                  <a:pt x="50" y="461"/>
                </a:cubicBezTo>
                <a:cubicBezTo>
                  <a:pt x="52" y="461"/>
                  <a:pt x="52" y="461"/>
                  <a:pt x="52" y="461"/>
                </a:cubicBezTo>
                <a:cubicBezTo>
                  <a:pt x="52" y="463"/>
                  <a:pt x="52" y="463"/>
                  <a:pt x="52" y="463"/>
                </a:cubicBezTo>
                <a:cubicBezTo>
                  <a:pt x="49" y="463"/>
                  <a:pt x="49" y="463"/>
                  <a:pt x="49" y="463"/>
                </a:cubicBezTo>
                <a:cubicBezTo>
                  <a:pt x="49" y="464"/>
                  <a:pt x="49" y="464"/>
                  <a:pt x="49" y="464"/>
                </a:cubicBezTo>
                <a:cubicBezTo>
                  <a:pt x="51" y="465"/>
                  <a:pt x="51" y="465"/>
                  <a:pt x="51" y="465"/>
                </a:cubicBezTo>
                <a:cubicBezTo>
                  <a:pt x="52" y="464"/>
                  <a:pt x="52" y="464"/>
                  <a:pt x="52" y="464"/>
                </a:cubicBezTo>
                <a:cubicBezTo>
                  <a:pt x="54" y="464"/>
                  <a:pt x="54" y="464"/>
                  <a:pt x="54" y="464"/>
                </a:cubicBezTo>
                <a:cubicBezTo>
                  <a:pt x="55" y="465"/>
                  <a:pt x="55" y="465"/>
                  <a:pt x="55" y="465"/>
                </a:cubicBezTo>
                <a:cubicBezTo>
                  <a:pt x="56" y="464"/>
                  <a:pt x="56" y="464"/>
                  <a:pt x="56" y="464"/>
                </a:cubicBezTo>
                <a:cubicBezTo>
                  <a:pt x="61" y="466"/>
                  <a:pt x="61" y="466"/>
                  <a:pt x="61" y="466"/>
                </a:cubicBezTo>
                <a:cubicBezTo>
                  <a:pt x="63" y="469"/>
                  <a:pt x="63" y="469"/>
                  <a:pt x="63" y="469"/>
                </a:cubicBezTo>
                <a:cubicBezTo>
                  <a:pt x="64" y="470"/>
                  <a:pt x="64" y="470"/>
                  <a:pt x="64" y="470"/>
                </a:cubicBezTo>
                <a:cubicBezTo>
                  <a:pt x="64" y="471"/>
                  <a:pt x="64" y="471"/>
                  <a:pt x="64" y="471"/>
                </a:cubicBezTo>
                <a:cubicBezTo>
                  <a:pt x="63" y="472"/>
                  <a:pt x="63" y="472"/>
                  <a:pt x="63" y="472"/>
                </a:cubicBezTo>
                <a:cubicBezTo>
                  <a:pt x="64" y="473"/>
                  <a:pt x="64" y="473"/>
                  <a:pt x="64" y="473"/>
                </a:cubicBezTo>
                <a:cubicBezTo>
                  <a:pt x="64" y="475"/>
                  <a:pt x="64" y="475"/>
                  <a:pt x="64" y="475"/>
                </a:cubicBezTo>
                <a:cubicBezTo>
                  <a:pt x="64" y="478"/>
                  <a:pt x="64" y="478"/>
                  <a:pt x="64" y="478"/>
                </a:cubicBezTo>
                <a:cubicBezTo>
                  <a:pt x="62" y="479"/>
                  <a:pt x="62" y="479"/>
                  <a:pt x="62" y="479"/>
                </a:cubicBezTo>
                <a:cubicBezTo>
                  <a:pt x="62" y="481"/>
                  <a:pt x="62" y="481"/>
                  <a:pt x="62" y="481"/>
                </a:cubicBezTo>
                <a:cubicBezTo>
                  <a:pt x="64" y="481"/>
                  <a:pt x="64" y="481"/>
                  <a:pt x="64" y="481"/>
                </a:cubicBezTo>
                <a:cubicBezTo>
                  <a:pt x="64" y="483"/>
                  <a:pt x="64" y="483"/>
                  <a:pt x="64" y="483"/>
                </a:cubicBezTo>
                <a:cubicBezTo>
                  <a:pt x="67" y="486"/>
                  <a:pt x="67" y="486"/>
                  <a:pt x="67" y="486"/>
                </a:cubicBezTo>
                <a:cubicBezTo>
                  <a:pt x="67" y="488"/>
                  <a:pt x="67" y="488"/>
                  <a:pt x="67" y="488"/>
                </a:cubicBezTo>
                <a:cubicBezTo>
                  <a:pt x="69" y="490"/>
                  <a:pt x="69" y="490"/>
                  <a:pt x="69" y="490"/>
                </a:cubicBezTo>
                <a:cubicBezTo>
                  <a:pt x="69" y="492"/>
                  <a:pt x="69" y="492"/>
                  <a:pt x="69" y="492"/>
                </a:cubicBezTo>
                <a:cubicBezTo>
                  <a:pt x="69" y="494"/>
                  <a:pt x="69" y="494"/>
                  <a:pt x="69" y="494"/>
                </a:cubicBezTo>
                <a:cubicBezTo>
                  <a:pt x="68" y="496"/>
                  <a:pt x="68" y="496"/>
                  <a:pt x="68" y="496"/>
                </a:cubicBezTo>
                <a:cubicBezTo>
                  <a:pt x="69" y="497"/>
                  <a:pt x="69" y="497"/>
                  <a:pt x="69" y="497"/>
                </a:cubicBezTo>
                <a:cubicBezTo>
                  <a:pt x="70" y="499"/>
                  <a:pt x="70" y="499"/>
                  <a:pt x="70" y="499"/>
                </a:cubicBezTo>
                <a:cubicBezTo>
                  <a:pt x="74" y="500"/>
                  <a:pt x="74" y="500"/>
                  <a:pt x="74" y="500"/>
                </a:cubicBezTo>
                <a:cubicBezTo>
                  <a:pt x="76" y="499"/>
                  <a:pt x="76" y="499"/>
                  <a:pt x="76" y="499"/>
                </a:cubicBezTo>
                <a:cubicBezTo>
                  <a:pt x="77" y="499"/>
                  <a:pt x="77" y="499"/>
                  <a:pt x="77" y="499"/>
                </a:cubicBezTo>
                <a:cubicBezTo>
                  <a:pt x="79" y="501"/>
                  <a:pt x="79" y="501"/>
                  <a:pt x="79" y="501"/>
                </a:cubicBezTo>
                <a:cubicBezTo>
                  <a:pt x="81" y="502"/>
                  <a:pt x="81" y="502"/>
                  <a:pt x="81" y="502"/>
                </a:cubicBezTo>
                <a:cubicBezTo>
                  <a:pt x="81" y="504"/>
                  <a:pt x="81" y="504"/>
                  <a:pt x="81" y="504"/>
                </a:cubicBezTo>
                <a:cubicBezTo>
                  <a:pt x="82" y="505"/>
                  <a:pt x="82" y="505"/>
                  <a:pt x="82" y="505"/>
                </a:cubicBezTo>
                <a:cubicBezTo>
                  <a:pt x="85" y="505"/>
                  <a:pt x="85" y="505"/>
                  <a:pt x="85" y="505"/>
                </a:cubicBezTo>
                <a:cubicBezTo>
                  <a:pt x="86" y="506"/>
                  <a:pt x="86" y="506"/>
                  <a:pt x="86" y="506"/>
                </a:cubicBezTo>
                <a:cubicBezTo>
                  <a:pt x="89" y="506"/>
                  <a:pt x="89" y="506"/>
                  <a:pt x="89" y="506"/>
                </a:cubicBezTo>
                <a:cubicBezTo>
                  <a:pt x="91" y="508"/>
                  <a:pt x="91" y="508"/>
                  <a:pt x="91" y="508"/>
                </a:cubicBezTo>
                <a:cubicBezTo>
                  <a:pt x="93" y="508"/>
                  <a:pt x="93" y="508"/>
                  <a:pt x="93" y="508"/>
                </a:cubicBezTo>
                <a:cubicBezTo>
                  <a:pt x="95" y="506"/>
                  <a:pt x="95" y="506"/>
                  <a:pt x="95" y="506"/>
                </a:cubicBezTo>
                <a:cubicBezTo>
                  <a:pt x="97" y="506"/>
                  <a:pt x="97" y="506"/>
                  <a:pt x="97" y="506"/>
                </a:cubicBezTo>
                <a:cubicBezTo>
                  <a:pt x="98" y="505"/>
                  <a:pt x="98" y="505"/>
                  <a:pt x="98" y="505"/>
                </a:cubicBezTo>
                <a:cubicBezTo>
                  <a:pt x="98" y="502"/>
                  <a:pt x="98" y="502"/>
                  <a:pt x="98" y="502"/>
                </a:cubicBezTo>
                <a:cubicBezTo>
                  <a:pt x="96" y="500"/>
                  <a:pt x="96" y="500"/>
                  <a:pt x="96" y="500"/>
                </a:cubicBezTo>
                <a:cubicBezTo>
                  <a:pt x="97" y="499"/>
                  <a:pt x="97" y="499"/>
                  <a:pt x="97" y="499"/>
                </a:cubicBezTo>
                <a:cubicBezTo>
                  <a:pt x="97" y="498"/>
                  <a:pt x="97" y="498"/>
                  <a:pt x="97" y="498"/>
                </a:cubicBezTo>
                <a:cubicBezTo>
                  <a:pt x="95" y="498"/>
                  <a:pt x="95" y="498"/>
                  <a:pt x="95" y="498"/>
                </a:cubicBezTo>
                <a:cubicBezTo>
                  <a:pt x="94" y="496"/>
                  <a:pt x="94" y="496"/>
                  <a:pt x="94" y="496"/>
                </a:cubicBezTo>
                <a:cubicBezTo>
                  <a:pt x="93" y="497"/>
                  <a:pt x="93" y="497"/>
                  <a:pt x="93" y="497"/>
                </a:cubicBezTo>
                <a:cubicBezTo>
                  <a:pt x="92" y="497"/>
                  <a:pt x="92" y="497"/>
                  <a:pt x="92" y="497"/>
                </a:cubicBezTo>
                <a:cubicBezTo>
                  <a:pt x="90" y="498"/>
                  <a:pt x="90" y="498"/>
                  <a:pt x="90" y="498"/>
                </a:cubicBezTo>
                <a:cubicBezTo>
                  <a:pt x="87" y="497"/>
                  <a:pt x="87" y="497"/>
                  <a:pt x="87" y="497"/>
                </a:cubicBezTo>
                <a:cubicBezTo>
                  <a:pt x="85" y="494"/>
                  <a:pt x="85" y="494"/>
                  <a:pt x="85" y="494"/>
                </a:cubicBezTo>
                <a:cubicBezTo>
                  <a:pt x="82" y="493"/>
                  <a:pt x="82" y="493"/>
                  <a:pt x="82" y="493"/>
                </a:cubicBezTo>
                <a:cubicBezTo>
                  <a:pt x="82" y="490"/>
                  <a:pt x="82" y="490"/>
                  <a:pt x="82" y="490"/>
                </a:cubicBezTo>
                <a:cubicBezTo>
                  <a:pt x="80" y="488"/>
                  <a:pt x="80" y="488"/>
                  <a:pt x="80" y="488"/>
                </a:cubicBezTo>
                <a:cubicBezTo>
                  <a:pt x="82" y="488"/>
                  <a:pt x="82" y="488"/>
                  <a:pt x="82" y="488"/>
                </a:cubicBezTo>
                <a:cubicBezTo>
                  <a:pt x="84" y="486"/>
                  <a:pt x="84" y="486"/>
                  <a:pt x="84" y="486"/>
                </a:cubicBezTo>
                <a:cubicBezTo>
                  <a:pt x="83" y="485"/>
                  <a:pt x="83" y="485"/>
                  <a:pt x="83" y="485"/>
                </a:cubicBezTo>
                <a:cubicBezTo>
                  <a:pt x="83" y="484"/>
                  <a:pt x="83" y="484"/>
                  <a:pt x="83" y="484"/>
                </a:cubicBezTo>
                <a:cubicBezTo>
                  <a:pt x="83" y="483"/>
                  <a:pt x="83" y="483"/>
                  <a:pt x="83" y="483"/>
                </a:cubicBezTo>
                <a:cubicBezTo>
                  <a:pt x="83" y="481"/>
                  <a:pt x="83" y="481"/>
                  <a:pt x="83" y="481"/>
                </a:cubicBezTo>
                <a:cubicBezTo>
                  <a:pt x="86" y="481"/>
                  <a:pt x="86" y="481"/>
                  <a:pt x="86" y="481"/>
                </a:cubicBezTo>
                <a:cubicBezTo>
                  <a:pt x="88" y="483"/>
                  <a:pt x="88" y="483"/>
                  <a:pt x="88" y="483"/>
                </a:cubicBezTo>
                <a:cubicBezTo>
                  <a:pt x="91" y="483"/>
                  <a:pt x="91" y="483"/>
                  <a:pt x="91" y="483"/>
                </a:cubicBezTo>
                <a:cubicBezTo>
                  <a:pt x="92" y="486"/>
                  <a:pt x="92" y="486"/>
                  <a:pt x="92" y="486"/>
                </a:cubicBezTo>
                <a:cubicBezTo>
                  <a:pt x="94" y="487"/>
                  <a:pt x="94" y="487"/>
                  <a:pt x="94" y="487"/>
                </a:cubicBezTo>
                <a:cubicBezTo>
                  <a:pt x="98" y="487"/>
                  <a:pt x="98" y="487"/>
                  <a:pt x="98" y="487"/>
                </a:cubicBezTo>
                <a:cubicBezTo>
                  <a:pt x="99" y="489"/>
                  <a:pt x="99" y="489"/>
                  <a:pt x="99" y="489"/>
                </a:cubicBezTo>
                <a:cubicBezTo>
                  <a:pt x="101" y="489"/>
                  <a:pt x="101" y="489"/>
                  <a:pt x="101" y="489"/>
                </a:cubicBezTo>
                <a:cubicBezTo>
                  <a:pt x="108" y="492"/>
                  <a:pt x="108" y="492"/>
                  <a:pt x="108" y="492"/>
                </a:cubicBezTo>
                <a:cubicBezTo>
                  <a:pt x="111" y="495"/>
                  <a:pt x="111" y="495"/>
                  <a:pt x="111" y="495"/>
                </a:cubicBezTo>
                <a:cubicBezTo>
                  <a:pt x="112" y="493"/>
                  <a:pt x="112" y="493"/>
                  <a:pt x="112" y="493"/>
                </a:cubicBezTo>
                <a:cubicBezTo>
                  <a:pt x="114" y="492"/>
                  <a:pt x="114" y="492"/>
                  <a:pt x="114" y="492"/>
                </a:cubicBezTo>
                <a:cubicBezTo>
                  <a:pt x="114" y="489"/>
                  <a:pt x="114" y="489"/>
                  <a:pt x="114" y="489"/>
                </a:cubicBezTo>
                <a:cubicBezTo>
                  <a:pt x="115" y="489"/>
                  <a:pt x="115" y="489"/>
                  <a:pt x="115" y="489"/>
                </a:cubicBezTo>
                <a:cubicBezTo>
                  <a:pt x="117" y="487"/>
                  <a:pt x="117" y="487"/>
                  <a:pt x="117" y="487"/>
                </a:cubicBezTo>
                <a:cubicBezTo>
                  <a:pt x="114" y="483"/>
                  <a:pt x="114" y="483"/>
                  <a:pt x="114" y="483"/>
                </a:cubicBezTo>
                <a:cubicBezTo>
                  <a:pt x="109" y="478"/>
                  <a:pt x="109" y="478"/>
                  <a:pt x="109" y="478"/>
                </a:cubicBezTo>
                <a:cubicBezTo>
                  <a:pt x="108" y="475"/>
                  <a:pt x="108" y="475"/>
                  <a:pt x="108" y="475"/>
                </a:cubicBezTo>
                <a:cubicBezTo>
                  <a:pt x="108" y="473"/>
                  <a:pt x="108" y="473"/>
                  <a:pt x="108" y="473"/>
                </a:cubicBezTo>
                <a:cubicBezTo>
                  <a:pt x="111" y="471"/>
                  <a:pt x="111" y="471"/>
                  <a:pt x="111" y="471"/>
                </a:cubicBezTo>
                <a:cubicBezTo>
                  <a:pt x="114" y="468"/>
                  <a:pt x="114" y="468"/>
                  <a:pt x="114" y="468"/>
                </a:cubicBezTo>
                <a:cubicBezTo>
                  <a:pt x="114" y="465"/>
                  <a:pt x="114" y="465"/>
                  <a:pt x="114" y="465"/>
                </a:cubicBezTo>
                <a:cubicBezTo>
                  <a:pt x="116" y="463"/>
                  <a:pt x="116" y="463"/>
                  <a:pt x="116" y="463"/>
                </a:cubicBezTo>
                <a:cubicBezTo>
                  <a:pt x="119" y="463"/>
                  <a:pt x="119" y="463"/>
                  <a:pt x="119" y="463"/>
                </a:cubicBezTo>
                <a:cubicBezTo>
                  <a:pt x="122" y="460"/>
                  <a:pt x="122" y="460"/>
                  <a:pt x="122" y="460"/>
                </a:cubicBezTo>
                <a:cubicBezTo>
                  <a:pt x="125" y="455"/>
                  <a:pt x="125" y="455"/>
                  <a:pt x="125" y="455"/>
                </a:cubicBezTo>
                <a:cubicBezTo>
                  <a:pt x="126" y="454"/>
                  <a:pt x="126" y="454"/>
                  <a:pt x="126" y="454"/>
                </a:cubicBezTo>
                <a:cubicBezTo>
                  <a:pt x="129" y="454"/>
                  <a:pt x="129" y="454"/>
                  <a:pt x="129" y="454"/>
                </a:cubicBezTo>
                <a:cubicBezTo>
                  <a:pt x="131" y="456"/>
                  <a:pt x="131" y="456"/>
                  <a:pt x="131" y="456"/>
                </a:cubicBezTo>
                <a:cubicBezTo>
                  <a:pt x="134" y="456"/>
                  <a:pt x="134" y="456"/>
                  <a:pt x="134" y="456"/>
                </a:cubicBezTo>
                <a:cubicBezTo>
                  <a:pt x="137" y="456"/>
                  <a:pt x="137" y="456"/>
                  <a:pt x="137" y="456"/>
                </a:cubicBezTo>
                <a:cubicBezTo>
                  <a:pt x="138" y="457"/>
                  <a:pt x="138" y="457"/>
                  <a:pt x="138" y="457"/>
                </a:cubicBezTo>
                <a:cubicBezTo>
                  <a:pt x="138" y="460"/>
                  <a:pt x="138" y="460"/>
                  <a:pt x="138" y="460"/>
                </a:cubicBezTo>
                <a:cubicBezTo>
                  <a:pt x="140" y="457"/>
                  <a:pt x="140" y="457"/>
                  <a:pt x="140" y="457"/>
                </a:cubicBezTo>
                <a:cubicBezTo>
                  <a:pt x="143" y="459"/>
                  <a:pt x="143" y="459"/>
                  <a:pt x="143" y="459"/>
                </a:cubicBezTo>
                <a:cubicBezTo>
                  <a:pt x="144" y="462"/>
                  <a:pt x="144" y="462"/>
                  <a:pt x="144" y="462"/>
                </a:cubicBezTo>
                <a:cubicBezTo>
                  <a:pt x="145" y="463"/>
                  <a:pt x="145" y="463"/>
                  <a:pt x="145" y="463"/>
                </a:cubicBezTo>
                <a:cubicBezTo>
                  <a:pt x="145" y="459"/>
                  <a:pt x="145" y="459"/>
                  <a:pt x="145" y="459"/>
                </a:cubicBezTo>
                <a:cubicBezTo>
                  <a:pt x="144" y="456"/>
                  <a:pt x="144" y="456"/>
                  <a:pt x="144" y="456"/>
                </a:cubicBezTo>
                <a:cubicBezTo>
                  <a:pt x="144" y="455"/>
                  <a:pt x="144" y="455"/>
                  <a:pt x="144" y="455"/>
                </a:cubicBezTo>
                <a:cubicBezTo>
                  <a:pt x="144" y="450"/>
                  <a:pt x="144" y="450"/>
                  <a:pt x="144" y="450"/>
                </a:cubicBezTo>
                <a:cubicBezTo>
                  <a:pt x="145" y="449"/>
                  <a:pt x="145" y="449"/>
                  <a:pt x="145" y="449"/>
                </a:cubicBezTo>
                <a:cubicBezTo>
                  <a:pt x="144" y="448"/>
                  <a:pt x="144" y="448"/>
                  <a:pt x="144" y="448"/>
                </a:cubicBezTo>
                <a:cubicBezTo>
                  <a:pt x="144" y="447"/>
                  <a:pt x="144" y="447"/>
                  <a:pt x="144" y="447"/>
                </a:cubicBezTo>
                <a:cubicBezTo>
                  <a:pt x="144" y="446"/>
                  <a:pt x="144" y="446"/>
                  <a:pt x="144" y="446"/>
                </a:cubicBezTo>
                <a:cubicBezTo>
                  <a:pt x="144" y="444"/>
                  <a:pt x="144" y="444"/>
                  <a:pt x="144" y="444"/>
                </a:cubicBezTo>
                <a:cubicBezTo>
                  <a:pt x="144" y="443"/>
                  <a:pt x="144" y="443"/>
                  <a:pt x="144" y="443"/>
                </a:cubicBezTo>
                <a:cubicBezTo>
                  <a:pt x="143" y="442"/>
                  <a:pt x="143" y="442"/>
                  <a:pt x="143" y="442"/>
                </a:cubicBezTo>
                <a:cubicBezTo>
                  <a:pt x="141" y="440"/>
                  <a:pt x="141" y="440"/>
                  <a:pt x="141" y="440"/>
                </a:cubicBezTo>
                <a:cubicBezTo>
                  <a:pt x="137" y="440"/>
                  <a:pt x="137" y="440"/>
                  <a:pt x="137" y="440"/>
                </a:cubicBezTo>
                <a:cubicBezTo>
                  <a:pt x="137" y="438"/>
                  <a:pt x="137" y="438"/>
                  <a:pt x="137" y="438"/>
                </a:cubicBezTo>
                <a:cubicBezTo>
                  <a:pt x="137" y="435"/>
                  <a:pt x="137" y="435"/>
                  <a:pt x="137" y="435"/>
                </a:cubicBezTo>
                <a:cubicBezTo>
                  <a:pt x="137" y="430"/>
                  <a:pt x="137" y="430"/>
                  <a:pt x="137" y="430"/>
                </a:cubicBezTo>
                <a:cubicBezTo>
                  <a:pt x="138" y="430"/>
                  <a:pt x="138" y="430"/>
                  <a:pt x="138" y="430"/>
                </a:cubicBezTo>
                <a:cubicBezTo>
                  <a:pt x="138" y="428"/>
                  <a:pt x="138" y="428"/>
                  <a:pt x="138" y="428"/>
                </a:cubicBezTo>
                <a:cubicBezTo>
                  <a:pt x="138" y="426"/>
                  <a:pt x="138" y="426"/>
                  <a:pt x="138" y="426"/>
                </a:cubicBezTo>
                <a:cubicBezTo>
                  <a:pt x="139" y="425"/>
                  <a:pt x="139" y="425"/>
                  <a:pt x="139" y="425"/>
                </a:cubicBezTo>
                <a:cubicBezTo>
                  <a:pt x="137" y="424"/>
                  <a:pt x="137" y="424"/>
                  <a:pt x="137" y="424"/>
                </a:cubicBezTo>
                <a:cubicBezTo>
                  <a:pt x="137" y="421"/>
                  <a:pt x="137" y="421"/>
                  <a:pt x="137" y="421"/>
                </a:cubicBezTo>
                <a:cubicBezTo>
                  <a:pt x="136" y="417"/>
                  <a:pt x="136" y="417"/>
                  <a:pt x="136" y="417"/>
                </a:cubicBezTo>
                <a:cubicBezTo>
                  <a:pt x="133" y="415"/>
                  <a:pt x="133" y="415"/>
                  <a:pt x="133" y="415"/>
                </a:cubicBezTo>
                <a:cubicBezTo>
                  <a:pt x="128" y="410"/>
                  <a:pt x="128" y="410"/>
                  <a:pt x="128" y="410"/>
                </a:cubicBezTo>
                <a:cubicBezTo>
                  <a:pt x="127" y="409"/>
                  <a:pt x="127" y="409"/>
                  <a:pt x="127" y="409"/>
                </a:cubicBezTo>
                <a:cubicBezTo>
                  <a:pt x="130" y="409"/>
                  <a:pt x="130" y="409"/>
                  <a:pt x="130" y="409"/>
                </a:cubicBezTo>
                <a:cubicBezTo>
                  <a:pt x="134" y="412"/>
                  <a:pt x="134" y="412"/>
                  <a:pt x="134" y="412"/>
                </a:cubicBezTo>
                <a:cubicBezTo>
                  <a:pt x="137" y="412"/>
                  <a:pt x="137" y="412"/>
                  <a:pt x="137" y="412"/>
                </a:cubicBezTo>
                <a:cubicBezTo>
                  <a:pt x="139" y="411"/>
                  <a:pt x="139" y="411"/>
                  <a:pt x="139" y="411"/>
                </a:cubicBezTo>
                <a:cubicBezTo>
                  <a:pt x="142" y="411"/>
                  <a:pt x="142" y="411"/>
                  <a:pt x="142" y="411"/>
                </a:cubicBezTo>
                <a:cubicBezTo>
                  <a:pt x="148" y="412"/>
                  <a:pt x="148" y="412"/>
                  <a:pt x="148" y="412"/>
                </a:cubicBezTo>
                <a:cubicBezTo>
                  <a:pt x="151" y="413"/>
                  <a:pt x="151" y="413"/>
                  <a:pt x="151" y="413"/>
                </a:cubicBezTo>
                <a:cubicBezTo>
                  <a:pt x="151" y="415"/>
                  <a:pt x="151" y="415"/>
                  <a:pt x="151" y="415"/>
                </a:cubicBezTo>
                <a:cubicBezTo>
                  <a:pt x="153" y="418"/>
                  <a:pt x="153" y="418"/>
                  <a:pt x="153" y="418"/>
                </a:cubicBezTo>
                <a:cubicBezTo>
                  <a:pt x="155" y="418"/>
                  <a:pt x="155" y="418"/>
                  <a:pt x="155" y="418"/>
                </a:cubicBezTo>
                <a:cubicBezTo>
                  <a:pt x="156" y="420"/>
                  <a:pt x="156" y="420"/>
                  <a:pt x="156" y="420"/>
                </a:cubicBezTo>
                <a:cubicBezTo>
                  <a:pt x="159" y="424"/>
                  <a:pt x="159" y="424"/>
                  <a:pt x="159" y="424"/>
                </a:cubicBezTo>
                <a:cubicBezTo>
                  <a:pt x="158" y="425"/>
                  <a:pt x="158" y="425"/>
                  <a:pt x="158" y="425"/>
                </a:cubicBezTo>
                <a:cubicBezTo>
                  <a:pt x="155" y="425"/>
                  <a:pt x="155" y="425"/>
                  <a:pt x="155" y="425"/>
                </a:cubicBezTo>
                <a:cubicBezTo>
                  <a:pt x="154" y="427"/>
                  <a:pt x="154" y="427"/>
                  <a:pt x="154" y="427"/>
                </a:cubicBezTo>
                <a:cubicBezTo>
                  <a:pt x="150" y="427"/>
                  <a:pt x="150" y="427"/>
                  <a:pt x="150" y="427"/>
                </a:cubicBezTo>
                <a:cubicBezTo>
                  <a:pt x="149" y="428"/>
                  <a:pt x="149" y="428"/>
                  <a:pt x="149" y="428"/>
                </a:cubicBezTo>
                <a:cubicBezTo>
                  <a:pt x="150" y="429"/>
                  <a:pt x="150" y="429"/>
                  <a:pt x="150" y="429"/>
                </a:cubicBezTo>
                <a:cubicBezTo>
                  <a:pt x="149" y="431"/>
                  <a:pt x="149" y="431"/>
                  <a:pt x="149" y="431"/>
                </a:cubicBezTo>
                <a:cubicBezTo>
                  <a:pt x="148" y="430"/>
                  <a:pt x="148" y="430"/>
                  <a:pt x="148" y="430"/>
                </a:cubicBezTo>
                <a:cubicBezTo>
                  <a:pt x="147" y="431"/>
                  <a:pt x="147" y="431"/>
                  <a:pt x="147" y="431"/>
                </a:cubicBezTo>
                <a:cubicBezTo>
                  <a:pt x="147" y="434"/>
                  <a:pt x="147" y="434"/>
                  <a:pt x="147" y="434"/>
                </a:cubicBezTo>
                <a:cubicBezTo>
                  <a:pt x="148" y="435"/>
                  <a:pt x="148" y="435"/>
                  <a:pt x="148" y="435"/>
                </a:cubicBezTo>
                <a:cubicBezTo>
                  <a:pt x="153" y="439"/>
                  <a:pt x="153" y="439"/>
                  <a:pt x="153" y="439"/>
                </a:cubicBezTo>
                <a:cubicBezTo>
                  <a:pt x="157" y="444"/>
                  <a:pt x="157" y="444"/>
                  <a:pt x="157" y="444"/>
                </a:cubicBezTo>
                <a:cubicBezTo>
                  <a:pt x="159" y="444"/>
                  <a:pt x="159" y="444"/>
                  <a:pt x="159" y="444"/>
                </a:cubicBezTo>
                <a:cubicBezTo>
                  <a:pt x="162" y="442"/>
                  <a:pt x="162" y="442"/>
                  <a:pt x="162" y="442"/>
                </a:cubicBezTo>
                <a:cubicBezTo>
                  <a:pt x="163" y="445"/>
                  <a:pt x="163" y="445"/>
                  <a:pt x="163" y="445"/>
                </a:cubicBezTo>
                <a:cubicBezTo>
                  <a:pt x="164" y="443"/>
                  <a:pt x="164" y="443"/>
                  <a:pt x="164" y="443"/>
                </a:cubicBezTo>
                <a:cubicBezTo>
                  <a:pt x="166" y="443"/>
                  <a:pt x="166" y="443"/>
                  <a:pt x="166" y="443"/>
                </a:cubicBezTo>
                <a:cubicBezTo>
                  <a:pt x="167" y="442"/>
                  <a:pt x="167" y="442"/>
                  <a:pt x="167" y="442"/>
                </a:cubicBezTo>
                <a:cubicBezTo>
                  <a:pt x="171" y="441"/>
                  <a:pt x="171" y="441"/>
                  <a:pt x="171" y="441"/>
                </a:cubicBezTo>
                <a:cubicBezTo>
                  <a:pt x="171" y="438"/>
                  <a:pt x="171" y="438"/>
                  <a:pt x="171" y="438"/>
                </a:cubicBezTo>
                <a:cubicBezTo>
                  <a:pt x="171" y="435"/>
                  <a:pt x="171" y="435"/>
                  <a:pt x="171" y="435"/>
                </a:cubicBezTo>
                <a:cubicBezTo>
                  <a:pt x="172" y="433"/>
                  <a:pt x="172" y="433"/>
                  <a:pt x="172" y="433"/>
                </a:cubicBezTo>
                <a:cubicBezTo>
                  <a:pt x="172" y="431"/>
                  <a:pt x="172" y="431"/>
                  <a:pt x="172" y="431"/>
                </a:cubicBezTo>
                <a:cubicBezTo>
                  <a:pt x="170" y="429"/>
                  <a:pt x="170" y="429"/>
                  <a:pt x="170" y="429"/>
                </a:cubicBezTo>
                <a:cubicBezTo>
                  <a:pt x="171" y="428"/>
                  <a:pt x="171" y="428"/>
                  <a:pt x="171" y="428"/>
                </a:cubicBezTo>
                <a:cubicBezTo>
                  <a:pt x="177" y="427"/>
                  <a:pt x="177" y="427"/>
                  <a:pt x="177" y="427"/>
                </a:cubicBezTo>
                <a:cubicBezTo>
                  <a:pt x="178" y="426"/>
                  <a:pt x="178" y="426"/>
                  <a:pt x="178" y="426"/>
                </a:cubicBezTo>
                <a:cubicBezTo>
                  <a:pt x="181" y="427"/>
                  <a:pt x="181" y="427"/>
                  <a:pt x="181" y="427"/>
                </a:cubicBezTo>
                <a:cubicBezTo>
                  <a:pt x="181" y="426"/>
                  <a:pt x="181" y="426"/>
                  <a:pt x="181" y="426"/>
                </a:cubicBezTo>
                <a:cubicBezTo>
                  <a:pt x="178" y="424"/>
                  <a:pt x="178" y="424"/>
                  <a:pt x="178" y="424"/>
                </a:cubicBezTo>
                <a:cubicBezTo>
                  <a:pt x="177" y="421"/>
                  <a:pt x="177" y="421"/>
                  <a:pt x="177" y="421"/>
                </a:cubicBezTo>
                <a:cubicBezTo>
                  <a:pt x="178" y="421"/>
                  <a:pt x="178" y="421"/>
                  <a:pt x="178" y="421"/>
                </a:cubicBezTo>
                <a:cubicBezTo>
                  <a:pt x="180" y="423"/>
                  <a:pt x="180" y="423"/>
                  <a:pt x="180" y="423"/>
                </a:cubicBezTo>
                <a:cubicBezTo>
                  <a:pt x="182" y="422"/>
                  <a:pt x="182" y="422"/>
                  <a:pt x="182" y="422"/>
                </a:cubicBezTo>
                <a:cubicBezTo>
                  <a:pt x="186" y="417"/>
                  <a:pt x="186" y="417"/>
                  <a:pt x="186" y="417"/>
                </a:cubicBezTo>
                <a:cubicBezTo>
                  <a:pt x="187" y="417"/>
                  <a:pt x="187" y="417"/>
                  <a:pt x="187" y="417"/>
                </a:cubicBezTo>
                <a:cubicBezTo>
                  <a:pt x="191" y="412"/>
                  <a:pt x="191" y="412"/>
                  <a:pt x="191" y="412"/>
                </a:cubicBezTo>
                <a:cubicBezTo>
                  <a:pt x="191" y="410"/>
                  <a:pt x="191" y="410"/>
                  <a:pt x="191" y="410"/>
                </a:cubicBezTo>
                <a:cubicBezTo>
                  <a:pt x="192" y="410"/>
                  <a:pt x="192" y="410"/>
                  <a:pt x="192" y="410"/>
                </a:cubicBezTo>
                <a:cubicBezTo>
                  <a:pt x="195" y="410"/>
                  <a:pt x="195" y="410"/>
                  <a:pt x="195" y="410"/>
                </a:cubicBezTo>
                <a:cubicBezTo>
                  <a:pt x="198" y="409"/>
                  <a:pt x="198" y="409"/>
                  <a:pt x="198" y="409"/>
                </a:cubicBezTo>
                <a:cubicBezTo>
                  <a:pt x="198" y="407"/>
                  <a:pt x="198" y="407"/>
                  <a:pt x="198" y="407"/>
                </a:cubicBezTo>
                <a:cubicBezTo>
                  <a:pt x="202" y="406"/>
                  <a:pt x="202" y="406"/>
                  <a:pt x="202" y="406"/>
                </a:cubicBezTo>
                <a:cubicBezTo>
                  <a:pt x="203" y="408"/>
                  <a:pt x="203" y="408"/>
                  <a:pt x="203" y="408"/>
                </a:cubicBezTo>
                <a:cubicBezTo>
                  <a:pt x="203" y="408"/>
                  <a:pt x="203" y="408"/>
                  <a:pt x="203" y="408"/>
                </a:cubicBezTo>
                <a:cubicBezTo>
                  <a:pt x="204" y="409"/>
                  <a:pt x="204" y="409"/>
                  <a:pt x="204" y="409"/>
                </a:cubicBezTo>
                <a:cubicBezTo>
                  <a:pt x="203" y="411"/>
                  <a:pt x="203" y="411"/>
                  <a:pt x="203" y="411"/>
                </a:cubicBezTo>
                <a:cubicBezTo>
                  <a:pt x="204" y="411"/>
                  <a:pt x="204" y="411"/>
                  <a:pt x="204" y="411"/>
                </a:cubicBezTo>
                <a:cubicBezTo>
                  <a:pt x="207" y="409"/>
                  <a:pt x="207" y="409"/>
                  <a:pt x="207" y="409"/>
                </a:cubicBezTo>
                <a:cubicBezTo>
                  <a:pt x="207" y="408"/>
                  <a:pt x="207" y="408"/>
                  <a:pt x="207" y="408"/>
                </a:cubicBezTo>
                <a:cubicBezTo>
                  <a:pt x="206" y="407"/>
                  <a:pt x="206" y="407"/>
                  <a:pt x="206" y="407"/>
                </a:cubicBezTo>
                <a:cubicBezTo>
                  <a:pt x="204" y="405"/>
                  <a:pt x="204" y="405"/>
                  <a:pt x="204" y="405"/>
                </a:cubicBezTo>
                <a:cubicBezTo>
                  <a:pt x="204" y="404"/>
                  <a:pt x="204" y="404"/>
                  <a:pt x="204" y="404"/>
                </a:cubicBezTo>
                <a:cubicBezTo>
                  <a:pt x="208" y="401"/>
                  <a:pt x="208" y="401"/>
                  <a:pt x="208" y="401"/>
                </a:cubicBezTo>
                <a:cubicBezTo>
                  <a:pt x="208" y="400"/>
                  <a:pt x="208" y="400"/>
                  <a:pt x="208" y="400"/>
                </a:cubicBezTo>
                <a:cubicBezTo>
                  <a:pt x="209" y="402"/>
                  <a:pt x="209" y="402"/>
                  <a:pt x="209" y="402"/>
                </a:cubicBezTo>
                <a:cubicBezTo>
                  <a:pt x="208" y="402"/>
                  <a:pt x="208" y="402"/>
                  <a:pt x="208" y="402"/>
                </a:cubicBezTo>
                <a:cubicBezTo>
                  <a:pt x="207" y="403"/>
                  <a:pt x="207" y="403"/>
                  <a:pt x="207" y="403"/>
                </a:cubicBezTo>
                <a:cubicBezTo>
                  <a:pt x="209" y="405"/>
                  <a:pt x="209" y="405"/>
                  <a:pt x="209" y="405"/>
                </a:cubicBezTo>
                <a:cubicBezTo>
                  <a:pt x="211" y="405"/>
                  <a:pt x="211" y="405"/>
                  <a:pt x="211" y="405"/>
                </a:cubicBezTo>
                <a:cubicBezTo>
                  <a:pt x="212" y="403"/>
                  <a:pt x="212" y="403"/>
                  <a:pt x="212" y="403"/>
                </a:cubicBezTo>
                <a:cubicBezTo>
                  <a:pt x="211" y="402"/>
                  <a:pt x="211" y="402"/>
                  <a:pt x="211" y="402"/>
                </a:cubicBezTo>
                <a:cubicBezTo>
                  <a:pt x="210" y="400"/>
                  <a:pt x="210" y="400"/>
                  <a:pt x="210" y="400"/>
                </a:cubicBezTo>
                <a:cubicBezTo>
                  <a:pt x="210" y="399"/>
                  <a:pt x="210" y="399"/>
                  <a:pt x="210" y="399"/>
                </a:cubicBezTo>
                <a:cubicBezTo>
                  <a:pt x="211" y="398"/>
                  <a:pt x="211" y="398"/>
                  <a:pt x="211" y="398"/>
                </a:cubicBezTo>
                <a:cubicBezTo>
                  <a:pt x="217" y="395"/>
                  <a:pt x="217" y="395"/>
                  <a:pt x="217" y="395"/>
                </a:cubicBezTo>
                <a:cubicBezTo>
                  <a:pt x="221" y="395"/>
                  <a:pt x="221" y="395"/>
                  <a:pt x="221" y="395"/>
                </a:cubicBezTo>
                <a:cubicBezTo>
                  <a:pt x="221" y="396"/>
                  <a:pt x="221" y="396"/>
                  <a:pt x="221" y="396"/>
                </a:cubicBezTo>
                <a:cubicBezTo>
                  <a:pt x="219" y="397"/>
                  <a:pt x="219" y="397"/>
                  <a:pt x="219" y="397"/>
                </a:cubicBezTo>
                <a:cubicBezTo>
                  <a:pt x="217" y="397"/>
                  <a:pt x="217" y="397"/>
                  <a:pt x="217" y="397"/>
                </a:cubicBezTo>
                <a:cubicBezTo>
                  <a:pt x="213" y="399"/>
                  <a:pt x="213" y="399"/>
                  <a:pt x="213" y="399"/>
                </a:cubicBezTo>
                <a:cubicBezTo>
                  <a:pt x="214" y="400"/>
                  <a:pt x="214" y="400"/>
                  <a:pt x="214" y="400"/>
                </a:cubicBezTo>
                <a:cubicBezTo>
                  <a:pt x="216" y="400"/>
                  <a:pt x="216" y="400"/>
                  <a:pt x="216" y="400"/>
                </a:cubicBezTo>
                <a:cubicBezTo>
                  <a:pt x="217" y="399"/>
                  <a:pt x="217" y="399"/>
                  <a:pt x="217" y="399"/>
                </a:cubicBezTo>
                <a:cubicBezTo>
                  <a:pt x="219" y="402"/>
                  <a:pt x="219" y="402"/>
                  <a:pt x="219" y="402"/>
                </a:cubicBezTo>
                <a:cubicBezTo>
                  <a:pt x="218" y="403"/>
                  <a:pt x="218" y="403"/>
                  <a:pt x="218" y="403"/>
                </a:cubicBezTo>
                <a:cubicBezTo>
                  <a:pt x="217" y="403"/>
                  <a:pt x="217" y="403"/>
                  <a:pt x="217" y="403"/>
                </a:cubicBezTo>
                <a:cubicBezTo>
                  <a:pt x="219" y="406"/>
                  <a:pt x="219" y="406"/>
                  <a:pt x="219" y="406"/>
                </a:cubicBezTo>
                <a:cubicBezTo>
                  <a:pt x="218" y="407"/>
                  <a:pt x="218" y="407"/>
                  <a:pt x="218" y="407"/>
                </a:cubicBezTo>
                <a:cubicBezTo>
                  <a:pt x="216" y="407"/>
                  <a:pt x="216" y="407"/>
                  <a:pt x="216" y="407"/>
                </a:cubicBezTo>
                <a:cubicBezTo>
                  <a:pt x="214" y="409"/>
                  <a:pt x="214" y="409"/>
                  <a:pt x="214" y="409"/>
                </a:cubicBezTo>
                <a:cubicBezTo>
                  <a:pt x="214" y="411"/>
                  <a:pt x="214" y="411"/>
                  <a:pt x="214" y="411"/>
                </a:cubicBezTo>
                <a:cubicBezTo>
                  <a:pt x="216" y="411"/>
                  <a:pt x="216" y="411"/>
                  <a:pt x="216" y="411"/>
                </a:cubicBezTo>
                <a:cubicBezTo>
                  <a:pt x="217" y="411"/>
                  <a:pt x="217" y="411"/>
                  <a:pt x="217" y="411"/>
                </a:cubicBezTo>
                <a:cubicBezTo>
                  <a:pt x="219" y="411"/>
                  <a:pt x="219" y="411"/>
                  <a:pt x="219" y="411"/>
                </a:cubicBezTo>
                <a:cubicBezTo>
                  <a:pt x="220" y="410"/>
                  <a:pt x="220" y="410"/>
                  <a:pt x="220" y="410"/>
                </a:cubicBezTo>
                <a:cubicBezTo>
                  <a:pt x="222" y="411"/>
                  <a:pt x="222" y="411"/>
                  <a:pt x="222" y="411"/>
                </a:cubicBezTo>
                <a:cubicBezTo>
                  <a:pt x="222" y="413"/>
                  <a:pt x="222" y="413"/>
                  <a:pt x="222" y="413"/>
                </a:cubicBezTo>
                <a:cubicBezTo>
                  <a:pt x="223" y="411"/>
                  <a:pt x="223" y="411"/>
                  <a:pt x="223" y="411"/>
                </a:cubicBezTo>
                <a:cubicBezTo>
                  <a:pt x="226" y="408"/>
                  <a:pt x="226" y="408"/>
                  <a:pt x="226" y="408"/>
                </a:cubicBezTo>
                <a:cubicBezTo>
                  <a:pt x="227" y="408"/>
                  <a:pt x="227" y="408"/>
                  <a:pt x="227" y="408"/>
                </a:cubicBezTo>
                <a:cubicBezTo>
                  <a:pt x="228" y="410"/>
                  <a:pt x="228" y="410"/>
                  <a:pt x="228" y="410"/>
                </a:cubicBezTo>
                <a:cubicBezTo>
                  <a:pt x="229" y="411"/>
                  <a:pt x="229" y="411"/>
                  <a:pt x="229" y="411"/>
                </a:cubicBezTo>
                <a:cubicBezTo>
                  <a:pt x="230" y="410"/>
                  <a:pt x="230" y="410"/>
                  <a:pt x="230" y="410"/>
                </a:cubicBezTo>
                <a:cubicBezTo>
                  <a:pt x="230" y="409"/>
                  <a:pt x="230" y="409"/>
                  <a:pt x="230" y="409"/>
                </a:cubicBezTo>
                <a:cubicBezTo>
                  <a:pt x="230" y="407"/>
                  <a:pt x="230" y="407"/>
                  <a:pt x="230" y="407"/>
                </a:cubicBezTo>
                <a:cubicBezTo>
                  <a:pt x="229" y="406"/>
                  <a:pt x="229" y="406"/>
                  <a:pt x="229" y="406"/>
                </a:cubicBezTo>
                <a:cubicBezTo>
                  <a:pt x="228" y="405"/>
                  <a:pt x="228" y="405"/>
                  <a:pt x="228" y="405"/>
                </a:cubicBezTo>
                <a:cubicBezTo>
                  <a:pt x="230" y="403"/>
                  <a:pt x="230" y="403"/>
                  <a:pt x="230" y="403"/>
                </a:cubicBezTo>
                <a:cubicBezTo>
                  <a:pt x="232" y="403"/>
                  <a:pt x="232" y="403"/>
                  <a:pt x="232" y="403"/>
                </a:cubicBezTo>
                <a:cubicBezTo>
                  <a:pt x="233" y="402"/>
                  <a:pt x="233" y="402"/>
                  <a:pt x="233" y="402"/>
                </a:cubicBezTo>
                <a:cubicBezTo>
                  <a:pt x="236" y="400"/>
                  <a:pt x="236" y="400"/>
                  <a:pt x="236" y="400"/>
                </a:cubicBezTo>
                <a:cubicBezTo>
                  <a:pt x="237" y="401"/>
                  <a:pt x="237" y="401"/>
                  <a:pt x="237" y="401"/>
                </a:cubicBezTo>
                <a:cubicBezTo>
                  <a:pt x="239" y="401"/>
                  <a:pt x="239" y="401"/>
                  <a:pt x="239" y="401"/>
                </a:cubicBezTo>
                <a:cubicBezTo>
                  <a:pt x="239" y="401"/>
                  <a:pt x="239" y="401"/>
                  <a:pt x="239" y="401"/>
                </a:cubicBezTo>
                <a:cubicBezTo>
                  <a:pt x="241" y="401"/>
                  <a:pt x="241" y="401"/>
                  <a:pt x="241" y="401"/>
                </a:cubicBezTo>
                <a:cubicBezTo>
                  <a:pt x="246" y="401"/>
                  <a:pt x="246" y="401"/>
                  <a:pt x="246" y="401"/>
                </a:cubicBezTo>
                <a:cubicBezTo>
                  <a:pt x="247" y="400"/>
                  <a:pt x="247" y="400"/>
                  <a:pt x="247" y="400"/>
                </a:cubicBezTo>
                <a:cubicBezTo>
                  <a:pt x="247" y="399"/>
                  <a:pt x="247" y="399"/>
                  <a:pt x="247" y="399"/>
                </a:cubicBezTo>
                <a:cubicBezTo>
                  <a:pt x="248" y="397"/>
                  <a:pt x="248" y="397"/>
                  <a:pt x="248" y="397"/>
                </a:cubicBezTo>
                <a:cubicBezTo>
                  <a:pt x="251" y="397"/>
                  <a:pt x="251" y="397"/>
                  <a:pt x="251" y="397"/>
                </a:cubicBezTo>
                <a:cubicBezTo>
                  <a:pt x="251" y="396"/>
                  <a:pt x="251" y="396"/>
                  <a:pt x="251" y="396"/>
                </a:cubicBezTo>
                <a:cubicBezTo>
                  <a:pt x="253" y="394"/>
                  <a:pt x="253" y="394"/>
                  <a:pt x="253" y="394"/>
                </a:cubicBezTo>
                <a:cubicBezTo>
                  <a:pt x="255" y="394"/>
                  <a:pt x="255" y="394"/>
                  <a:pt x="255" y="394"/>
                </a:cubicBezTo>
                <a:cubicBezTo>
                  <a:pt x="258" y="391"/>
                  <a:pt x="258" y="391"/>
                  <a:pt x="258" y="391"/>
                </a:cubicBezTo>
                <a:cubicBezTo>
                  <a:pt x="259" y="391"/>
                  <a:pt x="259" y="391"/>
                  <a:pt x="259" y="391"/>
                </a:cubicBezTo>
                <a:cubicBezTo>
                  <a:pt x="260" y="390"/>
                  <a:pt x="260" y="390"/>
                  <a:pt x="260" y="390"/>
                </a:cubicBezTo>
                <a:cubicBezTo>
                  <a:pt x="261" y="391"/>
                  <a:pt x="261" y="391"/>
                  <a:pt x="261" y="391"/>
                </a:cubicBezTo>
                <a:cubicBezTo>
                  <a:pt x="259" y="393"/>
                  <a:pt x="259" y="393"/>
                  <a:pt x="259" y="393"/>
                </a:cubicBezTo>
                <a:cubicBezTo>
                  <a:pt x="261" y="393"/>
                  <a:pt x="261" y="393"/>
                  <a:pt x="261" y="393"/>
                </a:cubicBezTo>
                <a:cubicBezTo>
                  <a:pt x="263" y="396"/>
                  <a:pt x="263" y="396"/>
                  <a:pt x="263" y="396"/>
                </a:cubicBezTo>
                <a:cubicBezTo>
                  <a:pt x="263" y="397"/>
                  <a:pt x="263" y="397"/>
                  <a:pt x="263" y="397"/>
                </a:cubicBezTo>
                <a:cubicBezTo>
                  <a:pt x="261" y="398"/>
                  <a:pt x="261" y="398"/>
                  <a:pt x="261" y="398"/>
                </a:cubicBezTo>
                <a:cubicBezTo>
                  <a:pt x="262" y="400"/>
                  <a:pt x="262" y="400"/>
                  <a:pt x="262" y="400"/>
                </a:cubicBezTo>
                <a:cubicBezTo>
                  <a:pt x="262" y="402"/>
                  <a:pt x="262" y="402"/>
                  <a:pt x="262" y="402"/>
                </a:cubicBezTo>
                <a:cubicBezTo>
                  <a:pt x="263" y="404"/>
                  <a:pt x="263" y="404"/>
                  <a:pt x="263" y="404"/>
                </a:cubicBezTo>
                <a:cubicBezTo>
                  <a:pt x="269" y="404"/>
                  <a:pt x="269" y="404"/>
                  <a:pt x="269" y="404"/>
                </a:cubicBezTo>
                <a:cubicBezTo>
                  <a:pt x="270" y="403"/>
                  <a:pt x="270" y="403"/>
                  <a:pt x="270" y="403"/>
                </a:cubicBezTo>
                <a:cubicBezTo>
                  <a:pt x="270" y="401"/>
                  <a:pt x="270" y="401"/>
                  <a:pt x="270" y="401"/>
                </a:cubicBezTo>
                <a:cubicBezTo>
                  <a:pt x="269" y="401"/>
                  <a:pt x="269" y="401"/>
                  <a:pt x="269" y="401"/>
                </a:cubicBezTo>
                <a:cubicBezTo>
                  <a:pt x="267" y="398"/>
                  <a:pt x="267" y="398"/>
                  <a:pt x="267" y="398"/>
                </a:cubicBezTo>
                <a:cubicBezTo>
                  <a:pt x="267" y="397"/>
                  <a:pt x="267" y="397"/>
                  <a:pt x="267" y="397"/>
                </a:cubicBezTo>
                <a:cubicBezTo>
                  <a:pt x="268" y="396"/>
                  <a:pt x="268" y="396"/>
                  <a:pt x="268" y="396"/>
                </a:cubicBezTo>
                <a:cubicBezTo>
                  <a:pt x="271" y="397"/>
                  <a:pt x="271" y="397"/>
                  <a:pt x="271" y="397"/>
                </a:cubicBezTo>
                <a:cubicBezTo>
                  <a:pt x="273" y="395"/>
                  <a:pt x="273" y="395"/>
                  <a:pt x="273" y="395"/>
                </a:cubicBezTo>
                <a:cubicBezTo>
                  <a:pt x="274" y="392"/>
                  <a:pt x="274" y="392"/>
                  <a:pt x="274" y="392"/>
                </a:cubicBezTo>
                <a:cubicBezTo>
                  <a:pt x="276" y="392"/>
                  <a:pt x="276" y="392"/>
                  <a:pt x="276" y="392"/>
                </a:cubicBezTo>
                <a:cubicBezTo>
                  <a:pt x="277" y="393"/>
                  <a:pt x="277" y="393"/>
                  <a:pt x="277" y="393"/>
                </a:cubicBezTo>
                <a:cubicBezTo>
                  <a:pt x="280" y="393"/>
                  <a:pt x="280" y="393"/>
                  <a:pt x="280" y="393"/>
                </a:cubicBezTo>
                <a:cubicBezTo>
                  <a:pt x="277" y="390"/>
                  <a:pt x="277" y="390"/>
                  <a:pt x="277" y="390"/>
                </a:cubicBezTo>
                <a:cubicBezTo>
                  <a:pt x="274" y="389"/>
                  <a:pt x="274" y="389"/>
                  <a:pt x="274" y="389"/>
                </a:cubicBezTo>
                <a:cubicBezTo>
                  <a:pt x="274" y="387"/>
                  <a:pt x="274" y="387"/>
                  <a:pt x="274" y="387"/>
                </a:cubicBezTo>
                <a:cubicBezTo>
                  <a:pt x="272" y="384"/>
                  <a:pt x="272" y="384"/>
                  <a:pt x="272" y="384"/>
                </a:cubicBezTo>
                <a:cubicBezTo>
                  <a:pt x="271" y="384"/>
                  <a:pt x="271" y="384"/>
                  <a:pt x="271" y="384"/>
                </a:cubicBezTo>
                <a:cubicBezTo>
                  <a:pt x="270" y="386"/>
                  <a:pt x="270" y="386"/>
                  <a:pt x="270" y="386"/>
                </a:cubicBezTo>
                <a:cubicBezTo>
                  <a:pt x="269" y="384"/>
                  <a:pt x="269" y="384"/>
                  <a:pt x="269" y="384"/>
                </a:cubicBezTo>
                <a:cubicBezTo>
                  <a:pt x="268" y="380"/>
                  <a:pt x="268" y="380"/>
                  <a:pt x="268" y="380"/>
                </a:cubicBezTo>
                <a:cubicBezTo>
                  <a:pt x="267" y="379"/>
                  <a:pt x="267" y="379"/>
                  <a:pt x="267" y="379"/>
                </a:cubicBezTo>
                <a:cubicBezTo>
                  <a:pt x="265" y="377"/>
                  <a:pt x="265" y="377"/>
                  <a:pt x="265" y="377"/>
                </a:cubicBezTo>
                <a:cubicBezTo>
                  <a:pt x="265" y="376"/>
                  <a:pt x="265" y="376"/>
                  <a:pt x="265" y="376"/>
                </a:cubicBezTo>
                <a:cubicBezTo>
                  <a:pt x="268" y="375"/>
                  <a:pt x="268" y="375"/>
                  <a:pt x="268" y="375"/>
                </a:cubicBezTo>
                <a:cubicBezTo>
                  <a:pt x="268" y="373"/>
                  <a:pt x="268" y="373"/>
                  <a:pt x="268" y="373"/>
                </a:cubicBezTo>
                <a:cubicBezTo>
                  <a:pt x="267" y="371"/>
                  <a:pt x="267" y="371"/>
                  <a:pt x="267" y="371"/>
                </a:cubicBezTo>
                <a:cubicBezTo>
                  <a:pt x="268" y="370"/>
                  <a:pt x="268" y="370"/>
                  <a:pt x="268" y="370"/>
                </a:cubicBezTo>
                <a:cubicBezTo>
                  <a:pt x="270" y="370"/>
                  <a:pt x="270" y="370"/>
                  <a:pt x="270" y="370"/>
                </a:cubicBezTo>
                <a:cubicBezTo>
                  <a:pt x="270" y="370"/>
                  <a:pt x="270" y="370"/>
                  <a:pt x="270" y="370"/>
                </a:cubicBezTo>
                <a:cubicBezTo>
                  <a:pt x="272" y="371"/>
                  <a:pt x="272" y="371"/>
                  <a:pt x="272" y="371"/>
                </a:cubicBezTo>
                <a:cubicBezTo>
                  <a:pt x="274" y="371"/>
                  <a:pt x="274" y="371"/>
                  <a:pt x="274" y="371"/>
                </a:cubicBezTo>
                <a:cubicBezTo>
                  <a:pt x="276" y="371"/>
                  <a:pt x="276" y="371"/>
                  <a:pt x="276" y="371"/>
                </a:cubicBezTo>
                <a:cubicBezTo>
                  <a:pt x="284" y="370"/>
                  <a:pt x="284" y="370"/>
                  <a:pt x="284" y="370"/>
                </a:cubicBezTo>
                <a:cubicBezTo>
                  <a:pt x="295" y="371"/>
                  <a:pt x="295" y="371"/>
                  <a:pt x="295" y="371"/>
                </a:cubicBezTo>
                <a:cubicBezTo>
                  <a:pt x="298" y="373"/>
                  <a:pt x="298" y="373"/>
                  <a:pt x="298" y="373"/>
                </a:cubicBezTo>
                <a:cubicBezTo>
                  <a:pt x="304" y="375"/>
                  <a:pt x="304" y="375"/>
                  <a:pt x="304" y="375"/>
                </a:cubicBezTo>
                <a:cubicBezTo>
                  <a:pt x="305" y="377"/>
                  <a:pt x="305" y="377"/>
                  <a:pt x="305" y="377"/>
                </a:cubicBezTo>
                <a:cubicBezTo>
                  <a:pt x="304" y="378"/>
                  <a:pt x="304" y="378"/>
                  <a:pt x="304" y="378"/>
                </a:cubicBezTo>
                <a:cubicBezTo>
                  <a:pt x="305" y="380"/>
                  <a:pt x="305" y="380"/>
                  <a:pt x="305" y="380"/>
                </a:cubicBezTo>
                <a:cubicBezTo>
                  <a:pt x="307" y="378"/>
                  <a:pt x="307" y="378"/>
                  <a:pt x="307" y="378"/>
                </a:cubicBezTo>
                <a:cubicBezTo>
                  <a:pt x="310" y="377"/>
                  <a:pt x="310" y="377"/>
                  <a:pt x="310" y="377"/>
                </a:cubicBezTo>
                <a:cubicBezTo>
                  <a:pt x="312" y="379"/>
                  <a:pt x="312" y="379"/>
                  <a:pt x="312" y="379"/>
                </a:cubicBezTo>
                <a:cubicBezTo>
                  <a:pt x="314" y="379"/>
                  <a:pt x="314" y="379"/>
                  <a:pt x="314" y="379"/>
                </a:cubicBezTo>
                <a:cubicBezTo>
                  <a:pt x="314" y="381"/>
                  <a:pt x="314" y="381"/>
                  <a:pt x="314" y="381"/>
                </a:cubicBezTo>
                <a:cubicBezTo>
                  <a:pt x="318" y="382"/>
                  <a:pt x="318" y="382"/>
                  <a:pt x="318" y="382"/>
                </a:cubicBezTo>
                <a:cubicBezTo>
                  <a:pt x="324" y="385"/>
                  <a:pt x="324" y="385"/>
                  <a:pt x="324" y="385"/>
                </a:cubicBezTo>
                <a:cubicBezTo>
                  <a:pt x="329" y="385"/>
                  <a:pt x="329" y="385"/>
                  <a:pt x="329" y="385"/>
                </a:cubicBezTo>
                <a:cubicBezTo>
                  <a:pt x="332" y="387"/>
                  <a:pt x="332" y="387"/>
                  <a:pt x="332" y="387"/>
                </a:cubicBezTo>
                <a:cubicBezTo>
                  <a:pt x="333" y="390"/>
                  <a:pt x="333" y="390"/>
                  <a:pt x="333" y="390"/>
                </a:cubicBezTo>
                <a:cubicBezTo>
                  <a:pt x="336" y="391"/>
                  <a:pt x="336" y="391"/>
                  <a:pt x="336" y="391"/>
                </a:cubicBezTo>
                <a:cubicBezTo>
                  <a:pt x="339" y="393"/>
                  <a:pt x="339" y="393"/>
                  <a:pt x="339" y="393"/>
                </a:cubicBezTo>
                <a:cubicBezTo>
                  <a:pt x="342" y="398"/>
                  <a:pt x="342" y="398"/>
                  <a:pt x="342" y="398"/>
                </a:cubicBezTo>
                <a:cubicBezTo>
                  <a:pt x="344" y="398"/>
                  <a:pt x="344" y="398"/>
                  <a:pt x="344" y="398"/>
                </a:cubicBezTo>
                <a:cubicBezTo>
                  <a:pt x="344" y="397"/>
                  <a:pt x="344" y="397"/>
                  <a:pt x="344" y="397"/>
                </a:cubicBezTo>
                <a:cubicBezTo>
                  <a:pt x="343" y="394"/>
                  <a:pt x="343" y="394"/>
                  <a:pt x="343" y="394"/>
                </a:cubicBezTo>
                <a:cubicBezTo>
                  <a:pt x="345" y="394"/>
                  <a:pt x="345" y="394"/>
                  <a:pt x="345" y="394"/>
                </a:cubicBezTo>
                <a:cubicBezTo>
                  <a:pt x="345" y="393"/>
                  <a:pt x="345" y="393"/>
                  <a:pt x="345" y="393"/>
                </a:cubicBezTo>
                <a:cubicBezTo>
                  <a:pt x="344" y="391"/>
                  <a:pt x="344" y="391"/>
                  <a:pt x="344" y="391"/>
                </a:cubicBezTo>
                <a:cubicBezTo>
                  <a:pt x="344" y="389"/>
                  <a:pt x="344" y="389"/>
                  <a:pt x="344" y="389"/>
                </a:cubicBezTo>
                <a:cubicBezTo>
                  <a:pt x="344" y="383"/>
                  <a:pt x="344" y="383"/>
                  <a:pt x="344" y="383"/>
                </a:cubicBezTo>
                <a:cubicBezTo>
                  <a:pt x="346" y="382"/>
                  <a:pt x="346" y="382"/>
                  <a:pt x="346" y="382"/>
                </a:cubicBezTo>
                <a:cubicBezTo>
                  <a:pt x="344" y="382"/>
                  <a:pt x="344" y="382"/>
                  <a:pt x="344" y="382"/>
                </a:cubicBezTo>
                <a:cubicBezTo>
                  <a:pt x="344" y="381"/>
                  <a:pt x="344" y="381"/>
                  <a:pt x="344" y="381"/>
                </a:cubicBezTo>
                <a:cubicBezTo>
                  <a:pt x="342" y="381"/>
                  <a:pt x="342" y="381"/>
                  <a:pt x="342" y="381"/>
                </a:cubicBezTo>
                <a:cubicBezTo>
                  <a:pt x="340" y="382"/>
                  <a:pt x="340" y="382"/>
                  <a:pt x="340" y="382"/>
                </a:cubicBezTo>
                <a:cubicBezTo>
                  <a:pt x="338" y="381"/>
                  <a:pt x="338" y="381"/>
                  <a:pt x="338" y="381"/>
                </a:cubicBezTo>
                <a:cubicBezTo>
                  <a:pt x="334" y="376"/>
                  <a:pt x="334" y="376"/>
                  <a:pt x="334" y="376"/>
                </a:cubicBezTo>
                <a:cubicBezTo>
                  <a:pt x="333" y="376"/>
                  <a:pt x="333" y="376"/>
                  <a:pt x="333" y="376"/>
                </a:cubicBezTo>
                <a:cubicBezTo>
                  <a:pt x="331" y="374"/>
                  <a:pt x="331" y="374"/>
                  <a:pt x="331" y="374"/>
                </a:cubicBezTo>
                <a:cubicBezTo>
                  <a:pt x="331" y="370"/>
                  <a:pt x="331" y="370"/>
                  <a:pt x="331" y="370"/>
                </a:cubicBezTo>
                <a:cubicBezTo>
                  <a:pt x="330" y="369"/>
                  <a:pt x="330" y="369"/>
                  <a:pt x="330" y="369"/>
                </a:cubicBezTo>
                <a:cubicBezTo>
                  <a:pt x="328" y="372"/>
                  <a:pt x="328" y="372"/>
                  <a:pt x="328" y="372"/>
                </a:cubicBezTo>
                <a:cubicBezTo>
                  <a:pt x="326" y="371"/>
                  <a:pt x="326" y="371"/>
                  <a:pt x="326" y="371"/>
                </a:cubicBezTo>
                <a:cubicBezTo>
                  <a:pt x="323" y="370"/>
                  <a:pt x="323" y="370"/>
                  <a:pt x="323" y="370"/>
                </a:cubicBezTo>
                <a:cubicBezTo>
                  <a:pt x="321" y="369"/>
                  <a:pt x="321" y="369"/>
                  <a:pt x="321" y="369"/>
                </a:cubicBezTo>
                <a:cubicBezTo>
                  <a:pt x="320" y="371"/>
                  <a:pt x="320" y="371"/>
                  <a:pt x="320" y="371"/>
                </a:cubicBezTo>
                <a:cubicBezTo>
                  <a:pt x="319" y="367"/>
                  <a:pt x="319" y="367"/>
                  <a:pt x="319" y="367"/>
                </a:cubicBezTo>
                <a:cubicBezTo>
                  <a:pt x="318" y="366"/>
                  <a:pt x="318" y="366"/>
                  <a:pt x="318" y="366"/>
                </a:cubicBezTo>
                <a:cubicBezTo>
                  <a:pt x="316" y="361"/>
                  <a:pt x="316" y="361"/>
                  <a:pt x="316" y="361"/>
                </a:cubicBezTo>
                <a:cubicBezTo>
                  <a:pt x="316" y="360"/>
                  <a:pt x="316" y="360"/>
                  <a:pt x="316" y="360"/>
                </a:cubicBezTo>
                <a:cubicBezTo>
                  <a:pt x="318" y="361"/>
                  <a:pt x="318" y="361"/>
                  <a:pt x="318" y="361"/>
                </a:cubicBezTo>
                <a:cubicBezTo>
                  <a:pt x="319" y="359"/>
                  <a:pt x="319" y="359"/>
                  <a:pt x="319" y="359"/>
                </a:cubicBezTo>
                <a:cubicBezTo>
                  <a:pt x="319" y="357"/>
                  <a:pt x="319" y="357"/>
                  <a:pt x="319" y="357"/>
                </a:cubicBezTo>
                <a:cubicBezTo>
                  <a:pt x="316" y="354"/>
                  <a:pt x="316" y="354"/>
                  <a:pt x="316" y="354"/>
                </a:cubicBezTo>
                <a:cubicBezTo>
                  <a:pt x="316" y="352"/>
                  <a:pt x="316" y="352"/>
                  <a:pt x="316" y="352"/>
                </a:cubicBezTo>
                <a:cubicBezTo>
                  <a:pt x="317" y="350"/>
                  <a:pt x="317" y="350"/>
                  <a:pt x="317" y="350"/>
                </a:cubicBezTo>
                <a:cubicBezTo>
                  <a:pt x="319" y="350"/>
                  <a:pt x="319" y="350"/>
                  <a:pt x="319" y="350"/>
                </a:cubicBezTo>
                <a:cubicBezTo>
                  <a:pt x="317" y="348"/>
                  <a:pt x="317" y="348"/>
                  <a:pt x="317" y="348"/>
                </a:cubicBezTo>
                <a:cubicBezTo>
                  <a:pt x="314" y="348"/>
                  <a:pt x="314" y="348"/>
                  <a:pt x="314" y="348"/>
                </a:cubicBezTo>
                <a:cubicBezTo>
                  <a:pt x="313" y="344"/>
                  <a:pt x="313" y="344"/>
                  <a:pt x="313" y="344"/>
                </a:cubicBezTo>
                <a:cubicBezTo>
                  <a:pt x="311" y="343"/>
                  <a:pt x="311" y="343"/>
                  <a:pt x="311" y="343"/>
                </a:cubicBezTo>
                <a:cubicBezTo>
                  <a:pt x="310" y="344"/>
                  <a:pt x="310" y="344"/>
                  <a:pt x="310" y="344"/>
                </a:cubicBezTo>
                <a:cubicBezTo>
                  <a:pt x="308" y="341"/>
                  <a:pt x="308" y="341"/>
                  <a:pt x="308" y="341"/>
                </a:cubicBezTo>
                <a:cubicBezTo>
                  <a:pt x="308" y="338"/>
                  <a:pt x="308" y="338"/>
                  <a:pt x="308" y="338"/>
                </a:cubicBezTo>
                <a:cubicBezTo>
                  <a:pt x="309" y="336"/>
                  <a:pt x="309" y="336"/>
                  <a:pt x="309" y="336"/>
                </a:cubicBezTo>
                <a:cubicBezTo>
                  <a:pt x="308" y="334"/>
                  <a:pt x="308" y="334"/>
                  <a:pt x="308" y="334"/>
                </a:cubicBezTo>
                <a:cubicBezTo>
                  <a:pt x="307" y="332"/>
                  <a:pt x="307" y="332"/>
                  <a:pt x="307" y="332"/>
                </a:cubicBezTo>
                <a:cubicBezTo>
                  <a:pt x="309" y="331"/>
                  <a:pt x="309" y="331"/>
                  <a:pt x="309" y="331"/>
                </a:cubicBezTo>
                <a:cubicBezTo>
                  <a:pt x="312" y="325"/>
                  <a:pt x="312" y="325"/>
                  <a:pt x="312" y="325"/>
                </a:cubicBezTo>
                <a:cubicBezTo>
                  <a:pt x="315" y="324"/>
                  <a:pt x="315" y="324"/>
                  <a:pt x="315" y="324"/>
                </a:cubicBezTo>
                <a:cubicBezTo>
                  <a:pt x="315" y="323"/>
                  <a:pt x="315" y="323"/>
                  <a:pt x="315" y="323"/>
                </a:cubicBezTo>
                <a:cubicBezTo>
                  <a:pt x="314" y="320"/>
                  <a:pt x="314" y="320"/>
                  <a:pt x="314" y="320"/>
                </a:cubicBezTo>
                <a:cubicBezTo>
                  <a:pt x="314" y="318"/>
                  <a:pt x="314" y="318"/>
                  <a:pt x="314" y="318"/>
                </a:cubicBezTo>
                <a:cubicBezTo>
                  <a:pt x="316" y="315"/>
                  <a:pt x="316" y="315"/>
                  <a:pt x="316" y="315"/>
                </a:cubicBezTo>
                <a:cubicBezTo>
                  <a:pt x="314" y="313"/>
                  <a:pt x="314" y="313"/>
                  <a:pt x="314" y="313"/>
                </a:cubicBezTo>
                <a:cubicBezTo>
                  <a:pt x="314" y="309"/>
                  <a:pt x="314" y="309"/>
                  <a:pt x="314" y="309"/>
                </a:cubicBezTo>
                <a:cubicBezTo>
                  <a:pt x="315" y="308"/>
                  <a:pt x="315" y="308"/>
                  <a:pt x="315" y="308"/>
                </a:cubicBezTo>
                <a:cubicBezTo>
                  <a:pt x="314" y="306"/>
                  <a:pt x="314" y="306"/>
                  <a:pt x="314" y="306"/>
                </a:cubicBezTo>
                <a:cubicBezTo>
                  <a:pt x="314" y="304"/>
                  <a:pt x="314" y="304"/>
                  <a:pt x="314" y="304"/>
                </a:cubicBezTo>
                <a:cubicBezTo>
                  <a:pt x="313" y="302"/>
                  <a:pt x="313" y="302"/>
                  <a:pt x="313" y="302"/>
                </a:cubicBezTo>
                <a:cubicBezTo>
                  <a:pt x="314" y="298"/>
                  <a:pt x="314" y="298"/>
                  <a:pt x="314" y="298"/>
                </a:cubicBezTo>
                <a:cubicBezTo>
                  <a:pt x="314" y="298"/>
                  <a:pt x="314" y="298"/>
                  <a:pt x="314" y="298"/>
                </a:cubicBezTo>
                <a:cubicBezTo>
                  <a:pt x="313" y="295"/>
                  <a:pt x="313" y="295"/>
                  <a:pt x="313" y="295"/>
                </a:cubicBezTo>
                <a:cubicBezTo>
                  <a:pt x="313" y="292"/>
                  <a:pt x="313" y="292"/>
                  <a:pt x="313" y="292"/>
                </a:cubicBezTo>
                <a:cubicBezTo>
                  <a:pt x="313" y="287"/>
                  <a:pt x="313" y="287"/>
                  <a:pt x="313" y="287"/>
                </a:cubicBezTo>
                <a:cubicBezTo>
                  <a:pt x="315" y="287"/>
                  <a:pt x="315" y="287"/>
                  <a:pt x="315" y="287"/>
                </a:cubicBezTo>
                <a:cubicBezTo>
                  <a:pt x="316" y="288"/>
                  <a:pt x="316" y="288"/>
                  <a:pt x="316" y="288"/>
                </a:cubicBezTo>
                <a:cubicBezTo>
                  <a:pt x="316" y="289"/>
                  <a:pt x="316" y="289"/>
                  <a:pt x="316" y="289"/>
                </a:cubicBezTo>
                <a:cubicBezTo>
                  <a:pt x="316" y="289"/>
                  <a:pt x="316" y="289"/>
                  <a:pt x="316" y="289"/>
                </a:cubicBezTo>
                <a:cubicBezTo>
                  <a:pt x="319" y="288"/>
                  <a:pt x="319" y="288"/>
                  <a:pt x="319" y="288"/>
                </a:cubicBezTo>
                <a:cubicBezTo>
                  <a:pt x="322" y="288"/>
                  <a:pt x="322" y="288"/>
                  <a:pt x="322" y="288"/>
                </a:cubicBezTo>
                <a:cubicBezTo>
                  <a:pt x="324" y="287"/>
                  <a:pt x="324" y="287"/>
                  <a:pt x="324" y="287"/>
                </a:cubicBezTo>
                <a:cubicBezTo>
                  <a:pt x="326" y="287"/>
                  <a:pt x="326" y="287"/>
                  <a:pt x="326" y="287"/>
                </a:cubicBezTo>
                <a:cubicBezTo>
                  <a:pt x="328" y="288"/>
                  <a:pt x="328" y="288"/>
                  <a:pt x="328" y="288"/>
                </a:cubicBezTo>
                <a:cubicBezTo>
                  <a:pt x="329" y="287"/>
                  <a:pt x="329" y="287"/>
                  <a:pt x="329" y="287"/>
                </a:cubicBezTo>
                <a:cubicBezTo>
                  <a:pt x="332" y="287"/>
                  <a:pt x="332" y="287"/>
                  <a:pt x="332" y="287"/>
                </a:cubicBezTo>
                <a:cubicBezTo>
                  <a:pt x="338" y="289"/>
                  <a:pt x="338" y="289"/>
                  <a:pt x="338" y="289"/>
                </a:cubicBezTo>
                <a:cubicBezTo>
                  <a:pt x="341" y="290"/>
                  <a:pt x="341" y="290"/>
                  <a:pt x="341" y="290"/>
                </a:cubicBezTo>
                <a:cubicBezTo>
                  <a:pt x="343" y="290"/>
                  <a:pt x="343" y="290"/>
                  <a:pt x="343" y="290"/>
                </a:cubicBezTo>
                <a:cubicBezTo>
                  <a:pt x="344" y="292"/>
                  <a:pt x="344" y="292"/>
                  <a:pt x="344" y="292"/>
                </a:cubicBezTo>
                <a:cubicBezTo>
                  <a:pt x="343" y="293"/>
                  <a:pt x="343" y="293"/>
                  <a:pt x="343" y="293"/>
                </a:cubicBezTo>
                <a:cubicBezTo>
                  <a:pt x="344" y="295"/>
                  <a:pt x="344" y="295"/>
                  <a:pt x="344" y="295"/>
                </a:cubicBezTo>
                <a:cubicBezTo>
                  <a:pt x="344" y="298"/>
                  <a:pt x="344" y="298"/>
                  <a:pt x="344" y="298"/>
                </a:cubicBezTo>
                <a:cubicBezTo>
                  <a:pt x="345" y="299"/>
                  <a:pt x="345" y="299"/>
                  <a:pt x="345" y="299"/>
                </a:cubicBezTo>
                <a:cubicBezTo>
                  <a:pt x="345" y="303"/>
                  <a:pt x="345" y="303"/>
                  <a:pt x="345" y="303"/>
                </a:cubicBezTo>
                <a:cubicBezTo>
                  <a:pt x="346" y="306"/>
                  <a:pt x="346" y="306"/>
                  <a:pt x="346" y="306"/>
                </a:cubicBezTo>
                <a:cubicBezTo>
                  <a:pt x="345" y="312"/>
                  <a:pt x="345" y="312"/>
                  <a:pt x="345" y="312"/>
                </a:cubicBezTo>
                <a:cubicBezTo>
                  <a:pt x="347" y="313"/>
                  <a:pt x="347" y="313"/>
                  <a:pt x="347" y="313"/>
                </a:cubicBezTo>
                <a:cubicBezTo>
                  <a:pt x="346" y="315"/>
                  <a:pt x="346" y="315"/>
                  <a:pt x="346" y="315"/>
                </a:cubicBezTo>
                <a:cubicBezTo>
                  <a:pt x="347" y="317"/>
                  <a:pt x="347" y="317"/>
                  <a:pt x="347" y="317"/>
                </a:cubicBezTo>
                <a:cubicBezTo>
                  <a:pt x="347" y="319"/>
                  <a:pt x="347" y="319"/>
                  <a:pt x="347" y="319"/>
                </a:cubicBezTo>
                <a:cubicBezTo>
                  <a:pt x="345" y="319"/>
                  <a:pt x="345" y="319"/>
                  <a:pt x="345" y="319"/>
                </a:cubicBezTo>
                <a:cubicBezTo>
                  <a:pt x="346" y="322"/>
                  <a:pt x="346" y="322"/>
                  <a:pt x="346" y="322"/>
                </a:cubicBezTo>
                <a:cubicBezTo>
                  <a:pt x="348" y="324"/>
                  <a:pt x="348" y="324"/>
                  <a:pt x="348" y="324"/>
                </a:cubicBezTo>
                <a:cubicBezTo>
                  <a:pt x="350" y="327"/>
                  <a:pt x="350" y="327"/>
                  <a:pt x="350" y="327"/>
                </a:cubicBezTo>
                <a:cubicBezTo>
                  <a:pt x="352" y="328"/>
                  <a:pt x="352" y="328"/>
                  <a:pt x="352" y="328"/>
                </a:cubicBezTo>
                <a:cubicBezTo>
                  <a:pt x="352" y="328"/>
                  <a:pt x="352" y="328"/>
                  <a:pt x="352" y="328"/>
                </a:cubicBezTo>
                <a:cubicBezTo>
                  <a:pt x="354" y="327"/>
                  <a:pt x="354" y="327"/>
                  <a:pt x="354" y="327"/>
                </a:cubicBezTo>
                <a:cubicBezTo>
                  <a:pt x="355" y="328"/>
                  <a:pt x="355" y="328"/>
                  <a:pt x="355" y="328"/>
                </a:cubicBezTo>
                <a:cubicBezTo>
                  <a:pt x="356" y="332"/>
                  <a:pt x="356" y="332"/>
                  <a:pt x="356" y="332"/>
                </a:cubicBezTo>
                <a:cubicBezTo>
                  <a:pt x="358" y="334"/>
                  <a:pt x="358" y="334"/>
                  <a:pt x="358" y="334"/>
                </a:cubicBezTo>
                <a:cubicBezTo>
                  <a:pt x="360" y="336"/>
                  <a:pt x="360" y="336"/>
                  <a:pt x="360" y="336"/>
                </a:cubicBezTo>
                <a:cubicBezTo>
                  <a:pt x="361" y="343"/>
                  <a:pt x="361" y="343"/>
                  <a:pt x="361" y="343"/>
                </a:cubicBezTo>
                <a:cubicBezTo>
                  <a:pt x="362" y="345"/>
                  <a:pt x="362" y="345"/>
                  <a:pt x="362" y="345"/>
                </a:cubicBezTo>
                <a:cubicBezTo>
                  <a:pt x="362" y="346"/>
                  <a:pt x="362" y="346"/>
                  <a:pt x="362" y="346"/>
                </a:cubicBezTo>
                <a:cubicBezTo>
                  <a:pt x="362" y="348"/>
                  <a:pt x="362" y="348"/>
                  <a:pt x="362" y="348"/>
                </a:cubicBezTo>
                <a:cubicBezTo>
                  <a:pt x="364" y="350"/>
                  <a:pt x="364" y="350"/>
                  <a:pt x="364" y="350"/>
                </a:cubicBezTo>
                <a:cubicBezTo>
                  <a:pt x="364" y="353"/>
                  <a:pt x="364" y="353"/>
                  <a:pt x="364" y="353"/>
                </a:cubicBezTo>
                <a:cubicBezTo>
                  <a:pt x="367" y="358"/>
                  <a:pt x="367" y="358"/>
                  <a:pt x="367" y="358"/>
                </a:cubicBezTo>
                <a:cubicBezTo>
                  <a:pt x="366" y="361"/>
                  <a:pt x="366" y="361"/>
                  <a:pt x="366" y="361"/>
                </a:cubicBezTo>
                <a:cubicBezTo>
                  <a:pt x="368" y="363"/>
                  <a:pt x="368" y="363"/>
                  <a:pt x="368" y="363"/>
                </a:cubicBezTo>
                <a:cubicBezTo>
                  <a:pt x="370" y="365"/>
                  <a:pt x="370" y="365"/>
                  <a:pt x="370" y="365"/>
                </a:cubicBezTo>
                <a:cubicBezTo>
                  <a:pt x="369" y="367"/>
                  <a:pt x="369" y="367"/>
                  <a:pt x="369" y="367"/>
                </a:cubicBezTo>
                <a:cubicBezTo>
                  <a:pt x="370" y="368"/>
                  <a:pt x="370" y="368"/>
                  <a:pt x="370" y="368"/>
                </a:cubicBezTo>
                <a:cubicBezTo>
                  <a:pt x="371" y="372"/>
                  <a:pt x="371" y="372"/>
                  <a:pt x="371" y="372"/>
                </a:cubicBezTo>
                <a:cubicBezTo>
                  <a:pt x="375" y="378"/>
                  <a:pt x="375" y="378"/>
                  <a:pt x="375" y="378"/>
                </a:cubicBezTo>
                <a:cubicBezTo>
                  <a:pt x="379" y="379"/>
                  <a:pt x="379" y="379"/>
                  <a:pt x="379" y="379"/>
                </a:cubicBezTo>
                <a:cubicBezTo>
                  <a:pt x="380" y="381"/>
                  <a:pt x="380" y="381"/>
                  <a:pt x="380" y="381"/>
                </a:cubicBezTo>
                <a:cubicBezTo>
                  <a:pt x="382" y="381"/>
                  <a:pt x="382" y="381"/>
                  <a:pt x="382" y="381"/>
                </a:cubicBezTo>
                <a:cubicBezTo>
                  <a:pt x="385" y="384"/>
                  <a:pt x="385" y="384"/>
                  <a:pt x="385" y="384"/>
                </a:cubicBezTo>
                <a:cubicBezTo>
                  <a:pt x="385" y="386"/>
                  <a:pt x="385" y="386"/>
                  <a:pt x="385" y="386"/>
                </a:cubicBezTo>
                <a:cubicBezTo>
                  <a:pt x="384" y="385"/>
                  <a:pt x="384" y="385"/>
                  <a:pt x="384" y="385"/>
                </a:cubicBezTo>
                <a:cubicBezTo>
                  <a:pt x="384" y="388"/>
                  <a:pt x="384" y="388"/>
                  <a:pt x="384" y="388"/>
                </a:cubicBezTo>
                <a:cubicBezTo>
                  <a:pt x="383" y="391"/>
                  <a:pt x="383" y="391"/>
                  <a:pt x="383" y="391"/>
                </a:cubicBezTo>
                <a:cubicBezTo>
                  <a:pt x="384" y="395"/>
                  <a:pt x="384" y="395"/>
                  <a:pt x="384" y="395"/>
                </a:cubicBezTo>
                <a:cubicBezTo>
                  <a:pt x="387" y="397"/>
                  <a:pt x="387" y="397"/>
                  <a:pt x="387" y="397"/>
                </a:cubicBezTo>
                <a:cubicBezTo>
                  <a:pt x="387" y="400"/>
                  <a:pt x="387" y="400"/>
                  <a:pt x="387" y="400"/>
                </a:cubicBezTo>
                <a:cubicBezTo>
                  <a:pt x="385" y="402"/>
                  <a:pt x="385" y="402"/>
                  <a:pt x="385" y="402"/>
                </a:cubicBezTo>
                <a:cubicBezTo>
                  <a:pt x="385" y="403"/>
                  <a:pt x="385" y="403"/>
                  <a:pt x="385" y="403"/>
                </a:cubicBezTo>
                <a:cubicBezTo>
                  <a:pt x="384" y="405"/>
                  <a:pt x="384" y="405"/>
                  <a:pt x="384" y="405"/>
                </a:cubicBezTo>
                <a:cubicBezTo>
                  <a:pt x="385" y="406"/>
                  <a:pt x="385" y="406"/>
                  <a:pt x="385" y="406"/>
                </a:cubicBezTo>
                <a:cubicBezTo>
                  <a:pt x="385" y="411"/>
                  <a:pt x="385" y="411"/>
                  <a:pt x="385" y="411"/>
                </a:cubicBezTo>
                <a:cubicBezTo>
                  <a:pt x="382" y="412"/>
                  <a:pt x="382" y="412"/>
                  <a:pt x="382" y="412"/>
                </a:cubicBezTo>
                <a:cubicBezTo>
                  <a:pt x="383" y="413"/>
                  <a:pt x="383" y="413"/>
                  <a:pt x="383" y="413"/>
                </a:cubicBezTo>
                <a:cubicBezTo>
                  <a:pt x="385" y="412"/>
                  <a:pt x="385" y="412"/>
                  <a:pt x="385" y="412"/>
                </a:cubicBezTo>
                <a:cubicBezTo>
                  <a:pt x="385" y="414"/>
                  <a:pt x="385" y="414"/>
                  <a:pt x="385" y="414"/>
                </a:cubicBezTo>
                <a:cubicBezTo>
                  <a:pt x="382" y="415"/>
                  <a:pt x="382" y="415"/>
                  <a:pt x="382" y="415"/>
                </a:cubicBezTo>
                <a:cubicBezTo>
                  <a:pt x="382" y="419"/>
                  <a:pt x="382" y="419"/>
                  <a:pt x="382" y="419"/>
                </a:cubicBezTo>
                <a:cubicBezTo>
                  <a:pt x="381" y="421"/>
                  <a:pt x="381" y="421"/>
                  <a:pt x="381" y="421"/>
                </a:cubicBezTo>
                <a:cubicBezTo>
                  <a:pt x="379" y="420"/>
                  <a:pt x="379" y="420"/>
                  <a:pt x="379" y="420"/>
                </a:cubicBezTo>
                <a:cubicBezTo>
                  <a:pt x="379" y="421"/>
                  <a:pt x="379" y="421"/>
                  <a:pt x="379" y="421"/>
                </a:cubicBezTo>
                <a:cubicBezTo>
                  <a:pt x="381" y="423"/>
                  <a:pt x="381" y="423"/>
                  <a:pt x="381" y="423"/>
                </a:cubicBezTo>
                <a:cubicBezTo>
                  <a:pt x="381" y="425"/>
                  <a:pt x="381" y="425"/>
                  <a:pt x="381" y="425"/>
                </a:cubicBezTo>
                <a:cubicBezTo>
                  <a:pt x="379" y="426"/>
                  <a:pt x="379" y="426"/>
                  <a:pt x="379" y="426"/>
                </a:cubicBezTo>
                <a:cubicBezTo>
                  <a:pt x="377" y="428"/>
                  <a:pt x="377" y="428"/>
                  <a:pt x="377" y="428"/>
                </a:cubicBezTo>
                <a:cubicBezTo>
                  <a:pt x="373" y="428"/>
                  <a:pt x="373" y="428"/>
                  <a:pt x="373" y="428"/>
                </a:cubicBezTo>
                <a:cubicBezTo>
                  <a:pt x="371" y="427"/>
                  <a:pt x="371" y="427"/>
                  <a:pt x="371" y="427"/>
                </a:cubicBezTo>
                <a:cubicBezTo>
                  <a:pt x="374" y="425"/>
                  <a:pt x="374" y="425"/>
                  <a:pt x="374" y="425"/>
                </a:cubicBezTo>
                <a:cubicBezTo>
                  <a:pt x="374" y="423"/>
                  <a:pt x="374" y="423"/>
                  <a:pt x="374" y="423"/>
                </a:cubicBezTo>
                <a:cubicBezTo>
                  <a:pt x="372" y="423"/>
                  <a:pt x="372" y="423"/>
                  <a:pt x="372" y="423"/>
                </a:cubicBezTo>
                <a:cubicBezTo>
                  <a:pt x="372" y="425"/>
                  <a:pt x="372" y="425"/>
                  <a:pt x="372" y="425"/>
                </a:cubicBezTo>
                <a:cubicBezTo>
                  <a:pt x="370" y="425"/>
                  <a:pt x="370" y="425"/>
                  <a:pt x="370" y="425"/>
                </a:cubicBezTo>
                <a:cubicBezTo>
                  <a:pt x="365" y="422"/>
                  <a:pt x="365" y="422"/>
                  <a:pt x="365" y="422"/>
                </a:cubicBezTo>
                <a:cubicBezTo>
                  <a:pt x="364" y="423"/>
                  <a:pt x="364" y="423"/>
                  <a:pt x="364" y="423"/>
                </a:cubicBezTo>
                <a:cubicBezTo>
                  <a:pt x="358" y="424"/>
                  <a:pt x="358" y="424"/>
                  <a:pt x="358" y="424"/>
                </a:cubicBezTo>
                <a:cubicBezTo>
                  <a:pt x="355" y="425"/>
                  <a:pt x="355" y="425"/>
                  <a:pt x="355" y="425"/>
                </a:cubicBezTo>
                <a:cubicBezTo>
                  <a:pt x="354" y="427"/>
                  <a:pt x="354" y="427"/>
                  <a:pt x="354" y="427"/>
                </a:cubicBezTo>
                <a:cubicBezTo>
                  <a:pt x="355" y="428"/>
                  <a:pt x="355" y="428"/>
                  <a:pt x="355" y="428"/>
                </a:cubicBezTo>
                <a:cubicBezTo>
                  <a:pt x="356" y="428"/>
                  <a:pt x="356" y="428"/>
                  <a:pt x="356" y="428"/>
                </a:cubicBezTo>
                <a:cubicBezTo>
                  <a:pt x="357" y="426"/>
                  <a:pt x="357" y="426"/>
                  <a:pt x="357" y="426"/>
                </a:cubicBezTo>
                <a:cubicBezTo>
                  <a:pt x="360" y="426"/>
                  <a:pt x="360" y="426"/>
                  <a:pt x="360" y="426"/>
                </a:cubicBezTo>
                <a:cubicBezTo>
                  <a:pt x="361" y="428"/>
                  <a:pt x="361" y="428"/>
                  <a:pt x="361" y="428"/>
                </a:cubicBezTo>
                <a:cubicBezTo>
                  <a:pt x="364" y="430"/>
                  <a:pt x="364" y="430"/>
                  <a:pt x="364" y="430"/>
                </a:cubicBezTo>
                <a:cubicBezTo>
                  <a:pt x="372" y="432"/>
                  <a:pt x="372" y="432"/>
                  <a:pt x="372" y="432"/>
                </a:cubicBezTo>
                <a:cubicBezTo>
                  <a:pt x="375" y="433"/>
                  <a:pt x="375" y="433"/>
                  <a:pt x="375" y="433"/>
                </a:cubicBezTo>
                <a:cubicBezTo>
                  <a:pt x="379" y="432"/>
                  <a:pt x="379" y="432"/>
                  <a:pt x="379" y="432"/>
                </a:cubicBezTo>
                <a:cubicBezTo>
                  <a:pt x="383" y="432"/>
                  <a:pt x="383" y="432"/>
                  <a:pt x="383" y="432"/>
                </a:cubicBezTo>
                <a:cubicBezTo>
                  <a:pt x="384" y="433"/>
                  <a:pt x="384" y="433"/>
                  <a:pt x="384" y="433"/>
                </a:cubicBezTo>
                <a:cubicBezTo>
                  <a:pt x="388" y="434"/>
                  <a:pt x="388" y="434"/>
                  <a:pt x="388" y="434"/>
                </a:cubicBezTo>
                <a:cubicBezTo>
                  <a:pt x="391" y="432"/>
                  <a:pt x="391" y="432"/>
                  <a:pt x="391" y="432"/>
                </a:cubicBezTo>
                <a:cubicBezTo>
                  <a:pt x="391" y="430"/>
                  <a:pt x="391" y="430"/>
                  <a:pt x="391" y="430"/>
                </a:cubicBezTo>
                <a:cubicBezTo>
                  <a:pt x="390" y="429"/>
                  <a:pt x="390" y="429"/>
                  <a:pt x="390" y="429"/>
                </a:cubicBezTo>
                <a:cubicBezTo>
                  <a:pt x="390" y="426"/>
                  <a:pt x="390" y="426"/>
                  <a:pt x="390" y="426"/>
                </a:cubicBezTo>
                <a:cubicBezTo>
                  <a:pt x="391" y="424"/>
                  <a:pt x="391" y="424"/>
                  <a:pt x="391" y="424"/>
                </a:cubicBezTo>
                <a:cubicBezTo>
                  <a:pt x="393" y="423"/>
                  <a:pt x="393" y="423"/>
                  <a:pt x="393" y="423"/>
                </a:cubicBezTo>
                <a:cubicBezTo>
                  <a:pt x="393" y="422"/>
                  <a:pt x="393" y="422"/>
                  <a:pt x="393" y="422"/>
                </a:cubicBezTo>
                <a:cubicBezTo>
                  <a:pt x="396" y="419"/>
                  <a:pt x="396" y="419"/>
                  <a:pt x="396" y="419"/>
                </a:cubicBezTo>
                <a:cubicBezTo>
                  <a:pt x="396" y="417"/>
                  <a:pt x="396" y="417"/>
                  <a:pt x="396" y="417"/>
                </a:cubicBezTo>
                <a:cubicBezTo>
                  <a:pt x="398" y="412"/>
                  <a:pt x="398" y="412"/>
                  <a:pt x="398" y="412"/>
                </a:cubicBezTo>
                <a:cubicBezTo>
                  <a:pt x="396" y="408"/>
                  <a:pt x="396" y="408"/>
                  <a:pt x="396" y="408"/>
                </a:cubicBezTo>
                <a:cubicBezTo>
                  <a:pt x="397" y="405"/>
                  <a:pt x="397" y="405"/>
                  <a:pt x="397" y="405"/>
                </a:cubicBezTo>
                <a:cubicBezTo>
                  <a:pt x="400" y="399"/>
                  <a:pt x="400" y="399"/>
                  <a:pt x="400" y="399"/>
                </a:cubicBezTo>
                <a:cubicBezTo>
                  <a:pt x="401" y="397"/>
                  <a:pt x="401" y="397"/>
                  <a:pt x="401" y="397"/>
                </a:cubicBezTo>
                <a:cubicBezTo>
                  <a:pt x="397" y="389"/>
                  <a:pt x="397" y="389"/>
                  <a:pt x="397" y="389"/>
                </a:cubicBezTo>
                <a:cubicBezTo>
                  <a:pt x="393" y="387"/>
                  <a:pt x="393" y="387"/>
                  <a:pt x="393" y="387"/>
                </a:cubicBezTo>
                <a:cubicBezTo>
                  <a:pt x="392" y="385"/>
                  <a:pt x="392" y="385"/>
                  <a:pt x="392" y="385"/>
                </a:cubicBezTo>
                <a:cubicBezTo>
                  <a:pt x="391" y="379"/>
                  <a:pt x="391" y="379"/>
                  <a:pt x="391" y="379"/>
                </a:cubicBezTo>
                <a:cubicBezTo>
                  <a:pt x="395" y="376"/>
                  <a:pt x="395" y="376"/>
                  <a:pt x="395" y="376"/>
                </a:cubicBezTo>
                <a:cubicBezTo>
                  <a:pt x="396" y="374"/>
                  <a:pt x="396" y="374"/>
                  <a:pt x="396" y="374"/>
                </a:cubicBezTo>
                <a:cubicBezTo>
                  <a:pt x="399" y="373"/>
                  <a:pt x="399" y="373"/>
                  <a:pt x="399" y="373"/>
                </a:cubicBezTo>
                <a:cubicBezTo>
                  <a:pt x="403" y="369"/>
                  <a:pt x="403" y="369"/>
                  <a:pt x="403" y="369"/>
                </a:cubicBezTo>
                <a:cubicBezTo>
                  <a:pt x="406" y="369"/>
                  <a:pt x="406" y="369"/>
                  <a:pt x="406" y="369"/>
                </a:cubicBezTo>
                <a:cubicBezTo>
                  <a:pt x="410" y="372"/>
                  <a:pt x="410" y="372"/>
                  <a:pt x="410" y="372"/>
                </a:cubicBezTo>
                <a:cubicBezTo>
                  <a:pt x="410" y="375"/>
                  <a:pt x="410" y="375"/>
                  <a:pt x="410" y="375"/>
                </a:cubicBezTo>
                <a:cubicBezTo>
                  <a:pt x="413" y="377"/>
                  <a:pt x="413" y="377"/>
                  <a:pt x="413" y="377"/>
                </a:cubicBezTo>
                <a:cubicBezTo>
                  <a:pt x="414" y="379"/>
                  <a:pt x="414" y="379"/>
                  <a:pt x="414" y="379"/>
                </a:cubicBezTo>
                <a:cubicBezTo>
                  <a:pt x="415" y="379"/>
                  <a:pt x="415" y="379"/>
                  <a:pt x="415" y="379"/>
                </a:cubicBezTo>
                <a:cubicBezTo>
                  <a:pt x="418" y="382"/>
                  <a:pt x="418" y="382"/>
                  <a:pt x="418" y="382"/>
                </a:cubicBezTo>
                <a:cubicBezTo>
                  <a:pt x="417" y="384"/>
                  <a:pt x="417" y="384"/>
                  <a:pt x="417" y="384"/>
                </a:cubicBezTo>
                <a:cubicBezTo>
                  <a:pt x="419" y="386"/>
                  <a:pt x="419" y="386"/>
                  <a:pt x="419" y="386"/>
                </a:cubicBezTo>
                <a:cubicBezTo>
                  <a:pt x="420" y="388"/>
                  <a:pt x="420" y="388"/>
                  <a:pt x="420" y="388"/>
                </a:cubicBezTo>
                <a:cubicBezTo>
                  <a:pt x="422" y="391"/>
                  <a:pt x="422" y="391"/>
                  <a:pt x="422" y="391"/>
                </a:cubicBezTo>
                <a:cubicBezTo>
                  <a:pt x="422" y="393"/>
                  <a:pt x="422" y="393"/>
                  <a:pt x="422" y="393"/>
                </a:cubicBezTo>
                <a:cubicBezTo>
                  <a:pt x="421" y="394"/>
                  <a:pt x="421" y="394"/>
                  <a:pt x="421" y="394"/>
                </a:cubicBezTo>
                <a:cubicBezTo>
                  <a:pt x="423" y="397"/>
                  <a:pt x="423" y="397"/>
                  <a:pt x="423" y="397"/>
                </a:cubicBezTo>
                <a:cubicBezTo>
                  <a:pt x="425" y="397"/>
                  <a:pt x="425" y="397"/>
                  <a:pt x="425" y="397"/>
                </a:cubicBezTo>
                <a:cubicBezTo>
                  <a:pt x="428" y="399"/>
                  <a:pt x="428" y="399"/>
                  <a:pt x="428" y="399"/>
                </a:cubicBezTo>
                <a:cubicBezTo>
                  <a:pt x="431" y="398"/>
                  <a:pt x="431" y="398"/>
                  <a:pt x="431" y="398"/>
                </a:cubicBezTo>
                <a:cubicBezTo>
                  <a:pt x="433" y="398"/>
                  <a:pt x="433" y="398"/>
                  <a:pt x="433" y="398"/>
                </a:cubicBezTo>
                <a:cubicBezTo>
                  <a:pt x="436" y="397"/>
                  <a:pt x="436" y="397"/>
                  <a:pt x="436" y="397"/>
                </a:cubicBezTo>
                <a:cubicBezTo>
                  <a:pt x="437" y="396"/>
                  <a:pt x="437" y="396"/>
                  <a:pt x="437" y="396"/>
                </a:cubicBezTo>
                <a:cubicBezTo>
                  <a:pt x="438" y="395"/>
                  <a:pt x="438" y="395"/>
                  <a:pt x="438" y="395"/>
                </a:cubicBezTo>
                <a:cubicBezTo>
                  <a:pt x="437" y="395"/>
                  <a:pt x="437" y="395"/>
                  <a:pt x="437" y="395"/>
                </a:cubicBezTo>
                <a:cubicBezTo>
                  <a:pt x="434" y="395"/>
                  <a:pt x="434" y="395"/>
                  <a:pt x="434" y="395"/>
                </a:cubicBezTo>
                <a:cubicBezTo>
                  <a:pt x="434" y="394"/>
                  <a:pt x="434" y="394"/>
                  <a:pt x="434" y="394"/>
                </a:cubicBezTo>
                <a:cubicBezTo>
                  <a:pt x="432" y="396"/>
                  <a:pt x="432" y="396"/>
                  <a:pt x="432" y="396"/>
                </a:cubicBezTo>
                <a:cubicBezTo>
                  <a:pt x="429" y="396"/>
                  <a:pt x="429" y="396"/>
                  <a:pt x="429" y="396"/>
                </a:cubicBezTo>
                <a:cubicBezTo>
                  <a:pt x="428" y="394"/>
                  <a:pt x="428" y="394"/>
                  <a:pt x="428" y="394"/>
                </a:cubicBezTo>
                <a:cubicBezTo>
                  <a:pt x="425" y="395"/>
                  <a:pt x="425" y="395"/>
                  <a:pt x="425" y="395"/>
                </a:cubicBezTo>
                <a:cubicBezTo>
                  <a:pt x="424" y="393"/>
                  <a:pt x="424" y="393"/>
                  <a:pt x="424" y="393"/>
                </a:cubicBezTo>
                <a:cubicBezTo>
                  <a:pt x="425" y="391"/>
                  <a:pt x="425" y="391"/>
                  <a:pt x="425" y="391"/>
                </a:cubicBezTo>
                <a:cubicBezTo>
                  <a:pt x="423" y="390"/>
                  <a:pt x="423" y="390"/>
                  <a:pt x="423" y="390"/>
                </a:cubicBezTo>
                <a:cubicBezTo>
                  <a:pt x="422" y="387"/>
                  <a:pt x="422" y="387"/>
                  <a:pt x="422" y="387"/>
                </a:cubicBezTo>
                <a:cubicBezTo>
                  <a:pt x="422" y="383"/>
                  <a:pt x="422" y="383"/>
                  <a:pt x="422" y="383"/>
                </a:cubicBezTo>
                <a:cubicBezTo>
                  <a:pt x="424" y="383"/>
                  <a:pt x="424" y="383"/>
                  <a:pt x="424" y="383"/>
                </a:cubicBezTo>
                <a:cubicBezTo>
                  <a:pt x="426" y="381"/>
                  <a:pt x="426" y="381"/>
                  <a:pt x="426" y="381"/>
                </a:cubicBezTo>
                <a:cubicBezTo>
                  <a:pt x="424" y="380"/>
                  <a:pt x="424" y="380"/>
                  <a:pt x="424" y="380"/>
                </a:cubicBezTo>
                <a:cubicBezTo>
                  <a:pt x="424" y="379"/>
                  <a:pt x="424" y="379"/>
                  <a:pt x="424" y="379"/>
                </a:cubicBezTo>
                <a:cubicBezTo>
                  <a:pt x="423" y="378"/>
                  <a:pt x="423" y="378"/>
                  <a:pt x="423" y="378"/>
                </a:cubicBezTo>
                <a:cubicBezTo>
                  <a:pt x="423" y="376"/>
                  <a:pt x="423" y="376"/>
                  <a:pt x="423" y="376"/>
                </a:cubicBezTo>
                <a:cubicBezTo>
                  <a:pt x="419" y="375"/>
                  <a:pt x="419" y="375"/>
                  <a:pt x="419" y="375"/>
                </a:cubicBezTo>
                <a:cubicBezTo>
                  <a:pt x="419" y="373"/>
                  <a:pt x="419" y="373"/>
                  <a:pt x="419" y="373"/>
                </a:cubicBezTo>
                <a:cubicBezTo>
                  <a:pt x="417" y="370"/>
                  <a:pt x="417" y="370"/>
                  <a:pt x="417" y="370"/>
                </a:cubicBezTo>
                <a:cubicBezTo>
                  <a:pt x="413" y="370"/>
                  <a:pt x="413" y="370"/>
                  <a:pt x="413" y="370"/>
                </a:cubicBezTo>
                <a:cubicBezTo>
                  <a:pt x="408" y="368"/>
                  <a:pt x="408" y="368"/>
                  <a:pt x="408" y="368"/>
                </a:cubicBezTo>
                <a:cubicBezTo>
                  <a:pt x="407" y="365"/>
                  <a:pt x="407" y="365"/>
                  <a:pt x="407" y="365"/>
                </a:cubicBezTo>
                <a:cubicBezTo>
                  <a:pt x="404" y="366"/>
                  <a:pt x="404" y="366"/>
                  <a:pt x="404" y="366"/>
                </a:cubicBezTo>
                <a:cubicBezTo>
                  <a:pt x="401" y="364"/>
                  <a:pt x="401" y="364"/>
                  <a:pt x="401" y="364"/>
                </a:cubicBezTo>
                <a:cubicBezTo>
                  <a:pt x="399" y="364"/>
                  <a:pt x="399" y="364"/>
                  <a:pt x="399" y="364"/>
                </a:cubicBezTo>
                <a:cubicBezTo>
                  <a:pt x="396" y="364"/>
                  <a:pt x="396" y="364"/>
                  <a:pt x="396" y="364"/>
                </a:cubicBezTo>
                <a:cubicBezTo>
                  <a:pt x="394" y="366"/>
                  <a:pt x="394" y="366"/>
                  <a:pt x="394" y="366"/>
                </a:cubicBezTo>
                <a:cubicBezTo>
                  <a:pt x="393" y="369"/>
                  <a:pt x="393" y="369"/>
                  <a:pt x="393" y="369"/>
                </a:cubicBezTo>
                <a:cubicBezTo>
                  <a:pt x="391" y="370"/>
                  <a:pt x="391" y="370"/>
                  <a:pt x="391" y="370"/>
                </a:cubicBezTo>
                <a:cubicBezTo>
                  <a:pt x="388" y="369"/>
                  <a:pt x="388" y="369"/>
                  <a:pt x="388" y="369"/>
                </a:cubicBezTo>
                <a:cubicBezTo>
                  <a:pt x="384" y="371"/>
                  <a:pt x="384" y="371"/>
                  <a:pt x="384" y="371"/>
                </a:cubicBezTo>
                <a:cubicBezTo>
                  <a:pt x="381" y="370"/>
                  <a:pt x="381" y="370"/>
                  <a:pt x="381" y="370"/>
                </a:cubicBezTo>
                <a:cubicBezTo>
                  <a:pt x="380" y="369"/>
                  <a:pt x="380" y="369"/>
                  <a:pt x="380" y="369"/>
                </a:cubicBezTo>
                <a:cubicBezTo>
                  <a:pt x="381" y="366"/>
                  <a:pt x="381" y="366"/>
                  <a:pt x="381" y="366"/>
                </a:cubicBezTo>
                <a:cubicBezTo>
                  <a:pt x="380" y="364"/>
                  <a:pt x="380" y="364"/>
                  <a:pt x="380" y="364"/>
                </a:cubicBezTo>
                <a:cubicBezTo>
                  <a:pt x="376" y="360"/>
                  <a:pt x="376" y="360"/>
                  <a:pt x="376" y="360"/>
                </a:cubicBezTo>
                <a:cubicBezTo>
                  <a:pt x="375" y="357"/>
                  <a:pt x="375" y="357"/>
                  <a:pt x="375" y="357"/>
                </a:cubicBezTo>
                <a:cubicBezTo>
                  <a:pt x="375" y="352"/>
                  <a:pt x="375" y="352"/>
                  <a:pt x="375" y="352"/>
                </a:cubicBezTo>
                <a:cubicBezTo>
                  <a:pt x="373" y="349"/>
                  <a:pt x="373" y="349"/>
                  <a:pt x="373" y="349"/>
                </a:cubicBezTo>
                <a:cubicBezTo>
                  <a:pt x="374" y="346"/>
                  <a:pt x="374" y="346"/>
                  <a:pt x="374" y="346"/>
                </a:cubicBezTo>
                <a:cubicBezTo>
                  <a:pt x="374" y="339"/>
                  <a:pt x="374" y="339"/>
                  <a:pt x="374" y="339"/>
                </a:cubicBezTo>
                <a:cubicBezTo>
                  <a:pt x="372" y="335"/>
                  <a:pt x="372" y="335"/>
                  <a:pt x="372" y="335"/>
                </a:cubicBezTo>
                <a:cubicBezTo>
                  <a:pt x="370" y="332"/>
                  <a:pt x="370" y="332"/>
                  <a:pt x="370" y="332"/>
                </a:cubicBezTo>
                <a:cubicBezTo>
                  <a:pt x="367" y="332"/>
                  <a:pt x="367" y="332"/>
                  <a:pt x="367" y="332"/>
                </a:cubicBezTo>
                <a:cubicBezTo>
                  <a:pt x="366" y="329"/>
                  <a:pt x="366" y="329"/>
                  <a:pt x="366" y="329"/>
                </a:cubicBezTo>
                <a:cubicBezTo>
                  <a:pt x="361" y="325"/>
                  <a:pt x="361" y="325"/>
                  <a:pt x="361" y="325"/>
                </a:cubicBezTo>
                <a:cubicBezTo>
                  <a:pt x="357" y="323"/>
                  <a:pt x="357" y="323"/>
                  <a:pt x="357" y="323"/>
                </a:cubicBezTo>
                <a:cubicBezTo>
                  <a:pt x="357" y="320"/>
                  <a:pt x="357" y="320"/>
                  <a:pt x="357" y="320"/>
                </a:cubicBezTo>
                <a:cubicBezTo>
                  <a:pt x="359" y="316"/>
                  <a:pt x="359" y="316"/>
                  <a:pt x="359" y="316"/>
                </a:cubicBezTo>
                <a:cubicBezTo>
                  <a:pt x="358" y="313"/>
                  <a:pt x="358" y="313"/>
                  <a:pt x="358" y="313"/>
                </a:cubicBezTo>
                <a:cubicBezTo>
                  <a:pt x="356" y="311"/>
                  <a:pt x="356" y="311"/>
                  <a:pt x="356" y="311"/>
                </a:cubicBezTo>
                <a:cubicBezTo>
                  <a:pt x="356" y="310"/>
                  <a:pt x="356" y="310"/>
                  <a:pt x="356" y="310"/>
                </a:cubicBezTo>
                <a:cubicBezTo>
                  <a:pt x="358" y="308"/>
                  <a:pt x="358" y="308"/>
                  <a:pt x="358" y="308"/>
                </a:cubicBezTo>
                <a:cubicBezTo>
                  <a:pt x="362" y="304"/>
                  <a:pt x="362" y="304"/>
                  <a:pt x="362" y="304"/>
                </a:cubicBezTo>
                <a:cubicBezTo>
                  <a:pt x="363" y="299"/>
                  <a:pt x="363" y="299"/>
                  <a:pt x="363" y="299"/>
                </a:cubicBezTo>
                <a:cubicBezTo>
                  <a:pt x="362" y="293"/>
                  <a:pt x="362" y="293"/>
                  <a:pt x="362" y="293"/>
                </a:cubicBezTo>
                <a:cubicBezTo>
                  <a:pt x="357" y="284"/>
                  <a:pt x="357" y="284"/>
                  <a:pt x="357" y="284"/>
                </a:cubicBezTo>
                <a:cubicBezTo>
                  <a:pt x="359" y="284"/>
                  <a:pt x="359" y="284"/>
                  <a:pt x="359" y="284"/>
                </a:cubicBezTo>
                <a:cubicBezTo>
                  <a:pt x="362" y="286"/>
                  <a:pt x="362" y="286"/>
                  <a:pt x="362" y="286"/>
                </a:cubicBezTo>
                <a:cubicBezTo>
                  <a:pt x="362" y="289"/>
                  <a:pt x="362" y="289"/>
                  <a:pt x="362" y="289"/>
                </a:cubicBezTo>
                <a:cubicBezTo>
                  <a:pt x="364" y="289"/>
                  <a:pt x="364" y="289"/>
                  <a:pt x="364" y="289"/>
                </a:cubicBezTo>
                <a:cubicBezTo>
                  <a:pt x="365" y="290"/>
                  <a:pt x="365" y="290"/>
                  <a:pt x="365" y="290"/>
                </a:cubicBezTo>
                <a:cubicBezTo>
                  <a:pt x="365" y="294"/>
                  <a:pt x="365" y="294"/>
                  <a:pt x="365" y="294"/>
                </a:cubicBezTo>
                <a:cubicBezTo>
                  <a:pt x="367" y="296"/>
                  <a:pt x="367" y="296"/>
                  <a:pt x="367" y="296"/>
                </a:cubicBezTo>
                <a:cubicBezTo>
                  <a:pt x="367" y="301"/>
                  <a:pt x="367" y="301"/>
                  <a:pt x="367" y="301"/>
                </a:cubicBezTo>
                <a:cubicBezTo>
                  <a:pt x="369" y="303"/>
                  <a:pt x="369" y="303"/>
                  <a:pt x="369" y="303"/>
                </a:cubicBezTo>
                <a:cubicBezTo>
                  <a:pt x="368" y="306"/>
                  <a:pt x="368" y="306"/>
                  <a:pt x="368" y="306"/>
                </a:cubicBezTo>
                <a:cubicBezTo>
                  <a:pt x="369" y="308"/>
                  <a:pt x="369" y="308"/>
                  <a:pt x="369" y="308"/>
                </a:cubicBezTo>
                <a:cubicBezTo>
                  <a:pt x="372" y="311"/>
                  <a:pt x="372" y="311"/>
                  <a:pt x="372" y="311"/>
                </a:cubicBezTo>
                <a:cubicBezTo>
                  <a:pt x="372" y="313"/>
                  <a:pt x="372" y="313"/>
                  <a:pt x="372" y="313"/>
                </a:cubicBezTo>
                <a:cubicBezTo>
                  <a:pt x="374" y="315"/>
                  <a:pt x="374" y="315"/>
                  <a:pt x="374" y="315"/>
                </a:cubicBezTo>
                <a:cubicBezTo>
                  <a:pt x="374" y="316"/>
                  <a:pt x="374" y="316"/>
                  <a:pt x="374" y="316"/>
                </a:cubicBezTo>
                <a:cubicBezTo>
                  <a:pt x="372" y="317"/>
                  <a:pt x="372" y="317"/>
                  <a:pt x="372" y="317"/>
                </a:cubicBezTo>
                <a:cubicBezTo>
                  <a:pt x="373" y="319"/>
                  <a:pt x="373" y="319"/>
                  <a:pt x="373" y="319"/>
                </a:cubicBezTo>
                <a:cubicBezTo>
                  <a:pt x="376" y="319"/>
                  <a:pt x="376" y="319"/>
                  <a:pt x="376" y="319"/>
                </a:cubicBezTo>
                <a:cubicBezTo>
                  <a:pt x="379" y="320"/>
                  <a:pt x="379" y="320"/>
                  <a:pt x="379" y="320"/>
                </a:cubicBezTo>
                <a:cubicBezTo>
                  <a:pt x="382" y="320"/>
                  <a:pt x="382" y="320"/>
                  <a:pt x="382" y="320"/>
                </a:cubicBezTo>
                <a:cubicBezTo>
                  <a:pt x="384" y="320"/>
                  <a:pt x="384" y="320"/>
                  <a:pt x="384" y="320"/>
                </a:cubicBezTo>
                <a:cubicBezTo>
                  <a:pt x="386" y="321"/>
                  <a:pt x="386" y="321"/>
                  <a:pt x="386" y="321"/>
                </a:cubicBezTo>
                <a:cubicBezTo>
                  <a:pt x="387" y="323"/>
                  <a:pt x="387" y="323"/>
                  <a:pt x="387" y="323"/>
                </a:cubicBezTo>
                <a:cubicBezTo>
                  <a:pt x="389" y="320"/>
                  <a:pt x="389" y="320"/>
                  <a:pt x="389" y="320"/>
                </a:cubicBezTo>
                <a:cubicBezTo>
                  <a:pt x="391" y="320"/>
                  <a:pt x="391" y="320"/>
                  <a:pt x="391" y="320"/>
                </a:cubicBezTo>
                <a:cubicBezTo>
                  <a:pt x="394" y="319"/>
                  <a:pt x="394" y="319"/>
                  <a:pt x="394" y="319"/>
                </a:cubicBezTo>
                <a:cubicBezTo>
                  <a:pt x="395" y="319"/>
                  <a:pt x="395" y="319"/>
                  <a:pt x="395" y="319"/>
                </a:cubicBezTo>
                <a:cubicBezTo>
                  <a:pt x="398" y="323"/>
                  <a:pt x="398" y="323"/>
                  <a:pt x="398" y="323"/>
                </a:cubicBezTo>
                <a:cubicBezTo>
                  <a:pt x="400" y="323"/>
                  <a:pt x="400" y="323"/>
                  <a:pt x="400" y="323"/>
                </a:cubicBezTo>
                <a:cubicBezTo>
                  <a:pt x="403" y="325"/>
                  <a:pt x="403" y="325"/>
                  <a:pt x="403" y="325"/>
                </a:cubicBezTo>
                <a:cubicBezTo>
                  <a:pt x="408" y="324"/>
                  <a:pt x="408" y="324"/>
                  <a:pt x="408" y="324"/>
                </a:cubicBezTo>
                <a:cubicBezTo>
                  <a:pt x="409" y="322"/>
                  <a:pt x="409" y="322"/>
                  <a:pt x="409" y="322"/>
                </a:cubicBezTo>
                <a:cubicBezTo>
                  <a:pt x="407" y="323"/>
                  <a:pt x="407" y="323"/>
                  <a:pt x="407" y="323"/>
                </a:cubicBezTo>
                <a:cubicBezTo>
                  <a:pt x="403" y="323"/>
                  <a:pt x="403" y="323"/>
                  <a:pt x="403" y="323"/>
                </a:cubicBezTo>
                <a:cubicBezTo>
                  <a:pt x="402" y="321"/>
                  <a:pt x="402" y="321"/>
                  <a:pt x="402" y="321"/>
                </a:cubicBezTo>
                <a:cubicBezTo>
                  <a:pt x="401" y="320"/>
                  <a:pt x="401" y="320"/>
                  <a:pt x="401" y="320"/>
                </a:cubicBezTo>
                <a:cubicBezTo>
                  <a:pt x="400" y="317"/>
                  <a:pt x="400" y="317"/>
                  <a:pt x="400" y="317"/>
                </a:cubicBezTo>
                <a:cubicBezTo>
                  <a:pt x="396" y="317"/>
                  <a:pt x="396" y="317"/>
                  <a:pt x="396" y="317"/>
                </a:cubicBezTo>
                <a:cubicBezTo>
                  <a:pt x="396" y="315"/>
                  <a:pt x="396" y="315"/>
                  <a:pt x="396" y="315"/>
                </a:cubicBezTo>
                <a:cubicBezTo>
                  <a:pt x="395" y="315"/>
                  <a:pt x="395" y="315"/>
                  <a:pt x="395" y="315"/>
                </a:cubicBezTo>
                <a:cubicBezTo>
                  <a:pt x="393" y="317"/>
                  <a:pt x="393" y="317"/>
                  <a:pt x="393" y="317"/>
                </a:cubicBezTo>
                <a:cubicBezTo>
                  <a:pt x="388" y="316"/>
                  <a:pt x="388" y="316"/>
                  <a:pt x="388" y="316"/>
                </a:cubicBezTo>
                <a:cubicBezTo>
                  <a:pt x="386" y="315"/>
                  <a:pt x="386" y="315"/>
                  <a:pt x="386" y="315"/>
                </a:cubicBezTo>
                <a:cubicBezTo>
                  <a:pt x="383" y="314"/>
                  <a:pt x="383" y="314"/>
                  <a:pt x="383" y="314"/>
                </a:cubicBezTo>
                <a:cubicBezTo>
                  <a:pt x="379" y="311"/>
                  <a:pt x="379" y="311"/>
                  <a:pt x="379" y="311"/>
                </a:cubicBezTo>
                <a:cubicBezTo>
                  <a:pt x="378" y="308"/>
                  <a:pt x="378" y="308"/>
                  <a:pt x="378" y="308"/>
                </a:cubicBezTo>
                <a:cubicBezTo>
                  <a:pt x="377" y="308"/>
                  <a:pt x="377" y="308"/>
                  <a:pt x="377" y="308"/>
                </a:cubicBezTo>
                <a:cubicBezTo>
                  <a:pt x="374" y="303"/>
                  <a:pt x="374" y="303"/>
                  <a:pt x="374" y="303"/>
                </a:cubicBezTo>
                <a:cubicBezTo>
                  <a:pt x="375" y="303"/>
                  <a:pt x="375" y="303"/>
                  <a:pt x="375" y="303"/>
                </a:cubicBezTo>
                <a:cubicBezTo>
                  <a:pt x="376" y="302"/>
                  <a:pt x="376" y="302"/>
                  <a:pt x="376" y="302"/>
                </a:cubicBezTo>
                <a:cubicBezTo>
                  <a:pt x="379" y="299"/>
                  <a:pt x="379" y="299"/>
                  <a:pt x="379" y="299"/>
                </a:cubicBezTo>
                <a:cubicBezTo>
                  <a:pt x="381" y="299"/>
                  <a:pt x="381" y="299"/>
                  <a:pt x="381" y="299"/>
                </a:cubicBezTo>
                <a:cubicBezTo>
                  <a:pt x="384" y="303"/>
                  <a:pt x="384" y="303"/>
                  <a:pt x="384" y="303"/>
                </a:cubicBezTo>
                <a:cubicBezTo>
                  <a:pt x="388" y="305"/>
                  <a:pt x="388" y="305"/>
                  <a:pt x="388" y="305"/>
                </a:cubicBezTo>
                <a:cubicBezTo>
                  <a:pt x="391" y="304"/>
                  <a:pt x="391" y="304"/>
                  <a:pt x="391" y="304"/>
                </a:cubicBezTo>
                <a:cubicBezTo>
                  <a:pt x="394" y="300"/>
                  <a:pt x="394" y="300"/>
                  <a:pt x="394" y="300"/>
                </a:cubicBezTo>
                <a:cubicBezTo>
                  <a:pt x="392" y="296"/>
                  <a:pt x="392" y="296"/>
                  <a:pt x="392" y="296"/>
                </a:cubicBezTo>
                <a:cubicBezTo>
                  <a:pt x="388" y="295"/>
                  <a:pt x="388" y="295"/>
                  <a:pt x="388" y="295"/>
                </a:cubicBezTo>
                <a:cubicBezTo>
                  <a:pt x="384" y="297"/>
                  <a:pt x="384" y="297"/>
                  <a:pt x="384" y="297"/>
                </a:cubicBezTo>
                <a:cubicBezTo>
                  <a:pt x="383" y="296"/>
                  <a:pt x="383" y="296"/>
                  <a:pt x="383" y="296"/>
                </a:cubicBezTo>
                <a:cubicBezTo>
                  <a:pt x="384" y="295"/>
                  <a:pt x="384" y="295"/>
                  <a:pt x="384" y="295"/>
                </a:cubicBezTo>
                <a:cubicBezTo>
                  <a:pt x="385" y="295"/>
                  <a:pt x="385" y="295"/>
                  <a:pt x="385" y="295"/>
                </a:cubicBezTo>
                <a:cubicBezTo>
                  <a:pt x="386" y="294"/>
                  <a:pt x="386" y="294"/>
                  <a:pt x="386" y="294"/>
                </a:cubicBezTo>
                <a:cubicBezTo>
                  <a:pt x="386" y="292"/>
                  <a:pt x="386" y="292"/>
                  <a:pt x="386" y="292"/>
                </a:cubicBezTo>
                <a:cubicBezTo>
                  <a:pt x="389" y="288"/>
                  <a:pt x="389" y="288"/>
                  <a:pt x="389" y="288"/>
                </a:cubicBezTo>
                <a:cubicBezTo>
                  <a:pt x="391" y="287"/>
                  <a:pt x="391" y="287"/>
                  <a:pt x="391" y="287"/>
                </a:cubicBezTo>
                <a:cubicBezTo>
                  <a:pt x="393" y="288"/>
                  <a:pt x="393" y="288"/>
                  <a:pt x="393" y="288"/>
                </a:cubicBezTo>
                <a:cubicBezTo>
                  <a:pt x="401" y="287"/>
                  <a:pt x="401" y="287"/>
                  <a:pt x="401" y="287"/>
                </a:cubicBezTo>
                <a:cubicBezTo>
                  <a:pt x="403" y="290"/>
                  <a:pt x="403" y="290"/>
                  <a:pt x="403" y="290"/>
                </a:cubicBezTo>
                <a:cubicBezTo>
                  <a:pt x="406" y="292"/>
                  <a:pt x="406" y="292"/>
                  <a:pt x="406" y="292"/>
                </a:cubicBezTo>
                <a:cubicBezTo>
                  <a:pt x="412" y="293"/>
                  <a:pt x="412" y="293"/>
                  <a:pt x="412" y="293"/>
                </a:cubicBezTo>
                <a:cubicBezTo>
                  <a:pt x="412" y="295"/>
                  <a:pt x="412" y="295"/>
                  <a:pt x="412" y="295"/>
                </a:cubicBezTo>
                <a:cubicBezTo>
                  <a:pt x="415" y="296"/>
                  <a:pt x="415" y="296"/>
                  <a:pt x="415" y="296"/>
                </a:cubicBezTo>
                <a:cubicBezTo>
                  <a:pt x="419" y="301"/>
                  <a:pt x="419" y="301"/>
                  <a:pt x="419" y="301"/>
                </a:cubicBezTo>
                <a:cubicBezTo>
                  <a:pt x="422" y="301"/>
                  <a:pt x="422" y="301"/>
                  <a:pt x="422" y="301"/>
                </a:cubicBezTo>
                <a:cubicBezTo>
                  <a:pt x="428" y="300"/>
                  <a:pt x="428" y="300"/>
                  <a:pt x="428" y="300"/>
                </a:cubicBezTo>
                <a:cubicBezTo>
                  <a:pt x="432" y="297"/>
                  <a:pt x="432" y="297"/>
                  <a:pt x="432" y="297"/>
                </a:cubicBezTo>
                <a:cubicBezTo>
                  <a:pt x="434" y="299"/>
                  <a:pt x="434" y="299"/>
                  <a:pt x="434" y="299"/>
                </a:cubicBezTo>
                <a:cubicBezTo>
                  <a:pt x="435" y="299"/>
                  <a:pt x="435" y="299"/>
                  <a:pt x="435" y="299"/>
                </a:cubicBezTo>
                <a:cubicBezTo>
                  <a:pt x="437" y="299"/>
                  <a:pt x="437" y="299"/>
                  <a:pt x="437" y="299"/>
                </a:cubicBezTo>
                <a:cubicBezTo>
                  <a:pt x="437" y="303"/>
                  <a:pt x="437" y="303"/>
                  <a:pt x="437" y="303"/>
                </a:cubicBezTo>
                <a:cubicBezTo>
                  <a:pt x="437" y="305"/>
                  <a:pt x="437" y="305"/>
                  <a:pt x="437" y="305"/>
                </a:cubicBezTo>
                <a:cubicBezTo>
                  <a:pt x="437" y="306"/>
                  <a:pt x="437" y="306"/>
                  <a:pt x="437" y="306"/>
                </a:cubicBezTo>
                <a:cubicBezTo>
                  <a:pt x="434" y="308"/>
                  <a:pt x="434" y="308"/>
                  <a:pt x="434" y="308"/>
                </a:cubicBezTo>
                <a:cubicBezTo>
                  <a:pt x="434" y="311"/>
                  <a:pt x="434" y="311"/>
                  <a:pt x="434" y="311"/>
                </a:cubicBezTo>
                <a:cubicBezTo>
                  <a:pt x="435" y="313"/>
                  <a:pt x="435" y="313"/>
                  <a:pt x="435" y="313"/>
                </a:cubicBezTo>
                <a:cubicBezTo>
                  <a:pt x="435" y="317"/>
                  <a:pt x="435" y="317"/>
                  <a:pt x="435" y="317"/>
                </a:cubicBezTo>
                <a:cubicBezTo>
                  <a:pt x="439" y="320"/>
                  <a:pt x="439" y="320"/>
                  <a:pt x="439" y="320"/>
                </a:cubicBezTo>
                <a:cubicBezTo>
                  <a:pt x="439" y="322"/>
                  <a:pt x="439" y="322"/>
                  <a:pt x="439" y="322"/>
                </a:cubicBezTo>
                <a:cubicBezTo>
                  <a:pt x="438" y="324"/>
                  <a:pt x="438" y="324"/>
                  <a:pt x="438" y="324"/>
                </a:cubicBezTo>
                <a:cubicBezTo>
                  <a:pt x="439" y="331"/>
                  <a:pt x="439" y="331"/>
                  <a:pt x="439" y="331"/>
                </a:cubicBezTo>
                <a:cubicBezTo>
                  <a:pt x="440" y="330"/>
                  <a:pt x="440" y="330"/>
                  <a:pt x="440" y="330"/>
                </a:cubicBezTo>
                <a:cubicBezTo>
                  <a:pt x="441" y="328"/>
                  <a:pt x="441" y="328"/>
                  <a:pt x="441" y="328"/>
                </a:cubicBezTo>
                <a:cubicBezTo>
                  <a:pt x="440" y="327"/>
                  <a:pt x="440" y="327"/>
                  <a:pt x="440" y="327"/>
                </a:cubicBezTo>
                <a:cubicBezTo>
                  <a:pt x="441" y="325"/>
                  <a:pt x="441" y="325"/>
                  <a:pt x="441" y="325"/>
                </a:cubicBezTo>
                <a:cubicBezTo>
                  <a:pt x="441" y="323"/>
                  <a:pt x="441" y="323"/>
                  <a:pt x="441" y="323"/>
                </a:cubicBezTo>
                <a:cubicBezTo>
                  <a:pt x="443" y="322"/>
                  <a:pt x="443" y="322"/>
                  <a:pt x="443" y="322"/>
                </a:cubicBezTo>
                <a:cubicBezTo>
                  <a:pt x="444" y="318"/>
                  <a:pt x="444" y="318"/>
                  <a:pt x="444" y="318"/>
                </a:cubicBezTo>
                <a:cubicBezTo>
                  <a:pt x="446" y="320"/>
                  <a:pt x="446" y="320"/>
                  <a:pt x="446" y="320"/>
                </a:cubicBezTo>
                <a:cubicBezTo>
                  <a:pt x="447" y="323"/>
                  <a:pt x="447" y="323"/>
                  <a:pt x="447" y="323"/>
                </a:cubicBezTo>
                <a:cubicBezTo>
                  <a:pt x="447" y="328"/>
                  <a:pt x="447" y="328"/>
                  <a:pt x="447" y="328"/>
                </a:cubicBezTo>
                <a:cubicBezTo>
                  <a:pt x="448" y="330"/>
                  <a:pt x="448" y="330"/>
                  <a:pt x="448" y="330"/>
                </a:cubicBezTo>
                <a:cubicBezTo>
                  <a:pt x="446" y="331"/>
                  <a:pt x="446" y="331"/>
                  <a:pt x="446" y="331"/>
                </a:cubicBezTo>
                <a:cubicBezTo>
                  <a:pt x="446" y="334"/>
                  <a:pt x="446" y="334"/>
                  <a:pt x="446" y="334"/>
                </a:cubicBezTo>
                <a:cubicBezTo>
                  <a:pt x="445" y="334"/>
                  <a:pt x="445" y="334"/>
                  <a:pt x="445" y="334"/>
                </a:cubicBezTo>
                <a:cubicBezTo>
                  <a:pt x="449" y="337"/>
                  <a:pt x="449" y="337"/>
                  <a:pt x="449" y="337"/>
                </a:cubicBezTo>
                <a:cubicBezTo>
                  <a:pt x="453" y="337"/>
                  <a:pt x="453" y="337"/>
                  <a:pt x="453" y="337"/>
                </a:cubicBezTo>
                <a:cubicBezTo>
                  <a:pt x="456" y="337"/>
                  <a:pt x="456" y="337"/>
                  <a:pt x="456" y="337"/>
                </a:cubicBezTo>
                <a:cubicBezTo>
                  <a:pt x="458" y="340"/>
                  <a:pt x="458" y="340"/>
                  <a:pt x="458" y="340"/>
                </a:cubicBezTo>
                <a:cubicBezTo>
                  <a:pt x="458" y="342"/>
                  <a:pt x="458" y="342"/>
                  <a:pt x="458" y="342"/>
                </a:cubicBezTo>
                <a:cubicBezTo>
                  <a:pt x="460" y="344"/>
                  <a:pt x="460" y="344"/>
                  <a:pt x="460" y="344"/>
                </a:cubicBezTo>
                <a:cubicBezTo>
                  <a:pt x="464" y="344"/>
                  <a:pt x="464" y="344"/>
                  <a:pt x="464" y="344"/>
                </a:cubicBezTo>
                <a:cubicBezTo>
                  <a:pt x="469" y="349"/>
                  <a:pt x="469" y="349"/>
                  <a:pt x="469" y="349"/>
                </a:cubicBezTo>
                <a:cubicBezTo>
                  <a:pt x="468" y="347"/>
                  <a:pt x="468" y="347"/>
                  <a:pt x="468" y="347"/>
                </a:cubicBezTo>
                <a:cubicBezTo>
                  <a:pt x="468" y="344"/>
                  <a:pt x="468" y="344"/>
                  <a:pt x="468" y="344"/>
                </a:cubicBezTo>
                <a:cubicBezTo>
                  <a:pt x="472" y="341"/>
                  <a:pt x="472" y="341"/>
                  <a:pt x="472" y="341"/>
                </a:cubicBezTo>
                <a:cubicBezTo>
                  <a:pt x="474" y="341"/>
                  <a:pt x="474" y="341"/>
                  <a:pt x="474" y="341"/>
                </a:cubicBezTo>
                <a:cubicBezTo>
                  <a:pt x="478" y="344"/>
                  <a:pt x="478" y="344"/>
                  <a:pt x="478" y="344"/>
                </a:cubicBezTo>
                <a:cubicBezTo>
                  <a:pt x="482" y="344"/>
                  <a:pt x="482" y="344"/>
                  <a:pt x="482" y="344"/>
                </a:cubicBezTo>
                <a:cubicBezTo>
                  <a:pt x="483" y="347"/>
                  <a:pt x="483" y="347"/>
                  <a:pt x="483" y="347"/>
                </a:cubicBezTo>
                <a:cubicBezTo>
                  <a:pt x="484" y="350"/>
                  <a:pt x="484" y="350"/>
                  <a:pt x="484" y="350"/>
                </a:cubicBezTo>
                <a:cubicBezTo>
                  <a:pt x="484" y="346"/>
                  <a:pt x="484" y="346"/>
                  <a:pt x="484" y="346"/>
                </a:cubicBezTo>
                <a:cubicBezTo>
                  <a:pt x="483" y="343"/>
                  <a:pt x="483" y="343"/>
                  <a:pt x="483" y="343"/>
                </a:cubicBezTo>
                <a:cubicBezTo>
                  <a:pt x="481" y="343"/>
                  <a:pt x="481" y="343"/>
                  <a:pt x="481" y="343"/>
                </a:cubicBezTo>
                <a:cubicBezTo>
                  <a:pt x="478" y="342"/>
                  <a:pt x="478" y="342"/>
                  <a:pt x="478" y="342"/>
                </a:cubicBezTo>
                <a:cubicBezTo>
                  <a:pt x="474" y="340"/>
                  <a:pt x="474" y="340"/>
                  <a:pt x="474" y="340"/>
                </a:cubicBezTo>
                <a:cubicBezTo>
                  <a:pt x="470" y="340"/>
                  <a:pt x="470" y="340"/>
                  <a:pt x="470" y="340"/>
                </a:cubicBezTo>
                <a:cubicBezTo>
                  <a:pt x="467" y="343"/>
                  <a:pt x="467" y="343"/>
                  <a:pt x="467" y="343"/>
                </a:cubicBezTo>
                <a:cubicBezTo>
                  <a:pt x="465" y="342"/>
                  <a:pt x="465" y="342"/>
                  <a:pt x="465" y="342"/>
                </a:cubicBezTo>
                <a:cubicBezTo>
                  <a:pt x="465" y="343"/>
                  <a:pt x="465" y="343"/>
                  <a:pt x="465" y="343"/>
                </a:cubicBezTo>
                <a:cubicBezTo>
                  <a:pt x="461" y="341"/>
                  <a:pt x="461" y="341"/>
                  <a:pt x="461" y="341"/>
                </a:cubicBezTo>
                <a:cubicBezTo>
                  <a:pt x="457" y="337"/>
                  <a:pt x="457" y="337"/>
                  <a:pt x="457" y="337"/>
                </a:cubicBezTo>
                <a:cubicBezTo>
                  <a:pt x="455" y="336"/>
                  <a:pt x="455" y="336"/>
                  <a:pt x="455" y="336"/>
                </a:cubicBezTo>
                <a:cubicBezTo>
                  <a:pt x="452" y="335"/>
                  <a:pt x="452" y="335"/>
                  <a:pt x="452" y="335"/>
                </a:cubicBezTo>
                <a:cubicBezTo>
                  <a:pt x="449" y="332"/>
                  <a:pt x="449" y="332"/>
                  <a:pt x="449" y="332"/>
                </a:cubicBezTo>
                <a:cubicBezTo>
                  <a:pt x="451" y="333"/>
                  <a:pt x="451" y="333"/>
                  <a:pt x="451" y="333"/>
                </a:cubicBezTo>
                <a:cubicBezTo>
                  <a:pt x="452" y="333"/>
                  <a:pt x="452" y="333"/>
                  <a:pt x="452" y="333"/>
                </a:cubicBezTo>
                <a:cubicBezTo>
                  <a:pt x="455" y="328"/>
                  <a:pt x="455" y="328"/>
                  <a:pt x="455" y="328"/>
                </a:cubicBezTo>
                <a:cubicBezTo>
                  <a:pt x="454" y="326"/>
                  <a:pt x="454" y="326"/>
                  <a:pt x="454" y="326"/>
                </a:cubicBezTo>
                <a:cubicBezTo>
                  <a:pt x="451" y="323"/>
                  <a:pt x="451" y="323"/>
                  <a:pt x="451" y="323"/>
                </a:cubicBezTo>
                <a:cubicBezTo>
                  <a:pt x="450" y="318"/>
                  <a:pt x="450" y="318"/>
                  <a:pt x="450" y="318"/>
                </a:cubicBezTo>
                <a:cubicBezTo>
                  <a:pt x="447" y="313"/>
                  <a:pt x="447" y="313"/>
                  <a:pt x="447" y="313"/>
                </a:cubicBezTo>
                <a:cubicBezTo>
                  <a:pt x="444" y="312"/>
                  <a:pt x="444" y="312"/>
                  <a:pt x="444" y="312"/>
                </a:cubicBezTo>
                <a:cubicBezTo>
                  <a:pt x="442" y="309"/>
                  <a:pt x="442" y="309"/>
                  <a:pt x="442" y="309"/>
                </a:cubicBezTo>
                <a:cubicBezTo>
                  <a:pt x="443" y="307"/>
                  <a:pt x="443" y="307"/>
                  <a:pt x="443" y="307"/>
                </a:cubicBezTo>
                <a:cubicBezTo>
                  <a:pt x="442" y="304"/>
                  <a:pt x="442" y="304"/>
                  <a:pt x="442" y="304"/>
                </a:cubicBezTo>
                <a:cubicBezTo>
                  <a:pt x="441" y="299"/>
                  <a:pt x="441" y="299"/>
                  <a:pt x="441" y="299"/>
                </a:cubicBezTo>
                <a:cubicBezTo>
                  <a:pt x="439" y="296"/>
                  <a:pt x="439" y="296"/>
                  <a:pt x="439" y="296"/>
                </a:cubicBezTo>
                <a:cubicBezTo>
                  <a:pt x="438" y="296"/>
                  <a:pt x="438" y="296"/>
                  <a:pt x="438" y="296"/>
                </a:cubicBezTo>
                <a:cubicBezTo>
                  <a:pt x="434" y="294"/>
                  <a:pt x="434" y="294"/>
                  <a:pt x="434" y="294"/>
                </a:cubicBezTo>
                <a:cubicBezTo>
                  <a:pt x="428" y="294"/>
                  <a:pt x="428" y="294"/>
                  <a:pt x="428" y="294"/>
                </a:cubicBezTo>
                <a:cubicBezTo>
                  <a:pt x="427" y="291"/>
                  <a:pt x="427" y="291"/>
                  <a:pt x="427" y="291"/>
                </a:cubicBezTo>
                <a:cubicBezTo>
                  <a:pt x="424" y="289"/>
                  <a:pt x="424" y="289"/>
                  <a:pt x="424" y="289"/>
                </a:cubicBezTo>
                <a:cubicBezTo>
                  <a:pt x="424" y="286"/>
                  <a:pt x="424" y="286"/>
                  <a:pt x="424" y="286"/>
                </a:cubicBezTo>
                <a:cubicBezTo>
                  <a:pt x="423" y="284"/>
                  <a:pt x="423" y="284"/>
                  <a:pt x="423" y="284"/>
                </a:cubicBezTo>
                <a:cubicBezTo>
                  <a:pt x="423" y="283"/>
                  <a:pt x="423" y="283"/>
                  <a:pt x="423" y="283"/>
                </a:cubicBezTo>
                <a:cubicBezTo>
                  <a:pt x="420" y="284"/>
                  <a:pt x="420" y="284"/>
                  <a:pt x="420" y="284"/>
                </a:cubicBezTo>
                <a:cubicBezTo>
                  <a:pt x="413" y="284"/>
                  <a:pt x="413" y="284"/>
                  <a:pt x="413" y="284"/>
                </a:cubicBezTo>
                <a:cubicBezTo>
                  <a:pt x="410" y="284"/>
                  <a:pt x="410" y="284"/>
                  <a:pt x="410" y="284"/>
                </a:cubicBezTo>
                <a:cubicBezTo>
                  <a:pt x="407" y="282"/>
                  <a:pt x="407" y="282"/>
                  <a:pt x="407" y="282"/>
                </a:cubicBezTo>
                <a:cubicBezTo>
                  <a:pt x="407" y="279"/>
                  <a:pt x="407" y="279"/>
                  <a:pt x="407" y="279"/>
                </a:cubicBezTo>
                <a:cubicBezTo>
                  <a:pt x="406" y="279"/>
                  <a:pt x="406" y="279"/>
                  <a:pt x="406" y="279"/>
                </a:cubicBezTo>
                <a:cubicBezTo>
                  <a:pt x="405" y="278"/>
                  <a:pt x="405" y="278"/>
                  <a:pt x="405" y="278"/>
                </a:cubicBezTo>
                <a:cubicBezTo>
                  <a:pt x="405" y="274"/>
                  <a:pt x="405" y="274"/>
                  <a:pt x="405" y="274"/>
                </a:cubicBezTo>
                <a:cubicBezTo>
                  <a:pt x="402" y="269"/>
                  <a:pt x="402" y="269"/>
                  <a:pt x="402" y="269"/>
                </a:cubicBezTo>
                <a:cubicBezTo>
                  <a:pt x="399" y="267"/>
                  <a:pt x="399" y="267"/>
                  <a:pt x="399" y="267"/>
                </a:cubicBezTo>
                <a:cubicBezTo>
                  <a:pt x="399" y="265"/>
                  <a:pt x="399" y="265"/>
                  <a:pt x="399" y="265"/>
                </a:cubicBezTo>
                <a:cubicBezTo>
                  <a:pt x="399" y="264"/>
                  <a:pt x="399" y="264"/>
                  <a:pt x="399" y="264"/>
                </a:cubicBezTo>
                <a:cubicBezTo>
                  <a:pt x="397" y="264"/>
                  <a:pt x="397" y="264"/>
                  <a:pt x="397" y="264"/>
                </a:cubicBezTo>
                <a:cubicBezTo>
                  <a:pt x="396" y="262"/>
                  <a:pt x="396" y="262"/>
                  <a:pt x="396" y="262"/>
                </a:cubicBezTo>
                <a:cubicBezTo>
                  <a:pt x="397" y="260"/>
                  <a:pt x="397" y="260"/>
                  <a:pt x="397" y="260"/>
                </a:cubicBezTo>
                <a:cubicBezTo>
                  <a:pt x="397" y="258"/>
                  <a:pt x="397" y="258"/>
                  <a:pt x="397" y="258"/>
                </a:cubicBezTo>
                <a:cubicBezTo>
                  <a:pt x="394" y="256"/>
                  <a:pt x="394" y="256"/>
                  <a:pt x="394" y="256"/>
                </a:cubicBezTo>
                <a:cubicBezTo>
                  <a:pt x="396" y="255"/>
                  <a:pt x="396" y="255"/>
                  <a:pt x="396" y="255"/>
                </a:cubicBezTo>
                <a:cubicBezTo>
                  <a:pt x="399" y="255"/>
                  <a:pt x="399" y="255"/>
                  <a:pt x="399" y="255"/>
                </a:cubicBezTo>
                <a:cubicBezTo>
                  <a:pt x="401" y="252"/>
                  <a:pt x="401" y="252"/>
                  <a:pt x="401" y="252"/>
                </a:cubicBezTo>
                <a:cubicBezTo>
                  <a:pt x="404" y="252"/>
                  <a:pt x="404" y="252"/>
                  <a:pt x="404" y="252"/>
                </a:cubicBezTo>
                <a:cubicBezTo>
                  <a:pt x="410" y="251"/>
                  <a:pt x="410" y="251"/>
                  <a:pt x="410" y="251"/>
                </a:cubicBezTo>
                <a:cubicBezTo>
                  <a:pt x="418" y="248"/>
                  <a:pt x="418" y="248"/>
                  <a:pt x="418" y="248"/>
                </a:cubicBezTo>
                <a:cubicBezTo>
                  <a:pt x="421" y="245"/>
                  <a:pt x="421" y="245"/>
                  <a:pt x="421" y="245"/>
                </a:cubicBezTo>
                <a:cubicBezTo>
                  <a:pt x="424" y="245"/>
                  <a:pt x="424" y="245"/>
                  <a:pt x="424" y="245"/>
                </a:cubicBezTo>
                <a:cubicBezTo>
                  <a:pt x="426" y="245"/>
                  <a:pt x="426" y="245"/>
                  <a:pt x="426" y="245"/>
                </a:cubicBezTo>
                <a:cubicBezTo>
                  <a:pt x="428" y="244"/>
                  <a:pt x="428" y="244"/>
                  <a:pt x="428" y="244"/>
                </a:cubicBezTo>
                <a:cubicBezTo>
                  <a:pt x="429" y="242"/>
                  <a:pt x="429" y="242"/>
                  <a:pt x="429" y="242"/>
                </a:cubicBezTo>
                <a:cubicBezTo>
                  <a:pt x="433" y="240"/>
                  <a:pt x="433" y="240"/>
                  <a:pt x="433" y="240"/>
                </a:cubicBezTo>
                <a:cubicBezTo>
                  <a:pt x="441" y="237"/>
                  <a:pt x="441" y="237"/>
                  <a:pt x="441" y="237"/>
                </a:cubicBezTo>
                <a:cubicBezTo>
                  <a:pt x="441" y="238"/>
                  <a:pt x="441" y="238"/>
                  <a:pt x="441" y="238"/>
                </a:cubicBezTo>
                <a:cubicBezTo>
                  <a:pt x="440" y="240"/>
                  <a:pt x="440" y="240"/>
                  <a:pt x="440" y="240"/>
                </a:cubicBezTo>
                <a:cubicBezTo>
                  <a:pt x="440" y="242"/>
                  <a:pt x="440" y="242"/>
                  <a:pt x="440" y="242"/>
                </a:cubicBezTo>
                <a:cubicBezTo>
                  <a:pt x="439" y="243"/>
                  <a:pt x="439" y="243"/>
                  <a:pt x="439" y="243"/>
                </a:cubicBezTo>
                <a:cubicBezTo>
                  <a:pt x="437" y="247"/>
                  <a:pt x="437" y="247"/>
                  <a:pt x="437" y="247"/>
                </a:cubicBezTo>
                <a:cubicBezTo>
                  <a:pt x="437" y="250"/>
                  <a:pt x="437" y="250"/>
                  <a:pt x="437" y="250"/>
                </a:cubicBezTo>
                <a:cubicBezTo>
                  <a:pt x="441" y="253"/>
                  <a:pt x="441" y="253"/>
                  <a:pt x="441" y="253"/>
                </a:cubicBezTo>
                <a:cubicBezTo>
                  <a:pt x="445" y="253"/>
                  <a:pt x="445" y="253"/>
                  <a:pt x="445" y="253"/>
                </a:cubicBezTo>
                <a:cubicBezTo>
                  <a:pt x="443" y="252"/>
                  <a:pt x="443" y="252"/>
                  <a:pt x="443" y="252"/>
                </a:cubicBezTo>
                <a:cubicBezTo>
                  <a:pt x="439" y="248"/>
                  <a:pt x="439" y="248"/>
                  <a:pt x="439" y="248"/>
                </a:cubicBezTo>
                <a:cubicBezTo>
                  <a:pt x="439" y="247"/>
                  <a:pt x="439" y="247"/>
                  <a:pt x="439" y="247"/>
                </a:cubicBezTo>
                <a:cubicBezTo>
                  <a:pt x="441" y="245"/>
                  <a:pt x="441" y="245"/>
                  <a:pt x="441" y="245"/>
                </a:cubicBezTo>
                <a:cubicBezTo>
                  <a:pt x="445" y="242"/>
                  <a:pt x="445" y="242"/>
                  <a:pt x="445" y="242"/>
                </a:cubicBezTo>
                <a:cubicBezTo>
                  <a:pt x="447" y="238"/>
                  <a:pt x="447" y="238"/>
                  <a:pt x="447" y="238"/>
                </a:cubicBezTo>
                <a:cubicBezTo>
                  <a:pt x="445" y="235"/>
                  <a:pt x="445" y="235"/>
                  <a:pt x="445" y="235"/>
                </a:cubicBezTo>
                <a:cubicBezTo>
                  <a:pt x="443" y="235"/>
                  <a:pt x="443" y="235"/>
                  <a:pt x="443" y="235"/>
                </a:cubicBezTo>
                <a:cubicBezTo>
                  <a:pt x="440" y="233"/>
                  <a:pt x="440" y="233"/>
                  <a:pt x="440" y="233"/>
                </a:cubicBezTo>
                <a:cubicBezTo>
                  <a:pt x="440" y="231"/>
                  <a:pt x="440" y="231"/>
                  <a:pt x="440" y="231"/>
                </a:cubicBezTo>
                <a:cubicBezTo>
                  <a:pt x="437" y="231"/>
                  <a:pt x="437" y="231"/>
                  <a:pt x="437" y="231"/>
                </a:cubicBezTo>
                <a:cubicBezTo>
                  <a:pt x="436" y="232"/>
                  <a:pt x="436" y="232"/>
                  <a:pt x="436" y="232"/>
                </a:cubicBezTo>
                <a:cubicBezTo>
                  <a:pt x="435" y="231"/>
                  <a:pt x="435" y="231"/>
                  <a:pt x="435" y="231"/>
                </a:cubicBezTo>
                <a:cubicBezTo>
                  <a:pt x="433" y="228"/>
                  <a:pt x="433" y="228"/>
                  <a:pt x="433" y="228"/>
                </a:cubicBezTo>
                <a:cubicBezTo>
                  <a:pt x="430" y="228"/>
                  <a:pt x="430" y="228"/>
                  <a:pt x="430" y="228"/>
                </a:cubicBezTo>
                <a:cubicBezTo>
                  <a:pt x="428" y="229"/>
                  <a:pt x="428" y="229"/>
                  <a:pt x="428" y="229"/>
                </a:cubicBezTo>
                <a:cubicBezTo>
                  <a:pt x="426" y="226"/>
                  <a:pt x="426" y="226"/>
                  <a:pt x="426" y="226"/>
                </a:cubicBezTo>
                <a:cubicBezTo>
                  <a:pt x="427" y="226"/>
                  <a:pt x="427" y="226"/>
                  <a:pt x="427" y="226"/>
                </a:cubicBezTo>
                <a:cubicBezTo>
                  <a:pt x="427" y="224"/>
                  <a:pt x="427" y="224"/>
                  <a:pt x="427" y="224"/>
                </a:cubicBezTo>
                <a:cubicBezTo>
                  <a:pt x="428" y="223"/>
                  <a:pt x="428" y="223"/>
                  <a:pt x="428" y="223"/>
                </a:cubicBezTo>
                <a:cubicBezTo>
                  <a:pt x="430" y="225"/>
                  <a:pt x="430" y="225"/>
                  <a:pt x="430" y="225"/>
                </a:cubicBezTo>
                <a:cubicBezTo>
                  <a:pt x="433" y="225"/>
                  <a:pt x="433" y="225"/>
                  <a:pt x="433" y="225"/>
                </a:cubicBezTo>
                <a:cubicBezTo>
                  <a:pt x="435" y="224"/>
                  <a:pt x="435" y="224"/>
                  <a:pt x="435" y="224"/>
                </a:cubicBezTo>
                <a:cubicBezTo>
                  <a:pt x="434" y="223"/>
                  <a:pt x="434" y="223"/>
                  <a:pt x="434" y="223"/>
                </a:cubicBezTo>
                <a:cubicBezTo>
                  <a:pt x="433" y="223"/>
                  <a:pt x="433" y="223"/>
                  <a:pt x="433" y="223"/>
                </a:cubicBezTo>
                <a:cubicBezTo>
                  <a:pt x="431" y="224"/>
                  <a:pt x="431" y="224"/>
                  <a:pt x="431" y="224"/>
                </a:cubicBezTo>
                <a:cubicBezTo>
                  <a:pt x="429" y="222"/>
                  <a:pt x="429" y="222"/>
                  <a:pt x="429" y="222"/>
                </a:cubicBezTo>
                <a:cubicBezTo>
                  <a:pt x="429" y="220"/>
                  <a:pt x="429" y="220"/>
                  <a:pt x="429" y="220"/>
                </a:cubicBezTo>
                <a:cubicBezTo>
                  <a:pt x="426" y="220"/>
                  <a:pt x="426" y="220"/>
                  <a:pt x="426" y="220"/>
                </a:cubicBezTo>
                <a:cubicBezTo>
                  <a:pt x="423" y="219"/>
                  <a:pt x="423" y="219"/>
                  <a:pt x="423" y="219"/>
                </a:cubicBezTo>
                <a:cubicBezTo>
                  <a:pt x="421" y="220"/>
                  <a:pt x="421" y="220"/>
                  <a:pt x="421" y="220"/>
                </a:cubicBezTo>
                <a:cubicBezTo>
                  <a:pt x="419" y="217"/>
                  <a:pt x="419" y="217"/>
                  <a:pt x="419" y="217"/>
                </a:cubicBezTo>
                <a:cubicBezTo>
                  <a:pt x="421" y="216"/>
                  <a:pt x="421" y="216"/>
                  <a:pt x="421" y="216"/>
                </a:cubicBezTo>
                <a:cubicBezTo>
                  <a:pt x="420" y="214"/>
                  <a:pt x="420" y="214"/>
                  <a:pt x="420" y="214"/>
                </a:cubicBezTo>
                <a:cubicBezTo>
                  <a:pt x="419" y="213"/>
                  <a:pt x="419" y="213"/>
                  <a:pt x="419" y="213"/>
                </a:cubicBezTo>
                <a:cubicBezTo>
                  <a:pt x="420" y="212"/>
                  <a:pt x="420" y="212"/>
                  <a:pt x="420" y="212"/>
                </a:cubicBezTo>
                <a:cubicBezTo>
                  <a:pt x="421" y="212"/>
                  <a:pt x="421" y="212"/>
                  <a:pt x="421" y="212"/>
                </a:cubicBezTo>
                <a:cubicBezTo>
                  <a:pt x="423" y="216"/>
                  <a:pt x="423" y="216"/>
                  <a:pt x="423" y="216"/>
                </a:cubicBezTo>
                <a:cubicBezTo>
                  <a:pt x="425" y="215"/>
                  <a:pt x="425" y="215"/>
                  <a:pt x="425" y="215"/>
                </a:cubicBezTo>
                <a:cubicBezTo>
                  <a:pt x="428" y="218"/>
                  <a:pt x="428" y="218"/>
                  <a:pt x="428" y="218"/>
                </a:cubicBezTo>
                <a:cubicBezTo>
                  <a:pt x="428" y="216"/>
                  <a:pt x="428" y="216"/>
                  <a:pt x="428" y="216"/>
                </a:cubicBezTo>
                <a:cubicBezTo>
                  <a:pt x="428" y="215"/>
                  <a:pt x="428" y="215"/>
                  <a:pt x="428" y="215"/>
                </a:cubicBezTo>
                <a:cubicBezTo>
                  <a:pt x="429" y="213"/>
                  <a:pt x="429" y="213"/>
                  <a:pt x="429" y="213"/>
                </a:cubicBezTo>
                <a:cubicBezTo>
                  <a:pt x="430" y="209"/>
                  <a:pt x="430" y="209"/>
                  <a:pt x="430" y="209"/>
                </a:cubicBezTo>
                <a:cubicBezTo>
                  <a:pt x="428" y="208"/>
                  <a:pt x="428" y="208"/>
                  <a:pt x="428" y="208"/>
                </a:cubicBezTo>
                <a:cubicBezTo>
                  <a:pt x="429" y="207"/>
                  <a:pt x="429" y="207"/>
                  <a:pt x="429" y="207"/>
                </a:cubicBezTo>
                <a:cubicBezTo>
                  <a:pt x="431" y="207"/>
                  <a:pt x="431" y="207"/>
                  <a:pt x="431" y="207"/>
                </a:cubicBezTo>
                <a:cubicBezTo>
                  <a:pt x="432" y="206"/>
                  <a:pt x="432" y="206"/>
                  <a:pt x="432" y="206"/>
                </a:cubicBezTo>
                <a:cubicBezTo>
                  <a:pt x="427" y="205"/>
                  <a:pt x="427" y="205"/>
                  <a:pt x="427" y="205"/>
                </a:cubicBezTo>
                <a:cubicBezTo>
                  <a:pt x="426" y="206"/>
                  <a:pt x="426" y="206"/>
                  <a:pt x="426" y="206"/>
                </a:cubicBezTo>
                <a:cubicBezTo>
                  <a:pt x="424" y="206"/>
                  <a:pt x="424" y="206"/>
                  <a:pt x="424" y="206"/>
                </a:cubicBezTo>
                <a:cubicBezTo>
                  <a:pt x="424" y="204"/>
                  <a:pt x="424" y="204"/>
                  <a:pt x="424" y="204"/>
                </a:cubicBezTo>
                <a:cubicBezTo>
                  <a:pt x="426" y="202"/>
                  <a:pt x="426" y="202"/>
                  <a:pt x="426" y="202"/>
                </a:cubicBezTo>
                <a:cubicBezTo>
                  <a:pt x="430" y="202"/>
                  <a:pt x="430" y="202"/>
                  <a:pt x="430" y="202"/>
                </a:cubicBezTo>
                <a:cubicBezTo>
                  <a:pt x="433" y="201"/>
                  <a:pt x="433" y="201"/>
                  <a:pt x="433" y="201"/>
                </a:cubicBezTo>
                <a:cubicBezTo>
                  <a:pt x="432" y="199"/>
                  <a:pt x="432" y="199"/>
                  <a:pt x="432" y="199"/>
                </a:cubicBezTo>
                <a:cubicBezTo>
                  <a:pt x="435" y="197"/>
                  <a:pt x="435" y="197"/>
                  <a:pt x="435" y="197"/>
                </a:cubicBezTo>
                <a:cubicBezTo>
                  <a:pt x="435" y="195"/>
                  <a:pt x="435" y="195"/>
                  <a:pt x="435" y="195"/>
                </a:cubicBezTo>
                <a:cubicBezTo>
                  <a:pt x="435" y="194"/>
                  <a:pt x="435" y="194"/>
                  <a:pt x="435" y="194"/>
                </a:cubicBezTo>
                <a:cubicBezTo>
                  <a:pt x="435" y="193"/>
                  <a:pt x="435" y="193"/>
                  <a:pt x="435" y="193"/>
                </a:cubicBezTo>
                <a:cubicBezTo>
                  <a:pt x="437" y="190"/>
                  <a:pt x="437" y="190"/>
                  <a:pt x="437" y="190"/>
                </a:cubicBezTo>
                <a:cubicBezTo>
                  <a:pt x="438" y="190"/>
                  <a:pt x="438" y="190"/>
                  <a:pt x="438" y="190"/>
                </a:cubicBezTo>
                <a:cubicBezTo>
                  <a:pt x="439" y="192"/>
                  <a:pt x="439" y="192"/>
                  <a:pt x="439" y="192"/>
                </a:cubicBezTo>
                <a:cubicBezTo>
                  <a:pt x="440" y="191"/>
                  <a:pt x="440" y="191"/>
                  <a:pt x="440" y="191"/>
                </a:cubicBezTo>
                <a:cubicBezTo>
                  <a:pt x="440" y="189"/>
                  <a:pt x="440" y="189"/>
                  <a:pt x="440" y="189"/>
                </a:cubicBezTo>
                <a:cubicBezTo>
                  <a:pt x="441" y="189"/>
                  <a:pt x="441" y="189"/>
                  <a:pt x="441" y="189"/>
                </a:cubicBezTo>
                <a:cubicBezTo>
                  <a:pt x="440" y="187"/>
                  <a:pt x="440" y="187"/>
                  <a:pt x="440" y="187"/>
                </a:cubicBezTo>
                <a:cubicBezTo>
                  <a:pt x="441" y="186"/>
                  <a:pt x="441" y="186"/>
                  <a:pt x="441" y="186"/>
                </a:cubicBezTo>
                <a:cubicBezTo>
                  <a:pt x="444" y="185"/>
                  <a:pt x="444" y="185"/>
                  <a:pt x="444" y="185"/>
                </a:cubicBezTo>
                <a:cubicBezTo>
                  <a:pt x="445" y="184"/>
                  <a:pt x="445" y="184"/>
                  <a:pt x="445" y="184"/>
                </a:cubicBezTo>
                <a:cubicBezTo>
                  <a:pt x="445" y="182"/>
                  <a:pt x="445" y="182"/>
                  <a:pt x="445" y="182"/>
                </a:cubicBezTo>
                <a:cubicBezTo>
                  <a:pt x="447" y="182"/>
                  <a:pt x="447" y="182"/>
                  <a:pt x="447" y="182"/>
                </a:cubicBezTo>
                <a:cubicBezTo>
                  <a:pt x="448" y="183"/>
                  <a:pt x="448" y="183"/>
                  <a:pt x="448" y="183"/>
                </a:cubicBezTo>
                <a:cubicBezTo>
                  <a:pt x="452" y="182"/>
                  <a:pt x="452" y="182"/>
                  <a:pt x="452" y="182"/>
                </a:cubicBezTo>
                <a:cubicBezTo>
                  <a:pt x="451" y="181"/>
                  <a:pt x="451" y="181"/>
                  <a:pt x="451" y="181"/>
                </a:cubicBezTo>
                <a:cubicBezTo>
                  <a:pt x="452" y="179"/>
                  <a:pt x="452" y="179"/>
                  <a:pt x="452" y="179"/>
                </a:cubicBezTo>
                <a:cubicBezTo>
                  <a:pt x="456" y="179"/>
                  <a:pt x="456" y="179"/>
                  <a:pt x="456" y="179"/>
                </a:cubicBezTo>
                <a:cubicBezTo>
                  <a:pt x="459" y="177"/>
                  <a:pt x="459" y="177"/>
                  <a:pt x="459" y="177"/>
                </a:cubicBezTo>
                <a:cubicBezTo>
                  <a:pt x="460" y="175"/>
                  <a:pt x="460" y="175"/>
                  <a:pt x="460" y="175"/>
                </a:cubicBezTo>
                <a:cubicBezTo>
                  <a:pt x="466" y="172"/>
                  <a:pt x="466" y="172"/>
                  <a:pt x="466" y="172"/>
                </a:cubicBezTo>
                <a:cubicBezTo>
                  <a:pt x="466" y="170"/>
                  <a:pt x="466" y="170"/>
                  <a:pt x="466" y="170"/>
                </a:cubicBezTo>
                <a:cubicBezTo>
                  <a:pt x="465" y="170"/>
                  <a:pt x="465" y="170"/>
                  <a:pt x="465" y="170"/>
                </a:cubicBezTo>
                <a:cubicBezTo>
                  <a:pt x="461" y="172"/>
                  <a:pt x="461" y="172"/>
                  <a:pt x="461" y="172"/>
                </a:cubicBezTo>
                <a:cubicBezTo>
                  <a:pt x="460" y="171"/>
                  <a:pt x="460" y="171"/>
                  <a:pt x="460" y="171"/>
                </a:cubicBezTo>
                <a:cubicBezTo>
                  <a:pt x="458" y="173"/>
                  <a:pt x="458" y="173"/>
                  <a:pt x="458" y="173"/>
                </a:cubicBezTo>
                <a:cubicBezTo>
                  <a:pt x="457" y="172"/>
                  <a:pt x="457" y="172"/>
                  <a:pt x="457" y="172"/>
                </a:cubicBezTo>
                <a:cubicBezTo>
                  <a:pt x="457" y="167"/>
                  <a:pt x="457" y="167"/>
                  <a:pt x="457" y="167"/>
                </a:cubicBezTo>
                <a:cubicBezTo>
                  <a:pt x="458" y="167"/>
                  <a:pt x="458" y="167"/>
                  <a:pt x="458" y="167"/>
                </a:cubicBezTo>
                <a:cubicBezTo>
                  <a:pt x="459" y="165"/>
                  <a:pt x="459" y="165"/>
                  <a:pt x="459" y="165"/>
                </a:cubicBezTo>
                <a:cubicBezTo>
                  <a:pt x="459" y="165"/>
                  <a:pt x="459" y="165"/>
                  <a:pt x="459" y="165"/>
                </a:cubicBezTo>
                <a:cubicBezTo>
                  <a:pt x="460" y="166"/>
                  <a:pt x="460" y="166"/>
                  <a:pt x="460" y="166"/>
                </a:cubicBezTo>
                <a:cubicBezTo>
                  <a:pt x="461" y="166"/>
                  <a:pt x="461" y="166"/>
                  <a:pt x="461" y="166"/>
                </a:cubicBezTo>
                <a:cubicBezTo>
                  <a:pt x="462" y="165"/>
                  <a:pt x="462" y="165"/>
                  <a:pt x="462" y="165"/>
                </a:cubicBezTo>
                <a:cubicBezTo>
                  <a:pt x="460" y="163"/>
                  <a:pt x="460" y="163"/>
                  <a:pt x="460" y="163"/>
                </a:cubicBezTo>
                <a:cubicBezTo>
                  <a:pt x="462" y="162"/>
                  <a:pt x="462" y="162"/>
                  <a:pt x="462" y="162"/>
                </a:cubicBezTo>
                <a:cubicBezTo>
                  <a:pt x="464" y="163"/>
                  <a:pt x="464" y="163"/>
                  <a:pt x="464" y="163"/>
                </a:cubicBezTo>
                <a:cubicBezTo>
                  <a:pt x="466" y="164"/>
                  <a:pt x="466" y="164"/>
                  <a:pt x="466" y="164"/>
                </a:cubicBezTo>
                <a:cubicBezTo>
                  <a:pt x="469" y="161"/>
                  <a:pt x="469" y="161"/>
                  <a:pt x="469" y="161"/>
                </a:cubicBezTo>
                <a:cubicBezTo>
                  <a:pt x="471" y="162"/>
                  <a:pt x="471" y="162"/>
                  <a:pt x="471" y="162"/>
                </a:cubicBezTo>
                <a:cubicBezTo>
                  <a:pt x="477" y="160"/>
                  <a:pt x="477" y="160"/>
                  <a:pt x="477" y="160"/>
                </a:cubicBezTo>
                <a:cubicBezTo>
                  <a:pt x="479" y="161"/>
                  <a:pt x="479" y="161"/>
                  <a:pt x="479" y="161"/>
                </a:cubicBezTo>
                <a:cubicBezTo>
                  <a:pt x="480" y="162"/>
                  <a:pt x="480" y="162"/>
                  <a:pt x="480" y="162"/>
                </a:cubicBezTo>
                <a:cubicBezTo>
                  <a:pt x="478" y="167"/>
                  <a:pt x="478" y="167"/>
                  <a:pt x="478" y="167"/>
                </a:cubicBezTo>
                <a:cubicBezTo>
                  <a:pt x="478" y="169"/>
                  <a:pt x="478" y="169"/>
                  <a:pt x="478" y="169"/>
                </a:cubicBezTo>
                <a:cubicBezTo>
                  <a:pt x="480" y="170"/>
                  <a:pt x="480" y="170"/>
                  <a:pt x="480" y="170"/>
                </a:cubicBezTo>
                <a:cubicBezTo>
                  <a:pt x="481" y="167"/>
                  <a:pt x="481" y="167"/>
                  <a:pt x="481" y="167"/>
                </a:cubicBezTo>
                <a:cubicBezTo>
                  <a:pt x="483" y="164"/>
                  <a:pt x="483" y="164"/>
                  <a:pt x="483" y="164"/>
                </a:cubicBezTo>
                <a:cubicBezTo>
                  <a:pt x="483" y="162"/>
                  <a:pt x="483" y="162"/>
                  <a:pt x="483" y="162"/>
                </a:cubicBezTo>
                <a:cubicBezTo>
                  <a:pt x="483" y="161"/>
                  <a:pt x="483" y="161"/>
                  <a:pt x="483" y="161"/>
                </a:cubicBezTo>
                <a:cubicBezTo>
                  <a:pt x="485" y="163"/>
                  <a:pt x="485" y="163"/>
                  <a:pt x="485" y="163"/>
                </a:cubicBezTo>
                <a:cubicBezTo>
                  <a:pt x="485" y="166"/>
                  <a:pt x="485" y="166"/>
                  <a:pt x="485" y="166"/>
                </a:cubicBezTo>
                <a:cubicBezTo>
                  <a:pt x="487" y="166"/>
                  <a:pt x="487" y="166"/>
                  <a:pt x="487" y="166"/>
                </a:cubicBezTo>
                <a:cubicBezTo>
                  <a:pt x="488" y="164"/>
                  <a:pt x="488" y="164"/>
                  <a:pt x="488" y="164"/>
                </a:cubicBezTo>
                <a:cubicBezTo>
                  <a:pt x="487" y="162"/>
                  <a:pt x="487" y="162"/>
                  <a:pt x="487" y="162"/>
                </a:cubicBezTo>
                <a:cubicBezTo>
                  <a:pt x="488" y="160"/>
                  <a:pt x="488" y="160"/>
                  <a:pt x="488" y="160"/>
                </a:cubicBezTo>
                <a:cubicBezTo>
                  <a:pt x="489" y="161"/>
                  <a:pt x="489" y="161"/>
                  <a:pt x="489" y="161"/>
                </a:cubicBezTo>
                <a:cubicBezTo>
                  <a:pt x="490" y="163"/>
                  <a:pt x="490" y="163"/>
                  <a:pt x="490" y="163"/>
                </a:cubicBezTo>
                <a:cubicBezTo>
                  <a:pt x="493" y="161"/>
                  <a:pt x="493" y="161"/>
                  <a:pt x="493" y="161"/>
                </a:cubicBezTo>
                <a:cubicBezTo>
                  <a:pt x="493" y="159"/>
                  <a:pt x="493" y="159"/>
                  <a:pt x="493" y="159"/>
                </a:cubicBezTo>
                <a:cubicBezTo>
                  <a:pt x="492" y="158"/>
                  <a:pt x="492" y="158"/>
                  <a:pt x="492" y="158"/>
                </a:cubicBezTo>
                <a:cubicBezTo>
                  <a:pt x="494" y="158"/>
                  <a:pt x="494" y="158"/>
                  <a:pt x="494" y="158"/>
                </a:cubicBezTo>
                <a:cubicBezTo>
                  <a:pt x="495" y="156"/>
                  <a:pt x="495" y="156"/>
                  <a:pt x="495" y="156"/>
                </a:cubicBezTo>
                <a:cubicBezTo>
                  <a:pt x="493" y="156"/>
                  <a:pt x="493" y="156"/>
                  <a:pt x="493" y="156"/>
                </a:cubicBezTo>
                <a:cubicBezTo>
                  <a:pt x="495" y="153"/>
                  <a:pt x="495" y="153"/>
                  <a:pt x="495" y="153"/>
                </a:cubicBezTo>
                <a:cubicBezTo>
                  <a:pt x="498" y="153"/>
                  <a:pt x="498" y="153"/>
                  <a:pt x="498" y="153"/>
                </a:cubicBezTo>
                <a:cubicBezTo>
                  <a:pt x="500" y="152"/>
                  <a:pt x="500" y="152"/>
                  <a:pt x="500" y="152"/>
                </a:cubicBezTo>
                <a:cubicBezTo>
                  <a:pt x="501" y="152"/>
                  <a:pt x="501" y="152"/>
                  <a:pt x="501" y="152"/>
                </a:cubicBezTo>
                <a:cubicBezTo>
                  <a:pt x="502" y="154"/>
                  <a:pt x="502" y="154"/>
                  <a:pt x="502" y="154"/>
                </a:cubicBezTo>
                <a:cubicBezTo>
                  <a:pt x="502" y="154"/>
                  <a:pt x="502" y="154"/>
                  <a:pt x="502" y="154"/>
                </a:cubicBezTo>
                <a:cubicBezTo>
                  <a:pt x="506" y="155"/>
                  <a:pt x="506" y="155"/>
                  <a:pt x="506" y="155"/>
                </a:cubicBezTo>
                <a:cubicBezTo>
                  <a:pt x="506" y="158"/>
                  <a:pt x="506" y="158"/>
                  <a:pt x="506" y="158"/>
                </a:cubicBezTo>
                <a:cubicBezTo>
                  <a:pt x="507" y="159"/>
                  <a:pt x="507" y="159"/>
                  <a:pt x="507" y="159"/>
                </a:cubicBezTo>
                <a:cubicBezTo>
                  <a:pt x="505" y="164"/>
                  <a:pt x="505" y="164"/>
                  <a:pt x="505" y="164"/>
                </a:cubicBezTo>
                <a:cubicBezTo>
                  <a:pt x="508" y="162"/>
                  <a:pt x="508" y="162"/>
                  <a:pt x="508" y="162"/>
                </a:cubicBezTo>
                <a:cubicBezTo>
                  <a:pt x="510" y="158"/>
                  <a:pt x="510" y="158"/>
                  <a:pt x="510" y="158"/>
                </a:cubicBezTo>
                <a:cubicBezTo>
                  <a:pt x="508" y="154"/>
                  <a:pt x="508" y="154"/>
                  <a:pt x="508" y="154"/>
                </a:cubicBezTo>
                <a:cubicBezTo>
                  <a:pt x="505" y="152"/>
                  <a:pt x="505" y="152"/>
                  <a:pt x="505" y="152"/>
                </a:cubicBezTo>
                <a:cubicBezTo>
                  <a:pt x="503" y="149"/>
                  <a:pt x="503" y="149"/>
                  <a:pt x="503" y="149"/>
                </a:cubicBezTo>
                <a:cubicBezTo>
                  <a:pt x="501" y="151"/>
                  <a:pt x="501" y="151"/>
                  <a:pt x="501" y="151"/>
                </a:cubicBezTo>
                <a:cubicBezTo>
                  <a:pt x="499" y="150"/>
                  <a:pt x="499" y="150"/>
                  <a:pt x="499" y="150"/>
                </a:cubicBezTo>
                <a:cubicBezTo>
                  <a:pt x="497" y="150"/>
                  <a:pt x="497" y="150"/>
                  <a:pt x="497" y="150"/>
                </a:cubicBezTo>
                <a:cubicBezTo>
                  <a:pt x="496" y="148"/>
                  <a:pt x="496" y="148"/>
                  <a:pt x="496" y="148"/>
                </a:cubicBezTo>
                <a:cubicBezTo>
                  <a:pt x="494" y="148"/>
                  <a:pt x="494" y="148"/>
                  <a:pt x="494" y="148"/>
                </a:cubicBezTo>
                <a:cubicBezTo>
                  <a:pt x="494" y="147"/>
                  <a:pt x="494" y="147"/>
                  <a:pt x="494" y="147"/>
                </a:cubicBezTo>
                <a:cubicBezTo>
                  <a:pt x="495" y="145"/>
                  <a:pt x="495" y="145"/>
                  <a:pt x="495" y="145"/>
                </a:cubicBezTo>
                <a:cubicBezTo>
                  <a:pt x="500" y="145"/>
                  <a:pt x="500" y="145"/>
                  <a:pt x="500" y="145"/>
                </a:cubicBezTo>
                <a:cubicBezTo>
                  <a:pt x="501" y="144"/>
                  <a:pt x="501" y="144"/>
                  <a:pt x="501" y="144"/>
                </a:cubicBezTo>
                <a:cubicBezTo>
                  <a:pt x="503" y="144"/>
                  <a:pt x="503" y="144"/>
                  <a:pt x="503" y="144"/>
                </a:cubicBezTo>
                <a:cubicBezTo>
                  <a:pt x="505" y="144"/>
                  <a:pt x="505" y="144"/>
                  <a:pt x="505" y="144"/>
                </a:cubicBezTo>
                <a:cubicBezTo>
                  <a:pt x="507" y="143"/>
                  <a:pt x="507" y="143"/>
                  <a:pt x="507" y="143"/>
                </a:cubicBezTo>
                <a:cubicBezTo>
                  <a:pt x="509" y="144"/>
                  <a:pt x="509" y="144"/>
                  <a:pt x="509" y="144"/>
                </a:cubicBezTo>
                <a:cubicBezTo>
                  <a:pt x="514" y="142"/>
                  <a:pt x="514" y="142"/>
                  <a:pt x="514" y="142"/>
                </a:cubicBezTo>
                <a:cubicBezTo>
                  <a:pt x="516" y="143"/>
                  <a:pt x="516" y="143"/>
                  <a:pt x="516" y="143"/>
                </a:cubicBezTo>
                <a:cubicBezTo>
                  <a:pt x="518" y="143"/>
                  <a:pt x="518" y="143"/>
                  <a:pt x="518" y="143"/>
                </a:cubicBezTo>
                <a:cubicBezTo>
                  <a:pt x="520" y="144"/>
                  <a:pt x="520" y="144"/>
                  <a:pt x="520" y="144"/>
                </a:cubicBezTo>
                <a:cubicBezTo>
                  <a:pt x="521" y="142"/>
                  <a:pt x="521" y="142"/>
                  <a:pt x="521" y="142"/>
                </a:cubicBezTo>
                <a:cubicBezTo>
                  <a:pt x="521" y="141"/>
                  <a:pt x="521" y="141"/>
                  <a:pt x="521" y="141"/>
                </a:cubicBezTo>
                <a:cubicBezTo>
                  <a:pt x="517" y="141"/>
                  <a:pt x="517" y="141"/>
                  <a:pt x="517" y="141"/>
                </a:cubicBezTo>
                <a:cubicBezTo>
                  <a:pt x="514" y="139"/>
                  <a:pt x="514" y="139"/>
                  <a:pt x="514" y="139"/>
                </a:cubicBezTo>
                <a:cubicBezTo>
                  <a:pt x="511" y="140"/>
                  <a:pt x="511" y="140"/>
                  <a:pt x="511" y="140"/>
                </a:cubicBezTo>
                <a:cubicBezTo>
                  <a:pt x="507" y="140"/>
                  <a:pt x="507" y="140"/>
                  <a:pt x="507" y="140"/>
                </a:cubicBezTo>
                <a:cubicBezTo>
                  <a:pt x="507" y="138"/>
                  <a:pt x="507" y="138"/>
                  <a:pt x="507" y="138"/>
                </a:cubicBezTo>
                <a:cubicBezTo>
                  <a:pt x="506" y="136"/>
                  <a:pt x="506" y="136"/>
                  <a:pt x="506" y="136"/>
                </a:cubicBezTo>
                <a:cubicBezTo>
                  <a:pt x="510" y="134"/>
                  <a:pt x="510" y="134"/>
                  <a:pt x="510" y="134"/>
                </a:cubicBezTo>
                <a:cubicBezTo>
                  <a:pt x="507" y="133"/>
                  <a:pt x="507" y="133"/>
                  <a:pt x="507" y="133"/>
                </a:cubicBezTo>
                <a:cubicBezTo>
                  <a:pt x="504" y="130"/>
                  <a:pt x="504" y="130"/>
                  <a:pt x="504" y="130"/>
                </a:cubicBezTo>
                <a:cubicBezTo>
                  <a:pt x="502" y="130"/>
                  <a:pt x="502" y="130"/>
                  <a:pt x="502" y="130"/>
                </a:cubicBezTo>
                <a:cubicBezTo>
                  <a:pt x="500" y="128"/>
                  <a:pt x="500" y="128"/>
                  <a:pt x="500" y="128"/>
                </a:cubicBezTo>
                <a:cubicBezTo>
                  <a:pt x="500" y="125"/>
                  <a:pt x="500" y="125"/>
                  <a:pt x="500" y="125"/>
                </a:cubicBezTo>
                <a:cubicBezTo>
                  <a:pt x="502" y="125"/>
                  <a:pt x="502" y="125"/>
                  <a:pt x="502" y="125"/>
                </a:cubicBezTo>
                <a:cubicBezTo>
                  <a:pt x="502" y="123"/>
                  <a:pt x="502" y="123"/>
                  <a:pt x="502" y="123"/>
                </a:cubicBezTo>
                <a:cubicBezTo>
                  <a:pt x="499" y="120"/>
                  <a:pt x="499" y="120"/>
                  <a:pt x="499" y="120"/>
                </a:cubicBezTo>
                <a:cubicBezTo>
                  <a:pt x="499" y="110"/>
                  <a:pt x="499" y="110"/>
                  <a:pt x="499" y="110"/>
                </a:cubicBezTo>
                <a:cubicBezTo>
                  <a:pt x="502" y="108"/>
                  <a:pt x="502" y="108"/>
                  <a:pt x="502" y="108"/>
                </a:cubicBezTo>
                <a:cubicBezTo>
                  <a:pt x="501" y="105"/>
                  <a:pt x="501" y="105"/>
                  <a:pt x="501" y="105"/>
                </a:cubicBezTo>
                <a:cubicBezTo>
                  <a:pt x="501" y="102"/>
                  <a:pt x="501" y="102"/>
                  <a:pt x="501" y="102"/>
                </a:cubicBezTo>
                <a:cubicBezTo>
                  <a:pt x="503" y="100"/>
                  <a:pt x="503" y="100"/>
                  <a:pt x="503" y="100"/>
                </a:cubicBezTo>
                <a:cubicBezTo>
                  <a:pt x="502" y="97"/>
                  <a:pt x="502" y="97"/>
                  <a:pt x="502" y="97"/>
                </a:cubicBezTo>
                <a:cubicBezTo>
                  <a:pt x="504" y="97"/>
                  <a:pt x="504" y="97"/>
                  <a:pt x="504" y="97"/>
                </a:cubicBezTo>
                <a:cubicBezTo>
                  <a:pt x="504" y="95"/>
                  <a:pt x="504" y="95"/>
                  <a:pt x="504" y="95"/>
                </a:cubicBezTo>
                <a:cubicBezTo>
                  <a:pt x="507" y="93"/>
                  <a:pt x="507" y="93"/>
                  <a:pt x="507" y="93"/>
                </a:cubicBezTo>
                <a:cubicBezTo>
                  <a:pt x="509" y="93"/>
                  <a:pt x="509" y="93"/>
                  <a:pt x="509" y="93"/>
                </a:cubicBezTo>
                <a:cubicBezTo>
                  <a:pt x="511" y="96"/>
                  <a:pt x="511" y="96"/>
                  <a:pt x="511" y="96"/>
                </a:cubicBezTo>
                <a:cubicBezTo>
                  <a:pt x="513" y="94"/>
                  <a:pt x="513" y="94"/>
                  <a:pt x="513" y="94"/>
                </a:cubicBezTo>
                <a:cubicBezTo>
                  <a:pt x="515" y="93"/>
                  <a:pt x="515" y="93"/>
                  <a:pt x="515" y="93"/>
                </a:cubicBezTo>
                <a:cubicBezTo>
                  <a:pt x="516" y="97"/>
                  <a:pt x="516" y="97"/>
                  <a:pt x="516" y="97"/>
                </a:cubicBezTo>
                <a:cubicBezTo>
                  <a:pt x="519" y="97"/>
                  <a:pt x="519" y="97"/>
                  <a:pt x="519" y="97"/>
                </a:cubicBezTo>
                <a:cubicBezTo>
                  <a:pt x="522" y="95"/>
                  <a:pt x="522" y="95"/>
                  <a:pt x="522" y="95"/>
                </a:cubicBezTo>
                <a:cubicBezTo>
                  <a:pt x="523" y="95"/>
                  <a:pt x="523" y="95"/>
                  <a:pt x="523" y="95"/>
                </a:cubicBezTo>
                <a:cubicBezTo>
                  <a:pt x="523" y="98"/>
                  <a:pt x="523" y="98"/>
                  <a:pt x="523" y="98"/>
                </a:cubicBezTo>
                <a:cubicBezTo>
                  <a:pt x="524" y="99"/>
                  <a:pt x="524" y="99"/>
                  <a:pt x="524" y="99"/>
                </a:cubicBezTo>
                <a:cubicBezTo>
                  <a:pt x="527" y="100"/>
                  <a:pt x="527" y="100"/>
                  <a:pt x="527" y="100"/>
                </a:cubicBezTo>
                <a:cubicBezTo>
                  <a:pt x="528" y="101"/>
                  <a:pt x="528" y="101"/>
                  <a:pt x="528" y="101"/>
                </a:cubicBezTo>
                <a:cubicBezTo>
                  <a:pt x="526" y="102"/>
                  <a:pt x="526" y="102"/>
                  <a:pt x="526" y="102"/>
                </a:cubicBezTo>
                <a:cubicBezTo>
                  <a:pt x="525" y="103"/>
                  <a:pt x="525" y="103"/>
                  <a:pt x="525" y="103"/>
                </a:cubicBezTo>
                <a:cubicBezTo>
                  <a:pt x="524" y="105"/>
                  <a:pt x="524" y="105"/>
                  <a:pt x="524" y="105"/>
                </a:cubicBezTo>
                <a:cubicBezTo>
                  <a:pt x="525" y="107"/>
                  <a:pt x="525" y="107"/>
                  <a:pt x="525" y="107"/>
                </a:cubicBezTo>
                <a:cubicBezTo>
                  <a:pt x="523" y="110"/>
                  <a:pt x="523" y="110"/>
                  <a:pt x="523" y="110"/>
                </a:cubicBezTo>
                <a:cubicBezTo>
                  <a:pt x="520" y="111"/>
                  <a:pt x="520" y="111"/>
                  <a:pt x="520" y="111"/>
                </a:cubicBezTo>
                <a:cubicBezTo>
                  <a:pt x="519" y="114"/>
                  <a:pt x="519" y="114"/>
                  <a:pt x="519" y="114"/>
                </a:cubicBezTo>
                <a:cubicBezTo>
                  <a:pt x="520" y="114"/>
                  <a:pt x="520" y="114"/>
                  <a:pt x="520" y="114"/>
                </a:cubicBezTo>
                <a:cubicBezTo>
                  <a:pt x="525" y="112"/>
                  <a:pt x="525" y="112"/>
                  <a:pt x="525" y="112"/>
                </a:cubicBezTo>
                <a:cubicBezTo>
                  <a:pt x="529" y="107"/>
                  <a:pt x="529" y="107"/>
                  <a:pt x="529" y="107"/>
                </a:cubicBezTo>
                <a:cubicBezTo>
                  <a:pt x="530" y="107"/>
                  <a:pt x="530" y="107"/>
                  <a:pt x="530" y="107"/>
                </a:cubicBezTo>
                <a:cubicBezTo>
                  <a:pt x="530" y="109"/>
                  <a:pt x="530" y="109"/>
                  <a:pt x="530" y="109"/>
                </a:cubicBezTo>
                <a:cubicBezTo>
                  <a:pt x="529" y="111"/>
                  <a:pt x="529" y="111"/>
                  <a:pt x="529" y="111"/>
                </a:cubicBezTo>
                <a:cubicBezTo>
                  <a:pt x="529" y="113"/>
                  <a:pt x="529" y="113"/>
                  <a:pt x="529" y="113"/>
                </a:cubicBezTo>
                <a:cubicBezTo>
                  <a:pt x="531" y="113"/>
                  <a:pt x="531" y="113"/>
                  <a:pt x="531" y="113"/>
                </a:cubicBezTo>
                <a:cubicBezTo>
                  <a:pt x="533" y="110"/>
                  <a:pt x="533" y="110"/>
                  <a:pt x="533" y="110"/>
                </a:cubicBezTo>
                <a:cubicBezTo>
                  <a:pt x="535" y="109"/>
                  <a:pt x="535" y="109"/>
                  <a:pt x="535" y="109"/>
                </a:cubicBezTo>
                <a:cubicBezTo>
                  <a:pt x="536" y="110"/>
                  <a:pt x="536" y="110"/>
                  <a:pt x="536" y="110"/>
                </a:cubicBezTo>
                <a:cubicBezTo>
                  <a:pt x="539" y="110"/>
                  <a:pt x="539" y="110"/>
                  <a:pt x="539" y="110"/>
                </a:cubicBezTo>
                <a:cubicBezTo>
                  <a:pt x="539" y="107"/>
                  <a:pt x="539" y="107"/>
                  <a:pt x="539" y="107"/>
                </a:cubicBezTo>
                <a:cubicBezTo>
                  <a:pt x="540" y="107"/>
                  <a:pt x="540" y="107"/>
                  <a:pt x="540" y="107"/>
                </a:cubicBezTo>
                <a:cubicBezTo>
                  <a:pt x="542" y="108"/>
                  <a:pt x="542" y="108"/>
                  <a:pt x="542" y="108"/>
                </a:cubicBezTo>
                <a:cubicBezTo>
                  <a:pt x="544" y="107"/>
                  <a:pt x="544" y="107"/>
                  <a:pt x="544" y="107"/>
                </a:cubicBezTo>
                <a:cubicBezTo>
                  <a:pt x="546" y="110"/>
                  <a:pt x="546" y="110"/>
                  <a:pt x="546" y="110"/>
                </a:cubicBezTo>
                <a:cubicBezTo>
                  <a:pt x="546" y="112"/>
                  <a:pt x="546" y="112"/>
                  <a:pt x="546" y="112"/>
                </a:cubicBezTo>
                <a:cubicBezTo>
                  <a:pt x="548" y="115"/>
                  <a:pt x="548" y="115"/>
                  <a:pt x="548" y="115"/>
                </a:cubicBezTo>
                <a:cubicBezTo>
                  <a:pt x="547" y="116"/>
                  <a:pt x="547" y="116"/>
                  <a:pt x="547" y="116"/>
                </a:cubicBezTo>
                <a:cubicBezTo>
                  <a:pt x="547" y="118"/>
                  <a:pt x="547" y="118"/>
                  <a:pt x="547" y="118"/>
                </a:cubicBezTo>
                <a:cubicBezTo>
                  <a:pt x="545" y="121"/>
                  <a:pt x="545" y="121"/>
                  <a:pt x="545" y="121"/>
                </a:cubicBezTo>
                <a:cubicBezTo>
                  <a:pt x="548" y="126"/>
                  <a:pt x="548" y="126"/>
                  <a:pt x="548" y="126"/>
                </a:cubicBezTo>
                <a:cubicBezTo>
                  <a:pt x="548" y="128"/>
                  <a:pt x="548" y="128"/>
                  <a:pt x="548" y="128"/>
                </a:cubicBezTo>
                <a:cubicBezTo>
                  <a:pt x="546" y="129"/>
                  <a:pt x="546" y="129"/>
                  <a:pt x="546" y="129"/>
                </a:cubicBezTo>
                <a:cubicBezTo>
                  <a:pt x="544" y="130"/>
                  <a:pt x="544" y="130"/>
                  <a:pt x="544" y="130"/>
                </a:cubicBezTo>
                <a:cubicBezTo>
                  <a:pt x="546" y="131"/>
                  <a:pt x="546" y="131"/>
                  <a:pt x="546" y="131"/>
                </a:cubicBezTo>
                <a:cubicBezTo>
                  <a:pt x="550" y="130"/>
                  <a:pt x="550" y="130"/>
                  <a:pt x="550" y="130"/>
                </a:cubicBezTo>
                <a:cubicBezTo>
                  <a:pt x="552" y="127"/>
                  <a:pt x="552" y="127"/>
                  <a:pt x="552" y="127"/>
                </a:cubicBezTo>
                <a:cubicBezTo>
                  <a:pt x="556" y="127"/>
                  <a:pt x="556" y="127"/>
                  <a:pt x="556" y="127"/>
                </a:cubicBezTo>
                <a:cubicBezTo>
                  <a:pt x="557" y="124"/>
                  <a:pt x="557" y="124"/>
                  <a:pt x="557" y="124"/>
                </a:cubicBezTo>
                <a:cubicBezTo>
                  <a:pt x="557" y="120"/>
                  <a:pt x="557" y="120"/>
                  <a:pt x="557" y="120"/>
                </a:cubicBezTo>
                <a:cubicBezTo>
                  <a:pt x="556" y="117"/>
                  <a:pt x="556" y="117"/>
                  <a:pt x="556" y="117"/>
                </a:cubicBezTo>
                <a:cubicBezTo>
                  <a:pt x="554" y="117"/>
                  <a:pt x="554" y="117"/>
                  <a:pt x="554" y="117"/>
                </a:cubicBezTo>
                <a:cubicBezTo>
                  <a:pt x="553" y="117"/>
                  <a:pt x="553" y="117"/>
                  <a:pt x="553" y="117"/>
                </a:cubicBezTo>
                <a:cubicBezTo>
                  <a:pt x="553" y="115"/>
                  <a:pt x="553" y="115"/>
                  <a:pt x="553" y="115"/>
                </a:cubicBezTo>
                <a:cubicBezTo>
                  <a:pt x="554" y="114"/>
                  <a:pt x="554" y="114"/>
                  <a:pt x="554" y="114"/>
                </a:cubicBezTo>
                <a:cubicBezTo>
                  <a:pt x="555" y="114"/>
                  <a:pt x="555" y="114"/>
                  <a:pt x="555" y="114"/>
                </a:cubicBezTo>
                <a:cubicBezTo>
                  <a:pt x="556" y="115"/>
                  <a:pt x="556" y="115"/>
                  <a:pt x="556" y="115"/>
                </a:cubicBezTo>
                <a:cubicBezTo>
                  <a:pt x="558" y="114"/>
                  <a:pt x="558" y="114"/>
                  <a:pt x="558" y="114"/>
                </a:cubicBezTo>
                <a:cubicBezTo>
                  <a:pt x="561" y="113"/>
                  <a:pt x="561" y="113"/>
                  <a:pt x="561" y="113"/>
                </a:cubicBezTo>
                <a:cubicBezTo>
                  <a:pt x="564" y="110"/>
                  <a:pt x="564" y="110"/>
                  <a:pt x="564" y="110"/>
                </a:cubicBezTo>
                <a:cubicBezTo>
                  <a:pt x="565" y="111"/>
                  <a:pt x="565" y="111"/>
                  <a:pt x="565" y="111"/>
                </a:cubicBezTo>
                <a:cubicBezTo>
                  <a:pt x="568" y="111"/>
                  <a:pt x="568" y="111"/>
                  <a:pt x="568" y="111"/>
                </a:cubicBezTo>
                <a:cubicBezTo>
                  <a:pt x="569" y="109"/>
                  <a:pt x="569" y="109"/>
                  <a:pt x="569" y="109"/>
                </a:cubicBezTo>
                <a:cubicBezTo>
                  <a:pt x="571" y="107"/>
                  <a:pt x="571" y="107"/>
                  <a:pt x="571" y="107"/>
                </a:cubicBezTo>
                <a:cubicBezTo>
                  <a:pt x="572" y="107"/>
                  <a:pt x="572" y="107"/>
                  <a:pt x="572" y="107"/>
                </a:cubicBezTo>
                <a:cubicBezTo>
                  <a:pt x="573" y="106"/>
                  <a:pt x="573" y="106"/>
                  <a:pt x="573" y="106"/>
                </a:cubicBezTo>
                <a:cubicBezTo>
                  <a:pt x="576" y="105"/>
                  <a:pt x="576" y="105"/>
                  <a:pt x="576" y="105"/>
                </a:cubicBezTo>
                <a:cubicBezTo>
                  <a:pt x="576" y="106"/>
                  <a:pt x="576" y="106"/>
                  <a:pt x="576" y="106"/>
                </a:cubicBezTo>
                <a:cubicBezTo>
                  <a:pt x="579" y="106"/>
                  <a:pt x="579" y="106"/>
                  <a:pt x="579" y="106"/>
                </a:cubicBezTo>
                <a:cubicBezTo>
                  <a:pt x="579" y="107"/>
                  <a:pt x="579" y="107"/>
                  <a:pt x="579" y="107"/>
                </a:cubicBezTo>
                <a:cubicBezTo>
                  <a:pt x="578" y="108"/>
                  <a:pt x="578" y="108"/>
                  <a:pt x="578" y="108"/>
                </a:cubicBezTo>
                <a:cubicBezTo>
                  <a:pt x="579" y="110"/>
                  <a:pt x="579" y="110"/>
                  <a:pt x="579" y="110"/>
                </a:cubicBezTo>
                <a:cubicBezTo>
                  <a:pt x="583" y="109"/>
                  <a:pt x="583" y="109"/>
                  <a:pt x="583" y="109"/>
                </a:cubicBezTo>
                <a:cubicBezTo>
                  <a:pt x="584" y="110"/>
                  <a:pt x="584" y="110"/>
                  <a:pt x="584" y="110"/>
                </a:cubicBezTo>
                <a:cubicBezTo>
                  <a:pt x="586" y="111"/>
                  <a:pt x="586" y="111"/>
                  <a:pt x="586" y="111"/>
                </a:cubicBezTo>
                <a:cubicBezTo>
                  <a:pt x="594" y="115"/>
                  <a:pt x="594" y="115"/>
                  <a:pt x="594" y="115"/>
                </a:cubicBezTo>
                <a:cubicBezTo>
                  <a:pt x="596" y="116"/>
                  <a:pt x="596" y="116"/>
                  <a:pt x="596" y="116"/>
                </a:cubicBezTo>
                <a:cubicBezTo>
                  <a:pt x="597" y="118"/>
                  <a:pt x="597" y="118"/>
                  <a:pt x="597" y="118"/>
                </a:cubicBezTo>
                <a:cubicBezTo>
                  <a:pt x="597" y="120"/>
                  <a:pt x="597" y="120"/>
                  <a:pt x="597" y="120"/>
                </a:cubicBezTo>
                <a:cubicBezTo>
                  <a:pt x="601" y="124"/>
                  <a:pt x="601" y="124"/>
                  <a:pt x="601" y="124"/>
                </a:cubicBezTo>
                <a:cubicBezTo>
                  <a:pt x="602" y="123"/>
                  <a:pt x="602" y="123"/>
                  <a:pt x="602" y="123"/>
                </a:cubicBezTo>
                <a:cubicBezTo>
                  <a:pt x="602" y="122"/>
                  <a:pt x="602" y="122"/>
                  <a:pt x="602" y="122"/>
                </a:cubicBezTo>
                <a:cubicBezTo>
                  <a:pt x="603" y="121"/>
                  <a:pt x="603" y="121"/>
                  <a:pt x="603" y="121"/>
                </a:cubicBezTo>
                <a:cubicBezTo>
                  <a:pt x="603" y="120"/>
                  <a:pt x="603" y="120"/>
                  <a:pt x="603" y="120"/>
                </a:cubicBezTo>
                <a:cubicBezTo>
                  <a:pt x="602" y="119"/>
                  <a:pt x="602" y="119"/>
                  <a:pt x="602" y="119"/>
                </a:cubicBezTo>
                <a:cubicBezTo>
                  <a:pt x="600" y="119"/>
                  <a:pt x="600" y="119"/>
                  <a:pt x="600" y="119"/>
                </a:cubicBezTo>
                <a:cubicBezTo>
                  <a:pt x="600" y="117"/>
                  <a:pt x="600" y="117"/>
                  <a:pt x="600" y="117"/>
                </a:cubicBezTo>
                <a:cubicBezTo>
                  <a:pt x="602" y="116"/>
                  <a:pt x="602" y="116"/>
                  <a:pt x="602" y="116"/>
                </a:cubicBezTo>
                <a:cubicBezTo>
                  <a:pt x="603" y="116"/>
                  <a:pt x="603" y="116"/>
                  <a:pt x="603" y="116"/>
                </a:cubicBezTo>
                <a:cubicBezTo>
                  <a:pt x="604" y="117"/>
                  <a:pt x="604" y="117"/>
                  <a:pt x="604" y="117"/>
                </a:cubicBezTo>
                <a:cubicBezTo>
                  <a:pt x="606" y="119"/>
                  <a:pt x="606" y="119"/>
                  <a:pt x="606" y="119"/>
                </a:cubicBezTo>
                <a:cubicBezTo>
                  <a:pt x="606" y="121"/>
                  <a:pt x="606" y="121"/>
                  <a:pt x="606" y="121"/>
                </a:cubicBezTo>
                <a:cubicBezTo>
                  <a:pt x="609" y="123"/>
                  <a:pt x="609" y="123"/>
                  <a:pt x="609" y="123"/>
                </a:cubicBezTo>
                <a:cubicBezTo>
                  <a:pt x="609" y="126"/>
                  <a:pt x="609" y="126"/>
                  <a:pt x="609" y="126"/>
                </a:cubicBezTo>
                <a:cubicBezTo>
                  <a:pt x="611" y="126"/>
                  <a:pt x="611" y="126"/>
                  <a:pt x="611" y="126"/>
                </a:cubicBezTo>
                <a:cubicBezTo>
                  <a:pt x="612" y="126"/>
                  <a:pt x="612" y="126"/>
                  <a:pt x="612" y="126"/>
                </a:cubicBezTo>
                <a:cubicBezTo>
                  <a:pt x="613" y="125"/>
                  <a:pt x="613" y="125"/>
                  <a:pt x="613" y="125"/>
                </a:cubicBezTo>
                <a:cubicBezTo>
                  <a:pt x="614" y="126"/>
                  <a:pt x="614" y="126"/>
                  <a:pt x="614" y="126"/>
                </a:cubicBezTo>
                <a:cubicBezTo>
                  <a:pt x="615" y="128"/>
                  <a:pt x="615" y="128"/>
                  <a:pt x="615" y="128"/>
                </a:cubicBezTo>
                <a:cubicBezTo>
                  <a:pt x="616" y="130"/>
                  <a:pt x="616" y="130"/>
                  <a:pt x="616" y="130"/>
                </a:cubicBezTo>
                <a:cubicBezTo>
                  <a:pt x="617" y="133"/>
                  <a:pt x="617" y="133"/>
                  <a:pt x="617" y="133"/>
                </a:cubicBezTo>
                <a:cubicBezTo>
                  <a:pt x="617" y="134"/>
                  <a:pt x="617" y="134"/>
                  <a:pt x="617" y="134"/>
                </a:cubicBezTo>
                <a:cubicBezTo>
                  <a:pt x="616" y="134"/>
                  <a:pt x="616" y="134"/>
                  <a:pt x="616" y="134"/>
                </a:cubicBezTo>
                <a:cubicBezTo>
                  <a:pt x="616" y="133"/>
                  <a:pt x="616" y="133"/>
                  <a:pt x="616" y="133"/>
                </a:cubicBezTo>
                <a:cubicBezTo>
                  <a:pt x="615" y="132"/>
                  <a:pt x="615" y="132"/>
                  <a:pt x="615" y="132"/>
                </a:cubicBezTo>
                <a:cubicBezTo>
                  <a:pt x="614" y="132"/>
                  <a:pt x="614" y="132"/>
                  <a:pt x="614" y="132"/>
                </a:cubicBezTo>
                <a:cubicBezTo>
                  <a:pt x="613" y="133"/>
                  <a:pt x="613" y="133"/>
                  <a:pt x="613" y="133"/>
                </a:cubicBezTo>
                <a:cubicBezTo>
                  <a:pt x="612" y="131"/>
                  <a:pt x="612" y="131"/>
                  <a:pt x="612" y="131"/>
                </a:cubicBezTo>
                <a:cubicBezTo>
                  <a:pt x="608" y="130"/>
                  <a:pt x="608" y="130"/>
                  <a:pt x="608" y="130"/>
                </a:cubicBezTo>
                <a:cubicBezTo>
                  <a:pt x="605" y="130"/>
                  <a:pt x="605" y="130"/>
                  <a:pt x="605" y="130"/>
                </a:cubicBezTo>
                <a:cubicBezTo>
                  <a:pt x="605" y="131"/>
                  <a:pt x="605" y="131"/>
                  <a:pt x="605" y="131"/>
                </a:cubicBezTo>
                <a:cubicBezTo>
                  <a:pt x="606" y="133"/>
                  <a:pt x="606" y="133"/>
                  <a:pt x="606" y="133"/>
                </a:cubicBezTo>
                <a:cubicBezTo>
                  <a:pt x="609" y="133"/>
                  <a:pt x="609" y="133"/>
                  <a:pt x="609" y="133"/>
                </a:cubicBezTo>
                <a:cubicBezTo>
                  <a:pt x="610" y="134"/>
                  <a:pt x="610" y="134"/>
                  <a:pt x="610" y="134"/>
                </a:cubicBezTo>
                <a:cubicBezTo>
                  <a:pt x="610" y="134"/>
                  <a:pt x="610" y="134"/>
                  <a:pt x="610" y="134"/>
                </a:cubicBezTo>
                <a:cubicBezTo>
                  <a:pt x="611" y="137"/>
                  <a:pt x="611" y="137"/>
                  <a:pt x="611" y="137"/>
                </a:cubicBezTo>
                <a:cubicBezTo>
                  <a:pt x="612" y="138"/>
                  <a:pt x="612" y="138"/>
                  <a:pt x="612" y="138"/>
                </a:cubicBezTo>
                <a:cubicBezTo>
                  <a:pt x="613" y="137"/>
                  <a:pt x="613" y="137"/>
                  <a:pt x="613" y="137"/>
                </a:cubicBezTo>
                <a:cubicBezTo>
                  <a:pt x="614" y="134"/>
                  <a:pt x="614" y="134"/>
                  <a:pt x="614" y="134"/>
                </a:cubicBezTo>
                <a:cubicBezTo>
                  <a:pt x="615" y="134"/>
                  <a:pt x="615" y="134"/>
                  <a:pt x="615" y="134"/>
                </a:cubicBezTo>
                <a:cubicBezTo>
                  <a:pt x="616" y="136"/>
                  <a:pt x="616" y="136"/>
                  <a:pt x="616" y="136"/>
                </a:cubicBezTo>
                <a:cubicBezTo>
                  <a:pt x="617" y="137"/>
                  <a:pt x="617" y="137"/>
                  <a:pt x="617" y="137"/>
                </a:cubicBezTo>
                <a:cubicBezTo>
                  <a:pt x="618" y="136"/>
                  <a:pt x="618" y="136"/>
                  <a:pt x="618" y="136"/>
                </a:cubicBezTo>
                <a:cubicBezTo>
                  <a:pt x="619" y="137"/>
                  <a:pt x="619" y="137"/>
                  <a:pt x="619" y="137"/>
                </a:cubicBezTo>
                <a:cubicBezTo>
                  <a:pt x="620" y="138"/>
                  <a:pt x="620" y="138"/>
                  <a:pt x="620" y="138"/>
                </a:cubicBezTo>
                <a:cubicBezTo>
                  <a:pt x="619" y="139"/>
                  <a:pt x="619" y="139"/>
                  <a:pt x="619" y="139"/>
                </a:cubicBezTo>
                <a:cubicBezTo>
                  <a:pt x="621" y="143"/>
                  <a:pt x="621" y="143"/>
                  <a:pt x="621" y="143"/>
                </a:cubicBezTo>
                <a:cubicBezTo>
                  <a:pt x="622" y="146"/>
                  <a:pt x="622" y="146"/>
                  <a:pt x="622" y="146"/>
                </a:cubicBezTo>
                <a:cubicBezTo>
                  <a:pt x="622" y="150"/>
                  <a:pt x="622" y="150"/>
                  <a:pt x="622" y="150"/>
                </a:cubicBezTo>
                <a:cubicBezTo>
                  <a:pt x="620" y="154"/>
                  <a:pt x="620" y="154"/>
                  <a:pt x="620" y="154"/>
                </a:cubicBezTo>
                <a:cubicBezTo>
                  <a:pt x="620" y="154"/>
                  <a:pt x="620" y="154"/>
                  <a:pt x="620" y="154"/>
                </a:cubicBezTo>
                <a:cubicBezTo>
                  <a:pt x="619" y="156"/>
                  <a:pt x="619" y="156"/>
                  <a:pt x="619" y="156"/>
                </a:cubicBezTo>
                <a:cubicBezTo>
                  <a:pt x="619" y="158"/>
                  <a:pt x="619" y="158"/>
                  <a:pt x="619" y="158"/>
                </a:cubicBezTo>
                <a:cubicBezTo>
                  <a:pt x="618" y="161"/>
                  <a:pt x="618" y="161"/>
                  <a:pt x="618" y="161"/>
                </a:cubicBezTo>
                <a:cubicBezTo>
                  <a:pt x="618" y="162"/>
                  <a:pt x="618" y="162"/>
                  <a:pt x="618" y="162"/>
                </a:cubicBezTo>
                <a:cubicBezTo>
                  <a:pt x="619" y="163"/>
                  <a:pt x="619" y="163"/>
                  <a:pt x="619" y="163"/>
                </a:cubicBezTo>
                <a:cubicBezTo>
                  <a:pt x="619" y="165"/>
                  <a:pt x="619" y="165"/>
                  <a:pt x="619" y="165"/>
                </a:cubicBezTo>
                <a:cubicBezTo>
                  <a:pt x="617" y="166"/>
                  <a:pt x="617" y="166"/>
                  <a:pt x="617" y="166"/>
                </a:cubicBezTo>
                <a:cubicBezTo>
                  <a:pt x="616" y="168"/>
                  <a:pt x="616" y="168"/>
                  <a:pt x="616" y="168"/>
                </a:cubicBezTo>
                <a:cubicBezTo>
                  <a:pt x="616" y="169"/>
                  <a:pt x="616" y="169"/>
                  <a:pt x="616" y="169"/>
                </a:cubicBezTo>
                <a:cubicBezTo>
                  <a:pt x="615" y="173"/>
                  <a:pt x="615" y="173"/>
                  <a:pt x="615" y="173"/>
                </a:cubicBezTo>
                <a:cubicBezTo>
                  <a:pt x="613" y="174"/>
                  <a:pt x="613" y="174"/>
                  <a:pt x="613" y="174"/>
                </a:cubicBezTo>
                <a:cubicBezTo>
                  <a:pt x="614" y="175"/>
                  <a:pt x="614" y="175"/>
                  <a:pt x="614" y="175"/>
                </a:cubicBezTo>
                <a:cubicBezTo>
                  <a:pt x="613" y="177"/>
                  <a:pt x="613" y="177"/>
                  <a:pt x="613" y="177"/>
                </a:cubicBezTo>
                <a:cubicBezTo>
                  <a:pt x="611" y="178"/>
                  <a:pt x="611" y="178"/>
                  <a:pt x="611" y="178"/>
                </a:cubicBezTo>
                <a:cubicBezTo>
                  <a:pt x="608" y="180"/>
                  <a:pt x="608" y="180"/>
                  <a:pt x="608" y="180"/>
                </a:cubicBezTo>
                <a:cubicBezTo>
                  <a:pt x="606" y="180"/>
                  <a:pt x="606" y="180"/>
                  <a:pt x="606" y="180"/>
                </a:cubicBezTo>
                <a:cubicBezTo>
                  <a:pt x="609" y="181"/>
                  <a:pt x="609" y="181"/>
                  <a:pt x="609" y="181"/>
                </a:cubicBezTo>
                <a:cubicBezTo>
                  <a:pt x="610" y="181"/>
                  <a:pt x="610" y="181"/>
                  <a:pt x="610" y="181"/>
                </a:cubicBezTo>
                <a:cubicBezTo>
                  <a:pt x="612" y="180"/>
                  <a:pt x="612" y="180"/>
                  <a:pt x="612" y="180"/>
                </a:cubicBezTo>
                <a:cubicBezTo>
                  <a:pt x="612" y="180"/>
                  <a:pt x="612" y="180"/>
                  <a:pt x="612" y="180"/>
                </a:cubicBezTo>
                <a:cubicBezTo>
                  <a:pt x="613" y="183"/>
                  <a:pt x="613" y="183"/>
                  <a:pt x="613" y="183"/>
                </a:cubicBezTo>
                <a:cubicBezTo>
                  <a:pt x="612" y="186"/>
                  <a:pt x="612" y="186"/>
                  <a:pt x="612" y="186"/>
                </a:cubicBezTo>
                <a:cubicBezTo>
                  <a:pt x="610" y="189"/>
                  <a:pt x="610" y="189"/>
                  <a:pt x="610" y="189"/>
                </a:cubicBezTo>
                <a:cubicBezTo>
                  <a:pt x="609" y="194"/>
                  <a:pt x="609" y="194"/>
                  <a:pt x="609" y="194"/>
                </a:cubicBezTo>
                <a:cubicBezTo>
                  <a:pt x="610" y="196"/>
                  <a:pt x="610" y="196"/>
                  <a:pt x="610" y="196"/>
                </a:cubicBezTo>
                <a:cubicBezTo>
                  <a:pt x="610" y="198"/>
                  <a:pt x="610" y="198"/>
                  <a:pt x="610" y="198"/>
                </a:cubicBezTo>
                <a:cubicBezTo>
                  <a:pt x="608" y="202"/>
                  <a:pt x="608" y="202"/>
                  <a:pt x="608" y="202"/>
                </a:cubicBezTo>
                <a:cubicBezTo>
                  <a:pt x="606" y="203"/>
                  <a:pt x="606" y="203"/>
                  <a:pt x="606" y="203"/>
                </a:cubicBezTo>
                <a:cubicBezTo>
                  <a:pt x="605" y="203"/>
                  <a:pt x="605" y="203"/>
                  <a:pt x="605" y="203"/>
                </a:cubicBezTo>
                <a:cubicBezTo>
                  <a:pt x="603" y="203"/>
                  <a:pt x="603" y="203"/>
                  <a:pt x="603" y="203"/>
                </a:cubicBezTo>
                <a:cubicBezTo>
                  <a:pt x="602" y="205"/>
                  <a:pt x="602" y="205"/>
                  <a:pt x="602" y="205"/>
                </a:cubicBezTo>
                <a:cubicBezTo>
                  <a:pt x="603" y="206"/>
                  <a:pt x="603" y="206"/>
                  <a:pt x="603" y="206"/>
                </a:cubicBezTo>
                <a:cubicBezTo>
                  <a:pt x="604" y="210"/>
                  <a:pt x="604" y="210"/>
                  <a:pt x="604" y="210"/>
                </a:cubicBezTo>
                <a:cubicBezTo>
                  <a:pt x="604" y="212"/>
                  <a:pt x="604" y="212"/>
                  <a:pt x="604" y="212"/>
                </a:cubicBezTo>
                <a:cubicBezTo>
                  <a:pt x="601" y="213"/>
                  <a:pt x="601" y="213"/>
                  <a:pt x="601" y="213"/>
                </a:cubicBezTo>
                <a:cubicBezTo>
                  <a:pt x="600" y="216"/>
                  <a:pt x="600" y="216"/>
                  <a:pt x="600" y="216"/>
                </a:cubicBezTo>
                <a:cubicBezTo>
                  <a:pt x="601" y="219"/>
                  <a:pt x="601" y="219"/>
                  <a:pt x="601" y="219"/>
                </a:cubicBezTo>
                <a:cubicBezTo>
                  <a:pt x="602" y="222"/>
                  <a:pt x="602" y="222"/>
                  <a:pt x="602" y="222"/>
                </a:cubicBezTo>
                <a:cubicBezTo>
                  <a:pt x="601" y="223"/>
                  <a:pt x="601" y="223"/>
                  <a:pt x="601" y="223"/>
                </a:cubicBezTo>
                <a:cubicBezTo>
                  <a:pt x="601" y="224"/>
                  <a:pt x="601" y="224"/>
                  <a:pt x="601" y="224"/>
                </a:cubicBezTo>
                <a:cubicBezTo>
                  <a:pt x="602" y="225"/>
                  <a:pt x="602" y="225"/>
                  <a:pt x="602" y="225"/>
                </a:cubicBezTo>
                <a:cubicBezTo>
                  <a:pt x="601" y="231"/>
                  <a:pt x="601" y="231"/>
                  <a:pt x="601" y="231"/>
                </a:cubicBezTo>
                <a:cubicBezTo>
                  <a:pt x="599" y="232"/>
                  <a:pt x="599" y="232"/>
                  <a:pt x="599" y="232"/>
                </a:cubicBezTo>
                <a:cubicBezTo>
                  <a:pt x="599" y="234"/>
                  <a:pt x="599" y="234"/>
                  <a:pt x="599" y="234"/>
                </a:cubicBezTo>
                <a:cubicBezTo>
                  <a:pt x="599" y="233"/>
                  <a:pt x="599" y="233"/>
                  <a:pt x="599" y="233"/>
                </a:cubicBezTo>
                <a:cubicBezTo>
                  <a:pt x="601" y="233"/>
                  <a:pt x="601" y="233"/>
                  <a:pt x="601" y="233"/>
                </a:cubicBezTo>
                <a:cubicBezTo>
                  <a:pt x="603" y="231"/>
                  <a:pt x="603" y="231"/>
                  <a:pt x="603" y="231"/>
                </a:cubicBezTo>
                <a:cubicBezTo>
                  <a:pt x="604" y="229"/>
                  <a:pt x="604" y="229"/>
                  <a:pt x="604" y="229"/>
                </a:cubicBezTo>
                <a:cubicBezTo>
                  <a:pt x="604" y="228"/>
                  <a:pt x="604" y="228"/>
                  <a:pt x="604" y="228"/>
                </a:cubicBezTo>
                <a:cubicBezTo>
                  <a:pt x="605" y="227"/>
                  <a:pt x="605" y="227"/>
                  <a:pt x="605" y="227"/>
                </a:cubicBezTo>
                <a:cubicBezTo>
                  <a:pt x="608" y="226"/>
                  <a:pt x="608" y="226"/>
                  <a:pt x="608" y="226"/>
                </a:cubicBezTo>
                <a:cubicBezTo>
                  <a:pt x="609" y="226"/>
                  <a:pt x="609" y="226"/>
                  <a:pt x="609" y="226"/>
                </a:cubicBezTo>
                <a:cubicBezTo>
                  <a:pt x="607" y="226"/>
                  <a:pt x="607" y="226"/>
                  <a:pt x="607" y="226"/>
                </a:cubicBezTo>
                <a:cubicBezTo>
                  <a:pt x="604" y="222"/>
                  <a:pt x="604" y="222"/>
                  <a:pt x="604" y="222"/>
                </a:cubicBezTo>
                <a:cubicBezTo>
                  <a:pt x="603" y="219"/>
                  <a:pt x="603" y="219"/>
                  <a:pt x="603" y="219"/>
                </a:cubicBezTo>
                <a:cubicBezTo>
                  <a:pt x="604" y="217"/>
                  <a:pt x="604" y="217"/>
                  <a:pt x="604" y="217"/>
                </a:cubicBezTo>
                <a:cubicBezTo>
                  <a:pt x="608" y="216"/>
                  <a:pt x="608" y="216"/>
                  <a:pt x="608" y="216"/>
                </a:cubicBezTo>
                <a:cubicBezTo>
                  <a:pt x="611" y="216"/>
                  <a:pt x="611" y="216"/>
                  <a:pt x="611" y="216"/>
                </a:cubicBezTo>
                <a:cubicBezTo>
                  <a:pt x="615" y="213"/>
                  <a:pt x="615" y="213"/>
                  <a:pt x="615" y="213"/>
                </a:cubicBezTo>
                <a:cubicBezTo>
                  <a:pt x="616" y="213"/>
                  <a:pt x="616" y="213"/>
                  <a:pt x="616" y="213"/>
                </a:cubicBezTo>
                <a:cubicBezTo>
                  <a:pt x="617" y="212"/>
                  <a:pt x="617" y="212"/>
                  <a:pt x="617" y="212"/>
                </a:cubicBezTo>
                <a:cubicBezTo>
                  <a:pt x="616" y="210"/>
                  <a:pt x="616" y="210"/>
                  <a:pt x="616" y="210"/>
                </a:cubicBezTo>
                <a:cubicBezTo>
                  <a:pt x="619" y="208"/>
                  <a:pt x="619" y="208"/>
                  <a:pt x="619" y="208"/>
                </a:cubicBezTo>
                <a:cubicBezTo>
                  <a:pt x="621" y="205"/>
                  <a:pt x="621" y="205"/>
                  <a:pt x="621" y="205"/>
                </a:cubicBezTo>
                <a:cubicBezTo>
                  <a:pt x="620" y="203"/>
                  <a:pt x="620" y="203"/>
                  <a:pt x="620" y="203"/>
                </a:cubicBezTo>
                <a:cubicBezTo>
                  <a:pt x="620" y="202"/>
                  <a:pt x="620" y="202"/>
                  <a:pt x="620" y="202"/>
                </a:cubicBezTo>
                <a:cubicBezTo>
                  <a:pt x="622" y="203"/>
                  <a:pt x="622" y="203"/>
                  <a:pt x="622" y="203"/>
                </a:cubicBezTo>
                <a:cubicBezTo>
                  <a:pt x="624" y="203"/>
                  <a:pt x="624" y="203"/>
                  <a:pt x="624" y="203"/>
                </a:cubicBezTo>
                <a:cubicBezTo>
                  <a:pt x="626" y="200"/>
                  <a:pt x="626" y="200"/>
                  <a:pt x="626" y="200"/>
                </a:cubicBezTo>
                <a:cubicBezTo>
                  <a:pt x="625" y="199"/>
                  <a:pt x="625" y="199"/>
                  <a:pt x="625" y="199"/>
                </a:cubicBezTo>
                <a:cubicBezTo>
                  <a:pt x="629" y="196"/>
                  <a:pt x="629" y="196"/>
                  <a:pt x="629" y="196"/>
                </a:cubicBezTo>
                <a:cubicBezTo>
                  <a:pt x="629" y="193"/>
                  <a:pt x="629" y="193"/>
                  <a:pt x="629" y="193"/>
                </a:cubicBezTo>
                <a:cubicBezTo>
                  <a:pt x="628" y="192"/>
                  <a:pt x="628" y="192"/>
                  <a:pt x="628" y="192"/>
                </a:cubicBezTo>
                <a:cubicBezTo>
                  <a:pt x="624" y="194"/>
                  <a:pt x="624" y="194"/>
                  <a:pt x="624" y="194"/>
                </a:cubicBezTo>
                <a:cubicBezTo>
                  <a:pt x="624" y="195"/>
                  <a:pt x="624" y="195"/>
                  <a:pt x="624" y="195"/>
                </a:cubicBezTo>
                <a:cubicBezTo>
                  <a:pt x="621" y="198"/>
                  <a:pt x="621" y="198"/>
                  <a:pt x="621" y="198"/>
                </a:cubicBezTo>
                <a:cubicBezTo>
                  <a:pt x="618" y="197"/>
                  <a:pt x="618" y="197"/>
                  <a:pt x="618" y="197"/>
                </a:cubicBezTo>
                <a:cubicBezTo>
                  <a:pt x="617" y="194"/>
                  <a:pt x="617" y="194"/>
                  <a:pt x="617" y="194"/>
                </a:cubicBezTo>
                <a:cubicBezTo>
                  <a:pt x="619" y="192"/>
                  <a:pt x="619" y="192"/>
                  <a:pt x="619" y="192"/>
                </a:cubicBezTo>
                <a:cubicBezTo>
                  <a:pt x="618" y="188"/>
                  <a:pt x="618" y="188"/>
                  <a:pt x="618" y="188"/>
                </a:cubicBezTo>
                <a:cubicBezTo>
                  <a:pt x="620" y="186"/>
                  <a:pt x="620" y="186"/>
                  <a:pt x="620" y="186"/>
                </a:cubicBezTo>
                <a:cubicBezTo>
                  <a:pt x="623" y="186"/>
                  <a:pt x="623" y="186"/>
                  <a:pt x="623" y="186"/>
                </a:cubicBezTo>
                <a:cubicBezTo>
                  <a:pt x="627" y="188"/>
                  <a:pt x="627" y="188"/>
                  <a:pt x="627" y="188"/>
                </a:cubicBezTo>
                <a:cubicBezTo>
                  <a:pt x="628" y="187"/>
                  <a:pt x="628" y="187"/>
                  <a:pt x="628" y="187"/>
                </a:cubicBezTo>
                <a:cubicBezTo>
                  <a:pt x="628" y="184"/>
                  <a:pt x="628" y="184"/>
                  <a:pt x="628" y="184"/>
                </a:cubicBezTo>
                <a:cubicBezTo>
                  <a:pt x="631" y="183"/>
                  <a:pt x="631" y="183"/>
                  <a:pt x="631" y="183"/>
                </a:cubicBezTo>
                <a:cubicBezTo>
                  <a:pt x="631" y="185"/>
                  <a:pt x="631" y="185"/>
                  <a:pt x="631" y="185"/>
                </a:cubicBezTo>
                <a:cubicBezTo>
                  <a:pt x="630" y="186"/>
                  <a:pt x="630" y="186"/>
                  <a:pt x="630" y="186"/>
                </a:cubicBezTo>
                <a:cubicBezTo>
                  <a:pt x="630" y="188"/>
                  <a:pt x="630" y="188"/>
                  <a:pt x="630" y="188"/>
                </a:cubicBezTo>
                <a:cubicBezTo>
                  <a:pt x="636" y="193"/>
                  <a:pt x="636" y="193"/>
                  <a:pt x="636" y="193"/>
                </a:cubicBezTo>
                <a:cubicBezTo>
                  <a:pt x="639" y="193"/>
                  <a:pt x="639" y="193"/>
                  <a:pt x="639" y="193"/>
                </a:cubicBezTo>
                <a:cubicBezTo>
                  <a:pt x="640" y="192"/>
                  <a:pt x="640" y="192"/>
                  <a:pt x="640" y="192"/>
                </a:cubicBezTo>
                <a:cubicBezTo>
                  <a:pt x="644" y="192"/>
                  <a:pt x="644" y="192"/>
                  <a:pt x="644" y="192"/>
                </a:cubicBezTo>
                <a:cubicBezTo>
                  <a:pt x="646" y="190"/>
                  <a:pt x="646" y="190"/>
                  <a:pt x="646" y="190"/>
                </a:cubicBezTo>
                <a:cubicBezTo>
                  <a:pt x="646" y="187"/>
                  <a:pt x="646" y="187"/>
                  <a:pt x="646" y="187"/>
                </a:cubicBezTo>
                <a:cubicBezTo>
                  <a:pt x="643" y="184"/>
                  <a:pt x="643" y="184"/>
                  <a:pt x="643" y="184"/>
                </a:cubicBezTo>
                <a:cubicBezTo>
                  <a:pt x="642" y="182"/>
                  <a:pt x="642" y="182"/>
                  <a:pt x="642" y="182"/>
                </a:cubicBezTo>
                <a:cubicBezTo>
                  <a:pt x="644" y="183"/>
                  <a:pt x="644" y="183"/>
                  <a:pt x="644" y="183"/>
                </a:cubicBezTo>
                <a:cubicBezTo>
                  <a:pt x="648" y="187"/>
                  <a:pt x="648" y="187"/>
                  <a:pt x="648" y="187"/>
                </a:cubicBezTo>
                <a:cubicBezTo>
                  <a:pt x="649" y="187"/>
                  <a:pt x="649" y="187"/>
                  <a:pt x="649" y="187"/>
                </a:cubicBezTo>
                <a:cubicBezTo>
                  <a:pt x="651" y="189"/>
                  <a:pt x="651" y="189"/>
                  <a:pt x="651" y="189"/>
                </a:cubicBezTo>
                <a:cubicBezTo>
                  <a:pt x="651" y="190"/>
                  <a:pt x="651" y="190"/>
                  <a:pt x="651" y="190"/>
                </a:cubicBezTo>
                <a:cubicBezTo>
                  <a:pt x="651" y="192"/>
                  <a:pt x="651" y="192"/>
                  <a:pt x="651" y="192"/>
                </a:cubicBezTo>
                <a:cubicBezTo>
                  <a:pt x="654" y="194"/>
                  <a:pt x="654" y="194"/>
                  <a:pt x="654" y="194"/>
                </a:cubicBezTo>
                <a:cubicBezTo>
                  <a:pt x="655" y="198"/>
                  <a:pt x="655" y="198"/>
                  <a:pt x="655" y="198"/>
                </a:cubicBezTo>
                <a:cubicBezTo>
                  <a:pt x="655" y="199"/>
                  <a:pt x="655" y="199"/>
                  <a:pt x="655" y="199"/>
                </a:cubicBezTo>
                <a:cubicBezTo>
                  <a:pt x="655" y="198"/>
                  <a:pt x="655" y="198"/>
                  <a:pt x="655" y="198"/>
                </a:cubicBezTo>
                <a:cubicBezTo>
                  <a:pt x="657" y="196"/>
                  <a:pt x="657" y="196"/>
                  <a:pt x="657" y="196"/>
                </a:cubicBezTo>
                <a:cubicBezTo>
                  <a:pt x="658" y="196"/>
                  <a:pt x="658" y="196"/>
                  <a:pt x="658" y="196"/>
                </a:cubicBezTo>
                <a:cubicBezTo>
                  <a:pt x="659" y="194"/>
                  <a:pt x="659" y="194"/>
                  <a:pt x="659" y="194"/>
                </a:cubicBezTo>
                <a:cubicBezTo>
                  <a:pt x="658" y="193"/>
                  <a:pt x="658" y="193"/>
                  <a:pt x="658" y="193"/>
                </a:cubicBezTo>
                <a:cubicBezTo>
                  <a:pt x="657" y="194"/>
                  <a:pt x="657" y="194"/>
                  <a:pt x="657" y="194"/>
                </a:cubicBezTo>
                <a:cubicBezTo>
                  <a:pt x="655" y="194"/>
                  <a:pt x="655" y="194"/>
                  <a:pt x="655" y="194"/>
                </a:cubicBezTo>
                <a:cubicBezTo>
                  <a:pt x="654" y="191"/>
                  <a:pt x="654" y="191"/>
                  <a:pt x="654" y="191"/>
                </a:cubicBezTo>
                <a:cubicBezTo>
                  <a:pt x="657" y="188"/>
                  <a:pt x="657" y="188"/>
                  <a:pt x="657" y="188"/>
                </a:cubicBezTo>
                <a:cubicBezTo>
                  <a:pt x="659" y="187"/>
                  <a:pt x="659" y="187"/>
                  <a:pt x="659" y="187"/>
                </a:cubicBezTo>
                <a:cubicBezTo>
                  <a:pt x="660" y="186"/>
                  <a:pt x="660" y="186"/>
                  <a:pt x="660" y="186"/>
                </a:cubicBezTo>
                <a:cubicBezTo>
                  <a:pt x="661" y="186"/>
                  <a:pt x="661" y="186"/>
                  <a:pt x="661" y="186"/>
                </a:cubicBezTo>
                <a:cubicBezTo>
                  <a:pt x="662" y="184"/>
                  <a:pt x="662" y="184"/>
                  <a:pt x="662" y="184"/>
                </a:cubicBezTo>
                <a:cubicBezTo>
                  <a:pt x="667" y="183"/>
                  <a:pt x="667" y="183"/>
                  <a:pt x="667" y="183"/>
                </a:cubicBezTo>
                <a:cubicBezTo>
                  <a:pt x="674" y="181"/>
                  <a:pt x="674" y="181"/>
                  <a:pt x="674" y="181"/>
                </a:cubicBezTo>
                <a:cubicBezTo>
                  <a:pt x="682" y="181"/>
                  <a:pt x="682" y="181"/>
                  <a:pt x="682" y="181"/>
                </a:cubicBezTo>
                <a:cubicBezTo>
                  <a:pt x="689" y="178"/>
                  <a:pt x="689" y="178"/>
                  <a:pt x="689" y="178"/>
                </a:cubicBezTo>
                <a:cubicBezTo>
                  <a:pt x="692" y="178"/>
                  <a:pt x="692" y="178"/>
                  <a:pt x="692" y="178"/>
                </a:cubicBezTo>
                <a:cubicBezTo>
                  <a:pt x="695" y="179"/>
                  <a:pt x="695" y="179"/>
                  <a:pt x="695" y="179"/>
                </a:cubicBezTo>
                <a:cubicBezTo>
                  <a:pt x="695" y="181"/>
                  <a:pt x="695" y="181"/>
                  <a:pt x="695" y="181"/>
                </a:cubicBezTo>
                <a:cubicBezTo>
                  <a:pt x="694" y="181"/>
                  <a:pt x="694" y="181"/>
                  <a:pt x="694" y="181"/>
                </a:cubicBezTo>
                <a:cubicBezTo>
                  <a:pt x="692" y="184"/>
                  <a:pt x="692" y="184"/>
                  <a:pt x="692" y="184"/>
                </a:cubicBezTo>
                <a:cubicBezTo>
                  <a:pt x="694" y="188"/>
                  <a:pt x="694" y="188"/>
                  <a:pt x="694" y="188"/>
                </a:cubicBezTo>
                <a:cubicBezTo>
                  <a:pt x="697" y="190"/>
                  <a:pt x="697" y="190"/>
                  <a:pt x="697" y="190"/>
                </a:cubicBezTo>
                <a:cubicBezTo>
                  <a:pt x="706" y="191"/>
                  <a:pt x="706" y="191"/>
                  <a:pt x="706" y="191"/>
                </a:cubicBezTo>
                <a:cubicBezTo>
                  <a:pt x="708" y="191"/>
                  <a:pt x="708" y="191"/>
                  <a:pt x="708" y="191"/>
                </a:cubicBezTo>
                <a:cubicBezTo>
                  <a:pt x="709" y="191"/>
                  <a:pt x="709" y="191"/>
                  <a:pt x="709" y="191"/>
                </a:cubicBezTo>
                <a:cubicBezTo>
                  <a:pt x="712" y="191"/>
                  <a:pt x="712" y="191"/>
                  <a:pt x="712" y="191"/>
                </a:cubicBezTo>
                <a:cubicBezTo>
                  <a:pt x="714" y="192"/>
                  <a:pt x="714" y="192"/>
                  <a:pt x="714" y="192"/>
                </a:cubicBezTo>
                <a:cubicBezTo>
                  <a:pt x="721" y="191"/>
                  <a:pt x="721" y="191"/>
                  <a:pt x="721" y="191"/>
                </a:cubicBezTo>
                <a:cubicBezTo>
                  <a:pt x="726" y="188"/>
                  <a:pt x="726" y="188"/>
                  <a:pt x="726" y="188"/>
                </a:cubicBezTo>
                <a:cubicBezTo>
                  <a:pt x="727" y="189"/>
                  <a:pt x="727" y="189"/>
                  <a:pt x="727" y="189"/>
                </a:cubicBezTo>
                <a:cubicBezTo>
                  <a:pt x="730" y="188"/>
                  <a:pt x="730" y="188"/>
                  <a:pt x="730" y="188"/>
                </a:cubicBezTo>
                <a:cubicBezTo>
                  <a:pt x="731" y="186"/>
                  <a:pt x="731" y="186"/>
                  <a:pt x="731" y="186"/>
                </a:cubicBezTo>
                <a:cubicBezTo>
                  <a:pt x="730" y="185"/>
                  <a:pt x="730" y="185"/>
                  <a:pt x="730" y="185"/>
                </a:cubicBezTo>
                <a:cubicBezTo>
                  <a:pt x="732" y="184"/>
                  <a:pt x="732" y="184"/>
                  <a:pt x="732" y="184"/>
                </a:cubicBezTo>
                <a:cubicBezTo>
                  <a:pt x="734" y="185"/>
                  <a:pt x="734" y="185"/>
                  <a:pt x="734" y="185"/>
                </a:cubicBezTo>
                <a:cubicBezTo>
                  <a:pt x="737" y="184"/>
                  <a:pt x="737" y="184"/>
                  <a:pt x="737" y="184"/>
                </a:cubicBezTo>
                <a:cubicBezTo>
                  <a:pt x="737" y="186"/>
                  <a:pt x="737" y="186"/>
                  <a:pt x="737" y="186"/>
                </a:cubicBezTo>
                <a:cubicBezTo>
                  <a:pt x="739" y="186"/>
                  <a:pt x="739" y="186"/>
                  <a:pt x="739" y="186"/>
                </a:cubicBezTo>
                <a:cubicBezTo>
                  <a:pt x="740" y="184"/>
                  <a:pt x="740" y="184"/>
                  <a:pt x="740" y="184"/>
                </a:cubicBezTo>
                <a:cubicBezTo>
                  <a:pt x="739" y="182"/>
                  <a:pt x="739" y="182"/>
                  <a:pt x="739" y="182"/>
                </a:cubicBezTo>
                <a:cubicBezTo>
                  <a:pt x="737" y="181"/>
                  <a:pt x="737" y="181"/>
                  <a:pt x="737" y="181"/>
                </a:cubicBezTo>
                <a:cubicBezTo>
                  <a:pt x="738" y="179"/>
                  <a:pt x="738" y="179"/>
                  <a:pt x="738" y="179"/>
                </a:cubicBezTo>
                <a:cubicBezTo>
                  <a:pt x="737" y="177"/>
                  <a:pt x="737" y="177"/>
                  <a:pt x="737" y="177"/>
                </a:cubicBezTo>
                <a:cubicBezTo>
                  <a:pt x="734" y="176"/>
                  <a:pt x="734" y="176"/>
                  <a:pt x="734" y="176"/>
                </a:cubicBezTo>
                <a:cubicBezTo>
                  <a:pt x="734" y="174"/>
                  <a:pt x="734" y="174"/>
                  <a:pt x="734" y="174"/>
                </a:cubicBezTo>
                <a:cubicBezTo>
                  <a:pt x="733" y="173"/>
                  <a:pt x="733" y="173"/>
                  <a:pt x="733" y="173"/>
                </a:cubicBezTo>
                <a:cubicBezTo>
                  <a:pt x="732" y="171"/>
                  <a:pt x="732" y="171"/>
                  <a:pt x="732" y="171"/>
                </a:cubicBezTo>
                <a:cubicBezTo>
                  <a:pt x="731" y="169"/>
                  <a:pt x="731" y="169"/>
                  <a:pt x="731" y="169"/>
                </a:cubicBezTo>
                <a:cubicBezTo>
                  <a:pt x="730" y="167"/>
                  <a:pt x="730" y="167"/>
                  <a:pt x="730" y="167"/>
                </a:cubicBezTo>
                <a:cubicBezTo>
                  <a:pt x="732" y="165"/>
                  <a:pt x="732" y="165"/>
                  <a:pt x="732" y="165"/>
                </a:cubicBezTo>
                <a:cubicBezTo>
                  <a:pt x="732" y="166"/>
                  <a:pt x="732" y="166"/>
                  <a:pt x="732" y="166"/>
                </a:cubicBezTo>
                <a:cubicBezTo>
                  <a:pt x="733" y="167"/>
                  <a:pt x="733" y="167"/>
                  <a:pt x="733" y="167"/>
                </a:cubicBezTo>
                <a:cubicBezTo>
                  <a:pt x="735" y="165"/>
                  <a:pt x="735" y="165"/>
                  <a:pt x="735" y="165"/>
                </a:cubicBezTo>
                <a:cubicBezTo>
                  <a:pt x="735" y="164"/>
                  <a:pt x="735" y="164"/>
                  <a:pt x="735" y="164"/>
                </a:cubicBezTo>
                <a:cubicBezTo>
                  <a:pt x="734" y="162"/>
                  <a:pt x="734" y="162"/>
                  <a:pt x="734" y="162"/>
                </a:cubicBezTo>
                <a:cubicBezTo>
                  <a:pt x="736" y="162"/>
                  <a:pt x="736" y="162"/>
                  <a:pt x="736" y="162"/>
                </a:cubicBezTo>
                <a:cubicBezTo>
                  <a:pt x="739" y="164"/>
                  <a:pt x="739" y="164"/>
                  <a:pt x="739" y="164"/>
                </a:cubicBezTo>
                <a:cubicBezTo>
                  <a:pt x="740" y="163"/>
                  <a:pt x="740" y="163"/>
                  <a:pt x="740" y="163"/>
                </a:cubicBezTo>
                <a:cubicBezTo>
                  <a:pt x="740" y="161"/>
                  <a:pt x="740" y="161"/>
                  <a:pt x="740" y="161"/>
                </a:cubicBezTo>
                <a:cubicBezTo>
                  <a:pt x="741" y="162"/>
                  <a:pt x="741" y="162"/>
                  <a:pt x="741" y="162"/>
                </a:cubicBezTo>
                <a:cubicBezTo>
                  <a:pt x="744" y="162"/>
                  <a:pt x="744" y="162"/>
                  <a:pt x="744" y="162"/>
                </a:cubicBezTo>
                <a:cubicBezTo>
                  <a:pt x="745" y="162"/>
                  <a:pt x="745" y="162"/>
                  <a:pt x="745" y="162"/>
                </a:cubicBezTo>
                <a:cubicBezTo>
                  <a:pt x="746" y="161"/>
                  <a:pt x="746" y="161"/>
                  <a:pt x="746" y="161"/>
                </a:cubicBezTo>
                <a:cubicBezTo>
                  <a:pt x="748" y="163"/>
                  <a:pt x="748" y="163"/>
                  <a:pt x="748" y="163"/>
                </a:cubicBezTo>
                <a:cubicBezTo>
                  <a:pt x="750" y="163"/>
                  <a:pt x="750" y="163"/>
                  <a:pt x="750" y="163"/>
                </a:cubicBezTo>
                <a:cubicBezTo>
                  <a:pt x="751" y="165"/>
                  <a:pt x="751" y="165"/>
                  <a:pt x="751" y="165"/>
                </a:cubicBezTo>
                <a:cubicBezTo>
                  <a:pt x="752" y="164"/>
                  <a:pt x="752" y="164"/>
                  <a:pt x="752" y="164"/>
                </a:cubicBezTo>
                <a:cubicBezTo>
                  <a:pt x="752" y="162"/>
                  <a:pt x="752" y="162"/>
                  <a:pt x="752" y="162"/>
                </a:cubicBezTo>
                <a:cubicBezTo>
                  <a:pt x="754" y="162"/>
                  <a:pt x="754" y="162"/>
                  <a:pt x="754" y="162"/>
                </a:cubicBezTo>
                <a:cubicBezTo>
                  <a:pt x="755" y="164"/>
                  <a:pt x="755" y="164"/>
                  <a:pt x="755" y="164"/>
                </a:cubicBezTo>
                <a:cubicBezTo>
                  <a:pt x="754" y="166"/>
                  <a:pt x="754" y="166"/>
                  <a:pt x="754" y="166"/>
                </a:cubicBezTo>
                <a:cubicBezTo>
                  <a:pt x="753" y="167"/>
                  <a:pt x="753" y="167"/>
                  <a:pt x="753" y="167"/>
                </a:cubicBezTo>
                <a:cubicBezTo>
                  <a:pt x="754" y="168"/>
                  <a:pt x="754" y="168"/>
                  <a:pt x="754" y="168"/>
                </a:cubicBezTo>
                <a:cubicBezTo>
                  <a:pt x="756" y="167"/>
                  <a:pt x="756" y="167"/>
                  <a:pt x="756" y="167"/>
                </a:cubicBezTo>
                <a:cubicBezTo>
                  <a:pt x="757" y="168"/>
                  <a:pt x="757" y="168"/>
                  <a:pt x="757" y="168"/>
                </a:cubicBezTo>
                <a:cubicBezTo>
                  <a:pt x="757" y="166"/>
                  <a:pt x="757" y="166"/>
                  <a:pt x="757" y="166"/>
                </a:cubicBezTo>
                <a:cubicBezTo>
                  <a:pt x="758" y="166"/>
                  <a:pt x="758" y="166"/>
                  <a:pt x="758" y="166"/>
                </a:cubicBezTo>
                <a:cubicBezTo>
                  <a:pt x="759" y="166"/>
                  <a:pt x="759" y="166"/>
                  <a:pt x="759" y="166"/>
                </a:cubicBezTo>
                <a:cubicBezTo>
                  <a:pt x="759" y="164"/>
                  <a:pt x="759" y="164"/>
                  <a:pt x="759" y="164"/>
                </a:cubicBezTo>
                <a:cubicBezTo>
                  <a:pt x="757" y="163"/>
                  <a:pt x="757" y="163"/>
                  <a:pt x="757" y="163"/>
                </a:cubicBezTo>
                <a:cubicBezTo>
                  <a:pt x="758" y="162"/>
                  <a:pt x="758" y="162"/>
                  <a:pt x="758" y="162"/>
                </a:cubicBezTo>
                <a:cubicBezTo>
                  <a:pt x="760" y="162"/>
                  <a:pt x="760" y="162"/>
                  <a:pt x="760" y="162"/>
                </a:cubicBezTo>
                <a:cubicBezTo>
                  <a:pt x="763" y="161"/>
                  <a:pt x="763" y="161"/>
                  <a:pt x="763" y="161"/>
                </a:cubicBezTo>
                <a:cubicBezTo>
                  <a:pt x="764" y="162"/>
                  <a:pt x="764" y="162"/>
                  <a:pt x="764" y="162"/>
                </a:cubicBezTo>
                <a:cubicBezTo>
                  <a:pt x="765" y="161"/>
                  <a:pt x="765" y="161"/>
                  <a:pt x="765" y="161"/>
                </a:cubicBezTo>
                <a:cubicBezTo>
                  <a:pt x="768" y="161"/>
                  <a:pt x="768" y="161"/>
                  <a:pt x="768" y="161"/>
                </a:cubicBezTo>
                <a:cubicBezTo>
                  <a:pt x="768" y="163"/>
                  <a:pt x="768" y="163"/>
                  <a:pt x="768" y="163"/>
                </a:cubicBezTo>
                <a:cubicBezTo>
                  <a:pt x="769" y="166"/>
                  <a:pt x="769" y="166"/>
                  <a:pt x="769" y="166"/>
                </a:cubicBezTo>
                <a:cubicBezTo>
                  <a:pt x="769" y="164"/>
                  <a:pt x="769" y="164"/>
                  <a:pt x="769" y="164"/>
                </a:cubicBezTo>
                <a:cubicBezTo>
                  <a:pt x="770" y="164"/>
                  <a:pt x="770" y="164"/>
                  <a:pt x="770" y="164"/>
                </a:cubicBezTo>
                <a:cubicBezTo>
                  <a:pt x="772" y="162"/>
                  <a:pt x="772" y="162"/>
                  <a:pt x="772" y="162"/>
                </a:cubicBezTo>
                <a:cubicBezTo>
                  <a:pt x="773" y="165"/>
                  <a:pt x="773" y="165"/>
                  <a:pt x="773" y="165"/>
                </a:cubicBezTo>
                <a:cubicBezTo>
                  <a:pt x="774" y="165"/>
                  <a:pt x="774" y="165"/>
                  <a:pt x="774" y="165"/>
                </a:cubicBezTo>
                <a:cubicBezTo>
                  <a:pt x="776" y="164"/>
                  <a:pt x="776" y="164"/>
                  <a:pt x="776" y="164"/>
                </a:cubicBezTo>
                <a:cubicBezTo>
                  <a:pt x="778" y="166"/>
                  <a:pt x="778" y="166"/>
                  <a:pt x="778" y="166"/>
                </a:cubicBezTo>
                <a:cubicBezTo>
                  <a:pt x="779" y="170"/>
                  <a:pt x="779" y="170"/>
                  <a:pt x="779" y="170"/>
                </a:cubicBezTo>
                <a:cubicBezTo>
                  <a:pt x="780" y="167"/>
                  <a:pt x="780" y="167"/>
                  <a:pt x="780" y="167"/>
                </a:cubicBezTo>
                <a:cubicBezTo>
                  <a:pt x="782" y="166"/>
                  <a:pt x="782" y="166"/>
                  <a:pt x="782" y="166"/>
                </a:cubicBezTo>
                <a:cubicBezTo>
                  <a:pt x="783" y="167"/>
                  <a:pt x="783" y="167"/>
                  <a:pt x="783" y="167"/>
                </a:cubicBezTo>
                <a:cubicBezTo>
                  <a:pt x="781" y="170"/>
                  <a:pt x="781" y="170"/>
                  <a:pt x="781" y="170"/>
                </a:cubicBezTo>
                <a:cubicBezTo>
                  <a:pt x="783" y="171"/>
                  <a:pt x="783" y="171"/>
                  <a:pt x="783" y="171"/>
                </a:cubicBezTo>
                <a:cubicBezTo>
                  <a:pt x="784" y="172"/>
                  <a:pt x="784" y="172"/>
                  <a:pt x="784" y="172"/>
                </a:cubicBezTo>
                <a:cubicBezTo>
                  <a:pt x="786" y="172"/>
                  <a:pt x="786" y="172"/>
                  <a:pt x="786" y="172"/>
                </a:cubicBezTo>
                <a:cubicBezTo>
                  <a:pt x="786" y="174"/>
                  <a:pt x="786" y="174"/>
                  <a:pt x="786" y="174"/>
                </a:cubicBezTo>
                <a:cubicBezTo>
                  <a:pt x="787" y="173"/>
                  <a:pt x="787" y="173"/>
                  <a:pt x="787" y="173"/>
                </a:cubicBezTo>
                <a:cubicBezTo>
                  <a:pt x="788" y="173"/>
                  <a:pt x="788" y="173"/>
                  <a:pt x="788" y="173"/>
                </a:cubicBezTo>
                <a:cubicBezTo>
                  <a:pt x="789" y="175"/>
                  <a:pt x="789" y="175"/>
                  <a:pt x="789" y="175"/>
                </a:cubicBezTo>
                <a:cubicBezTo>
                  <a:pt x="787" y="177"/>
                  <a:pt x="787" y="177"/>
                  <a:pt x="787" y="177"/>
                </a:cubicBezTo>
                <a:cubicBezTo>
                  <a:pt x="787" y="180"/>
                  <a:pt x="787" y="180"/>
                  <a:pt x="787" y="180"/>
                </a:cubicBezTo>
                <a:cubicBezTo>
                  <a:pt x="790" y="177"/>
                  <a:pt x="790" y="177"/>
                  <a:pt x="790" y="177"/>
                </a:cubicBezTo>
                <a:cubicBezTo>
                  <a:pt x="792" y="177"/>
                  <a:pt x="792" y="177"/>
                  <a:pt x="792" y="177"/>
                </a:cubicBezTo>
                <a:cubicBezTo>
                  <a:pt x="792" y="178"/>
                  <a:pt x="792" y="178"/>
                  <a:pt x="792" y="178"/>
                </a:cubicBezTo>
                <a:cubicBezTo>
                  <a:pt x="788" y="182"/>
                  <a:pt x="788" y="182"/>
                  <a:pt x="788" y="182"/>
                </a:cubicBezTo>
                <a:cubicBezTo>
                  <a:pt x="789" y="185"/>
                  <a:pt x="789" y="185"/>
                  <a:pt x="789" y="185"/>
                </a:cubicBezTo>
                <a:cubicBezTo>
                  <a:pt x="792" y="185"/>
                  <a:pt x="792" y="185"/>
                  <a:pt x="792" y="185"/>
                </a:cubicBezTo>
                <a:cubicBezTo>
                  <a:pt x="793" y="184"/>
                  <a:pt x="793" y="184"/>
                  <a:pt x="793" y="184"/>
                </a:cubicBezTo>
                <a:cubicBezTo>
                  <a:pt x="794" y="183"/>
                  <a:pt x="794" y="183"/>
                  <a:pt x="794" y="183"/>
                </a:cubicBezTo>
                <a:cubicBezTo>
                  <a:pt x="796" y="184"/>
                  <a:pt x="796" y="184"/>
                  <a:pt x="796" y="184"/>
                </a:cubicBezTo>
                <a:cubicBezTo>
                  <a:pt x="796" y="186"/>
                  <a:pt x="796" y="186"/>
                  <a:pt x="796" y="186"/>
                </a:cubicBezTo>
                <a:cubicBezTo>
                  <a:pt x="798" y="185"/>
                  <a:pt x="798" y="185"/>
                  <a:pt x="798" y="185"/>
                </a:cubicBezTo>
                <a:cubicBezTo>
                  <a:pt x="800" y="187"/>
                  <a:pt x="800" y="187"/>
                  <a:pt x="800" y="187"/>
                </a:cubicBezTo>
                <a:cubicBezTo>
                  <a:pt x="799" y="191"/>
                  <a:pt x="799" y="191"/>
                  <a:pt x="799" y="191"/>
                </a:cubicBezTo>
                <a:cubicBezTo>
                  <a:pt x="801" y="190"/>
                  <a:pt x="801" y="190"/>
                  <a:pt x="801" y="190"/>
                </a:cubicBezTo>
                <a:cubicBezTo>
                  <a:pt x="802" y="192"/>
                  <a:pt x="802" y="192"/>
                  <a:pt x="802" y="192"/>
                </a:cubicBezTo>
                <a:cubicBezTo>
                  <a:pt x="803" y="191"/>
                  <a:pt x="803" y="191"/>
                  <a:pt x="803" y="191"/>
                </a:cubicBezTo>
                <a:cubicBezTo>
                  <a:pt x="804" y="193"/>
                  <a:pt x="804" y="193"/>
                  <a:pt x="804" y="193"/>
                </a:cubicBezTo>
                <a:cubicBezTo>
                  <a:pt x="802" y="196"/>
                  <a:pt x="802" y="196"/>
                  <a:pt x="802" y="196"/>
                </a:cubicBezTo>
                <a:cubicBezTo>
                  <a:pt x="800" y="197"/>
                  <a:pt x="800" y="197"/>
                  <a:pt x="800" y="197"/>
                </a:cubicBezTo>
                <a:cubicBezTo>
                  <a:pt x="798" y="196"/>
                  <a:pt x="798" y="196"/>
                  <a:pt x="798" y="196"/>
                </a:cubicBezTo>
                <a:cubicBezTo>
                  <a:pt x="793" y="195"/>
                  <a:pt x="793" y="195"/>
                  <a:pt x="793" y="195"/>
                </a:cubicBezTo>
                <a:cubicBezTo>
                  <a:pt x="789" y="195"/>
                  <a:pt x="789" y="195"/>
                  <a:pt x="789" y="195"/>
                </a:cubicBezTo>
                <a:cubicBezTo>
                  <a:pt x="791" y="196"/>
                  <a:pt x="791" y="196"/>
                  <a:pt x="791" y="196"/>
                </a:cubicBezTo>
                <a:cubicBezTo>
                  <a:pt x="791" y="198"/>
                  <a:pt x="791" y="198"/>
                  <a:pt x="791" y="198"/>
                </a:cubicBezTo>
                <a:cubicBezTo>
                  <a:pt x="796" y="199"/>
                  <a:pt x="796" y="199"/>
                  <a:pt x="796" y="199"/>
                </a:cubicBezTo>
                <a:cubicBezTo>
                  <a:pt x="796" y="200"/>
                  <a:pt x="796" y="200"/>
                  <a:pt x="796" y="200"/>
                </a:cubicBezTo>
                <a:cubicBezTo>
                  <a:pt x="800" y="203"/>
                  <a:pt x="800" y="203"/>
                  <a:pt x="800" y="203"/>
                </a:cubicBezTo>
                <a:cubicBezTo>
                  <a:pt x="804" y="204"/>
                  <a:pt x="804" y="204"/>
                  <a:pt x="804" y="204"/>
                </a:cubicBezTo>
                <a:cubicBezTo>
                  <a:pt x="807" y="202"/>
                  <a:pt x="807" y="202"/>
                  <a:pt x="807" y="202"/>
                </a:cubicBezTo>
                <a:cubicBezTo>
                  <a:pt x="807" y="200"/>
                  <a:pt x="807" y="200"/>
                  <a:pt x="807" y="200"/>
                </a:cubicBezTo>
                <a:cubicBezTo>
                  <a:pt x="805" y="198"/>
                  <a:pt x="805" y="198"/>
                  <a:pt x="805" y="198"/>
                </a:cubicBezTo>
                <a:cubicBezTo>
                  <a:pt x="804" y="197"/>
                  <a:pt x="804" y="197"/>
                  <a:pt x="804" y="197"/>
                </a:cubicBezTo>
                <a:cubicBezTo>
                  <a:pt x="805" y="197"/>
                  <a:pt x="805" y="197"/>
                  <a:pt x="805" y="197"/>
                </a:cubicBezTo>
                <a:cubicBezTo>
                  <a:pt x="807" y="199"/>
                  <a:pt x="807" y="199"/>
                  <a:pt x="807" y="199"/>
                </a:cubicBezTo>
                <a:cubicBezTo>
                  <a:pt x="810" y="201"/>
                  <a:pt x="810" y="201"/>
                  <a:pt x="810" y="201"/>
                </a:cubicBezTo>
                <a:cubicBezTo>
                  <a:pt x="811" y="202"/>
                  <a:pt x="811" y="202"/>
                  <a:pt x="811" y="202"/>
                </a:cubicBezTo>
                <a:cubicBezTo>
                  <a:pt x="809" y="201"/>
                  <a:pt x="809" y="201"/>
                  <a:pt x="809" y="201"/>
                </a:cubicBezTo>
                <a:cubicBezTo>
                  <a:pt x="805" y="205"/>
                  <a:pt x="805" y="205"/>
                  <a:pt x="805" y="205"/>
                </a:cubicBezTo>
                <a:cubicBezTo>
                  <a:pt x="806" y="207"/>
                  <a:pt x="806" y="207"/>
                  <a:pt x="806" y="207"/>
                </a:cubicBezTo>
                <a:cubicBezTo>
                  <a:pt x="808" y="207"/>
                  <a:pt x="808" y="207"/>
                  <a:pt x="808" y="207"/>
                </a:cubicBezTo>
                <a:cubicBezTo>
                  <a:pt x="809" y="206"/>
                  <a:pt x="809" y="206"/>
                  <a:pt x="809" y="206"/>
                </a:cubicBezTo>
                <a:cubicBezTo>
                  <a:pt x="811" y="206"/>
                  <a:pt x="811" y="206"/>
                  <a:pt x="811" y="206"/>
                </a:cubicBezTo>
                <a:cubicBezTo>
                  <a:pt x="818" y="212"/>
                  <a:pt x="818" y="212"/>
                  <a:pt x="818" y="212"/>
                </a:cubicBezTo>
                <a:cubicBezTo>
                  <a:pt x="820" y="213"/>
                  <a:pt x="820" y="213"/>
                  <a:pt x="820" y="213"/>
                </a:cubicBezTo>
                <a:cubicBezTo>
                  <a:pt x="822" y="216"/>
                  <a:pt x="822" y="216"/>
                  <a:pt x="822" y="216"/>
                </a:cubicBezTo>
                <a:cubicBezTo>
                  <a:pt x="827" y="216"/>
                  <a:pt x="827" y="216"/>
                  <a:pt x="827" y="216"/>
                </a:cubicBezTo>
                <a:cubicBezTo>
                  <a:pt x="830" y="220"/>
                  <a:pt x="830" y="220"/>
                  <a:pt x="830" y="220"/>
                </a:cubicBezTo>
                <a:cubicBezTo>
                  <a:pt x="833" y="221"/>
                  <a:pt x="833" y="221"/>
                  <a:pt x="833" y="221"/>
                </a:cubicBezTo>
                <a:cubicBezTo>
                  <a:pt x="834" y="219"/>
                  <a:pt x="834" y="219"/>
                  <a:pt x="834" y="219"/>
                </a:cubicBezTo>
                <a:cubicBezTo>
                  <a:pt x="833" y="218"/>
                  <a:pt x="833" y="218"/>
                  <a:pt x="833" y="218"/>
                </a:cubicBezTo>
                <a:cubicBezTo>
                  <a:pt x="834" y="217"/>
                  <a:pt x="834" y="217"/>
                  <a:pt x="834" y="217"/>
                </a:cubicBezTo>
                <a:cubicBezTo>
                  <a:pt x="836" y="219"/>
                  <a:pt x="836" y="219"/>
                  <a:pt x="836" y="219"/>
                </a:cubicBezTo>
                <a:cubicBezTo>
                  <a:pt x="836" y="221"/>
                  <a:pt x="836" y="221"/>
                  <a:pt x="836" y="221"/>
                </a:cubicBezTo>
                <a:cubicBezTo>
                  <a:pt x="838" y="222"/>
                  <a:pt x="838" y="222"/>
                  <a:pt x="838" y="222"/>
                </a:cubicBezTo>
                <a:cubicBezTo>
                  <a:pt x="839" y="222"/>
                  <a:pt x="839" y="222"/>
                  <a:pt x="839" y="222"/>
                </a:cubicBezTo>
                <a:cubicBezTo>
                  <a:pt x="840" y="220"/>
                  <a:pt x="840" y="220"/>
                  <a:pt x="840" y="220"/>
                </a:cubicBezTo>
                <a:cubicBezTo>
                  <a:pt x="837" y="209"/>
                  <a:pt x="837" y="209"/>
                  <a:pt x="837" y="209"/>
                </a:cubicBezTo>
                <a:cubicBezTo>
                  <a:pt x="835" y="204"/>
                  <a:pt x="835" y="204"/>
                  <a:pt x="835" y="204"/>
                </a:cubicBezTo>
                <a:cubicBezTo>
                  <a:pt x="832" y="197"/>
                  <a:pt x="832" y="197"/>
                  <a:pt x="832" y="197"/>
                </a:cubicBezTo>
                <a:cubicBezTo>
                  <a:pt x="831" y="192"/>
                  <a:pt x="831" y="192"/>
                  <a:pt x="831" y="192"/>
                </a:cubicBezTo>
                <a:cubicBezTo>
                  <a:pt x="830" y="188"/>
                  <a:pt x="830" y="188"/>
                  <a:pt x="830" y="188"/>
                </a:cubicBezTo>
                <a:cubicBezTo>
                  <a:pt x="830" y="187"/>
                  <a:pt x="830" y="187"/>
                  <a:pt x="830" y="187"/>
                </a:cubicBezTo>
                <a:cubicBezTo>
                  <a:pt x="832" y="187"/>
                  <a:pt x="832" y="187"/>
                  <a:pt x="832" y="187"/>
                </a:cubicBezTo>
                <a:cubicBezTo>
                  <a:pt x="833" y="190"/>
                  <a:pt x="833" y="190"/>
                  <a:pt x="833" y="190"/>
                </a:cubicBezTo>
                <a:cubicBezTo>
                  <a:pt x="835" y="193"/>
                  <a:pt x="835" y="193"/>
                  <a:pt x="835" y="193"/>
                </a:cubicBezTo>
                <a:cubicBezTo>
                  <a:pt x="838" y="193"/>
                  <a:pt x="838" y="193"/>
                  <a:pt x="838" y="193"/>
                </a:cubicBezTo>
                <a:cubicBezTo>
                  <a:pt x="840" y="196"/>
                  <a:pt x="840" y="196"/>
                  <a:pt x="840" y="196"/>
                </a:cubicBezTo>
                <a:cubicBezTo>
                  <a:pt x="844" y="196"/>
                  <a:pt x="844" y="196"/>
                  <a:pt x="844" y="196"/>
                </a:cubicBezTo>
                <a:cubicBezTo>
                  <a:pt x="852" y="195"/>
                  <a:pt x="852" y="195"/>
                  <a:pt x="852" y="195"/>
                </a:cubicBezTo>
                <a:cubicBezTo>
                  <a:pt x="854" y="196"/>
                  <a:pt x="854" y="196"/>
                  <a:pt x="854" y="196"/>
                </a:cubicBezTo>
                <a:cubicBezTo>
                  <a:pt x="856" y="195"/>
                  <a:pt x="856" y="195"/>
                  <a:pt x="856" y="195"/>
                </a:cubicBezTo>
                <a:cubicBezTo>
                  <a:pt x="858" y="197"/>
                  <a:pt x="858" y="197"/>
                  <a:pt x="858" y="197"/>
                </a:cubicBezTo>
                <a:cubicBezTo>
                  <a:pt x="858" y="196"/>
                  <a:pt x="858" y="196"/>
                  <a:pt x="858" y="196"/>
                </a:cubicBezTo>
                <a:cubicBezTo>
                  <a:pt x="857" y="194"/>
                  <a:pt x="857" y="194"/>
                  <a:pt x="857" y="194"/>
                </a:cubicBezTo>
                <a:cubicBezTo>
                  <a:pt x="857" y="193"/>
                  <a:pt x="857" y="193"/>
                  <a:pt x="857" y="193"/>
                </a:cubicBezTo>
                <a:cubicBezTo>
                  <a:pt x="856" y="191"/>
                  <a:pt x="856" y="191"/>
                  <a:pt x="856" y="191"/>
                </a:cubicBezTo>
                <a:cubicBezTo>
                  <a:pt x="856" y="190"/>
                  <a:pt x="856" y="190"/>
                  <a:pt x="856" y="190"/>
                </a:cubicBezTo>
                <a:cubicBezTo>
                  <a:pt x="857" y="188"/>
                  <a:pt x="857" y="188"/>
                  <a:pt x="857" y="188"/>
                </a:cubicBezTo>
                <a:cubicBezTo>
                  <a:pt x="864" y="185"/>
                  <a:pt x="864" y="185"/>
                  <a:pt x="864" y="185"/>
                </a:cubicBezTo>
                <a:cubicBezTo>
                  <a:pt x="865" y="186"/>
                  <a:pt x="865" y="186"/>
                  <a:pt x="865" y="186"/>
                </a:cubicBezTo>
                <a:cubicBezTo>
                  <a:pt x="867" y="185"/>
                  <a:pt x="867" y="185"/>
                  <a:pt x="867" y="185"/>
                </a:cubicBezTo>
                <a:cubicBezTo>
                  <a:pt x="869" y="187"/>
                  <a:pt x="869" y="187"/>
                  <a:pt x="869" y="187"/>
                </a:cubicBezTo>
                <a:cubicBezTo>
                  <a:pt x="872" y="187"/>
                  <a:pt x="872" y="187"/>
                  <a:pt x="872" y="187"/>
                </a:cubicBezTo>
                <a:cubicBezTo>
                  <a:pt x="875" y="189"/>
                  <a:pt x="875" y="189"/>
                  <a:pt x="875" y="189"/>
                </a:cubicBezTo>
                <a:cubicBezTo>
                  <a:pt x="877" y="190"/>
                  <a:pt x="877" y="190"/>
                  <a:pt x="877" y="190"/>
                </a:cubicBezTo>
                <a:cubicBezTo>
                  <a:pt x="879" y="192"/>
                  <a:pt x="879" y="192"/>
                  <a:pt x="879" y="192"/>
                </a:cubicBezTo>
                <a:cubicBezTo>
                  <a:pt x="882" y="192"/>
                  <a:pt x="882" y="192"/>
                  <a:pt x="882" y="192"/>
                </a:cubicBezTo>
                <a:cubicBezTo>
                  <a:pt x="883" y="194"/>
                  <a:pt x="883" y="194"/>
                  <a:pt x="883" y="194"/>
                </a:cubicBezTo>
                <a:cubicBezTo>
                  <a:pt x="888" y="194"/>
                  <a:pt x="888" y="194"/>
                  <a:pt x="888" y="194"/>
                </a:cubicBezTo>
                <a:cubicBezTo>
                  <a:pt x="885" y="192"/>
                  <a:pt x="885" y="192"/>
                  <a:pt x="885" y="192"/>
                </a:cubicBezTo>
                <a:cubicBezTo>
                  <a:pt x="885" y="191"/>
                  <a:pt x="885" y="191"/>
                  <a:pt x="885" y="191"/>
                </a:cubicBezTo>
                <a:cubicBezTo>
                  <a:pt x="888" y="192"/>
                  <a:pt x="888" y="192"/>
                  <a:pt x="888" y="192"/>
                </a:cubicBezTo>
                <a:cubicBezTo>
                  <a:pt x="890" y="191"/>
                  <a:pt x="890" y="191"/>
                  <a:pt x="890" y="191"/>
                </a:cubicBezTo>
                <a:cubicBezTo>
                  <a:pt x="888" y="190"/>
                  <a:pt x="888" y="190"/>
                  <a:pt x="888" y="190"/>
                </a:cubicBezTo>
                <a:cubicBezTo>
                  <a:pt x="889" y="188"/>
                  <a:pt x="889" y="188"/>
                  <a:pt x="889" y="188"/>
                </a:cubicBezTo>
                <a:cubicBezTo>
                  <a:pt x="887" y="186"/>
                  <a:pt x="887" y="186"/>
                  <a:pt x="887" y="186"/>
                </a:cubicBezTo>
                <a:cubicBezTo>
                  <a:pt x="885" y="188"/>
                  <a:pt x="885" y="188"/>
                  <a:pt x="885" y="188"/>
                </a:cubicBezTo>
                <a:cubicBezTo>
                  <a:pt x="882" y="187"/>
                  <a:pt x="882" y="187"/>
                  <a:pt x="882" y="187"/>
                </a:cubicBezTo>
                <a:cubicBezTo>
                  <a:pt x="882" y="184"/>
                  <a:pt x="882" y="184"/>
                  <a:pt x="882" y="184"/>
                </a:cubicBezTo>
                <a:cubicBezTo>
                  <a:pt x="881" y="181"/>
                  <a:pt x="881" y="181"/>
                  <a:pt x="881" y="181"/>
                </a:cubicBezTo>
                <a:cubicBezTo>
                  <a:pt x="882" y="180"/>
                  <a:pt x="882" y="180"/>
                  <a:pt x="882" y="180"/>
                </a:cubicBezTo>
                <a:cubicBezTo>
                  <a:pt x="883" y="181"/>
                  <a:pt x="883" y="181"/>
                  <a:pt x="883" y="181"/>
                </a:cubicBezTo>
                <a:cubicBezTo>
                  <a:pt x="885" y="180"/>
                  <a:pt x="885" y="180"/>
                  <a:pt x="885" y="180"/>
                </a:cubicBezTo>
                <a:cubicBezTo>
                  <a:pt x="884" y="178"/>
                  <a:pt x="884" y="178"/>
                  <a:pt x="884" y="178"/>
                </a:cubicBezTo>
                <a:cubicBezTo>
                  <a:pt x="886" y="178"/>
                  <a:pt x="886" y="178"/>
                  <a:pt x="886" y="178"/>
                </a:cubicBezTo>
                <a:cubicBezTo>
                  <a:pt x="889" y="180"/>
                  <a:pt x="889" y="180"/>
                  <a:pt x="889" y="180"/>
                </a:cubicBezTo>
                <a:cubicBezTo>
                  <a:pt x="890" y="183"/>
                  <a:pt x="890" y="183"/>
                  <a:pt x="890" y="183"/>
                </a:cubicBezTo>
                <a:cubicBezTo>
                  <a:pt x="891" y="182"/>
                  <a:pt x="891" y="182"/>
                  <a:pt x="891" y="182"/>
                </a:cubicBezTo>
                <a:cubicBezTo>
                  <a:pt x="893" y="183"/>
                  <a:pt x="893" y="183"/>
                  <a:pt x="893" y="183"/>
                </a:cubicBezTo>
                <a:cubicBezTo>
                  <a:pt x="894" y="182"/>
                  <a:pt x="894" y="182"/>
                  <a:pt x="894" y="182"/>
                </a:cubicBezTo>
                <a:cubicBezTo>
                  <a:pt x="893" y="180"/>
                  <a:pt x="893" y="180"/>
                  <a:pt x="893" y="180"/>
                </a:cubicBezTo>
                <a:cubicBezTo>
                  <a:pt x="895" y="179"/>
                  <a:pt x="895" y="179"/>
                  <a:pt x="895" y="179"/>
                </a:cubicBezTo>
                <a:cubicBezTo>
                  <a:pt x="897" y="180"/>
                  <a:pt x="897" y="180"/>
                  <a:pt x="897" y="180"/>
                </a:cubicBezTo>
                <a:cubicBezTo>
                  <a:pt x="898" y="178"/>
                  <a:pt x="898" y="178"/>
                  <a:pt x="898" y="178"/>
                </a:cubicBezTo>
                <a:cubicBezTo>
                  <a:pt x="894" y="174"/>
                  <a:pt x="894" y="174"/>
                  <a:pt x="894" y="174"/>
                </a:cubicBezTo>
                <a:cubicBezTo>
                  <a:pt x="892" y="174"/>
                  <a:pt x="892" y="174"/>
                  <a:pt x="892" y="174"/>
                </a:cubicBezTo>
                <a:cubicBezTo>
                  <a:pt x="889" y="171"/>
                  <a:pt x="889" y="171"/>
                  <a:pt x="889" y="171"/>
                </a:cubicBezTo>
                <a:cubicBezTo>
                  <a:pt x="890" y="169"/>
                  <a:pt x="890" y="169"/>
                  <a:pt x="890" y="169"/>
                </a:cubicBezTo>
                <a:cubicBezTo>
                  <a:pt x="888" y="167"/>
                  <a:pt x="888" y="167"/>
                  <a:pt x="888" y="167"/>
                </a:cubicBezTo>
                <a:cubicBezTo>
                  <a:pt x="886" y="168"/>
                  <a:pt x="886" y="168"/>
                  <a:pt x="886" y="168"/>
                </a:cubicBezTo>
                <a:cubicBezTo>
                  <a:pt x="884" y="168"/>
                  <a:pt x="884" y="168"/>
                  <a:pt x="884" y="168"/>
                </a:cubicBezTo>
                <a:cubicBezTo>
                  <a:pt x="887" y="166"/>
                  <a:pt x="887" y="166"/>
                  <a:pt x="887" y="166"/>
                </a:cubicBezTo>
                <a:cubicBezTo>
                  <a:pt x="886" y="164"/>
                  <a:pt x="886" y="164"/>
                  <a:pt x="886" y="164"/>
                </a:cubicBezTo>
                <a:cubicBezTo>
                  <a:pt x="886" y="164"/>
                  <a:pt x="886" y="164"/>
                  <a:pt x="886" y="164"/>
                </a:cubicBezTo>
                <a:cubicBezTo>
                  <a:pt x="885" y="161"/>
                  <a:pt x="885" y="161"/>
                  <a:pt x="885" y="161"/>
                </a:cubicBezTo>
                <a:cubicBezTo>
                  <a:pt x="888" y="161"/>
                  <a:pt x="888" y="161"/>
                  <a:pt x="888" y="161"/>
                </a:cubicBezTo>
                <a:cubicBezTo>
                  <a:pt x="889" y="157"/>
                  <a:pt x="889" y="157"/>
                  <a:pt x="889" y="157"/>
                </a:cubicBezTo>
                <a:cubicBezTo>
                  <a:pt x="885" y="158"/>
                  <a:pt x="885" y="158"/>
                  <a:pt x="885" y="158"/>
                </a:cubicBezTo>
                <a:cubicBezTo>
                  <a:pt x="883" y="161"/>
                  <a:pt x="883" y="161"/>
                  <a:pt x="883" y="161"/>
                </a:cubicBezTo>
                <a:cubicBezTo>
                  <a:pt x="882" y="163"/>
                  <a:pt x="882" y="163"/>
                  <a:pt x="882" y="163"/>
                </a:cubicBezTo>
                <a:cubicBezTo>
                  <a:pt x="878" y="162"/>
                  <a:pt x="878" y="162"/>
                  <a:pt x="878" y="162"/>
                </a:cubicBezTo>
                <a:cubicBezTo>
                  <a:pt x="876" y="158"/>
                  <a:pt x="876" y="158"/>
                  <a:pt x="876" y="158"/>
                </a:cubicBezTo>
                <a:cubicBezTo>
                  <a:pt x="877" y="156"/>
                  <a:pt x="877" y="156"/>
                  <a:pt x="877" y="156"/>
                </a:cubicBezTo>
                <a:cubicBezTo>
                  <a:pt x="878" y="153"/>
                  <a:pt x="878" y="153"/>
                  <a:pt x="878" y="153"/>
                </a:cubicBezTo>
                <a:cubicBezTo>
                  <a:pt x="881" y="152"/>
                  <a:pt x="881" y="152"/>
                  <a:pt x="881" y="152"/>
                </a:cubicBezTo>
                <a:cubicBezTo>
                  <a:pt x="884" y="152"/>
                  <a:pt x="884" y="152"/>
                  <a:pt x="884" y="152"/>
                </a:cubicBezTo>
                <a:cubicBezTo>
                  <a:pt x="887" y="148"/>
                  <a:pt x="887" y="148"/>
                  <a:pt x="887" y="148"/>
                </a:cubicBezTo>
                <a:cubicBezTo>
                  <a:pt x="888" y="147"/>
                  <a:pt x="888" y="147"/>
                  <a:pt x="888" y="147"/>
                </a:cubicBezTo>
                <a:cubicBezTo>
                  <a:pt x="886" y="144"/>
                  <a:pt x="886" y="144"/>
                  <a:pt x="886" y="144"/>
                </a:cubicBezTo>
                <a:cubicBezTo>
                  <a:pt x="883" y="145"/>
                  <a:pt x="883" y="145"/>
                  <a:pt x="883" y="145"/>
                </a:cubicBezTo>
                <a:cubicBezTo>
                  <a:pt x="881" y="144"/>
                  <a:pt x="881" y="144"/>
                  <a:pt x="881" y="144"/>
                </a:cubicBezTo>
                <a:cubicBezTo>
                  <a:pt x="878" y="144"/>
                  <a:pt x="878" y="144"/>
                  <a:pt x="878" y="144"/>
                </a:cubicBezTo>
                <a:cubicBezTo>
                  <a:pt x="876" y="141"/>
                  <a:pt x="876" y="141"/>
                  <a:pt x="876" y="141"/>
                </a:cubicBezTo>
                <a:cubicBezTo>
                  <a:pt x="879" y="140"/>
                  <a:pt x="879" y="140"/>
                  <a:pt x="879" y="140"/>
                </a:cubicBezTo>
                <a:cubicBezTo>
                  <a:pt x="883" y="139"/>
                  <a:pt x="883" y="139"/>
                  <a:pt x="883" y="139"/>
                </a:cubicBezTo>
                <a:cubicBezTo>
                  <a:pt x="888" y="141"/>
                  <a:pt x="888" y="141"/>
                  <a:pt x="888" y="141"/>
                </a:cubicBezTo>
                <a:cubicBezTo>
                  <a:pt x="892" y="140"/>
                  <a:pt x="892" y="140"/>
                  <a:pt x="892" y="140"/>
                </a:cubicBezTo>
                <a:cubicBezTo>
                  <a:pt x="899" y="140"/>
                  <a:pt x="899" y="140"/>
                  <a:pt x="899" y="140"/>
                </a:cubicBezTo>
                <a:cubicBezTo>
                  <a:pt x="911" y="139"/>
                  <a:pt x="911" y="139"/>
                  <a:pt x="911" y="139"/>
                </a:cubicBezTo>
                <a:cubicBezTo>
                  <a:pt x="913" y="138"/>
                  <a:pt x="913" y="138"/>
                  <a:pt x="913" y="138"/>
                </a:cubicBezTo>
                <a:cubicBezTo>
                  <a:pt x="923" y="138"/>
                  <a:pt x="923" y="138"/>
                  <a:pt x="923" y="138"/>
                </a:cubicBezTo>
                <a:cubicBezTo>
                  <a:pt x="927" y="138"/>
                  <a:pt x="927" y="138"/>
                  <a:pt x="927" y="138"/>
                </a:cubicBezTo>
                <a:cubicBezTo>
                  <a:pt x="930" y="138"/>
                  <a:pt x="930" y="138"/>
                  <a:pt x="930" y="138"/>
                </a:cubicBezTo>
                <a:cubicBezTo>
                  <a:pt x="935" y="138"/>
                  <a:pt x="935" y="138"/>
                  <a:pt x="935" y="138"/>
                </a:cubicBezTo>
                <a:cubicBezTo>
                  <a:pt x="932" y="139"/>
                  <a:pt x="932" y="139"/>
                  <a:pt x="932" y="139"/>
                </a:cubicBezTo>
                <a:cubicBezTo>
                  <a:pt x="925" y="142"/>
                  <a:pt x="925" y="142"/>
                  <a:pt x="925" y="142"/>
                </a:cubicBezTo>
                <a:cubicBezTo>
                  <a:pt x="923" y="141"/>
                  <a:pt x="923" y="141"/>
                  <a:pt x="923" y="141"/>
                </a:cubicBezTo>
                <a:cubicBezTo>
                  <a:pt x="922" y="141"/>
                  <a:pt x="922" y="141"/>
                  <a:pt x="922" y="141"/>
                </a:cubicBezTo>
                <a:cubicBezTo>
                  <a:pt x="919" y="140"/>
                  <a:pt x="919" y="140"/>
                  <a:pt x="919" y="140"/>
                </a:cubicBezTo>
                <a:cubicBezTo>
                  <a:pt x="918" y="145"/>
                  <a:pt x="918" y="145"/>
                  <a:pt x="918" y="145"/>
                </a:cubicBezTo>
                <a:cubicBezTo>
                  <a:pt x="920" y="147"/>
                  <a:pt x="920" y="147"/>
                  <a:pt x="920" y="147"/>
                </a:cubicBezTo>
                <a:cubicBezTo>
                  <a:pt x="918" y="148"/>
                  <a:pt x="918" y="148"/>
                  <a:pt x="918" y="148"/>
                </a:cubicBezTo>
                <a:cubicBezTo>
                  <a:pt x="918" y="150"/>
                  <a:pt x="918" y="150"/>
                  <a:pt x="918" y="150"/>
                </a:cubicBezTo>
                <a:cubicBezTo>
                  <a:pt x="920" y="151"/>
                  <a:pt x="920" y="151"/>
                  <a:pt x="920" y="151"/>
                </a:cubicBezTo>
                <a:cubicBezTo>
                  <a:pt x="923" y="149"/>
                  <a:pt x="923" y="149"/>
                  <a:pt x="923" y="149"/>
                </a:cubicBezTo>
                <a:cubicBezTo>
                  <a:pt x="923" y="146"/>
                  <a:pt x="923" y="146"/>
                  <a:pt x="923" y="146"/>
                </a:cubicBezTo>
                <a:cubicBezTo>
                  <a:pt x="929" y="143"/>
                  <a:pt x="929" y="143"/>
                  <a:pt x="929" y="143"/>
                </a:cubicBezTo>
                <a:cubicBezTo>
                  <a:pt x="936" y="140"/>
                  <a:pt x="936" y="140"/>
                  <a:pt x="936" y="140"/>
                </a:cubicBezTo>
                <a:cubicBezTo>
                  <a:pt x="937" y="144"/>
                  <a:pt x="937" y="144"/>
                  <a:pt x="937" y="144"/>
                </a:cubicBezTo>
                <a:cubicBezTo>
                  <a:pt x="937" y="149"/>
                  <a:pt x="937" y="149"/>
                  <a:pt x="937" y="149"/>
                </a:cubicBezTo>
                <a:cubicBezTo>
                  <a:pt x="937" y="150"/>
                  <a:pt x="937" y="150"/>
                  <a:pt x="937" y="150"/>
                </a:cubicBezTo>
                <a:cubicBezTo>
                  <a:pt x="935" y="147"/>
                  <a:pt x="935" y="147"/>
                  <a:pt x="935" y="147"/>
                </a:cubicBezTo>
                <a:cubicBezTo>
                  <a:pt x="933" y="145"/>
                  <a:pt x="933" y="145"/>
                  <a:pt x="933" y="145"/>
                </a:cubicBezTo>
                <a:cubicBezTo>
                  <a:pt x="933" y="143"/>
                  <a:pt x="933" y="143"/>
                  <a:pt x="933" y="143"/>
                </a:cubicBezTo>
                <a:cubicBezTo>
                  <a:pt x="931" y="145"/>
                  <a:pt x="931" y="145"/>
                  <a:pt x="931" y="145"/>
                </a:cubicBezTo>
                <a:cubicBezTo>
                  <a:pt x="930" y="144"/>
                  <a:pt x="930" y="144"/>
                  <a:pt x="930" y="144"/>
                </a:cubicBezTo>
                <a:cubicBezTo>
                  <a:pt x="931" y="148"/>
                  <a:pt x="931" y="148"/>
                  <a:pt x="931" y="148"/>
                </a:cubicBezTo>
                <a:cubicBezTo>
                  <a:pt x="933" y="149"/>
                  <a:pt x="933" y="149"/>
                  <a:pt x="933" y="149"/>
                </a:cubicBezTo>
                <a:cubicBezTo>
                  <a:pt x="934" y="153"/>
                  <a:pt x="934" y="153"/>
                  <a:pt x="934" y="153"/>
                </a:cubicBezTo>
                <a:cubicBezTo>
                  <a:pt x="932" y="156"/>
                  <a:pt x="932" y="156"/>
                  <a:pt x="932" y="156"/>
                </a:cubicBezTo>
                <a:cubicBezTo>
                  <a:pt x="931" y="156"/>
                  <a:pt x="931" y="156"/>
                  <a:pt x="931" y="156"/>
                </a:cubicBezTo>
                <a:cubicBezTo>
                  <a:pt x="929" y="157"/>
                  <a:pt x="929" y="157"/>
                  <a:pt x="929" y="157"/>
                </a:cubicBezTo>
                <a:cubicBezTo>
                  <a:pt x="932" y="159"/>
                  <a:pt x="932" y="159"/>
                  <a:pt x="932" y="159"/>
                </a:cubicBezTo>
                <a:cubicBezTo>
                  <a:pt x="932" y="160"/>
                  <a:pt x="932" y="160"/>
                  <a:pt x="932" y="160"/>
                </a:cubicBezTo>
                <a:cubicBezTo>
                  <a:pt x="933" y="161"/>
                  <a:pt x="933" y="161"/>
                  <a:pt x="933" y="161"/>
                </a:cubicBezTo>
                <a:cubicBezTo>
                  <a:pt x="935" y="161"/>
                  <a:pt x="935" y="161"/>
                  <a:pt x="935" y="161"/>
                </a:cubicBezTo>
                <a:cubicBezTo>
                  <a:pt x="937" y="159"/>
                  <a:pt x="937" y="159"/>
                  <a:pt x="937" y="159"/>
                </a:cubicBezTo>
                <a:cubicBezTo>
                  <a:pt x="937" y="156"/>
                  <a:pt x="937" y="156"/>
                  <a:pt x="937" y="156"/>
                </a:cubicBezTo>
                <a:cubicBezTo>
                  <a:pt x="939" y="153"/>
                  <a:pt x="939" y="153"/>
                  <a:pt x="939" y="153"/>
                </a:cubicBezTo>
                <a:cubicBezTo>
                  <a:pt x="939" y="151"/>
                  <a:pt x="939" y="151"/>
                  <a:pt x="939" y="151"/>
                </a:cubicBezTo>
                <a:cubicBezTo>
                  <a:pt x="939" y="148"/>
                  <a:pt x="939" y="148"/>
                  <a:pt x="939" y="148"/>
                </a:cubicBezTo>
                <a:cubicBezTo>
                  <a:pt x="938" y="137"/>
                  <a:pt x="938" y="137"/>
                  <a:pt x="938" y="137"/>
                </a:cubicBezTo>
                <a:cubicBezTo>
                  <a:pt x="942" y="134"/>
                  <a:pt x="942" y="134"/>
                  <a:pt x="942" y="134"/>
                </a:cubicBezTo>
                <a:cubicBezTo>
                  <a:pt x="947" y="133"/>
                  <a:pt x="947" y="133"/>
                  <a:pt x="947" y="133"/>
                </a:cubicBezTo>
                <a:cubicBezTo>
                  <a:pt x="954" y="131"/>
                  <a:pt x="954" y="131"/>
                  <a:pt x="954" y="131"/>
                </a:cubicBezTo>
                <a:cubicBezTo>
                  <a:pt x="959" y="132"/>
                  <a:pt x="959" y="132"/>
                  <a:pt x="959" y="132"/>
                </a:cubicBezTo>
                <a:cubicBezTo>
                  <a:pt x="966" y="135"/>
                  <a:pt x="966" y="135"/>
                  <a:pt x="966" y="135"/>
                </a:cubicBezTo>
                <a:cubicBezTo>
                  <a:pt x="970" y="139"/>
                  <a:pt x="970" y="139"/>
                  <a:pt x="970" y="139"/>
                </a:cubicBezTo>
                <a:cubicBezTo>
                  <a:pt x="970" y="142"/>
                  <a:pt x="970" y="142"/>
                  <a:pt x="970" y="142"/>
                </a:cubicBezTo>
                <a:cubicBezTo>
                  <a:pt x="968" y="143"/>
                  <a:pt x="968" y="143"/>
                  <a:pt x="968" y="143"/>
                </a:cubicBezTo>
                <a:cubicBezTo>
                  <a:pt x="964" y="140"/>
                  <a:pt x="964" y="140"/>
                  <a:pt x="964" y="140"/>
                </a:cubicBezTo>
                <a:cubicBezTo>
                  <a:pt x="964" y="141"/>
                  <a:pt x="964" y="141"/>
                  <a:pt x="964" y="141"/>
                </a:cubicBezTo>
                <a:cubicBezTo>
                  <a:pt x="964" y="143"/>
                  <a:pt x="964" y="143"/>
                  <a:pt x="964" y="143"/>
                </a:cubicBezTo>
                <a:cubicBezTo>
                  <a:pt x="964" y="145"/>
                  <a:pt x="964" y="145"/>
                  <a:pt x="964" y="145"/>
                </a:cubicBezTo>
                <a:cubicBezTo>
                  <a:pt x="965" y="147"/>
                  <a:pt x="965" y="147"/>
                  <a:pt x="965" y="147"/>
                </a:cubicBezTo>
                <a:cubicBezTo>
                  <a:pt x="963" y="149"/>
                  <a:pt x="963" y="149"/>
                  <a:pt x="963" y="149"/>
                </a:cubicBezTo>
                <a:cubicBezTo>
                  <a:pt x="964" y="149"/>
                  <a:pt x="964" y="149"/>
                  <a:pt x="964" y="149"/>
                </a:cubicBezTo>
                <a:cubicBezTo>
                  <a:pt x="967" y="148"/>
                  <a:pt x="967" y="148"/>
                  <a:pt x="967" y="148"/>
                </a:cubicBezTo>
                <a:cubicBezTo>
                  <a:pt x="970" y="148"/>
                  <a:pt x="970" y="148"/>
                  <a:pt x="970" y="148"/>
                </a:cubicBezTo>
                <a:cubicBezTo>
                  <a:pt x="972" y="145"/>
                  <a:pt x="972" y="145"/>
                  <a:pt x="972" y="145"/>
                </a:cubicBezTo>
                <a:cubicBezTo>
                  <a:pt x="973" y="149"/>
                  <a:pt x="973" y="149"/>
                  <a:pt x="973" y="149"/>
                </a:cubicBezTo>
                <a:cubicBezTo>
                  <a:pt x="975" y="151"/>
                  <a:pt x="975" y="151"/>
                  <a:pt x="975" y="151"/>
                </a:cubicBezTo>
                <a:cubicBezTo>
                  <a:pt x="975" y="153"/>
                  <a:pt x="975" y="153"/>
                  <a:pt x="975" y="153"/>
                </a:cubicBezTo>
                <a:cubicBezTo>
                  <a:pt x="976" y="155"/>
                  <a:pt x="976" y="155"/>
                  <a:pt x="976" y="155"/>
                </a:cubicBezTo>
                <a:cubicBezTo>
                  <a:pt x="978" y="152"/>
                  <a:pt x="978" y="152"/>
                  <a:pt x="978" y="152"/>
                </a:cubicBezTo>
                <a:cubicBezTo>
                  <a:pt x="977" y="151"/>
                  <a:pt x="977" y="151"/>
                  <a:pt x="977" y="151"/>
                </a:cubicBezTo>
                <a:cubicBezTo>
                  <a:pt x="980" y="149"/>
                  <a:pt x="980" y="149"/>
                  <a:pt x="980" y="149"/>
                </a:cubicBezTo>
                <a:cubicBezTo>
                  <a:pt x="982" y="150"/>
                  <a:pt x="982" y="150"/>
                  <a:pt x="982" y="150"/>
                </a:cubicBezTo>
                <a:cubicBezTo>
                  <a:pt x="983" y="153"/>
                  <a:pt x="983" y="153"/>
                  <a:pt x="983" y="153"/>
                </a:cubicBezTo>
                <a:cubicBezTo>
                  <a:pt x="982" y="154"/>
                  <a:pt x="982" y="154"/>
                  <a:pt x="982" y="154"/>
                </a:cubicBezTo>
                <a:cubicBezTo>
                  <a:pt x="982" y="157"/>
                  <a:pt x="982" y="157"/>
                  <a:pt x="982" y="157"/>
                </a:cubicBezTo>
                <a:cubicBezTo>
                  <a:pt x="982" y="158"/>
                  <a:pt x="982" y="158"/>
                  <a:pt x="982" y="158"/>
                </a:cubicBezTo>
                <a:cubicBezTo>
                  <a:pt x="984" y="157"/>
                  <a:pt x="984" y="157"/>
                  <a:pt x="984" y="157"/>
                </a:cubicBezTo>
                <a:cubicBezTo>
                  <a:pt x="985" y="155"/>
                  <a:pt x="985" y="155"/>
                  <a:pt x="985" y="155"/>
                </a:cubicBezTo>
                <a:cubicBezTo>
                  <a:pt x="986" y="154"/>
                  <a:pt x="986" y="154"/>
                  <a:pt x="986" y="154"/>
                </a:cubicBezTo>
                <a:cubicBezTo>
                  <a:pt x="987" y="156"/>
                  <a:pt x="987" y="156"/>
                  <a:pt x="987" y="156"/>
                </a:cubicBezTo>
                <a:cubicBezTo>
                  <a:pt x="987" y="153"/>
                  <a:pt x="987" y="153"/>
                  <a:pt x="987" y="153"/>
                </a:cubicBezTo>
                <a:cubicBezTo>
                  <a:pt x="989" y="149"/>
                  <a:pt x="989" y="149"/>
                  <a:pt x="989" y="149"/>
                </a:cubicBezTo>
                <a:cubicBezTo>
                  <a:pt x="990" y="148"/>
                  <a:pt x="990" y="148"/>
                  <a:pt x="990" y="148"/>
                </a:cubicBezTo>
                <a:cubicBezTo>
                  <a:pt x="991" y="149"/>
                  <a:pt x="991" y="149"/>
                  <a:pt x="991" y="149"/>
                </a:cubicBezTo>
                <a:cubicBezTo>
                  <a:pt x="996" y="152"/>
                  <a:pt x="996" y="152"/>
                  <a:pt x="996" y="152"/>
                </a:cubicBezTo>
                <a:cubicBezTo>
                  <a:pt x="1002" y="154"/>
                  <a:pt x="1002" y="154"/>
                  <a:pt x="1002" y="154"/>
                </a:cubicBezTo>
                <a:cubicBezTo>
                  <a:pt x="1005" y="157"/>
                  <a:pt x="1005" y="157"/>
                  <a:pt x="1005" y="157"/>
                </a:cubicBezTo>
                <a:cubicBezTo>
                  <a:pt x="1004" y="159"/>
                  <a:pt x="1004" y="159"/>
                  <a:pt x="1004" y="159"/>
                </a:cubicBezTo>
                <a:cubicBezTo>
                  <a:pt x="1001" y="161"/>
                  <a:pt x="1001" y="161"/>
                  <a:pt x="1001" y="161"/>
                </a:cubicBezTo>
                <a:cubicBezTo>
                  <a:pt x="998" y="164"/>
                  <a:pt x="998" y="164"/>
                  <a:pt x="998" y="164"/>
                </a:cubicBezTo>
                <a:cubicBezTo>
                  <a:pt x="1002" y="162"/>
                  <a:pt x="1002" y="162"/>
                  <a:pt x="1002" y="162"/>
                </a:cubicBezTo>
                <a:cubicBezTo>
                  <a:pt x="1006" y="161"/>
                  <a:pt x="1006" y="161"/>
                  <a:pt x="1006" y="161"/>
                </a:cubicBezTo>
                <a:cubicBezTo>
                  <a:pt x="1009" y="162"/>
                  <a:pt x="1009" y="162"/>
                  <a:pt x="1009" y="162"/>
                </a:cubicBezTo>
                <a:cubicBezTo>
                  <a:pt x="1013" y="161"/>
                  <a:pt x="1013" y="161"/>
                  <a:pt x="1013" y="161"/>
                </a:cubicBezTo>
                <a:cubicBezTo>
                  <a:pt x="1015" y="159"/>
                  <a:pt x="1015" y="159"/>
                  <a:pt x="1015" y="159"/>
                </a:cubicBezTo>
                <a:cubicBezTo>
                  <a:pt x="1018" y="158"/>
                  <a:pt x="1018" y="158"/>
                  <a:pt x="1018" y="158"/>
                </a:cubicBezTo>
                <a:cubicBezTo>
                  <a:pt x="1022" y="154"/>
                  <a:pt x="1022" y="154"/>
                  <a:pt x="1022" y="154"/>
                </a:cubicBezTo>
                <a:cubicBezTo>
                  <a:pt x="1024" y="153"/>
                  <a:pt x="1024" y="153"/>
                  <a:pt x="1024" y="153"/>
                </a:cubicBezTo>
                <a:cubicBezTo>
                  <a:pt x="1027" y="150"/>
                  <a:pt x="1027" y="150"/>
                  <a:pt x="1027" y="150"/>
                </a:cubicBezTo>
                <a:cubicBezTo>
                  <a:pt x="1030" y="149"/>
                  <a:pt x="1030" y="149"/>
                  <a:pt x="1030" y="149"/>
                </a:cubicBezTo>
                <a:cubicBezTo>
                  <a:pt x="1038" y="145"/>
                  <a:pt x="1038" y="145"/>
                  <a:pt x="1038" y="145"/>
                </a:cubicBezTo>
                <a:cubicBezTo>
                  <a:pt x="1042" y="144"/>
                  <a:pt x="1042" y="144"/>
                  <a:pt x="1042" y="144"/>
                </a:cubicBezTo>
                <a:cubicBezTo>
                  <a:pt x="1045" y="144"/>
                  <a:pt x="1045" y="144"/>
                  <a:pt x="1045" y="144"/>
                </a:cubicBezTo>
                <a:cubicBezTo>
                  <a:pt x="1045" y="143"/>
                  <a:pt x="1045" y="143"/>
                  <a:pt x="1045" y="143"/>
                </a:cubicBezTo>
                <a:cubicBezTo>
                  <a:pt x="1049" y="140"/>
                  <a:pt x="1049" y="140"/>
                  <a:pt x="1049" y="140"/>
                </a:cubicBezTo>
                <a:cubicBezTo>
                  <a:pt x="1052" y="140"/>
                  <a:pt x="1052" y="140"/>
                  <a:pt x="1052" y="140"/>
                </a:cubicBezTo>
                <a:cubicBezTo>
                  <a:pt x="1057" y="140"/>
                  <a:pt x="1057" y="140"/>
                  <a:pt x="1057" y="140"/>
                </a:cubicBezTo>
                <a:cubicBezTo>
                  <a:pt x="1068" y="144"/>
                  <a:pt x="1068" y="144"/>
                  <a:pt x="1068" y="144"/>
                </a:cubicBezTo>
                <a:cubicBezTo>
                  <a:pt x="1072" y="148"/>
                  <a:pt x="1072" y="148"/>
                  <a:pt x="1072" y="148"/>
                </a:cubicBezTo>
                <a:cubicBezTo>
                  <a:pt x="1077" y="151"/>
                  <a:pt x="1077" y="151"/>
                  <a:pt x="1077" y="151"/>
                </a:cubicBezTo>
                <a:cubicBezTo>
                  <a:pt x="1080" y="155"/>
                  <a:pt x="1080" y="155"/>
                  <a:pt x="1080" y="155"/>
                </a:cubicBezTo>
                <a:cubicBezTo>
                  <a:pt x="1082" y="159"/>
                  <a:pt x="1082" y="159"/>
                  <a:pt x="1082" y="159"/>
                </a:cubicBezTo>
                <a:cubicBezTo>
                  <a:pt x="1083" y="161"/>
                  <a:pt x="1083" y="161"/>
                  <a:pt x="1083" y="161"/>
                </a:cubicBezTo>
                <a:cubicBezTo>
                  <a:pt x="1084" y="162"/>
                  <a:pt x="1084" y="162"/>
                  <a:pt x="1084" y="162"/>
                </a:cubicBezTo>
                <a:cubicBezTo>
                  <a:pt x="1084" y="165"/>
                  <a:pt x="1084" y="165"/>
                  <a:pt x="1084" y="165"/>
                </a:cubicBezTo>
                <a:cubicBezTo>
                  <a:pt x="1086" y="169"/>
                  <a:pt x="1086" y="169"/>
                  <a:pt x="1086" y="169"/>
                </a:cubicBezTo>
                <a:cubicBezTo>
                  <a:pt x="1086" y="171"/>
                  <a:pt x="1086" y="171"/>
                  <a:pt x="1086" y="171"/>
                </a:cubicBezTo>
                <a:cubicBezTo>
                  <a:pt x="1084" y="173"/>
                  <a:pt x="1084" y="173"/>
                  <a:pt x="1084" y="173"/>
                </a:cubicBezTo>
                <a:cubicBezTo>
                  <a:pt x="1087" y="173"/>
                  <a:pt x="1087" y="173"/>
                  <a:pt x="1087" y="173"/>
                </a:cubicBezTo>
                <a:cubicBezTo>
                  <a:pt x="1089" y="170"/>
                  <a:pt x="1089" y="170"/>
                  <a:pt x="1089" y="170"/>
                </a:cubicBezTo>
                <a:cubicBezTo>
                  <a:pt x="1092" y="170"/>
                  <a:pt x="1092" y="170"/>
                  <a:pt x="1092" y="170"/>
                </a:cubicBezTo>
                <a:cubicBezTo>
                  <a:pt x="1094" y="171"/>
                  <a:pt x="1094" y="171"/>
                  <a:pt x="1094" y="171"/>
                </a:cubicBezTo>
                <a:cubicBezTo>
                  <a:pt x="1094" y="170"/>
                  <a:pt x="1094" y="170"/>
                  <a:pt x="1094" y="170"/>
                </a:cubicBezTo>
                <a:cubicBezTo>
                  <a:pt x="1097" y="169"/>
                  <a:pt x="1097" y="169"/>
                  <a:pt x="1097" y="169"/>
                </a:cubicBezTo>
                <a:cubicBezTo>
                  <a:pt x="1099" y="171"/>
                  <a:pt x="1099" y="171"/>
                  <a:pt x="1099" y="171"/>
                </a:cubicBezTo>
                <a:cubicBezTo>
                  <a:pt x="1100" y="173"/>
                  <a:pt x="1100" y="173"/>
                  <a:pt x="1100" y="173"/>
                </a:cubicBezTo>
                <a:cubicBezTo>
                  <a:pt x="1100" y="171"/>
                  <a:pt x="1100" y="171"/>
                  <a:pt x="1100" y="171"/>
                </a:cubicBezTo>
                <a:cubicBezTo>
                  <a:pt x="1100" y="168"/>
                  <a:pt x="1100" y="168"/>
                  <a:pt x="1100" y="168"/>
                </a:cubicBezTo>
                <a:cubicBezTo>
                  <a:pt x="1101" y="168"/>
                  <a:pt x="1101" y="168"/>
                  <a:pt x="1101" y="168"/>
                </a:cubicBezTo>
                <a:cubicBezTo>
                  <a:pt x="1103" y="170"/>
                  <a:pt x="1103" y="170"/>
                  <a:pt x="1103" y="170"/>
                </a:cubicBezTo>
                <a:cubicBezTo>
                  <a:pt x="1107" y="174"/>
                  <a:pt x="1107" y="174"/>
                  <a:pt x="1107" y="174"/>
                </a:cubicBezTo>
                <a:cubicBezTo>
                  <a:pt x="1107" y="178"/>
                  <a:pt x="1107" y="178"/>
                  <a:pt x="1107" y="178"/>
                </a:cubicBezTo>
                <a:cubicBezTo>
                  <a:pt x="1109" y="178"/>
                  <a:pt x="1109" y="178"/>
                  <a:pt x="1109" y="178"/>
                </a:cubicBezTo>
                <a:cubicBezTo>
                  <a:pt x="1112" y="182"/>
                  <a:pt x="1112" y="182"/>
                  <a:pt x="1112" y="182"/>
                </a:cubicBezTo>
                <a:cubicBezTo>
                  <a:pt x="1112" y="180"/>
                  <a:pt x="1112" y="180"/>
                  <a:pt x="1112" y="180"/>
                </a:cubicBezTo>
                <a:cubicBezTo>
                  <a:pt x="1111" y="177"/>
                  <a:pt x="1111" y="177"/>
                  <a:pt x="1111" y="177"/>
                </a:cubicBezTo>
                <a:cubicBezTo>
                  <a:pt x="1109" y="176"/>
                  <a:pt x="1109" y="176"/>
                  <a:pt x="1109" y="176"/>
                </a:cubicBezTo>
                <a:cubicBezTo>
                  <a:pt x="1109" y="174"/>
                  <a:pt x="1109" y="174"/>
                  <a:pt x="1109" y="174"/>
                </a:cubicBezTo>
                <a:cubicBezTo>
                  <a:pt x="1111" y="175"/>
                  <a:pt x="1111" y="175"/>
                  <a:pt x="1111" y="175"/>
                </a:cubicBezTo>
                <a:cubicBezTo>
                  <a:pt x="1113" y="175"/>
                  <a:pt x="1113" y="175"/>
                  <a:pt x="1113" y="175"/>
                </a:cubicBezTo>
                <a:cubicBezTo>
                  <a:pt x="1115" y="177"/>
                  <a:pt x="1115" y="177"/>
                  <a:pt x="1115" y="177"/>
                </a:cubicBezTo>
                <a:cubicBezTo>
                  <a:pt x="1118" y="181"/>
                  <a:pt x="1118" y="181"/>
                  <a:pt x="1118" y="181"/>
                </a:cubicBezTo>
                <a:cubicBezTo>
                  <a:pt x="1117" y="178"/>
                  <a:pt x="1117" y="178"/>
                  <a:pt x="1117" y="178"/>
                </a:cubicBezTo>
                <a:cubicBezTo>
                  <a:pt x="1113" y="173"/>
                  <a:pt x="1113" y="173"/>
                  <a:pt x="1113" y="173"/>
                </a:cubicBezTo>
                <a:cubicBezTo>
                  <a:pt x="1113" y="168"/>
                  <a:pt x="1113" y="168"/>
                  <a:pt x="1113" y="168"/>
                </a:cubicBezTo>
                <a:cubicBezTo>
                  <a:pt x="1113" y="164"/>
                  <a:pt x="1113" y="164"/>
                  <a:pt x="1113" y="164"/>
                </a:cubicBezTo>
                <a:cubicBezTo>
                  <a:pt x="1116" y="161"/>
                  <a:pt x="1116" y="161"/>
                  <a:pt x="1116" y="161"/>
                </a:cubicBezTo>
                <a:cubicBezTo>
                  <a:pt x="1120" y="160"/>
                  <a:pt x="1120" y="160"/>
                  <a:pt x="1120" y="160"/>
                </a:cubicBezTo>
                <a:cubicBezTo>
                  <a:pt x="1122" y="159"/>
                  <a:pt x="1122" y="159"/>
                  <a:pt x="1122" y="159"/>
                </a:cubicBezTo>
                <a:cubicBezTo>
                  <a:pt x="1126" y="157"/>
                  <a:pt x="1126" y="157"/>
                  <a:pt x="1126" y="157"/>
                </a:cubicBezTo>
                <a:cubicBezTo>
                  <a:pt x="1126" y="156"/>
                  <a:pt x="1126" y="156"/>
                  <a:pt x="1126" y="156"/>
                </a:cubicBezTo>
                <a:cubicBezTo>
                  <a:pt x="1126" y="155"/>
                  <a:pt x="1126" y="155"/>
                  <a:pt x="1126" y="155"/>
                </a:cubicBezTo>
                <a:cubicBezTo>
                  <a:pt x="1128" y="155"/>
                  <a:pt x="1128" y="155"/>
                  <a:pt x="1128" y="155"/>
                </a:cubicBezTo>
                <a:cubicBezTo>
                  <a:pt x="1130" y="157"/>
                  <a:pt x="1130" y="157"/>
                  <a:pt x="1130" y="157"/>
                </a:cubicBezTo>
                <a:cubicBezTo>
                  <a:pt x="1132" y="157"/>
                  <a:pt x="1132" y="157"/>
                  <a:pt x="1132" y="157"/>
                </a:cubicBezTo>
                <a:cubicBezTo>
                  <a:pt x="1135" y="157"/>
                  <a:pt x="1135" y="157"/>
                  <a:pt x="1135" y="157"/>
                </a:cubicBezTo>
                <a:cubicBezTo>
                  <a:pt x="1138" y="155"/>
                  <a:pt x="1138" y="155"/>
                  <a:pt x="1138" y="155"/>
                </a:cubicBezTo>
                <a:cubicBezTo>
                  <a:pt x="1139" y="155"/>
                  <a:pt x="1139" y="155"/>
                  <a:pt x="1139" y="155"/>
                </a:cubicBezTo>
                <a:cubicBezTo>
                  <a:pt x="1143" y="154"/>
                  <a:pt x="1143" y="154"/>
                  <a:pt x="1143" y="154"/>
                </a:cubicBezTo>
                <a:cubicBezTo>
                  <a:pt x="1147" y="154"/>
                  <a:pt x="1147" y="154"/>
                  <a:pt x="1147" y="154"/>
                </a:cubicBezTo>
                <a:cubicBezTo>
                  <a:pt x="1149" y="153"/>
                  <a:pt x="1149" y="153"/>
                  <a:pt x="1149" y="153"/>
                </a:cubicBezTo>
                <a:cubicBezTo>
                  <a:pt x="1150" y="153"/>
                  <a:pt x="1150" y="153"/>
                  <a:pt x="1150" y="153"/>
                </a:cubicBezTo>
                <a:cubicBezTo>
                  <a:pt x="1151" y="154"/>
                  <a:pt x="1151" y="154"/>
                  <a:pt x="1151" y="154"/>
                </a:cubicBezTo>
                <a:cubicBezTo>
                  <a:pt x="1152" y="155"/>
                  <a:pt x="1152" y="155"/>
                  <a:pt x="1152" y="155"/>
                </a:cubicBezTo>
                <a:cubicBezTo>
                  <a:pt x="1153" y="153"/>
                  <a:pt x="1153" y="153"/>
                  <a:pt x="1153" y="153"/>
                </a:cubicBezTo>
                <a:cubicBezTo>
                  <a:pt x="1156" y="150"/>
                  <a:pt x="1156" y="150"/>
                  <a:pt x="1156" y="150"/>
                </a:cubicBezTo>
                <a:cubicBezTo>
                  <a:pt x="1155" y="148"/>
                  <a:pt x="1155" y="148"/>
                  <a:pt x="1155" y="148"/>
                </a:cubicBezTo>
                <a:cubicBezTo>
                  <a:pt x="1155" y="145"/>
                  <a:pt x="1155" y="145"/>
                  <a:pt x="1155" y="145"/>
                </a:cubicBezTo>
                <a:cubicBezTo>
                  <a:pt x="1155" y="143"/>
                  <a:pt x="1155" y="143"/>
                  <a:pt x="1155" y="143"/>
                </a:cubicBezTo>
                <a:cubicBezTo>
                  <a:pt x="1156" y="142"/>
                  <a:pt x="1156" y="142"/>
                  <a:pt x="1156" y="142"/>
                </a:cubicBezTo>
                <a:cubicBezTo>
                  <a:pt x="1160" y="143"/>
                  <a:pt x="1160" y="143"/>
                  <a:pt x="1160" y="143"/>
                </a:cubicBezTo>
                <a:cubicBezTo>
                  <a:pt x="1161" y="145"/>
                  <a:pt x="1161" y="145"/>
                  <a:pt x="1161" y="145"/>
                </a:cubicBezTo>
                <a:cubicBezTo>
                  <a:pt x="1161" y="146"/>
                  <a:pt x="1161" y="146"/>
                  <a:pt x="1161" y="146"/>
                </a:cubicBezTo>
                <a:cubicBezTo>
                  <a:pt x="1164" y="147"/>
                  <a:pt x="1164" y="147"/>
                  <a:pt x="1164" y="147"/>
                </a:cubicBezTo>
                <a:cubicBezTo>
                  <a:pt x="1166" y="148"/>
                  <a:pt x="1166" y="148"/>
                  <a:pt x="1166" y="148"/>
                </a:cubicBezTo>
                <a:cubicBezTo>
                  <a:pt x="1166" y="151"/>
                  <a:pt x="1166" y="151"/>
                  <a:pt x="1166" y="151"/>
                </a:cubicBezTo>
                <a:cubicBezTo>
                  <a:pt x="1169" y="154"/>
                  <a:pt x="1169" y="154"/>
                  <a:pt x="1169" y="154"/>
                </a:cubicBezTo>
                <a:cubicBezTo>
                  <a:pt x="1171" y="155"/>
                  <a:pt x="1171" y="155"/>
                  <a:pt x="1171" y="155"/>
                </a:cubicBezTo>
                <a:cubicBezTo>
                  <a:pt x="1174" y="155"/>
                  <a:pt x="1174" y="155"/>
                  <a:pt x="1174" y="155"/>
                </a:cubicBezTo>
                <a:cubicBezTo>
                  <a:pt x="1179" y="156"/>
                  <a:pt x="1179" y="156"/>
                  <a:pt x="1179" y="156"/>
                </a:cubicBezTo>
                <a:cubicBezTo>
                  <a:pt x="1180" y="155"/>
                  <a:pt x="1180" y="155"/>
                  <a:pt x="1180" y="155"/>
                </a:cubicBezTo>
                <a:cubicBezTo>
                  <a:pt x="1181" y="155"/>
                  <a:pt x="1181" y="155"/>
                  <a:pt x="1181" y="155"/>
                </a:cubicBezTo>
                <a:cubicBezTo>
                  <a:pt x="1185" y="160"/>
                  <a:pt x="1185" y="160"/>
                  <a:pt x="1185" y="160"/>
                </a:cubicBezTo>
                <a:cubicBezTo>
                  <a:pt x="1185" y="163"/>
                  <a:pt x="1185" y="163"/>
                  <a:pt x="1185" y="163"/>
                </a:cubicBezTo>
                <a:cubicBezTo>
                  <a:pt x="1186" y="164"/>
                  <a:pt x="1186" y="164"/>
                  <a:pt x="1186" y="164"/>
                </a:cubicBezTo>
                <a:cubicBezTo>
                  <a:pt x="1190" y="164"/>
                  <a:pt x="1190" y="164"/>
                  <a:pt x="1190" y="164"/>
                </a:cubicBezTo>
                <a:cubicBezTo>
                  <a:pt x="1191" y="163"/>
                  <a:pt x="1191" y="163"/>
                  <a:pt x="1191" y="163"/>
                </a:cubicBezTo>
                <a:cubicBezTo>
                  <a:pt x="1194" y="163"/>
                  <a:pt x="1194" y="163"/>
                  <a:pt x="1194" y="163"/>
                </a:cubicBezTo>
                <a:cubicBezTo>
                  <a:pt x="1194" y="161"/>
                  <a:pt x="1194" y="161"/>
                  <a:pt x="1194" y="161"/>
                </a:cubicBezTo>
                <a:cubicBezTo>
                  <a:pt x="1196" y="160"/>
                  <a:pt x="1196" y="160"/>
                  <a:pt x="1196" y="160"/>
                </a:cubicBezTo>
                <a:cubicBezTo>
                  <a:pt x="1198" y="160"/>
                  <a:pt x="1198" y="160"/>
                  <a:pt x="1198" y="160"/>
                </a:cubicBezTo>
                <a:cubicBezTo>
                  <a:pt x="1198" y="159"/>
                  <a:pt x="1198" y="159"/>
                  <a:pt x="1198" y="159"/>
                </a:cubicBezTo>
                <a:cubicBezTo>
                  <a:pt x="1197" y="157"/>
                  <a:pt x="1197" y="157"/>
                  <a:pt x="1197" y="157"/>
                </a:cubicBezTo>
                <a:cubicBezTo>
                  <a:pt x="1198" y="156"/>
                  <a:pt x="1198" y="156"/>
                  <a:pt x="1198" y="156"/>
                </a:cubicBezTo>
                <a:cubicBezTo>
                  <a:pt x="1197" y="155"/>
                  <a:pt x="1197" y="155"/>
                  <a:pt x="1197" y="155"/>
                </a:cubicBezTo>
                <a:cubicBezTo>
                  <a:pt x="1198" y="153"/>
                  <a:pt x="1198" y="153"/>
                  <a:pt x="1198" y="153"/>
                </a:cubicBezTo>
                <a:cubicBezTo>
                  <a:pt x="1196" y="151"/>
                  <a:pt x="1196" y="151"/>
                  <a:pt x="1196" y="151"/>
                </a:cubicBezTo>
                <a:cubicBezTo>
                  <a:pt x="1192" y="150"/>
                  <a:pt x="1192" y="150"/>
                  <a:pt x="1192" y="150"/>
                </a:cubicBezTo>
                <a:cubicBezTo>
                  <a:pt x="1192" y="146"/>
                  <a:pt x="1192" y="146"/>
                  <a:pt x="1192" y="146"/>
                </a:cubicBezTo>
                <a:cubicBezTo>
                  <a:pt x="1188" y="143"/>
                  <a:pt x="1188" y="143"/>
                  <a:pt x="1188" y="143"/>
                </a:cubicBezTo>
                <a:cubicBezTo>
                  <a:pt x="1186" y="142"/>
                  <a:pt x="1186" y="142"/>
                  <a:pt x="1186" y="142"/>
                </a:cubicBezTo>
                <a:cubicBezTo>
                  <a:pt x="1185" y="141"/>
                  <a:pt x="1185" y="141"/>
                  <a:pt x="1185" y="141"/>
                </a:cubicBezTo>
                <a:cubicBezTo>
                  <a:pt x="1182" y="139"/>
                  <a:pt x="1182" y="139"/>
                  <a:pt x="1182" y="139"/>
                </a:cubicBezTo>
                <a:cubicBezTo>
                  <a:pt x="1180" y="141"/>
                  <a:pt x="1180" y="141"/>
                  <a:pt x="1180" y="141"/>
                </a:cubicBezTo>
                <a:cubicBezTo>
                  <a:pt x="1178" y="140"/>
                  <a:pt x="1178" y="140"/>
                  <a:pt x="1178" y="140"/>
                </a:cubicBezTo>
                <a:cubicBezTo>
                  <a:pt x="1178" y="138"/>
                  <a:pt x="1178" y="138"/>
                  <a:pt x="1178" y="138"/>
                </a:cubicBezTo>
                <a:cubicBezTo>
                  <a:pt x="1179" y="136"/>
                  <a:pt x="1179" y="136"/>
                  <a:pt x="1179" y="136"/>
                </a:cubicBezTo>
                <a:cubicBezTo>
                  <a:pt x="1178" y="133"/>
                  <a:pt x="1178" y="133"/>
                  <a:pt x="1178" y="133"/>
                </a:cubicBezTo>
                <a:cubicBezTo>
                  <a:pt x="1177" y="131"/>
                  <a:pt x="1177" y="131"/>
                  <a:pt x="1177" y="131"/>
                </a:cubicBezTo>
                <a:cubicBezTo>
                  <a:pt x="1176" y="130"/>
                  <a:pt x="1176" y="130"/>
                  <a:pt x="1176" y="130"/>
                </a:cubicBezTo>
                <a:cubicBezTo>
                  <a:pt x="1174" y="127"/>
                  <a:pt x="1174" y="127"/>
                  <a:pt x="1174" y="127"/>
                </a:cubicBezTo>
                <a:cubicBezTo>
                  <a:pt x="1171" y="124"/>
                  <a:pt x="1171" y="124"/>
                  <a:pt x="1171" y="124"/>
                </a:cubicBezTo>
                <a:cubicBezTo>
                  <a:pt x="1172" y="124"/>
                  <a:pt x="1172" y="124"/>
                  <a:pt x="1172" y="124"/>
                </a:cubicBezTo>
                <a:cubicBezTo>
                  <a:pt x="1177" y="123"/>
                  <a:pt x="1177" y="123"/>
                  <a:pt x="1177" y="123"/>
                </a:cubicBezTo>
                <a:cubicBezTo>
                  <a:pt x="1178" y="124"/>
                  <a:pt x="1178" y="124"/>
                  <a:pt x="1178" y="124"/>
                </a:cubicBezTo>
                <a:cubicBezTo>
                  <a:pt x="1184" y="123"/>
                  <a:pt x="1184" y="123"/>
                  <a:pt x="1184" y="123"/>
                </a:cubicBezTo>
                <a:cubicBezTo>
                  <a:pt x="1189" y="123"/>
                  <a:pt x="1189" y="123"/>
                  <a:pt x="1189" y="123"/>
                </a:cubicBezTo>
                <a:cubicBezTo>
                  <a:pt x="1189" y="122"/>
                  <a:pt x="1189" y="122"/>
                  <a:pt x="1189" y="122"/>
                </a:cubicBezTo>
                <a:cubicBezTo>
                  <a:pt x="1191" y="121"/>
                  <a:pt x="1191" y="121"/>
                  <a:pt x="1191" y="121"/>
                </a:cubicBezTo>
                <a:cubicBezTo>
                  <a:pt x="1194" y="123"/>
                  <a:pt x="1194" y="123"/>
                  <a:pt x="1194" y="123"/>
                </a:cubicBezTo>
                <a:cubicBezTo>
                  <a:pt x="1196" y="122"/>
                  <a:pt x="1196" y="122"/>
                  <a:pt x="1196" y="122"/>
                </a:cubicBezTo>
                <a:cubicBezTo>
                  <a:pt x="1197" y="122"/>
                  <a:pt x="1197" y="122"/>
                  <a:pt x="1197" y="122"/>
                </a:cubicBezTo>
                <a:cubicBezTo>
                  <a:pt x="1197" y="120"/>
                  <a:pt x="1197" y="120"/>
                  <a:pt x="1197" y="120"/>
                </a:cubicBezTo>
                <a:cubicBezTo>
                  <a:pt x="1200" y="120"/>
                  <a:pt x="1200" y="120"/>
                  <a:pt x="1200" y="120"/>
                </a:cubicBezTo>
                <a:cubicBezTo>
                  <a:pt x="1201" y="121"/>
                  <a:pt x="1201" y="121"/>
                  <a:pt x="1201" y="121"/>
                </a:cubicBezTo>
                <a:cubicBezTo>
                  <a:pt x="1202" y="121"/>
                  <a:pt x="1202" y="121"/>
                  <a:pt x="1202" y="121"/>
                </a:cubicBezTo>
                <a:cubicBezTo>
                  <a:pt x="1203" y="119"/>
                  <a:pt x="1203" y="119"/>
                  <a:pt x="1203" y="119"/>
                </a:cubicBezTo>
                <a:cubicBezTo>
                  <a:pt x="1205" y="120"/>
                  <a:pt x="1205" y="120"/>
                  <a:pt x="1205" y="120"/>
                </a:cubicBezTo>
                <a:cubicBezTo>
                  <a:pt x="1205" y="117"/>
                  <a:pt x="1205" y="117"/>
                  <a:pt x="1205" y="117"/>
                </a:cubicBezTo>
                <a:cubicBezTo>
                  <a:pt x="1214" y="115"/>
                  <a:pt x="1214" y="115"/>
                  <a:pt x="1214" y="115"/>
                </a:cubicBezTo>
                <a:cubicBezTo>
                  <a:pt x="1215" y="117"/>
                  <a:pt x="1215" y="117"/>
                  <a:pt x="1215" y="117"/>
                </a:cubicBezTo>
                <a:cubicBezTo>
                  <a:pt x="1215" y="116"/>
                  <a:pt x="1215" y="116"/>
                  <a:pt x="1215" y="116"/>
                </a:cubicBezTo>
                <a:cubicBezTo>
                  <a:pt x="1217" y="114"/>
                  <a:pt x="1217" y="114"/>
                  <a:pt x="1217" y="114"/>
                </a:cubicBezTo>
                <a:cubicBezTo>
                  <a:pt x="1218" y="114"/>
                  <a:pt x="1218" y="114"/>
                  <a:pt x="1218" y="114"/>
                </a:cubicBezTo>
                <a:cubicBezTo>
                  <a:pt x="1220" y="114"/>
                  <a:pt x="1220" y="114"/>
                  <a:pt x="1220" y="114"/>
                </a:cubicBezTo>
                <a:cubicBezTo>
                  <a:pt x="1222" y="114"/>
                  <a:pt x="1222" y="114"/>
                  <a:pt x="1222" y="114"/>
                </a:cubicBezTo>
                <a:cubicBezTo>
                  <a:pt x="1224" y="115"/>
                  <a:pt x="1224" y="115"/>
                  <a:pt x="1224" y="115"/>
                </a:cubicBezTo>
                <a:cubicBezTo>
                  <a:pt x="1228" y="115"/>
                  <a:pt x="1228" y="115"/>
                  <a:pt x="1228" y="115"/>
                </a:cubicBezTo>
                <a:cubicBezTo>
                  <a:pt x="1230" y="114"/>
                  <a:pt x="1230" y="114"/>
                  <a:pt x="1230" y="114"/>
                </a:cubicBezTo>
                <a:cubicBezTo>
                  <a:pt x="1231" y="116"/>
                  <a:pt x="1231" y="116"/>
                  <a:pt x="1231" y="116"/>
                </a:cubicBezTo>
                <a:cubicBezTo>
                  <a:pt x="1232" y="116"/>
                  <a:pt x="1232" y="116"/>
                  <a:pt x="1232" y="116"/>
                </a:cubicBezTo>
                <a:cubicBezTo>
                  <a:pt x="1234" y="115"/>
                  <a:pt x="1234" y="115"/>
                  <a:pt x="1234" y="115"/>
                </a:cubicBezTo>
                <a:cubicBezTo>
                  <a:pt x="1237" y="115"/>
                  <a:pt x="1237" y="115"/>
                  <a:pt x="1237" y="115"/>
                </a:cubicBezTo>
                <a:cubicBezTo>
                  <a:pt x="1244" y="117"/>
                  <a:pt x="1244" y="117"/>
                  <a:pt x="1244" y="117"/>
                </a:cubicBezTo>
                <a:cubicBezTo>
                  <a:pt x="1246" y="118"/>
                  <a:pt x="1246" y="118"/>
                  <a:pt x="1246" y="118"/>
                </a:cubicBezTo>
                <a:cubicBezTo>
                  <a:pt x="1248" y="117"/>
                  <a:pt x="1248" y="117"/>
                  <a:pt x="1248" y="117"/>
                </a:cubicBezTo>
                <a:cubicBezTo>
                  <a:pt x="1247" y="117"/>
                  <a:pt x="1247" y="117"/>
                  <a:pt x="1247" y="117"/>
                </a:cubicBezTo>
                <a:cubicBezTo>
                  <a:pt x="1249" y="116"/>
                  <a:pt x="1249" y="116"/>
                  <a:pt x="1249" y="116"/>
                </a:cubicBezTo>
                <a:cubicBezTo>
                  <a:pt x="1251" y="117"/>
                  <a:pt x="1251" y="117"/>
                  <a:pt x="1251" y="117"/>
                </a:cubicBezTo>
                <a:cubicBezTo>
                  <a:pt x="1250" y="118"/>
                  <a:pt x="1250" y="118"/>
                  <a:pt x="1250" y="118"/>
                </a:cubicBezTo>
                <a:cubicBezTo>
                  <a:pt x="1251" y="119"/>
                  <a:pt x="1251" y="119"/>
                  <a:pt x="1251" y="119"/>
                </a:cubicBezTo>
                <a:cubicBezTo>
                  <a:pt x="1254" y="118"/>
                  <a:pt x="1254" y="118"/>
                  <a:pt x="1254" y="118"/>
                </a:cubicBezTo>
                <a:cubicBezTo>
                  <a:pt x="1261" y="119"/>
                  <a:pt x="1261" y="119"/>
                  <a:pt x="1261" y="119"/>
                </a:cubicBezTo>
                <a:cubicBezTo>
                  <a:pt x="1267" y="123"/>
                  <a:pt x="1267" y="123"/>
                  <a:pt x="1267" y="123"/>
                </a:cubicBezTo>
                <a:cubicBezTo>
                  <a:pt x="1267" y="124"/>
                  <a:pt x="1267" y="124"/>
                  <a:pt x="1267" y="124"/>
                </a:cubicBezTo>
                <a:cubicBezTo>
                  <a:pt x="1265" y="123"/>
                  <a:pt x="1265" y="123"/>
                  <a:pt x="1265" y="123"/>
                </a:cubicBezTo>
                <a:cubicBezTo>
                  <a:pt x="1261" y="122"/>
                  <a:pt x="1261" y="122"/>
                  <a:pt x="1261" y="122"/>
                </a:cubicBezTo>
                <a:cubicBezTo>
                  <a:pt x="1261" y="123"/>
                  <a:pt x="1261" y="123"/>
                  <a:pt x="1261" y="123"/>
                </a:cubicBezTo>
                <a:cubicBezTo>
                  <a:pt x="1267" y="125"/>
                  <a:pt x="1267" y="125"/>
                  <a:pt x="1267" y="125"/>
                </a:cubicBezTo>
                <a:cubicBezTo>
                  <a:pt x="1271" y="125"/>
                  <a:pt x="1271" y="125"/>
                  <a:pt x="1271" y="125"/>
                </a:cubicBezTo>
                <a:cubicBezTo>
                  <a:pt x="1271" y="124"/>
                  <a:pt x="1271" y="124"/>
                  <a:pt x="1271" y="124"/>
                </a:cubicBezTo>
                <a:cubicBezTo>
                  <a:pt x="1274" y="123"/>
                  <a:pt x="1274" y="123"/>
                  <a:pt x="1274" y="123"/>
                </a:cubicBezTo>
                <a:cubicBezTo>
                  <a:pt x="1277" y="123"/>
                  <a:pt x="1277" y="123"/>
                  <a:pt x="1277" y="123"/>
                </a:cubicBezTo>
                <a:cubicBezTo>
                  <a:pt x="1277" y="122"/>
                  <a:pt x="1277" y="122"/>
                  <a:pt x="1277" y="122"/>
                </a:cubicBezTo>
                <a:cubicBezTo>
                  <a:pt x="1278" y="121"/>
                  <a:pt x="1278" y="121"/>
                  <a:pt x="1278" y="121"/>
                </a:cubicBezTo>
                <a:cubicBezTo>
                  <a:pt x="1280" y="123"/>
                  <a:pt x="1280" y="123"/>
                  <a:pt x="1280" y="123"/>
                </a:cubicBezTo>
                <a:cubicBezTo>
                  <a:pt x="1282" y="123"/>
                  <a:pt x="1282" y="123"/>
                  <a:pt x="1282" y="123"/>
                </a:cubicBezTo>
                <a:cubicBezTo>
                  <a:pt x="1283" y="124"/>
                  <a:pt x="1283" y="124"/>
                  <a:pt x="1283" y="124"/>
                </a:cubicBezTo>
                <a:cubicBezTo>
                  <a:pt x="1283" y="123"/>
                  <a:pt x="1283" y="123"/>
                  <a:pt x="1283" y="123"/>
                </a:cubicBezTo>
                <a:cubicBezTo>
                  <a:pt x="1283" y="122"/>
                  <a:pt x="1283" y="122"/>
                  <a:pt x="1283" y="122"/>
                </a:cubicBezTo>
                <a:cubicBezTo>
                  <a:pt x="1287" y="123"/>
                  <a:pt x="1287" y="123"/>
                  <a:pt x="1287" y="123"/>
                </a:cubicBezTo>
                <a:cubicBezTo>
                  <a:pt x="1287" y="124"/>
                  <a:pt x="1287" y="124"/>
                  <a:pt x="1287" y="124"/>
                </a:cubicBezTo>
                <a:cubicBezTo>
                  <a:pt x="1290" y="126"/>
                  <a:pt x="1290" y="126"/>
                  <a:pt x="1290" y="126"/>
                </a:cubicBezTo>
                <a:cubicBezTo>
                  <a:pt x="1293" y="125"/>
                  <a:pt x="1293" y="125"/>
                  <a:pt x="1293" y="125"/>
                </a:cubicBezTo>
                <a:cubicBezTo>
                  <a:pt x="1302" y="126"/>
                  <a:pt x="1302" y="126"/>
                  <a:pt x="1302" y="126"/>
                </a:cubicBezTo>
                <a:cubicBezTo>
                  <a:pt x="1301" y="125"/>
                  <a:pt x="1301" y="125"/>
                  <a:pt x="1301" y="125"/>
                </a:cubicBezTo>
                <a:cubicBezTo>
                  <a:pt x="1304" y="125"/>
                  <a:pt x="1304" y="125"/>
                  <a:pt x="1304" y="125"/>
                </a:cubicBezTo>
                <a:cubicBezTo>
                  <a:pt x="1305" y="127"/>
                  <a:pt x="1305" y="127"/>
                  <a:pt x="1305" y="127"/>
                </a:cubicBezTo>
                <a:cubicBezTo>
                  <a:pt x="1306" y="127"/>
                  <a:pt x="1306" y="127"/>
                  <a:pt x="1306" y="127"/>
                </a:cubicBezTo>
                <a:cubicBezTo>
                  <a:pt x="1306" y="125"/>
                  <a:pt x="1306" y="125"/>
                  <a:pt x="1306" y="125"/>
                </a:cubicBezTo>
                <a:cubicBezTo>
                  <a:pt x="1307" y="125"/>
                  <a:pt x="1307" y="125"/>
                  <a:pt x="1307" y="125"/>
                </a:cubicBezTo>
                <a:cubicBezTo>
                  <a:pt x="1310" y="125"/>
                  <a:pt x="1310" y="125"/>
                  <a:pt x="1310" y="125"/>
                </a:cubicBezTo>
                <a:cubicBezTo>
                  <a:pt x="1310" y="126"/>
                  <a:pt x="1310" y="126"/>
                  <a:pt x="1310" y="126"/>
                </a:cubicBezTo>
                <a:cubicBezTo>
                  <a:pt x="1311" y="129"/>
                  <a:pt x="1311" y="129"/>
                  <a:pt x="1311" y="129"/>
                </a:cubicBezTo>
                <a:cubicBezTo>
                  <a:pt x="1314" y="128"/>
                  <a:pt x="1314" y="128"/>
                  <a:pt x="1314" y="128"/>
                </a:cubicBezTo>
                <a:cubicBezTo>
                  <a:pt x="1314" y="127"/>
                  <a:pt x="1314" y="127"/>
                  <a:pt x="1314" y="127"/>
                </a:cubicBezTo>
                <a:cubicBezTo>
                  <a:pt x="1313" y="126"/>
                  <a:pt x="1313" y="126"/>
                  <a:pt x="1313" y="126"/>
                </a:cubicBezTo>
                <a:cubicBezTo>
                  <a:pt x="1317" y="126"/>
                  <a:pt x="1317" y="126"/>
                  <a:pt x="1317" y="126"/>
                </a:cubicBezTo>
                <a:cubicBezTo>
                  <a:pt x="1318" y="127"/>
                  <a:pt x="1318" y="127"/>
                  <a:pt x="1318" y="127"/>
                </a:cubicBezTo>
                <a:cubicBezTo>
                  <a:pt x="1317" y="128"/>
                  <a:pt x="1317" y="128"/>
                  <a:pt x="1317" y="128"/>
                </a:cubicBezTo>
                <a:cubicBezTo>
                  <a:pt x="1319" y="130"/>
                  <a:pt x="1319" y="130"/>
                  <a:pt x="1319" y="130"/>
                </a:cubicBezTo>
                <a:cubicBezTo>
                  <a:pt x="1323" y="132"/>
                  <a:pt x="1323" y="132"/>
                  <a:pt x="1323" y="132"/>
                </a:cubicBezTo>
                <a:cubicBezTo>
                  <a:pt x="1326" y="131"/>
                  <a:pt x="1326" y="131"/>
                  <a:pt x="1326" y="131"/>
                </a:cubicBezTo>
                <a:cubicBezTo>
                  <a:pt x="1322" y="129"/>
                  <a:pt x="1322" y="129"/>
                  <a:pt x="1322" y="129"/>
                </a:cubicBezTo>
                <a:cubicBezTo>
                  <a:pt x="1320" y="128"/>
                  <a:pt x="1320" y="128"/>
                  <a:pt x="1320" y="128"/>
                </a:cubicBezTo>
                <a:cubicBezTo>
                  <a:pt x="1319" y="127"/>
                  <a:pt x="1319" y="127"/>
                  <a:pt x="1319" y="127"/>
                </a:cubicBezTo>
                <a:cubicBezTo>
                  <a:pt x="1322" y="126"/>
                  <a:pt x="1322" y="126"/>
                  <a:pt x="1322" y="126"/>
                </a:cubicBezTo>
                <a:cubicBezTo>
                  <a:pt x="1324" y="127"/>
                  <a:pt x="1324" y="127"/>
                  <a:pt x="1324" y="127"/>
                </a:cubicBezTo>
                <a:cubicBezTo>
                  <a:pt x="1328" y="129"/>
                  <a:pt x="1328" y="129"/>
                  <a:pt x="1328" y="129"/>
                </a:cubicBezTo>
                <a:cubicBezTo>
                  <a:pt x="1329" y="131"/>
                  <a:pt x="1329" y="131"/>
                  <a:pt x="1329" y="131"/>
                </a:cubicBezTo>
                <a:cubicBezTo>
                  <a:pt x="1330" y="132"/>
                  <a:pt x="1330" y="132"/>
                  <a:pt x="1330" y="132"/>
                </a:cubicBezTo>
                <a:cubicBezTo>
                  <a:pt x="1331" y="130"/>
                  <a:pt x="1331" y="130"/>
                  <a:pt x="1331" y="130"/>
                </a:cubicBezTo>
                <a:cubicBezTo>
                  <a:pt x="1330" y="129"/>
                  <a:pt x="1330" y="129"/>
                  <a:pt x="1330" y="129"/>
                </a:cubicBezTo>
                <a:cubicBezTo>
                  <a:pt x="1332" y="130"/>
                  <a:pt x="1332" y="130"/>
                  <a:pt x="1332" y="130"/>
                </a:cubicBezTo>
                <a:cubicBezTo>
                  <a:pt x="1333" y="131"/>
                  <a:pt x="1333" y="131"/>
                  <a:pt x="1333" y="131"/>
                </a:cubicBezTo>
                <a:cubicBezTo>
                  <a:pt x="1333" y="132"/>
                  <a:pt x="1333" y="132"/>
                  <a:pt x="1333" y="132"/>
                </a:cubicBezTo>
                <a:cubicBezTo>
                  <a:pt x="1335" y="134"/>
                  <a:pt x="1335" y="134"/>
                  <a:pt x="1335" y="134"/>
                </a:cubicBezTo>
                <a:cubicBezTo>
                  <a:pt x="1338" y="140"/>
                  <a:pt x="1338" y="140"/>
                  <a:pt x="1338" y="140"/>
                </a:cubicBezTo>
                <a:cubicBezTo>
                  <a:pt x="1342" y="142"/>
                  <a:pt x="1342" y="142"/>
                  <a:pt x="1342" y="142"/>
                </a:cubicBezTo>
                <a:cubicBezTo>
                  <a:pt x="1343" y="144"/>
                  <a:pt x="1343" y="144"/>
                  <a:pt x="1343" y="144"/>
                </a:cubicBezTo>
                <a:cubicBezTo>
                  <a:pt x="1345" y="146"/>
                  <a:pt x="1345" y="146"/>
                  <a:pt x="1345" y="146"/>
                </a:cubicBezTo>
                <a:cubicBezTo>
                  <a:pt x="1346" y="148"/>
                  <a:pt x="1346" y="148"/>
                  <a:pt x="1346" y="148"/>
                </a:cubicBezTo>
                <a:cubicBezTo>
                  <a:pt x="1345" y="149"/>
                  <a:pt x="1345" y="149"/>
                  <a:pt x="1345" y="149"/>
                </a:cubicBezTo>
                <a:cubicBezTo>
                  <a:pt x="1346" y="151"/>
                  <a:pt x="1346" y="151"/>
                  <a:pt x="1346" y="151"/>
                </a:cubicBezTo>
                <a:cubicBezTo>
                  <a:pt x="1347" y="152"/>
                  <a:pt x="1347" y="152"/>
                  <a:pt x="1347" y="152"/>
                </a:cubicBezTo>
                <a:cubicBezTo>
                  <a:pt x="1350" y="150"/>
                  <a:pt x="1350" y="150"/>
                  <a:pt x="1350" y="150"/>
                </a:cubicBezTo>
                <a:cubicBezTo>
                  <a:pt x="1352" y="150"/>
                  <a:pt x="1352" y="150"/>
                  <a:pt x="1352" y="150"/>
                </a:cubicBezTo>
                <a:cubicBezTo>
                  <a:pt x="1354" y="153"/>
                  <a:pt x="1354" y="153"/>
                  <a:pt x="1354" y="153"/>
                </a:cubicBezTo>
                <a:cubicBezTo>
                  <a:pt x="1356" y="154"/>
                  <a:pt x="1356" y="154"/>
                  <a:pt x="1356" y="154"/>
                </a:cubicBezTo>
                <a:cubicBezTo>
                  <a:pt x="1356" y="153"/>
                  <a:pt x="1356" y="153"/>
                  <a:pt x="1356" y="153"/>
                </a:cubicBezTo>
                <a:cubicBezTo>
                  <a:pt x="1355" y="152"/>
                  <a:pt x="1355" y="152"/>
                  <a:pt x="1355" y="152"/>
                </a:cubicBezTo>
                <a:cubicBezTo>
                  <a:pt x="1355" y="150"/>
                  <a:pt x="1355" y="150"/>
                  <a:pt x="1355" y="150"/>
                </a:cubicBezTo>
                <a:cubicBezTo>
                  <a:pt x="1356" y="149"/>
                  <a:pt x="1356" y="149"/>
                  <a:pt x="1356" y="149"/>
                </a:cubicBezTo>
                <a:cubicBezTo>
                  <a:pt x="1357" y="149"/>
                  <a:pt x="1357" y="149"/>
                  <a:pt x="1357" y="149"/>
                </a:cubicBezTo>
                <a:cubicBezTo>
                  <a:pt x="1358" y="152"/>
                  <a:pt x="1358" y="152"/>
                  <a:pt x="1358" y="152"/>
                </a:cubicBezTo>
                <a:cubicBezTo>
                  <a:pt x="1360" y="154"/>
                  <a:pt x="1360" y="154"/>
                  <a:pt x="1360" y="154"/>
                </a:cubicBezTo>
                <a:cubicBezTo>
                  <a:pt x="1360" y="153"/>
                  <a:pt x="1360" y="153"/>
                  <a:pt x="1360" y="153"/>
                </a:cubicBezTo>
                <a:cubicBezTo>
                  <a:pt x="1359" y="150"/>
                  <a:pt x="1359" y="150"/>
                  <a:pt x="1359" y="150"/>
                </a:cubicBezTo>
                <a:cubicBezTo>
                  <a:pt x="1359" y="148"/>
                  <a:pt x="1359" y="148"/>
                  <a:pt x="1359" y="148"/>
                </a:cubicBezTo>
                <a:cubicBezTo>
                  <a:pt x="1357" y="146"/>
                  <a:pt x="1357" y="146"/>
                  <a:pt x="1357" y="146"/>
                </a:cubicBezTo>
                <a:cubicBezTo>
                  <a:pt x="1354" y="147"/>
                  <a:pt x="1354" y="147"/>
                  <a:pt x="1354" y="147"/>
                </a:cubicBezTo>
                <a:cubicBezTo>
                  <a:pt x="1352" y="148"/>
                  <a:pt x="1352" y="148"/>
                  <a:pt x="1352" y="148"/>
                </a:cubicBezTo>
                <a:cubicBezTo>
                  <a:pt x="1351" y="146"/>
                  <a:pt x="1351" y="146"/>
                  <a:pt x="1351" y="146"/>
                </a:cubicBezTo>
                <a:cubicBezTo>
                  <a:pt x="1353" y="144"/>
                  <a:pt x="1353" y="144"/>
                  <a:pt x="1353" y="144"/>
                </a:cubicBezTo>
                <a:cubicBezTo>
                  <a:pt x="1352" y="142"/>
                  <a:pt x="1352" y="142"/>
                  <a:pt x="1352" y="142"/>
                </a:cubicBezTo>
                <a:cubicBezTo>
                  <a:pt x="1348" y="139"/>
                  <a:pt x="1348" y="139"/>
                  <a:pt x="1348" y="139"/>
                </a:cubicBezTo>
                <a:cubicBezTo>
                  <a:pt x="1346" y="137"/>
                  <a:pt x="1346" y="137"/>
                  <a:pt x="1346" y="137"/>
                </a:cubicBezTo>
                <a:cubicBezTo>
                  <a:pt x="1345" y="135"/>
                  <a:pt x="1345" y="135"/>
                  <a:pt x="1345" y="135"/>
                </a:cubicBezTo>
                <a:cubicBezTo>
                  <a:pt x="1344" y="135"/>
                  <a:pt x="1344" y="135"/>
                  <a:pt x="1344" y="135"/>
                </a:cubicBezTo>
                <a:cubicBezTo>
                  <a:pt x="1341" y="138"/>
                  <a:pt x="1341" y="138"/>
                  <a:pt x="1341" y="138"/>
                </a:cubicBezTo>
                <a:cubicBezTo>
                  <a:pt x="1341" y="136"/>
                  <a:pt x="1341" y="136"/>
                  <a:pt x="1341" y="136"/>
                </a:cubicBezTo>
                <a:cubicBezTo>
                  <a:pt x="1343" y="135"/>
                  <a:pt x="1343" y="135"/>
                  <a:pt x="1343" y="135"/>
                </a:cubicBezTo>
                <a:cubicBezTo>
                  <a:pt x="1344" y="131"/>
                  <a:pt x="1344" y="131"/>
                  <a:pt x="1344" y="131"/>
                </a:cubicBezTo>
                <a:cubicBezTo>
                  <a:pt x="1347" y="128"/>
                  <a:pt x="1347" y="128"/>
                  <a:pt x="1347" y="128"/>
                </a:cubicBezTo>
                <a:cubicBezTo>
                  <a:pt x="1349" y="127"/>
                  <a:pt x="1349" y="127"/>
                  <a:pt x="1349" y="127"/>
                </a:cubicBezTo>
                <a:cubicBezTo>
                  <a:pt x="1348" y="128"/>
                  <a:pt x="1348" y="128"/>
                  <a:pt x="1348" y="128"/>
                </a:cubicBezTo>
                <a:cubicBezTo>
                  <a:pt x="1350" y="132"/>
                  <a:pt x="1350" y="132"/>
                  <a:pt x="1350" y="132"/>
                </a:cubicBezTo>
                <a:cubicBezTo>
                  <a:pt x="1352" y="133"/>
                  <a:pt x="1352" y="133"/>
                  <a:pt x="1352" y="133"/>
                </a:cubicBezTo>
                <a:cubicBezTo>
                  <a:pt x="1353" y="132"/>
                  <a:pt x="1353" y="132"/>
                  <a:pt x="1353" y="132"/>
                </a:cubicBezTo>
                <a:cubicBezTo>
                  <a:pt x="1351" y="130"/>
                  <a:pt x="1351" y="130"/>
                  <a:pt x="1351" y="130"/>
                </a:cubicBezTo>
                <a:cubicBezTo>
                  <a:pt x="1350" y="129"/>
                  <a:pt x="1350" y="129"/>
                  <a:pt x="1350" y="129"/>
                </a:cubicBezTo>
                <a:cubicBezTo>
                  <a:pt x="1351" y="128"/>
                  <a:pt x="1351" y="128"/>
                  <a:pt x="1351" y="128"/>
                </a:cubicBezTo>
                <a:cubicBezTo>
                  <a:pt x="1354" y="127"/>
                  <a:pt x="1354" y="127"/>
                  <a:pt x="1354" y="127"/>
                </a:cubicBezTo>
                <a:cubicBezTo>
                  <a:pt x="1354" y="125"/>
                  <a:pt x="1354" y="125"/>
                  <a:pt x="1354" y="125"/>
                </a:cubicBezTo>
                <a:cubicBezTo>
                  <a:pt x="1352" y="125"/>
                  <a:pt x="1352" y="125"/>
                  <a:pt x="1352" y="125"/>
                </a:cubicBezTo>
                <a:cubicBezTo>
                  <a:pt x="1353" y="124"/>
                  <a:pt x="1353" y="124"/>
                  <a:pt x="1353" y="124"/>
                </a:cubicBezTo>
                <a:cubicBezTo>
                  <a:pt x="1354" y="124"/>
                  <a:pt x="1354" y="124"/>
                  <a:pt x="1354" y="124"/>
                </a:cubicBezTo>
                <a:cubicBezTo>
                  <a:pt x="1356" y="123"/>
                  <a:pt x="1356" y="123"/>
                  <a:pt x="1356" y="123"/>
                </a:cubicBezTo>
                <a:cubicBezTo>
                  <a:pt x="1358" y="120"/>
                  <a:pt x="1358" y="120"/>
                  <a:pt x="1358" y="120"/>
                </a:cubicBezTo>
                <a:cubicBezTo>
                  <a:pt x="1360" y="121"/>
                  <a:pt x="1360" y="121"/>
                  <a:pt x="1360" y="121"/>
                </a:cubicBezTo>
                <a:cubicBezTo>
                  <a:pt x="1360" y="122"/>
                  <a:pt x="1360" y="122"/>
                  <a:pt x="1360" y="122"/>
                </a:cubicBezTo>
                <a:cubicBezTo>
                  <a:pt x="1361" y="121"/>
                  <a:pt x="1361" y="121"/>
                  <a:pt x="1361" y="121"/>
                </a:cubicBezTo>
                <a:cubicBezTo>
                  <a:pt x="1363" y="122"/>
                  <a:pt x="1363" y="122"/>
                  <a:pt x="1363" y="122"/>
                </a:cubicBezTo>
                <a:cubicBezTo>
                  <a:pt x="1364" y="123"/>
                  <a:pt x="1364" y="123"/>
                  <a:pt x="1364" y="123"/>
                </a:cubicBezTo>
                <a:cubicBezTo>
                  <a:pt x="1366" y="125"/>
                  <a:pt x="1366" y="125"/>
                  <a:pt x="1366" y="125"/>
                </a:cubicBezTo>
                <a:cubicBezTo>
                  <a:pt x="1369" y="125"/>
                  <a:pt x="1369" y="125"/>
                  <a:pt x="1369" y="125"/>
                </a:cubicBezTo>
                <a:cubicBezTo>
                  <a:pt x="1370" y="124"/>
                  <a:pt x="1370" y="124"/>
                  <a:pt x="1370" y="124"/>
                </a:cubicBezTo>
                <a:cubicBezTo>
                  <a:pt x="1377" y="126"/>
                  <a:pt x="1377" y="126"/>
                  <a:pt x="1377" y="126"/>
                </a:cubicBezTo>
                <a:cubicBezTo>
                  <a:pt x="1376" y="128"/>
                  <a:pt x="1376" y="128"/>
                  <a:pt x="1376" y="128"/>
                </a:cubicBezTo>
                <a:cubicBezTo>
                  <a:pt x="1377" y="129"/>
                  <a:pt x="1377" y="129"/>
                  <a:pt x="1377" y="129"/>
                </a:cubicBezTo>
                <a:cubicBezTo>
                  <a:pt x="1378" y="128"/>
                  <a:pt x="1378" y="128"/>
                  <a:pt x="1378" y="128"/>
                </a:cubicBezTo>
                <a:cubicBezTo>
                  <a:pt x="1378" y="127"/>
                  <a:pt x="1378" y="127"/>
                  <a:pt x="1378" y="127"/>
                </a:cubicBezTo>
                <a:cubicBezTo>
                  <a:pt x="1380" y="127"/>
                  <a:pt x="1380" y="127"/>
                  <a:pt x="1380" y="127"/>
                </a:cubicBezTo>
                <a:cubicBezTo>
                  <a:pt x="1380" y="130"/>
                  <a:pt x="1380" y="130"/>
                  <a:pt x="1380" y="130"/>
                </a:cubicBezTo>
                <a:cubicBezTo>
                  <a:pt x="1382" y="128"/>
                  <a:pt x="1382" y="128"/>
                  <a:pt x="1382" y="128"/>
                </a:cubicBezTo>
                <a:cubicBezTo>
                  <a:pt x="1384" y="126"/>
                  <a:pt x="1384" y="126"/>
                  <a:pt x="1384" y="126"/>
                </a:cubicBezTo>
                <a:cubicBezTo>
                  <a:pt x="1386" y="127"/>
                  <a:pt x="1386" y="127"/>
                  <a:pt x="1386" y="127"/>
                </a:cubicBezTo>
                <a:cubicBezTo>
                  <a:pt x="1386" y="128"/>
                  <a:pt x="1386" y="128"/>
                  <a:pt x="1386" y="128"/>
                </a:cubicBezTo>
                <a:cubicBezTo>
                  <a:pt x="1385" y="130"/>
                  <a:pt x="1385" y="130"/>
                  <a:pt x="1385" y="130"/>
                </a:cubicBezTo>
                <a:cubicBezTo>
                  <a:pt x="1384" y="131"/>
                  <a:pt x="1384" y="131"/>
                  <a:pt x="1384" y="131"/>
                </a:cubicBezTo>
                <a:cubicBezTo>
                  <a:pt x="1386" y="137"/>
                  <a:pt x="1386" y="137"/>
                  <a:pt x="1386" y="137"/>
                </a:cubicBezTo>
                <a:cubicBezTo>
                  <a:pt x="1385" y="140"/>
                  <a:pt x="1385" y="140"/>
                  <a:pt x="1385" y="140"/>
                </a:cubicBezTo>
                <a:cubicBezTo>
                  <a:pt x="1386" y="141"/>
                  <a:pt x="1386" y="141"/>
                  <a:pt x="1386" y="141"/>
                </a:cubicBezTo>
                <a:cubicBezTo>
                  <a:pt x="1388" y="140"/>
                  <a:pt x="1388" y="140"/>
                  <a:pt x="1388" y="140"/>
                </a:cubicBezTo>
                <a:cubicBezTo>
                  <a:pt x="1389" y="143"/>
                  <a:pt x="1389" y="143"/>
                  <a:pt x="1389" y="143"/>
                </a:cubicBezTo>
                <a:cubicBezTo>
                  <a:pt x="1391" y="144"/>
                  <a:pt x="1391" y="144"/>
                  <a:pt x="1391" y="144"/>
                </a:cubicBezTo>
                <a:cubicBezTo>
                  <a:pt x="1392" y="146"/>
                  <a:pt x="1392" y="146"/>
                  <a:pt x="1392" y="146"/>
                </a:cubicBezTo>
                <a:cubicBezTo>
                  <a:pt x="1391" y="147"/>
                  <a:pt x="1391" y="147"/>
                  <a:pt x="1391" y="147"/>
                </a:cubicBezTo>
                <a:cubicBezTo>
                  <a:pt x="1387" y="147"/>
                  <a:pt x="1387" y="147"/>
                  <a:pt x="1387" y="147"/>
                </a:cubicBezTo>
                <a:cubicBezTo>
                  <a:pt x="1384" y="148"/>
                  <a:pt x="1384" y="148"/>
                  <a:pt x="1384" y="148"/>
                </a:cubicBezTo>
                <a:cubicBezTo>
                  <a:pt x="1389" y="149"/>
                  <a:pt x="1389" y="149"/>
                  <a:pt x="1389" y="149"/>
                </a:cubicBezTo>
                <a:cubicBezTo>
                  <a:pt x="1390" y="151"/>
                  <a:pt x="1390" y="151"/>
                  <a:pt x="1390" y="151"/>
                </a:cubicBezTo>
                <a:cubicBezTo>
                  <a:pt x="1389" y="153"/>
                  <a:pt x="1389" y="153"/>
                  <a:pt x="1389" y="153"/>
                </a:cubicBezTo>
                <a:cubicBezTo>
                  <a:pt x="1387" y="153"/>
                  <a:pt x="1387" y="153"/>
                  <a:pt x="1387" y="153"/>
                </a:cubicBezTo>
                <a:cubicBezTo>
                  <a:pt x="1385" y="157"/>
                  <a:pt x="1385" y="157"/>
                  <a:pt x="1385" y="157"/>
                </a:cubicBezTo>
                <a:cubicBezTo>
                  <a:pt x="1384" y="156"/>
                  <a:pt x="1384" y="156"/>
                  <a:pt x="1384" y="156"/>
                </a:cubicBezTo>
                <a:cubicBezTo>
                  <a:pt x="1382" y="158"/>
                  <a:pt x="1382" y="158"/>
                  <a:pt x="1382" y="158"/>
                </a:cubicBezTo>
                <a:cubicBezTo>
                  <a:pt x="1379" y="158"/>
                  <a:pt x="1379" y="158"/>
                  <a:pt x="1379" y="158"/>
                </a:cubicBezTo>
                <a:cubicBezTo>
                  <a:pt x="1377" y="160"/>
                  <a:pt x="1377" y="160"/>
                  <a:pt x="1377" y="160"/>
                </a:cubicBezTo>
                <a:cubicBezTo>
                  <a:pt x="1380" y="159"/>
                  <a:pt x="1380" y="159"/>
                  <a:pt x="1380" y="159"/>
                </a:cubicBezTo>
                <a:cubicBezTo>
                  <a:pt x="1381" y="160"/>
                  <a:pt x="1381" y="160"/>
                  <a:pt x="1381" y="160"/>
                </a:cubicBezTo>
                <a:cubicBezTo>
                  <a:pt x="1382" y="162"/>
                  <a:pt x="1382" y="162"/>
                  <a:pt x="1382" y="162"/>
                </a:cubicBezTo>
                <a:cubicBezTo>
                  <a:pt x="1384" y="160"/>
                  <a:pt x="1384" y="160"/>
                  <a:pt x="1384" y="160"/>
                </a:cubicBezTo>
                <a:cubicBezTo>
                  <a:pt x="1385" y="160"/>
                  <a:pt x="1385" y="160"/>
                  <a:pt x="1385" y="160"/>
                </a:cubicBezTo>
                <a:cubicBezTo>
                  <a:pt x="1385" y="162"/>
                  <a:pt x="1385" y="162"/>
                  <a:pt x="1385" y="162"/>
                </a:cubicBezTo>
                <a:cubicBezTo>
                  <a:pt x="1387" y="165"/>
                  <a:pt x="1387" y="165"/>
                  <a:pt x="1387" y="165"/>
                </a:cubicBezTo>
                <a:cubicBezTo>
                  <a:pt x="1385" y="166"/>
                  <a:pt x="1385" y="166"/>
                  <a:pt x="1385" y="166"/>
                </a:cubicBezTo>
                <a:cubicBezTo>
                  <a:pt x="1385" y="169"/>
                  <a:pt x="1385" y="169"/>
                  <a:pt x="1385" y="169"/>
                </a:cubicBezTo>
                <a:cubicBezTo>
                  <a:pt x="1387" y="166"/>
                  <a:pt x="1387" y="166"/>
                  <a:pt x="1387" y="166"/>
                </a:cubicBezTo>
                <a:cubicBezTo>
                  <a:pt x="1390" y="166"/>
                  <a:pt x="1390" y="166"/>
                  <a:pt x="1390" y="166"/>
                </a:cubicBezTo>
                <a:cubicBezTo>
                  <a:pt x="1393" y="168"/>
                  <a:pt x="1393" y="168"/>
                  <a:pt x="1393" y="168"/>
                </a:cubicBezTo>
                <a:cubicBezTo>
                  <a:pt x="1393" y="170"/>
                  <a:pt x="1393" y="170"/>
                  <a:pt x="1393" y="170"/>
                </a:cubicBezTo>
                <a:cubicBezTo>
                  <a:pt x="1394" y="173"/>
                  <a:pt x="1394" y="173"/>
                  <a:pt x="1394" y="173"/>
                </a:cubicBezTo>
                <a:cubicBezTo>
                  <a:pt x="1392" y="175"/>
                  <a:pt x="1392" y="175"/>
                  <a:pt x="1392" y="175"/>
                </a:cubicBezTo>
                <a:cubicBezTo>
                  <a:pt x="1393" y="175"/>
                  <a:pt x="1393" y="175"/>
                  <a:pt x="1393" y="175"/>
                </a:cubicBezTo>
                <a:cubicBezTo>
                  <a:pt x="1394" y="178"/>
                  <a:pt x="1394" y="178"/>
                  <a:pt x="1394" y="178"/>
                </a:cubicBezTo>
                <a:cubicBezTo>
                  <a:pt x="1391" y="179"/>
                  <a:pt x="1391" y="179"/>
                  <a:pt x="1391" y="179"/>
                </a:cubicBezTo>
                <a:cubicBezTo>
                  <a:pt x="1391" y="181"/>
                  <a:pt x="1391" y="181"/>
                  <a:pt x="1391" y="181"/>
                </a:cubicBezTo>
                <a:cubicBezTo>
                  <a:pt x="1392" y="182"/>
                  <a:pt x="1392" y="182"/>
                  <a:pt x="1392" y="182"/>
                </a:cubicBezTo>
                <a:cubicBezTo>
                  <a:pt x="1392" y="181"/>
                  <a:pt x="1392" y="181"/>
                  <a:pt x="1392" y="181"/>
                </a:cubicBezTo>
                <a:cubicBezTo>
                  <a:pt x="1394" y="180"/>
                  <a:pt x="1394" y="180"/>
                  <a:pt x="1394" y="180"/>
                </a:cubicBezTo>
                <a:cubicBezTo>
                  <a:pt x="1395" y="182"/>
                  <a:pt x="1395" y="182"/>
                  <a:pt x="1395" y="182"/>
                </a:cubicBezTo>
                <a:cubicBezTo>
                  <a:pt x="1395" y="184"/>
                  <a:pt x="1395" y="184"/>
                  <a:pt x="1395" y="184"/>
                </a:cubicBezTo>
                <a:cubicBezTo>
                  <a:pt x="1397" y="184"/>
                  <a:pt x="1397" y="184"/>
                  <a:pt x="1397" y="184"/>
                </a:cubicBezTo>
                <a:cubicBezTo>
                  <a:pt x="1398" y="185"/>
                  <a:pt x="1398" y="185"/>
                  <a:pt x="1398" y="185"/>
                </a:cubicBezTo>
                <a:cubicBezTo>
                  <a:pt x="1398" y="184"/>
                  <a:pt x="1398" y="184"/>
                  <a:pt x="1398" y="184"/>
                </a:cubicBezTo>
                <a:cubicBezTo>
                  <a:pt x="1400" y="182"/>
                  <a:pt x="1400" y="182"/>
                  <a:pt x="1400" y="182"/>
                </a:cubicBezTo>
                <a:cubicBezTo>
                  <a:pt x="1401" y="183"/>
                  <a:pt x="1401" y="183"/>
                  <a:pt x="1401" y="183"/>
                </a:cubicBezTo>
                <a:cubicBezTo>
                  <a:pt x="1403" y="184"/>
                  <a:pt x="1403" y="184"/>
                  <a:pt x="1403" y="184"/>
                </a:cubicBezTo>
                <a:cubicBezTo>
                  <a:pt x="1403" y="186"/>
                  <a:pt x="1403" y="186"/>
                  <a:pt x="1403" y="186"/>
                </a:cubicBezTo>
                <a:cubicBezTo>
                  <a:pt x="1402" y="187"/>
                  <a:pt x="1402" y="187"/>
                  <a:pt x="1402" y="187"/>
                </a:cubicBezTo>
                <a:cubicBezTo>
                  <a:pt x="1400" y="186"/>
                  <a:pt x="1400" y="186"/>
                  <a:pt x="1400" y="186"/>
                </a:cubicBezTo>
                <a:cubicBezTo>
                  <a:pt x="1398" y="188"/>
                  <a:pt x="1398" y="188"/>
                  <a:pt x="1398" y="188"/>
                </a:cubicBezTo>
                <a:cubicBezTo>
                  <a:pt x="1401" y="189"/>
                  <a:pt x="1401" y="189"/>
                  <a:pt x="1401" y="189"/>
                </a:cubicBezTo>
                <a:cubicBezTo>
                  <a:pt x="1403" y="189"/>
                  <a:pt x="1403" y="189"/>
                  <a:pt x="1403" y="189"/>
                </a:cubicBezTo>
                <a:cubicBezTo>
                  <a:pt x="1404" y="192"/>
                  <a:pt x="1404" y="192"/>
                  <a:pt x="1404" y="192"/>
                </a:cubicBezTo>
                <a:cubicBezTo>
                  <a:pt x="1404" y="193"/>
                  <a:pt x="1404" y="193"/>
                  <a:pt x="1404" y="193"/>
                </a:cubicBezTo>
                <a:cubicBezTo>
                  <a:pt x="1401" y="194"/>
                  <a:pt x="1401" y="194"/>
                  <a:pt x="1401" y="194"/>
                </a:cubicBezTo>
                <a:cubicBezTo>
                  <a:pt x="1399" y="191"/>
                  <a:pt x="1399" y="191"/>
                  <a:pt x="1399" y="191"/>
                </a:cubicBezTo>
                <a:cubicBezTo>
                  <a:pt x="1398" y="190"/>
                  <a:pt x="1398" y="190"/>
                  <a:pt x="1398" y="190"/>
                </a:cubicBezTo>
                <a:cubicBezTo>
                  <a:pt x="1399" y="194"/>
                  <a:pt x="1399" y="194"/>
                  <a:pt x="1399" y="194"/>
                </a:cubicBezTo>
                <a:cubicBezTo>
                  <a:pt x="1397" y="196"/>
                  <a:pt x="1397" y="196"/>
                  <a:pt x="1397" y="196"/>
                </a:cubicBezTo>
                <a:cubicBezTo>
                  <a:pt x="1396" y="196"/>
                  <a:pt x="1396" y="196"/>
                  <a:pt x="1396" y="196"/>
                </a:cubicBezTo>
                <a:cubicBezTo>
                  <a:pt x="1396" y="195"/>
                  <a:pt x="1396" y="195"/>
                  <a:pt x="1396" y="195"/>
                </a:cubicBezTo>
                <a:cubicBezTo>
                  <a:pt x="1394" y="195"/>
                  <a:pt x="1394" y="195"/>
                  <a:pt x="1394" y="195"/>
                </a:cubicBezTo>
                <a:cubicBezTo>
                  <a:pt x="1393" y="194"/>
                  <a:pt x="1393" y="194"/>
                  <a:pt x="1393" y="194"/>
                </a:cubicBezTo>
                <a:cubicBezTo>
                  <a:pt x="1388" y="194"/>
                  <a:pt x="1388" y="194"/>
                  <a:pt x="1388" y="194"/>
                </a:cubicBezTo>
                <a:cubicBezTo>
                  <a:pt x="1386" y="195"/>
                  <a:pt x="1386" y="195"/>
                  <a:pt x="1386" y="195"/>
                </a:cubicBezTo>
                <a:cubicBezTo>
                  <a:pt x="1384" y="195"/>
                  <a:pt x="1384" y="195"/>
                  <a:pt x="1384" y="195"/>
                </a:cubicBezTo>
                <a:cubicBezTo>
                  <a:pt x="1384" y="193"/>
                  <a:pt x="1384" y="193"/>
                  <a:pt x="1384" y="193"/>
                </a:cubicBezTo>
                <a:cubicBezTo>
                  <a:pt x="1384" y="192"/>
                  <a:pt x="1384" y="192"/>
                  <a:pt x="1384" y="192"/>
                </a:cubicBezTo>
                <a:cubicBezTo>
                  <a:pt x="1382" y="192"/>
                  <a:pt x="1382" y="192"/>
                  <a:pt x="1382" y="192"/>
                </a:cubicBezTo>
                <a:cubicBezTo>
                  <a:pt x="1383" y="194"/>
                  <a:pt x="1383" y="194"/>
                  <a:pt x="1383" y="194"/>
                </a:cubicBezTo>
                <a:cubicBezTo>
                  <a:pt x="1381" y="194"/>
                  <a:pt x="1381" y="194"/>
                  <a:pt x="1381" y="194"/>
                </a:cubicBezTo>
                <a:cubicBezTo>
                  <a:pt x="1381" y="195"/>
                  <a:pt x="1381" y="195"/>
                  <a:pt x="1381" y="195"/>
                </a:cubicBezTo>
                <a:cubicBezTo>
                  <a:pt x="1382" y="197"/>
                  <a:pt x="1382" y="197"/>
                  <a:pt x="1382" y="197"/>
                </a:cubicBezTo>
                <a:cubicBezTo>
                  <a:pt x="1380" y="199"/>
                  <a:pt x="1380" y="199"/>
                  <a:pt x="1380" y="199"/>
                </a:cubicBezTo>
                <a:cubicBezTo>
                  <a:pt x="1379" y="199"/>
                  <a:pt x="1379" y="199"/>
                  <a:pt x="1379" y="199"/>
                </a:cubicBezTo>
                <a:cubicBezTo>
                  <a:pt x="1379" y="198"/>
                  <a:pt x="1379" y="198"/>
                  <a:pt x="1379" y="198"/>
                </a:cubicBezTo>
                <a:cubicBezTo>
                  <a:pt x="1379" y="197"/>
                  <a:pt x="1379" y="197"/>
                  <a:pt x="1379" y="197"/>
                </a:cubicBezTo>
                <a:cubicBezTo>
                  <a:pt x="1374" y="198"/>
                  <a:pt x="1374" y="198"/>
                  <a:pt x="1374" y="198"/>
                </a:cubicBezTo>
                <a:cubicBezTo>
                  <a:pt x="1373" y="198"/>
                  <a:pt x="1373" y="198"/>
                  <a:pt x="1373" y="198"/>
                </a:cubicBezTo>
                <a:cubicBezTo>
                  <a:pt x="1373" y="196"/>
                  <a:pt x="1373" y="196"/>
                  <a:pt x="1373" y="196"/>
                </a:cubicBezTo>
                <a:cubicBezTo>
                  <a:pt x="1372" y="194"/>
                  <a:pt x="1372" y="194"/>
                  <a:pt x="1372" y="194"/>
                </a:cubicBezTo>
                <a:cubicBezTo>
                  <a:pt x="1372" y="193"/>
                  <a:pt x="1372" y="193"/>
                  <a:pt x="1372" y="193"/>
                </a:cubicBezTo>
                <a:cubicBezTo>
                  <a:pt x="1366" y="189"/>
                  <a:pt x="1366" y="189"/>
                  <a:pt x="1366" y="189"/>
                </a:cubicBezTo>
                <a:cubicBezTo>
                  <a:pt x="1366" y="189"/>
                  <a:pt x="1366" y="189"/>
                  <a:pt x="1366" y="189"/>
                </a:cubicBezTo>
                <a:cubicBezTo>
                  <a:pt x="1366" y="188"/>
                  <a:pt x="1366" y="188"/>
                  <a:pt x="1366" y="188"/>
                </a:cubicBezTo>
                <a:cubicBezTo>
                  <a:pt x="1363" y="187"/>
                  <a:pt x="1363" y="187"/>
                  <a:pt x="1363" y="187"/>
                </a:cubicBezTo>
                <a:cubicBezTo>
                  <a:pt x="1362" y="189"/>
                  <a:pt x="1362" y="189"/>
                  <a:pt x="1362" y="189"/>
                </a:cubicBezTo>
                <a:cubicBezTo>
                  <a:pt x="1359" y="190"/>
                  <a:pt x="1359" y="190"/>
                  <a:pt x="1359" y="190"/>
                </a:cubicBezTo>
                <a:cubicBezTo>
                  <a:pt x="1357" y="192"/>
                  <a:pt x="1357" y="192"/>
                  <a:pt x="1357" y="192"/>
                </a:cubicBezTo>
                <a:cubicBezTo>
                  <a:pt x="1356" y="192"/>
                  <a:pt x="1356" y="192"/>
                  <a:pt x="1356" y="192"/>
                </a:cubicBezTo>
                <a:cubicBezTo>
                  <a:pt x="1355" y="189"/>
                  <a:pt x="1355" y="189"/>
                  <a:pt x="1355" y="189"/>
                </a:cubicBezTo>
                <a:cubicBezTo>
                  <a:pt x="1354" y="187"/>
                  <a:pt x="1354" y="187"/>
                  <a:pt x="1354" y="187"/>
                </a:cubicBezTo>
                <a:cubicBezTo>
                  <a:pt x="1355" y="189"/>
                  <a:pt x="1355" y="189"/>
                  <a:pt x="1355" y="189"/>
                </a:cubicBezTo>
                <a:cubicBezTo>
                  <a:pt x="1354" y="193"/>
                  <a:pt x="1354" y="193"/>
                  <a:pt x="1354" y="193"/>
                </a:cubicBezTo>
                <a:cubicBezTo>
                  <a:pt x="1355" y="196"/>
                  <a:pt x="1355" y="196"/>
                  <a:pt x="1355" y="196"/>
                </a:cubicBezTo>
                <a:cubicBezTo>
                  <a:pt x="1355" y="198"/>
                  <a:pt x="1355" y="198"/>
                  <a:pt x="1355" y="198"/>
                </a:cubicBezTo>
                <a:cubicBezTo>
                  <a:pt x="1351" y="204"/>
                  <a:pt x="1351" y="204"/>
                  <a:pt x="1351" y="204"/>
                </a:cubicBezTo>
                <a:cubicBezTo>
                  <a:pt x="1349" y="204"/>
                  <a:pt x="1349" y="204"/>
                  <a:pt x="1349" y="204"/>
                </a:cubicBezTo>
                <a:cubicBezTo>
                  <a:pt x="1349" y="200"/>
                  <a:pt x="1349" y="200"/>
                  <a:pt x="1349" y="200"/>
                </a:cubicBezTo>
                <a:cubicBezTo>
                  <a:pt x="1346" y="199"/>
                  <a:pt x="1346" y="199"/>
                  <a:pt x="1346" y="199"/>
                </a:cubicBezTo>
                <a:cubicBezTo>
                  <a:pt x="1344" y="200"/>
                  <a:pt x="1344" y="200"/>
                  <a:pt x="1344" y="200"/>
                </a:cubicBezTo>
                <a:cubicBezTo>
                  <a:pt x="1339" y="196"/>
                  <a:pt x="1339" y="196"/>
                  <a:pt x="1339" y="196"/>
                </a:cubicBezTo>
                <a:cubicBezTo>
                  <a:pt x="1339" y="194"/>
                  <a:pt x="1339" y="194"/>
                  <a:pt x="1339" y="194"/>
                </a:cubicBezTo>
                <a:cubicBezTo>
                  <a:pt x="1339" y="189"/>
                  <a:pt x="1339" y="189"/>
                  <a:pt x="1339" y="189"/>
                </a:cubicBezTo>
                <a:cubicBezTo>
                  <a:pt x="1337" y="189"/>
                  <a:pt x="1337" y="189"/>
                  <a:pt x="1337" y="189"/>
                </a:cubicBezTo>
                <a:cubicBezTo>
                  <a:pt x="1336" y="187"/>
                  <a:pt x="1336" y="187"/>
                  <a:pt x="1336" y="187"/>
                </a:cubicBezTo>
                <a:cubicBezTo>
                  <a:pt x="1335" y="186"/>
                  <a:pt x="1335" y="186"/>
                  <a:pt x="1335" y="186"/>
                </a:cubicBezTo>
                <a:cubicBezTo>
                  <a:pt x="1334" y="187"/>
                  <a:pt x="1334" y="187"/>
                  <a:pt x="1334" y="187"/>
                </a:cubicBezTo>
                <a:cubicBezTo>
                  <a:pt x="1334" y="189"/>
                  <a:pt x="1334" y="189"/>
                  <a:pt x="1334" y="189"/>
                </a:cubicBezTo>
                <a:cubicBezTo>
                  <a:pt x="1334" y="190"/>
                  <a:pt x="1334" y="190"/>
                  <a:pt x="1334" y="190"/>
                </a:cubicBezTo>
                <a:cubicBezTo>
                  <a:pt x="1336" y="192"/>
                  <a:pt x="1336" y="192"/>
                  <a:pt x="1336" y="192"/>
                </a:cubicBezTo>
                <a:cubicBezTo>
                  <a:pt x="1335" y="193"/>
                  <a:pt x="1335" y="193"/>
                  <a:pt x="1335" y="193"/>
                </a:cubicBezTo>
                <a:cubicBezTo>
                  <a:pt x="1332" y="191"/>
                  <a:pt x="1332" y="191"/>
                  <a:pt x="1332" y="191"/>
                </a:cubicBezTo>
                <a:cubicBezTo>
                  <a:pt x="1329" y="188"/>
                  <a:pt x="1329" y="188"/>
                  <a:pt x="1329" y="188"/>
                </a:cubicBezTo>
                <a:cubicBezTo>
                  <a:pt x="1329" y="189"/>
                  <a:pt x="1329" y="189"/>
                  <a:pt x="1329" y="189"/>
                </a:cubicBezTo>
                <a:cubicBezTo>
                  <a:pt x="1330" y="191"/>
                  <a:pt x="1330" y="191"/>
                  <a:pt x="1330" y="191"/>
                </a:cubicBezTo>
                <a:cubicBezTo>
                  <a:pt x="1329" y="193"/>
                  <a:pt x="1329" y="193"/>
                  <a:pt x="1329" y="193"/>
                </a:cubicBezTo>
                <a:cubicBezTo>
                  <a:pt x="1330" y="193"/>
                  <a:pt x="1330" y="193"/>
                  <a:pt x="1330" y="193"/>
                </a:cubicBezTo>
                <a:cubicBezTo>
                  <a:pt x="1332" y="193"/>
                  <a:pt x="1332" y="193"/>
                  <a:pt x="1332" y="193"/>
                </a:cubicBezTo>
                <a:cubicBezTo>
                  <a:pt x="1334" y="195"/>
                  <a:pt x="1334" y="195"/>
                  <a:pt x="1334" y="195"/>
                </a:cubicBezTo>
                <a:cubicBezTo>
                  <a:pt x="1333" y="197"/>
                  <a:pt x="1333" y="197"/>
                  <a:pt x="1333" y="197"/>
                </a:cubicBezTo>
                <a:cubicBezTo>
                  <a:pt x="1330" y="198"/>
                  <a:pt x="1330" y="198"/>
                  <a:pt x="1330" y="198"/>
                </a:cubicBezTo>
                <a:cubicBezTo>
                  <a:pt x="1329" y="199"/>
                  <a:pt x="1329" y="199"/>
                  <a:pt x="1329" y="199"/>
                </a:cubicBezTo>
                <a:cubicBezTo>
                  <a:pt x="1331" y="200"/>
                  <a:pt x="1331" y="200"/>
                  <a:pt x="1331" y="200"/>
                </a:cubicBezTo>
                <a:cubicBezTo>
                  <a:pt x="1337" y="207"/>
                  <a:pt x="1337" y="207"/>
                  <a:pt x="1337" y="207"/>
                </a:cubicBezTo>
                <a:cubicBezTo>
                  <a:pt x="1341" y="208"/>
                  <a:pt x="1341" y="208"/>
                  <a:pt x="1341" y="208"/>
                </a:cubicBezTo>
                <a:cubicBezTo>
                  <a:pt x="1343" y="207"/>
                  <a:pt x="1343" y="207"/>
                  <a:pt x="1343" y="207"/>
                </a:cubicBezTo>
                <a:cubicBezTo>
                  <a:pt x="1346" y="208"/>
                  <a:pt x="1346" y="208"/>
                  <a:pt x="1346" y="208"/>
                </a:cubicBezTo>
                <a:cubicBezTo>
                  <a:pt x="1347" y="211"/>
                  <a:pt x="1347" y="211"/>
                  <a:pt x="1347" y="211"/>
                </a:cubicBezTo>
                <a:cubicBezTo>
                  <a:pt x="1346" y="211"/>
                  <a:pt x="1346" y="211"/>
                  <a:pt x="1346" y="211"/>
                </a:cubicBezTo>
                <a:cubicBezTo>
                  <a:pt x="1344" y="209"/>
                  <a:pt x="1344" y="209"/>
                  <a:pt x="1344" y="209"/>
                </a:cubicBezTo>
                <a:cubicBezTo>
                  <a:pt x="1343" y="209"/>
                  <a:pt x="1343" y="209"/>
                  <a:pt x="1343" y="209"/>
                </a:cubicBezTo>
                <a:cubicBezTo>
                  <a:pt x="1345" y="212"/>
                  <a:pt x="1345" y="212"/>
                  <a:pt x="1345" y="212"/>
                </a:cubicBezTo>
                <a:cubicBezTo>
                  <a:pt x="1348" y="214"/>
                  <a:pt x="1348" y="214"/>
                  <a:pt x="1348" y="214"/>
                </a:cubicBezTo>
                <a:cubicBezTo>
                  <a:pt x="1349" y="217"/>
                  <a:pt x="1349" y="217"/>
                  <a:pt x="1349" y="217"/>
                </a:cubicBezTo>
                <a:cubicBezTo>
                  <a:pt x="1351" y="219"/>
                  <a:pt x="1351" y="219"/>
                  <a:pt x="1351" y="219"/>
                </a:cubicBezTo>
                <a:cubicBezTo>
                  <a:pt x="1351" y="224"/>
                  <a:pt x="1351" y="224"/>
                  <a:pt x="1351" y="224"/>
                </a:cubicBezTo>
                <a:cubicBezTo>
                  <a:pt x="1349" y="231"/>
                  <a:pt x="1349" y="231"/>
                  <a:pt x="1349" y="231"/>
                </a:cubicBezTo>
                <a:cubicBezTo>
                  <a:pt x="1350" y="235"/>
                  <a:pt x="1350" y="235"/>
                  <a:pt x="1350" y="235"/>
                </a:cubicBezTo>
                <a:cubicBezTo>
                  <a:pt x="1350" y="238"/>
                  <a:pt x="1350" y="238"/>
                  <a:pt x="1350" y="238"/>
                </a:cubicBezTo>
                <a:cubicBezTo>
                  <a:pt x="1351" y="239"/>
                  <a:pt x="1351" y="239"/>
                  <a:pt x="1351" y="239"/>
                </a:cubicBezTo>
                <a:cubicBezTo>
                  <a:pt x="1348" y="243"/>
                  <a:pt x="1348" y="243"/>
                  <a:pt x="1348" y="243"/>
                </a:cubicBezTo>
                <a:cubicBezTo>
                  <a:pt x="1348" y="246"/>
                  <a:pt x="1348" y="246"/>
                  <a:pt x="1348" y="246"/>
                </a:cubicBezTo>
                <a:cubicBezTo>
                  <a:pt x="1346" y="247"/>
                  <a:pt x="1346" y="247"/>
                  <a:pt x="1346" y="247"/>
                </a:cubicBezTo>
                <a:cubicBezTo>
                  <a:pt x="1347" y="245"/>
                  <a:pt x="1347" y="245"/>
                  <a:pt x="1347" y="245"/>
                </a:cubicBezTo>
                <a:cubicBezTo>
                  <a:pt x="1346" y="244"/>
                  <a:pt x="1346" y="244"/>
                  <a:pt x="1346" y="244"/>
                </a:cubicBezTo>
                <a:cubicBezTo>
                  <a:pt x="1341" y="248"/>
                  <a:pt x="1341" y="248"/>
                  <a:pt x="1341" y="248"/>
                </a:cubicBezTo>
                <a:cubicBezTo>
                  <a:pt x="1340" y="247"/>
                  <a:pt x="1340" y="247"/>
                  <a:pt x="1340" y="247"/>
                </a:cubicBezTo>
                <a:cubicBezTo>
                  <a:pt x="1338" y="248"/>
                  <a:pt x="1338" y="248"/>
                  <a:pt x="1338" y="248"/>
                </a:cubicBezTo>
                <a:cubicBezTo>
                  <a:pt x="1336" y="248"/>
                  <a:pt x="1336" y="248"/>
                  <a:pt x="1336" y="248"/>
                </a:cubicBezTo>
                <a:cubicBezTo>
                  <a:pt x="1335" y="246"/>
                  <a:pt x="1335" y="246"/>
                  <a:pt x="1335" y="246"/>
                </a:cubicBezTo>
                <a:cubicBezTo>
                  <a:pt x="1333" y="245"/>
                  <a:pt x="1333" y="245"/>
                  <a:pt x="1333" y="245"/>
                </a:cubicBezTo>
                <a:cubicBezTo>
                  <a:pt x="1330" y="242"/>
                  <a:pt x="1330" y="242"/>
                  <a:pt x="1330" y="242"/>
                </a:cubicBezTo>
                <a:cubicBezTo>
                  <a:pt x="1327" y="241"/>
                  <a:pt x="1327" y="241"/>
                  <a:pt x="1327" y="241"/>
                </a:cubicBezTo>
                <a:cubicBezTo>
                  <a:pt x="1324" y="240"/>
                  <a:pt x="1324" y="240"/>
                  <a:pt x="1324" y="240"/>
                </a:cubicBezTo>
                <a:cubicBezTo>
                  <a:pt x="1323" y="239"/>
                  <a:pt x="1323" y="239"/>
                  <a:pt x="1323" y="239"/>
                </a:cubicBezTo>
                <a:cubicBezTo>
                  <a:pt x="1321" y="240"/>
                  <a:pt x="1321" y="240"/>
                  <a:pt x="1321" y="240"/>
                </a:cubicBezTo>
                <a:cubicBezTo>
                  <a:pt x="1319" y="242"/>
                  <a:pt x="1319" y="242"/>
                  <a:pt x="1319" y="242"/>
                </a:cubicBezTo>
                <a:cubicBezTo>
                  <a:pt x="1317" y="242"/>
                  <a:pt x="1317" y="242"/>
                  <a:pt x="1317" y="242"/>
                </a:cubicBezTo>
                <a:cubicBezTo>
                  <a:pt x="1319" y="243"/>
                  <a:pt x="1319" y="243"/>
                  <a:pt x="1319" y="243"/>
                </a:cubicBezTo>
                <a:cubicBezTo>
                  <a:pt x="1322" y="243"/>
                  <a:pt x="1322" y="243"/>
                  <a:pt x="1322" y="243"/>
                </a:cubicBezTo>
                <a:cubicBezTo>
                  <a:pt x="1323" y="241"/>
                  <a:pt x="1323" y="241"/>
                  <a:pt x="1323" y="241"/>
                </a:cubicBezTo>
                <a:cubicBezTo>
                  <a:pt x="1329" y="243"/>
                  <a:pt x="1329" y="243"/>
                  <a:pt x="1329" y="243"/>
                </a:cubicBezTo>
                <a:cubicBezTo>
                  <a:pt x="1330" y="245"/>
                  <a:pt x="1330" y="245"/>
                  <a:pt x="1330" y="245"/>
                </a:cubicBezTo>
                <a:cubicBezTo>
                  <a:pt x="1327" y="247"/>
                  <a:pt x="1327" y="247"/>
                  <a:pt x="1327" y="247"/>
                </a:cubicBezTo>
                <a:cubicBezTo>
                  <a:pt x="1325" y="246"/>
                  <a:pt x="1325" y="246"/>
                  <a:pt x="1325" y="246"/>
                </a:cubicBezTo>
                <a:cubicBezTo>
                  <a:pt x="1323" y="246"/>
                  <a:pt x="1323" y="246"/>
                  <a:pt x="1323" y="246"/>
                </a:cubicBezTo>
                <a:cubicBezTo>
                  <a:pt x="1323" y="248"/>
                  <a:pt x="1323" y="248"/>
                  <a:pt x="1323" y="248"/>
                </a:cubicBezTo>
                <a:cubicBezTo>
                  <a:pt x="1321" y="246"/>
                  <a:pt x="1321" y="246"/>
                  <a:pt x="1321" y="246"/>
                </a:cubicBezTo>
                <a:cubicBezTo>
                  <a:pt x="1319" y="246"/>
                  <a:pt x="1319" y="246"/>
                  <a:pt x="1319" y="246"/>
                </a:cubicBezTo>
                <a:cubicBezTo>
                  <a:pt x="1320" y="246"/>
                  <a:pt x="1320" y="246"/>
                  <a:pt x="1320" y="246"/>
                </a:cubicBezTo>
                <a:cubicBezTo>
                  <a:pt x="1321" y="249"/>
                  <a:pt x="1321" y="249"/>
                  <a:pt x="1321" y="249"/>
                </a:cubicBezTo>
                <a:cubicBezTo>
                  <a:pt x="1324" y="251"/>
                  <a:pt x="1324" y="251"/>
                  <a:pt x="1324" y="251"/>
                </a:cubicBezTo>
                <a:cubicBezTo>
                  <a:pt x="1323" y="254"/>
                  <a:pt x="1323" y="254"/>
                  <a:pt x="1323" y="254"/>
                </a:cubicBezTo>
                <a:cubicBezTo>
                  <a:pt x="1325" y="258"/>
                  <a:pt x="1325" y="258"/>
                  <a:pt x="1325" y="258"/>
                </a:cubicBezTo>
                <a:cubicBezTo>
                  <a:pt x="1327" y="259"/>
                  <a:pt x="1327" y="259"/>
                  <a:pt x="1327" y="259"/>
                </a:cubicBezTo>
                <a:cubicBezTo>
                  <a:pt x="1325" y="257"/>
                  <a:pt x="1325" y="257"/>
                  <a:pt x="1325" y="257"/>
                </a:cubicBezTo>
                <a:cubicBezTo>
                  <a:pt x="1326" y="253"/>
                  <a:pt x="1326" y="253"/>
                  <a:pt x="1326" y="253"/>
                </a:cubicBezTo>
                <a:cubicBezTo>
                  <a:pt x="1327" y="252"/>
                  <a:pt x="1327" y="252"/>
                  <a:pt x="1327" y="252"/>
                </a:cubicBezTo>
                <a:cubicBezTo>
                  <a:pt x="1329" y="253"/>
                  <a:pt x="1329" y="253"/>
                  <a:pt x="1329" y="253"/>
                </a:cubicBezTo>
                <a:cubicBezTo>
                  <a:pt x="1329" y="251"/>
                  <a:pt x="1329" y="251"/>
                  <a:pt x="1329" y="251"/>
                </a:cubicBezTo>
                <a:cubicBezTo>
                  <a:pt x="1332" y="248"/>
                  <a:pt x="1332" y="248"/>
                  <a:pt x="1332" y="248"/>
                </a:cubicBezTo>
                <a:cubicBezTo>
                  <a:pt x="1334" y="248"/>
                  <a:pt x="1334" y="248"/>
                  <a:pt x="1334" y="248"/>
                </a:cubicBezTo>
                <a:cubicBezTo>
                  <a:pt x="1335" y="249"/>
                  <a:pt x="1335" y="249"/>
                  <a:pt x="1335" y="249"/>
                </a:cubicBezTo>
                <a:cubicBezTo>
                  <a:pt x="1335" y="250"/>
                  <a:pt x="1335" y="250"/>
                  <a:pt x="1335" y="250"/>
                </a:cubicBezTo>
                <a:cubicBezTo>
                  <a:pt x="1338" y="255"/>
                  <a:pt x="1338" y="255"/>
                  <a:pt x="1338" y="255"/>
                </a:cubicBezTo>
                <a:cubicBezTo>
                  <a:pt x="1341" y="255"/>
                  <a:pt x="1341" y="255"/>
                  <a:pt x="1341" y="255"/>
                </a:cubicBezTo>
                <a:cubicBezTo>
                  <a:pt x="1343" y="258"/>
                  <a:pt x="1343" y="258"/>
                  <a:pt x="1343" y="258"/>
                </a:cubicBezTo>
                <a:cubicBezTo>
                  <a:pt x="1346" y="257"/>
                  <a:pt x="1346" y="257"/>
                  <a:pt x="1346" y="257"/>
                </a:cubicBezTo>
                <a:cubicBezTo>
                  <a:pt x="1347" y="256"/>
                  <a:pt x="1347" y="256"/>
                  <a:pt x="1347" y="256"/>
                </a:cubicBezTo>
                <a:cubicBezTo>
                  <a:pt x="1347" y="254"/>
                  <a:pt x="1347" y="254"/>
                  <a:pt x="1347" y="254"/>
                </a:cubicBezTo>
                <a:cubicBezTo>
                  <a:pt x="1348" y="254"/>
                  <a:pt x="1348" y="254"/>
                  <a:pt x="1348" y="254"/>
                </a:cubicBezTo>
                <a:cubicBezTo>
                  <a:pt x="1353" y="259"/>
                  <a:pt x="1353" y="259"/>
                  <a:pt x="1353" y="259"/>
                </a:cubicBezTo>
                <a:cubicBezTo>
                  <a:pt x="1354" y="261"/>
                  <a:pt x="1354" y="261"/>
                  <a:pt x="1354" y="261"/>
                </a:cubicBezTo>
                <a:cubicBezTo>
                  <a:pt x="1352" y="260"/>
                  <a:pt x="1352" y="260"/>
                  <a:pt x="1352" y="260"/>
                </a:cubicBezTo>
                <a:cubicBezTo>
                  <a:pt x="1352" y="262"/>
                  <a:pt x="1352" y="262"/>
                  <a:pt x="1352" y="262"/>
                </a:cubicBezTo>
                <a:cubicBezTo>
                  <a:pt x="1356" y="266"/>
                  <a:pt x="1356" y="266"/>
                  <a:pt x="1356" y="266"/>
                </a:cubicBezTo>
                <a:cubicBezTo>
                  <a:pt x="1357" y="266"/>
                  <a:pt x="1357" y="266"/>
                  <a:pt x="1357" y="266"/>
                </a:cubicBezTo>
                <a:cubicBezTo>
                  <a:pt x="1357" y="265"/>
                  <a:pt x="1357" y="265"/>
                  <a:pt x="1357" y="265"/>
                </a:cubicBezTo>
                <a:cubicBezTo>
                  <a:pt x="1357" y="262"/>
                  <a:pt x="1357" y="262"/>
                  <a:pt x="1357" y="262"/>
                </a:cubicBezTo>
                <a:cubicBezTo>
                  <a:pt x="1360" y="264"/>
                  <a:pt x="1360" y="264"/>
                  <a:pt x="1360" y="264"/>
                </a:cubicBezTo>
                <a:cubicBezTo>
                  <a:pt x="1364" y="271"/>
                  <a:pt x="1364" y="271"/>
                  <a:pt x="1364" y="271"/>
                </a:cubicBezTo>
                <a:cubicBezTo>
                  <a:pt x="1363" y="269"/>
                  <a:pt x="1363" y="269"/>
                  <a:pt x="1363" y="269"/>
                </a:cubicBezTo>
                <a:cubicBezTo>
                  <a:pt x="1361" y="269"/>
                  <a:pt x="1361" y="269"/>
                  <a:pt x="1361" y="269"/>
                </a:cubicBezTo>
                <a:cubicBezTo>
                  <a:pt x="1361" y="270"/>
                  <a:pt x="1361" y="270"/>
                  <a:pt x="1361" y="270"/>
                </a:cubicBezTo>
                <a:cubicBezTo>
                  <a:pt x="1363" y="272"/>
                  <a:pt x="1363" y="272"/>
                  <a:pt x="1363" y="272"/>
                </a:cubicBezTo>
                <a:cubicBezTo>
                  <a:pt x="1360" y="274"/>
                  <a:pt x="1360" y="274"/>
                  <a:pt x="1360" y="274"/>
                </a:cubicBezTo>
                <a:cubicBezTo>
                  <a:pt x="1360" y="276"/>
                  <a:pt x="1360" y="276"/>
                  <a:pt x="1360" y="276"/>
                </a:cubicBezTo>
                <a:cubicBezTo>
                  <a:pt x="1361" y="278"/>
                  <a:pt x="1361" y="278"/>
                  <a:pt x="1361" y="278"/>
                </a:cubicBezTo>
                <a:cubicBezTo>
                  <a:pt x="1363" y="277"/>
                  <a:pt x="1363" y="277"/>
                  <a:pt x="1363" y="277"/>
                </a:cubicBezTo>
                <a:cubicBezTo>
                  <a:pt x="1364" y="274"/>
                  <a:pt x="1364" y="274"/>
                  <a:pt x="1364" y="274"/>
                </a:cubicBezTo>
                <a:cubicBezTo>
                  <a:pt x="1364" y="274"/>
                  <a:pt x="1364" y="274"/>
                  <a:pt x="1364" y="274"/>
                </a:cubicBezTo>
                <a:cubicBezTo>
                  <a:pt x="1366" y="274"/>
                  <a:pt x="1366" y="274"/>
                  <a:pt x="1366" y="274"/>
                </a:cubicBezTo>
                <a:cubicBezTo>
                  <a:pt x="1366" y="272"/>
                  <a:pt x="1366" y="272"/>
                  <a:pt x="1366" y="272"/>
                </a:cubicBezTo>
                <a:cubicBezTo>
                  <a:pt x="1368" y="276"/>
                  <a:pt x="1368" y="276"/>
                  <a:pt x="1368" y="276"/>
                </a:cubicBezTo>
                <a:cubicBezTo>
                  <a:pt x="1373" y="279"/>
                  <a:pt x="1373" y="279"/>
                  <a:pt x="1373" y="279"/>
                </a:cubicBezTo>
                <a:cubicBezTo>
                  <a:pt x="1378" y="280"/>
                  <a:pt x="1378" y="280"/>
                  <a:pt x="1378" y="280"/>
                </a:cubicBezTo>
                <a:cubicBezTo>
                  <a:pt x="1381" y="282"/>
                  <a:pt x="1381" y="282"/>
                  <a:pt x="1381" y="282"/>
                </a:cubicBezTo>
                <a:cubicBezTo>
                  <a:pt x="1379" y="284"/>
                  <a:pt x="1379" y="284"/>
                  <a:pt x="1379" y="284"/>
                </a:cubicBezTo>
                <a:cubicBezTo>
                  <a:pt x="1382" y="288"/>
                  <a:pt x="1382" y="288"/>
                  <a:pt x="1382" y="288"/>
                </a:cubicBezTo>
                <a:cubicBezTo>
                  <a:pt x="1384" y="288"/>
                  <a:pt x="1384" y="288"/>
                  <a:pt x="1384" y="288"/>
                </a:cubicBezTo>
                <a:cubicBezTo>
                  <a:pt x="1387" y="293"/>
                  <a:pt x="1387" y="293"/>
                  <a:pt x="1387" y="293"/>
                </a:cubicBezTo>
                <a:cubicBezTo>
                  <a:pt x="1387" y="299"/>
                  <a:pt x="1387" y="299"/>
                  <a:pt x="1387" y="299"/>
                </a:cubicBezTo>
                <a:cubicBezTo>
                  <a:pt x="1386" y="300"/>
                  <a:pt x="1386" y="300"/>
                  <a:pt x="1386" y="300"/>
                </a:cubicBezTo>
                <a:cubicBezTo>
                  <a:pt x="1386" y="301"/>
                  <a:pt x="1386" y="301"/>
                  <a:pt x="1386" y="301"/>
                </a:cubicBezTo>
                <a:cubicBezTo>
                  <a:pt x="1388" y="302"/>
                  <a:pt x="1388" y="302"/>
                  <a:pt x="1388" y="302"/>
                </a:cubicBezTo>
                <a:cubicBezTo>
                  <a:pt x="1389" y="305"/>
                  <a:pt x="1389" y="305"/>
                  <a:pt x="1389" y="305"/>
                </a:cubicBezTo>
                <a:cubicBezTo>
                  <a:pt x="1388" y="305"/>
                  <a:pt x="1388" y="305"/>
                  <a:pt x="1388" y="305"/>
                </a:cubicBezTo>
                <a:cubicBezTo>
                  <a:pt x="1387" y="304"/>
                  <a:pt x="1387" y="304"/>
                  <a:pt x="1387" y="304"/>
                </a:cubicBezTo>
                <a:cubicBezTo>
                  <a:pt x="1379" y="304"/>
                  <a:pt x="1379" y="304"/>
                  <a:pt x="1379" y="304"/>
                </a:cubicBezTo>
                <a:cubicBezTo>
                  <a:pt x="1376" y="302"/>
                  <a:pt x="1376" y="302"/>
                  <a:pt x="1376" y="302"/>
                </a:cubicBezTo>
                <a:cubicBezTo>
                  <a:pt x="1375" y="303"/>
                  <a:pt x="1375" y="303"/>
                  <a:pt x="1375" y="303"/>
                </a:cubicBezTo>
                <a:cubicBezTo>
                  <a:pt x="1373" y="303"/>
                  <a:pt x="1373" y="303"/>
                  <a:pt x="1373" y="303"/>
                </a:cubicBezTo>
                <a:cubicBezTo>
                  <a:pt x="1373" y="301"/>
                  <a:pt x="1373" y="301"/>
                  <a:pt x="1373" y="301"/>
                </a:cubicBezTo>
                <a:cubicBezTo>
                  <a:pt x="1371" y="300"/>
                  <a:pt x="1371" y="300"/>
                  <a:pt x="1371" y="300"/>
                </a:cubicBezTo>
                <a:cubicBezTo>
                  <a:pt x="1371" y="301"/>
                  <a:pt x="1371" y="301"/>
                  <a:pt x="1371" y="301"/>
                </a:cubicBezTo>
                <a:cubicBezTo>
                  <a:pt x="1372" y="303"/>
                  <a:pt x="1372" y="303"/>
                  <a:pt x="1372" y="303"/>
                </a:cubicBezTo>
                <a:cubicBezTo>
                  <a:pt x="1368" y="305"/>
                  <a:pt x="1368" y="305"/>
                  <a:pt x="1368" y="305"/>
                </a:cubicBezTo>
                <a:cubicBezTo>
                  <a:pt x="1366" y="305"/>
                  <a:pt x="1366" y="305"/>
                  <a:pt x="1366" y="305"/>
                </a:cubicBezTo>
                <a:cubicBezTo>
                  <a:pt x="1365" y="306"/>
                  <a:pt x="1365" y="306"/>
                  <a:pt x="1365" y="306"/>
                </a:cubicBezTo>
                <a:cubicBezTo>
                  <a:pt x="1366" y="307"/>
                  <a:pt x="1366" y="307"/>
                  <a:pt x="1366" y="307"/>
                </a:cubicBezTo>
                <a:cubicBezTo>
                  <a:pt x="1363" y="310"/>
                  <a:pt x="1363" y="310"/>
                  <a:pt x="1363" y="310"/>
                </a:cubicBezTo>
                <a:cubicBezTo>
                  <a:pt x="1361" y="310"/>
                  <a:pt x="1361" y="310"/>
                  <a:pt x="1361" y="310"/>
                </a:cubicBezTo>
                <a:cubicBezTo>
                  <a:pt x="1361" y="312"/>
                  <a:pt x="1361" y="312"/>
                  <a:pt x="1361" y="312"/>
                </a:cubicBezTo>
                <a:cubicBezTo>
                  <a:pt x="1362" y="312"/>
                  <a:pt x="1362" y="312"/>
                  <a:pt x="1362" y="312"/>
                </a:cubicBezTo>
                <a:cubicBezTo>
                  <a:pt x="1359" y="316"/>
                  <a:pt x="1359" y="316"/>
                  <a:pt x="1359" y="316"/>
                </a:cubicBezTo>
                <a:cubicBezTo>
                  <a:pt x="1358" y="318"/>
                  <a:pt x="1358" y="318"/>
                  <a:pt x="1358" y="318"/>
                </a:cubicBezTo>
                <a:cubicBezTo>
                  <a:pt x="1357" y="317"/>
                  <a:pt x="1357" y="317"/>
                  <a:pt x="1357" y="317"/>
                </a:cubicBezTo>
                <a:cubicBezTo>
                  <a:pt x="1356" y="317"/>
                  <a:pt x="1356" y="317"/>
                  <a:pt x="1356" y="317"/>
                </a:cubicBezTo>
                <a:cubicBezTo>
                  <a:pt x="1356" y="320"/>
                  <a:pt x="1356" y="320"/>
                  <a:pt x="1356" y="320"/>
                </a:cubicBezTo>
                <a:cubicBezTo>
                  <a:pt x="1357" y="323"/>
                  <a:pt x="1357" y="323"/>
                  <a:pt x="1357" y="323"/>
                </a:cubicBezTo>
                <a:cubicBezTo>
                  <a:pt x="1355" y="325"/>
                  <a:pt x="1355" y="325"/>
                  <a:pt x="1355" y="325"/>
                </a:cubicBezTo>
                <a:cubicBezTo>
                  <a:pt x="1354" y="324"/>
                  <a:pt x="1354" y="324"/>
                  <a:pt x="1354" y="324"/>
                </a:cubicBezTo>
                <a:cubicBezTo>
                  <a:pt x="1353" y="326"/>
                  <a:pt x="1353" y="326"/>
                  <a:pt x="1353" y="326"/>
                </a:cubicBezTo>
                <a:cubicBezTo>
                  <a:pt x="1354" y="328"/>
                  <a:pt x="1354" y="328"/>
                  <a:pt x="1354" y="328"/>
                </a:cubicBezTo>
                <a:cubicBezTo>
                  <a:pt x="1352" y="330"/>
                  <a:pt x="1352" y="330"/>
                  <a:pt x="1352" y="330"/>
                </a:cubicBezTo>
                <a:cubicBezTo>
                  <a:pt x="1350" y="331"/>
                  <a:pt x="1350" y="331"/>
                  <a:pt x="1350" y="331"/>
                </a:cubicBezTo>
                <a:cubicBezTo>
                  <a:pt x="1351" y="332"/>
                  <a:pt x="1351" y="332"/>
                  <a:pt x="1351" y="332"/>
                </a:cubicBezTo>
                <a:cubicBezTo>
                  <a:pt x="1351" y="333"/>
                  <a:pt x="1351" y="333"/>
                  <a:pt x="1351" y="333"/>
                </a:cubicBezTo>
                <a:cubicBezTo>
                  <a:pt x="1350" y="335"/>
                  <a:pt x="1350" y="335"/>
                  <a:pt x="1350" y="335"/>
                </a:cubicBezTo>
                <a:cubicBezTo>
                  <a:pt x="1348" y="334"/>
                  <a:pt x="1348" y="334"/>
                  <a:pt x="1348" y="334"/>
                </a:cubicBezTo>
                <a:cubicBezTo>
                  <a:pt x="1347" y="335"/>
                  <a:pt x="1347" y="335"/>
                  <a:pt x="1347" y="335"/>
                </a:cubicBezTo>
                <a:cubicBezTo>
                  <a:pt x="1348" y="336"/>
                  <a:pt x="1348" y="336"/>
                  <a:pt x="1348" y="336"/>
                </a:cubicBezTo>
                <a:cubicBezTo>
                  <a:pt x="1348" y="338"/>
                  <a:pt x="1348" y="338"/>
                  <a:pt x="1348" y="338"/>
                </a:cubicBezTo>
                <a:cubicBezTo>
                  <a:pt x="1346" y="340"/>
                  <a:pt x="1346" y="340"/>
                  <a:pt x="1346" y="340"/>
                </a:cubicBezTo>
                <a:cubicBezTo>
                  <a:pt x="1347" y="341"/>
                  <a:pt x="1347" y="341"/>
                  <a:pt x="1347" y="341"/>
                </a:cubicBezTo>
                <a:cubicBezTo>
                  <a:pt x="1347" y="343"/>
                  <a:pt x="1347" y="343"/>
                  <a:pt x="1347" y="343"/>
                </a:cubicBezTo>
                <a:cubicBezTo>
                  <a:pt x="1345" y="343"/>
                  <a:pt x="1345" y="343"/>
                  <a:pt x="1345" y="343"/>
                </a:cubicBezTo>
                <a:cubicBezTo>
                  <a:pt x="1344" y="342"/>
                  <a:pt x="1344" y="342"/>
                  <a:pt x="1344" y="342"/>
                </a:cubicBezTo>
                <a:cubicBezTo>
                  <a:pt x="1343" y="343"/>
                  <a:pt x="1343" y="343"/>
                  <a:pt x="1343" y="343"/>
                </a:cubicBezTo>
                <a:cubicBezTo>
                  <a:pt x="1344" y="344"/>
                  <a:pt x="1344" y="344"/>
                  <a:pt x="1344" y="344"/>
                </a:cubicBezTo>
                <a:cubicBezTo>
                  <a:pt x="1347" y="346"/>
                  <a:pt x="1347" y="346"/>
                  <a:pt x="1347" y="346"/>
                </a:cubicBezTo>
                <a:cubicBezTo>
                  <a:pt x="1346" y="348"/>
                  <a:pt x="1346" y="348"/>
                  <a:pt x="1346" y="348"/>
                </a:cubicBezTo>
                <a:cubicBezTo>
                  <a:pt x="1343" y="348"/>
                  <a:pt x="1343" y="348"/>
                  <a:pt x="1343" y="348"/>
                </a:cubicBezTo>
                <a:cubicBezTo>
                  <a:pt x="1343" y="349"/>
                  <a:pt x="1343" y="349"/>
                  <a:pt x="1343" y="349"/>
                </a:cubicBezTo>
                <a:cubicBezTo>
                  <a:pt x="1344" y="350"/>
                  <a:pt x="1344" y="350"/>
                  <a:pt x="1344" y="350"/>
                </a:cubicBezTo>
                <a:cubicBezTo>
                  <a:pt x="1346" y="354"/>
                  <a:pt x="1346" y="354"/>
                  <a:pt x="1346" y="354"/>
                </a:cubicBezTo>
                <a:cubicBezTo>
                  <a:pt x="1345" y="355"/>
                  <a:pt x="1345" y="355"/>
                  <a:pt x="1345" y="355"/>
                </a:cubicBezTo>
                <a:cubicBezTo>
                  <a:pt x="1346" y="356"/>
                  <a:pt x="1346" y="356"/>
                  <a:pt x="1346" y="356"/>
                </a:cubicBezTo>
                <a:cubicBezTo>
                  <a:pt x="1343" y="359"/>
                  <a:pt x="1343" y="359"/>
                  <a:pt x="1343" y="359"/>
                </a:cubicBezTo>
                <a:cubicBezTo>
                  <a:pt x="1344" y="361"/>
                  <a:pt x="1344" y="361"/>
                  <a:pt x="1344" y="361"/>
                </a:cubicBezTo>
                <a:cubicBezTo>
                  <a:pt x="1342" y="365"/>
                  <a:pt x="1342" y="365"/>
                  <a:pt x="1342" y="365"/>
                </a:cubicBezTo>
                <a:cubicBezTo>
                  <a:pt x="1342" y="370"/>
                  <a:pt x="1342" y="370"/>
                  <a:pt x="1342" y="370"/>
                </a:cubicBezTo>
                <a:cubicBezTo>
                  <a:pt x="1340" y="372"/>
                  <a:pt x="1340" y="372"/>
                  <a:pt x="1340" y="372"/>
                </a:cubicBezTo>
                <a:cubicBezTo>
                  <a:pt x="1340" y="374"/>
                  <a:pt x="1340" y="374"/>
                  <a:pt x="1340" y="374"/>
                </a:cubicBezTo>
                <a:cubicBezTo>
                  <a:pt x="1341" y="374"/>
                  <a:pt x="1341" y="374"/>
                  <a:pt x="1341" y="374"/>
                </a:cubicBezTo>
                <a:cubicBezTo>
                  <a:pt x="1342" y="375"/>
                  <a:pt x="1342" y="375"/>
                  <a:pt x="1342" y="375"/>
                </a:cubicBezTo>
                <a:cubicBezTo>
                  <a:pt x="1341" y="377"/>
                  <a:pt x="1341" y="377"/>
                  <a:pt x="1341" y="377"/>
                </a:cubicBezTo>
                <a:cubicBezTo>
                  <a:pt x="1344" y="381"/>
                  <a:pt x="1344" y="381"/>
                  <a:pt x="1344" y="381"/>
                </a:cubicBezTo>
                <a:cubicBezTo>
                  <a:pt x="1345" y="383"/>
                  <a:pt x="1345" y="383"/>
                  <a:pt x="1345" y="383"/>
                </a:cubicBezTo>
                <a:cubicBezTo>
                  <a:pt x="1343" y="382"/>
                  <a:pt x="1343" y="382"/>
                  <a:pt x="1343" y="382"/>
                </a:cubicBezTo>
                <a:cubicBezTo>
                  <a:pt x="1340" y="382"/>
                  <a:pt x="1340" y="382"/>
                  <a:pt x="1340" y="382"/>
                </a:cubicBezTo>
                <a:cubicBezTo>
                  <a:pt x="1339" y="381"/>
                  <a:pt x="1339" y="381"/>
                  <a:pt x="1339" y="381"/>
                </a:cubicBezTo>
                <a:cubicBezTo>
                  <a:pt x="1337" y="382"/>
                  <a:pt x="1337" y="382"/>
                  <a:pt x="1337" y="382"/>
                </a:cubicBezTo>
                <a:cubicBezTo>
                  <a:pt x="1334" y="378"/>
                  <a:pt x="1334" y="378"/>
                  <a:pt x="1334" y="378"/>
                </a:cubicBezTo>
                <a:cubicBezTo>
                  <a:pt x="1335" y="377"/>
                  <a:pt x="1335" y="377"/>
                  <a:pt x="1335" y="377"/>
                </a:cubicBezTo>
                <a:cubicBezTo>
                  <a:pt x="1334" y="377"/>
                  <a:pt x="1334" y="377"/>
                  <a:pt x="1334" y="377"/>
                </a:cubicBezTo>
                <a:cubicBezTo>
                  <a:pt x="1332" y="377"/>
                  <a:pt x="1332" y="377"/>
                  <a:pt x="1332" y="377"/>
                </a:cubicBezTo>
                <a:cubicBezTo>
                  <a:pt x="1331" y="377"/>
                  <a:pt x="1331" y="377"/>
                  <a:pt x="1331" y="377"/>
                </a:cubicBezTo>
                <a:cubicBezTo>
                  <a:pt x="1330" y="375"/>
                  <a:pt x="1330" y="375"/>
                  <a:pt x="1330" y="375"/>
                </a:cubicBezTo>
                <a:cubicBezTo>
                  <a:pt x="1325" y="372"/>
                  <a:pt x="1325" y="372"/>
                  <a:pt x="1325" y="372"/>
                </a:cubicBezTo>
                <a:cubicBezTo>
                  <a:pt x="1322" y="371"/>
                  <a:pt x="1322" y="371"/>
                  <a:pt x="1322" y="371"/>
                </a:cubicBezTo>
                <a:cubicBezTo>
                  <a:pt x="1318" y="374"/>
                  <a:pt x="1318" y="374"/>
                  <a:pt x="1318" y="374"/>
                </a:cubicBezTo>
                <a:cubicBezTo>
                  <a:pt x="1317" y="373"/>
                  <a:pt x="1317" y="373"/>
                  <a:pt x="1317" y="373"/>
                </a:cubicBezTo>
                <a:cubicBezTo>
                  <a:pt x="1315" y="373"/>
                  <a:pt x="1315" y="373"/>
                  <a:pt x="1315" y="373"/>
                </a:cubicBezTo>
                <a:cubicBezTo>
                  <a:pt x="1313" y="376"/>
                  <a:pt x="1313" y="376"/>
                  <a:pt x="1313" y="376"/>
                </a:cubicBezTo>
                <a:cubicBezTo>
                  <a:pt x="1310" y="376"/>
                  <a:pt x="1310" y="376"/>
                  <a:pt x="1310" y="376"/>
                </a:cubicBezTo>
                <a:cubicBezTo>
                  <a:pt x="1309" y="380"/>
                  <a:pt x="1309" y="380"/>
                  <a:pt x="1309" y="380"/>
                </a:cubicBezTo>
                <a:cubicBezTo>
                  <a:pt x="1308" y="382"/>
                  <a:pt x="1308" y="382"/>
                  <a:pt x="1308" y="382"/>
                </a:cubicBezTo>
                <a:cubicBezTo>
                  <a:pt x="1306" y="380"/>
                  <a:pt x="1306" y="380"/>
                  <a:pt x="1306" y="380"/>
                </a:cubicBezTo>
                <a:cubicBezTo>
                  <a:pt x="1307" y="383"/>
                  <a:pt x="1307" y="383"/>
                  <a:pt x="1307" y="383"/>
                </a:cubicBezTo>
                <a:cubicBezTo>
                  <a:pt x="1306" y="385"/>
                  <a:pt x="1306" y="385"/>
                  <a:pt x="1306" y="385"/>
                </a:cubicBezTo>
                <a:cubicBezTo>
                  <a:pt x="1307" y="388"/>
                  <a:pt x="1307" y="388"/>
                  <a:pt x="1307" y="388"/>
                </a:cubicBezTo>
                <a:cubicBezTo>
                  <a:pt x="1306" y="389"/>
                  <a:pt x="1306" y="389"/>
                  <a:pt x="1306" y="389"/>
                </a:cubicBezTo>
                <a:cubicBezTo>
                  <a:pt x="1305" y="395"/>
                  <a:pt x="1305" y="395"/>
                  <a:pt x="1305" y="395"/>
                </a:cubicBezTo>
                <a:cubicBezTo>
                  <a:pt x="1304" y="396"/>
                  <a:pt x="1304" y="396"/>
                  <a:pt x="1304" y="396"/>
                </a:cubicBezTo>
                <a:cubicBezTo>
                  <a:pt x="1303" y="394"/>
                  <a:pt x="1303" y="394"/>
                  <a:pt x="1303" y="394"/>
                </a:cubicBezTo>
                <a:cubicBezTo>
                  <a:pt x="1300" y="387"/>
                  <a:pt x="1300" y="387"/>
                  <a:pt x="1300" y="387"/>
                </a:cubicBezTo>
                <a:cubicBezTo>
                  <a:pt x="1300" y="385"/>
                  <a:pt x="1300" y="385"/>
                  <a:pt x="1300" y="385"/>
                </a:cubicBezTo>
                <a:cubicBezTo>
                  <a:pt x="1298" y="384"/>
                  <a:pt x="1298" y="384"/>
                  <a:pt x="1298" y="384"/>
                </a:cubicBezTo>
                <a:cubicBezTo>
                  <a:pt x="1297" y="382"/>
                  <a:pt x="1297" y="382"/>
                  <a:pt x="1297" y="382"/>
                </a:cubicBezTo>
                <a:cubicBezTo>
                  <a:pt x="1296" y="384"/>
                  <a:pt x="1296" y="384"/>
                  <a:pt x="1296" y="384"/>
                </a:cubicBezTo>
                <a:cubicBezTo>
                  <a:pt x="1294" y="389"/>
                  <a:pt x="1294" y="389"/>
                  <a:pt x="1294" y="389"/>
                </a:cubicBezTo>
                <a:cubicBezTo>
                  <a:pt x="1292" y="390"/>
                  <a:pt x="1292" y="390"/>
                  <a:pt x="1292" y="390"/>
                </a:cubicBezTo>
                <a:cubicBezTo>
                  <a:pt x="1292" y="392"/>
                  <a:pt x="1292" y="392"/>
                  <a:pt x="1292" y="392"/>
                </a:cubicBezTo>
                <a:cubicBezTo>
                  <a:pt x="1294" y="393"/>
                  <a:pt x="1294" y="393"/>
                  <a:pt x="1294" y="393"/>
                </a:cubicBezTo>
                <a:cubicBezTo>
                  <a:pt x="1292" y="398"/>
                  <a:pt x="1292" y="398"/>
                  <a:pt x="1292" y="398"/>
                </a:cubicBezTo>
                <a:cubicBezTo>
                  <a:pt x="1290" y="395"/>
                  <a:pt x="1290" y="395"/>
                  <a:pt x="1290" y="395"/>
                </a:cubicBezTo>
                <a:cubicBezTo>
                  <a:pt x="1289" y="395"/>
                  <a:pt x="1289" y="395"/>
                  <a:pt x="1289" y="395"/>
                </a:cubicBezTo>
                <a:cubicBezTo>
                  <a:pt x="1288" y="394"/>
                  <a:pt x="1288" y="394"/>
                  <a:pt x="1288" y="394"/>
                </a:cubicBezTo>
                <a:cubicBezTo>
                  <a:pt x="1286" y="394"/>
                  <a:pt x="1286" y="394"/>
                  <a:pt x="1286" y="394"/>
                </a:cubicBezTo>
                <a:cubicBezTo>
                  <a:pt x="1285" y="397"/>
                  <a:pt x="1285" y="397"/>
                  <a:pt x="1285" y="397"/>
                </a:cubicBezTo>
                <a:cubicBezTo>
                  <a:pt x="1284" y="397"/>
                  <a:pt x="1284" y="397"/>
                  <a:pt x="1284" y="397"/>
                </a:cubicBezTo>
                <a:cubicBezTo>
                  <a:pt x="1282" y="396"/>
                  <a:pt x="1282" y="396"/>
                  <a:pt x="1282" y="396"/>
                </a:cubicBezTo>
                <a:cubicBezTo>
                  <a:pt x="1281" y="396"/>
                  <a:pt x="1281" y="396"/>
                  <a:pt x="1281" y="396"/>
                </a:cubicBezTo>
                <a:cubicBezTo>
                  <a:pt x="1280" y="398"/>
                  <a:pt x="1280" y="398"/>
                  <a:pt x="1280" y="398"/>
                </a:cubicBezTo>
                <a:cubicBezTo>
                  <a:pt x="1282" y="400"/>
                  <a:pt x="1282" y="400"/>
                  <a:pt x="1282" y="400"/>
                </a:cubicBezTo>
                <a:cubicBezTo>
                  <a:pt x="1281" y="400"/>
                  <a:pt x="1281" y="400"/>
                  <a:pt x="1281" y="400"/>
                </a:cubicBezTo>
                <a:cubicBezTo>
                  <a:pt x="1280" y="402"/>
                  <a:pt x="1280" y="402"/>
                  <a:pt x="1280" y="402"/>
                </a:cubicBezTo>
                <a:cubicBezTo>
                  <a:pt x="1280" y="404"/>
                  <a:pt x="1280" y="404"/>
                  <a:pt x="1280" y="404"/>
                </a:cubicBezTo>
                <a:cubicBezTo>
                  <a:pt x="1282" y="406"/>
                  <a:pt x="1282" y="406"/>
                  <a:pt x="1282" y="406"/>
                </a:cubicBezTo>
                <a:cubicBezTo>
                  <a:pt x="1282" y="409"/>
                  <a:pt x="1282" y="409"/>
                  <a:pt x="1282" y="409"/>
                </a:cubicBezTo>
                <a:cubicBezTo>
                  <a:pt x="1281" y="409"/>
                  <a:pt x="1281" y="409"/>
                  <a:pt x="1281" y="409"/>
                </a:cubicBezTo>
                <a:cubicBezTo>
                  <a:pt x="1282" y="411"/>
                  <a:pt x="1282" y="411"/>
                  <a:pt x="1282" y="411"/>
                </a:cubicBezTo>
                <a:cubicBezTo>
                  <a:pt x="1284" y="411"/>
                  <a:pt x="1284" y="411"/>
                  <a:pt x="1284" y="411"/>
                </a:cubicBezTo>
                <a:cubicBezTo>
                  <a:pt x="1285" y="413"/>
                  <a:pt x="1285" y="413"/>
                  <a:pt x="1285" y="413"/>
                </a:cubicBezTo>
                <a:cubicBezTo>
                  <a:pt x="1286" y="414"/>
                  <a:pt x="1286" y="414"/>
                  <a:pt x="1286" y="414"/>
                </a:cubicBezTo>
                <a:cubicBezTo>
                  <a:pt x="1285" y="414"/>
                  <a:pt x="1285" y="414"/>
                  <a:pt x="1285" y="414"/>
                </a:cubicBezTo>
                <a:cubicBezTo>
                  <a:pt x="1284" y="416"/>
                  <a:pt x="1284" y="416"/>
                  <a:pt x="1284" y="416"/>
                </a:cubicBezTo>
                <a:cubicBezTo>
                  <a:pt x="1286" y="417"/>
                  <a:pt x="1286" y="417"/>
                  <a:pt x="1286" y="417"/>
                </a:cubicBezTo>
                <a:cubicBezTo>
                  <a:pt x="1288" y="419"/>
                  <a:pt x="1288" y="419"/>
                  <a:pt x="1288" y="419"/>
                </a:cubicBezTo>
                <a:cubicBezTo>
                  <a:pt x="1287" y="420"/>
                  <a:pt x="1287" y="420"/>
                  <a:pt x="1287" y="420"/>
                </a:cubicBezTo>
                <a:cubicBezTo>
                  <a:pt x="1286" y="418"/>
                  <a:pt x="1286" y="418"/>
                  <a:pt x="1286" y="418"/>
                </a:cubicBezTo>
                <a:cubicBezTo>
                  <a:pt x="1284" y="419"/>
                  <a:pt x="1284" y="419"/>
                  <a:pt x="1284" y="419"/>
                </a:cubicBezTo>
                <a:cubicBezTo>
                  <a:pt x="1284" y="420"/>
                  <a:pt x="1284" y="420"/>
                  <a:pt x="1284" y="420"/>
                </a:cubicBezTo>
                <a:cubicBezTo>
                  <a:pt x="1286" y="422"/>
                  <a:pt x="1286" y="422"/>
                  <a:pt x="1286" y="422"/>
                </a:cubicBezTo>
                <a:cubicBezTo>
                  <a:pt x="1287" y="421"/>
                  <a:pt x="1287" y="421"/>
                  <a:pt x="1287" y="421"/>
                </a:cubicBezTo>
                <a:cubicBezTo>
                  <a:pt x="1287" y="423"/>
                  <a:pt x="1287" y="423"/>
                  <a:pt x="1287" y="423"/>
                </a:cubicBezTo>
                <a:cubicBezTo>
                  <a:pt x="1286" y="426"/>
                  <a:pt x="1286" y="426"/>
                  <a:pt x="1286" y="426"/>
                </a:cubicBezTo>
                <a:cubicBezTo>
                  <a:pt x="1287" y="428"/>
                  <a:pt x="1287" y="428"/>
                  <a:pt x="1287" y="428"/>
                </a:cubicBezTo>
                <a:cubicBezTo>
                  <a:pt x="1285" y="430"/>
                  <a:pt x="1285" y="430"/>
                  <a:pt x="1285" y="430"/>
                </a:cubicBezTo>
                <a:cubicBezTo>
                  <a:pt x="1286" y="433"/>
                  <a:pt x="1286" y="433"/>
                  <a:pt x="1286" y="433"/>
                </a:cubicBezTo>
                <a:cubicBezTo>
                  <a:pt x="1286" y="434"/>
                  <a:pt x="1286" y="434"/>
                  <a:pt x="1286" y="434"/>
                </a:cubicBezTo>
                <a:cubicBezTo>
                  <a:pt x="1287" y="436"/>
                  <a:pt x="1287" y="436"/>
                  <a:pt x="1287" y="436"/>
                </a:cubicBezTo>
                <a:cubicBezTo>
                  <a:pt x="1287" y="438"/>
                  <a:pt x="1287" y="438"/>
                  <a:pt x="1287" y="438"/>
                </a:cubicBezTo>
                <a:cubicBezTo>
                  <a:pt x="1287" y="440"/>
                  <a:pt x="1287" y="440"/>
                  <a:pt x="1287" y="440"/>
                </a:cubicBezTo>
                <a:cubicBezTo>
                  <a:pt x="1288" y="444"/>
                  <a:pt x="1288" y="444"/>
                  <a:pt x="1288" y="444"/>
                </a:cubicBezTo>
                <a:cubicBezTo>
                  <a:pt x="1288" y="445"/>
                  <a:pt x="1288" y="445"/>
                  <a:pt x="1288" y="445"/>
                </a:cubicBezTo>
                <a:cubicBezTo>
                  <a:pt x="1289" y="446"/>
                  <a:pt x="1289" y="446"/>
                  <a:pt x="1289" y="446"/>
                </a:cubicBezTo>
                <a:cubicBezTo>
                  <a:pt x="1291" y="448"/>
                  <a:pt x="1291" y="448"/>
                  <a:pt x="1291" y="448"/>
                </a:cubicBezTo>
                <a:cubicBezTo>
                  <a:pt x="1294" y="452"/>
                  <a:pt x="1294" y="452"/>
                  <a:pt x="1294" y="452"/>
                </a:cubicBezTo>
                <a:cubicBezTo>
                  <a:pt x="1297" y="453"/>
                  <a:pt x="1297" y="453"/>
                  <a:pt x="1297" y="453"/>
                </a:cubicBezTo>
                <a:cubicBezTo>
                  <a:pt x="1297" y="452"/>
                  <a:pt x="1297" y="452"/>
                  <a:pt x="1297" y="452"/>
                </a:cubicBezTo>
                <a:cubicBezTo>
                  <a:pt x="1298" y="450"/>
                  <a:pt x="1298" y="450"/>
                  <a:pt x="1298" y="450"/>
                </a:cubicBezTo>
                <a:cubicBezTo>
                  <a:pt x="1295" y="447"/>
                  <a:pt x="1295" y="447"/>
                  <a:pt x="1295" y="447"/>
                </a:cubicBezTo>
                <a:cubicBezTo>
                  <a:pt x="1295" y="446"/>
                  <a:pt x="1295" y="446"/>
                  <a:pt x="1295" y="446"/>
                </a:cubicBezTo>
                <a:cubicBezTo>
                  <a:pt x="1296" y="444"/>
                  <a:pt x="1296" y="444"/>
                  <a:pt x="1296" y="444"/>
                </a:cubicBezTo>
                <a:cubicBezTo>
                  <a:pt x="1299" y="445"/>
                  <a:pt x="1299" y="445"/>
                  <a:pt x="1299" y="445"/>
                </a:cubicBezTo>
                <a:cubicBezTo>
                  <a:pt x="1302" y="447"/>
                  <a:pt x="1302" y="447"/>
                  <a:pt x="1302" y="447"/>
                </a:cubicBezTo>
                <a:cubicBezTo>
                  <a:pt x="1304" y="447"/>
                  <a:pt x="1304" y="447"/>
                  <a:pt x="1304" y="447"/>
                </a:cubicBezTo>
                <a:cubicBezTo>
                  <a:pt x="1306" y="448"/>
                  <a:pt x="1306" y="448"/>
                  <a:pt x="1306" y="448"/>
                </a:cubicBezTo>
                <a:cubicBezTo>
                  <a:pt x="1306" y="450"/>
                  <a:pt x="1306" y="450"/>
                  <a:pt x="1306" y="450"/>
                </a:cubicBezTo>
                <a:cubicBezTo>
                  <a:pt x="1305" y="451"/>
                  <a:pt x="1305" y="451"/>
                  <a:pt x="1305" y="451"/>
                </a:cubicBezTo>
                <a:cubicBezTo>
                  <a:pt x="1307" y="452"/>
                  <a:pt x="1307" y="452"/>
                  <a:pt x="1307" y="452"/>
                </a:cubicBezTo>
                <a:cubicBezTo>
                  <a:pt x="1305" y="454"/>
                  <a:pt x="1305" y="454"/>
                  <a:pt x="1305" y="454"/>
                </a:cubicBezTo>
                <a:cubicBezTo>
                  <a:pt x="1306" y="456"/>
                  <a:pt x="1306" y="456"/>
                  <a:pt x="1306" y="456"/>
                </a:cubicBezTo>
                <a:cubicBezTo>
                  <a:pt x="1305" y="457"/>
                  <a:pt x="1305" y="457"/>
                  <a:pt x="1305" y="457"/>
                </a:cubicBezTo>
                <a:cubicBezTo>
                  <a:pt x="1304" y="459"/>
                  <a:pt x="1304" y="459"/>
                  <a:pt x="1304" y="459"/>
                </a:cubicBezTo>
                <a:cubicBezTo>
                  <a:pt x="1305" y="463"/>
                  <a:pt x="1305" y="463"/>
                  <a:pt x="1305" y="463"/>
                </a:cubicBezTo>
                <a:cubicBezTo>
                  <a:pt x="1307" y="465"/>
                  <a:pt x="1307" y="465"/>
                  <a:pt x="1307" y="465"/>
                </a:cubicBezTo>
                <a:cubicBezTo>
                  <a:pt x="1307" y="469"/>
                  <a:pt x="1307" y="469"/>
                  <a:pt x="1307" y="469"/>
                </a:cubicBezTo>
                <a:cubicBezTo>
                  <a:pt x="1309" y="470"/>
                  <a:pt x="1309" y="470"/>
                  <a:pt x="1309" y="470"/>
                </a:cubicBezTo>
                <a:cubicBezTo>
                  <a:pt x="1310" y="470"/>
                  <a:pt x="1310" y="470"/>
                  <a:pt x="1310" y="470"/>
                </a:cubicBezTo>
                <a:cubicBezTo>
                  <a:pt x="1310" y="468"/>
                  <a:pt x="1310" y="468"/>
                  <a:pt x="1310" y="468"/>
                </a:cubicBezTo>
                <a:cubicBezTo>
                  <a:pt x="1312" y="467"/>
                  <a:pt x="1312" y="467"/>
                  <a:pt x="1312" y="467"/>
                </a:cubicBezTo>
                <a:cubicBezTo>
                  <a:pt x="1312" y="466"/>
                  <a:pt x="1312" y="466"/>
                  <a:pt x="1312" y="466"/>
                </a:cubicBezTo>
                <a:cubicBezTo>
                  <a:pt x="1313" y="467"/>
                  <a:pt x="1313" y="467"/>
                  <a:pt x="1313" y="467"/>
                </a:cubicBezTo>
                <a:cubicBezTo>
                  <a:pt x="1315" y="468"/>
                  <a:pt x="1315" y="468"/>
                  <a:pt x="1315" y="468"/>
                </a:cubicBezTo>
                <a:cubicBezTo>
                  <a:pt x="1315" y="473"/>
                  <a:pt x="1315" y="473"/>
                  <a:pt x="1315" y="473"/>
                </a:cubicBezTo>
                <a:cubicBezTo>
                  <a:pt x="1320" y="477"/>
                  <a:pt x="1320" y="477"/>
                  <a:pt x="1320" y="477"/>
                </a:cubicBezTo>
                <a:cubicBezTo>
                  <a:pt x="1322" y="480"/>
                  <a:pt x="1322" y="480"/>
                  <a:pt x="1322" y="480"/>
                </a:cubicBezTo>
                <a:cubicBezTo>
                  <a:pt x="1321" y="482"/>
                  <a:pt x="1321" y="482"/>
                  <a:pt x="1321" y="482"/>
                </a:cubicBezTo>
                <a:cubicBezTo>
                  <a:pt x="1321" y="485"/>
                  <a:pt x="1321" y="485"/>
                  <a:pt x="1321" y="485"/>
                </a:cubicBezTo>
                <a:cubicBezTo>
                  <a:pt x="1319" y="485"/>
                  <a:pt x="1319" y="485"/>
                  <a:pt x="1319" y="485"/>
                </a:cubicBezTo>
                <a:cubicBezTo>
                  <a:pt x="1316" y="483"/>
                  <a:pt x="1316" y="483"/>
                  <a:pt x="1316" y="483"/>
                </a:cubicBezTo>
                <a:cubicBezTo>
                  <a:pt x="1313" y="482"/>
                  <a:pt x="1313" y="482"/>
                  <a:pt x="1313" y="482"/>
                </a:cubicBezTo>
                <a:cubicBezTo>
                  <a:pt x="1313" y="479"/>
                  <a:pt x="1313" y="479"/>
                  <a:pt x="1313" y="479"/>
                </a:cubicBezTo>
                <a:cubicBezTo>
                  <a:pt x="1314" y="477"/>
                  <a:pt x="1314" y="477"/>
                  <a:pt x="1314" y="477"/>
                </a:cubicBezTo>
                <a:cubicBezTo>
                  <a:pt x="1314" y="474"/>
                  <a:pt x="1314" y="474"/>
                  <a:pt x="1314" y="474"/>
                </a:cubicBezTo>
                <a:cubicBezTo>
                  <a:pt x="1314" y="472"/>
                  <a:pt x="1314" y="472"/>
                  <a:pt x="1314" y="472"/>
                </a:cubicBezTo>
                <a:cubicBezTo>
                  <a:pt x="1312" y="473"/>
                  <a:pt x="1312" y="473"/>
                  <a:pt x="1312" y="473"/>
                </a:cubicBezTo>
                <a:cubicBezTo>
                  <a:pt x="1313" y="474"/>
                  <a:pt x="1313" y="474"/>
                  <a:pt x="1313" y="474"/>
                </a:cubicBezTo>
                <a:cubicBezTo>
                  <a:pt x="1313" y="476"/>
                  <a:pt x="1313" y="476"/>
                  <a:pt x="1313" y="476"/>
                </a:cubicBezTo>
                <a:cubicBezTo>
                  <a:pt x="1311" y="476"/>
                  <a:pt x="1311" y="476"/>
                  <a:pt x="1311" y="476"/>
                </a:cubicBezTo>
                <a:cubicBezTo>
                  <a:pt x="1309" y="479"/>
                  <a:pt x="1309" y="479"/>
                  <a:pt x="1309" y="479"/>
                </a:cubicBezTo>
                <a:cubicBezTo>
                  <a:pt x="1309" y="481"/>
                  <a:pt x="1309" y="481"/>
                  <a:pt x="1309" y="481"/>
                </a:cubicBezTo>
                <a:cubicBezTo>
                  <a:pt x="1312" y="480"/>
                  <a:pt x="1312" y="480"/>
                  <a:pt x="1312" y="480"/>
                </a:cubicBezTo>
                <a:cubicBezTo>
                  <a:pt x="1312" y="482"/>
                  <a:pt x="1312" y="482"/>
                  <a:pt x="1312" y="482"/>
                </a:cubicBezTo>
                <a:cubicBezTo>
                  <a:pt x="1310" y="485"/>
                  <a:pt x="1310" y="485"/>
                  <a:pt x="1310" y="485"/>
                </a:cubicBezTo>
                <a:cubicBezTo>
                  <a:pt x="1311" y="488"/>
                  <a:pt x="1311" y="488"/>
                  <a:pt x="1311" y="488"/>
                </a:cubicBezTo>
                <a:cubicBezTo>
                  <a:pt x="1311" y="489"/>
                  <a:pt x="1311" y="489"/>
                  <a:pt x="1311" y="489"/>
                </a:cubicBezTo>
                <a:cubicBezTo>
                  <a:pt x="1311" y="496"/>
                  <a:pt x="1311" y="496"/>
                  <a:pt x="1311" y="496"/>
                </a:cubicBezTo>
                <a:cubicBezTo>
                  <a:pt x="1312" y="498"/>
                  <a:pt x="1312" y="498"/>
                  <a:pt x="1312" y="498"/>
                </a:cubicBezTo>
                <a:cubicBezTo>
                  <a:pt x="1312" y="500"/>
                  <a:pt x="1312" y="500"/>
                  <a:pt x="1312" y="500"/>
                </a:cubicBezTo>
                <a:cubicBezTo>
                  <a:pt x="1318" y="508"/>
                  <a:pt x="1318" y="508"/>
                  <a:pt x="1318" y="508"/>
                </a:cubicBezTo>
                <a:cubicBezTo>
                  <a:pt x="1319" y="508"/>
                  <a:pt x="1319" y="508"/>
                  <a:pt x="1319" y="508"/>
                </a:cubicBezTo>
                <a:cubicBezTo>
                  <a:pt x="1323" y="513"/>
                  <a:pt x="1323" y="513"/>
                  <a:pt x="1323" y="513"/>
                </a:cubicBezTo>
                <a:cubicBezTo>
                  <a:pt x="1325" y="514"/>
                  <a:pt x="1325" y="514"/>
                  <a:pt x="1325" y="514"/>
                </a:cubicBezTo>
                <a:cubicBezTo>
                  <a:pt x="1324" y="516"/>
                  <a:pt x="1324" y="516"/>
                  <a:pt x="1324" y="516"/>
                </a:cubicBezTo>
                <a:cubicBezTo>
                  <a:pt x="1324" y="519"/>
                  <a:pt x="1324" y="519"/>
                  <a:pt x="1324" y="519"/>
                </a:cubicBezTo>
                <a:cubicBezTo>
                  <a:pt x="1318" y="521"/>
                  <a:pt x="1318" y="521"/>
                  <a:pt x="1318" y="521"/>
                </a:cubicBezTo>
                <a:cubicBezTo>
                  <a:pt x="1317" y="520"/>
                  <a:pt x="1317" y="520"/>
                  <a:pt x="1317" y="520"/>
                </a:cubicBezTo>
                <a:cubicBezTo>
                  <a:pt x="1314" y="522"/>
                  <a:pt x="1314" y="522"/>
                  <a:pt x="1314" y="522"/>
                </a:cubicBezTo>
                <a:cubicBezTo>
                  <a:pt x="1312" y="522"/>
                  <a:pt x="1312" y="522"/>
                  <a:pt x="1312" y="522"/>
                </a:cubicBezTo>
                <a:cubicBezTo>
                  <a:pt x="1313" y="523"/>
                  <a:pt x="1313" y="523"/>
                  <a:pt x="1313" y="523"/>
                </a:cubicBezTo>
                <a:cubicBezTo>
                  <a:pt x="1311" y="527"/>
                  <a:pt x="1311" y="527"/>
                  <a:pt x="1311" y="527"/>
                </a:cubicBezTo>
                <a:cubicBezTo>
                  <a:pt x="1311" y="530"/>
                  <a:pt x="1311" y="530"/>
                  <a:pt x="1311" y="530"/>
                </a:cubicBezTo>
                <a:cubicBezTo>
                  <a:pt x="1310" y="531"/>
                  <a:pt x="1310" y="531"/>
                  <a:pt x="1310" y="531"/>
                </a:cubicBezTo>
                <a:cubicBezTo>
                  <a:pt x="1311" y="533"/>
                  <a:pt x="1311" y="533"/>
                  <a:pt x="1311" y="533"/>
                </a:cubicBezTo>
                <a:cubicBezTo>
                  <a:pt x="1310" y="538"/>
                  <a:pt x="1310" y="538"/>
                  <a:pt x="1310" y="538"/>
                </a:cubicBezTo>
                <a:cubicBezTo>
                  <a:pt x="1312" y="544"/>
                  <a:pt x="1312" y="544"/>
                  <a:pt x="1312" y="544"/>
                </a:cubicBezTo>
                <a:cubicBezTo>
                  <a:pt x="1315" y="546"/>
                  <a:pt x="1315" y="546"/>
                  <a:pt x="1315" y="546"/>
                </a:cubicBezTo>
                <a:cubicBezTo>
                  <a:pt x="1315" y="549"/>
                  <a:pt x="1315" y="549"/>
                  <a:pt x="1315" y="549"/>
                </a:cubicBezTo>
                <a:cubicBezTo>
                  <a:pt x="1318" y="550"/>
                  <a:pt x="1318" y="550"/>
                  <a:pt x="1318" y="550"/>
                </a:cubicBezTo>
                <a:cubicBezTo>
                  <a:pt x="1319" y="552"/>
                  <a:pt x="1319" y="552"/>
                  <a:pt x="1319" y="552"/>
                </a:cubicBezTo>
                <a:cubicBezTo>
                  <a:pt x="1317" y="552"/>
                  <a:pt x="1317" y="552"/>
                  <a:pt x="1317" y="552"/>
                </a:cubicBezTo>
                <a:cubicBezTo>
                  <a:pt x="1316" y="551"/>
                  <a:pt x="1316" y="551"/>
                  <a:pt x="1316" y="551"/>
                </a:cubicBezTo>
                <a:cubicBezTo>
                  <a:pt x="1314" y="553"/>
                  <a:pt x="1314" y="553"/>
                  <a:pt x="1314" y="553"/>
                </a:cubicBezTo>
                <a:cubicBezTo>
                  <a:pt x="1312" y="554"/>
                  <a:pt x="1312" y="554"/>
                  <a:pt x="1312" y="554"/>
                </a:cubicBezTo>
                <a:cubicBezTo>
                  <a:pt x="1311" y="554"/>
                  <a:pt x="1311" y="554"/>
                  <a:pt x="1311" y="554"/>
                </a:cubicBezTo>
                <a:cubicBezTo>
                  <a:pt x="1308" y="557"/>
                  <a:pt x="1308" y="557"/>
                  <a:pt x="1308" y="557"/>
                </a:cubicBezTo>
                <a:cubicBezTo>
                  <a:pt x="1306" y="555"/>
                  <a:pt x="1306" y="555"/>
                  <a:pt x="1306" y="555"/>
                </a:cubicBezTo>
                <a:cubicBezTo>
                  <a:pt x="1305" y="557"/>
                  <a:pt x="1305" y="557"/>
                  <a:pt x="1305" y="557"/>
                </a:cubicBezTo>
                <a:cubicBezTo>
                  <a:pt x="1306" y="558"/>
                  <a:pt x="1306" y="558"/>
                  <a:pt x="1306" y="558"/>
                </a:cubicBezTo>
                <a:cubicBezTo>
                  <a:pt x="1308" y="558"/>
                  <a:pt x="1308" y="558"/>
                  <a:pt x="1308" y="558"/>
                </a:cubicBezTo>
                <a:cubicBezTo>
                  <a:pt x="1307" y="561"/>
                  <a:pt x="1307" y="561"/>
                  <a:pt x="1307" y="561"/>
                </a:cubicBezTo>
                <a:cubicBezTo>
                  <a:pt x="1307" y="562"/>
                  <a:pt x="1307" y="562"/>
                  <a:pt x="1307" y="562"/>
                </a:cubicBezTo>
                <a:cubicBezTo>
                  <a:pt x="1309" y="564"/>
                  <a:pt x="1309" y="564"/>
                  <a:pt x="1309" y="564"/>
                </a:cubicBezTo>
                <a:cubicBezTo>
                  <a:pt x="1308" y="565"/>
                  <a:pt x="1308" y="565"/>
                  <a:pt x="1308" y="565"/>
                </a:cubicBezTo>
                <a:cubicBezTo>
                  <a:pt x="1307" y="565"/>
                  <a:pt x="1307" y="565"/>
                  <a:pt x="1307" y="565"/>
                </a:cubicBezTo>
                <a:cubicBezTo>
                  <a:pt x="1309" y="568"/>
                  <a:pt x="1309" y="568"/>
                  <a:pt x="1309" y="568"/>
                </a:cubicBezTo>
                <a:cubicBezTo>
                  <a:pt x="1308" y="569"/>
                  <a:pt x="1308" y="569"/>
                  <a:pt x="1308" y="569"/>
                </a:cubicBezTo>
                <a:cubicBezTo>
                  <a:pt x="1309" y="570"/>
                  <a:pt x="1309" y="570"/>
                  <a:pt x="1309" y="570"/>
                </a:cubicBezTo>
                <a:cubicBezTo>
                  <a:pt x="1310" y="569"/>
                  <a:pt x="1310" y="569"/>
                  <a:pt x="1310" y="569"/>
                </a:cubicBezTo>
                <a:cubicBezTo>
                  <a:pt x="1312" y="571"/>
                  <a:pt x="1312" y="571"/>
                  <a:pt x="1312" y="571"/>
                </a:cubicBezTo>
                <a:cubicBezTo>
                  <a:pt x="1311" y="573"/>
                  <a:pt x="1311" y="573"/>
                  <a:pt x="1311" y="573"/>
                </a:cubicBezTo>
                <a:cubicBezTo>
                  <a:pt x="1310" y="576"/>
                  <a:pt x="1310" y="576"/>
                  <a:pt x="1310" y="576"/>
                </a:cubicBezTo>
                <a:cubicBezTo>
                  <a:pt x="1312" y="578"/>
                  <a:pt x="1312" y="578"/>
                  <a:pt x="1312" y="578"/>
                </a:cubicBezTo>
                <a:cubicBezTo>
                  <a:pt x="1311" y="582"/>
                  <a:pt x="1311" y="582"/>
                  <a:pt x="1311" y="582"/>
                </a:cubicBezTo>
                <a:cubicBezTo>
                  <a:pt x="1310" y="584"/>
                  <a:pt x="1310" y="584"/>
                  <a:pt x="1310" y="584"/>
                </a:cubicBezTo>
                <a:cubicBezTo>
                  <a:pt x="1310" y="585"/>
                  <a:pt x="1310" y="585"/>
                  <a:pt x="1310" y="585"/>
                </a:cubicBezTo>
                <a:cubicBezTo>
                  <a:pt x="1310" y="587"/>
                  <a:pt x="1310" y="587"/>
                  <a:pt x="1310" y="587"/>
                </a:cubicBezTo>
                <a:cubicBezTo>
                  <a:pt x="1307" y="589"/>
                  <a:pt x="1307" y="589"/>
                  <a:pt x="1307" y="589"/>
                </a:cubicBezTo>
                <a:cubicBezTo>
                  <a:pt x="1307" y="591"/>
                  <a:pt x="1307" y="591"/>
                  <a:pt x="1307" y="591"/>
                </a:cubicBezTo>
                <a:cubicBezTo>
                  <a:pt x="1306" y="592"/>
                  <a:pt x="1306" y="592"/>
                  <a:pt x="1306" y="592"/>
                </a:cubicBezTo>
                <a:cubicBezTo>
                  <a:pt x="1305" y="597"/>
                  <a:pt x="1305" y="597"/>
                  <a:pt x="1305" y="597"/>
                </a:cubicBezTo>
                <a:cubicBezTo>
                  <a:pt x="1303" y="601"/>
                  <a:pt x="1303" y="601"/>
                  <a:pt x="1303" y="601"/>
                </a:cubicBezTo>
                <a:cubicBezTo>
                  <a:pt x="1303" y="599"/>
                  <a:pt x="1303" y="599"/>
                  <a:pt x="1303" y="599"/>
                </a:cubicBezTo>
                <a:cubicBezTo>
                  <a:pt x="1303" y="598"/>
                  <a:pt x="1303" y="598"/>
                  <a:pt x="1303" y="598"/>
                </a:cubicBezTo>
                <a:cubicBezTo>
                  <a:pt x="1303" y="595"/>
                  <a:pt x="1303" y="595"/>
                  <a:pt x="1303" y="595"/>
                </a:cubicBezTo>
                <a:cubicBezTo>
                  <a:pt x="1302" y="594"/>
                  <a:pt x="1302" y="594"/>
                  <a:pt x="1302" y="594"/>
                </a:cubicBezTo>
                <a:cubicBezTo>
                  <a:pt x="1298" y="594"/>
                  <a:pt x="1298" y="594"/>
                  <a:pt x="1298" y="594"/>
                </a:cubicBezTo>
                <a:cubicBezTo>
                  <a:pt x="1296" y="590"/>
                  <a:pt x="1296" y="590"/>
                  <a:pt x="1296" y="590"/>
                </a:cubicBezTo>
                <a:cubicBezTo>
                  <a:pt x="1295" y="586"/>
                  <a:pt x="1295" y="586"/>
                  <a:pt x="1295" y="586"/>
                </a:cubicBezTo>
                <a:cubicBezTo>
                  <a:pt x="1291" y="577"/>
                  <a:pt x="1291" y="577"/>
                  <a:pt x="1291" y="577"/>
                </a:cubicBezTo>
                <a:cubicBezTo>
                  <a:pt x="1289" y="573"/>
                  <a:pt x="1289" y="573"/>
                  <a:pt x="1289" y="573"/>
                </a:cubicBezTo>
                <a:cubicBezTo>
                  <a:pt x="1290" y="573"/>
                  <a:pt x="1290" y="573"/>
                  <a:pt x="1290" y="573"/>
                </a:cubicBezTo>
                <a:cubicBezTo>
                  <a:pt x="1292" y="572"/>
                  <a:pt x="1292" y="572"/>
                  <a:pt x="1292" y="572"/>
                </a:cubicBezTo>
                <a:cubicBezTo>
                  <a:pt x="1293" y="570"/>
                  <a:pt x="1293" y="570"/>
                  <a:pt x="1293" y="570"/>
                </a:cubicBezTo>
                <a:cubicBezTo>
                  <a:pt x="1291" y="571"/>
                  <a:pt x="1291" y="571"/>
                  <a:pt x="1291" y="571"/>
                </a:cubicBezTo>
                <a:cubicBezTo>
                  <a:pt x="1288" y="571"/>
                  <a:pt x="1288" y="571"/>
                  <a:pt x="1288" y="571"/>
                </a:cubicBezTo>
                <a:cubicBezTo>
                  <a:pt x="1284" y="569"/>
                  <a:pt x="1284" y="569"/>
                  <a:pt x="1284" y="569"/>
                </a:cubicBezTo>
                <a:cubicBezTo>
                  <a:pt x="1276" y="554"/>
                  <a:pt x="1276" y="554"/>
                  <a:pt x="1276" y="554"/>
                </a:cubicBezTo>
                <a:cubicBezTo>
                  <a:pt x="1269" y="545"/>
                  <a:pt x="1269" y="545"/>
                  <a:pt x="1269" y="545"/>
                </a:cubicBezTo>
                <a:cubicBezTo>
                  <a:pt x="1268" y="542"/>
                  <a:pt x="1268" y="542"/>
                  <a:pt x="1268" y="542"/>
                </a:cubicBezTo>
                <a:cubicBezTo>
                  <a:pt x="1266" y="539"/>
                  <a:pt x="1266" y="539"/>
                  <a:pt x="1266" y="539"/>
                </a:cubicBezTo>
                <a:cubicBezTo>
                  <a:pt x="1260" y="530"/>
                  <a:pt x="1260" y="530"/>
                  <a:pt x="1260" y="530"/>
                </a:cubicBezTo>
                <a:cubicBezTo>
                  <a:pt x="1254" y="519"/>
                  <a:pt x="1254" y="519"/>
                  <a:pt x="1254" y="519"/>
                </a:cubicBezTo>
                <a:cubicBezTo>
                  <a:pt x="1250" y="508"/>
                  <a:pt x="1250" y="508"/>
                  <a:pt x="1250" y="508"/>
                </a:cubicBezTo>
                <a:cubicBezTo>
                  <a:pt x="1250" y="504"/>
                  <a:pt x="1250" y="504"/>
                  <a:pt x="1250" y="504"/>
                </a:cubicBezTo>
                <a:cubicBezTo>
                  <a:pt x="1247" y="500"/>
                  <a:pt x="1247" y="500"/>
                  <a:pt x="1247" y="500"/>
                </a:cubicBezTo>
                <a:cubicBezTo>
                  <a:pt x="1246" y="492"/>
                  <a:pt x="1246" y="492"/>
                  <a:pt x="1246" y="492"/>
                </a:cubicBezTo>
                <a:cubicBezTo>
                  <a:pt x="1244" y="488"/>
                  <a:pt x="1244" y="488"/>
                  <a:pt x="1244" y="488"/>
                </a:cubicBezTo>
                <a:cubicBezTo>
                  <a:pt x="1244" y="484"/>
                  <a:pt x="1244" y="484"/>
                  <a:pt x="1244" y="484"/>
                </a:cubicBezTo>
                <a:cubicBezTo>
                  <a:pt x="1247" y="481"/>
                  <a:pt x="1247" y="481"/>
                  <a:pt x="1247" y="481"/>
                </a:cubicBezTo>
                <a:cubicBezTo>
                  <a:pt x="1247" y="478"/>
                  <a:pt x="1247" y="478"/>
                  <a:pt x="1247" y="478"/>
                </a:cubicBezTo>
                <a:cubicBezTo>
                  <a:pt x="1249" y="477"/>
                  <a:pt x="1249" y="477"/>
                  <a:pt x="1249" y="477"/>
                </a:cubicBezTo>
                <a:cubicBezTo>
                  <a:pt x="1248" y="475"/>
                  <a:pt x="1248" y="475"/>
                  <a:pt x="1248" y="475"/>
                </a:cubicBezTo>
                <a:cubicBezTo>
                  <a:pt x="1249" y="474"/>
                  <a:pt x="1249" y="474"/>
                  <a:pt x="1249" y="474"/>
                </a:cubicBezTo>
                <a:cubicBezTo>
                  <a:pt x="1249" y="469"/>
                  <a:pt x="1249" y="469"/>
                  <a:pt x="1249" y="469"/>
                </a:cubicBezTo>
                <a:cubicBezTo>
                  <a:pt x="1245" y="463"/>
                  <a:pt x="1245" y="463"/>
                  <a:pt x="1245" y="463"/>
                </a:cubicBezTo>
                <a:cubicBezTo>
                  <a:pt x="1242" y="463"/>
                  <a:pt x="1242" y="463"/>
                  <a:pt x="1242" y="463"/>
                </a:cubicBezTo>
                <a:cubicBezTo>
                  <a:pt x="1242" y="462"/>
                  <a:pt x="1242" y="462"/>
                  <a:pt x="1242" y="462"/>
                </a:cubicBezTo>
                <a:cubicBezTo>
                  <a:pt x="1244" y="460"/>
                  <a:pt x="1244" y="460"/>
                  <a:pt x="1244" y="460"/>
                </a:cubicBezTo>
                <a:cubicBezTo>
                  <a:pt x="1248" y="462"/>
                  <a:pt x="1248" y="462"/>
                  <a:pt x="1248" y="462"/>
                </a:cubicBezTo>
                <a:cubicBezTo>
                  <a:pt x="1251" y="459"/>
                  <a:pt x="1251" y="459"/>
                  <a:pt x="1251" y="459"/>
                </a:cubicBezTo>
                <a:cubicBezTo>
                  <a:pt x="1250" y="458"/>
                  <a:pt x="1250" y="458"/>
                  <a:pt x="1250" y="458"/>
                </a:cubicBezTo>
                <a:cubicBezTo>
                  <a:pt x="1250" y="454"/>
                  <a:pt x="1250" y="454"/>
                  <a:pt x="1250" y="454"/>
                </a:cubicBezTo>
                <a:cubicBezTo>
                  <a:pt x="1254" y="453"/>
                  <a:pt x="1254" y="453"/>
                  <a:pt x="1254" y="453"/>
                </a:cubicBezTo>
                <a:cubicBezTo>
                  <a:pt x="1256" y="454"/>
                  <a:pt x="1256" y="454"/>
                  <a:pt x="1256" y="454"/>
                </a:cubicBezTo>
                <a:cubicBezTo>
                  <a:pt x="1254" y="451"/>
                  <a:pt x="1254" y="451"/>
                  <a:pt x="1254" y="451"/>
                </a:cubicBezTo>
                <a:cubicBezTo>
                  <a:pt x="1257" y="445"/>
                  <a:pt x="1257" y="445"/>
                  <a:pt x="1257" y="445"/>
                </a:cubicBezTo>
                <a:cubicBezTo>
                  <a:pt x="1256" y="441"/>
                  <a:pt x="1256" y="441"/>
                  <a:pt x="1256" y="441"/>
                </a:cubicBezTo>
                <a:cubicBezTo>
                  <a:pt x="1256" y="437"/>
                  <a:pt x="1256" y="437"/>
                  <a:pt x="1256" y="437"/>
                </a:cubicBezTo>
                <a:cubicBezTo>
                  <a:pt x="1255" y="434"/>
                  <a:pt x="1255" y="434"/>
                  <a:pt x="1255" y="434"/>
                </a:cubicBezTo>
                <a:cubicBezTo>
                  <a:pt x="1256" y="432"/>
                  <a:pt x="1256" y="432"/>
                  <a:pt x="1256" y="432"/>
                </a:cubicBezTo>
                <a:cubicBezTo>
                  <a:pt x="1256" y="430"/>
                  <a:pt x="1256" y="430"/>
                  <a:pt x="1256" y="430"/>
                </a:cubicBezTo>
                <a:cubicBezTo>
                  <a:pt x="1256" y="429"/>
                  <a:pt x="1256" y="429"/>
                  <a:pt x="1256" y="429"/>
                </a:cubicBezTo>
                <a:cubicBezTo>
                  <a:pt x="1256" y="425"/>
                  <a:pt x="1256" y="425"/>
                  <a:pt x="1256" y="425"/>
                </a:cubicBezTo>
                <a:cubicBezTo>
                  <a:pt x="1258" y="425"/>
                  <a:pt x="1258" y="425"/>
                  <a:pt x="1258" y="425"/>
                </a:cubicBezTo>
                <a:cubicBezTo>
                  <a:pt x="1256" y="423"/>
                  <a:pt x="1256" y="423"/>
                  <a:pt x="1256" y="423"/>
                </a:cubicBezTo>
                <a:cubicBezTo>
                  <a:pt x="1256" y="421"/>
                  <a:pt x="1256" y="421"/>
                  <a:pt x="1256" y="421"/>
                </a:cubicBezTo>
                <a:cubicBezTo>
                  <a:pt x="1256" y="420"/>
                  <a:pt x="1256" y="420"/>
                  <a:pt x="1256" y="420"/>
                </a:cubicBezTo>
                <a:cubicBezTo>
                  <a:pt x="1257" y="416"/>
                  <a:pt x="1257" y="416"/>
                  <a:pt x="1257" y="416"/>
                </a:cubicBezTo>
                <a:cubicBezTo>
                  <a:pt x="1256" y="415"/>
                  <a:pt x="1256" y="415"/>
                  <a:pt x="1256" y="415"/>
                </a:cubicBezTo>
                <a:cubicBezTo>
                  <a:pt x="1256" y="413"/>
                  <a:pt x="1256" y="413"/>
                  <a:pt x="1256" y="413"/>
                </a:cubicBezTo>
                <a:cubicBezTo>
                  <a:pt x="1259" y="412"/>
                  <a:pt x="1259" y="412"/>
                  <a:pt x="1259" y="412"/>
                </a:cubicBezTo>
                <a:cubicBezTo>
                  <a:pt x="1260" y="411"/>
                  <a:pt x="1260" y="411"/>
                  <a:pt x="1260" y="411"/>
                </a:cubicBezTo>
                <a:cubicBezTo>
                  <a:pt x="1259" y="408"/>
                  <a:pt x="1259" y="408"/>
                  <a:pt x="1259" y="408"/>
                </a:cubicBezTo>
                <a:cubicBezTo>
                  <a:pt x="1260" y="403"/>
                  <a:pt x="1260" y="403"/>
                  <a:pt x="1260" y="403"/>
                </a:cubicBezTo>
                <a:cubicBezTo>
                  <a:pt x="1259" y="402"/>
                  <a:pt x="1259" y="402"/>
                  <a:pt x="1259" y="402"/>
                </a:cubicBezTo>
                <a:cubicBezTo>
                  <a:pt x="1258" y="401"/>
                  <a:pt x="1258" y="401"/>
                  <a:pt x="1258" y="401"/>
                </a:cubicBezTo>
                <a:cubicBezTo>
                  <a:pt x="1260" y="398"/>
                  <a:pt x="1260" y="398"/>
                  <a:pt x="1260" y="398"/>
                </a:cubicBezTo>
                <a:cubicBezTo>
                  <a:pt x="1260" y="395"/>
                  <a:pt x="1260" y="395"/>
                  <a:pt x="1260" y="395"/>
                </a:cubicBezTo>
                <a:cubicBezTo>
                  <a:pt x="1259" y="395"/>
                  <a:pt x="1259" y="395"/>
                  <a:pt x="1259" y="395"/>
                </a:cubicBezTo>
                <a:cubicBezTo>
                  <a:pt x="1258" y="393"/>
                  <a:pt x="1258" y="393"/>
                  <a:pt x="1258" y="393"/>
                </a:cubicBezTo>
                <a:cubicBezTo>
                  <a:pt x="1259" y="391"/>
                  <a:pt x="1259" y="391"/>
                  <a:pt x="1259" y="391"/>
                </a:cubicBezTo>
                <a:cubicBezTo>
                  <a:pt x="1259" y="389"/>
                  <a:pt x="1259" y="389"/>
                  <a:pt x="1259" y="389"/>
                </a:cubicBezTo>
                <a:cubicBezTo>
                  <a:pt x="1261" y="388"/>
                  <a:pt x="1261" y="388"/>
                  <a:pt x="1261" y="388"/>
                </a:cubicBezTo>
                <a:cubicBezTo>
                  <a:pt x="1261" y="387"/>
                  <a:pt x="1261" y="387"/>
                  <a:pt x="1261" y="387"/>
                </a:cubicBezTo>
                <a:cubicBezTo>
                  <a:pt x="1264" y="386"/>
                  <a:pt x="1264" y="386"/>
                  <a:pt x="1264" y="386"/>
                </a:cubicBezTo>
                <a:cubicBezTo>
                  <a:pt x="1264" y="384"/>
                  <a:pt x="1264" y="384"/>
                  <a:pt x="1264" y="384"/>
                </a:cubicBezTo>
                <a:cubicBezTo>
                  <a:pt x="1267" y="381"/>
                  <a:pt x="1267" y="381"/>
                  <a:pt x="1267" y="381"/>
                </a:cubicBezTo>
                <a:cubicBezTo>
                  <a:pt x="1267" y="381"/>
                  <a:pt x="1267" y="381"/>
                  <a:pt x="1267" y="381"/>
                </a:cubicBezTo>
                <a:cubicBezTo>
                  <a:pt x="1269" y="380"/>
                  <a:pt x="1269" y="380"/>
                  <a:pt x="1269" y="380"/>
                </a:cubicBezTo>
                <a:cubicBezTo>
                  <a:pt x="1271" y="380"/>
                  <a:pt x="1271" y="380"/>
                  <a:pt x="1271" y="380"/>
                </a:cubicBezTo>
                <a:cubicBezTo>
                  <a:pt x="1271" y="378"/>
                  <a:pt x="1271" y="378"/>
                  <a:pt x="1271" y="378"/>
                </a:cubicBezTo>
                <a:cubicBezTo>
                  <a:pt x="1270" y="377"/>
                  <a:pt x="1270" y="377"/>
                  <a:pt x="1270" y="377"/>
                </a:cubicBezTo>
                <a:cubicBezTo>
                  <a:pt x="1268" y="377"/>
                  <a:pt x="1268" y="377"/>
                  <a:pt x="1268" y="377"/>
                </a:cubicBezTo>
                <a:cubicBezTo>
                  <a:pt x="1267" y="378"/>
                  <a:pt x="1267" y="378"/>
                  <a:pt x="1267" y="378"/>
                </a:cubicBezTo>
                <a:cubicBezTo>
                  <a:pt x="1265" y="377"/>
                  <a:pt x="1265" y="377"/>
                  <a:pt x="1265" y="377"/>
                </a:cubicBezTo>
                <a:cubicBezTo>
                  <a:pt x="1266" y="373"/>
                  <a:pt x="1266" y="373"/>
                  <a:pt x="1266" y="373"/>
                </a:cubicBezTo>
                <a:cubicBezTo>
                  <a:pt x="1267" y="370"/>
                  <a:pt x="1267" y="370"/>
                  <a:pt x="1267" y="370"/>
                </a:cubicBezTo>
                <a:cubicBezTo>
                  <a:pt x="1266" y="368"/>
                  <a:pt x="1266" y="368"/>
                  <a:pt x="1266" y="368"/>
                </a:cubicBezTo>
                <a:cubicBezTo>
                  <a:pt x="1265" y="366"/>
                  <a:pt x="1265" y="366"/>
                  <a:pt x="1265" y="366"/>
                </a:cubicBezTo>
                <a:cubicBezTo>
                  <a:pt x="1264" y="366"/>
                  <a:pt x="1264" y="366"/>
                  <a:pt x="1264" y="366"/>
                </a:cubicBezTo>
                <a:cubicBezTo>
                  <a:pt x="1263" y="367"/>
                  <a:pt x="1263" y="367"/>
                  <a:pt x="1263" y="367"/>
                </a:cubicBezTo>
                <a:cubicBezTo>
                  <a:pt x="1262" y="367"/>
                  <a:pt x="1262" y="367"/>
                  <a:pt x="1262" y="367"/>
                </a:cubicBezTo>
                <a:cubicBezTo>
                  <a:pt x="1262" y="362"/>
                  <a:pt x="1262" y="362"/>
                  <a:pt x="1262" y="362"/>
                </a:cubicBezTo>
                <a:cubicBezTo>
                  <a:pt x="1263" y="361"/>
                  <a:pt x="1263" y="361"/>
                  <a:pt x="1263" y="361"/>
                </a:cubicBezTo>
                <a:cubicBezTo>
                  <a:pt x="1263" y="360"/>
                  <a:pt x="1263" y="360"/>
                  <a:pt x="1263" y="360"/>
                </a:cubicBezTo>
                <a:cubicBezTo>
                  <a:pt x="1262" y="357"/>
                  <a:pt x="1262" y="357"/>
                  <a:pt x="1262" y="357"/>
                </a:cubicBezTo>
                <a:cubicBezTo>
                  <a:pt x="1260" y="356"/>
                  <a:pt x="1260" y="356"/>
                  <a:pt x="1260" y="356"/>
                </a:cubicBezTo>
                <a:cubicBezTo>
                  <a:pt x="1261" y="355"/>
                  <a:pt x="1261" y="355"/>
                  <a:pt x="1261" y="355"/>
                </a:cubicBezTo>
                <a:cubicBezTo>
                  <a:pt x="1260" y="355"/>
                  <a:pt x="1260" y="355"/>
                  <a:pt x="1260" y="355"/>
                </a:cubicBezTo>
                <a:cubicBezTo>
                  <a:pt x="1260" y="354"/>
                  <a:pt x="1260" y="354"/>
                  <a:pt x="1260" y="354"/>
                </a:cubicBezTo>
                <a:cubicBezTo>
                  <a:pt x="1258" y="351"/>
                  <a:pt x="1258" y="351"/>
                  <a:pt x="1258" y="351"/>
                </a:cubicBezTo>
                <a:cubicBezTo>
                  <a:pt x="1258" y="350"/>
                  <a:pt x="1258" y="350"/>
                  <a:pt x="1258" y="350"/>
                </a:cubicBezTo>
                <a:cubicBezTo>
                  <a:pt x="1256" y="348"/>
                  <a:pt x="1256" y="348"/>
                  <a:pt x="1256" y="348"/>
                </a:cubicBezTo>
                <a:cubicBezTo>
                  <a:pt x="1256" y="346"/>
                  <a:pt x="1256" y="346"/>
                  <a:pt x="1256" y="346"/>
                </a:cubicBezTo>
                <a:cubicBezTo>
                  <a:pt x="1255" y="344"/>
                  <a:pt x="1255" y="344"/>
                  <a:pt x="1255" y="344"/>
                </a:cubicBezTo>
                <a:cubicBezTo>
                  <a:pt x="1255" y="342"/>
                  <a:pt x="1255" y="342"/>
                  <a:pt x="1255" y="342"/>
                </a:cubicBezTo>
                <a:cubicBezTo>
                  <a:pt x="1258" y="339"/>
                  <a:pt x="1258" y="339"/>
                  <a:pt x="1258" y="339"/>
                </a:cubicBezTo>
                <a:cubicBezTo>
                  <a:pt x="1260" y="340"/>
                  <a:pt x="1260" y="340"/>
                  <a:pt x="1260" y="340"/>
                </a:cubicBezTo>
                <a:cubicBezTo>
                  <a:pt x="1263" y="339"/>
                  <a:pt x="1263" y="339"/>
                  <a:pt x="1263" y="339"/>
                </a:cubicBezTo>
                <a:cubicBezTo>
                  <a:pt x="1261" y="338"/>
                  <a:pt x="1261" y="338"/>
                  <a:pt x="1261" y="338"/>
                </a:cubicBezTo>
                <a:cubicBezTo>
                  <a:pt x="1264" y="336"/>
                  <a:pt x="1264" y="336"/>
                  <a:pt x="1264" y="336"/>
                </a:cubicBezTo>
                <a:cubicBezTo>
                  <a:pt x="1263" y="337"/>
                  <a:pt x="1263" y="337"/>
                  <a:pt x="1263" y="337"/>
                </a:cubicBezTo>
                <a:cubicBezTo>
                  <a:pt x="1261" y="336"/>
                  <a:pt x="1261" y="336"/>
                  <a:pt x="1261" y="336"/>
                </a:cubicBezTo>
                <a:cubicBezTo>
                  <a:pt x="1259" y="336"/>
                  <a:pt x="1259" y="336"/>
                  <a:pt x="1259" y="336"/>
                </a:cubicBezTo>
                <a:cubicBezTo>
                  <a:pt x="1256" y="336"/>
                  <a:pt x="1256" y="336"/>
                  <a:pt x="1256" y="336"/>
                </a:cubicBezTo>
                <a:cubicBezTo>
                  <a:pt x="1253" y="333"/>
                  <a:pt x="1253" y="333"/>
                  <a:pt x="1253" y="333"/>
                </a:cubicBezTo>
                <a:cubicBezTo>
                  <a:pt x="1252" y="334"/>
                  <a:pt x="1252" y="334"/>
                  <a:pt x="1252" y="334"/>
                </a:cubicBezTo>
                <a:cubicBezTo>
                  <a:pt x="1250" y="334"/>
                  <a:pt x="1250" y="334"/>
                  <a:pt x="1250" y="334"/>
                </a:cubicBezTo>
                <a:cubicBezTo>
                  <a:pt x="1248" y="336"/>
                  <a:pt x="1248" y="336"/>
                  <a:pt x="1248" y="336"/>
                </a:cubicBezTo>
                <a:cubicBezTo>
                  <a:pt x="1246" y="336"/>
                  <a:pt x="1246" y="336"/>
                  <a:pt x="1246" y="336"/>
                </a:cubicBezTo>
                <a:cubicBezTo>
                  <a:pt x="1243" y="339"/>
                  <a:pt x="1243" y="339"/>
                  <a:pt x="1243" y="339"/>
                </a:cubicBezTo>
                <a:cubicBezTo>
                  <a:pt x="1244" y="340"/>
                  <a:pt x="1244" y="340"/>
                  <a:pt x="1244" y="340"/>
                </a:cubicBezTo>
                <a:cubicBezTo>
                  <a:pt x="1243" y="342"/>
                  <a:pt x="1243" y="342"/>
                  <a:pt x="1243" y="342"/>
                </a:cubicBezTo>
                <a:cubicBezTo>
                  <a:pt x="1246" y="344"/>
                  <a:pt x="1246" y="344"/>
                  <a:pt x="1246" y="344"/>
                </a:cubicBezTo>
                <a:cubicBezTo>
                  <a:pt x="1246" y="346"/>
                  <a:pt x="1246" y="346"/>
                  <a:pt x="1246" y="346"/>
                </a:cubicBezTo>
                <a:cubicBezTo>
                  <a:pt x="1246" y="347"/>
                  <a:pt x="1246" y="347"/>
                  <a:pt x="1246" y="347"/>
                </a:cubicBezTo>
                <a:cubicBezTo>
                  <a:pt x="1246" y="350"/>
                  <a:pt x="1246" y="350"/>
                  <a:pt x="1246" y="350"/>
                </a:cubicBezTo>
                <a:cubicBezTo>
                  <a:pt x="1248" y="351"/>
                  <a:pt x="1248" y="351"/>
                  <a:pt x="1248" y="351"/>
                </a:cubicBezTo>
                <a:cubicBezTo>
                  <a:pt x="1248" y="353"/>
                  <a:pt x="1248" y="353"/>
                  <a:pt x="1248" y="353"/>
                </a:cubicBezTo>
                <a:cubicBezTo>
                  <a:pt x="1250" y="353"/>
                  <a:pt x="1250" y="353"/>
                  <a:pt x="1250" y="353"/>
                </a:cubicBezTo>
                <a:cubicBezTo>
                  <a:pt x="1251" y="358"/>
                  <a:pt x="1251" y="358"/>
                  <a:pt x="1251" y="358"/>
                </a:cubicBezTo>
                <a:cubicBezTo>
                  <a:pt x="1254" y="359"/>
                  <a:pt x="1254" y="359"/>
                  <a:pt x="1254" y="359"/>
                </a:cubicBezTo>
                <a:cubicBezTo>
                  <a:pt x="1254" y="362"/>
                  <a:pt x="1254" y="362"/>
                  <a:pt x="1254" y="362"/>
                </a:cubicBezTo>
                <a:cubicBezTo>
                  <a:pt x="1255" y="363"/>
                  <a:pt x="1255" y="363"/>
                  <a:pt x="1255" y="363"/>
                </a:cubicBezTo>
                <a:cubicBezTo>
                  <a:pt x="1254" y="364"/>
                  <a:pt x="1254" y="364"/>
                  <a:pt x="1254" y="364"/>
                </a:cubicBezTo>
                <a:cubicBezTo>
                  <a:pt x="1253" y="363"/>
                  <a:pt x="1253" y="363"/>
                  <a:pt x="1253" y="363"/>
                </a:cubicBezTo>
                <a:cubicBezTo>
                  <a:pt x="1252" y="361"/>
                  <a:pt x="1252" y="361"/>
                  <a:pt x="1252" y="361"/>
                </a:cubicBezTo>
                <a:cubicBezTo>
                  <a:pt x="1249" y="362"/>
                  <a:pt x="1249" y="362"/>
                  <a:pt x="1249" y="362"/>
                </a:cubicBezTo>
                <a:cubicBezTo>
                  <a:pt x="1247" y="363"/>
                  <a:pt x="1247" y="363"/>
                  <a:pt x="1247" y="363"/>
                </a:cubicBezTo>
                <a:cubicBezTo>
                  <a:pt x="1246" y="366"/>
                  <a:pt x="1246" y="366"/>
                  <a:pt x="1246" y="366"/>
                </a:cubicBezTo>
                <a:cubicBezTo>
                  <a:pt x="1247" y="368"/>
                  <a:pt x="1247" y="368"/>
                  <a:pt x="1247" y="368"/>
                </a:cubicBezTo>
                <a:cubicBezTo>
                  <a:pt x="1247" y="371"/>
                  <a:pt x="1247" y="371"/>
                  <a:pt x="1247" y="371"/>
                </a:cubicBezTo>
                <a:cubicBezTo>
                  <a:pt x="1246" y="372"/>
                  <a:pt x="1246" y="372"/>
                  <a:pt x="1246" y="372"/>
                </a:cubicBezTo>
                <a:cubicBezTo>
                  <a:pt x="1246" y="372"/>
                  <a:pt x="1246" y="372"/>
                  <a:pt x="1246" y="372"/>
                </a:cubicBezTo>
                <a:cubicBezTo>
                  <a:pt x="1247" y="373"/>
                  <a:pt x="1247" y="373"/>
                  <a:pt x="1247" y="373"/>
                </a:cubicBezTo>
                <a:cubicBezTo>
                  <a:pt x="1247" y="374"/>
                  <a:pt x="1247" y="374"/>
                  <a:pt x="1247" y="374"/>
                </a:cubicBezTo>
                <a:cubicBezTo>
                  <a:pt x="1245" y="376"/>
                  <a:pt x="1245" y="376"/>
                  <a:pt x="1245" y="376"/>
                </a:cubicBezTo>
                <a:cubicBezTo>
                  <a:pt x="1246" y="378"/>
                  <a:pt x="1246" y="378"/>
                  <a:pt x="1246" y="378"/>
                </a:cubicBezTo>
                <a:cubicBezTo>
                  <a:pt x="1245" y="379"/>
                  <a:pt x="1245" y="379"/>
                  <a:pt x="1245" y="379"/>
                </a:cubicBezTo>
                <a:cubicBezTo>
                  <a:pt x="1245" y="384"/>
                  <a:pt x="1245" y="384"/>
                  <a:pt x="1245" y="384"/>
                </a:cubicBezTo>
                <a:cubicBezTo>
                  <a:pt x="1244" y="386"/>
                  <a:pt x="1244" y="386"/>
                  <a:pt x="1244" y="386"/>
                </a:cubicBezTo>
                <a:cubicBezTo>
                  <a:pt x="1244" y="387"/>
                  <a:pt x="1244" y="387"/>
                  <a:pt x="1244" y="387"/>
                </a:cubicBezTo>
                <a:cubicBezTo>
                  <a:pt x="1242" y="388"/>
                  <a:pt x="1242" y="388"/>
                  <a:pt x="1242" y="388"/>
                </a:cubicBezTo>
                <a:cubicBezTo>
                  <a:pt x="1241" y="391"/>
                  <a:pt x="1241" y="391"/>
                  <a:pt x="1241" y="391"/>
                </a:cubicBezTo>
                <a:cubicBezTo>
                  <a:pt x="1240" y="389"/>
                  <a:pt x="1240" y="389"/>
                  <a:pt x="1240" y="389"/>
                </a:cubicBezTo>
                <a:cubicBezTo>
                  <a:pt x="1239" y="387"/>
                  <a:pt x="1239" y="387"/>
                  <a:pt x="1239" y="387"/>
                </a:cubicBezTo>
                <a:cubicBezTo>
                  <a:pt x="1240" y="384"/>
                  <a:pt x="1240" y="384"/>
                  <a:pt x="1240" y="384"/>
                </a:cubicBezTo>
                <a:cubicBezTo>
                  <a:pt x="1239" y="383"/>
                  <a:pt x="1239" y="383"/>
                  <a:pt x="1239" y="383"/>
                </a:cubicBezTo>
                <a:cubicBezTo>
                  <a:pt x="1238" y="383"/>
                  <a:pt x="1238" y="383"/>
                  <a:pt x="1238" y="383"/>
                </a:cubicBezTo>
                <a:cubicBezTo>
                  <a:pt x="1236" y="384"/>
                  <a:pt x="1236" y="384"/>
                  <a:pt x="1236" y="384"/>
                </a:cubicBezTo>
                <a:cubicBezTo>
                  <a:pt x="1236" y="386"/>
                  <a:pt x="1236" y="386"/>
                  <a:pt x="1236" y="386"/>
                </a:cubicBezTo>
                <a:cubicBezTo>
                  <a:pt x="1235" y="387"/>
                  <a:pt x="1235" y="387"/>
                  <a:pt x="1235" y="387"/>
                </a:cubicBezTo>
                <a:cubicBezTo>
                  <a:pt x="1235" y="383"/>
                  <a:pt x="1235" y="383"/>
                  <a:pt x="1235" y="383"/>
                </a:cubicBezTo>
                <a:cubicBezTo>
                  <a:pt x="1232" y="383"/>
                  <a:pt x="1232" y="383"/>
                  <a:pt x="1232" y="383"/>
                </a:cubicBezTo>
                <a:cubicBezTo>
                  <a:pt x="1232" y="381"/>
                  <a:pt x="1232" y="381"/>
                  <a:pt x="1232" y="381"/>
                </a:cubicBezTo>
                <a:cubicBezTo>
                  <a:pt x="1230" y="383"/>
                  <a:pt x="1230" y="383"/>
                  <a:pt x="1230" y="383"/>
                </a:cubicBezTo>
                <a:cubicBezTo>
                  <a:pt x="1229" y="382"/>
                  <a:pt x="1229" y="382"/>
                  <a:pt x="1229" y="382"/>
                </a:cubicBezTo>
                <a:cubicBezTo>
                  <a:pt x="1230" y="381"/>
                  <a:pt x="1230" y="381"/>
                  <a:pt x="1230" y="381"/>
                </a:cubicBezTo>
                <a:cubicBezTo>
                  <a:pt x="1231" y="380"/>
                  <a:pt x="1231" y="380"/>
                  <a:pt x="1231" y="380"/>
                </a:cubicBezTo>
                <a:cubicBezTo>
                  <a:pt x="1230" y="379"/>
                  <a:pt x="1230" y="379"/>
                  <a:pt x="1230" y="379"/>
                </a:cubicBezTo>
                <a:cubicBezTo>
                  <a:pt x="1230" y="377"/>
                  <a:pt x="1230" y="377"/>
                  <a:pt x="1230" y="377"/>
                </a:cubicBezTo>
                <a:cubicBezTo>
                  <a:pt x="1231" y="377"/>
                  <a:pt x="1231" y="377"/>
                  <a:pt x="1231" y="377"/>
                </a:cubicBezTo>
                <a:cubicBezTo>
                  <a:pt x="1230" y="375"/>
                  <a:pt x="1230" y="375"/>
                  <a:pt x="1230" y="375"/>
                </a:cubicBezTo>
                <a:cubicBezTo>
                  <a:pt x="1229" y="374"/>
                  <a:pt x="1229" y="374"/>
                  <a:pt x="1229" y="374"/>
                </a:cubicBezTo>
                <a:cubicBezTo>
                  <a:pt x="1231" y="372"/>
                  <a:pt x="1231" y="372"/>
                  <a:pt x="1231" y="372"/>
                </a:cubicBezTo>
                <a:cubicBezTo>
                  <a:pt x="1230" y="371"/>
                  <a:pt x="1230" y="371"/>
                  <a:pt x="1230" y="371"/>
                </a:cubicBezTo>
                <a:cubicBezTo>
                  <a:pt x="1229" y="369"/>
                  <a:pt x="1229" y="369"/>
                  <a:pt x="1229" y="369"/>
                </a:cubicBezTo>
                <a:cubicBezTo>
                  <a:pt x="1230" y="368"/>
                  <a:pt x="1230" y="368"/>
                  <a:pt x="1230" y="368"/>
                </a:cubicBezTo>
                <a:cubicBezTo>
                  <a:pt x="1229" y="366"/>
                  <a:pt x="1229" y="366"/>
                  <a:pt x="1229" y="366"/>
                </a:cubicBezTo>
                <a:cubicBezTo>
                  <a:pt x="1227" y="364"/>
                  <a:pt x="1227" y="364"/>
                  <a:pt x="1227" y="364"/>
                </a:cubicBezTo>
                <a:cubicBezTo>
                  <a:pt x="1227" y="363"/>
                  <a:pt x="1227" y="363"/>
                  <a:pt x="1227" y="363"/>
                </a:cubicBezTo>
                <a:cubicBezTo>
                  <a:pt x="1226" y="363"/>
                  <a:pt x="1226" y="363"/>
                  <a:pt x="1226" y="363"/>
                </a:cubicBezTo>
                <a:cubicBezTo>
                  <a:pt x="1225" y="365"/>
                  <a:pt x="1225" y="365"/>
                  <a:pt x="1225" y="365"/>
                </a:cubicBezTo>
                <a:cubicBezTo>
                  <a:pt x="1224" y="366"/>
                  <a:pt x="1224" y="366"/>
                  <a:pt x="1224" y="366"/>
                </a:cubicBezTo>
                <a:cubicBezTo>
                  <a:pt x="1224" y="368"/>
                  <a:pt x="1224" y="368"/>
                  <a:pt x="1224" y="368"/>
                </a:cubicBezTo>
                <a:cubicBezTo>
                  <a:pt x="1222" y="371"/>
                  <a:pt x="1222" y="371"/>
                  <a:pt x="1222" y="371"/>
                </a:cubicBezTo>
                <a:cubicBezTo>
                  <a:pt x="1221" y="371"/>
                  <a:pt x="1221" y="371"/>
                  <a:pt x="1221" y="371"/>
                </a:cubicBezTo>
                <a:cubicBezTo>
                  <a:pt x="1220" y="368"/>
                  <a:pt x="1220" y="368"/>
                  <a:pt x="1220" y="368"/>
                </a:cubicBezTo>
                <a:cubicBezTo>
                  <a:pt x="1219" y="368"/>
                  <a:pt x="1219" y="368"/>
                  <a:pt x="1219" y="368"/>
                </a:cubicBezTo>
                <a:cubicBezTo>
                  <a:pt x="1218" y="368"/>
                  <a:pt x="1218" y="368"/>
                  <a:pt x="1218" y="368"/>
                </a:cubicBezTo>
                <a:cubicBezTo>
                  <a:pt x="1218" y="366"/>
                  <a:pt x="1218" y="366"/>
                  <a:pt x="1218" y="366"/>
                </a:cubicBezTo>
                <a:cubicBezTo>
                  <a:pt x="1215" y="366"/>
                  <a:pt x="1215" y="366"/>
                  <a:pt x="1215" y="366"/>
                </a:cubicBezTo>
                <a:cubicBezTo>
                  <a:pt x="1215" y="367"/>
                  <a:pt x="1215" y="367"/>
                  <a:pt x="1215" y="367"/>
                </a:cubicBezTo>
                <a:cubicBezTo>
                  <a:pt x="1214" y="367"/>
                  <a:pt x="1214" y="367"/>
                  <a:pt x="1214" y="367"/>
                </a:cubicBezTo>
                <a:cubicBezTo>
                  <a:pt x="1213" y="369"/>
                  <a:pt x="1213" y="369"/>
                  <a:pt x="1213" y="369"/>
                </a:cubicBezTo>
                <a:cubicBezTo>
                  <a:pt x="1212" y="370"/>
                  <a:pt x="1212" y="370"/>
                  <a:pt x="1212" y="370"/>
                </a:cubicBezTo>
                <a:cubicBezTo>
                  <a:pt x="1211" y="371"/>
                  <a:pt x="1211" y="371"/>
                  <a:pt x="1211" y="371"/>
                </a:cubicBezTo>
                <a:cubicBezTo>
                  <a:pt x="1208" y="371"/>
                  <a:pt x="1208" y="371"/>
                  <a:pt x="1208" y="371"/>
                </a:cubicBezTo>
                <a:cubicBezTo>
                  <a:pt x="1206" y="372"/>
                  <a:pt x="1206" y="372"/>
                  <a:pt x="1206" y="372"/>
                </a:cubicBezTo>
                <a:cubicBezTo>
                  <a:pt x="1205" y="372"/>
                  <a:pt x="1205" y="372"/>
                  <a:pt x="1205" y="372"/>
                </a:cubicBezTo>
                <a:cubicBezTo>
                  <a:pt x="1204" y="373"/>
                  <a:pt x="1204" y="373"/>
                  <a:pt x="1204" y="373"/>
                </a:cubicBezTo>
                <a:cubicBezTo>
                  <a:pt x="1201" y="373"/>
                  <a:pt x="1201" y="373"/>
                  <a:pt x="1201" y="373"/>
                </a:cubicBezTo>
                <a:cubicBezTo>
                  <a:pt x="1199" y="376"/>
                  <a:pt x="1199" y="376"/>
                  <a:pt x="1199" y="376"/>
                </a:cubicBezTo>
                <a:cubicBezTo>
                  <a:pt x="1198" y="377"/>
                  <a:pt x="1198" y="377"/>
                  <a:pt x="1198" y="377"/>
                </a:cubicBezTo>
                <a:cubicBezTo>
                  <a:pt x="1198" y="380"/>
                  <a:pt x="1198" y="380"/>
                  <a:pt x="1198" y="380"/>
                </a:cubicBezTo>
                <a:cubicBezTo>
                  <a:pt x="1196" y="381"/>
                  <a:pt x="1196" y="381"/>
                  <a:pt x="1196" y="381"/>
                </a:cubicBezTo>
                <a:cubicBezTo>
                  <a:pt x="1196" y="382"/>
                  <a:pt x="1196" y="382"/>
                  <a:pt x="1196" y="382"/>
                </a:cubicBezTo>
                <a:cubicBezTo>
                  <a:pt x="1197" y="383"/>
                  <a:pt x="1197" y="383"/>
                  <a:pt x="1197" y="383"/>
                </a:cubicBezTo>
                <a:cubicBezTo>
                  <a:pt x="1198" y="386"/>
                  <a:pt x="1198" y="386"/>
                  <a:pt x="1198" y="386"/>
                </a:cubicBezTo>
                <a:cubicBezTo>
                  <a:pt x="1200" y="389"/>
                  <a:pt x="1200" y="389"/>
                  <a:pt x="1200" y="389"/>
                </a:cubicBezTo>
                <a:cubicBezTo>
                  <a:pt x="1198" y="391"/>
                  <a:pt x="1198" y="391"/>
                  <a:pt x="1198" y="391"/>
                </a:cubicBezTo>
                <a:cubicBezTo>
                  <a:pt x="1197" y="398"/>
                  <a:pt x="1197" y="398"/>
                  <a:pt x="1197" y="398"/>
                </a:cubicBezTo>
                <a:cubicBezTo>
                  <a:pt x="1200" y="401"/>
                  <a:pt x="1200" y="401"/>
                  <a:pt x="1200" y="401"/>
                </a:cubicBezTo>
                <a:cubicBezTo>
                  <a:pt x="1197" y="402"/>
                  <a:pt x="1197" y="402"/>
                  <a:pt x="1197" y="402"/>
                </a:cubicBezTo>
                <a:cubicBezTo>
                  <a:pt x="1198" y="402"/>
                  <a:pt x="1198" y="402"/>
                  <a:pt x="1198" y="402"/>
                </a:cubicBezTo>
                <a:cubicBezTo>
                  <a:pt x="1198" y="405"/>
                  <a:pt x="1198" y="405"/>
                  <a:pt x="1198" y="405"/>
                </a:cubicBezTo>
                <a:cubicBezTo>
                  <a:pt x="1196" y="407"/>
                  <a:pt x="1196" y="407"/>
                  <a:pt x="1196" y="407"/>
                </a:cubicBezTo>
                <a:cubicBezTo>
                  <a:pt x="1196" y="410"/>
                  <a:pt x="1196" y="410"/>
                  <a:pt x="1196" y="410"/>
                </a:cubicBezTo>
                <a:cubicBezTo>
                  <a:pt x="1194" y="412"/>
                  <a:pt x="1194" y="412"/>
                  <a:pt x="1194" y="412"/>
                </a:cubicBezTo>
                <a:cubicBezTo>
                  <a:pt x="1194" y="414"/>
                  <a:pt x="1194" y="414"/>
                  <a:pt x="1194" y="414"/>
                </a:cubicBezTo>
                <a:cubicBezTo>
                  <a:pt x="1193" y="418"/>
                  <a:pt x="1193" y="418"/>
                  <a:pt x="1193" y="418"/>
                </a:cubicBezTo>
                <a:cubicBezTo>
                  <a:pt x="1195" y="421"/>
                  <a:pt x="1195" y="421"/>
                  <a:pt x="1195" y="421"/>
                </a:cubicBezTo>
                <a:cubicBezTo>
                  <a:pt x="1193" y="422"/>
                  <a:pt x="1193" y="422"/>
                  <a:pt x="1193" y="422"/>
                </a:cubicBezTo>
                <a:cubicBezTo>
                  <a:pt x="1196" y="426"/>
                  <a:pt x="1196" y="426"/>
                  <a:pt x="1196" y="426"/>
                </a:cubicBezTo>
                <a:cubicBezTo>
                  <a:pt x="1195" y="427"/>
                  <a:pt x="1195" y="427"/>
                  <a:pt x="1195" y="427"/>
                </a:cubicBezTo>
                <a:cubicBezTo>
                  <a:pt x="1195" y="429"/>
                  <a:pt x="1195" y="429"/>
                  <a:pt x="1195" y="429"/>
                </a:cubicBezTo>
                <a:cubicBezTo>
                  <a:pt x="1196" y="429"/>
                  <a:pt x="1196" y="429"/>
                  <a:pt x="1196" y="429"/>
                </a:cubicBezTo>
                <a:cubicBezTo>
                  <a:pt x="1197" y="429"/>
                  <a:pt x="1197" y="429"/>
                  <a:pt x="1197" y="429"/>
                </a:cubicBezTo>
                <a:cubicBezTo>
                  <a:pt x="1199" y="429"/>
                  <a:pt x="1199" y="429"/>
                  <a:pt x="1199" y="429"/>
                </a:cubicBezTo>
                <a:cubicBezTo>
                  <a:pt x="1199" y="428"/>
                  <a:pt x="1199" y="428"/>
                  <a:pt x="1199" y="428"/>
                </a:cubicBezTo>
                <a:cubicBezTo>
                  <a:pt x="1200" y="427"/>
                  <a:pt x="1200" y="427"/>
                  <a:pt x="1200" y="427"/>
                </a:cubicBezTo>
                <a:cubicBezTo>
                  <a:pt x="1202" y="428"/>
                  <a:pt x="1202" y="428"/>
                  <a:pt x="1202" y="428"/>
                </a:cubicBezTo>
                <a:cubicBezTo>
                  <a:pt x="1203" y="428"/>
                  <a:pt x="1203" y="428"/>
                  <a:pt x="1203" y="428"/>
                </a:cubicBezTo>
                <a:cubicBezTo>
                  <a:pt x="1203" y="427"/>
                  <a:pt x="1203" y="427"/>
                  <a:pt x="1203" y="427"/>
                </a:cubicBezTo>
                <a:cubicBezTo>
                  <a:pt x="1203" y="427"/>
                  <a:pt x="1203" y="427"/>
                  <a:pt x="1203" y="427"/>
                </a:cubicBezTo>
                <a:cubicBezTo>
                  <a:pt x="1204" y="428"/>
                  <a:pt x="1204" y="428"/>
                  <a:pt x="1204" y="428"/>
                </a:cubicBezTo>
                <a:cubicBezTo>
                  <a:pt x="1206" y="429"/>
                  <a:pt x="1206" y="429"/>
                  <a:pt x="1206" y="429"/>
                </a:cubicBezTo>
                <a:cubicBezTo>
                  <a:pt x="1206" y="430"/>
                  <a:pt x="1206" y="430"/>
                  <a:pt x="1206" y="430"/>
                </a:cubicBezTo>
                <a:cubicBezTo>
                  <a:pt x="1206" y="431"/>
                  <a:pt x="1206" y="431"/>
                  <a:pt x="1206" y="431"/>
                </a:cubicBezTo>
                <a:cubicBezTo>
                  <a:pt x="1208" y="433"/>
                  <a:pt x="1208" y="433"/>
                  <a:pt x="1208" y="433"/>
                </a:cubicBezTo>
                <a:cubicBezTo>
                  <a:pt x="1207" y="434"/>
                  <a:pt x="1207" y="434"/>
                  <a:pt x="1207" y="434"/>
                </a:cubicBezTo>
                <a:cubicBezTo>
                  <a:pt x="1206" y="433"/>
                  <a:pt x="1206" y="433"/>
                  <a:pt x="1206" y="433"/>
                </a:cubicBezTo>
                <a:cubicBezTo>
                  <a:pt x="1205" y="434"/>
                  <a:pt x="1205" y="434"/>
                  <a:pt x="1205" y="434"/>
                </a:cubicBezTo>
                <a:cubicBezTo>
                  <a:pt x="1203" y="434"/>
                  <a:pt x="1203" y="434"/>
                  <a:pt x="1203" y="434"/>
                </a:cubicBezTo>
                <a:cubicBezTo>
                  <a:pt x="1202" y="435"/>
                  <a:pt x="1202" y="435"/>
                  <a:pt x="1202" y="435"/>
                </a:cubicBezTo>
                <a:cubicBezTo>
                  <a:pt x="1201" y="435"/>
                  <a:pt x="1201" y="435"/>
                  <a:pt x="1201" y="435"/>
                </a:cubicBezTo>
                <a:cubicBezTo>
                  <a:pt x="1203" y="437"/>
                  <a:pt x="1203" y="437"/>
                  <a:pt x="1203" y="437"/>
                </a:cubicBezTo>
                <a:cubicBezTo>
                  <a:pt x="1200" y="439"/>
                  <a:pt x="1200" y="439"/>
                  <a:pt x="1200" y="439"/>
                </a:cubicBezTo>
                <a:cubicBezTo>
                  <a:pt x="1198" y="439"/>
                  <a:pt x="1198" y="439"/>
                  <a:pt x="1198" y="439"/>
                </a:cubicBezTo>
                <a:cubicBezTo>
                  <a:pt x="1198" y="437"/>
                  <a:pt x="1198" y="437"/>
                  <a:pt x="1198" y="437"/>
                </a:cubicBezTo>
                <a:cubicBezTo>
                  <a:pt x="1197" y="436"/>
                  <a:pt x="1197" y="436"/>
                  <a:pt x="1197" y="436"/>
                </a:cubicBezTo>
                <a:cubicBezTo>
                  <a:pt x="1195" y="437"/>
                  <a:pt x="1195" y="437"/>
                  <a:pt x="1195" y="437"/>
                </a:cubicBezTo>
                <a:cubicBezTo>
                  <a:pt x="1194" y="436"/>
                  <a:pt x="1194" y="436"/>
                  <a:pt x="1194" y="436"/>
                </a:cubicBezTo>
                <a:cubicBezTo>
                  <a:pt x="1193" y="436"/>
                  <a:pt x="1193" y="436"/>
                  <a:pt x="1193" y="436"/>
                </a:cubicBezTo>
                <a:cubicBezTo>
                  <a:pt x="1193" y="438"/>
                  <a:pt x="1193" y="438"/>
                  <a:pt x="1193" y="438"/>
                </a:cubicBezTo>
                <a:cubicBezTo>
                  <a:pt x="1193" y="440"/>
                  <a:pt x="1193" y="440"/>
                  <a:pt x="1193" y="440"/>
                </a:cubicBezTo>
                <a:cubicBezTo>
                  <a:pt x="1192" y="440"/>
                  <a:pt x="1192" y="440"/>
                  <a:pt x="1192" y="440"/>
                </a:cubicBezTo>
                <a:cubicBezTo>
                  <a:pt x="1191" y="441"/>
                  <a:pt x="1191" y="441"/>
                  <a:pt x="1191" y="441"/>
                </a:cubicBezTo>
                <a:cubicBezTo>
                  <a:pt x="1190" y="442"/>
                  <a:pt x="1190" y="442"/>
                  <a:pt x="1190" y="442"/>
                </a:cubicBezTo>
                <a:cubicBezTo>
                  <a:pt x="1191" y="443"/>
                  <a:pt x="1191" y="443"/>
                  <a:pt x="1191" y="443"/>
                </a:cubicBezTo>
                <a:cubicBezTo>
                  <a:pt x="1190" y="444"/>
                  <a:pt x="1190" y="444"/>
                  <a:pt x="1190" y="444"/>
                </a:cubicBezTo>
                <a:cubicBezTo>
                  <a:pt x="1188" y="444"/>
                  <a:pt x="1188" y="444"/>
                  <a:pt x="1188" y="444"/>
                </a:cubicBezTo>
                <a:cubicBezTo>
                  <a:pt x="1186" y="441"/>
                  <a:pt x="1186" y="441"/>
                  <a:pt x="1186" y="441"/>
                </a:cubicBezTo>
                <a:cubicBezTo>
                  <a:pt x="1184" y="441"/>
                  <a:pt x="1184" y="441"/>
                  <a:pt x="1184" y="441"/>
                </a:cubicBezTo>
                <a:cubicBezTo>
                  <a:pt x="1186" y="444"/>
                  <a:pt x="1186" y="444"/>
                  <a:pt x="1186" y="444"/>
                </a:cubicBezTo>
                <a:cubicBezTo>
                  <a:pt x="1184" y="445"/>
                  <a:pt x="1184" y="445"/>
                  <a:pt x="1184" y="445"/>
                </a:cubicBezTo>
                <a:cubicBezTo>
                  <a:pt x="1184" y="446"/>
                  <a:pt x="1184" y="446"/>
                  <a:pt x="1184" y="446"/>
                </a:cubicBezTo>
                <a:cubicBezTo>
                  <a:pt x="1183" y="447"/>
                  <a:pt x="1183" y="447"/>
                  <a:pt x="1183" y="447"/>
                </a:cubicBezTo>
                <a:cubicBezTo>
                  <a:pt x="1180" y="448"/>
                  <a:pt x="1180" y="448"/>
                  <a:pt x="1180" y="448"/>
                </a:cubicBezTo>
                <a:cubicBezTo>
                  <a:pt x="1179" y="449"/>
                  <a:pt x="1179" y="449"/>
                  <a:pt x="1179" y="449"/>
                </a:cubicBezTo>
                <a:cubicBezTo>
                  <a:pt x="1176" y="446"/>
                  <a:pt x="1176" y="446"/>
                  <a:pt x="1176" y="446"/>
                </a:cubicBezTo>
                <a:cubicBezTo>
                  <a:pt x="1174" y="446"/>
                  <a:pt x="1174" y="446"/>
                  <a:pt x="1174" y="446"/>
                </a:cubicBezTo>
                <a:cubicBezTo>
                  <a:pt x="1174" y="445"/>
                  <a:pt x="1174" y="445"/>
                  <a:pt x="1174" y="445"/>
                </a:cubicBezTo>
                <a:cubicBezTo>
                  <a:pt x="1174" y="444"/>
                  <a:pt x="1174" y="444"/>
                  <a:pt x="1174" y="444"/>
                </a:cubicBezTo>
                <a:cubicBezTo>
                  <a:pt x="1176" y="444"/>
                  <a:pt x="1176" y="444"/>
                  <a:pt x="1176" y="444"/>
                </a:cubicBezTo>
                <a:cubicBezTo>
                  <a:pt x="1176" y="442"/>
                  <a:pt x="1176" y="442"/>
                  <a:pt x="1176" y="442"/>
                </a:cubicBezTo>
                <a:cubicBezTo>
                  <a:pt x="1176" y="441"/>
                  <a:pt x="1176" y="441"/>
                  <a:pt x="1176" y="441"/>
                </a:cubicBezTo>
                <a:cubicBezTo>
                  <a:pt x="1180" y="441"/>
                  <a:pt x="1180" y="441"/>
                  <a:pt x="1180" y="441"/>
                </a:cubicBezTo>
                <a:cubicBezTo>
                  <a:pt x="1183" y="438"/>
                  <a:pt x="1183" y="438"/>
                  <a:pt x="1183" y="438"/>
                </a:cubicBezTo>
                <a:cubicBezTo>
                  <a:pt x="1183" y="437"/>
                  <a:pt x="1183" y="437"/>
                  <a:pt x="1183" y="437"/>
                </a:cubicBezTo>
                <a:cubicBezTo>
                  <a:pt x="1181" y="436"/>
                  <a:pt x="1181" y="436"/>
                  <a:pt x="1181" y="436"/>
                </a:cubicBezTo>
                <a:cubicBezTo>
                  <a:pt x="1179" y="438"/>
                  <a:pt x="1179" y="438"/>
                  <a:pt x="1179" y="438"/>
                </a:cubicBezTo>
                <a:cubicBezTo>
                  <a:pt x="1177" y="438"/>
                  <a:pt x="1177" y="438"/>
                  <a:pt x="1177" y="438"/>
                </a:cubicBezTo>
                <a:cubicBezTo>
                  <a:pt x="1177" y="437"/>
                  <a:pt x="1177" y="437"/>
                  <a:pt x="1177" y="437"/>
                </a:cubicBezTo>
                <a:cubicBezTo>
                  <a:pt x="1175" y="435"/>
                  <a:pt x="1175" y="435"/>
                  <a:pt x="1175" y="435"/>
                </a:cubicBezTo>
                <a:cubicBezTo>
                  <a:pt x="1173" y="435"/>
                  <a:pt x="1173" y="435"/>
                  <a:pt x="1173" y="435"/>
                </a:cubicBezTo>
                <a:cubicBezTo>
                  <a:pt x="1170" y="434"/>
                  <a:pt x="1170" y="434"/>
                  <a:pt x="1170" y="434"/>
                </a:cubicBezTo>
                <a:cubicBezTo>
                  <a:pt x="1166" y="434"/>
                  <a:pt x="1166" y="434"/>
                  <a:pt x="1166" y="434"/>
                </a:cubicBezTo>
                <a:cubicBezTo>
                  <a:pt x="1167" y="436"/>
                  <a:pt x="1167" y="436"/>
                  <a:pt x="1167" y="436"/>
                </a:cubicBezTo>
                <a:cubicBezTo>
                  <a:pt x="1166" y="436"/>
                  <a:pt x="1166" y="436"/>
                  <a:pt x="1166" y="436"/>
                </a:cubicBezTo>
                <a:cubicBezTo>
                  <a:pt x="1165" y="435"/>
                  <a:pt x="1165" y="435"/>
                  <a:pt x="1165" y="435"/>
                </a:cubicBezTo>
                <a:cubicBezTo>
                  <a:pt x="1165" y="434"/>
                  <a:pt x="1165" y="434"/>
                  <a:pt x="1165" y="434"/>
                </a:cubicBezTo>
                <a:cubicBezTo>
                  <a:pt x="1162" y="435"/>
                  <a:pt x="1162" y="435"/>
                  <a:pt x="1162" y="435"/>
                </a:cubicBezTo>
                <a:cubicBezTo>
                  <a:pt x="1158" y="434"/>
                  <a:pt x="1158" y="434"/>
                  <a:pt x="1158" y="434"/>
                </a:cubicBezTo>
                <a:cubicBezTo>
                  <a:pt x="1156" y="434"/>
                  <a:pt x="1156" y="434"/>
                  <a:pt x="1156" y="434"/>
                </a:cubicBezTo>
                <a:cubicBezTo>
                  <a:pt x="1155" y="433"/>
                  <a:pt x="1155" y="433"/>
                  <a:pt x="1155" y="433"/>
                </a:cubicBezTo>
                <a:cubicBezTo>
                  <a:pt x="1152" y="433"/>
                  <a:pt x="1152" y="433"/>
                  <a:pt x="1152" y="433"/>
                </a:cubicBezTo>
                <a:cubicBezTo>
                  <a:pt x="1149" y="436"/>
                  <a:pt x="1149" y="436"/>
                  <a:pt x="1149" y="436"/>
                </a:cubicBezTo>
                <a:cubicBezTo>
                  <a:pt x="1148" y="437"/>
                  <a:pt x="1148" y="437"/>
                  <a:pt x="1148" y="437"/>
                </a:cubicBezTo>
                <a:cubicBezTo>
                  <a:pt x="1147" y="438"/>
                  <a:pt x="1147" y="438"/>
                  <a:pt x="1147" y="438"/>
                </a:cubicBezTo>
                <a:cubicBezTo>
                  <a:pt x="1150" y="440"/>
                  <a:pt x="1150" y="440"/>
                  <a:pt x="1150" y="440"/>
                </a:cubicBezTo>
                <a:cubicBezTo>
                  <a:pt x="1147" y="441"/>
                  <a:pt x="1147" y="441"/>
                  <a:pt x="1147" y="441"/>
                </a:cubicBezTo>
                <a:cubicBezTo>
                  <a:pt x="1147" y="439"/>
                  <a:pt x="1147" y="439"/>
                  <a:pt x="1147" y="439"/>
                </a:cubicBezTo>
                <a:cubicBezTo>
                  <a:pt x="1145" y="442"/>
                  <a:pt x="1145" y="442"/>
                  <a:pt x="1145" y="442"/>
                </a:cubicBezTo>
                <a:cubicBezTo>
                  <a:pt x="1148" y="443"/>
                  <a:pt x="1148" y="443"/>
                  <a:pt x="1148" y="443"/>
                </a:cubicBezTo>
                <a:cubicBezTo>
                  <a:pt x="1149" y="443"/>
                  <a:pt x="1149" y="443"/>
                  <a:pt x="1149" y="443"/>
                </a:cubicBezTo>
                <a:cubicBezTo>
                  <a:pt x="1150" y="443"/>
                  <a:pt x="1150" y="443"/>
                  <a:pt x="1150" y="443"/>
                </a:cubicBezTo>
                <a:cubicBezTo>
                  <a:pt x="1150" y="445"/>
                  <a:pt x="1150" y="445"/>
                  <a:pt x="1150" y="445"/>
                </a:cubicBezTo>
                <a:cubicBezTo>
                  <a:pt x="1146" y="446"/>
                  <a:pt x="1146" y="446"/>
                  <a:pt x="1146" y="446"/>
                </a:cubicBezTo>
                <a:cubicBezTo>
                  <a:pt x="1144" y="445"/>
                  <a:pt x="1144" y="445"/>
                  <a:pt x="1144" y="445"/>
                </a:cubicBezTo>
                <a:cubicBezTo>
                  <a:pt x="1141" y="445"/>
                  <a:pt x="1141" y="445"/>
                  <a:pt x="1141" y="445"/>
                </a:cubicBezTo>
                <a:cubicBezTo>
                  <a:pt x="1140" y="446"/>
                  <a:pt x="1140" y="446"/>
                  <a:pt x="1140" y="446"/>
                </a:cubicBezTo>
                <a:cubicBezTo>
                  <a:pt x="1140" y="447"/>
                  <a:pt x="1140" y="447"/>
                  <a:pt x="1140" y="447"/>
                </a:cubicBezTo>
                <a:cubicBezTo>
                  <a:pt x="1139" y="447"/>
                  <a:pt x="1139" y="447"/>
                  <a:pt x="1139" y="447"/>
                </a:cubicBezTo>
                <a:cubicBezTo>
                  <a:pt x="1137" y="448"/>
                  <a:pt x="1137" y="448"/>
                  <a:pt x="1137" y="448"/>
                </a:cubicBezTo>
                <a:cubicBezTo>
                  <a:pt x="1136" y="448"/>
                  <a:pt x="1136" y="448"/>
                  <a:pt x="1136" y="448"/>
                </a:cubicBezTo>
                <a:cubicBezTo>
                  <a:pt x="1136" y="447"/>
                  <a:pt x="1136" y="447"/>
                  <a:pt x="1136" y="447"/>
                </a:cubicBezTo>
                <a:cubicBezTo>
                  <a:pt x="1131" y="447"/>
                  <a:pt x="1131" y="447"/>
                  <a:pt x="1131" y="447"/>
                </a:cubicBezTo>
                <a:cubicBezTo>
                  <a:pt x="1129" y="448"/>
                  <a:pt x="1129" y="448"/>
                  <a:pt x="1129" y="448"/>
                </a:cubicBezTo>
                <a:cubicBezTo>
                  <a:pt x="1125" y="447"/>
                  <a:pt x="1125" y="447"/>
                  <a:pt x="1125" y="447"/>
                </a:cubicBezTo>
                <a:cubicBezTo>
                  <a:pt x="1123" y="448"/>
                  <a:pt x="1123" y="448"/>
                  <a:pt x="1123" y="448"/>
                </a:cubicBezTo>
                <a:cubicBezTo>
                  <a:pt x="1123" y="449"/>
                  <a:pt x="1123" y="449"/>
                  <a:pt x="1123" y="449"/>
                </a:cubicBezTo>
                <a:cubicBezTo>
                  <a:pt x="1126" y="452"/>
                  <a:pt x="1126" y="452"/>
                  <a:pt x="1126" y="452"/>
                </a:cubicBezTo>
                <a:cubicBezTo>
                  <a:pt x="1124" y="453"/>
                  <a:pt x="1124" y="453"/>
                  <a:pt x="1124" y="453"/>
                </a:cubicBezTo>
                <a:cubicBezTo>
                  <a:pt x="1123" y="455"/>
                  <a:pt x="1123" y="455"/>
                  <a:pt x="1123" y="455"/>
                </a:cubicBezTo>
                <a:cubicBezTo>
                  <a:pt x="1121" y="453"/>
                  <a:pt x="1121" y="453"/>
                  <a:pt x="1121" y="453"/>
                </a:cubicBezTo>
                <a:cubicBezTo>
                  <a:pt x="1120" y="453"/>
                  <a:pt x="1120" y="453"/>
                  <a:pt x="1120" y="453"/>
                </a:cubicBezTo>
                <a:cubicBezTo>
                  <a:pt x="1121" y="451"/>
                  <a:pt x="1121" y="451"/>
                  <a:pt x="1121" y="451"/>
                </a:cubicBezTo>
                <a:cubicBezTo>
                  <a:pt x="1119" y="449"/>
                  <a:pt x="1119" y="449"/>
                  <a:pt x="1119" y="449"/>
                </a:cubicBezTo>
                <a:cubicBezTo>
                  <a:pt x="1118" y="451"/>
                  <a:pt x="1118" y="451"/>
                  <a:pt x="1118" y="451"/>
                </a:cubicBezTo>
                <a:cubicBezTo>
                  <a:pt x="1116" y="451"/>
                  <a:pt x="1116" y="451"/>
                  <a:pt x="1116" y="451"/>
                </a:cubicBezTo>
                <a:cubicBezTo>
                  <a:pt x="1114" y="451"/>
                  <a:pt x="1114" y="451"/>
                  <a:pt x="1114" y="451"/>
                </a:cubicBezTo>
                <a:cubicBezTo>
                  <a:pt x="1112" y="453"/>
                  <a:pt x="1112" y="453"/>
                  <a:pt x="1112" y="453"/>
                </a:cubicBezTo>
                <a:cubicBezTo>
                  <a:pt x="1110" y="452"/>
                  <a:pt x="1110" y="452"/>
                  <a:pt x="1110" y="452"/>
                </a:cubicBezTo>
                <a:cubicBezTo>
                  <a:pt x="1107" y="454"/>
                  <a:pt x="1107" y="454"/>
                  <a:pt x="1107" y="454"/>
                </a:cubicBezTo>
                <a:cubicBezTo>
                  <a:pt x="1103" y="455"/>
                  <a:pt x="1103" y="455"/>
                  <a:pt x="1103" y="455"/>
                </a:cubicBezTo>
                <a:cubicBezTo>
                  <a:pt x="1100" y="458"/>
                  <a:pt x="1100" y="458"/>
                  <a:pt x="1100" y="458"/>
                </a:cubicBezTo>
                <a:cubicBezTo>
                  <a:pt x="1098" y="458"/>
                  <a:pt x="1098" y="458"/>
                  <a:pt x="1098" y="458"/>
                </a:cubicBezTo>
                <a:cubicBezTo>
                  <a:pt x="1096" y="456"/>
                  <a:pt x="1096" y="456"/>
                  <a:pt x="1096" y="456"/>
                </a:cubicBezTo>
                <a:cubicBezTo>
                  <a:pt x="1095" y="457"/>
                  <a:pt x="1095" y="457"/>
                  <a:pt x="1095" y="457"/>
                </a:cubicBezTo>
                <a:cubicBezTo>
                  <a:pt x="1094" y="459"/>
                  <a:pt x="1094" y="459"/>
                  <a:pt x="1094" y="459"/>
                </a:cubicBezTo>
                <a:cubicBezTo>
                  <a:pt x="1090" y="462"/>
                  <a:pt x="1090" y="462"/>
                  <a:pt x="1090" y="462"/>
                </a:cubicBezTo>
                <a:cubicBezTo>
                  <a:pt x="1090" y="464"/>
                  <a:pt x="1090" y="464"/>
                  <a:pt x="1090" y="464"/>
                </a:cubicBezTo>
                <a:cubicBezTo>
                  <a:pt x="1088" y="466"/>
                  <a:pt x="1088" y="466"/>
                  <a:pt x="1088" y="466"/>
                </a:cubicBezTo>
                <a:cubicBezTo>
                  <a:pt x="1087" y="468"/>
                  <a:pt x="1087" y="468"/>
                  <a:pt x="1087" y="468"/>
                </a:cubicBezTo>
                <a:cubicBezTo>
                  <a:pt x="1090" y="472"/>
                  <a:pt x="1090" y="472"/>
                  <a:pt x="1090" y="472"/>
                </a:cubicBezTo>
                <a:cubicBezTo>
                  <a:pt x="1089" y="476"/>
                  <a:pt x="1089" y="476"/>
                  <a:pt x="1089" y="476"/>
                </a:cubicBezTo>
                <a:cubicBezTo>
                  <a:pt x="1086" y="480"/>
                  <a:pt x="1086" y="480"/>
                  <a:pt x="1086" y="480"/>
                </a:cubicBezTo>
                <a:cubicBezTo>
                  <a:pt x="1085" y="483"/>
                  <a:pt x="1085" y="483"/>
                  <a:pt x="1085" y="483"/>
                </a:cubicBezTo>
                <a:cubicBezTo>
                  <a:pt x="1085" y="486"/>
                  <a:pt x="1085" y="486"/>
                  <a:pt x="1085" y="486"/>
                </a:cubicBezTo>
                <a:cubicBezTo>
                  <a:pt x="1085" y="490"/>
                  <a:pt x="1085" y="490"/>
                  <a:pt x="1085" y="490"/>
                </a:cubicBezTo>
                <a:cubicBezTo>
                  <a:pt x="1086" y="492"/>
                  <a:pt x="1086" y="492"/>
                  <a:pt x="1086" y="492"/>
                </a:cubicBezTo>
                <a:cubicBezTo>
                  <a:pt x="1086" y="494"/>
                  <a:pt x="1086" y="494"/>
                  <a:pt x="1086" y="494"/>
                </a:cubicBezTo>
                <a:cubicBezTo>
                  <a:pt x="1085" y="494"/>
                  <a:pt x="1085" y="494"/>
                  <a:pt x="1085" y="494"/>
                </a:cubicBezTo>
                <a:cubicBezTo>
                  <a:pt x="1084" y="495"/>
                  <a:pt x="1084" y="495"/>
                  <a:pt x="1084" y="495"/>
                </a:cubicBezTo>
                <a:cubicBezTo>
                  <a:pt x="1084" y="497"/>
                  <a:pt x="1084" y="497"/>
                  <a:pt x="1084" y="497"/>
                </a:cubicBezTo>
                <a:cubicBezTo>
                  <a:pt x="1083" y="498"/>
                  <a:pt x="1083" y="498"/>
                  <a:pt x="1083" y="498"/>
                </a:cubicBezTo>
                <a:cubicBezTo>
                  <a:pt x="1084" y="502"/>
                  <a:pt x="1084" y="502"/>
                  <a:pt x="1084" y="502"/>
                </a:cubicBezTo>
                <a:cubicBezTo>
                  <a:pt x="1082" y="503"/>
                  <a:pt x="1082" y="503"/>
                  <a:pt x="1082" y="503"/>
                </a:cubicBezTo>
                <a:cubicBezTo>
                  <a:pt x="1082" y="506"/>
                  <a:pt x="1082" y="506"/>
                  <a:pt x="1082" y="506"/>
                </a:cubicBezTo>
                <a:cubicBezTo>
                  <a:pt x="1079" y="510"/>
                  <a:pt x="1079" y="510"/>
                  <a:pt x="1079" y="510"/>
                </a:cubicBezTo>
                <a:cubicBezTo>
                  <a:pt x="1079" y="512"/>
                  <a:pt x="1079" y="512"/>
                  <a:pt x="1079" y="512"/>
                </a:cubicBezTo>
                <a:cubicBezTo>
                  <a:pt x="1077" y="513"/>
                  <a:pt x="1077" y="513"/>
                  <a:pt x="1077" y="513"/>
                </a:cubicBezTo>
                <a:cubicBezTo>
                  <a:pt x="1077" y="517"/>
                  <a:pt x="1077" y="517"/>
                  <a:pt x="1077" y="517"/>
                </a:cubicBezTo>
                <a:cubicBezTo>
                  <a:pt x="1076" y="517"/>
                  <a:pt x="1076" y="517"/>
                  <a:pt x="1076" y="517"/>
                </a:cubicBezTo>
                <a:cubicBezTo>
                  <a:pt x="1075" y="522"/>
                  <a:pt x="1075" y="522"/>
                  <a:pt x="1075" y="522"/>
                </a:cubicBezTo>
                <a:cubicBezTo>
                  <a:pt x="1075" y="526"/>
                  <a:pt x="1075" y="526"/>
                  <a:pt x="1075" y="526"/>
                </a:cubicBezTo>
                <a:cubicBezTo>
                  <a:pt x="1074" y="527"/>
                  <a:pt x="1074" y="527"/>
                  <a:pt x="1074" y="527"/>
                </a:cubicBezTo>
                <a:cubicBezTo>
                  <a:pt x="1075" y="530"/>
                  <a:pt x="1075" y="530"/>
                  <a:pt x="1075" y="530"/>
                </a:cubicBezTo>
                <a:cubicBezTo>
                  <a:pt x="1074" y="532"/>
                  <a:pt x="1074" y="532"/>
                  <a:pt x="1074" y="532"/>
                </a:cubicBezTo>
                <a:cubicBezTo>
                  <a:pt x="1073" y="534"/>
                  <a:pt x="1073" y="534"/>
                  <a:pt x="1073" y="534"/>
                </a:cubicBezTo>
                <a:cubicBezTo>
                  <a:pt x="1071" y="537"/>
                  <a:pt x="1071" y="537"/>
                  <a:pt x="1071" y="537"/>
                </a:cubicBezTo>
                <a:cubicBezTo>
                  <a:pt x="1071" y="539"/>
                  <a:pt x="1071" y="539"/>
                  <a:pt x="1071" y="539"/>
                </a:cubicBezTo>
                <a:cubicBezTo>
                  <a:pt x="1070" y="539"/>
                  <a:pt x="1070" y="539"/>
                  <a:pt x="1070" y="539"/>
                </a:cubicBezTo>
                <a:cubicBezTo>
                  <a:pt x="1070" y="542"/>
                  <a:pt x="1070" y="542"/>
                  <a:pt x="1070" y="542"/>
                </a:cubicBezTo>
                <a:cubicBezTo>
                  <a:pt x="1067" y="544"/>
                  <a:pt x="1067" y="544"/>
                  <a:pt x="1067" y="544"/>
                </a:cubicBezTo>
                <a:cubicBezTo>
                  <a:pt x="1067" y="548"/>
                  <a:pt x="1067" y="548"/>
                  <a:pt x="1067" y="548"/>
                </a:cubicBezTo>
                <a:cubicBezTo>
                  <a:pt x="1064" y="551"/>
                  <a:pt x="1064" y="551"/>
                  <a:pt x="1064" y="551"/>
                </a:cubicBezTo>
                <a:cubicBezTo>
                  <a:pt x="1064" y="552"/>
                  <a:pt x="1064" y="552"/>
                  <a:pt x="1064" y="552"/>
                </a:cubicBezTo>
                <a:cubicBezTo>
                  <a:pt x="1062" y="555"/>
                  <a:pt x="1062" y="555"/>
                  <a:pt x="1062" y="555"/>
                </a:cubicBezTo>
                <a:cubicBezTo>
                  <a:pt x="1061" y="558"/>
                  <a:pt x="1061" y="558"/>
                  <a:pt x="1061" y="558"/>
                </a:cubicBezTo>
                <a:cubicBezTo>
                  <a:pt x="1060" y="560"/>
                  <a:pt x="1060" y="560"/>
                  <a:pt x="1060" y="560"/>
                </a:cubicBezTo>
                <a:cubicBezTo>
                  <a:pt x="1061" y="562"/>
                  <a:pt x="1061" y="562"/>
                  <a:pt x="1061" y="562"/>
                </a:cubicBezTo>
                <a:cubicBezTo>
                  <a:pt x="1063" y="563"/>
                  <a:pt x="1063" y="563"/>
                  <a:pt x="1063" y="563"/>
                </a:cubicBezTo>
                <a:cubicBezTo>
                  <a:pt x="1065" y="562"/>
                  <a:pt x="1065" y="562"/>
                  <a:pt x="1065" y="562"/>
                </a:cubicBezTo>
                <a:cubicBezTo>
                  <a:pt x="1067" y="564"/>
                  <a:pt x="1067" y="564"/>
                  <a:pt x="1067" y="564"/>
                </a:cubicBezTo>
                <a:cubicBezTo>
                  <a:pt x="1069" y="564"/>
                  <a:pt x="1069" y="564"/>
                  <a:pt x="1069" y="564"/>
                </a:cubicBezTo>
                <a:cubicBezTo>
                  <a:pt x="1072" y="562"/>
                  <a:pt x="1072" y="562"/>
                  <a:pt x="1072" y="562"/>
                </a:cubicBezTo>
                <a:cubicBezTo>
                  <a:pt x="1073" y="561"/>
                  <a:pt x="1073" y="561"/>
                  <a:pt x="1073" y="561"/>
                </a:cubicBezTo>
                <a:cubicBezTo>
                  <a:pt x="1075" y="560"/>
                  <a:pt x="1075" y="560"/>
                  <a:pt x="1075" y="560"/>
                </a:cubicBezTo>
                <a:cubicBezTo>
                  <a:pt x="1076" y="560"/>
                  <a:pt x="1076" y="560"/>
                  <a:pt x="1076" y="560"/>
                </a:cubicBezTo>
                <a:cubicBezTo>
                  <a:pt x="1079" y="560"/>
                  <a:pt x="1079" y="560"/>
                  <a:pt x="1079" y="560"/>
                </a:cubicBezTo>
                <a:cubicBezTo>
                  <a:pt x="1079" y="565"/>
                  <a:pt x="1079" y="565"/>
                  <a:pt x="1079" y="565"/>
                </a:cubicBezTo>
                <a:cubicBezTo>
                  <a:pt x="1081" y="569"/>
                  <a:pt x="1081" y="569"/>
                  <a:pt x="1081" y="569"/>
                </a:cubicBezTo>
                <a:cubicBezTo>
                  <a:pt x="1082" y="572"/>
                  <a:pt x="1082" y="572"/>
                  <a:pt x="1082" y="572"/>
                </a:cubicBezTo>
                <a:cubicBezTo>
                  <a:pt x="1081" y="575"/>
                  <a:pt x="1081" y="575"/>
                  <a:pt x="1081" y="575"/>
                </a:cubicBezTo>
                <a:cubicBezTo>
                  <a:pt x="1084" y="577"/>
                  <a:pt x="1084" y="577"/>
                  <a:pt x="1084" y="577"/>
                </a:cubicBezTo>
                <a:cubicBezTo>
                  <a:pt x="1086" y="575"/>
                  <a:pt x="1086" y="575"/>
                  <a:pt x="1086" y="575"/>
                </a:cubicBezTo>
                <a:cubicBezTo>
                  <a:pt x="1086" y="575"/>
                  <a:pt x="1086" y="575"/>
                  <a:pt x="1086" y="575"/>
                </a:cubicBezTo>
                <a:cubicBezTo>
                  <a:pt x="1087" y="574"/>
                  <a:pt x="1087" y="574"/>
                  <a:pt x="1087" y="574"/>
                </a:cubicBezTo>
                <a:cubicBezTo>
                  <a:pt x="1088" y="572"/>
                  <a:pt x="1088" y="572"/>
                  <a:pt x="1088" y="572"/>
                </a:cubicBezTo>
                <a:cubicBezTo>
                  <a:pt x="1090" y="572"/>
                  <a:pt x="1090" y="572"/>
                  <a:pt x="1090" y="572"/>
                </a:cubicBezTo>
                <a:cubicBezTo>
                  <a:pt x="1091" y="573"/>
                  <a:pt x="1091" y="573"/>
                  <a:pt x="1091" y="573"/>
                </a:cubicBezTo>
                <a:cubicBezTo>
                  <a:pt x="1092" y="572"/>
                  <a:pt x="1092" y="572"/>
                  <a:pt x="1092" y="572"/>
                </a:cubicBezTo>
                <a:cubicBezTo>
                  <a:pt x="1094" y="572"/>
                  <a:pt x="1094" y="572"/>
                  <a:pt x="1094" y="572"/>
                </a:cubicBezTo>
                <a:cubicBezTo>
                  <a:pt x="1093" y="573"/>
                  <a:pt x="1093" y="573"/>
                  <a:pt x="1093" y="573"/>
                </a:cubicBezTo>
                <a:cubicBezTo>
                  <a:pt x="1092" y="575"/>
                  <a:pt x="1092" y="575"/>
                  <a:pt x="1092" y="575"/>
                </a:cubicBezTo>
                <a:cubicBezTo>
                  <a:pt x="1093" y="578"/>
                  <a:pt x="1093" y="578"/>
                  <a:pt x="1093" y="578"/>
                </a:cubicBezTo>
                <a:cubicBezTo>
                  <a:pt x="1091" y="578"/>
                  <a:pt x="1091" y="578"/>
                  <a:pt x="1091" y="578"/>
                </a:cubicBezTo>
                <a:cubicBezTo>
                  <a:pt x="1090" y="579"/>
                  <a:pt x="1090" y="579"/>
                  <a:pt x="1090" y="579"/>
                </a:cubicBezTo>
                <a:cubicBezTo>
                  <a:pt x="1090" y="580"/>
                  <a:pt x="1090" y="580"/>
                  <a:pt x="1090" y="580"/>
                </a:cubicBezTo>
                <a:cubicBezTo>
                  <a:pt x="1095" y="579"/>
                  <a:pt x="1095" y="579"/>
                  <a:pt x="1095" y="579"/>
                </a:cubicBezTo>
                <a:cubicBezTo>
                  <a:pt x="1098" y="578"/>
                  <a:pt x="1098" y="578"/>
                  <a:pt x="1098" y="578"/>
                </a:cubicBezTo>
                <a:cubicBezTo>
                  <a:pt x="1099" y="575"/>
                  <a:pt x="1099" y="575"/>
                  <a:pt x="1099" y="575"/>
                </a:cubicBezTo>
                <a:cubicBezTo>
                  <a:pt x="1098" y="573"/>
                  <a:pt x="1098" y="573"/>
                  <a:pt x="1098" y="573"/>
                </a:cubicBezTo>
                <a:cubicBezTo>
                  <a:pt x="1099" y="571"/>
                  <a:pt x="1099" y="571"/>
                  <a:pt x="1099" y="571"/>
                </a:cubicBezTo>
                <a:cubicBezTo>
                  <a:pt x="1100" y="574"/>
                  <a:pt x="1100" y="574"/>
                  <a:pt x="1100" y="574"/>
                </a:cubicBezTo>
                <a:cubicBezTo>
                  <a:pt x="1100" y="577"/>
                  <a:pt x="1100" y="577"/>
                  <a:pt x="1100" y="577"/>
                </a:cubicBezTo>
                <a:cubicBezTo>
                  <a:pt x="1100" y="579"/>
                  <a:pt x="1100" y="579"/>
                  <a:pt x="1100" y="579"/>
                </a:cubicBezTo>
                <a:cubicBezTo>
                  <a:pt x="1101" y="578"/>
                  <a:pt x="1101" y="578"/>
                  <a:pt x="1101" y="578"/>
                </a:cubicBezTo>
                <a:cubicBezTo>
                  <a:pt x="1102" y="576"/>
                  <a:pt x="1102" y="576"/>
                  <a:pt x="1102" y="576"/>
                </a:cubicBezTo>
                <a:cubicBezTo>
                  <a:pt x="1101" y="572"/>
                  <a:pt x="1101" y="572"/>
                  <a:pt x="1101" y="572"/>
                </a:cubicBezTo>
                <a:cubicBezTo>
                  <a:pt x="1102" y="570"/>
                  <a:pt x="1102" y="570"/>
                  <a:pt x="1102" y="570"/>
                </a:cubicBezTo>
                <a:cubicBezTo>
                  <a:pt x="1100" y="568"/>
                  <a:pt x="1100" y="568"/>
                  <a:pt x="1100" y="568"/>
                </a:cubicBezTo>
                <a:cubicBezTo>
                  <a:pt x="1099" y="565"/>
                  <a:pt x="1099" y="565"/>
                  <a:pt x="1099" y="565"/>
                </a:cubicBezTo>
                <a:cubicBezTo>
                  <a:pt x="1101" y="564"/>
                  <a:pt x="1101" y="564"/>
                  <a:pt x="1101" y="564"/>
                </a:cubicBezTo>
                <a:cubicBezTo>
                  <a:pt x="1103" y="566"/>
                  <a:pt x="1103" y="566"/>
                  <a:pt x="1103" y="566"/>
                </a:cubicBezTo>
                <a:cubicBezTo>
                  <a:pt x="1103" y="567"/>
                  <a:pt x="1103" y="567"/>
                  <a:pt x="1103" y="567"/>
                </a:cubicBezTo>
                <a:cubicBezTo>
                  <a:pt x="1104" y="568"/>
                  <a:pt x="1104" y="568"/>
                  <a:pt x="1104" y="568"/>
                </a:cubicBezTo>
                <a:cubicBezTo>
                  <a:pt x="1105" y="568"/>
                  <a:pt x="1105" y="568"/>
                  <a:pt x="1105" y="568"/>
                </a:cubicBezTo>
                <a:cubicBezTo>
                  <a:pt x="1106" y="566"/>
                  <a:pt x="1106" y="566"/>
                  <a:pt x="1106" y="566"/>
                </a:cubicBezTo>
                <a:cubicBezTo>
                  <a:pt x="1108" y="566"/>
                  <a:pt x="1108" y="566"/>
                  <a:pt x="1108" y="566"/>
                </a:cubicBezTo>
                <a:cubicBezTo>
                  <a:pt x="1110" y="564"/>
                  <a:pt x="1110" y="564"/>
                  <a:pt x="1110" y="564"/>
                </a:cubicBezTo>
                <a:cubicBezTo>
                  <a:pt x="1113" y="566"/>
                  <a:pt x="1113" y="566"/>
                  <a:pt x="1113" y="566"/>
                </a:cubicBezTo>
                <a:cubicBezTo>
                  <a:pt x="1115" y="566"/>
                  <a:pt x="1115" y="566"/>
                  <a:pt x="1115" y="566"/>
                </a:cubicBezTo>
                <a:cubicBezTo>
                  <a:pt x="1117" y="568"/>
                  <a:pt x="1117" y="568"/>
                  <a:pt x="1117" y="568"/>
                </a:cubicBezTo>
                <a:cubicBezTo>
                  <a:pt x="1118" y="570"/>
                  <a:pt x="1118" y="570"/>
                  <a:pt x="1118" y="570"/>
                </a:cubicBezTo>
                <a:cubicBezTo>
                  <a:pt x="1119" y="571"/>
                  <a:pt x="1119" y="571"/>
                  <a:pt x="1119" y="571"/>
                </a:cubicBezTo>
                <a:cubicBezTo>
                  <a:pt x="1122" y="572"/>
                  <a:pt x="1122" y="572"/>
                  <a:pt x="1122" y="572"/>
                </a:cubicBezTo>
                <a:cubicBezTo>
                  <a:pt x="1123" y="573"/>
                  <a:pt x="1123" y="573"/>
                  <a:pt x="1123" y="573"/>
                </a:cubicBezTo>
                <a:cubicBezTo>
                  <a:pt x="1128" y="575"/>
                  <a:pt x="1128" y="575"/>
                  <a:pt x="1128" y="575"/>
                </a:cubicBezTo>
                <a:cubicBezTo>
                  <a:pt x="1128" y="576"/>
                  <a:pt x="1128" y="576"/>
                  <a:pt x="1128" y="576"/>
                </a:cubicBezTo>
                <a:cubicBezTo>
                  <a:pt x="1130" y="576"/>
                  <a:pt x="1130" y="576"/>
                  <a:pt x="1130" y="576"/>
                </a:cubicBezTo>
                <a:cubicBezTo>
                  <a:pt x="1132" y="578"/>
                  <a:pt x="1132" y="578"/>
                  <a:pt x="1132" y="578"/>
                </a:cubicBezTo>
                <a:cubicBezTo>
                  <a:pt x="1133" y="578"/>
                  <a:pt x="1133" y="578"/>
                  <a:pt x="1133" y="578"/>
                </a:cubicBezTo>
                <a:cubicBezTo>
                  <a:pt x="1135" y="581"/>
                  <a:pt x="1135" y="581"/>
                  <a:pt x="1135" y="581"/>
                </a:cubicBezTo>
                <a:cubicBezTo>
                  <a:pt x="1133" y="583"/>
                  <a:pt x="1133" y="583"/>
                  <a:pt x="1133" y="583"/>
                </a:cubicBezTo>
                <a:cubicBezTo>
                  <a:pt x="1133" y="585"/>
                  <a:pt x="1133" y="585"/>
                  <a:pt x="1133" y="585"/>
                </a:cubicBezTo>
                <a:cubicBezTo>
                  <a:pt x="1132" y="586"/>
                  <a:pt x="1132" y="586"/>
                  <a:pt x="1132" y="586"/>
                </a:cubicBezTo>
                <a:cubicBezTo>
                  <a:pt x="1134" y="588"/>
                  <a:pt x="1134" y="588"/>
                  <a:pt x="1134" y="588"/>
                </a:cubicBezTo>
                <a:cubicBezTo>
                  <a:pt x="1135" y="588"/>
                  <a:pt x="1135" y="588"/>
                  <a:pt x="1135" y="588"/>
                </a:cubicBezTo>
                <a:cubicBezTo>
                  <a:pt x="1138" y="592"/>
                  <a:pt x="1138" y="592"/>
                  <a:pt x="1138" y="592"/>
                </a:cubicBezTo>
                <a:cubicBezTo>
                  <a:pt x="1138" y="594"/>
                  <a:pt x="1138" y="594"/>
                  <a:pt x="1138" y="594"/>
                </a:cubicBezTo>
                <a:cubicBezTo>
                  <a:pt x="1137" y="595"/>
                  <a:pt x="1137" y="595"/>
                  <a:pt x="1137" y="595"/>
                </a:cubicBezTo>
                <a:cubicBezTo>
                  <a:pt x="1137" y="597"/>
                  <a:pt x="1137" y="597"/>
                  <a:pt x="1137" y="597"/>
                </a:cubicBezTo>
                <a:cubicBezTo>
                  <a:pt x="1139" y="599"/>
                  <a:pt x="1139" y="599"/>
                  <a:pt x="1139" y="599"/>
                </a:cubicBezTo>
                <a:cubicBezTo>
                  <a:pt x="1141" y="600"/>
                  <a:pt x="1141" y="600"/>
                  <a:pt x="1141" y="600"/>
                </a:cubicBezTo>
                <a:cubicBezTo>
                  <a:pt x="1142" y="598"/>
                  <a:pt x="1142" y="598"/>
                  <a:pt x="1142" y="598"/>
                </a:cubicBezTo>
                <a:cubicBezTo>
                  <a:pt x="1143" y="600"/>
                  <a:pt x="1143" y="600"/>
                  <a:pt x="1143" y="600"/>
                </a:cubicBezTo>
                <a:cubicBezTo>
                  <a:pt x="1142" y="602"/>
                  <a:pt x="1142" y="602"/>
                  <a:pt x="1142" y="602"/>
                </a:cubicBezTo>
                <a:cubicBezTo>
                  <a:pt x="1142" y="604"/>
                  <a:pt x="1142" y="604"/>
                  <a:pt x="1142" y="604"/>
                </a:cubicBezTo>
                <a:cubicBezTo>
                  <a:pt x="1144" y="606"/>
                  <a:pt x="1144" y="606"/>
                  <a:pt x="1144" y="606"/>
                </a:cubicBezTo>
                <a:cubicBezTo>
                  <a:pt x="1143" y="607"/>
                  <a:pt x="1143" y="607"/>
                  <a:pt x="1143" y="607"/>
                </a:cubicBezTo>
                <a:cubicBezTo>
                  <a:pt x="1142" y="608"/>
                  <a:pt x="1142" y="608"/>
                  <a:pt x="1142" y="608"/>
                </a:cubicBezTo>
                <a:cubicBezTo>
                  <a:pt x="1143" y="610"/>
                  <a:pt x="1143" y="610"/>
                  <a:pt x="1143" y="610"/>
                </a:cubicBezTo>
                <a:cubicBezTo>
                  <a:pt x="1142" y="612"/>
                  <a:pt x="1142" y="612"/>
                  <a:pt x="1142" y="612"/>
                </a:cubicBezTo>
                <a:cubicBezTo>
                  <a:pt x="1143" y="613"/>
                  <a:pt x="1143" y="613"/>
                  <a:pt x="1143" y="613"/>
                </a:cubicBezTo>
                <a:cubicBezTo>
                  <a:pt x="1143" y="615"/>
                  <a:pt x="1143" y="615"/>
                  <a:pt x="1143" y="615"/>
                </a:cubicBezTo>
                <a:cubicBezTo>
                  <a:pt x="1142" y="616"/>
                  <a:pt x="1142" y="616"/>
                  <a:pt x="1142" y="616"/>
                </a:cubicBezTo>
                <a:cubicBezTo>
                  <a:pt x="1144" y="616"/>
                  <a:pt x="1144" y="616"/>
                  <a:pt x="1144" y="616"/>
                </a:cubicBezTo>
                <a:cubicBezTo>
                  <a:pt x="1142" y="618"/>
                  <a:pt x="1142" y="618"/>
                  <a:pt x="1142" y="618"/>
                </a:cubicBezTo>
                <a:cubicBezTo>
                  <a:pt x="1144" y="623"/>
                  <a:pt x="1144" y="623"/>
                  <a:pt x="1144" y="623"/>
                </a:cubicBezTo>
                <a:cubicBezTo>
                  <a:pt x="1143" y="624"/>
                  <a:pt x="1143" y="624"/>
                  <a:pt x="1143" y="624"/>
                </a:cubicBezTo>
                <a:cubicBezTo>
                  <a:pt x="1144" y="628"/>
                  <a:pt x="1144" y="628"/>
                  <a:pt x="1144" y="628"/>
                </a:cubicBezTo>
                <a:cubicBezTo>
                  <a:pt x="1144" y="630"/>
                  <a:pt x="1144" y="630"/>
                  <a:pt x="1144" y="630"/>
                </a:cubicBezTo>
                <a:cubicBezTo>
                  <a:pt x="1144" y="632"/>
                  <a:pt x="1144" y="632"/>
                  <a:pt x="1144" y="632"/>
                </a:cubicBezTo>
                <a:cubicBezTo>
                  <a:pt x="1146" y="639"/>
                  <a:pt x="1146" y="639"/>
                  <a:pt x="1146" y="639"/>
                </a:cubicBezTo>
                <a:cubicBezTo>
                  <a:pt x="1148" y="639"/>
                  <a:pt x="1148" y="639"/>
                  <a:pt x="1148" y="639"/>
                </a:cubicBezTo>
                <a:cubicBezTo>
                  <a:pt x="1150" y="638"/>
                  <a:pt x="1150" y="638"/>
                  <a:pt x="1150" y="638"/>
                </a:cubicBezTo>
                <a:cubicBezTo>
                  <a:pt x="1150" y="639"/>
                  <a:pt x="1150" y="639"/>
                  <a:pt x="1150" y="639"/>
                </a:cubicBezTo>
                <a:cubicBezTo>
                  <a:pt x="1148" y="641"/>
                  <a:pt x="1148" y="641"/>
                  <a:pt x="1148" y="641"/>
                </a:cubicBezTo>
                <a:cubicBezTo>
                  <a:pt x="1147" y="642"/>
                  <a:pt x="1147" y="642"/>
                  <a:pt x="1147" y="642"/>
                </a:cubicBezTo>
                <a:cubicBezTo>
                  <a:pt x="1149" y="644"/>
                  <a:pt x="1149" y="644"/>
                  <a:pt x="1149" y="644"/>
                </a:cubicBezTo>
                <a:cubicBezTo>
                  <a:pt x="1150" y="644"/>
                  <a:pt x="1150" y="644"/>
                  <a:pt x="1150" y="644"/>
                </a:cubicBezTo>
                <a:cubicBezTo>
                  <a:pt x="1152" y="647"/>
                  <a:pt x="1152" y="647"/>
                  <a:pt x="1152" y="647"/>
                </a:cubicBezTo>
                <a:cubicBezTo>
                  <a:pt x="1152" y="651"/>
                  <a:pt x="1152" y="651"/>
                  <a:pt x="1152" y="651"/>
                </a:cubicBezTo>
                <a:cubicBezTo>
                  <a:pt x="1153" y="653"/>
                  <a:pt x="1153" y="653"/>
                  <a:pt x="1153" y="653"/>
                </a:cubicBezTo>
                <a:cubicBezTo>
                  <a:pt x="1153" y="654"/>
                  <a:pt x="1153" y="654"/>
                  <a:pt x="1153" y="654"/>
                </a:cubicBezTo>
                <a:cubicBezTo>
                  <a:pt x="1153" y="659"/>
                  <a:pt x="1153" y="659"/>
                  <a:pt x="1153" y="659"/>
                </a:cubicBezTo>
                <a:cubicBezTo>
                  <a:pt x="1155" y="659"/>
                  <a:pt x="1155" y="659"/>
                  <a:pt x="1155" y="659"/>
                </a:cubicBezTo>
                <a:cubicBezTo>
                  <a:pt x="1155" y="662"/>
                  <a:pt x="1155" y="662"/>
                  <a:pt x="1155" y="662"/>
                </a:cubicBezTo>
                <a:cubicBezTo>
                  <a:pt x="1154" y="663"/>
                  <a:pt x="1154" y="663"/>
                  <a:pt x="1154" y="663"/>
                </a:cubicBezTo>
                <a:cubicBezTo>
                  <a:pt x="1154" y="666"/>
                  <a:pt x="1154" y="666"/>
                  <a:pt x="1154" y="666"/>
                </a:cubicBezTo>
                <a:cubicBezTo>
                  <a:pt x="1155" y="668"/>
                  <a:pt x="1155" y="668"/>
                  <a:pt x="1155" y="668"/>
                </a:cubicBezTo>
                <a:cubicBezTo>
                  <a:pt x="1156" y="671"/>
                  <a:pt x="1156" y="671"/>
                  <a:pt x="1156" y="671"/>
                </a:cubicBezTo>
                <a:cubicBezTo>
                  <a:pt x="1153" y="674"/>
                  <a:pt x="1153" y="674"/>
                  <a:pt x="1153" y="674"/>
                </a:cubicBezTo>
                <a:cubicBezTo>
                  <a:pt x="1152" y="677"/>
                  <a:pt x="1152" y="677"/>
                  <a:pt x="1152" y="677"/>
                </a:cubicBezTo>
                <a:cubicBezTo>
                  <a:pt x="1151" y="680"/>
                  <a:pt x="1151" y="680"/>
                  <a:pt x="1151" y="680"/>
                </a:cubicBezTo>
                <a:cubicBezTo>
                  <a:pt x="1151" y="684"/>
                  <a:pt x="1151" y="684"/>
                  <a:pt x="1151" y="684"/>
                </a:cubicBezTo>
                <a:cubicBezTo>
                  <a:pt x="1152" y="684"/>
                  <a:pt x="1152" y="684"/>
                  <a:pt x="1152" y="684"/>
                </a:cubicBezTo>
                <a:cubicBezTo>
                  <a:pt x="1152" y="687"/>
                  <a:pt x="1152" y="687"/>
                  <a:pt x="1152" y="687"/>
                </a:cubicBezTo>
                <a:cubicBezTo>
                  <a:pt x="1150" y="689"/>
                  <a:pt x="1150" y="689"/>
                  <a:pt x="1150" y="689"/>
                </a:cubicBezTo>
                <a:cubicBezTo>
                  <a:pt x="1150" y="692"/>
                  <a:pt x="1150" y="692"/>
                  <a:pt x="1150" y="692"/>
                </a:cubicBezTo>
                <a:cubicBezTo>
                  <a:pt x="1148" y="695"/>
                  <a:pt x="1148" y="695"/>
                  <a:pt x="1148" y="695"/>
                </a:cubicBezTo>
                <a:cubicBezTo>
                  <a:pt x="1149" y="696"/>
                  <a:pt x="1149" y="696"/>
                  <a:pt x="1149" y="696"/>
                </a:cubicBezTo>
                <a:cubicBezTo>
                  <a:pt x="1149" y="697"/>
                  <a:pt x="1149" y="697"/>
                  <a:pt x="1149" y="697"/>
                </a:cubicBezTo>
                <a:cubicBezTo>
                  <a:pt x="1147" y="699"/>
                  <a:pt x="1147" y="699"/>
                  <a:pt x="1147" y="699"/>
                </a:cubicBezTo>
                <a:cubicBezTo>
                  <a:pt x="1149" y="704"/>
                  <a:pt x="1149" y="704"/>
                  <a:pt x="1149" y="704"/>
                </a:cubicBezTo>
                <a:cubicBezTo>
                  <a:pt x="1146" y="706"/>
                  <a:pt x="1146" y="706"/>
                  <a:pt x="1146" y="706"/>
                </a:cubicBezTo>
                <a:cubicBezTo>
                  <a:pt x="1147" y="709"/>
                  <a:pt x="1147" y="709"/>
                  <a:pt x="1147" y="709"/>
                </a:cubicBezTo>
                <a:cubicBezTo>
                  <a:pt x="1148" y="710"/>
                  <a:pt x="1148" y="710"/>
                  <a:pt x="1148" y="710"/>
                </a:cubicBezTo>
                <a:cubicBezTo>
                  <a:pt x="1148" y="712"/>
                  <a:pt x="1148" y="712"/>
                  <a:pt x="1148" y="712"/>
                </a:cubicBezTo>
                <a:cubicBezTo>
                  <a:pt x="1145" y="715"/>
                  <a:pt x="1145" y="715"/>
                  <a:pt x="1145" y="715"/>
                </a:cubicBezTo>
                <a:cubicBezTo>
                  <a:pt x="1145" y="717"/>
                  <a:pt x="1145" y="717"/>
                  <a:pt x="1145" y="717"/>
                </a:cubicBezTo>
                <a:cubicBezTo>
                  <a:pt x="1143" y="719"/>
                  <a:pt x="1143" y="719"/>
                  <a:pt x="1143" y="719"/>
                </a:cubicBezTo>
                <a:cubicBezTo>
                  <a:pt x="1142" y="721"/>
                  <a:pt x="1142" y="721"/>
                  <a:pt x="1142" y="721"/>
                </a:cubicBezTo>
                <a:cubicBezTo>
                  <a:pt x="1140" y="724"/>
                  <a:pt x="1140" y="724"/>
                  <a:pt x="1140" y="724"/>
                </a:cubicBezTo>
                <a:cubicBezTo>
                  <a:pt x="1138" y="733"/>
                  <a:pt x="1138" y="733"/>
                  <a:pt x="1138" y="733"/>
                </a:cubicBezTo>
                <a:cubicBezTo>
                  <a:pt x="1137" y="734"/>
                  <a:pt x="1137" y="734"/>
                  <a:pt x="1137" y="734"/>
                </a:cubicBezTo>
                <a:cubicBezTo>
                  <a:pt x="1137" y="736"/>
                  <a:pt x="1137" y="736"/>
                  <a:pt x="1137" y="736"/>
                </a:cubicBezTo>
                <a:cubicBezTo>
                  <a:pt x="1138" y="737"/>
                  <a:pt x="1138" y="737"/>
                  <a:pt x="1138" y="737"/>
                </a:cubicBezTo>
                <a:cubicBezTo>
                  <a:pt x="1137" y="738"/>
                  <a:pt x="1137" y="738"/>
                  <a:pt x="1137" y="738"/>
                </a:cubicBezTo>
                <a:cubicBezTo>
                  <a:pt x="1134" y="740"/>
                  <a:pt x="1134" y="740"/>
                  <a:pt x="1134" y="740"/>
                </a:cubicBezTo>
                <a:cubicBezTo>
                  <a:pt x="1134" y="742"/>
                  <a:pt x="1134" y="742"/>
                  <a:pt x="1134" y="742"/>
                </a:cubicBezTo>
                <a:cubicBezTo>
                  <a:pt x="1132" y="743"/>
                  <a:pt x="1132" y="743"/>
                  <a:pt x="1132" y="743"/>
                </a:cubicBezTo>
                <a:cubicBezTo>
                  <a:pt x="1133" y="747"/>
                  <a:pt x="1133" y="747"/>
                  <a:pt x="1133" y="747"/>
                </a:cubicBezTo>
                <a:cubicBezTo>
                  <a:pt x="1131" y="747"/>
                  <a:pt x="1131" y="747"/>
                  <a:pt x="1131" y="747"/>
                </a:cubicBezTo>
                <a:cubicBezTo>
                  <a:pt x="1132" y="749"/>
                  <a:pt x="1132" y="749"/>
                  <a:pt x="1132" y="749"/>
                </a:cubicBezTo>
                <a:cubicBezTo>
                  <a:pt x="1130" y="753"/>
                  <a:pt x="1130" y="753"/>
                  <a:pt x="1130" y="753"/>
                </a:cubicBezTo>
                <a:cubicBezTo>
                  <a:pt x="1130" y="752"/>
                  <a:pt x="1130" y="752"/>
                  <a:pt x="1130" y="752"/>
                </a:cubicBezTo>
                <a:cubicBezTo>
                  <a:pt x="1128" y="752"/>
                  <a:pt x="1128" y="752"/>
                  <a:pt x="1128" y="752"/>
                </a:cubicBezTo>
                <a:cubicBezTo>
                  <a:pt x="1129" y="754"/>
                  <a:pt x="1129" y="754"/>
                  <a:pt x="1129" y="754"/>
                </a:cubicBezTo>
                <a:cubicBezTo>
                  <a:pt x="1129" y="756"/>
                  <a:pt x="1129" y="756"/>
                  <a:pt x="1129" y="756"/>
                </a:cubicBezTo>
                <a:cubicBezTo>
                  <a:pt x="1126" y="757"/>
                  <a:pt x="1126" y="757"/>
                  <a:pt x="1126" y="757"/>
                </a:cubicBezTo>
                <a:cubicBezTo>
                  <a:pt x="1127" y="759"/>
                  <a:pt x="1127" y="759"/>
                  <a:pt x="1127" y="759"/>
                </a:cubicBezTo>
                <a:cubicBezTo>
                  <a:pt x="1124" y="763"/>
                  <a:pt x="1124" y="763"/>
                  <a:pt x="1124" y="763"/>
                </a:cubicBezTo>
                <a:cubicBezTo>
                  <a:pt x="1122" y="766"/>
                  <a:pt x="1122" y="766"/>
                  <a:pt x="1122" y="766"/>
                </a:cubicBezTo>
                <a:cubicBezTo>
                  <a:pt x="1120" y="766"/>
                  <a:pt x="1120" y="766"/>
                  <a:pt x="1120" y="766"/>
                </a:cubicBezTo>
                <a:cubicBezTo>
                  <a:pt x="1120" y="767"/>
                  <a:pt x="1120" y="767"/>
                  <a:pt x="1120" y="767"/>
                </a:cubicBezTo>
                <a:cubicBezTo>
                  <a:pt x="1117" y="768"/>
                  <a:pt x="1117" y="768"/>
                  <a:pt x="1117" y="768"/>
                </a:cubicBezTo>
                <a:cubicBezTo>
                  <a:pt x="1115" y="770"/>
                  <a:pt x="1115" y="770"/>
                  <a:pt x="1115" y="770"/>
                </a:cubicBezTo>
                <a:cubicBezTo>
                  <a:pt x="1113" y="769"/>
                  <a:pt x="1113" y="769"/>
                  <a:pt x="1113" y="769"/>
                </a:cubicBezTo>
                <a:cubicBezTo>
                  <a:pt x="1112" y="770"/>
                  <a:pt x="1112" y="770"/>
                  <a:pt x="1112" y="770"/>
                </a:cubicBezTo>
                <a:cubicBezTo>
                  <a:pt x="1109" y="768"/>
                  <a:pt x="1109" y="768"/>
                  <a:pt x="1109" y="768"/>
                </a:cubicBezTo>
                <a:cubicBezTo>
                  <a:pt x="1106" y="767"/>
                  <a:pt x="1106" y="767"/>
                  <a:pt x="1106" y="767"/>
                </a:cubicBezTo>
                <a:cubicBezTo>
                  <a:pt x="1105" y="763"/>
                  <a:pt x="1105" y="763"/>
                  <a:pt x="1105" y="763"/>
                </a:cubicBezTo>
                <a:cubicBezTo>
                  <a:pt x="1104" y="762"/>
                  <a:pt x="1104" y="762"/>
                  <a:pt x="1104" y="762"/>
                </a:cubicBezTo>
                <a:cubicBezTo>
                  <a:pt x="1101" y="763"/>
                  <a:pt x="1101" y="763"/>
                  <a:pt x="1101" y="763"/>
                </a:cubicBezTo>
                <a:cubicBezTo>
                  <a:pt x="1099" y="762"/>
                  <a:pt x="1099" y="762"/>
                  <a:pt x="1099" y="762"/>
                </a:cubicBezTo>
                <a:cubicBezTo>
                  <a:pt x="1099" y="763"/>
                  <a:pt x="1099" y="763"/>
                  <a:pt x="1099" y="763"/>
                </a:cubicBezTo>
                <a:cubicBezTo>
                  <a:pt x="1099" y="765"/>
                  <a:pt x="1099" y="765"/>
                  <a:pt x="1099" y="765"/>
                </a:cubicBezTo>
                <a:cubicBezTo>
                  <a:pt x="1097" y="766"/>
                  <a:pt x="1097" y="766"/>
                  <a:pt x="1097" y="766"/>
                </a:cubicBezTo>
                <a:cubicBezTo>
                  <a:pt x="1096" y="770"/>
                  <a:pt x="1096" y="770"/>
                  <a:pt x="1096" y="770"/>
                </a:cubicBezTo>
                <a:cubicBezTo>
                  <a:pt x="1095" y="771"/>
                  <a:pt x="1095" y="771"/>
                  <a:pt x="1095" y="771"/>
                </a:cubicBezTo>
                <a:cubicBezTo>
                  <a:pt x="1094" y="775"/>
                  <a:pt x="1094" y="775"/>
                  <a:pt x="1094" y="775"/>
                </a:cubicBezTo>
                <a:cubicBezTo>
                  <a:pt x="1093" y="774"/>
                  <a:pt x="1093" y="774"/>
                  <a:pt x="1093" y="774"/>
                </a:cubicBezTo>
                <a:cubicBezTo>
                  <a:pt x="1091" y="774"/>
                  <a:pt x="1091" y="774"/>
                  <a:pt x="1091" y="774"/>
                </a:cubicBezTo>
                <a:cubicBezTo>
                  <a:pt x="1090" y="778"/>
                  <a:pt x="1090" y="778"/>
                  <a:pt x="1090" y="778"/>
                </a:cubicBezTo>
                <a:cubicBezTo>
                  <a:pt x="1089" y="777"/>
                  <a:pt x="1089" y="777"/>
                  <a:pt x="1089" y="777"/>
                </a:cubicBezTo>
                <a:close/>
                <a:moveTo>
                  <a:pt x="354" y="785"/>
                </a:moveTo>
                <a:cubicBezTo>
                  <a:pt x="351" y="783"/>
                  <a:pt x="351" y="783"/>
                  <a:pt x="351" y="783"/>
                </a:cubicBezTo>
                <a:cubicBezTo>
                  <a:pt x="339" y="785"/>
                  <a:pt x="339" y="785"/>
                  <a:pt x="339" y="785"/>
                </a:cubicBezTo>
                <a:cubicBezTo>
                  <a:pt x="354" y="785"/>
                  <a:pt x="354" y="785"/>
                  <a:pt x="354" y="785"/>
                </a:cubicBezTo>
                <a:close/>
                <a:moveTo>
                  <a:pt x="1246" y="740"/>
                </a:moveTo>
                <a:cubicBezTo>
                  <a:pt x="1247" y="740"/>
                  <a:pt x="1247" y="740"/>
                  <a:pt x="1247" y="740"/>
                </a:cubicBezTo>
                <a:cubicBezTo>
                  <a:pt x="1249" y="739"/>
                  <a:pt x="1249" y="739"/>
                  <a:pt x="1249" y="739"/>
                </a:cubicBezTo>
                <a:cubicBezTo>
                  <a:pt x="1249" y="737"/>
                  <a:pt x="1249" y="737"/>
                  <a:pt x="1249" y="737"/>
                </a:cubicBezTo>
                <a:cubicBezTo>
                  <a:pt x="1248" y="738"/>
                  <a:pt x="1248" y="738"/>
                  <a:pt x="1248" y="738"/>
                </a:cubicBezTo>
                <a:cubicBezTo>
                  <a:pt x="1246" y="740"/>
                  <a:pt x="1246" y="740"/>
                  <a:pt x="1246" y="740"/>
                </a:cubicBezTo>
                <a:close/>
                <a:moveTo>
                  <a:pt x="70" y="109"/>
                </a:moveTo>
                <a:cubicBezTo>
                  <a:pt x="69" y="107"/>
                  <a:pt x="69" y="107"/>
                  <a:pt x="69" y="107"/>
                </a:cubicBezTo>
                <a:cubicBezTo>
                  <a:pt x="69" y="103"/>
                  <a:pt x="69" y="103"/>
                  <a:pt x="69" y="103"/>
                </a:cubicBezTo>
                <a:cubicBezTo>
                  <a:pt x="67" y="102"/>
                  <a:pt x="67" y="102"/>
                  <a:pt x="67" y="102"/>
                </a:cubicBezTo>
                <a:cubicBezTo>
                  <a:pt x="66" y="102"/>
                  <a:pt x="66" y="102"/>
                  <a:pt x="66" y="102"/>
                </a:cubicBezTo>
                <a:cubicBezTo>
                  <a:pt x="65" y="100"/>
                  <a:pt x="65" y="100"/>
                  <a:pt x="65" y="100"/>
                </a:cubicBezTo>
                <a:cubicBezTo>
                  <a:pt x="68" y="98"/>
                  <a:pt x="68" y="98"/>
                  <a:pt x="68" y="98"/>
                </a:cubicBezTo>
                <a:cubicBezTo>
                  <a:pt x="69" y="95"/>
                  <a:pt x="69" y="95"/>
                  <a:pt x="69" y="95"/>
                </a:cubicBezTo>
                <a:cubicBezTo>
                  <a:pt x="72" y="95"/>
                  <a:pt x="72" y="95"/>
                  <a:pt x="72" y="95"/>
                </a:cubicBezTo>
                <a:cubicBezTo>
                  <a:pt x="74" y="94"/>
                  <a:pt x="74" y="94"/>
                  <a:pt x="74" y="94"/>
                </a:cubicBezTo>
                <a:cubicBezTo>
                  <a:pt x="75" y="94"/>
                  <a:pt x="75" y="94"/>
                  <a:pt x="75" y="94"/>
                </a:cubicBezTo>
                <a:cubicBezTo>
                  <a:pt x="76" y="97"/>
                  <a:pt x="76" y="97"/>
                  <a:pt x="76" y="97"/>
                </a:cubicBezTo>
                <a:cubicBezTo>
                  <a:pt x="78" y="98"/>
                  <a:pt x="78" y="98"/>
                  <a:pt x="78" y="98"/>
                </a:cubicBezTo>
                <a:cubicBezTo>
                  <a:pt x="81" y="97"/>
                  <a:pt x="81" y="97"/>
                  <a:pt x="81" y="97"/>
                </a:cubicBezTo>
                <a:cubicBezTo>
                  <a:pt x="81" y="97"/>
                  <a:pt x="81" y="97"/>
                  <a:pt x="81" y="97"/>
                </a:cubicBezTo>
                <a:cubicBezTo>
                  <a:pt x="82" y="96"/>
                  <a:pt x="82" y="96"/>
                  <a:pt x="82" y="96"/>
                </a:cubicBezTo>
                <a:cubicBezTo>
                  <a:pt x="81" y="95"/>
                  <a:pt x="81" y="95"/>
                  <a:pt x="81" y="95"/>
                </a:cubicBezTo>
                <a:cubicBezTo>
                  <a:pt x="79" y="94"/>
                  <a:pt x="79" y="94"/>
                  <a:pt x="79" y="94"/>
                </a:cubicBezTo>
                <a:cubicBezTo>
                  <a:pt x="73" y="91"/>
                  <a:pt x="73" y="91"/>
                  <a:pt x="73" y="91"/>
                </a:cubicBezTo>
                <a:cubicBezTo>
                  <a:pt x="68" y="90"/>
                  <a:pt x="68" y="90"/>
                  <a:pt x="68" y="90"/>
                </a:cubicBezTo>
                <a:cubicBezTo>
                  <a:pt x="66" y="90"/>
                  <a:pt x="66" y="90"/>
                  <a:pt x="66" y="90"/>
                </a:cubicBezTo>
                <a:cubicBezTo>
                  <a:pt x="62" y="94"/>
                  <a:pt x="62" y="94"/>
                  <a:pt x="62" y="94"/>
                </a:cubicBezTo>
                <a:cubicBezTo>
                  <a:pt x="60" y="97"/>
                  <a:pt x="60" y="97"/>
                  <a:pt x="60" y="97"/>
                </a:cubicBezTo>
                <a:cubicBezTo>
                  <a:pt x="58" y="97"/>
                  <a:pt x="58" y="97"/>
                  <a:pt x="58" y="97"/>
                </a:cubicBezTo>
                <a:cubicBezTo>
                  <a:pt x="55" y="100"/>
                  <a:pt x="55" y="100"/>
                  <a:pt x="55" y="100"/>
                </a:cubicBezTo>
                <a:cubicBezTo>
                  <a:pt x="55" y="105"/>
                  <a:pt x="55" y="105"/>
                  <a:pt x="55" y="105"/>
                </a:cubicBezTo>
                <a:cubicBezTo>
                  <a:pt x="57" y="106"/>
                  <a:pt x="57" y="106"/>
                  <a:pt x="57" y="106"/>
                </a:cubicBezTo>
                <a:cubicBezTo>
                  <a:pt x="59" y="105"/>
                  <a:pt x="59" y="105"/>
                  <a:pt x="59" y="105"/>
                </a:cubicBezTo>
                <a:cubicBezTo>
                  <a:pt x="61" y="106"/>
                  <a:pt x="61" y="106"/>
                  <a:pt x="61" y="106"/>
                </a:cubicBezTo>
                <a:cubicBezTo>
                  <a:pt x="62" y="108"/>
                  <a:pt x="62" y="108"/>
                  <a:pt x="62" y="108"/>
                </a:cubicBezTo>
                <a:cubicBezTo>
                  <a:pt x="64" y="108"/>
                  <a:pt x="64" y="108"/>
                  <a:pt x="64" y="108"/>
                </a:cubicBezTo>
                <a:cubicBezTo>
                  <a:pt x="65" y="107"/>
                  <a:pt x="65" y="107"/>
                  <a:pt x="65" y="107"/>
                </a:cubicBezTo>
                <a:cubicBezTo>
                  <a:pt x="65" y="106"/>
                  <a:pt x="65" y="106"/>
                  <a:pt x="65" y="106"/>
                </a:cubicBezTo>
                <a:cubicBezTo>
                  <a:pt x="66" y="105"/>
                  <a:pt x="66" y="105"/>
                  <a:pt x="66" y="105"/>
                </a:cubicBezTo>
                <a:cubicBezTo>
                  <a:pt x="67" y="106"/>
                  <a:pt x="67" y="106"/>
                  <a:pt x="67" y="106"/>
                </a:cubicBezTo>
                <a:cubicBezTo>
                  <a:pt x="68" y="109"/>
                  <a:pt x="68" y="109"/>
                  <a:pt x="68" y="109"/>
                </a:cubicBezTo>
                <a:cubicBezTo>
                  <a:pt x="70" y="110"/>
                  <a:pt x="70" y="110"/>
                  <a:pt x="70" y="110"/>
                </a:cubicBezTo>
                <a:cubicBezTo>
                  <a:pt x="70" y="109"/>
                  <a:pt x="70" y="109"/>
                  <a:pt x="70" y="109"/>
                </a:cubicBezTo>
                <a:close/>
                <a:moveTo>
                  <a:pt x="87" y="78"/>
                </a:moveTo>
                <a:cubicBezTo>
                  <a:pt x="88" y="75"/>
                  <a:pt x="88" y="75"/>
                  <a:pt x="88" y="75"/>
                </a:cubicBezTo>
                <a:cubicBezTo>
                  <a:pt x="89" y="73"/>
                  <a:pt x="89" y="73"/>
                  <a:pt x="89" y="73"/>
                </a:cubicBezTo>
                <a:cubicBezTo>
                  <a:pt x="90" y="73"/>
                  <a:pt x="90" y="73"/>
                  <a:pt x="90" y="73"/>
                </a:cubicBezTo>
                <a:cubicBezTo>
                  <a:pt x="90" y="75"/>
                  <a:pt x="90" y="75"/>
                  <a:pt x="90" y="75"/>
                </a:cubicBezTo>
                <a:cubicBezTo>
                  <a:pt x="91" y="77"/>
                  <a:pt x="91" y="77"/>
                  <a:pt x="91" y="77"/>
                </a:cubicBezTo>
                <a:cubicBezTo>
                  <a:pt x="91" y="78"/>
                  <a:pt x="91" y="78"/>
                  <a:pt x="91" y="78"/>
                </a:cubicBezTo>
                <a:cubicBezTo>
                  <a:pt x="88" y="78"/>
                  <a:pt x="88" y="78"/>
                  <a:pt x="88" y="78"/>
                </a:cubicBezTo>
                <a:cubicBezTo>
                  <a:pt x="88" y="78"/>
                  <a:pt x="87" y="78"/>
                  <a:pt x="87" y="78"/>
                </a:cubicBezTo>
                <a:close/>
                <a:moveTo>
                  <a:pt x="83" y="120"/>
                </a:moveTo>
                <a:cubicBezTo>
                  <a:pt x="84" y="120"/>
                  <a:pt x="84" y="120"/>
                  <a:pt x="84" y="120"/>
                </a:cubicBezTo>
                <a:cubicBezTo>
                  <a:pt x="85" y="119"/>
                  <a:pt x="85" y="119"/>
                  <a:pt x="85" y="119"/>
                </a:cubicBezTo>
                <a:cubicBezTo>
                  <a:pt x="86" y="118"/>
                  <a:pt x="86" y="118"/>
                  <a:pt x="86" y="118"/>
                </a:cubicBezTo>
                <a:cubicBezTo>
                  <a:pt x="86" y="116"/>
                  <a:pt x="86" y="116"/>
                  <a:pt x="86" y="116"/>
                </a:cubicBezTo>
                <a:cubicBezTo>
                  <a:pt x="86" y="115"/>
                  <a:pt x="86" y="115"/>
                  <a:pt x="86" y="115"/>
                </a:cubicBezTo>
                <a:cubicBezTo>
                  <a:pt x="87" y="116"/>
                  <a:pt x="87" y="116"/>
                  <a:pt x="87" y="116"/>
                </a:cubicBezTo>
                <a:cubicBezTo>
                  <a:pt x="88" y="115"/>
                  <a:pt x="88" y="115"/>
                  <a:pt x="88" y="115"/>
                </a:cubicBezTo>
                <a:cubicBezTo>
                  <a:pt x="89" y="112"/>
                  <a:pt x="89" y="112"/>
                  <a:pt x="89" y="112"/>
                </a:cubicBezTo>
                <a:cubicBezTo>
                  <a:pt x="89" y="109"/>
                  <a:pt x="89" y="109"/>
                  <a:pt x="89" y="109"/>
                </a:cubicBezTo>
                <a:cubicBezTo>
                  <a:pt x="87" y="108"/>
                  <a:pt x="87" y="108"/>
                  <a:pt x="87" y="108"/>
                </a:cubicBezTo>
                <a:cubicBezTo>
                  <a:pt x="87" y="107"/>
                  <a:pt x="87" y="107"/>
                  <a:pt x="87" y="107"/>
                </a:cubicBezTo>
                <a:cubicBezTo>
                  <a:pt x="89" y="106"/>
                  <a:pt x="89" y="106"/>
                  <a:pt x="89" y="106"/>
                </a:cubicBezTo>
                <a:cubicBezTo>
                  <a:pt x="91" y="106"/>
                  <a:pt x="91" y="106"/>
                  <a:pt x="91" y="106"/>
                </a:cubicBezTo>
                <a:cubicBezTo>
                  <a:pt x="94" y="105"/>
                  <a:pt x="94" y="105"/>
                  <a:pt x="94" y="105"/>
                </a:cubicBezTo>
                <a:cubicBezTo>
                  <a:pt x="95" y="105"/>
                  <a:pt x="95" y="105"/>
                  <a:pt x="95" y="105"/>
                </a:cubicBezTo>
                <a:cubicBezTo>
                  <a:pt x="95" y="104"/>
                  <a:pt x="95" y="104"/>
                  <a:pt x="95" y="104"/>
                </a:cubicBezTo>
                <a:cubicBezTo>
                  <a:pt x="94" y="103"/>
                  <a:pt x="94" y="103"/>
                  <a:pt x="94" y="103"/>
                </a:cubicBezTo>
                <a:cubicBezTo>
                  <a:pt x="93" y="102"/>
                  <a:pt x="93" y="102"/>
                  <a:pt x="93" y="102"/>
                </a:cubicBezTo>
                <a:cubicBezTo>
                  <a:pt x="92" y="102"/>
                  <a:pt x="92" y="102"/>
                  <a:pt x="92" y="102"/>
                </a:cubicBezTo>
                <a:cubicBezTo>
                  <a:pt x="92" y="101"/>
                  <a:pt x="92" y="101"/>
                  <a:pt x="92" y="101"/>
                </a:cubicBezTo>
                <a:cubicBezTo>
                  <a:pt x="92" y="99"/>
                  <a:pt x="92" y="99"/>
                  <a:pt x="92" y="99"/>
                </a:cubicBezTo>
                <a:cubicBezTo>
                  <a:pt x="92" y="98"/>
                  <a:pt x="92" y="98"/>
                  <a:pt x="92" y="98"/>
                </a:cubicBezTo>
                <a:cubicBezTo>
                  <a:pt x="94" y="98"/>
                  <a:pt x="94" y="98"/>
                  <a:pt x="94" y="98"/>
                </a:cubicBezTo>
                <a:cubicBezTo>
                  <a:pt x="94" y="99"/>
                  <a:pt x="94" y="99"/>
                  <a:pt x="94" y="99"/>
                </a:cubicBezTo>
                <a:cubicBezTo>
                  <a:pt x="95" y="99"/>
                  <a:pt x="95" y="99"/>
                  <a:pt x="95" y="99"/>
                </a:cubicBezTo>
                <a:cubicBezTo>
                  <a:pt x="96" y="99"/>
                  <a:pt x="96" y="99"/>
                  <a:pt x="96" y="99"/>
                </a:cubicBezTo>
                <a:cubicBezTo>
                  <a:pt x="98" y="97"/>
                  <a:pt x="98" y="97"/>
                  <a:pt x="98" y="97"/>
                </a:cubicBezTo>
                <a:cubicBezTo>
                  <a:pt x="100" y="96"/>
                  <a:pt x="100" y="96"/>
                  <a:pt x="100" y="96"/>
                </a:cubicBezTo>
                <a:cubicBezTo>
                  <a:pt x="100" y="95"/>
                  <a:pt x="100" y="95"/>
                  <a:pt x="100" y="95"/>
                </a:cubicBezTo>
                <a:cubicBezTo>
                  <a:pt x="99" y="93"/>
                  <a:pt x="99" y="93"/>
                  <a:pt x="99" y="93"/>
                </a:cubicBezTo>
                <a:cubicBezTo>
                  <a:pt x="99" y="92"/>
                  <a:pt x="99" y="92"/>
                  <a:pt x="99" y="92"/>
                </a:cubicBezTo>
                <a:cubicBezTo>
                  <a:pt x="97" y="90"/>
                  <a:pt x="97" y="90"/>
                  <a:pt x="97" y="90"/>
                </a:cubicBezTo>
                <a:cubicBezTo>
                  <a:pt x="96" y="89"/>
                  <a:pt x="96" y="89"/>
                  <a:pt x="96" y="89"/>
                </a:cubicBezTo>
                <a:cubicBezTo>
                  <a:pt x="95" y="88"/>
                  <a:pt x="95" y="88"/>
                  <a:pt x="95" y="88"/>
                </a:cubicBezTo>
                <a:cubicBezTo>
                  <a:pt x="93" y="90"/>
                  <a:pt x="93" y="90"/>
                  <a:pt x="93" y="90"/>
                </a:cubicBezTo>
                <a:cubicBezTo>
                  <a:pt x="91" y="92"/>
                  <a:pt x="91" y="92"/>
                  <a:pt x="91" y="92"/>
                </a:cubicBezTo>
                <a:cubicBezTo>
                  <a:pt x="90" y="92"/>
                  <a:pt x="90" y="92"/>
                  <a:pt x="90" y="92"/>
                </a:cubicBezTo>
                <a:cubicBezTo>
                  <a:pt x="90" y="91"/>
                  <a:pt x="90" y="91"/>
                  <a:pt x="90" y="91"/>
                </a:cubicBezTo>
                <a:cubicBezTo>
                  <a:pt x="91" y="89"/>
                  <a:pt x="91" y="89"/>
                  <a:pt x="91" y="89"/>
                </a:cubicBezTo>
                <a:cubicBezTo>
                  <a:pt x="92" y="88"/>
                  <a:pt x="92" y="88"/>
                  <a:pt x="92" y="88"/>
                </a:cubicBezTo>
                <a:cubicBezTo>
                  <a:pt x="93" y="85"/>
                  <a:pt x="93" y="85"/>
                  <a:pt x="93" y="85"/>
                </a:cubicBezTo>
                <a:cubicBezTo>
                  <a:pt x="93" y="83"/>
                  <a:pt x="93" y="83"/>
                  <a:pt x="93" y="83"/>
                </a:cubicBezTo>
                <a:cubicBezTo>
                  <a:pt x="93" y="82"/>
                  <a:pt x="93" y="82"/>
                  <a:pt x="93" y="82"/>
                </a:cubicBezTo>
                <a:cubicBezTo>
                  <a:pt x="91" y="85"/>
                  <a:pt x="91" y="85"/>
                  <a:pt x="91" y="85"/>
                </a:cubicBezTo>
                <a:cubicBezTo>
                  <a:pt x="90" y="88"/>
                  <a:pt x="90" y="88"/>
                  <a:pt x="90" y="88"/>
                </a:cubicBezTo>
                <a:cubicBezTo>
                  <a:pt x="89" y="88"/>
                  <a:pt x="89" y="88"/>
                  <a:pt x="89" y="88"/>
                </a:cubicBezTo>
                <a:cubicBezTo>
                  <a:pt x="89" y="87"/>
                  <a:pt x="89" y="87"/>
                  <a:pt x="89" y="87"/>
                </a:cubicBezTo>
                <a:cubicBezTo>
                  <a:pt x="89" y="85"/>
                  <a:pt x="89" y="85"/>
                  <a:pt x="89" y="85"/>
                </a:cubicBezTo>
                <a:cubicBezTo>
                  <a:pt x="89" y="84"/>
                  <a:pt x="89" y="84"/>
                  <a:pt x="89" y="84"/>
                </a:cubicBezTo>
                <a:cubicBezTo>
                  <a:pt x="88" y="84"/>
                  <a:pt x="88" y="84"/>
                  <a:pt x="88" y="84"/>
                </a:cubicBezTo>
                <a:cubicBezTo>
                  <a:pt x="87" y="87"/>
                  <a:pt x="87" y="87"/>
                  <a:pt x="87" y="87"/>
                </a:cubicBezTo>
                <a:cubicBezTo>
                  <a:pt x="85" y="88"/>
                  <a:pt x="85" y="88"/>
                  <a:pt x="85" y="88"/>
                </a:cubicBezTo>
                <a:cubicBezTo>
                  <a:pt x="85" y="90"/>
                  <a:pt x="85" y="90"/>
                  <a:pt x="85" y="90"/>
                </a:cubicBezTo>
                <a:cubicBezTo>
                  <a:pt x="86" y="90"/>
                  <a:pt x="86" y="90"/>
                  <a:pt x="86" y="90"/>
                </a:cubicBezTo>
                <a:cubicBezTo>
                  <a:pt x="87" y="90"/>
                  <a:pt x="87" y="90"/>
                  <a:pt x="87" y="90"/>
                </a:cubicBezTo>
                <a:cubicBezTo>
                  <a:pt x="88" y="90"/>
                  <a:pt x="88" y="90"/>
                  <a:pt x="88" y="90"/>
                </a:cubicBezTo>
                <a:cubicBezTo>
                  <a:pt x="88" y="92"/>
                  <a:pt x="88" y="92"/>
                  <a:pt x="88" y="92"/>
                </a:cubicBezTo>
                <a:cubicBezTo>
                  <a:pt x="87" y="92"/>
                  <a:pt x="87" y="92"/>
                  <a:pt x="87" y="92"/>
                </a:cubicBezTo>
                <a:cubicBezTo>
                  <a:pt x="85" y="94"/>
                  <a:pt x="85" y="94"/>
                  <a:pt x="85" y="94"/>
                </a:cubicBezTo>
                <a:cubicBezTo>
                  <a:pt x="86" y="96"/>
                  <a:pt x="86" y="96"/>
                  <a:pt x="86" y="96"/>
                </a:cubicBezTo>
                <a:cubicBezTo>
                  <a:pt x="85" y="97"/>
                  <a:pt x="85" y="97"/>
                  <a:pt x="85" y="97"/>
                </a:cubicBezTo>
                <a:cubicBezTo>
                  <a:pt x="83" y="98"/>
                  <a:pt x="83" y="98"/>
                  <a:pt x="83" y="98"/>
                </a:cubicBezTo>
                <a:cubicBezTo>
                  <a:pt x="82" y="100"/>
                  <a:pt x="82" y="100"/>
                  <a:pt x="82" y="100"/>
                </a:cubicBezTo>
                <a:cubicBezTo>
                  <a:pt x="80" y="101"/>
                  <a:pt x="80" y="101"/>
                  <a:pt x="80" y="101"/>
                </a:cubicBezTo>
                <a:cubicBezTo>
                  <a:pt x="78" y="100"/>
                  <a:pt x="78" y="100"/>
                  <a:pt x="78" y="100"/>
                </a:cubicBezTo>
                <a:cubicBezTo>
                  <a:pt x="76" y="100"/>
                  <a:pt x="76" y="100"/>
                  <a:pt x="76" y="100"/>
                </a:cubicBezTo>
                <a:cubicBezTo>
                  <a:pt x="74" y="99"/>
                  <a:pt x="74" y="99"/>
                  <a:pt x="74" y="99"/>
                </a:cubicBezTo>
                <a:cubicBezTo>
                  <a:pt x="73" y="98"/>
                  <a:pt x="73" y="98"/>
                  <a:pt x="73" y="98"/>
                </a:cubicBezTo>
                <a:cubicBezTo>
                  <a:pt x="72" y="99"/>
                  <a:pt x="72" y="99"/>
                  <a:pt x="72" y="99"/>
                </a:cubicBezTo>
                <a:cubicBezTo>
                  <a:pt x="72" y="101"/>
                  <a:pt x="72" y="101"/>
                  <a:pt x="72" y="101"/>
                </a:cubicBezTo>
                <a:cubicBezTo>
                  <a:pt x="71" y="102"/>
                  <a:pt x="71" y="102"/>
                  <a:pt x="71" y="102"/>
                </a:cubicBezTo>
                <a:cubicBezTo>
                  <a:pt x="71" y="103"/>
                  <a:pt x="71" y="103"/>
                  <a:pt x="71" y="103"/>
                </a:cubicBezTo>
                <a:cubicBezTo>
                  <a:pt x="73" y="104"/>
                  <a:pt x="73" y="104"/>
                  <a:pt x="73" y="104"/>
                </a:cubicBezTo>
                <a:cubicBezTo>
                  <a:pt x="74" y="102"/>
                  <a:pt x="74" y="102"/>
                  <a:pt x="74" y="102"/>
                </a:cubicBezTo>
                <a:cubicBezTo>
                  <a:pt x="76" y="104"/>
                  <a:pt x="76" y="104"/>
                  <a:pt x="76" y="104"/>
                </a:cubicBezTo>
                <a:cubicBezTo>
                  <a:pt x="77" y="106"/>
                  <a:pt x="77" y="106"/>
                  <a:pt x="77" y="106"/>
                </a:cubicBezTo>
                <a:cubicBezTo>
                  <a:pt x="78" y="106"/>
                  <a:pt x="78" y="106"/>
                  <a:pt x="78" y="106"/>
                </a:cubicBezTo>
                <a:cubicBezTo>
                  <a:pt x="79" y="107"/>
                  <a:pt x="79" y="107"/>
                  <a:pt x="79" y="107"/>
                </a:cubicBezTo>
                <a:cubicBezTo>
                  <a:pt x="78" y="108"/>
                  <a:pt x="78" y="108"/>
                  <a:pt x="78" y="108"/>
                </a:cubicBezTo>
                <a:cubicBezTo>
                  <a:pt x="75" y="108"/>
                  <a:pt x="75" y="108"/>
                  <a:pt x="75" y="108"/>
                </a:cubicBezTo>
                <a:cubicBezTo>
                  <a:pt x="74" y="109"/>
                  <a:pt x="74" y="109"/>
                  <a:pt x="74" y="109"/>
                </a:cubicBezTo>
                <a:cubicBezTo>
                  <a:pt x="74" y="114"/>
                  <a:pt x="74" y="114"/>
                  <a:pt x="74" y="114"/>
                </a:cubicBezTo>
                <a:cubicBezTo>
                  <a:pt x="75" y="116"/>
                  <a:pt x="75" y="116"/>
                  <a:pt x="75" y="116"/>
                </a:cubicBezTo>
                <a:cubicBezTo>
                  <a:pt x="75" y="117"/>
                  <a:pt x="75" y="117"/>
                  <a:pt x="75" y="117"/>
                </a:cubicBezTo>
                <a:cubicBezTo>
                  <a:pt x="75" y="119"/>
                  <a:pt x="75" y="119"/>
                  <a:pt x="75" y="119"/>
                </a:cubicBezTo>
                <a:cubicBezTo>
                  <a:pt x="77" y="118"/>
                  <a:pt x="77" y="118"/>
                  <a:pt x="77" y="118"/>
                </a:cubicBezTo>
                <a:cubicBezTo>
                  <a:pt x="79" y="118"/>
                  <a:pt x="79" y="118"/>
                  <a:pt x="79" y="118"/>
                </a:cubicBezTo>
                <a:cubicBezTo>
                  <a:pt x="80" y="116"/>
                  <a:pt x="80" y="116"/>
                  <a:pt x="80" y="116"/>
                </a:cubicBezTo>
                <a:cubicBezTo>
                  <a:pt x="80" y="114"/>
                  <a:pt x="80" y="114"/>
                  <a:pt x="80" y="114"/>
                </a:cubicBezTo>
                <a:cubicBezTo>
                  <a:pt x="81" y="114"/>
                  <a:pt x="81" y="114"/>
                  <a:pt x="81" y="114"/>
                </a:cubicBezTo>
                <a:cubicBezTo>
                  <a:pt x="82" y="116"/>
                  <a:pt x="82" y="116"/>
                  <a:pt x="82" y="116"/>
                </a:cubicBezTo>
                <a:cubicBezTo>
                  <a:pt x="83" y="120"/>
                  <a:pt x="83" y="120"/>
                  <a:pt x="83" y="120"/>
                </a:cubicBezTo>
                <a:close/>
                <a:moveTo>
                  <a:pt x="97" y="116"/>
                </a:moveTo>
                <a:cubicBezTo>
                  <a:pt x="97" y="114"/>
                  <a:pt x="97" y="114"/>
                  <a:pt x="97" y="114"/>
                </a:cubicBezTo>
                <a:cubicBezTo>
                  <a:pt x="98" y="113"/>
                  <a:pt x="98" y="113"/>
                  <a:pt x="98" y="113"/>
                </a:cubicBezTo>
                <a:cubicBezTo>
                  <a:pt x="98" y="111"/>
                  <a:pt x="98" y="111"/>
                  <a:pt x="98" y="111"/>
                </a:cubicBezTo>
                <a:cubicBezTo>
                  <a:pt x="96" y="110"/>
                  <a:pt x="96" y="110"/>
                  <a:pt x="96" y="110"/>
                </a:cubicBezTo>
                <a:cubicBezTo>
                  <a:pt x="94" y="109"/>
                  <a:pt x="94" y="109"/>
                  <a:pt x="94" y="109"/>
                </a:cubicBezTo>
                <a:cubicBezTo>
                  <a:pt x="93" y="111"/>
                  <a:pt x="93" y="111"/>
                  <a:pt x="93" y="111"/>
                </a:cubicBezTo>
                <a:cubicBezTo>
                  <a:pt x="93" y="113"/>
                  <a:pt x="93" y="113"/>
                  <a:pt x="93" y="113"/>
                </a:cubicBezTo>
                <a:cubicBezTo>
                  <a:pt x="93" y="114"/>
                  <a:pt x="93" y="114"/>
                  <a:pt x="93" y="114"/>
                </a:cubicBezTo>
                <a:cubicBezTo>
                  <a:pt x="97" y="116"/>
                  <a:pt x="97" y="116"/>
                  <a:pt x="97" y="116"/>
                </a:cubicBezTo>
                <a:close/>
                <a:moveTo>
                  <a:pt x="100" y="122"/>
                </a:moveTo>
                <a:cubicBezTo>
                  <a:pt x="100" y="122"/>
                  <a:pt x="101" y="122"/>
                  <a:pt x="101" y="122"/>
                </a:cubicBezTo>
                <a:cubicBezTo>
                  <a:pt x="103" y="121"/>
                  <a:pt x="103" y="121"/>
                  <a:pt x="103" y="121"/>
                </a:cubicBezTo>
                <a:cubicBezTo>
                  <a:pt x="106" y="121"/>
                  <a:pt x="106" y="121"/>
                  <a:pt x="106" y="121"/>
                </a:cubicBezTo>
                <a:cubicBezTo>
                  <a:pt x="107" y="119"/>
                  <a:pt x="107" y="119"/>
                  <a:pt x="107" y="119"/>
                </a:cubicBezTo>
                <a:cubicBezTo>
                  <a:pt x="107" y="118"/>
                  <a:pt x="107" y="118"/>
                  <a:pt x="107" y="118"/>
                </a:cubicBezTo>
                <a:cubicBezTo>
                  <a:pt x="104" y="117"/>
                  <a:pt x="104" y="117"/>
                  <a:pt x="104" y="117"/>
                </a:cubicBezTo>
                <a:cubicBezTo>
                  <a:pt x="104" y="115"/>
                  <a:pt x="104" y="115"/>
                  <a:pt x="104" y="115"/>
                </a:cubicBezTo>
                <a:cubicBezTo>
                  <a:pt x="102" y="112"/>
                  <a:pt x="102" y="112"/>
                  <a:pt x="102" y="112"/>
                </a:cubicBezTo>
                <a:cubicBezTo>
                  <a:pt x="101" y="113"/>
                  <a:pt x="101" y="113"/>
                  <a:pt x="101" y="113"/>
                </a:cubicBezTo>
                <a:cubicBezTo>
                  <a:pt x="101" y="116"/>
                  <a:pt x="101" y="116"/>
                  <a:pt x="101" y="116"/>
                </a:cubicBezTo>
                <a:cubicBezTo>
                  <a:pt x="100" y="118"/>
                  <a:pt x="100" y="118"/>
                  <a:pt x="100" y="118"/>
                </a:cubicBezTo>
                <a:cubicBezTo>
                  <a:pt x="98" y="118"/>
                  <a:pt x="98" y="118"/>
                  <a:pt x="98" y="118"/>
                </a:cubicBezTo>
                <a:cubicBezTo>
                  <a:pt x="97" y="118"/>
                  <a:pt x="97" y="118"/>
                  <a:pt x="97" y="118"/>
                </a:cubicBezTo>
                <a:cubicBezTo>
                  <a:pt x="99" y="120"/>
                  <a:pt x="99" y="120"/>
                  <a:pt x="99" y="120"/>
                </a:cubicBezTo>
                <a:cubicBezTo>
                  <a:pt x="100" y="122"/>
                  <a:pt x="100" y="122"/>
                  <a:pt x="100" y="122"/>
                </a:cubicBezTo>
                <a:close/>
                <a:moveTo>
                  <a:pt x="127" y="46"/>
                </a:moveTo>
                <a:cubicBezTo>
                  <a:pt x="129" y="45"/>
                  <a:pt x="129" y="45"/>
                  <a:pt x="129" y="45"/>
                </a:cubicBezTo>
                <a:cubicBezTo>
                  <a:pt x="131" y="45"/>
                  <a:pt x="131" y="45"/>
                  <a:pt x="131" y="45"/>
                </a:cubicBezTo>
                <a:cubicBezTo>
                  <a:pt x="132" y="44"/>
                  <a:pt x="132" y="44"/>
                  <a:pt x="132" y="44"/>
                </a:cubicBezTo>
                <a:cubicBezTo>
                  <a:pt x="133" y="43"/>
                  <a:pt x="133" y="43"/>
                  <a:pt x="133" y="43"/>
                </a:cubicBezTo>
                <a:cubicBezTo>
                  <a:pt x="132" y="42"/>
                  <a:pt x="132" y="42"/>
                  <a:pt x="132" y="42"/>
                </a:cubicBezTo>
                <a:cubicBezTo>
                  <a:pt x="131" y="40"/>
                  <a:pt x="131" y="40"/>
                  <a:pt x="131" y="40"/>
                </a:cubicBezTo>
                <a:cubicBezTo>
                  <a:pt x="130" y="39"/>
                  <a:pt x="130" y="39"/>
                  <a:pt x="130" y="39"/>
                </a:cubicBezTo>
                <a:cubicBezTo>
                  <a:pt x="129" y="40"/>
                  <a:pt x="129" y="40"/>
                  <a:pt x="129" y="40"/>
                </a:cubicBezTo>
                <a:cubicBezTo>
                  <a:pt x="126" y="40"/>
                  <a:pt x="126" y="40"/>
                  <a:pt x="126" y="40"/>
                </a:cubicBezTo>
                <a:cubicBezTo>
                  <a:pt x="124" y="41"/>
                  <a:pt x="124" y="41"/>
                  <a:pt x="124" y="41"/>
                </a:cubicBezTo>
                <a:cubicBezTo>
                  <a:pt x="124" y="42"/>
                  <a:pt x="124" y="42"/>
                  <a:pt x="124" y="42"/>
                </a:cubicBezTo>
                <a:cubicBezTo>
                  <a:pt x="125" y="43"/>
                  <a:pt x="125" y="43"/>
                  <a:pt x="125" y="43"/>
                </a:cubicBezTo>
                <a:cubicBezTo>
                  <a:pt x="126" y="45"/>
                  <a:pt x="126" y="45"/>
                  <a:pt x="126" y="45"/>
                </a:cubicBezTo>
                <a:cubicBezTo>
                  <a:pt x="126" y="45"/>
                  <a:pt x="127" y="46"/>
                  <a:pt x="127" y="46"/>
                </a:cubicBezTo>
                <a:close/>
                <a:moveTo>
                  <a:pt x="129" y="50"/>
                </a:moveTo>
                <a:cubicBezTo>
                  <a:pt x="129" y="49"/>
                  <a:pt x="129" y="49"/>
                  <a:pt x="129" y="49"/>
                </a:cubicBezTo>
                <a:cubicBezTo>
                  <a:pt x="130" y="48"/>
                  <a:pt x="130" y="48"/>
                  <a:pt x="130" y="48"/>
                </a:cubicBezTo>
                <a:cubicBezTo>
                  <a:pt x="130" y="49"/>
                  <a:pt x="130" y="49"/>
                  <a:pt x="130" y="49"/>
                </a:cubicBezTo>
                <a:cubicBezTo>
                  <a:pt x="129" y="50"/>
                  <a:pt x="129" y="50"/>
                  <a:pt x="129" y="50"/>
                </a:cubicBezTo>
                <a:close/>
                <a:moveTo>
                  <a:pt x="130" y="57"/>
                </a:moveTo>
                <a:cubicBezTo>
                  <a:pt x="131" y="55"/>
                  <a:pt x="131" y="55"/>
                  <a:pt x="131" y="55"/>
                </a:cubicBezTo>
                <a:cubicBezTo>
                  <a:pt x="132" y="54"/>
                  <a:pt x="132" y="54"/>
                  <a:pt x="132" y="54"/>
                </a:cubicBezTo>
                <a:cubicBezTo>
                  <a:pt x="133" y="53"/>
                  <a:pt x="133" y="53"/>
                  <a:pt x="133" y="53"/>
                </a:cubicBezTo>
                <a:cubicBezTo>
                  <a:pt x="132" y="52"/>
                  <a:pt x="132" y="52"/>
                  <a:pt x="132" y="52"/>
                </a:cubicBezTo>
                <a:cubicBezTo>
                  <a:pt x="131" y="53"/>
                  <a:pt x="131" y="53"/>
                  <a:pt x="131" y="53"/>
                </a:cubicBezTo>
                <a:cubicBezTo>
                  <a:pt x="129" y="53"/>
                  <a:pt x="129" y="53"/>
                  <a:pt x="129" y="53"/>
                </a:cubicBezTo>
                <a:cubicBezTo>
                  <a:pt x="127" y="52"/>
                  <a:pt x="127" y="52"/>
                  <a:pt x="127" y="52"/>
                </a:cubicBezTo>
                <a:cubicBezTo>
                  <a:pt x="126" y="52"/>
                  <a:pt x="126" y="52"/>
                  <a:pt x="126" y="52"/>
                </a:cubicBezTo>
                <a:cubicBezTo>
                  <a:pt x="124" y="53"/>
                  <a:pt x="124" y="53"/>
                  <a:pt x="124" y="53"/>
                </a:cubicBezTo>
                <a:cubicBezTo>
                  <a:pt x="122" y="54"/>
                  <a:pt x="122" y="54"/>
                  <a:pt x="122" y="54"/>
                </a:cubicBezTo>
                <a:cubicBezTo>
                  <a:pt x="122" y="56"/>
                  <a:pt x="122" y="56"/>
                  <a:pt x="122" y="56"/>
                </a:cubicBezTo>
                <a:cubicBezTo>
                  <a:pt x="122" y="57"/>
                  <a:pt x="122" y="57"/>
                  <a:pt x="122" y="57"/>
                </a:cubicBezTo>
                <a:cubicBezTo>
                  <a:pt x="124" y="58"/>
                  <a:pt x="124" y="58"/>
                  <a:pt x="124" y="58"/>
                </a:cubicBezTo>
                <a:cubicBezTo>
                  <a:pt x="126" y="57"/>
                  <a:pt x="126" y="57"/>
                  <a:pt x="126" y="57"/>
                </a:cubicBezTo>
                <a:cubicBezTo>
                  <a:pt x="127" y="58"/>
                  <a:pt x="127" y="58"/>
                  <a:pt x="127" y="58"/>
                </a:cubicBezTo>
                <a:cubicBezTo>
                  <a:pt x="129" y="58"/>
                  <a:pt x="129" y="58"/>
                  <a:pt x="129" y="58"/>
                </a:cubicBezTo>
                <a:cubicBezTo>
                  <a:pt x="130" y="57"/>
                  <a:pt x="130" y="57"/>
                  <a:pt x="130" y="57"/>
                </a:cubicBezTo>
                <a:close/>
                <a:moveTo>
                  <a:pt x="135" y="57"/>
                </a:moveTo>
                <a:cubicBezTo>
                  <a:pt x="134" y="55"/>
                  <a:pt x="134" y="55"/>
                  <a:pt x="134" y="55"/>
                </a:cubicBezTo>
                <a:cubicBezTo>
                  <a:pt x="135" y="53"/>
                  <a:pt x="135" y="53"/>
                  <a:pt x="135" y="53"/>
                </a:cubicBezTo>
                <a:cubicBezTo>
                  <a:pt x="137" y="53"/>
                  <a:pt x="137" y="53"/>
                  <a:pt x="137" y="53"/>
                </a:cubicBezTo>
                <a:cubicBezTo>
                  <a:pt x="138" y="54"/>
                  <a:pt x="138" y="54"/>
                  <a:pt x="138" y="54"/>
                </a:cubicBezTo>
                <a:cubicBezTo>
                  <a:pt x="138" y="56"/>
                  <a:pt x="138" y="56"/>
                  <a:pt x="138" y="56"/>
                </a:cubicBezTo>
                <a:cubicBezTo>
                  <a:pt x="138" y="57"/>
                  <a:pt x="138" y="57"/>
                  <a:pt x="138" y="57"/>
                </a:cubicBezTo>
                <a:cubicBezTo>
                  <a:pt x="136" y="58"/>
                  <a:pt x="136" y="58"/>
                  <a:pt x="136" y="58"/>
                </a:cubicBezTo>
                <a:cubicBezTo>
                  <a:pt x="135" y="57"/>
                  <a:pt x="135" y="57"/>
                  <a:pt x="135" y="57"/>
                </a:cubicBezTo>
                <a:close/>
                <a:moveTo>
                  <a:pt x="126" y="68"/>
                </a:moveTo>
                <a:cubicBezTo>
                  <a:pt x="128" y="65"/>
                  <a:pt x="128" y="65"/>
                  <a:pt x="128" y="65"/>
                </a:cubicBezTo>
                <a:cubicBezTo>
                  <a:pt x="130" y="62"/>
                  <a:pt x="130" y="62"/>
                  <a:pt x="130" y="62"/>
                </a:cubicBezTo>
                <a:cubicBezTo>
                  <a:pt x="132" y="61"/>
                  <a:pt x="132" y="61"/>
                  <a:pt x="132" y="61"/>
                </a:cubicBezTo>
                <a:cubicBezTo>
                  <a:pt x="131" y="60"/>
                  <a:pt x="131" y="60"/>
                  <a:pt x="131" y="60"/>
                </a:cubicBezTo>
                <a:cubicBezTo>
                  <a:pt x="130" y="59"/>
                  <a:pt x="130" y="59"/>
                  <a:pt x="130" y="59"/>
                </a:cubicBezTo>
                <a:cubicBezTo>
                  <a:pt x="127" y="61"/>
                  <a:pt x="127" y="61"/>
                  <a:pt x="127" y="61"/>
                </a:cubicBezTo>
                <a:cubicBezTo>
                  <a:pt x="125" y="60"/>
                  <a:pt x="125" y="60"/>
                  <a:pt x="125" y="60"/>
                </a:cubicBezTo>
                <a:cubicBezTo>
                  <a:pt x="123" y="59"/>
                  <a:pt x="123" y="59"/>
                  <a:pt x="123" y="59"/>
                </a:cubicBezTo>
                <a:cubicBezTo>
                  <a:pt x="122" y="61"/>
                  <a:pt x="122" y="61"/>
                  <a:pt x="122" y="61"/>
                </a:cubicBezTo>
                <a:cubicBezTo>
                  <a:pt x="121" y="63"/>
                  <a:pt x="121" y="63"/>
                  <a:pt x="121" y="63"/>
                </a:cubicBezTo>
                <a:cubicBezTo>
                  <a:pt x="122" y="63"/>
                  <a:pt x="122" y="63"/>
                  <a:pt x="122" y="63"/>
                </a:cubicBezTo>
                <a:cubicBezTo>
                  <a:pt x="124" y="63"/>
                  <a:pt x="124" y="63"/>
                  <a:pt x="124" y="63"/>
                </a:cubicBezTo>
                <a:cubicBezTo>
                  <a:pt x="124" y="66"/>
                  <a:pt x="124" y="66"/>
                  <a:pt x="124" y="66"/>
                </a:cubicBezTo>
                <a:cubicBezTo>
                  <a:pt x="125" y="66"/>
                  <a:pt x="125" y="66"/>
                  <a:pt x="125" y="66"/>
                </a:cubicBezTo>
                <a:cubicBezTo>
                  <a:pt x="122" y="67"/>
                  <a:pt x="122" y="67"/>
                  <a:pt x="122" y="67"/>
                </a:cubicBezTo>
                <a:cubicBezTo>
                  <a:pt x="119" y="68"/>
                  <a:pt x="119" y="68"/>
                  <a:pt x="119" y="68"/>
                </a:cubicBezTo>
                <a:cubicBezTo>
                  <a:pt x="118" y="69"/>
                  <a:pt x="118" y="69"/>
                  <a:pt x="118" y="69"/>
                </a:cubicBezTo>
                <a:cubicBezTo>
                  <a:pt x="119" y="71"/>
                  <a:pt x="119" y="71"/>
                  <a:pt x="119" y="71"/>
                </a:cubicBezTo>
                <a:cubicBezTo>
                  <a:pt x="121" y="71"/>
                  <a:pt x="121" y="71"/>
                  <a:pt x="121" y="71"/>
                </a:cubicBezTo>
                <a:cubicBezTo>
                  <a:pt x="123" y="69"/>
                  <a:pt x="123" y="69"/>
                  <a:pt x="123" y="69"/>
                </a:cubicBezTo>
                <a:cubicBezTo>
                  <a:pt x="123" y="69"/>
                  <a:pt x="126" y="69"/>
                  <a:pt x="126" y="68"/>
                </a:cubicBezTo>
                <a:close/>
                <a:moveTo>
                  <a:pt x="132" y="69"/>
                </a:moveTo>
                <a:cubicBezTo>
                  <a:pt x="130" y="68"/>
                  <a:pt x="130" y="68"/>
                  <a:pt x="130" y="68"/>
                </a:cubicBezTo>
                <a:cubicBezTo>
                  <a:pt x="129" y="69"/>
                  <a:pt x="129" y="69"/>
                  <a:pt x="129" y="69"/>
                </a:cubicBezTo>
                <a:cubicBezTo>
                  <a:pt x="128" y="69"/>
                  <a:pt x="128" y="69"/>
                  <a:pt x="128" y="69"/>
                </a:cubicBezTo>
                <a:cubicBezTo>
                  <a:pt x="129" y="67"/>
                  <a:pt x="129" y="67"/>
                  <a:pt x="129" y="67"/>
                </a:cubicBezTo>
                <a:cubicBezTo>
                  <a:pt x="131" y="65"/>
                  <a:pt x="131" y="65"/>
                  <a:pt x="131" y="65"/>
                </a:cubicBezTo>
                <a:cubicBezTo>
                  <a:pt x="131" y="64"/>
                  <a:pt x="131" y="64"/>
                  <a:pt x="131" y="64"/>
                </a:cubicBezTo>
                <a:cubicBezTo>
                  <a:pt x="133" y="66"/>
                  <a:pt x="133" y="66"/>
                  <a:pt x="133" y="66"/>
                </a:cubicBezTo>
                <a:cubicBezTo>
                  <a:pt x="133" y="67"/>
                  <a:pt x="133" y="67"/>
                  <a:pt x="133" y="67"/>
                </a:cubicBezTo>
                <a:cubicBezTo>
                  <a:pt x="132" y="69"/>
                  <a:pt x="132" y="69"/>
                  <a:pt x="132" y="69"/>
                </a:cubicBezTo>
                <a:close/>
                <a:moveTo>
                  <a:pt x="139" y="73"/>
                </a:moveTo>
                <a:cubicBezTo>
                  <a:pt x="135" y="71"/>
                  <a:pt x="135" y="71"/>
                  <a:pt x="135" y="71"/>
                </a:cubicBezTo>
                <a:cubicBezTo>
                  <a:pt x="135" y="69"/>
                  <a:pt x="135" y="69"/>
                  <a:pt x="135" y="69"/>
                </a:cubicBezTo>
                <a:cubicBezTo>
                  <a:pt x="135" y="67"/>
                  <a:pt x="135" y="67"/>
                  <a:pt x="135" y="67"/>
                </a:cubicBezTo>
                <a:cubicBezTo>
                  <a:pt x="136" y="67"/>
                  <a:pt x="136" y="67"/>
                  <a:pt x="136" y="67"/>
                </a:cubicBezTo>
                <a:cubicBezTo>
                  <a:pt x="137" y="69"/>
                  <a:pt x="137" y="69"/>
                  <a:pt x="137" y="69"/>
                </a:cubicBezTo>
                <a:cubicBezTo>
                  <a:pt x="139" y="69"/>
                  <a:pt x="139" y="69"/>
                  <a:pt x="139" y="69"/>
                </a:cubicBezTo>
                <a:cubicBezTo>
                  <a:pt x="141" y="70"/>
                  <a:pt x="141" y="70"/>
                  <a:pt x="141" y="70"/>
                </a:cubicBezTo>
                <a:cubicBezTo>
                  <a:pt x="141" y="72"/>
                  <a:pt x="141" y="72"/>
                  <a:pt x="141" y="72"/>
                </a:cubicBezTo>
                <a:cubicBezTo>
                  <a:pt x="139" y="73"/>
                  <a:pt x="139" y="73"/>
                  <a:pt x="139" y="73"/>
                </a:cubicBezTo>
                <a:close/>
                <a:moveTo>
                  <a:pt x="136" y="79"/>
                </a:moveTo>
                <a:cubicBezTo>
                  <a:pt x="134" y="77"/>
                  <a:pt x="134" y="77"/>
                  <a:pt x="134" y="77"/>
                </a:cubicBezTo>
                <a:cubicBezTo>
                  <a:pt x="130" y="74"/>
                  <a:pt x="130" y="74"/>
                  <a:pt x="130" y="74"/>
                </a:cubicBezTo>
                <a:cubicBezTo>
                  <a:pt x="126" y="72"/>
                  <a:pt x="126" y="72"/>
                  <a:pt x="126" y="72"/>
                </a:cubicBezTo>
                <a:cubicBezTo>
                  <a:pt x="124" y="72"/>
                  <a:pt x="124" y="72"/>
                  <a:pt x="124" y="72"/>
                </a:cubicBezTo>
                <a:cubicBezTo>
                  <a:pt x="123" y="72"/>
                  <a:pt x="123" y="72"/>
                  <a:pt x="123" y="72"/>
                </a:cubicBezTo>
                <a:cubicBezTo>
                  <a:pt x="124" y="71"/>
                  <a:pt x="124" y="71"/>
                  <a:pt x="124" y="71"/>
                </a:cubicBezTo>
                <a:cubicBezTo>
                  <a:pt x="126" y="70"/>
                  <a:pt x="126" y="70"/>
                  <a:pt x="126" y="70"/>
                </a:cubicBezTo>
                <a:cubicBezTo>
                  <a:pt x="129" y="70"/>
                  <a:pt x="129" y="70"/>
                  <a:pt x="129" y="70"/>
                </a:cubicBezTo>
                <a:cubicBezTo>
                  <a:pt x="132" y="72"/>
                  <a:pt x="132" y="72"/>
                  <a:pt x="132" y="72"/>
                </a:cubicBezTo>
                <a:cubicBezTo>
                  <a:pt x="135" y="75"/>
                  <a:pt x="135" y="75"/>
                  <a:pt x="135" y="75"/>
                </a:cubicBezTo>
                <a:cubicBezTo>
                  <a:pt x="136" y="75"/>
                  <a:pt x="136" y="75"/>
                  <a:pt x="136" y="75"/>
                </a:cubicBezTo>
                <a:cubicBezTo>
                  <a:pt x="138" y="74"/>
                  <a:pt x="138" y="74"/>
                  <a:pt x="138" y="74"/>
                </a:cubicBezTo>
                <a:cubicBezTo>
                  <a:pt x="138" y="74"/>
                  <a:pt x="138" y="74"/>
                  <a:pt x="138" y="74"/>
                </a:cubicBezTo>
                <a:cubicBezTo>
                  <a:pt x="138" y="76"/>
                  <a:pt x="138" y="76"/>
                  <a:pt x="138" y="76"/>
                </a:cubicBezTo>
                <a:cubicBezTo>
                  <a:pt x="137" y="78"/>
                  <a:pt x="137" y="78"/>
                  <a:pt x="137" y="78"/>
                </a:cubicBezTo>
                <a:cubicBezTo>
                  <a:pt x="136" y="79"/>
                  <a:pt x="136" y="79"/>
                  <a:pt x="136" y="79"/>
                </a:cubicBezTo>
                <a:close/>
                <a:moveTo>
                  <a:pt x="137" y="85"/>
                </a:moveTo>
                <a:cubicBezTo>
                  <a:pt x="138" y="82"/>
                  <a:pt x="138" y="82"/>
                  <a:pt x="138" y="82"/>
                </a:cubicBezTo>
                <a:cubicBezTo>
                  <a:pt x="136" y="79"/>
                  <a:pt x="136" y="79"/>
                  <a:pt x="136" y="79"/>
                </a:cubicBezTo>
                <a:cubicBezTo>
                  <a:pt x="134" y="79"/>
                  <a:pt x="134" y="79"/>
                  <a:pt x="134" y="79"/>
                </a:cubicBezTo>
                <a:cubicBezTo>
                  <a:pt x="131" y="78"/>
                  <a:pt x="131" y="78"/>
                  <a:pt x="131" y="78"/>
                </a:cubicBezTo>
                <a:cubicBezTo>
                  <a:pt x="128" y="76"/>
                  <a:pt x="128" y="76"/>
                  <a:pt x="128" y="76"/>
                </a:cubicBezTo>
                <a:cubicBezTo>
                  <a:pt x="127" y="76"/>
                  <a:pt x="127" y="76"/>
                  <a:pt x="127" y="76"/>
                </a:cubicBezTo>
                <a:cubicBezTo>
                  <a:pt x="125" y="75"/>
                  <a:pt x="125" y="75"/>
                  <a:pt x="125" y="75"/>
                </a:cubicBezTo>
                <a:cubicBezTo>
                  <a:pt x="123" y="75"/>
                  <a:pt x="123" y="75"/>
                  <a:pt x="123" y="75"/>
                </a:cubicBezTo>
                <a:cubicBezTo>
                  <a:pt x="121" y="74"/>
                  <a:pt x="121" y="74"/>
                  <a:pt x="121" y="74"/>
                </a:cubicBezTo>
                <a:cubicBezTo>
                  <a:pt x="116" y="74"/>
                  <a:pt x="116" y="74"/>
                  <a:pt x="116" y="74"/>
                </a:cubicBezTo>
                <a:cubicBezTo>
                  <a:pt x="114" y="75"/>
                  <a:pt x="114" y="75"/>
                  <a:pt x="114" y="75"/>
                </a:cubicBezTo>
                <a:cubicBezTo>
                  <a:pt x="114" y="77"/>
                  <a:pt x="114" y="77"/>
                  <a:pt x="114" y="77"/>
                </a:cubicBezTo>
                <a:cubicBezTo>
                  <a:pt x="114" y="77"/>
                  <a:pt x="114" y="77"/>
                  <a:pt x="114" y="77"/>
                </a:cubicBezTo>
                <a:cubicBezTo>
                  <a:pt x="115" y="78"/>
                  <a:pt x="115" y="78"/>
                  <a:pt x="115" y="78"/>
                </a:cubicBezTo>
                <a:cubicBezTo>
                  <a:pt x="118" y="79"/>
                  <a:pt x="118" y="79"/>
                  <a:pt x="118" y="79"/>
                </a:cubicBezTo>
                <a:cubicBezTo>
                  <a:pt x="119" y="78"/>
                  <a:pt x="119" y="78"/>
                  <a:pt x="119" y="78"/>
                </a:cubicBezTo>
                <a:cubicBezTo>
                  <a:pt x="120" y="78"/>
                  <a:pt x="120" y="78"/>
                  <a:pt x="120" y="78"/>
                </a:cubicBezTo>
                <a:cubicBezTo>
                  <a:pt x="122" y="79"/>
                  <a:pt x="122" y="79"/>
                  <a:pt x="122" y="79"/>
                </a:cubicBezTo>
                <a:cubicBezTo>
                  <a:pt x="123" y="81"/>
                  <a:pt x="123" y="81"/>
                  <a:pt x="123" y="81"/>
                </a:cubicBezTo>
                <a:cubicBezTo>
                  <a:pt x="124" y="81"/>
                  <a:pt x="124" y="81"/>
                  <a:pt x="124" y="81"/>
                </a:cubicBezTo>
                <a:cubicBezTo>
                  <a:pt x="125" y="81"/>
                  <a:pt x="125" y="81"/>
                  <a:pt x="125" y="81"/>
                </a:cubicBezTo>
                <a:cubicBezTo>
                  <a:pt x="126" y="83"/>
                  <a:pt x="126" y="83"/>
                  <a:pt x="126" y="83"/>
                </a:cubicBezTo>
                <a:cubicBezTo>
                  <a:pt x="129" y="84"/>
                  <a:pt x="129" y="84"/>
                  <a:pt x="129" y="84"/>
                </a:cubicBezTo>
                <a:cubicBezTo>
                  <a:pt x="131" y="83"/>
                  <a:pt x="131" y="83"/>
                  <a:pt x="131" y="83"/>
                </a:cubicBezTo>
                <a:cubicBezTo>
                  <a:pt x="134" y="84"/>
                  <a:pt x="134" y="84"/>
                  <a:pt x="134" y="84"/>
                </a:cubicBezTo>
                <a:cubicBezTo>
                  <a:pt x="136" y="85"/>
                  <a:pt x="136" y="85"/>
                  <a:pt x="136" y="85"/>
                </a:cubicBezTo>
                <a:cubicBezTo>
                  <a:pt x="137" y="85"/>
                  <a:pt x="137" y="85"/>
                  <a:pt x="137" y="85"/>
                </a:cubicBezTo>
                <a:close/>
                <a:moveTo>
                  <a:pt x="121" y="88"/>
                </a:moveTo>
                <a:cubicBezTo>
                  <a:pt x="121" y="88"/>
                  <a:pt x="120" y="88"/>
                  <a:pt x="120" y="88"/>
                </a:cubicBezTo>
                <a:cubicBezTo>
                  <a:pt x="119" y="87"/>
                  <a:pt x="119" y="87"/>
                  <a:pt x="119" y="87"/>
                </a:cubicBezTo>
                <a:cubicBezTo>
                  <a:pt x="117" y="87"/>
                  <a:pt x="117" y="87"/>
                  <a:pt x="117" y="87"/>
                </a:cubicBezTo>
                <a:cubicBezTo>
                  <a:pt x="115" y="85"/>
                  <a:pt x="115" y="85"/>
                  <a:pt x="115" y="85"/>
                </a:cubicBezTo>
                <a:cubicBezTo>
                  <a:pt x="115" y="84"/>
                  <a:pt x="115" y="84"/>
                  <a:pt x="115" y="84"/>
                </a:cubicBezTo>
                <a:cubicBezTo>
                  <a:pt x="116" y="83"/>
                  <a:pt x="116" y="83"/>
                  <a:pt x="116" y="83"/>
                </a:cubicBezTo>
                <a:cubicBezTo>
                  <a:pt x="119" y="83"/>
                  <a:pt x="119" y="83"/>
                  <a:pt x="119" y="83"/>
                </a:cubicBezTo>
                <a:cubicBezTo>
                  <a:pt x="121" y="83"/>
                  <a:pt x="121" y="83"/>
                  <a:pt x="121" y="83"/>
                </a:cubicBezTo>
                <a:cubicBezTo>
                  <a:pt x="122" y="82"/>
                  <a:pt x="122" y="82"/>
                  <a:pt x="122" y="82"/>
                </a:cubicBezTo>
                <a:cubicBezTo>
                  <a:pt x="123" y="84"/>
                  <a:pt x="123" y="84"/>
                  <a:pt x="123" y="84"/>
                </a:cubicBezTo>
                <a:cubicBezTo>
                  <a:pt x="124" y="84"/>
                  <a:pt x="124" y="84"/>
                  <a:pt x="124" y="84"/>
                </a:cubicBezTo>
                <a:cubicBezTo>
                  <a:pt x="125" y="84"/>
                  <a:pt x="125" y="84"/>
                  <a:pt x="125" y="84"/>
                </a:cubicBezTo>
                <a:cubicBezTo>
                  <a:pt x="126" y="84"/>
                  <a:pt x="126" y="84"/>
                  <a:pt x="126" y="84"/>
                </a:cubicBezTo>
                <a:cubicBezTo>
                  <a:pt x="126" y="85"/>
                  <a:pt x="126" y="85"/>
                  <a:pt x="126" y="85"/>
                </a:cubicBezTo>
                <a:cubicBezTo>
                  <a:pt x="126" y="86"/>
                  <a:pt x="126" y="86"/>
                  <a:pt x="126" y="86"/>
                </a:cubicBezTo>
                <a:cubicBezTo>
                  <a:pt x="121" y="88"/>
                  <a:pt x="121" y="88"/>
                  <a:pt x="121" y="88"/>
                </a:cubicBezTo>
                <a:close/>
                <a:moveTo>
                  <a:pt x="117" y="100"/>
                </a:moveTo>
                <a:cubicBezTo>
                  <a:pt x="116" y="98"/>
                  <a:pt x="116" y="98"/>
                  <a:pt x="116" y="98"/>
                </a:cubicBezTo>
                <a:cubicBezTo>
                  <a:pt x="116" y="95"/>
                  <a:pt x="116" y="95"/>
                  <a:pt x="116" y="95"/>
                </a:cubicBezTo>
                <a:cubicBezTo>
                  <a:pt x="114" y="94"/>
                  <a:pt x="114" y="94"/>
                  <a:pt x="114" y="94"/>
                </a:cubicBezTo>
                <a:cubicBezTo>
                  <a:pt x="114" y="97"/>
                  <a:pt x="114" y="97"/>
                  <a:pt x="114" y="97"/>
                </a:cubicBezTo>
                <a:cubicBezTo>
                  <a:pt x="113" y="98"/>
                  <a:pt x="113" y="98"/>
                  <a:pt x="113" y="98"/>
                </a:cubicBezTo>
                <a:cubicBezTo>
                  <a:pt x="114" y="99"/>
                  <a:pt x="114" y="99"/>
                  <a:pt x="114" y="99"/>
                </a:cubicBezTo>
                <a:cubicBezTo>
                  <a:pt x="116" y="100"/>
                  <a:pt x="116" y="100"/>
                  <a:pt x="116" y="100"/>
                </a:cubicBezTo>
                <a:cubicBezTo>
                  <a:pt x="117" y="100"/>
                  <a:pt x="117" y="100"/>
                  <a:pt x="117" y="100"/>
                </a:cubicBezTo>
                <a:close/>
                <a:moveTo>
                  <a:pt x="119" y="99"/>
                </a:moveTo>
                <a:cubicBezTo>
                  <a:pt x="120" y="99"/>
                  <a:pt x="120" y="99"/>
                  <a:pt x="120" y="99"/>
                </a:cubicBezTo>
                <a:cubicBezTo>
                  <a:pt x="121" y="98"/>
                  <a:pt x="121" y="98"/>
                  <a:pt x="121" y="98"/>
                </a:cubicBezTo>
                <a:cubicBezTo>
                  <a:pt x="120" y="96"/>
                  <a:pt x="120" y="96"/>
                  <a:pt x="120" y="96"/>
                </a:cubicBezTo>
                <a:cubicBezTo>
                  <a:pt x="118" y="94"/>
                  <a:pt x="118" y="94"/>
                  <a:pt x="118" y="94"/>
                </a:cubicBezTo>
                <a:cubicBezTo>
                  <a:pt x="117" y="94"/>
                  <a:pt x="117" y="94"/>
                  <a:pt x="117" y="94"/>
                </a:cubicBezTo>
                <a:cubicBezTo>
                  <a:pt x="117" y="96"/>
                  <a:pt x="117" y="96"/>
                  <a:pt x="117" y="96"/>
                </a:cubicBezTo>
                <a:cubicBezTo>
                  <a:pt x="119" y="99"/>
                  <a:pt x="119" y="99"/>
                  <a:pt x="119" y="99"/>
                </a:cubicBezTo>
                <a:close/>
                <a:moveTo>
                  <a:pt x="123" y="97"/>
                </a:moveTo>
                <a:cubicBezTo>
                  <a:pt x="123" y="97"/>
                  <a:pt x="125" y="97"/>
                  <a:pt x="125" y="97"/>
                </a:cubicBezTo>
                <a:cubicBezTo>
                  <a:pt x="126" y="96"/>
                  <a:pt x="126" y="96"/>
                  <a:pt x="126" y="96"/>
                </a:cubicBezTo>
                <a:cubicBezTo>
                  <a:pt x="124" y="95"/>
                  <a:pt x="124" y="95"/>
                  <a:pt x="124" y="95"/>
                </a:cubicBezTo>
                <a:cubicBezTo>
                  <a:pt x="122" y="94"/>
                  <a:pt x="122" y="94"/>
                  <a:pt x="122" y="94"/>
                </a:cubicBezTo>
                <a:cubicBezTo>
                  <a:pt x="122" y="95"/>
                  <a:pt x="122" y="95"/>
                  <a:pt x="122" y="95"/>
                </a:cubicBezTo>
                <a:cubicBezTo>
                  <a:pt x="123" y="97"/>
                  <a:pt x="123" y="97"/>
                  <a:pt x="123" y="97"/>
                </a:cubicBezTo>
                <a:close/>
                <a:moveTo>
                  <a:pt x="123" y="102"/>
                </a:moveTo>
                <a:cubicBezTo>
                  <a:pt x="123" y="101"/>
                  <a:pt x="123" y="101"/>
                  <a:pt x="123" y="101"/>
                </a:cubicBezTo>
                <a:cubicBezTo>
                  <a:pt x="124" y="99"/>
                  <a:pt x="124" y="99"/>
                  <a:pt x="124" y="99"/>
                </a:cubicBezTo>
                <a:cubicBezTo>
                  <a:pt x="124" y="98"/>
                  <a:pt x="124" y="98"/>
                  <a:pt x="124" y="98"/>
                </a:cubicBezTo>
                <a:cubicBezTo>
                  <a:pt x="122" y="97"/>
                  <a:pt x="122" y="97"/>
                  <a:pt x="122" y="97"/>
                </a:cubicBezTo>
                <a:cubicBezTo>
                  <a:pt x="122" y="98"/>
                  <a:pt x="122" y="98"/>
                  <a:pt x="122" y="98"/>
                </a:cubicBezTo>
                <a:cubicBezTo>
                  <a:pt x="122" y="99"/>
                  <a:pt x="122" y="99"/>
                  <a:pt x="122" y="99"/>
                </a:cubicBezTo>
                <a:cubicBezTo>
                  <a:pt x="121" y="101"/>
                  <a:pt x="121" y="101"/>
                  <a:pt x="121" y="101"/>
                </a:cubicBezTo>
                <a:cubicBezTo>
                  <a:pt x="123" y="102"/>
                  <a:pt x="123" y="102"/>
                  <a:pt x="123" y="102"/>
                </a:cubicBezTo>
                <a:close/>
                <a:moveTo>
                  <a:pt x="120" y="107"/>
                </a:moveTo>
                <a:cubicBezTo>
                  <a:pt x="119" y="106"/>
                  <a:pt x="119" y="106"/>
                  <a:pt x="119" y="106"/>
                </a:cubicBezTo>
                <a:cubicBezTo>
                  <a:pt x="118" y="106"/>
                  <a:pt x="118" y="106"/>
                  <a:pt x="118" y="106"/>
                </a:cubicBezTo>
                <a:cubicBezTo>
                  <a:pt x="116" y="104"/>
                  <a:pt x="116" y="104"/>
                  <a:pt x="116" y="104"/>
                </a:cubicBezTo>
                <a:cubicBezTo>
                  <a:pt x="115" y="104"/>
                  <a:pt x="115" y="104"/>
                  <a:pt x="115" y="104"/>
                </a:cubicBezTo>
                <a:cubicBezTo>
                  <a:pt x="113" y="105"/>
                  <a:pt x="113" y="105"/>
                  <a:pt x="113" y="105"/>
                </a:cubicBezTo>
                <a:cubicBezTo>
                  <a:pt x="115" y="107"/>
                  <a:pt x="115" y="107"/>
                  <a:pt x="115" y="107"/>
                </a:cubicBezTo>
                <a:cubicBezTo>
                  <a:pt x="115" y="108"/>
                  <a:pt x="115" y="108"/>
                  <a:pt x="115" y="108"/>
                </a:cubicBezTo>
                <a:cubicBezTo>
                  <a:pt x="113" y="109"/>
                  <a:pt x="113" y="109"/>
                  <a:pt x="113" y="109"/>
                </a:cubicBezTo>
                <a:cubicBezTo>
                  <a:pt x="114" y="111"/>
                  <a:pt x="114" y="111"/>
                  <a:pt x="114" y="111"/>
                </a:cubicBezTo>
                <a:cubicBezTo>
                  <a:pt x="117" y="111"/>
                  <a:pt x="117" y="111"/>
                  <a:pt x="117" y="111"/>
                </a:cubicBezTo>
                <a:cubicBezTo>
                  <a:pt x="119" y="110"/>
                  <a:pt x="119" y="110"/>
                  <a:pt x="119" y="110"/>
                </a:cubicBezTo>
                <a:cubicBezTo>
                  <a:pt x="120" y="107"/>
                  <a:pt x="120" y="107"/>
                  <a:pt x="120" y="107"/>
                </a:cubicBezTo>
                <a:close/>
                <a:moveTo>
                  <a:pt x="122" y="104"/>
                </a:moveTo>
                <a:cubicBezTo>
                  <a:pt x="122" y="106"/>
                  <a:pt x="122" y="106"/>
                  <a:pt x="122" y="106"/>
                </a:cubicBezTo>
                <a:cubicBezTo>
                  <a:pt x="122" y="108"/>
                  <a:pt x="122" y="108"/>
                  <a:pt x="122" y="108"/>
                </a:cubicBezTo>
                <a:cubicBezTo>
                  <a:pt x="124" y="108"/>
                  <a:pt x="124" y="108"/>
                  <a:pt x="124" y="108"/>
                </a:cubicBezTo>
                <a:cubicBezTo>
                  <a:pt x="124" y="106"/>
                  <a:pt x="124" y="106"/>
                  <a:pt x="124" y="106"/>
                </a:cubicBezTo>
                <a:cubicBezTo>
                  <a:pt x="123" y="104"/>
                  <a:pt x="123" y="104"/>
                  <a:pt x="123" y="104"/>
                </a:cubicBezTo>
                <a:cubicBezTo>
                  <a:pt x="122" y="104"/>
                  <a:pt x="122" y="104"/>
                  <a:pt x="122" y="104"/>
                </a:cubicBezTo>
                <a:close/>
                <a:moveTo>
                  <a:pt x="139" y="80"/>
                </a:moveTo>
                <a:cubicBezTo>
                  <a:pt x="139" y="79"/>
                  <a:pt x="139" y="79"/>
                  <a:pt x="139" y="79"/>
                </a:cubicBezTo>
                <a:cubicBezTo>
                  <a:pt x="139" y="78"/>
                  <a:pt x="139" y="78"/>
                  <a:pt x="139" y="78"/>
                </a:cubicBezTo>
                <a:cubicBezTo>
                  <a:pt x="140" y="75"/>
                  <a:pt x="140" y="75"/>
                  <a:pt x="140" y="75"/>
                </a:cubicBezTo>
                <a:cubicBezTo>
                  <a:pt x="141" y="75"/>
                  <a:pt x="141" y="75"/>
                  <a:pt x="141" y="75"/>
                </a:cubicBezTo>
                <a:cubicBezTo>
                  <a:pt x="142" y="75"/>
                  <a:pt x="142" y="75"/>
                  <a:pt x="142" y="75"/>
                </a:cubicBezTo>
                <a:cubicBezTo>
                  <a:pt x="143" y="77"/>
                  <a:pt x="143" y="77"/>
                  <a:pt x="143" y="77"/>
                </a:cubicBezTo>
                <a:cubicBezTo>
                  <a:pt x="143" y="78"/>
                  <a:pt x="143" y="78"/>
                  <a:pt x="143" y="78"/>
                </a:cubicBezTo>
                <a:cubicBezTo>
                  <a:pt x="143" y="79"/>
                  <a:pt x="143" y="79"/>
                  <a:pt x="143" y="79"/>
                </a:cubicBezTo>
                <a:cubicBezTo>
                  <a:pt x="142" y="80"/>
                  <a:pt x="142" y="80"/>
                  <a:pt x="142" y="80"/>
                </a:cubicBezTo>
                <a:cubicBezTo>
                  <a:pt x="141" y="81"/>
                  <a:pt x="141" y="81"/>
                  <a:pt x="141" y="81"/>
                </a:cubicBezTo>
                <a:cubicBezTo>
                  <a:pt x="139" y="81"/>
                  <a:pt x="139" y="81"/>
                  <a:pt x="139" y="81"/>
                </a:cubicBezTo>
                <a:cubicBezTo>
                  <a:pt x="139" y="80"/>
                  <a:pt x="139" y="80"/>
                  <a:pt x="139" y="80"/>
                </a:cubicBezTo>
                <a:close/>
                <a:moveTo>
                  <a:pt x="126" y="103"/>
                </a:moveTo>
                <a:cubicBezTo>
                  <a:pt x="126" y="105"/>
                  <a:pt x="126" y="105"/>
                  <a:pt x="126" y="105"/>
                </a:cubicBezTo>
                <a:cubicBezTo>
                  <a:pt x="129" y="105"/>
                  <a:pt x="129" y="105"/>
                  <a:pt x="129" y="105"/>
                </a:cubicBezTo>
                <a:cubicBezTo>
                  <a:pt x="130" y="105"/>
                  <a:pt x="130" y="105"/>
                  <a:pt x="130" y="105"/>
                </a:cubicBezTo>
                <a:cubicBezTo>
                  <a:pt x="131" y="104"/>
                  <a:pt x="131" y="104"/>
                  <a:pt x="131" y="104"/>
                </a:cubicBezTo>
                <a:cubicBezTo>
                  <a:pt x="130" y="102"/>
                  <a:pt x="130" y="102"/>
                  <a:pt x="130" y="102"/>
                </a:cubicBezTo>
                <a:cubicBezTo>
                  <a:pt x="130" y="101"/>
                  <a:pt x="130" y="101"/>
                  <a:pt x="130" y="101"/>
                </a:cubicBezTo>
                <a:cubicBezTo>
                  <a:pt x="128" y="101"/>
                  <a:pt x="128" y="101"/>
                  <a:pt x="128" y="101"/>
                </a:cubicBezTo>
                <a:cubicBezTo>
                  <a:pt x="127" y="103"/>
                  <a:pt x="127" y="103"/>
                  <a:pt x="127" y="103"/>
                </a:cubicBezTo>
                <a:cubicBezTo>
                  <a:pt x="126" y="103"/>
                  <a:pt x="126" y="103"/>
                  <a:pt x="126" y="103"/>
                </a:cubicBezTo>
                <a:close/>
                <a:moveTo>
                  <a:pt x="127" y="99"/>
                </a:moveTo>
                <a:cubicBezTo>
                  <a:pt x="128" y="99"/>
                  <a:pt x="128" y="99"/>
                  <a:pt x="128" y="99"/>
                </a:cubicBezTo>
                <a:cubicBezTo>
                  <a:pt x="128" y="98"/>
                  <a:pt x="128" y="98"/>
                  <a:pt x="128" y="98"/>
                </a:cubicBezTo>
                <a:cubicBezTo>
                  <a:pt x="129" y="96"/>
                  <a:pt x="129" y="96"/>
                  <a:pt x="129" y="96"/>
                </a:cubicBezTo>
                <a:cubicBezTo>
                  <a:pt x="127" y="97"/>
                  <a:pt x="127" y="97"/>
                  <a:pt x="127" y="97"/>
                </a:cubicBezTo>
                <a:cubicBezTo>
                  <a:pt x="127" y="99"/>
                  <a:pt x="127" y="99"/>
                  <a:pt x="127" y="99"/>
                </a:cubicBezTo>
                <a:close/>
                <a:moveTo>
                  <a:pt x="130" y="98"/>
                </a:moveTo>
                <a:cubicBezTo>
                  <a:pt x="130" y="98"/>
                  <a:pt x="130" y="98"/>
                  <a:pt x="130" y="98"/>
                </a:cubicBezTo>
                <a:cubicBezTo>
                  <a:pt x="132" y="99"/>
                  <a:pt x="132" y="99"/>
                  <a:pt x="132" y="99"/>
                </a:cubicBezTo>
                <a:cubicBezTo>
                  <a:pt x="133" y="98"/>
                  <a:pt x="133" y="98"/>
                  <a:pt x="133" y="98"/>
                </a:cubicBezTo>
                <a:cubicBezTo>
                  <a:pt x="134" y="97"/>
                  <a:pt x="134" y="97"/>
                  <a:pt x="134" y="97"/>
                </a:cubicBezTo>
                <a:cubicBezTo>
                  <a:pt x="133" y="96"/>
                  <a:pt x="133" y="96"/>
                  <a:pt x="133" y="96"/>
                </a:cubicBezTo>
                <a:cubicBezTo>
                  <a:pt x="132" y="96"/>
                  <a:pt x="132" y="96"/>
                  <a:pt x="132" y="96"/>
                </a:cubicBezTo>
                <a:cubicBezTo>
                  <a:pt x="131" y="97"/>
                  <a:pt x="131" y="97"/>
                  <a:pt x="131" y="97"/>
                </a:cubicBezTo>
                <a:cubicBezTo>
                  <a:pt x="130" y="98"/>
                  <a:pt x="130" y="98"/>
                  <a:pt x="130" y="98"/>
                </a:cubicBezTo>
                <a:close/>
                <a:moveTo>
                  <a:pt x="130" y="89"/>
                </a:moveTo>
                <a:cubicBezTo>
                  <a:pt x="129" y="91"/>
                  <a:pt x="129" y="91"/>
                  <a:pt x="129" y="91"/>
                </a:cubicBezTo>
                <a:cubicBezTo>
                  <a:pt x="128" y="91"/>
                  <a:pt x="128" y="91"/>
                  <a:pt x="128" y="91"/>
                </a:cubicBezTo>
                <a:cubicBezTo>
                  <a:pt x="127" y="90"/>
                  <a:pt x="127" y="90"/>
                  <a:pt x="127" y="90"/>
                </a:cubicBezTo>
                <a:cubicBezTo>
                  <a:pt x="126" y="88"/>
                  <a:pt x="126" y="88"/>
                  <a:pt x="126" y="88"/>
                </a:cubicBezTo>
                <a:cubicBezTo>
                  <a:pt x="128" y="85"/>
                  <a:pt x="128" y="85"/>
                  <a:pt x="128" y="85"/>
                </a:cubicBezTo>
                <a:cubicBezTo>
                  <a:pt x="131" y="85"/>
                  <a:pt x="131" y="85"/>
                  <a:pt x="131" y="85"/>
                </a:cubicBezTo>
                <a:cubicBezTo>
                  <a:pt x="132" y="85"/>
                  <a:pt x="132" y="85"/>
                  <a:pt x="132" y="85"/>
                </a:cubicBezTo>
                <a:cubicBezTo>
                  <a:pt x="133" y="86"/>
                  <a:pt x="133" y="86"/>
                  <a:pt x="133" y="86"/>
                </a:cubicBezTo>
                <a:cubicBezTo>
                  <a:pt x="135" y="87"/>
                  <a:pt x="135" y="87"/>
                  <a:pt x="135" y="87"/>
                </a:cubicBezTo>
                <a:cubicBezTo>
                  <a:pt x="135" y="89"/>
                  <a:pt x="135" y="89"/>
                  <a:pt x="135" y="89"/>
                </a:cubicBezTo>
                <a:cubicBezTo>
                  <a:pt x="134" y="90"/>
                  <a:pt x="134" y="90"/>
                  <a:pt x="134" y="90"/>
                </a:cubicBezTo>
                <a:cubicBezTo>
                  <a:pt x="132" y="90"/>
                  <a:pt x="132" y="90"/>
                  <a:pt x="132" y="90"/>
                </a:cubicBezTo>
                <a:cubicBezTo>
                  <a:pt x="130" y="89"/>
                  <a:pt x="130" y="89"/>
                  <a:pt x="130" y="89"/>
                </a:cubicBezTo>
                <a:close/>
                <a:moveTo>
                  <a:pt x="138" y="88"/>
                </a:moveTo>
                <a:cubicBezTo>
                  <a:pt x="140" y="90"/>
                  <a:pt x="140" y="90"/>
                  <a:pt x="140" y="90"/>
                </a:cubicBezTo>
                <a:cubicBezTo>
                  <a:pt x="142" y="90"/>
                  <a:pt x="142" y="90"/>
                  <a:pt x="142" y="90"/>
                </a:cubicBezTo>
                <a:cubicBezTo>
                  <a:pt x="143" y="89"/>
                  <a:pt x="143" y="89"/>
                  <a:pt x="143" y="89"/>
                </a:cubicBezTo>
                <a:cubicBezTo>
                  <a:pt x="143" y="88"/>
                  <a:pt x="143" y="88"/>
                  <a:pt x="143" y="88"/>
                </a:cubicBezTo>
                <a:cubicBezTo>
                  <a:pt x="142" y="86"/>
                  <a:pt x="142" y="86"/>
                  <a:pt x="142" y="86"/>
                </a:cubicBezTo>
                <a:cubicBezTo>
                  <a:pt x="141" y="87"/>
                  <a:pt x="141" y="87"/>
                  <a:pt x="141" y="87"/>
                </a:cubicBezTo>
                <a:cubicBezTo>
                  <a:pt x="140" y="88"/>
                  <a:pt x="140" y="88"/>
                  <a:pt x="140" y="88"/>
                </a:cubicBezTo>
                <a:cubicBezTo>
                  <a:pt x="138" y="88"/>
                  <a:pt x="138" y="88"/>
                  <a:pt x="138" y="88"/>
                </a:cubicBezTo>
                <a:close/>
                <a:moveTo>
                  <a:pt x="143" y="108"/>
                </a:moveTo>
                <a:cubicBezTo>
                  <a:pt x="143" y="107"/>
                  <a:pt x="143" y="107"/>
                  <a:pt x="143" y="107"/>
                </a:cubicBezTo>
                <a:cubicBezTo>
                  <a:pt x="142" y="105"/>
                  <a:pt x="142" y="105"/>
                  <a:pt x="142" y="105"/>
                </a:cubicBezTo>
                <a:cubicBezTo>
                  <a:pt x="142" y="103"/>
                  <a:pt x="142" y="103"/>
                  <a:pt x="142" y="103"/>
                </a:cubicBezTo>
                <a:cubicBezTo>
                  <a:pt x="142" y="101"/>
                  <a:pt x="142" y="101"/>
                  <a:pt x="142" y="101"/>
                </a:cubicBezTo>
                <a:cubicBezTo>
                  <a:pt x="140" y="98"/>
                  <a:pt x="140" y="98"/>
                  <a:pt x="140" y="98"/>
                </a:cubicBezTo>
                <a:cubicBezTo>
                  <a:pt x="139" y="97"/>
                  <a:pt x="139" y="97"/>
                  <a:pt x="139" y="97"/>
                </a:cubicBezTo>
                <a:cubicBezTo>
                  <a:pt x="138" y="98"/>
                  <a:pt x="138" y="98"/>
                  <a:pt x="138" y="98"/>
                </a:cubicBezTo>
                <a:cubicBezTo>
                  <a:pt x="135" y="98"/>
                  <a:pt x="135" y="98"/>
                  <a:pt x="135" y="98"/>
                </a:cubicBezTo>
                <a:cubicBezTo>
                  <a:pt x="133" y="100"/>
                  <a:pt x="133" y="100"/>
                  <a:pt x="133" y="100"/>
                </a:cubicBezTo>
                <a:cubicBezTo>
                  <a:pt x="132" y="102"/>
                  <a:pt x="132" y="102"/>
                  <a:pt x="132" y="102"/>
                </a:cubicBezTo>
                <a:cubicBezTo>
                  <a:pt x="134" y="104"/>
                  <a:pt x="134" y="104"/>
                  <a:pt x="134" y="104"/>
                </a:cubicBezTo>
                <a:cubicBezTo>
                  <a:pt x="135" y="108"/>
                  <a:pt x="135" y="108"/>
                  <a:pt x="135" y="108"/>
                </a:cubicBezTo>
                <a:cubicBezTo>
                  <a:pt x="136" y="109"/>
                  <a:pt x="136" y="109"/>
                  <a:pt x="136" y="109"/>
                </a:cubicBezTo>
                <a:cubicBezTo>
                  <a:pt x="138" y="109"/>
                  <a:pt x="138" y="109"/>
                  <a:pt x="138" y="109"/>
                </a:cubicBezTo>
                <a:cubicBezTo>
                  <a:pt x="141" y="108"/>
                  <a:pt x="141" y="108"/>
                  <a:pt x="141" y="108"/>
                </a:cubicBezTo>
                <a:cubicBezTo>
                  <a:pt x="143" y="108"/>
                  <a:pt x="143" y="108"/>
                  <a:pt x="143" y="108"/>
                </a:cubicBezTo>
                <a:close/>
                <a:moveTo>
                  <a:pt x="149" y="107"/>
                </a:moveTo>
                <a:cubicBezTo>
                  <a:pt x="149" y="105"/>
                  <a:pt x="149" y="105"/>
                  <a:pt x="149" y="105"/>
                </a:cubicBezTo>
                <a:cubicBezTo>
                  <a:pt x="147" y="104"/>
                  <a:pt x="147" y="104"/>
                  <a:pt x="147" y="104"/>
                </a:cubicBezTo>
                <a:cubicBezTo>
                  <a:pt x="147" y="103"/>
                  <a:pt x="147" y="103"/>
                  <a:pt x="147" y="103"/>
                </a:cubicBezTo>
                <a:cubicBezTo>
                  <a:pt x="149" y="102"/>
                  <a:pt x="149" y="102"/>
                  <a:pt x="149" y="102"/>
                </a:cubicBezTo>
                <a:cubicBezTo>
                  <a:pt x="150" y="100"/>
                  <a:pt x="150" y="100"/>
                  <a:pt x="150" y="100"/>
                </a:cubicBezTo>
                <a:cubicBezTo>
                  <a:pt x="150" y="99"/>
                  <a:pt x="150" y="99"/>
                  <a:pt x="150" y="99"/>
                </a:cubicBezTo>
                <a:cubicBezTo>
                  <a:pt x="153" y="97"/>
                  <a:pt x="153" y="97"/>
                  <a:pt x="153" y="97"/>
                </a:cubicBezTo>
                <a:cubicBezTo>
                  <a:pt x="154" y="97"/>
                  <a:pt x="154" y="97"/>
                  <a:pt x="154" y="97"/>
                </a:cubicBezTo>
                <a:cubicBezTo>
                  <a:pt x="155" y="96"/>
                  <a:pt x="155" y="96"/>
                  <a:pt x="155" y="96"/>
                </a:cubicBezTo>
                <a:cubicBezTo>
                  <a:pt x="153" y="96"/>
                  <a:pt x="153" y="96"/>
                  <a:pt x="153" y="96"/>
                </a:cubicBezTo>
                <a:cubicBezTo>
                  <a:pt x="151" y="96"/>
                  <a:pt x="151" y="96"/>
                  <a:pt x="151" y="96"/>
                </a:cubicBezTo>
                <a:cubicBezTo>
                  <a:pt x="147" y="94"/>
                  <a:pt x="147" y="94"/>
                  <a:pt x="147" y="94"/>
                </a:cubicBezTo>
                <a:cubicBezTo>
                  <a:pt x="145" y="92"/>
                  <a:pt x="145" y="92"/>
                  <a:pt x="145" y="92"/>
                </a:cubicBezTo>
                <a:cubicBezTo>
                  <a:pt x="144" y="92"/>
                  <a:pt x="144" y="92"/>
                  <a:pt x="144" y="92"/>
                </a:cubicBezTo>
                <a:cubicBezTo>
                  <a:pt x="142" y="93"/>
                  <a:pt x="142" y="93"/>
                  <a:pt x="142" y="93"/>
                </a:cubicBezTo>
                <a:cubicBezTo>
                  <a:pt x="141" y="93"/>
                  <a:pt x="141" y="93"/>
                  <a:pt x="141" y="93"/>
                </a:cubicBezTo>
                <a:cubicBezTo>
                  <a:pt x="141" y="95"/>
                  <a:pt x="141" y="95"/>
                  <a:pt x="141" y="95"/>
                </a:cubicBezTo>
                <a:cubicBezTo>
                  <a:pt x="143" y="99"/>
                  <a:pt x="143" y="99"/>
                  <a:pt x="143" y="99"/>
                </a:cubicBezTo>
                <a:cubicBezTo>
                  <a:pt x="143" y="102"/>
                  <a:pt x="143" y="102"/>
                  <a:pt x="143" y="102"/>
                </a:cubicBezTo>
                <a:cubicBezTo>
                  <a:pt x="145" y="105"/>
                  <a:pt x="145" y="105"/>
                  <a:pt x="145" y="105"/>
                </a:cubicBezTo>
                <a:cubicBezTo>
                  <a:pt x="147" y="107"/>
                  <a:pt x="147" y="107"/>
                  <a:pt x="147" y="107"/>
                </a:cubicBezTo>
                <a:cubicBezTo>
                  <a:pt x="149" y="107"/>
                  <a:pt x="149" y="107"/>
                  <a:pt x="149" y="107"/>
                </a:cubicBezTo>
                <a:close/>
                <a:moveTo>
                  <a:pt x="155" y="107"/>
                </a:moveTo>
                <a:cubicBezTo>
                  <a:pt x="155" y="108"/>
                  <a:pt x="155" y="108"/>
                  <a:pt x="155" y="108"/>
                </a:cubicBezTo>
                <a:cubicBezTo>
                  <a:pt x="158" y="109"/>
                  <a:pt x="158" y="109"/>
                  <a:pt x="158" y="109"/>
                </a:cubicBezTo>
                <a:cubicBezTo>
                  <a:pt x="159" y="111"/>
                  <a:pt x="159" y="111"/>
                  <a:pt x="159" y="111"/>
                </a:cubicBezTo>
                <a:cubicBezTo>
                  <a:pt x="162" y="111"/>
                  <a:pt x="162" y="111"/>
                  <a:pt x="162" y="111"/>
                </a:cubicBezTo>
                <a:cubicBezTo>
                  <a:pt x="164" y="108"/>
                  <a:pt x="164" y="108"/>
                  <a:pt x="164" y="108"/>
                </a:cubicBezTo>
                <a:cubicBezTo>
                  <a:pt x="163" y="105"/>
                  <a:pt x="163" y="105"/>
                  <a:pt x="163" y="105"/>
                </a:cubicBezTo>
                <a:cubicBezTo>
                  <a:pt x="161" y="104"/>
                  <a:pt x="161" y="104"/>
                  <a:pt x="161" y="104"/>
                </a:cubicBezTo>
                <a:cubicBezTo>
                  <a:pt x="158" y="105"/>
                  <a:pt x="158" y="105"/>
                  <a:pt x="158" y="105"/>
                </a:cubicBezTo>
                <a:cubicBezTo>
                  <a:pt x="155" y="107"/>
                  <a:pt x="155" y="107"/>
                  <a:pt x="155" y="107"/>
                </a:cubicBezTo>
                <a:close/>
                <a:moveTo>
                  <a:pt x="155" y="111"/>
                </a:moveTo>
                <a:cubicBezTo>
                  <a:pt x="155" y="113"/>
                  <a:pt x="155" y="113"/>
                  <a:pt x="155" y="113"/>
                </a:cubicBezTo>
                <a:cubicBezTo>
                  <a:pt x="157" y="113"/>
                  <a:pt x="157" y="113"/>
                  <a:pt x="157" y="113"/>
                </a:cubicBezTo>
                <a:cubicBezTo>
                  <a:pt x="158" y="114"/>
                  <a:pt x="158" y="114"/>
                  <a:pt x="158" y="114"/>
                </a:cubicBezTo>
                <a:cubicBezTo>
                  <a:pt x="159" y="113"/>
                  <a:pt x="159" y="113"/>
                  <a:pt x="159" y="113"/>
                </a:cubicBezTo>
                <a:cubicBezTo>
                  <a:pt x="157" y="111"/>
                  <a:pt x="157" y="111"/>
                  <a:pt x="157" y="111"/>
                </a:cubicBezTo>
                <a:cubicBezTo>
                  <a:pt x="155" y="111"/>
                  <a:pt x="155" y="111"/>
                  <a:pt x="155" y="111"/>
                </a:cubicBezTo>
                <a:close/>
                <a:moveTo>
                  <a:pt x="155" y="43"/>
                </a:moveTo>
                <a:cubicBezTo>
                  <a:pt x="156" y="42"/>
                  <a:pt x="156" y="42"/>
                  <a:pt x="156" y="42"/>
                </a:cubicBezTo>
                <a:cubicBezTo>
                  <a:pt x="158" y="42"/>
                  <a:pt x="158" y="42"/>
                  <a:pt x="158" y="42"/>
                </a:cubicBezTo>
                <a:cubicBezTo>
                  <a:pt x="159" y="40"/>
                  <a:pt x="159" y="40"/>
                  <a:pt x="159" y="40"/>
                </a:cubicBezTo>
                <a:cubicBezTo>
                  <a:pt x="161" y="41"/>
                  <a:pt x="161" y="41"/>
                  <a:pt x="161" y="41"/>
                </a:cubicBezTo>
                <a:cubicBezTo>
                  <a:pt x="162" y="41"/>
                  <a:pt x="162" y="41"/>
                  <a:pt x="162" y="41"/>
                </a:cubicBezTo>
                <a:cubicBezTo>
                  <a:pt x="163" y="42"/>
                  <a:pt x="163" y="42"/>
                  <a:pt x="163" y="42"/>
                </a:cubicBezTo>
                <a:cubicBezTo>
                  <a:pt x="163" y="43"/>
                  <a:pt x="163" y="43"/>
                  <a:pt x="163" y="43"/>
                </a:cubicBezTo>
                <a:cubicBezTo>
                  <a:pt x="162" y="45"/>
                  <a:pt x="162" y="45"/>
                  <a:pt x="162" y="45"/>
                </a:cubicBezTo>
                <a:cubicBezTo>
                  <a:pt x="160" y="45"/>
                  <a:pt x="160" y="45"/>
                  <a:pt x="160" y="45"/>
                </a:cubicBezTo>
                <a:cubicBezTo>
                  <a:pt x="159" y="44"/>
                  <a:pt x="159" y="44"/>
                  <a:pt x="159" y="44"/>
                </a:cubicBezTo>
                <a:cubicBezTo>
                  <a:pt x="156" y="44"/>
                  <a:pt x="156" y="44"/>
                  <a:pt x="156" y="44"/>
                </a:cubicBezTo>
                <a:cubicBezTo>
                  <a:pt x="155" y="43"/>
                  <a:pt x="155" y="43"/>
                  <a:pt x="155" y="43"/>
                </a:cubicBezTo>
                <a:close/>
                <a:moveTo>
                  <a:pt x="159" y="73"/>
                </a:moveTo>
                <a:cubicBezTo>
                  <a:pt x="160" y="70"/>
                  <a:pt x="160" y="70"/>
                  <a:pt x="160" y="70"/>
                </a:cubicBezTo>
                <a:cubicBezTo>
                  <a:pt x="162" y="69"/>
                  <a:pt x="162" y="69"/>
                  <a:pt x="162" y="69"/>
                </a:cubicBezTo>
                <a:cubicBezTo>
                  <a:pt x="162" y="68"/>
                  <a:pt x="162" y="68"/>
                  <a:pt x="162" y="68"/>
                </a:cubicBezTo>
                <a:cubicBezTo>
                  <a:pt x="160" y="67"/>
                  <a:pt x="160" y="67"/>
                  <a:pt x="160" y="67"/>
                </a:cubicBezTo>
                <a:cubicBezTo>
                  <a:pt x="159" y="65"/>
                  <a:pt x="159" y="65"/>
                  <a:pt x="159" y="65"/>
                </a:cubicBezTo>
                <a:cubicBezTo>
                  <a:pt x="157" y="65"/>
                  <a:pt x="157" y="65"/>
                  <a:pt x="157" y="65"/>
                </a:cubicBezTo>
                <a:cubicBezTo>
                  <a:pt x="154" y="66"/>
                  <a:pt x="154" y="66"/>
                  <a:pt x="154" y="66"/>
                </a:cubicBezTo>
                <a:cubicBezTo>
                  <a:pt x="152" y="68"/>
                  <a:pt x="152" y="68"/>
                  <a:pt x="152" y="68"/>
                </a:cubicBezTo>
                <a:cubicBezTo>
                  <a:pt x="151" y="69"/>
                  <a:pt x="151" y="69"/>
                  <a:pt x="151" y="69"/>
                </a:cubicBezTo>
                <a:cubicBezTo>
                  <a:pt x="151" y="71"/>
                  <a:pt x="151" y="71"/>
                  <a:pt x="151" y="71"/>
                </a:cubicBezTo>
                <a:cubicBezTo>
                  <a:pt x="155" y="73"/>
                  <a:pt x="155" y="73"/>
                  <a:pt x="155" y="73"/>
                </a:cubicBezTo>
                <a:cubicBezTo>
                  <a:pt x="157" y="74"/>
                  <a:pt x="157" y="74"/>
                  <a:pt x="157" y="74"/>
                </a:cubicBezTo>
                <a:cubicBezTo>
                  <a:pt x="159" y="73"/>
                  <a:pt x="159" y="73"/>
                  <a:pt x="159" y="73"/>
                </a:cubicBezTo>
                <a:close/>
                <a:moveTo>
                  <a:pt x="165" y="69"/>
                </a:moveTo>
                <a:cubicBezTo>
                  <a:pt x="164" y="71"/>
                  <a:pt x="164" y="71"/>
                  <a:pt x="164" y="71"/>
                </a:cubicBezTo>
                <a:cubicBezTo>
                  <a:pt x="164" y="73"/>
                  <a:pt x="164" y="73"/>
                  <a:pt x="164" y="73"/>
                </a:cubicBezTo>
                <a:cubicBezTo>
                  <a:pt x="162" y="74"/>
                  <a:pt x="162" y="74"/>
                  <a:pt x="162" y="74"/>
                </a:cubicBezTo>
                <a:cubicBezTo>
                  <a:pt x="161" y="74"/>
                  <a:pt x="161" y="74"/>
                  <a:pt x="161" y="74"/>
                </a:cubicBezTo>
                <a:cubicBezTo>
                  <a:pt x="160" y="74"/>
                  <a:pt x="160" y="74"/>
                  <a:pt x="160" y="74"/>
                </a:cubicBezTo>
                <a:cubicBezTo>
                  <a:pt x="157" y="76"/>
                  <a:pt x="157" y="76"/>
                  <a:pt x="157" y="76"/>
                </a:cubicBezTo>
                <a:cubicBezTo>
                  <a:pt x="155" y="77"/>
                  <a:pt x="155" y="77"/>
                  <a:pt x="155" y="77"/>
                </a:cubicBezTo>
                <a:cubicBezTo>
                  <a:pt x="154" y="75"/>
                  <a:pt x="154" y="75"/>
                  <a:pt x="154" y="75"/>
                </a:cubicBezTo>
                <a:cubicBezTo>
                  <a:pt x="152" y="76"/>
                  <a:pt x="152" y="76"/>
                  <a:pt x="152" y="76"/>
                </a:cubicBezTo>
                <a:cubicBezTo>
                  <a:pt x="152" y="78"/>
                  <a:pt x="152" y="78"/>
                  <a:pt x="152" y="78"/>
                </a:cubicBezTo>
                <a:cubicBezTo>
                  <a:pt x="153" y="80"/>
                  <a:pt x="153" y="80"/>
                  <a:pt x="153" y="80"/>
                </a:cubicBezTo>
                <a:cubicBezTo>
                  <a:pt x="153" y="86"/>
                  <a:pt x="153" y="86"/>
                  <a:pt x="153" y="86"/>
                </a:cubicBezTo>
                <a:cubicBezTo>
                  <a:pt x="154" y="89"/>
                  <a:pt x="154" y="89"/>
                  <a:pt x="154" y="89"/>
                </a:cubicBezTo>
                <a:cubicBezTo>
                  <a:pt x="157" y="93"/>
                  <a:pt x="157" y="93"/>
                  <a:pt x="157" y="93"/>
                </a:cubicBezTo>
                <a:cubicBezTo>
                  <a:pt x="159" y="93"/>
                  <a:pt x="159" y="93"/>
                  <a:pt x="159" y="93"/>
                </a:cubicBezTo>
                <a:cubicBezTo>
                  <a:pt x="162" y="92"/>
                  <a:pt x="162" y="92"/>
                  <a:pt x="162" y="92"/>
                </a:cubicBezTo>
                <a:cubicBezTo>
                  <a:pt x="165" y="91"/>
                  <a:pt x="165" y="91"/>
                  <a:pt x="165" y="91"/>
                </a:cubicBezTo>
                <a:cubicBezTo>
                  <a:pt x="167" y="90"/>
                  <a:pt x="167" y="90"/>
                  <a:pt x="167" y="90"/>
                </a:cubicBezTo>
                <a:cubicBezTo>
                  <a:pt x="170" y="89"/>
                  <a:pt x="170" y="89"/>
                  <a:pt x="170" y="89"/>
                </a:cubicBezTo>
                <a:cubicBezTo>
                  <a:pt x="170" y="88"/>
                  <a:pt x="170" y="88"/>
                  <a:pt x="170" y="88"/>
                </a:cubicBezTo>
                <a:cubicBezTo>
                  <a:pt x="168" y="86"/>
                  <a:pt x="168" y="86"/>
                  <a:pt x="168" y="86"/>
                </a:cubicBezTo>
                <a:cubicBezTo>
                  <a:pt x="167" y="84"/>
                  <a:pt x="167" y="84"/>
                  <a:pt x="167" y="84"/>
                </a:cubicBezTo>
                <a:cubicBezTo>
                  <a:pt x="164" y="83"/>
                  <a:pt x="164" y="83"/>
                  <a:pt x="164" y="83"/>
                </a:cubicBezTo>
                <a:cubicBezTo>
                  <a:pt x="163" y="81"/>
                  <a:pt x="163" y="81"/>
                  <a:pt x="163" y="81"/>
                </a:cubicBezTo>
                <a:cubicBezTo>
                  <a:pt x="163" y="79"/>
                  <a:pt x="163" y="79"/>
                  <a:pt x="163" y="79"/>
                </a:cubicBezTo>
                <a:cubicBezTo>
                  <a:pt x="165" y="78"/>
                  <a:pt x="165" y="78"/>
                  <a:pt x="165" y="78"/>
                </a:cubicBezTo>
                <a:cubicBezTo>
                  <a:pt x="168" y="78"/>
                  <a:pt x="168" y="78"/>
                  <a:pt x="168" y="78"/>
                </a:cubicBezTo>
                <a:cubicBezTo>
                  <a:pt x="169" y="77"/>
                  <a:pt x="169" y="77"/>
                  <a:pt x="169" y="77"/>
                </a:cubicBezTo>
                <a:cubicBezTo>
                  <a:pt x="169" y="75"/>
                  <a:pt x="169" y="75"/>
                  <a:pt x="169" y="75"/>
                </a:cubicBezTo>
                <a:cubicBezTo>
                  <a:pt x="168" y="73"/>
                  <a:pt x="168" y="73"/>
                  <a:pt x="168" y="73"/>
                </a:cubicBezTo>
                <a:cubicBezTo>
                  <a:pt x="166" y="72"/>
                  <a:pt x="166" y="72"/>
                  <a:pt x="166" y="72"/>
                </a:cubicBezTo>
                <a:cubicBezTo>
                  <a:pt x="165" y="69"/>
                  <a:pt x="165" y="69"/>
                  <a:pt x="165" y="69"/>
                </a:cubicBezTo>
                <a:close/>
                <a:moveTo>
                  <a:pt x="174" y="73"/>
                </a:moveTo>
                <a:cubicBezTo>
                  <a:pt x="173" y="72"/>
                  <a:pt x="173" y="72"/>
                  <a:pt x="173" y="72"/>
                </a:cubicBezTo>
                <a:cubicBezTo>
                  <a:pt x="172" y="71"/>
                  <a:pt x="172" y="71"/>
                  <a:pt x="172" y="71"/>
                </a:cubicBezTo>
                <a:cubicBezTo>
                  <a:pt x="171" y="69"/>
                  <a:pt x="171" y="69"/>
                  <a:pt x="171" y="69"/>
                </a:cubicBezTo>
                <a:cubicBezTo>
                  <a:pt x="169" y="69"/>
                  <a:pt x="169" y="69"/>
                  <a:pt x="169" y="69"/>
                </a:cubicBezTo>
                <a:cubicBezTo>
                  <a:pt x="167" y="68"/>
                  <a:pt x="167" y="68"/>
                  <a:pt x="167" y="68"/>
                </a:cubicBezTo>
                <a:cubicBezTo>
                  <a:pt x="167" y="66"/>
                  <a:pt x="167" y="66"/>
                  <a:pt x="167" y="66"/>
                </a:cubicBezTo>
                <a:cubicBezTo>
                  <a:pt x="168" y="65"/>
                  <a:pt x="168" y="65"/>
                  <a:pt x="168" y="65"/>
                </a:cubicBezTo>
                <a:cubicBezTo>
                  <a:pt x="167" y="62"/>
                  <a:pt x="167" y="62"/>
                  <a:pt x="167" y="62"/>
                </a:cubicBezTo>
                <a:cubicBezTo>
                  <a:pt x="166" y="59"/>
                  <a:pt x="166" y="59"/>
                  <a:pt x="166" y="59"/>
                </a:cubicBezTo>
                <a:cubicBezTo>
                  <a:pt x="167" y="56"/>
                  <a:pt x="167" y="56"/>
                  <a:pt x="167" y="56"/>
                </a:cubicBezTo>
                <a:cubicBezTo>
                  <a:pt x="169" y="55"/>
                  <a:pt x="169" y="55"/>
                  <a:pt x="169" y="55"/>
                </a:cubicBezTo>
                <a:cubicBezTo>
                  <a:pt x="171" y="53"/>
                  <a:pt x="171" y="53"/>
                  <a:pt x="171" y="53"/>
                </a:cubicBezTo>
                <a:cubicBezTo>
                  <a:pt x="171" y="51"/>
                  <a:pt x="171" y="51"/>
                  <a:pt x="171" y="51"/>
                </a:cubicBezTo>
                <a:cubicBezTo>
                  <a:pt x="171" y="50"/>
                  <a:pt x="171" y="50"/>
                  <a:pt x="171" y="50"/>
                </a:cubicBezTo>
                <a:cubicBezTo>
                  <a:pt x="173" y="49"/>
                  <a:pt x="173" y="49"/>
                  <a:pt x="173" y="49"/>
                </a:cubicBezTo>
                <a:cubicBezTo>
                  <a:pt x="174" y="50"/>
                  <a:pt x="174" y="50"/>
                  <a:pt x="174" y="50"/>
                </a:cubicBezTo>
                <a:cubicBezTo>
                  <a:pt x="176" y="51"/>
                  <a:pt x="176" y="51"/>
                  <a:pt x="176" y="51"/>
                </a:cubicBezTo>
                <a:cubicBezTo>
                  <a:pt x="177" y="53"/>
                  <a:pt x="177" y="53"/>
                  <a:pt x="177" y="53"/>
                </a:cubicBezTo>
                <a:cubicBezTo>
                  <a:pt x="177" y="56"/>
                  <a:pt x="177" y="56"/>
                  <a:pt x="177" y="56"/>
                </a:cubicBezTo>
                <a:cubicBezTo>
                  <a:pt x="177" y="57"/>
                  <a:pt x="177" y="57"/>
                  <a:pt x="177" y="57"/>
                </a:cubicBezTo>
                <a:cubicBezTo>
                  <a:pt x="179" y="58"/>
                  <a:pt x="179" y="58"/>
                  <a:pt x="179" y="58"/>
                </a:cubicBezTo>
                <a:cubicBezTo>
                  <a:pt x="182" y="61"/>
                  <a:pt x="182" y="61"/>
                  <a:pt x="182" y="61"/>
                </a:cubicBezTo>
                <a:cubicBezTo>
                  <a:pt x="183" y="61"/>
                  <a:pt x="183" y="61"/>
                  <a:pt x="183" y="61"/>
                </a:cubicBezTo>
                <a:cubicBezTo>
                  <a:pt x="183" y="62"/>
                  <a:pt x="183" y="62"/>
                  <a:pt x="183" y="62"/>
                </a:cubicBezTo>
                <a:cubicBezTo>
                  <a:pt x="180" y="64"/>
                  <a:pt x="180" y="64"/>
                  <a:pt x="180" y="64"/>
                </a:cubicBezTo>
                <a:cubicBezTo>
                  <a:pt x="176" y="65"/>
                  <a:pt x="176" y="65"/>
                  <a:pt x="176" y="65"/>
                </a:cubicBezTo>
                <a:cubicBezTo>
                  <a:pt x="176" y="67"/>
                  <a:pt x="176" y="67"/>
                  <a:pt x="176" y="67"/>
                </a:cubicBezTo>
                <a:cubicBezTo>
                  <a:pt x="176" y="69"/>
                  <a:pt x="176" y="69"/>
                  <a:pt x="176" y="69"/>
                </a:cubicBezTo>
                <a:cubicBezTo>
                  <a:pt x="176" y="71"/>
                  <a:pt x="176" y="71"/>
                  <a:pt x="176" y="71"/>
                </a:cubicBezTo>
                <a:cubicBezTo>
                  <a:pt x="174" y="73"/>
                  <a:pt x="174" y="73"/>
                  <a:pt x="174" y="73"/>
                </a:cubicBezTo>
                <a:close/>
                <a:moveTo>
                  <a:pt x="1088" y="133"/>
                </a:moveTo>
                <a:cubicBezTo>
                  <a:pt x="1089" y="133"/>
                  <a:pt x="1089" y="133"/>
                  <a:pt x="1089" y="133"/>
                </a:cubicBezTo>
                <a:cubicBezTo>
                  <a:pt x="1090" y="132"/>
                  <a:pt x="1090" y="132"/>
                  <a:pt x="1090" y="132"/>
                </a:cubicBezTo>
                <a:cubicBezTo>
                  <a:pt x="1089" y="131"/>
                  <a:pt x="1089" y="131"/>
                  <a:pt x="1089" y="131"/>
                </a:cubicBezTo>
                <a:cubicBezTo>
                  <a:pt x="1088" y="132"/>
                  <a:pt x="1088" y="132"/>
                  <a:pt x="1088" y="132"/>
                </a:cubicBezTo>
                <a:cubicBezTo>
                  <a:pt x="1088" y="133"/>
                  <a:pt x="1088" y="133"/>
                  <a:pt x="1088" y="133"/>
                </a:cubicBezTo>
                <a:close/>
                <a:moveTo>
                  <a:pt x="1080" y="132"/>
                </a:moveTo>
                <a:cubicBezTo>
                  <a:pt x="1082" y="132"/>
                  <a:pt x="1082" y="132"/>
                  <a:pt x="1082" y="132"/>
                </a:cubicBezTo>
                <a:cubicBezTo>
                  <a:pt x="1082" y="130"/>
                  <a:pt x="1082" y="130"/>
                  <a:pt x="1082" y="130"/>
                </a:cubicBezTo>
                <a:cubicBezTo>
                  <a:pt x="1080" y="130"/>
                  <a:pt x="1080" y="130"/>
                  <a:pt x="1080" y="130"/>
                </a:cubicBezTo>
                <a:cubicBezTo>
                  <a:pt x="1079" y="131"/>
                  <a:pt x="1079" y="131"/>
                  <a:pt x="1079" y="131"/>
                </a:cubicBezTo>
                <a:cubicBezTo>
                  <a:pt x="1080" y="132"/>
                  <a:pt x="1080" y="132"/>
                  <a:pt x="1080" y="132"/>
                </a:cubicBezTo>
                <a:close/>
                <a:moveTo>
                  <a:pt x="1072" y="135"/>
                </a:moveTo>
                <a:cubicBezTo>
                  <a:pt x="1073" y="135"/>
                  <a:pt x="1073" y="135"/>
                  <a:pt x="1073" y="135"/>
                </a:cubicBezTo>
                <a:cubicBezTo>
                  <a:pt x="1074" y="134"/>
                  <a:pt x="1074" y="134"/>
                  <a:pt x="1074" y="134"/>
                </a:cubicBezTo>
                <a:cubicBezTo>
                  <a:pt x="1073" y="132"/>
                  <a:pt x="1073" y="132"/>
                  <a:pt x="1073" y="132"/>
                </a:cubicBezTo>
                <a:cubicBezTo>
                  <a:pt x="1072" y="132"/>
                  <a:pt x="1072" y="132"/>
                  <a:pt x="1072" y="132"/>
                </a:cubicBezTo>
                <a:cubicBezTo>
                  <a:pt x="1071" y="133"/>
                  <a:pt x="1071" y="133"/>
                  <a:pt x="1071" y="133"/>
                </a:cubicBezTo>
                <a:cubicBezTo>
                  <a:pt x="1072" y="135"/>
                  <a:pt x="1072" y="135"/>
                  <a:pt x="1072" y="135"/>
                </a:cubicBezTo>
                <a:close/>
                <a:moveTo>
                  <a:pt x="1257" y="361"/>
                </a:moveTo>
                <a:cubicBezTo>
                  <a:pt x="1256" y="361"/>
                  <a:pt x="1256" y="361"/>
                  <a:pt x="1256" y="361"/>
                </a:cubicBezTo>
                <a:cubicBezTo>
                  <a:pt x="1257" y="363"/>
                  <a:pt x="1257" y="363"/>
                  <a:pt x="1257" y="363"/>
                </a:cubicBezTo>
                <a:cubicBezTo>
                  <a:pt x="1258" y="362"/>
                  <a:pt x="1258" y="362"/>
                  <a:pt x="1258" y="362"/>
                </a:cubicBezTo>
                <a:cubicBezTo>
                  <a:pt x="1258" y="361"/>
                  <a:pt x="1258" y="361"/>
                  <a:pt x="1258" y="361"/>
                </a:cubicBezTo>
                <a:cubicBezTo>
                  <a:pt x="1258" y="360"/>
                  <a:pt x="1258" y="360"/>
                  <a:pt x="1258" y="360"/>
                </a:cubicBezTo>
                <a:cubicBezTo>
                  <a:pt x="1257" y="361"/>
                  <a:pt x="1257" y="361"/>
                  <a:pt x="1257" y="361"/>
                </a:cubicBezTo>
                <a:close/>
                <a:moveTo>
                  <a:pt x="1254" y="357"/>
                </a:moveTo>
                <a:cubicBezTo>
                  <a:pt x="1257" y="359"/>
                  <a:pt x="1257" y="359"/>
                  <a:pt x="1257" y="359"/>
                </a:cubicBezTo>
                <a:cubicBezTo>
                  <a:pt x="1257" y="358"/>
                  <a:pt x="1257" y="358"/>
                  <a:pt x="1257" y="358"/>
                </a:cubicBezTo>
                <a:cubicBezTo>
                  <a:pt x="1258" y="357"/>
                  <a:pt x="1258" y="357"/>
                  <a:pt x="1258" y="357"/>
                </a:cubicBezTo>
                <a:cubicBezTo>
                  <a:pt x="1256" y="355"/>
                  <a:pt x="1256" y="355"/>
                  <a:pt x="1256" y="355"/>
                </a:cubicBezTo>
                <a:cubicBezTo>
                  <a:pt x="1255" y="356"/>
                  <a:pt x="1255" y="356"/>
                  <a:pt x="1255" y="356"/>
                </a:cubicBezTo>
                <a:cubicBezTo>
                  <a:pt x="1254" y="357"/>
                  <a:pt x="1254" y="357"/>
                  <a:pt x="1254" y="357"/>
                </a:cubicBezTo>
                <a:close/>
                <a:moveTo>
                  <a:pt x="200" y="227"/>
                </a:moveTo>
                <a:cubicBezTo>
                  <a:pt x="201" y="227"/>
                  <a:pt x="201" y="227"/>
                  <a:pt x="201" y="227"/>
                </a:cubicBezTo>
                <a:cubicBezTo>
                  <a:pt x="201" y="226"/>
                  <a:pt x="201" y="226"/>
                  <a:pt x="201" y="226"/>
                </a:cubicBezTo>
                <a:cubicBezTo>
                  <a:pt x="204" y="224"/>
                  <a:pt x="204" y="224"/>
                  <a:pt x="204" y="224"/>
                </a:cubicBezTo>
                <a:cubicBezTo>
                  <a:pt x="205" y="222"/>
                  <a:pt x="205" y="222"/>
                  <a:pt x="205" y="222"/>
                </a:cubicBezTo>
                <a:cubicBezTo>
                  <a:pt x="204" y="222"/>
                  <a:pt x="204" y="222"/>
                  <a:pt x="204" y="222"/>
                </a:cubicBezTo>
                <a:cubicBezTo>
                  <a:pt x="202" y="224"/>
                  <a:pt x="202" y="224"/>
                  <a:pt x="202" y="224"/>
                </a:cubicBezTo>
                <a:cubicBezTo>
                  <a:pt x="200" y="225"/>
                  <a:pt x="200" y="225"/>
                  <a:pt x="200" y="225"/>
                </a:cubicBezTo>
                <a:cubicBezTo>
                  <a:pt x="199" y="226"/>
                  <a:pt x="199" y="226"/>
                  <a:pt x="199" y="226"/>
                </a:cubicBezTo>
                <a:cubicBezTo>
                  <a:pt x="200" y="227"/>
                  <a:pt x="200" y="227"/>
                  <a:pt x="200" y="227"/>
                </a:cubicBezTo>
                <a:close/>
                <a:moveTo>
                  <a:pt x="187" y="296"/>
                </a:moveTo>
                <a:cubicBezTo>
                  <a:pt x="190" y="296"/>
                  <a:pt x="190" y="296"/>
                  <a:pt x="190" y="296"/>
                </a:cubicBezTo>
                <a:cubicBezTo>
                  <a:pt x="193" y="294"/>
                  <a:pt x="193" y="294"/>
                  <a:pt x="193" y="294"/>
                </a:cubicBezTo>
                <a:cubicBezTo>
                  <a:pt x="196" y="293"/>
                  <a:pt x="196" y="293"/>
                  <a:pt x="196" y="293"/>
                </a:cubicBezTo>
                <a:cubicBezTo>
                  <a:pt x="198" y="293"/>
                  <a:pt x="198" y="293"/>
                  <a:pt x="198" y="293"/>
                </a:cubicBezTo>
                <a:cubicBezTo>
                  <a:pt x="199" y="295"/>
                  <a:pt x="199" y="295"/>
                  <a:pt x="199" y="295"/>
                </a:cubicBezTo>
                <a:cubicBezTo>
                  <a:pt x="201" y="295"/>
                  <a:pt x="201" y="295"/>
                  <a:pt x="201" y="295"/>
                </a:cubicBezTo>
                <a:cubicBezTo>
                  <a:pt x="203" y="294"/>
                  <a:pt x="203" y="294"/>
                  <a:pt x="203" y="294"/>
                </a:cubicBezTo>
                <a:cubicBezTo>
                  <a:pt x="202" y="293"/>
                  <a:pt x="202" y="293"/>
                  <a:pt x="202" y="293"/>
                </a:cubicBezTo>
                <a:cubicBezTo>
                  <a:pt x="202" y="292"/>
                  <a:pt x="202" y="292"/>
                  <a:pt x="202" y="292"/>
                </a:cubicBezTo>
                <a:cubicBezTo>
                  <a:pt x="203" y="292"/>
                  <a:pt x="203" y="292"/>
                  <a:pt x="203" y="292"/>
                </a:cubicBezTo>
                <a:cubicBezTo>
                  <a:pt x="204" y="294"/>
                  <a:pt x="204" y="294"/>
                  <a:pt x="204" y="294"/>
                </a:cubicBezTo>
                <a:cubicBezTo>
                  <a:pt x="206" y="295"/>
                  <a:pt x="206" y="295"/>
                  <a:pt x="206" y="295"/>
                </a:cubicBezTo>
                <a:cubicBezTo>
                  <a:pt x="209" y="295"/>
                  <a:pt x="209" y="295"/>
                  <a:pt x="209" y="295"/>
                </a:cubicBezTo>
                <a:cubicBezTo>
                  <a:pt x="209" y="294"/>
                  <a:pt x="209" y="294"/>
                  <a:pt x="209" y="294"/>
                </a:cubicBezTo>
                <a:cubicBezTo>
                  <a:pt x="211" y="293"/>
                  <a:pt x="211" y="293"/>
                  <a:pt x="211" y="293"/>
                </a:cubicBezTo>
                <a:cubicBezTo>
                  <a:pt x="212" y="291"/>
                  <a:pt x="212" y="291"/>
                  <a:pt x="212" y="291"/>
                </a:cubicBezTo>
                <a:cubicBezTo>
                  <a:pt x="212" y="288"/>
                  <a:pt x="212" y="288"/>
                  <a:pt x="212" y="288"/>
                </a:cubicBezTo>
                <a:cubicBezTo>
                  <a:pt x="213" y="286"/>
                  <a:pt x="213" y="286"/>
                  <a:pt x="213" y="286"/>
                </a:cubicBezTo>
                <a:cubicBezTo>
                  <a:pt x="214" y="284"/>
                  <a:pt x="214" y="284"/>
                  <a:pt x="214" y="284"/>
                </a:cubicBezTo>
                <a:cubicBezTo>
                  <a:pt x="212" y="283"/>
                  <a:pt x="212" y="283"/>
                  <a:pt x="212" y="283"/>
                </a:cubicBezTo>
                <a:cubicBezTo>
                  <a:pt x="211" y="280"/>
                  <a:pt x="211" y="280"/>
                  <a:pt x="211" y="280"/>
                </a:cubicBezTo>
                <a:cubicBezTo>
                  <a:pt x="209" y="280"/>
                  <a:pt x="209" y="280"/>
                  <a:pt x="209" y="280"/>
                </a:cubicBezTo>
                <a:cubicBezTo>
                  <a:pt x="207" y="280"/>
                  <a:pt x="207" y="280"/>
                  <a:pt x="207" y="280"/>
                </a:cubicBezTo>
                <a:cubicBezTo>
                  <a:pt x="207" y="279"/>
                  <a:pt x="207" y="279"/>
                  <a:pt x="207" y="279"/>
                </a:cubicBezTo>
                <a:cubicBezTo>
                  <a:pt x="208" y="278"/>
                  <a:pt x="208" y="278"/>
                  <a:pt x="208" y="278"/>
                </a:cubicBezTo>
                <a:cubicBezTo>
                  <a:pt x="210" y="279"/>
                  <a:pt x="210" y="279"/>
                  <a:pt x="210" y="279"/>
                </a:cubicBezTo>
                <a:cubicBezTo>
                  <a:pt x="211" y="278"/>
                  <a:pt x="211" y="278"/>
                  <a:pt x="211" y="278"/>
                </a:cubicBezTo>
                <a:cubicBezTo>
                  <a:pt x="212" y="280"/>
                  <a:pt x="212" y="280"/>
                  <a:pt x="212" y="280"/>
                </a:cubicBezTo>
                <a:cubicBezTo>
                  <a:pt x="212" y="281"/>
                  <a:pt x="212" y="281"/>
                  <a:pt x="212" y="281"/>
                </a:cubicBezTo>
                <a:cubicBezTo>
                  <a:pt x="213" y="282"/>
                  <a:pt x="213" y="282"/>
                  <a:pt x="213" y="282"/>
                </a:cubicBezTo>
                <a:cubicBezTo>
                  <a:pt x="214" y="280"/>
                  <a:pt x="214" y="280"/>
                  <a:pt x="214" y="280"/>
                </a:cubicBezTo>
                <a:cubicBezTo>
                  <a:pt x="213" y="277"/>
                  <a:pt x="213" y="277"/>
                  <a:pt x="213" y="277"/>
                </a:cubicBezTo>
                <a:cubicBezTo>
                  <a:pt x="211" y="274"/>
                  <a:pt x="211" y="274"/>
                  <a:pt x="211" y="274"/>
                </a:cubicBezTo>
                <a:cubicBezTo>
                  <a:pt x="209" y="271"/>
                  <a:pt x="209" y="271"/>
                  <a:pt x="209" y="271"/>
                </a:cubicBezTo>
                <a:cubicBezTo>
                  <a:pt x="210" y="270"/>
                  <a:pt x="210" y="270"/>
                  <a:pt x="210" y="270"/>
                </a:cubicBezTo>
                <a:cubicBezTo>
                  <a:pt x="211" y="272"/>
                  <a:pt x="211" y="272"/>
                  <a:pt x="211" y="272"/>
                </a:cubicBezTo>
                <a:cubicBezTo>
                  <a:pt x="211" y="274"/>
                  <a:pt x="211" y="274"/>
                  <a:pt x="211" y="274"/>
                </a:cubicBezTo>
                <a:cubicBezTo>
                  <a:pt x="213" y="274"/>
                  <a:pt x="213" y="274"/>
                  <a:pt x="213" y="274"/>
                </a:cubicBezTo>
                <a:cubicBezTo>
                  <a:pt x="215" y="275"/>
                  <a:pt x="215" y="275"/>
                  <a:pt x="215" y="275"/>
                </a:cubicBezTo>
                <a:cubicBezTo>
                  <a:pt x="216" y="274"/>
                  <a:pt x="216" y="274"/>
                  <a:pt x="216" y="274"/>
                </a:cubicBezTo>
                <a:cubicBezTo>
                  <a:pt x="216" y="272"/>
                  <a:pt x="216" y="272"/>
                  <a:pt x="216" y="272"/>
                </a:cubicBezTo>
                <a:cubicBezTo>
                  <a:pt x="215" y="272"/>
                  <a:pt x="215" y="272"/>
                  <a:pt x="215" y="272"/>
                </a:cubicBezTo>
                <a:cubicBezTo>
                  <a:pt x="215" y="270"/>
                  <a:pt x="215" y="270"/>
                  <a:pt x="215" y="270"/>
                </a:cubicBezTo>
                <a:cubicBezTo>
                  <a:pt x="216" y="268"/>
                  <a:pt x="216" y="268"/>
                  <a:pt x="216" y="268"/>
                </a:cubicBezTo>
                <a:cubicBezTo>
                  <a:pt x="216" y="266"/>
                  <a:pt x="216" y="266"/>
                  <a:pt x="216" y="266"/>
                </a:cubicBezTo>
                <a:cubicBezTo>
                  <a:pt x="214" y="264"/>
                  <a:pt x="214" y="264"/>
                  <a:pt x="214" y="264"/>
                </a:cubicBezTo>
                <a:cubicBezTo>
                  <a:pt x="212" y="261"/>
                  <a:pt x="212" y="261"/>
                  <a:pt x="212" y="261"/>
                </a:cubicBezTo>
                <a:cubicBezTo>
                  <a:pt x="214" y="261"/>
                  <a:pt x="214" y="261"/>
                  <a:pt x="214" y="261"/>
                </a:cubicBezTo>
                <a:cubicBezTo>
                  <a:pt x="215" y="263"/>
                  <a:pt x="215" y="263"/>
                  <a:pt x="215" y="263"/>
                </a:cubicBezTo>
                <a:cubicBezTo>
                  <a:pt x="217" y="262"/>
                  <a:pt x="217" y="262"/>
                  <a:pt x="217" y="262"/>
                </a:cubicBezTo>
                <a:cubicBezTo>
                  <a:pt x="218" y="260"/>
                  <a:pt x="218" y="260"/>
                  <a:pt x="218" y="260"/>
                </a:cubicBezTo>
                <a:cubicBezTo>
                  <a:pt x="217" y="259"/>
                  <a:pt x="217" y="259"/>
                  <a:pt x="217" y="259"/>
                </a:cubicBezTo>
                <a:cubicBezTo>
                  <a:pt x="216" y="259"/>
                  <a:pt x="216" y="259"/>
                  <a:pt x="216" y="259"/>
                </a:cubicBezTo>
                <a:cubicBezTo>
                  <a:pt x="216" y="257"/>
                  <a:pt x="216" y="257"/>
                  <a:pt x="216" y="257"/>
                </a:cubicBezTo>
                <a:cubicBezTo>
                  <a:pt x="217" y="256"/>
                  <a:pt x="217" y="256"/>
                  <a:pt x="217" y="256"/>
                </a:cubicBezTo>
                <a:cubicBezTo>
                  <a:pt x="219" y="257"/>
                  <a:pt x="219" y="257"/>
                  <a:pt x="219" y="257"/>
                </a:cubicBezTo>
                <a:cubicBezTo>
                  <a:pt x="222" y="259"/>
                  <a:pt x="222" y="259"/>
                  <a:pt x="222" y="259"/>
                </a:cubicBezTo>
                <a:cubicBezTo>
                  <a:pt x="223" y="257"/>
                  <a:pt x="223" y="257"/>
                  <a:pt x="223" y="257"/>
                </a:cubicBezTo>
                <a:cubicBezTo>
                  <a:pt x="221" y="256"/>
                  <a:pt x="221" y="256"/>
                  <a:pt x="221" y="256"/>
                </a:cubicBezTo>
                <a:cubicBezTo>
                  <a:pt x="221" y="255"/>
                  <a:pt x="221" y="255"/>
                  <a:pt x="221" y="255"/>
                </a:cubicBezTo>
                <a:cubicBezTo>
                  <a:pt x="223" y="255"/>
                  <a:pt x="223" y="255"/>
                  <a:pt x="223" y="255"/>
                </a:cubicBezTo>
                <a:cubicBezTo>
                  <a:pt x="224" y="256"/>
                  <a:pt x="224" y="256"/>
                  <a:pt x="224" y="256"/>
                </a:cubicBezTo>
                <a:cubicBezTo>
                  <a:pt x="225" y="254"/>
                  <a:pt x="225" y="254"/>
                  <a:pt x="225" y="254"/>
                </a:cubicBezTo>
                <a:cubicBezTo>
                  <a:pt x="225" y="252"/>
                  <a:pt x="225" y="252"/>
                  <a:pt x="225" y="252"/>
                </a:cubicBezTo>
                <a:cubicBezTo>
                  <a:pt x="225" y="252"/>
                  <a:pt x="225" y="252"/>
                  <a:pt x="225" y="252"/>
                </a:cubicBezTo>
                <a:cubicBezTo>
                  <a:pt x="225" y="251"/>
                  <a:pt x="225" y="251"/>
                  <a:pt x="225" y="251"/>
                </a:cubicBezTo>
                <a:cubicBezTo>
                  <a:pt x="228" y="249"/>
                  <a:pt x="228" y="249"/>
                  <a:pt x="228" y="249"/>
                </a:cubicBezTo>
                <a:cubicBezTo>
                  <a:pt x="228" y="248"/>
                  <a:pt x="228" y="248"/>
                  <a:pt x="228" y="248"/>
                </a:cubicBezTo>
                <a:cubicBezTo>
                  <a:pt x="227" y="247"/>
                  <a:pt x="227" y="247"/>
                  <a:pt x="227" y="247"/>
                </a:cubicBezTo>
                <a:cubicBezTo>
                  <a:pt x="226" y="245"/>
                  <a:pt x="226" y="245"/>
                  <a:pt x="226" y="245"/>
                </a:cubicBezTo>
                <a:cubicBezTo>
                  <a:pt x="227" y="243"/>
                  <a:pt x="227" y="243"/>
                  <a:pt x="227" y="243"/>
                </a:cubicBezTo>
                <a:cubicBezTo>
                  <a:pt x="228" y="245"/>
                  <a:pt x="228" y="245"/>
                  <a:pt x="228" y="245"/>
                </a:cubicBezTo>
                <a:cubicBezTo>
                  <a:pt x="229" y="244"/>
                  <a:pt x="229" y="244"/>
                  <a:pt x="229" y="244"/>
                </a:cubicBezTo>
                <a:cubicBezTo>
                  <a:pt x="232" y="240"/>
                  <a:pt x="232" y="240"/>
                  <a:pt x="232" y="240"/>
                </a:cubicBezTo>
                <a:cubicBezTo>
                  <a:pt x="233" y="238"/>
                  <a:pt x="233" y="238"/>
                  <a:pt x="233" y="238"/>
                </a:cubicBezTo>
                <a:cubicBezTo>
                  <a:pt x="234" y="237"/>
                  <a:pt x="234" y="237"/>
                  <a:pt x="234" y="237"/>
                </a:cubicBezTo>
                <a:cubicBezTo>
                  <a:pt x="235" y="234"/>
                  <a:pt x="235" y="234"/>
                  <a:pt x="235" y="234"/>
                </a:cubicBezTo>
                <a:cubicBezTo>
                  <a:pt x="238" y="232"/>
                  <a:pt x="238" y="232"/>
                  <a:pt x="238" y="232"/>
                </a:cubicBezTo>
                <a:cubicBezTo>
                  <a:pt x="239" y="229"/>
                  <a:pt x="239" y="229"/>
                  <a:pt x="239" y="229"/>
                </a:cubicBezTo>
                <a:cubicBezTo>
                  <a:pt x="240" y="225"/>
                  <a:pt x="240" y="225"/>
                  <a:pt x="240" y="225"/>
                </a:cubicBezTo>
                <a:cubicBezTo>
                  <a:pt x="242" y="225"/>
                  <a:pt x="242" y="225"/>
                  <a:pt x="242" y="225"/>
                </a:cubicBezTo>
                <a:cubicBezTo>
                  <a:pt x="246" y="222"/>
                  <a:pt x="246" y="222"/>
                  <a:pt x="246" y="222"/>
                </a:cubicBezTo>
                <a:cubicBezTo>
                  <a:pt x="250" y="217"/>
                  <a:pt x="250" y="217"/>
                  <a:pt x="250" y="217"/>
                </a:cubicBezTo>
                <a:cubicBezTo>
                  <a:pt x="254" y="215"/>
                  <a:pt x="254" y="215"/>
                  <a:pt x="254" y="215"/>
                </a:cubicBezTo>
                <a:cubicBezTo>
                  <a:pt x="255" y="214"/>
                  <a:pt x="255" y="214"/>
                  <a:pt x="255" y="214"/>
                </a:cubicBezTo>
                <a:cubicBezTo>
                  <a:pt x="258" y="212"/>
                  <a:pt x="258" y="212"/>
                  <a:pt x="258" y="212"/>
                </a:cubicBezTo>
                <a:cubicBezTo>
                  <a:pt x="261" y="211"/>
                  <a:pt x="261" y="211"/>
                  <a:pt x="261" y="211"/>
                </a:cubicBezTo>
                <a:cubicBezTo>
                  <a:pt x="263" y="209"/>
                  <a:pt x="263" y="209"/>
                  <a:pt x="263" y="209"/>
                </a:cubicBezTo>
                <a:cubicBezTo>
                  <a:pt x="266" y="206"/>
                  <a:pt x="266" y="206"/>
                  <a:pt x="266" y="206"/>
                </a:cubicBezTo>
                <a:cubicBezTo>
                  <a:pt x="268" y="205"/>
                  <a:pt x="268" y="205"/>
                  <a:pt x="268" y="205"/>
                </a:cubicBezTo>
                <a:cubicBezTo>
                  <a:pt x="269" y="205"/>
                  <a:pt x="269" y="205"/>
                  <a:pt x="269" y="205"/>
                </a:cubicBezTo>
                <a:cubicBezTo>
                  <a:pt x="271" y="204"/>
                  <a:pt x="271" y="204"/>
                  <a:pt x="271" y="204"/>
                </a:cubicBezTo>
                <a:cubicBezTo>
                  <a:pt x="271" y="203"/>
                  <a:pt x="271" y="203"/>
                  <a:pt x="271" y="203"/>
                </a:cubicBezTo>
                <a:cubicBezTo>
                  <a:pt x="270" y="202"/>
                  <a:pt x="270" y="202"/>
                  <a:pt x="270" y="202"/>
                </a:cubicBezTo>
                <a:cubicBezTo>
                  <a:pt x="271" y="200"/>
                  <a:pt x="271" y="200"/>
                  <a:pt x="271" y="200"/>
                </a:cubicBezTo>
                <a:cubicBezTo>
                  <a:pt x="271" y="198"/>
                  <a:pt x="271" y="198"/>
                  <a:pt x="271" y="198"/>
                </a:cubicBezTo>
                <a:cubicBezTo>
                  <a:pt x="271" y="195"/>
                  <a:pt x="271" y="195"/>
                  <a:pt x="271" y="195"/>
                </a:cubicBezTo>
                <a:cubicBezTo>
                  <a:pt x="270" y="195"/>
                  <a:pt x="270" y="195"/>
                  <a:pt x="270" y="195"/>
                </a:cubicBezTo>
                <a:cubicBezTo>
                  <a:pt x="269" y="194"/>
                  <a:pt x="269" y="194"/>
                  <a:pt x="269" y="194"/>
                </a:cubicBezTo>
                <a:cubicBezTo>
                  <a:pt x="269" y="192"/>
                  <a:pt x="269" y="192"/>
                  <a:pt x="269" y="192"/>
                </a:cubicBezTo>
                <a:cubicBezTo>
                  <a:pt x="270" y="189"/>
                  <a:pt x="270" y="189"/>
                  <a:pt x="270" y="189"/>
                </a:cubicBezTo>
                <a:cubicBezTo>
                  <a:pt x="269" y="188"/>
                  <a:pt x="269" y="188"/>
                  <a:pt x="269" y="188"/>
                </a:cubicBezTo>
                <a:cubicBezTo>
                  <a:pt x="267" y="188"/>
                  <a:pt x="267" y="188"/>
                  <a:pt x="267" y="188"/>
                </a:cubicBezTo>
                <a:cubicBezTo>
                  <a:pt x="266" y="187"/>
                  <a:pt x="266" y="187"/>
                  <a:pt x="266" y="187"/>
                </a:cubicBezTo>
                <a:cubicBezTo>
                  <a:pt x="264" y="186"/>
                  <a:pt x="264" y="186"/>
                  <a:pt x="264" y="186"/>
                </a:cubicBezTo>
                <a:cubicBezTo>
                  <a:pt x="263" y="185"/>
                  <a:pt x="263" y="185"/>
                  <a:pt x="263" y="185"/>
                </a:cubicBezTo>
                <a:cubicBezTo>
                  <a:pt x="263" y="183"/>
                  <a:pt x="263" y="183"/>
                  <a:pt x="263" y="183"/>
                </a:cubicBezTo>
                <a:cubicBezTo>
                  <a:pt x="262" y="182"/>
                  <a:pt x="262" y="182"/>
                  <a:pt x="262" y="182"/>
                </a:cubicBezTo>
                <a:cubicBezTo>
                  <a:pt x="259" y="183"/>
                  <a:pt x="259" y="183"/>
                  <a:pt x="259" y="183"/>
                </a:cubicBezTo>
                <a:cubicBezTo>
                  <a:pt x="259" y="185"/>
                  <a:pt x="259" y="185"/>
                  <a:pt x="259" y="185"/>
                </a:cubicBezTo>
                <a:cubicBezTo>
                  <a:pt x="258" y="184"/>
                  <a:pt x="258" y="184"/>
                  <a:pt x="258" y="184"/>
                </a:cubicBezTo>
                <a:cubicBezTo>
                  <a:pt x="256" y="183"/>
                  <a:pt x="256" y="183"/>
                  <a:pt x="256" y="183"/>
                </a:cubicBezTo>
                <a:cubicBezTo>
                  <a:pt x="254" y="184"/>
                  <a:pt x="254" y="184"/>
                  <a:pt x="254" y="184"/>
                </a:cubicBezTo>
                <a:cubicBezTo>
                  <a:pt x="252" y="186"/>
                  <a:pt x="252" y="186"/>
                  <a:pt x="252" y="186"/>
                </a:cubicBezTo>
                <a:cubicBezTo>
                  <a:pt x="251" y="187"/>
                  <a:pt x="251" y="187"/>
                  <a:pt x="251" y="187"/>
                </a:cubicBezTo>
                <a:cubicBezTo>
                  <a:pt x="250" y="188"/>
                  <a:pt x="250" y="188"/>
                  <a:pt x="250" y="188"/>
                </a:cubicBezTo>
                <a:cubicBezTo>
                  <a:pt x="248" y="189"/>
                  <a:pt x="248" y="189"/>
                  <a:pt x="248" y="189"/>
                </a:cubicBezTo>
                <a:cubicBezTo>
                  <a:pt x="247" y="190"/>
                  <a:pt x="247" y="190"/>
                  <a:pt x="247" y="190"/>
                </a:cubicBezTo>
                <a:cubicBezTo>
                  <a:pt x="247" y="191"/>
                  <a:pt x="247" y="191"/>
                  <a:pt x="247" y="191"/>
                </a:cubicBezTo>
                <a:cubicBezTo>
                  <a:pt x="245" y="193"/>
                  <a:pt x="245" y="193"/>
                  <a:pt x="245" y="193"/>
                </a:cubicBezTo>
                <a:cubicBezTo>
                  <a:pt x="245" y="194"/>
                  <a:pt x="245" y="194"/>
                  <a:pt x="245" y="194"/>
                </a:cubicBezTo>
                <a:cubicBezTo>
                  <a:pt x="246" y="196"/>
                  <a:pt x="246" y="196"/>
                  <a:pt x="246" y="196"/>
                </a:cubicBezTo>
                <a:cubicBezTo>
                  <a:pt x="246" y="198"/>
                  <a:pt x="246" y="198"/>
                  <a:pt x="246" y="198"/>
                </a:cubicBezTo>
                <a:cubicBezTo>
                  <a:pt x="245" y="198"/>
                  <a:pt x="245" y="198"/>
                  <a:pt x="245" y="198"/>
                </a:cubicBezTo>
                <a:cubicBezTo>
                  <a:pt x="244" y="199"/>
                  <a:pt x="244" y="199"/>
                  <a:pt x="244" y="199"/>
                </a:cubicBezTo>
                <a:cubicBezTo>
                  <a:pt x="244" y="200"/>
                  <a:pt x="244" y="200"/>
                  <a:pt x="244" y="200"/>
                </a:cubicBezTo>
                <a:cubicBezTo>
                  <a:pt x="243" y="201"/>
                  <a:pt x="243" y="201"/>
                  <a:pt x="243" y="201"/>
                </a:cubicBezTo>
                <a:cubicBezTo>
                  <a:pt x="241" y="203"/>
                  <a:pt x="241" y="203"/>
                  <a:pt x="241" y="203"/>
                </a:cubicBezTo>
                <a:cubicBezTo>
                  <a:pt x="238" y="205"/>
                  <a:pt x="238" y="205"/>
                  <a:pt x="238" y="205"/>
                </a:cubicBezTo>
                <a:cubicBezTo>
                  <a:pt x="236" y="206"/>
                  <a:pt x="236" y="206"/>
                  <a:pt x="236" y="206"/>
                </a:cubicBezTo>
                <a:cubicBezTo>
                  <a:pt x="236" y="206"/>
                  <a:pt x="236" y="206"/>
                  <a:pt x="236" y="206"/>
                </a:cubicBezTo>
                <a:cubicBezTo>
                  <a:pt x="234" y="206"/>
                  <a:pt x="234" y="206"/>
                  <a:pt x="234" y="206"/>
                </a:cubicBezTo>
                <a:cubicBezTo>
                  <a:pt x="232" y="207"/>
                  <a:pt x="232" y="207"/>
                  <a:pt x="232" y="207"/>
                </a:cubicBezTo>
                <a:cubicBezTo>
                  <a:pt x="230" y="210"/>
                  <a:pt x="230" y="210"/>
                  <a:pt x="230" y="210"/>
                </a:cubicBezTo>
                <a:cubicBezTo>
                  <a:pt x="229" y="211"/>
                  <a:pt x="229" y="211"/>
                  <a:pt x="229" y="211"/>
                </a:cubicBezTo>
                <a:cubicBezTo>
                  <a:pt x="228" y="210"/>
                  <a:pt x="228" y="210"/>
                  <a:pt x="228" y="210"/>
                </a:cubicBezTo>
                <a:cubicBezTo>
                  <a:pt x="227" y="209"/>
                  <a:pt x="227" y="209"/>
                  <a:pt x="227" y="209"/>
                </a:cubicBezTo>
                <a:cubicBezTo>
                  <a:pt x="226" y="209"/>
                  <a:pt x="226" y="209"/>
                  <a:pt x="226" y="209"/>
                </a:cubicBezTo>
                <a:cubicBezTo>
                  <a:pt x="226" y="210"/>
                  <a:pt x="226" y="210"/>
                  <a:pt x="226" y="210"/>
                </a:cubicBezTo>
                <a:cubicBezTo>
                  <a:pt x="226" y="212"/>
                  <a:pt x="226" y="212"/>
                  <a:pt x="226" y="212"/>
                </a:cubicBezTo>
                <a:cubicBezTo>
                  <a:pt x="226" y="213"/>
                  <a:pt x="226" y="213"/>
                  <a:pt x="226" y="213"/>
                </a:cubicBezTo>
                <a:cubicBezTo>
                  <a:pt x="225" y="211"/>
                  <a:pt x="225" y="211"/>
                  <a:pt x="225" y="211"/>
                </a:cubicBezTo>
                <a:cubicBezTo>
                  <a:pt x="224" y="209"/>
                  <a:pt x="224" y="209"/>
                  <a:pt x="224" y="209"/>
                </a:cubicBezTo>
                <a:cubicBezTo>
                  <a:pt x="221" y="210"/>
                  <a:pt x="221" y="210"/>
                  <a:pt x="221" y="210"/>
                </a:cubicBezTo>
                <a:cubicBezTo>
                  <a:pt x="217" y="211"/>
                  <a:pt x="217" y="211"/>
                  <a:pt x="217" y="211"/>
                </a:cubicBezTo>
                <a:cubicBezTo>
                  <a:pt x="216" y="212"/>
                  <a:pt x="216" y="212"/>
                  <a:pt x="216" y="212"/>
                </a:cubicBezTo>
                <a:cubicBezTo>
                  <a:pt x="215" y="212"/>
                  <a:pt x="215" y="212"/>
                  <a:pt x="215" y="212"/>
                </a:cubicBezTo>
                <a:cubicBezTo>
                  <a:pt x="214" y="213"/>
                  <a:pt x="214" y="213"/>
                  <a:pt x="214" y="213"/>
                </a:cubicBezTo>
                <a:cubicBezTo>
                  <a:pt x="215" y="216"/>
                  <a:pt x="215" y="216"/>
                  <a:pt x="215" y="216"/>
                </a:cubicBezTo>
                <a:cubicBezTo>
                  <a:pt x="216" y="217"/>
                  <a:pt x="216" y="217"/>
                  <a:pt x="216" y="217"/>
                </a:cubicBezTo>
                <a:cubicBezTo>
                  <a:pt x="216" y="218"/>
                  <a:pt x="216" y="218"/>
                  <a:pt x="216" y="218"/>
                </a:cubicBezTo>
                <a:cubicBezTo>
                  <a:pt x="215" y="218"/>
                  <a:pt x="215" y="218"/>
                  <a:pt x="215" y="218"/>
                </a:cubicBezTo>
                <a:cubicBezTo>
                  <a:pt x="213" y="220"/>
                  <a:pt x="213" y="220"/>
                  <a:pt x="213" y="220"/>
                </a:cubicBezTo>
                <a:cubicBezTo>
                  <a:pt x="213" y="219"/>
                  <a:pt x="213" y="219"/>
                  <a:pt x="213" y="219"/>
                </a:cubicBezTo>
                <a:cubicBezTo>
                  <a:pt x="213" y="218"/>
                  <a:pt x="213" y="218"/>
                  <a:pt x="213" y="218"/>
                </a:cubicBezTo>
                <a:cubicBezTo>
                  <a:pt x="214" y="217"/>
                  <a:pt x="214" y="217"/>
                  <a:pt x="214" y="217"/>
                </a:cubicBezTo>
                <a:cubicBezTo>
                  <a:pt x="214" y="216"/>
                  <a:pt x="214" y="216"/>
                  <a:pt x="214" y="216"/>
                </a:cubicBezTo>
                <a:cubicBezTo>
                  <a:pt x="212" y="216"/>
                  <a:pt x="212" y="216"/>
                  <a:pt x="212" y="216"/>
                </a:cubicBezTo>
                <a:cubicBezTo>
                  <a:pt x="210" y="218"/>
                  <a:pt x="210" y="218"/>
                  <a:pt x="210" y="218"/>
                </a:cubicBezTo>
                <a:cubicBezTo>
                  <a:pt x="209" y="219"/>
                  <a:pt x="209" y="219"/>
                  <a:pt x="209" y="219"/>
                </a:cubicBezTo>
                <a:cubicBezTo>
                  <a:pt x="209" y="221"/>
                  <a:pt x="209" y="221"/>
                  <a:pt x="209" y="221"/>
                </a:cubicBezTo>
                <a:cubicBezTo>
                  <a:pt x="210" y="222"/>
                  <a:pt x="210" y="222"/>
                  <a:pt x="210" y="222"/>
                </a:cubicBezTo>
                <a:cubicBezTo>
                  <a:pt x="209" y="222"/>
                  <a:pt x="209" y="222"/>
                  <a:pt x="209" y="222"/>
                </a:cubicBezTo>
                <a:cubicBezTo>
                  <a:pt x="208" y="224"/>
                  <a:pt x="208" y="224"/>
                  <a:pt x="208" y="224"/>
                </a:cubicBezTo>
                <a:cubicBezTo>
                  <a:pt x="206" y="224"/>
                  <a:pt x="206" y="224"/>
                  <a:pt x="206" y="224"/>
                </a:cubicBezTo>
                <a:cubicBezTo>
                  <a:pt x="205" y="225"/>
                  <a:pt x="205" y="225"/>
                  <a:pt x="205" y="225"/>
                </a:cubicBezTo>
                <a:cubicBezTo>
                  <a:pt x="204" y="227"/>
                  <a:pt x="204" y="227"/>
                  <a:pt x="204" y="227"/>
                </a:cubicBezTo>
                <a:cubicBezTo>
                  <a:pt x="203" y="227"/>
                  <a:pt x="203" y="227"/>
                  <a:pt x="203" y="227"/>
                </a:cubicBezTo>
                <a:cubicBezTo>
                  <a:pt x="201" y="228"/>
                  <a:pt x="201" y="228"/>
                  <a:pt x="201" y="228"/>
                </a:cubicBezTo>
                <a:cubicBezTo>
                  <a:pt x="201" y="231"/>
                  <a:pt x="201" y="231"/>
                  <a:pt x="201" y="231"/>
                </a:cubicBezTo>
                <a:cubicBezTo>
                  <a:pt x="202" y="232"/>
                  <a:pt x="202" y="232"/>
                  <a:pt x="202" y="232"/>
                </a:cubicBezTo>
                <a:cubicBezTo>
                  <a:pt x="203" y="232"/>
                  <a:pt x="203" y="232"/>
                  <a:pt x="203" y="232"/>
                </a:cubicBezTo>
                <a:cubicBezTo>
                  <a:pt x="201" y="234"/>
                  <a:pt x="201" y="234"/>
                  <a:pt x="201" y="234"/>
                </a:cubicBezTo>
                <a:cubicBezTo>
                  <a:pt x="198" y="234"/>
                  <a:pt x="198" y="234"/>
                  <a:pt x="198" y="234"/>
                </a:cubicBezTo>
                <a:cubicBezTo>
                  <a:pt x="197" y="235"/>
                  <a:pt x="197" y="235"/>
                  <a:pt x="197" y="235"/>
                </a:cubicBezTo>
                <a:cubicBezTo>
                  <a:pt x="197" y="238"/>
                  <a:pt x="197" y="238"/>
                  <a:pt x="197" y="238"/>
                </a:cubicBezTo>
                <a:cubicBezTo>
                  <a:pt x="197" y="239"/>
                  <a:pt x="197" y="239"/>
                  <a:pt x="197" y="239"/>
                </a:cubicBezTo>
                <a:cubicBezTo>
                  <a:pt x="198" y="239"/>
                  <a:pt x="198" y="239"/>
                  <a:pt x="198" y="239"/>
                </a:cubicBezTo>
                <a:cubicBezTo>
                  <a:pt x="199" y="239"/>
                  <a:pt x="199" y="239"/>
                  <a:pt x="199" y="239"/>
                </a:cubicBezTo>
                <a:cubicBezTo>
                  <a:pt x="200" y="240"/>
                  <a:pt x="200" y="240"/>
                  <a:pt x="200" y="240"/>
                </a:cubicBezTo>
                <a:cubicBezTo>
                  <a:pt x="200" y="241"/>
                  <a:pt x="200" y="241"/>
                  <a:pt x="200" y="241"/>
                </a:cubicBezTo>
                <a:cubicBezTo>
                  <a:pt x="200" y="243"/>
                  <a:pt x="200" y="243"/>
                  <a:pt x="200" y="243"/>
                </a:cubicBezTo>
                <a:cubicBezTo>
                  <a:pt x="198" y="244"/>
                  <a:pt x="198" y="244"/>
                  <a:pt x="198" y="244"/>
                </a:cubicBezTo>
                <a:cubicBezTo>
                  <a:pt x="197" y="243"/>
                  <a:pt x="197" y="243"/>
                  <a:pt x="197" y="243"/>
                </a:cubicBezTo>
                <a:cubicBezTo>
                  <a:pt x="195" y="243"/>
                  <a:pt x="195" y="243"/>
                  <a:pt x="195" y="243"/>
                </a:cubicBezTo>
                <a:cubicBezTo>
                  <a:pt x="192" y="244"/>
                  <a:pt x="192" y="244"/>
                  <a:pt x="192" y="244"/>
                </a:cubicBezTo>
                <a:cubicBezTo>
                  <a:pt x="192" y="245"/>
                  <a:pt x="192" y="245"/>
                  <a:pt x="192" y="245"/>
                </a:cubicBezTo>
                <a:cubicBezTo>
                  <a:pt x="192" y="247"/>
                  <a:pt x="192" y="247"/>
                  <a:pt x="192" y="247"/>
                </a:cubicBezTo>
                <a:cubicBezTo>
                  <a:pt x="191" y="249"/>
                  <a:pt x="191" y="249"/>
                  <a:pt x="191" y="249"/>
                </a:cubicBezTo>
                <a:cubicBezTo>
                  <a:pt x="189" y="250"/>
                  <a:pt x="189" y="250"/>
                  <a:pt x="189" y="250"/>
                </a:cubicBezTo>
                <a:cubicBezTo>
                  <a:pt x="187" y="250"/>
                  <a:pt x="187" y="250"/>
                  <a:pt x="187" y="250"/>
                </a:cubicBezTo>
                <a:cubicBezTo>
                  <a:pt x="186" y="248"/>
                  <a:pt x="186" y="248"/>
                  <a:pt x="186" y="248"/>
                </a:cubicBezTo>
                <a:cubicBezTo>
                  <a:pt x="186" y="247"/>
                  <a:pt x="186" y="247"/>
                  <a:pt x="186" y="247"/>
                </a:cubicBezTo>
                <a:cubicBezTo>
                  <a:pt x="185" y="247"/>
                  <a:pt x="185" y="247"/>
                  <a:pt x="185" y="247"/>
                </a:cubicBezTo>
                <a:cubicBezTo>
                  <a:pt x="184" y="250"/>
                  <a:pt x="184" y="250"/>
                  <a:pt x="184" y="250"/>
                </a:cubicBezTo>
                <a:cubicBezTo>
                  <a:pt x="185" y="252"/>
                  <a:pt x="185" y="252"/>
                  <a:pt x="185" y="252"/>
                </a:cubicBezTo>
                <a:cubicBezTo>
                  <a:pt x="187" y="254"/>
                  <a:pt x="187" y="254"/>
                  <a:pt x="187" y="254"/>
                </a:cubicBezTo>
                <a:cubicBezTo>
                  <a:pt x="188" y="253"/>
                  <a:pt x="188" y="253"/>
                  <a:pt x="188" y="253"/>
                </a:cubicBezTo>
                <a:cubicBezTo>
                  <a:pt x="189" y="254"/>
                  <a:pt x="189" y="254"/>
                  <a:pt x="189" y="254"/>
                </a:cubicBezTo>
                <a:cubicBezTo>
                  <a:pt x="189" y="255"/>
                  <a:pt x="189" y="255"/>
                  <a:pt x="189" y="255"/>
                </a:cubicBezTo>
                <a:cubicBezTo>
                  <a:pt x="188" y="257"/>
                  <a:pt x="188" y="257"/>
                  <a:pt x="188" y="257"/>
                </a:cubicBezTo>
                <a:cubicBezTo>
                  <a:pt x="188" y="258"/>
                  <a:pt x="188" y="258"/>
                  <a:pt x="188" y="258"/>
                </a:cubicBezTo>
                <a:cubicBezTo>
                  <a:pt x="190" y="259"/>
                  <a:pt x="190" y="259"/>
                  <a:pt x="190" y="259"/>
                </a:cubicBezTo>
                <a:cubicBezTo>
                  <a:pt x="191" y="258"/>
                  <a:pt x="191" y="258"/>
                  <a:pt x="191" y="258"/>
                </a:cubicBezTo>
                <a:cubicBezTo>
                  <a:pt x="192" y="258"/>
                  <a:pt x="192" y="258"/>
                  <a:pt x="192" y="258"/>
                </a:cubicBezTo>
                <a:cubicBezTo>
                  <a:pt x="192" y="258"/>
                  <a:pt x="192" y="258"/>
                  <a:pt x="192" y="258"/>
                </a:cubicBezTo>
                <a:cubicBezTo>
                  <a:pt x="194" y="258"/>
                  <a:pt x="194" y="258"/>
                  <a:pt x="194" y="258"/>
                </a:cubicBezTo>
                <a:cubicBezTo>
                  <a:pt x="196" y="257"/>
                  <a:pt x="196" y="257"/>
                  <a:pt x="196" y="257"/>
                </a:cubicBezTo>
                <a:cubicBezTo>
                  <a:pt x="196" y="258"/>
                  <a:pt x="196" y="258"/>
                  <a:pt x="196" y="258"/>
                </a:cubicBezTo>
                <a:cubicBezTo>
                  <a:pt x="196" y="259"/>
                  <a:pt x="196" y="259"/>
                  <a:pt x="196" y="259"/>
                </a:cubicBezTo>
                <a:cubicBezTo>
                  <a:pt x="194" y="260"/>
                  <a:pt x="194" y="260"/>
                  <a:pt x="194" y="260"/>
                </a:cubicBezTo>
                <a:cubicBezTo>
                  <a:pt x="192" y="260"/>
                  <a:pt x="192" y="260"/>
                  <a:pt x="192" y="260"/>
                </a:cubicBezTo>
                <a:cubicBezTo>
                  <a:pt x="191" y="261"/>
                  <a:pt x="191" y="261"/>
                  <a:pt x="191" y="261"/>
                </a:cubicBezTo>
                <a:cubicBezTo>
                  <a:pt x="189" y="260"/>
                  <a:pt x="189" y="260"/>
                  <a:pt x="189" y="260"/>
                </a:cubicBezTo>
                <a:cubicBezTo>
                  <a:pt x="189" y="262"/>
                  <a:pt x="189" y="262"/>
                  <a:pt x="189" y="262"/>
                </a:cubicBezTo>
                <a:cubicBezTo>
                  <a:pt x="189" y="264"/>
                  <a:pt x="189" y="264"/>
                  <a:pt x="189" y="264"/>
                </a:cubicBezTo>
                <a:cubicBezTo>
                  <a:pt x="191" y="265"/>
                  <a:pt x="191" y="265"/>
                  <a:pt x="191" y="265"/>
                </a:cubicBezTo>
                <a:cubicBezTo>
                  <a:pt x="192" y="265"/>
                  <a:pt x="192" y="265"/>
                  <a:pt x="192" y="265"/>
                </a:cubicBezTo>
                <a:cubicBezTo>
                  <a:pt x="194" y="265"/>
                  <a:pt x="194" y="265"/>
                  <a:pt x="194" y="265"/>
                </a:cubicBezTo>
                <a:cubicBezTo>
                  <a:pt x="194" y="265"/>
                  <a:pt x="194" y="265"/>
                  <a:pt x="194" y="265"/>
                </a:cubicBezTo>
                <a:cubicBezTo>
                  <a:pt x="194" y="266"/>
                  <a:pt x="194" y="266"/>
                  <a:pt x="194" y="266"/>
                </a:cubicBezTo>
                <a:cubicBezTo>
                  <a:pt x="192" y="267"/>
                  <a:pt x="192" y="267"/>
                  <a:pt x="192" y="267"/>
                </a:cubicBezTo>
                <a:cubicBezTo>
                  <a:pt x="189" y="267"/>
                  <a:pt x="189" y="267"/>
                  <a:pt x="189" y="267"/>
                </a:cubicBezTo>
                <a:cubicBezTo>
                  <a:pt x="188" y="268"/>
                  <a:pt x="188" y="268"/>
                  <a:pt x="188" y="268"/>
                </a:cubicBezTo>
                <a:cubicBezTo>
                  <a:pt x="188" y="269"/>
                  <a:pt x="188" y="269"/>
                  <a:pt x="188" y="269"/>
                </a:cubicBezTo>
                <a:cubicBezTo>
                  <a:pt x="189" y="270"/>
                  <a:pt x="189" y="270"/>
                  <a:pt x="189" y="270"/>
                </a:cubicBezTo>
                <a:cubicBezTo>
                  <a:pt x="190" y="270"/>
                  <a:pt x="190" y="270"/>
                  <a:pt x="190" y="270"/>
                </a:cubicBezTo>
                <a:cubicBezTo>
                  <a:pt x="193" y="270"/>
                  <a:pt x="193" y="270"/>
                  <a:pt x="193" y="270"/>
                </a:cubicBezTo>
                <a:cubicBezTo>
                  <a:pt x="193" y="270"/>
                  <a:pt x="193" y="270"/>
                  <a:pt x="193" y="270"/>
                </a:cubicBezTo>
                <a:cubicBezTo>
                  <a:pt x="191" y="271"/>
                  <a:pt x="191" y="271"/>
                  <a:pt x="191" y="271"/>
                </a:cubicBezTo>
                <a:cubicBezTo>
                  <a:pt x="189" y="271"/>
                  <a:pt x="189" y="271"/>
                  <a:pt x="189" y="271"/>
                </a:cubicBezTo>
                <a:cubicBezTo>
                  <a:pt x="189" y="272"/>
                  <a:pt x="189" y="272"/>
                  <a:pt x="189" y="272"/>
                </a:cubicBezTo>
                <a:cubicBezTo>
                  <a:pt x="190" y="273"/>
                  <a:pt x="190" y="273"/>
                  <a:pt x="190" y="273"/>
                </a:cubicBezTo>
                <a:cubicBezTo>
                  <a:pt x="193" y="273"/>
                  <a:pt x="193" y="273"/>
                  <a:pt x="193" y="273"/>
                </a:cubicBezTo>
                <a:cubicBezTo>
                  <a:pt x="196" y="275"/>
                  <a:pt x="196" y="275"/>
                  <a:pt x="196" y="275"/>
                </a:cubicBezTo>
                <a:cubicBezTo>
                  <a:pt x="197" y="276"/>
                  <a:pt x="197" y="276"/>
                  <a:pt x="197" y="276"/>
                </a:cubicBezTo>
                <a:cubicBezTo>
                  <a:pt x="197" y="276"/>
                  <a:pt x="197" y="276"/>
                  <a:pt x="197" y="276"/>
                </a:cubicBezTo>
                <a:cubicBezTo>
                  <a:pt x="197" y="278"/>
                  <a:pt x="197" y="278"/>
                  <a:pt x="197" y="278"/>
                </a:cubicBezTo>
                <a:cubicBezTo>
                  <a:pt x="196" y="276"/>
                  <a:pt x="196" y="276"/>
                  <a:pt x="196" y="276"/>
                </a:cubicBezTo>
                <a:cubicBezTo>
                  <a:pt x="194" y="275"/>
                  <a:pt x="194" y="275"/>
                  <a:pt x="194" y="275"/>
                </a:cubicBezTo>
                <a:cubicBezTo>
                  <a:pt x="192" y="275"/>
                  <a:pt x="192" y="275"/>
                  <a:pt x="192" y="275"/>
                </a:cubicBezTo>
                <a:cubicBezTo>
                  <a:pt x="190" y="274"/>
                  <a:pt x="190" y="274"/>
                  <a:pt x="190" y="274"/>
                </a:cubicBezTo>
                <a:cubicBezTo>
                  <a:pt x="188" y="274"/>
                  <a:pt x="188" y="274"/>
                  <a:pt x="188" y="274"/>
                </a:cubicBezTo>
                <a:cubicBezTo>
                  <a:pt x="187" y="275"/>
                  <a:pt x="187" y="275"/>
                  <a:pt x="187" y="275"/>
                </a:cubicBezTo>
                <a:cubicBezTo>
                  <a:pt x="187" y="276"/>
                  <a:pt x="187" y="276"/>
                  <a:pt x="187" y="276"/>
                </a:cubicBezTo>
                <a:cubicBezTo>
                  <a:pt x="186" y="277"/>
                  <a:pt x="186" y="277"/>
                  <a:pt x="186" y="277"/>
                </a:cubicBezTo>
                <a:cubicBezTo>
                  <a:pt x="186" y="278"/>
                  <a:pt x="186" y="278"/>
                  <a:pt x="186" y="278"/>
                </a:cubicBezTo>
                <a:cubicBezTo>
                  <a:pt x="187" y="279"/>
                  <a:pt x="187" y="279"/>
                  <a:pt x="187" y="279"/>
                </a:cubicBezTo>
                <a:cubicBezTo>
                  <a:pt x="187" y="280"/>
                  <a:pt x="187" y="280"/>
                  <a:pt x="187" y="280"/>
                </a:cubicBezTo>
                <a:cubicBezTo>
                  <a:pt x="186" y="281"/>
                  <a:pt x="186" y="281"/>
                  <a:pt x="186" y="281"/>
                </a:cubicBezTo>
                <a:cubicBezTo>
                  <a:pt x="185" y="280"/>
                  <a:pt x="185" y="280"/>
                  <a:pt x="185" y="280"/>
                </a:cubicBezTo>
                <a:cubicBezTo>
                  <a:pt x="183" y="282"/>
                  <a:pt x="183" y="282"/>
                  <a:pt x="183" y="282"/>
                </a:cubicBezTo>
                <a:cubicBezTo>
                  <a:pt x="183" y="284"/>
                  <a:pt x="183" y="284"/>
                  <a:pt x="183" y="284"/>
                </a:cubicBezTo>
                <a:cubicBezTo>
                  <a:pt x="183" y="285"/>
                  <a:pt x="183" y="285"/>
                  <a:pt x="183" y="285"/>
                </a:cubicBezTo>
                <a:cubicBezTo>
                  <a:pt x="182" y="285"/>
                  <a:pt x="182" y="285"/>
                  <a:pt x="182" y="285"/>
                </a:cubicBezTo>
                <a:cubicBezTo>
                  <a:pt x="181" y="286"/>
                  <a:pt x="181" y="286"/>
                  <a:pt x="181" y="286"/>
                </a:cubicBezTo>
                <a:cubicBezTo>
                  <a:pt x="181" y="287"/>
                  <a:pt x="181" y="287"/>
                  <a:pt x="181" y="287"/>
                </a:cubicBezTo>
                <a:cubicBezTo>
                  <a:pt x="183" y="289"/>
                  <a:pt x="183" y="289"/>
                  <a:pt x="183" y="289"/>
                </a:cubicBezTo>
                <a:cubicBezTo>
                  <a:pt x="185" y="290"/>
                  <a:pt x="185" y="290"/>
                  <a:pt x="185" y="290"/>
                </a:cubicBezTo>
                <a:cubicBezTo>
                  <a:pt x="186" y="289"/>
                  <a:pt x="186" y="289"/>
                  <a:pt x="186" y="289"/>
                </a:cubicBezTo>
                <a:cubicBezTo>
                  <a:pt x="186" y="288"/>
                  <a:pt x="186" y="288"/>
                  <a:pt x="186" y="288"/>
                </a:cubicBezTo>
                <a:cubicBezTo>
                  <a:pt x="188" y="287"/>
                  <a:pt x="188" y="287"/>
                  <a:pt x="188" y="287"/>
                </a:cubicBezTo>
                <a:cubicBezTo>
                  <a:pt x="190" y="285"/>
                  <a:pt x="190" y="285"/>
                  <a:pt x="190" y="285"/>
                </a:cubicBezTo>
                <a:cubicBezTo>
                  <a:pt x="193" y="284"/>
                  <a:pt x="193" y="284"/>
                  <a:pt x="193" y="284"/>
                </a:cubicBezTo>
                <a:cubicBezTo>
                  <a:pt x="195" y="285"/>
                  <a:pt x="195" y="285"/>
                  <a:pt x="195" y="285"/>
                </a:cubicBezTo>
                <a:cubicBezTo>
                  <a:pt x="196" y="285"/>
                  <a:pt x="196" y="285"/>
                  <a:pt x="196" y="285"/>
                </a:cubicBezTo>
                <a:cubicBezTo>
                  <a:pt x="196" y="286"/>
                  <a:pt x="196" y="286"/>
                  <a:pt x="196" y="286"/>
                </a:cubicBezTo>
                <a:cubicBezTo>
                  <a:pt x="195" y="287"/>
                  <a:pt x="195" y="287"/>
                  <a:pt x="195" y="287"/>
                </a:cubicBezTo>
                <a:cubicBezTo>
                  <a:pt x="193" y="285"/>
                  <a:pt x="193" y="285"/>
                  <a:pt x="193" y="285"/>
                </a:cubicBezTo>
                <a:cubicBezTo>
                  <a:pt x="192" y="285"/>
                  <a:pt x="192" y="285"/>
                  <a:pt x="192" y="285"/>
                </a:cubicBezTo>
                <a:cubicBezTo>
                  <a:pt x="192" y="287"/>
                  <a:pt x="192" y="287"/>
                  <a:pt x="192" y="287"/>
                </a:cubicBezTo>
                <a:cubicBezTo>
                  <a:pt x="189" y="288"/>
                  <a:pt x="189" y="288"/>
                  <a:pt x="189" y="288"/>
                </a:cubicBezTo>
                <a:cubicBezTo>
                  <a:pt x="188" y="290"/>
                  <a:pt x="188" y="290"/>
                  <a:pt x="188" y="290"/>
                </a:cubicBezTo>
                <a:cubicBezTo>
                  <a:pt x="187" y="292"/>
                  <a:pt x="187" y="292"/>
                  <a:pt x="187" y="292"/>
                </a:cubicBezTo>
                <a:cubicBezTo>
                  <a:pt x="188" y="294"/>
                  <a:pt x="188" y="294"/>
                  <a:pt x="188" y="294"/>
                </a:cubicBezTo>
                <a:cubicBezTo>
                  <a:pt x="187" y="295"/>
                  <a:pt x="187" y="295"/>
                  <a:pt x="187" y="295"/>
                </a:cubicBezTo>
                <a:cubicBezTo>
                  <a:pt x="187" y="295"/>
                  <a:pt x="187" y="296"/>
                  <a:pt x="187" y="296"/>
                </a:cubicBezTo>
                <a:close/>
                <a:moveTo>
                  <a:pt x="197" y="353"/>
                </a:moveTo>
                <a:cubicBezTo>
                  <a:pt x="198" y="354"/>
                  <a:pt x="198" y="354"/>
                  <a:pt x="198" y="354"/>
                </a:cubicBezTo>
                <a:cubicBezTo>
                  <a:pt x="198" y="352"/>
                  <a:pt x="198" y="352"/>
                  <a:pt x="198" y="352"/>
                </a:cubicBezTo>
                <a:cubicBezTo>
                  <a:pt x="197" y="351"/>
                  <a:pt x="197" y="351"/>
                  <a:pt x="197" y="351"/>
                </a:cubicBezTo>
                <a:cubicBezTo>
                  <a:pt x="198" y="349"/>
                  <a:pt x="198" y="349"/>
                  <a:pt x="198" y="349"/>
                </a:cubicBezTo>
                <a:cubicBezTo>
                  <a:pt x="197" y="348"/>
                  <a:pt x="197" y="348"/>
                  <a:pt x="197" y="348"/>
                </a:cubicBezTo>
                <a:cubicBezTo>
                  <a:pt x="195" y="347"/>
                  <a:pt x="195" y="347"/>
                  <a:pt x="195" y="347"/>
                </a:cubicBezTo>
                <a:cubicBezTo>
                  <a:pt x="194" y="346"/>
                  <a:pt x="194" y="346"/>
                  <a:pt x="194" y="346"/>
                </a:cubicBezTo>
                <a:cubicBezTo>
                  <a:pt x="193" y="345"/>
                  <a:pt x="193" y="345"/>
                  <a:pt x="193" y="345"/>
                </a:cubicBezTo>
                <a:cubicBezTo>
                  <a:pt x="190" y="345"/>
                  <a:pt x="190" y="345"/>
                  <a:pt x="190" y="345"/>
                </a:cubicBezTo>
                <a:cubicBezTo>
                  <a:pt x="189" y="347"/>
                  <a:pt x="189" y="347"/>
                  <a:pt x="189" y="347"/>
                </a:cubicBezTo>
                <a:cubicBezTo>
                  <a:pt x="189" y="348"/>
                  <a:pt x="189" y="348"/>
                  <a:pt x="189" y="348"/>
                </a:cubicBezTo>
                <a:cubicBezTo>
                  <a:pt x="191" y="348"/>
                  <a:pt x="191" y="348"/>
                  <a:pt x="191" y="348"/>
                </a:cubicBezTo>
                <a:cubicBezTo>
                  <a:pt x="192" y="348"/>
                  <a:pt x="192" y="348"/>
                  <a:pt x="192" y="348"/>
                </a:cubicBezTo>
                <a:cubicBezTo>
                  <a:pt x="193" y="349"/>
                  <a:pt x="193" y="349"/>
                  <a:pt x="193" y="349"/>
                </a:cubicBezTo>
                <a:cubicBezTo>
                  <a:pt x="193" y="351"/>
                  <a:pt x="193" y="351"/>
                  <a:pt x="193" y="351"/>
                </a:cubicBezTo>
                <a:cubicBezTo>
                  <a:pt x="195" y="351"/>
                  <a:pt x="195" y="351"/>
                  <a:pt x="195" y="351"/>
                </a:cubicBezTo>
                <a:cubicBezTo>
                  <a:pt x="197" y="353"/>
                  <a:pt x="197" y="353"/>
                  <a:pt x="197" y="353"/>
                </a:cubicBezTo>
                <a:close/>
                <a:moveTo>
                  <a:pt x="235" y="353"/>
                </a:moveTo>
                <a:cubicBezTo>
                  <a:pt x="233" y="351"/>
                  <a:pt x="233" y="351"/>
                  <a:pt x="233" y="351"/>
                </a:cubicBezTo>
                <a:cubicBezTo>
                  <a:pt x="231" y="352"/>
                  <a:pt x="231" y="352"/>
                  <a:pt x="231" y="352"/>
                </a:cubicBezTo>
                <a:cubicBezTo>
                  <a:pt x="230" y="351"/>
                  <a:pt x="230" y="351"/>
                  <a:pt x="230" y="351"/>
                </a:cubicBezTo>
                <a:cubicBezTo>
                  <a:pt x="228" y="349"/>
                  <a:pt x="228" y="349"/>
                  <a:pt x="228" y="349"/>
                </a:cubicBezTo>
                <a:cubicBezTo>
                  <a:pt x="226" y="349"/>
                  <a:pt x="226" y="349"/>
                  <a:pt x="226" y="349"/>
                </a:cubicBezTo>
                <a:cubicBezTo>
                  <a:pt x="222" y="346"/>
                  <a:pt x="222" y="346"/>
                  <a:pt x="222" y="346"/>
                </a:cubicBezTo>
                <a:cubicBezTo>
                  <a:pt x="221" y="344"/>
                  <a:pt x="221" y="344"/>
                  <a:pt x="221" y="344"/>
                </a:cubicBezTo>
                <a:cubicBezTo>
                  <a:pt x="219" y="344"/>
                  <a:pt x="219" y="344"/>
                  <a:pt x="219" y="344"/>
                </a:cubicBezTo>
                <a:cubicBezTo>
                  <a:pt x="216" y="339"/>
                  <a:pt x="216" y="339"/>
                  <a:pt x="216" y="339"/>
                </a:cubicBezTo>
                <a:cubicBezTo>
                  <a:pt x="213" y="335"/>
                  <a:pt x="213" y="335"/>
                  <a:pt x="213" y="335"/>
                </a:cubicBezTo>
                <a:cubicBezTo>
                  <a:pt x="211" y="330"/>
                  <a:pt x="211" y="330"/>
                  <a:pt x="211" y="330"/>
                </a:cubicBezTo>
                <a:cubicBezTo>
                  <a:pt x="209" y="327"/>
                  <a:pt x="209" y="327"/>
                  <a:pt x="209" y="327"/>
                </a:cubicBezTo>
                <a:cubicBezTo>
                  <a:pt x="209" y="322"/>
                  <a:pt x="209" y="322"/>
                  <a:pt x="209" y="322"/>
                </a:cubicBezTo>
                <a:cubicBezTo>
                  <a:pt x="208" y="318"/>
                  <a:pt x="208" y="318"/>
                  <a:pt x="208" y="318"/>
                </a:cubicBezTo>
                <a:cubicBezTo>
                  <a:pt x="207" y="313"/>
                  <a:pt x="207" y="313"/>
                  <a:pt x="207" y="313"/>
                </a:cubicBezTo>
                <a:cubicBezTo>
                  <a:pt x="206" y="311"/>
                  <a:pt x="206" y="311"/>
                  <a:pt x="206" y="311"/>
                </a:cubicBezTo>
                <a:cubicBezTo>
                  <a:pt x="207" y="309"/>
                  <a:pt x="207" y="309"/>
                  <a:pt x="207" y="309"/>
                </a:cubicBezTo>
                <a:cubicBezTo>
                  <a:pt x="207" y="308"/>
                  <a:pt x="207" y="308"/>
                  <a:pt x="207" y="308"/>
                </a:cubicBezTo>
                <a:cubicBezTo>
                  <a:pt x="205" y="308"/>
                  <a:pt x="205" y="308"/>
                  <a:pt x="205" y="308"/>
                </a:cubicBezTo>
                <a:cubicBezTo>
                  <a:pt x="203" y="308"/>
                  <a:pt x="203" y="308"/>
                  <a:pt x="203" y="308"/>
                </a:cubicBezTo>
                <a:cubicBezTo>
                  <a:pt x="202" y="307"/>
                  <a:pt x="202" y="307"/>
                  <a:pt x="202" y="307"/>
                </a:cubicBezTo>
                <a:cubicBezTo>
                  <a:pt x="203" y="307"/>
                  <a:pt x="203" y="307"/>
                  <a:pt x="203" y="307"/>
                </a:cubicBezTo>
                <a:cubicBezTo>
                  <a:pt x="205" y="307"/>
                  <a:pt x="205" y="307"/>
                  <a:pt x="205" y="307"/>
                </a:cubicBezTo>
                <a:cubicBezTo>
                  <a:pt x="208" y="306"/>
                  <a:pt x="208" y="306"/>
                  <a:pt x="208" y="306"/>
                </a:cubicBezTo>
                <a:cubicBezTo>
                  <a:pt x="208" y="301"/>
                  <a:pt x="208" y="301"/>
                  <a:pt x="208" y="301"/>
                </a:cubicBezTo>
                <a:cubicBezTo>
                  <a:pt x="208" y="300"/>
                  <a:pt x="208" y="300"/>
                  <a:pt x="208" y="300"/>
                </a:cubicBezTo>
                <a:cubicBezTo>
                  <a:pt x="206" y="300"/>
                  <a:pt x="206" y="300"/>
                  <a:pt x="206" y="300"/>
                </a:cubicBezTo>
                <a:cubicBezTo>
                  <a:pt x="204" y="301"/>
                  <a:pt x="204" y="301"/>
                  <a:pt x="204" y="301"/>
                </a:cubicBezTo>
                <a:cubicBezTo>
                  <a:pt x="205" y="300"/>
                  <a:pt x="205" y="300"/>
                  <a:pt x="205" y="300"/>
                </a:cubicBezTo>
                <a:cubicBezTo>
                  <a:pt x="208" y="299"/>
                  <a:pt x="208" y="299"/>
                  <a:pt x="208" y="299"/>
                </a:cubicBezTo>
                <a:cubicBezTo>
                  <a:pt x="208" y="297"/>
                  <a:pt x="208" y="297"/>
                  <a:pt x="208" y="297"/>
                </a:cubicBezTo>
                <a:cubicBezTo>
                  <a:pt x="207" y="296"/>
                  <a:pt x="207" y="296"/>
                  <a:pt x="207" y="296"/>
                </a:cubicBezTo>
                <a:cubicBezTo>
                  <a:pt x="203" y="296"/>
                  <a:pt x="203" y="296"/>
                  <a:pt x="203" y="296"/>
                </a:cubicBezTo>
                <a:cubicBezTo>
                  <a:pt x="198" y="296"/>
                  <a:pt x="198" y="296"/>
                  <a:pt x="198" y="296"/>
                </a:cubicBezTo>
                <a:cubicBezTo>
                  <a:pt x="196" y="294"/>
                  <a:pt x="196" y="294"/>
                  <a:pt x="196" y="294"/>
                </a:cubicBezTo>
                <a:cubicBezTo>
                  <a:pt x="195" y="294"/>
                  <a:pt x="195" y="294"/>
                  <a:pt x="195" y="294"/>
                </a:cubicBezTo>
                <a:cubicBezTo>
                  <a:pt x="191" y="297"/>
                  <a:pt x="191" y="297"/>
                  <a:pt x="191" y="297"/>
                </a:cubicBezTo>
                <a:cubicBezTo>
                  <a:pt x="187" y="297"/>
                  <a:pt x="187" y="297"/>
                  <a:pt x="187" y="297"/>
                </a:cubicBezTo>
                <a:cubicBezTo>
                  <a:pt x="186" y="298"/>
                  <a:pt x="186" y="298"/>
                  <a:pt x="186" y="298"/>
                </a:cubicBezTo>
                <a:cubicBezTo>
                  <a:pt x="183" y="300"/>
                  <a:pt x="183" y="300"/>
                  <a:pt x="183" y="300"/>
                </a:cubicBezTo>
                <a:cubicBezTo>
                  <a:pt x="183" y="302"/>
                  <a:pt x="183" y="302"/>
                  <a:pt x="183" y="302"/>
                </a:cubicBezTo>
                <a:cubicBezTo>
                  <a:pt x="182" y="304"/>
                  <a:pt x="182" y="304"/>
                  <a:pt x="182" y="304"/>
                </a:cubicBezTo>
                <a:cubicBezTo>
                  <a:pt x="183" y="306"/>
                  <a:pt x="183" y="306"/>
                  <a:pt x="183" y="306"/>
                </a:cubicBezTo>
                <a:cubicBezTo>
                  <a:pt x="185" y="306"/>
                  <a:pt x="185" y="306"/>
                  <a:pt x="185" y="306"/>
                </a:cubicBezTo>
                <a:cubicBezTo>
                  <a:pt x="185" y="307"/>
                  <a:pt x="185" y="307"/>
                  <a:pt x="185" y="307"/>
                </a:cubicBezTo>
                <a:cubicBezTo>
                  <a:pt x="185" y="308"/>
                  <a:pt x="185" y="308"/>
                  <a:pt x="185" y="308"/>
                </a:cubicBezTo>
                <a:cubicBezTo>
                  <a:pt x="183" y="308"/>
                  <a:pt x="183" y="308"/>
                  <a:pt x="183" y="308"/>
                </a:cubicBezTo>
                <a:cubicBezTo>
                  <a:pt x="181" y="308"/>
                  <a:pt x="181" y="308"/>
                  <a:pt x="181" y="308"/>
                </a:cubicBezTo>
                <a:cubicBezTo>
                  <a:pt x="179" y="312"/>
                  <a:pt x="179" y="312"/>
                  <a:pt x="179" y="312"/>
                </a:cubicBezTo>
                <a:cubicBezTo>
                  <a:pt x="179" y="314"/>
                  <a:pt x="179" y="314"/>
                  <a:pt x="179" y="314"/>
                </a:cubicBezTo>
                <a:cubicBezTo>
                  <a:pt x="180" y="315"/>
                  <a:pt x="180" y="315"/>
                  <a:pt x="180" y="315"/>
                </a:cubicBezTo>
                <a:cubicBezTo>
                  <a:pt x="182" y="314"/>
                  <a:pt x="182" y="314"/>
                  <a:pt x="182" y="314"/>
                </a:cubicBezTo>
                <a:cubicBezTo>
                  <a:pt x="184" y="313"/>
                  <a:pt x="184" y="313"/>
                  <a:pt x="184" y="313"/>
                </a:cubicBezTo>
                <a:cubicBezTo>
                  <a:pt x="185" y="314"/>
                  <a:pt x="185" y="314"/>
                  <a:pt x="185" y="314"/>
                </a:cubicBezTo>
                <a:cubicBezTo>
                  <a:pt x="183" y="316"/>
                  <a:pt x="183" y="316"/>
                  <a:pt x="183" y="316"/>
                </a:cubicBezTo>
                <a:cubicBezTo>
                  <a:pt x="182" y="317"/>
                  <a:pt x="182" y="317"/>
                  <a:pt x="182" y="317"/>
                </a:cubicBezTo>
                <a:cubicBezTo>
                  <a:pt x="184" y="317"/>
                  <a:pt x="184" y="317"/>
                  <a:pt x="184" y="317"/>
                </a:cubicBezTo>
                <a:cubicBezTo>
                  <a:pt x="185" y="316"/>
                  <a:pt x="185" y="316"/>
                  <a:pt x="185" y="316"/>
                </a:cubicBezTo>
                <a:cubicBezTo>
                  <a:pt x="186" y="315"/>
                  <a:pt x="186" y="315"/>
                  <a:pt x="186" y="315"/>
                </a:cubicBezTo>
                <a:cubicBezTo>
                  <a:pt x="187" y="316"/>
                  <a:pt x="187" y="316"/>
                  <a:pt x="187" y="316"/>
                </a:cubicBezTo>
                <a:cubicBezTo>
                  <a:pt x="185" y="318"/>
                  <a:pt x="185" y="318"/>
                  <a:pt x="185" y="318"/>
                </a:cubicBezTo>
                <a:cubicBezTo>
                  <a:pt x="185" y="319"/>
                  <a:pt x="185" y="319"/>
                  <a:pt x="185" y="319"/>
                </a:cubicBezTo>
                <a:cubicBezTo>
                  <a:pt x="186" y="321"/>
                  <a:pt x="186" y="321"/>
                  <a:pt x="186" y="321"/>
                </a:cubicBezTo>
                <a:cubicBezTo>
                  <a:pt x="188" y="321"/>
                  <a:pt x="188" y="321"/>
                  <a:pt x="188" y="321"/>
                </a:cubicBezTo>
                <a:cubicBezTo>
                  <a:pt x="187" y="322"/>
                  <a:pt x="187" y="322"/>
                  <a:pt x="187" y="322"/>
                </a:cubicBezTo>
                <a:cubicBezTo>
                  <a:pt x="186" y="322"/>
                  <a:pt x="186" y="322"/>
                  <a:pt x="186" y="322"/>
                </a:cubicBezTo>
                <a:cubicBezTo>
                  <a:pt x="184" y="323"/>
                  <a:pt x="184" y="323"/>
                  <a:pt x="184" y="323"/>
                </a:cubicBezTo>
                <a:cubicBezTo>
                  <a:pt x="184" y="325"/>
                  <a:pt x="184" y="325"/>
                  <a:pt x="184" y="325"/>
                </a:cubicBezTo>
                <a:cubicBezTo>
                  <a:pt x="186" y="327"/>
                  <a:pt x="186" y="327"/>
                  <a:pt x="186" y="327"/>
                </a:cubicBezTo>
                <a:cubicBezTo>
                  <a:pt x="185" y="327"/>
                  <a:pt x="185" y="327"/>
                  <a:pt x="185" y="327"/>
                </a:cubicBezTo>
                <a:cubicBezTo>
                  <a:pt x="184" y="327"/>
                  <a:pt x="184" y="327"/>
                  <a:pt x="184" y="327"/>
                </a:cubicBezTo>
                <a:cubicBezTo>
                  <a:pt x="182" y="327"/>
                  <a:pt x="182" y="327"/>
                  <a:pt x="182" y="327"/>
                </a:cubicBezTo>
                <a:cubicBezTo>
                  <a:pt x="180" y="327"/>
                  <a:pt x="180" y="327"/>
                  <a:pt x="180" y="327"/>
                </a:cubicBezTo>
                <a:cubicBezTo>
                  <a:pt x="179" y="327"/>
                  <a:pt x="179" y="327"/>
                  <a:pt x="179" y="327"/>
                </a:cubicBezTo>
                <a:cubicBezTo>
                  <a:pt x="177" y="329"/>
                  <a:pt x="177" y="329"/>
                  <a:pt x="177" y="329"/>
                </a:cubicBezTo>
                <a:cubicBezTo>
                  <a:pt x="177" y="331"/>
                  <a:pt x="177" y="331"/>
                  <a:pt x="177" y="331"/>
                </a:cubicBezTo>
                <a:cubicBezTo>
                  <a:pt x="178" y="334"/>
                  <a:pt x="178" y="334"/>
                  <a:pt x="178" y="334"/>
                </a:cubicBezTo>
                <a:cubicBezTo>
                  <a:pt x="177" y="336"/>
                  <a:pt x="177" y="336"/>
                  <a:pt x="177" y="336"/>
                </a:cubicBezTo>
                <a:cubicBezTo>
                  <a:pt x="178" y="338"/>
                  <a:pt x="178" y="338"/>
                  <a:pt x="178" y="338"/>
                </a:cubicBezTo>
                <a:cubicBezTo>
                  <a:pt x="180" y="341"/>
                  <a:pt x="180" y="341"/>
                  <a:pt x="180" y="341"/>
                </a:cubicBezTo>
                <a:cubicBezTo>
                  <a:pt x="181" y="342"/>
                  <a:pt x="181" y="342"/>
                  <a:pt x="181" y="342"/>
                </a:cubicBezTo>
                <a:cubicBezTo>
                  <a:pt x="183" y="344"/>
                  <a:pt x="183" y="344"/>
                  <a:pt x="183" y="344"/>
                </a:cubicBezTo>
                <a:cubicBezTo>
                  <a:pt x="185" y="345"/>
                  <a:pt x="185" y="345"/>
                  <a:pt x="185" y="345"/>
                </a:cubicBezTo>
                <a:cubicBezTo>
                  <a:pt x="186" y="344"/>
                  <a:pt x="186" y="344"/>
                  <a:pt x="186" y="344"/>
                </a:cubicBezTo>
                <a:cubicBezTo>
                  <a:pt x="188" y="344"/>
                  <a:pt x="188" y="344"/>
                  <a:pt x="188" y="344"/>
                </a:cubicBezTo>
                <a:cubicBezTo>
                  <a:pt x="190" y="341"/>
                  <a:pt x="190" y="341"/>
                  <a:pt x="190" y="341"/>
                </a:cubicBezTo>
                <a:cubicBezTo>
                  <a:pt x="189" y="338"/>
                  <a:pt x="189" y="338"/>
                  <a:pt x="189" y="338"/>
                </a:cubicBezTo>
                <a:cubicBezTo>
                  <a:pt x="190" y="336"/>
                  <a:pt x="190" y="336"/>
                  <a:pt x="190" y="336"/>
                </a:cubicBezTo>
                <a:cubicBezTo>
                  <a:pt x="191" y="334"/>
                  <a:pt x="191" y="334"/>
                  <a:pt x="191" y="334"/>
                </a:cubicBezTo>
                <a:cubicBezTo>
                  <a:pt x="190" y="337"/>
                  <a:pt x="190" y="337"/>
                  <a:pt x="190" y="337"/>
                </a:cubicBezTo>
                <a:cubicBezTo>
                  <a:pt x="190" y="338"/>
                  <a:pt x="190" y="338"/>
                  <a:pt x="190" y="338"/>
                </a:cubicBezTo>
                <a:cubicBezTo>
                  <a:pt x="191" y="340"/>
                  <a:pt x="191" y="340"/>
                  <a:pt x="191" y="340"/>
                </a:cubicBezTo>
                <a:cubicBezTo>
                  <a:pt x="192" y="343"/>
                  <a:pt x="192" y="343"/>
                  <a:pt x="192" y="343"/>
                </a:cubicBezTo>
                <a:cubicBezTo>
                  <a:pt x="193" y="343"/>
                  <a:pt x="193" y="343"/>
                  <a:pt x="193" y="343"/>
                </a:cubicBezTo>
                <a:cubicBezTo>
                  <a:pt x="194" y="342"/>
                  <a:pt x="194" y="342"/>
                  <a:pt x="194" y="342"/>
                </a:cubicBezTo>
                <a:cubicBezTo>
                  <a:pt x="194" y="340"/>
                  <a:pt x="194" y="340"/>
                  <a:pt x="194" y="340"/>
                </a:cubicBezTo>
                <a:cubicBezTo>
                  <a:pt x="195" y="338"/>
                  <a:pt x="195" y="338"/>
                  <a:pt x="195" y="338"/>
                </a:cubicBezTo>
                <a:cubicBezTo>
                  <a:pt x="196" y="339"/>
                  <a:pt x="196" y="339"/>
                  <a:pt x="196" y="339"/>
                </a:cubicBezTo>
                <a:cubicBezTo>
                  <a:pt x="196" y="340"/>
                  <a:pt x="196" y="340"/>
                  <a:pt x="196" y="340"/>
                </a:cubicBezTo>
                <a:cubicBezTo>
                  <a:pt x="196" y="342"/>
                  <a:pt x="196" y="342"/>
                  <a:pt x="196" y="342"/>
                </a:cubicBezTo>
                <a:cubicBezTo>
                  <a:pt x="198" y="345"/>
                  <a:pt x="198" y="345"/>
                  <a:pt x="198" y="345"/>
                </a:cubicBezTo>
                <a:cubicBezTo>
                  <a:pt x="200" y="347"/>
                  <a:pt x="200" y="347"/>
                  <a:pt x="200" y="347"/>
                </a:cubicBezTo>
                <a:cubicBezTo>
                  <a:pt x="202" y="347"/>
                  <a:pt x="202" y="347"/>
                  <a:pt x="202" y="347"/>
                </a:cubicBezTo>
                <a:cubicBezTo>
                  <a:pt x="203" y="346"/>
                  <a:pt x="203" y="346"/>
                  <a:pt x="203" y="346"/>
                </a:cubicBezTo>
                <a:cubicBezTo>
                  <a:pt x="204" y="346"/>
                  <a:pt x="204" y="346"/>
                  <a:pt x="204" y="346"/>
                </a:cubicBezTo>
                <a:cubicBezTo>
                  <a:pt x="204" y="347"/>
                  <a:pt x="204" y="347"/>
                  <a:pt x="204" y="347"/>
                </a:cubicBezTo>
                <a:cubicBezTo>
                  <a:pt x="203" y="347"/>
                  <a:pt x="203" y="347"/>
                  <a:pt x="203" y="347"/>
                </a:cubicBezTo>
                <a:cubicBezTo>
                  <a:pt x="202" y="348"/>
                  <a:pt x="202" y="348"/>
                  <a:pt x="202" y="348"/>
                </a:cubicBezTo>
                <a:cubicBezTo>
                  <a:pt x="201" y="349"/>
                  <a:pt x="201" y="349"/>
                  <a:pt x="201" y="349"/>
                </a:cubicBezTo>
                <a:cubicBezTo>
                  <a:pt x="200" y="351"/>
                  <a:pt x="200" y="351"/>
                  <a:pt x="200" y="351"/>
                </a:cubicBezTo>
                <a:cubicBezTo>
                  <a:pt x="202" y="352"/>
                  <a:pt x="202" y="352"/>
                  <a:pt x="202" y="352"/>
                </a:cubicBezTo>
                <a:cubicBezTo>
                  <a:pt x="202" y="354"/>
                  <a:pt x="202" y="354"/>
                  <a:pt x="202" y="354"/>
                </a:cubicBezTo>
                <a:cubicBezTo>
                  <a:pt x="201" y="354"/>
                  <a:pt x="201" y="354"/>
                  <a:pt x="201" y="354"/>
                </a:cubicBezTo>
                <a:cubicBezTo>
                  <a:pt x="200" y="354"/>
                  <a:pt x="200" y="354"/>
                  <a:pt x="200" y="354"/>
                </a:cubicBezTo>
                <a:cubicBezTo>
                  <a:pt x="200" y="355"/>
                  <a:pt x="200" y="355"/>
                  <a:pt x="200" y="355"/>
                </a:cubicBezTo>
                <a:cubicBezTo>
                  <a:pt x="201" y="356"/>
                  <a:pt x="201" y="356"/>
                  <a:pt x="201" y="356"/>
                </a:cubicBezTo>
                <a:cubicBezTo>
                  <a:pt x="204" y="356"/>
                  <a:pt x="204" y="356"/>
                  <a:pt x="204" y="356"/>
                </a:cubicBezTo>
                <a:cubicBezTo>
                  <a:pt x="206" y="357"/>
                  <a:pt x="206" y="357"/>
                  <a:pt x="206" y="357"/>
                </a:cubicBezTo>
                <a:cubicBezTo>
                  <a:pt x="208" y="357"/>
                  <a:pt x="208" y="357"/>
                  <a:pt x="208" y="357"/>
                </a:cubicBezTo>
                <a:cubicBezTo>
                  <a:pt x="211" y="358"/>
                  <a:pt x="211" y="358"/>
                  <a:pt x="211" y="358"/>
                </a:cubicBezTo>
                <a:cubicBezTo>
                  <a:pt x="211" y="356"/>
                  <a:pt x="211" y="356"/>
                  <a:pt x="211" y="356"/>
                </a:cubicBezTo>
                <a:cubicBezTo>
                  <a:pt x="212" y="356"/>
                  <a:pt x="212" y="356"/>
                  <a:pt x="212" y="356"/>
                </a:cubicBezTo>
                <a:cubicBezTo>
                  <a:pt x="213" y="358"/>
                  <a:pt x="213" y="358"/>
                  <a:pt x="213" y="358"/>
                </a:cubicBezTo>
                <a:cubicBezTo>
                  <a:pt x="214" y="361"/>
                  <a:pt x="214" y="361"/>
                  <a:pt x="214" y="361"/>
                </a:cubicBezTo>
                <a:cubicBezTo>
                  <a:pt x="215" y="362"/>
                  <a:pt x="215" y="362"/>
                  <a:pt x="215" y="362"/>
                </a:cubicBezTo>
                <a:cubicBezTo>
                  <a:pt x="217" y="362"/>
                  <a:pt x="217" y="362"/>
                  <a:pt x="217" y="362"/>
                </a:cubicBezTo>
                <a:cubicBezTo>
                  <a:pt x="218" y="360"/>
                  <a:pt x="218" y="360"/>
                  <a:pt x="218" y="360"/>
                </a:cubicBezTo>
                <a:cubicBezTo>
                  <a:pt x="218" y="358"/>
                  <a:pt x="218" y="358"/>
                  <a:pt x="218" y="358"/>
                </a:cubicBezTo>
                <a:cubicBezTo>
                  <a:pt x="215" y="357"/>
                  <a:pt x="215" y="357"/>
                  <a:pt x="215" y="357"/>
                </a:cubicBezTo>
                <a:cubicBezTo>
                  <a:pt x="214" y="356"/>
                  <a:pt x="214" y="356"/>
                  <a:pt x="214" y="356"/>
                </a:cubicBezTo>
                <a:cubicBezTo>
                  <a:pt x="215" y="355"/>
                  <a:pt x="215" y="355"/>
                  <a:pt x="215" y="355"/>
                </a:cubicBezTo>
                <a:cubicBezTo>
                  <a:pt x="216" y="356"/>
                  <a:pt x="216" y="356"/>
                  <a:pt x="216" y="356"/>
                </a:cubicBezTo>
                <a:cubicBezTo>
                  <a:pt x="219" y="357"/>
                  <a:pt x="219" y="357"/>
                  <a:pt x="219" y="357"/>
                </a:cubicBezTo>
                <a:cubicBezTo>
                  <a:pt x="219" y="359"/>
                  <a:pt x="219" y="359"/>
                  <a:pt x="219" y="359"/>
                </a:cubicBezTo>
                <a:cubicBezTo>
                  <a:pt x="220" y="361"/>
                  <a:pt x="220" y="361"/>
                  <a:pt x="220" y="361"/>
                </a:cubicBezTo>
                <a:cubicBezTo>
                  <a:pt x="221" y="361"/>
                  <a:pt x="221" y="361"/>
                  <a:pt x="221" y="361"/>
                </a:cubicBezTo>
                <a:cubicBezTo>
                  <a:pt x="222" y="359"/>
                  <a:pt x="222" y="359"/>
                  <a:pt x="222" y="359"/>
                </a:cubicBezTo>
                <a:cubicBezTo>
                  <a:pt x="223" y="359"/>
                  <a:pt x="223" y="359"/>
                  <a:pt x="223" y="359"/>
                </a:cubicBezTo>
                <a:cubicBezTo>
                  <a:pt x="224" y="360"/>
                  <a:pt x="224" y="360"/>
                  <a:pt x="224" y="360"/>
                </a:cubicBezTo>
                <a:cubicBezTo>
                  <a:pt x="226" y="361"/>
                  <a:pt x="226" y="361"/>
                  <a:pt x="226" y="361"/>
                </a:cubicBezTo>
                <a:cubicBezTo>
                  <a:pt x="228" y="361"/>
                  <a:pt x="228" y="361"/>
                  <a:pt x="228" y="361"/>
                </a:cubicBezTo>
                <a:cubicBezTo>
                  <a:pt x="228" y="360"/>
                  <a:pt x="228" y="360"/>
                  <a:pt x="228" y="360"/>
                </a:cubicBezTo>
                <a:cubicBezTo>
                  <a:pt x="226" y="358"/>
                  <a:pt x="226" y="358"/>
                  <a:pt x="226" y="358"/>
                </a:cubicBezTo>
                <a:cubicBezTo>
                  <a:pt x="226" y="358"/>
                  <a:pt x="226" y="358"/>
                  <a:pt x="226" y="358"/>
                </a:cubicBezTo>
                <a:cubicBezTo>
                  <a:pt x="227" y="357"/>
                  <a:pt x="227" y="357"/>
                  <a:pt x="227" y="357"/>
                </a:cubicBezTo>
                <a:cubicBezTo>
                  <a:pt x="229" y="358"/>
                  <a:pt x="229" y="358"/>
                  <a:pt x="229" y="358"/>
                </a:cubicBezTo>
                <a:cubicBezTo>
                  <a:pt x="230" y="359"/>
                  <a:pt x="230" y="359"/>
                  <a:pt x="230" y="359"/>
                </a:cubicBezTo>
                <a:cubicBezTo>
                  <a:pt x="230" y="359"/>
                  <a:pt x="230" y="359"/>
                  <a:pt x="230" y="359"/>
                </a:cubicBezTo>
                <a:cubicBezTo>
                  <a:pt x="231" y="361"/>
                  <a:pt x="231" y="361"/>
                  <a:pt x="231" y="361"/>
                </a:cubicBezTo>
                <a:cubicBezTo>
                  <a:pt x="232" y="362"/>
                  <a:pt x="232" y="362"/>
                  <a:pt x="232" y="362"/>
                </a:cubicBezTo>
                <a:cubicBezTo>
                  <a:pt x="233" y="362"/>
                  <a:pt x="233" y="362"/>
                  <a:pt x="233" y="362"/>
                </a:cubicBezTo>
                <a:cubicBezTo>
                  <a:pt x="234" y="360"/>
                  <a:pt x="234" y="360"/>
                  <a:pt x="234" y="360"/>
                </a:cubicBezTo>
                <a:cubicBezTo>
                  <a:pt x="233" y="358"/>
                  <a:pt x="233" y="358"/>
                  <a:pt x="233" y="358"/>
                </a:cubicBezTo>
                <a:cubicBezTo>
                  <a:pt x="231" y="358"/>
                  <a:pt x="231" y="358"/>
                  <a:pt x="231" y="358"/>
                </a:cubicBezTo>
                <a:cubicBezTo>
                  <a:pt x="230" y="358"/>
                  <a:pt x="230" y="358"/>
                  <a:pt x="230" y="358"/>
                </a:cubicBezTo>
                <a:cubicBezTo>
                  <a:pt x="231" y="357"/>
                  <a:pt x="231" y="357"/>
                  <a:pt x="231" y="357"/>
                </a:cubicBezTo>
                <a:cubicBezTo>
                  <a:pt x="232" y="357"/>
                  <a:pt x="232" y="357"/>
                  <a:pt x="232" y="357"/>
                </a:cubicBezTo>
                <a:cubicBezTo>
                  <a:pt x="233" y="357"/>
                  <a:pt x="233" y="357"/>
                  <a:pt x="233" y="357"/>
                </a:cubicBezTo>
                <a:cubicBezTo>
                  <a:pt x="234" y="355"/>
                  <a:pt x="234" y="355"/>
                  <a:pt x="234" y="355"/>
                </a:cubicBezTo>
                <a:cubicBezTo>
                  <a:pt x="235" y="354"/>
                  <a:pt x="235" y="354"/>
                  <a:pt x="235" y="354"/>
                </a:cubicBezTo>
                <a:cubicBezTo>
                  <a:pt x="235" y="353"/>
                  <a:pt x="235" y="353"/>
                  <a:pt x="235" y="353"/>
                </a:cubicBezTo>
                <a:close/>
                <a:moveTo>
                  <a:pt x="75" y="486"/>
                </a:moveTo>
                <a:cubicBezTo>
                  <a:pt x="74" y="484"/>
                  <a:pt x="74" y="484"/>
                  <a:pt x="74" y="484"/>
                </a:cubicBezTo>
                <a:cubicBezTo>
                  <a:pt x="74" y="484"/>
                  <a:pt x="74" y="484"/>
                  <a:pt x="74" y="484"/>
                </a:cubicBezTo>
                <a:cubicBezTo>
                  <a:pt x="74" y="482"/>
                  <a:pt x="74" y="482"/>
                  <a:pt x="74" y="482"/>
                </a:cubicBezTo>
                <a:cubicBezTo>
                  <a:pt x="73" y="482"/>
                  <a:pt x="73" y="482"/>
                  <a:pt x="73" y="482"/>
                </a:cubicBezTo>
                <a:cubicBezTo>
                  <a:pt x="72" y="483"/>
                  <a:pt x="72" y="483"/>
                  <a:pt x="72" y="483"/>
                </a:cubicBezTo>
                <a:cubicBezTo>
                  <a:pt x="72" y="485"/>
                  <a:pt x="72" y="485"/>
                  <a:pt x="72" y="485"/>
                </a:cubicBezTo>
                <a:cubicBezTo>
                  <a:pt x="73" y="486"/>
                  <a:pt x="73" y="486"/>
                  <a:pt x="73" y="486"/>
                </a:cubicBezTo>
                <a:cubicBezTo>
                  <a:pt x="74" y="487"/>
                  <a:pt x="74" y="487"/>
                  <a:pt x="74" y="487"/>
                </a:cubicBezTo>
                <a:cubicBezTo>
                  <a:pt x="75" y="487"/>
                  <a:pt x="75" y="487"/>
                  <a:pt x="75" y="487"/>
                </a:cubicBezTo>
                <a:cubicBezTo>
                  <a:pt x="75" y="486"/>
                  <a:pt x="75" y="486"/>
                  <a:pt x="75" y="486"/>
                </a:cubicBezTo>
                <a:close/>
                <a:moveTo>
                  <a:pt x="130" y="451"/>
                </a:moveTo>
                <a:cubicBezTo>
                  <a:pt x="131" y="451"/>
                  <a:pt x="131" y="451"/>
                  <a:pt x="131" y="451"/>
                </a:cubicBezTo>
                <a:cubicBezTo>
                  <a:pt x="131" y="450"/>
                  <a:pt x="131" y="450"/>
                  <a:pt x="131" y="450"/>
                </a:cubicBezTo>
                <a:cubicBezTo>
                  <a:pt x="130" y="449"/>
                  <a:pt x="130" y="449"/>
                  <a:pt x="130" y="449"/>
                </a:cubicBezTo>
                <a:cubicBezTo>
                  <a:pt x="129" y="449"/>
                  <a:pt x="129" y="449"/>
                  <a:pt x="129" y="449"/>
                </a:cubicBezTo>
                <a:cubicBezTo>
                  <a:pt x="129" y="450"/>
                  <a:pt x="129" y="450"/>
                  <a:pt x="129" y="450"/>
                </a:cubicBezTo>
                <a:cubicBezTo>
                  <a:pt x="130" y="451"/>
                  <a:pt x="130" y="451"/>
                  <a:pt x="130" y="451"/>
                </a:cubicBezTo>
                <a:close/>
                <a:moveTo>
                  <a:pt x="173" y="405"/>
                </a:moveTo>
                <a:cubicBezTo>
                  <a:pt x="175" y="405"/>
                  <a:pt x="175" y="405"/>
                  <a:pt x="175" y="405"/>
                </a:cubicBezTo>
                <a:cubicBezTo>
                  <a:pt x="178" y="402"/>
                  <a:pt x="178" y="402"/>
                  <a:pt x="178" y="402"/>
                </a:cubicBezTo>
                <a:cubicBezTo>
                  <a:pt x="180" y="400"/>
                  <a:pt x="180" y="400"/>
                  <a:pt x="180" y="400"/>
                </a:cubicBezTo>
                <a:cubicBezTo>
                  <a:pt x="180" y="396"/>
                  <a:pt x="180" y="396"/>
                  <a:pt x="180" y="396"/>
                </a:cubicBezTo>
                <a:cubicBezTo>
                  <a:pt x="181" y="395"/>
                  <a:pt x="181" y="395"/>
                  <a:pt x="181" y="395"/>
                </a:cubicBezTo>
                <a:cubicBezTo>
                  <a:pt x="182" y="397"/>
                  <a:pt x="182" y="397"/>
                  <a:pt x="182" y="397"/>
                </a:cubicBezTo>
                <a:cubicBezTo>
                  <a:pt x="181" y="400"/>
                  <a:pt x="181" y="400"/>
                  <a:pt x="181" y="400"/>
                </a:cubicBezTo>
                <a:cubicBezTo>
                  <a:pt x="183" y="397"/>
                  <a:pt x="183" y="397"/>
                  <a:pt x="183" y="397"/>
                </a:cubicBezTo>
                <a:cubicBezTo>
                  <a:pt x="183" y="395"/>
                  <a:pt x="183" y="395"/>
                  <a:pt x="183" y="395"/>
                </a:cubicBezTo>
                <a:cubicBezTo>
                  <a:pt x="181" y="392"/>
                  <a:pt x="181" y="392"/>
                  <a:pt x="181" y="392"/>
                </a:cubicBezTo>
                <a:cubicBezTo>
                  <a:pt x="173" y="389"/>
                  <a:pt x="173" y="389"/>
                  <a:pt x="173" y="389"/>
                </a:cubicBezTo>
                <a:cubicBezTo>
                  <a:pt x="170" y="388"/>
                  <a:pt x="170" y="388"/>
                  <a:pt x="170" y="388"/>
                </a:cubicBezTo>
                <a:cubicBezTo>
                  <a:pt x="167" y="390"/>
                  <a:pt x="167" y="390"/>
                  <a:pt x="167" y="390"/>
                </a:cubicBezTo>
                <a:cubicBezTo>
                  <a:pt x="166" y="394"/>
                  <a:pt x="166" y="394"/>
                  <a:pt x="166" y="394"/>
                </a:cubicBezTo>
                <a:cubicBezTo>
                  <a:pt x="166" y="400"/>
                  <a:pt x="166" y="400"/>
                  <a:pt x="166" y="400"/>
                </a:cubicBezTo>
                <a:cubicBezTo>
                  <a:pt x="167" y="402"/>
                  <a:pt x="167" y="402"/>
                  <a:pt x="167" y="402"/>
                </a:cubicBezTo>
                <a:cubicBezTo>
                  <a:pt x="168" y="405"/>
                  <a:pt x="168" y="405"/>
                  <a:pt x="168" y="405"/>
                </a:cubicBezTo>
                <a:cubicBezTo>
                  <a:pt x="169" y="404"/>
                  <a:pt x="169" y="404"/>
                  <a:pt x="169" y="404"/>
                </a:cubicBezTo>
                <a:cubicBezTo>
                  <a:pt x="170" y="405"/>
                  <a:pt x="170" y="405"/>
                  <a:pt x="170" y="405"/>
                </a:cubicBezTo>
                <a:cubicBezTo>
                  <a:pt x="170" y="406"/>
                  <a:pt x="170" y="406"/>
                  <a:pt x="170" y="406"/>
                </a:cubicBezTo>
                <a:cubicBezTo>
                  <a:pt x="171" y="406"/>
                  <a:pt x="171" y="406"/>
                  <a:pt x="171" y="406"/>
                </a:cubicBezTo>
                <a:cubicBezTo>
                  <a:pt x="173" y="405"/>
                  <a:pt x="173" y="405"/>
                  <a:pt x="173" y="405"/>
                </a:cubicBezTo>
                <a:close/>
                <a:moveTo>
                  <a:pt x="192" y="409"/>
                </a:moveTo>
                <a:cubicBezTo>
                  <a:pt x="193" y="409"/>
                  <a:pt x="193" y="409"/>
                  <a:pt x="193" y="409"/>
                </a:cubicBezTo>
                <a:cubicBezTo>
                  <a:pt x="193" y="408"/>
                  <a:pt x="193" y="408"/>
                  <a:pt x="193" y="408"/>
                </a:cubicBezTo>
                <a:cubicBezTo>
                  <a:pt x="196" y="408"/>
                  <a:pt x="196" y="408"/>
                  <a:pt x="196" y="408"/>
                </a:cubicBezTo>
                <a:cubicBezTo>
                  <a:pt x="197" y="407"/>
                  <a:pt x="197" y="407"/>
                  <a:pt x="197" y="407"/>
                </a:cubicBezTo>
                <a:cubicBezTo>
                  <a:pt x="194" y="407"/>
                  <a:pt x="194" y="407"/>
                  <a:pt x="194" y="407"/>
                </a:cubicBezTo>
                <a:cubicBezTo>
                  <a:pt x="192" y="408"/>
                  <a:pt x="192" y="408"/>
                  <a:pt x="192" y="408"/>
                </a:cubicBezTo>
                <a:cubicBezTo>
                  <a:pt x="192" y="409"/>
                  <a:pt x="192" y="409"/>
                  <a:pt x="192" y="409"/>
                </a:cubicBezTo>
                <a:close/>
                <a:moveTo>
                  <a:pt x="223" y="408"/>
                </a:moveTo>
                <a:cubicBezTo>
                  <a:pt x="223" y="409"/>
                  <a:pt x="223" y="409"/>
                  <a:pt x="223" y="409"/>
                </a:cubicBezTo>
                <a:cubicBezTo>
                  <a:pt x="225" y="407"/>
                  <a:pt x="225" y="407"/>
                  <a:pt x="225" y="407"/>
                </a:cubicBezTo>
                <a:cubicBezTo>
                  <a:pt x="225" y="406"/>
                  <a:pt x="225" y="406"/>
                  <a:pt x="225" y="406"/>
                </a:cubicBezTo>
                <a:cubicBezTo>
                  <a:pt x="223" y="406"/>
                  <a:pt x="223" y="406"/>
                  <a:pt x="223" y="406"/>
                </a:cubicBezTo>
                <a:cubicBezTo>
                  <a:pt x="223" y="407"/>
                  <a:pt x="223" y="407"/>
                  <a:pt x="223" y="407"/>
                </a:cubicBezTo>
                <a:cubicBezTo>
                  <a:pt x="223" y="408"/>
                  <a:pt x="223" y="408"/>
                  <a:pt x="223" y="408"/>
                </a:cubicBezTo>
                <a:close/>
                <a:moveTo>
                  <a:pt x="219" y="409"/>
                </a:moveTo>
                <a:cubicBezTo>
                  <a:pt x="220" y="409"/>
                  <a:pt x="220" y="409"/>
                  <a:pt x="220" y="409"/>
                </a:cubicBezTo>
                <a:cubicBezTo>
                  <a:pt x="221" y="408"/>
                  <a:pt x="221" y="408"/>
                  <a:pt x="221" y="408"/>
                </a:cubicBezTo>
                <a:cubicBezTo>
                  <a:pt x="220" y="407"/>
                  <a:pt x="220" y="407"/>
                  <a:pt x="220" y="407"/>
                </a:cubicBezTo>
                <a:cubicBezTo>
                  <a:pt x="219" y="407"/>
                  <a:pt x="219" y="407"/>
                  <a:pt x="219" y="407"/>
                </a:cubicBezTo>
                <a:cubicBezTo>
                  <a:pt x="219" y="409"/>
                  <a:pt x="219" y="409"/>
                  <a:pt x="219" y="409"/>
                </a:cubicBezTo>
                <a:close/>
                <a:moveTo>
                  <a:pt x="244" y="398"/>
                </a:moveTo>
                <a:cubicBezTo>
                  <a:pt x="245" y="398"/>
                  <a:pt x="245" y="398"/>
                  <a:pt x="245" y="398"/>
                </a:cubicBezTo>
                <a:cubicBezTo>
                  <a:pt x="246" y="397"/>
                  <a:pt x="246" y="397"/>
                  <a:pt x="246" y="397"/>
                </a:cubicBezTo>
                <a:cubicBezTo>
                  <a:pt x="249" y="396"/>
                  <a:pt x="249" y="396"/>
                  <a:pt x="249" y="396"/>
                </a:cubicBezTo>
                <a:cubicBezTo>
                  <a:pt x="250" y="395"/>
                  <a:pt x="250" y="395"/>
                  <a:pt x="250" y="395"/>
                </a:cubicBezTo>
                <a:cubicBezTo>
                  <a:pt x="248" y="395"/>
                  <a:pt x="248" y="395"/>
                  <a:pt x="248" y="395"/>
                </a:cubicBezTo>
                <a:cubicBezTo>
                  <a:pt x="245" y="396"/>
                  <a:pt x="245" y="396"/>
                  <a:pt x="245" y="396"/>
                </a:cubicBezTo>
                <a:cubicBezTo>
                  <a:pt x="244" y="398"/>
                  <a:pt x="244" y="398"/>
                  <a:pt x="244" y="398"/>
                </a:cubicBezTo>
                <a:close/>
                <a:moveTo>
                  <a:pt x="234" y="396"/>
                </a:moveTo>
                <a:cubicBezTo>
                  <a:pt x="235" y="397"/>
                  <a:pt x="235" y="397"/>
                  <a:pt x="235" y="397"/>
                </a:cubicBezTo>
                <a:cubicBezTo>
                  <a:pt x="236" y="397"/>
                  <a:pt x="236" y="397"/>
                  <a:pt x="236" y="397"/>
                </a:cubicBezTo>
                <a:cubicBezTo>
                  <a:pt x="236" y="396"/>
                  <a:pt x="236" y="396"/>
                  <a:pt x="236" y="396"/>
                </a:cubicBezTo>
                <a:cubicBezTo>
                  <a:pt x="235" y="395"/>
                  <a:pt x="235" y="395"/>
                  <a:pt x="235" y="395"/>
                </a:cubicBezTo>
                <a:cubicBezTo>
                  <a:pt x="234" y="396"/>
                  <a:pt x="234" y="396"/>
                  <a:pt x="234" y="396"/>
                </a:cubicBezTo>
                <a:close/>
                <a:moveTo>
                  <a:pt x="227" y="395"/>
                </a:moveTo>
                <a:cubicBezTo>
                  <a:pt x="229" y="396"/>
                  <a:pt x="229" y="396"/>
                  <a:pt x="229" y="396"/>
                </a:cubicBezTo>
                <a:cubicBezTo>
                  <a:pt x="230" y="397"/>
                  <a:pt x="230" y="397"/>
                  <a:pt x="230" y="397"/>
                </a:cubicBezTo>
                <a:cubicBezTo>
                  <a:pt x="232" y="397"/>
                  <a:pt x="232" y="397"/>
                  <a:pt x="232" y="397"/>
                </a:cubicBezTo>
                <a:cubicBezTo>
                  <a:pt x="231" y="395"/>
                  <a:pt x="231" y="395"/>
                  <a:pt x="231" y="395"/>
                </a:cubicBezTo>
                <a:cubicBezTo>
                  <a:pt x="229" y="394"/>
                  <a:pt x="229" y="394"/>
                  <a:pt x="229" y="394"/>
                </a:cubicBezTo>
                <a:cubicBezTo>
                  <a:pt x="227" y="395"/>
                  <a:pt x="227" y="395"/>
                  <a:pt x="227" y="395"/>
                </a:cubicBezTo>
                <a:close/>
                <a:moveTo>
                  <a:pt x="224" y="396"/>
                </a:moveTo>
                <a:cubicBezTo>
                  <a:pt x="224" y="396"/>
                  <a:pt x="224" y="396"/>
                  <a:pt x="224" y="396"/>
                </a:cubicBezTo>
                <a:cubicBezTo>
                  <a:pt x="226" y="396"/>
                  <a:pt x="226" y="396"/>
                  <a:pt x="226" y="396"/>
                </a:cubicBezTo>
                <a:cubicBezTo>
                  <a:pt x="226" y="395"/>
                  <a:pt x="226" y="395"/>
                  <a:pt x="226" y="395"/>
                </a:cubicBezTo>
                <a:cubicBezTo>
                  <a:pt x="225" y="395"/>
                  <a:pt x="225" y="395"/>
                  <a:pt x="225" y="395"/>
                </a:cubicBezTo>
                <a:cubicBezTo>
                  <a:pt x="224" y="396"/>
                  <a:pt x="224" y="396"/>
                  <a:pt x="224" y="396"/>
                </a:cubicBezTo>
                <a:close/>
                <a:moveTo>
                  <a:pt x="452" y="326"/>
                </a:moveTo>
                <a:cubicBezTo>
                  <a:pt x="452" y="329"/>
                  <a:pt x="452" y="329"/>
                  <a:pt x="452" y="329"/>
                </a:cubicBezTo>
                <a:cubicBezTo>
                  <a:pt x="453" y="330"/>
                  <a:pt x="453" y="330"/>
                  <a:pt x="453" y="330"/>
                </a:cubicBezTo>
                <a:cubicBezTo>
                  <a:pt x="453" y="328"/>
                  <a:pt x="453" y="328"/>
                  <a:pt x="453" y="328"/>
                </a:cubicBezTo>
                <a:cubicBezTo>
                  <a:pt x="453" y="326"/>
                  <a:pt x="453" y="326"/>
                  <a:pt x="453" y="326"/>
                </a:cubicBezTo>
                <a:cubicBezTo>
                  <a:pt x="452" y="326"/>
                  <a:pt x="452" y="326"/>
                  <a:pt x="452" y="326"/>
                </a:cubicBezTo>
                <a:close/>
                <a:moveTo>
                  <a:pt x="448" y="320"/>
                </a:moveTo>
                <a:cubicBezTo>
                  <a:pt x="448" y="324"/>
                  <a:pt x="448" y="324"/>
                  <a:pt x="448" y="324"/>
                </a:cubicBezTo>
                <a:cubicBezTo>
                  <a:pt x="449" y="326"/>
                  <a:pt x="449" y="326"/>
                  <a:pt x="449" y="326"/>
                </a:cubicBezTo>
                <a:cubicBezTo>
                  <a:pt x="448" y="329"/>
                  <a:pt x="448" y="329"/>
                  <a:pt x="448" y="329"/>
                </a:cubicBezTo>
                <a:cubicBezTo>
                  <a:pt x="449" y="330"/>
                  <a:pt x="449" y="330"/>
                  <a:pt x="449" y="330"/>
                </a:cubicBezTo>
                <a:cubicBezTo>
                  <a:pt x="450" y="328"/>
                  <a:pt x="450" y="328"/>
                  <a:pt x="450" y="328"/>
                </a:cubicBezTo>
                <a:cubicBezTo>
                  <a:pt x="450" y="322"/>
                  <a:pt x="450" y="322"/>
                  <a:pt x="450" y="322"/>
                </a:cubicBezTo>
                <a:cubicBezTo>
                  <a:pt x="448" y="320"/>
                  <a:pt x="448" y="320"/>
                  <a:pt x="448" y="320"/>
                </a:cubicBezTo>
                <a:cubicBezTo>
                  <a:pt x="448" y="320"/>
                  <a:pt x="448" y="320"/>
                  <a:pt x="448" y="320"/>
                </a:cubicBezTo>
                <a:close/>
                <a:moveTo>
                  <a:pt x="445" y="316"/>
                </a:moveTo>
                <a:cubicBezTo>
                  <a:pt x="446" y="318"/>
                  <a:pt x="446" y="318"/>
                  <a:pt x="446" y="318"/>
                </a:cubicBezTo>
                <a:cubicBezTo>
                  <a:pt x="447" y="319"/>
                  <a:pt x="447" y="319"/>
                  <a:pt x="447" y="319"/>
                </a:cubicBezTo>
                <a:cubicBezTo>
                  <a:pt x="447" y="317"/>
                  <a:pt x="447" y="317"/>
                  <a:pt x="447" y="317"/>
                </a:cubicBezTo>
                <a:cubicBezTo>
                  <a:pt x="446" y="315"/>
                  <a:pt x="446" y="315"/>
                  <a:pt x="446" y="315"/>
                </a:cubicBezTo>
                <a:cubicBezTo>
                  <a:pt x="445" y="316"/>
                  <a:pt x="445" y="316"/>
                  <a:pt x="445" y="316"/>
                </a:cubicBezTo>
                <a:close/>
                <a:moveTo>
                  <a:pt x="251" y="380"/>
                </a:moveTo>
                <a:cubicBezTo>
                  <a:pt x="252" y="380"/>
                  <a:pt x="252" y="380"/>
                  <a:pt x="252" y="380"/>
                </a:cubicBezTo>
                <a:cubicBezTo>
                  <a:pt x="252" y="378"/>
                  <a:pt x="252" y="378"/>
                  <a:pt x="252" y="378"/>
                </a:cubicBezTo>
                <a:cubicBezTo>
                  <a:pt x="251" y="377"/>
                  <a:pt x="251" y="377"/>
                  <a:pt x="251" y="377"/>
                </a:cubicBezTo>
                <a:cubicBezTo>
                  <a:pt x="251" y="380"/>
                  <a:pt x="251" y="380"/>
                  <a:pt x="251" y="380"/>
                </a:cubicBezTo>
                <a:close/>
                <a:moveTo>
                  <a:pt x="261" y="389"/>
                </a:moveTo>
                <a:cubicBezTo>
                  <a:pt x="261" y="388"/>
                  <a:pt x="262" y="387"/>
                  <a:pt x="262" y="387"/>
                </a:cubicBezTo>
                <a:cubicBezTo>
                  <a:pt x="261" y="387"/>
                  <a:pt x="261" y="387"/>
                  <a:pt x="261" y="387"/>
                </a:cubicBezTo>
                <a:cubicBezTo>
                  <a:pt x="261" y="389"/>
                  <a:pt x="261" y="389"/>
                  <a:pt x="261" y="389"/>
                </a:cubicBezTo>
                <a:close/>
                <a:moveTo>
                  <a:pt x="259" y="385"/>
                </a:moveTo>
                <a:cubicBezTo>
                  <a:pt x="259" y="383"/>
                  <a:pt x="259" y="383"/>
                  <a:pt x="259" y="383"/>
                </a:cubicBezTo>
                <a:cubicBezTo>
                  <a:pt x="256" y="381"/>
                  <a:pt x="256" y="381"/>
                  <a:pt x="256" y="381"/>
                </a:cubicBezTo>
                <a:cubicBezTo>
                  <a:pt x="254" y="380"/>
                  <a:pt x="254" y="380"/>
                  <a:pt x="254" y="380"/>
                </a:cubicBezTo>
                <a:cubicBezTo>
                  <a:pt x="254" y="381"/>
                  <a:pt x="254" y="381"/>
                  <a:pt x="254" y="381"/>
                </a:cubicBezTo>
                <a:cubicBezTo>
                  <a:pt x="256" y="383"/>
                  <a:pt x="256" y="383"/>
                  <a:pt x="256" y="383"/>
                </a:cubicBezTo>
                <a:cubicBezTo>
                  <a:pt x="259" y="385"/>
                  <a:pt x="259" y="385"/>
                  <a:pt x="259" y="385"/>
                </a:cubicBezTo>
                <a:close/>
                <a:moveTo>
                  <a:pt x="265" y="375"/>
                </a:moveTo>
                <a:cubicBezTo>
                  <a:pt x="266" y="373"/>
                  <a:pt x="266" y="373"/>
                  <a:pt x="266" y="373"/>
                </a:cubicBezTo>
                <a:cubicBezTo>
                  <a:pt x="265" y="370"/>
                  <a:pt x="265" y="370"/>
                  <a:pt x="265" y="370"/>
                </a:cubicBezTo>
                <a:cubicBezTo>
                  <a:pt x="261" y="367"/>
                  <a:pt x="261" y="367"/>
                  <a:pt x="261" y="367"/>
                </a:cubicBezTo>
                <a:cubicBezTo>
                  <a:pt x="259" y="364"/>
                  <a:pt x="259" y="364"/>
                  <a:pt x="259" y="364"/>
                </a:cubicBezTo>
                <a:cubicBezTo>
                  <a:pt x="257" y="364"/>
                  <a:pt x="257" y="364"/>
                  <a:pt x="257" y="364"/>
                </a:cubicBezTo>
                <a:cubicBezTo>
                  <a:pt x="254" y="362"/>
                  <a:pt x="254" y="362"/>
                  <a:pt x="254" y="362"/>
                </a:cubicBezTo>
                <a:cubicBezTo>
                  <a:pt x="252" y="361"/>
                  <a:pt x="252" y="361"/>
                  <a:pt x="252" y="361"/>
                </a:cubicBezTo>
                <a:cubicBezTo>
                  <a:pt x="252" y="359"/>
                  <a:pt x="252" y="359"/>
                  <a:pt x="252" y="359"/>
                </a:cubicBezTo>
                <a:cubicBezTo>
                  <a:pt x="249" y="357"/>
                  <a:pt x="249" y="357"/>
                  <a:pt x="249" y="357"/>
                </a:cubicBezTo>
                <a:cubicBezTo>
                  <a:pt x="247" y="357"/>
                  <a:pt x="247" y="357"/>
                  <a:pt x="247" y="357"/>
                </a:cubicBezTo>
                <a:cubicBezTo>
                  <a:pt x="246" y="358"/>
                  <a:pt x="246" y="358"/>
                  <a:pt x="246" y="358"/>
                </a:cubicBezTo>
                <a:cubicBezTo>
                  <a:pt x="246" y="359"/>
                  <a:pt x="246" y="359"/>
                  <a:pt x="246" y="359"/>
                </a:cubicBezTo>
                <a:cubicBezTo>
                  <a:pt x="245" y="360"/>
                  <a:pt x="245" y="360"/>
                  <a:pt x="245" y="360"/>
                </a:cubicBezTo>
                <a:cubicBezTo>
                  <a:pt x="246" y="362"/>
                  <a:pt x="246" y="362"/>
                  <a:pt x="246" y="362"/>
                </a:cubicBezTo>
                <a:cubicBezTo>
                  <a:pt x="248" y="362"/>
                  <a:pt x="248" y="362"/>
                  <a:pt x="248" y="362"/>
                </a:cubicBezTo>
                <a:cubicBezTo>
                  <a:pt x="248" y="363"/>
                  <a:pt x="248" y="363"/>
                  <a:pt x="248" y="363"/>
                </a:cubicBezTo>
                <a:cubicBezTo>
                  <a:pt x="246" y="364"/>
                  <a:pt x="246" y="364"/>
                  <a:pt x="246" y="364"/>
                </a:cubicBezTo>
                <a:cubicBezTo>
                  <a:pt x="245" y="363"/>
                  <a:pt x="245" y="363"/>
                  <a:pt x="245" y="363"/>
                </a:cubicBezTo>
                <a:cubicBezTo>
                  <a:pt x="244" y="363"/>
                  <a:pt x="244" y="363"/>
                  <a:pt x="244" y="363"/>
                </a:cubicBezTo>
                <a:cubicBezTo>
                  <a:pt x="245" y="364"/>
                  <a:pt x="245" y="364"/>
                  <a:pt x="245" y="364"/>
                </a:cubicBezTo>
                <a:cubicBezTo>
                  <a:pt x="249" y="369"/>
                  <a:pt x="249" y="369"/>
                  <a:pt x="249" y="369"/>
                </a:cubicBezTo>
                <a:cubicBezTo>
                  <a:pt x="251" y="370"/>
                  <a:pt x="251" y="370"/>
                  <a:pt x="251" y="370"/>
                </a:cubicBezTo>
                <a:cubicBezTo>
                  <a:pt x="252" y="372"/>
                  <a:pt x="252" y="372"/>
                  <a:pt x="252" y="372"/>
                </a:cubicBezTo>
                <a:cubicBezTo>
                  <a:pt x="253" y="372"/>
                  <a:pt x="253" y="372"/>
                  <a:pt x="253" y="372"/>
                </a:cubicBezTo>
                <a:cubicBezTo>
                  <a:pt x="253" y="369"/>
                  <a:pt x="253" y="369"/>
                  <a:pt x="253" y="369"/>
                </a:cubicBezTo>
                <a:cubicBezTo>
                  <a:pt x="255" y="370"/>
                  <a:pt x="255" y="370"/>
                  <a:pt x="255" y="370"/>
                </a:cubicBezTo>
                <a:cubicBezTo>
                  <a:pt x="257" y="370"/>
                  <a:pt x="257" y="370"/>
                  <a:pt x="257" y="370"/>
                </a:cubicBezTo>
                <a:cubicBezTo>
                  <a:pt x="257" y="371"/>
                  <a:pt x="257" y="371"/>
                  <a:pt x="257" y="371"/>
                </a:cubicBezTo>
                <a:cubicBezTo>
                  <a:pt x="258" y="373"/>
                  <a:pt x="258" y="373"/>
                  <a:pt x="258" y="373"/>
                </a:cubicBezTo>
                <a:cubicBezTo>
                  <a:pt x="257" y="374"/>
                  <a:pt x="257" y="374"/>
                  <a:pt x="257" y="374"/>
                </a:cubicBezTo>
                <a:cubicBezTo>
                  <a:pt x="259" y="376"/>
                  <a:pt x="259" y="376"/>
                  <a:pt x="259" y="376"/>
                </a:cubicBezTo>
                <a:cubicBezTo>
                  <a:pt x="261" y="376"/>
                  <a:pt x="261" y="376"/>
                  <a:pt x="261" y="376"/>
                </a:cubicBezTo>
                <a:cubicBezTo>
                  <a:pt x="263" y="375"/>
                  <a:pt x="263" y="375"/>
                  <a:pt x="263" y="375"/>
                </a:cubicBezTo>
                <a:cubicBezTo>
                  <a:pt x="265" y="375"/>
                  <a:pt x="265" y="375"/>
                  <a:pt x="265" y="375"/>
                </a:cubicBezTo>
                <a:close/>
                <a:moveTo>
                  <a:pt x="315" y="285"/>
                </a:moveTo>
                <a:cubicBezTo>
                  <a:pt x="316" y="285"/>
                  <a:pt x="316" y="285"/>
                  <a:pt x="316" y="285"/>
                </a:cubicBezTo>
                <a:cubicBezTo>
                  <a:pt x="316" y="284"/>
                  <a:pt x="316" y="284"/>
                  <a:pt x="316" y="284"/>
                </a:cubicBezTo>
                <a:cubicBezTo>
                  <a:pt x="316" y="282"/>
                  <a:pt x="316" y="282"/>
                  <a:pt x="316" y="282"/>
                </a:cubicBezTo>
                <a:cubicBezTo>
                  <a:pt x="317" y="282"/>
                  <a:pt x="317" y="282"/>
                  <a:pt x="317" y="282"/>
                </a:cubicBezTo>
                <a:cubicBezTo>
                  <a:pt x="318" y="284"/>
                  <a:pt x="318" y="284"/>
                  <a:pt x="318" y="284"/>
                </a:cubicBezTo>
                <a:cubicBezTo>
                  <a:pt x="319" y="284"/>
                  <a:pt x="319" y="284"/>
                  <a:pt x="319" y="284"/>
                </a:cubicBezTo>
                <a:cubicBezTo>
                  <a:pt x="320" y="284"/>
                  <a:pt x="320" y="284"/>
                  <a:pt x="320" y="284"/>
                </a:cubicBezTo>
                <a:cubicBezTo>
                  <a:pt x="322" y="284"/>
                  <a:pt x="322" y="284"/>
                  <a:pt x="322" y="284"/>
                </a:cubicBezTo>
                <a:cubicBezTo>
                  <a:pt x="322" y="282"/>
                  <a:pt x="322" y="282"/>
                  <a:pt x="322" y="282"/>
                </a:cubicBezTo>
                <a:cubicBezTo>
                  <a:pt x="324" y="280"/>
                  <a:pt x="324" y="280"/>
                  <a:pt x="324" y="280"/>
                </a:cubicBezTo>
                <a:cubicBezTo>
                  <a:pt x="326" y="280"/>
                  <a:pt x="326" y="280"/>
                  <a:pt x="326" y="280"/>
                </a:cubicBezTo>
                <a:cubicBezTo>
                  <a:pt x="327" y="278"/>
                  <a:pt x="327" y="278"/>
                  <a:pt x="327" y="278"/>
                </a:cubicBezTo>
                <a:cubicBezTo>
                  <a:pt x="326" y="276"/>
                  <a:pt x="326" y="276"/>
                  <a:pt x="326" y="276"/>
                </a:cubicBezTo>
                <a:cubicBezTo>
                  <a:pt x="323" y="275"/>
                  <a:pt x="323" y="275"/>
                  <a:pt x="323" y="275"/>
                </a:cubicBezTo>
                <a:cubicBezTo>
                  <a:pt x="322" y="273"/>
                  <a:pt x="322" y="273"/>
                  <a:pt x="322" y="273"/>
                </a:cubicBezTo>
                <a:cubicBezTo>
                  <a:pt x="321" y="271"/>
                  <a:pt x="321" y="271"/>
                  <a:pt x="321" y="271"/>
                </a:cubicBezTo>
                <a:cubicBezTo>
                  <a:pt x="319" y="270"/>
                  <a:pt x="319" y="270"/>
                  <a:pt x="319" y="270"/>
                </a:cubicBezTo>
                <a:cubicBezTo>
                  <a:pt x="318" y="271"/>
                  <a:pt x="318" y="271"/>
                  <a:pt x="318" y="271"/>
                </a:cubicBezTo>
                <a:cubicBezTo>
                  <a:pt x="316" y="273"/>
                  <a:pt x="316" y="273"/>
                  <a:pt x="316" y="273"/>
                </a:cubicBezTo>
                <a:cubicBezTo>
                  <a:pt x="314" y="273"/>
                  <a:pt x="314" y="273"/>
                  <a:pt x="314" y="273"/>
                </a:cubicBezTo>
                <a:cubicBezTo>
                  <a:pt x="312" y="274"/>
                  <a:pt x="312" y="274"/>
                  <a:pt x="312" y="274"/>
                </a:cubicBezTo>
                <a:cubicBezTo>
                  <a:pt x="312" y="276"/>
                  <a:pt x="312" y="276"/>
                  <a:pt x="312" y="276"/>
                </a:cubicBezTo>
                <a:cubicBezTo>
                  <a:pt x="314" y="278"/>
                  <a:pt x="314" y="278"/>
                  <a:pt x="314" y="278"/>
                </a:cubicBezTo>
                <a:cubicBezTo>
                  <a:pt x="314" y="280"/>
                  <a:pt x="314" y="280"/>
                  <a:pt x="314" y="280"/>
                </a:cubicBezTo>
                <a:cubicBezTo>
                  <a:pt x="314" y="283"/>
                  <a:pt x="314" y="283"/>
                  <a:pt x="314" y="283"/>
                </a:cubicBezTo>
                <a:cubicBezTo>
                  <a:pt x="315" y="285"/>
                  <a:pt x="315" y="285"/>
                  <a:pt x="315" y="285"/>
                </a:cubicBezTo>
                <a:close/>
                <a:moveTo>
                  <a:pt x="322" y="374"/>
                </a:moveTo>
                <a:cubicBezTo>
                  <a:pt x="322" y="374"/>
                  <a:pt x="322" y="375"/>
                  <a:pt x="322" y="375"/>
                </a:cubicBezTo>
                <a:cubicBezTo>
                  <a:pt x="324" y="376"/>
                  <a:pt x="324" y="376"/>
                  <a:pt x="324" y="376"/>
                </a:cubicBezTo>
                <a:cubicBezTo>
                  <a:pt x="325" y="374"/>
                  <a:pt x="325" y="374"/>
                  <a:pt x="325" y="374"/>
                </a:cubicBezTo>
                <a:cubicBezTo>
                  <a:pt x="325" y="373"/>
                  <a:pt x="325" y="373"/>
                  <a:pt x="325" y="373"/>
                </a:cubicBezTo>
                <a:cubicBezTo>
                  <a:pt x="324" y="371"/>
                  <a:pt x="324" y="371"/>
                  <a:pt x="324" y="371"/>
                </a:cubicBezTo>
                <a:cubicBezTo>
                  <a:pt x="322" y="372"/>
                  <a:pt x="322" y="372"/>
                  <a:pt x="322" y="372"/>
                </a:cubicBezTo>
                <a:cubicBezTo>
                  <a:pt x="322" y="373"/>
                  <a:pt x="322" y="373"/>
                  <a:pt x="322" y="373"/>
                </a:cubicBezTo>
                <a:cubicBezTo>
                  <a:pt x="322" y="374"/>
                  <a:pt x="322" y="374"/>
                  <a:pt x="322" y="374"/>
                </a:cubicBezTo>
                <a:close/>
                <a:moveTo>
                  <a:pt x="362" y="425"/>
                </a:moveTo>
                <a:cubicBezTo>
                  <a:pt x="362" y="426"/>
                  <a:pt x="362" y="426"/>
                  <a:pt x="362" y="426"/>
                </a:cubicBezTo>
                <a:cubicBezTo>
                  <a:pt x="363" y="426"/>
                  <a:pt x="363" y="426"/>
                  <a:pt x="363" y="426"/>
                </a:cubicBezTo>
                <a:cubicBezTo>
                  <a:pt x="363" y="428"/>
                  <a:pt x="363" y="428"/>
                  <a:pt x="363" y="428"/>
                </a:cubicBezTo>
                <a:cubicBezTo>
                  <a:pt x="366" y="429"/>
                  <a:pt x="366" y="429"/>
                  <a:pt x="366" y="429"/>
                </a:cubicBezTo>
                <a:cubicBezTo>
                  <a:pt x="368" y="428"/>
                  <a:pt x="368" y="428"/>
                  <a:pt x="368" y="428"/>
                </a:cubicBezTo>
                <a:cubicBezTo>
                  <a:pt x="369" y="427"/>
                  <a:pt x="369" y="427"/>
                  <a:pt x="369" y="427"/>
                </a:cubicBezTo>
                <a:cubicBezTo>
                  <a:pt x="368" y="425"/>
                  <a:pt x="368" y="425"/>
                  <a:pt x="368" y="425"/>
                </a:cubicBezTo>
                <a:cubicBezTo>
                  <a:pt x="366" y="425"/>
                  <a:pt x="366" y="425"/>
                  <a:pt x="366" y="425"/>
                </a:cubicBezTo>
                <a:cubicBezTo>
                  <a:pt x="365" y="425"/>
                  <a:pt x="365" y="425"/>
                  <a:pt x="365" y="425"/>
                </a:cubicBezTo>
                <a:cubicBezTo>
                  <a:pt x="363" y="425"/>
                  <a:pt x="363" y="425"/>
                  <a:pt x="363" y="425"/>
                </a:cubicBezTo>
                <a:cubicBezTo>
                  <a:pt x="362" y="425"/>
                  <a:pt x="362" y="425"/>
                  <a:pt x="362" y="425"/>
                </a:cubicBezTo>
                <a:close/>
                <a:moveTo>
                  <a:pt x="354" y="283"/>
                </a:moveTo>
                <a:cubicBezTo>
                  <a:pt x="354" y="281"/>
                  <a:pt x="354" y="281"/>
                  <a:pt x="354" y="281"/>
                </a:cubicBezTo>
                <a:cubicBezTo>
                  <a:pt x="353" y="280"/>
                  <a:pt x="353" y="280"/>
                  <a:pt x="353" y="280"/>
                </a:cubicBezTo>
                <a:cubicBezTo>
                  <a:pt x="353" y="279"/>
                  <a:pt x="353" y="279"/>
                  <a:pt x="353" y="279"/>
                </a:cubicBezTo>
                <a:cubicBezTo>
                  <a:pt x="354" y="278"/>
                  <a:pt x="354" y="278"/>
                  <a:pt x="354" y="278"/>
                </a:cubicBezTo>
                <a:cubicBezTo>
                  <a:pt x="353" y="276"/>
                  <a:pt x="353" y="276"/>
                  <a:pt x="353" y="276"/>
                </a:cubicBezTo>
                <a:cubicBezTo>
                  <a:pt x="351" y="276"/>
                  <a:pt x="351" y="276"/>
                  <a:pt x="351" y="276"/>
                </a:cubicBezTo>
                <a:cubicBezTo>
                  <a:pt x="350" y="277"/>
                  <a:pt x="350" y="277"/>
                  <a:pt x="350" y="277"/>
                </a:cubicBezTo>
                <a:cubicBezTo>
                  <a:pt x="349" y="280"/>
                  <a:pt x="349" y="280"/>
                  <a:pt x="349" y="280"/>
                </a:cubicBezTo>
                <a:cubicBezTo>
                  <a:pt x="350" y="282"/>
                  <a:pt x="350" y="282"/>
                  <a:pt x="350" y="282"/>
                </a:cubicBezTo>
                <a:cubicBezTo>
                  <a:pt x="352" y="282"/>
                  <a:pt x="352" y="282"/>
                  <a:pt x="352" y="282"/>
                </a:cubicBezTo>
                <a:cubicBezTo>
                  <a:pt x="353" y="283"/>
                  <a:pt x="353" y="283"/>
                  <a:pt x="353" y="283"/>
                </a:cubicBezTo>
                <a:cubicBezTo>
                  <a:pt x="354" y="283"/>
                  <a:pt x="354" y="283"/>
                  <a:pt x="354" y="283"/>
                </a:cubicBezTo>
                <a:close/>
                <a:moveTo>
                  <a:pt x="351" y="268"/>
                </a:moveTo>
                <a:cubicBezTo>
                  <a:pt x="353" y="266"/>
                  <a:pt x="353" y="266"/>
                  <a:pt x="353" y="266"/>
                </a:cubicBezTo>
                <a:cubicBezTo>
                  <a:pt x="354" y="267"/>
                  <a:pt x="354" y="267"/>
                  <a:pt x="354" y="267"/>
                </a:cubicBezTo>
                <a:cubicBezTo>
                  <a:pt x="356" y="265"/>
                  <a:pt x="356" y="265"/>
                  <a:pt x="356" y="265"/>
                </a:cubicBezTo>
                <a:cubicBezTo>
                  <a:pt x="356" y="264"/>
                  <a:pt x="356" y="264"/>
                  <a:pt x="356" y="264"/>
                </a:cubicBezTo>
                <a:cubicBezTo>
                  <a:pt x="356" y="263"/>
                  <a:pt x="356" y="263"/>
                  <a:pt x="356" y="263"/>
                </a:cubicBezTo>
                <a:cubicBezTo>
                  <a:pt x="357" y="262"/>
                  <a:pt x="357" y="262"/>
                  <a:pt x="357" y="262"/>
                </a:cubicBezTo>
                <a:cubicBezTo>
                  <a:pt x="356" y="262"/>
                  <a:pt x="356" y="262"/>
                  <a:pt x="356" y="262"/>
                </a:cubicBezTo>
                <a:cubicBezTo>
                  <a:pt x="355" y="262"/>
                  <a:pt x="355" y="262"/>
                  <a:pt x="355" y="262"/>
                </a:cubicBezTo>
                <a:cubicBezTo>
                  <a:pt x="352" y="264"/>
                  <a:pt x="352" y="264"/>
                  <a:pt x="352" y="264"/>
                </a:cubicBezTo>
                <a:cubicBezTo>
                  <a:pt x="351" y="266"/>
                  <a:pt x="351" y="266"/>
                  <a:pt x="351" y="266"/>
                </a:cubicBezTo>
                <a:cubicBezTo>
                  <a:pt x="351" y="268"/>
                  <a:pt x="351" y="268"/>
                  <a:pt x="351" y="268"/>
                </a:cubicBezTo>
                <a:close/>
                <a:moveTo>
                  <a:pt x="360" y="270"/>
                </a:moveTo>
                <a:cubicBezTo>
                  <a:pt x="362" y="272"/>
                  <a:pt x="362" y="272"/>
                  <a:pt x="362" y="272"/>
                </a:cubicBezTo>
                <a:cubicBezTo>
                  <a:pt x="365" y="273"/>
                  <a:pt x="365" y="273"/>
                  <a:pt x="365" y="273"/>
                </a:cubicBezTo>
                <a:cubicBezTo>
                  <a:pt x="367" y="272"/>
                  <a:pt x="367" y="272"/>
                  <a:pt x="367" y="272"/>
                </a:cubicBezTo>
                <a:cubicBezTo>
                  <a:pt x="366" y="271"/>
                  <a:pt x="366" y="271"/>
                  <a:pt x="366" y="271"/>
                </a:cubicBezTo>
                <a:cubicBezTo>
                  <a:pt x="363" y="271"/>
                  <a:pt x="363" y="271"/>
                  <a:pt x="363" y="271"/>
                </a:cubicBezTo>
                <a:cubicBezTo>
                  <a:pt x="361" y="270"/>
                  <a:pt x="361" y="270"/>
                  <a:pt x="361" y="270"/>
                </a:cubicBezTo>
                <a:cubicBezTo>
                  <a:pt x="360" y="270"/>
                  <a:pt x="360" y="270"/>
                  <a:pt x="360" y="270"/>
                </a:cubicBezTo>
                <a:close/>
                <a:moveTo>
                  <a:pt x="381" y="286"/>
                </a:moveTo>
                <a:cubicBezTo>
                  <a:pt x="381" y="288"/>
                  <a:pt x="381" y="288"/>
                  <a:pt x="381" y="288"/>
                </a:cubicBezTo>
                <a:cubicBezTo>
                  <a:pt x="380" y="290"/>
                  <a:pt x="380" y="290"/>
                  <a:pt x="380" y="290"/>
                </a:cubicBezTo>
                <a:cubicBezTo>
                  <a:pt x="378" y="291"/>
                  <a:pt x="378" y="291"/>
                  <a:pt x="378" y="291"/>
                </a:cubicBezTo>
                <a:cubicBezTo>
                  <a:pt x="378" y="292"/>
                  <a:pt x="378" y="292"/>
                  <a:pt x="378" y="292"/>
                </a:cubicBezTo>
                <a:cubicBezTo>
                  <a:pt x="379" y="294"/>
                  <a:pt x="379" y="294"/>
                  <a:pt x="379" y="294"/>
                </a:cubicBezTo>
                <a:cubicBezTo>
                  <a:pt x="380" y="294"/>
                  <a:pt x="380" y="294"/>
                  <a:pt x="380" y="294"/>
                </a:cubicBezTo>
                <a:cubicBezTo>
                  <a:pt x="382" y="292"/>
                  <a:pt x="382" y="292"/>
                  <a:pt x="382" y="292"/>
                </a:cubicBezTo>
                <a:cubicBezTo>
                  <a:pt x="384" y="291"/>
                  <a:pt x="384" y="291"/>
                  <a:pt x="384" y="291"/>
                </a:cubicBezTo>
                <a:cubicBezTo>
                  <a:pt x="385" y="289"/>
                  <a:pt x="385" y="289"/>
                  <a:pt x="385" y="289"/>
                </a:cubicBezTo>
                <a:cubicBezTo>
                  <a:pt x="387" y="288"/>
                  <a:pt x="387" y="288"/>
                  <a:pt x="387" y="288"/>
                </a:cubicBezTo>
                <a:cubicBezTo>
                  <a:pt x="389" y="286"/>
                  <a:pt x="389" y="286"/>
                  <a:pt x="389" y="286"/>
                </a:cubicBezTo>
                <a:cubicBezTo>
                  <a:pt x="388" y="284"/>
                  <a:pt x="388" y="284"/>
                  <a:pt x="388" y="284"/>
                </a:cubicBezTo>
                <a:cubicBezTo>
                  <a:pt x="387" y="283"/>
                  <a:pt x="387" y="283"/>
                  <a:pt x="387" y="283"/>
                </a:cubicBezTo>
                <a:cubicBezTo>
                  <a:pt x="385" y="283"/>
                  <a:pt x="385" y="283"/>
                  <a:pt x="385" y="283"/>
                </a:cubicBezTo>
                <a:cubicBezTo>
                  <a:pt x="382" y="284"/>
                  <a:pt x="382" y="284"/>
                  <a:pt x="382" y="284"/>
                </a:cubicBezTo>
                <a:cubicBezTo>
                  <a:pt x="381" y="286"/>
                  <a:pt x="381" y="286"/>
                  <a:pt x="381" y="286"/>
                </a:cubicBezTo>
                <a:close/>
                <a:moveTo>
                  <a:pt x="388" y="266"/>
                </a:moveTo>
                <a:cubicBezTo>
                  <a:pt x="387" y="269"/>
                  <a:pt x="387" y="269"/>
                  <a:pt x="387" y="269"/>
                </a:cubicBezTo>
                <a:cubicBezTo>
                  <a:pt x="386" y="272"/>
                  <a:pt x="386" y="272"/>
                  <a:pt x="386" y="272"/>
                </a:cubicBezTo>
                <a:cubicBezTo>
                  <a:pt x="385" y="275"/>
                  <a:pt x="385" y="275"/>
                  <a:pt x="385" y="275"/>
                </a:cubicBezTo>
                <a:cubicBezTo>
                  <a:pt x="385" y="276"/>
                  <a:pt x="385" y="276"/>
                  <a:pt x="385" y="276"/>
                </a:cubicBezTo>
                <a:cubicBezTo>
                  <a:pt x="387" y="277"/>
                  <a:pt x="387" y="277"/>
                  <a:pt x="387" y="277"/>
                </a:cubicBezTo>
                <a:cubicBezTo>
                  <a:pt x="388" y="278"/>
                  <a:pt x="388" y="278"/>
                  <a:pt x="388" y="278"/>
                </a:cubicBezTo>
                <a:cubicBezTo>
                  <a:pt x="390" y="278"/>
                  <a:pt x="390" y="278"/>
                  <a:pt x="390" y="278"/>
                </a:cubicBezTo>
                <a:cubicBezTo>
                  <a:pt x="392" y="279"/>
                  <a:pt x="392" y="279"/>
                  <a:pt x="392" y="279"/>
                </a:cubicBezTo>
                <a:cubicBezTo>
                  <a:pt x="394" y="278"/>
                  <a:pt x="394" y="278"/>
                  <a:pt x="394" y="278"/>
                </a:cubicBezTo>
                <a:cubicBezTo>
                  <a:pt x="394" y="277"/>
                  <a:pt x="394" y="277"/>
                  <a:pt x="394" y="277"/>
                </a:cubicBezTo>
                <a:cubicBezTo>
                  <a:pt x="392" y="274"/>
                  <a:pt x="392" y="274"/>
                  <a:pt x="392" y="274"/>
                </a:cubicBezTo>
                <a:cubicBezTo>
                  <a:pt x="392" y="271"/>
                  <a:pt x="392" y="271"/>
                  <a:pt x="392" y="271"/>
                </a:cubicBezTo>
                <a:cubicBezTo>
                  <a:pt x="389" y="269"/>
                  <a:pt x="389" y="269"/>
                  <a:pt x="389" y="269"/>
                </a:cubicBezTo>
                <a:cubicBezTo>
                  <a:pt x="388" y="266"/>
                  <a:pt x="388" y="266"/>
                  <a:pt x="388" y="266"/>
                </a:cubicBezTo>
                <a:close/>
                <a:moveTo>
                  <a:pt x="374" y="231"/>
                </a:moveTo>
                <a:cubicBezTo>
                  <a:pt x="373" y="229"/>
                  <a:pt x="373" y="229"/>
                  <a:pt x="373" y="229"/>
                </a:cubicBezTo>
                <a:cubicBezTo>
                  <a:pt x="373" y="228"/>
                  <a:pt x="373" y="228"/>
                  <a:pt x="373" y="228"/>
                </a:cubicBezTo>
                <a:cubicBezTo>
                  <a:pt x="372" y="227"/>
                  <a:pt x="372" y="227"/>
                  <a:pt x="372" y="227"/>
                </a:cubicBezTo>
                <a:cubicBezTo>
                  <a:pt x="370" y="227"/>
                  <a:pt x="370" y="227"/>
                  <a:pt x="370" y="227"/>
                </a:cubicBezTo>
                <a:cubicBezTo>
                  <a:pt x="369" y="228"/>
                  <a:pt x="369" y="228"/>
                  <a:pt x="369" y="228"/>
                </a:cubicBezTo>
                <a:cubicBezTo>
                  <a:pt x="370" y="229"/>
                  <a:pt x="370" y="229"/>
                  <a:pt x="370" y="229"/>
                </a:cubicBezTo>
                <a:cubicBezTo>
                  <a:pt x="371" y="231"/>
                  <a:pt x="371" y="231"/>
                  <a:pt x="371" y="231"/>
                </a:cubicBezTo>
                <a:cubicBezTo>
                  <a:pt x="372" y="232"/>
                  <a:pt x="372" y="232"/>
                  <a:pt x="372" y="232"/>
                </a:cubicBezTo>
                <a:cubicBezTo>
                  <a:pt x="374" y="231"/>
                  <a:pt x="374" y="231"/>
                  <a:pt x="374" y="231"/>
                </a:cubicBezTo>
                <a:close/>
                <a:moveTo>
                  <a:pt x="380" y="204"/>
                </a:moveTo>
                <a:cubicBezTo>
                  <a:pt x="379" y="204"/>
                  <a:pt x="379" y="204"/>
                  <a:pt x="379" y="204"/>
                </a:cubicBezTo>
                <a:cubicBezTo>
                  <a:pt x="378" y="203"/>
                  <a:pt x="378" y="203"/>
                  <a:pt x="378" y="203"/>
                </a:cubicBezTo>
                <a:cubicBezTo>
                  <a:pt x="379" y="207"/>
                  <a:pt x="379" y="207"/>
                  <a:pt x="379" y="207"/>
                </a:cubicBezTo>
                <a:cubicBezTo>
                  <a:pt x="380" y="207"/>
                  <a:pt x="380" y="207"/>
                  <a:pt x="380" y="207"/>
                </a:cubicBezTo>
                <a:cubicBezTo>
                  <a:pt x="381" y="206"/>
                  <a:pt x="381" y="206"/>
                  <a:pt x="381" y="206"/>
                </a:cubicBezTo>
                <a:cubicBezTo>
                  <a:pt x="382" y="207"/>
                  <a:pt x="382" y="207"/>
                  <a:pt x="382" y="207"/>
                </a:cubicBezTo>
                <a:cubicBezTo>
                  <a:pt x="382" y="209"/>
                  <a:pt x="382" y="209"/>
                  <a:pt x="382" y="209"/>
                </a:cubicBezTo>
                <a:cubicBezTo>
                  <a:pt x="383" y="210"/>
                  <a:pt x="383" y="210"/>
                  <a:pt x="383" y="210"/>
                </a:cubicBezTo>
                <a:cubicBezTo>
                  <a:pt x="383" y="208"/>
                  <a:pt x="383" y="208"/>
                  <a:pt x="383" y="208"/>
                </a:cubicBezTo>
                <a:cubicBezTo>
                  <a:pt x="383" y="206"/>
                  <a:pt x="383" y="206"/>
                  <a:pt x="383" y="206"/>
                </a:cubicBezTo>
                <a:cubicBezTo>
                  <a:pt x="384" y="205"/>
                  <a:pt x="384" y="205"/>
                  <a:pt x="384" y="205"/>
                </a:cubicBezTo>
                <a:cubicBezTo>
                  <a:pt x="384" y="203"/>
                  <a:pt x="384" y="203"/>
                  <a:pt x="384" y="203"/>
                </a:cubicBezTo>
                <a:cubicBezTo>
                  <a:pt x="383" y="202"/>
                  <a:pt x="383" y="202"/>
                  <a:pt x="383" y="202"/>
                </a:cubicBezTo>
                <a:cubicBezTo>
                  <a:pt x="383" y="201"/>
                  <a:pt x="383" y="201"/>
                  <a:pt x="383" y="201"/>
                </a:cubicBezTo>
                <a:cubicBezTo>
                  <a:pt x="382" y="199"/>
                  <a:pt x="382" y="199"/>
                  <a:pt x="382" y="199"/>
                </a:cubicBezTo>
                <a:cubicBezTo>
                  <a:pt x="381" y="200"/>
                  <a:pt x="381" y="200"/>
                  <a:pt x="381" y="200"/>
                </a:cubicBezTo>
                <a:cubicBezTo>
                  <a:pt x="380" y="200"/>
                  <a:pt x="380" y="200"/>
                  <a:pt x="380" y="200"/>
                </a:cubicBezTo>
                <a:cubicBezTo>
                  <a:pt x="379" y="201"/>
                  <a:pt x="379" y="201"/>
                  <a:pt x="379" y="201"/>
                </a:cubicBezTo>
                <a:cubicBezTo>
                  <a:pt x="380" y="202"/>
                  <a:pt x="380" y="202"/>
                  <a:pt x="380" y="202"/>
                </a:cubicBezTo>
                <a:cubicBezTo>
                  <a:pt x="380" y="204"/>
                  <a:pt x="380" y="204"/>
                  <a:pt x="380" y="204"/>
                </a:cubicBezTo>
                <a:close/>
                <a:moveTo>
                  <a:pt x="377" y="191"/>
                </a:moveTo>
                <a:cubicBezTo>
                  <a:pt x="374" y="191"/>
                  <a:pt x="374" y="191"/>
                  <a:pt x="374" y="191"/>
                </a:cubicBezTo>
                <a:cubicBezTo>
                  <a:pt x="373" y="189"/>
                  <a:pt x="373" y="189"/>
                  <a:pt x="373" y="189"/>
                </a:cubicBezTo>
                <a:cubicBezTo>
                  <a:pt x="372" y="189"/>
                  <a:pt x="372" y="189"/>
                  <a:pt x="372" y="189"/>
                </a:cubicBezTo>
                <a:cubicBezTo>
                  <a:pt x="371" y="190"/>
                  <a:pt x="371" y="190"/>
                  <a:pt x="371" y="190"/>
                </a:cubicBezTo>
                <a:cubicBezTo>
                  <a:pt x="371" y="191"/>
                  <a:pt x="371" y="191"/>
                  <a:pt x="371" y="191"/>
                </a:cubicBezTo>
                <a:cubicBezTo>
                  <a:pt x="374" y="192"/>
                  <a:pt x="374" y="192"/>
                  <a:pt x="374" y="192"/>
                </a:cubicBezTo>
                <a:cubicBezTo>
                  <a:pt x="376" y="192"/>
                  <a:pt x="376" y="192"/>
                  <a:pt x="376" y="192"/>
                </a:cubicBezTo>
                <a:cubicBezTo>
                  <a:pt x="377" y="191"/>
                  <a:pt x="377" y="191"/>
                  <a:pt x="377" y="191"/>
                </a:cubicBezTo>
                <a:close/>
                <a:moveTo>
                  <a:pt x="377" y="189"/>
                </a:moveTo>
                <a:cubicBezTo>
                  <a:pt x="377" y="189"/>
                  <a:pt x="378" y="190"/>
                  <a:pt x="378" y="190"/>
                </a:cubicBezTo>
                <a:cubicBezTo>
                  <a:pt x="381" y="189"/>
                  <a:pt x="381" y="189"/>
                  <a:pt x="381" y="189"/>
                </a:cubicBezTo>
                <a:cubicBezTo>
                  <a:pt x="382" y="189"/>
                  <a:pt x="382" y="189"/>
                  <a:pt x="382" y="189"/>
                </a:cubicBezTo>
                <a:cubicBezTo>
                  <a:pt x="384" y="189"/>
                  <a:pt x="384" y="189"/>
                  <a:pt x="384" y="189"/>
                </a:cubicBezTo>
                <a:cubicBezTo>
                  <a:pt x="384" y="188"/>
                  <a:pt x="384" y="188"/>
                  <a:pt x="384" y="188"/>
                </a:cubicBezTo>
                <a:cubicBezTo>
                  <a:pt x="381" y="187"/>
                  <a:pt x="381" y="187"/>
                  <a:pt x="381" y="187"/>
                </a:cubicBezTo>
                <a:cubicBezTo>
                  <a:pt x="380" y="186"/>
                  <a:pt x="380" y="186"/>
                  <a:pt x="380" y="186"/>
                </a:cubicBezTo>
                <a:cubicBezTo>
                  <a:pt x="378" y="187"/>
                  <a:pt x="378" y="187"/>
                  <a:pt x="378" y="187"/>
                </a:cubicBezTo>
                <a:cubicBezTo>
                  <a:pt x="377" y="189"/>
                  <a:pt x="377" y="189"/>
                  <a:pt x="377" y="189"/>
                </a:cubicBezTo>
                <a:close/>
                <a:moveTo>
                  <a:pt x="401" y="240"/>
                </a:moveTo>
                <a:cubicBezTo>
                  <a:pt x="403" y="238"/>
                  <a:pt x="403" y="238"/>
                  <a:pt x="403" y="238"/>
                </a:cubicBezTo>
                <a:cubicBezTo>
                  <a:pt x="402" y="237"/>
                  <a:pt x="402" y="237"/>
                  <a:pt x="402" y="237"/>
                </a:cubicBezTo>
                <a:cubicBezTo>
                  <a:pt x="400" y="237"/>
                  <a:pt x="400" y="237"/>
                  <a:pt x="400" y="237"/>
                </a:cubicBezTo>
                <a:cubicBezTo>
                  <a:pt x="399" y="238"/>
                  <a:pt x="399" y="238"/>
                  <a:pt x="399" y="238"/>
                </a:cubicBezTo>
                <a:cubicBezTo>
                  <a:pt x="400" y="240"/>
                  <a:pt x="400" y="240"/>
                  <a:pt x="400" y="240"/>
                </a:cubicBezTo>
                <a:cubicBezTo>
                  <a:pt x="401" y="240"/>
                  <a:pt x="401" y="240"/>
                  <a:pt x="401" y="240"/>
                </a:cubicBezTo>
                <a:close/>
                <a:moveTo>
                  <a:pt x="408" y="239"/>
                </a:moveTo>
                <a:cubicBezTo>
                  <a:pt x="409" y="237"/>
                  <a:pt x="409" y="237"/>
                  <a:pt x="409" y="237"/>
                </a:cubicBezTo>
                <a:cubicBezTo>
                  <a:pt x="409" y="236"/>
                  <a:pt x="409" y="236"/>
                  <a:pt x="409" y="236"/>
                </a:cubicBezTo>
                <a:cubicBezTo>
                  <a:pt x="407" y="236"/>
                  <a:pt x="407" y="236"/>
                  <a:pt x="407" y="236"/>
                </a:cubicBezTo>
                <a:cubicBezTo>
                  <a:pt x="406" y="236"/>
                  <a:pt x="406" y="236"/>
                  <a:pt x="406" y="236"/>
                </a:cubicBezTo>
                <a:cubicBezTo>
                  <a:pt x="405" y="237"/>
                  <a:pt x="405" y="237"/>
                  <a:pt x="405" y="237"/>
                </a:cubicBezTo>
                <a:cubicBezTo>
                  <a:pt x="405" y="238"/>
                  <a:pt x="405" y="238"/>
                  <a:pt x="405" y="238"/>
                </a:cubicBezTo>
                <a:cubicBezTo>
                  <a:pt x="408" y="239"/>
                  <a:pt x="408" y="239"/>
                  <a:pt x="408" y="239"/>
                </a:cubicBezTo>
                <a:close/>
                <a:moveTo>
                  <a:pt x="417" y="240"/>
                </a:moveTo>
                <a:cubicBezTo>
                  <a:pt x="418" y="239"/>
                  <a:pt x="418" y="239"/>
                  <a:pt x="418" y="239"/>
                </a:cubicBezTo>
                <a:cubicBezTo>
                  <a:pt x="416" y="238"/>
                  <a:pt x="416" y="238"/>
                  <a:pt x="416" y="238"/>
                </a:cubicBezTo>
                <a:cubicBezTo>
                  <a:pt x="413" y="239"/>
                  <a:pt x="413" y="239"/>
                  <a:pt x="413" y="239"/>
                </a:cubicBezTo>
                <a:cubicBezTo>
                  <a:pt x="414" y="240"/>
                  <a:pt x="414" y="240"/>
                  <a:pt x="414" y="240"/>
                </a:cubicBezTo>
                <a:cubicBezTo>
                  <a:pt x="417" y="240"/>
                  <a:pt x="417" y="240"/>
                  <a:pt x="417" y="240"/>
                </a:cubicBezTo>
                <a:close/>
                <a:moveTo>
                  <a:pt x="432" y="235"/>
                </a:moveTo>
                <a:cubicBezTo>
                  <a:pt x="433" y="238"/>
                  <a:pt x="433" y="238"/>
                  <a:pt x="433" y="238"/>
                </a:cubicBezTo>
                <a:cubicBezTo>
                  <a:pt x="434" y="239"/>
                  <a:pt x="434" y="239"/>
                  <a:pt x="434" y="239"/>
                </a:cubicBezTo>
                <a:cubicBezTo>
                  <a:pt x="435" y="237"/>
                  <a:pt x="435" y="237"/>
                  <a:pt x="435" y="237"/>
                </a:cubicBezTo>
                <a:cubicBezTo>
                  <a:pt x="434" y="236"/>
                  <a:pt x="434" y="236"/>
                  <a:pt x="434" y="236"/>
                </a:cubicBezTo>
                <a:cubicBezTo>
                  <a:pt x="432" y="235"/>
                  <a:pt x="432" y="235"/>
                  <a:pt x="432" y="235"/>
                </a:cubicBezTo>
                <a:close/>
                <a:moveTo>
                  <a:pt x="423" y="234"/>
                </a:moveTo>
                <a:cubicBezTo>
                  <a:pt x="426" y="234"/>
                  <a:pt x="426" y="234"/>
                  <a:pt x="426" y="234"/>
                </a:cubicBezTo>
                <a:cubicBezTo>
                  <a:pt x="427" y="232"/>
                  <a:pt x="427" y="232"/>
                  <a:pt x="427" y="232"/>
                </a:cubicBezTo>
                <a:cubicBezTo>
                  <a:pt x="425" y="231"/>
                  <a:pt x="425" y="231"/>
                  <a:pt x="425" y="231"/>
                </a:cubicBezTo>
                <a:cubicBezTo>
                  <a:pt x="424" y="232"/>
                  <a:pt x="424" y="232"/>
                  <a:pt x="424" y="232"/>
                </a:cubicBezTo>
                <a:cubicBezTo>
                  <a:pt x="424" y="233"/>
                  <a:pt x="424" y="233"/>
                  <a:pt x="424" y="233"/>
                </a:cubicBezTo>
                <a:cubicBezTo>
                  <a:pt x="423" y="234"/>
                  <a:pt x="423" y="234"/>
                  <a:pt x="423" y="234"/>
                </a:cubicBezTo>
                <a:close/>
                <a:moveTo>
                  <a:pt x="417" y="225"/>
                </a:moveTo>
                <a:cubicBezTo>
                  <a:pt x="417" y="224"/>
                  <a:pt x="417" y="224"/>
                  <a:pt x="417" y="224"/>
                </a:cubicBezTo>
                <a:cubicBezTo>
                  <a:pt x="415" y="224"/>
                  <a:pt x="415" y="224"/>
                  <a:pt x="415" y="224"/>
                </a:cubicBezTo>
                <a:cubicBezTo>
                  <a:pt x="413" y="226"/>
                  <a:pt x="413" y="226"/>
                  <a:pt x="413" y="226"/>
                </a:cubicBezTo>
                <a:cubicBezTo>
                  <a:pt x="413" y="227"/>
                  <a:pt x="413" y="227"/>
                  <a:pt x="413" y="227"/>
                </a:cubicBezTo>
                <a:cubicBezTo>
                  <a:pt x="415" y="228"/>
                  <a:pt x="415" y="228"/>
                  <a:pt x="415" y="228"/>
                </a:cubicBezTo>
                <a:cubicBezTo>
                  <a:pt x="415" y="227"/>
                  <a:pt x="415" y="227"/>
                  <a:pt x="415" y="227"/>
                </a:cubicBezTo>
                <a:cubicBezTo>
                  <a:pt x="415" y="226"/>
                  <a:pt x="415" y="226"/>
                  <a:pt x="415" y="226"/>
                </a:cubicBezTo>
                <a:cubicBezTo>
                  <a:pt x="415" y="226"/>
                  <a:pt x="415" y="226"/>
                  <a:pt x="415" y="226"/>
                </a:cubicBezTo>
                <a:cubicBezTo>
                  <a:pt x="417" y="225"/>
                  <a:pt x="417" y="225"/>
                  <a:pt x="417" y="225"/>
                </a:cubicBezTo>
                <a:close/>
                <a:moveTo>
                  <a:pt x="422" y="223"/>
                </a:moveTo>
                <a:cubicBezTo>
                  <a:pt x="422" y="222"/>
                  <a:pt x="422" y="222"/>
                  <a:pt x="422" y="222"/>
                </a:cubicBezTo>
                <a:cubicBezTo>
                  <a:pt x="420" y="222"/>
                  <a:pt x="420" y="222"/>
                  <a:pt x="420" y="222"/>
                </a:cubicBezTo>
                <a:cubicBezTo>
                  <a:pt x="419" y="223"/>
                  <a:pt x="419" y="223"/>
                  <a:pt x="419" y="223"/>
                </a:cubicBezTo>
                <a:cubicBezTo>
                  <a:pt x="419" y="225"/>
                  <a:pt x="419" y="225"/>
                  <a:pt x="419" y="225"/>
                </a:cubicBezTo>
                <a:cubicBezTo>
                  <a:pt x="421" y="225"/>
                  <a:pt x="421" y="225"/>
                  <a:pt x="421" y="225"/>
                </a:cubicBezTo>
                <a:cubicBezTo>
                  <a:pt x="422" y="224"/>
                  <a:pt x="422" y="224"/>
                  <a:pt x="422" y="224"/>
                </a:cubicBezTo>
                <a:cubicBezTo>
                  <a:pt x="422" y="223"/>
                  <a:pt x="422" y="223"/>
                  <a:pt x="422" y="223"/>
                </a:cubicBezTo>
                <a:close/>
                <a:moveTo>
                  <a:pt x="423" y="224"/>
                </a:moveTo>
                <a:cubicBezTo>
                  <a:pt x="424" y="225"/>
                  <a:pt x="424" y="225"/>
                  <a:pt x="424" y="225"/>
                </a:cubicBezTo>
                <a:cubicBezTo>
                  <a:pt x="424" y="224"/>
                  <a:pt x="424" y="224"/>
                  <a:pt x="424" y="224"/>
                </a:cubicBezTo>
                <a:cubicBezTo>
                  <a:pt x="426" y="223"/>
                  <a:pt x="426" y="223"/>
                  <a:pt x="426" y="223"/>
                </a:cubicBezTo>
                <a:cubicBezTo>
                  <a:pt x="427" y="221"/>
                  <a:pt x="427" y="221"/>
                  <a:pt x="427" y="221"/>
                </a:cubicBezTo>
                <a:cubicBezTo>
                  <a:pt x="426" y="220"/>
                  <a:pt x="426" y="220"/>
                  <a:pt x="426" y="220"/>
                </a:cubicBezTo>
                <a:cubicBezTo>
                  <a:pt x="424" y="220"/>
                  <a:pt x="424" y="220"/>
                  <a:pt x="424" y="220"/>
                </a:cubicBezTo>
                <a:cubicBezTo>
                  <a:pt x="423" y="222"/>
                  <a:pt x="423" y="222"/>
                  <a:pt x="423" y="222"/>
                </a:cubicBezTo>
                <a:cubicBezTo>
                  <a:pt x="424" y="223"/>
                  <a:pt x="424" y="223"/>
                  <a:pt x="424" y="223"/>
                </a:cubicBezTo>
                <a:cubicBezTo>
                  <a:pt x="423" y="224"/>
                  <a:pt x="423" y="224"/>
                  <a:pt x="423" y="224"/>
                </a:cubicBezTo>
                <a:close/>
                <a:moveTo>
                  <a:pt x="417" y="218"/>
                </a:moveTo>
                <a:cubicBezTo>
                  <a:pt x="418" y="216"/>
                  <a:pt x="418" y="216"/>
                  <a:pt x="418" y="216"/>
                </a:cubicBezTo>
                <a:cubicBezTo>
                  <a:pt x="418" y="215"/>
                  <a:pt x="418" y="215"/>
                  <a:pt x="418" y="215"/>
                </a:cubicBezTo>
                <a:cubicBezTo>
                  <a:pt x="416" y="215"/>
                  <a:pt x="416" y="215"/>
                  <a:pt x="416" y="215"/>
                </a:cubicBezTo>
                <a:cubicBezTo>
                  <a:pt x="415" y="215"/>
                  <a:pt x="415" y="215"/>
                  <a:pt x="415" y="215"/>
                </a:cubicBezTo>
                <a:cubicBezTo>
                  <a:pt x="413" y="216"/>
                  <a:pt x="413" y="216"/>
                  <a:pt x="413" y="216"/>
                </a:cubicBezTo>
                <a:cubicBezTo>
                  <a:pt x="413" y="216"/>
                  <a:pt x="413" y="216"/>
                  <a:pt x="413" y="216"/>
                </a:cubicBezTo>
                <a:cubicBezTo>
                  <a:pt x="416" y="217"/>
                  <a:pt x="416" y="217"/>
                  <a:pt x="416" y="217"/>
                </a:cubicBezTo>
                <a:cubicBezTo>
                  <a:pt x="417" y="218"/>
                  <a:pt x="417" y="218"/>
                  <a:pt x="417" y="218"/>
                </a:cubicBezTo>
                <a:close/>
                <a:moveTo>
                  <a:pt x="427" y="213"/>
                </a:moveTo>
                <a:cubicBezTo>
                  <a:pt x="428" y="212"/>
                  <a:pt x="428" y="212"/>
                  <a:pt x="428" y="212"/>
                </a:cubicBezTo>
                <a:cubicBezTo>
                  <a:pt x="427" y="212"/>
                  <a:pt x="427" y="212"/>
                  <a:pt x="427" y="212"/>
                </a:cubicBezTo>
                <a:cubicBezTo>
                  <a:pt x="427" y="211"/>
                  <a:pt x="427" y="211"/>
                  <a:pt x="427" y="211"/>
                </a:cubicBezTo>
                <a:cubicBezTo>
                  <a:pt x="428" y="210"/>
                  <a:pt x="428" y="210"/>
                  <a:pt x="428" y="210"/>
                </a:cubicBezTo>
                <a:cubicBezTo>
                  <a:pt x="428" y="209"/>
                  <a:pt x="428" y="209"/>
                  <a:pt x="428" y="209"/>
                </a:cubicBezTo>
                <a:cubicBezTo>
                  <a:pt x="427" y="208"/>
                  <a:pt x="427" y="208"/>
                  <a:pt x="427" y="208"/>
                </a:cubicBezTo>
                <a:cubicBezTo>
                  <a:pt x="424" y="207"/>
                  <a:pt x="424" y="207"/>
                  <a:pt x="424" y="207"/>
                </a:cubicBezTo>
                <a:cubicBezTo>
                  <a:pt x="423" y="208"/>
                  <a:pt x="423" y="208"/>
                  <a:pt x="423" y="208"/>
                </a:cubicBezTo>
                <a:cubicBezTo>
                  <a:pt x="424" y="210"/>
                  <a:pt x="424" y="210"/>
                  <a:pt x="424" y="210"/>
                </a:cubicBezTo>
                <a:cubicBezTo>
                  <a:pt x="423" y="210"/>
                  <a:pt x="423" y="210"/>
                  <a:pt x="423" y="210"/>
                </a:cubicBezTo>
                <a:cubicBezTo>
                  <a:pt x="421" y="209"/>
                  <a:pt x="421" y="209"/>
                  <a:pt x="421" y="209"/>
                </a:cubicBezTo>
                <a:cubicBezTo>
                  <a:pt x="421" y="209"/>
                  <a:pt x="421" y="209"/>
                  <a:pt x="421" y="209"/>
                </a:cubicBezTo>
                <a:cubicBezTo>
                  <a:pt x="422" y="211"/>
                  <a:pt x="422" y="211"/>
                  <a:pt x="422" y="211"/>
                </a:cubicBezTo>
                <a:cubicBezTo>
                  <a:pt x="423" y="212"/>
                  <a:pt x="423" y="212"/>
                  <a:pt x="423" y="212"/>
                </a:cubicBezTo>
                <a:cubicBezTo>
                  <a:pt x="425" y="212"/>
                  <a:pt x="425" y="212"/>
                  <a:pt x="425" y="212"/>
                </a:cubicBezTo>
                <a:cubicBezTo>
                  <a:pt x="427" y="213"/>
                  <a:pt x="427" y="213"/>
                  <a:pt x="427" y="213"/>
                </a:cubicBezTo>
                <a:close/>
                <a:moveTo>
                  <a:pt x="419" y="121"/>
                </a:moveTo>
                <a:cubicBezTo>
                  <a:pt x="420" y="121"/>
                  <a:pt x="420" y="121"/>
                  <a:pt x="420" y="121"/>
                </a:cubicBezTo>
                <a:cubicBezTo>
                  <a:pt x="420" y="120"/>
                  <a:pt x="420" y="120"/>
                  <a:pt x="420" y="120"/>
                </a:cubicBezTo>
                <a:cubicBezTo>
                  <a:pt x="418" y="119"/>
                  <a:pt x="418" y="119"/>
                  <a:pt x="418" y="119"/>
                </a:cubicBezTo>
                <a:cubicBezTo>
                  <a:pt x="418" y="120"/>
                  <a:pt x="418" y="120"/>
                  <a:pt x="418" y="120"/>
                </a:cubicBezTo>
                <a:cubicBezTo>
                  <a:pt x="419" y="121"/>
                  <a:pt x="419" y="121"/>
                  <a:pt x="419" y="121"/>
                </a:cubicBezTo>
                <a:close/>
                <a:moveTo>
                  <a:pt x="407" y="140"/>
                </a:moveTo>
                <a:cubicBezTo>
                  <a:pt x="408" y="141"/>
                  <a:pt x="408" y="141"/>
                  <a:pt x="408" y="141"/>
                </a:cubicBezTo>
                <a:cubicBezTo>
                  <a:pt x="409" y="141"/>
                  <a:pt x="409" y="141"/>
                  <a:pt x="409" y="141"/>
                </a:cubicBezTo>
                <a:cubicBezTo>
                  <a:pt x="410" y="140"/>
                  <a:pt x="410" y="140"/>
                  <a:pt x="410" y="140"/>
                </a:cubicBezTo>
                <a:cubicBezTo>
                  <a:pt x="411" y="139"/>
                  <a:pt x="411" y="139"/>
                  <a:pt x="411" y="139"/>
                </a:cubicBezTo>
                <a:cubicBezTo>
                  <a:pt x="411" y="136"/>
                  <a:pt x="411" y="136"/>
                  <a:pt x="411" y="136"/>
                </a:cubicBezTo>
                <a:cubicBezTo>
                  <a:pt x="409" y="135"/>
                  <a:pt x="409" y="135"/>
                  <a:pt x="409" y="135"/>
                </a:cubicBezTo>
                <a:cubicBezTo>
                  <a:pt x="408" y="135"/>
                  <a:pt x="408" y="135"/>
                  <a:pt x="408" y="135"/>
                </a:cubicBezTo>
                <a:cubicBezTo>
                  <a:pt x="407" y="136"/>
                  <a:pt x="407" y="136"/>
                  <a:pt x="407" y="136"/>
                </a:cubicBezTo>
                <a:cubicBezTo>
                  <a:pt x="407" y="138"/>
                  <a:pt x="407" y="138"/>
                  <a:pt x="407" y="138"/>
                </a:cubicBezTo>
                <a:cubicBezTo>
                  <a:pt x="407" y="140"/>
                  <a:pt x="407" y="140"/>
                  <a:pt x="407" y="140"/>
                </a:cubicBezTo>
                <a:close/>
                <a:moveTo>
                  <a:pt x="454" y="136"/>
                </a:moveTo>
                <a:cubicBezTo>
                  <a:pt x="455" y="136"/>
                  <a:pt x="455" y="136"/>
                  <a:pt x="455" y="136"/>
                </a:cubicBezTo>
                <a:cubicBezTo>
                  <a:pt x="457" y="135"/>
                  <a:pt x="457" y="135"/>
                  <a:pt x="457" y="135"/>
                </a:cubicBezTo>
                <a:cubicBezTo>
                  <a:pt x="459" y="134"/>
                  <a:pt x="459" y="134"/>
                  <a:pt x="459" y="134"/>
                </a:cubicBezTo>
                <a:cubicBezTo>
                  <a:pt x="460" y="134"/>
                  <a:pt x="460" y="134"/>
                  <a:pt x="460" y="134"/>
                </a:cubicBezTo>
                <a:cubicBezTo>
                  <a:pt x="460" y="135"/>
                  <a:pt x="460" y="135"/>
                  <a:pt x="460" y="135"/>
                </a:cubicBezTo>
                <a:cubicBezTo>
                  <a:pt x="459" y="136"/>
                  <a:pt x="459" y="136"/>
                  <a:pt x="459" y="136"/>
                </a:cubicBezTo>
                <a:cubicBezTo>
                  <a:pt x="461" y="134"/>
                  <a:pt x="461" y="134"/>
                  <a:pt x="461" y="134"/>
                </a:cubicBezTo>
                <a:cubicBezTo>
                  <a:pt x="463" y="132"/>
                  <a:pt x="463" y="132"/>
                  <a:pt x="463" y="132"/>
                </a:cubicBezTo>
                <a:cubicBezTo>
                  <a:pt x="463" y="130"/>
                  <a:pt x="463" y="130"/>
                  <a:pt x="463" y="130"/>
                </a:cubicBezTo>
                <a:cubicBezTo>
                  <a:pt x="465" y="129"/>
                  <a:pt x="465" y="129"/>
                  <a:pt x="465" y="129"/>
                </a:cubicBezTo>
                <a:cubicBezTo>
                  <a:pt x="465" y="127"/>
                  <a:pt x="465" y="127"/>
                  <a:pt x="465" y="127"/>
                </a:cubicBezTo>
                <a:cubicBezTo>
                  <a:pt x="464" y="126"/>
                  <a:pt x="464" y="126"/>
                  <a:pt x="464" y="126"/>
                </a:cubicBezTo>
                <a:cubicBezTo>
                  <a:pt x="463" y="127"/>
                  <a:pt x="463" y="127"/>
                  <a:pt x="463" y="127"/>
                </a:cubicBezTo>
                <a:cubicBezTo>
                  <a:pt x="462" y="128"/>
                  <a:pt x="462" y="128"/>
                  <a:pt x="462" y="128"/>
                </a:cubicBezTo>
                <a:cubicBezTo>
                  <a:pt x="460" y="129"/>
                  <a:pt x="460" y="129"/>
                  <a:pt x="460" y="129"/>
                </a:cubicBezTo>
                <a:cubicBezTo>
                  <a:pt x="457" y="131"/>
                  <a:pt x="457" y="131"/>
                  <a:pt x="457" y="131"/>
                </a:cubicBezTo>
                <a:cubicBezTo>
                  <a:pt x="455" y="134"/>
                  <a:pt x="455" y="134"/>
                  <a:pt x="455" y="134"/>
                </a:cubicBezTo>
                <a:cubicBezTo>
                  <a:pt x="454" y="136"/>
                  <a:pt x="454" y="136"/>
                  <a:pt x="454" y="136"/>
                </a:cubicBezTo>
                <a:close/>
                <a:moveTo>
                  <a:pt x="475" y="138"/>
                </a:moveTo>
                <a:cubicBezTo>
                  <a:pt x="478" y="137"/>
                  <a:pt x="478" y="137"/>
                  <a:pt x="478" y="137"/>
                </a:cubicBezTo>
                <a:cubicBezTo>
                  <a:pt x="479" y="136"/>
                  <a:pt x="479" y="136"/>
                  <a:pt x="479" y="136"/>
                </a:cubicBezTo>
                <a:cubicBezTo>
                  <a:pt x="477" y="135"/>
                  <a:pt x="477" y="135"/>
                  <a:pt x="477" y="135"/>
                </a:cubicBezTo>
                <a:cubicBezTo>
                  <a:pt x="475" y="136"/>
                  <a:pt x="475" y="136"/>
                  <a:pt x="475" y="136"/>
                </a:cubicBezTo>
                <a:cubicBezTo>
                  <a:pt x="475" y="137"/>
                  <a:pt x="475" y="137"/>
                  <a:pt x="475" y="137"/>
                </a:cubicBezTo>
                <a:cubicBezTo>
                  <a:pt x="475" y="138"/>
                  <a:pt x="475" y="138"/>
                  <a:pt x="475" y="138"/>
                </a:cubicBezTo>
                <a:close/>
                <a:moveTo>
                  <a:pt x="479" y="142"/>
                </a:moveTo>
                <a:cubicBezTo>
                  <a:pt x="479" y="142"/>
                  <a:pt x="479" y="142"/>
                  <a:pt x="479" y="142"/>
                </a:cubicBezTo>
                <a:cubicBezTo>
                  <a:pt x="480" y="142"/>
                  <a:pt x="480" y="142"/>
                  <a:pt x="480" y="142"/>
                </a:cubicBezTo>
                <a:cubicBezTo>
                  <a:pt x="481" y="141"/>
                  <a:pt x="481" y="141"/>
                  <a:pt x="481" y="141"/>
                </a:cubicBezTo>
                <a:cubicBezTo>
                  <a:pt x="479" y="140"/>
                  <a:pt x="479" y="140"/>
                  <a:pt x="479" y="140"/>
                </a:cubicBezTo>
                <a:cubicBezTo>
                  <a:pt x="478" y="138"/>
                  <a:pt x="478" y="138"/>
                  <a:pt x="478" y="138"/>
                </a:cubicBezTo>
                <a:cubicBezTo>
                  <a:pt x="477" y="138"/>
                  <a:pt x="477" y="138"/>
                  <a:pt x="477" y="138"/>
                </a:cubicBezTo>
                <a:cubicBezTo>
                  <a:pt x="477" y="139"/>
                  <a:pt x="477" y="139"/>
                  <a:pt x="477" y="139"/>
                </a:cubicBezTo>
                <a:cubicBezTo>
                  <a:pt x="478" y="141"/>
                  <a:pt x="478" y="141"/>
                  <a:pt x="478" y="141"/>
                </a:cubicBezTo>
                <a:cubicBezTo>
                  <a:pt x="479" y="142"/>
                  <a:pt x="479" y="142"/>
                  <a:pt x="479" y="142"/>
                </a:cubicBezTo>
                <a:close/>
                <a:moveTo>
                  <a:pt x="460" y="147"/>
                </a:moveTo>
                <a:cubicBezTo>
                  <a:pt x="462" y="147"/>
                  <a:pt x="462" y="147"/>
                  <a:pt x="462" y="147"/>
                </a:cubicBezTo>
                <a:cubicBezTo>
                  <a:pt x="462" y="145"/>
                  <a:pt x="462" y="145"/>
                  <a:pt x="462" y="145"/>
                </a:cubicBezTo>
                <a:cubicBezTo>
                  <a:pt x="461" y="144"/>
                  <a:pt x="461" y="144"/>
                  <a:pt x="461" y="144"/>
                </a:cubicBezTo>
                <a:cubicBezTo>
                  <a:pt x="460" y="146"/>
                  <a:pt x="460" y="146"/>
                  <a:pt x="460" y="146"/>
                </a:cubicBezTo>
                <a:cubicBezTo>
                  <a:pt x="458" y="147"/>
                  <a:pt x="458" y="147"/>
                  <a:pt x="458" y="147"/>
                </a:cubicBezTo>
                <a:cubicBezTo>
                  <a:pt x="458" y="148"/>
                  <a:pt x="458" y="148"/>
                  <a:pt x="458" y="148"/>
                </a:cubicBezTo>
                <a:cubicBezTo>
                  <a:pt x="460" y="147"/>
                  <a:pt x="460" y="147"/>
                  <a:pt x="460" y="147"/>
                </a:cubicBezTo>
                <a:close/>
                <a:moveTo>
                  <a:pt x="471" y="148"/>
                </a:moveTo>
                <a:cubicBezTo>
                  <a:pt x="472" y="147"/>
                  <a:pt x="472" y="147"/>
                  <a:pt x="472" y="147"/>
                </a:cubicBezTo>
                <a:cubicBezTo>
                  <a:pt x="472" y="145"/>
                  <a:pt x="472" y="145"/>
                  <a:pt x="472" y="145"/>
                </a:cubicBezTo>
                <a:cubicBezTo>
                  <a:pt x="471" y="144"/>
                  <a:pt x="471" y="144"/>
                  <a:pt x="471" y="144"/>
                </a:cubicBezTo>
                <a:cubicBezTo>
                  <a:pt x="471" y="142"/>
                  <a:pt x="471" y="142"/>
                  <a:pt x="471" y="142"/>
                </a:cubicBezTo>
                <a:cubicBezTo>
                  <a:pt x="470" y="142"/>
                  <a:pt x="470" y="142"/>
                  <a:pt x="470" y="142"/>
                </a:cubicBezTo>
                <a:cubicBezTo>
                  <a:pt x="469" y="143"/>
                  <a:pt x="469" y="143"/>
                  <a:pt x="469" y="143"/>
                </a:cubicBezTo>
                <a:cubicBezTo>
                  <a:pt x="468" y="145"/>
                  <a:pt x="468" y="145"/>
                  <a:pt x="468" y="145"/>
                </a:cubicBezTo>
                <a:cubicBezTo>
                  <a:pt x="467" y="146"/>
                  <a:pt x="467" y="146"/>
                  <a:pt x="467" y="146"/>
                </a:cubicBezTo>
                <a:cubicBezTo>
                  <a:pt x="467" y="147"/>
                  <a:pt x="467" y="147"/>
                  <a:pt x="467" y="147"/>
                </a:cubicBezTo>
                <a:cubicBezTo>
                  <a:pt x="468" y="146"/>
                  <a:pt x="468" y="146"/>
                  <a:pt x="468" y="146"/>
                </a:cubicBezTo>
                <a:cubicBezTo>
                  <a:pt x="469" y="145"/>
                  <a:pt x="469" y="145"/>
                  <a:pt x="469" y="145"/>
                </a:cubicBezTo>
                <a:cubicBezTo>
                  <a:pt x="470" y="146"/>
                  <a:pt x="470" y="146"/>
                  <a:pt x="470" y="146"/>
                </a:cubicBezTo>
                <a:cubicBezTo>
                  <a:pt x="471" y="148"/>
                  <a:pt x="471" y="148"/>
                  <a:pt x="471" y="148"/>
                </a:cubicBezTo>
                <a:close/>
                <a:moveTo>
                  <a:pt x="472" y="158"/>
                </a:moveTo>
                <a:cubicBezTo>
                  <a:pt x="473" y="158"/>
                  <a:pt x="473" y="158"/>
                  <a:pt x="473" y="158"/>
                </a:cubicBezTo>
                <a:cubicBezTo>
                  <a:pt x="474" y="159"/>
                  <a:pt x="474" y="159"/>
                  <a:pt x="474" y="159"/>
                </a:cubicBezTo>
                <a:cubicBezTo>
                  <a:pt x="476" y="159"/>
                  <a:pt x="476" y="159"/>
                  <a:pt x="476" y="159"/>
                </a:cubicBezTo>
                <a:cubicBezTo>
                  <a:pt x="478" y="159"/>
                  <a:pt x="478" y="159"/>
                  <a:pt x="478" y="159"/>
                </a:cubicBezTo>
                <a:cubicBezTo>
                  <a:pt x="480" y="159"/>
                  <a:pt x="480" y="159"/>
                  <a:pt x="480" y="159"/>
                </a:cubicBezTo>
                <a:cubicBezTo>
                  <a:pt x="481" y="158"/>
                  <a:pt x="481" y="158"/>
                  <a:pt x="481" y="158"/>
                </a:cubicBezTo>
                <a:cubicBezTo>
                  <a:pt x="482" y="157"/>
                  <a:pt x="482" y="157"/>
                  <a:pt x="482" y="157"/>
                </a:cubicBezTo>
                <a:cubicBezTo>
                  <a:pt x="482" y="156"/>
                  <a:pt x="482" y="156"/>
                  <a:pt x="482" y="156"/>
                </a:cubicBezTo>
                <a:cubicBezTo>
                  <a:pt x="481" y="156"/>
                  <a:pt x="481" y="156"/>
                  <a:pt x="481" y="156"/>
                </a:cubicBezTo>
                <a:cubicBezTo>
                  <a:pt x="482" y="155"/>
                  <a:pt x="482" y="155"/>
                  <a:pt x="482" y="155"/>
                </a:cubicBezTo>
                <a:cubicBezTo>
                  <a:pt x="481" y="153"/>
                  <a:pt x="481" y="153"/>
                  <a:pt x="481" y="153"/>
                </a:cubicBezTo>
                <a:cubicBezTo>
                  <a:pt x="480" y="153"/>
                  <a:pt x="480" y="153"/>
                  <a:pt x="480" y="153"/>
                </a:cubicBezTo>
                <a:cubicBezTo>
                  <a:pt x="478" y="154"/>
                  <a:pt x="478" y="154"/>
                  <a:pt x="478" y="154"/>
                </a:cubicBezTo>
                <a:cubicBezTo>
                  <a:pt x="479" y="155"/>
                  <a:pt x="479" y="155"/>
                  <a:pt x="479" y="155"/>
                </a:cubicBezTo>
                <a:cubicBezTo>
                  <a:pt x="478" y="156"/>
                  <a:pt x="478" y="156"/>
                  <a:pt x="478" y="156"/>
                </a:cubicBezTo>
                <a:cubicBezTo>
                  <a:pt x="477" y="156"/>
                  <a:pt x="477" y="156"/>
                  <a:pt x="477" y="156"/>
                </a:cubicBezTo>
                <a:cubicBezTo>
                  <a:pt x="476" y="155"/>
                  <a:pt x="476" y="155"/>
                  <a:pt x="476" y="155"/>
                </a:cubicBezTo>
                <a:cubicBezTo>
                  <a:pt x="475" y="155"/>
                  <a:pt x="475" y="155"/>
                  <a:pt x="475" y="155"/>
                </a:cubicBezTo>
                <a:cubicBezTo>
                  <a:pt x="475" y="156"/>
                  <a:pt x="475" y="156"/>
                  <a:pt x="475" y="156"/>
                </a:cubicBezTo>
                <a:cubicBezTo>
                  <a:pt x="473" y="156"/>
                  <a:pt x="473" y="156"/>
                  <a:pt x="473" y="156"/>
                </a:cubicBezTo>
                <a:cubicBezTo>
                  <a:pt x="472" y="156"/>
                  <a:pt x="472" y="156"/>
                  <a:pt x="472" y="156"/>
                </a:cubicBezTo>
                <a:cubicBezTo>
                  <a:pt x="471" y="158"/>
                  <a:pt x="471" y="158"/>
                  <a:pt x="471" y="158"/>
                </a:cubicBezTo>
                <a:cubicBezTo>
                  <a:pt x="472" y="158"/>
                  <a:pt x="472" y="158"/>
                  <a:pt x="472" y="158"/>
                </a:cubicBezTo>
                <a:close/>
                <a:moveTo>
                  <a:pt x="280" y="95"/>
                </a:moveTo>
                <a:cubicBezTo>
                  <a:pt x="283" y="96"/>
                  <a:pt x="283" y="96"/>
                  <a:pt x="283" y="96"/>
                </a:cubicBezTo>
                <a:cubicBezTo>
                  <a:pt x="284" y="97"/>
                  <a:pt x="284" y="97"/>
                  <a:pt x="284" y="97"/>
                </a:cubicBezTo>
                <a:cubicBezTo>
                  <a:pt x="285" y="97"/>
                  <a:pt x="285" y="97"/>
                  <a:pt x="285" y="97"/>
                </a:cubicBezTo>
                <a:cubicBezTo>
                  <a:pt x="288" y="96"/>
                  <a:pt x="288" y="96"/>
                  <a:pt x="288" y="96"/>
                </a:cubicBezTo>
                <a:cubicBezTo>
                  <a:pt x="288" y="95"/>
                  <a:pt x="288" y="95"/>
                  <a:pt x="288" y="95"/>
                </a:cubicBezTo>
                <a:cubicBezTo>
                  <a:pt x="287" y="94"/>
                  <a:pt x="287" y="94"/>
                  <a:pt x="287" y="94"/>
                </a:cubicBezTo>
                <a:cubicBezTo>
                  <a:pt x="285" y="95"/>
                  <a:pt x="285" y="95"/>
                  <a:pt x="285" y="95"/>
                </a:cubicBezTo>
                <a:cubicBezTo>
                  <a:pt x="283" y="94"/>
                  <a:pt x="283" y="94"/>
                  <a:pt x="283" y="94"/>
                </a:cubicBezTo>
                <a:cubicBezTo>
                  <a:pt x="282" y="93"/>
                  <a:pt x="282" y="93"/>
                  <a:pt x="282" y="93"/>
                </a:cubicBezTo>
                <a:cubicBezTo>
                  <a:pt x="280" y="94"/>
                  <a:pt x="280" y="94"/>
                  <a:pt x="280" y="94"/>
                </a:cubicBezTo>
                <a:cubicBezTo>
                  <a:pt x="280" y="95"/>
                  <a:pt x="280" y="95"/>
                  <a:pt x="280" y="95"/>
                </a:cubicBezTo>
                <a:cubicBezTo>
                  <a:pt x="280" y="95"/>
                  <a:pt x="280" y="95"/>
                  <a:pt x="280" y="95"/>
                </a:cubicBezTo>
                <a:close/>
                <a:moveTo>
                  <a:pt x="275" y="50"/>
                </a:moveTo>
                <a:cubicBezTo>
                  <a:pt x="275" y="49"/>
                  <a:pt x="275" y="49"/>
                  <a:pt x="275" y="49"/>
                </a:cubicBezTo>
                <a:cubicBezTo>
                  <a:pt x="275" y="48"/>
                  <a:pt x="275" y="48"/>
                  <a:pt x="275" y="48"/>
                </a:cubicBezTo>
                <a:cubicBezTo>
                  <a:pt x="277" y="45"/>
                  <a:pt x="277" y="45"/>
                  <a:pt x="277" y="45"/>
                </a:cubicBezTo>
                <a:cubicBezTo>
                  <a:pt x="281" y="45"/>
                  <a:pt x="281" y="45"/>
                  <a:pt x="281" y="45"/>
                </a:cubicBezTo>
                <a:cubicBezTo>
                  <a:pt x="284" y="46"/>
                  <a:pt x="284" y="46"/>
                  <a:pt x="284" y="46"/>
                </a:cubicBezTo>
                <a:cubicBezTo>
                  <a:pt x="285" y="48"/>
                  <a:pt x="285" y="48"/>
                  <a:pt x="285" y="48"/>
                </a:cubicBezTo>
                <a:cubicBezTo>
                  <a:pt x="283" y="50"/>
                  <a:pt x="283" y="50"/>
                  <a:pt x="283" y="50"/>
                </a:cubicBezTo>
                <a:cubicBezTo>
                  <a:pt x="281" y="50"/>
                  <a:pt x="281" y="50"/>
                  <a:pt x="281" y="50"/>
                </a:cubicBezTo>
                <a:cubicBezTo>
                  <a:pt x="277" y="50"/>
                  <a:pt x="277" y="50"/>
                  <a:pt x="277" y="50"/>
                </a:cubicBezTo>
                <a:cubicBezTo>
                  <a:pt x="277" y="50"/>
                  <a:pt x="275" y="50"/>
                  <a:pt x="275" y="50"/>
                </a:cubicBezTo>
                <a:close/>
                <a:moveTo>
                  <a:pt x="342" y="16"/>
                </a:moveTo>
                <a:cubicBezTo>
                  <a:pt x="344" y="14"/>
                  <a:pt x="344" y="14"/>
                  <a:pt x="344" y="14"/>
                </a:cubicBezTo>
                <a:cubicBezTo>
                  <a:pt x="345" y="12"/>
                  <a:pt x="345" y="12"/>
                  <a:pt x="345" y="12"/>
                </a:cubicBezTo>
                <a:cubicBezTo>
                  <a:pt x="348" y="12"/>
                  <a:pt x="348" y="12"/>
                  <a:pt x="348" y="12"/>
                </a:cubicBezTo>
                <a:cubicBezTo>
                  <a:pt x="350" y="12"/>
                  <a:pt x="350" y="12"/>
                  <a:pt x="350" y="12"/>
                </a:cubicBezTo>
                <a:cubicBezTo>
                  <a:pt x="349" y="14"/>
                  <a:pt x="349" y="14"/>
                  <a:pt x="349" y="14"/>
                </a:cubicBezTo>
                <a:cubicBezTo>
                  <a:pt x="349" y="15"/>
                  <a:pt x="349" y="15"/>
                  <a:pt x="349" y="15"/>
                </a:cubicBezTo>
                <a:cubicBezTo>
                  <a:pt x="347" y="17"/>
                  <a:pt x="347" y="17"/>
                  <a:pt x="347" y="17"/>
                </a:cubicBezTo>
                <a:cubicBezTo>
                  <a:pt x="345" y="18"/>
                  <a:pt x="345" y="18"/>
                  <a:pt x="345" y="18"/>
                </a:cubicBezTo>
                <a:cubicBezTo>
                  <a:pt x="343" y="17"/>
                  <a:pt x="343" y="17"/>
                  <a:pt x="343" y="17"/>
                </a:cubicBezTo>
                <a:cubicBezTo>
                  <a:pt x="342" y="16"/>
                  <a:pt x="342" y="16"/>
                  <a:pt x="342" y="16"/>
                </a:cubicBezTo>
                <a:close/>
                <a:moveTo>
                  <a:pt x="389" y="46"/>
                </a:moveTo>
                <a:cubicBezTo>
                  <a:pt x="393" y="44"/>
                  <a:pt x="393" y="44"/>
                  <a:pt x="393" y="44"/>
                </a:cubicBezTo>
                <a:cubicBezTo>
                  <a:pt x="394" y="42"/>
                  <a:pt x="394" y="42"/>
                  <a:pt x="394" y="42"/>
                </a:cubicBezTo>
                <a:cubicBezTo>
                  <a:pt x="394" y="40"/>
                  <a:pt x="394" y="40"/>
                  <a:pt x="394" y="40"/>
                </a:cubicBezTo>
                <a:cubicBezTo>
                  <a:pt x="397" y="37"/>
                  <a:pt x="397" y="37"/>
                  <a:pt x="397" y="37"/>
                </a:cubicBezTo>
                <a:cubicBezTo>
                  <a:pt x="401" y="34"/>
                  <a:pt x="401" y="34"/>
                  <a:pt x="401" y="34"/>
                </a:cubicBezTo>
                <a:cubicBezTo>
                  <a:pt x="404" y="33"/>
                  <a:pt x="404" y="33"/>
                  <a:pt x="404" y="33"/>
                </a:cubicBezTo>
                <a:cubicBezTo>
                  <a:pt x="405" y="31"/>
                  <a:pt x="405" y="31"/>
                  <a:pt x="405" y="31"/>
                </a:cubicBezTo>
                <a:cubicBezTo>
                  <a:pt x="405" y="28"/>
                  <a:pt x="405" y="28"/>
                  <a:pt x="405" y="28"/>
                </a:cubicBezTo>
                <a:cubicBezTo>
                  <a:pt x="401" y="26"/>
                  <a:pt x="401" y="26"/>
                  <a:pt x="401" y="26"/>
                </a:cubicBezTo>
                <a:cubicBezTo>
                  <a:pt x="398" y="23"/>
                  <a:pt x="398" y="23"/>
                  <a:pt x="398" y="23"/>
                </a:cubicBezTo>
                <a:cubicBezTo>
                  <a:pt x="396" y="20"/>
                  <a:pt x="396" y="20"/>
                  <a:pt x="396" y="20"/>
                </a:cubicBezTo>
                <a:cubicBezTo>
                  <a:pt x="396" y="18"/>
                  <a:pt x="396" y="18"/>
                  <a:pt x="396" y="18"/>
                </a:cubicBezTo>
                <a:cubicBezTo>
                  <a:pt x="397" y="15"/>
                  <a:pt x="397" y="15"/>
                  <a:pt x="397" y="15"/>
                </a:cubicBezTo>
                <a:cubicBezTo>
                  <a:pt x="397" y="14"/>
                  <a:pt x="397" y="14"/>
                  <a:pt x="397" y="14"/>
                </a:cubicBezTo>
                <a:cubicBezTo>
                  <a:pt x="396" y="13"/>
                  <a:pt x="396" y="13"/>
                  <a:pt x="396" y="13"/>
                </a:cubicBezTo>
                <a:cubicBezTo>
                  <a:pt x="391" y="13"/>
                  <a:pt x="391" y="13"/>
                  <a:pt x="391" y="13"/>
                </a:cubicBezTo>
                <a:cubicBezTo>
                  <a:pt x="387" y="12"/>
                  <a:pt x="387" y="12"/>
                  <a:pt x="387" y="12"/>
                </a:cubicBezTo>
                <a:cubicBezTo>
                  <a:pt x="384" y="10"/>
                  <a:pt x="384" y="10"/>
                  <a:pt x="384" y="10"/>
                </a:cubicBezTo>
                <a:cubicBezTo>
                  <a:pt x="380" y="5"/>
                  <a:pt x="380" y="5"/>
                  <a:pt x="380" y="5"/>
                </a:cubicBezTo>
                <a:cubicBezTo>
                  <a:pt x="377" y="2"/>
                  <a:pt x="377" y="2"/>
                  <a:pt x="377" y="2"/>
                </a:cubicBezTo>
                <a:cubicBezTo>
                  <a:pt x="373" y="0"/>
                  <a:pt x="373" y="0"/>
                  <a:pt x="373" y="0"/>
                </a:cubicBezTo>
                <a:cubicBezTo>
                  <a:pt x="372" y="0"/>
                  <a:pt x="372" y="0"/>
                  <a:pt x="372" y="0"/>
                </a:cubicBezTo>
                <a:cubicBezTo>
                  <a:pt x="371" y="1"/>
                  <a:pt x="371" y="1"/>
                  <a:pt x="371" y="1"/>
                </a:cubicBezTo>
                <a:cubicBezTo>
                  <a:pt x="371" y="3"/>
                  <a:pt x="371" y="3"/>
                  <a:pt x="371" y="3"/>
                </a:cubicBezTo>
                <a:cubicBezTo>
                  <a:pt x="371" y="5"/>
                  <a:pt x="371" y="5"/>
                  <a:pt x="371" y="5"/>
                </a:cubicBezTo>
                <a:cubicBezTo>
                  <a:pt x="371" y="7"/>
                  <a:pt x="371" y="7"/>
                  <a:pt x="371" y="7"/>
                </a:cubicBezTo>
                <a:cubicBezTo>
                  <a:pt x="369" y="10"/>
                  <a:pt x="369" y="10"/>
                  <a:pt x="369" y="10"/>
                </a:cubicBezTo>
                <a:cubicBezTo>
                  <a:pt x="367" y="13"/>
                  <a:pt x="367" y="13"/>
                  <a:pt x="367" y="13"/>
                </a:cubicBezTo>
                <a:cubicBezTo>
                  <a:pt x="365" y="16"/>
                  <a:pt x="365" y="16"/>
                  <a:pt x="365" y="16"/>
                </a:cubicBezTo>
                <a:cubicBezTo>
                  <a:pt x="365" y="18"/>
                  <a:pt x="365" y="18"/>
                  <a:pt x="365" y="18"/>
                </a:cubicBezTo>
                <a:cubicBezTo>
                  <a:pt x="365" y="27"/>
                  <a:pt x="365" y="27"/>
                  <a:pt x="365" y="27"/>
                </a:cubicBezTo>
                <a:cubicBezTo>
                  <a:pt x="367" y="29"/>
                  <a:pt x="367" y="29"/>
                  <a:pt x="367" y="29"/>
                </a:cubicBezTo>
                <a:cubicBezTo>
                  <a:pt x="369" y="30"/>
                  <a:pt x="369" y="30"/>
                  <a:pt x="369" y="30"/>
                </a:cubicBezTo>
                <a:cubicBezTo>
                  <a:pt x="369" y="32"/>
                  <a:pt x="369" y="32"/>
                  <a:pt x="369" y="32"/>
                </a:cubicBezTo>
                <a:cubicBezTo>
                  <a:pt x="368" y="38"/>
                  <a:pt x="368" y="38"/>
                  <a:pt x="368" y="38"/>
                </a:cubicBezTo>
                <a:cubicBezTo>
                  <a:pt x="367" y="40"/>
                  <a:pt x="367" y="40"/>
                  <a:pt x="367" y="40"/>
                </a:cubicBezTo>
                <a:cubicBezTo>
                  <a:pt x="366" y="42"/>
                  <a:pt x="366" y="42"/>
                  <a:pt x="366" y="42"/>
                </a:cubicBezTo>
                <a:cubicBezTo>
                  <a:pt x="367" y="43"/>
                  <a:pt x="367" y="43"/>
                  <a:pt x="367" y="43"/>
                </a:cubicBezTo>
                <a:cubicBezTo>
                  <a:pt x="368" y="43"/>
                  <a:pt x="368" y="43"/>
                  <a:pt x="368" y="43"/>
                </a:cubicBezTo>
                <a:cubicBezTo>
                  <a:pt x="369" y="41"/>
                  <a:pt x="369" y="41"/>
                  <a:pt x="369" y="41"/>
                </a:cubicBezTo>
                <a:cubicBezTo>
                  <a:pt x="372" y="40"/>
                  <a:pt x="372" y="40"/>
                  <a:pt x="372" y="40"/>
                </a:cubicBezTo>
                <a:cubicBezTo>
                  <a:pt x="373" y="41"/>
                  <a:pt x="373" y="41"/>
                  <a:pt x="373" y="41"/>
                </a:cubicBezTo>
                <a:cubicBezTo>
                  <a:pt x="374" y="43"/>
                  <a:pt x="374" y="43"/>
                  <a:pt x="374" y="43"/>
                </a:cubicBezTo>
                <a:cubicBezTo>
                  <a:pt x="377" y="45"/>
                  <a:pt x="377" y="45"/>
                  <a:pt x="377" y="45"/>
                </a:cubicBezTo>
                <a:cubicBezTo>
                  <a:pt x="379" y="45"/>
                  <a:pt x="379" y="45"/>
                  <a:pt x="379" y="45"/>
                </a:cubicBezTo>
                <a:cubicBezTo>
                  <a:pt x="380" y="44"/>
                  <a:pt x="380" y="44"/>
                  <a:pt x="380" y="44"/>
                </a:cubicBezTo>
                <a:cubicBezTo>
                  <a:pt x="381" y="44"/>
                  <a:pt x="381" y="44"/>
                  <a:pt x="381" y="44"/>
                </a:cubicBezTo>
                <a:cubicBezTo>
                  <a:pt x="384" y="46"/>
                  <a:pt x="384" y="46"/>
                  <a:pt x="384" y="46"/>
                </a:cubicBezTo>
                <a:cubicBezTo>
                  <a:pt x="387" y="46"/>
                  <a:pt x="387" y="46"/>
                  <a:pt x="387" y="46"/>
                </a:cubicBezTo>
                <a:cubicBezTo>
                  <a:pt x="389" y="46"/>
                  <a:pt x="389" y="46"/>
                  <a:pt x="389" y="46"/>
                </a:cubicBezTo>
                <a:close/>
                <a:moveTo>
                  <a:pt x="379" y="61"/>
                </a:moveTo>
                <a:cubicBezTo>
                  <a:pt x="379" y="62"/>
                  <a:pt x="379" y="62"/>
                  <a:pt x="379" y="62"/>
                </a:cubicBezTo>
                <a:cubicBezTo>
                  <a:pt x="381" y="63"/>
                  <a:pt x="381" y="63"/>
                  <a:pt x="381" y="63"/>
                </a:cubicBezTo>
                <a:cubicBezTo>
                  <a:pt x="384" y="63"/>
                  <a:pt x="384" y="63"/>
                  <a:pt x="384" y="63"/>
                </a:cubicBezTo>
                <a:cubicBezTo>
                  <a:pt x="386" y="61"/>
                  <a:pt x="386" y="61"/>
                  <a:pt x="386" y="61"/>
                </a:cubicBezTo>
                <a:cubicBezTo>
                  <a:pt x="388" y="59"/>
                  <a:pt x="388" y="59"/>
                  <a:pt x="388" y="59"/>
                </a:cubicBezTo>
                <a:cubicBezTo>
                  <a:pt x="390" y="59"/>
                  <a:pt x="390" y="59"/>
                  <a:pt x="390" y="59"/>
                </a:cubicBezTo>
                <a:cubicBezTo>
                  <a:pt x="391" y="56"/>
                  <a:pt x="391" y="56"/>
                  <a:pt x="391" y="56"/>
                </a:cubicBezTo>
                <a:cubicBezTo>
                  <a:pt x="392" y="52"/>
                  <a:pt x="392" y="52"/>
                  <a:pt x="392" y="52"/>
                </a:cubicBezTo>
                <a:cubicBezTo>
                  <a:pt x="391" y="51"/>
                  <a:pt x="391" y="51"/>
                  <a:pt x="391" y="51"/>
                </a:cubicBezTo>
                <a:cubicBezTo>
                  <a:pt x="387" y="49"/>
                  <a:pt x="387" y="49"/>
                  <a:pt x="387" y="49"/>
                </a:cubicBezTo>
                <a:cubicBezTo>
                  <a:pt x="383" y="48"/>
                  <a:pt x="383" y="48"/>
                  <a:pt x="383" y="48"/>
                </a:cubicBezTo>
                <a:cubicBezTo>
                  <a:pt x="380" y="49"/>
                  <a:pt x="380" y="49"/>
                  <a:pt x="380" y="49"/>
                </a:cubicBezTo>
                <a:cubicBezTo>
                  <a:pt x="378" y="50"/>
                  <a:pt x="378" y="50"/>
                  <a:pt x="378" y="50"/>
                </a:cubicBezTo>
                <a:cubicBezTo>
                  <a:pt x="376" y="49"/>
                  <a:pt x="376" y="49"/>
                  <a:pt x="376" y="49"/>
                </a:cubicBezTo>
                <a:cubicBezTo>
                  <a:pt x="375" y="49"/>
                  <a:pt x="375" y="49"/>
                  <a:pt x="375" y="49"/>
                </a:cubicBezTo>
                <a:cubicBezTo>
                  <a:pt x="373" y="50"/>
                  <a:pt x="373" y="50"/>
                  <a:pt x="373" y="50"/>
                </a:cubicBezTo>
                <a:cubicBezTo>
                  <a:pt x="370" y="50"/>
                  <a:pt x="370" y="50"/>
                  <a:pt x="370" y="50"/>
                </a:cubicBezTo>
                <a:cubicBezTo>
                  <a:pt x="370" y="51"/>
                  <a:pt x="370" y="51"/>
                  <a:pt x="370" y="51"/>
                </a:cubicBezTo>
                <a:cubicBezTo>
                  <a:pt x="370" y="52"/>
                  <a:pt x="370" y="52"/>
                  <a:pt x="370" y="52"/>
                </a:cubicBezTo>
                <a:cubicBezTo>
                  <a:pt x="373" y="53"/>
                  <a:pt x="373" y="53"/>
                  <a:pt x="373" y="53"/>
                </a:cubicBezTo>
                <a:cubicBezTo>
                  <a:pt x="374" y="55"/>
                  <a:pt x="374" y="55"/>
                  <a:pt x="374" y="55"/>
                </a:cubicBezTo>
                <a:cubicBezTo>
                  <a:pt x="376" y="56"/>
                  <a:pt x="376" y="56"/>
                  <a:pt x="376" y="56"/>
                </a:cubicBezTo>
                <a:cubicBezTo>
                  <a:pt x="378" y="58"/>
                  <a:pt x="378" y="58"/>
                  <a:pt x="378" y="58"/>
                </a:cubicBezTo>
                <a:cubicBezTo>
                  <a:pt x="380" y="59"/>
                  <a:pt x="380" y="59"/>
                  <a:pt x="380" y="59"/>
                </a:cubicBezTo>
                <a:cubicBezTo>
                  <a:pt x="384" y="59"/>
                  <a:pt x="384" y="59"/>
                  <a:pt x="384" y="59"/>
                </a:cubicBezTo>
                <a:cubicBezTo>
                  <a:pt x="386" y="59"/>
                  <a:pt x="386" y="59"/>
                  <a:pt x="386" y="59"/>
                </a:cubicBezTo>
                <a:cubicBezTo>
                  <a:pt x="385" y="60"/>
                  <a:pt x="385" y="60"/>
                  <a:pt x="385" y="60"/>
                </a:cubicBezTo>
                <a:cubicBezTo>
                  <a:pt x="382" y="61"/>
                  <a:pt x="382" y="61"/>
                  <a:pt x="382" y="61"/>
                </a:cubicBezTo>
                <a:cubicBezTo>
                  <a:pt x="379" y="61"/>
                  <a:pt x="379" y="61"/>
                  <a:pt x="379" y="61"/>
                </a:cubicBezTo>
                <a:close/>
                <a:moveTo>
                  <a:pt x="451" y="67"/>
                </a:moveTo>
                <a:cubicBezTo>
                  <a:pt x="451" y="69"/>
                  <a:pt x="451" y="69"/>
                  <a:pt x="451" y="69"/>
                </a:cubicBezTo>
                <a:cubicBezTo>
                  <a:pt x="449" y="72"/>
                  <a:pt x="449" y="72"/>
                  <a:pt x="449" y="72"/>
                </a:cubicBezTo>
                <a:cubicBezTo>
                  <a:pt x="446" y="73"/>
                  <a:pt x="446" y="73"/>
                  <a:pt x="446" y="73"/>
                </a:cubicBezTo>
                <a:cubicBezTo>
                  <a:pt x="443" y="76"/>
                  <a:pt x="443" y="76"/>
                  <a:pt x="443" y="76"/>
                </a:cubicBezTo>
                <a:cubicBezTo>
                  <a:pt x="441" y="77"/>
                  <a:pt x="441" y="77"/>
                  <a:pt x="441" y="77"/>
                </a:cubicBezTo>
                <a:cubicBezTo>
                  <a:pt x="439" y="77"/>
                  <a:pt x="439" y="77"/>
                  <a:pt x="439" y="77"/>
                </a:cubicBezTo>
                <a:cubicBezTo>
                  <a:pt x="437" y="76"/>
                  <a:pt x="437" y="76"/>
                  <a:pt x="437" y="76"/>
                </a:cubicBezTo>
                <a:cubicBezTo>
                  <a:pt x="436" y="74"/>
                  <a:pt x="436" y="74"/>
                  <a:pt x="436" y="74"/>
                </a:cubicBezTo>
                <a:cubicBezTo>
                  <a:pt x="434" y="75"/>
                  <a:pt x="434" y="75"/>
                  <a:pt x="434" y="75"/>
                </a:cubicBezTo>
                <a:cubicBezTo>
                  <a:pt x="432" y="74"/>
                  <a:pt x="432" y="74"/>
                  <a:pt x="432" y="74"/>
                </a:cubicBezTo>
                <a:cubicBezTo>
                  <a:pt x="430" y="75"/>
                  <a:pt x="430" y="75"/>
                  <a:pt x="430" y="75"/>
                </a:cubicBezTo>
                <a:cubicBezTo>
                  <a:pt x="425" y="74"/>
                  <a:pt x="425" y="74"/>
                  <a:pt x="425" y="74"/>
                </a:cubicBezTo>
                <a:cubicBezTo>
                  <a:pt x="422" y="73"/>
                  <a:pt x="422" y="73"/>
                  <a:pt x="422" y="73"/>
                </a:cubicBezTo>
                <a:cubicBezTo>
                  <a:pt x="421" y="72"/>
                  <a:pt x="421" y="72"/>
                  <a:pt x="421" y="72"/>
                </a:cubicBezTo>
                <a:cubicBezTo>
                  <a:pt x="418" y="73"/>
                  <a:pt x="418" y="73"/>
                  <a:pt x="418" y="73"/>
                </a:cubicBezTo>
                <a:cubicBezTo>
                  <a:pt x="416" y="74"/>
                  <a:pt x="416" y="74"/>
                  <a:pt x="416" y="74"/>
                </a:cubicBezTo>
                <a:cubicBezTo>
                  <a:pt x="414" y="74"/>
                  <a:pt x="414" y="74"/>
                  <a:pt x="414" y="74"/>
                </a:cubicBezTo>
                <a:cubicBezTo>
                  <a:pt x="411" y="72"/>
                  <a:pt x="411" y="72"/>
                  <a:pt x="411" y="72"/>
                </a:cubicBezTo>
                <a:cubicBezTo>
                  <a:pt x="409" y="72"/>
                  <a:pt x="409" y="72"/>
                  <a:pt x="409" y="72"/>
                </a:cubicBezTo>
                <a:cubicBezTo>
                  <a:pt x="407" y="70"/>
                  <a:pt x="407" y="70"/>
                  <a:pt x="407" y="70"/>
                </a:cubicBezTo>
                <a:cubicBezTo>
                  <a:pt x="406" y="66"/>
                  <a:pt x="406" y="66"/>
                  <a:pt x="406" y="66"/>
                </a:cubicBezTo>
                <a:cubicBezTo>
                  <a:pt x="404" y="64"/>
                  <a:pt x="404" y="64"/>
                  <a:pt x="404" y="64"/>
                </a:cubicBezTo>
                <a:cubicBezTo>
                  <a:pt x="403" y="64"/>
                  <a:pt x="403" y="64"/>
                  <a:pt x="403" y="64"/>
                </a:cubicBezTo>
                <a:cubicBezTo>
                  <a:pt x="401" y="65"/>
                  <a:pt x="401" y="65"/>
                  <a:pt x="401" y="65"/>
                </a:cubicBezTo>
                <a:cubicBezTo>
                  <a:pt x="399" y="63"/>
                  <a:pt x="399" y="63"/>
                  <a:pt x="399" y="63"/>
                </a:cubicBezTo>
                <a:cubicBezTo>
                  <a:pt x="398" y="63"/>
                  <a:pt x="398" y="63"/>
                  <a:pt x="398" y="63"/>
                </a:cubicBezTo>
                <a:cubicBezTo>
                  <a:pt x="397" y="64"/>
                  <a:pt x="397" y="64"/>
                  <a:pt x="397" y="64"/>
                </a:cubicBezTo>
                <a:cubicBezTo>
                  <a:pt x="398" y="65"/>
                  <a:pt x="398" y="65"/>
                  <a:pt x="398" y="65"/>
                </a:cubicBezTo>
                <a:cubicBezTo>
                  <a:pt x="396" y="66"/>
                  <a:pt x="396" y="66"/>
                  <a:pt x="396" y="66"/>
                </a:cubicBezTo>
                <a:cubicBezTo>
                  <a:pt x="396" y="65"/>
                  <a:pt x="396" y="65"/>
                  <a:pt x="396" y="65"/>
                </a:cubicBezTo>
                <a:cubicBezTo>
                  <a:pt x="393" y="63"/>
                  <a:pt x="393" y="63"/>
                  <a:pt x="393" y="63"/>
                </a:cubicBezTo>
                <a:cubicBezTo>
                  <a:pt x="394" y="62"/>
                  <a:pt x="394" y="62"/>
                  <a:pt x="394" y="62"/>
                </a:cubicBezTo>
                <a:cubicBezTo>
                  <a:pt x="396" y="61"/>
                  <a:pt x="396" y="61"/>
                  <a:pt x="396" y="61"/>
                </a:cubicBezTo>
                <a:cubicBezTo>
                  <a:pt x="397" y="59"/>
                  <a:pt x="397" y="59"/>
                  <a:pt x="397" y="59"/>
                </a:cubicBezTo>
                <a:cubicBezTo>
                  <a:pt x="396" y="56"/>
                  <a:pt x="396" y="56"/>
                  <a:pt x="396" y="56"/>
                </a:cubicBezTo>
                <a:cubicBezTo>
                  <a:pt x="396" y="54"/>
                  <a:pt x="396" y="54"/>
                  <a:pt x="396" y="54"/>
                </a:cubicBezTo>
                <a:cubicBezTo>
                  <a:pt x="399" y="52"/>
                  <a:pt x="399" y="52"/>
                  <a:pt x="399" y="52"/>
                </a:cubicBezTo>
                <a:cubicBezTo>
                  <a:pt x="398" y="50"/>
                  <a:pt x="398" y="50"/>
                  <a:pt x="398" y="50"/>
                </a:cubicBezTo>
                <a:cubicBezTo>
                  <a:pt x="397" y="50"/>
                  <a:pt x="397" y="50"/>
                  <a:pt x="397" y="50"/>
                </a:cubicBezTo>
                <a:cubicBezTo>
                  <a:pt x="394" y="49"/>
                  <a:pt x="394" y="49"/>
                  <a:pt x="394" y="49"/>
                </a:cubicBezTo>
                <a:cubicBezTo>
                  <a:pt x="394" y="47"/>
                  <a:pt x="394" y="47"/>
                  <a:pt x="394" y="47"/>
                </a:cubicBezTo>
                <a:cubicBezTo>
                  <a:pt x="395" y="44"/>
                  <a:pt x="395" y="44"/>
                  <a:pt x="395" y="44"/>
                </a:cubicBezTo>
                <a:cubicBezTo>
                  <a:pt x="397" y="43"/>
                  <a:pt x="397" y="43"/>
                  <a:pt x="397" y="43"/>
                </a:cubicBezTo>
                <a:cubicBezTo>
                  <a:pt x="400" y="42"/>
                  <a:pt x="400" y="42"/>
                  <a:pt x="400" y="42"/>
                </a:cubicBezTo>
                <a:cubicBezTo>
                  <a:pt x="400" y="40"/>
                  <a:pt x="400" y="40"/>
                  <a:pt x="400" y="40"/>
                </a:cubicBezTo>
                <a:cubicBezTo>
                  <a:pt x="401" y="39"/>
                  <a:pt x="401" y="39"/>
                  <a:pt x="401" y="39"/>
                </a:cubicBezTo>
                <a:cubicBezTo>
                  <a:pt x="404" y="38"/>
                  <a:pt x="404" y="38"/>
                  <a:pt x="404" y="38"/>
                </a:cubicBezTo>
                <a:cubicBezTo>
                  <a:pt x="407" y="35"/>
                  <a:pt x="407" y="35"/>
                  <a:pt x="407" y="35"/>
                </a:cubicBezTo>
                <a:cubicBezTo>
                  <a:pt x="408" y="33"/>
                  <a:pt x="408" y="33"/>
                  <a:pt x="408" y="33"/>
                </a:cubicBezTo>
                <a:cubicBezTo>
                  <a:pt x="409" y="32"/>
                  <a:pt x="409" y="32"/>
                  <a:pt x="409" y="32"/>
                </a:cubicBezTo>
                <a:cubicBezTo>
                  <a:pt x="413" y="32"/>
                  <a:pt x="413" y="32"/>
                  <a:pt x="413" y="32"/>
                </a:cubicBezTo>
                <a:cubicBezTo>
                  <a:pt x="416" y="35"/>
                  <a:pt x="416" y="35"/>
                  <a:pt x="416" y="35"/>
                </a:cubicBezTo>
                <a:cubicBezTo>
                  <a:pt x="419" y="39"/>
                  <a:pt x="419" y="39"/>
                  <a:pt x="419" y="39"/>
                </a:cubicBezTo>
                <a:cubicBezTo>
                  <a:pt x="420" y="41"/>
                  <a:pt x="420" y="41"/>
                  <a:pt x="420" y="41"/>
                </a:cubicBezTo>
                <a:cubicBezTo>
                  <a:pt x="419" y="45"/>
                  <a:pt x="419" y="45"/>
                  <a:pt x="419" y="45"/>
                </a:cubicBezTo>
                <a:cubicBezTo>
                  <a:pt x="420" y="46"/>
                  <a:pt x="420" y="46"/>
                  <a:pt x="420" y="46"/>
                </a:cubicBezTo>
                <a:cubicBezTo>
                  <a:pt x="420" y="48"/>
                  <a:pt x="420" y="48"/>
                  <a:pt x="420" y="48"/>
                </a:cubicBezTo>
                <a:cubicBezTo>
                  <a:pt x="419" y="49"/>
                  <a:pt x="419" y="49"/>
                  <a:pt x="419" y="49"/>
                </a:cubicBezTo>
                <a:cubicBezTo>
                  <a:pt x="419" y="51"/>
                  <a:pt x="419" y="51"/>
                  <a:pt x="419" y="51"/>
                </a:cubicBezTo>
                <a:cubicBezTo>
                  <a:pt x="420" y="50"/>
                  <a:pt x="420" y="50"/>
                  <a:pt x="420" y="50"/>
                </a:cubicBezTo>
                <a:cubicBezTo>
                  <a:pt x="421" y="47"/>
                  <a:pt x="421" y="47"/>
                  <a:pt x="421" y="47"/>
                </a:cubicBezTo>
                <a:cubicBezTo>
                  <a:pt x="422" y="45"/>
                  <a:pt x="422" y="45"/>
                  <a:pt x="422" y="45"/>
                </a:cubicBezTo>
                <a:cubicBezTo>
                  <a:pt x="422" y="43"/>
                  <a:pt x="422" y="43"/>
                  <a:pt x="422" y="43"/>
                </a:cubicBezTo>
                <a:cubicBezTo>
                  <a:pt x="423" y="41"/>
                  <a:pt x="423" y="41"/>
                  <a:pt x="423" y="41"/>
                </a:cubicBezTo>
                <a:cubicBezTo>
                  <a:pt x="422" y="40"/>
                  <a:pt x="422" y="40"/>
                  <a:pt x="422" y="40"/>
                </a:cubicBezTo>
                <a:cubicBezTo>
                  <a:pt x="420" y="37"/>
                  <a:pt x="420" y="37"/>
                  <a:pt x="420" y="37"/>
                </a:cubicBezTo>
                <a:cubicBezTo>
                  <a:pt x="419" y="35"/>
                  <a:pt x="419" y="35"/>
                  <a:pt x="419" y="35"/>
                </a:cubicBezTo>
                <a:cubicBezTo>
                  <a:pt x="420" y="34"/>
                  <a:pt x="420" y="34"/>
                  <a:pt x="420" y="34"/>
                </a:cubicBezTo>
                <a:cubicBezTo>
                  <a:pt x="423" y="33"/>
                  <a:pt x="423" y="33"/>
                  <a:pt x="423" y="33"/>
                </a:cubicBezTo>
                <a:cubicBezTo>
                  <a:pt x="427" y="34"/>
                  <a:pt x="427" y="34"/>
                  <a:pt x="427" y="34"/>
                </a:cubicBezTo>
                <a:cubicBezTo>
                  <a:pt x="434" y="39"/>
                  <a:pt x="434" y="39"/>
                  <a:pt x="434" y="39"/>
                </a:cubicBezTo>
                <a:cubicBezTo>
                  <a:pt x="435" y="39"/>
                  <a:pt x="435" y="39"/>
                  <a:pt x="435" y="39"/>
                </a:cubicBezTo>
                <a:cubicBezTo>
                  <a:pt x="436" y="40"/>
                  <a:pt x="436" y="40"/>
                  <a:pt x="436" y="40"/>
                </a:cubicBezTo>
                <a:cubicBezTo>
                  <a:pt x="436" y="43"/>
                  <a:pt x="436" y="43"/>
                  <a:pt x="436" y="43"/>
                </a:cubicBezTo>
                <a:cubicBezTo>
                  <a:pt x="438" y="44"/>
                  <a:pt x="438" y="44"/>
                  <a:pt x="438" y="44"/>
                </a:cubicBezTo>
                <a:cubicBezTo>
                  <a:pt x="439" y="47"/>
                  <a:pt x="439" y="47"/>
                  <a:pt x="439" y="47"/>
                </a:cubicBezTo>
                <a:cubicBezTo>
                  <a:pt x="439" y="50"/>
                  <a:pt x="439" y="50"/>
                  <a:pt x="439" y="50"/>
                </a:cubicBezTo>
                <a:cubicBezTo>
                  <a:pt x="442" y="53"/>
                  <a:pt x="442" y="53"/>
                  <a:pt x="442" y="53"/>
                </a:cubicBezTo>
                <a:cubicBezTo>
                  <a:pt x="444" y="56"/>
                  <a:pt x="444" y="56"/>
                  <a:pt x="444" y="56"/>
                </a:cubicBezTo>
                <a:cubicBezTo>
                  <a:pt x="444" y="57"/>
                  <a:pt x="444" y="57"/>
                  <a:pt x="444" y="57"/>
                </a:cubicBezTo>
                <a:cubicBezTo>
                  <a:pt x="442" y="57"/>
                  <a:pt x="442" y="57"/>
                  <a:pt x="442" y="57"/>
                </a:cubicBezTo>
                <a:cubicBezTo>
                  <a:pt x="440" y="56"/>
                  <a:pt x="440" y="56"/>
                  <a:pt x="440" y="56"/>
                </a:cubicBezTo>
                <a:cubicBezTo>
                  <a:pt x="439" y="56"/>
                  <a:pt x="439" y="56"/>
                  <a:pt x="439" y="56"/>
                </a:cubicBezTo>
                <a:cubicBezTo>
                  <a:pt x="440" y="59"/>
                  <a:pt x="440" y="59"/>
                  <a:pt x="440" y="59"/>
                </a:cubicBezTo>
                <a:cubicBezTo>
                  <a:pt x="442" y="61"/>
                  <a:pt x="442" y="61"/>
                  <a:pt x="442" y="61"/>
                </a:cubicBezTo>
                <a:cubicBezTo>
                  <a:pt x="445" y="61"/>
                  <a:pt x="445" y="61"/>
                  <a:pt x="445" y="61"/>
                </a:cubicBezTo>
                <a:cubicBezTo>
                  <a:pt x="447" y="64"/>
                  <a:pt x="447" y="64"/>
                  <a:pt x="447" y="64"/>
                </a:cubicBezTo>
                <a:cubicBezTo>
                  <a:pt x="449" y="64"/>
                  <a:pt x="449" y="64"/>
                  <a:pt x="449" y="64"/>
                </a:cubicBezTo>
                <a:cubicBezTo>
                  <a:pt x="451" y="67"/>
                  <a:pt x="451" y="67"/>
                  <a:pt x="451" y="67"/>
                </a:cubicBezTo>
                <a:close/>
                <a:moveTo>
                  <a:pt x="841" y="8"/>
                </a:moveTo>
                <a:cubicBezTo>
                  <a:pt x="842" y="4"/>
                  <a:pt x="842" y="4"/>
                  <a:pt x="842" y="4"/>
                </a:cubicBezTo>
                <a:cubicBezTo>
                  <a:pt x="845" y="1"/>
                  <a:pt x="845" y="1"/>
                  <a:pt x="845" y="1"/>
                </a:cubicBezTo>
                <a:cubicBezTo>
                  <a:pt x="846" y="1"/>
                  <a:pt x="846" y="1"/>
                  <a:pt x="846" y="1"/>
                </a:cubicBezTo>
                <a:cubicBezTo>
                  <a:pt x="846" y="3"/>
                  <a:pt x="846" y="3"/>
                  <a:pt x="846" y="3"/>
                </a:cubicBezTo>
                <a:cubicBezTo>
                  <a:pt x="846" y="4"/>
                  <a:pt x="846" y="4"/>
                  <a:pt x="846" y="4"/>
                </a:cubicBezTo>
                <a:cubicBezTo>
                  <a:pt x="845" y="5"/>
                  <a:pt x="845" y="5"/>
                  <a:pt x="845" y="5"/>
                </a:cubicBezTo>
                <a:cubicBezTo>
                  <a:pt x="844" y="7"/>
                  <a:pt x="844" y="7"/>
                  <a:pt x="844" y="7"/>
                </a:cubicBezTo>
                <a:cubicBezTo>
                  <a:pt x="841" y="8"/>
                  <a:pt x="841" y="8"/>
                  <a:pt x="841" y="8"/>
                </a:cubicBezTo>
                <a:close/>
                <a:moveTo>
                  <a:pt x="864" y="44"/>
                </a:moveTo>
                <a:cubicBezTo>
                  <a:pt x="865" y="48"/>
                  <a:pt x="865" y="48"/>
                  <a:pt x="865" y="48"/>
                </a:cubicBezTo>
                <a:cubicBezTo>
                  <a:pt x="869" y="53"/>
                  <a:pt x="869" y="53"/>
                  <a:pt x="869" y="53"/>
                </a:cubicBezTo>
                <a:cubicBezTo>
                  <a:pt x="870" y="55"/>
                  <a:pt x="870" y="55"/>
                  <a:pt x="870" y="55"/>
                </a:cubicBezTo>
                <a:cubicBezTo>
                  <a:pt x="877" y="57"/>
                  <a:pt x="877" y="57"/>
                  <a:pt x="877" y="57"/>
                </a:cubicBezTo>
                <a:cubicBezTo>
                  <a:pt x="882" y="58"/>
                  <a:pt x="882" y="58"/>
                  <a:pt x="882" y="58"/>
                </a:cubicBezTo>
                <a:cubicBezTo>
                  <a:pt x="886" y="60"/>
                  <a:pt x="886" y="60"/>
                  <a:pt x="886" y="60"/>
                </a:cubicBezTo>
                <a:cubicBezTo>
                  <a:pt x="890" y="60"/>
                  <a:pt x="890" y="60"/>
                  <a:pt x="890" y="60"/>
                </a:cubicBezTo>
                <a:cubicBezTo>
                  <a:pt x="893" y="59"/>
                  <a:pt x="893" y="59"/>
                  <a:pt x="893" y="59"/>
                </a:cubicBezTo>
                <a:cubicBezTo>
                  <a:pt x="896" y="60"/>
                  <a:pt x="896" y="60"/>
                  <a:pt x="896" y="60"/>
                </a:cubicBezTo>
                <a:cubicBezTo>
                  <a:pt x="898" y="59"/>
                  <a:pt x="898" y="59"/>
                  <a:pt x="898" y="59"/>
                </a:cubicBezTo>
                <a:cubicBezTo>
                  <a:pt x="902" y="57"/>
                  <a:pt x="902" y="57"/>
                  <a:pt x="902" y="57"/>
                </a:cubicBezTo>
                <a:cubicBezTo>
                  <a:pt x="903" y="54"/>
                  <a:pt x="903" y="54"/>
                  <a:pt x="903" y="54"/>
                </a:cubicBezTo>
                <a:cubicBezTo>
                  <a:pt x="904" y="52"/>
                  <a:pt x="904" y="52"/>
                  <a:pt x="904" y="52"/>
                </a:cubicBezTo>
                <a:cubicBezTo>
                  <a:pt x="903" y="49"/>
                  <a:pt x="903" y="49"/>
                  <a:pt x="903" y="49"/>
                </a:cubicBezTo>
                <a:cubicBezTo>
                  <a:pt x="902" y="48"/>
                  <a:pt x="902" y="48"/>
                  <a:pt x="902" y="48"/>
                </a:cubicBezTo>
                <a:cubicBezTo>
                  <a:pt x="900" y="48"/>
                  <a:pt x="900" y="48"/>
                  <a:pt x="900" y="48"/>
                </a:cubicBezTo>
                <a:cubicBezTo>
                  <a:pt x="899" y="46"/>
                  <a:pt x="899" y="46"/>
                  <a:pt x="899" y="46"/>
                </a:cubicBezTo>
                <a:cubicBezTo>
                  <a:pt x="900" y="45"/>
                  <a:pt x="900" y="45"/>
                  <a:pt x="900" y="45"/>
                </a:cubicBezTo>
                <a:cubicBezTo>
                  <a:pt x="899" y="44"/>
                  <a:pt x="899" y="44"/>
                  <a:pt x="899" y="44"/>
                </a:cubicBezTo>
                <a:cubicBezTo>
                  <a:pt x="897" y="45"/>
                  <a:pt x="897" y="45"/>
                  <a:pt x="897" y="45"/>
                </a:cubicBezTo>
                <a:cubicBezTo>
                  <a:pt x="894" y="44"/>
                  <a:pt x="894" y="44"/>
                  <a:pt x="894" y="44"/>
                </a:cubicBezTo>
                <a:cubicBezTo>
                  <a:pt x="888" y="45"/>
                  <a:pt x="888" y="45"/>
                  <a:pt x="888" y="45"/>
                </a:cubicBezTo>
                <a:cubicBezTo>
                  <a:pt x="885" y="47"/>
                  <a:pt x="885" y="47"/>
                  <a:pt x="885" y="47"/>
                </a:cubicBezTo>
                <a:cubicBezTo>
                  <a:pt x="883" y="48"/>
                  <a:pt x="883" y="48"/>
                  <a:pt x="883" y="48"/>
                </a:cubicBezTo>
                <a:cubicBezTo>
                  <a:pt x="882" y="47"/>
                  <a:pt x="882" y="47"/>
                  <a:pt x="882" y="47"/>
                </a:cubicBezTo>
                <a:cubicBezTo>
                  <a:pt x="882" y="45"/>
                  <a:pt x="882" y="45"/>
                  <a:pt x="882" y="45"/>
                </a:cubicBezTo>
                <a:cubicBezTo>
                  <a:pt x="880" y="45"/>
                  <a:pt x="880" y="45"/>
                  <a:pt x="880" y="45"/>
                </a:cubicBezTo>
                <a:cubicBezTo>
                  <a:pt x="878" y="46"/>
                  <a:pt x="878" y="46"/>
                  <a:pt x="878" y="46"/>
                </a:cubicBezTo>
                <a:cubicBezTo>
                  <a:pt x="874" y="46"/>
                  <a:pt x="874" y="46"/>
                  <a:pt x="874" y="46"/>
                </a:cubicBezTo>
                <a:cubicBezTo>
                  <a:pt x="873" y="45"/>
                  <a:pt x="873" y="45"/>
                  <a:pt x="873" y="45"/>
                </a:cubicBezTo>
                <a:cubicBezTo>
                  <a:pt x="873" y="47"/>
                  <a:pt x="873" y="47"/>
                  <a:pt x="873" y="47"/>
                </a:cubicBezTo>
                <a:cubicBezTo>
                  <a:pt x="871" y="48"/>
                  <a:pt x="871" y="48"/>
                  <a:pt x="871" y="48"/>
                </a:cubicBezTo>
                <a:cubicBezTo>
                  <a:pt x="867" y="47"/>
                  <a:pt x="867" y="47"/>
                  <a:pt x="867" y="47"/>
                </a:cubicBezTo>
                <a:cubicBezTo>
                  <a:pt x="866" y="46"/>
                  <a:pt x="866" y="46"/>
                  <a:pt x="866" y="46"/>
                </a:cubicBezTo>
                <a:cubicBezTo>
                  <a:pt x="866" y="44"/>
                  <a:pt x="866" y="44"/>
                  <a:pt x="866" y="44"/>
                </a:cubicBezTo>
                <a:cubicBezTo>
                  <a:pt x="864" y="44"/>
                  <a:pt x="864" y="44"/>
                  <a:pt x="864" y="44"/>
                </a:cubicBezTo>
                <a:close/>
                <a:moveTo>
                  <a:pt x="782" y="81"/>
                </a:moveTo>
                <a:cubicBezTo>
                  <a:pt x="780" y="76"/>
                  <a:pt x="780" y="76"/>
                  <a:pt x="780" y="76"/>
                </a:cubicBezTo>
                <a:cubicBezTo>
                  <a:pt x="779" y="73"/>
                  <a:pt x="779" y="73"/>
                  <a:pt x="779" y="73"/>
                </a:cubicBezTo>
                <a:cubicBezTo>
                  <a:pt x="777" y="72"/>
                  <a:pt x="777" y="72"/>
                  <a:pt x="777" y="72"/>
                </a:cubicBezTo>
                <a:cubicBezTo>
                  <a:pt x="773" y="71"/>
                  <a:pt x="773" y="71"/>
                  <a:pt x="773" y="71"/>
                </a:cubicBezTo>
                <a:cubicBezTo>
                  <a:pt x="772" y="69"/>
                  <a:pt x="772" y="69"/>
                  <a:pt x="772" y="69"/>
                </a:cubicBezTo>
                <a:cubicBezTo>
                  <a:pt x="770" y="67"/>
                  <a:pt x="770" y="67"/>
                  <a:pt x="770" y="67"/>
                </a:cubicBezTo>
                <a:cubicBezTo>
                  <a:pt x="769" y="67"/>
                  <a:pt x="769" y="67"/>
                  <a:pt x="769" y="67"/>
                </a:cubicBezTo>
                <a:cubicBezTo>
                  <a:pt x="769" y="68"/>
                  <a:pt x="769" y="68"/>
                  <a:pt x="769" y="68"/>
                </a:cubicBezTo>
                <a:cubicBezTo>
                  <a:pt x="771" y="72"/>
                  <a:pt x="771" y="72"/>
                  <a:pt x="771" y="72"/>
                </a:cubicBezTo>
                <a:cubicBezTo>
                  <a:pt x="774" y="74"/>
                  <a:pt x="774" y="74"/>
                  <a:pt x="774" y="74"/>
                </a:cubicBezTo>
                <a:cubicBezTo>
                  <a:pt x="777" y="79"/>
                  <a:pt x="777" y="79"/>
                  <a:pt x="777" y="79"/>
                </a:cubicBezTo>
                <a:cubicBezTo>
                  <a:pt x="779" y="83"/>
                  <a:pt x="779" y="83"/>
                  <a:pt x="779" y="83"/>
                </a:cubicBezTo>
                <a:cubicBezTo>
                  <a:pt x="781" y="84"/>
                  <a:pt x="781" y="84"/>
                  <a:pt x="781" y="84"/>
                </a:cubicBezTo>
                <a:cubicBezTo>
                  <a:pt x="782" y="83"/>
                  <a:pt x="782" y="83"/>
                  <a:pt x="782" y="83"/>
                </a:cubicBezTo>
                <a:cubicBezTo>
                  <a:pt x="782" y="81"/>
                  <a:pt x="782" y="81"/>
                  <a:pt x="782" y="81"/>
                </a:cubicBezTo>
                <a:close/>
                <a:moveTo>
                  <a:pt x="823" y="85"/>
                </a:moveTo>
                <a:cubicBezTo>
                  <a:pt x="822" y="86"/>
                  <a:pt x="822" y="86"/>
                  <a:pt x="822" y="86"/>
                </a:cubicBezTo>
                <a:cubicBezTo>
                  <a:pt x="821" y="85"/>
                  <a:pt x="821" y="85"/>
                  <a:pt x="821" y="85"/>
                </a:cubicBezTo>
                <a:cubicBezTo>
                  <a:pt x="821" y="83"/>
                  <a:pt x="821" y="83"/>
                  <a:pt x="821" y="83"/>
                </a:cubicBezTo>
                <a:cubicBezTo>
                  <a:pt x="821" y="82"/>
                  <a:pt x="821" y="82"/>
                  <a:pt x="821" y="82"/>
                </a:cubicBezTo>
                <a:cubicBezTo>
                  <a:pt x="822" y="83"/>
                  <a:pt x="822" y="83"/>
                  <a:pt x="822" y="83"/>
                </a:cubicBezTo>
                <a:cubicBezTo>
                  <a:pt x="823" y="84"/>
                  <a:pt x="823" y="84"/>
                  <a:pt x="823" y="84"/>
                </a:cubicBezTo>
                <a:cubicBezTo>
                  <a:pt x="825" y="85"/>
                  <a:pt x="825" y="85"/>
                  <a:pt x="825" y="85"/>
                </a:cubicBezTo>
                <a:cubicBezTo>
                  <a:pt x="826" y="86"/>
                  <a:pt x="826" y="86"/>
                  <a:pt x="826" y="86"/>
                </a:cubicBezTo>
                <a:cubicBezTo>
                  <a:pt x="826" y="87"/>
                  <a:pt x="826" y="87"/>
                  <a:pt x="826" y="87"/>
                </a:cubicBezTo>
                <a:cubicBezTo>
                  <a:pt x="828" y="87"/>
                  <a:pt x="828" y="87"/>
                  <a:pt x="828" y="87"/>
                </a:cubicBezTo>
                <a:cubicBezTo>
                  <a:pt x="829" y="84"/>
                  <a:pt x="829" y="84"/>
                  <a:pt x="829" y="84"/>
                </a:cubicBezTo>
                <a:cubicBezTo>
                  <a:pt x="831" y="80"/>
                  <a:pt x="831" y="80"/>
                  <a:pt x="831" y="80"/>
                </a:cubicBezTo>
                <a:cubicBezTo>
                  <a:pt x="835" y="77"/>
                  <a:pt x="835" y="77"/>
                  <a:pt x="835" y="77"/>
                </a:cubicBezTo>
                <a:cubicBezTo>
                  <a:pt x="838" y="76"/>
                  <a:pt x="838" y="76"/>
                  <a:pt x="838" y="76"/>
                </a:cubicBezTo>
                <a:cubicBezTo>
                  <a:pt x="839" y="75"/>
                  <a:pt x="839" y="75"/>
                  <a:pt x="839" y="75"/>
                </a:cubicBezTo>
                <a:cubicBezTo>
                  <a:pt x="840" y="75"/>
                  <a:pt x="840" y="75"/>
                  <a:pt x="840" y="75"/>
                </a:cubicBezTo>
                <a:cubicBezTo>
                  <a:pt x="840" y="77"/>
                  <a:pt x="840" y="77"/>
                  <a:pt x="840" y="77"/>
                </a:cubicBezTo>
                <a:cubicBezTo>
                  <a:pt x="842" y="77"/>
                  <a:pt x="842" y="77"/>
                  <a:pt x="842" y="77"/>
                </a:cubicBezTo>
                <a:cubicBezTo>
                  <a:pt x="843" y="78"/>
                  <a:pt x="843" y="78"/>
                  <a:pt x="843" y="78"/>
                </a:cubicBezTo>
                <a:cubicBezTo>
                  <a:pt x="845" y="77"/>
                  <a:pt x="845" y="77"/>
                  <a:pt x="845" y="77"/>
                </a:cubicBezTo>
                <a:cubicBezTo>
                  <a:pt x="845" y="75"/>
                  <a:pt x="845" y="75"/>
                  <a:pt x="845" y="75"/>
                </a:cubicBezTo>
                <a:cubicBezTo>
                  <a:pt x="848" y="74"/>
                  <a:pt x="848" y="74"/>
                  <a:pt x="848" y="74"/>
                </a:cubicBezTo>
                <a:cubicBezTo>
                  <a:pt x="850" y="72"/>
                  <a:pt x="850" y="72"/>
                  <a:pt x="850" y="72"/>
                </a:cubicBezTo>
                <a:cubicBezTo>
                  <a:pt x="849" y="71"/>
                  <a:pt x="849" y="71"/>
                  <a:pt x="849" y="71"/>
                </a:cubicBezTo>
                <a:cubicBezTo>
                  <a:pt x="846" y="71"/>
                  <a:pt x="846" y="71"/>
                  <a:pt x="846" y="71"/>
                </a:cubicBezTo>
                <a:cubicBezTo>
                  <a:pt x="843" y="73"/>
                  <a:pt x="843" y="73"/>
                  <a:pt x="843" y="73"/>
                </a:cubicBezTo>
                <a:cubicBezTo>
                  <a:pt x="840" y="71"/>
                  <a:pt x="840" y="71"/>
                  <a:pt x="840" y="71"/>
                </a:cubicBezTo>
                <a:cubicBezTo>
                  <a:pt x="836" y="70"/>
                  <a:pt x="836" y="70"/>
                  <a:pt x="836" y="70"/>
                </a:cubicBezTo>
                <a:cubicBezTo>
                  <a:pt x="835" y="68"/>
                  <a:pt x="835" y="68"/>
                  <a:pt x="835" y="68"/>
                </a:cubicBezTo>
                <a:cubicBezTo>
                  <a:pt x="833" y="68"/>
                  <a:pt x="833" y="68"/>
                  <a:pt x="833" y="68"/>
                </a:cubicBezTo>
                <a:cubicBezTo>
                  <a:pt x="832" y="67"/>
                  <a:pt x="832" y="67"/>
                  <a:pt x="832" y="67"/>
                </a:cubicBezTo>
                <a:cubicBezTo>
                  <a:pt x="829" y="64"/>
                  <a:pt x="829" y="64"/>
                  <a:pt x="829" y="64"/>
                </a:cubicBezTo>
                <a:cubicBezTo>
                  <a:pt x="827" y="63"/>
                  <a:pt x="827" y="63"/>
                  <a:pt x="827" y="63"/>
                </a:cubicBezTo>
                <a:cubicBezTo>
                  <a:pt x="826" y="59"/>
                  <a:pt x="826" y="59"/>
                  <a:pt x="826" y="59"/>
                </a:cubicBezTo>
                <a:cubicBezTo>
                  <a:pt x="826" y="58"/>
                  <a:pt x="826" y="58"/>
                  <a:pt x="826" y="58"/>
                </a:cubicBezTo>
                <a:cubicBezTo>
                  <a:pt x="824" y="56"/>
                  <a:pt x="824" y="56"/>
                  <a:pt x="824" y="56"/>
                </a:cubicBezTo>
                <a:cubicBezTo>
                  <a:pt x="824" y="54"/>
                  <a:pt x="824" y="54"/>
                  <a:pt x="824" y="54"/>
                </a:cubicBezTo>
                <a:cubicBezTo>
                  <a:pt x="822" y="52"/>
                  <a:pt x="822" y="52"/>
                  <a:pt x="822" y="52"/>
                </a:cubicBezTo>
                <a:cubicBezTo>
                  <a:pt x="822" y="51"/>
                  <a:pt x="822" y="51"/>
                  <a:pt x="822" y="51"/>
                </a:cubicBezTo>
                <a:cubicBezTo>
                  <a:pt x="823" y="51"/>
                  <a:pt x="823" y="51"/>
                  <a:pt x="823" y="51"/>
                </a:cubicBezTo>
                <a:cubicBezTo>
                  <a:pt x="822" y="49"/>
                  <a:pt x="822" y="49"/>
                  <a:pt x="822" y="49"/>
                </a:cubicBezTo>
                <a:cubicBezTo>
                  <a:pt x="823" y="48"/>
                  <a:pt x="823" y="48"/>
                  <a:pt x="823" y="48"/>
                </a:cubicBezTo>
                <a:cubicBezTo>
                  <a:pt x="824" y="48"/>
                  <a:pt x="824" y="48"/>
                  <a:pt x="824" y="48"/>
                </a:cubicBezTo>
                <a:cubicBezTo>
                  <a:pt x="824" y="46"/>
                  <a:pt x="824" y="46"/>
                  <a:pt x="824" y="46"/>
                </a:cubicBezTo>
                <a:cubicBezTo>
                  <a:pt x="823" y="46"/>
                  <a:pt x="823" y="46"/>
                  <a:pt x="823" y="46"/>
                </a:cubicBezTo>
                <a:cubicBezTo>
                  <a:pt x="821" y="44"/>
                  <a:pt x="821" y="44"/>
                  <a:pt x="821" y="44"/>
                </a:cubicBezTo>
                <a:cubicBezTo>
                  <a:pt x="817" y="45"/>
                  <a:pt x="817" y="45"/>
                  <a:pt x="817" y="45"/>
                </a:cubicBezTo>
                <a:cubicBezTo>
                  <a:pt x="814" y="44"/>
                  <a:pt x="814" y="44"/>
                  <a:pt x="814" y="44"/>
                </a:cubicBezTo>
                <a:cubicBezTo>
                  <a:pt x="812" y="42"/>
                  <a:pt x="812" y="42"/>
                  <a:pt x="812" y="42"/>
                </a:cubicBezTo>
                <a:cubicBezTo>
                  <a:pt x="810" y="42"/>
                  <a:pt x="810" y="42"/>
                  <a:pt x="810" y="42"/>
                </a:cubicBezTo>
                <a:cubicBezTo>
                  <a:pt x="808" y="41"/>
                  <a:pt x="808" y="41"/>
                  <a:pt x="808" y="41"/>
                </a:cubicBezTo>
                <a:cubicBezTo>
                  <a:pt x="807" y="42"/>
                  <a:pt x="807" y="42"/>
                  <a:pt x="807" y="42"/>
                </a:cubicBezTo>
                <a:cubicBezTo>
                  <a:pt x="810" y="45"/>
                  <a:pt x="810" y="45"/>
                  <a:pt x="810" y="45"/>
                </a:cubicBezTo>
                <a:cubicBezTo>
                  <a:pt x="812" y="45"/>
                  <a:pt x="812" y="45"/>
                  <a:pt x="812" y="45"/>
                </a:cubicBezTo>
                <a:cubicBezTo>
                  <a:pt x="813" y="46"/>
                  <a:pt x="813" y="46"/>
                  <a:pt x="813" y="46"/>
                </a:cubicBezTo>
                <a:cubicBezTo>
                  <a:pt x="810" y="46"/>
                  <a:pt x="810" y="46"/>
                  <a:pt x="810" y="46"/>
                </a:cubicBezTo>
                <a:cubicBezTo>
                  <a:pt x="810" y="46"/>
                  <a:pt x="810" y="46"/>
                  <a:pt x="810" y="46"/>
                </a:cubicBezTo>
                <a:cubicBezTo>
                  <a:pt x="808" y="46"/>
                  <a:pt x="808" y="46"/>
                  <a:pt x="808" y="46"/>
                </a:cubicBezTo>
                <a:cubicBezTo>
                  <a:pt x="807" y="48"/>
                  <a:pt x="807" y="48"/>
                  <a:pt x="807" y="48"/>
                </a:cubicBezTo>
                <a:cubicBezTo>
                  <a:pt x="807" y="50"/>
                  <a:pt x="807" y="50"/>
                  <a:pt x="807" y="50"/>
                </a:cubicBezTo>
                <a:cubicBezTo>
                  <a:pt x="809" y="52"/>
                  <a:pt x="809" y="52"/>
                  <a:pt x="809" y="52"/>
                </a:cubicBezTo>
                <a:cubicBezTo>
                  <a:pt x="809" y="55"/>
                  <a:pt x="809" y="55"/>
                  <a:pt x="809" y="55"/>
                </a:cubicBezTo>
                <a:cubicBezTo>
                  <a:pt x="813" y="59"/>
                  <a:pt x="813" y="59"/>
                  <a:pt x="813" y="59"/>
                </a:cubicBezTo>
                <a:cubicBezTo>
                  <a:pt x="813" y="60"/>
                  <a:pt x="813" y="60"/>
                  <a:pt x="813" y="60"/>
                </a:cubicBezTo>
                <a:cubicBezTo>
                  <a:pt x="812" y="61"/>
                  <a:pt x="812" y="61"/>
                  <a:pt x="812" y="61"/>
                </a:cubicBezTo>
                <a:cubicBezTo>
                  <a:pt x="810" y="61"/>
                  <a:pt x="810" y="61"/>
                  <a:pt x="810" y="61"/>
                </a:cubicBezTo>
                <a:cubicBezTo>
                  <a:pt x="808" y="59"/>
                  <a:pt x="808" y="59"/>
                  <a:pt x="808" y="59"/>
                </a:cubicBezTo>
                <a:cubicBezTo>
                  <a:pt x="806" y="55"/>
                  <a:pt x="806" y="55"/>
                  <a:pt x="806" y="55"/>
                </a:cubicBezTo>
                <a:cubicBezTo>
                  <a:pt x="805" y="55"/>
                  <a:pt x="805" y="55"/>
                  <a:pt x="805" y="55"/>
                </a:cubicBezTo>
                <a:cubicBezTo>
                  <a:pt x="803" y="55"/>
                  <a:pt x="803" y="55"/>
                  <a:pt x="803" y="55"/>
                </a:cubicBezTo>
                <a:cubicBezTo>
                  <a:pt x="802" y="56"/>
                  <a:pt x="802" y="56"/>
                  <a:pt x="802" y="56"/>
                </a:cubicBezTo>
                <a:cubicBezTo>
                  <a:pt x="801" y="55"/>
                  <a:pt x="801" y="55"/>
                  <a:pt x="801" y="55"/>
                </a:cubicBezTo>
                <a:cubicBezTo>
                  <a:pt x="799" y="55"/>
                  <a:pt x="799" y="55"/>
                  <a:pt x="799" y="55"/>
                </a:cubicBezTo>
                <a:cubicBezTo>
                  <a:pt x="799" y="52"/>
                  <a:pt x="799" y="52"/>
                  <a:pt x="799" y="52"/>
                </a:cubicBezTo>
                <a:cubicBezTo>
                  <a:pt x="798" y="51"/>
                  <a:pt x="798" y="51"/>
                  <a:pt x="798" y="51"/>
                </a:cubicBezTo>
                <a:cubicBezTo>
                  <a:pt x="796" y="50"/>
                  <a:pt x="796" y="50"/>
                  <a:pt x="796" y="50"/>
                </a:cubicBezTo>
                <a:cubicBezTo>
                  <a:pt x="794" y="48"/>
                  <a:pt x="794" y="48"/>
                  <a:pt x="794" y="48"/>
                </a:cubicBezTo>
                <a:cubicBezTo>
                  <a:pt x="790" y="48"/>
                  <a:pt x="790" y="48"/>
                  <a:pt x="790" y="48"/>
                </a:cubicBezTo>
                <a:cubicBezTo>
                  <a:pt x="789" y="47"/>
                  <a:pt x="789" y="47"/>
                  <a:pt x="789" y="47"/>
                </a:cubicBezTo>
                <a:cubicBezTo>
                  <a:pt x="788" y="45"/>
                  <a:pt x="788" y="45"/>
                  <a:pt x="788" y="45"/>
                </a:cubicBezTo>
                <a:cubicBezTo>
                  <a:pt x="786" y="46"/>
                  <a:pt x="786" y="46"/>
                  <a:pt x="786" y="46"/>
                </a:cubicBezTo>
                <a:cubicBezTo>
                  <a:pt x="784" y="48"/>
                  <a:pt x="784" y="48"/>
                  <a:pt x="784" y="48"/>
                </a:cubicBezTo>
                <a:cubicBezTo>
                  <a:pt x="784" y="51"/>
                  <a:pt x="784" y="51"/>
                  <a:pt x="784" y="51"/>
                </a:cubicBezTo>
                <a:cubicBezTo>
                  <a:pt x="784" y="51"/>
                  <a:pt x="784" y="51"/>
                  <a:pt x="784" y="51"/>
                </a:cubicBezTo>
                <a:cubicBezTo>
                  <a:pt x="784" y="54"/>
                  <a:pt x="784" y="54"/>
                  <a:pt x="784" y="54"/>
                </a:cubicBezTo>
                <a:cubicBezTo>
                  <a:pt x="783" y="57"/>
                  <a:pt x="783" y="57"/>
                  <a:pt x="783" y="57"/>
                </a:cubicBezTo>
                <a:cubicBezTo>
                  <a:pt x="781" y="59"/>
                  <a:pt x="781" y="59"/>
                  <a:pt x="781" y="59"/>
                </a:cubicBezTo>
                <a:cubicBezTo>
                  <a:pt x="781" y="60"/>
                  <a:pt x="781" y="60"/>
                  <a:pt x="781" y="60"/>
                </a:cubicBezTo>
                <a:cubicBezTo>
                  <a:pt x="783" y="64"/>
                  <a:pt x="783" y="64"/>
                  <a:pt x="783" y="64"/>
                </a:cubicBezTo>
                <a:cubicBezTo>
                  <a:pt x="785" y="64"/>
                  <a:pt x="785" y="64"/>
                  <a:pt x="785" y="64"/>
                </a:cubicBezTo>
                <a:cubicBezTo>
                  <a:pt x="786" y="65"/>
                  <a:pt x="786" y="65"/>
                  <a:pt x="786" y="65"/>
                </a:cubicBezTo>
                <a:cubicBezTo>
                  <a:pt x="785" y="66"/>
                  <a:pt x="785" y="66"/>
                  <a:pt x="785" y="66"/>
                </a:cubicBezTo>
                <a:cubicBezTo>
                  <a:pt x="784" y="66"/>
                  <a:pt x="784" y="66"/>
                  <a:pt x="784" y="66"/>
                </a:cubicBezTo>
                <a:cubicBezTo>
                  <a:pt x="784" y="68"/>
                  <a:pt x="784" y="68"/>
                  <a:pt x="784" y="68"/>
                </a:cubicBezTo>
                <a:cubicBezTo>
                  <a:pt x="786" y="69"/>
                  <a:pt x="786" y="69"/>
                  <a:pt x="786" y="69"/>
                </a:cubicBezTo>
                <a:cubicBezTo>
                  <a:pt x="787" y="71"/>
                  <a:pt x="787" y="71"/>
                  <a:pt x="787" y="71"/>
                </a:cubicBezTo>
                <a:cubicBezTo>
                  <a:pt x="787" y="72"/>
                  <a:pt x="787" y="72"/>
                  <a:pt x="787" y="72"/>
                </a:cubicBezTo>
                <a:cubicBezTo>
                  <a:pt x="788" y="73"/>
                  <a:pt x="788" y="73"/>
                  <a:pt x="788" y="73"/>
                </a:cubicBezTo>
                <a:cubicBezTo>
                  <a:pt x="790" y="74"/>
                  <a:pt x="790" y="74"/>
                  <a:pt x="790" y="74"/>
                </a:cubicBezTo>
                <a:cubicBezTo>
                  <a:pt x="791" y="75"/>
                  <a:pt x="791" y="75"/>
                  <a:pt x="791" y="75"/>
                </a:cubicBezTo>
                <a:cubicBezTo>
                  <a:pt x="791" y="76"/>
                  <a:pt x="791" y="76"/>
                  <a:pt x="791" y="76"/>
                </a:cubicBezTo>
                <a:cubicBezTo>
                  <a:pt x="792" y="77"/>
                  <a:pt x="792" y="77"/>
                  <a:pt x="792" y="77"/>
                </a:cubicBezTo>
                <a:cubicBezTo>
                  <a:pt x="793" y="77"/>
                  <a:pt x="793" y="77"/>
                  <a:pt x="793" y="77"/>
                </a:cubicBezTo>
                <a:cubicBezTo>
                  <a:pt x="794" y="77"/>
                  <a:pt x="794" y="77"/>
                  <a:pt x="794" y="77"/>
                </a:cubicBezTo>
                <a:cubicBezTo>
                  <a:pt x="795" y="78"/>
                  <a:pt x="795" y="78"/>
                  <a:pt x="795" y="78"/>
                </a:cubicBezTo>
                <a:cubicBezTo>
                  <a:pt x="793" y="79"/>
                  <a:pt x="793" y="79"/>
                  <a:pt x="793" y="79"/>
                </a:cubicBezTo>
                <a:cubicBezTo>
                  <a:pt x="793" y="78"/>
                  <a:pt x="793" y="78"/>
                  <a:pt x="793" y="78"/>
                </a:cubicBezTo>
                <a:cubicBezTo>
                  <a:pt x="791" y="78"/>
                  <a:pt x="791" y="78"/>
                  <a:pt x="791" y="78"/>
                </a:cubicBezTo>
                <a:cubicBezTo>
                  <a:pt x="791" y="80"/>
                  <a:pt x="791" y="80"/>
                  <a:pt x="791" y="80"/>
                </a:cubicBezTo>
                <a:cubicBezTo>
                  <a:pt x="791" y="82"/>
                  <a:pt x="791" y="82"/>
                  <a:pt x="791" y="82"/>
                </a:cubicBezTo>
                <a:cubicBezTo>
                  <a:pt x="798" y="86"/>
                  <a:pt x="798" y="86"/>
                  <a:pt x="798" y="86"/>
                </a:cubicBezTo>
                <a:cubicBezTo>
                  <a:pt x="801" y="87"/>
                  <a:pt x="801" y="87"/>
                  <a:pt x="801" y="87"/>
                </a:cubicBezTo>
                <a:cubicBezTo>
                  <a:pt x="804" y="87"/>
                  <a:pt x="804" y="87"/>
                  <a:pt x="804" y="87"/>
                </a:cubicBezTo>
                <a:cubicBezTo>
                  <a:pt x="806" y="88"/>
                  <a:pt x="806" y="88"/>
                  <a:pt x="806" y="88"/>
                </a:cubicBezTo>
                <a:cubicBezTo>
                  <a:pt x="808" y="90"/>
                  <a:pt x="808" y="90"/>
                  <a:pt x="808" y="90"/>
                </a:cubicBezTo>
                <a:cubicBezTo>
                  <a:pt x="809" y="92"/>
                  <a:pt x="809" y="92"/>
                  <a:pt x="809" y="92"/>
                </a:cubicBezTo>
                <a:cubicBezTo>
                  <a:pt x="811" y="94"/>
                  <a:pt x="811" y="94"/>
                  <a:pt x="811" y="94"/>
                </a:cubicBezTo>
                <a:cubicBezTo>
                  <a:pt x="814" y="94"/>
                  <a:pt x="814" y="94"/>
                  <a:pt x="814" y="94"/>
                </a:cubicBezTo>
                <a:cubicBezTo>
                  <a:pt x="817" y="92"/>
                  <a:pt x="817" y="92"/>
                  <a:pt x="817" y="92"/>
                </a:cubicBezTo>
                <a:cubicBezTo>
                  <a:pt x="820" y="93"/>
                  <a:pt x="820" y="93"/>
                  <a:pt x="820" y="93"/>
                </a:cubicBezTo>
                <a:cubicBezTo>
                  <a:pt x="822" y="94"/>
                  <a:pt x="822" y="94"/>
                  <a:pt x="822" y="94"/>
                </a:cubicBezTo>
                <a:cubicBezTo>
                  <a:pt x="824" y="94"/>
                  <a:pt x="824" y="94"/>
                  <a:pt x="824" y="94"/>
                </a:cubicBezTo>
                <a:cubicBezTo>
                  <a:pt x="825" y="92"/>
                  <a:pt x="825" y="92"/>
                  <a:pt x="825" y="92"/>
                </a:cubicBezTo>
                <a:cubicBezTo>
                  <a:pt x="825" y="90"/>
                  <a:pt x="825" y="90"/>
                  <a:pt x="825" y="90"/>
                </a:cubicBezTo>
                <a:cubicBezTo>
                  <a:pt x="823" y="87"/>
                  <a:pt x="823" y="87"/>
                  <a:pt x="823" y="87"/>
                </a:cubicBezTo>
                <a:cubicBezTo>
                  <a:pt x="823" y="85"/>
                  <a:pt x="823" y="85"/>
                  <a:pt x="823" y="85"/>
                </a:cubicBezTo>
                <a:close/>
                <a:moveTo>
                  <a:pt x="825" y="44"/>
                </a:moveTo>
                <a:cubicBezTo>
                  <a:pt x="828" y="44"/>
                  <a:pt x="828" y="44"/>
                  <a:pt x="828" y="44"/>
                </a:cubicBezTo>
                <a:cubicBezTo>
                  <a:pt x="831" y="44"/>
                  <a:pt x="831" y="44"/>
                  <a:pt x="831" y="44"/>
                </a:cubicBezTo>
                <a:cubicBezTo>
                  <a:pt x="833" y="44"/>
                  <a:pt x="833" y="44"/>
                  <a:pt x="833" y="44"/>
                </a:cubicBezTo>
                <a:cubicBezTo>
                  <a:pt x="838" y="47"/>
                  <a:pt x="838" y="47"/>
                  <a:pt x="838" y="47"/>
                </a:cubicBezTo>
                <a:cubicBezTo>
                  <a:pt x="841" y="47"/>
                  <a:pt x="841" y="47"/>
                  <a:pt x="841" y="47"/>
                </a:cubicBezTo>
                <a:cubicBezTo>
                  <a:pt x="843" y="47"/>
                  <a:pt x="843" y="47"/>
                  <a:pt x="843" y="47"/>
                </a:cubicBezTo>
                <a:cubicBezTo>
                  <a:pt x="848" y="47"/>
                  <a:pt x="848" y="47"/>
                  <a:pt x="848" y="47"/>
                </a:cubicBezTo>
                <a:cubicBezTo>
                  <a:pt x="853" y="49"/>
                  <a:pt x="853" y="49"/>
                  <a:pt x="853" y="49"/>
                </a:cubicBezTo>
                <a:cubicBezTo>
                  <a:pt x="853" y="50"/>
                  <a:pt x="853" y="50"/>
                  <a:pt x="853" y="50"/>
                </a:cubicBezTo>
                <a:cubicBezTo>
                  <a:pt x="851" y="50"/>
                  <a:pt x="851" y="50"/>
                  <a:pt x="851" y="50"/>
                </a:cubicBezTo>
                <a:cubicBezTo>
                  <a:pt x="849" y="52"/>
                  <a:pt x="849" y="52"/>
                  <a:pt x="849" y="52"/>
                </a:cubicBezTo>
                <a:cubicBezTo>
                  <a:pt x="849" y="54"/>
                  <a:pt x="849" y="54"/>
                  <a:pt x="849" y="54"/>
                </a:cubicBezTo>
                <a:cubicBezTo>
                  <a:pt x="852" y="57"/>
                  <a:pt x="852" y="57"/>
                  <a:pt x="852" y="57"/>
                </a:cubicBezTo>
                <a:cubicBezTo>
                  <a:pt x="854" y="57"/>
                  <a:pt x="854" y="57"/>
                  <a:pt x="854" y="57"/>
                </a:cubicBezTo>
                <a:cubicBezTo>
                  <a:pt x="854" y="60"/>
                  <a:pt x="854" y="60"/>
                  <a:pt x="854" y="60"/>
                </a:cubicBezTo>
                <a:cubicBezTo>
                  <a:pt x="855" y="62"/>
                  <a:pt x="855" y="62"/>
                  <a:pt x="855" y="62"/>
                </a:cubicBezTo>
                <a:cubicBezTo>
                  <a:pt x="854" y="63"/>
                  <a:pt x="854" y="63"/>
                  <a:pt x="854" y="63"/>
                </a:cubicBezTo>
                <a:cubicBezTo>
                  <a:pt x="853" y="66"/>
                  <a:pt x="853" y="66"/>
                  <a:pt x="853" y="66"/>
                </a:cubicBezTo>
                <a:cubicBezTo>
                  <a:pt x="851" y="68"/>
                  <a:pt x="851" y="68"/>
                  <a:pt x="851" y="68"/>
                </a:cubicBezTo>
                <a:cubicBezTo>
                  <a:pt x="850" y="69"/>
                  <a:pt x="850" y="69"/>
                  <a:pt x="850" y="69"/>
                </a:cubicBezTo>
                <a:cubicBezTo>
                  <a:pt x="848" y="68"/>
                  <a:pt x="848" y="68"/>
                  <a:pt x="848" y="68"/>
                </a:cubicBezTo>
                <a:cubicBezTo>
                  <a:pt x="847" y="68"/>
                  <a:pt x="847" y="68"/>
                  <a:pt x="847" y="68"/>
                </a:cubicBezTo>
                <a:cubicBezTo>
                  <a:pt x="845" y="70"/>
                  <a:pt x="845" y="70"/>
                  <a:pt x="845" y="70"/>
                </a:cubicBezTo>
                <a:cubicBezTo>
                  <a:pt x="843" y="70"/>
                  <a:pt x="843" y="70"/>
                  <a:pt x="843" y="70"/>
                </a:cubicBezTo>
                <a:cubicBezTo>
                  <a:pt x="838" y="67"/>
                  <a:pt x="838" y="67"/>
                  <a:pt x="838" y="67"/>
                </a:cubicBezTo>
                <a:cubicBezTo>
                  <a:pt x="835" y="65"/>
                  <a:pt x="835" y="65"/>
                  <a:pt x="835" y="65"/>
                </a:cubicBezTo>
                <a:cubicBezTo>
                  <a:pt x="831" y="61"/>
                  <a:pt x="831" y="61"/>
                  <a:pt x="831" y="61"/>
                </a:cubicBezTo>
                <a:cubicBezTo>
                  <a:pt x="830" y="58"/>
                  <a:pt x="830" y="58"/>
                  <a:pt x="830" y="58"/>
                </a:cubicBezTo>
                <a:cubicBezTo>
                  <a:pt x="831" y="56"/>
                  <a:pt x="831" y="56"/>
                  <a:pt x="831" y="56"/>
                </a:cubicBezTo>
                <a:cubicBezTo>
                  <a:pt x="831" y="54"/>
                  <a:pt x="831" y="54"/>
                  <a:pt x="831" y="54"/>
                </a:cubicBezTo>
                <a:cubicBezTo>
                  <a:pt x="831" y="53"/>
                  <a:pt x="831" y="53"/>
                  <a:pt x="831" y="53"/>
                </a:cubicBezTo>
                <a:cubicBezTo>
                  <a:pt x="830" y="51"/>
                  <a:pt x="830" y="51"/>
                  <a:pt x="830" y="51"/>
                </a:cubicBezTo>
                <a:cubicBezTo>
                  <a:pt x="829" y="51"/>
                  <a:pt x="829" y="51"/>
                  <a:pt x="829" y="51"/>
                </a:cubicBezTo>
                <a:cubicBezTo>
                  <a:pt x="829" y="49"/>
                  <a:pt x="829" y="49"/>
                  <a:pt x="829" y="49"/>
                </a:cubicBezTo>
                <a:cubicBezTo>
                  <a:pt x="827" y="48"/>
                  <a:pt x="827" y="48"/>
                  <a:pt x="827" y="48"/>
                </a:cubicBezTo>
                <a:cubicBezTo>
                  <a:pt x="826" y="46"/>
                  <a:pt x="826" y="46"/>
                  <a:pt x="826" y="46"/>
                </a:cubicBezTo>
                <a:cubicBezTo>
                  <a:pt x="825" y="44"/>
                  <a:pt x="825" y="44"/>
                  <a:pt x="825" y="44"/>
                </a:cubicBezTo>
                <a:close/>
                <a:moveTo>
                  <a:pt x="470" y="99"/>
                </a:moveTo>
                <a:cubicBezTo>
                  <a:pt x="470" y="99"/>
                  <a:pt x="473" y="98"/>
                  <a:pt x="473" y="98"/>
                </a:cubicBezTo>
                <a:cubicBezTo>
                  <a:pt x="474" y="95"/>
                  <a:pt x="474" y="95"/>
                  <a:pt x="474" y="95"/>
                </a:cubicBezTo>
                <a:cubicBezTo>
                  <a:pt x="477" y="92"/>
                  <a:pt x="477" y="92"/>
                  <a:pt x="477" y="92"/>
                </a:cubicBezTo>
                <a:cubicBezTo>
                  <a:pt x="478" y="91"/>
                  <a:pt x="478" y="91"/>
                  <a:pt x="478" y="91"/>
                </a:cubicBezTo>
                <a:cubicBezTo>
                  <a:pt x="478" y="90"/>
                  <a:pt x="478" y="90"/>
                  <a:pt x="478" y="90"/>
                </a:cubicBezTo>
                <a:cubicBezTo>
                  <a:pt x="478" y="88"/>
                  <a:pt x="478" y="88"/>
                  <a:pt x="478" y="88"/>
                </a:cubicBezTo>
                <a:cubicBezTo>
                  <a:pt x="483" y="85"/>
                  <a:pt x="483" y="85"/>
                  <a:pt x="483" y="85"/>
                </a:cubicBezTo>
                <a:cubicBezTo>
                  <a:pt x="485" y="85"/>
                  <a:pt x="485" y="85"/>
                  <a:pt x="485" y="85"/>
                </a:cubicBezTo>
                <a:cubicBezTo>
                  <a:pt x="486" y="86"/>
                  <a:pt x="486" y="86"/>
                  <a:pt x="486" y="86"/>
                </a:cubicBezTo>
                <a:cubicBezTo>
                  <a:pt x="487" y="86"/>
                  <a:pt x="487" y="86"/>
                  <a:pt x="487" y="86"/>
                </a:cubicBezTo>
                <a:cubicBezTo>
                  <a:pt x="488" y="84"/>
                  <a:pt x="488" y="84"/>
                  <a:pt x="488" y="84"/>
                </a:cubicBezTo>
                <a:cubicBezTo>
                  <a:pt x="489" y="82"/>
                  <a:pt x="489" y="82"/>
                  <a:pt x="489" y="82"/>
                </a:cubicBezTo>
                <a:cubicBezTo>
                  <a:pt x="492" y="81"/>
                  <a:pt x="492" y="81"/>
                  <a:pt x="492" y="81"/>
                </a:cubicBezTo>
                <a:cubicBezTo>
                  <a:pt x="495" y="78"/>
                  <a:pt x="495" y="78"/>
                  <a:pt x="495" y="78"/>
                </a:cubicBezTo>
                <a:cubicBezTo>
                  <a:pt x="496" y="77"/>
                  <a:pt x="496" y="77"/>
                  <a:pt x="496" y="77"/>
                </a:cubicBezTo>
                <a:cubicBezTo>
                  <a:pt x="497" y="76"/>
                  <a:pt x="497" y="76"/>
                  <a:pt x="497" y="76"/>
                </a:cubicBezTo>
                <a:cubicBezTo>
                  <a:pt x="499" y="72"/>
                  <a:pt x="499" y="72"/>
                  <a:pt x="499" y="72"/>
                </a:cubicBezTo>
                <a:cubicBezTo>
                  <a:pt x="498" y="69"/>
                  <a:pt x="498" y="69"/>
                  <a:pt x="498" y="69"/>
                </a:cubicBezTo>
                <a:cubicBezTo>
                  <a:pt x="496" y="66"/>
                  <a:pt x="496" y="66"/>
                  <a:pt x="496" y="66"/>
                </a:cubicBezTo>
                <a:cubicBezTo>
                  <a:pt x="494" y="63"/>
                  <a:pt x="494" y="63"/>
                  <a:pt x="494" y="63"/>
                </a:cubicBezTo>
                <a:cubicBezTo>
                  <a:pt x="494" y="61"/>
                  <a:pt x="494" y="61"/>
                  <a:pt x="494" y="61"/>
                </a:cubicBezTo>
                <a:cubicBezTo>
                  <a:pt x="491" y="59"/>
                  <a:pt x="491" y="59"/>
                  <a:pt x="491" y="59"/>
                </a:cubicBezTo>
                <a:cubicBezTo>
                  <a:pt x="489" y="59"/>
                  <a:pt x="489" y="59"/>
                  <a:pt x="489" y="59"/>
                </a:cubicBezTo>
                <a:cubicBezTo>
                  <a:pt x="488" y="60"/>
                  <a:pt x="488" y="60"/>
                  <a:pt x="488" y="60"/>
                </a:cubicBezTo>
                <a:cubicBezTo>
                  <a:pt x="486" y="59"/>
                  <a:pt x="486" y="59"/>
                  <a:pt x="486" y="59"/>
                </a:cubicBezTo>
                <a:cubicBezTo>
                  <a:pt x="484" y="58"/>
                  <a:pt x="484" y="58"/>
                  <a:pt x="484" y="58"/>
                </a:cubicBezTo>
                <a:cubicBezTo>
                  <a:pt x="481" y="55"/>
                  <a:pt x="481" y="55"/>
                  <a:pt x="481" y="55"/>
                </a:cubicBezTo>
                <a:cubicBezTo>
                  <a:pt x="480" y="55"/>
                  <a:pt x="480" y="55"/>
                  <a:pt x="480" y="55"/>
                </a:cubicBezTo>
                <a:cubicBezTo>
                  <a:pt x="479" y="56"/>
                  <a:pt x="479" y="56"/>
                  <a:pt x="479" y="56"/>
                </a:cubicBezTo>
                <a:cubicBezTo>
                  <a:pt x="478" y="55"/>
                  <a:pt x="478" y="55"/>
                  <a:pt x="478" y="55"/>
                </a:cubicBezTo>
                <a:cubicBezTo>
                  <a:pt x="477" y="54"/>
                  <a:pt x="477" y="54"/>
                  <a:pt x="477" y="54"/>
                </a:cubicBezTo>
                <a:cubicBezTo>
                  <a:pt x="476" y="52"/>
                  <a:pt x="476" y="52"/>
                  <a:pt x="476" y="52"/>
                </a:cubicBezTo>
                <a:cubicBezTo>
                  <a:pt x="474" y="52"/>
                  <a:pt x="474" y="52"/>
                  <a:pt x="474" y="52"/>
                </a:cubicBezTo>
                <a:cubicBezTo>
                  <a:pt x="474" y="54"/>
                  <a:pt x="474" y="54"/>
                  <a:pt x="474" y="54"/>
                </a:cubicBezTo>
                <a:cubicBezTo>
                  <a:pt x="473" y="54"/>
                  <a:pt x="473" y="54"/>
                  <a:pt x="473" y="54"/>
                </a:cubicBezTo>
                <a:cubicBezTo>
                  <a:pt x="471" y="51"/>
                  <a:pt x="471" y="51"/>
                  <a:pt x="471" y="51"/>
                </a:cubicBezTo>
                <a:cubicBezTo>
                  <a:pt x="470" y="50"/>
                  <a:pt x="470" y="50"/>
                  <a:pt x="470" y="50"/>
                </a:cubicBezTo>
                <a:cubicBezTo>
                  <a:pt x="470" y="51"/>
                  <a:pt x="470" y="51"/>
                  <a:pt x="470" y="51"/>
                </a:cubicBezTo>
                <a:cubicBezTo>
                  <a:pt x="471" y="53"/>
                  <a:pt x="471" y="53"/>
                  <a:pt x="471" y="53"/>
                </a:cubicBezTo>
                <a:cubicBezTo>
                  <a:pt x="471" y="54"/>
                  <a:pt x="471" y="54"/>
                  <a:pt x="471" y="54"/>
                </a:cubicBezTo>
                <a:cubicBezTo>
                  <a:pt x="470" y="56"/>
                  <a:pt x="470" y="56"/>
                  <a:pt x="470" y="56"/>
                </a:cubicBezTo>
                <a:cubicBezTo>
                  <a:pt x="470" y="58"/>
                  <a:pt x="470" y="58"/>
                  <a:pt x="470" y="58"/>
                </a:cubicBezTo>
                <a:cubicBezTo>
                  <a:pt x="469" y="57"/>
                  <a:pt x="469" y="57"/>
                  <a:pt x="469" y="57"/>
                </a:cubicBezTo>
                <a:cubicBezTo>
                  <a:pt x="468" y="56"/>
                  <a:pt x="468" y="56"/>
                  <a:pt x="468" y="56"/>
                </a:cubicBezTo>
                <a:cubicBezTo>
                  <a:pt x="468" y="49"/>
                  <a:pt x="468" y="49"/>
                  <a:pt x="468" y="49"/>
                </a:cubicBezTo>
                <a:cubicBezTo>
                  <a:pt x="465" y="48"/>
                  <a:pt x="465" y="48"/>
                  <a:pt x="465" y="48"/>
                </a:cubicBezTo>
                <a:cubicBezTo>
                  <a:pt x="463" y="48"/>
                  <a:pt x="463" y="48"/>
                  <a:pt x="463" y="48"/>
                </a:cubicBezTo>
                <a:cubicBezTo>
                  <a:pt x="461" y="46"/>
                  <a:pt x="461" y="46"/>
                  <a:pt x="461" y="46"/>
                </a:cubicBezTo>
                <a:cubicBezTo>
                  <a:pt x="459" y="46"/>
                  <a:pt x="459" y="46"/>
                  <a:pt x="459" y="46"/>
                </a:cubicBezTo>
                <a:cubicBezTo>
                  <a:pt x="458" y="48"/>
                  <a:pt x="458" y="48"/>
                  <a:pt x="458" y="48"/>
                </a:cubicBezTo>
                <a:cubicBezTo>
                  <a:pt x="458" y="50"/>
                  <a:pt x="458" y="50"/>
                  <a:pt x="458" y="50"/>
                </a:cubicBezTo>
                <a:cubicBezTo>
                  <a:pt x="461" y="51"/>
                  <a:pt x="461" y="51"/>
                  <a:pt x="461" y="51"/>
                </a:cubicBezTo>
                <a:cubicBezTo>
                  <a:pt x="462" y="53"/>
                  <a:pt x="462" y="53"/>
                  <a:pt x="462" y="53"/>
                </a:cubicBezTo>
                <a:cubicBezTo>
                  <a:pt x="461" y="54"/>
                  <a:pt x="461" y="54"/>
                  <a:pt x="461" y="54"/>
                </a:cubicBezTo>
                <a:cubicBezTo>
                  <a:pt x="459" y="54"/>
                  <a:pt x="459" y="54"/>
                  <a:pt x="459" y="54"/>
                </a:cubicBezTo>
                <a:cubicBezTo>
                  <a:pt x="459" y="53"/>
                  <a:pt x="459" y="53"/>
                  <a:pt x="459" y="53"/>
                </a:cubicBezTo>
                <a:cubicBezTo>
                  <a:pt x="457" y="52"/>
                  <a:pt x="457" y="52"/>
                  <a:pt x="457" y="52"/>
                </a:cubicBezTo>
                <a:cubicBezTo>
                  <a:pt x="456" y="52"/>
                  <a:pt x="456" y="52"/>
                  <a:pt x="456" y="52"/>
                </a:cubicBezTo>
                <a:cubicBezTo>
                  <a:pt x="457" y="53"/>
                  <a:pt x="457" y="53"/>
                  <a:pt x="457" y="53"/>
                </a:cubicBezTo>
                <a:cubicBezTo>
                  <a:pt x="457" y="55"/>
                  <a:pt x="457" y="55"/>
                  <a:pt x="457" y="55"/>
                </a:cubicBezTo>
                <a:cubicBezTo>
                  <a:pt x="457" y="55"/>
                  <a:pt x="457" y="55"/>
                  <a:pt x="457" y="55"/>
                </a:cubicBezTo>
                <a:cubicBezTo>
                  <a:pt x="457" y="58"/>
                  <a:pt x="457" y="58"/>
                  <a:pt x="457" y="58"/>
                </a:cubicBezTo>
                <a:cubicBezTo>
                  <a:pt x="458" y="59"/>
                  <a:pt x="458" y="59"/>
                  <a:pt x="458" y="59"/>
                </a:cubicBezTo>
                <a:cubicBezTo>
                  <a:pt x="460" y="59"/>
                  <a:pt x="460" y="59"/>
                  <a:pt x="460" y="59"/>
                </a:cubicBezTo>
                <a:cubicBezTo>
                  <a:pt x="460" y="61"/>
                  <a:pt x="460" y="61"/>
                  <a:pt x="460" y="61"/>
                </a:cubicBezTo>
                <a:cubicBezTo>
                  <a:pt x="460" y="62"/>
                  <a:pt x="460" y="62"/>
                  <a:pt x="460" y="62"/>
                </a:cubicBezTo>
                <a:cubicBezTo>
                  <a:pt x="462" y="68"/>
                  <a:pt x="462" y="68"/>
                  <a:pt x="462" y="68"/>
                </a:cubicBezTo>
                <a:cubicBezTo>
                  <a:pt x="464" y="69"/>
                  <a:pt x="464" y="69"/>
                  <a:pt x="464" y="69"/>
                </a:cubicBezTo>
                <a:cubicBezTo>
                  <a:pt x="466" y="69"/>
                  <a:pt x="466" y="69"/>
                  <a:pt x="466" y="69"/>
                </a:cubicBezTo>
                <a:cubicBezTo>
                  <a:pt x="465" y="71"/>
                  <a:pt x="465" y="71"/>
                  <a:pt x="465" y="71"/>
                </a:cubicBezTo>
                <a:cubicBezTo>
                  <a:pt x="463" y="71"/>
                  <a:pt x="463" y="71"/>
                  <a:pt x="463" y="71"/>
                </a:cubicBezTo>
                <a:cubicBezTo>
                  <a:pt x="461" y="75"/>
                  <a:pt x="461" y="75"/>
                  <a:pt x="461" y="75"/>
                </a:cubicBezTo>
                <a:cubicBezTo>
                  <a:pt x="463" y="78"/>
                  <a:pt x="463" y="78"/>
                  <a:pt x="463" y="78"/>
                </a:cubicBezTo>
                <a:cubicBezTo>
                  <a:pt x="464" y="81"/>
                  <a:pt x="464" y="81"/>
                  <a:pt x="464" y="81"/>
                </a:cubicBezTo>
                <a:cubicBezTo>
                  <a:pt x="464" y="84"/>
                  <a:pt x="464" y="84"/>
                  <a:pt x="464" y="84"/>
                </a:cubicBezTo>
                <a:cubicBezTo>
                  <a:pt x="465" y="85"/>
                  <a:pt x="465" y="85"/>
                  <a:pt x="465" y="85"/>
                </a:cubicBezTo>
                <a:cubicBezTo>
                  <a:pt x="465" y="87"/>
                  <a:pt x="465" y="87"/>
                  <a:pt x="465" y="87"/>
                </a:cubicBezTo>
                <a:cubicBezTo>
                  <a:pt x="465" y="88"/>
                  <a:pt x="465" y="88"/>
                  <a:pt x="465" y="88"/>
                </a:cubicBezTo>
                <a:cubicBezTo>
                  <a:pt x="466" y="91"/>
                  <a:pt x="466" y="91"/>
                  <a:pt x="466" y="91"/>
                </a:cubicBezTo>
                <a:cubicBezTo>
                  <a:pt x="467" y="94"/>
                  <a:pt x="467" y="94"/>
                  <a:pt x="467" y="94"/>
                </a:cubicBezTo>
                <a:cubicBezTo>
                  <a:pt x="469" y="96"/>
                  <a:pt x="469" y="96"/>
                  <a:pt x="469" y="96"/>
                </a:cubicBezTo>
                <a:cubicBezTo>
                  <a:pt x="469" y="98"/>
                  <a:pt x="469" y="98"/>
                  <a:pt x="469" y="98"/>
                </a:cubicBezTo>
                <a:cubicBezTo>
                  <a:pt x="470" y="99"/>
                  <a:pt x="470" y="99"/>
                  <a:pt x="470" y="99"/>
                </a:cubicBezTo>
                <a:close/>
                <a:moveTo>
                  <a:pt x="511" y="76"/>
                </a:moveTo>
                <a:cubicBezTo>
                  <a:pt x="513" y="74"/>
                  <a:pt x="513" y="74"/>
                  <a:pt x="513" y="74"/>
                </a:cubicBezTo>
                <a:cubicBezTo>
                  <a:pt x="513" y="73"/>
                  <a:pt x="513" y="73"/>
                  <a:pt x="513" y="73"/>
                </a:cubicBezTo>
                <a:cubicBezTo>
                  <a:pt x="512" y="72"/>
                  <a:pt x="512" y="72"/>
                  <a:pt x="512" y="72"/>
                </a:cubicBezTo>
                <a:cubicBezTo>
                  <a:pt x="513" y="71"/>
                  <a:pt x="513" y="71"/>
                  <a:pt x="513" y="71"/>
                </a:cubicBezTo>
                <a:cubicBezTo>
                  <a:pt x="514" y="71"/>
                  <a:pt x="514" y="71"/>
                  <a:pt x="514" y="71"/>
                </a:cubicBezTo>
                <a:cubicBezTo>
                  <a:pt x="514" y="70"/>
                  <a:pt x="514" y="70"/>
                  <a:pt x="514" y="70"/>
                </a:cubicBezTo>
                <a:cubicBezTo>
                  <a:pt x="512" y="70"/>
                  <a:pt x="512" y="70"/>
                  <a:pt x="512" y="70"/>
                </a:cubicBezTo>
                <a:cubicBezTo>
                  <a:pt x="510" y="72"/>
                  <a:pt x="510" y="72"/>
                  <a:pt x="510" y="72"/>
                </a:cubicBezTo>
                <a:cubicBezTo>
                  <a:pt x="511" y="73"/>
                  <a:pt x="511" y="73"/>
                  <a:pt x="511" y="73"/>
                </a:cubicBezTo>
                <a:cubicBezTo>
                  <a:pt x="509" y="74"/>
                  <a:pt x="509" y="74"/>
                  <a:pt x="509" y="74"/>
                </a:cubicBezTo>
                <a:cubicBezTo>
                  <a:pt x="509" y="75"/>
                  <a:pt x="509" y="75"/>
                  <a:pt x="509" y="75"/>
                </a:cubicBezTo>
                <a:cubicBezTo>
                  <a:pt x="510" y="76"/>
                  <a:pt x="510" y="76"/>
                  <a:pt x="510" y="76"/>
                </a:cubicBezTo>
                <a:cubicBezTo>
                  <a:pt x="511" y="76"/>
                  <a:pt x="511" y="76"/>
                  <a:pt x="511" y="76"/>
                </a:cubicBezTo>
                <a:close/>
                <a:moveTo>
                  <a:pt x="514" y="76"/>
                </a:moveTo>
                <a:cubicBezTo>
                  <a:pt x="515" y="74"/>
                  <a:pt x="515" y="74"/>
                  <a:pt x="515" y="74"/>
                </a:cubicBezTo>
                <a:cubicBezTo>
                  <a:pt x="518" y="75"/>
                  <a:pt x="518" y="75"/>
                  <a:pt x="518" y="75"/>
                </a:cubicBezTo>
                <a:cubicBezTo>
                  <a:pt x="519" y="73"/>
                  <a:pt x="519" y="73"/>
                  <a:pt x="519" y="73"/>
                </a:cubicBezTo>
                <a:cubicBezTo>
                  <a:pt x="521" y="73"/>
                  <a:pt x="521" y="73"/>
                  <a:pt x="521" y="73"/>
                </a:cubicBezTo>
                <a:cubicBezTo>
                  <a:pt x="522" y="72"/>
                  <a:pt x="522" y="72"/>
                  <a:pt x="522" y="72"/>
                </a:cubicBezTo>
                <a:cubicBezTo>
                  <a:pt x="523" y="72"/>
                  <a:pt x="523" y="72"/>
                  <a:pt x="523" y="72"/>
                </a:cubicBezTo>
                <a:cubicBezTo>
                  <a:pt x="524" y="75"/>
                  <a:pt x="524" y="75"/>
                  <a:pt x="524" y="75"/>
                </a:cubicBezTo>
                <a:cubicBezTo>
                  <a:pt x="523" y="77"/>
                  <a:pt x="523" y="77"/>
                  <a:pt x="523" y="77"/>
                </a:cubicBezTo>
                <a:cubicBezTo>
                  <a:pt x="521" y="76"/>
                  <a:pt x="521" y="76"/>
                  <a:pt x="521" y="76"/>
                </a:cubicBezTo>
                <a:cubicBezTo>
                  <a:pt x="520" y="77"/>
                  <a:pt x="520" y="77"/>
                  <a:pt x="520" y="77"/>
                </a:cubicBezTo>
                <a:cubicBezTo>
                  <a:pt x="517" y="77"/>
                  <a:pt x="517" y="77"/>
                  <a:pt x="517" y="77"/>
                </a:cubicBezTo>
                <a:cubicBezTo>
                  <a:pt x="514" y="77"/>
                  <a:pt x="514" y="77"/>
                  <a:pt x="514" y="77"/>
                </a:cubicBezTo>
                <a:cubicBezTo>
                  <a:pt x="514" y="76"/>
                  <a:pt x="514" y="76"/>
                  <a:pt x="514" y="76"/>
                </a:cubicBezTo>
                <a:close/>
                <a:moveTo>
                  <a:pt x="536" y="96"/>
                </a:moveTo>
                <a:cubicBezTo>
                  <a:pt x="536" y="98"/>
                  <a:pt x="536" y="98"/>
                  <a:pt x="536" y="98"/>
                </a:cubicBezTo>
                <a:cubicBezTo>
                  <a:pt x="538" y="100"/>
                  <a:pt x="538" y="100"/>
                  <a:pt x="538" y="100"/>
                </a:cubicBezTo>
                <a:cubicBezTo>
                  <a:pt x="537" y="101"/>
                  <a:pt x="537" y="101"/>
                  <a:pt x="537" y="101"/>
                </a:cubicBezTo>
                <a:cubicBezTo>
                  <a:pt x="537" y="102"/>
                  <a:pt x="537" y="102"/>
                  <a:pt x="537" y="102"/>
                </a:cubicBezTo>
                <a:cubicBezTo>
                  <a:pt x="539" y="101"/>
                  <a:pt x="539" y="101"/>
                  <a:pt x="539" y="101"/>
                </a:cubicBezTo>
                <a:cubicBezTo>
                  <a:pt x="540" y="99"/>
                  <a:pt x="540" y="99"/>
                  <a:pt x="540" y="99"/>
                </a:cubicBezTo>
                <a:cubicBezTo>
                  <a:pt x="539" y="96"/>
                  <a:pt x="539" y="96"/>
                  <a:pt x="539" y="96"/>
                </a:cubicBezTo>
                <a:cubicBezTo>
                  <a:pt x="537" y="96"/>
                  <a:pt x="537" y="96"/>
                  <a:pt x="537" y="96"/>
                </a:cubicBezTo>
                <a:cubicBezTo>
                  <a:pt x="536" y="96"/>
                  <a:pt x="536" y="96"/>
                  <a:pt x="536" y="96"/>
                </a:cubicBezTo>
                <a:close/>
                <a:moveTo>
                  <a:pt x="734" y="160"/>
                </a:moveTo>
                <a:cubicBezTo>
                  <a:pt x="735" y="160"/>
                  <a:pt x="735" y="160"/>
                  <a:pt x="735" y="160"/>
                </a:cubicBezTo>
                <a:cubicBezTo>
                  <a:pt x="735" y="157"/>
                  <a:pt x="735" y="157"/>
                  <a:pt x="735" y="157"/>
                </a:cubicBezTo>
                <a:cubicBezTo>
                  <a:pt x="735" y="156"/>
                  <a:pt x="735" y="156"/>
                  <a:pt x="735" y="156"/>
                </a:cubicBezTo>
                <a:cubicBezTo>
                  <a:pt x="732" y="157"/>
                  <a:pt x="732" y="157"/>
                  <a:pt x="732" y="157"/>
                </a:cubicBezTo>
                <a:cubicBezTo>
                  <a:pt x="732" y="158"/>
                  <a:pt x="732" y="158"/>
                  <a:pt x="732" y="158"/>
                </a:cubicBezTo>
                <a:cubicBezTo>
                  <a:pt x="732" y="159"/>
                  <a:pt x="732" y="159"/>
                  <a:pt x="732" y="159"/>
                </a:cubicBezTo>
                <a:cubicBezTo>
                  <a:pt x="733" y="160"/>
                  <a:pt x="733" y="160"/>
                  <a:pt x="733" y="160"/>
                </a:cubicBezTo>
                <a:cubicBezTo>
                  <a:pt x="734" y="160"/>
                  <a:pt x="734" y="160"/>
                  <a:pt x="734" y="160"/>
                </a:cubicBezTo>
                <a:close/>
                <a:moveTo>
                  <a:pt x="707" y="190"/>
                </a:moveTo>
                <a:cubicBezTo>
                  <a:pt x="710" y="190"/>
                  <a:pt x="710" y="190"/>
                  <a:pt x="710" y="190"/>
                </a:cubicBezTo>
                <a:cubicBezTo>
                  <a:pt x="711" y="189"/>
                  <a:pt x="711" y="189"/>
                  <a:pt x="711" y="189"/>
                </a:cubicBezTo>
                <a:cubicBezTo>
                  <a:pt x="712" y="189"/>
                  <a:pt x="712" y="189"/>
                  <a:pt x="712" y="189"/>
                </a:cubicBezTo>
                <a:cubicBezTo>
                  <a:pt x="712" y="189"/>
                  <a:pt x="712" y="189"/>
                  <a:pt x="712" y="189"/>
                </a:cubicBezTo>
                <a:cubicBezTo>
                  <a:pt x="711" y="187"/>
                  <a:pt x="711" y="187"/>
                  <a:pt x="711" y="187"/>
                </a:cubicBezTo>
                <a:cubicBezTo>
                  <a:pt x="709" y="186"/>
                  <a:pt x="709" y="186"/>
                  <a:pt x="709" y="186"/>
                </a:cubicBezTo>
                <a:cubicBezTo>
                  <a:pt x="707" y="186"/>
                  <a:pt x="707" y="186"/>
                  <a:pt x="707" y="186"/>
                </a:cubicBezTo>
                <a:cubicBezTo>
                  <a:pt x="706" y="186"/>
                  <a:pt x="706" y="186"/>
                  <a:pt x="706" y="186"/>
                </a:cubicBezTo>
                <a:cubicBezTo>
                  <a:pt x="706" y="187"/>
                  <a:pt x="706" y="187"/>
                  <a:pt x="706" y="187"/>
                </a:cubicBezTo>
                <a:cubicBezTo>
                  <a:pt x="707" y="188"/>
                  <a:pt x="707" y="188"/>
                  <a:pt x="707" y="188"/>
                </a:cubicBezTo>
                <a:cubicBezTo>
                  <a:pt x="707" y="188"/>
                  <a:pt x="707" y="190"/>
                  <a:pt x="707" y="190"/>
                </a:cubicBezTo>
                <a:close/>
                <a:moveTo>
                  <a:pt x="633" y="177"/>
                </a:moveTo>
                <a:cubicBezTo>
                  <a:pt x="636" y="177"/>
                  <a:pt x="636" y="177"/>
                  <a:pt x="636" y="177"/>
                </a:cubicBezTo>
                <a:cubicBezTo>
                  <a:pt x="637" y="178"/>
                  <a:pt x="637" y="178"/>
                  <a:pt x="637" y="178"/>
                </a:cubicBezTo>
                <a:cubicBezTo>
                  <a:pt x="639" y="177"/>
                  <a:pt x="639" y="177"/>
                  <a:pt x="639" y="177"/>
                </a:cubicBezTo>
                <a:cubicBezTo>
                  <a:pt x="639" y="176"/>
                  <a:pt x="639" y="176"/>
                  <a:pt x="639" y="176"/>
                </a:cubicBezTo>
                <a:cubicBezTo>
                  <a:pt x="640" y="175"/>
                  <a:pt x="640" y="175"/>
                  <a:pt x="640" y="175"/>
                </a:cubicBezTo>
                <a:cubicBezTo>
                  <a:pt x="640" y="173"/>
                  <a:pt x="640" y="173"/>
                  <a:pt x="640" y="173"/>
                </a:cubicBezTo>
                <a:cubicBezTo>
                  <a:pt x="639" y="172"/>
                  <a:pt x="639" y="172"/>
                  <a:pt x="639" y="172"/>
                </a:cubicBezTo>
                <a:cubicBezTo>
                  <a:pt x="639" y="168"/>
                  <a:pt x="639" y="168"/>
                  <a:pt x="639" y="168"/>
                </a:cubicBezTo>
                <a:cubicBezTo>
                  <a:pt x="638" y="167"/>
                  <a:pt x="638" y="167"/>
                  <a:pt x="638" y="167"/>
                </a:cubicBezTo>
                <a:cubicBezTo>
                  <a:pt x="637" y="165"/>
                  <a:pt x="637" y="165"/>
                  <a:pt x="637" y="165"/>
                </a:cubicBezTo>
                <a:cubicBezTo>
                  <a:pt x="636" y="163"/>
                  <a:pt x="636" y="163"/>
                  <a:pt x="636" y="163"/>
                </a:cubicBezTo>
                <a:cubicBezTo>
                  <a:pt x="635" y="163"/>
                  <a:pt x="635" y="163"/>
                  <a:pt x="635" y="163"/>
                </a:cubicBezTo>
                <a:cubicBezTo>
                  <a:pt x="631" y="164"/>
                  <a:pt x="631" y="164"/>
                  <a:pt x="631" y="164"/>
                </a:cubicBezTo>
                <a:cubicBezTo>
                  <a:pt x="627" y="167"/>
                  <a:pt x="627" y="167"/>
                  <a:pt x="627" y="167"/>
                </a:cubicBezTo>
                <a:cubicBezTo>
                  <a:pt x="625" y="167"/>
                  <a:pt x="625" y="167"/>
                  <a:pt x="625" y="167"/>
                </a:cubicBezTo>
                <a:cubicBezTo>
                  <a:pt x="625" y="168"/>
                  <a:pt x="625" y="168"/>
                  <a:pt x="625" y="168"/>
                </a:cubicBezTo>
                <a:cubicBezTo>
                  <a:pt x="625" y="170"/>
                  <a:pt x="625" y="170"/>
                  <a:pt x="625" y="170"/>
                </a:cubicBezTo>
                <a:cubicBezTo>
                  <a:pt x="627" y="171"/>
                  <a:pt x="627" y="171"/>
                  <a:pt x="627" y="171"/>
                </a:cubicBezTo>
                <a:cubicBezTo>
                  <a:pt x="627" y="173"/>
                  <a:pt x="627" y="173"/>
                  <a:pt x="627" y="173"/>
                </a:cubicBezTo>
                <a:cubicBezTo>
                  <a:pt x="627" y="174"/>
                  <a:pt x="627" y="174"/>
                  <a:pt x="627" y="174"/>
                </a:cubicBezTo>
                <a:cubicBezTo>
                  <a:pt x="625" y="174"/>
                  <a:pt x="625" y="174"/>
                  <a:pt x="625" y="174"/>
                </a:cubicBezTo>
                <a:cubicBezTo>
                  <a:pt x="624" y="174"/>
                  <a:pt x="624" y="174"/>
                  <a:pt x="624" y="174"/>
                </a:cubicBezTo>
                <a:cubicBezTo>
                  <a:pt x="625" y="175"/>
                  <a:pt x="625" y="175"/>
                  <a:pt x="625" y="175"/>
                </a:cubicBezTo>
                <a:cubicBezTo>
                  <a:pt x="628" y="176"/>
                  <a:pt x="628" y="176"/>
                  <a:pt x="628" y="176"/>
                </a:cubicBezTo>
                <a:cubicBezTo>
                  <a:pt x="633" y="177"/>
                  <a:pt x="633" y="177"/>
                  <a:pt x="633" y="177"/>
                </a:cubicBezTo>
                <a:close/>
                <a:moveTo>
                  <a:pt x="850" y="112"/>
                </a:moveTo>
                <a:cubicBezTo>
                  <a:pt x="851" y="111"/>
                  <a:pt x="851" y="111"/>
                  <a:pt x="851" y="111"/>
                </a:cubicBezTo>
                <a:cubicBezTo>
                  <a:pt x="851" y="111"/>
                  <a:pt x="851" y="111"/>
                  <a:pt x="851" y="111"/>
                </a:cubicBezTo>
                <a:cubicBezTo>
                  <a:pt x="852" y="109"/>
                  <a:pt x="852" y="109"/>
                  <a:pt x="852" y="109"/>
                </a:cubicBezTo>
                <a:cubicBezTo>
                  <a:pt x="853" y="107"/>
                  <a:pt x="853" y="107"/>
                  <a:pt x="853" y="107"/>
                </a:cubicBezTo>
                <a:cubicBezTo>
                  <a:pt x="852" y="105"/>
                  <a:pt x="852" y="105"/>
                  <a:pt x="852" y="105"/>
                </a:cubicBezTo>
                <a:cubicBezTo>
                  <a:pt x="850" y="102"/>
                  <a:pt x="850" y="102"/>
                  <a:pt x="850" y="102"/>
                </a:cubicBezTo>
                <a:cubicBezTo>
                  <a:pt x="849" y="99"/>
                  <a:pt x="849" y="99"/>
                  <a:pt x="849" y="99"/>
                </a:cubicBezTo>
                <a:cubicBezTo>
                  <a:pt x="847" y="99"/>
                  <a:pt x="847" y="99"/>
                  <a:pt x="847" y="99"/>
                </a:cubicBezTo>
                <a:cubicBezTo>
                  <a:pt x="845" y="100"/>
                  <a:pt x="845" y="100"/>
                  <a:pt x="845" y="100"/>
                </a:cubicBezTo>
                <a:cubicBezTo>
                  <a:pt x="843" y="102"/>
                  <a:pt x="843" y="102"/>
                  <a:pt x="843" y="102"/>
                </a:cubicBezTo>
                <a:cubicBezTo>
                  <a:pt x="843" y="103"/>
                  <a:pt x="843" y="103"/>
                  <a:pt x="843" y="103"/>
                </a:cubicBezTo>
                <a:cubicBezTo>
                  <a:pt x="844" y="106"/>
                  <a:pt x="844" y="106"/>
                  <a:pt x="844" y="106"/>
                </a:cubicBezTo>
                <a:cubicBezTo>
                  <a:pt x="844" y="107"/>
                  <a:pt x="844" y="107"/>
                  <a:pt x="844" y="107"/>
                </a:cubicBezTo>
                <a:cubicBezTo>
                  <a:pt x="845" y="108"/>
                  <a:pt x="845" y="108"/>
                  <a:pt x="845" y="108"/>
                </a:cubicBezTo>
                <a:cubicBezTo>
                  <a:pt x="846" y="109"/>
                  <a:pt x="846" y="109"/>
                  <a:pt x="846" y="109"/>
                </a:cubicBezTo>
                <a:cubicBezTo>
                  <a:pt x="848" y="111"/>
                  <a:pt x="848" y="111"/>
                  <a:pt x="848" y="111"/>
                </a:cubicBezTo>
                <a:cubicBezTo>
                  <a:pt x="850" y="112"/>
                  <a:pt x="850" y="112"/>
                  <a:pt x="850" y="112"/>
                </a:cubicBezTo>
                <a:close/>
                <a:moveTo>
                  <a:pt x="857" y="128"/>
                </a:moveTo>
                <a:cubicBezTo>
                  <a:pt x="858" y="127"/>
                  <a:pt x="858" y="127"/>
                  <a:pt x="858" y="127"/>
                </a:cubicBezTo>
                <a:cubicBezTo>
                  <a:pt x="860" y="125"/>
                  <a:pt x="860" y="125"/>
                  <a:pt x="860" y="125"/>
                </a:cubicBezTo>
                <a:cubicBezTo>
                  <a:pt x="863" y="123"/>
                  <a:pt x="863" y="123"/>
                  <a:pt x="863" y="123"/>
                </a:cubicBezTo>
                <a:cubicBezTo>
                  <a:pt x="866" y="124"/>
                  <a:pt x="866" y="124"/>
                  <a:pt x="866" y="124"/>
                </a:cubicBezTo>
                <a:cubicBezTo>
                  <a:pt x="870" y="124"/>
                  <a:pt x="870" y="124"/>
                  <a:pt x="870" y="124"/>
                </a:cubicBezTo>
                <a:cubicBezTo>
                  <a:pt x="873" y="123"/>
                  <a:pt x="873" y="123"/>
                  <a:pt x="873" y="123"/>
                </a:cubicBezTo>
                <a:cubicBezTo>
                  <a:pt x="878" y="123"/>
                  <a:pt x="878" y="123"/>
                  <a:pt x="878" y="123"/>
                </a:cubicBezTo>
                <a:cubicBezTo>
                  <a:pt x="880" y="122"/>
                  <a:pt x="880" y="122"/>
                  <a:pt x="880" y="122"/>
                </a:cubicBezTo>
                <a:cubicBezTo>
                  <a:pt x="884" y="122"/>
                  <a:pt x="884" y="122"/>
                  <a:pt x="884" y="122"/>
                </a:cubicBezTo>
                <a:cubicBezTo>
                  <a:pt x="886" y="122"/>
                  <a:pt x="886" y="122"/>
                  <a:pt x="886" y="122"/>
                </a:cubicBezTo>
                <a:cubicBezTo>
                  <a:pt x="888" y="120"/>
                  <a:pt x="888" y="120"/>
                  <a:pt x="888" y="120"/>
                </a:cubicBezTo>
                <a:cubicBezTo>
                  <a:pt x="886" y="119"/>
                  <a:pt x="886" y="119"/>
                  <a:pt x="886" y="119"/>
                </a:cubicBezTo>
                <a:cubicBezTo>
                  <a:pt x="885" y="117"/>
                  <a:pt x="885" y="117"/>
                  <a:pt x="885" y="117"/>
                </a:cubicBezTo>
                <a:cubicBezTo>
                  <a:pt x="882" y="113"/>
                  <a:pt x="882" y="113"/>
                  <a:pt x="882" y="113"/>
                </a:cubicBezTo>
                <a:cubicBezTo>
                  <a:pt x="878" y="110"/>
                  <a:pt x="878" y="110"/>
                  <a:pt x="878" y="110"/>
                </a:cubicBezTo>
                <a:cubicBezTo>
                  <a:pt x="875" y="110"/>
                  <a:pt x="875" y="110"/>
                  <a:pt x="875" y="110"/>
                </a:cubicBezTo>
                <a:cubicBezTo>
                  <a:pt x="872" y="109"/>
                  <a:pt x="872" y="109"/>
                  <a:pt x="872" y="109"/>
                </a:cubicBezTo>
                <a:cubicBezTo>
                  <a:pt x="870" y="107"/>
                  <a:pt x="870" y="107"/>
                  <a:pt x="870" y="107"/>
                </a:cubicBezTo>
                <a:cubicBezTo>
                  <a:pt x="868" y="107"/>
                  <a:pt x="868" y="107"/>
                  <a:pt x="868" y="107"/>
                </a:cubicBezTo>
                <a:cubicBezTo>
                  <a:pt x="867" y="108"/>
                  <a:pt x="867" y="108"/>
                  <a:pt x="867" y="108"/>
                </a:cubicBezTo>
                <a:cubicBezTo>
                  <a:pt x="864" y="107"/>
                  <a:pt x="864" y="107"/>
                  <a:pt x="864" y="107"/>
                </a:cubicBezTo>
                <a:cubicBezTo>
                  <a:pt x="862" y="107"/>
                  <a:pt x="862" y="107"/>
                  <a:pt x="862" y="107"/>
                </a:cubicBezTo>
                <a:cubicBezTo>
                  <a:pt x="861" y="109"/>
                  <a:pt x="861" y="109"/>
                  <a:pt x="861" y="109"/>
                </a:cubicBezTo>
                <a:cubicBezTo>
                  <a:pt x="858" y="112"/>
                  <a:pt x="858" y="112"/>
                  <a:pt x="858" y="112"/>
                </a:cubicBezTo>
                <a:cubicBezTo>
                  <a:pt x="859" y="115"/>
                  <a:pt x="859" y="115"/>
                  <a:pt x="859" y="115"/>
                </a:cubicBezTo>
                <a:cubicBezTo>
                  <a:pt x="859" y="119"/>
                  <a:pt x="859" y="119"/>
                  <a:pt x="859" y="119"/>
                </a:cubicBezTo>
                <a:cubicBezTo>
                  <a:pt x="857" y="124"/>
                  <a:pt x="857" y="124"/>
                  <a:pt x="857" y="124"/>
                </a:cubicBezTo>
                <a:cubicBezTo>
                  <a:pt x="855" y="126"/>
                  <a:pt x="855" y="126"/>
                  <a:pt x="855" y="126"/>
                </a:cubicBezTo>
                <a:cubicBezTo>
                  <a:pt x="855" y="128"/>
                  <a:pt x="855" y="128"/>
                  <a:pt x="855" y="128"/>
                </a:cubicBezTo>
                <a:cubicBezTo>
                  <a:pt x="857" y="128"/>
                  <a:pt x="857" y="128"/>
                  <a:pt x="857" y="128"/>
                </a:cubicBezTo>
                <a:close/>
                <a:moveTo>
                  <a:pt x="806" y="118"/>
                </a:moveTo>
                <a:cubicBezTo>
                  <a:pt x="807" y="119"/>
                  <a:pt x="807" y="119"/>
                  <a:pt x="807" y="119"/>
                </a:cubicBezTo>
                <a:cubicBezTo>
                  <a:pt x="808" y="121"/>
                  <a:pt x="808" y="121"/>
                  <a:pt x="808" y="121"/>
                </a:cubicBezTo>
                <a:cubicBezTo>
                  <a:pt x="810" y="121"/>
                  <a:pt x="810" y="121"/>
                  <a:pt x="810" y="121"/>
                </a:cubicBezTo>
                <a:cubicBezTo>
                  <a:pt x="812" y="123"/>
                  <a:pt x="812" y="123"/>
                  <a:pt x="812" y="123"/>
                </a:cubicBezTo>
                <a:cubicBezTo>
                  <a:pt x="814" y="123"/>
                  <a:pt x="814" y="123"/>
                  <a:pt x="814" y="123"/>
                </a:cubicBezTo>
                <a:cubicBezTo>
                  <a:pt x="817" y="125"/>
                  <a:pt x="817" y="125"/>
                  <a:pt x="817" y="125"/>
                </a:cubicBezTo>
                <a:cubicBezTo>
                  <a:pt x="818" y="125"/>
                  <a:pt x="818" y="125"/>
                  <a:pt x="818" y="125"/>
                </a:cubicBezTo>
                <a:cubicBezTo>
                  <a:pt x="818" y="123"/>
                  <a:pt x="818" y="123"/>
                  <a:pt x="818" y="123"/>
                </a:cubicBezTo>
                <a:cubicBezTo>
                  <a:pt x="815" y="120"/>
                  <a:pt x="815" y="120"/>
                  <a:pt x="815" y="120"/>
                </a:cubicBezTo>
                <a:cubicBezTo>
                  <a:pt x="813" y="120"/>
                  <a:pt x="813" y="120"/>
                  <a:pt x="813" y="120"/>
                </a:cubicBezTo>
                <a:cubicBezTo>
                  <a:pt x="810" y="120"/>
                  <a:pt x="810" y="120"/>
                  <a:pt x="810" y="120"/>
                </a:cubicBezTo>
                <a:cubicBezTo>
                  <a:pt x="808" y="117"/>
                  <a:pt x="808" y="117"/>
                  <a:pt x="808" y="117"/>
                </a:cubicBezTo>
                <a:cubicBezTo>
                  <a:pt x="806" y="117"/>
                  <a:pt x="806" y="117"/>
                  <a:pt x="806" y="117"/>
                </a:cubicBezTo>
                <a:cubicBezTo>
                  <a:pt x="806" y="118"/>
                  <a:pt x="806" y="118"/>
                  <a:pt x="806" y="118"/>
                </a:cubicBezTo>
                <a:close/>
                <a:moveTo>
                  <a:pt x="874" y="185"/>
                </a:moveTo>
                <a:cubicBezTo>
                  <a:pt x="876" y="187"/>
                  <a:pt x="876" y="187"/>
                  <a:pt x="876" y="187"/>
                </a:cubicBezTo>
                <a:cubicBezTo>
                  <a:pt x="877" y="188"/>
                  <a:pt x="877" y="188"/>
                  <a:pt x="877" y="188"/>
                </a:cubicBezTo>
                <a:cubicBezTo>
                  <a:pt x="877" y="187"/>
                  <a:pt x="877" y="187"/>
                  <a:pt x="877" y="187"/>
                </a:cubicBezTo>
                <a:cubicBezTo>
                  <a:pt x="880" y="186"/>
                  <a:pt x="880" y="186"/>
                  <a:pt x="880" y="186"/>
                </a:cubicBezTo>
                <a:cubicBezTo>
                  <a:pt x="881" y="185"/>
                  <a:pt x="881" y="185"/>
                  <a:pt x="881" y="185"/>
                </a:cubicBezTo>
                <a:cubicBezTo>
                  <a:pt x="880" y="184"/>
                  <a:pt x="880" y="184"/>
                  <a:pt x="880" y="184"/>
                </a:cubicBezTo>
                <a:cubicBezTo>
                  <a:pt x="879" y="181"/>
                  <a:pt x="879" y="181"/>
                  <a:pt x="879" y="181"/>
                </a:cubicBezTo>
                <a:cubicBezTo>
                  <a:pt x="878" y="182"/>
                  <a:pt x="878" y="182"/>
                  <a:pt x="878" y="182"/>
                </a:cubicBezTo>
                <a:cubicBezTo>
                  <a:pt x="878" y="183"/>
                  <a:pt x="878" y="183"/>
                  <a:pt x="878" y="183"/>
                </a:cubicBezTo>
                <a:cubicBezTo>
                  <a:pt x="876" y="185"/>
                  <a:pt x="876" y="185"/>
                  <a:pt x="876" y="185"/>
                </a:cubicBezTo>
                <a:cubicBezTo>
                  <a:pt x="876" y="185"/>
                  <a:pt x="874" y="185"/>
                  <a:pt x="874" y="185"/>
                </a:cubicBezTo>
                <a:close/>
                <a:moveTo>
                  <a:pt x="1112" y="167"/>
                </a:moveTo>
                <a:cubicBezTo>
                  <a:pt x="1112" y="166"/>
                  <a:pt x="1112" y="166"/>
                  <a:pt x="1112" y="166"/>
                </a:cubicBezTo>
                <a:cubicBezTo>
                  <a:pt x="1113" y="165"/>
                  <a:pt x="1113" y="165"/>
                  <a:pt x="1113" y="165"/>
                </a:cubicBezTo>
                <a:cubicBezTo>
                  <a:pt x="1112" y="163"/>
                  <a:pt x="1112" y="163"/>
                  <a:pt x="1112" y="163"/>
                </a:cubicBezTo>
                <a:cubicBezTo>
                  <a:pt x="1111" y="163"/>
                  <a:pt x="1111" y="163"/>
                  <a:pt x="1111" y="163"/>
                </a:cubicBezTo>
                <a:cubicBezTo>
                  <a:pt x="1111" y="164"/>
                  <a:pt x="1111" y="164"/>
                  <a:pt x="1111" y="164"/>
                </a:cubicBezTo>
                <a:cubicBezTo>
                  <a:pt x="1112" y="167"/>
                  <a:pt x="1112" y="167"/>
                  <a:pt x="1112" y="167"/>
                </a:cubicBezTo>
                <a:close/>
                <a:moveTo>
                  <a:pt x="1110" y="168"/>
                </a:moveTo>
                <a:cubicBezTo>
                  <a:pt x="1111" y="169"/>
                  <a:pt x="1111" y="169"/>
                  <a:pt x="1111" y="169"/>
                </a:cubicBezTo>
                <a:cubicBezTo>
                  <a:pt x="1111" y="167"/>
                  <a:pt x="1111" y="167"/>
                  <a:pt x="1111" y="167"/>
                </a:cubicBezTo>
                <a:cubicBezTo>
                  <a:pt x="1110" y="165"/>
                  <a:pt x="1110" y="165"/>
                  <a:pt x="1110" y="165"/>
                </a:cubicBezTo>
                <a:cubicBezTo>
                  <a:pt x="1109" y="165"/>
                  <a:pt x="1109" y="165"/>
                  <a:pt x="1109" y="165"/>
                </a:cubicBezTo>
                <a:cubicBezTo>
                  <a:pt x="1108" y="166"/>
                  <a:pt x="1108" y="166"/>
                  <a:pt x="1108" y="166"/>
                </a:cubicBezTo>
                <a:cubicBezTo>
                  <a:pt x="1110" y="168"/>
                  <a:pt x="1110" y="168"/>
                  <a:pt x="1110" y="168"/>
                </a:cubicBezTo>
                <a:close/>
                <a:moveTo>
                  <a:pt x="1108" y="169"/>
                </a:moveTo>
                <a:cubicBezTo>
                  <a:pt x="1110" y="172"/>
                  <a:pt x="1110" y="172"/>
                  <a:pt x="1110" y="172"/>
                </a:cubicBezTo>
                <a:cubicBezTo>
                  <a:pt x="1111" y="174"/>
                  <a:pt x="1111" y="174"/>
                  <a:pt x="1111" y="174"/>
                </a:cubicBezTo>
                <a:cubicBezTo>
                  <a:pt x="1112" y="173"/>
                  <a:pt x="1112" y="173"/>
                  <a:pt x="1112" y="173"/>
                </a:cubicBezTo>
                <a:cubicBezTo>
                  <a:pt x="1111" y="170"/>
                  <a:pt x="1111" y="170"/>
                  <a:pt x="1111" y="170"/>
                </a:cubicBezTo>
                <a:cubicBezTo>
                  <a:pt x="1109" y="168"/>
                  <a:pt x="1109" y="168"/>
                  <a:pt x="1109" y="168"/>
                </a:cubicBezTo>
                <a:cubicBezTo>
                  <a:pt x="1108" y="168"/>
                  <a:pt x="1108" y="168"/>
                  <a:pt x="1108" y="168"/>
                </a:cubicBezTo>
                <a:cubicBezTo>
                  <a:pt x="1108" y="169"/>
                  <a:pt x="1108" y="169"/>
                  <a:pt x="1108" y="169"/>
                </a:cubicBezTo>
                <a:close/>
                <a:moveTo>
                  <a:pt x="1103" y="168"/>
                </a:moveTo>
                <a:cubicBezTo>
                  <a:pt x="1104" y="170"/>
                  <a:pt x="1104" y="170"/>
                  <a:pt x="1104" y="170"/>
                </a:cubicBezTo>
                <a:cubicBezTo>
                  <a:pt x="1105" y="171"/>
                  <a:pt x="1105" y="171"/>
                  <a:pt x="1105" y="171"/>
                </a:cubicBezTo>
                <a:cubicBezTo>
                  <a:pt x="1106" y="170"/>
                  <a:pt x="1106" y="170"/>
                  <a:pt x="1106" y="170"/>
                </a:cubicBezTo>
                <a:cubicBezTo>
                  <a:pt x="1106" y="170"/>
                  <a:pt x="1106" y="170"/>
                  <a:pt x="1106" y="170"/>
                </a:cubicBezTo>
                <a:cubicBezTo>
                  <a:pt x="1106" y="167"/>
                  <a:pt x="1106" y="167"/>
                  <a:pt x="1106" y="167"/>
                </a:cubicBezTo>
                <a:cubicBezTo>
                  <a:pt x="1105" y="167"/>
                  <a:pt x="1105" y="167"/>
                  <a:pt x="1105" y="167"/>
                </a:cubicBezTo>
                <a:cubicBezTo>
                  <a:pt x="1104" y="167"/>
                  <a:pt x="1104" y="167"/>
                  <a:pt x="1104" y="167"/>
                </a:cubicBezTo>
                <a:cubicBezTo>
                  <a:pt x="1103" y="168"/>
                  <a:pt x="1103" y="168"/>
                  <a:pt x="1103" y="168"/>
                </a:cubicBezTo>
                <a:close/>
                <a:moveTo>
                  <a:pt x="1162" y="144"/>
                </a:moveTo>
                <a:cubicBezTo>
                  <a:pt x="1164" y="145"/>
                  <a:pt x="1164" y="145"/>
                  <a:pt x="1164" y="145"/>
                </a:cubicBezTo>
                <a:cubicBezTo>
                  <a:pt x="1167" y="144"/>
                  <a:pt x="1167" y="144"/>
                  <a:pt x="1167" y="144"/>
                </a:cubicBezTo>
                <a:cubicBezTo>
                  <a:pt x="1168" y="142"/>
                  <a:pt x="1168" y="142"/>
                  <a:pt x="1168" y="142"/>
                </a:cubicBezTo>
                <a:cubicBezTo>
                  <a:pt x="1168" y="140"/>
                  <a:pt x="1168" y="140"/>
                  <a:pt x="1168" y="140"/>
                </a:cubicBezTo>
                <a:cubicBezTo>
                  <a:pt x="1166" y="138"/>
                  <a:pt x="1166" y="138"/>
                  <a:pt x="1166" y="138"/>
                </a:cubicBezTo>
                <a:cubicBezTo>
                  <a:pt x="1167" y="137"/>
                  <a:pt x="1167" y="137"/>
                  <a:pt x="1167" y="137"/>
                </a:cubicBezTo>
                <a:cubicBezTo>
                  <a:pt x="1166" y="135"/>
                  <a:pt x="1166" y="135"/>
                  <a:pt x="1166" y="135"/>
                </a:cubicBezTo>
                <a:cubicBezTo>
                  <a:pt x="1164" y="134"/>
                  <a:pt x="1164" y="134"/>
                  <a:pt x="1164" y="134"/>
                </a:cubicBezTo>
                <a:cubicBezTo>
                  <a:pt x="1163" y="134"/>
                  <a:pt x="1163" y="134"/>
                  <a:pt x="1163" y="134"/>
                </a:cubicBezTo>
                <a:cubicBezTo>
                  <a:pt x="1161" y="134"/>
                  <a:pt x="1161" y="134"/>
                  <a:pt x="1161" y="134"/>
                </a:cubicBezTo>
                <a:cubicBezTo>
                  <a:pt x="1159" y="133"/>
                  <a:pt x="1159" y="133"/>
                  <a:pt x="1159" y="133"/>
                </a:cubicBezTo>
                <a:cubicBezTo>
                  <a:pt x="1157" y="133"/>
                  <a:pt x="1157" y="133"/>
                  <a:pt x="1157" y="133"/>
                </a:cubicBezTo>
                <a:cubicBezTo>
                  <a:pt x="1157" y="134"/>
                  <a:pt x="1157" y="134"/>
                  <a:pt x="1157" y="134"/>
                </a:cubicBezTo>
                <a:cubicBezTo>
                  <a:pt x="1156" y="134"/>
                  <a:pt x="1156" y="134"/>
                  <a:pt x="1156" y="134"/>
                </a:cubicBezTo>
                <a:cubicBezTo>
                  <a:pt x="1156" y="135"/>
                  <a:pt x="1156" y="135"/>
                  <a:pt x="1156" y="135"/>
                </a:cubicBezTo>
                <a:cubicBezTo>
                  <a:pt x="1154" y="135"/>
                  <a:pt x="1154" y="135"/>
                  <a:pt x="1154" y="135"/>
                </a:cubicBezTo>
                <a:cubicBezTo>
                  <a:pt x="1154" y="137"/>
                  <a:pt x="1154" y="137"/>
                  <a:pt x="1154" y="137"/>
                </a:cubicBezTo>
                <a:cubicBezTo>
                  <a:pt x="1154" y="141"/>
                  <a:pt x="1154" y="141"/>
                  <a:pt x="1154" y="141"/>
                </a:cubicBezTo>
                <a:cubicBezTo>
                  <a:pt x="1155" y="141"/>
                  <a:pt x="1155" y="141"/>
                  <a:pt x="1155" y="141"/>
                </a:cubicBezTo>
                <a:cubicBezTo>
                  <a:pt x="1157" y="141"/>
                  <a:pt x="1157" y="141"/>
                  <a:pt x="1157" y="141"/>
                </a:cubicBezTo>
                <a:cubicBezTo>
                  <a:pt x="1159" y="142"/>
                  <a:pt x="1159" y="142"/>
                  <a:pt x="1159" y="142"/>
                </a:cubicBezTo>
                <a:cubicBezTo>
                  <a:pt x="1162" y="144"/>
                  <a:pt x="1162" y="144"/>
                  <a:pt x="1162" y="144"/>
                </a:cubicBezTo>
                <a:close/>
                <a:moveTo>
                  <a:pt x="1175" y="139"/>
                </a:moveTo>
                <a:cubicBezTo>
                  <a:pt x="1177" y="137"/>
                  <a:pt x="1177" y="137"/>
                  <a:pt x="1177" y="137"/>
                </a:cubicBezTo>
                <a:cubicBezTo>
                  <a:pt x="1177" y="136"/>
                  <a:pt x="1177" y="136"/>
                  <a:pt x="1177" y="136"/>
                </a:cubicBezTo>
                <a:cubicBezTo>
                  <a:pt x="1175" y="136"/>
                  <a:pt x="1175" y="136"/>
                  <a:pt x="1175" y="136"/>
                </a:cubicBezTo>
                <a:cubicBezTo>
                  <a:pt x="1174" y="137"/>
                  <a:pt x="1174" y="137"/>
                  <a:pt x="1174" y="137"/>
                </a:cubicBezTo>
                <a:cubicBezTo>
                  <a:pt x="1175" y="139"/>
                  <a:pt x="1175" y="139"/>
                  <a:pt x="1175" y="139"/>
                </a:cubicBezTo>
                <a:close/>
                <a:moveTo>
                  <a:pt x="1190" y="710"/>
                </a:moveTo>
                <a:cubicBezTo>
                  <a:pt x="1190" y="708"/>
                  <a:pt x="1190" y="708"/>
                  <a:pt x="1190" y="708"/>
                </a:cubicBezTo>
                <a:cubicBezTo>
                  <a:pt x="1190" y="705"/>
                  <a:pt x="1190" y="705"/>
                  <a:pt x="1190" y="705"/>
                </a:cubicBezTo>
                <a:cubicBezTo>
                  <a:pt x="1189" y="703"/>
                  <a:pt x="1189" y="703"/>
                  <a:pt x="1189" y="703"/>
                </a:cubicBezTo>
                <a:cubicBezTo>
                  <a:pt x="1188" y="701"/>
                  <a:pt x="1188" y="701"/>
                  <a:pt x="1188" y="701"/>
                </a:cubicBezTo>
                <a:cubicBezTo>
                  <a:pt x="1189" y="697"/>
                  <a:pt x="1189" y="697"/>
                  <a:pt x="1189" y="697"/>
                </a:cubicBezTo>
                <a:cubicBezTo>
                  <a:pt x="1191" y="696"/>
                  <a:pt x="1191" y="696"/>
                  <a:pt x="1191" y="696"/>
                </a:cubicBezTo>
                <a:cubicBezTo>
                  <a:pt x="1192" y="696"/>
                  <a:pt x="1192" y="696"/>
                  <a:pt x="1192" y="696"/>
                </a:cubicBezTo>
                <a:cubicBezTo>
                  <a:pt x="1192" y="698"/>
                  <a:pt x="1192" y="698"/>
                  <a:pt x="1192" y="698"/>
                </a:cubicBezTo>
                <a:cubicBezTo>
                  <a:pt x="1193" y="699"/>
                  <a:pt x="1193" y="699"/>
                  <a:pt x="1193" y="699"/>
                </a:cubicBezTo>
                <a:cubicBezTo>
                  <a:pt x="1197" y="698"/>
                  <a:pt x="1197" y="698"/>
                  <a:pt x="1197" y="698"/>
                </a:cubicBezTo>
                <a:cubicBezTo>
                  <a:pt x="1198" y="697"/>
                  <a:pt x="1198" y="697"/>
                  <a:pt x="1198" y="697"/>
                </a:cubicBezTo>
                <a:cubicBezTo>
                  <a:pt x="1199" y="697"/>
                  <a:pt x="1199" y="697"/>
                  <a:pt x="1199" y="697"/>
                </a:cubicBezTo>
                <a:cubicBezTo>
                  <a:pt x="1199" y="698"/>
                  <a:pt x="1199" y="698"/>
                  <a:pt x="1199" y="698"/>
                </a:cubicBezTo>
                <a:cubicBezTo>
                  <a:pt x="1199" y="699"/>
                  <a:pt x="1199" y="699"/>
                  <a:pt x="1199" y="699"/>
                </a:cubicBezTo>
                <a:cubicBezTo>
                  <a:pt x="1199" y="700"/>
                  <a:pt x="1199" y="700"/>
                  <a:pt x="1199" y="700"/>
                </a:cubicBezTo>
                <a:cubicBezTo>
                  <a:pt x="1201" y="703"/>
                  <a:pt x="1201" y="703"/>
                  <a:pt x="1201" y="703"/>
                </a:cubicBezTo>
                <a:cubicBezTo>
                  <a:pt x="1201" y="705"/>
                  <a:pt x="1201" y="705"/>
                  <a:pt x="1201" y="705"/>
                </a:cubicBezTo>
                <a:cubicBezTo>
                  <a:pt x="1203" y="706"/>
                  <a:pt x="1203" y="706"/>
                  <a:pt x="1203" y="706"/>
                </a:cubicBezTo>
                <a:cubicBezTo>
                  <a:pt x="1203" y="705"/>
                  <a:pt x="1203" y="705"/>
                  <a:pt x="1203" y="705"/>
                </a:cubicBezTo>
                <a:cubicBezTo>
                  <a:pt x="1202" y="703"/>
                  <a:pt x="1202" y="703"/>
                  <a:pt x="1202" y="703"/>
                </a:cubicBezTo>
                <a:cubicBezTo>
                  <a:pt x="1202" y="701"/>
                  <a:pt x="1202" y="701"/>
                  <a:pt x="1202" y="701"/>
                </a:cubicBezTo>
                <a:cubicBezTo>
                  <a:pt x="1202" y="699"/>
                  <a:pt x="1202" y="699"/>
                  <a:pt x="1202" y="699"/>
                </a:cubicBezTo>
                <a:cubicBezTo>
                  <a:pt x="1200" y="697"/>
                  <a:pt x="1200" y="697"/>
                  <a:pt x="1200" y="697"/>
                </a:cubicBezTo>
                <a:cubicBezTo>
                  <a:pt x="1200" y="694"/>
                  <a:pt x="1200" y="694"/>
                  <a:pt x="1200" y="694"/>
                </a:cubicBezTo>
                <a:cubicBezTo>
                  <a:pt x="1199" y="692"/>
                  <a:pt x="1199" y="692"/>
                  <a:pt x="1199" y="692"/>
                </a:cubicBezTo>
                <a:cubicBezTo>
                  <a:pt x="1198" y="693"/>
                  <a:pt x="1198" y="693"/>
                  <a:pt x="1198" y="693"/>
                </a:cubicBezTo>
                <a:cubicBezTo>
                  <a:pt x="1196" y="693"/>
                  <a:pt x="1196" y="693"/>
                  <a:pt x="1196" y="693"/>
                </a:cubicBezTo>
                <a:cubicBezTo>
                  <a:pt x="1193" y="691"/>
                  <a:pt x="1193" y="691"/>
                  <a:pt x="1193" y="691"/>
                </a:cubicBezTo>
                <a:cubicBezTo>
                  <a:pt x="1193" y="688"/>
                  <a:pt x="1193" y="688"/>
                  <a:pt x="1193" y="688"/>
                </a:cubicBezTo>
                <a:cubicBezTo>
                  <a:pt x="1191" y="686"/>
                  <a:pt x="1191" y="686"/>
                  <a:pt x="1191" y="686"/>
                </a:cubicBezTo>
                <a:cubicBezTo>
                  <a:pt x="1189" y="683"/>
                  <a:pt x="1189" y="683"/>
                  <a:pt x="1189" y="683"/>
                </a:cubicBezTo>
                <a:cubicBezTo>
                  <a:pt x="1187" y="683"/>
                  <a:pt x="1187" y="683"/>
                  <a:pt x="1187" y="683"/>
                </a:cubicBezTo>
                <a:cubicBezTo>
                  <a:pt x="1185" y="681"/>
                  <a:pt x="1185" y="681"/>
                  <a:pt x="1185" y="681"/>
                </a:cubicBezTo>
                <a:cubicBezTo>
                  <a:pt x="1185" y="677"/>
                  <a:pt x="1185" y="677"/>
                  <a:pt x="1185" y="677"/>
                </a:cubicBezTo>
                <a:cubicBezTo>
                  <a:pt x="1183" y="675"/>
                  <a:pt x="1183" y="675"/>
                  <a:pt x="1183" y="675"/>
                </a:cubicBezTo>
                <a:cubicBezTo>
                  <a:pt x="1182" y="672"/>
                  <a:pt x="1182" y="672"/>
                  <a:pt x="1182" y="672"/>
                </a:cubicBezTo>
                <a:cubicBezTo>
                  <a:pt x="1182" y="668"/>
                  <a:pt x="1182" y="668"/>
                  <a:pt x="1182" y="668"/>
                </a:cubicBezTo>
                <a:cubicBezTo>
                  <a:pt x="1182" y="664"/>
                  <a:pt x="1182" y="664"/>
                  <a:pt x="1182" y="664"/>
                </a:cubicBezTo>
                <a:cubicBezTo>
                  <a:pt x="1181" y="662"/>
                  <a:pt x="1181" y="662"/>
                  <a:pt x="1181" y="662"/>
                </a:cubicBezTo>
                <a:cubicBezTo>
                  <a:pt x="1181" y="659"/>
                  <a:pt x="1181" y="659"/>
                  <a:pt x="1181" y="659"/>
                </a:cubicBezTo>
                <a:cubicBezTo>
                  <a:pt x="1181" y="656"/>
                  <a:pt x="1181" y="656"/>
                  <a:pt x="1181" y="656"/>
                </a:cubicBezTo>
                <a:cubicBezTo>
                  <a:pt x="1179" y="654"/>
                  <a:pt x="1179" y="654"/>
                  <a:pt x="1179" y="654"/>
                </a:cubicBezTo>
                <a:cubicBezTo>
                  <a:pt x="1180" y="652"/>
                  <a:pt x="1180" y="652"/>
                  <a:pt x="1180" y="652"/>
                </a:cubicBezTo>
                <a:cubicBezTo>
                  <a:pt x="1181" y="651"/>
                  <a:pt x="1181" y="651"/>
                  <a:pt x="1181" y="651"/>
                </a:cubicBezTo>
                <a:cubicBezTo>
                  <a:pt x="1181" y="650"/>
                  <a:pt x="1181" y="650"/>
                  <a:pt x="1181" y="650"/>
                </a:cubicBezTo>
                <a:cubicBezTo>
                  <a:pt x="1182" y="649"/>
                  <a:pt x="1182" y="649"/>
                  <a:pt x="1182" y="649"/>
                </a:cubicBezTo>
                <a:cubicBezTo>
                  <a:pt x="1183" y="650"/>
                  <a:pt x="1183" y="650"/>
                  <a:pt x="1183" y="650"/>
                </a:cubicBezTo>
                <a:cubicBezTo>
                  <a:pt x="1185" y="649"/>
                  <a:pt x="1185" y="649"/>
                  <a:pt x="1185" y="649"/>
                </a:cubicBezTo>
                <a:cubicBezTo>
                  <a:pt x="1188" y="649"/>
                  <a:pt x="1188" y="649"/>
                  <a:pt x="1188" y="649"/>
                </a:cubicBezTo>
                <a:cubicBezTo>
                  <a:pt x="1190" y="651"/>
                  <a:pt x="1190" y="651"/>
                  <a:pt x="1190" y="651"/>
                </a:cubicBezTo>
                <a:cubicBezTo>
                  <a:pt x="1192" y="654"/>
                  <a:pt x="1192" y="654"/>
                  <a:pt x="1192" y="654"/>
                </a:cubicBezTo>
                <a:cubicBezTo>
                  <a:pt x="1194" y="655"/>
                  <a:pt x="1194" y="655"/>
                  <a:pt x="1194" y="655"/>
                </a:cubicBezTo>
                <a:cubicBezTo>
                  <a:pt x="1196" y="656"/>
                  <a:pt x="1196" y="656"/>
                  <a:pt x="1196" y="656"/>
                </a:cubicBezTo>
                <a:cubicBezTo>
                  <a:pt x="1198" y="659"/>
                  <a:pt x="1198" y="659"/>
                  <a:pt x="1198" y="659"/>
                </a:cubicBezTo>
                <a:cubicBezTo>
                  <a:pt x="1199" y="660"/>
                  <a:pt x="1199" y="660"/>
                  <a:pt x="1199" y="660"/>
                </a:cubicBezTo>
                <a:cubicBezTo>
                  <a:pt x="1198" y="657"/>
                  <a:pt x="1198" y="657"/>
                  <a:pt x="1198" y="657"/>
                </a:cubicBezTo>
                <a:cubicBezTo>
                  <a:pt x="1196" y="654"/>
                  <a:pt x="1196" y="654"/>
                  <a:pt x="1196" y="654"/>
                </a:cubicBezTo>
                <a:cubicBezTo>
                  <a:pt x="1193" y="652"/>
                  <a:pt x="1193" y="652"/>
                  <a:pt x="1193" y="652"/>
                </a:cubicBezTo>
                <a:cubicBezTo>
                  <a:pt x="1191" y="649"/>
                  <a:pt x="1191" y="649"/>
                  <a:pt x="1191" y="649"/>
                </a:cubicBezTo>
                <a:cubicBezTo>
                  <a:pt x="1189" y="646"/>
                  <a:pt x="1189" y="646"/>
                  <a:pt x="1189" y="646"/>
                </a:cubicBezTo>
                <a:cubicBezTo>
                  <a:pt x="1189" y="645"/>
                  <a:pt x="1189" y="645"/>
                  <a:pt x="1189" y="645"/>
                </a:cubicBezTo>
                <a:cubicBezTo>
                  <a:pt x="1188" y="644"/>
                  <a:pt x="1188" y="644"/>
                  <a:pt x="1188" y="644"/>
                </a:cubicBezTo>
                <a:cubicBezTo>
                  <a:pt x="1186" y="640"/>
                  <a:pt x="1186" y="640"/>
                  <a:pt x="1186" y="640"/>
                </a:cubicBezTo>
                <a:cubicBezTo>
                  <a:pt x="1185" y="638"/>
                  <a:pt x="1185" y="638"/>
                  <a:pt x="1185" y="638"/>
                </a:cubicBezTo>
                <a:cubicBezTo>
                  <a:pt x="1184" y="637"/>
                  <a:pt x="1184" y="637"/>
                  <a:pt x="1184" y="637"/>
                </a:cubicBezTo>
                <a:cubicBezTo>
                  <a:pt x="1183" y="635"/>
                  <a:pt x="1183" y="635"/>
                  <a:pt x="1183" y="635"/>
                </a:cubicBezTo>
                <a:cubicBezTo>
                  <a:pt x="1180" y="631"/>
                  <a:pt x="1180" y="631"/>
                  <a:pt x="1180" y="631"/>
                </a:cubicBezTo>
                <a:cubicBezTo>
                  <a:pt x="1177" y="626"/>
                  <a:pt x="1177" y="626"/>
                  <a:pt x="1177" y="626"/>
                </a:cubicBezTo>
                <a:cubicBezTo>
                  <a:pt x="1177" y="623"/>
                  <a:pt x="1177" y="623"/>
                  <a:pt x="1177" y="623"/>
                </a:cubicBezTo>
                <a:cubicBezTo>
                  <a:pt x="1173" y="618"/>
                  <a:pt x="1173" y="618"/>
                  <a:pt x="1173" y="618"/>
                </a:cubicBezTo>
                <a:cubicBezTo>
                  <a:pt x="1171" y="615"/>
                  <a:pt x="1171" y="615"/>
                  <a:pt x="1171" y="615"/>
                </a:cubicBezTo>
                <a:cubicBezTo>
                  <a:pt x="1169" y="614"/>
                  <a:pt x="1169" y="614"/>
                  <a:pt x="1169" y="614"/>
                </a:cubicBezTo>
                <a:cubicBezTo>
                  <a:pt x="1169" y="611"/>
                  <a:pt x="1169" y="611"/>
                  <a:pt x="1169" y="611"/>
                </a:cubicBezTo>
                <a:cubicBezTo>
                  <a:pt x="1168" y="609"/>
                  <a:pt x="1168" y="609"/>
                  <a:pt x="1168" y="609"/>
                </a:cubicBezTo>
                <a:cubicBezTo>
                  <a:pt x="1167" y="609"/>
                  <a:pt x="1167" y="609"/>
                  <a:pt x="1167" y="609"/>
                </a:cubicBezTo>
                <a:cubicBezTo>
                  <a:pt x="1167" y="610"/>
                  <a:pt x="1167" y="610"/>
                  <a:pt x="1167" y="610"/>
                </a:cubicBezTo>
                <a:cubicBezTo>
                  <a:pt x="1165" y="610"/>
                  <a:pt x="1165" y="610"/>
                  <a:pt x="1165" y="610"/>
                </a:cubicBezTo>
                <a:cubicBezTo>
                  <a:pt x="1165" y="609"/>
                  <a:pt x="1165" y="609"/>
                  <a:pt x="1165" y="609"/>
                </a:cubicBezTo>
                <a:cubicBezTo>
                  <a:pt x="1165" y="607"/>
                  <a:pt x="1165" y="607"/>
                  <a:pt x="1165" y="607"/>
                </a:cubicBezTo>
                <a:cubicBezTo>
                  <a:pt x="1165" y="605"/>
                  <a:pt x="1165" y="605"/>
                  <a:pt x="1165" y="605"/>
                </a:cubicBezTo>
                <a:cubicBezTo>
                  <a:pt x="1163" y="604"/>
                  <a:pt x="1163" y="604"/>
                  <a:pt x="1163" y="604"/>
                </a:cubicBezTo>
                <a:cubicBezTo>
                  <a:pt x="1161" y="602"/>
                  <a:pt x="1161" y="602"/>
                  <a:pt x="1161" y="602"/>
                </a:cubicBezTo>
                <a:cubicBezTo>
                  <a:pt x="1160" y="599"/>
                  <a:pt x="1160" y="599"/>
                  <a:pt x="1160" y="599"/>
                </a:cubicBezTo>
                <a:cubicBezTo>
                  <a:pt x="1159" y="597"/>
                  <a:pt x="1159" y="597"/>
                  <a:pt x="1159" y="597"/>
                </a:cubicBezTo>
                <a:cubicBezTo>
                  <a:pt x="1158" y="595"/>
                  <a:pt x="1158" y="595"/>
                  <a:pt x="1158" y="595"/>
                </a:cubicBezTo>
                <a:cubicBezTo>
                  <a:pt x="1159" y="593"/>
                  <a:pt x="1159" y="593"/>
                  <a:pt x="1159" y="593"/>
                </a:cubicBezTo>
                <a:cubicBezTo>
                  <a:pt x="1159" y="594"/>
                  <a:pt x="1159" y="594"/>
                  <a:pt x="1159" y="594"/>
                </a:cubicBezTo>
                <a:cubicBezTo>
                  <a:pt x="1159" y="591"/>
                  <a:pt x="1159" y="591"/>
                  <a:pt x="1159" y="591"/>
                </a:cubicBezTo>
                <a:cubicBezTo>
                  <a:pt x="1158" y="587"/>
                  <a:pt x="1158" y="587"/>
                  <a:pt x="1158" y="587"/>
                </a:cubicBezTo>
                <a:cubicBezTo>
                  <a:pt x="1158" y="585"/>
                  <a:pt x="1158" y="585"/>
                  <a:pt x="1158" y="585"/>
                </a:cubicBezTo>
                <a:cubicBezTo>
                  <a:pt x="1156" y="584"/>
                  <a:pt x="1156" y="584"/>
                  <a:pt x="1156" y="584"/>
                </a:cubicBezTo>
                <a:cubicBezTo>
                  <a:pt x="1153" y="582"/>
                  <a:pt x="1153" y="582"/>
                  <a:pt x="1153" y="582"/>
                </a:cubicBezTo>
                <a:cubicBezTo>
                  <a:pt x="1153" y="580"/>
                  <a:pt x="1153" y="580"/>
                  <a:pt x="1153" y="580"/>
                </a:cubicBezTo>
                <a:cubicBezTo>
                  <a:pt x="1152" y="579"/>
                  <a:pt x="1152" y="579"/>
                  <a:pt x="1152" y="579"/>
                </a:cubicBezTo>
                <a:cubicBezTo>
                  <a:pt x="1152" y="578"/>
                  <a:pt x="1152" y="578"/>
                  <a:pt x="1152" y="578"/>
                </a:cubicBezTo>
                <a:cubicBezTo>
                  <a:pt x="1153" y="578"/>
                  <a:pt x="1153" y="578"/>
                  <a:pt x="1153" y="578"/>
                </a:cubicBezTo>
                <a:cubicBezTo>
                  <a:pt x="1155" y="580"/>
                  <a:pt x="1155" y="580"/>
                  <a:pt x="1155" y="580"/>
                </a:cubicBezTo>
                <a:cubicBezTo>
                  <a:pt x="1157" y="583"/>
                  <a:pt x="1157" y="583"/>
                  <a:pt x="1157" y="583"/>
                </a:cubicBezTo>
                <a:cubicBezTo>
                  <a:pt x="1156" y="580"/>
                  <a:pt x="1156" y="580"/>
                  <a:pt x="1156" y="580"/>
                </a:cubicBezTo>
                <a:cubicBezTo>
                  <a:pt x="1154" y="576"/>
                  <a:pt x="1154" y="576"/>
                  <a:pt x="1154" y="576"/>
                </a:cubicBezTo>
                <a:cubicBezTo>
                  <a:pt x="1151" y="574"/>
                  <a:pt x="1151" y="574"/>
                  <a:pt x="1151" y="574"/>
                </a:cubicBezTo>
                <a:cubicBezTo>
                  <a:pt x="1150" y="574"/>
                  <a:pt x="1150" y="574"/>
                  <a:pt x="1150" y="574"/>
                </a:cubicBezTo>
                <a:cubicBezTo>
                  <a:pt x="1150" y="572"/>
                  <a:pt x="1150" y="572"/>
                  <a:pt x="1150" y="572"/>
                </a:cubicBezTo>
                <a:cubicBezTo>
                  <a:pt x="1145" y="568"/>
                  <a:pt x="1145" y="568"/>
                  <a:pt x="1145" y="568"/>
                </a:cubicBezTo>
                <a:cubicBezTo>
                  <a:pt x="1144" y="566"/>
                  <a:pt x="1144" y="566"/>
                  <a:pt x="1144" y="566"/>
                </a:cubicBezTo>
                <a:cubicBezTo>
                  <a:pt x="1144" y="562"/>
                  <a:pt x="1144" y="562"/>
                  <a:pt x="1144" y="562"/>
                </a:cubicBezTo>
                <a:cubicBezTo>
                  <a:pt x="1143" y="561"/>
                  <a:pt x="1143" y="561"/>
                  <a:pt x="1143" y="561"/>
                </a:cubicBezTo>
                <a:cubicBezTo>
                  <a:pt x="1140" y="560"/>
                  <a:pt x="1140" y="560"/>
                  <a:pt x="1140" y="560"/>
                </a:cubicBezTo>
                <a:cubicBezTo>
                  <a:pt x="1138" y="557"/>
                  <a:pt x="1138" y="557"/>
                  <a:pt x="1138" y="557"/>
                </a:cubicBezTo>
                <a:cubicBezTo>
                  <a:pt x="1137" y="556"/>
                  <a:pt x="1137" y="556"/>
                  <a:pt x="1137" y="556"/>
                </a:cubicBezTo>
                <a:cubicBezTo>
                  <a:pt x="1137" y="557"/>
                  <a:pt x="1137" y="557"/>
                  <a:pt x="1137" y="557"/>
                </a:cubicBezTo>
                <a:cubicBezTo>
                  <a:pt x="1137" y="558"/>
                  <a:pt x="1137" y="558"/>
                  <a:pt x="1137" y="558"/>
                </a:cubicBezTo>
                <a:cubicBezTo>
                  <a:pt x="1137" y="559"/>
                  <a:pt x="1137" y="559"/>
                  <a:pt x="1137" y="559"/>
                </a:cubicBezTo>
                <a:cubicBezTo>
                  <a:pt x="1136" y="560"/>
                  <a:pt x="1136" y="560"/>
                  <a:pt x="1136" y="560"/>
                </a:cubicBezTo>
                <a:cubicBezTo>
                  <a:pt x="1135" y="559"/>
                  <a:pt x="1135" y="559"/>
                  <a:pt x="1135" y="559"/>
                </a:cubicBezTo>
                <a:cubicBezTo>
                  <a:pt x="1133" y="559"/>
                  <a:pt x="1133" y="559"/>
                  <a:pt x="1133" y="559"/>
                </a:cubicBezTo>
                <a:cubicBezTo>
                  <a:pt x="1136" y="562"/>
                  <a:pt x="1136" y="562"/>
                  <a:pt x="1136" y="562"/>
                </a:cubicBezTo>
                <a:cubicBezTo>
                  <a:pt x="1139" y="564"/>
                  <a:pt x="1139" y="564"/>
                  <a:pt x="1139" y="564"/>
                </a:cubicBezTo>
                <a:cubicBezTo>
                  <a:pt x="1140" y="566"/>
                  <a:pt x="1140" y="566"/>
                  <a:pt x="1140" y="566"/>
                </a:cubicBezTo>
                <a:cubicBezTo>
                  <a:pt x="1140" y="568"/>
                  <a:pt x="1140" y="568"/>
                  <a:pt x="1140" y="568"/>
                </a:cubicBezTo>
                <a:cubicBezTo>
                  <a:pt x="1141" y="567"/>
                  <a:pt x="1141" y="567"/>
                  <a:pt x="1141" y="567"/>
                </a:cubicBezTo>
                <a:cubicBezTo>
                  <a:pt x="1142" y="567"/>
                  <a:pt x="1142" y="567"/>
                  <a:pt x="1142" y="567"/>
                </a:cubicBezTo>
                <a:cubicBezTo>
                  <a:pt x="1143" y="568"/>
                  <a:pt x="1143" y="568"/>
                  <a:pt x="1143" y="568"/>
                </a:cubicBezTo>
                <a:cubicBezTo>
                  <a:pt x="1142" y="569"/>
                  <a:pt x="1142" y="569"/>
                  <a:pt x="1142" y="569"/>
                </a:cubicBezTo>
                <a:cubicBezTo>
                  <a:pt x="1141" y="570"/>
                  <a:pt x="1141" y="570"/>
                  <a:pt x="1141" y="570"/>
                </a:cubicBezTo>
                <a:cubicBezTo>
                  <a:pt x="1141" y="571"/>
                  <a:pt x="1141" y="571"/>
                  <a:pt x="1141" y="571"/>
                </a:cubicBezTo>
                <a:cubicBezTo>
                  <a:pt x="1143" y="572"/>
                  <a:pt x="1143" y="572"/>
                  <a:pt x="1143" y="572"/>
                </a:cubicBezTo>
                <a:cubicBezTo>
                  <a:pt x="1143" y="574"/>
                  <a:pt x="1143" y="574"/>
                  <a:pt x="1143" y="574"/>
                </a:cubicBezTo>
                <a:cubicBezTo>
                  <a:pt x="1141" y="575"/>
                  <a:pt x="1141" y="575"/>
                  <a:pt x="1141" y="575"/>
                </a:cubicBezTo>
                <a:cubicBezTo>
                  <a:pt x="1140" y="574"/>
                  <a:pt x="1140" y="574"/>
                  <a:pt x="1140" y="574"/>
                </a:cubicBezTo>
                <a:cubicBezTo>
                  <a:pt x="1138" y="573"/>
                  <a:pt x="1138" y="573"/>
                  <a:pt x="1138" y="573"/>
                </a:cubicBezTo>
                <a:cubicBezTo>
                  <a:pt x="1137" y="574"/>
                  <a:pt x="1137" y="574"/>
                  <a:pt x="1137" y="574"/>
                </a:cubicBezTo>
                <a:cubicBezTo>
                  <a:pt x="1136" y="577"/>
                  <a:pt x="1136" y="577"/>
                  <a:pt x="1136" y="577"/>
                </a:cubicBezTo>
                <a:cubicBezTo>
                  <a:pt x="1138" y="579"/>
                  <a:pt x="1138" y="579"/>
                  <a:pt x="1138" y="579"/>
                </a:cubicBezTo>
                <a:cubicBezTo>
                  <a:pt x="1138" y="581"/>
                  <a:pt x="1138" y="581"/>
                  <a:pt x="1138" y="581"/>
                </a:cubicBezTo>
                <a:cubicBezTo>
                  <a:pt x="1141" y="584"/>
                  <a:pt x="1141" y="584"/>
                  <a:pt x="1141" y="584"/>
                </a:cubicBezTo>
                <a:cubicBezTo>
                  <a:pt x="1142" y="587"/>
                  <a:pt x="1142" y="587"/>
                  <a:pt x="1142" y="587"/>
                </a:cubicBezTo>
                <a:cubicBezTo>
                  <a:pt x="1143" y="592"/>
                  <a:pt x="1143" y="592"/>
                  <a:pt x="1143" y="592"/>
                </a:cubicBezTo>
                <a:cubicBezTo>
                  <a:pt x="1143" y="593"/>
                  <a:pt x="1143" y="593"/>
                  <a:pt x="1143" y="593"/>
                </a:cubicBezTo>
                <a:cubicBezTo>
                  <a:pt x="1144" y="596"/>
                  <a:pt x="1144" y="596"/>
                  <a:pt x="1144" y="596"/>
                </a:cubicBezTo>
                <a:cubicBezTo>
                  <a:pt x="1145" y="601"/>
                  <a:pt x="1145" y="601"/>
                  <a:pt x="1145" y="601"/>
                </a:cubicBezTo>
                <a:cubicBezTo>
                  <a:pt x="1147" y="605"/>
                  <a:pt x="1147" y="605"/>
                  <a:pt x="1147" y="605"/>
                </a:cubicBezTo>
                <a:cubicBezTo>
                  <a:pt x="1149" y="606"/>
                  <a:pt x="1149" y="606"/>
                  <a:pt x="1149" y="606"/>
                </a:cubicBezTo>
                <a:cubicBezTo>
                  <a:pt x="1149" y="607"/>
                  <a:pt x="1149" y="607"/>
                  <a:pt x="1149" y="607"/>
                </a:cubicBezTo>
                <a:cubicBezTo>
                  <a:pt x="1149" y="608"/>
                  <a:pt x="1149" y="608"/>
                  <a:pt x="1149" y="608"/>
                </a:cubicBezTo>
                <a:cubicBezTo>
                  <a:pt x="1154" y="613"/>
                  <a:pt x="1154" y="613"/>
                  <a:pt x="1154" y="613"/>
                </a:cubicBezTo>
                <a:cubicBezTo>
                  <a:pt x="1155" y="613"/>
                  <a:pt x="1155" y="613"/>
                  <a:pt x="1155" y="613"/>
                </a:cubicBezTo>
                <a:cubicBezTo>
                  <a:pt x="1158" y="617"/>
                  <a:pt x="1158" y="617"/>
                  <a:pt x="1158" y="617"/>
                </a:cubicBezTo>
                <a:cubicBezTo>
                  <a:pt x="1159" y="621"/>
                  <a:pt x="1159" y="621"/>
                  <a:pt x="1159" y="621"/>
                </a:cubicBezTo>
                <a:cubicBezTo>
                  <a:pt x="1158" y="623"/>
                  <a:pt x="1158" y="623"/>
                  <a:pt x="1158" y="623"/>
                </a:cubicBezTo>
                <a:cubicBezTo>
                  <a:pt x="1160" y="626"/>
                  <a:pt x="1160" y="626"/>
                  <a:pt x="1160" y="626"/>
                </a:cubicBezTo>
                <a:cubicBezTo>
                  <a:pt x="1160" y="628"/>
                  <a:pt x="1160" y="628"/>
                  <a:pt x="1160" y="628"/>
                </a:cubicBezTo>
                <a:cubicBezTo>
                  <a:pt x="1162" y="630"/>
                  <a:pt x="1162" y="630"/>
                  <a:pt x="1162" y="630"/>
                </a:cubicBezTo>
                <a:cubicBezTo>
                  <a:pt x="1164" y="632"/>
                  <a:pt x="1164" y="632"/>
                  <a:pt x="1164" y="632"/>
                </a:cubicBezTo>
                <a:cubicBezTo>
                  <a:pt x="1163" y="632"/>
                  <a:pt x="1163" y="632"/>
                  <a:pt x="1163" y="632"/>
                </a:cubicBezTo>
                <a:cubicBezTo>
                  <a:pt x="1163" y="634"/>
                  <a:pt x="1163" y="634"/>
                  <a:pt x="1163" y="634"/>
                </a:cubicBezTo>
                <a:cubicBezTo>
                  <a:pt x="1166" y="638"/>
                  <a:pt x="1166" y="638"/>
                  <a:pt x="1166" y="638"/>
                </a:cubicBezTo>
                <a:cubicBezTo>
                  <a:pt x="1166" y="640"/>
                  <a:pt x="1166" y="640"/>
                  <a:pt x="1166" y="640"/>
                </a:cubicBezTo>
                <a:cubicBezTo>
                  <a:pt x="1167" y="643"/>
                  <a:pt x="1167" y="643"/>
                  <a:pt x="1167" y="643"/>
                </a:cubicBezTo>
                <a:cubicBezTo>
                  <a:pt x="1168" y="647"/>
                  <a:pt x="1168" y="647"/>
                  <a:pt x="1168" y="647"/>
                </a:cubicBezTo>
                <a:cubicBezTo>
                  <a:pt x="1169" y="648"/>
                  <a:pt x="1169" y="648"/>
                  <a:pt x="1169" y="648"/>
                </a:cubicBezTo>
                <a:cubicBezTo>
                  <a:pt x="1168" y="650"/>
                  <a:pt x="1168" y="650"/>
                  <a:pt x="1168" y="650"/>
                </a:cubicBezTo>
                <a:cubicBezTo>
                  <a:pt x="1169" y="654"/>
                  <a:pt x="1169" y="654"/>
                  <a:pt x="1169" y="654"/>
                </a:cubicBezTo>
                <a:cubicBezTo>
                  <a:pt x="1170" y="658"/>
                  <a:pt x="1170" y="658"/>
                  <a:pt x="1170" y="658"/>
                </a:cubicBezTo>
                <a:cubicBezTo>
                  <a:pt x="1170" y="660"/>
                  <a:pt x="1170" y="660"/>
                  <a:pt x="1170" y="660"/>
                </a:cubicBezTo>
                <a:cubicBezTo>
                  <a:pt x="1170" y="662"/>
                  <a:pt x="1170" y="662"/>
                  <a:pt x="1170" y="662"/>
                </a:cubicBezTo>
                <a:cubicBezTo>
                  <a:pt x="1172" y="664"/>
                  <a:pt x="1172" y="664"/>
                  <a:pt x="1172" y="664"/>
                </a:cubicBezTo>
                <a:cubicBezTo>
                  <a:pt x="1176" y="669"/>
                  <a:pt x="1176" y="669"/>
                  <a:pt x="1176" y="669"/>
                </a:cubicBezTo>
                <a:cubicBezTo>
                  <a:pt x="1176" y="671"/>
                  <a:pt x="1176" y="671"/>
                  <a:pt x="1176" y="671"/>
                </a:cubicBezTo>
                <a:cubicBezTo>
                  <a:pt x="1178" y="674"/>
                  <a:pt x="1178" y="674"/>
                  <a:pt x="1178" y="674"/>
                </a:cubicBezTo>
                <a:cubicBezTo>
                  <a:pt x="1177" y="679"/>
                  <a:pt x="1177" y="679"/>
                  <a:pt x="1177" y="679"/>
                </a:cubicBezTo>
                <a:cubicBezTo>
                  <a:pt x="1178" y="682"/>
                  <a:pt x="1178" y="682"/>
                  <a:pt x="1178" y="682"/>
                </a:cubicBezTo>
                <a:cubicBezTo>
                  <a:pt x="1180" y="686"/>
                  <a:pt x="1180" y="686"/>
                  <a:pt x="1180" y="686"/>
                </a:cubicBezTo>
                <a:cubicBezTo>
                  <a:pt x="1180" y="688"/>
                  <a:pt x="1180" y="688"/>
                  <a:pt x="1180" y="688"/>
                </a:cubicBezTo>
                <a:cubicBezTo>
                  <a:pt x="1183" y="691"/>
                  <a:pt x="1183" y="691"/>
                  <a:pt x="1183" y="691"/>
                </a:cubicBezTo>
                <a:cubicBezTo>
                  <a:pt x="1183" y="693"/>
                  <a:pt x="1183" y="693"/>
                  <a:pt x="1183" y="693"/>
                </a:cubicBezTo>
                <a:cubicBezTo>
                  <a:pt x="1183" y="696"/>
                  <a:pt x="1183" y="696"/>
                  <a:pt x="1183" y="696"/>
                </a:cubicBezTo>
                <a:cubicBezTo>
                  <a:pt x="1183" y="701"/>
                  <a:pt x="1183" y="701"/>
                  <a:pt x="1183" y="701"/>
                </a:cubicBezTo>
                <a:cubicBezTo>
                  <a:pt x="1183" y="704"/>
                  <a:pt x="1183" y="704"/>
                  <a:pt x="1183" y="704"/>
                </a:cubicBezTo>
                <a:cubicBezTo>
                  <a:pt x="1186" y="705"/>
                  <a:pt x="1186" y="705"/>
                  <a:pt x="1186" y="705"/>
                </a:cubicBezTo>
                <a:cubicBezTo>
                  <a:pt x="1187" y="708"/>
                  <a:pt x="1187" y="708"/>
                  <a:pt x="1187" y="708"/>
                </a:cubicBezTo>
                <a:cubicBezTo>
                  <a:pt x="1190" y="710"/>
                  <a:pt x="1190" y="710"/>
                  <a:pt x="1190" y="710"/>
                </a:cubicBezTo>
                <a:close/>
                <a:moveTo>
                  <a:pt x="1081" y="559"/>
                </a:moveTo>
                <a:cubicBezTo>
                  <a:pt x="1082" y="559"/>
                  <a:pt x="1082" y="559"/>
                  <a:pt x="1082" y="559"/>
                </a:cubicBezTo>
                <a:cubicBezTo>
                  <a:pt x="1082" y="558"/>
                  <a:pt x="1082" y="558"/>
                  <a:pt x="1082" y="558"/>
                </a:cubicBezTo>
                <a:cubicBezTo>
                  <a:pt x="1083" y="557"/>
                  <a:pt x="1083" y="557"/>
                  <a:pt x="1083" y="557"/>
                </a:cubicBezTo>
                <a:cubicBezTo>
                  <a:pt x="1084" y="557"/>
                  <a:pt x="1084" y="557"/>
                  <a:pt x="1084" y="557"/>
                </a:cubicBezTo>
                <a:cubicBezTo>
                  <a:pt x="1085" y="559"/>
                  <a:pt x="1085" y="559"/>
                  <a:pt x="1085" y="559"/>
                </a:cubicBezTo>
                <a:cubicBezTo>
                  <a:pt x="1087" y="559"/>
                  <a:pt x="1087" y="559"/>
                  <a:pt x="1087" y="559"/>
                </a:cubicBezTo>
                <a:cubicBezTo>
                  <a:pt x="1088" y="558"/>
                  <a:pt x="1088" y="558"/>
                  <a:pt x="1088" y="558"/>
                </a:cubicBezTo>
                <a:cubicBezTo>
                  <a:pt x="1089" y="557"/>
                  <a:pt x="1089" y="557"/>
                  <a:pt x="1089" y="557"/>
                </a:cubicBezTo>
                <a:cubicBezTo>
                  <a:pt x="1088" y="556"/>
                  <a:pt x="1088" y="556"/>
                  <a:pt x="1088" y="556"/>
                </a:cubicBezTo>
                <a:cubicBezTo>
                  <a:pt x="1088" y="555"/>
                  <a:pt x="1088" y="555"/>
                  <a:pt x="1088" y="555"/>
                </a:cubicBezTo>
                <a:cubicBezTo>
                  <a:pt x="1089" y="553"/>
                  <a:pt x="1089" y="553"/>
                  <a:pt x="1089" y="553"/>
                </a:cubicBezTo>
                <a:cubicBezTo>
                  <a:pt x="1090" y="552"/>
                  <a:pt x="1090" y="552"/>
                  <a:pt x="1090" y="552"/>
                </a:cubicBezTo>
                <a:cubicBezTo>
                  <a:pt x="1088" y="552"/>
                  <a:pt x="1088" y="552"/>
                  <a:pt x="1088" y="552"/>
                </a:cubicBezTo>
                <a:cubicBezTo>
                  <a:pt x="1087" y="553"/>
                  <a:pt x="1087" y="553"/>
                  <a:pt x="1087" y="553"/>
                </a:cubicBezTo>
                <a:cubicBezTo>
                  <a:pt x="1086" y="554"/>
                  <a:pt x="1086" y="554"/>
                  <a:pt x="1086" y="554"/>
                </a:cubicBezTo>
                <a:cubicBezTo>
                  <a:pt x="1086" y="554"/>
                  <a:pt x="1086" y="554"/>
                  <a:pt x="1086" y="554"/>
                </a:cubicBezTo>
                <a:cubicBezTo>
                  <a:pt x="1087" y="552"/>
                  <a:pt x="1087" y="552"/>
                  <a:pt x="1087" y="552"/>
                </a:cubicBezTo>
                <a:cubicBezTo>
                  <a:pt x="1087" y="551"/>
                  <a:pt x="1087" y="551"/>
                  <a:pt x="1087" y="551"/>
                </a:cubicBezTo>
                <a:cubicBezTo>
                  <a:pt x="1086" y="551"/>
                  <a:pt x="1086" y="551"/>
                  <a:pt x="1086" y="551"/>
                </a:cubicBezTo>
                <a:cubicBezTo>
                  <a:pt x="1084" y="551"/>
                  <a:pt x="1084" y="551"/>
                  <a:pt x="1084" y="551"/>
                </a:cubicBezTo>
                <a:cubicBezTo>
                  <a:pt x="1083" y="551"/>
                  <a:pt x="1083" y="551"/>
                  <a:pt x="1083" y="551"/>
                </a:cubicBezTo>
                <a:cubicBezTo>
                  <a:pt x="1081" y="552"/>
                  <a:pt x="1081" y="552"/>
                  <a:pt x="1081" y="552"/>
                </a:cubicBezTo>
                <a:cubicBezTo>
                  <a:pt x="1081" y="554"/>
                  <a:pt x="1081" y="554"/>
                  <a:pt x="1081" y="554"/>
                </a:cubicBezTo>
                <a:cubicBezTo>
                  <a:pt x="1080" y="555"/>
                  <a:pt x="1080" y="555"/>
                  <a:pt x="1080" y="555"/>
                </a:cubicBezTo>
                <a:cubicBezTo>
                  <a:pt x="1080" y="556"/>
                  <a:pt x="1080" y="556"/>
                  <a:pt x="1080" y="556"/>
                </a:cubicBezTo>
                <a:cubicBezTo>
                  <a:pt x="1081" y="559"/>
                  <a:pt x="1081" y="559"/>
                  <a:pt x="1081" y="559"/>
                </a:cubicBezTo>
                <a:close/>
                <a:moveTo>
                  <a:pt x="1074" y="558"/>
                </a:moveTo>
                <a:cubicBezTo>
                  <a:pt x="1075" y="557"/>
                  <a:pt x="1075" y="557"/>
                  <a:pt x="1075" y="557"/>
                </a:cubicBezTo>
                <a:cubicBezTo>
                  <a:pt x="1075" y="557"/>
                  <a:pt x="1075" y="557"/>
                  <a:pt x="1075" y="557"/>
                </a:cubicBezTo>
                <a:cubicBezTo>
                  <a:pt x="1076" y="556"/>
                  <a:pt x="1076" y="556"/>
                  <a:pt x="1076" y="556"/>
                </a:cubicBezTo>
                <a:cubicBezTo>
                  <a:pt x="1077" y="557"/>
                  <a:pt x="1077" y="557"/>
                  <a:pt x="1077" y="557"/>
                </a:cubicBezTo>
                <a:cubicBezTo>
                  <a:pt x="1078" y="556"/>
                  <a:pt x="1078" y="556"/>
                  <a:pt x="1078" y="556"/>
                </a:cubicBezTo>
                <a:cubicBezTo>
                  <a:pt x="1077" y="555"/>
                  <a:pt x="1077" y="555"/>
                  <a:pt x="1077" y="555"/>
                </a:cubicBezTo>
                <a:cubicBezTo>
                  <a:pt x="1078" y="553"/>
                  <a:pt x="1078" y="553"/>
                  <a:pt x="1078" y="553"/>
                </a:cubicBezTo>
                <a:cubicBezTo>
                  <a:pt x="1077" y="552"/>
                  <a:pt x="1077" y="552"/>
                  <a:pt x="1077" y="552"/>
                </a:cubicBezTo>
                <a:cubicBezTo>
                  <a:pt x="1077" y="552"/>
                  <a:pt x="1077" y="552"/>
                  <a:pt x="1077" y="552"/>
                </a:cubicBezTo>
                <a:cubicBezTo>
                  <a:pt x="1075" y="554"/>
                  <a:pt x="1075" y="554"/>
                  <a:pt x="1075" y="554"/>
                </a:cubicBezTo>
                <a:cubicBezTo>
                  <a:pt x="1073" y="554"/>
                  <a:pt x="1073" y="554"/>
                  <a:pt x="1073" y="554"/>
                </a:cubicBezTo>
                <a:cubicBezTo>
                  <a:pt x="1073" y="556"/>
                  <a:pt x="1073" y="556"/>
                  <a:pt x="1073" y="556"/>
                </a:cubicBezTo>
                <a:cubicBezTo>
                  <a:pt x="1074" y="558"/>
                  <a:pt x="1074" y="558"/>
                  <a:pt x="1074" y="558"/>
                </a:cubicBezTo>
                <a:close/>
                <a:moveTo>
                  <a:pt x="1089" y="565"/>
                </a:moveTo>
                <a:cubicBezTo>
                  <a:pt x="1089" y="565"/>
                  <a:pt x="1089" y="565"/>
                  <a:pt x="1089" y="565"/>
                </a:cubicBezTo>
                <a:cubicBezTo>
                  <a:pt x="1090" y="564"/>
                  <a:pt x="1090" y="564"/>
                  <a:pt x="1090" y="564"/>
                </a:cubicBezTo>
                <a:cubicBezTo>
                  <a:pt x="1091" y="563"/>
                  <a:pt x="1091" y="563"/>
                  <a:pt x="1091" y="563"/>
                </a:cubicBezTo>
                <a:cubicBezTo>
                  <a:pt x="1090" y="562"/>
                  <a:pt x="1090" y="562"/>
                  <a:pt x="1090" y="562"/>
                </a:cubicBezTo>
                <a:cubicBezTo>
                  <a:pt x="1089" y="562"/>
                  <a:pt x="1089" y="562"/>
                  <a:pt x="1089" y="562"/>
                </a:cubicBezTo>
                <a:cubicBezTo>
                  <a:pt x="1090" y="563"/>
                  <a:pt x="1090" y="563"/>
                  <a:pt x="1090" y="563"/>
                </a:cubicBezTo>
                <a:cubicBezTo>
                  <a:pt x="1089" y="565"/>
                  <a:pt x="1089" y="565"/>
                  <a:pt x="1089" y="565"/>
                </a:cubicBezTo>
                <a:close/>
                <a:moveTo>
                  <a:pt x="1086" y="562"/>
                </a:moveTo>
                <a:cubicBezTo>
                  <a:pt x="1086" y="563"/>
                  <a:pt x="1086" y="563"/>
                  <a:pt x="1086" y="563"/>
                </a:cubicBezTo>
                <a:cubicBezTo>
                  <a:pt x="1087" y="565"/>
                  <a:pt x="1087" y="565"/>
                  <a:pt x="1087" y="565"/>
                </a:cubicBezTo>
                <a:cubicBezTo>
                  <a:pt x="1088" y="564"/>
                  <a:pt x="1088" y="564"/>
                  <a:pt x="1088" y="564"/>
                </a:cubicBezTo>
                <a:cubicBezTo>
                  <a:pt x="1088" y="562"/>
                  <a:pt x="1088" y="562"/>
                  <a:pt x="1088" y="562"/>
                </a:cubicBezTo>
                <a:cubicBezTo>
                  <a:pt x="1087" y="562"/>
                  <a:pt x="1087" y="562"/>
                  <a:pt x="1087" y="562"/>
                </a:cubicBezTo>
                <a:cubicBezTo>
                  <a:pt x="1086" y="562"/>
                  <a:pt x="1086" y="562"/>
                  <a:pt x="1086" y="562"/>
                </a:cubicBezTo>
                <a:close/>
                <a:moveTo>
                  <a:pt x="1087" y="572"/>
                </a:moveTo>
                <a:cubicBezTo>
                  <a:pt x="1088" y="570"/>
                  <a:pt x="1088" y="570"/>
                  <a:pt x="1088" y="570"/>
                </a:cubicBezTo>
                <a:cubicBezTo>
                  <a:pt x="1089" y="570"/>
                  <a:pt x="1089" y="570"/>
                  <a:pt x="1089" y="570"/>
                </a:cubicBezTo>
                <a:cubicBezTo>
                  <a:pt x="1090" y="568"/>
                  <a:pt x="1090" y="568"/>
                  <a:pt x="1090" y="568"/>
                </a:cubicBezTo>
                <a:cubicBezTo>
                  <a:pt x="1090" y="567"/>
                  <a:pt x="1090" y="567"/>
                  <a:pt x="1090" y="567"/>
                </a:cubicBezTo>
                <a:cubicBezTo>
                  <a:pt x="1090" y="566"/>
                  <a:pt x="1090" y="566"/>
                  <a:pt x="1090" y="566"/>
                </a:cubicBezTo>
                <a:cubicBezTo>
                  <a:pt x="1087" y="567"/>
                  <a:pt x="1087" y="567"/>
                  <a:pt x="1087" y="567"/>
                </a:cubicBezTo>
                <a:cubicBezTo>
                  <a:pt x="1085" y="569"/>
                  <a:pt x="1085" y="569"/>
                  <a:pt x="1085" y="569"/>
                </a:cubicBezTo>
                <a:cubicBezTo>
                  <a:pt x="1085" y="571"/>
                  <a:pt x="1085" y="571"/>
                  <a:pt x="1085" y="571"/>
                </a:cubicBezTo>
                <a:cubicBezTo>
                  <a:pt x="1087" y="572"/>
                  <a:pt x="1087" y="572"/>
                  <a:pt x="1087" y="572"/>
                </a:cubicBezTo>
                <a:close/>
                <a:moveTo>
                  <a:pt x="1169" y="447"/>
                </a:moveTo>
                <a:cubicBezTo>
                  <a:pt x="1170" y="447"/>
                  <a:pt x="1170" y="447"/>
                  <a:pt x="1170" y="447"/>
                </a:cubicBezTo>
                <a:cubicBezTo>
                  <a:pt x="1171" y="445"/>
                  <a:pt x="1171" y="445"/>
                  <a:pt x="1171" y="445"/>
                </a:cubicBezTo>
                <a:cubicBezTo>
                  <a:pt x="1171" y="444"/>
                  <a:pt x="1171" y="444"/>
                  <a:pt x="1171" y="444"/>
                </a:cubicBezTo>
                <a:cubicBezTo>
                  <a:pt x="1170" y="444"/>
                  <a:pt x="1170" y="444"/>
                  <a:pt x="1170" y="444"/>
                </a:cubicBezTo>
                <a:cubicBezTo>
                  <a:pt x="1169" y="446"/>
                  <a:pt x="1169" y="446"/>
                  <a:pt x="1169" y="446"/>
                </a:cubicBezTo>
                <a:cubicBezTo>
                  <a:pt x="1169" y="447"/>
                  <a:pt x="1169" y="447"/>
                  <a:pt x="1169" y="447"/>
                </a:cubicBezTo>
                <a:close/>
                <a:moveTo>
                  <a:pt x="1299" y="434"/>
                </a:moveTo>
                <a:cubicBezTo>
                  <a:pt x="1300" y="434"/>
                  <a:pt x="1300" y="434"/>
                  <a:pt x="1300" y="434"/>
                </a:cubicBezTo>
                <a:cubicBezTo>
                  <a:pt x="1299" y="432"/>
                  <a:pt x="1299" y="432"/>
                  <a:pt x="1299" y="432"/>
                </a:cubicBezTo>
                <a:cubicBezTo>
                  <a:pt x="1298" y="430"/>
                  <a:pt x="1298" y="430"/>
                  <a:pt x="1298" y="430"/>
                </a:cubicBezTo>
                <a:cubicBezTo>
                  <a:pt x="1299" y="429"/>
                  <a:pt x="1299" y="429"/>
                  <a:pt x="1299" y="429"/>
                </a:cubicBezTo>
                <a:cubicBezTo>
                  <a:pt x="1299" y="427"/>
                  <a:pt x="1299" y="427"/>
                  <a:pt x="1299" y="427"/>
                </a:cubicBezTo>
                <a:cubicBezTo>
                  <a:pt x="1300" y="425"/>
                  <a:pt x="1300" y="425"/>
                  <a:pt x="1300" y="425"/>
                </a:cubicBezTo>
                <a:cubicBezTo>
                  <a:pt x="1302" y="423"/>
                  <a:pt x="1302" y="423"/>
                  <a:pt x="1302" y="423"/>
                </a:cubicBezTo>
                <a:cubicBezTo>
                  <a:pt x="1304" y="421"/>
                  <a:pt x="1304" y="421"/>
                  <a:pt x="1304" y="421"/>
                </a:cubicBezTo>
                <a:cubicBezTo>
                  <a:pt x="1305" y="420"/>
                  <a:pt x="1305" y="420"/>
                  <a:pt x="1305" y="420"/>
                </a:cubicBezTo>
                <a:cubicBezTo>
                  <a:pt x="1305" y="418"/>
                  <a:pt x="1305" y="418"/>
                  <a:pt x="1305" y="418"/>
                </a:cubicBezTo>
                <a:cubicBezTo>
                  <a:pt x="1304" y="415"/>
                  <a:pt x="1304" y="415"/>
                  <a:pt x="1304" y="415"/>
                </a:cubicBezTo>
                <a:cubicBezTo>
                  <a:pt x="1301" y="413"/>
                  <a:pt x="1301" y="413"/>
                  <a:pt x="1301" y="413"/>
                </a:cubicBezTo>
                <a:cubicBezTo>
                  <a:pt x="1300" y="412"/>
                  <a:pt x="1300" y="412"/>
                  <a:pt x="1300" y="412"/>
                </a:cubicBezTo>
                <a:cubicBezTo>
                  <a:pt x="1299" y="413"/>
                  <a:pt x="1299" y="413"/>
                  <a:pt x="1299" y="413"/>
                </a:cubicBezTo>
                <a:cubicBezTo>
                  <a:pt x="1299" y="414"/>
                  <a:pt x="1299" y="414"/>
                  <a:pt x="1299" y="414"/>
                </a:cubicBezTo>
                <a:cubicBezTo>
                  <a:pt x="1298" y="415"/>
                  <a:pt x="1298" y="415"/>
                  <a:pt x="1298" y="415"/>
                </a:cubicBezTo>
                <a:cubicBezTo>
                  <a:pt x="1295" y="418"/>
                  <a:pt x="1295" y="418"/>
                  <a:pt x="1295" y="418"/>
                </a:cubicBezTo>
                <a:cubicBezTo>
                  <a:pt x="1294" y="419"/>
                  <a:pt x="1294" y="419"/>
                  <a:pt x="1294" y="419"/>
                </a:cubicBezTo>
                <a:cubicBezTo>
                  <a:pt x="1293" y="421"/>
                  <a:pt x="1293" y="421"/>
                  <a:pt x="1293" y="421"/>
                </a:cubicBezTo>
                <a:cubicBezTo>
                  <a:pt x="1294" y="420"/>
                  <a:pt x="1294" y="420"/>
                  <a:pt x="1294" y="420"/>
                </a:cubicBezTo>
                <a:cubicBezTo>
                  <a:pt x="1296" y="420"/>
                  <a:pt x="1296" y="420"/>
                  <a:pt x="1296" y="420"/>
                </a:cubicBezTo>
                <a:cubicBezTo>
                  <a:pt x="1296" y="420"/>
                  <a:pt x="1296" y="420"/>
                  <a:pt x="1296" y="420"/>
                </a:cubicBezTo>
                <a:cubicBezTo>
                  <a:pt x="1296" y="422"/>
                  <a:pt x="1296" y="422"/>
                  <a:pt x="1296" y="422"/>
                </a:cubicBezTo>
                <a:cubicBezTo>
                  <a:pt x="1296" y="425"/>
                  <a:pt x="1296" y="425"/>
                  <a:pt x="1296" y="425"/>
                </a:cubicBezTo>
                <a:cubicBezTo>
                  <a:pt x="1297" y="427"/>
                  <a:pt x="1297" y="427"/>
                  <a:pt x="1297" y="427"/>
                </a:cubicBezTo>
                <a:cubicBezTo>
                  <a:pt x="1298" y="429"/>
                  <a:pt x="1298" y="429"/>
                  <a:pt x="1298" y="429"/>
                </a:cubicBezTo>
                <a:cubicBezTo>
                  <a:pt x="1297" y="431"/>
                  <a:pt x="1297" y="431"/>
                  <a:pt x="1297" y="431"/>
                </a:cubicBezTo>
                <a:cubicBezTo>
                  <a:pt x="1297" y="432"/>
                  <a:pt x="1297" y="432"/>
                  <a:pt x="1297" y="432"/>
                </a:cubicBezTo>
                <a:cubicBezTo>
                  <a:pt x="1299" y="434"/>
                  <a:pt x="1299" y="434"/>
                  <a:pt x="1299" y="434"/>
                </a:cubicBezTo>
                <a:close/>
                <a:moveTo>
                  <a:pt x="1376" y="501"/>
                </a:moveTo>
                <a:cubicBezTo>
                  <a:pt x="1377" y="503"/>
                  <a:pt x="1377" y="503"/>
                  <a:pt x="1377" y="503"/>
                </a:cubicBezTo>
                <a:cubicBezTo>
                  <a:pt x="1379" y="503"/>
                  <a:pt x="1379" y="503"/>
                  <a:pt x="1379" y="503"/>
                </a:cubicBezTo>
                <a:cubicBezTo>
                  <a:pt x="1381" y="505"/>
                  <a:pt x="1381" y="505"/>
                  <a:pt x="1381" y="505"/>
                </a:cubicBezTo>
                <a:cubicBezTo>
                  <a:pt x="1384" y="506"/>
                  <a:pt x="1384" y="506"/>
                  <a:pt x="1384" y="506"/>
                </a:cubicBezTo>
                <a:cubicBezTo>
                  <a:pt x="1385" y="507"/>
                  <a:pt x="1385" y="507"/>
                  <a:pt x="1385" y="507"/>
                </a:cubicBezTo>
                <a:cubicBezTo>
                  <a:pt x="1388" y="506"/>
                  <a:pt x="1388" y="506"/>
                  <a:pt x="1388" y="506"/>
                </a:cubicBezTo>
                <a:cubicBezTo>
                  <a:pt x="1387" y="506"/>
                  <a:pt x="1387" y="506"/>
                  <a:pt x="1387" y="506"/>
                </a:cubicBezTo>
                <a:cubicBezTo>
                  <a:pt x="1384" y="504"/>
                  <a:pt x="1384" y="504"/>
                  <a:pt x="1384" y="504"/>
                </a:cubicBezTo>
                <a:cubicBezTo>
                  <a:pt x="1383" y="503"/>
                  <a:pt x="1383" y="503"/>
                  <a:pt x="1383" y="503"/>
                </a:cubicBezTo>
                <a:cubicBezTo>
                  <a:pt x="1381" y="503"/>
                  <a:pt x="1381" y="503"/>
                  <a:pt x="1381" y="503"/>
                </a:cubicBezTo>
                <a:cubicBezTo>
                  <a:pt x="1379" y="501"/>
                  <a:pt x="1379" y="501"/>
                  <a:pt x="1379" y="501"/>
                </a:cubicBezTo>
                <a:cubicBezTo>
                  <a:pt x="1377" y="500"/>
                  <a:pt x="1377" y="500"/>
                  <a:pt x="1377" y="500"/>
                </a:cubicBezTo>
                <a:cubicBezTo>
                  <a:pt x="1376" y="501"/>
                  <a:pt x="1376" y="501"/>
                  <a:pt x="1376" y="501"/>
                </a:cubicBezTo>
                <a:close/>
                <a:moveTo>
                  <a:pt x="1353" y="496"/>
                </a:moveTo>
                <a:cubicBezTo>
                  <a:pt x="1355" y="497"/>
                  <a:pt x="1355" y="497"/>
                  <a:pt x="1355" y="497"/>
                </a:cubicBezTo>
                <a:cubicBezTo>
                  <a:pt x="1357" y="497"/>
                  <a:pt x="1357" y="497"/>
                  <a:pt x="1357" y="497"/>
                </a:cubicBezTo>
                <a:cubicBezTo>
                  <a:pt x="1358" y="498"/>
                  <a:pt x="1358" y="498"/>
                  <a:pt x="1358" y="498"/>
                </a:cubicBezTo>
                <a:cubicBezTo>
                  <a:pt x="1358" y="499"/>
                  <a:pt x="1358" y="499"/>
                  <a:pt x="1358" y="499"/>
                </a:cubicBezTo>
                <a:cubicBezTo>
                  <a:pt x="1360" y="501"/>
                  <a:pt x="1360" y="501"/>
                  <a:pt x="1360" y="501"/>
                </a:cubicBezTo>
                <a:cubicBezTo>
                  <a:pt x="1362" y="501"/>
                  <a:pt x="1362" y="501"/>
                  <a:pt x="1362" y="501"/>
                </a:cubicBezTo>
                <a:cubicBezTo>
                  <a:pt x="1363" y="503"/>
                  <a:pt x="1363" y="503"/>
                  <a:pt x="1363" y="503"/>
                </a:cubicBezTo>
                <a:cubicBezTo>
                  <a:pt x="1364" y="504"/>
                  <a:pt x="1364" y="504"/>
                  <a:pt x="1364" y="504"/>
                </a:cubicBezTo>
                <a:cubicBezTo>
                  <a:pt x="1365" y="503"/>
                  <a:pt x="1365" y="503"/>
                  <a:pt x="1365" y="503"/>
                </a:cubicBezTo>
                <a:cubicBezTo>
                  <a:pt x="1367" y="505"/>
                  <a:pt x="1367" y="505"/>
                  <a:pt x="1367" y="505"/>
                </a:cubicBezTo>
                <a:cubicBezTo>
                  <a:pt x="1370" y="505"/>
                  <a:pt x="1370" y="505"/>
                  <a:pt x="1370" y="505"/>
                </a:cubicBezTo>
                <a:cubicBezTo>
                  <a:pt x="1370" y="505"/>
                  <a:pt x="1370" y="505"/>
                  <a:pt x="1370" y="505"/>
                </a:cubicBezTo>
                <a:cubicBezTo>
                  <a:pt x="1369" y="502"/>
                  <a:pt x="1369" y="502"/>
                  <a:pt x="1369" y="502"/>
                </a:cubicBezTo>
                <a:cubicBezTo>
                  <a:pt x="1367" y="501"/>
                  <a:pt x="1367" y="501"/>
                  <a:pt x="1367" y="501"/>
                </a:cubicBezTo>
                <a:cubicBezTo>
                  <a:pt x="1364" y="499"/>
                  <a:pt x="1364" y="499"/>
                  <a:pt x="1364" y="499"/>
                </a:cubicBezTo>
                <a:cubicBezTo>
                  <a:pt x="1363" y="497"/>
                  <a:pt x="1363" y="497"/>
                  <a:pt x="1363" y="497"/>
                </a:cubicBezTo>
                <a:cubicBezTo>
                  <a:pt x="1361" y="497"/>
                  <a:pt x="1361" y="497"/>
                  <a:pt x="1361" y="497"/>
                </a:cubicBezTo>
                <a:cubicBezTo>
                  <a:pt x="1359" y="494"/>
                  <a:pt x="1359" y="494"/>
                  <a:pt x="1359" y="494"/>
                </a:cubicBezTo>
                <a:cubicBezTo>
                  <a:pt x="1359" y="493"/>
                  <a:pt x="1359" y="493"/>
                  <a:pt x="1359" y="493"/>
                </a:cubicBezTo>
                <a:cubicBezTo>
                  <a:pt x="1360" y="493"/>
                  <a:pt x="1360" y="493"/>
                  <a:pt x="1360" y="493"/>
                </a:cubicBezTo>
                <a:cubicBezTo>
                  <a:pt x="1358" y="492"/>
                  <a:pt x="1358" y="492"/>
                  <a:pt x="1358" y="492"/>
                </a:cubicBezTo>
                <a:cubicBezTo>
                  <a:pt x="1356" y="493"/>
                  <a:pt x="1356" y="493"/>
                  <a:pt x="1356" y="493"/>
                </a:cubicBezTo>
                <a:cubicBezTo>
                  <a:pt x="1355" y="493"/>
                  <a:pt x="1355" y="493"/>
                  <a:pt x="1355" y="493"/>
                </a:cubicBezTo>
                <a:cubicBezTo>
                  <a:pt x="1353" y="495"/>
                  <a:pt x="1353" y="495"/>
                  <a:pt x="1353" y="495"/>
                </a:cubicBezTo>
                <a:cubicBezTo>
                  <a:pt x="1353" y="496"/>
                  <a:pt x="1353" y="496"/>
                  <a:pt x="1353" y="496"/>
                </a:cubicBezTo>
                <a:close/>
                <a:moveTo>
                  <a:pt x="1301" y="606"/>
                </a:moveTo>
                <a:cubicBezTo>
                  <a:pt x="1302" y="606"/>
                  <a:pt x="1302" y="606"/>
                  <a:pt x="1302" y="606"/>
                </a:cubicBezTo>
                <a:cubicBezTo>
                  <a:pt x="1303" y="605"/>
                  <a:pt x="1303" y="605"/>
                  <a:pt x="1303" y="605"/>
                </a:cubicBezTo>
                <a:cubicBezTo>
                  <a:pt x="1302" y="603"/>
                  <a:pt x="1302" y="603"/>
                  <a:pt x="1302" y="603"/>
                </a:cubicBezTo>
                <a:cubicBezTo>
                  <a:pt x="1301" y="602"/>
                  <a:pt x="1301" y="602"/>
                  <a:pt x="1301" y="602"/>
                </a:cubicBezTo>
                <a:cubicBezTo>
                  <a:pt x="1300" y="603"/>
                  <a:pt x="1300" y="603"/>
                  <a:pt x="1300" y="603"/>
                </a:cubicBezTo>
                <a:cubicBezTo>
                  <a:pt x="1300" y="604"/>
                  <a:pt x="1300" y="604"/>
                  <a:pt x="1300" y="604"/>
                </a:cubicBezTo>
                <a:cubicBezTo>
                  <a:pt x="1301" y="606"/>
                  <a:pt x="1301" y="606"/>
                  <a:pt x="1301" y="606"/>
                </a:cubicBezTo>
                <a:close/>
                <a:moveTo>
                  <a:pt x="1290" y="603"/>
                </a:moveTo>
                <a:cubicBezTo>
                  <a:pt x="1290" y="605"/>
                  <a:pt x="1290" y="605"/>
                  <a:pt x="1290" y="605"/>
                </a:cubicBezTo>
                <a:cubicBezTo>
                  <a:pt x="1291" y="606"/>
                  <a:pt x="1291" y="606"/>
                  <a:pt x="1291" y="606"/>
                </a:cubicBezTo>
                <a:cubicBezTo>
                  <a:pt x="1293" y="605"/>
                  <a:pt x="1293" y="605"/>
                  <a:pt x="1293" y="605"/>
                </a:cubicBezTo>
                <a:cubicBezTo>
                  <a:pt x="1293" y="604"/>
                  <a:pt x="1293" y="604"/>
                  <a:pt x="1293" y="604"/>
                </a:cubicBezTo>
                <a:cubicBezTo>
                  <a:pt x="1291" y="602"/>
                  <a:pt x="1291" y="602"/>
                  <a:pt x="1291" y="602"/>
                </a:cubicBezTo>
                <a:cubicBezTo>
                  <a:pt x="1290" y="603"/>
                  <a:pt x="1290" y="603"/>
                  <a:pt x="1290" y="603"/>
                </a:cubicBezTo>
                <a:close/>
                <a:moveTo>
                  <a:pt x="1296" y="621"/>
                </a:moveTo>
                <a:cubicBezTo>
                  <a:pt x="1297" y="621"/>
                  <a:pt x="1297" y="621"/>
                  <a:pt x="1297" y="621"/>
                </a:cubicBezTo>
                <a:cubicBezTo>
                  <a:pt x="1297" y="619"/>
                  <a:pt x="1297" y="619"/>
                  <a:pt x="1297" y="619"/>
                </a:cubicBezTo>
                <a:cubicBezTo>
                  <a:pt x="1297" y="617"/>
                  <a:pt x="1297" y="617"/>
                  <a:pt x="1297" y="617"/>
                </a:cubicBezTo>
                <a:cubicBezTo>
                  <a:pt x="1299" y="616"/>
                  <a:pt x="1299" y="616"/>
                  <a:pt x="1299" y="616"/>
                </a:cubicBezTo>
                <a:cubicBezTo>
                  <a:pt x="1300" y="614"/>
                  <a:pt x="1300" y="614"/>
                  <a:pt x="1300" y="614"/>
                </a:cubicBezTo>
                <a:cubicBezTo>
                  <a:pt x="1300" y="612"/>
                  <a:pt x="1300" y="612"/>
                  <a:pt x="1300" y="612"/>
                </a:cubicBezTo>
                <a:cubicBezTo>
                  <a:pt x="1300" y="610"/>
                  <a:pt x="1300" y="610"/>
                  <a:pt x="1300" y="610"/>
                </a:cubicBezTo>
                <a:cubicBezTo>
                  <a:pt x="1301" y="609"/>
                  <a:pt x="1301" y="609"/>
                  <a:pt x="1301" y="609"/>
                </a:cubicBezTo>
                <a:cubicBezTo>
                  <a:pt x="1301" y="607"/>
                  <a:pt x="1301" y="607"/>
                  <a:pt x="1301" y="607"/>
                </a:cubicBezTo>
                <a:cubicBezTo>
                  <a:pt x="1297" y="604"/>
                  <a:pt x="1297" y="604"/>
                  <a:pt x="1297" y="604"/>
                </a:cubicBezTo>
                <a:cubicBezTo>
                  <a:pt x="1297" y="606"/>
                  <a:pt x="1297" y="606"/>
                  <a:pt x="1297" y="606"/>
                </a:cubicBezTo>
                <a:cubicBezTo>
                  <a:pt x="1297" y="609"/>
                  <a:pt x="1297" y="609"/>
                  <a:pt x="1297" y="609"/>
                </a:cubicBezTo>
                <a:cubicBezTo>
                  <a:pt x="1297" y="612"/>
                  <a:pt x="1297" y="612"/>
                  <a:pt x="1297" y="612"/>
                </a:cubicBezTo>
                <a:cubicBezTo>
                  <a:pt x="1295" y="612"/>
                  <a:pt x="1295" y="612"/>
                  <a:pt x="1295" y="612"/>
                </a:cubicBezTo>
                <a:cubicBezTo>
                  <a:pt x="1294" y="614"/>
                  <a:pt x="1294" y="614"/>
                  <a:pt x="1294" y="614"/>
                </a:cubicBezTo>
                <a:cubicBezTo>
                  <a:pt x="1292" y="614"/>
                  <a:pt x="1292" y="614"/>
                  <a:pt x="1292" y="614"/>
                </a:cubicBezTo>
                <a:cubicBezTo>
                  <a:pt x="1292" y="615"/>
                  <a:pt x="1292" y="615"/>
                  <a:pt x="1292" y="615"/>
                </a:cubicBezTo>
                <a:cubicBezTo>
                  <a:pt x="1294" y="617"/>
                  <a:pt x="1294" y="617"/>
                  <a:pt x="1294" y="617"/>
                </a:cubicBezTo>
                <a:cubicBezTo>
                  <a:pt x="1294" y="619"/>
                  <a:pt x="1294" y="619"/>
                  <a:pt x="1294" y="619"/>
                </a:cubicBezTo>
                <a:cubicBezTo>
                  <a:pt x="1293" y="619"/>
                  <a:pt x="1293" y="619"/>
                  <a:pt x="1293" y="619"/>
                </a:cubicBezTo>
                <a:cubicBezTo>
                  <a:pt x="1293" y="620"/>
                  <a:pt x="1293" y="620"/>
                  <a:pt x="1293" y="620"/>
                </a:cubicBezTo>
                <a:cubicBezTo>
                  <a:pt x="1295" y="620"/>
                  <a:pt x="1295" y="620"/>
                  <a:pt x="1295" y="620"/>
                </a:cubicBezTo>
                <a:cubicBezTo>
                  <a:pt x="1296" y="621"/>
                  <a:pt x="1296" y="621"/>
                  <a:pt x="1296" y="621"/>
                </a:cubicBezTo>
                <a:close/>
                <a:moveTo>
                  <a:pt x="1294" y="634"/>
                </a:moveTo>
                <a:cubicBezTo>
                  <a:pt x="1294" y="634"/>
                  <a:pt x="1295" y="633"/>
                  <a:pt x="1295" y="633"/>
                </a:cubicBezTo>
                <a:cubicBezTo>
                  <a:pt x="1294" y="631"/>
                  <a:pt x="1294" y="631"/>
                  <a:pt x="1294" y="631"/>
                </a:cubicBezTo>
                <a:cubicBezTo>
                  <a:pt x="1294" y="629"/>
                  <a:pt x="1294" y="629"/>
                  <a:pt x="1294" y="629"/>
                </a:cubicBezTo>
                <a:cubicBezTo>
                  <a:pt x="1293" y="628"/>
                  <a:pt x="1293" y="628"/>
                  <a:pt x="1293" y="628"/>
                </a:cubicBezTo>
                <a:cubicBezTo>
                  <a:pt x="1293" y="630"/>
                  <a:pt x="1293" y="630"/>
                  <a:pt x="1293" y="630"/>
                </a:cubicBezTo>
                <a:cubicBezTo>
                  <a:pt x="1292" y="632"/>
                  <a:pt x="1292" y="632"/>
                  <a:pt x="1292" y="632"/>
                </a:cubicBezTo>
                <a:cubicBezTo>
                  <a:pt x="1294" y="634"/>
                  <a:pt x="1294" y="634"/>
                  <a:pt x="1294" y="634"/>
                </a:cubicBezTo>
                <a:close/>
                <a:moveTo>
                  <a:pt x="1294" y="638"/>
                </a:moveTo>
                <a:cubicBezTo>
                  <a:pt x="1295" y="638"/>
                  <a:pt x="1295" y="638"/>
                  <a:pt x="1295" y="638"/>
                </a:cubicBezTo>
                <a:cubicBezTo>
                  <a:pt x="1295" y="636"/>
                  <a:pt x="1295" y="636"/>
                  <a:pt x="1295" y="636"/>
                </a:cubicBezTo>
                <a:cubicBezTo>
                  <a:pt x="1293" y="636"/>
                  <a:pt x="1293" y="636"/>
                  <a:pt x="1293" y="636"/>
                </a:cubicBezTo>
                <a:cubicBezTo>
                  <a:pt x="1293" y="636"/>
                  <a:pt x="1293" y="636"/>
                  <a:pt x="1293" y="636"/>
                </a:cubicBezTo>
                <a:cubicBezTo>
                  <a:pt x="1293" y="637"/>
                  <a:pt x="1293" y="637"/>
                  <a:pt x="1293" y="637"/>
                </a:cubicBezTo>
                <a:cubicBezTo>
                  <a:pt x="1294" y="638"/>
                  <a:pt x="1294" y="638"/>
                  <a:pt x="1294" y="638"/>
                </a:cubicBezTo>
                <a:close/>
                <a:moveTo>
                  <a:pt x="1290" y="641"/>
                </a:moveTo>
                <a:cubicBezTo>
                  <a:pt x="1291" y="641"/>
                  <a:pt x="1291" y="641"/>
                  <a:pt x="1291" y="641"/>
                </a:cubicBezTo>
                <a:cubicBezTo>
                  <a:pt x="1291" y="640"/>
                  <a:pt x="1291" y="640"/>
                  <a:pt x="1291" y="640"/>
                </a:cubicBezTo>
                <a:cubicBezTo>
                  <a:pt x="1290" y="640"/>
                  <a:pt x="1290" y="640"/>
                  <a:pt x="1290" y="640"/>
                </a:cubicBezTo>
                <a:cubicBezTo>
                  <a:pt x="1289" y="641"/>
                  <a:pt x="1289" y="641"/>
                  <a:pt x="1289" y="641"/>
                </a:cubicBezTo>
                <a:cubicBezTo>
                  <a:pt x="1290" y="641"/>
                  <a:pt x="1290" y="641"/>
                  <a:pt x="1290" y="641"/>
                </a:cubicBezTo>
                <a:close/>
                <a:moveTo>
                  <a:pt x="1292" y="646"/>
                </a:moveTo>
                <a:cubicBezTo>
                  <a:pt x="1293" y="646"/>
                  <a:pt x="1293" y="646"/>
                  <a:pt x="1293" y="646"/>
                </a:cubicBezTo>
                <a:cubicBezTo>
                  <a:pt x="1294" y="645"/>
                  <a:pt x="1294" y="645"/>
                  <a:pt x="1294" y="645"/>
                </a:cubicBezTo>
                <a:cubicBezTo>
                  <a:pt x="1294" y="643"/>
                  <a:pt x="1294" y="643"/>
                  <a:pt x="1294" y="643"/>
                </a:cubicBezTo>
                <a:cubicBezTo>
                  <a:pt x="1293" y="642"/>
                  <a:pt x="1293" y="642"/>
                  <a:pt x="1293" y="642"/>
                </a:cubicBezTo>
                <a:cubicBezTo>
                  <a:pt x="1292" y="643"/>
                  <a:pt x="1292" y="643"/>
                  <a:pt x="1292" y="643"/>
                </a:cubicBezTo>
                <a:cubicBezTo>
                  <a:pt x="1292" y="646"/>
                  <a:pt x="1292" y="646"/>
                  <a:pt x="1292" y="646"/>
                </a:cubicBezTo>
                <a:close/>
                <a:moveTo>
                  <a:pt x="1289" y="659"/>
                </a:moveTo>
                <a:cubicBezTo>
                  <a:pt x="1290" y="658"/>
                  <a:pt x="1290" y="658"/>
                  <a:pt x="1290" y="658"/>
                </a:cubicBezTo>
                <a:cubicBezTo>
                  <a:pt x="1289" y="658"/>
                  <a:pt x="1289" y="658"/>
                  <a:pt x="1289" y="658"/>
                </a:cubicBezTo>
                <a:cubicBezTo>
                  <a:pt x="1288" y="658"/>
                  <a:pt x="1288" y="658"/>
                  <a:pt x="1288" y="658"/>
                </a:cubicBezTo>
                <a:cubicBezTo>
                  <a:pt x="1289" y="659"/>
                  <a:pt x="1289" y="659"/>
                  <a:pt x="1289" y="659"/>
                </a:cubicBezTo>
                <a:close/>
                <a:moveTo>
                  <a:pt x="1288" y="667"/>
                </a:moveTo>
                <a:cubicBezTo>
                  <a:pt x="1289" y="665"/>
                  <a:pt x="1289" y="665"/>
                  <a:pt x="1289" y="665"/>
                </a:cubicBezTo>
                <a:cubicBezTo>
                  <a:pt x="1289" y="664"/>
                  <a:pt x="1289" y="664"/>
                  <a:pt x="1289" y="664"/>
                </a:cubicBezTo>
                <a:cubicBezTo>
                  <a:pt x="1288" y="665"/>
                  <a:pt x="1288" y="665"/>
                  <a:pt x="1288" y="665"/>
                </a:cubicBezTo>
                <a:cubicBezTo>
                  <a:pt x="1288" y="667"/>
                  <a:pt x="1288" y="667"/>
                  <a:pt x="1288" y="667"/>
                </a:cubicBezTo>
                <a:close/>
                <a:moveTo>
                  <a:pt x="1288" y="668"/>
                </a:moveTo>
                <a:cubicBezTo>
                  <a:pt x="1288" y="670"/>
                  <a:pt x="1288" y="670"/>
                  <a:pt x="1288" y="670"/>
                </a:cubicBezTo>
                <a:cubicBezTo>
                  <a:pt x="1289" y="668"/>
                  <a:pt x="1289" y="668"/>
                  <a:pt x="1289" y="668"/>
                </a:cubicBezTo>
                <a:cubicBezTo>
                  <a:pt x="1288" y="668"/>
                  <a:pt x="1288" y="668"/>
                  <a:pt x="1288" y="668"/>
                </a:cubicBezTo>
                <a:close/>
                <a:moveTo>
                  <a:pt x="1286" y="672"/>
                </a:moveTo>
                <a:cubicBezTo>
                  <a:pt x="1286" y="673"/>
                  <a:pt x="1286" y="673"/>
                  <a:pt x="1286" y="673"/>
                </a:cubicBezTo>
                <a:cubicBezTo>
                  <a:pt x="1287" y="673"/>
                  <a:pt x="1287" y="673"/>
                  <a:pt x="1287" y="673"/>
                </a:cubicBezTo>
                <a:cubicBezTo>
                  <a:pt x="1287" y="672"/>
                  <a:pt x="1287" y="672"/>
                  <a:pt x="1287" y="672"/>
                </a:cubicBezTo>
                <a:cubicBezTo>
                  <a:pt x="1286" y="671"/>
                  <a:pt x="1286" y="671"/>
                  <a:pt x="1286" y="671"/>
                </a:cubicBezTo>
                <a:cubicBezTo>
                  <a:pt x="1286" y="672"/>
                  <a:pt x="1286" y="672"/>
                  <a:pt x="1286" y="672"/>
                </a:cubicBezTo>
                <a:close/>
                <a:moveTo>
                  <a:pt x="1284" y="681"/>
                </a:moveTo>
                <a:cubicBezTo>
                  <a:pt x="1285" y="680"/>
                  <a:pt x="1285" y="680"/>
                  <a:pt x="1285" y="680"/>
                </a:cubicBezTo>
                <a:cubicBezTo>
                  <a:pt x="1285" y="676"/>
                  <a:pt x="1285" y="676"/>
                  <a:pt x="1285" y="676"/>
                </a:cubicBezTo>
                <a:cubicBezTo>
                  <a:pt x="1285" y="676"/>
                  <a:pt x="1285" y="676"/>
                  <a:pt x="1285" y="676"/>
                </a:cubicBezTo>
                <a:cubicBezTo>
                  <a:pt x="1284" y="678"/>
                  <a:pt x="1284" y="678"/>
                  <a:pt x="1284" y="678"/>
                </a:cubicBezTo>
                <a:cubicBezTo>
                  <a:pt x="1284" y="681"/>
                  <a:pt x="1284" y="681"/>
                  <a:pt x="1284" y="681"/>
                </a:cubicBezTo>
                <a:cubicBezTo>
                  <a:pt x="1284" y="681"/>
                  <a:pt x="1284" y="681"/>
                  <a:pt x="1284" y="681"/>
                </a:cubicBezTo>
                <a:close/>
                <a:moveTo>
                  <a:pt x="1266" y="705"/>
                </a:moveTo>
                <a:cubicBezTo>
                  <a:pt x="1267" y="705"/>
                  <a:pt x="1267" y="705"/>
                  <a:pt x="1267" y="705"/>
                </a:cubicBezTo>
                <a:cubicBezTo>
                  <a:pt x="1269" y="703"/>
                  <a:pt x="1269" y="703"/>
                  <a:pt x="1269" y="703"/>
                </a:cubicBezTo>
                <a:cubicBezTo>
                  <a:pt x="1271" y="701"/>
                  <a:pt x="1271" y="701"/>
                  <a:pt x="1271" y="701"/>
                </a:cubicBezTo>
                <a:cubicBezTo>
                  <a:pt x="1272" y="700"/>
                  <a:pt x="1272" y="700"/>
                  <a:pt x="1272" y="700"/>
                </a:cubicBezTo>
                <a:cubicBezTo>
                  <a:pt x="1272" y="698"/>
                  <a:pt x="1272" y="698"/>
                  <a:pt x="1272" y="698"/>
                </a:cubicBezTo>
                <a:cubicBezTo>
                  <a:pt x="1273" y="695"/>
                  <a:pt x="1273" y="695"/>
                  <a:pt x="1273" y="695"/>
                </a:cubicBezTo>
                <a:cubicBezTo>
                  <a:pt x="1275" y="692"/>
                  <a:pt x="1275" y="692"/>
                  <a:pt x="1275" y="692"/>
                </a:cubicBezTo>
                <a:cubicBezTo>
                  <a:pt x="1274" y="693"/>
                  <a:pt x="1274" y="693"/>
                  <a:pt x="1274" y="693"/>
                </a:cubicBezTo>
                <a:cubicBezTo>
                  <a:pt x="1272" y="693"/>
                  <a:pt x="1272" y="693"/>
                  <a:pt x="1272" y="693"/>
                </a:cubicBezTo>
                <a:cubicBezTo>
                  <a:pt x="1271" y="695"/>
                  <a:pt x="1271" y="695"/>
                  <a:pt x="1271" y="695"/>
                </a:cubicBezTo>
                <a:cubicBezTo>
                  <a:pt x="1270" y="696"/>
                  <a:pt x="1270" y="696"/>
                  <a:pt x="1270" y="696"/>
                </a:cubicBezTo>
                <a:cubicBezTo>
                  <a:pt x="1269" y="698"/>
                  <a:pt x="1269" y="698"/>
                  <a:pt x="1269" y="698"/>
                </a:cubicBezTo>
                <a:cubicBezTo>
                  <a:pt x="1269" y="699"/>
                  <a:pt x="1269" y="699"/>
                  <a:pt x="1269" y="699"/>
                </a:cubicBezTo>
                <a:cubicBezTo>
                  <a:pt x="1268" y="700"/>
                  <a:pt x="1268" y="700"/>
                  <a:pt x="1268" y="700"/>
                </a:cubicBezTo>
                <a:cubicBezTo>
                  <a:pt x="1267" y="702"/>
                  <a:pt x="1267" y="702"/>
                  <a:pt x="1267" y="702"/>
                </a:cubicBezTo>
                <a:cubicBezTo>
                  <a:pt x="1266" y="705"/>
                  <a:pt x="1266" y="705"/>
                  <a:pt x="1266" y="705"/>
                </a:cubicBezTo>
                <a:close/>
                <a:moveTo>
                  <a:pt x="1246" y="729"/>
                </a:moveTo>
                <a:cubicBezTo>
                  <a:pt x="1247" y="728"/>
                  <a:pt x="1247" y="728"/>
                  <a:pt x="1247" y="728"/>
                </a:cubicBezTo>
                <a:cubicBezTo>
                  <a:pt x="1248" y="726"/>
                  <a:pt x="1248" y="726"/>
                  <a:pt x="1248" y="726"/>
                </a:cubicBezTo>
                <a:cubicBezTo>
                  <a:pt x="1249" y="725"/>
                  <a:pt x="1249" y="725"/>
                  <a:pt x="1249" y="725"/>
                </a:cubicBezTo>
                <a:cubicBezTo>
                  <a:pt x="1249" y="722"/>
                  <a:pt x="1249" y="722"/>
                  <a:pt x="1249" y="722"/>
                </a:cubicBezTo>
                <a:cubicBezTo>
                  <a:pt x="1250" y="721"/>
                  <a:pt x="1250" y="721"/>
                  <a:pt x="1250" y="721"/>
                </a:cubicBezTo>
                <a:cubicBezTo>
                  <a:pt x="1250" y="720"/>
                  <a:pt x="1250" y="720"/>
                  <a:pt x="1250" y="720"/>
                </a:cubicBezTo>
                <a:cubicBezTo>
                  <a:pt x="1251" y="719"/>
                  <a:pt x="1251" y="719"/>
                  <a:pt x="1251" y="719"/>
                </a:cubicBezTo>
                <a:cubicBezTo>
                  <a:pt x="1252" y="719"/>
                  <a:pt x="1252" y="719"/>
                  <a:pt x="1252" y="719"/>
                </a:cubicBezTo>
                <a:cubicBezTo>
                  <a:pt x="1253" y="718"/>
                  <a:pt x="1253" y="718"/>
                  <a:pt x="1253" y="718"/>
                </a:cubicBezTo>
                <a:cubicBezTo>
                  <a:pt x="1255" y="715"/>
                  <a:pt x="1255" y="715"/>
                  <a:pt x="1255" y="715"/>
                </a:cubicBezTo>
                <a:cubicBezTo>
                  <a:pt x="1257" y="712"/>
                  <a:pt x="1257" y="712"/>
                  <a:pt x="1257" y="712"/>
                </a:cubicBezTo>
                <a:cubicBezTo>
                  <a:pt x="1259" y="712"/>
                  <a:pt x="1259" y="712"/>
                  <a:pt x="1259" y="712"/>
                </a:cubicBezTo>
                <a:cubicBezTo>
                  <a:pt x="1261" y="711"/>
                  <a:pt x="1261" y="711"/>
                  <a:pt x="1261" y="711"/>
                </a:cubicBezTo>
                <a:cubicBezTo>
                  <a:pt x="1261" y="709"/>
                  <a:pt x="1261" y="709"/>
                  <a:pt x="1261" y="709"/>
                </a:cubicBezTo>
                <a:cubicBezTo>
                  <a:pt x="1260" y="707"/>
                  <a:pt x="1260" y="707"/>
                  <a:pt x="1260" y="707"/>
                </a:cubicBezTo>
                <a:cubicBezTo>
                  <a:pt x="1259" y="707"/>
                  <a:pt x="1259" y="707"/>
                  <a:pt x="1259" y="707"/>
                </a:cubicBezTo>
                <a:cubicBezTo>
                  <a:pt x="1257" y="710"/>
                  <a:pt x="1257" y="710"/>
                  <a:pt x="1257" y="710"/>
                </a:cubicBezTo>
                <a:cubicBezTo>
                  <a:pt x="1256" y="711"/>
                  <a:pt x="1256" y="711"/>
                  <a:pt x="1256" y="711"/>
                </a:cubicBezTo>
                <a:cubicBezTo>
                  <a:pt x="1255" y="712"/>
                  <a:pt x="1255" y="712"/>
                  <a:pt x="1255" y="712"/>
                </a:cubicBezTo>
                <a:cubicBezTo>
                  <a:pt x="1253" y="713"/>
                  <a:pt x="1253" y="713"/>
                  <a:pt x="1253" y="713"/>
                </a:cubicBezTo>
                <a:cubicBezTo>
                  <a:pt x="1252" y="712"/>
                  <a:pt x="1252" y="712"/>
                  <a:pt x="1252" y="712"/>
                </a:cubicBezTo>
                <a:cubicBezTo>
                  <a:pt x="1252" y="711"/>
                  <a:pt x="1252" y="711"/>
                  <a:pt x="1252" y="711"/>
                </a:cubicBezTo>
                <a:cubicBezTo>
                  <a:pt x="1251" y="711"/>
                  <a:pt x="1251" y="711"/>
                  <a:pt x="1251" y="711"/>
                </a:cubicBezTo>
                <a:cubicBezTo>
                  <a:pt x="1250" y="713"/>
                  <a:pt x="1250" y="713"/>
                  <a:pt x="1250" y="713"/>
                </a:cubicBezTo>
                <a:cubicBezTo>
                  <a:pt x="1251" y="714"/>
                  <a:pt x="1251" y="714"/>
                  <a:pt x="1251" y="714"/>
                </a:cubicBezTo>
                <a:cubicBezTo>
                  <a:pt x="1250" y="715"/>
                  <a:pt x="1250" y="715"/>
                  <a:pt x="1250" y="715"/>
                </a:cubicBezTo>
                <a:cubicBezTo>
                  <a:pt x="1249" y="717"/>
                  <a:pt x="1249" y="717"/>
                  <a:pt x="1249" y="717"/>
                </a:cubicBezTo>
                <a:cubicBezTo>
                  <a:pt x="1248" y="717"/>
                  <a:pt x="1248" y="717"/>
                  <a:pt x="1248" y="717"/>
                </a:cubicBezTo>
                <a:cubicBezTo>
                  <a:pt x="1248" y="719"/>
                  <a:pt x="1248" y="719"/>
                  <a:pt x="1248" y="719"/>
                </a:cubicBezTo>
                <a:cubicBezTo>
                  <a:pt x="1248" y="721"/>
                  <a:pt x="1248" y="721"/>
                  <a:pt x="1248" y="721"/>
                </a:cubicBezTo>
                <a:cubicBezTo>
                  <a:pt x="1246" y="722"/>
                  <a:pt x="1246" y="722"/>
                  <a:pt x="1246" y="722"/>
                </a:cubicBezTo>
                <a:cubicBezTo>
                  <a:pt x="1246" y="723"/>
                  <a:pt x="1246" y="723"/>
                  <a:pt x="1246" y="723"/>
                </a:cubicBezTo>
                <a:cubicBezTo>
                  <a:pt x="1247" y="724"/>
                  <a:pt x="1247" y="724"/>
                  <a:pt x="1247" y="724"/>
                </a:cubicBezTo>
                <a:cubicBezTo>
                  <a:pt x="1246" y="725"/>
                  <a:pt x="1246" y="725"/>
                  <a:pt x="1246" y="725"/>
                </a:cubicBezTo>
                <a:cubicBezTo>
                  <a:pt x="1245" y="726"/>
                  <a:pt x="1245" y="726"/>
                  <a:pt x="1245" y="726"/>
                </a:cubicBezTo>
                <a:cubicBezTo>
                  <a:pt x="1246" y="729"/>
                  <a:pt x="1246" y="729"/>
                  <a:pt x="1246" y="729"/>
                </a:cubicBezTo>
                <a:close/>
                <a:moveTo>
                  <a:pt x="1237" y="743"/>
                </a:moveTo>
                <a:cubicBezTo>
                  <a:pt x="1237" y="742"/>
                  <a:pt x="1237" y="740"/>
                  <a:pt x="1237" y="740"/>
                </a:cubicBezTo>
                <a:cubicBezTo>
                  <a:pt x="1238" y="735"/>
                  <a:pt x="1238" y="735"/>
                  <a:pt x="1238" y="735"/>
                </a:cubicBezTo>
                <a:cubicBezTo>
                  <a:pt x="1239" y="734"/>
                  <a:pt x="1239" y="734"/>
                  <a:pt x="1239" y="734"/>
                </a:cubicBezTo>
                <a:cubicBezTo>
                  <a:pt x="1242" y="732"/>
                  <a:pt x="1242" y="732"/>
                  <a:pt x="1242" y="732"/>
                </a:cubicBezTo>
                <a:cubicBezTo>
                  <a:pt x="1242" y="729"/>
                  <a:pt x="1242" y="729"/>
                  <a:pt x="1242" y="729"/>
                </a:cubicBezTo>
                <a:cubicBezTo>
                  <a:pt x="1242" y="729"/>
                  <a:pt x="1242" y="729"/>
                  <a:pt x="1242" y="729"/>
                </a:cubicBezTo>
                <a:cubicBezTo>
                  <a:pt x="1240" y="730"/>
                  <a:pt x="1240" y="730"/>
                  <a:pt x="1240" y="730"/>
                </a:cubicBezTo>
                <a:cubicBezTo>
                  <a:pt x="1239" y="729"/>
                  <a:pt x="1239" y="729"/>
                  <a:pt x="1239" y="729"/>
                </a:cubicBezTo>
                <a:cubicBezTo>
                  <a:pt x="1238" y="728"/>
                  <a:pt x="1238" y="728"/>
                  <a:pt x="1238" y="728"/>
                </a:cubicBezTo>
                <a:cubicBezTo>
                  <a:pt x="1237" y="729"/>
                  <a:pt x="1237" y="729"/>
                  <a:pt x="1237" y="729"/>
                </a:cubicBezTo>
                <a:cubicBezTo>
                  <a:pt x="1237" y="732"/>
                  <a:pt x="1237" y="732"/>
                  <a:pt x="1237" y="732"/>
                </a:cubicBezTo>
                <a:cubicBezTo>
                  <a:pt x="1236" y="734"/>
                  <a:pt x="1236" y="734"/>
                  <a:pt x="1236" y="734"/>
                </a:cubicBezTo>
                <a:cubicBezTo>
                  <a:pt x="1236" y="737"/>
                  <a:pt x="1236" y="737"/>
                  <a:pt x="1236" y="737"/>
                </a:cubicBezTo>
                <a:cubicBezTo>
                  <a:pt x="1235" y="739"/>
                  <a:pt x="1235" y="739"/>
                  <a:pt x="1235" y="739"/>
                </a:cubicBezTo>
                <a:cubicBezTo>
                  <a:pt x="1235" y="740"/>
                  <a:pt x="1235" y="740"/>
                  <a:pt x="1235" y="740"/>
                </a:cubicBezTo>
                <a:cubicBezTo>
                  <a:pt x="1237" y="743"/>
                  <a:pt x="1237" y="743"/>
                  <a:pt x="1237" y="743"/>
                </a:cubicBezTo>
                <a:close/>
                <a:moveTo>
                  <a:pt x="22" y="572"/>
                </a:moveTo>
                <a:cubicBezTo>
                  <a:pt x="22" y="572"/>
                  <a:pt x="21" y="574"/>
                  <a:pt x="21" y="574"/>
                </a:cubicBezTo>
                <a:cubicBezTo>
                  <a:pt x="23" y="575"/>
                  <a:pt x="23" y="575"/>
                  <a:pt x="23" y="575"/>
                </a:cubicBezTo>
                <a:cubicBezTo>
                  <a:pt x="24" y="574"/>
                  <a:pt x="24" y="574"/>
                  <a:pt x="24" y="574"/>
                </a:cubicBezTo>
                <a:lnTo>
                  <a:pt x="22" y="57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32" name="Freeform 173"/>
          <p:cNvSpPr>
            <a:spLocks noEditPoints="1"/>
          </p:cNvSpPr>
          <p:nvPr/>
        </p:nvSpPr>
        <p:spPr bwMode="auto">
          <a:xfrm>
            <a:off x="10191750" y="3422650"/>
            <a:ext cx="669925" cy="1284288"/>
          </a:xfrm>
          <a:custGeom>
            <a:avLst/>
            <a:gdLst>
              <a:gd name="T0" fmla="*/ 175 w 422"/>
              <a:gd name="T1" fmla="*/ 390 h 809"/>
              <a:gd name="T2" fmla="*/ 15 w 422"/>
              <a:gd name="T3" fmla="*/ 801 h 809"/>
              <a:gd name="T4" fmla="*/ 93 w 422"/>
              <a:gd name="T5" fmla="*/ 737 h 809"/>
              <a:gd name="T6" fmla="*/ 93 w 422"/>
              <a:gd name="T7" fmla="*/ 737 h 809"/>
              <a:gd name="T8" fmla="*/ 123 w 422"/>
              <a:gd name="T9" fmla="*/ 672 h 809"/>
              <a:gd name="T10" fmla="*/ 128 w 422"/>
              <a:gd name="T11" fmla="*/ 674 h 809"/>
              <a:gd name="T12" fmla="*/ 295 w 422"/>
              <a:gd name="T13" fmla="*/ 170 h 809"/>
              <a:gd name="T14" fmla="*/ 280 w 422"/>
              <a:gd name="T15" fmla="*/ 115 h 809"/>
              <a:gd name="T16" fmla="*/ 302 w 422"/>
              <a:gd name="T17" fmla="*/ 98 h 809"/>
              <a:gd name="T18" fmla="*/ 302 w 422"/>
              <a:gd name="T19" fmla="*/ 60 h 809"/>
              <a:gd name="T20" fmla="*/ 297 w 422"/>
              <a:gd name="T21" fmla="*/ 0 h 809"/>
              <a:gd name="T22" fmla="*/ 370 w 422"/>
              <a:gd name="T23" fmla="*/ 58 h 809"/>
              <a:gd name="T24" fmla="*/ 397 w 422"/>
              <a:gd name="T25" fmla="*/ 63 h 809"/>
              <a:gd name="T26" fmla="*/ 412 w 422"/>
              <a:gd name="T27" fmla="*/ 83 h 809"/>
              <a:gd name="T28" fmla="*/ 372 w 422"/>
              <a:gd name="T29" fmla="*/ 118 h 809"/>
              <a:gd name="T30" fmla="*/ 327 w 422"/>
              <a:gd name="T31" fmla="*/ 118 h 809"/>
              <a:gd name="T32" fmla="*/ 305 w 422"/>
              <a:gd name="T33" fmla="*/ 138 h 809"/>
              <a:gd name="T34" fmla="*/ 297 w 422"/>
              <a:gd name="T35" fmla="*/ 173 h 809"/>
              <a:gd name="T36" fmla="*/ 295 w 422"/>
              <a:gd name="T37" fmla="*/ 307 h 809"/>
              <a:gd name="T38" fmla="*/ 93 w 422"/>
              <a:gd name="T39" fmla="*/ 499 h 809"/>
              <a:gd name="T40" fmla="*/ 85 w 422"/>
              <a:gd name="T41" fmla="*/ 509 h 809"/>
              <a:gd name="T42" fmla="*/ 83 w 422"/>
              <a:gd name="T43" fmla="*/ 522 h 809"/>
              <a:gd name="T44" fmla="*/ 120 w 422"/>
              <a:gd name="T45" fmla="*/ 534 h 809"/>
              <a:gd name="T46" fmla="*/ 115 w 422"/>
              <a:gd name="T47" fmla="*/ 519 h 809"/>
              <a:gd name="T48" fmla="*/ 210 w 422"/>
              <a:gd name="T49" fmla="*/ 450 h 809"/>
              <a:gd name="T50" fmla="*/ 197 w 422"/>
              <a:gd name="T51" fmla="*/ 502 h 809"/>
              <a:gd name="T52" fmla="*/ 232 w 422"/>
              <a:gd name="T53" fmla="*/ 467 h 809"/>
              <a:gd name="T54" fmla="*/ 188 w 422"/>
              <a:gd name="T55" fmla="*/ 469 h 809"/>
              <a:gd name="T56" fmla="*/ 188 w 422"/>
              <a:gd name="T57" fmla="*/ 502 h 809"/>
              <a:gd name="T58" fmla="*/ 158 w 422"/>
              <a:gd name="T59" fmla="*/ 589 h 809"/>
              <a:gd name="T60" fmla="*/ 153 w 422"/>
              <a:gd name="T61" fmla="*/ 557 h 809"/>
              <a:gd name="T62" fmla="*/ 165 w 422"/>
              <a:gd name="T63" fmla="*/ 504 h 809"/>
              <a:gd name="T64" fmla="*/ 145 w 422"/>
              <a:gd name="T65" fmla="*/ 482 h 809"/>
              <a:gd name="T66" fmla="*/ 165 w 422"/>
              <a:gd name="T67" fmla="*/ 455 h 809"/>
              <a:gd name="T68" fmla="*/ 215 w 422"/>
              <a:gd name="T69" fmla="*/ 442 h 809"/>
              <a:gd name="T70" fmla="*/ 240 w 422"/>
              <a:gd name="T71" fmla="*/ 465 h 809"/>
              <a:gd name="T72" fmla="*/ 277 w 422"/>
              <a:gd name="T73" fmla="*/ 450 h 809"/>
              <a:gd name="T74" fmla="*/ 277 w 422"/>
              <a:gd name="T75" fmla="*/ 432 h 809"/>
              <a:gd name="T76" fmla="*/ 300 w 422"/>
              <a:gd name="T77" fmla="*/ 432 h 809"/>
              <a:gd name="T78" fmla="*/ 337 w 422"/>
              <a:gd name="T79" fmla="*/ 427 h 809"/>
              <a:gd name="T80" fmla="*/ 352 w 422"/>
              <a:gd name="T81" fmla="*/ 407 h 809"/>
              <a:gd name="T82" fmla="*/ 367 w 422"/>
              <a:gd name="T83" fmla="*/ 380 h 809"/>
              <a:gd name="T84" fmla="*/ 372 w 422"/>
              <a:gd name="T85" fmla="*/ 290 h 809"/>
              <a:gd name="T86" fmla="*/ 367 w 422"/>
              <a:gd name="T87" fmla="*/ 245 h 809"/>
              <a:gd name="T88" fmla="*/ 332 w 422"/>
              <a:gd name="T89" fmla="*/ 168 h 809"/>
              <a:gd name="T90" fmla="*/ 330 w 422"/>
              <a:gd name="T91" fmla="*/ 180 h 809"/>
              <a:gd name="T92" fmla="*/ 305 w 422"/>
              <a:gd name="T93" fmla="*/ 180 h 809"/>
              <a:gd name="T94" fmla="*/ 297 w 422"/>
              <a:gd name="T95" fmla="*/ 227 h 809"/>
              <a:gd name="T96" fmla="*/ 302 w 422"/>
              <a:gd name="T97" fmla="*/ 317 h 809"/>
              <a:gd name="T98" fmla="*/ 265 w 422"/>
              <a:gd name="T99" fmla="*/ 335 h 809"/>
              <a:gd name="T100" fmla="*/ 247 w 422"/>
              <a:gd name="T101" fmla="*/ 377 h 809"/>
              <a:gd name="T102" fmla="*/ 232 w 422"/>
              <a:gd name="T103" fmla="*/ 405 h 809"/>
              <a:gd name="T104" fmla="*/ 180 w 422"/>
              <a:gd name="T105" fmla="*/ 410 h 809"/>
              <a:gd name="T106" fmla="*/ 128 w 422"/>
              <a:gd name="T107" fmla="*/ 457 h 809"/>
              <a:gd name="T108" fmla="*/ 100 w 422"/>
              <a:gd name="T109" fmla="*/ 497 h 809"/>
              <a:gd name="T110" fmla="*/ 108 w 422"/>
              <a:gd name="T111" fmla="*/ 519 h 809"/>
              <a:gd name="T112" fmla="*/ 115 w 422"/>
              <a:gd name="T113" fmla="*/ 504 h 809"/>
              <a:gd name="T114" fmla="*/ 128 w 422"/>
              <a:gd name="T115" fmla="*/ 552 h 809"/>
              <a:gd name="T116" fmla="*/ 145 w 422"/>
              <a:gd name="T117" fmla="*/ 55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2" h="809">
                <a:moveTo>
                  <a:pt x="170" y="387"/>
                </a:moveTo>
                <a:lnTo>
                  <a:pt x="173" y="390"/>
                </a:lnTo>
                <a:lnTo>
                  <a:pt x="170" y="392"/>
                </a:lnTo>
                <a:lnTo>
                  <a:pt x="168" y="392"/>
                </a:lnTo>
                <a:lnTo>
                  <a:pt x="170" y="387"/>
                </a:lnTo>
                <a:lnTo>
                  <a:pt x="170" y="387"/>
                </a:lnTo>
                <a:close/>
                <a:moveTo>
                  <a:pt x="173" y="390"/>
                </a:moveTo>
                <a:lnTo>
                  <a:pt x="173" y="387"/>
                </a:lnTo>
                <a:lnTo>
                  <a:pt x="175" y="382"/>
                </a:lnTo>
                <a:lnTo>
                  <a:pt x="178" y="382"/>
                </a:lnTo>
                <a:lnTo>
                  <a:pt x="178" y="387"/>
                </a:lnTo>
                <a:lnTo>
                  <a:pt x="175" y="390"/>
                </a:lnTo>
                <a:lnTo>
                  <a:pt x="173" y="390"/>
                </a:lnTo>
                <a:lnTo>
                  <a:pt x="173" y="390"/>
                </a:lnTo>
                <a:close/>
                <a:moveTo>
                  <a:pt x="8" y="806"/>
                </a:moveTo>
                <a:lnTo>
                  <a:pt x="5" y="804"/>
                </a:lnTo>
                <a:lnTo>
                  <a:pt x="3" y="804"/>
                </a:lnTo>
                <a:lnTo>
                  <a:pt x="0" y="809"/>
                </a:lnTo>
                <a:lnTo>
                  <a:pt x="5" y="809"/>
                </a:lnTo>
                <a:lnTo>
                  <a:pt x="8" y="806"/>
                </a:lnTo>
                <a:lnTo>
                  <a:pt x="8" y="806"/>
                </a:lnTo>
                <a:close/>
                <a:moveTo>
                  <a:pt x="10" y="801"/>
                </a:moveTo>
                <a:lnTo>
                  <a:pt x="13" y="799"/>
                </a:lnTo>
                <a:lnTo>
                  <a:pt x="15" y="801"/>
                </a:lnTo>
                <a:lnTo>
                  <a:pt x="15" y="806"/>
                </a:lnTo>
                <a:lnTo>
                  <a:pt x="10" y="806"/>
                </a:lnTo>
                <a:lnTo>
                  <a:pt x="10" y="801"/>
                </a:lnTo>
                <a:lnTo>
                  <a:pt x="10" y="801"/>
                </a:lnTo>
                <a:close/>
                <a:moveTo>
                  <a:pt x="35" y="784"/>
                </a:moveTo>
                <a:lnTo>
                  <a:pt x="35" y="789"/>
                </a:lnTo>
                <a:lnTo>
                  <a:pt x="38" y="791"/>
                </a:lnTo>
                <a:lnTo>
                  <a:pt x="40" y="791"/>
                </a:lnTo>
                <a:lnTo>
                  <a:pt x="40" y="786"/>
                </a:lnTo>
                <a:lnTo>
                  <a:pt x="35" y="784"/>
                </a:lnTo>
                <a:lnTo>
                  <a:pt x="35" y="784"/>
                </a:lnTo>
                <a:close/>
                <a:moveTo>
                  <a:pt x="93" y="737"/>
                </a:moveTo>
                <a:lnTo>
                  <a:pt x="90" y="729"/>
                </a:lnTo>
                <a:lnTo>
                  <a:pt x="95" y="727"/>
                </a:lnTo>
                <a:lnTo>
                  <a:pt x="98" y="724"/>
                </a:lnTo>
                <a:lnTo>
                  <a:pt x="95" y="722"/>
                </a:lnTo>
                <a:lnTo>
                  <a:pt x="100" y="719"/>
                </a:lnTo>
                <a:lnTo>
                  <a:pt x="103" y="714"/>
                </a:lnTo>
                <a:lnTo>
                  <a:pt x="105" y="719"/>
                </a:lnTo>
                <a:lnTo>
                  <a:pt x="103" y="722"/>
                </a:lnTo>
                <a:lnTo>
                  <a:pt x="103" y="727"/>
                </a:lnTo>
                <a:lnTo>
                  <a:pt x="95" y="732"/>
                </a:lnTo>
                <a:lnTo>
                  <a:pt x="95" y="737"/>
                </a:lnTo>
                <a:lnTo>
                  <a:pt x="93" y="737"/>
                </a:lnTo>
                <a:lnTo>
                  <a:pt x="93" y="737"/>
                </a:lnTo>
                <a:close/>
                <a:moveTo>
                  <a:pt x="118" y="684"/>
                </a:moveTo>
                <a:lnTo>
                  <a:pt x="120" y="687"/>
                </a:lnTo>
                <a:lnTo>
                  <a:pt x="123" y="692"/>
                </a:lnTo>
                <a:lnTo>
                  <a:pt x="120" y="692"/>
                </a:lnTo>
                <a:lnTo>
                  <a:pt x="115" y="689"/>
                </a:lnTo>
                <a:lnTo>
                  <a:pt x="115" y="684"/>
                </a:lnTo>
                <a:lnTo>
                  <a:pt x="118" y="684"/>
                </a:lnTo>
                <a:lnTo>
                  <a:pt x="118" y="684"/>
                </a:lnTo>
                <a:close/>
                <a:moveTo>
                  <a:pt x="128" y="674"/>
                </a:moveTo>
                <a:lnTo>
                  <a:pt x="125" y="672"/>
                </a:lnTo>
                <a:lnTo>
                  <a:pt x="123" y="672"/>
                </a:lnTo>
                <a:lnTo>
                  <a:pt x="120" y="672"/>
                </a:lnTo>
                <a:lnTo>
                  <a:pt x="123" y="667"/>
                </a:lnTo>
                <a:lnTo>
                  <a:pt x="128" y="664"/>
                </a:lnTo>
                <a:lnTo>
                  <a:pt x="128" y="664"/>
                </a:lnTo>
                <a:lnTo>
                  <a:pt x="130" y="662"/>
                </a:lnTo>
                <a:lnTo>
                  <a:pt x="133" y="662"/>
                </a:lnTo>
                <a:lnTo>
                  <a:pt x="133" y="662"/>
                </a:lnTo>
                <a:lnTo>
                  <a:pt x="138" y="659"/>
                </a:lnTo>
                <a:lnTo>
                  <a:pt x="135" y="667"/>
                </a:lnTo>
                <a:lnTo>
                  <a:pt x="130" y="669"/>
                </a:lnTo>
                <a:lnTo>
                  <a:pt x="130" y="672"/>
                </a:lnTo>
                <a:lnTo>
                  <a:pt x="128" y="674"/>
                </a:lnTo>
                <a:lnTo>
                  <a:pt x="128" y="674"/>
                </a:lnTo>
                <a:close/>
                <a:moveTo>
                  <a:pt x="265" y="145"/>
                </a:moveTo>
                <a:lnTo>
                  <a:pt x="265" y="143"/>
                </a:lnTo>
                <a:lnTo>
                  <a:pt x="262" y="138"/>
                </a:lnTo>
                <a:lnTo>
                  <a:pt x="267" y="135"/>
                </a:lnTo>
                <a:lnTo>
                  <a:pt x="270" y="135"/>
                </a:lnTo>
                <a:lnTo>
                  <a:pt x="270" y="138"/>
                </a:lnTo>
                <a:lnTo>
                  <a:pt x="270" y="143"/>
                </a:lnTo>
                <a:lnTo>
                  <a:pt x="265" y="145"/>
                </a:lnTo>
                <a:lnTo>
                  <a:pt x="265" y="145"/>
                </a:lnTo>
                <a:close/>
                <a:moveTo>
                  <a:pt x="297" y="173"/>
                </a:moveTo>
                <a:lnTo>
                  <a:pt x="295" y="170"/>
                </a:lnTo>
                <a:lnTo>
                  <a:pt x="292" y="165"/>
                </a:lnTo>
                <a:lnTo>
                  <a:pt x="292" y="163"/>
                </a:lnTo>
                <a:lnTo>
                  <a:pt x="292" y="155"/>
                </a:lnTo>
                <a:lnTo>
                  <a:pt x="287" y="145"/>
                </a:lnTo>
                <a:lnTo>
                  <a:pt x="285" y="140"/>
                </a:lnTo>
                <a:lnTo>
                  <a:pt x="280" y="138"/>
                </a:lnTo>
                <a:lnTo>
                  <a:pt x="277" y="138"/>
                </a:lnTo>
                <a:lnTo>
                  <a:pt x="275" y="135"/>
                </a:lnTo>
                <a:lnTo>
                  <a:pt x="277" y="128"/>
                </a:lnTo>
                <a:lnTo>
                  <a:pt x="275" y="123"/>
                </a:lnTo>
                <a:lnTo>
                  <a:pt x="277" y="118"/>
                </a:lnTo>
                <a:lnTo>
                  <a:pt x="280" y="115"/>
                </a:lnTo>
                <a:lnTo>
                  <a:pt x="280" y="113"/>
                </a:lnTo>
                <a:lnTo>
                  <a:pt x="285" y="113"/>
                </a:lnTo>
                <a:lnTo>
                  <a:pt x="287" y="108"/>
                </a:lnTo>
                <a:lnTo>
                  <a:pt x="290" y="105"/>
                </a:lnTo>
                <a:lnTo>
                  <a:pt x="287" y="103"/>
                </a:lnTo>
                <a:lnTo>
                  <a:pt x="282" y="98"/>
                </a:lnTo>
                <a:lnTo>
                  <a:pt x="280" y="98"/>
                </a:lnTo>
                <a:lnTo>
                  <a:pt x="280" y="95"/>
                </a:lnTo>
                <a:lnTo>
                  <a:pt x="282" y="93"/>
                </a:lnTo>
                <a:lnTo>
                  <a:pt x="285" y="90"/>
                </a:lnTo>
                <a:lnTo>
                  <a:pt x="292" y="95"/>
                </a:lnTo>
                <a:lnTo>
                  <a:pt x="302" y="98"/>
                </a:lnTo>
                <a:lnTo>
                  <a:pt x="305" y="95"/>
                </a:lnTo>
                <a:lnTo>
                  <a:pt x="305" y="90"/>
                </a:lnTo>
                <a:lnTo>
                  <a:pt x="307" y="90"/>
                </a:lnTo>
                <a:lnTo>
                  <a:pt x="305" y="85"/>
                </a:lnTo>
                <a:lnTo>
                  <a:pt x="302" y="85"/>
                </a:lnTo>
                <a:lnTo>
                  <a:pt x="302" y="83"/>
                </a:lnTo>
                <a:lnTo>
                  <a:pt x="300" y="78"/>
                </a:lnTo>
                <a:lnTo>
                  <a:pt x="297" y="73"/>
                </a:lnTo>
                <a:lnTo>
                  <a:pt x="302" y="68"/>
                </a:lnTo>
                <a:lnTo>
                  <a:pt x="305" y="68"/>
                </a:lnTo>
                <a:lnTo>
                  <a:pt x="305" y="65"/>
                </a:lnTo>
                <a:lnTo>
                  <a:pt x="302" y="60"/>
                </a:lnTo>
                <a:lnTo>
                  <a:pt x="300" y="53"/>
                </a:lnTo>
                <a:lnTo>
                  <a:pt x="300" y="48"/>
                </a:lnTo>
                <a:lnTo>
                  <a:pt x="300" y="38"/>
                </a:lnTo>
                <a:lnTo>
                  <a:pt x="297" y="33"/>
                </a:lnTo>
                <a:lnTo>
                  <a:pt x="290" y="18"/>
                </a:lnTo>
                <a:lnTo>
                  <a:pt x="287" y="10"/>
                </a:lnTo>
                <a:lnTo>
                  <a:pt x="285" y="8"/>
                </a:lnTo>
                <a:lnTo>
                  <a:pt x="287" y="5"/>
                </a:lnTo>
                <a:lnTo>
                  <a:pt x="290" y="5"/>
                </a:lnTo>
                <a:lnTo>
                  <a:pt x="292" y="3"/>
                </a:lnTo>
                <a:lnTo>
                  <a:pt x="292" y="0"/>
                </a:lnTo>
                <a:lnTo>
                  <a:pt x="297" y="0"/>
                </a:lnTo>
                <a:lnTo>
                  <a:pt x="300" y="5"/>
                </a:lnTo>
                <a:lnTo>
                  <a:pt x="307" y="13"/>
                </a:lnTo>
                <a:lnTo>
                  <a:pt x="315" y="13"/>
                </a:lnTo>
                <a:lnTo>
                  <a:pt x="317" y="20"/>
                </a:lnTo>
                <a:lnTo>
                  <a:pt x="330" y="33"/>
                </a:lnTo>
                <a:lnTo>
                  <a:pt x="337" y="38"/>
                </a:lnTo>
                <a:lnTo>
                  <a:pt x="340" y="40"/>
                </a:lnTo>
                <a:lnTo>
                  <a:pt x="345" y="43"/>
                </a:lnTo>
                <a:lnTo>
                  <a:pt x="350" y="48"/>
                </a:lnTo>
                <a:lnTo>
                  <a:pt x="357" y="50"/>
                </a:lnTo>
                <a:lnTo>
                  <a:pt x="365" y="53"/>
                </a:lnTo>
                <a:lnTo>
                  <a:pt x="370" y="58"/>
                </a:lnTo>
                <a:lnTo>
                  <a:pt x="372" y="55"/>
                </a:lnTo>
                <a:lnTo>
                  <a:pt x="375" y="58"/>
                </a:lnTo>
                <a:lnTo>
                  <a:pt x="382" y="55"/>
                </a:lnTo>
                <a:lnTo>
                  <a:pt x="390" y="50"/>
                </a:lnTo>
                <a:lnTo>
                  <a:pt x="395" y="45"/>
                </a:lnTo>
                <a:lnTo>
                  <a:pt x="395" y="40"/>
                </a:lnTo>
                <a:lnTo>
                  <a:pt x="397" y="38"/>
                </a:lnTo>
                <a:lnTo>
                  <a:pt x="397" y="40"/>
                </a:lnTo>
                <a:lnTo>
                  <a:pt x="397" y="45"/>
                </a:lnTo>
                <a:lnTo>
                  <a:pt x="395" y="53"/>
                </a:lnTo>
                <a:lnTo>
                  <a:pt x="395" y="60"/>
                </a:lnTo>
                <a:lnTo>
                  <a:pt x="397" y="63"/>
                </a:lnTo>
                <a:lnTo>
                  <a:pt x="402" y="68"/>
                </a:lnTo>
                <a:lnTo>
                  <a:pt x="407" y="73"/>
                </a:lnTo>
                <a:lnTo>
                  <a:pt x="407" y="75"/>
                </a:lnTo>
                <a:lnTo>
                  <a:pt x="407" y="78"/>
                </a:lnTo>
                <a:lnTo>
                  <a:pt x="412" y="78"/>
                </a:lnTo>
                <a:lnTo>
                  <a:pt x="414" y="75"/>
                </a:lnTo>
                <a:lnTo>
                  <a:pt x="417" y="70"/>
                </a:lnTo>
                <a:lnTo>
                  <a:pt x="422" y="70"/>
                </a:lnTo>
                <a:lnTo>
                  <a:pt x="419" y="75"/>
                </a:lnTo>
                <a:lnTo>
                  <a:pt x="417" y="75"/>
                </a:lnTo>
                <a:lnTo>
                  <a:pt x="417" y="80"/>
                </a:lnTo>
                <a:lnTo>
                  <a:pt x="412" y="83"/>
                </a:lnTo>
                <a:lnTo>
                  <a:pt x="409" y="85"/>
                </a:lnTo>
                <a:lnTo>
                  <a:pt x="407" y="90"/>
                </a:lnTo>
                <a:lnTo>
                  <a:pt x="405" y="93"/>
                </a:lnTo>
                <a:lnTo>
                  <a:pt x="402" y="93"/>
                </a:lnTo>
                <a:lnTo>
                  <a:pt x="400" y="90"/>
                </a:lnTo>
                <a:lnTo>
                  <a:pt x="397" y="95"/>
                </a:lnTo>
                <a:lnTo>
                  <a:pt x="397" y="98"/>
                </a:lnTo>
                <a:lnTo>
                  <a:pt x="390" y="98"/>
                </a:lnTo>
                <a:lnTo>
                  <a:pt x="385" y="95"/>
                </a:lnTo>
                <a:lnTo>
                  <a:pt x="380" y="98"/>
                </a:lnTo>
                <a:lnTo>
                  <a:pt x="375" y="108"/>
                </a:lnTo>
                <a:lnTo>
                  <a:pt x="372" y="118"/>
                </a:lnTo>
                <a:lnTo>
                  <a:pt x="370" y="128"/>
                </a:lnTo>
                <a:lnTo>
                  <a:pt x="372" y="133"/>
                </a:lnTo>
                <a:lnTo>
                  <a:pt x="370" y="138"/>
                </a:lnTo>
                <a:lnTo>
                  <a:pt x="370" y="140"/>
                </a:lnTo>
                <a:lnTo>
                  <a:pt x="367" y="140"/>
                </a:lnTo>
                <a:lnTo>
                  <a:pt x="365" y="135"/>
                </a:lnTo>
                <a:lnTo>
                  <a:pt x="355" y="133"/>
                </a:lnTo>
                <a:lnTo>
                  <a:pt x="347" y="130"/>
                </a:lnTo>
                <a:lnTo>
                  <a:pt x="340" y="123"/>
                </a:lnTo>
                <a:lnTo>
                  <a:pt x="335" y="118"/>
                </a:lnTo>
                <a:lnTo>
                  <a:pt x="330" y="118"/>
                </a:lnTo>
                <a:lnTo>
                  <a:pt x="327" y="118"/>
                </a:lnTo>
                <a:lnTo>
                  <a:pt x="325" y="115"/>
                </a:lnTo>
                <a:lnTo>
                  <a:pt x="320" y="115"/>
                </a:lnTo>
                <a:lnTo>
                  <a:pt x="312" y="120"/>
                </a:lnTo>
                <a:lnTo>
                  <a:pt x="307" y="128"/>
                </a:lnTo>
                <a:lnTo>
                  <a:pt x="305" y="125"/>
                </a:lnTo>
                <a:lnTo>
                  <a:pt x="297" y="123"/>
                </a:lnTo>
                <a:lnTo>
                  <a:pt x="295" y="123"/>
                </a:lnTo>
                <a:lnTo>
                  <a:pt x="290" y="125"/>
                </a:lnTo>
                <a:lnTo>
                  <a:pt x="290" y="130"/>
                </a:lnTo>
                <a:lnTo>
                  <a:pt x="292" y="135"/>
                </a:lnTo>
                <a:lnTo>
                  <a:pt x="297" y="138"/>
                </a:lnTo>
                <a:lnTo>
                  <a:pt x="305" y="138"/>
                </a:lnTo>
                <a:lnTo>
                  <a:pt x="310" y="143"/>
                </a:lnTo>
                <a:lnTo>
                  <a:pt x="317" y="145"/>
                </a:lnTo>
                <a:lnTo>
                  <a:pt x="322" y="145"/>
                </a:lnTo>
                <a:lnTo>
                  <a:pt x="325" y="148"/>
                </a:lnTo>
                <a:lnTo>
                  <a:pt x="320" y="153"/>
                </a:lnTo>
                <a:lnTo>
                  <a:pt x="320" y="158"/>
                </a:lnTo>
                <a:lnTo>
                  <a:pt x="315" y="155"/>
                </a:lnTo>
                <a:lnTo>
                  <a:pt x="307" y="155"/>
                </a:lnTo>
                <a:lnTo>
                  <a:pt x="305" y="155"/>
                </a:lnTo>
                <a:lnTo>
                  <a:pt x="307" y="160"/>
                </a:lnTo>
                <a:lnTo>
                  <a:pt x="305" y="165"/>
                </a:lnTo>
                <a:lnTo>
                  <a:pt x="297" y="173"/>
                </a:lnTo>
                <a:lnTo>
                  <a:pt x="297" y="173"/>
                </a:lnTo>
                <a:close/>
                <a:moveTo>
                  <a:pt x="290" y="320"/>
                </a:moveTo>
                <a:lnTo>
                  <a:pt x="290" y="315"/>
                </a:lnTo>
                <a:lnTo>
                  <a:pt x="292" y="310"/>
                </a:lnTo>
                <a:lnTo>
                  <a:pt x="290" y="310"/>
                </a:lnTo>
                <a:lnTo>
                  <a:pt x="287" y="312"/>
                </a:lnTo>
                <a:lnTo>
                  <a:pt x="287" y="307"/>
                </a:lnTo>
                <a:lnTo>
                  <a:pt x="290" y="300"/>
                </a:lnTo>
                <a:lnTo>
                  <a:pt x="290" y="297"/>
                </a:lnTo>
                <a:lnTo>
                  <a:pt x="292" y="302"/>
                </a:lnTo>
                <a:lnTo>
                  <a:pt x="290" y="305"/>
                </a:lnTo>
                <a:lnTo>
                  <a:pt x="295" y="307"/>
                </a:lnTo>
                <a:lnTo>
                  <a:pt x="295" y="310"/>
                </a:lnTo>
                <a:lnTo>
                  <a:pt x="295" y="315"/>
                </a:lnTo>
                <a:lnTo>
                  <a:pt x="292" y="317"/>
                </a:lnTo>
                <a:lnTo>
                  <a:pt x="290" y="320"/>
                </a:lnTo>
                <a:lnTo>
                  <a:pt x="290" y="320"/>
                </a:lnTo>
                <a:close/>
                <a:moveTo>
                  <a:pt x="93" y="499"/>
                </a:moveTo>
                <a:lnTo>
                  <a:pt x="95" y="502"/>
                </a:lnTo>
                <a:lnTo>
                  <a:pt x="98" y="499"/>
                </a:lnTo>
                <a:lnTo>
                  <a:pt x="95" y="497"/>
                </a:lnTo>
                <a:lnTo>
                  <a:pt x="93" y="497"/>
                </a:lnTo>
                <a:lnTo>
                  <a:pt x="93" y="499"/>
                </a:lnTo>
                <a:lnTo>
                  <a:pt x="93" y="499"/>
                </a:lnTo>
                <a:close/>
                <a:moveTo>
                  <a:pt x="93" y="502"/>
                </a:moveTo>
                <a:lnTo>
                  <a:pt x="93" y="504"/>
                </a:lnTo>
                <a:lnTo>
                  <a:pt x="93" y="502"/>
                </a:lnTo>
                <a:lnTo>
                  <a:pt x="93" y="502"/>
                </a:lnTo>
                <a:lnTo>
                  <a:pt x="93" y="502"/>
                </a:lnTo>
                <a:close/>
                <a:moveTo>
                  <a:pt x="90" y="504"/>
                </a:moveTo>
                <a:lnTo>
                  <a:pt x="90" y="507"/>
                </a:lnTo>
                <a:lnTo>
                  <a:pt x="93" y="504"/>
                </a:lnTo>
                <a:lnTo>
                  <a:pt x="90" y="504"/>
                </a:lnTo>
                <a:lnTo>
                  <a:pt x="90" y="504"/>
                </a:lnTo>
                <a:close/>
                <a:moveTo>
                  <a:pt x="85" y="507"/>
                </a:moveTo>
                <a:lnTo>
                  <a:pt x="85" y="509"/>
                </a:lnTo>
                <a:lnTo>
                  <a:pt x="90" y="509"/>
                </a:lnTo>
                <a:lnTo>
                  <a:pt x="85" y="507"/>
                </a:lnTo>
                <a:lnTo>
                  <a:pt x="85" y="507"/>
                </a:lnTo>
                <a:close/>
                <a:moveTo>
                  <a:pt x="83" y="522"/>
                </a:moveTo>
                <a:lnTo>
                  <a:pt x="80" y="517"/>
                </a:lnTo>
                <a:lnTo>
                  <a:pt x="80" y="512"/>
                </a:lnTo>
                <a:lnTo>
                  <a:pt x="83" y="512"/>
                </a:lnTo>
                <a:lnTo>
                  <a:pt x="83" y="514"/>
                </a:lnTo>
                <a:lnTo>
                  <a:pt x="88" y="517"/>
                </a:lnTo>
                <a:lnTo>
                  <a:pt x="88" y="519"/>
                </a:lnTo>
                <a:lnTo>
                  <a:pt x="85" y="522"/>
                </a:lnTo>
                <a:lnTo>
                  <a:pt x="83" y="522"/>
                </a:lnTo>
                <a:lnTo>
                  <a:pt x="83" y="522"/>
                </a:lnTo>
                <a:close/>
                <a:moveTo>
                  <a:pt x="123" y="524"/>
                </a:moveTo>
                <a:lnTo>
                  <a:pt x="123" y="522"/>
                </a:lnTo>
                <a:lnTo>
                  <a:pt x="123" y="519"/>
                </a:lnTo>
                <a:lnTo>
                  <a:pt x="125" y="522"/>
                </a:lnTo>
                <a:lnTo>
                  <a:pt x="125" y="524"/>
                </a:lnTo>
                <a:lnTo>
                  <a:pt x="123" y="524"/>
                </a:lnTo>
                <a:lnTo>
                  <a:pt x="123" y="524"/>
                </a:lnTo>
                <a:close/>
                <a:moveTo>
                  <a:pt x="118" y="532"/>
                </a:moveTo>
                <a:lnTo>
                  <a:pt x="120" y="532"/>
                </a:lnTo>
                <a:lnTo>
                  <a:pt x="123" y="532"/>
                </a:lnTo>
                <a:lnTo>
                  <a:pt x="120" y="534"/>
                </a:lnTo>
                <a:lnTo>
                  <a:pt x="118" y="532"/>
                </a:lnTo>
                <a:lnTo>
                  <a:pt x="118" y="532"/>
                </a:lnTo>
                <a:close/>
                <a:moveTo>
                  <a:pt x="115" y="519"/>
                </a:moveTo>
                <a:lnTo>
                  <a:pt x="113" y="522"/>
                </a:lnTo>
                <a:lnTo>
                  <a:pt x="115" y="527"/>
                </a:lnTo>
                <a:lnTo>
                  <a:pt x="118" y="529"/>
                </a:lnTo>
                <a:lnTo>
                  <a:pt x="120" y="529"/>
                </a:lnTo>
                <a:lnTo>
                  <a:pt x="120" y="527"/>
                </a:lnTo>
                <a:lnTo>
                  <a:pt x="118" y="522"/>
                </a:lnTo>
                <a:lnTo>
                  <a:pt x="118" y="519"/>
                </a:lnTo>
                <a:lnTo>
                  <a:pt x="115" y="519"/>
                </a:lnTo>
                <a:lnTo>
                  <a:pt x="115" y="519"/>
                </a:lnTo>
                <a:close/>
                <a:moveTo>
                  <a:pt x="230" y="455"/>
                </a:moveTo>
                <a:lnTo>
                  <a:pt x="227" y="450"/>
                </a:lnTo>
                <a:lnTo>
                  <a:pt x="227" y="445"/>
                </a:lnTo>
                <a:lnTo>
                  <a:pt x="230" y="442"/>
                </a:lnTo>
                <a:lnTo>
                  <a:pt x="232" y="442"/>
                </a:lnTo>
                <a:lnTo>
                  <a:pt x="232" y="445"/>
                </a:lnTo>
                <a:lnTo>
                  <a:pt x="232" y="450"/>
                </a:lnTo>
                <a:lnTo>
                  <a:pt x="232" y="452"/>
                </a:lnTo>
                <a:lnTo>
                  <a:pt x="232" y="455"/>
                </a:lnTo>
                <a:lnTo>
                  <a:pt x="230" y="455"/>
                </a:lnTo>
                <a:lnTo>
                  <a:pt x="230" y="455"/>
                </a:lnTo>
                <a:close/>
                <a:moveTo>
                  <a:pt x="210" y="450"/>
                </a:moveTo>
                <a:lnTo>
                  <a:pt x="215" y="447"/>
                </a:lnTo>
                <a:lnTo>
                  <a:pt x="220" y="447"/>
                </a:lnTo>
                <a:lnTo>
                  <a:pt x="217" y="450"/>
                </a:lnTo>
                <a:lnTo>
                  <a:pt x="215" y="452"/>
                </a:lnTo>
                <a:lnTo>
                  <a:pt x="210" y="450"/>
                </a:lnTo>
                <a:lnTo>
                  <a:pt x="210" y="450"/>
                </a:lnTo>
                <a:close/>
                <a:moveTo>
                  <a:pt x="188" y="507"/>
                </a:moveTo>
                <a:lnTo>
                  <a:pt x="190" y="507"/>
                </a:lnTo>
                <a:lnTo>
                  <a:pt x="190" y="504"/>
                </a:lnTo>
                <a:lnTo>
                  <a:pt x="195" y="507"/>
                </a:lnTo>
                <a:lnTo>
                  <a:pt x="197" y="504"/>
                </a:lnTo>
                <a:lnTo>
                  <a:pt x="197" y="502"/>
                </a:lnTo>
                <a:lnTo>
                  <a:pt x="193" y="497"/>
                </a:lnTo>
                <a:lnTo>
                  <a:pt x="195" y="492"/>
                </a:lnTo>
                <a:lnTo>
                  <a:pt x="195" y="484"/>
                </a:lnTo>
                <a:lnTo>
                  <a:pt x="202" y="482"/>
                </a:lnTo>
                <a:lnTo>
                  <a:pt x="205" y="477"/>
                </a:lnTo>
                <a:lnTo>
                  <a:pt x="210" y="479"/>
                </a:lnTo>
                <a:lnTo>
                  <a:pt x="217" y="484"/>
                </a:lnTo>
                <a:lnTo>
                  <a:pt x="220" y="487"/>
                </a:lnTo>
                <a:lnTo>
                  <a:pt x="222" y="487"/>
                </a:lnTo>
                <a:lnTo>
                  <a:pt x="225" y="477"/>
                </a:lnTo>
                <a:lnTo>
                  <a:pt x="232" y="472"/>
                </a:lnTo>
                <a:lnTo>
                  <a:pt x="232" y="467"/>
                </a:lnTo>
                <a:lnTo>
                  <a:pt x="230" y="465"/>
                </a:lnTo>
                <a:lnTo>
                  <a:pt x="230" y="462"/>
                </a:lnTo>
                <a:lnTo>
                  <a:pt x="222" y="457"/>
                </a:lnTo>
                <a:lnTo>
                  <a:pt x="220" y="457"/>
                </a:lnTo>
                <a:lnTo>
                  <a:pt x="215" y="455"/>
                </a:lnTo>
                <a:lnTo>
                  <a:pt x="207" y="455"/>
                </a:lnTo>
                <a:lnTo>
                  <a:pt x="202" y="460"/>
                </a:lnTo>
                <a:lnTo>
                  <a:pt x="202" y="462"/>
                </a:lnTo>
                <a:lnTo>
                  <a:pt x="200" y="467"/>
                </a:lnTo>
                <a:lnTo>
                  <a:pt x="195" y="467"/>
                </a:lnTo>
                <a:lnTo>
                  <a:pt x="190" y="469"/>
                </a:lnTo>
                <a:lnTo>
                  <a:pt x="188" y="469"/>
                </a:lnTo>
                <a:lnTo>
                  <a:pt x="185" y="462"/>
                </a:lnTo>
                <a:lnTo>
                  <a:pt x="183" y="462"/>
                </a:lnTo>
                <a:lnTo>
                  <a:pt x="175" y="472"/>
                </a:lnTo>
                <a:lnTo>
                  <a:pt x="175" y="477"/>
                </a:lnTo>
                <a:lnTo>
                  <a:pt x="170" y="479"/>
                </a:lnTo>
                <a:lnTo>
                  <a:pt x="170" y="484"/>
                </a:lnTo>
                <a:lnTo>
                  <a:pt x="178" y="487"/>
                </a:lnTo>
                <a:lnTo>
                  <a:pt x="178" y="492"/>
                </a:lnTo>
                <a:lnTo>
                  <a:pt x="178" y="492"/>
                </a:lnTo>
                <a:lnTo>
                  <a:pt x="178" y="497"/>
                </a:lnTo>
                <a:lnTo>
                  <a:pt x="180" y="502"/>
                </a:lnTo>
                <a:lnTo>
                  <a:pt x="188" y="502"/>
                </a:lnTo>
                <a:lnTo>
                  <a:pt x="188" y="507"/>
                </a:lnTo>
                <a:lnTo>
                  <a:pt x="188" y="507"/>
                </a:lnTo>
                <a:close/>
                <a:moveTo>
                  <a:pt x="153" y="597"/>
                </a:moveTo>
                <a:lnTo>
                  <a:pt x="150" y="592"/>
                </a:lnTo>
                <a:lnTo>
                  <a:pt x="145" y="592"/>
                </a:lnTo>
                <a:lnTo>
                  <a:pt x="145" y="597"/>
                </a:lnTo>
                <a:lnTo>
                  <a:pt x="148" y="602"/>
                </a:lnTo>
                <a:lnTo>
                  <a:pt x="153" y="602"/>
                </a:lnTo>
                <a:lnTo>
                  <a:pt x="153" y="599"/>
                </a:lnTo>
                <a:lnTo>
                  <a:pt x="153" y="597"/>
                </a:lnTo>
                <a:lnTo>
                  <a:pt x="153" y="597"/>
                </a:lnTo>
                <a:close/>
                <a:moveTo>
                  <a:pt x="158" y="589"/>
                </a:moveTo>
                <a:lnTo>
                  <a:pt x="155" y="582"/>
                </a:lnTo>
                <a:lnTo>
                  <a:pt x="155" y="579"/>
                </a:lnTo>
                <a:lnTo>
                  <a:pt x="160" y="582"/>
                </a:lnTo>
                <a:lnTo>
                  <a:pt x="160" y="584"/>
                </a:lnTo>
                <a:lnTo>
                  <a:pt x="158" y="589"/>
                </a:lnTo>
                <a:lnTo>
                  <a:pt x="158" y="589"/>
                </a:lnTo>
                <a:lnTo>
                  <a:pt x="158" y="589"/>
                </a:lnTo>
                <a:close/>
                <a:moveTo>
                  <a:pt x="148" y="574"/>
                </a:moveTo>
                <a:lnTo>
                  <a:pt x="153" y="572"/>
                </a:lnTo>
                <a:lnTo>
                  <a:pt x="158" y="564"/>
                </a:lnTo>
                <a:lnTo>
                  <a:pt x="153" y="559"/>
                </a:lnTo>
                <a:lnTo>
                  <a:pt x="153" y="557"/>
                </a:lnTo>
                <a:lnTo>
                  <a:pt x="155" y="557"/>
                </a:lnTo>
                <a:lnTo>
                  <a:pt x="160" y="557"/>
                </a:lnTo>
                <a:lnTo>
                  <a:pt x="160" y="559"/>
                </a:lnTo>
                <a:lnTo>
                  <a:pt x="163" y="554"/>
                </a:lnTo>
                <a:lnTo>
                  <a:pt x="163" y="544"/>
                </a:lnTo>
                <a:lnTo>
                  <a:pt x="160" y="542"/>
                </a:lnTo>
                <a:lnTo>
                  <a:pt x="160" y="527"/>
                </a:lnTo>
                <a:lnTo>
                  <a:pt x="160" y="517"/>
                </a:lnTo>
                <a:lnTo>
                  <a:pt x="163" y="514"/>
                </a:lnTo>
                <a:lnTo>
                  <a:pt x="168" y="509"/>
                </a:lnTo>
                <a:lnTo>
                  <a:pt x="168" y="504"/>
                </a:lnTo>
                <a:lnTo>
                  <a:pt x="165" y="504"/>
                </a:lnTo>
                <a:lnTo>
                  <a:pt x="165" y="499"/>
                </a:lnTo>
                <a:lnTo>
                  <a:pt x="163" y="497"/>
                </a:lnTo>
                <a:lnTo>
                  <a:pt x="163" y="494"/>
                </a:lnTo>
                <a:lnTo>
                  <a:pt x="155" y="494"/>
                </a:lnTo>
                <a:lnTo>
                  <a:pt x="153" y="492"/>
                </a:lnTo>
                <a:lnTo>
                  <a:pt x="158" y="489"/>
                </a:lnTo>
                <a:lnTo>
                  <a:pt x="158" y="487"/>
                </a:lnTo>
                <a:lnTo>
                  <a:pt x="158" y="479"/>
                </a:lnTo>
                <a:lnTo>
                  <a:pt x="153" y="477"/>
                </a:lnTo>
                <a:lnTo>
                  <a:pt x="150" y="479"/>
                </a:lnTo>
                <a:lnTo>
                  <a:pt x="150" y="479"/>
                </a:lnTo>
                <a:lnTo>
                  <a:pt x="145" y="482"/>
                </a:lnTo>
                <a:lnTo>
                  <a:pt x="143" y="482"/>
                </a:lnTo>
                <a:lnTo>
                  <a:pt x="135" y="477"/>
                </a:lnTo>
                <a:lnTo>
                  <a:pt x="138" y="472"/>
                </a:lnTo>
                <a:lnTo>
                  <a:pt x="145" y="467"/>
                </a:lnTo>
                <a:lnTo>
                  <a:pt x="153" y="467"/>
                </a:lnTo>
                <a:lnTo>
                  <a:pt x="160" y="469"/>
                </a:lnTo>
                <a:lnTo>
                  <a:pt x="165" y="472"/>
                </a:lnTo>
                <a:lnTo>
                  <a:pt x="165" y="469"/>
                </a:lnTo>
                <a:lnTo>
                  <a:pt x="165" y="465"/>
                </a:lnTo>
                <a:lnTo>
                  <a:pt x="165" y="460"/>
                </a:lnTo>
                <a:lnTo>
                  <a:pt x="165" y="457"/>
                </a:lnTo>
                <a:lnTo>
                  <a:pt x="165" y="455"/>
                </a:lnTo>
                <a:lnTo>
                  <a:pt x="170" y="452"/>
                </a:lnTo>
                <a:lnTo>
                  <a:pt x="173" y="457"/>
                </a:lnTo>
                <a:lnTo>
                  <a:pt x="175" y="457"/>
                </a:lnTo>
                <a:lnTo>
                  <a:pt x="180" y="455"/>
                </a:lnTo>
                <a:lnTo>
                  <a:pt x="188" y="452"/>
                </a:lnTo>
                <a:lnTo>
                  <a:pt x="197" y="450"/>
                </a:lnTo>
                <a:lnTo>
                  <a:pt x="202" y="450"/>
                </a:lnTo>
                <a:lnTo>
                  <a:pt x="205" y="450"/>
                </a:lnTo>
                <a:lnTo>
                  <a:pt x="207" y="450"/>
                </a:lnTo>
                <a:lnTo>
                  <a:pt x="207" y="447"/>
                </a:lnTo>
                <a:lnTo>
                  <a:pt x="212" y="445"/>
                </a:lnTo>
                <a:lnTo>
                  <a:pt x="215" y="442"/>
                </a:lnTo>
                <a:lnTo>
                  <a:pt x="220" y="437"/>
                </a:lnTo>
                <a:lnTo>
                  <a:pt x="227" y="435"/>
                </a:lnTo>
                <a:lnTo>
                  <a:pt x="235" y="435"/>
                </a:lnTo>
                <a:lnTo>
                  <a:pt x="240" y="435"/>
                </a:lnTo>
                <a:lnTo>
                  <a:pt x="242" y="437"/>
                </a:lnTo>
                <a:lnTo>
                  <a:pt x="242" y="442"/>
                </a:lnTo>
                <a:lnTo>
                  <a:pt x="237" y="447"/>
                </a:lnTo>
                <a:lnTo>
                  <a:pt x="235" y="452"/>
                </a:lnTo>
                <a:lnTo>
                  <a:pt x="237" y="452"/>
                </a:lnTo>
                <a:lnTo>
                  <a:pt x="240" y="457"/>
                </a:lnTo>
                <a:lnTo>
                  <a:pt x="240" y="462"/>
                </a:lnTo>
                <a:lnTo>
                  <a:pt x="240" y="465"/>
                </a:lnTo>
                <a:lnTo>
                  <a:pt x="240" y="469"/>
                </a:lnTo>
                <a:lnTo>
                  <a:pt x="245" y="472"/>
                </a:lnTo>
                <a:lnTo>
                  <a:pt x="252" y="479"/>
                </a:lnTo>
                <a:lnTo>
                  <a:pt x="257" y="479"/>
                </a:lnTo>
                <a:lnTo>
                  <a:pt x="260" y="479"/>
                </a:lnTo>
                <a:lnTo>
                  <a:pt x="267" y="469"/>
                </a:lnTo>
                <a:lnTo>
                  <a:pt x="267" y="465"/>
                </a:lnTo>
                <a:lnTo>
                  <a:pt x="270" y="465"/>
                </a:lnTo>
                <a:lnTo>
                  <a:pt x="270" y="462"/>
                </a:lnTo>
                <a:lnTo>
                  <a:pt x="270" y="457"/>
                </a:lnTo>
                <a:lnTo>
                  <a:pt x="272" y="452"/>
                </a:lnTo>
                <a:lnTo>
                  <a:pt x="277" y="450"/>
                </a:lnTo>
                <a:lnTo>
                  <a:pt x="282" y="450"/>
                </a:lnTo>
                <a:lnTo>
                  <a:pt x="282" y="447"/>
                </a:lnTo>
                <a:lnTo>
                  <a:pt x="282" y="447"/>
                </a:lnTo>
                <a:lnTo>
                  <a:pt x="280" y="440"/>
                </a:lnTo>
                <a:lnTo>
                  <a:pt x="270" y="437"/>
                </a:lnTo>
                <a:lnTo>
                  <a:pt x="270" y="435"/>
                </a:lnTo>
                <a:lnTo>
                  <a:pt x="272" y="427"/>
                </a:lnTo>
                <a:lnTo>
                  <a:pt x="275" y="425"/>
                </a:lnTo>
                <a:lnTo>
                  <a:pt x="277" y="422"/>
                </a:lnTo>
                <a:lnTo>
                  <a:pt x="275" y="425"/>
                </a:lnTo>
                <a:lnTo>
                  <a:pt x="277" y="432"/>
                </a:lnTo>
                <a:lnTo>
                  <a:pt x="277" y="432"/>
                </a:lnTo>
                <a:lnTo>
                  <a:pt x="280" y="432"/>
                </a:lnTo>
                <a:lnTo>
                  <a:pt x="282" y="430"/>
                </a:lnTo>
                <a:lnTo>
                  <a:pt x="285" y="430"/>
                </a:lnTo>
                <a:lnTo>
                  <a:pt x="287" y="432"/>
                </a:lnTo>
                <a:lnTo>
                  <a:pt x="290" y="432"/>
                </a:lnTo>
                <a:lnTo>
                  <a:pt x="292" y="432"/>
                </a:lnTo>
                <a:lnTo>
                  <a:pt x="292" y="435"/>
                </a:lnTo>
                <a:lnTo>
                  <a:pt x="287" y="435"/>
                </a:lnTo>
                <a:lnTo>
                  <a:pt x="287" y="437"/>
                </a:lnTo>
                <a:lnTo>
                  <a:pt x="287" y="437"/>
                </a:lnTo>
                <a:lnTo>
                  <a:pt x="292" y="437"/>
                </a:lnTo>
                <a:lnTo>
                  <a:pt x="300" y="432"/>
                </a:lnTo>
                <a:lnTo>
                  <a:pt x="312" y="435"/>
                </a:lnTo>
                <a:lnTo>
                  <a:pt x="320" y="432"/>
                </a:lnTo>
                <a:lnTo>
                  <a:pt x="317" y="432"/>
                </a:lnTo>
                <a:lnTo>
                  <a:pt x="315" y="427"/>
                </a:lnTo>
                <a:lnTo>
                  <a:pt x="317" y="420"/>
                </a:lnTo>
                <a:lnTo>
                  <a:pt x="322" y="417"/>
                </a:lnTo>
                <a:lnTo>
                  <a:pt x="327" y="417"/>
                </a:lnTo>
                <a:lnTo>
                  <a:pt x="327" y="422"/>
                </a:lnTo>
                <a:lnTo>
                  <a:pt x="327" y="427"/>
                </a:lnTo>
                <a:lnTo>
                  <a:pt x="330" y="432"/>
                </a:lnTo>
                <a:lnTo>
                  <a:pt x="332" y="432"/>
                </a:lnTo>
                <a:lnTo>
                  <a:pt x="337" y="427"/>
                </a:lnTo>
                <a:lnTo>
                  <a:pt x="335" y="417"/>
                </a:lnTo>
                <a:lnTo>
                  <a:pt x="335" y="412"/>
                </a:lnTo>
                <a:lnTo>
                  <a:pt x="342" y="407"/>
                </a:lnTo>
                <a:lnTo>
                  <a:pt x="345" y="407"/>
                </a:lnTo>
                <a:lnTo>
                  <a:pt x="347" y="405"/>
                </a:lnTo>
                <a:lnTo>
                  <a:pt x="345" y="400"/>
                </a:lnTo>
                <a:lnTo>
                  <a:pt x="345" y="395"/>
                </a:lnTo>
                <a:lnTo>
                  <a:pt x="350" y="392"/>
                </a:lnTo>
                <a:lnTo>
                  <a:pt x="355" y="392"/>
                </a:lnTo>
                <a:lnTo>
                  <a:pt x="355" y="395"/>
                </a:lnTo>
                <a:lnTo>
                  <a:pt x="352" y="400"/>
                </a:lnTo>
                <a:lnTo>
                  <a:pt x="352" y="407"/>
                </a:lnTo>
                <a:lnTo>
                  <a:pt x="352" y="422"/>
                </a:lnTo>
                <a:lnTo>
                  <a:pt x="355" y="422"/>
                </a:lnTo>
                <a:lnTo>
                  <a:pt x="360" y="420"/>
                </a:lnTo>
                <a:lnTo>
                  <a:pt x="360" y="415"/>
                </a:lnTo>
                <a:lnTo>
                  <a:pt x="365" y="415"/>
                </a:lnTo>
                <a:lnTo>
                  <a:pt x="370" y="410"/>
                </a:lnTo>
                <a:lnTo>
                  <a:pt x="372" y="402"/>
                </a:lnTo>
                <a:lnTo>
                  <a:pt x="372" y="400"/>
                </a:lnTo>
                <a:lnTo>
                  <a:pt x="377" y="392"/>
                </a:lnTo>
                <a:lnTo>
                  <a:pt x="377" y="390"/>
                </a:lnTo>
                <a:lnTo>
                  <a:pt x="372" y="387"/>
                </a:lnTo>
                <a:lnTo>
                  <a:pt x="367" y="380"/>
                </a:lnTo>
                <a:lnTo>
                  <a:pt x="365" y="372"/>
                </a:lnTo>
                <a:lnTo>
                  <a:pt x="362" y="360"/>
                </a:lnTo>
                <a:lnTo>
                  <a:pt x="365" y="345"/>
                </a:lnTo>
                <a:lnTo>
                  <a:pt x="365" y="335"/>
                </a:lnTo>
                <a:lnTo>
                  <a:pt x="360" y="315"/>
                </a:lnTo>
                <a:lnTo>
                  <a:pt x="355" y="307"/>
                </a:lnTo>
                <a:lnTo>
                  <a:pt x="355" y="300"/>
                </a:lnTo>
                <a:lnTo>
                  <a:pt x="355" y="292"/>
                </a:lnTo>
                <a:lnTo>
                  <a:pt x="365" y="287"/>
                </a:lnTo>
                <a:lnTo>
                  <a:pt x="367" y="287"/>
                </a:lnTo>
                <a:lnTo>
                  <a:pt x="370" y="292"/>
                </a:lnTo>
                <a:lnTo>
                  <a:pt x="372" y="290"/>
                </a:lnTo>
                <a:lnTo>
                  <a:pt x="370" y="282"/>
                </a:lnTo>
                <a:lnTo>
                  <a:pt x="370" y="280"/>
                </a:lnTo>
                <a:lnTo>
                  <a:pt x="367" y="277"/>
                </a:lnTo>
                <a:lnTo>
                  <a:pt x="365" y="272"/>
                </a:lnTo>
                <a:lnTo>
                  <a:pt x="367" y="270"/>
                </a:lnTo>
                <a:lnTo>
                  <a:pt x="367" y="265"/>
                </a:lnTo>
                <a:lnTo>
                  <a:pt x="367" y="262"/>
                </a:lnTo>
                <a:lnTo>
                  <a:pt x="367" y="260"/>
                </a:lnTo>
                <a:lnTo>
                  <a:pt x="370" y="257"/>
                </a:lnTo>
                <a:lnTo>
                  <a:pt x="367" y="255"/>
                </a:lnTo>
                <a:lnTo>
                  <a:pt x="367" y="247"/>
                </a:lnTo>
                <a:lnTo>
                  <a:pt x="367" y="245"/>
                </a:lnTo>
                <a:lnTo>
                  <a:pt x="365" y="240"/>
                </a:lnTo>
                <a:lnTo>
                  <a:pt x="365" y="230"/>
                </a:lnTo>
                <a:lnTo>
                  <a:pt x="360" y="222"/>
                </a:lnTo>
                <a:lnTo>
                  <a:pt x="357" y="222"/>
                </a:lnTo>
                <a:lnTo>
                  <a:pt x="355" y="220"/>
                </a:lnTo>
                <a:lnTo>
                  <a:pt x="352" y="210"/>
                </a:lnTo>
                <a:lnTo>
                  <a:pt x="347" y="205"/>
                </a:lnTo>
                <a:lnTo>
                  <a:pt x="337" y="192"/>
                </a:lnTo>
                <a:lnTo>
                  <a:pt x="335" y="187"/>
                </a:lnTo>
                <a:lnTo>
                  <a:pt x="332" y="178"/>
                </a:lnTo>
                <a:lnTo>
                  <a:pt x="332" y="170"/>
                </a:lnTo>
                <a:lnTo>
                  <a:pt x="332" y="168"/>
                </a:lnTo>
                <a:lnTo>
                  <a:pt x="330" y="170"/>
                </a:lnTo>
                <a:lnTo>
                  <a:pt x="327" y="170"/>
                </a:lnTo>
                <a:lnTo>
                  <a:pt x="325" y="168"/>
                </a:lnTo>
                <a:lnTo>
                  <a:pt x="320" y="165"/>
                </a:lnTo>
                <a:lnTo>
                  <a:pt x="317" y="165"/>
                </a:lnTo>
                <a:lnTo>
                  <a:pt x="317" y="168"/>
                </a:lnTo>
                <a:lnTo>
                  <a:pt x="315" y="175"/>
                </a:lnTo>
                <a:lnTo>
                  <a:pt x="315" y="178"/>
                </a:lnTo>
                <a:lnTo>
                  <a:pt x="317" y="180"/>
                </a:lnTo>
                <a:lnTo>
                  <a:pt x="320" y="180"/>
                </a:lnTo>
                <a:lnTo>
                  <a:pt x="327" y="175"/>
                </a:lnTo>
                <a:lnTo>
                  <a:pt x="330" y="180"/>
                </a:lnTo>
                <a:lnTo>
                  <a:pt x="327" y="185"/>
                </a:lnTo>
                <a:lnTo>
                  <a:pt x="325" y="187"/>
                </a:lnTo>
                <a:lnTo>
                  <a:pt x="320" y="185"/>
                </a:lnTo>
                <a:lnTo>
                  <a:pt x="320" y="185"/>
                </a:lnTo>
                <a:lnTo>
                  <a:pt x="322" y="192"/>
                </a:lnTo>
                <a:lnTo>
                  <a:pt x="320" y="195"/>
                </a:lnTo>
                <a:lnTo>
                  <a:pt x="315" y="192"/>
                </a:lnTo>
                <a:lnTo>
                  <a:pt x="315" y="187"/>
                </a:lnTo>
                <a:lnTo>
                  <a:pt x="312" y="182"/>
                </a:lnTo>
                <a:lnTo>
                  <a:pt x="312" y="180"/>
                </a:lnTo>
                <a:lnTo>
                  <a:pt x="307" y="180"/>
                </a:lnTo>
                <a:lnTo>
                  <a:pt x="305" y="180"/>
                </a:lnTo>
                <a:lnTo>
                  <a:pt x="305" y="182"/>
                </a:lnTo>
                <a:lnTo>
                  <a:pt x="307" y="192"/>
                </a:lnTo>
                <a:lnTo>
                  <a:pt x="307" y="197"/>
                </a:lnTo>
                <a:lnTo>
                  <a:pt x="302" y="197"/>
                </a:lnTo>
                <a:lnTo>
                  <a:pt x="300" y="202"/>
                </a:lnTo>
                <a:lnTo>
                  <a:pt x="300" y="205"/>
                </a:lnTo>
                <a:lnTo>
                  <a:pt x="307" y="212"/>
                </a:lnTo>
                <a:lnTo>
                  <a:pt x="310" y="217"/>
                </a:lnTo>
                <a:lnTo>
                  <a:pt x="307" y="222"/>
                </a:lnTo>
                <a:lnTo>
                  <a:pt x="302" y="225"/>
                </a:lnTo>
                <a:lnTo>
                  <a:pt x="300" y="225"/>
                </a:lnTo>
                <a:lnTo>
                  <a:pt x="297" y="227"/>
                </a:lnTo>
                <a:lnTo>
                  <a:pt x="302" y="232"/>
                </a:lnTo>
                <a:lnTo>
                  <a:pt x="307" y="232"/>
                </a:lnTo>
                <a:lnTo>
                  <a:pt x="310" y="227"/>
                </a:lnTo>
                <a:lnTo>
                  <a:pt x="315" y="240"/>
                </a:lnTo>
                <a:lnTo>
                  <a:pt x="317" y="252"/>
                </a:lnTo>
                <a:lnTo>
                  <a:pt x="315" y="260"/>
                </a:lnTo>
                <a:lnTo>
                  <a:pt x="317" y="272"/>
                </a:lnTo>
                <a:lnTo>
                  <a:pt x="312" y="290"/>
                </a:lnTo>
                <a:lnTo>
                  <a:pt x="312" y="297"/>
                </a:lnTo>
                <a:lnTo>
                  <a:pt x="310" y="305"/>
                </a:lnTo>
                <a:lnTo>
                  <a:pt x="305" y="310"/>
                </a:lnTo>
                <a:lnTo>
                  <a:pt x="302" y="317"/>
                </a:lnTo>
                <a:lnTo>
                  <a:pt x="302" y="325"/>
                </a:lnTo>
                <a:lnTo>
                  <a:pt x="297" y="332"/>
                </a:lnTo>
                <a:lnTo>
                  <a:pt x="297" y="337"/>
                </a:lnTo>
                <a:lnTo>
                  <a:pt x="292" y="342"/>
                </a:lnTo>
                <a:lnTo>
                  <a:pt x="277" y="350"/>
                </a:lnTo>
                <a:lnTo>
                  <a:pt x="272" y="352"/>
                </a:lnTo>
                <a:lnTo>
                  <a:pt x="270" y="357"/>
                </a:lnTo>
                <a:lnTo>
                  <a:pt x="265" y="352"/>
                </a:lnTo>
                <a:lnTo>
                  <a:pt x="257" y="345"/>
                </a:lnTo>
                <a:lnTo>
                  <a:pt x="257" y="342"/>
                </a:lnTo>
                <a:lnTo>
                  <a:pt x="262" y="340"/>
                </a:lnTo>
                <a:lnTo>
                  <a:pt x="265" y="335"/>
                </a:lnTo>
                <a:lnTo>
                  <a:pt x="265" y="332"/>
                </a:lnTo>
                <a:lnTo>
                  <a:pt x="267" y="330"/>
                </a:lnTo>
                <a:lnTo>
                  <a:pt x="267" y="327"/>
                </a:lnTo>
                <a:lnTo>
                  <a:pt x="260" y="330"/>
                </a:lnTo>
                <a:lnTo>
                  <a:pt x="255" y="335"/>
                </a:lnTo>
                <a:lnTo>
                  <a:pt x="250" y="337"/>
                </a:lnTo>
                <a:lnTo>
                  <a:pt x="250" y="342"/>
                </a:lnTo>
                <a:lnTo>
                  <a:pt x="252" y="347"/>
                </a:lnTo>
                <a:lnTo>
                  <a:pt x="255" y="360"/>
                </a:lnTo>
                <a:lnTo>
                  <a:pt x="252" y="367"/>
                </a:lnTo>
                <a:lnTo>
                  <a:pt x="247" y="372"/>
                </a:lnTo>
                <a:lnTo>
                  <a:pt x="247" y="377"/>
                </a:lnTo>
                <a:lnTo>
                  <a:pt x="245" y="380"/>
                </a:lnTo>
                <a:lnTo>
                  <a:pt x="245" y="387"/>
                </a:lnTo>
                <a:lnTo>
                  <a:pt x="245" y="390"/>
                </a:lnTo>
                <a:lnTo>
                  <a:pt x="247" y="395"/>
                </a:lnTo>
                <a:lnTo>
                  <a:pt x="245" y="397"/>
                </a:lnTo>
                <a:lnTo>
                  <a:pt x="245" y="397"/>
                </a:lnTo>
                <a:lnTo>
                  <a:pt x="245" y="400"/>
                </a:lnTo>
                <a:lnTo>
                  <a:pt x="242" y="402"/>
                </a:lnTo>
                <a:lnTo>
                  <a:pt x="245" y="405"/>
                </a:lnTo>
                <a:lnTo>
                  <a:pt x="240" y="405"/>
                </a:lnTo>
                <a:lnTo>
                  <a:pt x="237" y="402"/>
                </a:lnTo>
                <a:lnTo>
                  <a:pt x="232" y="405"/>
                </a:lnTo>
                <a:lnTo>
                  <a:pt x="230" y="405"/>
                </a:lnTo>
                <a:lnTo>
                  <a:pt x="230" y="400"/>
                </a:lnTo>
                <a:lnTo>
                  <a:pt x="227" y="400"/>
                </a:lnTo>
                <a:lnTo>
                  <a:pt x="225" y="402"/>
                </a:lnTo>
                <a:lnTo>
                  <a:pt x="222" y="402"/>
                </a:lnTo>
                <a:lnTo>
                  <a:pt x="220" y="400"/>
                </a:lnTo>
                <a:lnTo>
                  <a:pt x="207" y="405"/>
                </a:lnTo>
                <a:lnTo>
                  <a:pt x="202" y="407"/>
                </a:lnTo>
                <a:lnTo>
                  <a:pt x="197" y="410"/>
                </a:lnTo>
                <a:lnTo>
                  <a:pt x="190" y="410"/>
                </a:lnTo>
                <a:lnTo>
                  <a:pt x="183" y="412"/>
                </a:lnTo>
                <a:lnTo>
                  <a:pt x="180" y="410"/>
                </a:lnTo>
                <a:lnTo>
                  <a:pt x="175" y="410"/>
                </a:lnTo>
                <a:lnTo>
                  <a:pt x="165" y="417"/>
                </a:lnTo>
                <a:lnTo>
                  <a:pt x="163" y="425"/>
                </a:lnTo>
                <a:lnTo>
                  <a:pt x="160" y="427"/>
                </a:lnTo>
                <a:lnTo>
                  <a:pt x="160" y="430"/>
                </a:lnTo>
                <a:lnTo>
                  <a:pt x="153" y="437"/>
                </a:lnTo>
                <a:lnTo>
                  <a:pt x="148" y="440"/>
                </a:lnTo>
                <a:lnTo>
                  <a:pt x="143" y="445"/>
                </a:lnTo>
                <a:lnTo>
                  <a:pt x="143" y="450"/>
                </a:lnTo>
                <a:lnTo>
                  <a:pt x="138" y="452"/>
                </a:lnTo>
                <a:lnTo>
                  <a:pt x="130" y="455"/>
                </a:lnTo>
                <a:lnTo>
                  <a:pt x="128" y="457"/>
                </a:lnTo>
                <a:lnTo>
                  <a:pt x="130" y="467"/>
                </a:lnTo>
                <a:lnTo>
                  <a:pt x="133" y="467"/>
                </a:lnTo>
                <a:lnTo>
                  <a:pt x="133" y="469"/>
                </a:lnTo>
                <a:lnTo>
                  <a:pt x="133" y="474"/>
                </a:lnTo>
                <a:lnTo>
                  <a:pt x="128" y="474"/>
                </a:lnTo>
                <a:lnTo>
                  <a:pt x="123" y="477"/>
                </a:lnTo>
                <a:lnTo>
                  <a:pt x="120" y="482"/>
                </a:lnTo>
                <a:lnTo>
                  <a:pt x="118" y="484"/>
                </a:lnTo>
                <a:lnTo>
                  <a:pt x="113" y="489"/>
                </a:lnTo>
                <a:lnTo>
                  <a:pt x="110" y="492"/>
                </a:lnTo>
                <a:lnTo>
                  <a:pt x="105" y="494"/>
                </a:lnTo>
                <a:lnTo>
                  <a:pt x="100" y="497"/>
                </a:lnTo>
                <a:lnTo>
                  <a:pt x="103" y="497"/>
                </a:lnTo>
                <a:lnTo>
                  <a:pt x="105" y="497"/>
                </a:lnTo>
                <a:lnTo>
                  <a:pt x="108" y="502"/>
                </a:lnTo>
                <a:lnTo>
                  <a:pt x="110" y="507"/>
                </a:lnTo>
                <a:lnTo>
                  <a:pt x="108" y="509"/>
                </a:lnTo>
                <a:lnTo>
                  <a:pt x="108" y="504"/>
                </a:lnTo>
                <a:lnTo>
                  <a:pt x="105" y="502"/>
                </a:lnTo>
                <a:lnTo>
                  <a:pt x="105" y="507"/>
                </a:lnTo>
                <a:lnTo>
                  <a:pt x="105" y="512"/>
                </a:lnTo>
                <a:lnTo>
                  <a:pt x="108" y="512"/>
                </a:lnTo>
                <a:lnTo>
                  <a:pt x="110" y="514"/>
                </a:lnTo>
                <a:lnTo>
                  <a:pt x="108" y="519"/>
                </a:lnTo>
                <a:lnTo>
                  <a:pt x="110" y="517"/>
                </a:lnTo>
                <a:lnTo>
                  <a:pt x="113" y="514"/>
                </a:lnTo>
                <a:lnTo>
                  <a:pt x="115" y="512"/>
                </a:lnTo>
                <a:lnTo>
                  <a:pt x="118" y="514"/>
                </a:lnTo>
                <a:lnTo>
                  <a:pt x="118" y="514"/>
                </a:lnTo>
                <a:lnTo>
                  <a:pt x="118" y="517"/>
                </a:lnTo>
                <a:lnTo>
                  <a:pt x="123" y="514"/>
                </a:lnTo>
                <a:lnTo>
                  <a:pt x="123" y="509"/>
                </a:lnTo>
                <a:lnTo>
                  <a:pt x="120" y="507"/>
                </a:lnTo>
                <a:lnTo>
                  <a:pt x="115" y="509"/>
                </a:lnTo>
                <a:lnTo>
                  <a:pt x="115" y="507"/>
                </a:lnTo>
                <a:lnTo>
                  <a:pt x="115" y="504"/>
                </a:lnTo>
                <a:lnTo>
                  <a:pt x="115" y="499"/>
                </a:lnTo>
                <a:lnTo>
                  <a:pt x="118" y="497"/>
                </a:lnTo>
                <a:lnTo>
                  <a:pt x="123" y="499"/>
                </a:lnTo>
                <a:lnTo>
                  <a:pt x="125" y="507"/>
                </a:lnTo>
                <a:lnTo>
                  <a:pt x="128" y="514"/>
                </a:lnTo>
                <a:lnTo>
                  <a:pt x="130" y="517"/>
                </a:lnTo>
                <a:lnTo>
                  <a:pt x="130" y="524"/>
                </a:lnTo>
                <a:lnTo>
                  <a:pt x="125" y="534"/>
                </a:lnTo>
                <a:lnTo>
                  <a:pt x="120" y="534"/>
                </a:lnTo>
                <a:lnTo>
                  <a:pt x="123" y="537"/>
                </a:lnTo>
                <a:lnTo>
                  <a:pt x="125" y="544"/>
                </a:lnTo>
                <a:lnTo>
                  <a:pt x="128" y="552"/>
                </a:lnTo>
                <a:lnTo>
                  <a:pt x="133" y="559"/>
                </a:lnTo>
                <a:lnTo>
                  <a:pt x="133" y="562"/>
                </a:lnTo>
                <a:lnTo>
                  <a:pt x="130" y="564"/>
                </a:lnTo>
                <a:lnTo>
                  <a:pt x="133" y="569"/>
                </a:lnTo>
                <a:lnTo>
                  <a:pt x="138" y="569"/>
                </a:lnTo>
                <a:lnTo>
                  <a:pt x="140" y="572"/>
                </a:lnTo>
                <a:lnTo>
                  <a:pt x="143" y="569"/>
                </a:lnTo>
                <a:lnTo>
                  <a:pt x="143" y="567"/>
                </a:lnTo>
                <a:lnTo>
                  <a:pt x="140" y="559"/>
                </a:lnTo>
                <a:lnTo>
                  <a:pt x="140" y="552"/>
                </a:lnTo>
                <a:lnTo>
                  <a:pt x="143" y="549"/>
                </a:lnTo>
                <a:lnTo>
                  <a:pt x="145" y="552"/>
                </a:lnTo>
                <a:lnTo>
                  <a:pt x="143" y="554"/>
                </a:lnTo>
                <a:lnTo>
                  <a:pt x="143" y="557"/>
                </a:lnTo>
                <a:lnTo>
                  <a:pt x="148" y="559"/>
                </a:lnTo>
                <a:lnTo>
                  <a:pt x="148" y="567"/>
                </a:lnTo>
                <a:lnTo>
                  <a:pt x="148" y="572"/>
                </a:lnTo>
                <a:lnTo>
                  <a:pt x="148" y="57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33" name="Freeform 174"/>
          <p:cNvSpPr>
            <a:spLocks noEditPoints="1"/>
          </p:cNvSpPr>
          <p:nvPr/>
        </p:nvSpPr>
        <p:spPr bwMode="auto">
          <a:xfrm>
            <a:off x="10140950" y="3910013"/>
            <a:ext cx="193675" cy="304800"/>
          </a:xfrm>
          <a:custGeom>
            <a:avLst/>
            <a:gdLst>
              <a:gd name="T0" fmla="*/ 77 w 122"/>
              <a:gd name="T1" fmla="*/ 135 h 192"/>
              <a:gd name="T2" fmla="*/ 75 w 122"/>
              <a:gd name="T3" fmla="*/ 140 h 192"/>
              <a:gd name="T4" fmla="*/ 75 w 122"/>
              <a:gd name="T5" fmla="*/ 138 h 192"/>
              <a:gd name="T6" fmla="*/ 35 w 122"/>
              <a:gd name="T7" fmla="*/ 153 h 192"/>
              <a:gd name="T8" fmla="*/ 37 w 122"/>
              <a:gd name="T9" fmla="*/ 150 h 192"/>
              <a:gd name="T10" fmla="*/ 40 w 122"/>
              <a:gd name="T11" fmla="*/ 150 h 192"/>
              <a:gd name="T12" fmla="*/ 37 w 122"/>
              <a:gd name="T13" fmla="*/ 155 h 192"/>
              <a:gd name="T14" fmla="*/ 37 w 122"/>
              <a:gd name="T15" fmla="*/ 158 h 192"/>
              <a:gd name="T16" fmla="*/ 92 w 122"/>
              <a:gd name="T17" fmla="*/ 133 h 192"/>
              <a:gd name="T18" fmla="*/ 95 w 122"/>
              <a:gd name="T19" fmla="*/ 138 h 192"/>
              <a:gd name="T20" fmla="*/ 100 w 122"/>
              <a:gd name="T21" fmla="*/ 135 h 192"/>
              <a:gd name="T22" fmla="*/ 97 w 122"/>
              <a:gd name="T23" fmla="*/ 128 h 192"/>
              <a:gd name="T24" fmla="*/ 115 w 122"/>
              <a:gd name="T25" fmla="*/ 162 h 192"/>
              <a:gd name="T26" fmla="*/ 117 w 122"/>
              <a:gd name="T27" fmla="*/ 158 h 192"/>
              <a:gd name="T28" fmla="*/ 120 w 122"/>
              <a:gd name="T29" fmla="*/ 160 h 192"/>
              <a:gd name="T30" fmla="*/ 115 w 122"/>
              <a:gd name="T31" fmla="*/ 162 h 192"/>
              <a:gd name="T32" fmla="*/ 120 w 122"/>
              <a:gd name="T33" fmla="*/ 153 h 192"/>
              <a:gd name="T34" fmla="*/ 115 w 122"/>
              <a:gd name="T35" fmla="*/ 150 h 192"/>
              <a:gd name="T36" fmla="*/ 117 w 122"/>
              <a:gd name="T37" fmla="*/ 143 h 192"/>
              <a:gd name="T38" fmla="*/ 120 w 122"/>
              <a:gd name="T39" fmla="*/ 143 h 192"/>
              <a:gd name="T40" fmla="*/ 120 w 122"/>
              <a:gd name="T41" fmla="*/ 153 h 192"/>
              <a:gd name="T42" fmla="*/ 42 w 122"/>
              <a:gd name="T43" fmla="*/ 192 h 192"/>
              <a:gd name="T44" fmla="*/ 45 w 122"/>
              <a:gd name="T45" fmla="*/ 185 h 192"/>
              <a:gd name="T46" fmla="*/ 62 w 122"/>
              <a:gd name="T47" fmla="*/ 182 h 192"/>
              <a:gd name="T48" fmla="*/ 57 w 122"/>
              <a:gd name="T49" fmla="*/ 190 h 192"/>
              <a:gd name="T50" fmla="*/ 42 w 122"/>
              <a:gd name="T51" fmla="*/ 192 h 192"/>
              <a:gd name="T52" fmla="*/ 0 w 122"/>
              <a:gd name="T53" fmla="*/ 33 h 192"/>
              <a:gd name="T54" fmla="*/ 5 w 122"/>
              <a:gd name="T55" fmla="*/ 30 h 192"/>
              <a:gd name="T56" fmla="*/ 10 w 122"/>
              <a:gd name="T57" fmla="*/ 33 h 192"/>
              <a:gd name="T58" fmla="*/ 27 w 122"/>
              <a:gd name="T59" fmla="*/ 50 h 192"/>
              <a:gd name="T60" fmla="*/ 30 w 122"/>
              <a:gd name="T61" fmla="*/ 55 h 192"/>
              <a:gd name="T62" fmla="*/ 35 w 122"/>
              <a:gd name="T63" fmla="*/ 65 h 192"/>
              <a:gd name="T64" fmla="*/ 25 w 122"/>
              <a:gd name="T65" fmla="*/ 60 h 192"/>
              <a:gd name="T66" fmla="*/ 20 w 122"/>
              <a:gd name="T67" fmla="*/ 63 h 192"/>
              <a:gd name="T68" fmla="*/ 25 w 122"/>
              <a:gd name="T69" fmla="*/ 75 h 192"/>
              <a:gd name="T70" fmla="*/ 30 w 122"/>
              <a:gd name="T71" fmla="*/ 80 h 192"/>
              <a:gd name="T72" fmla="*/ 35 w 122"/>
              <a:gd name="T73" fmla="*/ 93 h 192"/>
              <a:gd name="T74" fmla="*/ 40 w 122"/>
              <a:gd name="T75" fmla="*/ 100 h 192"/>
              <a:gd name="T76" fmla="*/ 32 w 122"/>
              <a:gd name="T77" fmla="*/ 110 h 192"/>
              <a:gd name="T78" fmla="*/ 35 w 122"/>
              <a:gd name="T79" fmla="*/ 118 h 192"/>
              <a:gd name="T80" fmla="*/ 32 w 122"/>
              <a:gd name="T81" fmla="*/ 125 h 192"/>
              <a:gd name="T82" fmla="*/ 32 w 122"/>
              <a:gd name="T83" fmla="*/ 130 h 192"/>
              <a:gd name="T84" fmla="*/ 42 w 122"/>
              <a:gd name="T85" fmla="*/ 143 h 192"/>
              <a:gd name="T86" fmla="*/ 45 w 122"/>
              <a:gd name="T87" fmla="*/ 150 h 192"/>
              <a:gd name="T88" fmla="*/ 50 w 122"/>
              <a:gd name="T89" fmla="*/ 153 h 192"/>
              <a:gd name="T90" fmla="*/ 52 w 122"/>
              <a:gd name="T91" fmla="*/ 148 h 192"/>
              <a:gd name="T92" fmla="*/ 67 w 122"/>
              <a:gd name="T93" fmla="*/ 133 h 192"/>
              <a:gd name="T94" fmla="*/ 72 w 122"/>
              <a:gd name="T95" fmla="*/ 135 h 192"/>
              <a:gd name="T96" fmla="*/ 80 w 122"/>
              <a:gd name="T97" fmla="*/ 130 h 192"/>
              <a:gd name="T98" fmla="*/ 87 w 122"/>
              <a:gd name="T99" fmla="*/ 133 h 192"/>
              <a:gd name="T100" fmla="*/ 92 w 122"/>
              <a:gd name="T101" fmla="*/ 135 h 192"/>
              <a:gd name="T102" fmla="*/ 97 w 122"/>
              <a:gd name="T103" fmla="*/ 125 h 192"/>
              <a:gd name="T104" fmla="*/ 110 w 122"/>
              <a:gd name="T105" fmla="*/ 118 h 192"/>
              <a:gd name="T106" fmla="*/ 112 w 122"/>
              <a:gd name="T107" fmla="*/ 110 h 192"/>
              <a:gd name="T108" fmla="*/ 107 w 122"/>
              <a:gd name="T109" fmla="*/ 90 h 192"/>
              <a:gd name="T110" fmla="*/ 107 w 122"/>
              <a:gd name="T111" fmla="*/ 88 h 192"/>
              <a:gd name="T112" fmla="*/ 100 w 122"/>
              <a:gd name="T113" fmla="*/ 63 h 192"/>
              <a:gd name="T114" fmla="*/ 82 w 122"/>
              <a:gd name="T115" fmla="*/ 33 h 192"/>
              <a:gd name="T116" fmla="*/ 57 w 122"/>
              <a:gd name="T117" fmla="*/ 0 h 192"/>
              <a:gd name="T118" fmla="*/ 30 w 122"/>
              <a:gd name="T119" fmla="*/ 8 h 192"/>
              <a:gd name="T120" fmla="*/ 10 w 122"/>
              <a:gd name="T121" fmla="*/ 18 h 192"/>
              <a:gd name="T122" fmla="*/ 0 w 122"/>
              <a:gd name="T123" fmla="*/ 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192">
                <a:moveTo>
                  <a:pt x="75" y="138"/>
                </a:moveTo>
                <a:lnTo>
                  <a:pt x="77" y="135"/>
                </a:lnTo>
                <a:lnTo>
                  <a:pt x="80" y="138"/>
                </a:lnTo>
                <a:lnTo>
                  <a:pt x="75" y="140"/>
                </a:lnTo>
                <a:lnTo>
                  <a:pt x="75" y="138"/>
                </a:lnTo>
                <a:lnTo>
                  <a:pt x="75" y="138"/>
                </a:lnTo>
                <a:close/>
                <a:moveTo>
                  <a:pt x="37" y="158"/>
                </a:moveTo>
                <a:lnTo>
                  <a:pt x="35" y="153"/>
                </a:lnTo>
                <a:lnTo>
                  <a:pt x="35" y="150"/>
                </a:lnTo>
                <a:lnTo>
                  <a:pt x="37" y="150"/>
                </a:lnTo>
                <a:lnTo>
                  <a:pt x="40" y="148"/>
                </a:lnTo>
                <a:lnTo>
                  <a:pt x="40" y="150"/>
                </a:lnTo>
                <a:lnTo>
                  <a:pt x="40" y="155"/>
                </a:lnTo>
                <a:lnTo>
                  <a:pt x="37" y="155"/>
                </a:lnTo>
                <a:lnTo>
                  <a:pt x="37" y="158"/>
                </a:lnTo>
                <a:lnTo>
                  <a:pt x="37" y="158"/>
                </a:lnTo>
                <a:close/>
                <a:moveTo>
                  <a:pt x="97" y="128"/>
                </a:moveTo>
                <a:lnTo>
                  <a:pt x="92" y="133"/>
                </a:lnTo>
                <a:lnTo>
                  <a:pt x="92" y="135"/>
                </a:lnTo>
                <a:lnTo>
                  <a:pt x="95" y="138"/>
                </a:lnTo>
                <a:lnTo>
                  <a:pt x="97" y="138"/>
                </a:lnTo>
                <a:lnTo>
                  <a:pt x="100" y="135"/>
                </a:lnTo>
                <a:lnTo>
                  <a:pt x="100" y="130"/>
                </a:lnTo>
                <a:lnTo>
                  <a:pt x="97" y="128"/>
                </a:lnTo>
                <a:lnTo>
                  <a:pt x="97" y="128"/>
                </a:lnTo>
                <a:close/>
                <a:moveTo>
                  <a:pt x="115" y="162"/>
                </a:moveTo>
                <a:lnTo>
                  <a:pt x="115" y="160"/>
                </a:lnTo>
                <a:lnTo>
                  <a:pt x="117" y="158"/>
                </a:lnTo>
                <a:lnTo>
                  <a:pt x="120" y="158"/>
                </a:lnTo>
                <a:lnTo>
                  <a:pt x="120" y="160"/>
                </a:lnTo>
                <a:lnTo>
                  <a:pt x="117" y="162"/>
                </a:lnTo>
                <a:lnTo>
                  <a:pt x="115" y="162"/>
                </a:lnTo>
                <a:lnTo>
                  <a:pt x="115" y="162"/>
                </a:lnTo>
                <a:close/>
                <a:moveTo>
                  <a:pt x="120" y="153"/>
                </a:moveTo>
                <a:lnTo>
                  <a:pt x="117" y="155"/>
                </a:lnTo>
                <a:lnTo>
                  <a:pt x="115" y="150"/>
                </a:lnTo>
                <a:lnTo>
                  <a:pt x="117" y="145"/>
                </a:lnTo>
                <a:lnTo>
                  <a:pt x="117" y="143"/>
                </a:lnTo>
                <a:lnTo>
                  <a:pt x="120" y="140"/>
                </a:lnTo>
                <a:lnTo>
                  <a:pt x="120" y="143"/>
                </a:lnTo>
                <a:lnTo>
                  <a:pt x="122" y="148"/>
                </a:lnTo>
                <a:lnTo>
                  <a:pt x="120" y="153"/>
                </a:lnTo>
                <a:lnTo>
                  <a:pt x="120" y="153"/>
                </a:lnTo>
                <a:close/>
                <a:moveTo>
                  <a:pt x="42" y="192"/>
                </a:moveTo>
                <a:lnTo>
                  <a:pt x="42" y="187"/>
                </a:lnTo>
                <a:lnTo>
                  <a:pt x="45" y="185"/>
                </a:lnTo>
                <a:lnTo>
                  <a:pt x="55" y="180"/>
                </a:lnTo>
                <a:lnTo>
                  <a:pt x="62" y="182"/>
                </a:lnTo>
                <a:lnTo>
                  <a:pt x="62" y="185"/>
                </a:lnTo>
                <a:lnTo>
                  <a:pt x="57" y="190"/>
                </a:lnTo>
                <a:lnTo>
                  <a:pt x="50" y="192"/>
                </a:lnTo>
                <a:lnTo>
                  <a:pt x="42" y="192"/>
                </a:lnTo>
                <a:lnTo>
                  <a:pt x="42" y="192"/>
                </a:lnTo>
                <a:close/>
                <a:moveTo>
                  <a:pt x="0" y="33"/>
                </a:moveTo>
                <a:lnTo>
                  <a:pt x="3" y="33"/>
                </a:lnTo>
                <a:lnTo>
                  <a:pt x="5" y="30"/>
                </a:lnTo>
                <a:lnTo>
                  <a:pt x="15" y="30"/>
                </a:lnTo>
                <a:lnTo>
                  <a:pt x="10" y="33"/>
                </a:lnTo>
                <a:lnTo>
                  <a:pt x="20" y="40"/>
                </a:lnTo>
                <a:lnTo>
                  <a:pt x="27" y="50"/>
                </a:lnTo>
                <a:lnTo>
                  <a:pt x="30" y="53"/>
                </a:lnTo>
                <a:lnTo>
                  <a:pt x="30" y="55"/>
                </a:lnTo>
                <a:lnTo>
                  <a:pt x="32" y="60"/>
                </a:lnTo>
                <a:lnTo>
                  <a:pt x="35" y="65"/>
                </a:lnTo>
                <a:lnTo>
                  <a:pt x="27" y="63"/>
                </a:lnTo>
                <a:lnTo>
                  <a:pt x="25" y="60"/>
                </a:lnTo>
                <a:lnTo>
                  <a:pt x="22" y="63"/>
                </a:lnTo>
                <a:lnTo>
                  <a:pt x="20" y="63"/>
                </a:lnTo>
                <a:lnTo>
                  <a:pt x="13" y="70"/>
                </a:lnTo>
                <a:lnTo>
                  <a:pt x="25" y="75"/>
                </a:lnTo>
                <a:lnTo>
                  <a:pt x="27" y="75"/>
                </a:lnTo>
                <a:lnTo>
                  <a:pt x="30" y="80"/>
                </a:lnTo>
                <a:lnTo>
                  <a:pt x="30" y="93"/>
                </a:lnTo>
                <a:lnTo>
                  <a:pt x="35" y="93"/>
                </a:lnTo>
                <a:lnTo>
                  <a:pt x="35" y="93"/>
                </a:lnTo>
                <a:lnTo>
                  <a:pt x="40" y="100"/>
                </a:lnTo>
                <a:lnTo>
                  <a:pt x="32" y="108"/>
                </a:lnTo>
                <a:lnTo>
                  <a:pt x="32" y="110"/>
                </a:lnTo>
                <a:lnTo>
                  <a:pt x="35" y="113"/>
                </a:lnTo>
                <a:lnTo>
                  <a:pt x="35" y="118"/>
                </a:lnTo>
                <a:lnTo>
                  <a:pt x="32" y="120"/>
                </a:lnTo>
                <a:lnTo>
                  <a:pt x="32" y="125"/>
                </a:lnTo>
                <a:lnTo>
                  <a:pt x="35" y="130"/>
                </a:lnTo>
                <a:lnTo>
                  <a:pt x="32" y="130"/>
                </a:lnTo>
                <a:lnTo>
                  <a:pt x="37" y="143"/>
                </a:lnTo>
                <a:lnTo>
                  <a:pt x="42" y="143"/>
                </a:lnTo>
                <a:lnTo>
                  <a:pt x="42" y="148"/>
                </a:lnTo>
                <a:lnTo>
                  <a:pt x="45" y="150"/>
                </a:lnTo>
                <a:lnTo>
                  <a:pt x="45" y="155"/>
                </a:lnTo>
                <a:lnTo>
                  <a:pt x="50" y="153"/>
                </a:lnTo>
                <a:lnTo>
                  <a:pt x="50" y="145"/>
                </a:lnTo>
                <a:lnTo>
                  <a:pt x="52" y="148"/>
                </a:lnTo>
                <a:lnTo>
                  <a:pt x="55" y="143"/>
                </a:lnTo>
                <a:lnTo>
                  <a:pt x="67" y="133"/>
                </a:lnTo>
                <a:lnTo>
                  <a:pt x="72" y="133"/>
                </a:lnTo>
                <a:lnTo>
                  <a:pt x="72" y="135"/>
                </a:lnTo>
                <a:lnTo>
                  <a:pt x="77" y="130"/>
                </a:lnTo>
                <a:lnTo>
                  <a:pt x="80" y="130"/>
                </a:lnTo>
                <a:lnTo>
                  <a:pt x="82" y="135"/>
                </a:lnTo>
                <a:lnTo>
                  <a:pt x="87" y="133"/>
                </a:lnTo>
                <a:lnTo>
                  <a:pt x="90" y="135"/>
                </a:lnTo>
                <a:lnTo>
                  <a:pt x="92" y="135"/>
                </a:lnTo>
                <a:lnTo>
                  <a:pt x="90" y="130"/>
                </a:lnTo>
                <a:lnTo>
                  <a:pt x="97" y="125"/>
                </a:lnTo>
                <a:lnTo>
                  <a:pt x="102" y="125"/>
                </a:lnTo>
                <a:lnTo>
                  <a:pt x="110" y="118"/>
                </a:lnTo>
                <a:lnTo>
                  <a:pt x="107" y="115"/>
                </a:lnTo>
                <a:lnTo>
                  <a:pt x="112" y="110"/>
                </a:lnTo>
                <a:lnTo>
                  <a:pt x="110" y="90"/>
                </a:lnTo>
                <a:lnTo>
                  <a:pt x="107" y="90"/>
                </a:lnTo>
                <a:lnTo>
                  <a:pt x="107" y="93"/>
                </a:lnTo>
                <a:lnTo>
                  <a:pt x="107" y="88"/>
                </a:lnTo>
                <a:lnTo>
                  <a:pt x="102" y="68"/>
                </a:lnTo>
                <a:lnTo>
                  <a:pt x="100" y="63"/>
                </a:lnTo>
                <a:lnTo>
                  <a:pt x="97" y="53"/>
                </a:lnTo>
                <a:lnTo>
                  <a:pt x="82" y="33"/>
                </a:lnTo>
                <a:lnTo>
                  <a:pt x="67" y="18"/>
                </a:lnTo>
                <a:lnTo>
                  <a:pt x="57" y="0"/>
                </a:lnTo>
                <a:lnTo>
                  <a:pt x="47" y="5"/>
                </a:lnTo>
                <a:lnTo>
                  <a:pt x="30" y="8"/>
                </a:lnTo>
                <a:lnTo>
                  <a:pt x="20" y="15"/>
                </a:lnTo>
                <a:lnTo>
                  <a:pt x="10" y="18"/>
                </a:lnTo>
                <a:lnTo>
                  <a:pt x="3" y="28"/>
                </a:lnTo>
                <a:lnTo>
                  <a:pt x="0" y="33"/>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35" name="Freeform 176"/>
          <p:cNvSpPr>
            <a:spLocks/>
          </p:cNvSpPr>
          <p:nvPr/>
        </p:nvSpPr>
        <p:spPr bwMode="auto">
          <a:xfrm>
            <a:off x="6810375" y="3067050"/>
            <a:ext cx="1604962" cy="842963"/>
          </a:xfrm>
          <a:custGeom>
            <a:avLst/>
            <a:gdLst>
              <a:gd name="T0" fmla="*/ 25 w 1011"/>
              <a:gd name="T1" fmla="*/ 309 h 531"/>
              <a:gd name="T2" fmla="*/ 3 w 1011"/>
              <a:gd name="T3" fmla="*/ 247 h 531"/>
              <a:gd name="T4" fmla="*/ 50 w 1011"/>
              <a:gd name="T5" fmla="*/ 239 h 531"/>
              <a:gd name="T6" fmla="*/ 73 w 1011"/>
              <a:gd name="T7" fmla="*/ 192 h 531"/>
              <a:gd name="T8" fmla="*/ 100 w 1011"/>
              <a:gd name="T9" fmla="*/ 179 h 531"/>
              <a:gd name="T10" fmla="*/ 118 w 1011"/>
              <a:gd name="T11" fmla="*/ 174 h 531"/>
              <a:gd name="T12" fmla="*/ 163 w 1011"/>
              <a:gd name="T13" fmla="*/ 192 h 531"/>
              <a:gd name="T14" fmla="*/ 193 w 1011"/>
              <a:gd name="T15" fmla="*/ 202 h 531"/>
              <a:gd name="T16" fmla="*/ 232 w 1011"/>
              <a:gd name="T17" fmla="*/ 192 h 531"/>
              <a:gd name="T18" fmla="*/ 267 w 1011"/>
              <a:gd name="T19" fmla="*/ 189 h 531"/>
              <a:gd name="T20" fmla="*/ 292 w 1011"/>
              <a:gd name="T21" fmla="*/ 204 h 531"/>
              <a:gd name="T22" fmla="*/ 340 w 1011"/>
              <a:gd name="T23" fmla="*/ 202 h 531"/>
              <a:gd name="T24" fmla="*/ 325 w 1011"/>
              <a:gd name="T25" fmla="*/ 159 h 531"/>
              <a:gd name="T26" fmla="*/ 322 w 1011"/>
              <a:gd name="T27" fmla="*/ 132 h 531"/>
              <a:gd name="T28" fmla="*/ 342 w 1011"/>
              <a:gd name="T29" fmla="*/ 100 h 531"/>
              <a:gd name="T30" fmla="*/ 322 w 1011"/>
              <a:gd name="T31" fmla="*/ 90 h 531"/>
              <a:gd name="T32" fmla="*/ 340 w 1011"/>
              <a:gd name="T33" fmla="*/ 77 h 531"/>
              <a:gd name="T34" fmla="*/ 372 w 1011"/>
              <a:gd name="T35" fmla="*/ 67 h 531"/>
              <a:gd name="T36" fmla="*/ 420 w 1011"/>
              <a:gd name="T37" fmla="*/ 52 h 531"/>
              <a:gd name="T38" fmla="*/ 444 w 1011"/>
              <a:gd name="T39" fmla="*/ 37 h 531"/>
              <a:gd name="T40" fmla="*/ 487 w 1011"/>
              <a:gd name="T41" fmla="*/ 15 h 531"/>
              <a:gd name="T42" fmla="*/ 522 w 1011"/>
              <a:gd name="T43" fmla="*/ 2 h 531"/>
              <a:gd name="T44" fmla="*/ 559 w 1011"/>
              <a:gd name="T45" fmla="*/ 25 h 531"/>
              <a:gd name="T46" fmla="*/ 572 w 1011"/>
              <a:gd name="T47" fmla="*/ 47 h 531"/>
              <a:gd name="T48" fmla="*/ 594 w 1011"/>
              <a:gd name="T49" fmla="*/ 42 h 531"/>
              <a:gd name="T50" fmla="*/ 619 w 1011"/>
              <a:gd name="T51" fmla="*/ 52 h 531"/>
              <a:gd name="T52" fmla="*/ 636 w 1011"/>
              <a:gd name="T53" fmla="*/ 65 h 531"/>
              <a:gd name="T54" fmla="*/ 676 w 1011"/>
              <a:gd name="T55" fmla="*/ 47 h 531"/>
              <a:gd name="T56" fmla="*/ 701 w 1011"/>
              <a:gd name="T57" fmla="*/ 37 h 531"/>
              <a:gd name="T58" fmla="*/ 824 w 1011"/>
              <a:gd name="T59" fmla="*/ 147 h 531"/>
              <a:gd name="T60" fmla="*/ 858 w 1011"/>
              <a:gd name="T61" fmla="*/ 159 h 531"/>
              <a:gd name="T62" fmla="*/ 898 w 1011"/>
              <a:gd name="T63" fmla="*/ 149 h 531"/>
              <a:gd name="T64" fmla="*/ 941 w 1011"/>
              <a:gd name="T65" fmla="*/ 179 h 531"/>
              <a:gd name="T66" fmla="*/ 958 w 1011"/>
              <a:gd name="T67" fmla="*/ 199 h 531"/>
              <a:gd name="T68" fmla="*/ 993 w 1011"/>
              <a:gd name="T69" fmla="*/ 197 h 531"/>
              <a:gd name="T70" fmla="*/ 996 w 1011"/>
              <a:gd name="T71" fmla="*/ 229 h 531"/>
              <a:gd name="T72" fmla="*/ 983 w 1011"/>
              <a:gd name="T73" fmla="*/ 289 h 531"/>
              <a:gd name="T74" fmla="*/ 933 w 1011"/>
              <a:gd name="T75" fmla="*/ 292 h 531"/>
              <a:gd name="T76" fmla="*/ 918 w 1011"/>
              <a:gd name="T77" fmla="*/ 349 h 531"/>
              <a:gd name="T78" fmla="*/ 898 w 1011"/>
              <a:gd name="T79" fmla="*/ 364 h 531"/>
              <a:gd name="T80" fmla="*/ 873 w 1011"/>
              <a:gd name="T81" fmla="*/ 382 h 531"/>
              <a:gd name="T82" fmla="*/ 888 w 1011"/>
              <a:gd name="T83" fmla="*/ 421 h 531"/>
              <a:gd name="T84" fmla="*/ 886 w 1011"/>
              <a:gd name="T85" fmla="*/ 464 h 531"/>
              <a:gd name="T86" fmla="*/ 791 w 1011"/>
              <a:gd name="T87" fmla="*/ 449 h 531"/>
              <a:gd name="T88" fmla="*/ 729 w 1011"/>
              <a:gd name="T89" fmla="*/ 449 h 531"/>
              <a:gd name="T90" fmla="*/ 671 w 1011"/>
              <a:gd name="T91" fmla="*/ 466 h 531"/>
              <a:gd name="T92" fmla="*/ 636 w 1011"/>
              <a:gd name="T93" fmla="*/ 486 h 531"/>
              <a:gd name="T94" fmla="*/ 572 w 1011"/>
              <a:gd name="T95" fmla="*/ 521 h 531"/>
              <a:gd name="T96" fmla="*/ 449 w 1011"/>
              <a:gd name="T97" fmla="*/ 434 h 531"/>
              <a:gd name="T98" fmla="*/ 250 w 1011"/>
              <a:gd name="T99" fmla="*/ 511 h 531"/>
              <a:gd name="T100" fmla="*/ 185 w 1011"/>
              <a:gd name="T101" fmla="*/ 486 h 531"/>
              <a:gd name="T102" fmla="*/ 160 w 1011"/>
              <a:gd name="T103" fmla="*/ 476 h 531"/>
              <a:gd name="T104" fmla="*/ 138 w 1011"/>
              <a:gd name="T105" fmla="*/ 449 h 531"/>
              <a:gd name="T106" fmla="*/ 118 w 1011"/>
              <a:gd name="T107" fmla="*/ 424 h 531"/>
              <a:gd name="T108" fmla="*/ 148 w 1011"/>
              <a:gd name="T109" fmla="*/ 424 h 531"/>
              <a:gd name="T110" fmla="*/ 135 w 1011"/>
              <a:gd name="T111" fmla="*/ 399 h 531"/>
              <a:gd name="T112" fmla="*/ 170 w 1011"/>
              <a:gd name="T113" fmla="*/ 394 h 531"/>
              <a:gd name="T114" fmla="*/ 178 w 1011"/>
              <a:gd name="T115" fmla="*/ 377 h 531"/>
              <a:gd name="T116" fmla="*/ 175 w 1011"/>
              <a:gd name="T117" fmla="*/ 347 h 531"/>
              <a:gd name="T118" fmla="*/ 150 w 1011"/>
              <a:gd name="T119" fmla="*/ 342 h 531"/>
              <a:gd name="T120" fmla="*/ 135 w 1011"/>
              <a:gd name="T121" fmla="*/ 337 h 531"/>
              <a:gd name="T122" fmla="*/ 110 w 1011"/>
              <a:gd name="T123" fmla="*/ 344 h 531"/>
              <a:gd name="T124" fmla="*/ 88 w 1011"/>
              <a:gd name="T125" fmla="*/ 357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1" h="531">
                <a:moveTo>
                  <a:pt x="78" y="357"/>
                </a:moveTo>
                <a:lnTo>
                  <a:pt x="73" y="352"/>
                </a:lnTo>
                <a:lnTo>
                  <a:pt x="65" y="354"/>
                </a:lnTo>
                <a:lnTo>
                  <a:pt x="55" y="349"/>
                </a:lnTo>
                <a:lnTo>
                  <a:pt x="55" y="344"/>
                </a:lnTo>
                <a:lnTo>
                  <a:pt x="65" y="344"/>
                </a:lnTo>
                <a:lnTo>
                  <a:pt x="55" y="327"/>
                </a:lnTo>
                <a:lnTo>
                  <a:pt x="43" y="314"/>
                </a:lnTo>
                <a:lnTo>
                  <a:pt x="25" y="309"/>
                </a:lnTo>
                <a:lnTo>
                  <a:pt x="23" y="314"/>
                </a:lnTo>
                <a:lnTo>
                  <a:pt x="15" y="307"/>
                </a:lnTo>
                <a:lnTo>
                  <a:pt x="18" y="302"/>
                </a:lnTo>
                <a:lnTo>
                  <a:pt x="13" y="294"/>
                </a:lnTo>
                <a:lnTo>
                  <a:pt x="0" y="292"/>
                </a:lnTo>
                <a:lnTo>
                  <a:pt x="5" y="282"/>
                </a:lnTo>
                <a:lnTo>
                  <a:pt x="8" y="264"/>
                </a:lnTo>
                <a:lnTo>
                  <a:pt x="3" y="262"/>
                </a:lnTo>
                <a:lnTo>
                  <a:pt x="3" y="247"/>
                </a:lnTo>
                <a:lnTo>
                  <a:pt x="8" y="244"/>
                </a:lnTo>
                <a:lnTo>
                  <a:pt x="15" y="237"/>
                </a:lnTo>
                <a:lnTo>
                  <a:pt x="15" y="229"/>
                </a:lnTo>
                <a:lnTo>
                  <a:pt x="18" y="224"/>
                </a:lnTo>
                <a:lnTo>
                  <a:pt x="33" y="237"/>
                </a:lnTo>
                <a:lnTo>
                  <a:pt x="35" y="242"/>
                </a:lnTo>
                <a:lnTo>
                  <a:pt x="43" y="247"/>
                </a:lnTo>
                <a:lnTo>
                  <a:pt x="50" y="247"/>
                </a:lnTo>
                <a:lnTo>
                  <a:pt x="50" y="239"/>
                </a:lnTo>
                <a:lnTo>
                  <a:pt x="53" y="237"/>
                </a:lnTo>
                <a:lnTo>
                  <a:pt x="48" y="214"/>
                </a:lnTo>
                <a:lnTo>
                  <a:pt x="55" y="214"/>
                </a:lnTo>
                <a:lnTo>
                  <a:pt x="63" y="214"/>
                </a:lnTo>
                <a:lnTo>
                  <a:pt x="63" y="207"/>
                </a:lnTo>
                <a:lnTo>
                  <a:pt x="60" y="202"/>
                </a:lnTo>
                <a:lnTo>
                  <a:pt x="63" y="197"/>
                </a:lnTo>
                <a:lnTo>
                  <a:pt x="70" y="192"/>
                </a:lnTo>
                <a:lnTo>
                  <a:pt x="73" y="192"/>
                </a:lnTo>
                <a:lnTo>
                  <a:pt x="75" y="184"/>
                </a:lnTo>
                <a:lnTo>
                  <a:pt x="80" y="182"/>
                </a:lnTo>
                <a:lnTo>
                  <a:pt x="85" y="182"/>
                </a:lnTo>
                <a:lnTo>
                  <a:pt x="85" y="177"/>
                </a:lnTo>
                <a:lnTo>
                  <a:pt x="85" y="174"/>
                </a:lnTo>
                <a:lnTo>
                  <a:pt x="85" y="169"/>
                </a:lnTo>
                <a:lnTo>
                  <a:pt x="93" y="174"/>
                </a:lnTo>
                <a:lnTo>
                  <a:pt x="100" y="177"/>
                </a:lnTo>
                <a:lnTo>
                  <a:pt x="100" y="179"/>
                </a:lnTo>
                <a:lnTo>
                  <a:pt x="95" y="184"/>
                </a:lnTo>
                <a:lnTo>
                  <a:pt x="98" y="187"/>
                </a:lnTo>
                <a:lnTo>
                  <a:pt x="103" y="184"/>
                </a:lnTo>
                <a:lnTo>
                  <a:pt x="105" y="182"/>
                </a:lnTo>
                <a:lnTo>
                  <a:pt x="108" y="179"/>
                </a:lnTo>
                <a:lnTo>
                  <a:pt x="108" y="182"/>
                </a:lnTo>
                <a:lnTo>
                  <a:pt x="113" y="179"/>
                </a:lnTo>
                <a:lnTo>
                  <a:pt x="113" y="177"/>
                </a:lnTo>
                <a:lnTo>
                  <a:pt x="118" y="174"/>
                </a:lnTo>
                <a:lnTo>
                  <a:pt x="123" y="172"/>
                </a:lnTo>
                <a:lnTo>
                  <a:pt x="128" y="172"/>
                </a:lnTo>
                <a:lnTo>
                  <a:pt x="130" y="179"/>
                </a:lnTo>
                <a:lnTo>
                  <a:pt x="138" y="182"/>
                </a:lnTo>
                <a:lnTo>
                  <a:pt x="148" y="179"/>
                </a:lnTo>
                <a:lnTo>
                  <a:pt x="150" y="179"/>
                </a:lnTo>
                <a:lnTo>
                  <a:pt x="153" y="184"/>
                </a:lnTo>
                <a:lnTo>
                  <a:pt x="158" y="184"/>
                </a:lnTo>
                <a:lnTo>
                  <a:pt x="163" y="192"/>
                </a:lnTo>
                <a:lnTo>
                  <a:pt x="168" y="192"/>
                </a:lnTo>
                <a:lnTo>
                  <a:pt x="173" y="197"/>
                </a:lnTo>
                <a:lnTo>
                  <a:pt x="180" y="202"/>
                </a:lnTo>
                <a:lnTo>
                  <a:pt x="183" y="202"/>
                </a:lnTo>
                <a:lnTo>
                  <a:pt x="185" y="207"/>
                </a:lnTo>
                <a:lnTo>
                  <a:pt x="185" y="212"/>
                </a:lnTo>
                <a:lnTo>
                  <a:pt x="190" y="212"/>
                </a:lnTo>
                <a:lnTo>
                  <a:pt x="193" y="207"/>
                </a:lnTo>
                <a:lnTo>
                  <a:pt x="193" y="202"/>
                </a:lnTo>
                <a:lnTo>
                  <a:pt x="198" y="199"/>
                </a:lnTo>
                <a:lnTo>
                  <a:pt x="200" y="204"/>
                </a:lnTo>
                <a:lnTo>
                  <a:pt x="210" y="204"/>
                </a:lnTo>
                <a:lnTo>
                  <a:pt x="215" y="209"/>
                </a:lnTo>
                <a:lnTo>
                  <a:pt x="217" y="212"/>
                </a:lnTo>
                <a:lnTo>
                  <a:pt x="225" y="207"/>
                </a:lnTo>
                <a:lnTo>
                  <a:pt x="225" y="197"/>
                </a:lnTo>
                <a:lnTo>
                  <a:pt x="230" y="197"/>
                </a:lnTo>
                <a:lnTo>
                  <a:pt x="232" y="192"/>
                </a:lnTo>
                <a:lnTo>
                  <a:pt x="235" y="189"/>
                </a:lnTo>
                <a:lnTo>
                  <a:pt x="237" y="194"/>
                </a:lnTo>
                <a:lnTo>
                  <a:pt x="240" y="189"/>
                </a:lnTo>
                <a:lnTo>
                  <a:pt x="247" y="189"/>
                </a:lnTo>
                <a:lnTo>
                  <a:pt x="255" y="194"/>
                </a:lnTo>
                <a:lnTo>
                  <a:pt x="257" y="199"/>
                </a:lnTo>
                <a:lnTo>
                  <a:pt x="265" y="197"/>
                </a:lnTo>
                <a:lnTo>
                  <a:pt x="262" y="192"/>
                </a:lnTo>
                <a:lnTo>
                  <a:pt x="267" y="189"/>
                </a:lnTo>
                <a:lnTo>
                  <a:pt x="272" y="189"/>
                </a:lnTo>
                <a:lnTo>
                  <a:pt x="275" y="187"/>
                </a:lnTo>
                <a:lnTo>
                  <a:pt x="282" y="189"/>
                </a:lnTo>
                <a:lnTo>
                  <a:pt x="285" y="192"/>
                </a:lnTo>
                <a:lnTo>
                  <a:pt x="285" y="197"/>
                </a:lnTo>
                <a:lnTo>
                  <a:pt x="280" y="197"/>
                </a:lnTo>
                <a:lnTo>
                  <a:pt x="285" y="204"/>
                </a:lnTo>
                <a:lnTo>
                  <a:pt x="290" y="204"/>
                </a:lnTo>
                <a:lnTo>
                  <a:pt x="292" y="204"/>
                </a:lnTo>
                <a:lnTo>
                  <a:pt x="297" y="207"/>
                </a:lnTo>
                <a:lnTo>
                  <a:pt x="305" y="207"/>
                </a:lnTo>
                <a:lnTo>
                  <a:pt x="315" y="212"/>
                </a:lnTo>
                <a:lnTo>
                  <a:pt x="320" y="209"/>
                </a:lnTo>
                <a:lnTo>
                  <a:pt x="322" y="204"/>
                </a:lnTo>
                <a:lnTo>
                  <a:pt x="322" y="199"/>
                </a:lnTo>
                <a:lnTo>
                  <a:pt x="325" y="197"/>
                </a:lnTo>
                <a:lnTo>
                  <a:pt x="332" y="202"/>
                </a:lnTo>
                <a:lnTo>
                  <a:pt x="340" y="202"/>
                </a:lnTo>
                <a:lnTo>
                  <a:pt x="350" y="199"/>
                </a:lnTo>
                <a:lnTo>
                  <a:pt x="352" y="194"/>
                </a:lnTo>
                <a:lnTo>
                  <a:pt x="352" y="174"/>
                </a:lnTo>
                <a:lnTo>
                  <a:pt x="350" y="172"/>
                </a:lnTo>
                <a:lnTo>
                  <a:pt x="340" y="172"/>
                </a:lnTo>
                <a:lnTo>
                  <a:pt x="335" y="167"/>
                </a:lnTo>
                <a:lnTo>
                  <a:pt x="335" y="164"/>
                </a:lnTo>
                <a:lnTo>
                  <a:pt x="330" y="164"/>
                </a:lnTo>
                <a:lnTo>
                  <a:pt x="325" y="159"/>
                </a:lnTo>
                <a:lnTo>
                  <a:pt x="320" y="159"/>
                </a:lnTo>
                <a:lnTo>
                  <a:pt x="320" y="157"/>
                </a:lnTo>
                <a:lnTo>
                  <a:pt x="317" y="154"/>
                </a:lnTo>
                <a:lnTo>
                  <a:pt x="317" y="149"/>
                </a:lnTo>
                <a:lnTo>
                  <a:pt x="322" y="149"/>
                </a:lnTo>
                <a:lnTo>
                  <a:pt x="322" y="144"/>
                </a:lnTo>
                <a:lnTo>
                  <a:pt x="327" y="139"/>
                </a:lnTo>
                <a:lnTo>
                  <a:pt x="325" y="134"/>
                </a:lnTo>
                <a:lnTo>
                  <a:pt x="322" y="132"/>
                </a:lnTo>
                <a:lnTo>
                  <a:pt x="322" y="127"/>
                </a:lnTo>
                <a:lnTo>
                  <a:pt x="327" y="119"/>
                </a:lnTo>
                <a:lnTo>
                  <a:pt x="335" y="112"/>
                </a:lnTo>
                <a:lnTo>
                  <a:pt x="345" y="112"/>
                </a:lnTo>
                <a:lnTo>
                  <a:pt x="350" y="114"/>
                </a:lnTo>
                <a:lnTo>
                  <a:pt x="352" y="112"/>
                </a:lnTo>
                <a:lnTo>
                  <a:pt x="352" y="107"/>
                </a:lnTo>
                <a:lnTo>
                  <a:pt x="347" y="105"/>
                </a:lnTo>
                <a:lnTo>
                  <a:pt x="342" y="100"/>
                </a:lnTo>
                <a:lnTo>
                  <a:pt x="340" y="100"/>
                </a:lnTo>
                <a:lnTo>
                  <a:pt x="335" y="102"/>
                </a:lnTo>
                <a:lnTo>
                  <a:pt x="330" y="100"/>
                </a:lnTo>
                <a:lnTo>
                  <a:pt x="322" y="100"/>
                </a:lnTo>
                <a:lnTo>
                  <a:pt x="322" y="97"/>
                </a:lnTo>
                <a:lnTo>
                  <a:pt x="325" y="95"/>
                </a:lnTo>
                <a:lnTo>
                  <a:pt x="332" y="95"/>
                </a:lnTo>
                <a:lnTo>
                  <a:pt x="330" y="90"/>
                </a:lnTo>
                <a:lnTo>
                  <a:pt x="322" y="90"/>
                </a:lnTo>
                <a:lnTo>
                  <a:pt x="320" y="90"/>
                </a:lnTo>
                <a:lnTo>
                  <a:pt x="322" y="87"/>
                </a:lnTo>
                <a:lnTo>
                  <a:pt x="317" y="80"/>
                </a:lnTo>
                <a:lnTo>
                  <a:pt x="320" y="77"/>
                </a:lnTo>
                <a:lnTo>
                  <a:pt x="325" y="77"/>
                </a:lnTo>
                <a:lnTo>
                  <a:pt x="330" y="75"/>
                </a:lnTo>
                <a:lnTo>
                  <a:pt x="332" y="75"/>
                </a:lnTo>
                <a:lnTo>
                  <a:pt x="335" y="77"/>
                </a:lnTo>
                <a:lnTo>
                  <a:pt x="340" y="77"/>
                </a:lnTo>
                <a:lnTo>
                  <a:pt x="345" y="80"/>
                </a:lnTo>
                <a:lnTo>
                  <a:pt x="347" y="77"/>
                </a:lnTo>
                <a:lnTo>
                  <a:pt x="347" y="75"/>
                </a:lnTo>
                <a:lnTo>
                  <a:pt x="352" y="72"/>
                </a:lnTo>
                <a:lnTo>
                  <a:pt x="357" y="72"/>
                </a:lnTo>
                <a:lnTo>
                  <a:pt x="360" y="77"/>
                </a:lnTo>
                <a:lnTo>
                  <a:pt x="362" y="72"/>
                </a:lnTo>
                <a:lnTo>
                  <a:pt x="362" y="70"/>
                </a:lnTo>
                <a:lnTo>
                  <a:pt x="372" y="67"/>
                </a:lnTo>
                <a:lnTo>
                  <a:pt x="377" y="65"/>
                </a:lnTo>
                <a:lnTo>
                  <a:pt x="385" y="62"/>
                </a:lnTo>
                <a:lnTo>
                  <a:pt x="392" y="62"/>
                </a:lnTo>
                <a:lnTo>
                  <a:pt x="392" y="60"/>
                </a:lnTo>
                <a:lnTo>
                  <a:pt x="400" y="55"/>
                </a:lnTo>
                <a:lnTo>
                  <a:pt x="407" y="55"/>
                </a:lnTo>
                <a:lnTo>
                  <a:pt x="412" y="52"/>
                </a:lnTo>
                <a:lnTo>
                  <a:pt x="415" y="52"/>
                </a:lnTo>
                <a:lnTo>
                  <a:pt x="420" y="52"/>
                </a:lnTo>
                <a:lnTo>
                  <a:pt x="420" y="52"/>
                </a:lnTo>
                <a:lnTo>
                  <a:pt x="420" y="45"/>
                </a:lnTo>
                <a:lnTo>
                  <a:pt x="424" y="42"/>
                </a:lnTo>
                <a:lnTo>
                  <a:pt x="429" y="42"/>
                </a:lnTo>
                <a:lnTo>
                  <a:pt x="429" y="40"/>
                </a:lnTo>
                <a:lnTo>
                  <a:pt x="434" y="37"/>
                </a:lnTo>
                <a:lnTo>
                  <a:pt x="437" y="40"/>
                </a:lnTo>
                <a:lnTo>
                  <a:pt x="439" y="40"/>
                </a:lnTo>
                <a:lnTo>
                  <a:pt x="444" y="37"/>
                </a:lnTo>
                <a:lnTo>
                  <a:pt x="452" y="35"/>
                </a:lnTo>
                <a:lnTo>
                  <a:pt x="462" y="27"/>
                </a:lnTo>
                <a:lnTo>
                  <a:pt x="464" y="27"/>
                </a:lnTo>
                <a:lnTo>
                  <a:pt x="467" y="25"/>
                </a:lnTo>
                <a:lnTo>
                  <a:pt x="474" y="25"/>
                </a:lnTo>
                <a:lnTo>
                  <a:pt x="477" y="20"/>
                </a:lnTo>
                <a:lnTo>
                  <a:pt x="482" y="20"/>
                </a:lnTo>
                <a:lnTo>
                  <a:pt x="487" y="20"/>
                </a:lnTo>
                <a:lnTo>
                  <a:pt x="487" y="15"/>
                </a:lnTo>
                <a:lnTo>
                  <a:pt x="484" y="12"/>
                </a:lnTo>
                <a:lnTo>
                  <a:pt x="487" y="10"/>
                </a:lnTo>
                <a:lnTo>
                  <a:pt x="494" y="10"/>
                </a:lnTo>
                <a:lnTo>
                  <a:pt x="497" y="5"/>
                </a:lnTo>
                <a:lnTo>
                  <a:pt x="502" y="2"/>
                </a:lnTo>
                <a:lnTo>
                  <a:pt x="504" y="2"/>
                </a:lnTo>
                <a:lnTo>
                  <a:pt x="509" y="0"/>
                </a:lnTo>
                <a:lnTo>
                  <a:pt x="514" y="5"/>
                </a:lnTo>
                <a:lnTo>
                  <a:pt x="522" y="2"/>
                </a:lnTo>
                <a:lnTo>
                  <a:pt x="529" y="7"/>
                </a:lnTo>
                <a:lnTo>
                  <a:pt x="534" y="7"/>
                </a:lnTo>
                <a:lnTo>
                  <a:pt x="542" y="5"/>
                </a:lnTo>
                <a:lnTo>
                  <a:pt x="547" y="5"/>
                </a:lnTo>
                <a:lnTo>
                  <a:pt x="549" y="12"/>
                </a:lnTo>
                <a:lnTo>
                  <a:pt x="552" y="12"/>
                </a:lnTo>
                <a:lnTo>
                  <a:pt x="552" y="20"/>
                </a:lnTo>
                <a:lnTo>
                  <a:pt x="557" y="22"/>
                </a:lnTo>
                <a:lnTo>
                  <a:pt x="559" y="25"/>
                </a:lnTo>
                <a:lnTo>
                  <a:pt x="559" y="27"/>
                </a:lnTo>
                <a:lnTo>
                  <a:pt x="559" y="32"/>
                </a:lnTo>
                <a:lnTo>
                  <a:pt x="559" y="37"/>
                </a:lnTo>
                <a:lnTo>
                  <a:pt x="559" y="40"/>
                </a:lnTo>
                <a:lnTo>
                  <a:pt x="557" y="42"/>
                </a:lnTo>
                <a:lnTo>
                  <a:pt x="559" y="47"/>
                </a:lnTo>
                <a:lnTo>
                  <a:pt x="562" y="47"/>
                </a:lnTo>
                <a:lnTo>
                  <a:pt x="567" y="45"/>
                </a:lnTo>
                <a:lnTo>
                  <a:pt x="572" y="47"/>
                </a:lnTo>
                <a:lnTo>
                  <a:pt x="574" y="47"/>
                </a:lnTo>
                <a:lnTo>
                  <a:pt x="574" y="42"/>
                </a:lnTo>
                <a:lnTo>
                  <a:pt x="579" y="40"/>
                </a:lnTo>
                <a:lnTo>
                  <a:pt x="579" y="45"/>
                </a:lnTo>
                <a:lnTo>
                  <a:pt x="584" y="45"/>
                </a:lnTo>
                <a:lnTo>
                  <a:pt x="584" y="42"/>
                </a:lnTo>
                <a:lnTo>
                  <a:pt x="582" y="37"/>
                </a:lnTo>
                <a:lnTo>
                  <a:pt x="584" y="35"/>
                </a:lnTo>
                <a:lnTo>
                  <a:pt x="594" y="42"/>
                </a:lnTo>
                <a:lnTo>
                  <a:pt x="594" y="50"/>
                </a:lnTo>
                <a:lnTo>
                  <a:pt x="597" y="57"/>
                </a:lnTo>
                <a:lnTo>
                  <a:pt x="602" y="57"/>
                </a:lnTo>
                <a:lnTo>
                  <a:pt x="604" y="52"/>
                </a:lnTo>
                <a:lnTo>
                  <a:pt x="602" y="52"/>
                </a:lnTo>
                <a:lnTo>
                  <a:pt x="599" y="47"/>
                </a:lnTo>
                <a:lnTo>
                  <a:pt x="607" y="47"/>
                </a:lnTo>
                <a:lnTo>
                  <a:pt x="617" y="52"/>
                </a:lnTo>
                <a:lnTo>
                  <a:pt x="619" y="52"/>
                </a:lnTo>
                <a:lnTo>
                  <a:pt x="624" y="50"/>
                </a:lnTo>
                <a:lnTo>
                  <a:pt x="627" y="50"/>
                </a:lnTo>
                <a:lnTo>
                  <a:pt x="624" y="55"/>
                </a:lnTo>
                <a:lnTo>
                  <a:pt x="622" y="57"/>
                </a:lnTo>
                <a:lnTo>
                  <a:pt x="622" y="65"/>
                </a:lnTo>
                <a:lnTo>
                  <a:pt x="624" y="70"/>
                </a:lnTo>
                <a:lnTo>
                  <a:pt x="629" y="70"/>
                </a:lnTo>
                <a:lnTo>
                  <a:pt x="632" y="65"/>
                </a:lnTo>
                <a:lnTo>
                  <a:pt x="636" y="65"/>
                </a:lnTo>
                <a:lnTo>
                  <a:pt x="646" y="67"/>
                </a:lnTo>
                <a:lnTo>
                  <a:pt x="651" y="70"/>
                </a:lnTo>
                <a:lnTo>
                  <a:pt x="654" y="67"/>
                </a:lnTo>
                <a:lnTo>
                  <a:pt x="651" y="60"/>
                </a:lnTo>
                <a:lnTo>
                  <a:pt x="656" y="57"/>
                </a:lnTo>
                <a:lnTo>
                  <a:pt x="666" y="57"/>
                </a:lnTo>
                <a:lnTo>
                  <a:pt x="671" y="55"/>
                </a:lnTo>
                <a:lnTo>
                  <a:pt x="671" y="50"/>
                </a:lnTo>
                <a:lnTo>
                  <a:pt x="676" y="47"/>
                </a:lnTo>
                <a:lnTo>
                  <a:pt x="676" y="42"/>
                </a:lnTo>
                <a:lnTo>
                  <a:pt x="684" y="37"/>
                </a:lnTo>
                <a:lnTo>
                  <a:pt x="686" y="35"/>
                </a:lnTo>
                <a:lnTo>
                  <a:pt x="691" y="30"/>
                </a:lnTo>
                <a:lnTo>
                  <a:pt x="696" y="30"/>
                </a:lnTo>
                <a:lnTo>
                  <a:pt x="704" y="27"/>
                </a:lnTo>
                <a:lnTo>
                  <a:pt x="706" y="30"/>
                </a:lnTo>
                <a:lnTo>
                  <a:pt x="706" y="35"/>
                </a:lnTo>
                <a:lnTo>
                  <a:pt x="701" y="37"/>
                </a:lnTo>
                <a:lnTo>
                  <a:pt x="699" y="40"/>
                </a:lnTo>
                <a:lnTo>
                  <a:pt x="699" y="42"/>
                </a:lnTo>
                <a:lnTo>
                  <a:pt x="749" y="80"/>
                </a:lnTo>
                <a:lnTo>
                  <a:pt x="814" y="162"/>
                </a:lnTo>
                <a:lnTo>
                  <a:pt x="819" y="159"/>
                </a:lnTo>
                <a:lnTo>
                  <a:pt x="824" y="157"/>
                </a:lnTo>
                <a:lnTo>
                  <a:pt x="826" y="154"/>
                </a:lnTo>
                <a:lnTo>
                  <a:pt x="824" y="152"/>
                </a:lnTo>
                <a:lnTo>
                  <a:pt x="824" y="147"/>
                </a:lnTo>
                <a:lnTo>
                  <a:pt x="829" y="144"/>
                </a:lnTo>
                <a:lnTo>
                  <a:pt x="836" y="149"/>
                </a:lnTo>
                <a:lnTo>
                  <a:pt x="834" y="152"/>
                </a:lnTo>
                <a:lnTo>
                  <a:pt x="836" y="157"/>
                </a:lnTo>
                <a:lnTo>
                  <a:pt x="841" y="157"/>
                </a:lnTo>
                <a:lnTo>
                  <a:pt x="844" y="162"/>
                </a:lnTo>
                <a:lnTo>
                  <a:pt x="848" y="162"/>
                </a:lnTo>
                <a:lnTo>
                  <a:pt x="853" y="159"/>
                </a:lnTo>
                <a:lnTo>
                  <a:pt x="858" y="159"/>
                </a:lnTo>
                <a:lnTo>
                  <a:pt x="863" y="162"/>
                </a:lnTo>
                <a:lnTo>
                  <a:pt x="871" y="159"/>
                </a:lnTo>
                <a:lnTo>
                  <a:pt x="873" y="159"/>
                </a:lnTo>
                <a:lnTo>
                  <a:pt x="878" y="159"/>
                </a:lnTo>
                <a:lnTo>
                  <a:pt x="881" y="157"/>
                </a:lnTo>
                <a:lnTo>
                  <a:pt x="878" y="152"/>
                </a:lnTo>
                <a:lnTo>
                  <a:pt x="881" y="149"/>
                </a:lnTo>
                <a:lnTo>
                  <a:pt x="888" y="149"/>
                </a:lnTo>
                <a:lnTo>
                  <a:pt x="898" y="149"/>
                </a:lnTo>
                <a:lnTo>
                  <a:pt x="906" y="152"/>
                </a:lnTo>
                <a:lnTo>
                  <a:pt x="913" y="157"/>
                </a:lnTo>
                <a:lnTo>
                  <a:pt x="918" y="164"/>
                </a:lnTo>
                <a:lnTo>
                  <a:pt x="921" y="172"/>
                </a:lnTo>
                <a:lnTo>
                  <a:pt x="923" y="172"/>
                </a:lnTo>
                <a:lnTo>
                  <a:pt x="931" y="172"/>
                </a:lnTo>
                <a:lnTo>
                  <a:pt x="936" y="177"/>
                </a:lnTo>
                <a:lnTo>
                  <a:pt x="938" y="177"/>
                </a:lnTo>
                <a:lnTo>
                  <a:pt x="941" y="179"/>
                </a:lnTo>
                <a:lnTo>
                  <a:pt x="941" y="182"/>
                </a:lnTo>
                <a:lnTo>
                  <a:pt x="941" y="184"/>
                </a:lnTo>
                <a:lnTo>
                  <a:pt x="941" y="189"/>
                </a:lnTo>
                <a:lnTo>
                  <a:pt x="943" y="192"/>
                </a:lnTo>
                <a:lnTo>
                  <a:pt x="946" y="194"/>
                </a:lnTo>
                <a:lnTo>
                  <a:pt x="946" y="197"/>
                </a:lnTo>
                <a:lnTo>
                  <a:pt x="948" y="194"/>
                </a:lnTo>
                <a:lnTo>
                  <a:pt x="953" y="197"/>
                </a:lnTo>
                <a:lnTo>
                  <a:pt x="958" y="199"/>
                </a:lnTo>
                <a:lnTo>
                  <a:pt x="958" y="197"/>
                </a:lnTo>
                <a:lnTo>
                  <a:pt x="963" y="194"/>
                </a:lnTo>
                <a:lnTo>
                  <a:pt x="976" y="194"/>
                </a:lnTo>
                <a:lnTo>
                  <a:pt x="983" y="192"/>
                </a:lnTo>
                <a:lnTo>
                  <a:pt x="986" y="187"/>
                </a:lnTo>
                <a:lnTo>
                  <a:pt x="991" y="184"/>
                </a:lnTo>
                <a:lnTo>
                  <a:pt x="993" y="187"/>
                </a:lnTo>
                <a:lnTo>
                  <a:pt x="991" y="192"/>
                </a:lnTo>
                <a:lnTo>
                  <a:pt x="993" y="197"/>
                </a:lnTo>
                <a:lnTo>
                  <a:pt x="996" y="199"/>
                </a:lnTo>
                <a:lnTo>
                  <a:pt x="1001" y="204"/>
                </a:lnTo>
                <a:lnTo>
                  <a:pt x="1011" y="207"/>
                </a:lnTo>
                <a:lnTo>
                  <a:pt x="1011" y="209"/>
                </a:lnTo>
                <a:lnTo>
                  <a:pt x="1006" y="214"/>
                </a:lnTo>
                <a:lnTo>
                  <a:pt x="1003" y="217"/>
                </a:lnTo>
                <a:lnTo>
                  <a:pt x="996" y="224"/>
                </a:lnTo>
                <a:lnTo>
                  <a:pt x="996" y="227"/>
                </a:lnTo>
                <a:lnTo>
                  <a:pt x="996" y="229"/>
                </a:lnTo>
                <a:lnTo>
                  <a:pt x="993" y="237"/>
                </a:lnTo>
                <a:lnTo>
                  <a:pt x="986" y="239"/>
                </a:lnTo>
                <a:lnTo>
                  <a:pt x="981" y="242"/>
                </a:lnTo>
                <a:lnTo>
                  <a:pt x="981" y="249"/>
                </a:lnTo>
                <a:lnTo>
                  <a:pt x="981" y="259"/>
                </a:lnTo>
                <a:lnTo>
                  <a:pt x="986" y="269"/>
                </a:lnTo>
                <a:lnTo>
                  <a:pt x="991" y="277"/>
                </a:lnTo>
                <a:lnTo>
                  <a:pt x="991" y="282"/>
                </a:lnTo>
                <a:lnTo>
                  <a:pt x="983" y="289"/>
                </a:lnTo>
                <a:lnTo>
                  <a:pt x="978" y="289"/>
                </a:lnTo>
                <a:lnTo>
                  <a:pt x="973" y="297"/>
                </a:lnTo>
                <a:lnTo>
                  <a:pt x="968" y="297"/>
                </a:lnTo>
                <a:lnTo>
                  <a:pt x="966" y="297"/>
                </a:lnTo>
                <a:lnTo>
                  <a:pt x="966" y="294"/>
                </a:lnTo>
                <a:lnTo>
                  <a:pt x="961" y="294"/>
                </a:lnTo>
                <a:lnTo>
                  <a:pt x="951" y="294"/>
                </a:lnTo>
                <a:lnTo>
                  <a:pt x="943" y="294"/>
                </a:lnTo>
                <a:lnTo>
                  <a:pt x="933" y="292"/>
                </a:lnTo>
                <a:lnTo>
                  <a:pt x="926" y="289"/>
                </a:lnTo>
                <a:lnTo>
                  <a:pt x="923" y="292"/>
                </a:lnTo>
                <a:lnTo>
                  <a:pt x="921" y="302"/>
                </a:lnTo>
                <a:lnTo>
                  <a:pt x="918" y="309"/>
                </a:lnTo>
                <a:lnTo>
                  <a:pt x="918" y="317"/>
                </a:lnTo>
                <a:lnTo>
                  <a:pt x="916" y="332"/>
                </a:lnTo>
                <a:lnTo>
                  <a:pt x="916" y="344"/>
                </a:lnTo>
                <a:lnTo>
                  <a:pt x="913" y="347"/>
                </a:lnTo>
                <a:lnTo>
                  <a:pt x="918" y="349"/>
                </a:lnTo>
                <a:lnTo>
                  <a:pt x="923" y="352"/>
                </a:lnTo>
                <a:lnTo>
                  <a:pt x="921" y="359"/>
                </a:lnTo>
                <a:lnTo>
                  <a:pt x="921" y="362"/>
                </a:lnTo>
                <a:lnTo>
                  <a:pt x="918" y="362"/>
                </a:lnTo>
                <a:lnTo>
                  <a:pt x="913" y="364"/>
                </a:lnTo>
                <a:lnTo>
                  <a:pt x="911" y="364"/>
                </a:lnTo>
                <a:lnTo>
                  <a:pt x="906" y="362"/>
                </a:lnTo>
                <a:lnTo>
                  <a:pt x="903" y="364"/>
                </a:lnTo>
                <a:lnTo>
                  <a:pt x="898" y="364"/>
                </a:lnTo>
                <a:lnTo>
                  <a:pt x="886" y="367"/>
                </a:lnTo>
                <a:lnTo>
                  <a:pt x="878" y="369"/>
                </a:lnTo>
                <a:lnTo>
                  <a:pt x="873" y="369"/>
                </a:lnTo>
                <a:lnTo>
                  <a:pt x="871" y="369"/>
                </a:lnTo>
                <a:lnTo>
                  <a:pt x="866" y="369"/>
                </a:lnTo>
                <a:lnTo>
                  <a:pt x="861" y="374"/>
                </a:lnTo>
                <a:lnTo>
                  <a:pt x="861" y="379"/>
                </a:lnTo>
                <a:lnTo>
                  <a:pt x="866" y="382"/>
                </a:lnTo>
                <a:lnTo>
                  <a:pt x="873" y="382"/>
                </a:lnTo>
                <a:lnTo>
                  <a:pt x="878" y="382"/>
                </a:lnTo>
                <a:lnTo>
                  <a:pt x="878" y="384"/>
                </a:lnTo>
                <a:lnTo>
                  <a:pt x="876" y="389"/>
                </a:lnTo>
                <a:lnTo>
                  <a:pt x="878" y="397"/>
                </a:lnTo>
                <a:lnTo>
                  <a:pt x="878" y="399"/>
                </a:lnTo>
                <a:lnTo>
                  <a:pt x="881" y="404"/>
                </a:lnTo>
                <a:lnTo>
                  <a:pt x="881" y="409"/>
                </a:lnTo>
                <a:lnTo>
                  <a:pt x="886" y="416"/>
                </a:lnTo>
                <a:lnTo>
                  <a:pt x="888" y="421"/>
                </a:lnTo>
                <a:lnTo>
                  <a:pt x="893" y="426"/>
                </a:lnTo>
                <a:lnTo>
                  <a:pt x="896" y="436"/>
                </a:lnTo>
                <a:lnTo>
                  <a:pt x="891" y="439"/>
                </a:lnTo>
                <a:lnTo>
                  <a:pt x="891" y="444"/>
                </a:lnTo>
                <a:lnTo>
                  <a:pt x="896" y="449"/>
                </a:lnTo>
                <a:lnTo>
                  <a:pt x="893" y="451"/>
                </a:lnTo>
                <a:lnTo>
                  <a:pt x="891" y="454"/>
                </a:lnTo>
                <a:lnTo>
                  <a:pt x="886" y="456"/>
                </a:lnTo>
                <a:lnTo>
                  <a:pt x="886" y="464"/>
                </a:lnTo>
                <a:lnTo>
                  <a:pt x="881" y="466"/>
                </a:lnTo>
                <a:lnTo>
                  <a:pt x="871" y="464"/>
                </a:lnTo>
                <a:lnTo>
                  <a:pt x="858" y="451"/>
                </a:lnTo>
                <a:lnTo>
                  <a:pt x="853" y="451"/>
                </a:lnTo>
                <a:lnTo>
                  <a:pt x="844" y="449"/>
                </a:lnTo>
                <a:lnTo>
                  <a:pt x="826" y="446"/>
                </a:lnTo>
                <a:lnTo>
                  <a:pt x="819" y="449"/>
                </a:lnTo>
                <a:lnTo>
                  <a:pt x="806" y="446"/>
                </a:lnTo>
                <a:lnTo>
                  <a:pt x="791" y="449"/>
                </a:lnTo>
                <a:lnTo>
                  <a:pt x="786" y="451"/>
                </a:lnTo>
                <a:lnTo>
                  <a:pt x="779" y="449"/>
                </a:lnTo>
                <a:lnTo>
                  <a:pt x="774" y="451"/>
                </a:lnTo>
                <a:lnTo>
                  <a:pt x="769" y="454"/>
                </a:lnTo>
                <a:lnTo>
                  <a:pt x="756" y="454"/>
                </a:lnTo>
                <a:lnTo>
                  <a:pt x="744" y="449"/>
                </a:lnTo>
                <a:lnTo>
                  <a:pt x="739" y="446"/>
                </a:lnTo>
                <a:lnTo>
                  <a:pt x="731" y="446"/>
                </a:lnTo>
                <a:lnTo>
                  <a:pt x="729" y="449"/>
                </a:lnTo>
                <a:lnTo>
                  <a:pt x="721" y="449"/>
                </a:lnTo>
                <a:lnTo>
                  <a:pt x="716" y="446"/>
                </a:lnTo>
                <a:lnTo>
                  <a:pt x="714" y="449"/>
                </a:lnTo>
                <a:lnTo>
                  <a:pt x="714" y="454"/>
                </a:lnTo>
                <a:lnTo>
                  <a:pt x="716" y="461"/>
                </a:lnTo>
                <a:lnTo>
                  <a:pt x="716" y="466"/>
                </a:lnTo>
                <a:lnTo>
                  <a:pt x="706" y="469"/>
                </a:lnTo>
                <a:lnTo>
                  <a:pt x="691" y="469"/>
                </a:lnTo>
                <a:lnTo>
                  <a:pt x="671" y="466"/>
                </a:lnTo>
                <a:lnTo>
                  <a:pt x="666" y="464"/>
                </a:lnTo>
                <a:lnTo>
                  <a:pt x="659" y="464"/>
                </a:lnTo>
                <a:lnTo>
                  <a:pt x="654" y="469"/>
                </a:lnTo>
                <a:lnTo>
                  <a:pt x="654" y="471"/>
                </a:lnTo>
                <a:lnTo>
                  <a:pt x="649" y="476"/>
                </a:lnTo>
                <a:lnTo>
                  <a:pt x="649" y="479"/>
                </a:lnTo>
                <a:lnTo>
                  <a:pt x="646" y="476"/>
                </a:lnTo>
                <a:lnTo>
                  <a:pt x="641" y="484"/>
                </a:lnTo>
                <a:lnTo>
                  <a:pt x="636" y="486"/>
                </a:lnTo>
                <a:lnTo>
                  <a:pt x="627" y="499"/>
                </a:lnTo>
                <a:lnTo>
                  <a:pt x="622" y="506"/>
                </a:lnTo>
                <a:lnTo>
                  <a:pt x="619" y="509"/>
                </a:lnTo>
                <a:lnTo>
                  <a:pt x="614" y="519"/>
                </a:lnTo>
                <a:lnTo>
                  <a:pt x="604" y="529"/>
                </a:lnTo>
                <a:lnTo>
                  <a:pt x="602" y="529"/>
                </a:lnTo>
                <a:lnTo>
                  <a:pt x="589" y="521"/>
                </a:lnTo>
                <a:lnTo>
                  <a:pt x="579" y="521"/>
                </a:lnTo>
                <a:lnTo>
                  <a:pt x="572" y="521"/>
                </a:lnTo>
                <a:lnTo>
                  <a:pt x="559" y="529"/>
                </a:lnTo>
                <a:lnTo>
                  <a:pt x="554" y="529"/>
                </a:lnTo>
                <a:lnTo>
                  <a:pt x="544" y="496"/>
                </a:lnTo>
                <a:lnTo>
                  <a:pt x="524" y="494"/>
                </a:lnTo>
                <a:lnTo>
                  <a:pt x="524" y="456"/>
                </a:lnTo>
                <a:lnTo>
                  <a:pt x="514" y="461"/>
                </a:lnTo>
                <a:lnTo>
                  <a:pt x="507" y="444"/>
                </a:lnTo>
                <a:lnTo>
                  <a:pt x="494" y="434"/>
                </a:lnTo>
                <a:lnTo>
                  <a:pt x="449" y="434"/>
                </a:lnTo>
                <a:lnTo>
                  <a:pt x="412" y="439"/>
                </a:lnTo>
                <a:lnTo>
                  <a:pt x="390" y="424"/>
                </a:lnTo>
                <a:lnTo>
                  <a:pt x="372" y="419"/>
                </a:lnTo>
                <a:lnTo>
                  <a:pt x="330" y="389"/>
                </a:lnTo>
                <a:lnTo>
                  <a:pt x="260" y="402"/>
                </a:lnTo>
                <a:lnTo>
                  <a:pt x="282" y="529"/>
                </a:lnTo>
                <a:lnTo>
                  <a:pt x="277" y="529"/>
                </a:lnTo>
                <a:lnTo>
                  <a:pt x="267" y="531"/>
                </a:lnTo>
                <a:lnTo>
                  <a:pt x="250" y="511"/>
                </a:lnTo>
                <a:lnTo>
                  <a:pt x="230" y="501"/>
                </a:lnTo>
                <a:lnTo>
                  <a:pt x="212" y="499"/>
                </a:lnTo>
                <a:lnTo>
                  <a:pt x="200" y="504"/>
                </a:lnTo>
                <a:lnTo>
                  <a:pt x="185" y="516"/>
                </a:lnTo>
                <a:lnTo>
                  <a:pt x="183" y="511"/>
                </a:lnTo>
                <a:lnTo>
                  <a:pt x="183" y="504"/>
                </a:lnTo>
                <a:lnTo>
                  <a:pt x="185" y="496"/>
                </a:lnTo>
                <a:lnTo>
                  <a:pt x="185" y="489"/>
                </a:lnTo>
                <a:lnTo>
                  <a:pt x="185" y="486"/>
                </a:lnTo>
                <a:lnTo>
                  <a:pt x="188" y="484"/>
                </a:lnTo>
                <a:lnTo>
                  <a:pt x="185" y="484"/>
                </a:lnTo>
                <a:lnTo>
                  <a:pt x="180" y="484"/>
                </a:lnTo>
                <a:lnTo>
                  <a:pt x="175" y="481"/>
                </a:lnTo>
                <a:lnTo>
                  <a:pt x="170" y="481"/>
                </a:lnTo>
                <a:lnTo>
                  <a:pt x="165" y="484"/>
                </a:lnTo>
                <a:lnTo>
                  <a:pt x="165" y="481"/>
                </a:lnTo>
                <a:lnTo>
                  <a:pt x="163" y="476"/>
                </a:lnTo>
                <a:lnTo>
                  <a:pt x="160" y="476"/>
                </a:lnTo>
                <a:lnTo>
                  <a:pt x="158" y="471"/>
                </a:lnTo>
                <a:lnTo>
                  <a:pt x="155" y="469"/>
                </a:lnTo>
                <a:lnTo>
                  <a:pt x="153" y="471"/>
                </a:lnTo>
                <a:lnTo>
                  <a:pt x="148" y="471"/>
                </a:lnTo>
                <a:lnTo>
                  <a:pt x="145" y="471"/>
                </a:lnTo>
                <a:lnTo>
                  <a:pt x="145" y="466"/>
                </a:lnTo>
                <a:lnTo>
                  <a:pt x="145" y="459"/>
                </a:lnTo>
                <a:lnTo>
                  <a:pt x="138" y="451"/>
                </a:lnTo>
                <a:lnTo>
                  <a:pt x="138" y="449"/>
                </a:lnTo>
                <a:lnTo>
                  <a:pt x="135" y="446"/>
                </a:lnTo>
                <a:lnTo>
                  <a:pt x="133" y="441"/>
                </a:lnTo>
                <a:lnTo>
                  <a:pt x="130" y="439"/>
                </a:lnTo>
                <a:lnTo>
                  <a:pt x="128" y="436"/>
                </a:lnTo>
                <a:lnTo>
                  <a:pt x="123" y="434"/>
                </a:lnTo>
                <a:lnTo>
                  <a:pt x="120" y="434"/>
                </a:lnTo>
                <a:lnTo>
                  <a:pt x="115" y="429"/>
                </a:lnTo>
                <a:lnTo>
                  <a:pt x="115" y="426"/>
                </a:lnTo>
                <a:lnTo>
                  <a:pt x="118" y="424"/>
                </a:lnTo>
                <a:lnTo>
                  <a:pt x="120" y="426"/>
                </a:lnTo>
                <a:lnTo>
                  <a:pt x="130" y="424"/>
                </a:lnTo>
                <a:lnTo>
                  <a:pt x="130" y="426"/>
                </a:lnTo>
                <a:lnTo>
                  <a:pt x="135" y="426"/>
                </a:lnTo>
                <a:lnTo>
                  <a:pt x="138" y="426"/>
                </a:lnTo>
                <a:lnTo>
                  <a:pt x="140" y="424"/>
                </a:lnTo>
                <a:lnTo>
                  <a:pt x="143" y="424"/>
                </a:lnTo>
                <a:lnTo>
                  <a:pt x="145" y="426"/>
                </a:lnTo>
                <a:lnTo>
                  <a:pt x="148" y="424"/>
                </a:lnTo>
                <a:lnTo>
                  <a:pt x="148" y="421"/>
                </a:lnTo>
                <a:lnTo>
                  <a:pt x="140" y="421"/>
                </a:lnTo>
                <a:lnTo>
                  <a:pt x="140" y="421"/>
                </a:lnTo>
                <a:lnTo>
                  <a:pt x="140" y="416"/>
                </a:lnTo>
                <a:lnTo>
                  <a:pt x="135" y="411"/>
                </a:lnTo>
                <a:lnTo>
                  <a:pt x="135" y="409"/>
                </a:lnTo>
                <a:lnTo>
                  <a:pt x="138" y="406"/>
                </a:lnTo>
                <a:lnTo>
                  <a:pt x="138" y="402"/>
                </a:lnTo>
                <a:lnTo>
                  <a:pt x="135" y="399"/>
                </a:lnTo>
                <a:lnTo>
                  <a:pt x="140" y="397"/>
                </a:lnTo>
                <a:lnTo>
                  <a:pt x="145" y="394"/>
                </a:lnTo>
                <a:lnTo>
                  <a:pt x="150" y="394"/>
                </a:lnTo>
                <a:lnTo>
                  <a:pt x="153" y="394"/>
                </a:lnTo>
                <a:lnTo>
                  <a:pt x="158" y="394"/>
                </a:lnTo>
                <a:lnTo>
                  <a:pt x="163" y="394"/>
                </a:lnTo>
                <a:lnTo>
                  <a:pt x="165" y="394"/>
                </a:lnTo>
                <a:lnTo>
                  <a:pt x="168" y="394"/>
                </a:lnTo>
                <a:lnTo>
                  <a:pt x="170" y="394"/>
                </a:lnTo>
                <a:lnTo>
                  <a:pt x="175" y="399"/>
                </a:lnTo>
                <a:lnTo>
                  <a:pt x="180" y="399"/>
                </a:lnTo>
                <a:lnTo>
                  <a:pt x="185" y="397"/>
                </a:lnTo>
                <a:lnTo>
                  <a:pt x="185" y="394"/>
                </a:lnTo>
                <a:lnTo>
                  <a:pt x="183" y="392"/>
                </a:lnTo>
                <a:lnTo>
                  <a:pt x="178" y="392"/>
                </a:lnTo>
                <a:lnTo>
                  <a:pt x="175" y="384"/>
                </a:lnTo>
                <a:lnTo>
                  <a:pt x="175" y="377"/>
                </a:lnTo>
                <a:lnTo>
                  <a:pt x="178" y="377"/>
                </a:lnTo>
                <a:lnTo>
                  <a:pt x="180" y="374"/>
                </a:lnTo>
                <a:lnTo>
                  <a:pt x="178" y="372"/>
                </a:lnTo>
                <a:lnTo>
                  <a:pt x="178" y="369"/>
                </a:lnTo>
                <a:lnTo>
                  <a:pt x="175" y="367"/>
                </a:lnTo>
                <a:lnTo>
                  <a:pt x="180" y="362"/>
                </a:lnTo>
                <a:lnTo>
                  <a:pt x="180" y="359"/>
                </a:lnTo>
                <a:lnTo>
                  <a:pt x="175" y="354"/>
                </a:lnTo>
                <a:lnTo>
                  <a:pt x="175" y="352"/>
                </a:lnTo>
                <a:lnTo>
                  <a:pt x="175" y="347"/>
                </a:lnTo>
                <a:lnTo>
                  <a:pt x="175" y="347"/>
                </a:lnTo>
                <a:lnTo>
                  <a:pt x="173" y="344"/>
                </a:lnTo>
                <a:lnTo>
                  <a:pt x="170" y="342"/>
                </a:lnTo>
                <a:lnTo>
                  <a:pt x="170" y="339"/>
                </a:lnTo>
                <a:lnTo>
                  <a:pt x="160" y="339"/>
                </a:lnTo>
                <a:lnTo>
                  <a:pt x="158" y="339"/>
                </a:lnTo>
                <a:lnTo>
                  <a:pt x="153" y="339"/>
                </a:lnTo>
                <a:lnTo>
                  <a:pt x="153" y="342"/>
                </a:lnTo>
                <a:lnTo>
                  <a:pt x="150" y="342"/>
                </a:lnTo>
                <a:lnTo>
                  <a:pt x="150" y="344"/>
                </a:lnTo>
                <a:lnTo>
                  <a:pt x="148" y="347"/>
                </a:lnTo>
                <a:lnTo>
                  <a:pt x="143" y="344"/>
                </a:lnTo>
                <a:lnTo>
                  <a:pt x="143" y="342"/>
                </a:lnTo>
                <a:lnTo>
                  <a:pt x="140" y="344"/>
                </a:lnTo>
                <a:lnTo>
                  <a:pt x="138" y="344"/>
                </a:lnTo>
                <a:lnTo>
                  <a:pt x="135" y="342"/>
                </a:lnTo>
                <a:lnTo>
                  <a:pt x="135" y="337"/>
                </a:lnTo>
                <a:lnTo>
                  <a:pt x="135" y="337"/>
                </a:lnTo>
                <a:lnTo>
                  <a:pt x="133" y="339"/>
                </a:lnTo>
                <a:lnTo>
                  <a:pt x="130" y="339"/>
                </a:lnTo>
                <a:lnTo>
                  <a:pt x="128" y="337"/>
                </a:lnTo>
                <a:lnTo>
                  <a:pt x="120" y="337"/>
                </a:lnTo>
                <a:lnTo>
                  <a:pt x="118" y="339"/>
                </a:lnTo>
                <a:lnTo>
                  <a:pt x="115" y="344"/>
                </a:lnTo>
                <a:lnTo>
                  <a:pt x="113" y="344"/>
                </a:lnTo>
                <a:lnTo>
                  <a:pt x="113" y="344"/>
                </a:lnTo>
                <a:lnTo>
                  <a:pt x="110" y="344"/>
                </a:lnTo>
                <a:lnTo>
                  <a:pt x="105" y="347"/>
                </a:lnTo>
                <a:lnTo>
                  <a:pt x="103" y="347"/>
                </a:lnTo>
                <a:lnTo>
                  <a:pt x="100" y="352"/>
                </a:lnTo>
                <a:lnTo>
                  <a:pt x="98" y="354"/>
                </a:lnTo>
                <a:lnTo>
                  <a:pt x="95" y="354"/>
                </a:lnTo>
                <a:lnTo>
                  <a:pt x="93" y="357"/>
                </a:lnTo>
                <a:lnTo>
                  <a:pt x="90" y="359"/>
                </a:lnTo>
                <a:lnTo>
                  <a:pt x="90" y="357"/>
                </a:lnTo>
                <a:lnTo>
                  <a:pt x="88" y="357"/>
                </a:lnTo>
                <a:lnTo>
                  <a:pt x="85" y="359"/>
                </a:lnTo>
                <a:lnTo>
                  <a:pt x="83" y="359"/>
                </a:lnTo>
                <a:lnTo>
                  <a:pt x="80" y="357"/>
                </a:lnTo>
                <a:lnTo>
                  <a:pt x="78" y="35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36" name="Freeform 177"/>
          <p:cNvSpPr>
            <a:spLocks/>
          </p:cNvSpPr>
          <p:nvPr/>
        </p:nvSpPr>
        <p:spPr bwMode="auto">
          <a:xfrm>
            <a:off x="7104063" y="3830638"/>
            <a:ext cx="606425" cy="384175"/>
          </a:xfrm>
          <a:custGeom>
            <a:avLst/>
            <a:gdLst>
              <a:gd name="T0" fmla="*/ 382 w 382"/>
              <a:gd name="T1" fmla="*/ 150 h 242"/>
              <a:gd name="T2" fmla="*/ 364 w 382"/>
              <a:gd name="T3" fmla="*/ 140 h 242"/>
              <a:gd name="T4" fmla="*/ 312 w 382"/>
              <a:gd name="T5" fmla="*/ 118 h 242"/>
              <a:gd name="T6" fmla="*/ 267 w 382"/>
              <a:gd name="T7" fmla="*/ 88 h 242"/>
              <a:gd name="T8" fmla="*/ 254 w 382"/>
              <a:gd name="T9" fmla="*/ 68 h 242"/>
              <a:gd name="T10" fmla="*/ 232 w 382"/>
              <a:gd name="T11" fmla="*/ 43 h 242"/>
              <a:gd name="T12" fmla="*/ 192 w 382"/>
              <a:gd name="T13" fmla="*/ 25 h 242"/>
              <a:gd name="T14" fmla="*/ 157 w 382"/>
              <a:gd name="T15" fmla="*/ 3 h 242"/>
              <a:gd name="T16" fmla="*/ 147 w 382"/>
              <a:gd name="T17" fmla="*/ 10 h 242"/>
              <a:gd name="T18" fmla="*/ 130 w 382"/>
              <a:gd name="T19" fmla="*/ 15 h 242"/>
              <a:gd name="T20" fmla="*/ 117 w 382"/>
              <a:gd name="T21" fmla="*/ 38 h 242"/>
              <a:gd name="T22" fmla="*/ 110 w 382"/>
              <a:gd name="T23" fmla="*/ 48 h 242"/>
              <a:gd name="T24" fmla="*/ 65 w 382"/>
              <a:gd name="T25" fmla="*/ 30 h 242"/>
              <a:gd name="T26" fmla="*/ 15 w 382"/>
              <a:gd name="T27" fmla="*/ 23 h 242"/>
              <a:gd name="T28" fmla="*/ 3 w 382"/>
              <a:gd name="T29" fmla="*/ 43 h 242"/>
              <a:gd name="T30" fmla="*/ 10 w 382"/>
              <a:gd name="T31" fmla="*/ 55 h 242"/>
              <a:gd name="T32" fmla="*/ 13 w 382"/>
              <a:gd name="T33" fmla="*/ 78 h 242"/>
              <a:gd name="T34" fmla="*/ 18 w 382"/>
              <a:gd name="T35" fmla="*/ 98 h 242"/>
              <a:gd name="T36" fmla="*/ 25 w 382"/>
              <a:gd name="T37" fmla="*/ 100 h 242"/>
              <a:gd name="T38" fmla="*/ 37 w 382"/>
              <a:gd name="T39" fmla="*/ 98 h 242"/>
              <a:gd name="T40" fmla="*/ 40 w 382"/>
              <a:gd name="T41" fmla="*/ 110 h 242"/>
              <a:gd name="T42" fmla="*/ 45 w 382"/>
              <a:gd name="T43" fmla="*/ 115 h 242"/>
              <a:gd name="T44" fmla="*/ 35 w 382"/>
              <a:gd name="T45" fmla="*/ 113 h 242"/>
              <a:gd name="T46" fmla="*/ 32 w 382"/>
              <a:gd name="T47" fmla="*/ 125 h 242"/>
              <a:gd name="T48" fmla="*/ 37 w 382"/>
              <a:gd name="T49" fmla="*/ 120 h 242"/>
              <a:gd name="T50" fmla="*/ 52 w 382"/>
              <a:gd name="T51" fmla="*/ 130 h 242"/>
              <a:gd name="T52" fmla="*/ 55 w 382"/>
              <a:gd name="T53" fmla="*/ 148 h 242"/>
              <a:gd name="T54" fmla="*/ 60 w 382"/>
              <a:gd name="T55" fmla="*/ 183 h 242"/>
              <a:gd name="T56" fmla="*/ 82 w 382"/>
              <a:gd name="T57" fmla="*/ 173 h 242"/>
              <a:gd name="T58" fmla="*/ 100 w 382"/>
              <a:gd name="T59" fmla="*/ 158 h 242"/>
              <a:gd name="T60" fmla="*/ 125 w 382"/>
              <a:gd name="T61" fmla="*/ 153 h 242"/>
              <a:gd name="T62" fmla="*/ 140 w 382"/>
              <a:gd name="T63" fmla="*/ 153 h 242"/>
              <a:gd name="T64" fmla="*/ 175 w 382"/>
              <a:gd name="T65" fmla="*/ 173 h 242"/>
              <a:gd name="T66" fmla="*/ 192 w 382"/>
              <a:gd name="T67" fmla="*/ 173 h 242"/>
              <a:gd name="T68" fmla="*/ 202 w 382"/>
              <a:gd name="T69" fmla="*/ 185 h 242"/>
              <a:gd name="T70" fmla="*/ 230 w 382"/>
              <a:gd name="T71" fmla="*/ 200 h 242"/>
              <a:gd name="T72" fmla="*/ 252 w 382"/>
              <a:gd name="T73" fmla="*/ 212 h 242"/>
              <a:gd name="T74" fmla="*/ 252 w 382"/>
              <a:gd name="T75" fmla="*/ 227 h 242"/>
              <a:gd name="T76" fmla="*/ 262 w 382"/>
              <a:gd name="T77" fmla="*/ 230 h 242"/>
              <a:gd name="T78" fmla="*/ 274 w 382"/>
              <a:gd name="T79" fmla="*/ 230 h 242"/>
              <a:gd name="T80" fmla="*/ 287 w 382"/>
              <a:gd name="T81" fmla="*/ 240 h 242"/>
              <a:gd name="T82" fmla="*/ 299 w 382"/>
              <a:gd name="T83" fmla="*/ 237 h 242"/>
              <a:gd name="T84" fmla="*/ 307 w 382"/>
              <a:gd name="T85" fmla="*/ 227 h 242"/>
              <a:gd name="T86" fmla="*/ 324 w 382"/>
              <a:gd name="T87" fmla="*/ 217 h 242"/>
              <a:gd name="T88" fmla="*/ 334 w 382"/>
              <a:gd name="T89" fmla="*/ 210 h 242"/>
              <a:gd name="T90" fmla="*/ 342 w 382"/>
              <a:gd name="T91" fmla="*/ 190 h 242"/>
              <a:gd name="T92" fmla="*/ 339 w 382"/>
              <a:gd name="T93" fmla="*/ 178 h 242"/>
              <a:gd name="T94" fmla="*/ 352 w 382"/>
              <a:gd name="T95" fmla="*/ 173 h 242"/>
              <a:gd name="T96" fmla="*/ 369 w 382"/>
              <a:gd name="T97" fmla="*/ 165 h 242"/>
              <a:gd name="T98" fmla="*/ 382 w 382"/>
              <a:gd name="T99" fmla="*/ 17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2" h="242">
                <a:moveTo>
                  <a:pt x="382" y="170"/>
                </a:moveTo>
                <a:lnTo>
                  <a:pt x="382" y="158"/>
                </a:lnTo>
                <a:lnTo>
                  <a:pt x="382" y="150"/>
                </a:lnTo>
                <a:lnTo>
                  <a:pt x="372" y="143"/>
                </a:lnTo>
                <a:lnTo>
                  <a:pt x="367" y="145"/>
                </a:lnTo>
                <a:lnTo>
                  <a:pt x="364" y="140"/>
                </a:lnTo>
                <a:lnTo>
                  <a:pt x="349" y="138"/>
                </a:lnTo>
                <a:lnTo>
                  <a:pt x="332" y="125"/>
                </a:lnTo>
                <a:lnTo>
                  <a:pt x="312" y="118"/>
                </a:lnTo>
                <a:lnTo>
                  <a:pt x="294" y="105"/>
                </a:lnTo>
                <a:lnTo>
                  <a:pt x="277" y="93"/>
                </a:lnTo>
                <a:lnTo>
                  <a:pt x="267" y="88"/>
                </a:lnTo>
                <a:lnTo>
                  <a:pt x="262" y="78"/>
                </a:lnTo>
                <a:lnTo>
                  <a:pt x="259" y="70"/>
                </a:lnTo>
                <a:lnTo>
                  <a:pt x="254" y="68"/>
                </a:lnTo>
                <a:lnTo>
                  <a:pt x="249" y="50"/>
                </a:lnTo>
                <a:lnTo>
                  <a:pt x="237" y="43"/>
                </a:lnTo>
                <a:lnTo>
                  <a:pt x="232" y="43"/>
                </a:lnTo>
                <a:lnTo>
                  <a:pt x="230" y="45"/>
                </a:lnTo>
                <a:lnTo>
                  <a:pt x="212" y="38"/>
                </a:lnTo>
                <a:lnTo>
                  <a:pt x="192" y="25"/>
                </a:lnTo>
                <a:lnTo>
                  <a:pt x="190" y="20"/>
                </a:lnTo>
                <a:lnTo>
                  <a:pt x="175" y="10"/>
                </a:lnTo>
                <a:lnTo>
                  <a:pt x="157" y="3"/>
                </a:lnTo>
                <a:lnTo>
                  <a:pt x="145" y="0"/>
                </a:lnTo>
                <a:lnTo>
                  <a:pt x="150" y="8"/>
                </a:lnTo>
                <a:lnTo>
                  <a:pt x="147" y="10"/>
                </a:lnTo>
                <a:lnTo>
                  <a:pt x="140" y="5"/>
                </a:lnTo>
                <a:lnTo>
                  <a:pt x="135" y="10"/>
                </a:lnTo>
                <a:lnTo>
                  <a:pt x="130" y="15"/>
                </a:lnTo>
                <a:lnTo>
                  <a:pt x="122" y="18"/>
                </a:lnTo>
                <a:lnTo>
                  <a:pt x="117" y="28"/>
                </a:lnTo>
                <a:lnTo>
                  <a:pt x="117" y="38"/>
                </a:lnTo>
                <a:lnTo>
                  <a:pt x="122" y="43"/>
                </a:lnTo>
                <a:lnTo>
                  <a:pt x="120" y="48"/>
                </a:lnTo>
                <a:lnTo>
                  <a:pt x="110" y="48"/>
                </a:lnTo>
                <a:lnTo>
                  <a:pt x="92" y="48"/>
                </a:lnTo>
                <a:lnTo>
                  <a:pt x="82" y="50"/>
                </a:lnTo>
                <a:lnTo>
                  <a:pt x="65" y="30"/>
                </a:lnTo>
                <a:lnTo>
                  <a:pt x="45" y="20"/>
                </a:lnTo>
                <a:lnTo>
                  <a:pt x="27" y="18"/>
                </a:lnTo>
                <a:lnTo>
                  <a:pt x="15" y="23"/>
                </a:lnTo>
                <a:lnTo>
                  <a:pt x="0" y="35"/>
                </a:lnTo>
                <a:lnTo>
                  <a:pt x="0" y="38"/>
                </a:lnTo>
                <a:lnTo>
                  <a:pt x="3" y="43"/>
                </a:lnTo>
                <a:lnTo>
                  <a:pt x="5" y="48"/>
                </a:lnTo>
                <a:lnTo>
                  <a:pt x="10" y="50"/>
                </a:lnTo>
                <a:lnTo>
                  <a:pt x="10" y="55"/>
                </a:lnTo>
                <a:lnTo>
                  <a:pt x="18" y="63"/>
                </a:lnTo>
                <a:lnTo>
                  <a:pt x="15" y="70"/>
                </a:lnTo>
                <a:lnTo>
                  <a:pt x="13" y="78"/>
                </a:lnTo>
                <a:lnTo>
                  <a:pt x="13" y="90"/>
                </a:lnTo>
                <a:lnTo>
                  <a:pt x="18" y="95"/>
                </a:lnTo>
                <a:lnTo>
                  <a:pt x="18" y="98"/>
                </a:lnTo>
                <a:lnTo>
                  <a:pt x="27" y="108"/>
                </a:lnTo>
                <a:lnTo>
                  <a:pt x="27" y="103"/>
                </a:lnTo>
                <a:lnTo>
                  <a:pt x="25" y="100"/>
                </a:lnTo>
                <a:lnTo>
                  <a:pt x="25" y="98"/>
                </a:lnTo>
                <a:lnTo>
                  <a:pt x="32" y="100"/>
                </a:lnTo>
                <a:lnTo>
                  <a:pt x="37" y="98"/>
                </a:lnTo>
                <a:lnTo>
                  <a:pt x="40" y="100"/>
                </a:lnTo>
                <a:lnTo>
                  <a:pt x="37" y="105"/>
                </a:lnTo>
                <a:lnTo>
                  <a:pt x="40" y="110"/>
                </a:lnTo>
                <a:lnTo>
                  <a:pt x="42" y="110"/>
                </a:lnTo>
                <a:lnTo>
                  <a:pt x="45" y="113"/>
                </a:lnTo>
                <a:lnTo>
                  <a:pt x="45" y="115"/>
                </a:lnTo>
                <a:lnTo>
                  <a:pt x="40" y="115"/>
                </a:lnTo>
                <a:lnTo>
                  <a:pt x="37" y="115"/>
                </a:lnTo>
                <a:lnTo>
                  <a:pt x="35" y="113"/>
                </a:lnTo>
                <a:lnTo>
                  <a:pt x="30" y="118"/>
                </a:lnTo>
                <a:lnTo>
                  <a:pt x="30" y="123"/>
                </a:lnTo>
                <a:lnTo>
                  <a:pt x="32" y="125"/>
                </a:lnTo>
                <a:lnTo>
                  <a:pt x="32" y="120"/>
                </a:lnTo>
                <a:lnTo>
                  <a:pt x="35" y="120"/>
                </a:lnTo>
                <a:lnTo>
                  <a:pt x="37" y="120"/>
                </a:lnTo>
                <a:lnTo>
                  <a:pt x="42" y="123"/>
                </a:lnTo>
                <a:lnTo>
                  <a:pt x="45" y="128"/>
                </a:lnTo>
                <a:lnTo>
                  <a:pt x="52" y="130"/>
                </a:lnTo>
                <a:lnTo>
                  <a:pt x="52" y="135"/>
                </a:lnTo>
                <a:lnTo>
                  <a:pt x="52" y="143"/>
                </a:lnTo>
                <a:lnTo>
                  <a:pt x="55" y="148"/>
                </a:lnTo>
                <a:lnTo>
                  <a:pt x="52" y="160"/>
                </a:lnTo>
                <a:lnTo>
                  <a:pt x="55" y="170"/>
                </a:lnTo>
                <a:lnTo>
                  <a:pt x="60" y="183"/>
                </a:lnTo>
                <a:lnTo>
                  <a:pt x="67" y="180"/>
                </a:lnTo>
                <a:lnTo>
                  <a:pt x="80" y="180"/>
                </a:lnTo>
                <a:lnTo>
                  <a:pt x="82" y="173"/>
                </a:lnTo>
                <a:lnTo>
                  <a:pt x="85" y="168"/>
                </a:lnTo>
                <a:lnTo>
                  <a:pt x="90" y="168"/>
                </a:lnTo>
                <a:lnTo>
                  <a:pt x="100" y="158"/>
                </a:lnTo>
                <a:lnTo>
                  <a:pt x="112" y="155"/>
                </a:lnTo>
                <a:lnTo>
                  <a:pt x="122" y="158"/>
                </a:lnTo>
                <a:lnTo>
                  <a:pt x="125" y="153"/>
                </a:lnTo>
                <a:lnTo>
                  <a:pt x="130" y="150"/>
                </a:lnTo>
                <a:lnTo>
                  <a:pt x="135" y="153"/>
                </a:lnTo>
                <a:lnTo>
                  <a:pt x="140" y="153"/>
                </a:lnTo>
                <a:lnTo>
                  <a:pt x="150" y="160"/>
                </a:lnTo>
                <a:lnTo>
                  <a:pt x="157" y="163"/>
                </a:lnTo>
                <a:lnTo>
                  <a:pt x="175" y="173"/>
                </a:lnTo>
                <a:lnTo>
                  <a:pt x="177" y="173"/>
                </a:lnTo>
                <a:lnTo>
                  <a:pt x="182" y="170"/>
                </a:lnTo>
                <a:lnTo>
                  <a:pt x="192" y="173"/>
                </a:lnTo>
                <a:lnTo>
                  <a:pt x="197" y="175"/>
                </a:lnTo>
                <a:lnTo>
                  <a:pt x="200" y="183"/>
                </a:lnTo>
                <a:lnTo>
                  <a:pt x="202" y="185"/>
                </a:lnTo>
                <a:lnTo>
                  <a:pt x="207" y="183"/>
                </a:lnTo>
                <a:lnTo>
                  <a:pt x="217" y="185"/>
                </a:lnTo>
                <a:lnTo>
                  <a:pt x="230" y="200"/>
                </a:lnTo>
                <a:lnTo>
                  <a:pt x="239" y="203"/>
                </a:lnTo>
                <a:lnTo>
                  <a:pt x="247" y="205"/>
                </a:lnTo>
                <a:lnTo>
                  <a:pt x="252" y="212"/>
                </a:lnTo>
                <a:lnTo>
                  <a:pt x="249" y="215"/>
                </a:lnTo>
                <a:lnTo>
                  <a:pt x="252" y="222"/>
                </a:lnTo>
                <a:lnTo>
                  <a:pt x="252" y="227"/>
                </a:lnTo>
                <a:lnTo>
                  <a:pt x="254" y="230"/>
                </a:lnTo>
                <a:lnTo>
                  <a:pt x="257" y="230"/>
                </a:lnTo>
                <a:lnTo>
                  <a:pt x="262" y="230"/>
                </a:lnTo>
                <a:lnTo>
                  <a:pt x="267" y="235"/>
                </a:lnTo>
                <a:lnTo>
                  <a:pt x="269" y="235"/>
                </a:lnTo>
                <a:lnTo>
                  <a:pt x="274" y="230"/>
                </a:lnTo>
                <a:lnTo>
                  <a:pt x="279" y="230"/>
                </a:lnTo>
                <a:lnTo>
                  <a:pt x="284" y="235"/>
                </a:lnTo>
                <a:lnTo>
                  <a:pt x="287" y="240"/>
                </a:lnTo>
                <a:lnTo>
                  <a:pt x="289" y="242"/>
                </a:lnTo>
                <a:lnTo>
                  <a:pt x="292" y="237"/>
                </a:lnTo>
                <a:lnTo>
                  <a:pt x="299" y="237"/>
                </a:lnTo>
                <a:lnTo>
                  <a:pt x="302" y="232"/>
                </a:lnTo>
                <a:lnTo>
                  <a:pt x="304" y="230"/>
                </a:lnTo>
                <a:lnTo>
                  <a:pt x="307" y="227"/>
                </a:lnTo>
                <a:lnTo>
                  <a:pt x="304" y="222"/>
                </a:lnTo>
                <a:lnTo>
                  <a:pt x="314" y="217"/>
                </a:lnTo>
                <a:lnTo>
                  <a:pt x="324" y="217"/>
                </a:lnTo>
                <a:lnTo>
                  <a:pt x="324" y="212"/>
                </a:lnTo>
                <a:lnTo>
                  <a:pt x="329" y="210"/>
                </a:lnTo>
                <a:lnTo>
                  <a:pt x="334" y="210"/>
                </a:lnTo>
                <a:lnTo>
                  <a:pt x="334" y="203"/>
                </a:lnTo>
                <a:lnTo>
                  <a:pt x="334" y="195"/>
                </a:lnTo>
                <a:lnTo>
                  <a:pt x="342" y="190"/>
                </a:lnTo>
                <a:lnTo>
                  <a:pt x="342" y="183"/>
                </a:lnTo>
                <a:lnTo>
                  <a:pt x="339" y="183"/>
                </a:lnTo>
                <a:lnTo>
                  <a:pt x="339" y="178"/>
                </a:lnTo>
                <a:lnTo>
                  <a:pt x="342" y="178"/>
                </a:lnTo>
                <a:lnTo>
                  <a:pt x="344" y="175"/>
                </a:lnTo>
                <a:lnTo>
                  <a:pt x="352" y="173"/>
                </a:lnTo>
                <a:lnTo>
                  <a:pt x="354" y="173"/>
                </a:lnTo>
                <a:lnTo>
                  <a:pt x="362" y="168"/>
                </a:lnTo>
                <a:lnTo>
                  <a:pt x="369" y="165"/>
                </a:lnTo>
                <a:lnTo>
                  <a:pt x="374" y="168"/>
                </a:lnTo>
                <a:lnTo>
                  <a:pt x="379" y="168"/>
                </a:lnTo>
                <a:lnTo>
                  <a:pt x="382" y="170"/>
                </a:lnTo>
                <a:lnTo>
                  <a:pt x="382" y="17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37" name="Freeform 178"/>
          <p:cNvSpPr>
            <a:spLocks noEditPoints="1"/>
          </p:cNvSpPr>
          <p:nvPr/>
        </p:nvSpPr>
        <p:spPr bwMode="auto">
          <a:xfrm>
            <a:off x="10988675" y="5864225"/>
            <a:ext cx="641350" cy="466725"/>
          </a:xfrm>
          <a:custGeom>
            <a:avLst/>
            <a:gdLst>
              <a:gd name="T0" fmla="*/ 130 w 162"/>
              <a:gd name="T1" fmla="*/ 115 h 118"/>
              <a:gd name="T2" fmla="*/ 130 w 162"/>
              <a:gd name="T3" fmla="*/ 115 h 118"/>
              <a:gd name="T4" fmla="*/ 69 w 162"/>
              <a:gd name="T5" fmla="*/ 12 h 118"/>
              <a:gd name="T6" fmla="*/ 154 w 162"/>
              <a:gd name="T7" fmla="*/ 52 h 118"/>
              <a:gd name="T8" fmla="*/ 156 w 162"/>
              <a:gd name="T9" fmla="*/ 62 h 118"/>
              <a:gd name="T10" fmla="*/ 150 w 162"/>
              <a:gd name="T11" fmla="*/ 47 h 118"/>
              <a:gd name="T12" fmla="*/ 144 w 162"/>
              <a:gd name="T13" fmla="*/ 38 h 118"/>
              <a:gd name="T14" fmla="*/ 113 w 162"/>
              <a:gd name="T15" fmla="*/ 19 h 118"/>
              <a:gd name="T16" fmla="*/ 131 w 162"/>
              <a:gd name="T17" fmla="*/ 34 h 118"/>
              <a:gd name="T18" fmla="*/ 127 w 162"/>
              <a:gd name="T19" fmla="*/ 29 h 118"/>
              <a:gd name="T20" fmla="*/ 95 w 162"/>
              <a:gd name="T21" fmla="*/ 0 h 118"/>
              <a:gd name="T22" fmla="*/ 104 w 162"/>
              <a:gd name="T23" fmla="*/ 18 h 118"/>
              <a:gd name="T24" fmla="*/ 99 w 162"/>
              <a:gd name="T25" fmla="*/ 40 h 118"/>
              <a:gd name="T26" fmla="*/ 89 w 162"/>
              <a:gd name="T27" fmla="*/ 55 h 118"/>
              <a:gd name="T28" fmla="*/ 109 w 162"/>
              <a:gd name="T29" fmla="*/ 57 h 118"/>
              <a:gd name="T30" fmla="*/ 121 w 162"/>
              <a:gd name="T31" fmla="*/ 48 h 118"/>
              <a:gd name="T32" fmla="*/ 123 w 162"/>
              <a:gd name="T33" fmla="*/ 33 h 118"/>
              <a:gd name="T34" fmla="*/ 117 w 162"/>
              <a:gd name="T35" fmla="*/ 42 h 118"/>
              <a:gd name="T36" fmla="*/ 103 w 162"/>
              <a:gd name="T37" fmla="*/ 47 h 118"/>
              <a:gd name="T38" fmla="*/ 96 w 162"/>
              <a:gd name="T39" fmla="*/ 47 h 118"/>
              <a:gd name="T40" fmla="*/ 74 w 162"/>
              <a:gd name="T41" fmla="*/ 49 h 118"/>
              <a:gd name="T42" fmla="*/ 67 w 162"/>
              <a:gd name="T43" fmla="*/ 46 h 118"/>
              <a:gd name="T44" fmla="*/ 57 w 162"/>
              <a:gd name="T45" fmla="*/ 39 h 118"/>
              <a:gd name="T46" fmla="*/ 125 w 162"/>
              <a:gd name="T47" fmla="*/ 87 h 118"/>
              <a:gd name="T48" fmla="*/ 111 w 162"/>
              <a:gd name="T49" fmla="*/ 83 h 118"/>
              <a:gd name="T50" fmla="*/ 108 w 162"/>
              <a:gd name="T51" fmla="*/ 98 h 118"/>
              <a:gd name="T52" fmla="*/ 107 w 162"/>
              <a:gd name="T53" fmla="*/ 99 h 118"/>
              <a:gd name="T54" fmla="*/ 106 w 162"/>
              <a:gd name="T55" fmla="*/ 95 h 118"/>
              <a:gd name="T56" fmla="*/ 103 w 162"/>
              <a:gd name="T57" fmla="*/ 92 h 118"/>
              <a:gd name="T58" fmla="*/ 100 w 162"/>
              <a:gd name="T59" fmla="*/ 90 h 118"/>
              <a:gd name="T60" fmla="*/ 40 w 162"/>
              <a:gd name="T61" fmla="*/ 72 h 118"/>
              <a:gd name="T62" fmla="*/ 40 w 162"/>
              <a:gd name="T63" fmla="*/ 73 h 118"/>
              <a:gd name="T64" fmla="*/ 34 w 162"/>
              <a:gd name="T65" fmla="*/ 75 h 118"/>
              <a:gd name="T66" fmla="*/ 28 w 162"/>
              <a:gd name="T67" fmla="*/ 83 h 118"/>
              <a:gd name="T68" fmla="*/ 25 w 162"/>
              <a:gd name="T69" fmla="*/ 83 h 118"/>
              <a:gd name="T70" fmla="*/ 28 w 162"/>
              <a:gd name="T71" fmla="*/ 77 h 118"/>
              <a:gd name="T72" fmla="*/ 3 w 162"/>
              <a:gd name="T73" fmla="*/ 17 h 118"/>
              <a:gd name="T74" fmla="*/ 7 w 162"/>
              <a:gd name="T75" fmla="*/ 89 h 118"/>
              <a:gd name="T76" fmla="*/ 24 w 162"/>
              <a:gd name="T77" fmla="*/ 88 h 118"/>
              <a:gd name="T78" fmla="*/ 15 w 162"/>
              <a:gd name="T79" fmla="*/ 79 h 118"/>
              <a:gd name="T80" fmla="*/ 8 w 162"/>
              <a:gd name="T81" fmla="*/ 71 h 118"/>
              <a:gd name="T82" fmla="*/ 18 w 162"/>
              <a:gd name="T83" fmla="*/ 81 h 118"/>
              <a:gd name="T84" fmla="*/ 26 w 162"/>
              <a:gd name="T85" fmla="*/ 76 h 118"/>
              <a:gd name="T86" fmla="*/ 30 w 162"/>
              <a:gd name="T87" fmla="*/ 75 h 118"/>
              <a:gd name="T88" fmla="*/ 34 w 162"/>
              <a:gd name="T89" fmla="*/ 73 h 118"/>
              <a:gd name="T90" fmla="*/ 36 w 162"/>
              <a:gd name="T91" fmla="*/ 70 h 118"/>
              <a:gd name="T92" fmla="*/ 45 w 162"/>
              <a:gd name="T93" fmla="*/ 71 h 118"/>
              <a:gd name="T94" fmla="*/ 58 w 162"/>
              <a:gd name="T95" fmla="*/ 83 h 118"/>
              <a:gd name="T96" fmla="*/ 72 w 162"/>
              <a:gd name="T97" fmla="*/ 99 h 118"/>
              <a:gd name="T98" fmla="*/ 89 w 162"/>
              <a:gd name="T99" fmla="*/ 101 h 118"/>
              <a:gd name="T100" fmla="*/ 100 w 162"/>
              <a:gd name="T101" fmla="*/ 107 h 118"/>
              <a:gd name="T102" fmla="*/ 105 w 162"/>
              <a:gd name="T103" fmla="*/ 101 h 118"/>
              <a:gd name="T104" fmla="*/ 96 w 162"/>
              <a:gd name="T105" fmla="*/ 94 h 118"/>
              <a:gd name="T106" fmla="*/ 87 w 162"/>
              <a:gd name="T107" fmla="*/ 87 h 118"/>
              <a:gd name="T108" fmla="*/ 77 w 162"/>
              <a:gd name="T109" fmla="*/ 77 h 118"/>
              <a:gd name="T110" fmla="*/ 65 w 162"/>
              <a:gd name="T111" fmla="*/ 63 h 118"/>
              <a:gd name="T112" fmla="*/ 68 w 162"/>
              <a:gd name="T113" fmla="*/ 54 h 118"/>
              <a:gd name="T114" fmla="*/ 54 w 162"/>
              <a:gd name="T115" fmla="*/ 42 h 118"/>
              <a:gd name="T116" fmla="*/ 41 w 162"/>
              <a:gd name="T117" fmla="*/ 32 h 118"/>
              <a:gd name="T118" fmla="*/ 20 w 162"/>
              <a:gd name="T119" fmla="*/ 24 h 118"/>
              <a:gd name="T120" fmla="*/ 5 w 162"/>
              <a:gd name="T121" fmla="*/ 1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2" h="118">
                <a:moveTo>
                  <a:pt x="139" y="114"/>
                </a:moveTo>
                <a:cubicBezTo>
                  <a:pt x="140" y="113"/>
                  <a:pt x="140" y="113"/>
                  <a:pt x="140" y="113"/>
                </a:cubicBezTo>
                <a:cubicBezTo>
                  <a:pt x="142" y="114"/>
                  <a:pt x="142" y="114"/>
                  <a:pt x="142" y="114"/>
                </a:cubicBezTo>
                <a:cubicBezTo>
                  <a:pt x="142" y="115"/>
                  <a:pt x="142" y="115"/>
                  <a:pt x="142" y="115"/>
                </a:cubicBezTo>
                <a:cubicBezTo>
                  <a:pt x="140" y="115"/>
                  <a:pt x="140" y="115"/>
                  <a:pt x="140" y="115"/>
                </a:cubicBezTo>
                <a:cubicBezTo>
                  <a:pt x="139" y="115"/>
                  <a:pt x="139" y="115"/>
                  <a:pt x="139" y="115"/>
                </a:cubicBezTo>
                <a:cubicBezTo>
                  <a:pt x="139" y="114"/>
                  <a:pt x="139" y="114"/>
                  <a:pt x="139" y="114"/>
                </a:cubicBezTo>
                <a:close/>
                <a:moveTo>
                  <a:pt x="130" y="115"/>
                </a:moveTo>
                <a:cubicBezTo>
                  <a:pt x="133" y="117"/>
                  <a:pt x="133" y="117"/>
                  <a:pt x="133" y="117"/>
                </a:cubicBezTo>
                <a:cubicBezTo>
                  <a:pt x="134" y="117"/>
                  <a:pt x="134" y="117"/>
                  <a:pt x="134" y="117"/>
                </a:cubicBezTo>
                <a:cubicBezTo>
                  <a:pt x="135" y="118"/>
                  <a:pt x="135" y="118"/>
                  <a:pt x="135" y="118"/>
                </a:cubicBezTo>
                <a:cubicBezTo>
                  <a:pt x="136" y="117"/>
                  <a:pt x="136" y="117"/>
                  <a:pt x="136" y="117"/>
                </a:cubicBezTo>
                <a:cubicBezTo>
                  <a:pt x="135" y="116"/>
                  <a:pt x="135" y="116"/>
                  <a:pt x="135" y="116"/>
                </a:cubicBezTo>
                <a:cubicBezTo>
                  <a:pt x="134" y="116"/>
                  <a:pt x="134" y="116"/>
                  <a:pt x="134" y="116"/>
                </a:cubicBezTo>
                <a:cubicBezTo>
                  <a:pt x="131" y="114"/>
                  <a:pt x="131" y="114"/>
                  <a:pt x="131" y="114"/>
                </a:cubicBezTo>
                <a:cubicBezTo>
                  <a:pt x="130" y="115"/>
                  <a:pt x="130" y="115"/>
                  <a:pt x="130" y="115"/>
                </a:cubicBezTo>
                <a:close/>
                <a:moveTo>
                  <a:pt x="63" y="9"/>
                </a:moveTo>
                <a:cubicBezTo>
                  <a:pt x="64" y="9"/>
                  <a:pt x="64" y="9"/>
                  <a:pt x="64" y="9"/>
                </a:cubicBezTo>
                <a:cubicBezTo>
                  <a:pt x="65" y="9"/>
                  <a:pt x="65" y="9"/>
                  <a:pt x="65" y="9"/>
                </a:cubicBezTo>
                <a:cubicBezTo>
                  <a:pt x="67" y="8"/>
                  <a:pt x="67" y="8"/>
                  <a:pt x="67" y="8"/>
                </a:cubicBezTo>
                <a:cubicBezTo>
                  <a:pt x="68" y="9"/>
                  <a:pt x="68" y="9"/>
                  <a:pt x="68" y="9"/>
                </a:cubicBezTo>
                <a:cubicBezTo>
                  <a:pt x="70" y="9"/>
                  <a:pt x="70" y="9"/>
                  <a:pt x="70" y="9"/>
                </a:cubicBezTo>
                <a:cubicBezTo>
                  <a:pt x="71" y="10"/>
                  <a:pt x="71" y="10"/>
                  <a:pt x="71" y="10"/>
                </a:cubicBezTo>
                <a:cubicBezTo>
                  <a:pt x="69" y="12"/>
                  <a:pt x="69" y="12"/>
                  <a:pt x="69" y="12"/>
                </a:cubicBezTo>
                <a:cubicBezTo>
                  <a:pt x="66" y="12"/>
                  <a:pt x="66" y="12"/>
                  <a:pt x="66" y="12"/>
                </a:cubicBezTo>
                <a:cubicBezTo>
                  <a:pt x="65" y="11"/>
                  <a:pt x="65" y="11"/>
                  <a:pt x="65" y="11"/>
                </a:cubicBezTo>
                <a:cubicBezTo>
                  <a:pt x="64" y="11"/>
                  <a:pt x="64" y="11"/>
                  <a:pt x="64" y="11"/>
                </a:cubicBezTo>
                <a:cubicBezTo>
                  <a:pt x="64" y="11"/>
                  <a:pt x="63" y="9"/>
                  <a:pt x="63" y="9"/>
                </a:cubicBezTo>
                <a:close/>
                <a:moveTo>
                  <a:pt x="150" y="47"/>
                </a:moveTo>
                <a:cubicBezTo>
                  <a:pt x="152" y="47"/>
                  <a:pt x="152" y="47"/>
                  <a:pt x="152" y="47"/>
                </a:cubicBezTo>
                <a:cubicBezTo>
                  <a:pt x="153" y="49"/>
                  <a:pt x="153" y="49"/>
                  <a:pt x="153" y="49"/>
                </a:cubicBezTo>
                <a:cubicBezTo>
                  <a:pt x="154" y="52"/>
                  <a:pt x="154" y="52"/>
                  <a:pt x="154" y="52"/>
                </a:cubicBezTo>
                <a:cubicBezTo>
                  <a:pt x="157" y="53"/>
                  <a:pt x="157" y="53"/>
                  <a:pt x="157" y="53"/>
                </a:cubicBezTo>
                <a:cubicBezTo>
                  <a:pt x="160" y="55"/>
                  <a:pt x="160" y="55"/>
                  <a:pt x="160" y="55"/>
                </a:cubicBezTo>
                <a:cubicBezTo>
                  <a:pt x="162" y="58"/>
                  <a:pt x="162" y="58"/>
                  <a:pt x="162" y="58"/>
                </a:cubicBezTo>
                <a:cubicBezTo>
                  <a:pt x="162" y="61"/>
                  <a:pt x="162" y="61"/>
                  <a:pt x="162" y="61"/>
                </a:cubicBezTo>
                <a:cubicBezTo>
                  <a:pt x="161" y="61"/>
                  <a:pt x="161" y="61"/>
                  <a:pt x="161" y="61"/>
                </a:cubicBezTo>
                <a:cubicBezTo>
                  <a:pt x="160" y="62"/>
                  <a:pt x="160" y="62"/>
                  <a:pt x="160" y="62"/>
                </a:cubicBezTo>
                <a:cubicBezTo>
                  <a:pt x="157" y="63"/>
                  <a:pt x="157" y="63"/>
                  <a:pt x="157" y="63"/>
                </a:cubicBezTo>
                <a:cubicBezTo>
                  <a:pt x="156" y="62"/>
                  <a:pt x="156" y="62"/>
                  <a:pt x="156" y="62"/>
                </a:cubicBezTo>
                <a:cubicBezTo>
                  <a:pt x="154" y="62"/>
                  <a:pt x="154" y="62"/>
                  <a:pt x="154" y="62"/>
                </a:cubicBezTo>
                <a:cubicBezTo>
                  <a:pt x="153" y="60"/>
                  <a:pt x="153" y="60"/>
                  <a:pt x="153" y="60"/>
                </a:cubicBezTo>
                <a:cubicBezTo>
                  <a:pt x="154" y="59"/>
                  <a:pt x="154" y="59"/>
                  <a:pt x="154" y="59"/>
                </a:cubicBezTo>
                <a:cubicBezTo>
                  <a:pt x="152" y="56"/>
                  <a:pt x="152" y="56"/>
                  <a:pt x="152" y="56"/>
                </a:cubicBezTo>
                <a:cubicBezTo>
                  <a:pt x="150" y="54"/>
                  <a:pt x="150" y="54"/>
                  <a:pt x="150" y="54"/>
                </a:cubicBezTo>
                <a:cubicBezTo>
                  <a:pt x="150" y="51"/>
                  <a:pt x="150" y="51"/>
                  <a:pt x="150" y="51"/>
                </a:cubicBezTo>
                <a:cubicBezTo>
                  <a:pt x="149" y="49"/>
                  <a:pt x="149" y="49"/>
                  <a:pt x="149" y="49"/>
                </a:cubicBezTo>
                <a:cubicBezTo>
                  <a:pt x="150" y="47"/>
                  <a:pt x="150" y="47"/>
                  <a:pt x="150" y="47"/>
                </a:cubicBezTo>
                <a:close/>
                <a:moveTo>
                  <a:pt x="147" y="42"/>
                </a:moveTo>
                <a:cubicBezTo>
                  <a:pt x="147" y="43"/>
                  <a:pt x="147" y="43"/>
                  <a:pt x="147" y="43"/>
                </a:cubicBezTo>
                <a:cubicBezTo>
                  <a:pt x="148" y="45"/>
                  <a:pt x="148" y="45"/>
                  <a:pt x="148" y="45"/>
                </a:cubicBezTo>
                <a:cubicBezTo>
                  <a:pt x="148" y="47"/>
                  <a:pt x="148" y="47"/>
                  <a:pt x="148" y="47"/>
                </a:cubicBezTo>
                <a:cubicBezTo>
                  <a:pt x="149" y="45"/>
                  <a:pt x="149" y="45"/>
                  <a:pt x="149" y="45"/>
                </a:cubicBezTo>
                <a:cubicBezTo>
                  <a:pt x="149" y="43"/>
                  <a:pt x="149" y="43"/>
                  <a:pt x="149" y="43"/>
                </a:cubicBezTo>
                <a:cubicBezTo>
                  <a:pt x="147" y="42"/>
                  <a:pt x="147" y="42"/>
                  <a:pt x="147" y="42"/>
                </a:cubicBezTo>
                <a:close/>
                <a:moveTo>
                  <a:pt x="144" y="38"/>
                </a:moveTo>
                <a:cubicBezTo>
                  <a:pt x="145" y="37"/>
                  <a:pt x="145" y="37"/>
                  <a:pt x="145" y="37"/>
                </a:cubicBezTo>
                <a:cubicBezTo>
                  <a:pt x="146" y="36"/>
                  <a:pt x="146" y="36"/>
                  <a:pt x="146" y="36"/>
                </a:cubicBezTo>
                <a:cubicBezTo>
                  <a:pt x="147" y="37"/>
                  <a:pt x="147" y="37"/>
                  <a:pt x="147" y="37"/>
                </a:cubicBezTo>
                <a:cubicBezTo>
                  <a:pt x="146" y="39"/>
                  <a:pt x="146" y="39"/>
                  <a:pt x="146" y="39"/>
                </a:cubicBezTo>
                <a:cubicBezTo>
                  <a:pt x="144" y="39"/>
                  <a:pt x="144" y="39"/>
                  <a:pt x="144" y="39"/>
                </a:cubicBezTo>
                <a:cubicBezTo>
                  <a:pt x="144" y="38"/>
                  <a:pt x="144" y="38"/>
                  <a:pt x="144" y="38"/>
                </a:cubicBezTo>
                <a:close/>
                <a:moveTo>
                  <a:pt x="108" y="16"/>
                </a:moveTo>
                <a:cubicBezTo>
                  <a:pt x="113" y="19"/>
                  <a:pt x="113" y="19"/>
                  <a:pt x="113" y="19"/>
                </a:cubicBezTo>
                <a:cubicBezTo>
                  <a:pt x="116" y="20"/>
                  <a:pt x="116" y="20"/>
                  <a:pt x="116" y="20"/>
                </a:cubicBezTo>
                <a:cubicBezTo>
                  <a:pt x="120" y="23"/>
                  <a:pt x="120" y="23"/>
                  <a:pt x="120" y="23"/>
                </a:cubicBezTo>
                <a:cubicBezTo>
                  <a:pt x="123" y="23"/>
                  <a:pt x="123" y="23"/>
                  <a:pt x="123" y="23"/>
                </a:cubicBezTo>
                <a:cubicBezTo>
                  <a:pt x="125" y="25"/>
                  <a:pt x="125" y="25"/>
                  <a:pt x="125" y="25"/>
                </a:cubicBezTo>
                <a:cubicBezTo>
                  <a:pt x="127" y="26"/>
                  <a:pt x="127" y="26"/>
                  <a:pt x="127" y="26"/>
                </a:cubicBezTo>
                <a:cubicBezTo>
                  <a:pt x="129" y="30"/>
                  <a:pt x="129" y="30"/>
                  <a:pt x="129" y="30"/>
                </a:cubicBezTo>
                <a:cubicBezTo>
                  <a:pt x="130" y="30"/>
                  <a:pt x="130" y="30"/>
                  <a:pt x="130" y="30"/>
                </a:cubicBezTo>
                <a:cubicBezTo>
                  <a:pt x="131" y="34"/>
                  <a:pt x="131" y="34"/>
                  <a:pt x="131" y="34"/>
                </a:cubicBezTo>
                <a:cubicBezTo>
                  <a:pt x="132" y="35"/>
                  <a:pt x="132" y="35"/>
                  <a:pt x="132" y="35"/>
                </a:cubicBezTo>
                <a:cubicBezTo>
                  <a:pt x="132" y="36"/>
                  <a:pt x="132" y="36"/>
                  <a:pt x="132" y="36"/>
                </a:cubicBezTo>
                <a:cubicBezTo>
                  <a:pt x="131" y="38"/>
                  <a:pt x="131" y="38"/>
                  <a:pt x="131" y="38"/>
                </a:cubicBezTo>
                <a:cubicBezTo>
                  <a:pt x="131" y="41"/>
                  <a:pt x="131" y="41"/>
                  <a:pt x="131" y="41"/>
                </a:cubicBezTo>
                <a:cubicBezTo>
                  <a:pt x="129" y="39"/>
                  <a:pt x="129" y="39"/>
                  <a:pt x="129" y="39"/>
                </a:cubicBezTo>
                <a:cubicBezTo>
                  <a:pt x="128" y="36"/>
                  <a:pt x="128" y="36"/>
                  <a:pt x="128" y="36"/>
                </a:cubicBezTo>
                <a:cubicBezTo>
                  <a:pt x="129" y="35"/>
                  <a:pt x="129" y="35"/>
                  <a:pt x="129" y="35"/>
                </a:cubicBezTo>
                <a:cubicBezTo>
                  <a:pt x="127" y="29"/>
                  <a:pt x="127" y="29"/>
                  <a:pt x="127" y="29"/>
                </a:cubicBezTo>
                <a:cubicBezTo>
                  <a:pt x="123" y="25"/>
                  <a:pt x="123" y="25"/>
                  <a:pt x="123" y="25"/>
                </a:cubicBezTo>
                <a:cubicBezTo>
                  <a:pt x="121" y="25"/>
                  <a:pt x="121" y="25"/>
                  <a:pt x="121" y="25"/>
                </a:cubicBezTo>
                <a:cubicBezTo>
                  <a:pt x="117" y="23"/>
                  <a:pt x="117" y="23"/>
                  <a:pt x="117" y="23"/>
                </a:cubicBezTo>
                <a:cubicBezTo>
                  <a:pt x="110" y="19"/>
                  <a:pt x="110" y="19"/>
                  <a:pt x="110" y="19"/>
                </a:cubicBezTo>
                <a:cubicBezTo>
                  <a:pt x="108" y="17"/>
                  <a:pt x="108" y="17"/>
                  <a:pt x="108" y="17"/>
                </a:cubicBezTo>
                <a:cubicBezTo>
                  <a:pt x="108" y="16"/>
                  <a:pt x="108" y="16"/>
                  <a:pt x="108" y="16"/>
                </a:cubicBezTo>
                <a:close/>
                <a:moveTo>
                  <a:pt x="93" y="0"/>
                </a:moveTo>
                <a:cubicBezTo>
                  <a:pt x="95" y="0"/>
                  <a:pt x="95" y="0"/>
                  <a:pt x="95" y="0"/>
                </a:cubicBezTo>
                <a:cubicBezTo>
                  <a:pt x="97" y="2"/>
                  <a:pt x="97" y="2"/>
                  <a:pt x="97" y="2"/>
                </a:cubicBezTo>
                <a:cubicBezTo>
                  <a:pt x="96" y="3"/>
                  <a:pt x="96" y="3"/>
                  <a:pt x="96" y="3"/>
                </a:cubicBezTo>
                <a:cubicBezTo>
                  <a:pt x="94" y="1"/>
                  <a:pt x="94" y="1"/>
                  <a:pt x="94" y="1"/>
                </a:cubicBezTo>
                <a:cubicBezTo>
                  <a:pt x="93" y="0"/>
                  <a:pt x="93" y="0"/>
                  <a:pt x="93" y="0"/>
                </a:cubicBezTo>
                <a:close/>
                <a:moveTo>
                  <a:pt x="100" y="15"/>
                </a:moveTo>
                <a:cubicBezTo>
                  <a:pt x="102" y="15"/>
                  <a:pt x="102" y="15"/>
                  <a:pt x="102" y="15"/>
                </a:cubicBezTo>
                <a:cubicBezTo>
                  <a:pt x="104" y="15"/>
                  <a:pt x="104" y="15"/>
                  <a:pt x="104" y="15"/>
                </a:cubicBezTo>
                <a:cubicBezTo>
                  <a:pt x="104" y="18"/>
                  <a:pt x="104" y="18"/>
                  <a:pt x="104" y="18"/>
                </a:cubicBezTo>
                <a:cubicBezTo>
                  <a:pt x="101" y="18"/>
                  <a:pt x="101" y="18"/>
                  <a:pt x="101" y="18"/>
                </a:cubicBezTo>
                <a:cubicBezTo>
                  <a:pt x="100" y="17"/>
                  <a:pt x="100" y="17"/>
                  <a:pt x="100" y="17"/>
                </a:cubicBezTo>
                <a:cubicBezTo>
                  <a:pt x="100" y="15"/>
                  <a:pt x="100" y="15"/>
                  <a:pt x="100" y="15"/>
                </a:cubicBezTo>
                <a:close/>
                <a:moveTo>
                  <a:pt x="99" y="42"/>
                </a:moveTo>
                <a:cubicBezTo>
                  <a:pt x="101" y="44"/>
                  <a:pt x="101" y="44"/>
                  <a:pt x="101" y="44"/>
                </a:cubicBezTo>
                <a:cubicBezTo>
                  <a:pt x="102" y="42"/>
                  <a:pt x="102" y="42"/>
                  <a:pt x="102" y="42"/>
                </a:cubicBezTo>
                <a:cubicBezTo>
                  <a:pt x="101" y="40"/>
                  <a:pt x="101" y="40"/>
                  <a:pt x="101" y="40"/>
                </a:cubicBezTo>
                <a:cubicBezTo>
                  <a:pt x="99" y="40"/>
                  <a:pt x="99" y="40"/>
                  <a:pt x="99" y="40"/>
                </a:cubicBezTo>
                <a:cubicBezTo>
                  <a:pt x="99" y="42"/>
                  <a:pt x="99" y="42"/>
                  <a:pt x="99" y="42"/>
                </a:cubicBezTo>
                <a:close/>
                <a:moveTo>
                  <a:pt x="81" y="47"/>
                </a:moveTo>
                <a:cubicBezTo>
                  <a:pt x="80" y="50"/>
                  <a:pt x="80" y="50"/>
                  <a:pt x="80" y="50"/>
                </a:cubicBezTo>
                <a:cubicBezTo>
                  <a:pt x="82" y="52"/>
                  <a:pt x="82" y="52"/>
                  <a:pt x="82" y="52"/>
                </a:cubicBezTo>
                <a:cubicBezTo>
                  <a:pt x="84" y="52"/>
                  <a:pt x="84" y="52"/>
                  <a:pt x="84" y="52"/>
                </a:cubicBezTo>
                <a:cubicBezTo>
                  <a:pt x="87" y="55"/>
                  <a:pt x="87" y="55"/>
                  <a:pt x="87" y="55"/>
                </a:cubicBezTo>
                <a:cubicBezTo>
                  <a:pt x="88" y="56"/>
                  <a:pt x="88" y="56"/>
                  <a:pt x="88" y="56"/>
                </a:cubicBezTo>
                <a:cubicBezTo>
                  <a:pt x="89" y="55"/>
                  <a:pt x="89" y="55"/>
                  <a:pt x="89" y="55"/>
                </a:cubicBezTo>
                <a:cubicBezTo>
                  <a:pt x="93" y="55"/>
                  <a:pt x="93" y="55"/>
                  <a:pt x="93" y="55"/>
                </a:cubicBezTo>
                <a:cubicBezTo>
                  <a:pt x="94" y="57"/>
                  <a:pt x="94" y="57"/>
                  <a:pt x="94" y="57"/>
                </a:cubicBezTo>
                <a:cubicBezTo>
                  <a:pt x="96" y="57"/>
                  <a:pt x="96" y="57"/>
                  <a:pt x="96" y="57"/>
                </a:cubicBezTo>
                <a:cubicBezTo>
                  <a:pt x="98" y="57"/>
                  <a:pt x="98" y="57"/>
                  <a:pt x="98" y="57"/>
                </a:cubicBezTo>
                <a:cubicBezTo>
                  <a:pt x="102" y="56"/>
                  <a:pt x="102" y="56"/>
                  <a:pt x="102" y="56"/>
                </a:cubicBezTo>
                <a:cubicBezTo>
                  <a:pt x="104" y="57"/>
                  <a:pt x="104" y="57"/>
                  <a:pt x="104" y="57"/>
                </a:cubicBezTo>
                <a:cubicBezTo>
                  <a:pt x="106" y="56"/>
                  <a:pt x="106" y="56"/>
                  <a:pt x="106" y="56"/>
                </a:cubicBezTo>
                <a:cubicBezTo>
                  <a:pt x="109" y="57"/>
                  <a:pt x="109" y="57"/>
                  <a:pt x="109" y="57"/>
                </a:cubicBezTo>
                <a:cubicBezTo>
                  <a:pt x="109" y="56"/>
                  <a:pt x="109" y="56"/>
                  <a:pt x="109" y="56"/>
                </a:cubicBezTo>
                <a:cubicBezTo>
                  <a:pt x="109" y="55"/>
                  <a:pt x="109" y="55"/>
                  <a:pt x="109" y="55"/>
                </a:cubicBezTo>
                <a:cubicBezTo>
                  <a:pt x="112" y="54"/>
                  <a:pt x="112" y="54"/>
                  <a:pt x="112" y="54"/>
                </a:cubicBezTo>
                <a:cubicBezTo>
                  <a:pt x="116" y="50"/>
                  <a:pt x="116" y="50"/>
                  <a:pt x="116" y="50"/>
                </a:cubicBezTo>
                <a:cubicBezTo>
                  <a:pt x="116" y="48"/>
                  <a:pt x="116" y="48"/>
                  <a:pt x="116" y="48"/>
                </a:cubicBezTo>
                <a:cubicBezTo>
                  <a:pt x="117" y="48"/>
                  <a:pt x="117" y="48"/>
                  <a:pt x="117" y="48"/>
                </a:cubicBezTo>
                <a:cubicBezTo>
                  <a:pt x="119" y="49"/>
                  <a:pt x="119" y="49"/>
                  <a:pt x="119" y="49"/>
                </a:cubicBezTo>
                <a:cubicBezTo>
                  <a:pt x="121" y="48"/>
                  <a:pt x="121" y="48"/>
                  <a:pt x="121" y="48"/>
                </a:cubicBezTo>
                <a:cubicBezTo>
                  <a:pt x="123" y="46"/>
                  <a:pt x="123" y="46"/>
                  <a:pt x="123" y="46"/>
                </a:cubicBezTo>
                <a:cubicBezTo>
                  <a:pt x="120" y="44"/>
                  <a:pt x="120" y="44"/>
                  <a:pt x="120" y="44"/>
                </a:cubicBezTo>
                <a:cubicBezTo>
                  <a:pt x="120" y="43"/>
                  <a:pt x="120" y="43"/>
                  <a:pt x="120" y="43"/>
                </a:cubicBezTo>
                <a:cubicBezTo>
                  <a:pt x="122" y="42"/>
                  <a:pt x="122" y="42"/>
                  <a:pt x="122" y="42"/>
                </a:cubicBezTo>
                <a:cubicBezTo>
                  <a:pt x="123" y="42"/>
                  <a:pt x="123" y="42"/>
                  <a:pt x="123" y="42"/>
                </a:cubicBezTo>
                <a:cubicBezTo>
                  <a:pt x="125" y="40"/>
                  <a:pt x="125" y="40"/>
                  <a:pt x="125" y="40"/>
                </a:cubicBezTo>
                <a:cubicBezTo>
                  <a:pt x="125" y="35"/>
                  <a:pt x="125" y="35"/>
                  <a:pt x="125" y="35"/>
                </a:cubicBezTo>
                <a:cubicBezTo>
                  <a:pt x="123" y="33"/>
                  <a:pt x="123" y="33"/>
                  <a:pt x="123" y="33"/>
                </a:cubicBezTo>
                <a:cubicBezTo>
                  <a:pt x="122" y="34"/>
                  <a:pt x="122" y="34"/>
                  <a:pt x="122" y="34"/>
                </a:cubicBezTo>
                <a:cubicBezTo>
                  <a:pt x="121" y="35"/>
                  <a:pt x="121" y="35"/>
                  <a:pt x="121" y="35"/>
                </a:cubicBezTo>
                <a:cubicBezTo>
                  <a:pt x="119" y="34"/>
                  <a:pt x="119" y="34"/>
                  <a:pt x="119" y="34"/>
                </a:cubicBezTo>
                <a:cubicBezTo>
                  <a:pt x="117" y="34"/>
                  <a:pt x="117" y="34"/>
                  <a:pt x="117" y="34"/>
                </a:cubicBezTo>
                <a:cubicBezTo>
                  <a:pt x="116" y="35"/>
                  <a:pt x="116" y="35"/>
                  <a:pt x="116" y="35"/>
                </a:cubicBezTo>
                <a:cubicBezTo>
                  <a:pt x="117" y="40"/>
                  <a:pt x="117" y="40"/>
                  <a:pt x="117" y="40"/>
                </a:cubicBezTo>
                <a:cubicBezTo>
                  <a:pt x="118" y="41"/>
                  <a:pt x="118" y="41"/>
                  <a:pt x="118" y="41"/>
                </a:cubicBezTo>
                <a:cubicBezTo>
                  <a:pt x="117" y="42"/>
                  <a:pt x="117" y="42"/>
                  <a:pt x="117" y="42"/>
                </a:cubicBezTo>
                <a:cubicBezTo>
                  <a:pt x="114" y="42"/>
                  <a:pt x="114" y="42"/>
                  <a:pt x="114" y="42"/>
                </a:cubicBezTo>
                <a:cubicBezTo>
                  <a:pt x="110" y="45"/>
                  <a:pt x="110" y="45"/>
                  <a:pt x="110" y="45"/>
                </a:cubicBezTo>
                <a:cubicBezTo>
                  <a:pt x="110" y="47"/>
                  <a:pt x="110" y="47"/>
                  <a:pt x="110" y="47"/>
                </a:cubicBezTo>
                <a:cubicBezTo>
                  <a:pt x="108" y="48"/>
                  <a:pt x="108" y="48"/>
                  <a:pt x="108" y="48"/>
                </a:cubicBezTo>
                <a:cubicBezTo>
                  <a:pt x="107" y="48"/>
                  <a:pt x="107" y="48"/>
                  <a:pt x="107" y="48"/>
                </a:cubicBezTo>
                <a:cubicBezTo>
                  <a:pt x="106" y="49"/>
                  <a:pt x="106" y="49"/>
                  <a:pt x="106" y="49"/>
                </a:cubicBezTo>
                <a:cubicBezTo>
                  <a:pt x="104" y="47"/>
                  <a:pt x="104" y="47"/>
                  <a:pt x="104" y="47"/>
                </a:cubicBezTo>
                <a:cubicBezTo>
                  <a:pt x="103" y="47"/>
                  <a:pt x="103" y="47"/>
                  <a:pt x="103" y="47"/>
                </a:cubicBezTo>
                <a:cubicBezTo>
                  <a:pt x="101" y="49"/>
                  <a:pt x="101" y="49"/>
                  <a:pt x="101" y="49"/>
                </a:cubicBezTo>
                <a:cubicBezTo>
                  <a:pt x="100" y="49"/>
                  <a:pt x="100" y="49"/>
                  <a:pt x="100" y="49"/>
                </a:cubicBezTo>
                <a:cubicBezTo>
                  <a:pt x="99" y="46"/>
                  <a:pt x="99" y="46"/>
                  <a:pt x="99" y="46"/>
                </a:cubicBezTo>
                <a:cubicBezTo>
                  <a:pt x="100" y="45"/>
                  <a:pt x="100" y="45"/>
                  <a:pt x="100" y="45"/>
                </a:cubicBezTo>
                <a:cubicBezTo>
                  <a:pt x="98" y="44"/>
                  <a:pt x="98" y="44"/>
                  <a:pt x="98" y="44"/>
                </a:cubicBezTo>
                <a:cubicBezTo>
                  <a:pt x="97" y="45"/>
                  <a:pt x="97" y="45"/>
                  <a:pt x="97" y="45"/>
                </a:cubicBezTo>
                <a:cubicBezTo>
                  <a:pt x="98" y="46"/>
                  <a:pt x="98" y="46"/>
                  <a:pt x="98" y="46"/>
                </a:cubicBezTo>
                <a:cubicBezTo>
                  <a:pt x="96" y="47"/>
                  <a:pt x="96" y="47"/>
                  <a:pt x="96" y="47"/>
                </a:cubicBezTo>
                <a:cubicBezTo>
                  <a:pt x="94" y="47"/>
                  <a:pt x="94" y="47"/>
                  <a:pt x="94" y="47"/>
                </a:cubicBezTo>
                <a:cubicBezTo>
                  <a:pt x="91" y="48"/>
                  <a:pt x="91" y="48"/>
                  <a:pt x="91" y="48"/>
                </a:cubicBezTo>
                <a:cubicBezTo>
                  <a:pt x="90" y="48"/>
                  <a:pt x="90" y="48"/>
                  <a:pt x="90" y="48"/>
                </a:cubicBezTo>
                <a:cubicBezTo>
                  <a:pt x="88" y="47"/>
                  <a:pt x="88" y="47"/>
                  <a:pt x="88" y="47"/>
                </a:cubicBezTo>
                <a:cubicBezTo>
                  <a:pt x="86" y="47"/>
                  <a:pt x="86" y="47"/>
                  <a:pt x="86" y="47"/>
                </a:cubicBezTo>
                <a:cubicBezTo>
                  <a:pt x="84" y="48"/>
                  <a:pt x="84" y="48"/>
                  <a:pt x="84" y="48"/>
                </a:cubicBezTo>
                <a:cubicBezTo>
                  <a:pt x="81" y="47"/>
                  <a:pt x="81" y="47"/>
                  <a:pt x="81" y="47"/>
                </a:cubicBezTo>
                <a:close/>
                <a:moveTo>
                  <a:pt x="74" y="49"/>
                </a:moveTo>
                <a:cubicBezTo>
                  <a:pt x="75" y="47"/>
                  <a:pt x="75" y="47"/>
                  <a:pt x="75" y="47"/>
                </a:cubicBezTo>
                <a:cubicBezTo>
                  <a:pt x="77" y="49"/>
                  <a:pt x="77" y="49"/>
                  <a:pt x="77" y="49"/>
                </a:cubicBezTo>
                <a:cubicBezTo>
                  <a:pt x="77" y="51"/>
                  <a:pt x="77" y="51"/>
                  <a:pt x="77" y="51"/>
                </a:cubicBezTo>
                <a:cubicBezTo>
                  <a:pt x="77" y="52"/>
                  <a:pt x="77" y="52"/>
                  <a:pt x="77" y="52"/>
                </a:cubicBezTo>
                <a:cubicBezTo>
                  <a:pt x="75" y="51"/>
                  <a:pt x="75" y="51"/>
                  <a:pt x="75" y="51"/>
                </a:cubicBezTo>
                <a:cubicBezTo>
                  <a:pt x="74" y="49"/>
                  <a:pt x="74" y="49"/>
                  <a:pt x="74" y="49"/>
                </a:cubicBezTo>
                <a:close/>
                <a:moveTo>
                  <a:pt x="68" y="45"/>
                </a:moveTo>
                <a:cubicBezTo>
                  <a:pt x="67" y="46"/>
                  <a:pt x="67" y="46"/>
                  <a:pt x="67" y="46"/>
                </a:cubicBezTo>
                <a:cubicBezTo>
                  <a:pt x="68" y="48"/>
                  <a:pt x="68" y="48"/>
                  <a:pt x="68" y="48"/>
                </a:cubicBezTo>
                <a:cubicBezTo>
                  <a:pt x="69" y="47"/>
                  <a:pt x="69" y="47"/>
                  <a:pt x="69" y="47"/>
                </a:cubicBezTo>
                <a:cubicBezTo>
                  <a:pt x="69" y="46"/>
                  <a:pt x="69" y="46"/>
                  <a:pt x="69" y="46"/>
                </a:cubicBezTo>
                <a:cubicBezTo>
                  <a:pt x="68" y="45"/>
                  <a:pt x="68" y="45"/>
                  <a:pt x="68" y="45"/>
                </a:cubicBezTo>
                <a:close/>
                <a:moveTo>
                  <a:pt x="57" y="38"/>
                </a:moveTo>
                <a:cubicBezTo>
                  <a:pt x="55" y="39"/>
                  <a:pt x="55" y="39"/>
                  <a:pt x="55" y="39"/>
                </a:cubicBezTo>
                <a:cubicBezTo>
                  <a:pt x="56" y="40"/>
                  <a:pt x="56" y="40"/>
                  <a:pt x="56" y="40"/>
                </a:cubicBezTo>
                <a:cubicBezTo>
                  <a:pt x="57" y="39"/>
                  <a:pt x="57" y="39"/>
                  <a:pt x="57" y="39"/>
                </a:cubicBezTo>
                <a:cubicBezTo>
                  <a:pt x="57" y="38"/>
                  <a:pt x="57" y="38"/>
                  <a:pt x="57" y="38"/>
                </a:cubicBezTo>
                <a:close/>
                <a:moveTo>
                  <a:pt x="125" y="87"/>
                </a:moveTo>
                <a:cubicBezTo>
                  <a:pt x="124" y="88"/>
                  <a:pt x="124" y="88"/>
                  <a:pt x="124" y="88"/>
                </a:cubicBezTo>
                <a:cubicBezTo>
                  <a:pt x="125" y="89"/>
                  <a:pt x="125" y="89"/>
                  <a:pt x="125" y="89"/>
                </a:cubicBezTo>
                <a:cubicBezTo>
                  <a:pt x="126" y="89"/>
                  <a:pt x="126" y="89"/>
                  <a:pt x="126" y="89"/>
                </a:cubicBezTo>
                <a:cubicBezTo>
                  <a:pt x="128" y="91"/>
                  <a:pt x="128" y="91"/>
                  <a:pt x="128" y="91"/>
                </a:cubicBezTo>
                <a:cubicBezTo>
                  <a:pt x="128" y="89"/>
                  <a:pt x="128" y="89"/>
                  <a:pt x="128" y="89"/>
                </a:cubicBezTo>
                <a:cubicBezTo>
                  <a:pt x="125" y="87"/>
                  <a:pt x="125" y="87"/>
                  <a:pt x="125" y="87"/>
                </a:cubicBezTo>
                <a:close/>
                <a:moveTo>
                  <a:pt x="109" y="80"/>
                </a:moveTo>
                <a:cubicBezTo>
                  <a:pt x="109" y="81"/>
                  <a:pt x="109" y="81"/>
                  <a:pt x="109" y="81"/>
                </a:cubicBezTo>
                <a:cubicBezTo>
                  <a:pt x="109" y="82"/>
                  <a:pt x="109" y="82"/>
                  <a:pt x="109" y="82"/>
                </a:cubicBezTo>
                <a:cubicBezTo>
                  <a:pt x="110" y="82"/>
                  <a:pt x="110" y="82"/>
                  <a:pt x="110" y="82"/>
                </a:cubicBezTo>
                <a:cubicBezTo>
                  <a:pt x="110" y="84"/>
                  <a:pt x="110" y="84"/>
                  <a:pt x="110" y="84"/>
                </a:cubicBezTo>
                <a:cubicBezTo>
                  <a:pt x="110" y="84"/>
                  <a:pt x="110" y="84"/>
                  <a:pt x="110" y="84"/>
                </a:cubicBezTo>
                <a:cubicBezTo>
                  <a:pt x="110" y="84"/>
                  <a:pt x="110" y="84"/>
                  <a:pt x="110" y="84"/>
                </a:cubicBezTo>
                <a:cubicBezTo>
                  <a:pt x="111" y="83"/>
                  <a:pt x="111" y="83"/>
                  <a:pt x="111" y="83"/>
                </a:cubicBezTo>
                <a:cubicBezTo>
                  <a:pt x="110" y="80"/>
                  <a:pt x="110" y="80"/>
                  <a:pt x="110" y="80"/>
                </a:cubicBezTo>
                <a:cubicBezTo>
                  <a:pt x="109" y="80"/>
                  <a:pt x="109" y="80"/>
                  <a:pt x="109" y="80"/>
                </a:cubicBezTo>
                <a:close/>
                <a:moveTo>
                  <a:pt x="105" y="96"/>
                </a:moveTo>
                <a:cubicBezTo>
                  <a:pt x="106" y="96"/>
                  <a:pt x="106" y="96"/>
                  <a:pt x="106" y="96"/>
                </a:cubicBezTo>
                <a:cubicBezTo>
                  <a:pt x="107" y="97"/>
                  <a:pt x="107" y="97"/>
                  <a:pt x="107" y="97"/>
                </a:cubicBezTo>
                <a:cubicBezTo>
                  <a:pt x="107" y="97"/>
                  <a:pt x="107" y="97"/>
                  <a:pt x="107" y="97"/>
                </a:cubicBezTo>
                <a:cubicBezTo>
                  <a:pt x="108" y="98"/>
                  <a:pt x="108" y="98"/>
                  <a:pt x="108" y="98"/>
                </a:cubicBezTo>
                <a:cubicBezTo>
                  <a:pt x="108" y="98"/>
                  <a:pt x="108" y="98"/>
                  <a:pt x="108" y="98"/>
                </a:cubicBezTo>
                <a:cubicBezTo>
                  <a:pt x="109" y="97"/>
                  <a:pt x="109" y="97"/>
                  <a:pt x="109" y="97"/>
                </a:cubicBezTo>
                <a:cubicBezTo>
                  <a:pt x="110" y="97"/>
                  <a:pt x="110" y="97"/>
                  <a:pt x="110" y="97"/>
                </a:cubicBezTo>
                <a:cubicBezTo>
                  <a:pt x="111" y="98"/>
                  <a:pt x="111" y="98"/>
                  <a:pt x="111" y="98"/>
                </a:cubicBezTo>
                <a:cubicBezTo>
                  <a:pt x="110" y="99"/>
                  <a:pt x="110" y="99"/>
                  <a:pt x="110" y="99"/>
                </a:cubicBezTo>
                <a:cubicBezTo>
                  <a:pt x="109" y="100"/>
                  <a:pt x="109" y="100"/>
                  <a:pt x="109" y="100"/>
                </a:cubicBezTo>
                <a:cubicBezTo>
                  <a:pt x="108" y="100"/>
                  <a:pt x="108" y="100"/>
                  <a:pt x="108" y="100"/>
                </a:cubicBezTo>
                <a:cubicBezTo>
                  <a:pt x="107" y="100"/>
                  <a:pt x="107" y="100"/>
                  <a:pt x="107" y="100"/>
                </a:cubicBezTo>
                <a:cubicBezTo>
                  <a:pt x="107" y="99"/>
                  <a:pt x="107" y="99"/>
                  <a:pt x="107" y="99"/>
                </a:cubicBezTo>
                <a:cubicBezTo>
                  <a:pt x="106" y="98"/>
                  <a:pt x="106" y="98"/>
                  <a:pt x="106" y="98"/>
                </a:cubicBezTo>
                <a:cubicBezTo>
                  <a:pt x="105" y="97"/>
                  <a:pt x="105" y="97"/>
                  <a:pt x="105" y="97"/>
                </a:cubicBezTo>
                <a:cubicBezTo>
                  <a:pt x="105" y="96"/>
                  <a:pt x="105" y="96"/>
                  <a:pt x="105" y="96"/>
                </a:cubicBezTo>
                <a:cubicBezTo>
                  <a:pt x="105" y="96"/>
                  <a:pt x="105" y="96"/>
                  <a:pt x="105" y="96"/>
                </a:cubicBezTo>
                <a:close/>
                <a:moveTo>
                  <a:pt x="103" y="92"/>
                </a:moveTo>
                <a:cubicBezTo>
                  <a:pt x="103" y="94"/>
                  <a:pt x="103" y="94"/>
                  <a:pt x="103" y="94"/>
                </a:cubicBezTo>
                <a:cubicBezTo>
                  <a:pt x="104" y="95"/>
                  <a:pt x="104" y="95"/>
                  <a:pt x="104" y="95"/>
                </a:cubicBezTo>
                <a:cubicBezTo>
                  <a:pt x="106" y="95"/>
                  <a:pt x="106" y="95"/>
                  <a:pt x="106" y="95"/>
                </a:cubicBezTo>
                <a:cubicBezTo>
                  <a:pt x="106" y="95"/>
                  <a:pt x="106" y="95"/>
                  <a:pt x="106" y="95"/>
                </a:cubicBezTo>
                <a:cubicBezTo>
                  <a:pt x="107" y="94"/>
                  <a:pt x="107" y="94"/>
                  <a:pt x="107" y="94"/>
                </a:cubicBezTo>
                <a:cubicBezTo>
                  <a:pt x="106" y="94"/>
                  <a:pt x="106" y="94"/>
                  <a:pt x="106" y="94"/>
                </a:cubicBezTo>
                <a:cubicBezTo>
                  <a:pt x="105" y="94"/>
                  <a:pt x="105" y="94"/>
                  <a:pt x="105" y="94"/>
                </a:cubicBezTo>
                <a:cubicBezTo>
                  <a:pt x="106" y="93"/>
                  <a:pt x="106" y="93"/>
                  <a:pt x="106" y="93"/>
                </a:cubicBezTo>
                <a:cubicBezTo>
                  <a:pt x="105" y="92"/>
                  <a:pt x="105" y="92"/>
                  <a:pt x="105" y="92"/>
                </a:cubicBezTo>
                <a:cubicBezTo>
                  <a:pt x="104" y="92"/>
                  <a:pt x="104" y="92"/>
                  <a:pt x="104" y="92"/>
                </a:cubicBezTo>
                <a:cubicBezTo>
                  <a:pt x="103" y="92"/>
                  <a:pt x="103" y="92"/>
                  <a:pt x="103" y="92"/>
                </a:cubicBezTo>
                <a:cubicBezTo>
                  <a:pt x="103" y="92"/>
                  <a:pt x="103" y="92"/>
                  <a:pt x="103" y="92"/>
                </a:cubicBezTo>
                <a:close/>
                <a:moveTo>
                  <a:pt x="98" y="90"/>
                </a:moveTo>
                <a:cubicBezTo>
                  <a:pt x="99" y="92"/>
                  <a:pt x="99" y="92"/>
                  <a:pt x="99" y="92"/>
                </a:cubicBezTo>
                <a:cubicBezTo>
                  <a:pt x="100" y="92"/>
                  <a:pt x="100" y="92"/>
                  <a:pt x="100" y="92"/>
                </a:cubicBezTo>
                <a:cubicBezTo>
                  <a:pt x="101" y="93"/>
                  <a:pt x="101" y="93"/>
                  <a:pt x="101" y="93"/>
                </a:cubicBezTo>
                <a:cubicBezTo>
                  <a:pt x="101" y="94"/>
                  <a:pt x="101" y="94"/>
                  <a:pt x="101" y="94"/>
                </a:cubicBezTo>
                <a:cubicBezTo>
                  <a:pt x="102" y="92"/>
                  <a:pt x="102" y="92"/>
                  <a:pt x="102" y="92"/>
                </a:cubicBezTo>
                <a:cubicBezTo>
                  <a:pt x="100" y="90"/>
                  <a:pt x="100" y="90"/>
                  <a:pt x="100" y="90"/>
                </a:cubicBezTo>
                <a:cubicBezTo>
                  <a:pt x="99" y="90"/>
                  <a:pt x="99" y="90"/>
                  <a:pt x="99" y="90"/>
                </a:cubicBezTo>
                <a:cubicBezTo>
                  <a:pt x="98" y="90"/>
                  <a:pt x="98" y="90"/>
                  <a:pt x="98" y="90"/>
                </a:cubicBezTo>
                <a:close/>
                <a:moveTo>
                  <a:pt x="45" y="73"/>
                </a:moveTo>
                <a:cubicBezTo>
                  <a:pt x="44" y="73"/>
                  <a:pt x="44" y="73"/>
                  <a:pt x="44" y="73"/>
                </a:cubicBezTo>
                <a:cubicBezTo>
                  <a:pt x="45" y="74"/>
                  <a:pt x="45" y="74"/>
                  <a:pt x="45" y="74"/>
                </a:cubicBezTo>
                <a:cubicBezTo>
                  <a:pt x="45" y="74"/>
                  <a:pt x="45" y="73"/>
                  <a:pt x="45" y="73"/>
                </a:cubicBezTo>
                <a:close/>
                <a:moveTo>
                  <a:pt x="40" y="73"/>
                </a:moveTo>
                <a:cubicBezTo>
                  <a:pt x="40" y="72"/>
                  <a:pt x="40" y="72"/>
                  <a:pt x="40" y="72"/>
                </a:cubicBezTo>
                <a:cubicBezTo>
                  <a:pt x="41" y="72"/>
                  <a:pt x="41" y="72"/>
                  <a:pt x="41" y="72"/>
                </a:cubicBezTo>
                <a:cubicBezTo>
                  <a:pt x="40" y="73"/>
                  <a:pt x="40" y="73"/>
                  <a:pt x="40" y="73"/>
                </a:cubicBezTo>
                <a:close/>
                <a:moveTo>
                  <a:pt x="37" y="72"/>
                </a:moveTo>
                <a:cubicBezTo>
                  <a:pt x="37" y="74"/>
                  <a:pt x="37" y="74"/>
                  <a:pt x="37" y="74"/>
                </a:cubicBezTo>
                <a:cubicBezTo>
                  <a:pt x="38" y="74"/>
                  <a:pt x="38" y="74"/>
                  <a:pt x="38" y="74"/>
                </a:cubicBezTo>
                <a:cubicBezTo>
                  <a:pt x="38" y="73"/>
                  <a:pt x="38" y="73"/>
                  <a:pt x="38" y="73"/>
                </a:cubicBezTo>
                <a:cubicBezTo>
                  <a:pt x="37" y="72"/>
                  <a:pt x="37" y="72"/>
                  <a:pt x="37" y="72"/>
                </a:cubicBezTo>
                <a:close/>
                <a:moveTo>
                  <a:pt x="40" y="73"/>
                </a:moveTo>
                <a:cubicBezTo>
                  <a:pt x="38" y="72"/>
                  <a:pt x="38" y="72"/>
                  <a:pt x="38" y="72"/>
                </a:cubicBezTo>
                <a:cubicBezTo>
                  <a:pt x="39" y="71"/>
                  <a:pt x="39" y="71"/>
                  <a:pt x="39" y="71"/>
                </a:cubicBezTo>
                <a:cubicBezTo>
                  <a:pt x="40" y="71"/>
                  <a:pt x="40" y="71"/>
                  <a:pt x="40" y="71"/>
                </a:cubicBezTo>
                <a:cubicBezTo>
                  <a:pt x="40" y="72"/>
                  <a:pt x="40" y="72"/>
                  <a:pt x="40" y="72"/>
                </a:cubicBezTo>
                <a:cubicBezTo>
                  <a:pt x="40" y="73"/>
                  <a:pt x="40" y="73"/>
                  <a:pt x="40" y="73"/>
                </a:cubicBezTo>
                <a:close/>
                <a:moveTo>
                  <a:pt x="32" y="73"/>
                </a:moveTo>
                <a:cubicBezTo>
                  <a:pt x="33" y="75"/>
                  <a:pt x="33" y="75"/>
                  <a:pt x="33" y="75"/>
                </a:cubicBezTo>
                <a:cubicBezTo>
                  <a:pt x="34" y="75"/>
                  <a:pt x="34" y="75"/>
                  <a:pt x="34" y="75"/>
                </a:cubicBezTo>
                <a:cubicBezTo>
                  <a:pt x="33" y="74"/>
                  <a:pt x="33" y="74"/>
                  <a:pt x="33" y="74"/>
                </a:cubicBezTo>
                <a:cubicBezTo>
                  <a:pt x="32" y="73"/>
                  <a:pt x="32" y="73"/>
                  <a:pt x="32" y="73"/>
                </a:cubicBezTo>
                <a:close/>
                <a:moveTo>
                  <a:pt x="29" y="82"/>
                </a:moveTo>
                <a:cubicBezTo>
                  <a:pt x="30" y="80"/>
                  <a:pt x="30" y="80"/>
                  <a:pt x="30" y="80"/>
                </a:cubicBezTo>
                <a:cubicBezTo>
                  <a:pt x="31" y="80"/>
                  <a:pt x="31" y="80"/>
                  <a:pt x="31" y="80"/>
                </a:cubicBezTo>
                <a:cubicBezTo>
                  <a:pt x="31" y="81"/>
                  <a:pt x="31" y="81"/>
                  <a:pt x="31" y="81"/>
                </a:cubicBezTo>
                <a:cubicBezTo>
                  <a:pt x="31" y="81"/>
                  <a:pt x="29" y="81"/>
                  <a:pt x="29" y="82"/>
                </a:cubicBezTo>
                <a:close/>
                <a:moveTo>
                  <a:pt x="28" y="83"/>
                </a:moveTo>
                <a:cubicBezTo>
                  <a:pt x="29" y="83"/>
                  <a:pt x="29" y="83"/>
                  <a:pt x="29" y="83"/>
                </a:cubicBezTo>
                <a:cubicBezTo>
                  <a:pt x="29" y="83"/>
                  <a:pt x="29" y="83"/>
                  <a:pt x="29" y="83"/>
                </a:cubicBezTo>
                <a:cubicBezTo>
                  <a:pt x="28" y="83"/>
                  <a:pt x="28" y="83"/>
                  <a:pt x="28" y="83"/>
                </a:cubicBezTo>
                <a:close/>
                <a:moveTo>
                  <a:pt x="26" y="82"/>
                </a:moveTo>
                <a:cubicBezTo>
                  <a:pt x="27" y="82"/>
                  <a:pt x="27" y="82"/>
                  <a:pt x="27" y="82"/>
                </a:cubicBezTo>
                <a:cubicBezTo>
                  <a:pt x="28" y="82"/>
                  <a:pt x="28" y="82"/>
                  <a:pt x="28" y="82"/>
                </a:cubicBezTo>
                <a:cubicBezTo>
                  <a:pt x="26" y="82"/>
                  <a:pt x="26" y="82"/>
                  <a:pt x="26" y="82"/>
                </a:cubicBezTo>
                <a:close/>
                <a:moveTo>
                  <a:pt x="25" y="83"/>
                </a:moveTo>
                <a:cubicBezTo>
                  <a:pt x="25" y="83"/>
                  <a:pt x="28" y="84"/>
                  <a:pt x="28" y="84"/>
                </a:cubicBezTo>
                <a:cubicBezTo>
                  <a:pt x="30" y="85"/>
                  <a:pt x="30" y="85"/>
                  <a:pt x="30" y="85"/>
                </a:cubicBezTo>
                <a:cubicBezTo>
                  <a:pt x="25" y="83"/>
                  <a:pt x="25" y="83"/>
                  <a:pt x="25" y="83"/>
                </a:cubicBezTo>
                <a:close/>
                <a:moveTo>
                  <a:pt x="28" y="77"/>
                </a:moveTo>
                <a:cubicBezTo>
                  <a:pt x="30" y="78"/>
                  <a:pt x="30" y="78"/>
                  <a:pt x="30" y="78"/>
                </a:cubicBezTo>
                <a:cubicBezTo>
                  <a:pt x="30" y="78"/>
                  <a:pt x="30" y="78"/>
                  <a:pt x="30" y="78"/>
                </a:cubicBezTo>
                <a:cubicBezTo>
                  <a:pt x="28" y="78"/>
                  <a:pt x="28" y="78"/>
                  <a:pt x="28" y="78"/>
                </a:cubicBezTo>
                <a:cubicBezTo>
                  <a:pt x="28" y="77"/>
                  <a:pt x="28" y="77"/>
                  <a:pt x="28" y="77"/>
                </a:cubicBezTo>
                <a:close/>
                <a:moveTo>
                  <a:pt x="31" y="77"/>
                </a:moveTo>
                <a:cubicBezTo>
                  <a:pt x="30" y="76"/>
                  <a:pt x="30" y="76"/>
                  <a:pt x="30" y="76"/>
                </a:cubicBezTo>
                <a:cubicBezTo>
                  <a:pt x="30" y="75"/>
                  <a:pt x="30" y="75"/>
                  <a:pt x="30" y="75"/>
                </a:cubicBezTo>
                <a:cubicBezTo>
                  <a:pt x="31" y="74"/>
                  <a:pt x="31" y="74"/>
                  <a:pt x="31" y="74"/>
                </a:cubicBezTo>
                <a:cubicBezTo>
                  <a:pt x="32" y="76"/>
                  <a:pt x="32" y="76"/>
                  <a:pt x="32" y="76"/>
                </a:cubicBezTo>
                <a:cubicBezTo>
                  <a:pt x="32" y="77"/>
                  <a:pt x="32" y="77"/>
                  <a:pt x="32" y="77"/>
                </a:cubicBezTo>
                <a:cubicBezTo>
                  <a:pt x="32" y="77"/>
                  <a:pt x="31" y="77"/>
                  <a:pt x="31" y="77"/>
                </a:cubicBezTo>
                <a:close/>
                <a:moveTo>
                  <a:pt x="3" y="17"/>
                </a:moveTo>
                <a:cubicBezTo>
                  <a:pt x="1" y="57"/>
                  <a:pt x="1" y="57"/>
                  <a:pt x="1" y="57"/>
                </a:cubicBezTo>
                <a:cubicBezTo>
                  <a:pt x="1" y="60"/>
                  <a:pt x="1" y="60"/>
                  <a:pt x="1" y="60"/>
                </a:cubicBezTo>
                <a:cubicBezTo>
                  <a:pt x="1" y="62"/>
                  <a:pt x="1" y="62"/>
                  <a:pt x="1" y="62"/>
                </a:cubicBezTo>
                <a:cubicBezTo>
                  <a:pt x="1" y="63"/>
                  <a:pt x="1" y="63"/>
                  <a:pt x="1" y="63"/>
                </a:cubicBezTo>
                <a:cubicBezTo>
                  <a:pt x="0" y="88"/>
                  <a:pt x="0" y="88"/>
                  <a:pt x="0" y="88"/>
                </a:cubicBezTo>
                <a:cubicBezTo>
                  <a:pt x="4" y="89"/>
                  <a:pt x="4" y="89"/>
                  <a:pt x="4" y="89"/>
                </a:cubicBezTo>
                <a:cubicBezTo>
                  <a:pt x="5" y="89"/>
                  <a:pt x="5" y="89"/>
                  <a:pt x="5" y="89"/>
                </a:cubicBezTo>
                <a:cubicBezTo>
                  <a:pt x="7" y="89"/>
                  <a:pt x="7" y="89"/>
                  <a:pt x="7" y="89"/>
                </a:cubicBezTo>
                <a:cubicBezTo>
                  <a:pt x="13" y="89"/>
                  <a:pt x="13" y="89"/>
                  <a:pt x="13" y="89"/>
                </a:cubicBezTo>
                <a:cubicBezTo>
                  <a:pt x="14" y="89"/>
                  <a:pt x="14" y="89"/>
                  <a:pt x="14" y="89"/>
                </a:cubicBezTo>
                <a:cubicBezTo>
                  <a:pt x="15" y="90"/>
                  <a:pt x="15" y="90"/>
                  <a:pt x="15" y="90"/>
                </a:cubicBezTo>
                <a:cubicBezTo>
                  <a:pt x="16" y="91"/>
                  <a:pt x="16" y="91"/>
                  <a:pt x="16" y="91"/>
                </a:cubicBezTo>
                <a:cubicBezTo>
                  <a:pt x="18" y="92"/>
                  <a:pt x="18" y="92"/>
                  <a:pt x="18" y="92"/>
                </a:cubicBezTo>
                <a:cubicBezTo>
                  <a:pt x="20" y="90"/>
                  <a:pt x="20" y="90"/>
                  <a:pt x="20" y="90"/>
                </a:cubicBezTo>
                <a:cubicBezTo>
                  <a:pt x="24" y="89"/>
                  <a:pt x="24" y="89"/>
                  <a:pt x="24" y="89"/>
                </a:cubicBezTo>
                <a:cubicBezTo>
                  <a:pt x="24" y="88"/>
                  <a:pt x="24" y="88"/>
                  <a:pt x="24" y="88"/>
                </a:cubicBezTo>
                <a:cubicBezTo>
                  <a:pt x="25" y="89"/>
                  <a:pt x="25" y="89"/>
                  <a:pt x="25" y="89"/>
                </a:cubicBezTo>
                <a:cubicBezTo>
                  <a:pt x="26" y="88"/>
                  <a:pt x="26" y="88"/>
                  <a:pt x="26" y="88"/>
                </a:cubicBezTo>
                <a:cubicBezTo>
                  <a:pt x="26" y="85"/>
                  <a:pt x="26" y="85"/>
                  <a:pt x="26" y="85"/>
                </a:cubicBezTo>
                <a:cubicBezTo>
                  <a:pt x="23" y="83"/>
                  <a:pt x="23" y="83"/>
                  <a:pt x="23" y="83"/>
                </a:cubicBezTo>
                <a:cubicBezTo>
                  <a:pt x="20" y="81"/>
                  <a:pt x="20" y="81"/>
                  <a:pt x="20" y="81"/>
                </a:cubicBezTo>
                <a:cubicBezTo>
                  <a:pt x="17" y="81"/>
                  <a:pt x="17" y="81"/>
                  <a:pt x="17" y="81"/>
                </a:cubicBezTo>
                <a:cubicBezTo>
                  <a:pt x="16" y="80"/>
                  <a:pt x="16" y="80"/>
                  <a:pt x="16" y="80"/>
                </a:cubicBezTo>
                <a:cubicBezTo>
                  <a:pt x="15" y="79"/>
                  <a:pt x="15" y="79"/>
                  <a:pt x="15" y="79"/>
                </a:cubicBezTo>
                <a:cubicBezTo>
                  <a:pt x="14" y="79"/>
                  <a:pt x="14" y="79"/>
                  <a:pt x="14" y="79"/>
                </a:cubicBezTo>
                <a:cubicBezTo>
                  <a:pt x="13" y="79"/>
                  <a:pt x="13" y="79"/>
                  <a:pt x="13" y="79"/>
                </a:cubicBezTo>
                <a:cubicBezTo>
                  <a:pt x="12" y="76"/>
                  <a:pt x="12" y="76"/>
                  <a:pt x="12" y="76"/>
                </a:cubicBezTo>
                <a:cubicBezTo>
                  <a:pt x="11" y="74"/>
                  <a:pt x="11" y="74"/>
                  <a:pt x="11" y="74"/>
                </a:cubicBezTo>
                <a:cubicBezTo>
                  <a:pt x="9" y="73"/>
                  <a:pt x="9" y="73"/>
                  <a:pt x="9" y="73"/>
                </a:cubicBezTo>
                <a:cubicBezTo>
                  <a:pt x="8" y="71"/>
                  <a:pt x="8" y="71"/>
                  <a:pt x="8" y="71"/>
                </a:cubicBezTo>
                <a:cubicBezTo>
                  <a:pt x="7" y="70"/>
                  <a:pt x="7" y="70"/>
                  <a:pt x="7" y="70"/>
                </a:cubicBezTo>
                <a:cubicBezTo>
                  <a:pt x="8" y="71"/>
                  <a:pt x="8" y="71"/>
                  <a:pt x="8" y="71"/>
                </a:cubicBezTo>
                <a:cubicBezTo>
                  <a:pt x="9" y="73"/>
                  <a:pt x="9" y="73"/>
                  <a:pt x="9" y="73"/>
                </a:cubicBezTo>
                <a:cubicBezTo>
                  <a:pt x="10" y="73"/>
                  <a:pt x="10" y="73"/>
                  <a:pt x="10" y="73"/>
                </a:cubicBezTo>
                <a:cubicBezTo>
                  <a:pt x="13" y="74"/>
                  <a:pt x="13" y="74"/>
                  <a:pt x="13" y="74"/>
                </a:cubicBezTo>
                <a:cubicBezTo>
                  <a:pt x="13" y="76"/>
                  <a:pt x="13" y="76"/>
                  <a:pt x="13" y="76"/>
                </a:cubicBezTo>
                <a:cubicBezTo>
                  <a:pt x="13" y="78"/>
                  <a:pt x="13" y="78"/>
                  <a:pt x="13" y="78"/>
                </a:cubicBezTo>
                <a:cubicBezTo>
                  <a:pt x="14" y="78"/>
                  <a:pt x="14" y="78"/>
                  <a:pt x="14" y="78"/>
                </a:cubicBezTo>
                <a:cubicBezTo>
                  <a:pt x="17" y="79"/>
                  <a:pt x="17" y="79"/>
                  <a:pt x="17" y="79"/>
                </a:cubicBezTo>
                <a:cubicBezTo>
                  <a:pt x="18" y="81"/>
                  <a:pt x="18" y="81"/>
                  <a:pt x="18" y="81"/>
                </a:cubicBezTo>
                <a:cubicBezTo>
                  <a:pt x="19" y="80"/>
                  <a:pt x="19" y="80"/>
                  <a:pt x="19" y="80"/>
                </a:cubicBezTo>
                <a:cubicBezTo>
                  <a:pt x="22" y="80"/>
                  <a:pt x="22" y="80"/>
                  <a:pt x="22" y="80"/>
                </a:cubicBezTo>
                <a:cubicBezTo>
                  <a:pt x="25" y="80"/>
                  <a:pt x="25" y="80"/>
                  <a:pt x="25" y="80"/>
                </a:cubicBezTo>
                <a:cubicBezTo>
                  <a:pt x="27" y="80"/>
                  <a:pt x="27" y="80"/>
                  <a:pt x="27" y="80"/>
                </a:cubicBezTo>
                <a:cubicBezTo>
                  <a:pt x="29" y="79"/>
                  <a:pt x="29" y="79"/>
                  <a:pt x="29" y="79"/>
                </a:cubicBezTo>
                <a:cubicBezTo>
                  <a:pt x="28" y="78"/>
                  <a:pt x="28" y="78"/>
                  <a:pt x="28" y="78"/>
                </a:cubicBezTo>
                <a:cubicBezTo>
                  <a:pt x="27" y="77"/>
                  <a:pt x="27" y="77"/>
                  <a:pt x="27" y="77"/>
                </a:cubicBezTo>
                <a:cubicBezTo>
                  <a:pt x="26" y="76"/>
                  <a:pt x="26" y="76"/>
                  <a:pt x="26" y="76"/>
                </a:cubicBezTo>
                <a:cubicBezTo>
                  <a:pt x="24" y="76"/>
                  <a:pt x="24" y="76"/>
                  <a:pt x="24" y="76"/>
                </a:cubicBezTo>
                <a:cubicBezTo>
                  <a:pt x="24" y="75"/>
                  <a:pt x="24" y="75"/>
                  <a:pt x="24" y="75"/>
                </a:cubicBezTo>
                <a:cubicBezTo>
                  <a:pt x="25" y="76"/>
                  <a:pt x="25" y="76"/>
                  <a:pt x="25" y="76"/>
                </a:cubicBezTo>
                <a:cubicBezTo>
                  <a:pt x="27" y="75"/>
                  <a:pt x="27" y="75"/>
                  <a:pt x="27" y="75"/>
                </a:cubicBezTo>
                <a:cubicBezTo>
                  <a:pt x="29" y="77"/>
                  <a:pt x="29" y="77"/>
                  <a:pt x="29" y="77"/>
                </a:cubicBezTo>
                <a:cubicBezTo>
                  <a:pt x="30" y="77"/>
                  <a:pt x="30" y="77"/>
                  <a:pt x="30" y="77"/>
                </a:cubicBezTo>
                <a:cubicBezTo>
                  <a:pt x="30" y="76"/>
                  <a:pt x="30" y="76"/>
                  <a:pt x="30" y="76"/>
                </a:cubicBezTo>
                <a:cubicBezTo>
                  <a:pt x="30" y="75"/>
                  <a:pt x="30" y="75"/>
                  <a:pt x="30" y="75"/>
                </a:cubicBezTo>
                <a:cubicBezTo>
                  <a:pt x="31" y="74"/>
                  <a:pt x="31" y="74"/>
                  <a:pt x="31" y="74"/>
                </a:cubicBezTo>
                <a:cubicBezTo>
                  <a:pt x="31" y="73"/>
                  <a:pt x="31" y="73"/>
                  <a:pt x="31" y="73"/>
                </a:cubicBezTo>
                <a:cubicBezTo>
                  <a:pt x="31" y="71"/>
                  <a:pt x="31" y="71"/>
                  <a:pt x="31" y="71"/>
                </a:cubicBezTo>
                <a:cubicBezTo>
                  <a:pt x="29" y="70"/>
                  <a:pt x="29" y="70"/>
                  <a:pt x="29" y="70"/>
                </a:cubicBezTo>
                <a:cubicBezTo>
                  <a:pt x="29" y="69"/>
                  <a:pt x="29" y="69"/>
                  <a:pt x="29" y="69"/>
                </a:cubicBezTo>
                <a:cubicBezTo>
                  <a:pt x="31" y="70"/>
                  <a:pt x="31" y="70"/>
                  <a:pt x="31" y="70"/>
                </a:cubicBezTo>
                <a:cubicBezTo>
                  <a:pt x="31" y="71"/>
                  <a:pt x="31" y="71"/>
                  <a:pt x="31" y="71"/>
                </a:cubicBezTo>
                <a:cubicBezTo>
                  <a:pt x="34" y="73"/>
                  <a:pt x="34" y="73"/>
                  <a:pt x="34" y="73"/>
                </a:cubicBezTo>
                <a:cubicBezTo>
                  <a:pt x="35" y="73"/>
                  <a:pt x="35" y="73"/>
                  <a:pt x="35" y="73"/>
                </a:cubicBezTo>
                <a:cubicBezTo>
                  <a:pt x="35" y="72"/>
                  <a:pt x="35" y="72"/>
                  <a:pt x="35" y="72"/>
                </a:cubicBezTo>
                <a:cubicBezTo>
                  <a:pt x="35" y="71"/>
                  <a:pt x="35" y="71"/>
                  <a:pt x="35" y="71"/>
                </a:cubicBezTo>
                <a:cubicBezTo>
                  <a:pt x="35" y="71"/>
                  <a:pt x="35" y="71"/>
                  <a:pt x="35" y="71"/>
                </a:cubicBezTo>
                <a:cubicBezTo>
                  <a:pt x="36" y="73"/>
                  <a:pt x="36" y="73"/>
                  <a:pt x="36" y="73"/>
                </a:cubicBezTo>
                <a:cubicBezTo>
                  <a:pt x="37" y="73"/>
                  <a:pt x="37" y="73"/>
                  <a:pt x="37" y="73"/>
                </a:cubicBezTo>
                <a:cubicBezTo>
                  <a:pt x="37" y="72"/>
                  <a:pt x="37" y="72"/>
                  <a:pt x="37" y="72"/>
                </a:cubicBezTo>
                <a:cubicBezTo>
                  <a:pt x="36" y="70"/>
                  <a:pt x="36" y="70"/>
                  <a:pt x="36" y="70"/>
                </a:cubicBezTo>
                <a:cubicBezTo>
                  <a:pt x="37" y="68"/>
                  <a:pt x="37" y="68"/>
                  <a:pt x="37" y="68"/>
                </a:cubicBezTo>
                <a:cubicBezTo>
                  <a:pt x="38" y="69"/>
                  <a:pt x="38" y="69"/>
                  <a:pt x="38" y="69"/>
                </a:cubicBezTo>
                <a:cubicBezTo>
                  <a:pt x="40" y="70"/>
                  <a:pt x="40" y="70"/>
                  <a:pt x="40" y="70"/>
                </a:cubicBezTo>
                <a:cubicBezTo>
                  <a:pt x="41" y="72"/>
                  <a:pt x="41" y="72"/>
                  <a:pt x="41" y="72"/>
                </a:cubicBezTo>
                <a:cubicBezTo>
                  <a:pt x="42" y="72"/>
                  <a:pt x="42" y="72"/>
                  <a:pt x="42" y="72"/>
                </a:cubicBezTo>
                <a:cubicBezTo>
                  <a:pt x="44" y="72"/>
                  <a:pt x="44" y="72"/>
                  <a:pt x="44" y="72"/>
                </a:cubicBezTo>
                <a:cubicBezTo>
                  <a:pt x="44" y="73"/>
                  <a:pt x="44" y="73"/>
                  <a:pt x="44" y="73"/>
                </a:cubicBezTo>
                <a:cubicBezTo>
                  <a:pt x="45" y="71"/>
                  <a:pt x="45" y="71"/>
                  <a:pt x="45" y="71"/>
                </a:cubicBezTo>
                <a:cubicBezTo>
                  <a:pt x="45" y="73"/>
                  <a:pt x="45" y="73"/>
                  <a:pt x="45" y="73"/>
                </a:cubicBezTo>
                <a:cubicBezTo>
                  <a:pt x="45" y="74"/>
                  <a:pt x="45" y="74"/>
                  <a:pt x="45" y="74"/>
                </a:cubicBezTo>
                <a:cubicBezTo>
                  <a:pt x="46" y="74"/>
                  <a:pt x="46" y="74"/>
                  <a:pt x="46" y="74"/>
                </a:cubicBezTo>
                <a:cubicBezTo>
                  <a:pt x="48" y="76"/>
                  <a:pt x="48" y="76"/>
                  <a:pt x="48" y="76"/>
                </a:cubicBezTo>
                <a:cubicBezTo>
                  <a:pt x="54" y="77"/>
                  <a:pt x="54" y="77"/>
                  <a:pt x="54" y="77"/>
                </a:cubicBezTo>
                <a:cubicBezTo>
                  <a:pt x="55" y="78"/>
                  <a:pt x="55" y="78"/>
                  <a:pt x="55" y="78"/>
                </a:cubicBezTo>
                <a:cubicBezTo>
                  <a:pt x="57" y="80"/>
                  <a:pt x="57" y="80"/>
                  <a:pt x="57" y="80"/>
                </a:cubicBezTo>
                <a:cubicBezTo>
                  <a:pt x="58" y="83"/>
                  <a:pt x="58" y="83"/>
                  <a:pt x="58" y="83"/>
                </a:cubicBezTo>
                <a:cubicBezTo>
                  <a:pt x="61" y="87"/>
                  <a:pt x="61" y="87"/>
                  <a:pt x="61" y="87"/>
                </a:cubicBezTo>
                <a:cubicBezTo>
                  <a:pt x="61" y="88"/>
                  <a:pt x="61" y="88"/>
                  <a:pt x="61" y="88"/>
                </a:cubicBezTo>
                <a:cubicBezTo>
                  <a:pt x="63" y="89"/>
                  <a:pt x="63" y="89"/>
                  <a:pt x="63" y="89"/>
                </a:cubicBezTo>
                <a:cubicBezTo>
                  <a:pt x="64" y="90"/>
                  <a:pt x="64" y="90"/>
                  <a:pt x="64" y="90"/>
                </a:cubicBezTo>
                <a:cubicBezTo>
                  <a:pt x="65" y="91"/>
                  <a:pt x="65" y="91"/>
                  <a:pt x="65" y="91"/>
                </a:cubicBezTo>
                <a:cubicBezTo>
                  <a:pt x="70" y="97"/>
                  <a:pt x="70" y="97"/>
                  <a:pt x="70" y="97"/>
                </a:cubicBezTo>
                <a:cubicBezTo>
                  <a:pt x="70" y="98"/>
                  <a:pt x="70" y="98"/>
                  <a:pt x="70" y="98"/>
                </a:cubicBezTo>
                <a:cubicBezTo>
                  <a:pt x="72" y="99"/>
                  <a:pt x="72" y="99"/>
                  <a:pt x="72" y="99"/>
                </a:cubicBezTo>
                <a:cubicBezTo>
                  <a:pt x="75" y="100"/>
                  <a:pt x="75" y="100"/>
                  <a:pt x="75" y="100"/>
                </a:cubicBezTo>
                <a:cubicBezTo>
                  <a:pt x="76" y="100"/>
                  <a:pt x="76" y="100"/>
                  <a:pt x="76" y="100"/>
                </a:cubicBezTo>
                <a:cubicBezTo>
                  <a:pt x="77" y="100"/>
                  <a:pt x="77" y="100"/>
                  <a:pt x="77" y="100"/>
                </a:cubicBezTo>
                <a:cubicBezTo>
                  <a:pt x="79" y="101"/>
                  <a:pt x="79" y="101"/>
                  <a:pt x="79" y="101"/>
                </a:cubicBezTo>
                <a:cubicBezTo>
                  <a:pt x="82" y="100"/>
                  <a:pt x="82" y="100"/>
                  <a:pt x="82" y="100"/>
                </a:cubicBezTo>
                <a:cubicBezTo>
                  <a:pt x="84" y="101"/>
                  <a:pt x="84" y="101"/>
                  <a:pt x="84" y="101"/>
                </a:cubicBezTo>
                <a:cubicBezTo>
                  <a:pt x="86" y="101"/>
                  <a:pt x="86" y="101"/>
                  <a:pt x="86" y="101"/>
                </a:cubicBezTo>
                <a:cubicBezTo>
                  <a:pt x="89" y="101"/>
                  <a:pt x="89" y="101"/>
                  <a:pt x="89" y="101"/>
                </a:cubicBezTo>
                <a:cubicBezTo>
                  <a:pt x="91" y="102"/>
                  <a:pt x="91" y="102"/>
                  <a:pt x="91" y="102"/>
                </a:cubicBezTo>
                <a:cubicBezTo>
                  <a:pt x="93" y="102"/>
                  <a:pt x="93" y="102"/>
                  <a:pt x="93" y="102"/>
                </a:cubicBezTo>
                <a:cubicBezTo>
                  <a:pt x="94" y="103"/>
                  <a:pt x="94" y="103"/>
                  <a:pt x="94" y="103"/>
                </a:cubicBezTo>
                <a:cubicBezTo>
                  <a:pt x="96" y="103"/>
                  <a:pt x="96" y="103"/>
                  <a:pt x="96" y="103"/>
                </a:cubicBezTo>
                <a:cubicBezTo>
                  <a:pt x="97" y="104"/>
                  <a:pt x="97" y="104"/>
                  <a:pt x="97" y="104"/>
                </a:cubicBezTo>
                <a:cubicBezTo>
                  <a:pt x="95" y="105"/>
                  <a:pt x="95" y="105"/>
                  <a:pt x="95" y="105"/>
                </a:cubicBezTo>
                <a:cubicBezTo>
                  <a:pt x="98" y="105"/>
                  <a:pt x="98" y="105"/>
                  <a:pt x="98" y="105"/>
                </a:cubicBezTo>
                <a:cubicBezTo>
                  <a:pt x="100" y="107"/>
                  <a:pt x="100" y="107"/>
                  <a:pt x="100" y="107"/>
                </a:cubicBezTo>
                <a:cubicBezTo>
                  <a:pt x="102" y="106"/>
                  <a:pt x="102" y="106"/>
                  <a:pt x="102" y="106"/>
                </a:cubicBezTo>
                <a:cubicBezTo>
                  <a:pt x="103" y="105"/>
                  <a:pt x="103" y="105"/>
                  <a:pt x="103" y="105"/>
                </a:cubicBezTo>
                <a:cubicBezTo>
                  <a:pt x="100" y="103"/>
                  <a:pt x="100" y="103"/>
                  <a:pt x="100" y="103"/>
                </a:cubicBezTo>
                <a:cubicBezTo>
                  <a:pt x="100" y="103"/>
                  <a:pt x="100" y="103"/>
                  <a:pt x="100" y="103"/>
                </a:cubicBezTo>
                <a:cubicBezTo>
                  <a:pt x="100" y="102"/>
                  <a:pt x="100" y="102"/>
                  <a:pt x="100" y="102"/>
                </a:cubicBezTo>
                <a:cubicBezTo>
                  <a:pt x="101" y="102"/>
                  <a:pt x="101" y="102"/>
                  <a:pt x="101" y="102"/>
                </a:cubicBezTo>
                <a:cubicBezTo>
                  <a:pt x="103" y="102"/>
                  <a:pt x="103" y="102"/>
                  <a:pt x="103" y="102"/>
                </a:cubicBezTo>
                <a:cubicBezTo>
                  <a:pt x="105" y="101"/>
                  <a:pt x="105" y="101"/>
                  <a:pt x="105" y="101"/>
                </a:cubicBezTo>
                <a:cubicBezTo>
                  <a:pt x="101" y="100"/>
                  <a:pt x="101" y="100"/>
                  <a:pt x="101" y="100"/>
                </a:cubicBezTo>
                <a:cubicBezTo>
                  <a:pt x="96" y="100"/>
                  <a:pt x="96" y="100"/>
                  <a:pt x="96" y="100"/>
                </a:cubicBezTo>
                <a:cubicBezTo>
                  <a:pt x="94" y="98"/>
                  <a:pt x="94" y="98"/>
                  <a:pt x="94" y="98"/>
                </a:cubicBezTo>
                <a:cubicBezTo>
                  <a:pt x="93" y="97"/>
                  <a:pt x="93" y="97"/>
                  <a:pt x="93" y="97"/>
                </a:cubicBezTo>
                <a:cubicBezTo>
                  <a:pt x="95" y="96"/>
                  <a:pt x="95" y="96"/>
                  <a:pt x="95" y="96"/>
                </a:cubicBezTo>
                <a:cubicBezTo>
                  <a:pt x="97" y="96"/>
                  <a:pt x="97" y="96"/>
                  <a:pt x="97" y="96"/>
                </a:cubicBezTo>
                <a:cubicBezTo>
                  <a:pt x="98" y="95"/>
                  <a:pt x="98" y="95"/>
                  <a:pt x="98" y="95"/>
                </a:cubicBezTo>
                <a:cubicBezTo>
                  <a:pt x="96" y="94"/>
                  <a:pt x="96" y="94"/>
                  <a:pt x="96" y="94"/>
                </a:cubicBezTo>
                <a:cubicBezTo>
                  <a:pt x="93" y="94"/>
                  <a:pt x="93" y="94"/>
                  <a:pt x="93" y="94"/>
                </a:cubicBezTo>
                <a:cubicBezTo>
                  <a:pt x="89" y="94"/>
                  <a:pt x="89" y="94"/>
                  <a:pt x="89" y="94"/>
                </a:cubicBezTo>
                <a:cubicBezTo>
                  <a:pt x="88" y="93"/>
                  <a:pt x="88" y="93"/>
                  <a:pt x="88" y="93"/>
                </a:cubicBezTo>
                <a:cubicBezTo>
                  <a:pt x="88" y="91"/>
                  <a:pt x="88" y="91"/>
                  <a:pt x="88" y="91"/>
                </a:cubicBezTo>
                <a:cubicBezTo>
                  <a:pt x="89" y="90"/>
                  <a:pt x="89" y="90"/>
                  <a:pt x="89" y="90"/>
                </a:cubicBezTo>
                <a:cubicBezTo>
                  <a:pt x="89" y="88"/>
                  <a:pt x="89" y="88"/>
                  <a:pt x="89" y="88"/>
                </a:cubicBezTo>
                <a:cubicBezTo>
                  <a:pt x="88" y="87"/>
                  <a:pt x="88" y="87"/>
                  <a:pt x="88" y="87"/>
                </a:cubicBezTo>
                <a:cubicBezTo>
                  <a:pt x="87" y="87"/>
                  <a:pt x="87" y="87"/>
                  <a:pt x="87" y="87"/>
                </a:cubicBezTo>
                <a:cubicBezTo>
                  <a:pt x="86" y="88"/>
                  <a:pt x="86" y="88"/>
                  <a:pt x="86" y="88"/>
                </a:cubicBezTo>
                <a:cubicBezTo>
                  <a:pt x="84" y="87"/>
                  <a:pt x="84" y="87"/>
                  <a:pt x="84" y="87"/>
                </a:cubicBezTo>
                <a:cubicBezTo>
                  <a:pt x="83" y="88"/>
                  <a:pt x="83" y="88"/>
                  <a:pt x="83" y="88"/>
                </a:cubicBezTo>
                <a:cubicBezTo>
                  <a:pt x="81" y="86"/>
                  <a:pt x="81" y="86"/>
                  <a:pt x="81" y="86"/>
                </a:cubicBezTo>
                <a:cubicBezTo>
                  <a:pt x="81" y="83"/>
                  <a:pt x="81" y="83"/>
                  <a:pt x="81" y="83"/>
                </a:cubicBezTo>
                <a:cubicBezTo>
                  <a:pt x="79" y="82"/>
                  <a:pt x="79" y="82"/>
                  <a:pt x="79" y="82"/>
                </a:cubicBezTo>
                <a:cubicBezTo>
                  <a:pt x="78" y="77"/>
                  <a:pt x="78" y="77"/>
                  <a:pt x="78" y="77"/>
                </a:cubicBezTo>
                <a:cubicBezTo>
                  <a:pt x="77" y="77"/>
                  <a:pt x="77" y="77"/>
                  <a:pt x="77" y="77"/>
                </a:cubicBezTo>
                <a:cubicBezTo>
                  <a:pt x="76" y="75"/>
                  <a:pt x="76" y="75"/>
                  <a:pt x="76" y="75"/>
                </a:cubicBezTo>
                <a:cubicBezTo>
                  <a:pt x="74" y="75"/>
                  <a:pt x="74" y="75"/>
                  <a:pt x="74" y="75"/>
                </a:cubicBezTo>
                <a:cubicBezTo>
                  <a:pt x="72" y="74"/>
                  <a:pt x="72" y="74"/>
                  <a:pt x="72" y="74"/>
                </a:cubicBezTo>
                <a:cubicBezTo>
                  <a:pt x="71" y="72"/>
                  <a:pt x="71" y="72"/>
                  <a:pt x="71" y="72"/>
                </a:cubicBezTo>
                <a:cubicBezTo>
                  <a:pt x="69" y="70"/>
                  <a:pt x="69" y="70"/>
                  <a:pt x="69" y="70"/>
                </a:cubicBezTo>
                <a:cubicBezTo>
                  <a:pt x="68" y="67"/>
                  <a:pt x="68" y="67"/>
                  <a:pt x="68" y="67"/>
                </a:cubicBezTo>
                <a:cubicBezTo>
                  <a:pt x="67" y="66"/>
                  <a:pt x="67" y="66"/>
                  <a:pt x="67" y="66"/>
                </a:cubicBezTo>
                <a:cubicBezTo>
                  <a:pt x="65" y="63"/>
                  <a:pt x="65" y="63"/>
                  <a:pt x="65" y="63"/>
                </a:cubicBezTo>
                <a:cubicBezTo>
                  <a:pt x="66" y="63"/>
                  <a:pt x="66" y="63"/>
                  <a:pt x="66" y="63"/>
                </a:cubicBezTo>
                <a:cubicBezTo>
                  <a:pt x="70" y="63"/>
                  <a:pt x="70" y="63"/>
                  <a:pt x="70" y="63"/>
                </a:cubicBezTo>
                <a:cubicBezTo>
                  <a:pt x="74" y="61"/>
                  <a:pt x="74" y="61"/>
                  <a:pt x="74" y="61"/>
                </a:cubicBezTo>
                <a:cubicBezTo>
                  <a:pt x="75" y="59"/>
                  <a:pt x="75" y="59"/>
                  <a:pt x="75" y="59"/>
                </a:cubicBezTo>
                <a:cubicBezTo>
                  <a:pt x="75" y="57"/>
                  <a:pt x="75" y="57"/>
                  <a:pt x="75" y="57"/>
                </a:cubicBezTo>
                <a:cubicBezTo>
                  <a:pt x="72" y="54"/>
                  <a:pt x="72" y="54"/>
                  <a:pt x="72" y="54"/>
                </a:cubicBezTo>
                <a:cubicBezTo>
                  <a:pt x="69" y="53"/>
                  <a:pt x="69" y="53"/>
                  <a:pt x="69" y="53"/>
                </a:cubicBezTo>
                <a:cubicBezTo>
                  <a:pt x="68" y="54"/>
                  <a:pt x="68" y="54"/>
                  <a:pt x="68" y="54"/>
                </a:cubicBezTo>
                <a:cubicBezTo>
                  <a:pt x="66" y="53"/>
                  <a:pt x="66" y="53"/>
                  <a:pt x="66" y="53"/>
                </a:cubicBezTo>
                <a:cubicBezTo>
                  <a:pt x="62" y="51"/>
                  <a:pt x="62" y="51"/>
                  <a:pt x="62" y="51"/>
                </a:cubicBezTo>
                <a:cubicBezTo>
                  <a:pt x="60" y="49"/>
                  <a:pt x="60" y="49"/>
                  <a:pt x="60" y="49"/>
                </a:cubicBezTo>
                <a:cubicBezTo>
                  <a:pt x="58" y="49"/>
                  <a:pt x="58" y="49"/>
                  <a:pt x="58" y="49"/>
                </a:cubicBezTo>
                <a:cubicBezTo>
                  <a:pt x="53" y="48"/>
                  <a:pt x="53" y="48"/>
                  <a:pt x="53" y="48"/>
                </a:cubicBezTo>
                <a:cubicBezTo>
                  <a:pt x="52" y="46"/>
                  <a:pt x="52" y="46"/>
                  <a:pt x="52" y="46"/>
                </a:cubicBezTo>
                <a:cubicBezTo>
                  <a:pt x="54" y="44"/>
                  <a:pt x="54" y="44"/>
                  <a:pt x="54" y="44"/>
                </a:cubicBezTo>
                <a:cubicBezTo>
                  <a:pt x="54" y="42"/>
                  <a:pt x="54" y="42"/>
                  <a:pt x="54" y="42"/>
                </a:cubicBezTo>
                <a:cubicBezTo>
                  <a:pt x="53" y="40"/>
                  <a:pt x="53" y="40"/>
                  <a:pt x="53" y="40"/>
                </a:cubicBezTo>
                <a:cubicBezTo>
                  <a:pt x="49" y="36"/>
                  <a:pt x="49" y="36"/>
                  <a:pt x="49" y="36"/>
                </a:cubicBezTo>
                <a:cubicBezTo>
                  <a:pt x="48" y="36"/>
                  <a:pt x="48" y="36"/>
                  <a:pt x="48" y="36"/>
                </a:cubicBezTo>
                <a:cubicBezTo>
                  <a:pt x="47" y="37"/>
                  <a:pt x="47" y="37"/>
                  <a:pt x="47" y="37"/>
                </a:cubicBezTo>
                <a:cubicBezTo>
                  <a:pt x="46" y="35"/>
                  <a:pt x="46" y="35"/>
                  <a:pt x="46" y="35"/>
                </a:cubicBezTo>
                <a:cubicBezTo>
                  <a:pt x="44" y="34"/>
                  <a:pt x="44" y="34"/>
                  <a:pt x="44" y="34"/>
                </a:cubicBezTo>
                <a:cubicBezTo>
                  <a:pt x="43" y="32"/>
                  <a:pt x="43" y="32"/>
                  <a:pt x="43" y="32"/>
                </a:cubicBezTo>
                <a:cubicBezTo>
                  <a:pt x="41" y="32"/>
                  <a:pt x="41" y="32"/>
                  <a:pt x="41" y="32"/>
                </a:cubicBezTo>
                <a:cubicBezTo>
                  <a:pt x="40" y="30"/>
                  <a:pt x="40" y="30"/>
                  <a:pt x="40" y="30"/>
                </a:cubicBezTo>
                <a:cubicBezTo>
                  <a:pt x="39" y="30"/>
                  <a:pt x="39" y="30"/>
                  <a:pt x="39" y="30"/>
                </a:cubicBezTo>
                <a:cubicBezTo>
                  <a:pt x="37" y="29"/>
                  <a:pt x="37" y="29"/>
                  <a:pt x="37" y="29"/>
                </a:cubicBezTo>
                <a:cubicBezTo>
                  <a:pt x="35" y="29"/>
                  <a:pt x="35" y="29"/>
                  <a:pt x="35" y="29"/>
                </a:cubicBezTo>
                <a:cubicBezTo>
                  <a:pt x="33" y="27"/>
                  <a:pt x="33" y="27"/>
                  <a:pt x="33" y="27"/>
                </a:cubicBezTo>
                <a:cubicBezTo>
                  <a:pt x="30" y="27"/>
                  <a:pt x="30" y="27"/>
                  <a:pt x="30" y="27"/>
                </a:cubicBezTo>
                <a:cubicBezTo>
                  <a:pt x="26" y="25"/>
                  <a:pt x="26" y="25"/>
                  <a:pt x="26" y="25"/>
                </a:cubicBezTo>
                <a:cubicBezTo>
                  <a:pt x="20" y="24"/>
                  <a:pt x="20" y="24"/>
                  <a:pt x="20" y="24"/>
                </a:cubicBezTo>
                <a:cubicBezTo>
                  <a:pt x="18" y="23"/>
                  <a:pt x="18" y="23"/>
                  <a:pt x="18" y="23"/>
                </a:cubicBezTo>
                <a:cubicBezTo>
                  <a:pt x="17" y="22"/>
                  <a:pt x="17" y="22"/>
                  <a:pt x="17" y="22"/>
                </a:cubicBezTo>
                <a:cubicBezTo>
                  <a:pt x="16" y="22"/>
                  <a:pt x="16" y="22"/>
                  <a:pt x="16" y="22"/>
                </a:cubicBezTo>
                <a:cubicBezTo>
                  <a:pt x="15" y="22"/>
                  <a:pt x="15" y="22"/>
                  <a:pt x="15" y="22"/>
                </a:cubicBezTo>
                <a:cubicBezTo>
                  <a:pt x="11" y="20"/>
                  <a:pt x="11" y="20"/>
                  <a:pt x="11" y="20"/>
                </a:cubicBezTo>
                <a:cubicBezTo>
                  <a:pt x="10" y="19"/>
                  <a:pt x="10" y="19"/>
                  <a:pt x="10" y="19"/>
                </a:cubicBezTo>
                <a:cubicBezTo>
                  <a:pt x="8" y="19"/>
                  <a:pt x="8" y="19"/>
                  <a:pt x="8" y="19"/>
                </a:cubicBezTo>
                <a:cubicBezTo>
                  <a:pt x="5" y="17"/>
                  <a:pt x="5" y="17"/>
                  <a:pt x="5" y="17"/>
                </a:cubicBezTo>
                <a:lnTo>
                  <a:pt x="3" y="1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38" name="Freeform 179"/>
          <p:cNvSpPr>
            <a:spLocks noEditPoints="1"/>
          </p:cNvSpPr>
          <p:nvPr/>
        </p:nvSpPr>
        <p:spPr bwMode="auto">
          <a:xfrm>
            <a:off x="9966325" y="4932363"/>
            <a:ext cx="420687" cy="633413"/>
          </a:xfrm>
          <a:custGeom>
            <a:avLst/>
            <a:gdLst>
              <a:gd name="T0" fmla="*/ 41 w 106"/>
              <a:gd name="T1" fmla="*/ 3 h 160"/>
              <a:gd name="T2" fmla="*/ 53 w 106"/>
              <a:gd name="T3" fmla="*/ 63 h 160"/>
              <a:gd name="T4" fmla="*/ 67 w 106"/>
              <a:gd name="T5" fmla="*/ 66 h 160"/>
              <a:gd name="T6" fmla="*/ 74 w 106"/>
              <a:gd name="T7" fmla="*/ 76 h 160"/>
              <a:gd name="T8" fmla="*/ 72 w 106"/>
              <a:gd name="T9" fmla="*/ 78 h 160"/>
              <a:gd name="T10" fmla="*/ 57 w 106"/>
              <a:gd name="T11" fmla="*/ 66 h 160"/>
              <a:gd name="T12" fmla="*/ 44 w 106"/>
              <a:gd name="T13" fmla="*/ 69 h 160"/>
              <a:gd name="T14" fmla="*/ 37 w 106"/>
              <a:gd name="T15" fmla="*/ 60 h 160"/>
              <a:gd name="T16" fmla="*/ 29 w 106"/>
              <a:gd name="T17" fmla="*/ 55 h 160"/>
              <a:gd name="T18" fmla="*/ 28 w 106"/>
              <a:gd name="T19" fmla="*/ 39 h 160"/>
              <a:gd name="T20" fmla="*/ 39 w 106"/>
              <a:gd name="T21" fmla="*/ 12 h 160"/>
              <a:gd name="T22" fmla="*/ 48 w 106"/>
              <a:gd name="T23" fmla="*/ 20 h 160"/>
              <a:gd name="T24" fmla="*/ 49 w 106"/>
              <a:gd name="T25" fmla="*/ 39 h 160"/>
              <a:gd name="T26" fmla="*/ 50 w 106"/>
              <a:gd name="T27" fmla="*/ 61 h 160"/>
              <a:gd name="T28" fmla="*/ 52 w 106"/>
              <a:gd name="T29" fmla="*/ 52 h 160"/>
              <a:gd name="T30" fmla="*/ 35 w 106"/>
              <a:gd name="T31" fmla="*/ 72 h 160"/>
              <a:gd name="T32" fmla="*/ 47 w 106"/>
              <a:gd name="T33" fmla="*/ 82 h 160"/>
              <a:gd name="T34" fmla="*/ 75 w 106"/>
              <a:gd name="T35" fmla="*/ 64 h 160"/>
              <a:gd name="T36" fmla="*/ 53 w 106"/>
              <a:gd name="T37" fmla="*/ 72 h 160"/>
              <a:gd name="T38" fmla="*/ 55 w 106"/>
              <a:gd name="T39" fmla="*/ 84 h 160"/>
              <a:gd name="T40" fmla="*/ 63 w 106"/>
              <a:gd name="T41" fmla="*/ 74 h 160"/>
              <a:gd name="T42" fmla="*/ 70 w 106"/>
              <a:gd name="T43" fmla="*/ 80 h 160"/>
              <a:gd name="T44" fmla="*/ 68 w 106"/>
              <a:gd name="T45" fmla="*/ 82 h 160"/>
              <a:gd name="T46" fmla="*/ 54 w 106"/>
              <a:gd name="T47" fmla="*/ 105 h 160"/>
              <a:gd name="T48" fmla="*/ 57 w 106"/>
              <a:gd name="T49" fmla="*/ 91 h 160"/>
              <a:gd name="T50" fmla="*/ 64 w 106"/>
              <a:gd name="T51" fmla="*/ 98 h 160"/>
              <a:gd name="T52" fmla="*/ 62 w 106"/>
              <a:gd name="T53" fmla="*/ 104 h 160"/>
              <a:gd name="T54" fmla="*/ 75 w 106"/>
              <a:gd name="T55" fmla="*/ 104 h 160"/>
              <a:gd name="T56" fmla="*/ 70 w 106"/>
              <a:gd name="T57" fmla="*/ 116 h 160"/>
              <a:gd name="T58" fmla="*/ 63 w 106"/>
              <a:gd name="T59" fmla="*/ 105 h 160"/>
              <a:gd name="T60" fmla="*/ 69 w 106"/>
              <a:gd name="T61" fmla="*/ 120 h 160"/>
              <a:gd name="T62" fmla="*/ 81 w 106"/>
              <a:gd name="T63" fmla="*/ 109 h 160"/>
              <a:gd name="T64" fmla="*/ 90 w 106"/>
              <a:gd name="T65" fmla="*/ 111 h 160"/>
              <a:gd name="T66" fmla="*/ 81 w 106"/>
              <a:gd name="T67" fmla="*/ 94 h 160"/>
              <a:gd name="T68" fmla="*/ 94 w 106"/>
              <a:gd name="T69" fmla="*/ 98 h 160"/>
              <a:gd name="T70" fmla="*/ 85 w 106"/>
              <a:gd name="T71" fmla="*/ 81 h 160"/>
              <a:gd name="T72" fmla="*/ 85 w 106"/>
              <a:gd name="T73" fmla="*/ 91 h 160"/>
              <a:gd name="T74" fmla="*/ 80 w 106"/>
              <a:gd name="T75" fmla="*/ 97 h 160"/>
              <a:gd name="T76" fmla="*/ 89 w 106"/>
              <a:gd name="T77" fmla="*/ 108 h 160"/>
              <a:gd name="T78" fmla="*/ 95 w 106"/>
              <a:gd name="T79" fmla="*/ 100 h 160"/>
              <a:gd name="T80" fmla="*/ 94 w 106"/>
              <a:gd name="T81" fmla="*/ 105 h 160"/>
              <a:gd name="T82" fmla="*/ 97 w 106"/>
              <a:gd name="T83" fmla="*/ 113 h 160"/>
              <a:gd name="T84" fmla="*/ 57 w 106"/>
              <a:gd name="T85" fmla="*/ 138 h 160"/>
              <a:gd name="T86" fmla="*/ 72 w 106"/>
              <a:gd name="T87" fmla="*/ 125 h 160"/>
              <a:gd name="T88" fmla="*/ 85 w 106"/>
              <a:gd name="T89" fmla="*/ 126 h 160"/>
              <a:gd name="T90" fmla="*/ 91 w 106"/>
              <a:gd name="T91" fmla="*/ 113 h 160"/>
              <a:gd name="T92" fmla="*/ 100 w 106"/>
              <a:gd name="T93" fmla="*/ 126 h 160"/>
              <a:gd name="T94" fmla="*/ 105 w 106"/>
              <a:gd name="T95" fmla="*/ 145 h 160"/>
              <a:gd name="T96" fmla="*/ 101 w 106"/>
              <a:gd name="T97" fmla="*/ 146 h 160"/>
              <a:gd name="T98" fmla="*/ 94 w 106"/>
              <a:gd name="T99" fmla="*/ 159 h 160"/>
              <a:gd name="T100" fmla="*/ 82 w 106"/>
              <a:gd name="T101" fmla="*/ 156 h 160"/>
              <a:gd name="T102" fmla="*/ 79 w 106"/>
              <a:gd name="T103" fmla="*/ 142 h 160"/>
              <a:gd name="T104" fmla="*/ 69 w 106"/>
              <a:gd name="T105" fmla="*/ 139 h 160"/>
              <a:gd name="T106" fmla="*/ 62 w 106"/>
              <a:gd name="T107" fmla="*/ 136 h 160"/>
              <a:gd name="T108" fmla="*/ 58 w 106"/>
              <a:gd name="T109" fmla="*/ 148 h 160"/>
              <a:gd name="T110" fmla="*/ 34 w 106"/>
              <a:gd name="T111" fmla="*/ 87 h 160"/>
              <a:gd name="T112" fmla="*/ 28 w 106"/>
              <a:gd name="T113" fmla="*/ 88 h 160"/>
              <a:gd name="T114" fmla="*/ 5 w 106"/>
              <a:gd name="T115" fmla="*/ 126 h 160"/>
              <a:gd name="T116" fmla="*/ 23 w 106"/>
              <a:gd name="T117" fmla="*/ 110 h 160"/>
              <a:gd name="T118" fmla="*/ 24 w 106"/>
              <a:gd name="T119" fmla="*/ 102 h 160"/>
              <a:gd name="T120" fmla="*/ 10 w 106"/>
              <a:gd name="T121" fmla="*/ 119 h 160"/>
              <a:gd name="T122" fmla="*/ 4 w 106"/>
              <a:gd name="T123" fmla="*/ 13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160">
                <a:moveTo>
                  <a:pt x="38" y="8"/>
                </a:moveTo>
                <a:cubicBezTo>
                  <a:pt x="40" y="8"/>
                  <a:pt x="40" y="8"/>
                  <a:pt x="40" y="8"/>
                </a:cubicBezTo>
                <a:cubicBezTo>
                  <a:pt x="39" y="9"/>
                  <a:pt x="39" y="9"/>
                  <a:pt x="39" y="9"/>
                </a:cubicBezTo>
                <a:cubicBezTo>
                  <a:pt x="38" y="8"/>
                  <a:pt x="38" y="8"/>
                  <a:pt x="38" y="8"/>
                </a:cubicBezTo>
                <a:close/>
                <a:moveTo>
                  <a:pt x="36" y="3"/>
                </a:moveTo>
                <a:cubicBezTo>
                  <a:pt x="38" y="5"/>
                  <a:pt x="38" y="5"/>
                  <a:pt x="38" y="5"/>
                </a:cubicBezTo>
                <a:cubicBezTo>
                  <a:pt x="36" y="5"/>
                  <a:pt x="36" y="5"/>
                  <a:pt x="36" y="5"/>
                </a:cubicBezTo>
                <a:cubicBezTo>
                  <a:pt x="36" y="3"/>
                  <a:pt x="36" y="3"/>
                  <a:pt x="36" y="3"/>
                </a:cubicBezTo>
                <a:close/>
                <a:moveTo>
                  <a:pt x="41" y="0"/>
                </a:moveTo>
                <a:cubicBezTo>
                  <a:pt x="39" y="2"/>
                  <a:pt x="39" y="2"/>
                  <a:pt x="39" y="2"/>
                </a:cubicBezTo>
                <a:cubicBezTo>
                  <a:pt x="41" y="3"/>
                  <a:pt x="41" y="3"/>
                  <a:pt x="41" y="3"/>
                </a:cubicBezTo>
                <a:cubicBezTo>
                  <a:pt x="41" y="0"/>
                  <a:pt x="41" y="0"/>
                  <a:pt x="41" y="0"/>
                </a:cubicBezTo>
                <a:close/>
                <a:moveTo>
                  <a:pt x="46" y="6"/>
                </a:moveTo>
                <a:cubicBezTo>
                  <a:pt x="44" y="7"/>
                  <a:pt x="44" y="7"/>
                  <a:pt x="44" y="7"/>
                </a:cubicBezTo>
                <a:cubicBezTo>
                  <a:pt x="45" y="8"/>
                  <a:pt x="45" y="8"/>
                  <a:pt x="45" y="8"/>
                </a:cubicBezTo>
                <a:cubicBezTo>
                  <a:pt x="46" y="7"/>
                  <a:pt x="46" y="7"/>
                  <a:pt x="46" y="7"/>
                </a:cubicBezTo>
                <a:cubicBezTo>
                  <a:pt x="46" y="7"/>
                  <a:pt x="45" y="6"/>
                  <a:pt x="46" y="6"/>
                </a:cubicBezTo>
                <a:close/>
                <a:moveTo>
                  <a:pt x="46" y="60"/>
                </a:moveTo>
                <a:cubicBezTo>
                  <a:pt x="48" y="61"/>
                  <a:pt x="48" y="61"/>
                  <a:pt x="48" y="61"/>
                </a:cubicBezTo>
                <a:cubicBezTo>
                  <a:pt x="49" y="63"/>
                  <a:pt x="49" y="63"/>
                  <a:pt x="49" y="63"/>
                </a:cubicBezTo>
                <a:cubicBezTo>
                  <a:pt x="52" y="64"/>
                  <a:pt x="52" y="64"/>
                  <a:pt x="52" y="64"/>
                </a:cubicBezTo>
                <a:cubicBezTo>
                  <a:pt x="53" y="63"/>
                  <a:pt x="53" y="63"/>
                  <a:pt x="53" y="63"/>
                </a:cubicBezTo>
                <a:cubicBezTo>
                  <a:pt x="54" y="62"/>
                  <a:pt x="54" y="62"/>
                  <a:pt x="54" y="62"/>
                </a:cubicBezTo>
                <a:cubicBezTo>
                  <a:pt x="57" y="60"/>
                  <a:pt x="57" y="60"/>
                  <a:pt x="57" y="60"/>
                </a:cubicBezTo>
                <a:cubicBezTo>
                  <a:pt x="59" y="59"/>
                  <a:pt x="59" y="59"/>
                  <a:pt x="59" y="59"/>
                </a:cubicBezTo>
                <a:cubicBezTo>
                  <a:pt x="62" y="61"/>
                  <a:pt x="62" y="61"/>
                  <a:pt x="62" y="61"/>
                </a:cubicBezTo>
                <a:cubicBezTo>
                  <a:pt x="63" y="64"/>
                  <a:pt x="63" y="64"/>
                  <a:pt x="63" y="64"/>
                </a:cubicBezTo>
                <a:cubicBezTo>
                  <a:pt x="63" y="66"/>
                  <a:pt x="63" y="66"/>
                  <a:pt x="63" y="66"/>
                </a:cubicBezTo>
                <a:cubicBezTo>
                  <a:pt x="64" y="67"/>
                  <a:pt x="64" y="67"/>
                  <a:pt x="64" y="67"/>
                </a:cubicBezTo>
                <a:cubicBezTo>
                  <a:pt x="65" y="66"/>
                  <a:pt x="65" y="66"/>
                  <a:pt x="65" y="66"/>
                </a:cubicBezTo>
                <a:cubicBezTo>
                  <a:pt x="65" y="64"/>
                  <a:pt x="65" y="64"/>
                  <a:pt x="65" y="64"/>
                </a:cubicBezTo>
                <a:cubicBezTo>
                  <a:pt x="66" y="64"/>
                  <a:pt x="66" y="64"/>
                  <a:pt x="66" y="64"/>
                </a:cubicBezTo>
                <a:cubicBezTo>
                  <a:pt x="67" y="66"/>
                  <a:pt x="67" y="66"/>
                  <a:pt x="67" y="66"/>
                </a:cubicBezTo>
                <a:cubicBezTo>
                  <a:pt x="70" y="66"/>
                  <a:pt x="70" y="66"/>
                  <a:pt x="70" y="66"/>
                </a:cubicBezTo>
                <a:cubicBezTo>
                  <a:pt x="72" y="67"/>
                  <a:pt x="72" y="67"/>
                  <a:pt x="72" y="67"/>
                </a:cubicBezTo>
                <a:cubicBezTo>
                  <a:pt x="72" y="68"/>
                  <a:pt x="72" y="68"/>
                  <a:pt x="72" y="68"/>
                </a:cubicBezTo>
                <a:cubicBezTo>
                  <a:pt x="71" y="68"/>
                  <a:pt x="71" y="68"/>
                  <a:pt x="71" y="68"/>
                </a:cubicBezTo>
                <a:cubicBezTo>
                  <a:pt x="70" y="67"/>
                  <a:pt x="70" y="67"/>
                  <a:pt x="70" y="67"/>
                </a:cubicBezTo>
                <a:cubicBezTo>
                  <a:pt x="69" y="68"/>
                  <a:pt x="69" y="68"/>
                  <a:pt x="69" y="68"/>
                </a:cubicBezTo>
                <a:cubicBezTo>
                  <a:pt x="69" y="70"/>
                  <a:pt x="69" y="70"/>
                  <a:pt x="69" y="70"/>
                </a:cubicBezTo>
                <a:cubicBezTo>
                  <a:pt x="70" y="74"/>
                  <a:pt x="70" y="74"/>
                  <a:pt x="70" y="74"/>
                </a:cubicBezTo>
                <a:cubicBezTo>
                  <a:pt x="70" y="75"/>
                  <a:pt x="70" y="75"/>
                  <a:pt x="70" y="75"/>
                </a:cubicBezTo>
                <a:cubicBezTo>
                  <a:pt x="73" y="75"/>
                  <a:pt x="73" y="75"/>
                  <a:pt x="73" y="75"/>
                </a:cubicBezTo>
                <a:cubicBezTo>
                  <a:pt x="74" y="76"/>
                  <a:pt x="74" y="76"/>
                  <a:pt x="74" y="76"/>
                </a:cubicBezTo>
                <a:cubicBezTo>
                  <a:pt x="76" y="76"/>
                  <a:pt x="76" y="76"/>
                  <a:pt x="76" y="76"/>
                </a:cubicBezTo>
                <a:cubicBezTo>
                  <a:pt x="77" y="77"/>
                  <a:pt x="77" y="77"/>
                  <a:pt x="77" y="77"/>
                </a:cubicBezTo>
                <a:cubicBezTo>
                  <a:pt x="76" y="78"/>
                  <a:pt x="76" y="78"/>
                  <a:pt x="76" y="78"/>
                </a:cubicBezTo>
                <a:cubicBezTo>
                  <a:pt x="76" y="79"/>
                  <a:pt x="76" y="79"/>
                  <a:pt x="76" y="79"/>
                </a:cubicBezTo>
                <a:cubicBezTo>
                  <a:pt x="75" y="82"/>
                  <a:pt x="75" y="82"/>
                  <a:pt x="75" y="82"/>
                </a:cubicBezTo>
                <a:cubicBezTo>
                  <a:pt x="73" y="82"/>
                  <a:pt x="73" y="82"/>
                  <a:pt x="73" y="82"/>
                </a:cubicBezTo>
                <a:cubicBezTo>
                  <a:pt x="72" y="79"/>
                  <a:pt x="72" y="79"/>
                  <a:pt x="72" y="79"/>
                </a:cubicBezTo>
                <a:cubicBezTo>
                  <a:pt x="73" y="78"/>
                  <a:pt x="73" y="78"/>
                  <a:pt x="73" y="78"/>
                </a:cubicBezTo>
                <a:cubicBezTo>
                  <a:pt x="73" y="77"/>
                  <a:pt x="73" y="77"/>
                  <a:pt x="73" y="77"/>
                </a:cubicBezTo>
                <a:cubicBezTo>
                  <a:pt x="72" y="77"/>
                  <a:pt x="72" y="77"/>
                  <a:pt x="72" y="77"/>
                </a:cubicBezTo>
                <a:cubicBezTo>
                  <a:pt x="72" y="78"/>
                  <a:pt x="72" y="78"/>
                  <a:pt x="72" y="78"/>
                </a:cubicBezTo>
                <a:cubicBezTo>
                  <a:pt x="70" y="78"/>
                  <a:pt x="70" y="78"/>
                  <a:pt x="70" y="78"/>
                </a:cubicBezTo>
                <a:cubicBezTo>
                  <a:pt x="68" y="76"/>
                  <a:pt x="68" y="76"/>
                  <a:pt x="68" y="76"/>
                </a:cubicBezTo>
                <a:cubicBezTo>
                  <a:pt x="66" y="75"/>
                  <a:pt x="66" y="75"/>
                  <a:pt x="66" y="75"/>
                </a:cubicBezTo>
                <a:cubicBezTo>
                  <a:pt x="66" y="73"/>
                  <a:pt x="66" y="73"/>
                  <a:pt x="66" y="73"/>
                </a:cubicBezTo>
                <a:cubicBezTo>
                  <a:pt x="65" y="71"/>
                  <a:pt x="65" y="71"/>
                  <a:pt x="65" y="71"/>
                </a:cubicBezTo>
                <a:cubicBezTo>
                  <a:pt x="62" y="70"/>
                  <a:pt x="62" y="70"/>
                  <a:pt x="62" y="70"/>
                </a:cubicBezTo>
                <a:cubicBezTo>
                  <a:pt x="61" y="67"/>
                  <a:pt x="61" y="67"/>
                  <a:pt x="61" y="67"/>
                </a:cubicBezTo>
                <a:cubicBezTo>
                  <a:pt x="59" y="66"/>
                  <a:pt x="59" y="66"/>
                  <a:pt x="59" y="66"/>
                </a:cubicBezTo>
                <a:cubicBezTo>
                  <a:pt x="58" y="65"/>
                  <a:pt x="58" y="65"/>
                  <a:pt x="58" y="65"/>
                </a:cubicBezTo>
                <a:cubicBezTo>
                  <a:pt x="57" y="65"/>
                  <a:pt x="57" y="65"/>
                  <a:pt x="57" y="65"/>
                </a:cubicBezTo>
                <a:cubicBezTo>
                  <a:pt x="57" y="66"/>
                  <a:pt x="57" y="66"/>
                  <a:pt x="57" y="66"/>
                </a:cubicBezTo>
                <a:cubicBezTo>
                  <a:pt x="59" y="70"/>
                  <a:pt x="59" y="70"/>
                  <a:pt x="59" y="70"/>
                </a:cubicBezTo>
                <a:cubicBezTo>
                  <a:pt x="59" y="74"/>
                  <a:pt x="59" y="74"/>
                  <a:pt x="59" y="74"/>
                </a:cubicBezTo>
                <a:cubicBezTo>
                  <a:pt x="59" y="74"/>
                  <a:pt x="59" y="74"/>
                  <a:pt x="59" y="74"/>
                </a:cubicBezTo>
                <a:cubicBezTo>
                  <a:pt x="57" y="70"/>
                  <a:pt x="57" y="70"/>
                  <a:pt x="57" y="70"/>
                </a:cubicBezTo>
                <a:cubicBezTo>
                  <a:pt x="54" y="68"/>
                  <a:pt x="54" y="68"/>
                  <a:pt x="54" y="68"/>
                </a:cubicBezTo>
                <a:cubicBezTo>
                  <a:pt x="53" y="67"/>
                  <a:pt x="53" y="67"/>
                  <a:pt x="53" y="67"/>
                </a:cubicBezTo>
                <a:cubicBezTo>
                  <a:pt x="49" y="65"/>
                  <a:pt x="49" y="65"/>
                  <a:pt x="49" y="65"/>
                </a:cubicBezTo>
                <a:cubicBezTo>
                  <a:pt x="47" y="65"/>
                  <a:pt x="47" y="65"/>
                  <a:pt x="47" y="65"/>
                </a:cubicBezTo>
                <a:cubicBezTo>
                  <a:pt x="46" y="67"/>
                  <a:pt x="46" y="67"/>
                  <a:pt x="46" y="67"/>
                </a:cubicBezTo>
                <a:cubicBezTo>
                  <a:pt x="46" y="68"/>
                  <a:pt x="46" y="68"/>
                  <a:pt x="46" y="68"/>
                </a:cubicBezTo>
                <a:cubicBezTo>
                  <a:pt x="44" y="69"/>
                  <a:pt x="44" y="69"/>
                  <a:pt x="44" y="69"/>
                </a:cubicBezTo>
                <a:cubicBezTo>
                  <a:pt x="42" y="67"/>
                  <a:pt x="42" y="67"/>
                  <a:pt x="42" y="67"/>
                </a:cubicBezTo>
                <a:cubicBezTo>
                  <a:pt x="40" y="68"/>
                  <a:pt x="40" y="68"/>
                  <a:pt x="40" y="68"/>
                </a:cubicBezTo>
                <a:cubicBezTo>
                  <a:pt x="38" y="69"/>
                  <a:pt x="38" y="69"/>
                  <a:pt x="38" y="69"/>
                </a:cubicBezTo>
                <a:cubicBezTo>
                  <a:pt x="39" y="67"/>
                  <a:pt x="39" y="67"/>
                  <a:pt x="39" y="67"/>
                </a:cubicBezTo>
                <a:cubicBezTo>
                  <a:pt x="39" y="65"/>
                  <a:pt x="39" y="65"/>
                  <a:pt x="39" y="65"/>
                </a:cubicBezTo>
                <a:cubicBezTo>
                  <a:pt x="37" y="65"/>
                  <a:pt x="37" y="65"/>
                  <a:pt x="37" y="65"/>
                </a:cubicBezTo>
                <a:cubicBezTo>
                  <a:pt x="37" y="68"/>
                  <a:pt x="37" y="68"/>
                  <a:pt x="37" y="68"/>
                </a:cubicBezTo>
                <a:cubicBezTo>
                  <a:pt x="35" y="65"/>
                  <a:pt x="35" y="65"/>
                  <a:pt x="35" y="65"/>
                </a:cubicBezTo>
                <a:cubicBezTo>
                  <a:pt x="36" y="63"/>
                  <a:pt x="36" y="63"/>
                  <a:pt x="36" y="63"/>
                </a:cubicBezTo>
                <a:cubicBezTo>
                  <a:pt x="35" y="61"/>
                  <a:pt x="35" y="61"/>
                  <a:pt x="35" y="61"/>
                </a:cubicBezTo>
                <a:cubicBezTo>
                  <a:pt x="37" y="60"/>
                  <a:pt x="37" y="60"/>
                  <a:pt x="37" y="60"/>
                </a:cubicBezTo>
                <a:cubicBezTo>
                  <a:pt x="39" y="57"/>
                  <a:pt x="39" y="57"/>
                  <a:pt x="39" y="57"/>
                </a:cubicBezTo>
                <a:cubicBezTo>
                  <a:pt x="37" y="56"/>
                  <a:pt x="37" y="56"/>
                  <a:pt x="37" y="56"/>
                </a:cubicBezTo>
                <a:cubicBezTo>
                  <a:pt x="35" y="55"/>
                  <a:pt x="35" y="55"/>
                  <a:pt x="35" y="55"/>
                </a:cubicBezTo>
                <a:cubicBezTo>
                  <a:pt x="35" y="57"/>
                  <a:pt x="35" y="57"/>
                  <a:pt x="35" y="57"/>
                </a:cubicBezTo>
                <a:cubicBezTo>
                  <a:pt x="36" y="58"/>
                  <a:pt x="36" y="58"/>
                  <a:pt x="36" y="58"/>
                </a:cubicBezTo>
                <a:cubicBezTo>
                  <a:pt x="35" y="60"/>
                  <a:pt x="35" y="60"/>
                  <a:pt x="35" y="60"/>
                </a:cubicBezTo>
                <a:cubicBezTo>
                  <a:pt x="33" y="60"/>
                  <a:pt x="33" y="60"/>
                  <a:pt x="33" y="60"/>
                </a:cubicBezTo>
                <a:cubicBezTo>
                  <a:pt x="31" y="57"/>
                  <a:pt x="31" y="57"/>
                  <a:pt x="31" y="57"/>
                </a:cubicBezTo>
                <a:cubicBezTo>
                  <a:pt x="31" y="55"/>
                  <a:pt x="31" y="55"/>
                  <a:pt x="31" y="55"/>
                </a:cubicBezTo>
                <a:cubicBezTo>
                  <a:pt x="30" y="54"/>
                  <a:pt x="30" y="54"/>
                  <a:pt x="30" y="54"/>
                </a:cubicBezTo>
                <a:cubicBezTo>
                  <a:pt x="29" y="55"/>
                  <a:pt x="29" y="55"/>
                  <a:pt x="29" y="55"/>
                </a:cubicBezTo>
                <a:cubicBezTo>
                  <a:pt x="28" y="54"/>
                  <a:pt x="28" y="54"/>
                  <a:pt x="28" y="54"/>
                </a:cubicBezTo>
                <a:cubicBezTo>
                  <a:pt x="28" y="50"/>
                  <a:pt x="28" y="50"/>
                  <a:pt x="28" y="50"/>
                </a:cubicBezTo>
                <a:cubicBezTo>
                  <a:pt x="27" y="48"/>
                  <a:pt x="27" y="48"/>
                  <a:pt x="27" y="48"/>
                </a:cubicBezTo>
                <a:cubicBezTo>
                  <a:pt x="26" y="44"/>
                  <a:pt x="26" y="44"/>
                  <a:pt x="26" y="44"/>
                </a:cubicBezTo>
                <a:cubicBezTo>
                  <a:pt x="27" y="43"/>
                  <a:pt x="27" y="43"/>
                  <a:pt x="27" y="43"/>
                </a:cubicBezTo>
                <a:cubicBezTo>
                  <a:pt x="26" y="42"/>
                  <a:pt x="26" y="42"/>
                  <a:pt x="26" y="42"/>
                </a:cubicBezTo>
                <a:cubicBezTo>
                  <a:pt x="25" y="42"/>
                  <a:pt x="25" y="42"/>
                  <a:pt x="25" y="42"/>
                </a:cubicBezTo>
                <a:cubicBezTo>
                  <a:pt x="25" y="40"/>
                  <a:pt x="25" y="40"/>
                  <a:pt x="25" y="40"/>
                </a:cubicBezTo>
                <a:cubicBezTo>
                  <a:pt x="25" y="37"/>
                  <a:pt x="25" y="37"/>
                  <a:pt x="25" y="37"/>
                </a:cubicBezTo>
                <a:cubicBezTo>
                  <a:pt x="26" y="39"/>
                  <a:pt x="26" y="39"/>
                  <a:pt x="26" y="39"/>
                </a:cubicBezTo>
                <a:cubicBezTo>
                  <a:pt x="28" y="39"/>
                  <a:pt x="28" y="39"/>
                  <a:pt x="28" y="39"/>
                </a:cubicBezTo>
                <a:cubicBezTo>
                  <a:pt x="30" y="39"/>
                  <a:pt x="30" y="39"/>
                  <a:pt x="30" y="39"/>
                </a:cubicBezTo>
                <a:cubicBezTo>
                  <a:pt x="30" y="37"/>
                  <a:pt x="30" y="37"/>
                  <a:pt x="30" y="37"/>
                </a:cubicBezTo>
                <a:cubicBezTo>
                  <a:pt x="28" y="34"/>
                  <a:pt x="28" y="34"/>
                  <a:pt x="28" y="34"/>
                </a:cubicBezTo>
                <a:cubicBezTo>
                  <a:pt x="29" y="31"/>
                  <a:pt x="29" y="31"/>
                  <a:pt x="29" y="31"/>
                </a:cubicBezTo>
                <a:cubicBezTo>
                  <a:pt x="30" y="26"/>
                  <a:pt x="30" y="26"/>
                  <a:pt x="30" y="26"/>
                </a:cubicBezTo>
                <a:cubicBezTo>
                  <a:pt x="30" y="21"/>
                  <a:pt x="30" y="21"/>
                  <a:pt x="30" y="21"/>
                </a:cubicBezTo>
                <a:cubicBezTo>
                  <a:pt x="30" y="19"/>
                  <a:pt x="30" y="19"/>
                  <a:pt x="30" y="19"/>
                </a:cubicBezTo>
                <a:cubicBezTo>
                  <a:pt x="32" y="14"/>
                  <a:pt x="32" y="14"/>
                  <a:pt x="32" y="14"/>
                </a:cubicBezTo>
                <a:cubicBezTo>
                  <a:pt x="32" y="12"/>
                  <a:pt x="32" y="12"/>
                  <a:pt x="32" y="12"/>
                </a:cubicBezTo>
                <a:cubicBezTo>
                  <a:pt x="35" y="11"/>
                  <a:pt x="35" y="11"/>
                  <a:pt x="35" y="11"/>
                </a:cubicBezTo>
                <a:cubicBezTo>
                  <a:pt x="39" y="12"/>
                  <a:pt x="39" y="12"/>
                  <a:pt x="39" y="12"/>
                </a:cubicBezTo>
                <a:cubicBezTo>
                  <a:pt x="41" y="14"/>
                  <a:pt x="41" y="14"/>
                  <a:pt x="41" y="14"/>
                </a:cubicBezTo>
                <a:cubicBezTo>
                  <a:pt x="43" y="15"/>
                  <a:pt x="43" y="15"/>
                  <a:pt x="43" y="15"/>
                </a:cubicBezTo>
                <a:cubicBezTo>
                  <a:pt x="43" y="14"/>
                  <a:pt x="43" y="14"/>
                  <a:pt x="43" y="14"/>
                </a:cubicBezTo>
                <a:cubicBezTo>
                  <a:pt x="46" y="14"/>
                  <a:pt x="46" y="14"/>
                  <a:pt x="46" y="14"/>
                </a:cubicBezTo>
                <a:cubicBezTo>
                  <a:pt x="48" y="12"/>
                  <a:pt x="48" y="12"/>
                  <a:pt x="48" y="12"/>
                </a:cubicBezTo>
                <a:cubicBezTo>
                  <a:pt x="48" y="11"/>
                  <a:pt x="48" y="11"/>
                  <a:pt x="48" y="11"/>
                </a:cubicBezTo>
                <a:cubicBezTo>
                  <a:pt x="49" y="11"/>
                  <a:pt x="49" y="11"/>
                  <a:pt x="49" y="11"/>
                </a:cubicBezTo>
                <a:cubicBezTo>
                  <a:pt x="50" y="13"/>
                  <a:pt x="50" y="13"/>
                  <a:pt x="50" y="13"/>
                </a:cubicBezTo>
                <a:cubicBezTo>
                  <a:pt x="50" y="14"/>
                  <a:pt x="50" y="14"/>
                  <a:pt x="50" y="14"/>
                </a:cubicBezTo>
                <a:cubicBezTo>
                  <a:pt x="49" y="16"/>
                  <a:pt x="49" y="16"/>
                  <a:pt x="49" y="16"/>
                </a:cubicBezTo>
                <a:cubicBezTo>
                  <a:pt x="48" y="20"/>
                  <a:pt x="48" y="20"/>
                  <a:pt x="48" y="20"/>
                </a:cubicBezTo>
                <a:cubicBezTo>
                  <a:pt x="50" y="23"/>
                  <a:pt x="50" y="23"/>
                  <a:pt x="50" y="23"/>
                </a:cubicBezTo>
                <a:cubicBezTo>
                  <a:pt x="51" y="24"/>
                  <a:pt x="51" y="24"/>
                  <a:pt x="51" y="24"/>
                </a:cubicBezTo>
                <a:cubicBezTo>
                  <a:pt x="52" y="27"/>
                  <a:pt x="52" y="27"/>
                  <a:pt x="52" y="27"/>
                </a:cubicBezTo>
                <a:cubicBezTo>
                  <a:pt x="53" y="28"/>
                  <a:pt x="53" y="28"/>
                  <a:pt x="53" y="28"/>
                </a:cubicBezTo>
                <a:cubicBezTo>
                  <a:pt x="52" y="33"/>
                  <a:pt x="52" y="33"/>
                  <a:pt x="52" y="33"/>
                </a:cubicBezTo>
                <a:cubicBezTo>
                  <a:pt x="51" y="36"/>
                  <a:pt x="51" y="36"/>
                  <a:pt x="51" y="36"/>
                </a:cubicBezTo>
                <a:cubicBezTo>
                  <a:pt x="52" y="38"/>
                  <a:pt x="52" y="38"/>
                  <a:pt x="52" y="38"/>
                </a:cubicBezTo>
                <a:cubicBezTo>
                  <a:pt x="50" y="41"/>
                  <a:pt x="50" y="41"/>
                  <a:pt x="50" y="41"/>
                </a:cubicBezTo>
                <a:cubicBezTo>
                  <a:pt x="50" y="40"/>
                  <a:pt x="50" y="40"/>
                  <a:pt x="50" y="40"/>
                </a:cubicBezTo>
                <a:cubicBezTo>
                  <a:pt x="50" y="39"/>
                  <a:pt x="50" y="39"/>
                  <a:pt x="50" y="39"/>
                </a:cubicBezTo>
                <a:cubicBezTo>
                  <a:pt x="49" y="39"/>
                  <a:pt x="49" y="39"/>
                  <a:pt x="49" y="39"/>
                </a:cubicBezTo>
                <a:cubicBezTo>
                  <a:pt x="46" y="43"/>
                  <a:pt x="46" y="43"/>
                  <a:pt x="46" y="43"/>
                </a:cubicBezTo>
                <a:cubicBezTo>
                  <a:pt x="45" y="44"/>
                  <a:pt x="45" y="44"/>
                  <a:pt x="45" y="44"/>
                </a:cubicBezTo>
                <a:cubicBezTo>
                  <a:pt x="45" y="47"/>
                  <a:pt x="45" y="47"/>
                  <a:pt x="45" y="47"/>
                </a:cubicBezTo>
                <a:cubicBezTo>
                  <a:pt x="44" y="48"/>
                  <a:pt x="44" y="48"/>
                  <a:pt x="44" y="48"/>
                </a:cubicBezTo>
                <a:cubicBezTo>
                  <a:pt x="44" y="51"/>
                  <a:pt x="44" y="51"/>
                  <a:pt x="44" y="51"/>
                </a:cubicBezTo>
                <a:cubicBezTo>
                  <a:pt x="45" y="52"/>
                  <a:pt x="45" y="52"/>
                  <a:pt x="45" y="52"/>
                </a:cubicBezTo>
                <a:cubicBezTo>
                  <a:pt x="46" y="55"/>
                  <a:pt x="46" y="55"/>
                  <a:pt x="46" y="55"/>
                </a:cubicBezTo>
                <a:cubicBezTo>
                  <a:pt x="47" y="56"/>
                  <a:pt x="47" y="56"/>
                  <a:pt x="47" y="56"/>
                </a:cubicBezTo>
                <a:cubicBezTo>
                  <a:pt x="46" y="58"/>
                  <a:pt x="46" y="58"/>
                  <a:pt x="46" y="58"/>
                </a:cubicBezTo>
                <a:cubicBezTo>
                  <a:pt x="46" y="60"/>
                  <a:pt x="46" y="60"/>
                  <a:pt x="46" y="60"/>
                </a:cubicBezTo>
                <a:close/>
                <a:moveTo>
                  <a:pt x="50" y="61"/>
                </a:moveTo>
                <a:cubicBezTo>
                  <a:pt x="51" y="62"/>
                  <a:pt x="51" y="62"/>
                  <a:pt x="51" y="62"/>
                </a:cubicBezTo>
                <a:cubicBezTo>
                  <a:pt x="52" y="63"/>
                  <a:pt x="52" y="63"/>
                  <a:pt x="52" y="63"/>
                </a:cubicBezTo>
                <a:cubicBezTo>
                  <a:pt x="52" y="62"/>
                  <a:pt x="52" y="62"/>
                  <a:pt x="52" y="62"/>
                </a:cubicBezTo>
                <a:cubicBezTo>
                  <a:pt x="50" y="61"/>
                  <a:pt x="50" y="61"/>
                  <a:pt x="50" y="61"/>
                </a:cubicBezTo>
                <a:close/>
                <a:moveTo>
                  <a:pt x="49" y="53"/>
                </a:moveTo>
                <a:cubicBezTo>
                  <a:pt x="50" y="55"/>
                  <a:pt x="50" y="55"/>
                  <a:pt x="50" y="55"/>
                </a:cubicBezTo>
                <a:cubicBezTo>
                  <a:pt x="49" y="56"/>
                  <a:pt x="49" y="56"/>
                  <a:pt x="49" y="56"/>
                </a:cubicBezTo>
                <a:cubicBezTo>
                  <a:pt x="50" y="58"/>
                  <a:pt x="50" y="58"/>
                  <a:pt x="50" y="58"/>
                </a:cubicBezTo>
                <a:cubicBezTo>
                  <a:pt x="51" y="56"/>
                  <a:pt x="51" y="56"/>
                  <a:pt x="51" y="56"/>
                </a:cubicBezTo>
                <a:cubicBezTo>
                  <a:pt x="51" y="53"/>
                  <a:pt x="51" y="53"/>
                  <a:pt x="51" y="53"/>
                </a:cubicBezTo>
                <a:cubicBezTo>
                  <a:pt x="52" y="52"/>
                  <a:pt x="52" y="52"/>
                  <a:pt x="52" y="52"/>
                </a:cubicBezTo>
                <a:cubicBezTo>
                  <a:pt x="51" y="51"/>
                  <a:pt x="51" y="51"/>
                  <a:pt x="51" y="51"/>
                </a:cubicBezTo>
                <a:cubicBezTo>
                  <a:pt x="49" y="53"/>
                  <a:pt x="49" y="53"/>
                  <a:pt x="49" y="53"/>
                </a:cubicBezTo>
                <a:close/>
                <a:moveTo>
                  <a:pt x="30" y="66"/>
                </a:moveTo>
                <a:cubicBezTo>
                  <a:pt x="30" y="68"/>
                  <a:pt x="30" y="68"/>
                  <a:pt x="30" y="68"/>
                </a:cubicBezTo>
                <a:cubicBezTo>
                  <a:pt x="33" y="69"/>
                  <a:pt x="33" y="69"/>
                  <a:pt x="33" y="69"/>
                </a:cubicBezTo>
                <a:cubicBezTo>
                  <a:pt x="33" y="68"/>
                  <a:pt x="33" y="68"/>
                  <a:pt x="33" y="68"/>
                </a:cubicBezTo>
                <a:cubicBezTo>
                  <a:pt x="31" y="66"/>
                  <a:pt x="31" y="66"/>
                  <a:pt x="31" y="66"/>
                </a:cubicBezTo>
                <a:cubicBezTo>
                  <a:pt x="30" y="66"/>
                  <a:pt x="30" y="66"/>
                  <a:pt x="30" y="66"/>
                </a:cubicBezTo>
                <a:close/>
                <a:moveTo>
                  <a:pt x="33" y="71"/>
                </a:moveTo>
                <a:cubicBezTo>
                  <a:pt x="34" y="72"/>
                  <a:pt x="34" y="72"/>
                  <a:pt x="34" y="72"/>
                </a:cubicBezTo>
                <a:cubicBezTo>
                  <a:pt x="35" y="72"/>
                  <a:pt x="35" y="72"/>
                  <a:pt x="35" y="72"/>
                </a:cubicBezTo>
                <a:cubicBezTo>
                  <a:pt x="36" y="74"/>
                  <a:pt x="36" y="74"/>
                  <a:pt x="36" y="74"/>
                </a:cubicBezTo>
                <a:cubicBezTo>
                  <a:pt x="37" y="75"/>
                  <a:pt x="37" y="75"/>
                  <a:pt x="37" y="75"/>
                </a:cubicBezTo>
                <a:cubicBezTo>
                  <a:pt x="39" y="76"/>
                  <a:pt x="39" y="76"/>
                  <a:pt x="39" y="76"/>
                </a:cubicBezTo>
                <a:cubicBezTo>
                  <a:pt x="39" y="80"/>
                  <a:pt x="39" y="80"/>
                  <a:pt x="39" y="80"/>
                </a:cubicBezTo>
                <a:cubicBezTo>
                  <a:pt x="40" y="81"/>
                  <a:pt x="40" y="81"/>
                  <a:pt x="40" y="81"/>
                </a:cubicBezTo>
                <a:cubicBezTo>
                  <a:pt x="40" y="83"/>
                  <a:pt x="40" y="83"/>
                  <a:pt x="40" y="83"/>
                </a:cubicBezTo>
                <a:cubicBezTo>
                  <a:pt x="42" y="85"/>
                  <a:pt x="42" y="85"/>
                  <a:pt x="42" y="85"/>
                </a:cubicBezTo>
                <a:cubicBezTo>
                  <a:pt x="44" y="86"/>
                  <a:pt x="44" y="86"/>
                  <a:pt x="44" y="86"/>
                </a:cubicBezTo>
                <a:cubicBezTo>
                  <a:pt x="46" y="84"/>
                  <a:pt x="46" y="84"/>
                  <a:pt x="46" y="84"/>
                </a:cubicBezTo>
                <a:cubicBezTo>
                  <a:pt x="46" y="82"/>
                  <a:pt x="46" y="82"/>
                  <a:pt x="46" y="82"/>
                </a:cubicBezTo>
                <a:cubicBezTo>
                  <a:pt x="47" y="82"/>
                  <a:pt x="47" y="82"/>
                  <a:pt x="47" y="82"/>
                </a:cubicBezTo>
                <a:cubicBezTo>
                  <a:pt x="47" y="80"/>
                  <a:pt x="47" y="80"/>
                  <a:pt x="47" y="80"/>
                </a:cubicBezTo>
                <a:cubicBezTo>
                  <a:pt x="46" y="78"/>
                  <a:pt x="46" y="78"/>
                  <a:pt x="46" y="78"/>
                </a:cubicBezTo>
                <a:cubicBezTo>
                  <a:pt x="47" y="77"/>
                  <a:pt x="47" y="77"/>
                  <a:pt x="47" y="77"/>
                </a:cubicBezTo>
                <a:cubicBezTo>
                  <a:pt x="47" y="75"/>
                  <a:pt x="47" y="75"/>
                  <a:pt x="47" y="75"/>
                </a:cubicBezTo>
                <a:cubicBezTo>
                  <a:pt x="45" y="74"/>
                  <a:pt x="45" y="74"/>
                  <a:pt x="45" y="74"/>
                </a:cubicBezTo>
                <a:cubicBezTo>
                  <a:pt x="40" y="70"/>
                  <a:pt x="40" y="70"/>
                  <a:pt x="40" y="70"/>
                </a:cubicBezTo>
                <a:cubicBezTo>
                  <a:pt x="38" y="71"/>
                  <a:pt x="38" y="71"/>
                  <a:pt x="38" y="71"/>
                </a:cubicBezTo>
                <a:cubicBezTo>
                  <a:pt x="35" y="70"/>
                  <a:pt x="35" y="70"/>
                  <a:pt x="35" y="70"/>
                </a:cubicBezTo>
                <a:cubicBezTo>
                  <a:pt x="33" y="71"/>
                  <a:pt x="33" y="71"/>
                  <a:pt x="33" y="71"/>
                </a:cubicBezTo>
                <a:close/>
                <a:moveTo>
                  <a:pt x="76" y="63"/>
                </a:moveTo>
                <a:cubicBezTo>
                  <a:pt x="75" y="64"/>
                  <a:pt x="75" y="64"/>
                  <a:pt x="75" y="64"/>
                </a:cubicBezTo>
                <a:cubicBezTo>
                  <a:pt x="75" y="66"/>
                  <a:pt x="75" y="66"/>
                  <a:pt x="75" y="66"/>
                </a:cubicBezTo>
                <a:cubicBezTo>
                  <a:pt x="74" y="68"/>
                  <a:pt x="74" y="68"/>
                  <a:pt x="74" y="68"/>
                </a:cubicBezTo>
                <a:cubicBezTo>
                  <a:pt x="74" y="69"/>
                  <a:pt x="74" y="69"/>
                  <a:pt x="74" y="69"/>
                </a:cubicBezTo>
                <a:cubicBezTo>
                  <a:pt x="75" y="70"/>
                  <a:pt x="75" y="70"/>
                  <a:pt x="75" y="70"/>
                </a:cubicBezTo>
                <a:cubicBezTo>
                  <a:pt x="77" y="69"/>
                  <a:pt x="77" y="69"/>
                  <a:pt x="77" y="69"/>
                </a:cubicBezTo>
                <a:cubicBezTo>
                  <a:pt x="78" y="67"/>
                  <a:pt x="78" y="67"/>
                  <a:pt x="78" y="67"/>
                </a:cubicBezTo>
                <a:cubicBezTo>
                  <a:pt x="77" y="65"/>
                  <a:pt x="77" y="65"/>
                  <a:pt x="77" y="65"/>
                </a:cubicBezTo>
                <a:cubicBezTo>
                  <a:pt x="76" y="63"/>
                  <a:pt x="76" y="63"/>
                  <a:pt x="76" y="63"/>
                </a:cubicBezTo>
                <a:close/>
                <a:moveTo>
                  <a:pt x="50" y="72"/>
                </a:moveTo>
                <a:cubicBezTo>
                  <a:pt x="52" y="74"/>
                  <a:pt x="52" y="74"/>
                  <a:pt x="52" y="74"/>
                </a:cubicBezTo>
                <a:cubicBezTo>
                  <a:pt x="53" y="72"/>
                  <a:pt x="53" y="72"/>
                  <a:pt x="53" y="72"/>
                </a:cubicBezTo>
                <a:cubicBezTo>
                  <a:pt x="54" y="71"/>
                  <a:pt x="54" y="71"/>
                  <a:pt x="54" y="71"/>
                </a:cubicBezTo>
                <a:cubicBezTo>
                  <a:pt x="53" y="70"/>
                  <a:pt x="53" y="70"/>
                  <a:pt x="53" y="70"/>
                </a:cubicBezTo>
                <a:cubicBezTo>
                  <a:pt x="51" y="69"/>
                  <a:pt x="51" y="69"/>
                  <a:pt x="51" y="69"/>
                </a:cubicBezTo>
                <a:cubicBezTo>
                  <a:pt x="49" y="70"/>
                  <a:pt x="49" y="70"/>
                  <a:pt x="49" y="70"/>
                </a:cubicBezTo>
                <a:cubicBezTo>
                  <a:pt x="50" y="72"/>
                  <a:pt x="50" y="72"/>
                  <a:pt x="50" y="72"/>
                </a:cubicBezTo>
                <a:close/>
                <a:moveTo>
                  <a:pt x="54" y="80"/>
                </a:moveTo>
                <a:cubicBezTo>
                  <a:pt x="53" y="82"/>
                  <a:pt x="53" y="82"/>
                  <a:pt x="53" y="82"/>
                </a:cubicBezTo>
                <a:cubicBezTo>
                  <a:pt x="52" y="84"/>
                  <a:pt x="52" y="84"/>
                  <a:pt x="52" y="84"/>
                </a:cubicBezTo>
                <a:cubicBezTo>
                  <a:pt x="53" y="87"/>
                  <a:pt x="53" y="87"/>
                  <a:pt x="53" y="87"/>
                </a:cubicBezTo>
                <a:cubicBezTo>
                  <a:pt x="54" y="86"/>
                  <a:pt x="54" y="86"/>
                  <a:pt x="54" y="86"/>
                </a:cubicBezTo>
                <a:cubicBezTo>
                  <a:pt x="55" y="84"/>
                  <a:pt x="55" y="84"/>
                  <a:pt x="55" y="84"/>
                </a:cubicBezTo>
                <a:cubicBezTo>
                  <a:pt x="54" y="82"/>
                  <a:pt x="54" y="82"/>
                  <a:pt x="54" y="82"/>
                </a:cubicBezTo>
                <a:cubicBezTo>
                  <a:pt x="55" y="79"/>
                  <a:pt x="55" y="79"/>
                  <a:pt x="55" y="79"/>
                </a:cubicBezTo>
                <a:cubicBezTo>
                  <a:pt x="54" y="80"/>
                  <a:pt x="54" y="80"/>
                  <a:pt x="54" y="80"/>
                </a:cubicBezTo>
                <a:close/>
                <a:moveTo>
                  <a:pt x="59" y="82"/>
                </a:moveTo>
                <a:cubicBezTo>
                  <a:pt x="58" y="82"/>
                  <a:pt x="58" y="82"/>
                  <a:pt x="58" y="82"/>
                </a:cubicBezTo>
                <a:cubicBezTo>
                  <a:pt x="58" y="84"/>
                  <a:pt x="58" y="84"/>
                  <a:pt x="58" y="84"/>
                </a:cubicBezTo>
                <a:cubicBezTo>
                  <a:pt x="60" y="84"/>
                  <a:pt x="60" y="84"/>
                  <a:pt x="60" y="84"/>
                </a:cubicBezTo>
                <a:cubicBezTo>
                  <a:pt x="60" y="82"/>
                  <a:pt x="60" y="82"/>
                  <a:pt x="60" y="82"/>
                </a:cubicBezTo>
                <a:cubicBezTo>
                  <a:pt x="59" y="82"/>
                  <a:pt x="59" y="82"/>
                  <a:pt x="59" y="82"/>
                </a:cubicBezTo>
                <a:close/>
                <a:moveTo>
                  <a:pt x="66" y="76"/>
                </a:moveTo>
                <a:cubicBezTo>
                  <a:pt x="63" y="74"/>
                  <a:pt x="63" y="74"/>
                  <a:pt x="63" y="74"/>
                </a:cubicBezTo>
                <a:cubicBezTo>
                  <a:pt x="63" y="74"/>
                  <a:pt x="63" y="74"/>
                  <a:pt x="63" y="74"/>
                </a:cubicBezTo>
                <a:cubicBezTo>
                  <a:pt x="63" y="76"/>
                  <a:pt x="63" y="76"/>
                  <a:pt x="63" y="76"/>
                </a:cubicBezTo>
                <a:cubicBezTo>
                  <a:pt x="65" y="79"/>
                  <a:pt x="65" y="79"/>
                  <a:pt x="65" y="79"/>
                </a:cubicBezTo>
                <a:cubicBezTo>
                  <a:pt x="66" y="78"/>
                  <a:pt x="66" y="78"/>
                  <a:pt x="66" y="78"/>
                </a:cubicBezTo>
                <a:cubicBezTo>
                  <a:pt x="66" y="76"/>
                  <a:pt x="66" y="76"/>
                  <a:pt x="66" y="76"/>
                </a:cubicBezTo>
                <a:close/>
                <a:moveTo>
                  <a:pt x="70" y="80"/>
                </a:moveTo>
                <a:cubicBezTo>
                  <a:pt x="70" y="82"/>
                  <a:pt x="70" y="82"/>
                  <a:pt x="70" y="82"/>
                </a:cubicBezTo>
                <a:cubicBezTo>
                  <a:pt x="72" y="83"/>
                  <a:pt x="72" y="83"/>
                  <a:pt x="72" y="83"/>
                </a:cubicBezTo>
                <a:cubicBezTo>
                  <a:pt x="73" y="83"/>
                  <a:pt x="73" y="83"/>
                  <a:pt x="73" y="83"/>
                </a:cubicBezTo>
                <a:cubicBezTo>
                  <a:pt x="71" y="81"/>
                  <a:pt x="71" y="81"/>
                  <a:pt x="71" y="81"/>
                </a:cubicBezTo>
                <a:cubicBezTo>
                  <a:pt x="70" y="80"/>
                  <a:pt x="70" y="80"/>
                  <a:pt x="70" y="80"/>
                </a:cubicBezTo>
                <a:close/>
                <a:moveTo>
                  <a:pt x="66" y="88"/>
                </a:moveTo>
                <a:cubicBezTo>
                  <a:pt x="68" y="85"/>
                  <a:pt x="68" y="85"/>
                  <a:pt x="68" y="85"/>
                </a:cubicBezTo>
                <a:cubicBezTo>
                  <a:pt x="69" y="85"/>
                  <a:pt x="69" y="85"/>
                  <a:pt x="69" y="85"/>
                </a:cubicBezTo>
                <a:cubicBezTo>
                  <a:pt x="72" y="88"/>
                  <a:pt x="72" y="88"/>
                  <a:pt x="72" y="88"/>
                </a:cubicBezTo>
                <a:cubicBezTo>
                  <a:pt x="74" y="89"/>
                  <a:pt x="74" y="89"/>
                  <a:pt x="74" y="89"/>
                </a:cubicBezTo>
                <a:cubicBezTo>
                  <a:pt x="76" y="89"/>
                  <a:pt x="76" y="89"/>
                  <a:pt x="76" y="89"/>
                </a:cubicBezTo>
                <a:cubicBezTo>
                  <a:pt x="76" y="88"/>
                  <a:pt x="76" y="88"/>
                  <a:pt x="76" y="88"/>
                </a:cubicBezTo>
                <a:cubicBezTo>
                  <a:pt x="75" y="86"/>
                  <a:pt x="75" y="86"/>
                  <a:pt x="75" y="86"/>
                </a:cubicBezTo>
                <a:cubicBezTo>
                  <a:pt x="71" y="84"/>
                  <a:pt x="71" y="84"/>
                  <a:pt x="71" y="84"/>
                </a:cubicBezTo>
                <a:cubicBezTo>
                  <a:pt x="70" y="84"/>
                  <a:pt x="70" y="84"/>
                  <a:pt x="70" y="84"/>
                </a:cubicBezTo>
                <a:cubicBezTo>
                  <a:pt x="68" y="82"/>
                  <a:pt x="68" y="82"/>
                  <a:pt x="68" y="82"/>
                </a:cubicBezTo>
                <a:cubicBezTo>
                  <a:pt x="67" y="82"/>
                  <a:pt x="67" y="82"/>
                  <a:pt x="67" y="82"/>
                </a:cubicBezTo>
                <a:cubicBezTo>
                  <a:pt x="68" y="81"/>
                  <a:pt x="68" y="81"/>
                  <a:pt x="68" y="81"/>
                </a:cubicBezTo>
                <a:cubicBezTo>
                  <a:pt x="66" y="81"/>
                  <a:pt x="66" y="81"/>
                  <a:pt x="66" y="81"/>
                </a:cubicBezTo>
                <a:cubicBezTo>
                  <a:pt x="66" y="83"/>
                  <a:pt x="66" y="83"/>
                  <a:pt x="66" y="83"/>
                </a:cubicBezTo>
                <a:cubicBezTo>
                  <a:pt x="67" y="85"/>
                  <a:pt x="67" y="85"/>
                  <a:pt x="67" y="85"/>
                </a:cubicBezTo>
                <a:cubicBezTo>
                  <a:pt x="66" y="86"/>
                  <a:pt x="66" y="86"/>
                  <a:pt x="66" y="86"/>
                </a:cubicBezTo>
                <a:cubicBezTo>
                  <a:pt x="66" y="87"/>
                  <a:pt x="66" y="87"/>
                  <a:pt x="66" y="87"/>
                </a:cubicBezTo>
                <a:cubicBezTo>
                  <a:pt x="66" y="88"/>
                  <a:pt x="66" y="88"/>
                  <a:pt x="66" y="88"/>
                </a:cubicBezTo>
                <a:close/>
                <a:moveTo>
                  <a:pt x="56" y="104"/>
                </a:moveTo>
                <a:cubicBezTo>
                  <a:pt x="55" y="105"/>
                  <a:pt x="55" y="105"/>
                  <a:pt x="55" y="105"/>
                </a:cubicBezTo>
                <a:cubicBezTo>
                  <a:pt x="54" y="105"/>
                  <a:pt x="54" y="105"/>
                  <a:pt x="54" y="105"/>
                </a:cubicBezTo>
                <a:cubicBezTo>
                  <a:pt x="53" y="101"/>
                  <a:pt x="53" y="101"/>
                  <a:pt x="53" y="101"/>
                </a:cubicBezTo>
                <a:cubicBezTo>
                  <a:pt x="54" y="99"/>
                  <a:pt x="54" y="99"/>
                  <a:pt x="54" y="99"/>
                </a:cubicBezTo>
                <a:cubicBezTo>
                  <a:pt x="54" y="95"/>
                  <a:pt x="54" y="95"/>
                  <a:pt x="54" y="95"/>
                </a:cubicBezTo>
                <a:cubicBezTo>
                  <a:pt x="54" y="93"/>
                  <a:pt x="54" y="93"/>
                  <a:pt x="54" y="93"/>
                </a:cubicBezTo>
                <a:cubicBezTo>
                  <a:pt x="54" y="91"/>
                  <a:pt x="54" y="91"/>
                  <a:pt x="54" y="91"/>
                </a:cubicBezTo>
                <a:cubicBezTo>
                  <a:pt x="53" y="91"/>
                  <a:pt x="53" y="91"/>
                  <a:pt x="53" y="91"/>
                </a:cubicBezTo>
                <a:cubicBezTo>
                  <a:pt x="51" y="90"/>
                  <a:pt x="51" y="90"/>
                  <a:pt x="51" y="90"/>
                </a:cubicBezTo>
                <a:cubicBezTo>
                  <a:pt x="52" y="89"/>
                  <a:pt x="52" y="89"/>
                  <a:pt x="52" y="89"/>
                </a:cubicBezTo>
                <a:cubicBezTo>
                  <a:pt x="54" y="88"/>
                  <a:pt x="54" y="88"/>
                  <a:pt x="54" y="88"/>
                </a:cubicBezTo>
                <a:cubicBezTo>
                  <a:pt x="56" y="90"/>
                  <a:pt x="56" y="90"/>
                  <a:pt x="56" y="90"/>
                </a:cubicBezTo>
                <a:cubicBezTo>
                  <a:pt x="57" y="91"/>
                  <a:pt x="57" y="91"/>
                  <a:pt x="57" y="91"/>
                </a:cubicBezTo>
                <a:cubicBezTo>
                  <a:pt x="57" y="92"/>
                  <a:pt x="57" y="92"/>
                  <a:pt x="57" y="92"/>
                </a:cubicBezTo>
                <a:cubicBezTo>
                  <a:pt x="58" y="92"/>
                  <a:pt x="58" y="92"/>
                  <a:pt x="58" y="92"/>
                </a:cubicBezTo>
                <a:cubicBezTo>
                  <a:pt x="60" y="92"/>
                  <a:pt x="60" y="92"/>
                  <a:pt x="60" y="92"/>
                </a:cubicBezTo>
                <a:cubicBezTo>
                  <a:pt x="62" y="92"/>
                  <a:pt x="62" y="92"/>
                  <a:pt x="62" y="92"/>
                </a:cubicBezTo>
                <a:cubicBezTo>
                  <a:pt x="63" y="94"/>
                  <a:pt x="63" y="94"/>
                  <a:pt x="63" y="94"/>
                </a:cubicBezTo>
                <a:cubicBezTo>
                  <a:pt x="64" y="92"/>
                  <a:pt x="64" y="92"/>
                  <a:pt x="64" y="92"/>
                </a:cubicBezTo>
                <a:cubicBezTo>
                  <a:pt x="66" y="92"/>
                  <a:pt x="66" y="92"/>
                  <a:pt x="66" y="92"/>
                </a:cubicBezTo>
                <a:cubicBezTo>
                  <a:pt x="67" y="93"/>
                  <a:pt x="67" y="93"/>
                  <a:pt x="67" y="93"/>
                </a:cubicBezTo>
                <a:cubicBezTo>
                  <a:pt x="66" y="95"/>
                  <a:pt x="66" y="95"/>
                  <a:pt x="66" y="95"/>
                </a:cubicBezTo>
                <a:cubicBezTo>
                  <a:pt x="65" y="96"/>
                  <a:pt x="65" y="96"/>
                  <a:pt x="65" y="96"/>
                </a:cubicBezTo>
                <a:cubicBezTo>
                  <a:pt x="64" y="98"/>
                  <a:pt x="64" y="98"/>
                  <a:pt x="64" y="98"/>
                </a:cubicBezTo>
                <a:cubicBezTo>
                  <a:pt x="62" y="100"/>
                  <a:pt x="62" y="100"/>
                  <a:pt x="62" y="100"/>
                </a:cubicBezTo>
                <a:cubicBezTo>
                  <a:pt x="61" y="102"/>
                  <a:pt x="61" y="102"/>
                  <a:pt x="61" y="102"/>
                </a:cubicBezTo>
                <a:cubicBezTo>
                  <a:pt x="60" y="102"/>
                  <a:pt x="60" y="102"/>
                  <a:pt x="60" y="102"/>
                </a:cubicBezTo>
                <a:cubicBezTo>
                  <a:pt x="59" y="102"/>
                  <a:pt x="59" y="102"/>
                  <a:pt x="59" y="102"/>
                </a:cubicBezTo>
                <a:cubicBezTo>
                  <a:pt x="58" y="102"/>
                  <a:pt x="58" y="102"/>
                  <a:pt x="58" y="102"/>
                </a:cubicBezTo>
                <a:cubicBezTo>
                  <a:pt x="56" y="104"/>
                  <a:pt x="56" y="104"/>
                  <a:pt x="56" y="104"/>
                </a:cubicBezTo>
                <a:close/>
                <a:moveTo>
                  <a:pt x="61" y="102"/>
                </a:moveTo>
                <a:cubicBezTo>
                  <a:pt x="59" y="103"/>
                  <a:pt x="59" y="103"/>
                  <a:pt x="59" y="103"/>
                </a:cubicBezTo>
                <a:cubicBezTo>
                  <a:pt x="59" y="105"/>
                  <a:pt x="59" y="105"/>
                  <a:pt x="59" y="105"/>
                </a:cubicBezTo>
                <a:cubicBezTo>
                  <a:pt x="60" y="106"/>
                  <a:pt x="60" y="106"/>
                  <a:pt x="60" y="106"/>
                </a:cubicBezTo>
                <a:cubicBezTo>
                  <a:pt x="62" y="104"/>
                  <a:pt x="62" y="104"/>
                  <a:pt x="62" y="104"/>
                </a:cubicBezTo>
                <a:cubicBezTo>
                  <a:pt x="62" y="103"/>
                  <a:pt x="62" y="103"/>
                  <a:pt x="62" y="103"/>
                </a:cubicBezTo>
                <a:cubicBezTo>
                  <a:pt x="61" y="102"/>
                  <a:pt x="61" y="102"/>
                  <a:pt x="61" y="102"/>
                </a:cubicBezTo>
                <a:close/>
                <a:moveTo>
                  <a:pt x="79" y="102"/>
                </a:moveTo>
                <a:cubicBezTo>
                  <a:pt x="79" y="104"/>
                  <a:pt x="79" y="104"/>
                  <a:pt x="79" y="104"/>
                </a:cubicBezTo>
                <a:cubicBezTo>
                  <a:pt x="78" y="103"/>
                  <a:pt x="78" y="103"/>
                  <a:pt x="78" y="103"/>
                </a:cubicBezTo>
                <a:cubicBezTo>
                  <a:pt x="79" y="102"/>
                  <a:pt x="79" y="102"/>
                  <a:pt x="79" y="102"/>
                </a:cubicBezTo>
                <a:close/>
                <a:moveTo>
                  <a:pt x="70" y="116"/>
                </a:moveTo>
                <a:cubicBezTo>
                  <a:pt x="71" y="114"/>
                  <a:pt x="71" y="114"/>
                  <a:pt x="71" y="114"/>
                </a:cubicBezTo>
                <a:cubicBezTo>
                  <a:pt x="72" y="110"/>
                  <a:pt x="72" y="110"/>
                  <a:pt x="72" y="110"/>
                </a:cubicBezTo>
                <a:cubicBezTo>
                  <a:pt x="75" y="106"/>
                  <a:pt x="75" y="106"/>
                  <a:pt x="75" y="106"/>
                </a:cubicBezTo>
                <a:cubicBezTo>
                  <a:pt x="75" y="104"/>
                  <a:pt x="75" y="104"/>
                  <a:pt x="75" y="104"/>
                </a:cubicBezTo>
                <a:cubicBezTo>
                  <a:pt x="75" y="102"/>
                  <a:pt x="75" y="102"/>
                  <a:pt x="75" y="102"/>
                </a:cubicBezTo>
                <a:cubicBezTo>
                  <a:pt x="76" y="101"/>
                  <a:pt x="76" y="101"/>
                  <a:pt x="76" y="101"/>
                </a:cubicBezTo>
                <a:cubicBezTo>
                  <a:pt x="76" y="97"/>
                  <a:pt x="76" y="97"/>
                  <a:pt x="76" y="97"/>
                </a:cubicBezTo>
                <a:cubicBezTo>
                  <a:pt x="75" y="97"/>
                  <a:pt x="75" y="97"/>
                  <a:pt x="75" y="97"/>
                </a:cubicBezTo>
                <a:cubicBezTo>
                  <a:pt x="74" y="101"/>
                  <a:pt x="74" y="101"/>
                  <a:pt x="74" y="101"/>
                </a:cubicBezTo>
                <a:cubicBezTo>
                  <a:pt x="72" y="104"/>
                  <a:pt x="72" y="104"/>
                  <a:pt x="72" y="104"/>
                </a:cubicBezTo>
                <a:cubicBezTo>
                  <a:pt x="72" y="107"/>
                  <a:pt x="72" y="107"/>
                  <a:pt x="72" y="107"/>
                </a:cubicBezTo>
                <a:cubicBezTo>
                  <a:pt x="71" y="110"/>
                  <a:pt x="71" y="110"/>
                  <a:pt x="71" y="110"/>
                </a:cubicBezTo>
                <a:cubicBezTo>
                  <a:pt x="69" y="112"/>
                  <a:pt x="69" y="112"/>
                  <a:pt x="69" y="112"/>
                </a:cubicBezTo>
                <a:cubicBezTo>
                  <a:pt x="69" y="114"/>
                  <a:pt x="69" y="114"/>
                  <a:pt x="69" y="114"/>
                </a:cubicBezTo>
                <a:cubicBezTo>
                  <a:pt x="70" y="116"/>
                  <a:pt x="70" y="116"/>
                  <a:pt x="70" y="116"/>
                </a:cubicBezTo>
                <a:close/>
                <a:moveTo>
                  <a:pt x="67" y="115"/>
                </a:moveTo>
                <a:cubicBezTo>
                  <a:pt x="67" y="111"/>
                  <a:pt x="67" y="111"/>
                  <a:pt x="67" y="111"/>
                </a:cubicBezTo>
                <a:cubicBezTo>
                  <a:pt x="68" y="105"/>
                  <a:pt x="68" y="105"/>
                  <a:pt x="68" y="105"/>
                </a:cubicBezTo>
                <a:cubicBezTo>
                  <a:pt x="70" y="103"/>
                  <a:pt x="70" y="103"/>
                  <a:pt x="70" y="103"/>
                </a:cubicBezTo>
                <a:cubicBezTo>
                  <a:pt x="70" y="101"/>
                  <a:pt x="70" y="101"/>
                  <a:pt x="70" y="101"/>
                </a:cubicBezTo>
                <a:cubicBezTo>
                  <a:pt x="69" y="100"/>
                  <a:pt x="69" y="100"/>
                  <a:pt x="69" y="100"/>
                </a:cubicBezTo>
                <a:cubicBezTo>
                  <a:pt x="68" y="100"/>
                  <a:pt x="68" y="100"/>
                  <a:pt x="68" y="100"/>
                </a:cubicBezTo>
                <a:cubicBezTo>
                  <a:pt x="66" y="100"/>
                  <a:pt x="66" y="100"/>
                  <a:pt x="66" y="100"/>
                </a:cubicBezTo>
                <a:cubicBezTo>
                  <a:pt x="65" y="101"/>
                  <a:pt x="65" y="101"/>
                  <a:pt x="65" y="101"/>
                </a:cubicBezTo>
                <a:cubicBezTo>
                  <a:pt x="65" y="103"/>
                  <a:pt x="65" y="103"/>
                  <a:pt x="65" y="103"/>
                </a:cubicBezTo>
                <a:cubicBezTo>
                  <a:pt x="63" y="105"/>
                  <a:pt x="63" y="105"/>
                  <a:pt x="63" y="105"/>
                </a:cubicBezTo>
                <a:cubicBezTo>
                  <a:pt x="64" y="108"/>
                  <a:pt x="64" y="108"/>
                  <a:pt x="64" y="108"/>
                </a:cubicBezTo>
                <a:cubicBezTo>
                  <a:pt x="63" y="110"/>
                  <a:pt x="63" y="110"/>
                  <a:pt x="63" y="110"/>
                </a:cubicBezTo>
                <a:cubicBezTo>
                  <a:pt x="59" y="111"/>
                  <a:pt x="59" y="111"/>
                  <a:pt x="59" y="111"/>
                </a:cubicBezTo>
                <a:cubicBezTo>
                  <a:pt x="58" y="112"/>
                  <a:pt x="58" y="112"/>
                  <a:pt x="58" y="112"/>
                </a:cubicBezTo>
                <a:cubicBezTo>
                  <a:pt x="59" y="115"/>
                  <a:pt x="59" y="115"/>
                  <a:pt x="59" y="115"/>
                </a:cubicBezTo>
                <a:cubicBezTo>
                  <a:pt x="60" y="116"/>
                  <a:pt x="60" y="116"/>
                  <a:pt x="60" y="116"/>
                </a:cubicBezTo>
                <a:cubicBezTo>
                  <a:pt x="63" y="117"/>
                  <a:pt x="63" y="117"/>
                  <a:pt x="63" y="117"/>
                </a:cubicBezTo>
                <a:cubicBezTo>
                  <a:pt x="65" y="117"/>
                  <a:pt x="65" y="117"/>
                  <a:pt x="65" y="117"/>
                </a:cubicBezTo>
                <a:cubicBezTo>
                  <a:pt x="65" y="120"/>
                  <a:pt x="65" y="120"/>
                  <a:pt x="65" y="120"/>
                </a:cubicBezTo>
                <a:cubicBezTo>
                  <a:pt x="67" y="121"/>
                  <a:pt x="67" y="121"/>
                  <a:pt x="67" y="121"/>
                </a:cubicBezTo>
                <a:cubicBezTo>
                  <a:pt x="69" y="120"/>
                  <a:pt x="69" y="120"/>
                  <a:pt x="69" y="120"/>
                </a:cubicBezTo>
                <a:cubicBezTo>
                  <a:pt x="69" y="118"/>
                  <a:pt x="69" y="118"/>
                  <a:pt x="69" y="118"/>
                </a:cubicBezTo>
                <a:cubicBezTo>
                  <a:pt x="67" y="115"/>
                  <a:pt x="67" y="115"/>
                  <a:pt x="67" y="115"/>
                </a:cubicBezTo>
                <a:close/>
                <a:moveTo>
                  <a:pt x="73" y="118"/>
                </a:moveTo>
                <a:cubicBezTo>
                  <a:pt x="73" y="119"/>
                  <a:pt x="73" y="119"/>
                  <a:pt x="73" y="119"/>
                </a:cubicBezTo>
                <a:cubicBezTo>
                  <a:pt x="73" y="120"/>
                  <a:pt x="73" y="120"/>
                  <a:pt x="73" y="120"/>
                </a:cubicBezTo>
                <a:cubicBezTo>
                  <a:pt x="72" y="121"/>
                  <a:pt x="72" y="121"/>
                  <a:pt x="72" y="121"/>
                </a:cubicBezTo>
                <a:cubicBezTo>
                  <a:pt x="70" y="120"/>
                  <a:pt x="70" y="120"/>
                  <a:pt x="70" y="120"/>
                </a:cubicBezTo>
                <a:cubicBezTo>
                  <a:pt x="71" y="119"/>
                  <a:pt x="71" y="119"/>
                  <a:pt x="71" y="119"/>
                </a:cubicBezTo>
                <a:cubicBezTo>
                  <a:pt x="73" y="118"/>
                  <a:pt x="73" y="118"/>
                  <a:pt x="73" y="118"/>
                </a:cubicBezTo>
                <a:close/>
                <a:moveTo>
                  <a:pt x="79" y="109"/>
                </a:moveTo>
                <a:cubicBezTo>
                  <a:pt x="81" y="109"/>
                  <a:pt x="81" y="109"/>
                  <a:pt x="81" y="109"/>
                </a:cubicBezTo>
                <a:cubicBezTo>
                  <a:pt x="82" y="110"/>
                  <a:pt x="82" y="110"/>
                  <a:pt x="82" y="110"/>
                </a:cubicBezTo>
                <a:cubicBezTo>
                  <a:pt x="82" y="112"/>
                  <a:pt x="82" y="112"/>
                  <a:pt x="82" y="112"/>
                </a:cubicBezTo>
                <a:cubicBezTo>
                  <a:pt x="81" y="113"/>
                  <a:pt x="81" y="113"/>
                  <a:pt x="81" y="113"/>
                </a:cubicBezTo>
                <a:cubicBezTo>
                  <a:pt x="78" y="115"/>
                  <a:pt x="78" y="115"/>
                  <a:pt x="78" y="115"/>
                </a:cubicBezTo>
                <a:cubicBezTo>
                  <a:pt x="75" y="115"/>
                  <a:pt x="75" y="115"/>
                  <a:pt x="75" y="115"/>
                </a:cubicBezTo>
                <a:cubicBezTo>
                  <a:pt x="75" y="114"/>
                  <a:pt x="75" y="114"/>
                  <a:pt x="75" y="114"/>
                </a:cubicBezTo>
                <a:cubicBezTo>
                  <a:pt x="74" y="112"/>
                  <a:pt x="74" y="112"/>
                  <a:pt x="74" y="112"/>
                </a:cubicBezTo>
                <a:cubicBezTo>
                  <a:pt x="76" y="111"/>
                  <a:pt x="76" y="111"/>
                  <a:pt x="76" y="111"/>
                </a:cubicBezTo>
                <a:cubicBezTo>
                  <a:pt x="79" y="109"/>
                  <a:pt x="79" y="109"/>
                  <a:pt x="79" y="109"/>
                </a:cubicBezTo>
                <a:close/>
                <a:moveTo>
                  <a:pt x="89" y="109"/>
                </a:moveTo>
                <a:cubicBezTo>
                  <a:pt x="90" y="111"/>
                  <a:pt x="90" y="111"/>
                  <a:pt x="90" y="111"/>
                </a:cubicBezTo>
                <a:cubicBezTo>
                  <a:pt x="90" y="112"/>
                  <a:pt x="90" y="112"/>
                  <a:pt x="90" y="112"/>
                </a:cubicBezTo>
                <a:cubicBezTo>
                  <a:pt x="89" y="111"/>
                  <a:pt x="89" y="111"/>
                  <a:pt x="89" y="111"/>
                </a:cubicBezTo>
                <a:cubicBezTo>
                  <a:pt x="89" y="109"/>
                  <a:pt x="89" y="109"/>
                  <a:pt x="89" y="109"/>
                </a:cubicBezTo>
                <a:close/>
                <a:moveTo>
                  <a:pt x="83" y="117"/>
                </a:moveTo>
                <a:cubicBezTo>
                  <a:pt x="85" y="119"/>
                  <a:pt x="85" y="119"/>
                  <a:pt x="85" y="119"/>
                </a:cubicBezTo>
                <a:cubicBezTo>
                  <a:pt x="85" y="121"/>
                  <a:pt x="85" y="121"/>
                  <a:pt x="85" y="121"/>
                </a:cubicBezTo>
                <a:cubicBezTo>
                  <a:pt x="83" y="120"/>
                  <a:pt x="83" y="120"/>
                  <a:pt x="83" y="120"/>
                </a:cubicBezTo>
                <a:cubicBezTo>
                  <a:pt x="83" y="118"/>
                  <a:pt x="83" y="118"/>
                  <a:pt x="83" y="118"/>
                </a:cubicBezTo>
                <a:cubicBezTo>
                  <a:pt x="83" y="117"/>
                  <a:pt x="83" y="117"/>
                  <a:pt x="83" y="117"/>
                </a:cubicBezTo>
                <a:close/>
                <a:moveTo>
                  <a:pt x="82" y="92"/>
                </a:moveTo>
                <a:cubicBezTo>
                  <a:pt x="81" y="94"/>
                  <a:pt x="81" y="94"/>
                  <a:pt x="81" y="94"/>
                </a:cubicBezTo>
                <a:cubicBezTo>
                  <a:pt x="79" y="94"/>
                  <a:pt x="79" y="94"/>
                  <a:pt x="79" y="94"/>
                </a:cubicBezTo>
                <a:cubicBezTo>
                  <a:pt x="78" y="93"/>
                  <a:pt x="78" y="93"/>
                  <a:pt x="78" y="93"/>
                </a:cubicBezTo>
                <a:cubicBezTo>
                  <a:pt x="79" y="92"/>
                  <a:pt x="79" y="92"/>
                  <a:pt x="79" y="92"/>
                </a:cubicBezTo>
                <a:cubicBezTo>
                  <a:pt x="82" y="92"/>
                  <a:pt x="82" y="92"/>
                  <a:pt x="82" y="92"/>
                </a:cubicBezTo>
                <a:close/>
                <a:moveTo>
                  <a:pt x="86" y="95"/>
                </a:moveTo>
                <a:cubicBezTo>
                  <a:pt x="88" y="96"/>
                  <a:pt x="88" y="96"/>
                  <a:pt x="88" y="96"/>
                </a:cubicBezTo>
                <a:cubicBezTo>
                  <a:pt x="88" y="97"/>
                  <a:pt x="88" y="97"/>
                  <a:pt x="88" y="97"/>
                </a:cubicBezTo>
                <a:cubicBezTo>
                  <a:pt x="92" y="98"/>
                  <a:pt x="92" y="98"/>
                  <a:pt x="92" y="98"/>
                </a:cubicBezTo>
                <a:cubicBezTo>
                  <a:pt x="92" y="98"/>
                  <a:pt x="92" y="98"/>
                  <a:pt x="92" y="98"/>
                </a:cubicBezTo>
                <a:cubicBezTo>
                  <a:pt x="93" y="97"/>
                  <a:pt x="93" y="97"/>
                  <a:pt x="93" y="97"/>
                </a:cubicBezTo>
                <a:cubicBezTo>
                  <a:pt x="94" y="98"/>
                  <a:pt x="94" y="98"/>
                  <a:pt x="94" y="98"/>
                </a:cubicBezTo>
                <a:cubicBezTo>
                  <a:pt x="93" y="97"/>
                  <a:pt x="93" y="97"/>
                  <a:pt x="93" y="97"/>
                </a:cubicBezTo>
                <a:cubicBezTo>
                  <a:pt x="92" y="95"/>
                  <a:pt x="92" y="95"/>
                  <a:pt x="92" y="95"/>
                </a:cubicBezTo>
                <a:cubicBezTo>
                  <a:pt x="91" y="94"/>
                  <a:pt x="91" y="94"/>
                  <a:pt x="91" y="94"/>
                </a:cubicBezTo>
                <a:cubicBezTo>
                  <a:pt x="91" y="91"/>
                  <a:pt x="91" y="91"/>
                  <a:pt x="91" y="91"/>
                </a:cubicBezTo>
                <a:cubicBezTo>
                  <a:pt x="91" y="87"/>
                  <a:pt x="91" y="87"/>
                  <a:pt x="91" y="87"/>
                </a:cubicBezTo>
                <a:cubicBezTo>
                  <a:pt x="91" y="86"/>
                  <a:pt x="91" y="86"/>
                  <a:pt x="91" y="86"/>
                </a:cubicBezTo>
                <a:cubicBezTo>
                  <a:pt x="90" y="85"/>
                  <a:pt x="90" y="85"/>
                  <a:pt x="90" y="85"/>
                </a:cubicBezTo>
                <a:cubicBezTo>
                  <a:pt x="88" y="83"/>
                  <a:pt x="88" y="83"/>
                  <a:pt x="88" y="83"/>
                </a:cubicBezTo>
                <a:cubicBezTo>
                  <a:pt x="87" y="81"/>
                  <a:pt x="87" y="81"/>
                  <a:pt x="87" y="81"/>
                </a:cubicBezTo>
                <a:cubicBezTo>
                  <a:pt x="86" y="80"/>
                  <a:pt x="86" y="80"/>
                  <a:pt x="86" y="80"/>
                </a:cubicBezTo>
                <a:cubicBezTo>
                  <a:pt x="85" y="81"/>
                  <a:pt x="85" y="81"/>
                  <a:pt x="85" y="81"/>
                </a:cubicBezTo>
                <a:cubicBezTo>
                  <a:pt x="84" y="80"/>
                  <a:pt x="84" y="80"/>
                  <a:pt x="84" y="80"/>
                </a:cubicBezTo>
                <a:cubicBezTo>
                  <a:pt x="83" y="81"/>
                  <a:pt x="83" y="81"/>
                  <a:pt x="83" y="81"/>
                </a:cubicBezTo>
                <a:cubicBezTo>
                  <a:pt x="82" y="81"/>
                  <a:pt x="82" y="81"/>
                  <a:pt x="82" y="81"/>
                </a:cubicBezTo>
                <a:cubicBezTo>
                  <a:pt x="80" y="81"/>
                  <a:pt x="80" y="81"/>
                  <a:pt x="80" y="81"/>
                </a:cubicBezTo>
                <a:cubicBezTo>
                  <a:pt x="79" y="81"/>
                  <a:pt x="79" y="81"/>
                  <a:pt x="79" y="81"/>
                </a:cubicBezTo>
                <a:cubicBezTo>
                  <a:pt x="78" y="81"/>
                  <a:pt x="78" y="81"/>
                  <a:pt x="78" y="81"/>
                </a:cubicBezTo>
                <a:cubicBezTo>
                  <a:pt x="78" y="82"/>
                  <a:pt x="78" y="82"/>
                  <a:pt x="78" y="82"/>
                </a:cubicBezTo>
                <a:cubicBezTo>
                  <a:pt x="79" y="86"/>
                  <a:pt x="79" y="86"/>
                  <a:pt x="79" y="86"/>
                </a:cubicBezTo>
                <a:cubicBezTo>
                  <a:pt x="82" y="88"/>
                  <a:pt x="82" y="88"/>
                  <a:pt x="82" y="88"/>
                </a:cubicBezTo>
                <a:cubicBezTo>
                  <a:pt x="84" y="91"/>
                  <a:pt x="84" y="91"/>
                  <a:pt x="84" y="91"/>
                </a:cubicBezTo>
                <a:cubicBezTo>
                  <a:pt x="85" y="91"/>
                  <a:pt x="85" y="91"/>
                  <a:pt x="85" y="91"/>
                </a:cubicBezTo>
                <a:cubicBezTo>
                  <a:pt x="85" y="92"/>
                  <a:pt x="85" y="92"/>
                  <a:pt x="85" y="92"/>
                </a:cubicBezTo>
                <a:cubicBezTo>
                  <a:pt x="84" y="94"/>
                  <a:pt x="84" y="94"/>
                  <a:pt x="84" y="94"/>
                </a:cubicBezTo>
                <a:cubicBezTo>
                  <a:pt x="84" y="94"/>
                  <a:pt x="84" y="94"/>
                  <a:pt x="84" y="94"/>
                </a:cubicBezTo>
                <a:cubicBezTo>
                  <a:pt x="85" y="94"/>
                  <a:pt x="85" y="94"/>
                  <a:pt x="85" y="94"/>
                </a:cubicBezTo>
                <a:cubicBezTo>
                  <a:pt x="85" y="94"/>
                  <a:pt x="85" y="94"/>
                  <a:pt x="85" y="94"/>
                </a:cubicBezTo>
                <a:cubicBezTo>
                  <a:pt x="86" y="95"/>
                  <a:pt x="86" y="95"/>
                  <a:pt x="86" y="95"/>
                </a:cubicBezTo>
                <a:close/>
                <a:moveTo>
                  <a:pt x="84" y="95"/>
                </a:moveTo>
                <a:cubicBezTo>
                  <a:pt x="82" y="96"/>
                  <a:pt x="82" y="96"/>
                  <a:pt x="82" y="96"/>
                </a:cubicBezTo>
                <a:cubicBezTo>
                  <a:pt x="80" y="95"/>
                  <a:pt x="80" y="95"/>
                  <a:pt x="80" y="95"/>
                </a:cubicBezTo>
                <a:cubicBezTo>
                  <a:pt x="79" y="95"/>
                  <a:pt x="79" y="95"/>
                  <a:pt x="79" y="95"/>
                </a:cubicBezTo>
                <a:cubicBezTo>
                  <a:pt x="80" y="97"/>
                  <a:pt x="80" y="97"/>
                  <a:pt x="80" y="97"/>
                </a:cubicBezTo>
                <a:cubicBezTo>
                  <a:pt x="80" y="99"/>
                  <a:pt x="80" y="99"/>
                  <a:pt x="80" y="99"/>
                </a:cubicBezTo>
                <a:cubicBezTo>
                  <a:pt x="81" y="101"/>
                  <a:pt x="81" y="101"/>
                  <a:pt x="81" y="101"/>
                </a:cubicBezTo>
                <a:cubicBezTo>
                  <a:pt x="82" y="100"/>
                  <a:pt x="82" y="100"/>
                  <a:pt x="82" y="100"/>
                </a:cubicBezTo>
                <a:cubicBezTo>
                  <a:pt x="83" y="101"/>
                  <a:pt x="83" y="101"/>
                  <a:pt x="83" y="101"/>
                </a:cubicBezTo>
                <a:cubicBezTo>
                  <a:pt x="83" y="103"/>
                  <a:pt x="83" y="103"/>
                  <a:pt x="83" y="103"/>
                </a:cubicBezTo>
                <a:cubicBezTo>
                  <a:pt x="84" y="105"/>
                  <a:pt x="84" y="105"/>
                  <a:pt x="84" y="105"/>
                </a:cubicBezTo>
                <a:cubicBezTo>
                  <a:pt x="84" y="108"/>
                  <a:pt x="84" y="108"/>
                  <a:pt x="84" y="108"/>
                </a:cubicBezTo>
                <a:cubicBezTo>
                  <a:pt x="86" y="110"/>
                  <a:pt x="86" y="110"/>
                  <a:pt x="86" y="110"/>
                </a:cubicBezTo>
                <a:cubicBezTo>
                  <a:pt x="86" y="107"/>
                  <a:pt x="86" y="107"/>
                  <a:pt x="86" y="107"/>
                </a:cubicBezTo>
                <a:cubicBezTo>
                  <a:pt x="87" y="108"/>
                  <a:pt x="87" y="108"/>
                  <a:pt x="87" y="108"/>
                </a:cubicBezTo>
                <a:cubicBezTo>
                  <a:pt x="89" y="108"/>
                  <a:pt x="89" y="108"/>
                  <a:pt x="89" y="108"/>
                </a:cubicBezTo>
                <a:cubicBezTo>
                  <a:pt x="89" y="106"/>
                  <a:pt x="89" y="106"/>
                  <a:pt x="89" y="106"/>
                </a:cubicBezTo>
                <a:cubicBezTo>
                  <a:pt x="88" y="103"/>
                  <a:pt x="88" y="103"/>
                  <a:pt x="88" y="103"/>
                </a:cubicBezTo>
                <a:cubicBezTo>
                  <a:pt x="86" y="102"/>
                  <a:pt x="86" y="102"/>
                  <a:pt x="86" y="102"/>
                </a:cubicBezTo>
                <a:cubicBezTo>
                  <a:pt x="86" y="99"/>
                  <a:pt x="86" y="99"/>
                  <a:pt x="86" y="99"/>
                </a:cubicBezTo>
                <a:cubicBezTo>
                  <a:pt x="85" y="96"/>
                  <a:pt x="85" y="96"/>
                  <a:pt x="85" y="96"/>
                </a:cubicBezTo>
                <a:cubicBezTo>
                  <a:pt x="84" y="95"/>
                  <a:pt x="84" y="95"/>
                  <a:pt x="84" y="95"/>
                </a:cubicBezTo>
                <a:close/>
                <a:moveTo>
                  <a:pt x="95" y="100"/>
                </a:moveTo>
                <a:cubicBezTo>
                  <a:pt x="96" y="100"/>
                  <a:pt x="96" y="100"/>
                  <a:pt x="96" y="100"/>
                </a:cubicBezTo>
                <a:cubicBezTo>
                  <a:pt x="95" y="99"/>
                  <a:pt x="95" y="99"/>
                  <a:pt x="95" y="99"/>
                </a:cubicBezTo>
                <a:cubicBezTo>
                  <a:pt x="94" y="100"/>
                  <a:pt x="94" y="100"/>
                  <a:pt x="94" y="100"/>
                </a:cubicBezTo>
                <a:cubicBezTo>
                  <a:pt x="95" y="100"/>
                  <a:pt x="95" y="100"/>
                  <a:pt x="95" y="100"/>
                </a:cubicBezTo>
                <a:close/>
                <a:moveTo>
                  <a:pt x="95" y="102"/>
                </a:moveTo>
                <a:cubicBezTo>
                  <a:pt x="94" y="102"/>
                  <a:pt x="94" y="102"/>
                  <a:pt x="94" y="102"/>
                </a:cubicBezTo>
                <a:cubicBezTo>
                  <a:pt x="94" y="103"/>
                  <a:pt x="94" y="103"/>
                  <a:pt x="94" y="103"/>
                </a:cubicBezTo>
                <a:cubicBezTo>
                  <a:pt x="95" y="103"/>
                  <a:pt x="95" y="103"/>
                  <a:pt x="95" y="103"/>
                </a:cubicBezTo>
                <a:cubicBezTo>
                  <a:pt x="95" y="102"/>
                  <a:pt x="95" y="102"/>
                  <a:pt x="95" y="102"/>
                </a:cubicBezTo>
                <a:close/>
                <a:moveTo>
                  <a:pt x="95" y="113"/>
                </a:moveTo>
                <a:cubicBezTo>
                  <a:pt x="95" y="110"/>
                  <a:pt x="95" y="110"/>
                  <a:pt x="95" y="110"/>
                </a:cubicBezTo>
                <a:cubicBezTo>
                  <a:pt x="94" y="109"/>
                  <a:pt x="94" y="109"/>
                  <a:pt x="94" y="109"/>
                </a:cubicBezTo>
                <a:cubicBezTo>
                  <a:pt x="94" y="107"/>
                  <a:pt x="94" y="107"/>
                  <a:pt x="94" y="107"/>
                </a:cubicBezTo>
                <a:cubicBezTo>
                  <a:pt x="94" y="106"/>
                  <a:pt x="94" y="106"/>
                  <a:pt x="94" y="106"/>
                </a:cubicBezTo>
                <a:cubicBezTo>
                  <a:pt x="94" y="105"/>
                  <a:pt x="94" y="105"/>
                  <a:pt x="94" y="105"/>
                </a:cubicBezTo>
                <a:cubicBezTo>
                  <a:pt x="93" y="105"/>
                  <a:pt x="93" y="105"/>
                  <a:pt x="93" y="105"/>
                </a:cubicBezTo>
                <a:cubicBezTo>
                  <a:pt x="92" y="108"/>
                  <a:pt x="92" y="108"/>
                  <a:pt x="92" y="108"/>
                </a:cubicBezTo>
                <a:cubicBezTo>
                  <a:pt x="94" y="110"/>
                  <a:pt x="94" y="110"/>
                  <a:pt x="94" y="110"/>
                </a:cubicBezTo>
                <a:cubicBezTo>
                  <a:pt x="93" y="112"/>
                  <a:pt x="93" y="112"/>
                  <a:pt x="93" y="112"/>
                </a:cubicBezTo>
                <a:cubicBezTo>
                  <a:pt x="94" y="113"/>
                  <a:pt x="94" y="113"/>
                  <a:pt x="94" y="113"/>
                </a:cubicBezTo>
                <a:cubicBezTo>
                  <a:pt x="95" y="113"/>
                  <a:pt x="95" y="113"/>
                  <a:pt x="95" y="113"/>
                </a:cubicBezTo>
                <a:close/>
                <a:moveTo>
                  <a:pt x="97" y="113"/>
                </a:moveTo>
                <a:cubicBezTo>
                  <a:pt x="97" y="115"/>
                  <a:pt x="97" y="115"/>
                  <a:pt x="97" y="115"/>
                </a:cubicBezTo>
                <a:cubicBezTo>
                  <a:pt x="98" y="116"/>
                  <a:pt x="98" y="116"/>
                  <a:pt x="98" y="116"/>
                </a:cubicBezTo>
                <a:cubicBezTo>
                  <a:pt x="98" y="114"/>
                  <a:pt x="98" y="114"/>
                  <a:pt x="98" y="114"/>
                </a:cubicBezTo>
                <a:cubicBezTo>
                  <a:pt x="97" y="113"/>
                  <a:pt x="97" y="113"/>
                  <a:pt x="97" y="113"/>
                </a:cubicBezTo>
                <a:close/>
                <a:moveTo>
                  <a:pt x="98" y="109"/>
                </a:moveTo>
                <a:cubicBezTo>
                  <a:pt x="98" y="111"/>
                  <a:pt x="98" y="111"/>
                  <a:pt x="98" y="111"/>
                </a:cubicBezTo>
                <a:cubicBezTo>
                  <a:pt x="98" y="112"/>
                  <a:pt x="98" y="112"/>
                  <a:pt x="98" y="112"/>
                </a:cubicBezTo>
                <a:cubicBezTo>
                  <a:pt x="99" y="113"/>
                  <a:pt x="99" y="113"/>
                  <a:pt x="99" y="113"/>
                </a:cubicBezTo>
                <a:cubicBezTo>
                  <a:pt x="100" y="113"/>
                  <a:pt x="100" y="113"/>
                  <a:pt x="100" y="113"/>
                </a:cubicBezTo>
                <a:cubicBezTo>
                  <a:pt x="99" y="111"/>
                  <a:pt x="99" y="111"/>
                  <a:pt x="99" y="111"/>
                </a:cubicBezTo>
                <a:cubicBezTo>
                  <a:pt x="98" y="109"/>
                  <a:pt x="98" y="109"/>
                  <a:pt x="98" y="109"/>
                </a:cubicBezTo>
                <a:close/>
                <a:moveTo>
                  <a:pt x="57" y="146"/>
                </a:moveTo>
                <a:cubicBezTo>
                  <a:pt x="55" y="144"/>
                  <a:pt x="55" y="144"/>
                  <a:pt x="55" y="144"/>
                </a:cubicBezTo>
                <a:cubicBezTo>
                  <a:pt x="56" y="141"/>
                  <a:pt x="56" y="141"/>
                  <a:pt x="56" y="141"/>
                </a:cubicBezTo>
                <a:cubicBezTo>
                  <a:pt x="57" y="138"/>
                  <a:pt x="57" y="138"/>
                  <a:pt x="57" y="138"/>
                </a:cubicBezTo>
                <a:cubicBezTo>
                  <a:pt x="56" y="136"/>
                  <a:pt x="56" y="136"/>
                  <a:pt x="56" y="136"/>
                </a:cubicBezTo>
                <a:cubicBezTo>
                  <a:pt x="58" y="134"/>
                  <a:pt x="58" y="134"/>
                  <a:pt x="58" y="134"/>
                </a:cubicBezTo>
                <a:cubicBezTo>
                  <a:pt x="60" y="133"/>
                  <a:pt x="60" y="133"/>
                  <a:pt x="60" y="133"/>
                </a:cubicBezTo>
                <a:cubicBezTo>
                  <a:pt x="62" y="132"/>
                  <a:pt x="62" y="132"/>
                  <a:pt x="62" y="132"/>
                </a:cubicBezTo>
                <a:cubicBezTo>
                  <a:pt x="64" y="132"/>
                  <a:pt x="64" y="132"/>
                  <a:pt x="64" y="132"/>
                </a:cubicBezTo>
                <a:cubicBezTo>
                  <a:pt x="67" y="132"/>
                  <a:pt x="67" y="132"/>
                  <a:pt x="67" y="132"/>
                </a:cubicBezTo>
                <a:cubicBezTo>
                  <a:pt x="66" y="130"/>
                  <a:pt x="66" y="130"/>
                  <a:pt x="66" y="130"/>
                </a:cubicBezTo>
                <a:cubicBezTo>
                  <a:pt x="67" y="128"/>
                  <a:pt x="67" y="128"/>
                  <a:pt x="67" y="128"/>
                </a:cubicBezTo>
                <a:cubicBezTo>
                  <a:pt x="69" y="127"/>
                  <a:pt x="69" y="127"/>
                  <a:pt x="69" y="127"/>
                </a:cubicBezTo>
                <a:cubicBezTo>
                  <a:pt x="70" y="125"/>
                  <a:pt x="70" y="125"/>
                  <a:pt x="70" y="125"/>
                </a:cubicBezTo>
                <a:cubicBezTo>
                  <a:pt x="72" y="125"/>
                  <a:pt x="72" y="125"/>
                  <a:pt x="72" y="125"/>
                </a:cubicBezTo>
                <a:cubicBezTo>
                  <a:pt x="75" y="127"/>
                  <a:pt x="75" y="127"/>
                  <a:pt x="75" y="127"/>
                </a:cubicBezTo>
                <a:cubicBezTo>
                  <a:pt x="75" y="131"/>
                  <a:pt x="75" y="131"/>
                  <a:pt x="75" y="131"/>
                </a:cubicBezTo>
                <a:cubicBezTo>
                  <a:pt x="73" y="134"/>
                  <a:pt x="73" y="134"/>
                  <a:pt x="73" y="134"/>
                </a:cubicBezTo>
                <a:cubicBezTo>
                  <a:pt x="75" y="132"/>
                  <a:pt x="75" y="132"/>
                  <a:pt x="75" y="132"/>
                </a:cubicBezTo>
                <a:cubicBezTo>
                  <a:pt x="77" y="132"/>
                  <a:pt x="77" y="132"/>
                  <a:pt x="77" y="132"/>
                </a:cubicBezTo>
                <a:cubicBezTo>
                  <a:pt x="79" y="131"/>
                  <a:pt x="79" y="131"/>
                  <a:pt x="79" y="131"/>
                </a:cubicBezTo>
                <a:cubicBezTo>
                  <a:pt x="80" y="127"/>
                  <a:pt x="80" y="127"/>
                  <a:pt x="80" y="127"/>
                </a:cubicBezTo>
                <a:cubicBezTo>
                  <a:pt x="83" y="126"/>
                  <a:pt x="83" y="126"/>
                  <a:pt x="83" y="126"/>
                </a:cubicBezTo>
                <a:cubicBezTo>
                  <a:pt x="84" y="128"/>
                  <a:pt x="84" y="128"/>
                  <a:pt x="84" y="128"/>
                </a:cubicBezTo>
                <a:cubicBezTo>
                  <a:pt x="85" y="128"/>
                  <a:pt x="85" y="128"/>
                  <a:pt x="85" y="128"/>
                </a:cubicBezTo>
                <a:cubicBezTo>
                  <a:pt x="85" y="126"/>
                  <a:pt x="85" y="126"/>
                  <a:pt x="85" y="126"/>
                </a:cubicBezTo>
                <a:cubicBezTo>
                  <a:pt x="84" y="125"/>
                  <a:pt x="84" y="125"/>
                  <a:pt x="84" y="125"/>
                </a:cubicBezTo>
                <a:cubicBezTo>
                  <a:pt x="85" y="121"/>
                  <a:pt x="85" y="121"/>
                  <a:pt x="85" y="121"/>
                </a:cubicBezTo>
                <a:cubicBezTo>
                  <a:pt x="88" y="122"/>
                  <a:pt x="88" y="122"/>
                  <a:pt x="88" y="122"/>
                </a:cubicBezTo>
                <a:cubicBezTo>
                  <a:pt x="89" y="123"/>
                  <a:pt x="89" y="123"/>
                  <a:pt x="89" y="123"/>
                </a:cubicBezTo>
                <a:cubicBezTo>
                  <a:pt x="90" y="122"/>
                  <a:pt x="90" y="122"/>
                  <a:pt x="90" y="122"/>
                </a:cubicBezTo>
                <a:cubicBezTo>
                  <a:pt x="90" y="119"/>
                  <a:pt x="90" y="119"/>
                  <a:pt x="90" y="119"/>
                </a:cubicBezTo>
                <a:cubicBezTo>
                  <a:pt x="90" y="119"/>
                  <a:pt x="90" y="119"/>
                  <a:pt x="90" y="119"/>
                </a:cubicBezTo>
                <a:cubicBezTo>
                  <a:pt x="92" y="121"/>
                  <a:pt x="92" y="121"/>
                  <a:pt x="92" y="121"/>
                </a:cubicBezTo>
                <a:cubicBezTo>
                  <a:pt x="92" y="119"/>
                  <a:pt x="92" y="119"/>
                  <a:pt x="92" y="119"/>
                </a:cubicBezTo>
                <a:cubicBezTo>
                  <a:pt x="91" y="115"/>
                  <a:pt x="91" y="115"/>
                  <a:pt x="91" y="115"/>
                </a:cubicBezTo>
                <a:cubicBezTo>
                  <a:pt x="91" y="113"/>
                  <a:pt x="91" y="113"/>
                  <a:pt x="91" y="113"/>
                </a:cubicBezTo>
                <a:cubicBezTo>
                  <a:pt x="93" y="113"/>
                  <a:pt x="93" y="113"/>
                  <a:pt x="93" y="113"/>
                </a:cubicBezTo>
                <a:cubicBezTo>
                  <a:pt x="94" y="113"/>
                  <a:pt x="94" y="113"/>
                  <a:pt x="94" y="113"/>
                </a:cubicBezTo>
                <a:cubicBezTo>
                  <a:pt x="94" y="115"/>
                  <a:pt x="94" y="115"/>
                  <a:pt x="94" y="115"/>
                </a:cubicBezTo>
                <a:cubicBezTo>
                  <a:pt x="97" y="117"/>
                  <a:pt x="97" y="117"/>
                  <a:pt x="97" y="117"/>
                </a:cubicBezTo>
                <a:cubicBezTo>
                  <a:pt x="99" y="119"/>
                  <a:pt x="99" y="119"/>
                  <a:pt x="99" y="119"/>
                </a:cubicBezTo>
                <a:cubicBezTo>
                  <a:pt x="100" y="118"/>
                  <a:pt x="100" y="118"/>
                  <a:pt x="100" y="118"/>
                </a:cubicBezTo>
                <a:cubicBezTo>
                  <a:pt x="100" y="120"/>
                  <a:pt x="100" y="120"/>
                  <a:pt x="100" y="120"/>
                </a:cubicBezTo>
                <a:cubicBezTo>
                  <a:pt x="102" y="122"/>
                  <a:pt x="102" y="122"/>
                  <a:pt x="102" y="122"/>
                </a:cubicBezTo>
                <a:cubicBezTo>
                  <a:pt x="102" y="125"/>
                  <a:pt x="102" y="125"/>
                  <a:pt x="102" y="125"/>
                </a:cubicBezTo>
                <a:cubicBezTo>
                  <a:pt x="100" y="125"/>
                  <a:pt x="100" y="125"/>
                  <a:pt x="100" y="125"/>
                </a:cubicBezTo>
                <a:cubicBezTo>
                  <a:pt x="100" y="126"/>
                  <a:pt x="100" y="126"/>
                  <a:pt x="100" y="126"/>
                </a:cubicBezTo>
                <a:cubicBezTo>
                  <a:pt x="101" y="127"/>
                  <a:pt x="101" y="127"/>
                  <a:pt x="101" y="127"/>
                </a:cubicBezTo>
                <a:cubicBezTo>
                  <a:pt x="102" y="127"/>
                  <a:pt x="102" y="127"/>
                  <a:pt x="102" y="127"/>
                </a:cubicBezTo>
                <a:cubicBezTo>
                  <a:pt x="102" y="129"/>
                  <a:pt x="102" y="129"/>
                  <a:pt x="102" y="129"/>
                </a:cubicBezTo>
                <a:cubicBezTo>
                  <a:pt x="102" y="131"/>
                  <a:pt x="102" y="131"/>
                  <a:pt x="102" y="131"/>
                </a:cubicBezTo>
                <a:cubicBezTo>
                  <a:pt x="103" y="130"/>
                  <a:pt x="103" y="130"/>
                  <a:pt x="103" y="130"/>
                </a:cubicBezTo>
                <a:cubicBezTo>
                  <a:pt x="103" y="132"/>
                  <a:pt x="103" y="132"/>
                  <a:pt x="103" y="132"/>
                </a:cubicBezTo>
                <a:cubicBezTo>
                  <a:pt x="103" y="135"/>
                  <a:pt x="103" y="135"/>
                  <a:pt x="103" y="135"/>
                </a:cubicBezTo>
                <a:cubicBezTo>
                  <a:pt x="104" y="137"/>
                  <a:pt x="104" y="137"/>
                  <a:pt x="104" y="137"/>
                </a:cubicBezTo>
                <a:cubicBezTo>
                  <a:pt x="106" y="139"/>
                  <a:pt x="106" y="139"/>
                  <a:pt x="106" y="139"/>
                </a:cubicBezTo>
                <a:cubicBezTo>
                  <a:pt x="106" y="142"/>
                  <a:pt x="106" y="142"/>
                  <a:pt x="106" y="142"/>
                </a:cubicBezTo>
                <a:cubicBezTo>
                  <a:pt x="105" y="145"/>
                  <a:pt x="105" y="145"/>
                  <a:pt x="105" y="145"/>
                </a:cubicBezTo>
                <a:cubicBezTo>
                  <a:pt x="104" y="145"/>
                  <a:pt x="104" y="145"/>
                  <a:pt x="104" y="145"/>
                </a:cubicBezTo>
                <a:cubicBezTo>
                  <a:pt x="104" y="146"/>
                  <a:pt x="104" y="146"/>
                  <a:pt x="104" y="146"/>
                </a:cubicBezTo>
                <a:cubicBezTo>
                  <a:pt x="103" y="145"/>
                  <a:pt x="103" y="145"/>
                  <a:pt x="103" y="145"/>
                </a:cubicBezTo>
                <a:cubicBezTo>
                  <a:pt x="102" y="145"/>
                  <a:pt x="102" y="145"/>
                  <a:pt x="102" y="145"/>
                </a:cubicBezTo>
                <a:cubicBezTo>
                  <a:pt x="102" y="146"/>
                  <a:pt x="102" y="146"/>
                  <a:pt x="102" y="146"/>
                </a:cubicBezTo>
                <a:cubicBezTo>
                  <a:pt x="102" y="149"/>
                  <a:pt x="102" y="149"/>
                  <a:pt x="102" y="149"/>
                </a:cubicBezTo>
                <a:cubicBezTo>
                  <a:pt x="102" y="152"/>
                  <a:pt x="102" y="152"/>
                  <a:pt x="102" y="152"/>
                </a:cubicBezTo>
                <a:cubicBezTo>
                  <a:pt x="102" y="153"/>
                  <a:pt x="102" y="153"/>
                  <a:pt x="102" y="153"/>
                </a:cubicBezTo>
                <a:cubicBezTo>
                  <a:pt x="101" y="152"/>
                  <a:pt x="101" y="152"/>
                  <a:pt x="101" y="152"/>
                </a:cubicBezTo>
                <a:cubicBezTo>
                  <a:pt x="100" y="148"/>
                  <a:pt x="100" y="148"/>
                  <a:pt x="100" y="148"/>
                </a:cubicBezTo>
                <a:cubicBezTo>
                  <a:pt x="101" y="146"/>
                  <a:pt x="101" y="146"/>
                  <a:pt x="101" y="146"/>
                </a:cubicBezTo>
                <a:cubicBezTo>
                  <a:pt x="100" y="145"/>
                  <a:pt x="100" y="145"/>
                  <a:pt x="100" y="145"/>
                </a:cubicBezTo>
                <a:cubicBezTo>
                  <a:pt x="99" y="143"/>
                  <a:pt x="99" y="143"/>
                  <a:pt x="99" y="143"/>
                </a:cubicBezTo>
                <a:cubicBezTo>
                  <a:pt x="98" y="141"/>
                  <a:pt x="98" y="141"/>
                  <a:pt x="98" y="141"/>
                </a:cubicBezTo>
                <a:cubicBezTo>
                  <a:pt x="96" y="141"/>
                  <a:pt x="96" y="141"/>
                  <a:pt x="96" y="141"/>
                </a:cubicBezTo>
                <a:cubicBezTo>
                  <a:pt x="94" y="146"/>
                  <a:pt x="94" y="146"/>
                  <a:pt x="94" y="146"/>
                </a:cubicBezTo>
                <a:cubicBezTo>
                  <a:pt x="93" y="148"/>
                  <a:pt x="93" y="148"/>
                  <a:pt x="93" y="148"/>
                </a:cubicBezTo>
                <a:cubicBezTo>
                  <a:pt x="95" y="149"/>
                  <a:pt x="95" y="149"/>
                  <a:pt x="95" y="149"/>
                </a:cubicBezTo>
                <a:cubicBezTo>
                  <a:pt x="96" y="152"/>
                  <a:pt x="96" y="152"/>
                  <a:pt x="96" y="152"/>
                </a:cubicBezTo>
                <a:cubicBezTo>
                  <a:pt x="97" y="153"/>
                  <a:pt x="97" y="153"/>
                  <a:pt x="97" y="153"/>
                </a:cubicBezTo>
                <a:cubicBezTo>
                  <a:pt x="97" y="155"/>
                  <a:pt x="97" y="155"/>
                  <a:pt x="97" y="155"/>
                </a:cubicBezTo>
                <a:cubicBezTo>
                  <a:pt x="94" y="159"/>
                  <a:pt x="94" y="159"/>
                  <a:pt x="94" y="159"/>
                </a:cubicBezTo>
                <a:cubicBezTo>
                  <a:pt x="93" y="160"/>
                  <a:pt x="93" y="160"/>
                  <a:pt x="93" y="160"/>
                </a:cubicBezTo>
                <a:cubicBezTo>
                  <a:pt x="92" y="159"/>
                  <a:pt x="92" y="159"/>
                  <a:pt x="92" y="159"/>
                </a:cubicBezTo>
                <a:cubicBezTo>
                  <a:pt x="91" y="157"/>
                  <a:pt x="91" y="157"/>
                  <a:pt x="91" y="157"/>
                </a:cubicBezTo>
                <a:cubicBezTo>
                  <a:pt x="92" y="156"/>
                  <a:pt x="92" y="156"/>
                  <a:pt x="92" y="156"/>
                </a:cubicBezTo>
                <a:cubicBezTo>
                  <a:pt x="91" y="155"/>
                  <a:pt x="91" y="155"/>
                  <a:pt x="91" y="155"/>
                </a:cubicBezTo>
                <a:cubicBezTo>
                  <a:pt x="90" y="156"/>
                  <a:pt x="90" y="156"/>
                  <a:pt x="90" y="156"/>
                </a:cubicBezTo>
                <a:cubicBezTo>
                  <a:pt x="90" y="157"/>
                  <a:pt x="90" y="157"/>
                  <a:pt x="90" y="157"/>
                </a:cubicBezTo>
                <a:cubicBezTo>
                  <a:pt x="88" y="158"/>
                  <a:pt x="88" y="158"/>
                  <a:pt x="88" y="158"/>
                </a:cubicBezTo>
                <a:cubicBezTo>
                  <a:pt x="86" y="157"/>
                  <a:pt x="86" y="157"/>
                  <a:pt x="86" y="157"/>
                </a:cubicBezTo>
                <a:cubicBezTo>
                  <a:pt x="84" y="156"/>
                  <a:pt x="84" y="156"/>
                  <a:pt x="84" y="156"/>
                </a:cubicBezTo>
                <a:cubicBezTo>
                  <a:pt x="82" y="156"/>
                  <a:pt x="82" y="156"/>
                  <a:pt x="82" y="156"/>
                </a:cubicBezTo>
                <a:cubicBezTo>
                  <a:pt x="80" y="153"/>
                  <a:pt x="80" y="153"/>
                  <a:pt x="80" y="153"/>
                </a:cubicBezTo>
                <a:cubicBezTo>
                  <a:pt x="79" y="152"/>
                  <a:pt x="79" y="152"/>
                  <a:pt x="79" y="152"/>
                </a:cubicBezTo>
                <a:cubicBezTo>
                  <a:pt x="78" y="150"/>
                  <a:pt x="78" y="150"/>
                  <a:pt x="78" y="150"/>
                </a:cubicBezTo>
                <a:cubicBezTo>
                  <a:pt x="78" y="148"/>
                  <a:pt x="78" y="148"/>
                  <a:pt x="78" y="148"/>
                </a:cubicBezTo>
                <a:cubicBezTo>
                  <a:pt x="78" y="147"/>
                  <a:pt x="78" y="147"/>
                  <a:pt x="78" y="147"/>
                </a:cubicBezTo>
                <a:cubicBezTo>
                  <a:pt x="77" y="145"/>
                  <a:pt x="77" y="145"/>
                  <a:pt x="77" y="145"/>
                </a:cubicBezTo>
                <a:cubicBezTo>
                  <a:pt x="78" y="144"/>
                  <a:pt x="78" y="144"/>
                  <a:pt x="78" y="144"/>
                </a:cubicBezTo>
                <a:cubicBezTo>
                  <a:pt x="78" y="143"/>
                  <a:pt x="78" y="143"/>
                  <a:pt x="78" y="143"/>
                </a:cubicBezTo>
                <a:cubicBezTo>
                  <a:pt x="79" y="143"/>
                  <a:pt x="79" y="143"/>
                  <a:pt x="79" y="143"/>
                </a:cubicBezTo>
                <a:cubicBezTo>
                  <a:pt x="81" y="143"/>
                  <a:pt x="81" y="143"/>
                  <a:pt x="81" y="143"/>
                </a:cubicBezTo>
                <a:cubicBezTo>
                  <a:pt x="79" y="142"/>
                  <a:pt x="79" y="142"/>
                  <a:pt x="79" y="142"/>
                </a:cubicBezTo>
                <a:cubicBezTo>
                  <a:pt x="79" y="140"/>
                  <a:pt x="79" y="140"/>
                  <a:pt x="79" y="140"/>
                </a:cubicBezTo>
                <a:cubicBezTo>
                  <a:pt x="77" y="138"/>
                  <a:pt x="77" y="138"/>
                  <a:pt x="77" y="138"/>
                </a:cubicBezTo>
                <a:cubicBezTo>
                  <a:pt x="75" y="138"/>
                  <a:pt x="75" y="138"/>
                  <a:pt x="75" y="138"/>
                </a:cubicBezTo>
                <a:cubicBezTo>
                  <a:pt x="73" y="136"/>
                  <a:pt x="73" y="136"/>
                  <a:pt x="73" y="136"/>
                </a:cubicBezTo>
                <a:cubicBezTo>
                  <a:pt x="72" y="136"/>
                  <a:pt x="72" y="136"/>
                  <a:pt x="72" y="136"/>
                </a:cubicBezTo>
                <a:cubicBezTo>
                  <a:pt x="71" y="137"/>
                  <a:pt x="71" y="137"/>
                  <a:pt x="71" y="137"/>
                </a:cubicBezTo>
                <a:cubicBezTo>
                  <a:pt x="71" y="138"/>
                  <a:pt x="71" y="138"/>
                  <a:pt x="71" y="138"/>
                </a:cubicBezTo>
                <a:cubicBezTo>
                  <a:pt x="71" y="139"/>
                  <a:pt x="71" y="139"/>
                  <a:pt x="71" y="139"/>
                </a:cubicBezTo>
                <a:cubicBezTo>
                  <a:pt x="72" y="141"/>
                  <a:pt x="72" y="141"/>
                  <a:pt x="72" y="141"/>
                </a:cubicBezTo>
                <a:cubicBezTo>
                  <a:pt x="71" y="140"/>
                  <a:pt x="71" y="140"/>
                  <a:pt x="71" y="140"/>
                </a:cubicBezTo>
                <a:cubicBezTo>
                  <a:pt x="69" y="139"/>
                  <a:pt x="69" y="139"/>
                  <a:pt x="69" y="139"/>
                </a:cubicBezTo>
                <a:cubicBezTo>
                  <a:pt x="68" y="139"/>
                  <a:pt x="68" y="139"/>
                  <a:pt x="68" y="139"/>
                </a:cubicBezTo>
                <a:cubicBezTo>
                  <a:pt x="69" y="138"/>
                  <a:pt x="69" y="138"/>
                  <a:pt x="69" y="138"/>
                </a:cubicBezTo>
                <a:cubicBezTo>
                  <a:pt x="68" y="138"/>
                  <a:pt x="68" y="138"/>
                  <a:pt x="68" y="138"/>
                </a:cubicBezTo>
                <a:cubicBezTo>
                  <a:pt x="67" y="138"/>
                  <a:pt x="67" y="138"/>
                  <a:pt x="67" y="138"/>
                </a:cubicBezTo>
                <a:cubicBezTo>
                  <a:pt x="67" y="140"/>
                  <a:pt x="67" y="140"/>
                  <a:pt x="67" y="140"/>
                </a:cubicBezTo>
                <a:cubicBezTo>
                  <a:pt x="66" y="140"/>
                  <a:pt x="66" y="140"/>
                  <a:pt x="66" y="140"/>
                </a:cubicBezTo>
                <a:cubicBezTo>
                  <a:pt x="65" y="140"/>
                  <a:pt x="65" y="140"/>
                  <a:pt x="65" y="140"/>
                </a:cubicBezTo>
                <a:cubicBezTo>
                  <a:pt x="64" y="139"/>
                  <a:pt x="64" y="139"/>
                  <a:pt x="64" y="139"/>
                </a:cubicBezTo>
                <a:cubicBezTo>
                  <a:pt x="64" y="137"/>
                  <a:pt x="64" y="137"/>
                  <a:pt x="64" y="137"/>
                </a:cubicBezTo>
                <a:cubicBezTo>
                  <a:pt x="63" y="136"/>
                  <a:pt x="63" y="136"/>
                  <a:pt x="63" y="136"/>
                </a:cubicBezTo>
                <a:cubicBezTo>
                  <a:pt x="62" y="136"/>
                  <a:pt x="62" y="136"/>
                  <a:pt x="62" y="136"/>
                </a:cubicBezTo>
                <a:cubicBezTo>
                  <a:pt x="61" y="139"/>
                  <a:pt x="61" y="139"/>
                  <a:pt x="61" y="139"/>
                </a:cubicBezTo>
                <a:cubicBezTo>
                  <a:pt x="59" y="140"/>
                  <a:pt x="59" y="140"/>
                  <a:pt x="59" y="140"/>
                </a:cubicBezTo>
                <a:cubicBezTo>
                  <a:pt x="58" y="145"/>
                  <a:pt x="58" y="145"/>
                  <a:pt x="58" y="145"/>
                </a:cubicBezTo>
                <a:cubicBezTo>
                  <a:pt x="57" y="146"/>
                  <a:pt x="57" y="146"/>
                  <a:pt x="57" y="146"/>
                </a:cubicBezTo>
                <a:close/>
                <a:moveTo>
                  <a:pt x="54" y="149"/>
                </a:moveTo>
                <a:cubicBezTo>
                  <a:pt x="54" y="150"/>
                  <a:pt x="54" y="150"/>
                  <a:pt x="54" y="150"/>
                </a:cubicBezTo>
                <a:cubicBezTo>
                  <a:pt x="55" y="152"/>
                  <a:pt x="55" y="152"/>
                  <a:pt x="55" y="152"/>
                </a:cubicBezTo>
                <a:cubicBezTo>
                  <a:pt x="56" y="152"/>
                  <a:pt x="56" y="152"/>
                  <a:pt x="56" y="152"/>
                </a:cubicBezTo>
                <a:cubicBezTo>
                  <a:pt x="59" y="150"/>
                  <a:pt x="59" y="150"/>
                  <a:pt x="59" y="150"/>
                </a:cubicBezTo>
                <a:cubicBezTo>
                  <a:pt x="59" y="149"/>
                  <a:pt x="59" y="149"/>
                  <a:pt x="59" y="149"/>
                </a:cubicBezTo>
                <a:cubicBezTo>
                  <a:pt x="58" y="148"/>
                  <a:pt x="58" y="148"/>
                  <a:pt x="58" y="148"/>
                </a:cubicBezTo>
                <a:cubicBezTo>
                  <a:pt x="57" y="148"/>
                  <a:pt x="57" y="148"/>
                  <a:pt x="57" y="148"/>
                </a:cubicBezTo>
                <a:cubicBezTo>
                  <a:pt x="56" y="149"/>
                  <a:pt x="56" y="149"/>
                  <a:pt x="56" y="149"/>
                </a:cubicBezTo>
                <a:cubicBezTo>
                  <a:pt x="54" y="149"/>
                  <a:pt x="54" y="149"/>
                  <a:pt x="54" y="149"/>
                </a:cubicBezTo>
                <a:close/>
                <a:moveTo>
                  <a:pt x="29" y="87"/>
                </a:moveTo>
                <a:cubicBezTo>
                  <a:pt x="28" y="86"/>
                  <a:pt x="28" y="86"/>
                  <a:pt x="28" y="86"/>
                </a:cubicBezTo>
                <a:cubicBezTo>
                  <a:pt x="28" y="85"/>
                  <a:pt x="28" y="85"/>
                  <a:pt x="28" y="85"/>
                </a:cubicBezTo>
                <a:cubicBezTo>
                  <a:pt x="28" y="84"/>
                  <a:pt x="28" y="84"/>
                  <a:pt x="28" y="84"/>
                </a:cubicBezTo>
                <a:cubicBezTo>
                  <a:pt x="30" y="84"/>
                  <a:pt x="30" y="84"/>
                  <a:pt x="30" y="84"/>
                </a:cubicBezTo>
                <a:cubicBezTo>
                  <a:pt x="31" y="85"/>
                  <a:pt x="31" y="85"/>
                  <a:pt x="31" y="85"/>
                </a:cubicBezTo>
                <a:cubicBezTo>
                  <a:pt x="33" y="86"/>
                  <a:pt x="33" y="86"/>
                  <a:pt x="33" y="86"/>
                </a:cubicBezTo>
                <a:cubicBezTo>
                  <a:pt x="34" y="87"/>
                  <a:pt x="34" y="87"/>
                  <a:pt x="34" y="87"/>
                </a:cubicBezTo>
                <a:cubicBezTo>
                  <a:pt x="33" y="88"/>
                  <a:pt x="33" y="88"/>
                  <a:pt x="33" y="88"/>
                </a:cubicBezTo>
                <a:cubicBezTo>
                  <a:pt x="32" y="87"/>
                  <a:pt x="32" y="87"/>
                  <a:pt x="32" y="87"/>
                </a:cubicBezTo>
                <a:cubicBezTo>
                  <a:pt x="29" y="87"/>
                  <a:pt x="29" y="87"/>
                  <a:pt x="29" y="87"/>
                </a:cubicBezTo>
                <a:close/>
                <a:moveTo>
                  <a:pt x="28" y="88"/>
                </a:moveTo>
                <a:cubicBezTo>
                  <a:pt x="30" y="89"/>
                  <a:pt x="30" y="89"/>
                  <a:pt x="30" y="89"/>
                </a:cubicBezTo>
                <a:cubicBezTo>
                  <a:pt x="31" y="90"/>
                  <a:pt x="31" y="90"/>
                  <a:pt x="31" y="90"/>
                </a:cubicBezTo>
                <a:cubicBezTo>
                  <a:pt x="30" y="91"/>
                  <a:pt x="30" y="91"/>
                  <a:pt x="30" y="91"/>
                </a:cubicBezTo>
                <a:cubicBezTo>
                  <a:pt x="29" y="92"/>
                  <a:pt x="29" y="92"/>
                  <a:pt x="29" y="92"/>
                </a:cubicBezTo>
                <a:cubicBezTo>
                  <a:pt x="28" y="92"/>
                  <a:pt x="28" y="92"/>
                  <a:pt x="28" y="92"/>
                </a:cubicBezTo>
                <a:cubicBezTo>
                  <a:pt x="28" y="90"/>
                  <a:pt x="28" y="90"/>
                  <a:pt x="28" y="90"/>
                </a:cubicBezTo>
                <a:cubicBezTo>
                  <a:pt x="28" y="88"/>
                  <a:pt x="28" y="88"/>
                  <a:pt x="28" y="88"/>
                </a:cubicBezTo>
                <a:close/>
                <a:moveTo>
                  <a:pt x="29" y="104"/>
                </a:moveTo>
                <a:cubicBezTo>
                  <a:pt x="30" y="104"/>
                  <a:pt x="30" y="104"/>
                  <a:pt x="30" y="104"/>
                </a:cubicBezTo>
                <a:cubicBezTo>
                  <a:pt x="31" y="103"/>
                  <a:pt x="31" y="103"/>
                  <a:pt x="31" y="103"/>
                </a:cubicBezTo>
                <a:cubicBezTo>
                  <a:pt x="31" y="104"/>
                  <a:pt x="31" y="104"/>
                  <a:pt x="31" y="104"/>
                </a:cubicBezTo>
                <a:cubicBezTo>
                  <a:pt x="32" y="105"/>
                  <a:pt x="32" y="105"/>
                  <a:pt x="32" y="105"/>
                </a:cubicBezTo>
                <a:cubicBezTo>
                  <a:pt x="32" y="106"/>
                  <a:pt x="32" y="106"/>
                  <a:pt x="32" y="106"/>
                </a:cubicBezTo>
                <a:cubicBezTo>
                  <a:pt x="30" y="106"/>
                  <a:pt x="30" y="106"/>
                  <a:pt x="30" y="106"/>
                </a:cubicBezTo>
                <a:cubicBezTo>
                  <a:pt x="29" y="106"/>
                  <a:pt x="29" y="106"/>
                  <a:pt x="29" y="106"/>
                </a:cubicBezTo>
                <a:cubicBezTo>
                  <a:pt x="29" y="104"/>
                  <a:pt x="29" y="104"/>
                  <a:pt x="29" y="104"/>
                </a:cubicBezTo>
                <a:close/>
                <a:moveTo>
                  <a:pt x="3" y="128"/>
                </a:moveTo>
                <a:cubicBezTo>
                  <a:pt x="5" y="126"/>
                  <a:pt x="5" y="126"/>
                  <a:pt x="5" y="126"/>
                </a:cubicBezTo>
                <a:cubicBezTo>
                  <a:pt x="7" y="126"/>
                  <a:pt x="7" y="126"/>
                  <a:pt x="7" y="126"/>
                </a:cubicBezTo>
                <a:cubicBezTo>
                  <a:pt x="8" y="125"/>
                  <a:pt x="8" y="125"/>
                  <a:pt x="8" y="125"/>
                </a:cubicBezTo>
                <a:cubicBezTo>
                  <a:pt x="11" y="124"/>
                  <a:pt x="11" y="124"/>
                  <a:pt x="11" y="124"/>
                </a:cubicBezTo>
                <a:cubicBezTo>
                  <a:pt x="13" y="120"/>
                  <a:pt x="13" y="120"/>
                  <a:pt x="13" y="120"/>
                </a:cubicBezTo>
                <a:cubicBezTo>
                  <a:pt x="15" y="119"/>
                  <a:pt x="15" y="119"/>
                  <a:pt x="15" y="119"/>
                </a:cubicBezTo>
                <a:cubicBezTo>
                  <a:pt x="17" y="118"/>
                  <a:pt x="17" y="118"/>
                  <a:pt x="17" y="118"/>
                </a:cubicBezTo>
                <a:cubicBezTo>
                  <a:pt x="17" y="117"/>
                  <a:pt x="17" y="117"/>
                  <a:pt x="17" y="117"/>
                </a:cubicBezTo>
                <a:cubicBezTo>
                  <a:pt x="19" y="115"/>
                  <a:pt x="19" y="115"/>
                  <a:pt x="19" y="115"/>
                </a:cubicBezTo>
                <a:cubicBezTo>
                  <a:pt x="19" y="112"/>
                  <a:pt x="19" y="112"/>
                  <a:pt x="19" y="112"/>
                </a:cubicBezTo>
                <a:cubicBezTo>
                  <a:pt x="20" y="110"/>
                  <a:pt x="20" y="110"/>
                  <a:pt x="20" y="110"/>
                </a:cubicBezTo>
                <a:cubicBezTo>
                  <a:pt x="23" y="110"/>
                  <a:pt x="23" y="110"/>
                  <a:pt x="23" y="110"/>
                </a:cubicBezTo>
                <a:cubicBezTo>
                  <a:pt x="24" y="108"/>
                  <a:pt x="24" y="108"/>
                  <a:pt x="24" y="108"/>
                </a:cubicBezTo>
                <a:cubicBezTo>
                  <a:pt x="25" y="107"/>
                  <a:pt x="25" y="107"/>
                  <a:pt x="25" y="107"/>
                </a:cubicBezTo>
                <a:cubicBezTo>
                  <a:pt x="27" y="106"/>
                  <a:pt x="27" y="106"/>
                  <a:pt x="27" y="106"/>
                </a:cubicBezTo>
                <a:cubicBezTo>
                  <a:pt x="28" y="104"/>
                  <a:pt x="28" y="104"/>
                  <a:pt x="28" y="104"/>
                </a:cubicBezTo>
                <a:cubicBezTo>
                  <a:pt x="27" y="102"/>
                  <a:pt x="27" y="102"/>
                  <a:pt x="27" y="102"/>
                </a:cubicBezTo>
                <a:cubicBezTo>
                  <a:pt x="25" y="100"/>
                  <a:pt x="25" y="100"/>
                  <a:pt x="25" y="100"/>
                </a:cubicBezTo>
                <a:cubicBezTo>
                  <a:pt x="26" y="98"/>
                  <a:pt x="26" y="98"/>
                  <a:pt x="26" y="98"/>
                </a:cubicBezTo>
                <a:cubicBezTo>
                  <a:pt x="25" y="95"/>
                  <a:pt x="25" y="95"/>
                  <a:pt x="25" y="95"/>
                </a:cubicBezTo>
                <a:cubicBezTo>
                  <a:pt x="24" y="95"/>
                  <a:pt x="24" y="95"/>
                  <a:pt x="24" y="95"/>
                </a:cubicBezTo>
                <a:cubicBezTo>
                  <a:pt x="24" y="99"/>
                  <a:pt x="24" y="99"/>
                  <a:pt x="24" y="99"/>
                </a:cubicBezTo>
                <a:cubicBezTo>
                  <a:pt x="24" y="102"/>
                  <a:pt x="24" y="102"/>
                  <a:pt x="24" y="102"/>
                </a:cubicBezTo>
                <a:cubicBezTo>
                  <a:pt x="23" y="101"/>
                  <a:pt x="23" y="101"/>
                  <a:pt x="23" y="101"/>
                </a:cubicBezTo>
                <a:cubicBezTo>
                  <a:pt x="24" y="103"/>
                  <a:pt x="24" y="103"/>
                  <a:pt x="24" y="103"/>
                </a:cubicBezTo>
                <a:cubicBezTo>
                  <a:pt x="24" y="104"/>
                  <a:pt x="24" y="104"/>
                  <a:pt x="24" y="104"/>
                </a:cubicBezTo>
                <a:cubicBezTo>
                  <a:pt x="22" y="106"/>
                  <a:pt x="22" y="106"/>
                  <a:pt x="22" y="106"/>
                </a:cubicBezTo>
                <a:cubicBezTo>
                  <a:pt x="21" y="106"/>
                  <a:pt x="21" y="106"/>
                  <a:pt x="21" y="106"/>
                </a:cubicBezTo>
                <a:cubicBezTo>
                  <a:pt x="19" y="108"/>
                  <a:pt x="19" y="108"/>
                  <a:pt x="19" y="108"/>
                </a:cubicBezTo>
                <a:cubicBezTo>
                  <a:pt x="19" y="110"/>
                  <a:pt x="19" y="110"/>
                  <a:pt x="19" y="110"/>
                </a:cubicBezTo>
                <a:cubicBezTo>
                  <a:pt x="16" y="111"/>
                  <a:pt x="16" y="111"/>
                  <a:pt x="16" y="111"/>
                </a:cubicBezTo>
                <a:cubicBezTo>
                  <a:pt x="14" y="116"/>
                  <a:pt x="14" y="116"/>
                  <a:pt x="14" y="116"/>
                </a:cubicBezTo>
                <a:cubicBezTo>
                  <a:pt x="11" y="119"/>
                  <a:pt x="11" y="119"/>
                  <a:pt x="11" y="119"/>
                </a:cubicBezTo>
                <a:cubicBezTo>
                  <a:pt x="10" y="119"/>
                  <a:pt x="10" y="119"/>
                  <a:pt x="10" y="119"/>
                </a:cubicBezTo>
                <a:cubicBezTo>
                  <a:pt x="8" y="122"/>
                  <a:pt x="8" y="122"/>
                  <a:pt x="8" y="122"/>
                </a:cubicBezTo>
                <a:cubicBezTo>
                  <a:pt x="7" y="122"/>
                  <a:pt x="7" y="122"/>
                  <a:pt x="7" y="122"/>
                </a:cubicBezTo>
                <a:cubicBezTo>
                  <a:pt x="4" y="126"/>
                  <a:pt x="4" y="126"/>
                  <a:pt x="4" y="126"/>
                </a:cubicBezTo>
                <a:cubicBezTo>
                  <a:pt x="3" y="127"/>
                  <a:pt x="3" y="127"/>
                  <a:pt x="3" y="127"/>
                </a:cubicBezTo>
                <a:cubicBezTo>
                  <a:pt x="3" y="128"/>
                  <a:pt x="3" y="128"/>
                  <a:pt x="3" y="128"/>
                </a:cubicBezTo>
                <a:close/>
                <a:moveTo>
                  <a:pt x="4" y="129"/>
                </a:moveTo>
                <a:cubicBezTo>
                  <a:pt x="3" y="130"/>
                  <a:pt x="3" y="130"/>
                  <a:pt x="3" y="130"/>
                </a:cubicBezTo>
                <a:cubicBezTo>
                  <a:pt x="4" y="130"/>
                  <a:pt x="4" y="130"/>
                  <a:pt x="4" y="130"/>
                </a:cubicBezTo>
                <a:cubicBezTo>
                  <a:pt x="4" y="129"/>
                  <a:pt x="4" y="129"/>
                  <a:pt x="4" y="129"/>
                </a:cubicBezTo>
                <a:close/>
                <a:moveTo>
                  <a:pt x="5" y="130"/>
                </a:moveTo>
                <a:cubicBezTo>
                  <a:pt x="4" y="130"/>
                  <a:pt x="4" y="130"/>
                  <a:pt x="4" y="130"/>
                </a:cubicBezTo>
                <a:cubicBezTo>
                  <a:pt x="5" y="131"/>
                  <a:pt x="5" y="131"/>
                  <a:pt x="5" y="131"/>
                </a:cubicBezTo>
                <a:cubicBezTo>
                  <a:pt x="5" y="130"/>
                  <a:pt x="5" y="130"/>
                  <a:pt x="5" y="130"/>
                </a:cubicBezTo>
                <a:close/>
                <a:moveTo>
                  <a:pt x="2" y="132"/>
                </a:moveTo>
                <a:cubicBezTo>
                  <a:pt x="0" y="133"/>
                  <a:pt x="0" y="133"/>
                  <a:pt x="0" y="133"/>
                </a:cubicBezTo>
                <a:cubicBezTo>
                  <a:pt x="0" y="134"/>
                  <a:pt x="0" y="134"/>
                  <a:pt x="0" y="134"/>
                </a:cubicBezTo>
                <a:cubicBezTo>
                  <a:pt x="1" y="136"/>
                  <a:pt x="1" y="136"/>
                  <a:pt x="1" y="136"/>
                </a:cubicBezTo>
                <a:cubicBezTo>
                  <a:pt x="2" y="136"/>
                  <a:pt x="2" y="136"/>
                  <a:pt x="2" y="136"/>
                </a:cubicBezTo>
                <a:cubicBezTo>
                  <a:pt x="2" y="133"/>
                  <a:pt x="2" y="133"/>
                  <a:pt x="2" y="133"/>
                </a:cubicBezTo>
                <a:cubicBezTo>
                  <a:pt x="3" y="133"/>
                  <a:pt x="3" y="133"/>
                  <a:pt x="3" y="133"/>
                </a:cubicBezTo>
                <a:lnTo>
                  <a:pt x="2" y="13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39" name="Freeform 180"/>
          <p:cNvSpPr>
            <a:spLocks noEditPoints="1"/>
          </p:cNvSpPr>
          <p:nvPr/>
        </p:nvSpPr>
        <p:spPr bwMode="auto">
          <a:xfrm>
            <a:off x="9056688" y="5527675"/>
            <a:ext cx="1943100" cy="768350"/>
          </a:xfrm>
          <a:custGeom>
            <a:avLst/>
            <a:gdLst>
              <a:gd name="T0" fmla="*/ 470 w 491"/>
              <a:gd name="T1" fmla="*/ 152 h 194"/>
              <a:gd name="T2" fmla="*/ 431 w 491"/>
              <a:gd name="T3" fmla="*/ 122 h 194"/>
              <a:gd name="T4" fmla="*/ 401 w 491"/>
              <a:gd name="T5" fmla="*/ 115 h 194"/>
              <a:gd name="T6" fmla="*/ 398 w 491"/>
              <a:gd name="T7" fmla="*/ 98 h 194"/>
              <a:gd name="T8" fmla="*/ 418 w 491"/>
              <a:gd name="T9" fmla="*/ 101 h 194"/>
              <a:gd name="T10" fmla="*/ 462 w 491"/>
              <a:gd name="T11" fmla="*/ 92 h 194"/>
              <a:gd name="T12" fmla="*/ 383 w 491"/>
              <a:gd name="T13" fmla="*/ 77 h 194"/>
              <a:gd name="T14" fmla="*/ 339 w 491"/>
              <a:gd name="T15" fmla="*/ 24 h 194"/>
              <a:gd name="T16" fmla="*/ 346 w 491"/>
              <a:gd name="T17" fmla="*/ 63 h 194"/>
              <a:gd name="T18" fmla="*/ 360 w 491"/>
              <a:gd name="T19" fmla="*/ 71 h 194"/>
              <a:gd name="T20" fmla="*/ 353 w 491"/>
              <a:gd name="T21" fmla="*/ 91 h 194"/>
              <a:gd name="T22" fmla="*/ 349 w 491"/>
              <a:gd name="T23" fmla="*/ 107 h 194"/>
              <a:gd name="T24" fmla="*/ 353 w 491"/>
              <a:gd name="T25" fmla="*/ 105 h 194"/>
              <a:gd name="T26" fmla="*/ 268 w 491"/>
              <a:gd name="T27" fmla="*/ 141 h 194"/>
              <a:gd name="T28" fmla="*/ 317 w 491"/>
              <a:gd name="T29" fmla="*/ 95 h 194"/>
              <a:gd name="T30" fmla="*/ 294 w 491"/>
              <a:gd name="T31" fmla="*/ 128 h 194"/>
              <a:gd name="T32" fmla="*/ 302 w 491"/>
              <a:gd name="T33" fmla="*/ 88 h 194"/>
              <a:gd name="T34" fmla="*/ 303 w 491"/>
              <a:gd name="T35" fmla="*/ 71 h 194"/>
              <a:gd name="T36" fmla="*/ 274 w 491"/>
              <a:gd name="T37" fmla="*/ 59 h 194"/>
              <a:gd name="T38" fmla="*/ 253 w 491"/>
              <a:gd name="T39" fmla="*/ 113 h 194"/>
              <a:gd name="T40" fmla="*/ 273 w 491"/>
              <a:gd name="T41" fmla="*/ 103 h 194"/>
              <a:gd name="T42" fmla="*/ 293 w 491"/>
              <a:gd name="T43" fmla="*/ 117 h 194"/>
              <a:gd name="T44" fmla="*/ 296 w 491"/>
              <a:gd name="T45" fmla="*/ 84 h 194"/>
              <a:gd name="T46" fmla="*/ 277 w 491"/>
              <a:gd name="T47" fmla="*/ 7 h 194"/>
              <a:gd name="T48" fmla="*/ 239 w 491"/>
              <a:gd name="T49" fmla="*/ 34 h 194"/>
              <a:gd name="T50" fmla="*/ 151 w 491"/>
              <a:gd name="T51" fmla="*/ 83 h 194"/>
              <a:gd name="T52" fmla="*/ 208 w 491"/>
              <a:gd name="T53" fmla="*/ 55 h 194"/>
              <a:gd name="T54" fmla="*/ 240 w 491"/>
              <a:gd name="T55" fmla="*/ 49 h 194"/>
              <a:gd name="T56" fmla="*/ 227 w 491"/>
              <a:gd name="T57" fmla="*/ 92 h 194"/>
              <a:gd name="T58" fmla="*/ 202 w 491"/>
              <a:gd name="T59" fmla="*/ 112 h 194"/>
              <a:gd name="T60" fmla="*/ 163 w 491"/>
              <a:gd name="T61" fmla="*/ 107 h 194"/>
              <a:gd name="T62" fmla="*/ 149 w 491"/>
              <a:gd name="T63" fmla="*/ 60 h 194"/>
              <a:gd name="T64" fmla="*/ 435 w 491"/>
              <a:gd name="T65" fmla="*/ 80 h 194"/>
              <a:gd name="T66" fmla="*/ 420 w 491"/>
              <a:gd name="T67" fmla="*/ 146 h 194"/>
              <a:gd name="T68" fmla="*/ 417 w 491"/>
              <a:gd name="T69" fmla="*/ 136 h 194"/>
              <a:gd name="T70" fmla="*/ 381 w 491"/>
              <a:gd name="T71" fmla="*/ 156 h 194"/>
              <a:gd name="T72" fmla="*/ 365 w 491"/>
              <a:gd name="T73" fmla="*/ 147 h 194"/>
              <a:gd name="T74" fmla="*/ 349 w 491"/>
              <a:gd name="T75" fmla="*/ 165 h 194"/>
              <a:gd name="T76" fmla="*/ 302 w 491"/>
              <a:gd name="T77" fmla="*/ 180 h 194"/>
              <a:gd name="T78" fmla="*/ 265 w 491"/>
              <a:gd name="T79" fmla="*/ 180 h 194"/>
              <a:gd name="T80" fmla="*/ 333 w 491"/>
              <a:gd name="T81" fmla="*/ 161 h 194"/>
              <a:gd name="T82" fmla="*/ 306 w 491"/>
              <a:gd name="T83" fmla="*/ 167 h 194"/>
              <a:gd name="T84" fmla="*/ 288 w 491"/>
              <a:gd name="T85" fmla="*/ 167 h 194"/>
              <a:gd name="T86" fmla="*/ 258 w 491"/>
              <a:gd name="T87" fmla="*/ 167 h 194"/>
              <a:gd name="T88" fmla="*/ 245 w 491"/>
              <a:gd name="T89" fmla="*/ 164 h 194"/>
              <a:gd name="T90" fmla="*/ 204 w 491"/>
              <a:gd name="T91" fmla="*/ 163 h 194"/>
              <a:gd name="T92" fmla="*/ 467 w 491"/>
              <a:gd name="T93" fmla="*/ 157 h 194"/>
              <a:gd name="T94" fmla="*/ 115 w 491"/>
              <a:gd name="T95" fmla="*/ 140 h 194"/>
              <a:gd name="T96" fmla="*/ 189 w 491"/>
              <a:gd name="T97" fmla="*/ 158 h 194"/>
              <a:gd name="T98" fmla="*/ 147 w 491"/>
              <a:gd name="T99" fmla="*/ 159 h 194"/>
              <a:gd name="T100" fmla="*/ 119 w 491"/>
              <a:gd name="T101" fmla="*/ 42 h 194"/>
              <a:gd name="T102" fmla="*/ 147 w 491"/>
              <a:gd name="T103" fmla="*/ 93 h 194"/>
              <a:gd name="T104" fmla="*/ 115 w 491"/>
              <a:gd name="T105" fmla="*/ 101 h 194"/>
              <a:gd name="T106" fmla="*/ 104 w 491"/>
              <a:gd name="T107" fmla="*/ 75 h 194"/>
              <a:gd name="T108" fmla="*/ 57 w 491"/>
              <a:gd name="T109" fmla="*/ 106 h 194"/>
              <a:gd name="T110" fmla="*/ 24 w 491"/>
              <a:gd name="T111" fmla="*/ 57 h 194"/>
              <a:gd name="T112" fmla="*/ 28 w 491"/>
              <a:gd name="T113" fmla="*/ 43 h 194"/>
              <a:gd name="T114" fmla="*/ 81 w 491"/>
              <a:gd name="T115" fmla="*/ 122 h 194"/>
              <a:gd name="T116" fmla="*/ 111 w 491"/>
              <a:gd name="T117" fmla="*/ 100 h 194"/>
              <a:gd name="T118" fmla="*/ 85 w 491"/>
              <a:gd name="T119" fmla="*/ 67 h 194"/>
              <a:gd name="T120" fmla="*/ 21 w 491"/>
              <a:gd name="T121" fmla="*/ 14 h 194"/>
              <a:gd name="T122" fmla="*/ 330 w 491"/>
              <a:gd name="T123" fmla="*/ 16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1" h="194">
                <a:moveTo>
                  <a:pt x="491" y="102"/>
                </a:moveTo>
                <a:cubicBezTo>
                  <a:pt x="489" y="142"/>
                  <a:pt x="489" y="142"/>
                  <a:pt x="489" y="142"/>
                </a:cubicBezTo>
                <a:cubicBezTo>
                  <a:pt x="489" y="145"/>
                  <a:pt x="489" y="145"/>
                  <a:pt x="489" y="145"/>
                </a:cubicBezTo>
                <a:cubicBezTo>
                  <a:pt x="489" y="147"/>
                  <a:pt x="489" y="147"/>
                  <a:pt x="489" y="147"/>
                </a:cubicBezTo>
                <a:cubicBezTo>
                  <a:pt x="489" y="148"/>
                  <a:pt x="489" y="148"/>
                  <a:pt x="489" y="148"/>
                </a:cubicBezTo>
                <a:cubicBezTo>
                  <a:pt x="488" y="173"/>
                  <a:pt x="488" y="173"/>
                  <a:pt x="488" y="173"/>
                </a:cubicBezTo>
                <a:cubicBezTo>
                  <a:pt x="488" y="173"/>
                  <a:pt x="488" y="173"/>
                  <a:pt x="488" y="173"/>
                </a:cubicBezTo>
                <a:cubicBezTo>
                  <a:pt x="485" y="173"/>
                  <a:pt x="485" y="173"/>
                  <a:pt x="485" y="173"/>
                </a:cubicBezTo>
                <a:cubicBezTo>
                  <a:pt x="482" y="169"/>
                  <a:pt x="482" y="169"/>
                  <a:pt x="482" y="169"/>
                </a:cubicBezTo>
                <a:cubicBezTo>
                  <a:pt x="481" y="168"/>
                  <a:pt x="481" y="168"/>
                  <a:pt x="481" y="168"/>
                </a:cubicBezTo>
                <a:cubicBezTo>
                  <a:pt x="482" y="167"/>
                  <a:pt x="482" y="167"/>
                  <a:pt x="482" y="167"/>
                </a:cubicBezTo>
                <a:cubicBezTo>
                  <a:pt x="479" y="165"/>
                  <a:pt x="479" y="165"/>
                  <a:pt x="479" y="165"/>
                </a:cubicBezTo>
                <a:cubicBezTo>
                  <a:pt x="478" y="165"/>
                  <a:pt x="478" y="165"/>
                  <a:pt x="478" y="165"/>
                </a:cubicBezTo>
                <a:cubicBezTo>
                  <a:pt x="478" y="163"/>
                  <a:pt x="478" y="163"/>
                  <a:pt x="478" y="163"/>
                </a:cubicBezTo>
                <a:cubicBezTo>
                  <a:pt x="479" y="161"/>
                  <a:pt x="479" y="161"/>
                  <a:pt x="479" y="161"/>
                </a:cubicBezTo>
                <a:cubicBezTo>
                  <a:pt x="479" y="159"/>
                  <a:pt x="479" y="159"/>
                  <a:pt x="479" y="159"/>
                </a:cubicBezTo>
                <a:cubicBezTo>
                  <a:pt x="478" y="161"/>
                  <a:pt x="478" y="161"/>
                  <a:pt x="478" y="161"/>
                </a:cubicBezTo>
                <a:cubicBezTo>
                  <a:pt x="477" y="162"/>
                  <a:pt x="477" y="162"/>
                  <a:pt x="477" y="162"/>
                </a:cubicBezTo>
                <a:cubicBezTo>
                  <a:pt x="474" y="162"/>
                  <a:pt x="474" y="162"/>
                  <a:pt x="474" y="162"/>
                </a:cubicBezTo>
                <a:cubicBezTo>
                  <a:pt x="472" y="163"/>
                  <a:pt x="472" y="163"/>
                  <a:pt x="472" y="163"/>
                </a:cubicBezTo>
                <a:cubicBezTo>
                  <a:pt x="470" y="163"/>
                  <a:pt x="470" y="163"/>
                  <a:pt x="470" y="163"/>
                </a:cubicBezTo>
                <a:cubicBezTo>
                  <a:pt x="470" y="162"/>
                  <a:pt x="470" y="162"/>
                  <a:pt x="470" y="162"/>
                </a:cubicBezTo>
                <a:cubicBezTo>
                  <a:pt x="467" y="163"/>
                  <a:pt x="467" y="163"/>
                  <a:pt x="467" y="163"/>
                </a:cubicBezTo>
                <a:cubicBezTo>
                  <a:pt x="466" y="162"/>
                  <a:pt x="466" y="162"/>
                  <a:pt x="466" y="162"/>
                </a:cubicBezTo>
                <a:cubicBezTo>
                  <a:pt x="467" y="161"/>
                  <a:pt x="467" y="161"/>
                  <a:pt x="467" y="161"/>
                </a:cubicBezTo>
                <a:cubicBezTo>
                  <a:pt x="467" y="160"/>
                  <a:pt x="467" y="160"/>
                  <a:pt x="467" y="160"/>
                </a:cubicBezTo>
                <a:cubicBezTo>
                  <a:pt x="467" y="158"/>
                  <a:pt x="467" y="158"/>
                  <a:pt x="467" y="158"/>
                </a:cubicBezTo>
                <a:cubicBezTo>
                  <a:pt x="468" y="158"/>
                  <a:pt x="468" y="158"/>
                  <a:pt x="468" y="158"/>
                </a:cubicBezTo>
                <a:cubicBezTo>
                  <a:pt x="468" y="155"/>
                  <a:pt x="468" y="155"/>
                  <a:pt x="468" y="155"/>
                </a:cubicBezTo>
                <a:cubicBezTo>
                  <a:pt x="467" y="154"/>
                  <a:pt x="467" y="154"/>
                  <a:pt x="467" y="154"/>
                </a:cubicBezTo>
                <a:cubicBezTo>
                  <a:pt x="466" y="153"/>
                  <a:pt x="466" y="153"/>
                  <a:pt x="466" y="153"/>
                </a:cubicBezTo>
                <a:cubicBezTo>
                  <a:pt x="467" y="153"/>
                  <a:pt x="467" y="153"/>
                  <a:pt x="467" y="153"/>
                </a:cubicBezTo>
                <a:cubicBezTo>
                  <a:pt x="468" y="153"/>
                  <a:pt x="468" y="153"/>
                  <a:pt x="468" y="153"/>
                </a:cubicBezTo>
                <a:cubicBezTo>
                  <a:pt x="470" y="152"/>
                  <a:pt x="470" y="152"/>
                  <a:pt x="470" y="152"/>
                </a:cubicBezTo>
                <a:cubicBezTo>
                  <a:pt x="471" y="152"/>
                  <a:pt x="471" y="152"/>
                  <a:pt x="471" y="152"/>
                </a:cubicBezTo>
                <a:cubicBezTo>
                  <a:pt x="470" y="151"/>
                  <a:pt x="470" y="151"/>
                  <a:pt x="470" y="151"/>
                </a:cubicBezTo>
                <a:cubicBezTo>
                  <a:pt x="467" y="152"/>
                  <a:pt x="467" y="152"/>
                  <a:pt x="467" y="152"/>
                </a:cubicBezTo>
                <a:cubicBezTo>
                  <a:pt x="466" y="151"/>
                  <a:pt x="466" y="151"/>
                  <a:pt x="466" y="151"/>
                </a:cubicBezTo>
                <a:cubicBezTo>
                  <a:pt x="464" y="150"/>
                  <a:pt x="464" y="150"/>
                  <a:pt x="464" y="150"/>
                </a:cubicBezTo>
                <a:cubicBezTo>
                  <a:pt x="464" y="148"/>
                  <a:pt x="464" y="148"/>
                  <a:pt x="464" y="148"/>
                </a:cubicBezTo>
                <a:cubicBezTo>
                  <a:pt x="465" y="148"/>
                  <a:pt x="465" y="148"/>
                  <a:pt x="465" y="148"/>
                </a:cubicBezTo>
                <a:cubicBezTo>
                  <a:pt x="467" y="148"/>
                  <a:pt x="467" y="148"/>
                  <a:pt x="467" y="148"/>
                </a:cubicBezTo>
                <a:cubicBezTo>
                  <a:pt x="466" y="147"/>
                  <a:pt x="466" y="147"/>
                  <a:pt x="466" y="147"/>
                </a:cubicBezTo>
                <a:cubicBezTo>
                  <a:pt x="463" y="145"/>
                  <a:pt x="463" y="145"/>
                  <a:pt x="463" y="145"/>
                </a:cubicBezTo>
                <a:cubicBezTo>
                  <a:pt x="461" y="144"/>
                  <a:pt x="461" y="144"/>
                  <a:pt x="461" y="144"/>
                </a:cubicBezTo>
                <a:cubicBezTo>
                  <a:pt x="461" y="143"/>
                  <a:pt x="461" y="143"/>
                  <a:pt x="461" y="143"/>
                </a:cubicBezTo>
                <a:cubicBezTo>
                  <a:pt x="461" y="140"/>
                  <a:pt x="461" y="140"/>
                  <a:pt x="461" y="140"/>
                </a:cubicBezTo>
                <a:cubicBezTo>
                  <a:pt x="459" y="138"/>
                  <a:pt x="459" y="138"/>
                  <a:pt x="459" y="138"/>
                </a:cubicBezTo>
                <a:cubicBezTo>
                  <a:pt x="459" y="137"/>
                  <a:pt x="459" y="137"/>
                  <a:pt x="459" y="137"/>
                </a:cubicBezTo>
                <a:cubicBezTo>
                  <a:pt x="461" y="135"/>
                  <a:pt x="461" y="135"/>
                  <a:pt x="461" y="135"/>
                </a:cubicBezTo>
                <a:cubicBezTo>
                  <a:pt x="459" y="135"/>
                  <a:pt x="459" y="135"/>
                  <a:pt x="459" y="135"/>
                </a:cubicBezTo>
                <a:cubicBezTo>
                  <a:pt x="458" y="134"/>
                  <a:pt x="458" y="134"/>
                  <a:pt x="458" y="134"/>
                </a:cubicBezTo>
                <a:cubicBezTo>
                  <a:pt x="458" y="134"/>
                  <a:pt x="458" y="134"/>
                  <a:pt x="458" y="134"/>
                </a:cubicBezTo>
                <a:cubicBezTo>
                  <a:pt x="458" y="133"/>
                  <a:pt x="458" y="133"/>
                  <a:pt x="458" y="133"/>
                </a:cubicBezTo>
                <a:cubicBezTo>
                  <a:pt x="459" y="131"/>
                  <a:pt x="459" y="131"/>
                  <a:pt x="459" y="131"/>
                </a:cubicBezTo>
                <a:cubicBezTo>
                  <a:pt x="457" y="132"/>
                  <a:pt x="457" y="132"/>
                  <a:pt x="457" y="132"/>
                </a:cubicBezTo>
                <a:cubicBezTo>
                  <a:pt x="456" y="131"/>
                  <a:pt x="456" y="131"/>
                  <a:pt x="456" y="131"/>
                </a:cubicBezTo>
                <a:cubicBezTo>
                  <a:pt x="455" y="132"/>
                  <a:pt x="455" y="132"/>
                  <a:pt x="455" y="132"/>
                </a:cubicBezTo>
                <a:cubicBezTo>
                  <a:pt x="454" y="131"/>
                  <a:pt x="454" y="131"/>
                  <a:pt x="454" y="131"/>
                </a:cubicBezTo>
                <a:cubicBezTo>
                  <a:pt x="456" y="129"/>
                  <a:pt x="456" y="129"/>
                  <a:pt x="456" y="129"/>
                </a:cubicBezTo>
                <a:cubicBezTo>
                  <a:pt x="454" y="130"/>
                  <a:pt x="454" y="130"/>
                  <a:pt x="454" y="130"/>
                </a:cubicBezTo>
                <a:cubicBezTo>
                  <a:pt x="452" y="130"/>
                  <a:pt x="452" y="130"/>
                  <a:pt x="452" y="130"/>
                </a:cubicBezTo>
                <a:cubicBezTo>
                  <a:pt x="449" y="129"/>
                  <a:pt x="449" y="129"/>
                  <a:pt x="449" y="129"/>
                </a:cubicBezTo>
                <a:cubicBezTo>
                  <a:pt x="449" y="127"/>
                  <a:pt x="449" y="127"/>
                  <a:pt x="449" y="127"/>
                </a:cubicBezTo>
                <a:cubicBezTo>
                  <a:pt x="446" y="126"/>
                  <a:pt x="446" y="126"/>
                  <a:pt x="446" y="126"/>
                </a:cubicBezTo>
                <a:cubicBezTo>
                  <a:pt x="444" y="126"/>
                  <a:pt x="444" y="126"/>
                  <a:pt x="444" y="126"/>
                </a:cubicBezTo>
                <a:cubicBezTo>
                  <a:pt x="438" y="124"/>
                  <a:pt x="438" y="124"/>
                  <a:pt x="438" y="124"/>
                </a:cubicBezTo>
                <a:cubicBezTo>
                  <a:pt x="431" y="122"/>
                  <a:pt x="431" y="122"/>
                  <a:pt x="431" y="122"/>
                </a:cubicBezTo>
                <a:cubicBezTo>
                  <a:pt x="428" y="122"/>
                  <a:pt x="428" y="122"/>
                  <a:pt x="428" y="122"/>
                </a:cubicBezTo>
                <a:cubicBezTo>
                  <a:pt x="425" y="121"/>
                  <a:pt x="425" y="121"/>
                  <a:pt x="425" y="121"/>
                </a:cubicBezTo>
                <a:cubicBezTo>
                  <a:pt x="425" y="120"/>
                  <a:pt x="425" y="120"/>
                  <a:pt x="425" y="120"/>
                </a:cubicBezTo>
                <a:cubicBezTo>
                  <a:pt x="425" y="119"/>
                  <a:pt x="425" y="119"/>
                  <a:pt x="425" y="119"/>
                </a:cubicBezTo>
                <a:cubicBezTo>
                  <a:pt x="422" y="118"/>
                  <a:pt x="422" y="118"/>
                  <a:pt x="422" y="118"/>
                </a:cubicBezTo>
                <a:cubicBezTo>
                  <a:pt x="422" y="117"/>
                  <a:pt x="422" y="117"/>
                  <a:pt x="422" y="117"/>
                </a:cubicBezTo>
                <a:cubicBezTo>
                  <a:pt x="424" y="117"/>
                  <a:pt x="424" y="117"/>
                  <a:pt x="424" y="117"/>
                </a:cubicBezTo>
                <a:cubicBezTo>
                  <a:pt x="425" y="117"/>
                  <a:pt x="425" y="117"/>
                  <a:pt x="425" y="117"/>
                </a:cubicBezTo>
                <a:cubicBezTo>
                  <a:pt x="425" y="116"/>
                  <a:pt x="425" y="116"/>
                  <a:pt x="425" y="116"/>
                </a:cubicBezTo>
                <a:cubicBezTo>
                  <a:pt x="423" y="116"/>
                  <a:pt x="423" y="116"/>
                  <a:pt x="423" y="116"/>
                </a:cubicBezTo>
                <a:cubicBezTo>
                  <a:pt x="421" y="117"/>
                  <a:pt x="421" y="117"/>
                  <a:pt x="421" y="117"/>
                </a:cubicBezTo>
                <a:cubicBezTo>
                  <a:pt x="420" y="116"/>
                  <a:pt x="420" y="116"/>
                  <a:pt x="420" y="116"/>
                </a:cubicBezTo>
                <a:cubicBezTo>
                  <a:pt x="419" y="115"/>
                  <a:pt x="419" y="115"/>
                  <a:pt x="419" y="115"/>
                </a:cubicBezTo>
                <a:cubicBezTo>
                  <a:pt x="419" y="115"/>
                  <a:pt x="419" y="115"/>
                  <a:pt x="419" y="115"/>
                </a:cubicBezTo>
                <a:cubicBezTo>
                  <a:pt x="418" y="116"/>
                  <a:pt x="418" y="116"/>
                  <a:pt x="418" y="116"/>
                </a:cubicBezTo>
                <a:cubicBezTo>
                  <a:pt x="417" y="114"/>
                  <a:pt x="417" y="114"/>
                  <a:pt x="417" y="114"/>
                </a:cubicBezTo>
                <a:cubicBezTo>
                  <a:pt x="416" y="114"/>
                  <a:pt x="416" y="114"/>
                  <a:pt x="416" y="114"/>
                </a:cubicBezTo>
                <a:cubicBezTo>
                  <a:pt x="416" y="114"/>
                  <a:pt x="416" y="114"/>
                  <a:pt x="416" y="114"/>
                </a:cubicBezTo>
                <a:cubicBezTo>
                  <a:pt x="415" y="115"/>
                  <a:pt x="415" y="115"/>
                  <a:pt x="415" y="115"/>
                </a:cubicBezTo>
                <a:cubicBezTo>
                  <a:pt x="414" y="114"/>
                  <a:pt x="414" y="114"/>
                  <a:pt x="414" y="114"/>
                </a:cubicBezTo>
                <a:cubicBezTo>
                  <a:pt x="413" y="111"/>
                  <a:pt x="413" y="111"/>
                  <a:pt x="413" y="111"/>
                </a:cubicBezTo>
                <a:cubicBezTo>
                  <a:pt x="412" y="109"/>
                  <a:pt x="412" y="109"/>
                  <a:pt x="412" y="109"/>
                </a:cubicBezTo>
                <a:cubicBezTo>
                  <a:pt x="414" y="107"/>
                  <a:pt x="414" y="107"/>
                  <a:pt x="414" y="107"/>
                </a:cubicBezTo>
                <a:cubicBezTo>
                  <a:pt x="414" y="104"/>
                  <a:pt x="414" y="104"/>
                  <a:pt x="414" y="104"/>
                </a:cubicBezTo>
                <a:cubicBezTo>
                  <a:pt x="413" y="107"/>
                  <a:pt x="413" y="107"/>
                  <a:pt x="413" y="107"/>
                </a:cubicBezTo>
                <a:cubicBezTo>
                  <a:pt x="412" y="109"/>
                  <a:pt x="412" y="109"/>
                  <a:pt x="412" y="109"/>
                </a:cubicBezTo>
                <a:cubicBezTo>
                  <a:pt x="411" y="110"/>
                  <a:pt x="411" y="110"/>
                  <a:pt x="411" y="110"/>
                </a:cubicBezTo>
                <a:cubicBezTo>
                  <a:pt x="410" y="111"/>
                  <a:pt x="410" y="111"/>
                  <a:pt x="410" y="111"/>
                </a:cubicBezTo>
                <a:cubicBezTo>
                  <a:pt x="409" y="114"/>
                  <a:pt x="409" y="114"/>
                  <a:pt x="409" y="114"/>
                </a:cubicBezTo>
                <a:cubicBezTo>
                  <a:pt x="409" y="116"/>
                  <a:pt x="409" y="116"/>
                  <a:pt x="409" y="116"/>
                </a:cubicBezTo>
                <a:cubicBezTo>
                  <a:pt x="407" y="118"/>
                  <a:pt x="407" y="118"/>
                  <a:pt x="407" y="118"/>
                </a:cubicBezTo>
                <a:cubicBezTo>
                  <a:pt x="405" y="119"/>
                  <a:pt x="405" y="119"/>
                  <a:pt x="405" y="119"/>
                </a:cubicBezTo>
                <a:cubicBezTo>
                  <a:pt x="403" y="118"/>
                  <a:pt x="403" y="118"/>
                  <a:pt x="403" y="118"/>
                </a:cubicBezTo>
                <a:cubicBezTo>
                  <a:pt x="401" y="115"/>
                  <a:pt x="401" y="115"/>
                  <a:pt x="401" y="115"/>
                </a:cubicBezTo>
                <a:cubicBezTo>
                  <a:pt x="401" y="113"/>
                  <a:pt x="401" y="113"/>
                  <a:pt x="401" y="113"/>
                </a:cubicBezTo>
                <a:cubicBezTo>
                  <a:pt x="402" y="113"/>
                  <a:pt x="402" y="113"/>
                  <a:pt x="402" y="113"/>
                </a:cubicBezTo>
                <a:cubicBezTo>
                  <a:pt x="402" y="111"/>
                  <a:pt x="402" y="111"/>
                  <a:pt x="402" y="111"/>
                </a:cubicBezTo>
                <a:cubicBezTo>
                  <a:pt x="402" y="110"/>
                  <a:pt x="402" y="110"/>
                  <a:pt x="402" y="110"/>
                </a:cubicBezTo>
                <a:cubicBezTo>
                  <a:pt x="401" y="110"/>
                  <a:pt x="401" y="110"/>
                  <a:pt x="401" y="110"/>
                </a:cubicBezTo>
                <a:cubicBezTo>
                  <a:pt x="400" y="110"/>
                  <a:pt x="400" y="110"/>
                  <a:pt x="400" y="110"/>
                </a:cubicBezTo>
                <a:cubicBezTo>
                  <a:pt x="399" y="107"/>
                  <a:pt x="399" y="107"/>
                  <a:pt x="399" y="107"/>
                </a:cubicBezTo>
                <a:cubicBezTo>
                  <a:pt x="397" y="106"/>
                  <a:pt x="397" y="106"/>
                  <a:pt x="397" y="106"/>
                </a:cubicBezTo>
                <a:cubicBezTo>
                  <a:pt x="395" y="106"/>
                  <a:pt x="395" y="106"/>
                  <a:pt x="395" y="106"/>
                </a:cubicBezTo>
                <a:cubicBezTo>
                  <a:pt x="394" y="105"/>
                  <a:pt x="394" y="105"/>
                  <a:pt x="394" y="105"/>
                </a:cubicBezTo>
                <a:cubicBezTo>
                  <a:pt x="395" y="103"/>
                  <a:pt x="395" y="103"/>
                  <a:pt x="395" y="103"/>
                </a:cubicBezTo>
                <a:cubicBezTo>
                  <a:pt x="398" y="103"/>
                  <a:pt x="398" y="103"/>
                  <a:pt x="398" y="103"/>
                </a:cubicBezTo>
                <a:cubicBezTo>
                  <a:pt x="399" y="104"/>
                  <a:pt x="399" y="104"/>
                  <a:pt x="399" y="104"/>
                </a:cubicBezTo>
                <a:cubicBezTo>
                  <a:pt x="401" y="104"/>
                  <a:pt x="401" y="104"/>
                  <a:pt x="401" y="104"/>
                </a:cubicBezTo>
                <a:cubicBezTo>
                  <a:pt x="402" y="105"/>
                  <a:pt x="402" y="105"/>
                  <a:pt x="402" y="105"/>
                </a:cubicBezTo>
                <a:cubicBezTo>
                  <a:pt x="404" y="103"/>
                  <a:pt x="404" y="103"/>
                  <a:pt x="404" y="103"/>
                </a:cubicBezTo>
                <a:cubicBezTo>
                  <a:pt x="405" y="101"/>
                  <a:pt x="405" y="101"/>
                  <a:pt x="405" y="101"/>
                </a:cubicBezTo>
                <a:cubicBezTo>
                  <a:pt x="407" y="100"/>
                  <a:pt x="407" y="100"/>
                  <a:pt x="407" y="100"/>
                </a:cubicBezTo>
                <a:cubicBezTo>
                  <a:pt x="410" y="102"/>
                  <a:pt x="410" y="102"/>
                  <a:pt x="410" y="102"/>
                </a:cubicBezTo>
                <a:cubicBezTo>
                  <a:pt x="411" y="104"/>
                  <a:pt x="411" y="104"/>
                  <a:pt x="411" y="104"/>
                </a:cubicBezTo>
                <a:cubicBezTo>
                  <a:pt x="412" y="102"/>
                  <a:pt x="412" y="102"/>
                  <a:pt x="412" y="102"/>
                </a:cubicBezTo>
                <a:cubicBezTo>
                  <a:pt x="413" y="100"/>
                  <a:pt x="413" y="100"/>
                  <a:pt x="413" y="100"/>
                </a:cubicBezTo>
                <a:cubicBezTo>
                  <a:pt x="415" y="101"/>
                  <a:pt x="415" y="101"/>
                  <a:pt x="415" y="101"/>
                </a:cubicBezTo>
                <a:cubicBezTo>
                  <a:pt x="415" y="98"/>
                  <a:pt x="415" y="98"/>
                  <a:pt x="415" y="98"/>
                </a:cubicBezTo>
                <a:cubicBezTo>
                  <a:pt x="414" y="97"/>
                  <a:pt x="414" y="97"/>
                  <a:pt x="414" y="97"/>
                </a:cubicBezTo>
                <a:cubicBezTo>
                  <a:pt x="409" y="96"/>
                  <a:pt x="409" y="96"/>
                  <a:pt x="409" y="96"/>
                </a:cubicBezTo>
                <a:cubicBezTo>
                  <a:pt x="410" y="97"/>
                  <a:pt x="410" y="97"/>
                  <a:pt x="410" y="97"/>
                </a:cubicBezTo>
                <a:cubicBezTo>
                  <a:pt x="408" y="98"/>
                  <a:pt x="408" y="98"/>
                  <a:pt x="408" y="98"/>
                </a:cubicBezTo>
                <a:cubicBezTo>
                  <a:pt x="407" y="97"/>
                  <a:pt x="407" y="97"/>
                  <a:pt x="407" y="97"/>
                </a:cubicBezTo>
                <a:cubicBezTo>
                  <a:pt x="404" y="98"/>
                  <a:pt x="404" y="98"/>
                  <a:pt x="404" y="98"/>
                </a:cubicBezTo>
                <a:cubicBezTo>
                  <a:pt x="403" y="98"/>
                  <a:pt x="403" y="98"/>
                  <a:pt x="403" y="98"/>
                </a:cubicBezTo>
                <a:cubicBezTo>
                  <a:pt x="401" y="98"/>
                  <a:pt x="401" y="98"/>
                  <a:pt x="401" y="98"/>
                </a:cubicBezTo>
                <a:cubicBezTo>
                  <a:pt x="400" y="97"/>
                  <a:pt x="400" y="97"/>
                  <a:pt x="400" y="97"/>
                </a:cubicBezTo>
                <a:cubicBezTo>
                  <a:pt x="398" y="98"/>
                  <a:pt x="398" y="98"/>
                  <a:pt x="398" y="98"/>
                </a:cubicBezTo>
                <a:cubicBezTo>
                  <a:pt x="396" y="98"/>
                  <a:pt x="396" y="98"/>
                  <a:pt x="396" y="98"/>
                </a:cubicBezTo>
                <a:cubicBezTo>
                  <a:pt x="394" y="96"/>
                  <a:pt x="394" y="96"/>
                  <a:pt x="394" y="96"/>
                </a:cubicBezTo>
                <a:cubicBezTo>
                  <a:pt x="393" y="93"/>
                  <a:pt x="393" y="93"/>
                  <a:pt x="393" y="93"/>
                </a:cubicBezTo>
                <a:cubicBezTo>
                  <a:pt x="394" y="93"/>
                  <a:pt x="394" y="93"/>
                  <a:pt x="394" y="93"/>
                </a:cubicBezTo>
                <a:cubicBezTo>
                  <a:pt x="393" y="91"/>
                  <a:pt x="393" y="91"/>
                  <a:pt x="393" y="91"/>
                </a:cubicBezTo>
                <a:cubicBezTo>
                  <a:pt x="390" y="89"/>
                  <a:pt x="390" y="89"/>
                  <a:pt x="390" y="89"/>
                </a:cubicBezTo>
                <a:cubicBezTo>
                  <a:pt x="388" y="88"/>
                  <a:pt x="388" y="88"/>
                  <a:pt x="388" y="88"/>
                </a:cubicBezTo>
                <a:cubicBezTo>
                  <a:pt x="388" y="89"/>
                  <a:pt x="388" y="89"/>
                  <a:pt x="388" y="89"/>
                </a:cubicBezTo>
                <a:cubicBezTo>
                  <a:pt x="386" y="90"/>
                  <a:pt x="386" y="90"/>
                  <a:pt x="386" y="90"/>
                </a:cubicBezTo>
                <a:cubicBezTo>
                  <a:pt x="384" y="89"/>
                  <a:pt x="384" y="89"/>
                  <a:pt x="384" y="89"/>
                </a:cubicBezTo>
                <a:cubicBezTo>
                  <a:pt x="384" y="88"/>
                  <a:pt x="384" y="88"/>
                  <a:pt x="384" y="88"/>
                </a:cubicBezTo>
                <a:cubicBezTo>
                  <a:pt x="387" y="86"/>
                  <a:pt x="387" y="86"/>
                  <a:pt x="387" y="86"/>
                </a:cubicBezTo>
                <a:cubicBezTo>
                  <a:pt x="387" y="85"/>
                  <a:pt x="387" y="85"/>
                  <a:pt x="387" y="85"/>
                </a:cubicBezTo>
                <a:cubicBezTo>
                  <a:pt x="386" y="83"/>
                  <a:pt x="386" y="83"/>
                  <a:pt x="386" y="83"/>
                </a:cubicBezTo>
                <a:cubicBezTo>
                  <a:pt x="388" y="82"/>
                  <a:pt x="388" y="82"/>
                  <a:pt x="388" y="82"/>
                </a:cubicBezTo>
                <a:cubicBezTo>
                  <a:pt x="391" y="82"/>
                  <a:pt x="391" y="82"/>
                  <a:pt x="391" y="82"/>
                </a:cubicBezTo>
                <a:cubicBezTo>
                  <a:pt x="392" y="80"/>
                  <a:pt x="392" y="80"/>
                  <a:pt x="392" y="80"/>
                </a:cubicBezTo>
                <a:cubicBezTo>
                  <a:pt x="394" y="80"/>
                  <a:pt x="394" y="80"/>
                  <a:pt x="394" y="80"/>
                </a:cubicBezTo>
                <a:cubicBezTo>
                  <a:pt x="397" y="78"/>
                  <a:pt x="397" y="78"/>
                  <a:pt x="397" y="78"/>
                </a:cubicBezTo>
                <a:cubicBezTo>
                  <a:pt x="397" y="77"/>
                  <a:pt x="397" y="77"/>
                  <a:pt x="397" y="77"/>
                </a:cubicBezTo>
                <a:cubicBezTo>
                  <a:pt x="401" y="76"/>
                  <a:pt x="401" y="76"/>
                  <a:pt x="401" y="76"/>
                </a:cubicBezTo>
                <a:cubicBezTo>
                  <a:pt x="406" y="78"/>
                  <a:pt x="406" y="78"/>
                  <a:pt x="406" y="78"/>
                </a:cubicBezTo>
                <a:cubicBezTo>
                  <a:pt x="410" y="81"/>
                  <a:pt x="410" y="81"/>
                  <a:pt x="410" y="81"/>
                </a:cubicBezTo>
                <a:cubicBezTo>
                  <a:pt x="413" y="81"/>
                  <a:pt x="413" y="81"/>
                  <a:pt x="413" y="81"/>
                </a:cubicBezTo>
                <a:cubicBezTo>
                  <a:pt x="417" y="81"/>
                  <a:pt x="417" y="81"/>
                  <a:pt x="417" y="81"/>
                </a:cubicBezTo>
                <a:cubicBezTo>
                  <a:pt x="417" y="82"/>
                  <a:pt x="417" y="82"/>
                  <a:pt x="417" y="82"/>
                </a:cubicBezTo>
                <a:cubicBezTo>
                  <a:pt x="417" y="83"/>
                  <a:pt x="417" y="83"/>
                  <a:pt x="417" y="83"/>
                </a:cubicBezTo>
                <a:cubicBezTo>
                  <a:pt x="417" y="86"/>
                  <a:pt x="417" y="86"/>
                  <a:pt x="417" y="86"/>
                </a:cubicBezTo>
                <a:cubicBezTo>
                  <a:pt x="419" y="87"/>
                  <a:pt x="419" y="87"/>
                  <a:pt x="419" y="87"/>
                </a:cubicBezTo>
                <a:cubicBezTo>
                  <a:pt x="419" y="89"/>
                  <a:pt x="419" y="89"/>
                  <a:pt x="419" y="89"/>
                </a:cubicBezTo>
                <a:cubicBezTo>
                  <a:pt x="418" y="91"/>
                  <a:pt x="418" y="91"/>
                  <a:pt x="418" y="91"/>
                </a:cubicBezTo>
                <a:cubicBezTo>
                  <a:pt x="417" y="93"/>
                  <a:pt x="417" y="93"/>
                  <a:pt x="417" y="93"/>
                </a:cubicBezTo>
                <a:cubicBezTo>
                  <a:pt x="418" y="96"/>
                  <a:pt x="418" y="96"/>
                  <a:pt x="418" y="96"/>
                </a:cubicBezTo>
                <a:cubicBezTo>
                  <a:pt x="418" y="101"/>
                  <a:pt x="418" y="101"/>
                  <a:pt x="418" y="101"/>
                </a:cubicBezTo>
                <a:cubicBezTo>
                  <a:pt x="419" y="103"/>
                  <a:pt x="419" y="103"/>
                  <a:pt x="419" y="103"/>
                </a:cubicBezTo>
                <a:cubicBezTo>
                  <a:pt x="420" y="105"/>
                  <a:pt x="420" y="105"/>
                  <a:pt x="420" y="105"/>
                </a:cubicBezTo>
                <a:cubicBezTo>
                  <a:pt x="421" y="105"/>
                  <a:pt x="421" y="105"/>
                  <a:pt x="421" y="105"/>
                </a:cubicBezTo>
                <a:cubicBezTo>
                  <a:pt x="421" y="102"/>
                  <a:pt x="421" y="102"/>
                  <a:pt x="421" y="102"/>
                </a:cubicBezTo>
                <a:cubicBezTo>
                  <a:pt x="422" y="101"/>
                  <a:pt x="422" y="101"/>
                  <a:pt x="422" y="101"/>
                </a:cubicBezTo>
                <a:cubicBezTo>
                  <a:pt x="423" y="102"/>
                  <a:pt x="423" y="102"/>
                  <a:pt x="423" y="102"/>
                </a:cubicBezTo>
                <a:cubicBezTo>
                  <a:pt x="423" y="104"/>
                  <a:pt x="423" y="104"/>
                  <a:pt x="423" y="104"/>
                </a:cubicBezTo>
                <a:cubicBezTo>
                  <a:pt x="424" y="106"/>
                  <a:pt x="424" y="106"/>
                  <a:pt x="424" y="106"/>
                </a:cubicBezTo>
                <a:cubicBezTo>
                  <a:pt x="424" y="105"/>
                  <a:pt x="424" y="105"/>
                  <a:pt x="424" y="105"/>
                </a:cubicBezTo>
                <a:cubicBezTo>
                  <a:pt x="425" y="107"/>
                  <a:pt x="425" y="107"/>
                  <a:pt x="425" y="107"/>
                </a:cubicBezTo>
                <a:cubicBezTo>
                  <a:pt x="428" y="109"/>
                  <a:pt x="428" y="109"/>
                  <a:pt x="428" y="109"/>
                </a:cubicBezTo>
                <a:cubicBezTo>
                  <a:pt x="429" y="111"/>
                  <a:pt x="429" y="111"/>
                  <a:pt x="429" y="111"/>
                </a:cubicBezTo>
                <a:cubicBezTo>
                  <a:pt x="431" y="111"/>
                  <a:pt x="431" y="111"/>
                  <a:pt x="431" y="111"/>
                </a:cubicBezTo>
                <a:cubicBezTo>
                  <a:pt x="433" y="110"/>
                  <a:pt x="433" y="110"/>
                  <a:pt x="433" y="110"/>
                </a:cubicBezTo>
                <a:cubicBezTo>
                  <a:pt x="433" y="108"/>
                  <a:pt x="433" y="108"/>
                  <a:pt x="433" y="108"/>
                </a:cubicBezTo>
                <a:cubicBezTo>
                  <a:pt x="434" y="107"/>
                  <a:pt x="434" y="107"/>
                  <a:pt x="434" y="107"/>
                </a:cubicBezTo>
                <a:cubicBezTo>
                  <a:pt x="436" y="106"/>
                  <a:pt x="436" y="106"/>
                  <a:pt x="436" y="106"/>
                </a:cubicBezTo>
                <a:cubicBezTo>
                  <a:pt x="436" y="104"/>
                  <a:pt x="436" y="104"/>
                  <a:pt x="436" y="104"/>
                </a:cubicBezTo>
                <a:cubicBezTo>
                  <a:pt x="437" y="102"/>
                  <a:pt x="437" y="102"/>
                  <a:pt x="437" y="102"/>
                </a:cubicBezTo>
                <a:cubicBezTo>
                  <a:pt x="439" y="101"/>
                  <a:pt x="439" y="101"/>
                  <a:pt x="439" y="101"/>
                </a:cubicBezTo>
                <a:cubicBezTo>
                  <a:pt x="441" y="100"/>
                  <a:pt x="441" y="100"/>
                  <a:pt x="441" y="100"/>
                </a:cubicBezTo>
                <a:cubicBezTo>
                  <a:pt x="441" y="98"/>
                  <a:pt x="441" y="98"/>
                  <a:pt x="441" y="98"/>
                </a:cubicBezTo>
                <a:cubicBezTo>
                  <a:pt x="442" y="97"/>
                  <a:pt x="442" y="97"/>
                  <a:pt x="442" y="97"/>
                </a:cubicBezTo>
                <a:cubicBezTo>
                  <a:pt x="443" y="98"/>
                  <a:pt x="443" y="98"/>
                  <a:pt x="443" y="98"/>
                </a:cubicBezTo>
                <a:cubicBezTo>
                  <a:pt x="444" y="97"/>
                  <a:pt x="444" y="97"/>
                  <a:pt x="444" y="97"/>
                </a:cubicBezTo>
                <a:cubicBezTo>
                  <a:pt x="446" y="97"/>
                  <a:pt x="446" y="97"/>
                  <a:pt x="446" y="97"/>
                </a:cubicBezTo>
                <a:cubicBezTo>
                  <a:pt x="449" y="96"/>
                  <a:pt x="449" y="96"/>
                  <a:pt x="449" y="96"/>
                </a:cubicBezTo>
                <a:cubicBezTo>
                  <a:pt x="450" y="95"/>
                  <a:pt x="450" y="95"/>
                  <a:pt x="450" y="95"/>
                </a:cubicBezTo>
                <a:cubicBezTo>
                  <a:pt x="449" y="93"/>
                  <a:pt x="449" y="93"/>
                  <a:pt x="449" y="93"/>
                </a:cubicBezTo>
                <a:cubicBezTo>
                  <a:pt x="449" y="92"/>
                  <a:pt x="449" y="92"/>
                  <a:pt x="449" y="92"/>
                </a:cubicBezTo>
                <a:cubicBezTo>
                  <a:pt x="454" y="89"/>
                  <a:pt x="454" y="89"/>
                  <a:pt x="454" y="89"/>
                </a:cubicBezTo>
                <a:cubicBezTo>
                  <a:pt x="457" y="89"/>
                  <a:pt x="457" y="89"/>
                  <a:pt x="457" y="89"/>
                </a:cubicBezTo>
                <a:cubicBezTo>
                  <a:pt x="459" y="91"/>
                  <a:pt x="459" y="91"/>
                  <a:pt x="459" y="91"/>
                </a:cubicBezTo>
                <a:cubicBezTo>
                  <a:pt x="462" y="92"/>
                  <a:pt x="462" y="92"/>
                  <a:pt x="462" y="92"/>
                </a:cubicBezTo>
                <a:cubicBezTo>
                  <a:pt x="466" y="93"/>
                  <a:pt x="466" y="93"/>
                  <a:pt x="466" y="93"/>
                </a:cubicBezTo>
                <a:cubicBezTo>
                  <a:pt x="468" y="95"/>
                  <a:pt x="468" y="95"/>
                  <a:pt x="468" y="95"/>
                </a:cubicBezTo>
                <a:cubicBezTo>
                  <a:pt x="470" y="95"/>
                  <a:pt x="470" y="95"/>
                  <a:pt x="470" y="95"/>
                </a:cubicBezTo>
                <a:cubicBezTo>
                  <a:pt x="472" y="96"/>
                  <a:pt x="472" y="96"/>
                  <a:pt x="472" y="96"/>
                </a:cubicBezTo>
                <a:cubicBezTo>
                  <a:pt x="479" y="98"/>
                  <a:pt x="479" y="98"/>
                  <a:pt x="479" y="98"/>
                </a:cubicBezTo>
                <a:cubicBezTo>
                  <a:pt x="480" y="98"/>
                  <a:pt x="480" y="98"/>
                  <a:pt x="480" y="98"/>
                </a:cubicBezTo>
                <a:cubicBezTo>
                  <a:pt x="482" y="98"/>
                  <a:pt x="482" y="98"/>
                  <a:pt x="482" y="98"/>
                </a:cubicBezTo>
                <a:cubicBezTo>
                  <a:pt x="484" y="99"/>
                  <a:pt x="484" y="99"/>
                  <a:pt x="484" y="99"/>
                </a:cubicBezTo>
                <a:cubicBezTo>
                  <a:pt x="486" y="99"/>
                  <a:pt x="486" y="99"/>
                  <a:pt x="486" y="99"/>
                </a:cubicBezTo>
                <a:cubicBezTo>
                  <a:pt x="488" y="100"/>
                  <a:pt x="488" y="100"/>
                  <a:pt x="488" y="100"/>
                </a:cubicBezTo>
                <a:cubicBezTo>
                  <a:pt x="488" y="101"/>
                  <a:pt x="488" y="101"/>
                  <a:pt x="488" y="101"/>
                </a:cubicBezTo>
                <a:cubicBezTo>
                  <a:pt x="488" y="102"/>
                  <a:pt x="488" y="102"/>
                  <a:pt x="488" y="102"/>
                </a:cubicBezTo>
                <a:cubicBezTo>
                  <a:pt x="489" y="102"/>
                  <a:pt x="489" y="102"/>
                  <a:pt x="489" y="102"/>
                </a:cubicBezTo>
                <a:cubicBezTo>
                  <a:pt x="491" y="102"/>
                  <a:pt x="491" y="102"/>
                  <a:pt x="491" y="102"/>
                </a:cubicBezTo>
                <a:cubicBezTo>
                  <a:pt x="491" y="102"/>
                  <a:pt x="491" y="102"/>
                  <a:pt x="491" y="102"/>
                </a:cubicBezTo>
                <a:close/>
                <a:moveTo>
                  <a:pt x="364" y="72"/>
                </a:moveTo>
                <a:cubicBezTo>
                  <a:pt x="368" y="74"/>
                  <a:pt x="368" y="74"/>
                  <a:pt x="368" y="74"/>
                </a:cubicBezTo>
                <a:cubicBezTo>
                  <a:pt x="368" y="76"/>
                  <a:pt x="368" y="76"/>
                  <a:pt x="368" y="76"/>
                </a:cubicBezTo>
                <a:cubicBezTo>
                  <a:pt x="365" y="74"/>
                  <a:pt x="365" y="74"/>
                  <a:pt x="365" y="74"/>
                </a:cubicBezTo>
                <a:cubicBezTo>
                  <a:pt x="364" y="72"/>
                  <a:pt x="364" y="72"/>
                  <a:pt x="364" y="72"/>
                </a:cubicBezTo>
                <a:close/>
                <a:moveTo>
                  <a:pt x="385" y="77"/>
                </a:moveTo>
                <a:cubicBezTo>
                  <a:pt x="387" y="77"/>
                  <a:pt x="387" y="77"/>
                  <a:pt x="387" y="77"/>
                </a:cubicBezTo>
                <a:cubicBezTo>
                  <a:pt x="388" y="77"/>
                  <a:pt x="388" y="77"/>
                  <a:pt x="388" y="77"/>
                </a:cubicBezTo>
                <a:cubicBezTo>
                  <a:pt x="388" y="75"/>
                  <a:pt x="388" y="75"/>
                  <a:pt x="388" y="75"/>
                </a:cubicBezTo>
                <a:cubicBezTo>
                  <a:pt x="385" y="74"/>
                  <a:pt x="385" y="74"/>
                  <a:pt x="385" y="74"/>
                </a:cubicBezTo>
                <a:cubicBezTo>
                  <a:pt x="382" y="74"/>
                  <a:pt x="382" y="74"/>
                  <a:pt x="382" y="74"/>
                </a:cubicBezTo>
                <a:cubicBezTo>
                  <a:pt x="380" y="75"/>
                  <a:pt x="380" y="75"/>
                  <a:pt x="380" y="75"/>
                </a:cubicBezTo>
                <a:cubicBezTo>
                  <a:pt x="378" y="75"/>
                  <a:pt x="378" y="75"/>
                  <a:pt x="378" y="75"/>
                </a:cubicBezTo>
                <a:cubicBezTo>
                  <a:pt x="377" y="75"/>
                  <a:pt x="377" y="75"/>
                  <a:pt x="377" y="75"/>
                </a:cubicBezTo>
                <a:cubicBezTo>
                  <a:pt x="378" y="76"/>
                  <a:pt x="378" y="76"/>
                  <a:pt x="378" y="76"/>
                </a:cubicBezTo>
                <a:cubicBezTo>
                  <a:pt x="377" y="76"/>
                  <a:pt x="377" y="76"/>
                  <a:pt x="377" y="76"/>
                </a:cubicBezTo>
                <a:cubicBezTo>
                  <a:pt x="380" y="77"/>
                  <a:pt x="380" y="77"/>
                  <a:pt x="380" y="77"/>
                </a:cubicBezTo>
                <a:cubicBezTo>
                  <a:pt x="382" y="78"/>
                  <a:pt x="382" y="78"/>
                  <a:pt x="382" y="78"/>
                </a:cubicBezTo>
                <a:cubicBezTo>
                  <a:pt x="383" y="77"/>
                  <a:pt x="383" y="77"/>
                  <a:pt x="383" y="77"/>
                </a:cubicBezTo>
                <a:cubicBezTo>
                  <a:pt x="383" y="77"/>
                  <a:pt x="383" y="77"/>
                  <a:pt x="383" y="77"/>
                </a:cubicBezTo>
                <a:cubicBezTo>
                  <a:pt x="382" y="76"/>
                  <a:pt x="382" y="76"/>
                  <a:pt x="382" y="76"/>
                </a:cubicBezTo>
                <a:cubicBezTo>
                  <a:pt x="381" y="75"/>
                  <a:pt x="381" y="75"/>
                  <a:pt x="381" y="75"/>
                </a:cubicBezTo>
                <a:cubicBezTo>
                  <a:pt x="382" y="75"/>
                  <a:pt x="382" y="75"/>
                  <a:pt x="382" y="75"/>
                </a:cubicBezTo>
                <a:cubicBezTo>
                  <a:pt x="385" y="77"/>
                  <a:pt x="385" y="77"/>
                  <a:pt x="385" y="77"/>
                </a:cubicBezTo>
                <a:close/>
                <a:moveTo>
                  <a:pt x="382" y="83"/>
                </a:moveTo>
                <a:cubicBezTo>
                  <a:pt x="380" y="82"/>
                  <a:pt x="380" y="82"/>
                  <a:pt x="380" y="82"/>
                </a:cubicBezTo>
                <a:cubicBezTo>
                  <a:pt x="378" y="83"/>
                  <a:pt x="378" y="83"/>
                  <a:pt x="378" y="83"/>
                </a:cubicBezTo>
                <a:cubicBezTo>
                  <a:pt x="379" y="84"/>
                  <a:pt x="379" y="84"/>
                  <a:pt x="379" y="84"/>
                </a:cubicBezTo>
                <a:cubicBezTo>
                  <a:pt x="382" y="83"/>
                  <a:pt x="382" y="83"/>
                  <a:pt x="382" y="83"/>
                </a:cubicBezTo>
                <a:close/>
                <a:moveTo>
                  <a:pt x="383" y="82"/>
                </a:moveTo>
                <a:cubicBezTo>
                  <a:pt x="382" y="83"/>
                  <a:pt x="382" y="83"/>
                  <a:pt x="382" y="83"/>
                </a:cubicBezTo>
                <a:cubicBezTo>
                  <a:pt x="382" y="82"/>
                  <a:pt x="382" y="82"/>
                  <a:pt x="382" y="82"/>
                </a:cubicBezTo>
                <a:cubicBezTo>
                  <a:pt x="383" y="82"/>
                  <a:pt x="383" y="82"/>
                  <a:pt x="383" y="82"/>
                </a:cubicBezTo>
                <a:close/>
                <a:moveTo>
                  <a:pt x="383" y="83"/>
                </a:moveTo>
                <a:cubicBezTo>
                  <a:pt x="381" y="85"/>
                  <a:pt x="381" y="85"/>
                  <a:pt x="381" y="85"/>
                </a:cubicBezTo>
                <a:cubicBezTo>
                  <a:pt x="381" y="88"/>
                  <a:pt x="381" y="88"/>
                  <a:pt x="381" y="88"/>
                </a:cubicBezTo>
                <a:cubicBezTo>
                  <a:pt x="383" y="88"/>
                  <a:pt x="383" y="88"/>
                  <a:pt x="383" y="88"/>
                </a:cubicBezTo>
                <a:cubicBezTo>
                  <a:pt x="384" y="87"/>
                  <a:pt x="384" y="87"/>
                  <a:pt x="384" y="87"/>
                </a:cubicBezTo>
                <a:cubicBezTo>
                  <a:pt x="385" y="84"/>
                  <a:pt x="385" y="84"/>
                  <a:pt x="385" y="84"/>
                </a:cubicBezTo>
                <a:cubicBezTo>
                  <a:pt x="383" y="83"/>
                  <a:pt x="383" y="83"/>
                  <a:pt x="383" y="83"/>
                </a:cubicBezTo>
                <a:close/>
                <a:moveTo>
                  <a:pt x="323" y="31"/>
                </a:moveTo>
                <a:cubicBezTo>
                  <a:pt x="326" y="34"/>
                  <a:pt x="326" y="34"/>
                  <a:pt x="326" y="34"/>
                </a:cubicBezTo>
                <a:cubicBezTo>
                  <a:pt x="326" y="36"/>
                  <a:pt x="326" y="36"/>
                  <a:pt x="326" y="36"/>
                </a:cubicBezTo>
                <a:cubicBezTo>
                  <a:pt x="325" y="37"/>
                  <a:pt x="325" y="37"/>
                  <a:pt x="325" y="37"/>
                </a:cubicBezTo>
                <a:cubicBezTo>
                  <a:pt x="323" y="35"/>
                  <a:pt x="323" y="35"/>
                  <a:pt x="323" y="35"/>
                </a:cubicBezTo>
                <a:cubicBezTo>
                  <a:pt x="323" y="32"/>
                  <a:pt x="323" y="32"/>
                  <a:pt x="323" y="32"/>
                </a:cubicBezTo>
                <a:cubicBezTo>
                  <a:pt x="323" y="31"/>
                  <a:pt x="323" y="31"/>
                  <a:pt x="323" y="31"/>
                </a:cubicBezTo>
                <a:close/>
                <a:moveTo>
                  <a:pt x="336" y="23"/>
                </a:moveTo>
                <a:cubicBezTo>
                  <a:pt x="337" y="26"/>
                  <a:pt x="337" y="26"/>
                  <a:pt x="337" y="26"/>
                </a:cubicBezTo>
                <a:cubicBezTo>
                  <a:pt x="337" y="28"/>
                  <a:pt x="337" y="28"/>
                  <a:pt x="337" y="28"/>
                </a:cubicBezTo>
                <a:cubicBezTo>
                  <a:pt x="339" y="28"/>
                  <a:pt x="339" y="28"/>
                  <a:pt x="339" y="28"/>
                </a:cubicBezTo>
                <a:cubicBezTo>
                  <a:pt x="339" y="26"/>
                  <a:pt x="339" y="26"/>
                  <a:pt x="339" y="26"/>
                </a:cubicBezTo>
                <a:cubicBezTo>
                  <a:pt x="339" y="24"/>
                  <a:pt x="339" y="24"/>
                  <a:pt x="339" y="24"/>
                </a:cubicBezTo>
                <a:cubicBezTo>
                  <a:pt x="337" y="23"/>
                  <a:pt x="337" y="23"/>
                  <a:pt x="337" y="23"/>
                </a:cubicBezTo>
                <a:cubicBezTo>
                  <a:pt x="336" y="23"/>
                  <a:pt x="336" y="23"/>
                  <a:pt x="336" y="23"/>
                </a:cubicBezTo>
                <a:close/>
                <a:moveTo>
                  <a:pt x="336" y="29"/>
                </a:moveTo>
                <a:cubicBezTo>
                  <a:pt x="338" y="29"/>
                  <a:pt x="338" y="29"/>
                  <a:pt x="338" y="29"/>
                </a:cubicBezTo>
                <a:cubicBezTo>
                  <a:pt x="338" y="31"/>
                  <a:pt x="338" y="31"/>
                  <a:pt x="338" y="31"/>
                </a:cubicBezTo>
                <a:cubicBezTo>
                  <a:pt x="337" y="31"/>
                  <a:pt x="337" y="31"/>
                  <a:pt x="337" y="31"/>
                </a:cubicBezTo>
                <a:cubicBezTo>
                  <a:pt x="337" y="31"/>
                  <a:pt x="336" y="29"/>
                  <a:pt x="336" y="29"/>
                </a:cubicBezTo>
                <a:close/>
                <a:moveTo>
                  <a:pt x="354" y="48"/>
                </a:moveTo>
                <a:cubicBezTo>
                  <a:pt x="354" y="52"/>
                  <a:pt x="354" y="52"/>
                  <a:pt x="354" y="52"/>
                </a:cubicBezTo>
                <a:cubicBezTo>
                  <a:pt x="355" y="51"/>
                  <a:pt x="355" y="51"/>
                  <a:pt x="355" y="51"/>
                </a:cubicBezTo>
                <a:cubicBezTo>
                  <a:pt x="357" y="51"/>
                  <a:pt x="357" y="51"/>
                  <a:pt x="357" y="51"/>
                </a:cubicBezTo>
                <a:cubicBezTo>
                  <a:pt x="359" y="49"/>
                  <a:pt x="359" y="49"/>
                  <a:pt x="359" y="49"/>
                </a:cubicBezTo>
                <a:cubicBezTo>
                  <a:pt x="358" y="48"/>
                  <a:pt x="358" y="48"/>
                  <a:pt x="358" y="48"/>
                </a:cubicBezTo>
                <a:cubicBezTo>
                  <a:pt x="357" y="47"/>
                  <a:pt x="357" y="47"/>
                  <a:pt x="357" y="47"/>
                </a:cubicBezTo>
                <a:cubicBezTo>
                  <a:pt x="355" y="48"/>
                  <a:pt x="355" y="48"/>
                  <a:pt x="355" y="48"/>
                </a:cubicBezTo>
                <a:cubicBezTo>
                  <a:pt x="354" y="48"/>
                  <a:pt x="354" y="48"/>
                  <a:pt x="354" y="48"/>
                </a:cubicBezTo>
                <a:close/>
                <a:moveTo>
                  <a:pt x="352" y="77"/>
                </a:moveTo>
                <a:cubicBezTo>
                  <a:pt x="352" y="80"/>
                  <a:pt x="352" y="80"/>
                  <a:pt x="352" y="80"/>
                </a:cubicBezTo>
                <a:cubicBezTo>
                  <a:pt x="355" y="82"/>
                  <a:pt x="355" y="82"/>
                  <a:pt x="355" y="82"/>
                </a:cubicBezTo>
                <a:cubicBezTo>
                  <a:pt x="356" y="83"/>
                  <a:pt x="356" y="83"/>
                  <a:pt x="356" y="83"/>
                </a:cubicBezTo>
                <a:cubicBezTo>
                  <a:pt x="355" y="84"/>
                  <a:pt x="355" y="84"/>
                  <a:pt x="355" y="84"/>
                </a:cubicBezTo>
                <a:cubicBezTo>
                  <a:pt x="355" y="85"/>
                  <a:pt x="355" y="85"/>
                  <a:pt x="355" y="85"/>
                </a:cubicBezTo>
                <a:cubicBezTo>
                  <a:pt x="354" y="83"/>
                  <a:pt x="354" y="83"/>
                  <a:pt x="354" y="83"/>
                </a:cubicBezTo>
                <a:cubicBezTo>
                  <a:pt x="353" y="82"/>
                  <a:pt x="353" y="82"/>
                  <a:pt x="353" y="82"/>
                </a:cubicBezTo>
                <a:cubicBezTo>
                  <a:pt x="351" y="79"/>
                  <a:pt x="351" y="79"/>
                  <a:pt x="351" y="79"/>
                </a:cubicBezTo>
                <a:cubicBezTo>
                  <a:pt x="349" y="78"/>
                  <a:pt x="349" y="78"/>
                  <a:pt x="349" y="78"/>
                </a:cubicBezTo>
                <a:cubicBezTo>
                  <a:pt x="347" y="75"/>
                  <a:pt x="347" y="75"/>
                  <a:pt x="347" y="75"/>
                </a:cubicBezTo>
                <a:cubicBezTo>
                  <a:pt x="348" y="73"/>
                  <a:pt x="348" y="73"/>
                  <a:pt x="348" y="73"/>
                </a:cubicBezTo>
                <a:cubicBezTo>
                  <a:pt x="348" y="72"/>
                  <a:pt x="348" y="72"/>
                  <a:pt x="348" y="72"/>
                </a:cubicBezTo>
                <a:cubicBezTo>
                  <a:pt x="348" y="70"/>
                  <a:pt x="348" y="70"/>
                  <a:pt x="348" y="70"/>
                </a:cubicBezTo>
                <a:cubicBezTo>
                  <a:pt x="346" y="69"/>
                  <a:pt x="346" y="69"/>
                  <a:pt x="346" y="69"/>
                </a:cubicBezTo>
                <a:cubicBezTo>
                  <a:pt x="346" y="67"/>
                  <a:pt x="346" y="67"/>
                  <a:pt x="346" y="67"/>
                </a:cubicBezTo>
                <a:cubicBezTo>
                  <a:pt x="347" y="65"/>
                  <a:pt x="347" y="65"/>
                  <a:pt x="347" y="65"/>
                </a:cubicBezTo>
                <a:cubicBezTo>
                  <a:pt x="346" y="63"/>
                  <a:pt x="346" y="63"/>
                  <a:pt x="346" y="63"/>
                </a:cubicBezTo>
                <a:cubicBezTo>
                  <a:pt x="345" y="62"/>
                  <a:pt x="345" y="62"/>
                  <a:pt x="345" y="62"/>
                </a:cubicBezTo>
                <a:cubicBezTo>
                  <a:pt x="346" y="59"/>
                  <a:pt x="346" y="59"/>
                  <a:pt x="346" y="59"/>
                </a:cubicBezTo>
                <a:cubicBezTo>
                  <a:pt x="347" y="58"/>
                  <a:pt x="347" y="58"/>
                  <a:pt x="347" y="58"/>
                </a:cubicBezTo>
                <a:cubicBezTo>
                  <a:pt x="347" y="55"/>
                  <a:pt x="347" y="55"/>
                  <a:pt x="347" y="55"/>
                </a:cubicBezTo>
                <a:cubicBezTo>
                  <a:pt x="347" y="52"/>
                  <a:pt x="347" y="52"/>
                  <a:pt x="347" y="52"/>
                </a:cubicBezTo>
                <a:cubicBezTo>
                  <a:pt x="351" y="49"/>
                  <a:pt x="351" y="49"/>
                  <a:pt x="351" y="49"/>
                </a:cubicBezTo>
                <a:cubicBezTo>
                  <a:pt x="352" y="49"/>
                  <a:pt x="352" y="49"/>
                  <a:pt x="352" y="49"/>
                </a:cubicBezTo>
                <a:cubicBezTo>
                  <a:pt x="351" y="50"/>
                  <a:pt x="351" y="50"/>
                  <a:pt x="351" y="50"/>
                </a:cubicBezTo>
                <a:cubicBezTo>
                  <a:pt x="350" y="52"/>
                  <a:pt x="350" y="52"/>
                  <a:pt x="350" y="52"/>
                </a:cubicBezTo>
                <a:cubicBezTo>
                  <a:pt x="350" y="53"/>
                  <a:pt x="350" y="53"/>
                  <a:pt x="350" y="53"/>
                </a:cubicBezTo>
                <a:cubicBezTo>
                  <a:pt x="352" y="54"/>
                  <a:pt x="352" y="54"/>
                  <a:pt x="352" y="54"/>
                </a:cubicBezTo>
                <a:cubicBezTo>
                  <a:pt x="352" y="57"/>
                  <a:pt x="352" y="57"/>
                  <a:pt x="352" y="57"/>
                </a:cubicBezTo>
                <a:cubicBezTo>
                  <a:pt x="351" y="60"/>
                  <a:pt x="351" y="60"/>
                  <a:pt x="351" y="60"/>
                </a:cubicBezTo>
                <a:cubicBezTo>
                  <a:pt x="349" y="60"/>
                  <a:pt x="349" y="60"/>
                  <a:pt x="349" y="60"/>
                </a:cubicBezTo>
                <a:cubicBezTo>
                  <a:pt x="348" y="62"/>
                  <a:pt x="348" y="62"/>
                  <a:pt x="348" y="62"/>
                </a:cubicBezTo>
                <a:cubicBezTo>
                  <a:pt x="349" y="63"/>
                  <a:pt x="349" y="63"/>
                  <a:pt x="349" y="63"/>
                </a:cubicBezTo>
                <a:cubicBezTo>
                  <a:pt x="350" y="63"/>
                  <a:pt x="350" y="63"/>
                  <a:pt x="350" y="63"/>
                </a:cubicBezTo>
                <a:cubicBezTo>
                  <a:pt x="351" y="62"/>
                  <a:pt x="351" y="62"/>
                  <a:pt x="351" y="62"/>
                </a:cubicBezTo>
                <a:cubicBezTo>
                  <a:pt x="353" y="61"/>
                  <a:pt x="353" y="61"/>
                  <a:pt x="353" y="61"/>
                </a:cubicBezTo>
                <a:cubicBezTo>
                  <a:pt x="354" y="60"/>
                  <a:pt x="354" y="60"/>
                  <a:pt x="354" y="60"/>
                </a:cubicBezTo>
                <a:cubicBezTo>
                  <a:pt x="352" y="60"/>
                  <a:pt x="352" y="60"/>
                  <a:pt x="352" y="60"/>
                </a:cubicBezTo>
                <a:cubicBezTo>
                  <a:pt x="353" y="58"/>
                  <a:pt x="353" y="58"/>
                  <a:pt x="353" y="58"/>
                </a:cubicBezTo>
                <a:cubicBezTo>
                  <a:pt x="356" y="57"/>
                  <a:pt x="356" y="57"/>
                  <a:pt x="356" y="57"/>
                </a:cubicBezTo>
                <a:cubicBezTo>
                  <a:pt x="359" y="55"/>
                  <a:pt x="359" y="55"/>
                  <a:pt x="359" y="55"/>
                </a:cubicBezTo>
                <a:cubicBezTo>
                  <a:pt x="360" y="57"/>
                  <a:pt x="360" y="57"/>
                  <a:pt x="360" y="57"/>
                </a:cubicBezTo>
                <a:cubicBezTo>
                  <a:pt x="361" y="58"/>
                  <a:pt x="361" y="58"/>
                  <a:pt x="361" y="58"/>
                </a:cubicBezTo>
                <a:cubicBezTo>
                  <a:pt x="359" y="62"/>
                  <a:pt x="359" y="62"/>
                  <a:pt x="359" y="62"/>
                </a:cubicBezTo>
                <a:cubicBezTo>
                  <a:pt x="355" y="63"/>
                  <a:pt x="355" y="63"/>
                  <a:pt x="355" y="63"/>
                </a:cubicBezTo>
                <a:cubicBezTo>
                  <a:pt x="354" y="65"/>
                  <a:pt x="354" y="65"/>
                  <a:pt x="354" y="65"/>
                </a:cubicBezTo>
                <a:cubicBezTo>
                  <a:pt x="355" y="66"/>
                  <a:pt x="355" y="66"/>
                  <a:pt x="355" y="66"/>
                </a:cubicBezTo>
                <a:cubicBezTo>
                  <a:pt x="356" y="66"/>
                  <a:pt x="356" y="66"/>
                  <a:pt x="356" y="66"/>
                </a:cubicBezTo>
                <a:cubicBezTo>
                  <a:pt x="359" y="68"/>
                  <a:pt x="359" y="68"/>
                  <a:pt x="359" y="68"/>
                </a:cubicBezTo>
                <a:cubicBezTo>
                  <a:pt x="359" y="70"/>
                  <a:pt x="359" y="70"/>
                  <a:pt x="359" y="70"/>
                </a:cubicBezTo>
                <a:cubicBezTo>
                  <a:pt x="360" y="71"/>
                  <a:pt x="360" y="71"/>
                  <a:pt x="360" y="71"/>
                </a:cubicBezTo>
                <a:cubicBezTo>
                  <a:pt x="358" y="71"/>
                  <a:pt x="358" y="71"/>
                  <a:pt x="358" y="71"/>
                </a:cubicBezTo>
                <a:cubicBezTo>
                  <a:pt x="357" y="70"/>
                  <a:pt x="357" y="70"/>
                  <a:pt x="357" y="70"/>
                </a:cubicBezTo>
                <a:cubicBezTo>
                  <a:pt x="354" y="70"/>
                  <a:pt x="354" y="70"/>
                  <a:pt x="354" y="70"/>
                </a:cubicBezTo>
                <a:cubicBezTo>
                  <a:pt x="351" y="69"/>
                  <a:pt x="351" y="69"/>
                  <a:pt x="351" y="69"/>
                </a:cubicBezTo>
                <a:cubicBezTo>
                  <a:pt x="350" y="69"/>
                  <a:pt x="350" y="69"/>
                  <a:pt x="350" y="69"/>
                </a:cubicBezTo>
                <a:cubicBezTo>
                  <a:pt x="350" y="73"/>
                  <a:pt x="350" y="73"/>
                  <a:pt x="350" y="73"/>
                </a:cubicBezTo>
                <a:cubicBezTo>
                  <a:pt x="352" y="77"/>
                  <a:pt x="352" y="77"/>
                  <a:pt x="352" y="77"/>
                </a:cubicBezTo>
                <a:close/>
                <a:moveTo>
                  <a:pt x="343" y="82"/>
                </a:moveTo>
                <a:cubicBezTo>
                  <a:pt x="344" y="83"/>
                  <a:pt x="344" y="83"/>
                  <a:pt x="344" y="83"/>
                </a:cubicBezTo>
                <a:cubicBezTo>
                  <a:pt x="342" y="83"/>
                  <a:pt x="342" y="83"/>
                  <a:pt x="342" y="83"/>
                </a:cubicBezTo>
                <a:cubicBezTo>
                  <a:pt x="342" y="81"/>
                  <a:pt x="342" y="81"/>
                  <a:pt x="342" y="81"/>
                </a:cubicBezTo>
                <a:cubicBezTo>
                  <a:pt x="343" y="82"/>
                  <a:pt x="343" y="82"/>
                  <a:pt x="343" y="82"/>
                </a:cubicBezTo>
                <a:close/>
                <a:moveTo>
                  <a:pt x="343" y="77"/>
                </a:moveTo>
                <a:cubicBezTo>
                  <a:pt x="342" y="77"/>
                  <a:pt x="342" y="77"/>
                  <a:pt x="342" y="77"/>
                </a:cubicBezTo>
                <a:cubicBezTo>
                  <a:pt x="341" y="79"/>
                  <a:pt x="341" y="79"/>
                  <a:pt x="341" y="79"/>
                </a:cubicBezTo>
                <a:cubicBezTo>
                  <a:pt x="342" y="80"/>
                  <a:pt x="342" y="80"/>
                  <a:pt x="342" y="80"/>
                </a:cubicBezTo>
                <a:cubicBezTo>
                  <a:pt x="343" y="78"/>
                  <a:pt x="343" y="78"/>
                  <a:pt x="343" y="78"/>
                </a:cubicBezTo>
                <a:cubicBezTo>
                  <a:pt x="343" y="77"/>
                  <a:pt x="343" y="77"/>
                  <a:pt x="343" y="77"/>
                </a:cubicBezTo>
                <a:close/>
                <a:moveTo>
                  <a:pt x="345" y="79"/>
                </a:moveTo>
                <a:cubicBezTo>
                  <a:pt x="344" y="79"/>
                  <a:pt x="344" y="79"/>
                  <a:pt x="344" y="79"/>
                </a:cubicBezTo>
                <a:cubicBezTo>
                  <a:pt x="344" y="80"/>
                  <a:pt x="344" y="80"/>
                  <a:pt x="344" y="80"/>
                </a:cubicBezTo>
                <a:cubicBezTo>
                  <a:pt x="345" y="82"/>
                  <a:pt x="345" y="82"/>
                  <a:pt x="345" y="82"/>
                </a:cubicBezTo>
                <a:cubicBezTo>
                  <a:pt x="347" y="82"/>
                  <a:pt x="347" y="82"/>
                  <a:pt x="347" y="82"/>
                </a:cubicBezTo>
                <a:cubicBezTo>
                  <a:pt x="348" y="83"/>
                  <a:pt x="348" y="83"/>
                  <a:pt x="348" y="83"/>
                </a:cubicBezTo>
                <a:cubicBezTo>
                  <a:pt x="349" y="82"/>
                  <a:pt x="349" y="82"/>
                  <a:pt x="349" y="82"/>
                </a:cubicBezTo>
                <a:cubicBezTo>
                  <a:pt x="349" y="81"/>
                  <a:pt x="349" y="81"/>
                  <a:pt x="349" y="81"/>
                </a:cubicBezTo>
                <a:cubicBezTo>
                  <a:pt x="347" y="81"/>
                  <a:pt x="347" y="81"/>
                  <a:pt x="347" y="81"/>
                </a:cubicBezTo>
                <a:cubicBezTo>
                  <a:pt x="347" y="79"/>
                  <a:pt x="347" y="79"/>
                  <a:pt x="347" y="79"/>
                </a:cubicBezTo>
                <a:cubicBezTo>
                  <a:pt x="346" y="78"/>
                  <a:pt x="346" y="78"/>
                  <a:pt x="346" y="78"/>
                </a:cubicBezTo>
                <a:cubicBezTo>
                  <a:pt x="345" y="79"/>
                  <a:pt x="345" y="79"/>
                  <a:pt x="345" y="79"/>
                </a:cubicBezTo>
                <a:close/>
                <a:moveTo>
                  <a:pt x="344" y="91"/>
                </a:moveTo>
                <a:cubicBezTo>
                  <a:pt x="347" y="89"/>
                  <a:pt x="347" y="89"/>
                  <a:pt x="347" y="89"/>
                </a:cubicBezTo>
                <a:cubicBezTo>
                  <a:pt x="350" y="89"/>
                  <a:pt x="350" y="89"/>
                  <a:pt x="350" y="89"/>
                </a:cubicBezTo>
                <a:cubicBezTo>
                  <a:pt x="353" y="91"/>
                  <a:pt x="353" y="91"/>
                  <a:pt x="353" y="91"/>
                </a:cubicBezTo>
                <a:cubicBezTo>
                  <a:pt x="352" y="93"/>
                  <a:pt x="352" y="93"/>
                  <a:pt x="352" y="93"/>
                </a:cubicBezTo>
                <a:cubicBezTo>
                  <a:pt x="351" y="93"/>
                  <a:pt x="351" y="93"/>
                  <a:pt x="351" y="93"/>
                </a:cubicBezTo>
                <a:cubicBezTo>
                  <a:pt x="349" y="93"/>
                  <a:pt x="349" y="93"/>
                  <a:pt x="349" y="93"/>
                </a:cubicBezTo>
                <a:cubicBezTo>
                  <a:pt x="347" y="93"/>
                  <a:pt x="347" y="93"/>
                  <a:pt x="347" y="93"/>
                </a:cubicBezTo>
                <a:cubicBezTo>
                  <a:pt x="346" y="92"/>
                  <a:pt x="346" y="92"/>
                  <a:pt x="346" y="92"/>
                </a:cubicBezTo>
                <a:cubicBezTo>
                  <a:pt x="344" y="91"/>
                  <a:pt x="344" y="91"/>
                  <a:pt x="344" y="91"/>
                </a:cubicBezTo>
                <a:close/>
                <a:moveTo>
                  <a:pt x="375" y="92"/>
                </a:moveTo>
                <a:cubicBezTo>
                  <a:pt x="371" y="93"/>
                  <a:pt x="371" y="93"/>
                  <a:pt x="371" y="93"/>
                </a:cubicBezTo>
                <a:cubicBezTo>
                  <a:pt x="370" y="94"/>
                  <a:pt x="370" y="94"/>
                  <a:pt x="370" y="94"/>
                </a:cubicBezTo>
                <a:cubicBezTo>
                  <a:pt x="371" y="95"/>
                  <a:pt x="371" y="95"/>
                  <a:pt x="371" y="95"/>
                </a:cubicBezTo>
                <a:cubicBezTo>
                  <a:pt x="374" y="96"/>
                  <a:pt x="374" y="96"/>
                  <a:pt x="374" y="96"/>
                </a:cubicBezTo>
                <a:cubicBezTo>
                  <a:pt x="377" y="95"/>
                  <a:pt x="377" y="95"/>
                  <a:pt x="377" y="95"/>
                </a:cubicBezTo>
                <a:cubicBezTo>
                  <a:pt x="376" y="94"/>
                  <a:pt x="376" y="94"/>
                  <a:pt x="376" y="94"/>
                </a:cubicBezTo>
                <a:cubicBezTo>
                  <a:pt x="376" y="93"/>
                  <a:pt x="376" y="93"/>
                  <a:pt x="376" y="93"/>
                </a:cubicBezTo>
                <a:cubicBezTo>
                  <a:pt x="375" y="92"/>
                  <a:pt x="375" y="92"/>
                  <a:pt x="375" y="92"/>
                </a:cubicBezTo>
                <a:close/>
                <a:moveTo>
                  <a:pt x="357" y="113"/>
                </a:moveTo>
                <a:cubicBezTo>
                  <a:pt x="358" y="112"/>
                  <a:pt x="358" y="112"/>
                  <a:pt x="358" y="112"/>
                </a:cubicBezTo>
                <a:cubicBezTo>
                  <a:pt x="358" y="113"/>
                  <a:pt x="358" y="113"/>
                  <a:pt x="358" y="113"/>
                </a:cubicBezTo>
                <a:cubicBezTo>
                  <a:pt x="357" y="114"/>
                  <a:pt x="357" y="114"/>
                  <a:pt x="357" y="114"/>
                </a:cubicBezTo>
                <a:cubicBezTo>
                  <a:pt x="357" y="113"/>
                  <a:pt x="357" y="113"/>
                  <a:pt x="357" y="113"/>
                </a:cubicBezTo>
                <a:close/>
                <a:moveTo>
                  <a:pt x="355" y="113"/>
                </a:moveTo>
                <a:cubicBezTo>
                  <a:pt x="356" y="113"/>
                  <a:pt x="356" y="113"/>
                  <a:pt x="356" y="113"/>
                </a:cubicBezTo>
                <a:cubicBezTo>
                  <a:pt x="356" y="114"/>
                  <a:pt x="356" y="114"/>
                  <a:pt x="356" y="114"/>
                </a:cubicBezTo>
                <a:cubicBezTo>
                  <a:pt x="355" y="114"/>
                  <a:pt x="355" y="114"/>
                  <a:pt x="355" y="114"/>
                </a:cubicBezTo>
                <a:cubicBezTo>
                  <a:pt x="355" y="113"/>
                  <a:pt x="355" y="113"/>
                  <a:pt x="355" y="113"/>
                </a:cubicBezTo>
                <a:close/>
                <a:moveTo>
                  <a:pt x="349" y="114"/>
                </a:moveTo>
                <a:cubicBezTo>
                  <a:pt x="352" y="113"/>
                  <a:pt x="352" y="113"/>
                  <a:pt x="352" y="113"/>
                </a:cubicBezTo>
                <a:cubicBezTo>
                  <a:pt x="353" y="112"/>
                  <a:pt x="353" y="112"/>
                  <a:pt x="353" y="112"/>
                </a:cubicBezTo>
                <a:cubicBezTo>
                  <a:pt x="354" y="113"/>
                  <a:pt x="354" y="113"/>
                  <a:pt x="354" y="113"/>
                </a:cubicBezTo>
                <a:cubicBezTo>
                  <a:pt x="353" y="115"/>
                  <a:pt x="353" y="115"/>
                  <a:pt x="353" y="115"/>
                </a:cubicBezTo>
                <a:cubicBezTo>
                  <a:pt x="352" y="114"/>
                  <a:pt x="352" y="114"/>
                  <a:pt x="352" y="114"/>
                </a:cubicBezTo>
                <a:cubicBezTo>
                  <a:pt x="351" y="115"/>
                  <a:pt x="351" y="115"/>
                  <a:pt x="351" y="115"/>
                </a:cubicBezTo>
                <a:cubicBezTo>
                  <a:pt x="349" y="114"/>
                  <a:pt x="349" y="114"/>
                  <a:pt x="349" y="114"/>
                </a:cubicBezTo>
                <a:close/>
                <a:moveTo>
                  <a:pt x="349" y="107"/>
                </a:moveTo>
                <a:cubicBezTo>
                  <a:pt x="347" y="109"/>
                  <a:pt x="347" y="109"/>
                  <a:pt x="347" y="109"/>
                </a:cubicBezTo>
                <a:cubicBezTo>
                  <a:pt x="348" y="109"/>
                  <a:pt x="348" y="109"/>
                  <a:pt x="348" y="109"/>
                </a:cubicBezTo>
                <a:cubicBezTo>
                  <a:pt x="349" y="107"/>
                  <a:pt x="349" y="107"/>
                  <a:pt x="349" y="107"/>
                </a:cubicBezTo>
                <a:close/>
                <a:moveTo>
                  <a:pt x="351" y="105"/>
                </a:moveTo>
                <a:cubicBezTo>
                  <a:pt x="349" y="105"/>
                  <a:pt x="349" y="105"/>
                  <a:pt x="349" y="105"/>
                </a:cubicBezTo>
                <a:cubicBezTo>
                  <a:pt x="349" y="106"/>
                  <a:pt x="349" y="106"/>
                  <a:pt x="349" y="106"/>
                </a:cubicBezTo>
                <a:cubicBezTo>
                  <a:pt x="350" y="106"/>
                  <a:pt x="350" y="106"/>
                  <a:pt x="350" y="106"/>
                </a:cubicBezTo>
                <a:cubicBezTo>
                  <a:pt x="351" y="105"/>
                  <a:pt x="351" y="105"/>
                  <a:pt x="351" y="105"/>
                </a:cubicBezTo>
                <a:close/>
                <a:moveTo>
                  <a:pt x="351" y="111"/>
                </a:moveTo>
                <a:cubicBezTo>
                  <a:pt x="353" y="108"/>
                  <a:pt x="353" y="108"/>
                  <a:pt x="353" y="108"/>
                </a:cubicBezTo>
                <a:cubicBezTo>
                  <a:pt x="355" y="110"/>
                  <a:pt x="355" y="110"/>
                  <a:pt x="355" y="110"/>
                </a:cubicBezTo>
                <a:cubicBezTo>
                  <a:pt x="356" y="111"/>
                  <a:pt x="356" y="111"/>
                  <a:pt x="356" y="111"/>
                </a:cubicBezTo>
                <a:cubicBezTo>
                  <a:pt x="358" y="111"/>
                  <a:pt x="358" y="111"/>
                  <a:pt x="358" y="111"/>
                </a:cubicBezTo>
                <a:cubicBezTo>
                  <a:pt x="360" y="109"/>
                  <a:pt x="360" y="109"/>
                  <a:pt x="360" y="109"/>
                </a:cubicBezTo>
                <a:cubicBezTo>
                  <a:pt x="361" y="109"/>
                  <a:pt x="361" y="109"/>
                  <a:pt x="361" y="109"/>
                </a:cubicBezTo>
                <a:cubicBezTo>
                  <a:pt x="362" y="111"/>
                  <a:pt x="362" y="111"/>
                  <a:pt x="362" y="111"/>
                </a:cubicBezTo>
                <a:cubicBezTo>
                  <a:pt x="367" y="112"/>
                  <a:pt x="367" y="112"/>
                  <a:pt x="367" y="112"/>
                </a:cubicBezTo>
                <a:cubicBezTo>
                  <a:pt x="368" y="110"/>
                  <a:pt x="368" y="110"/>
                  <a:pt x="368" y="110"/>
                </a:cubicBezTo>
                <a:cubicBezTo>
                  <a:pt x="370" y="110"/>
                  <a:pt x="370" y="110"/>
                  <a:pt x="370" y="110"/>
                </a:cubicBezTo>
                <a:cubicBezTo>
                  <a:pt x="374" y="113"/>
                  <a:pt x="374" y="113"/>
                  <a:pt x="374" y="113"/>
                </a:cubicBezTo>
                <a:cubicBezTo>
                  <a:pt x="376" y="113"/>
                  <a:pt x="376" y="113"/>
                  <a:pt x="376" y="113"/>
                </a:cubicBezTo>
                <a:cubicBezTo>
                  <a:pt x="378" y="116"/>
                  <a:pt x="378" y="116"/>
                  <a:pt x="378" y="116"/>
                </a:cubicBezTo>
                <a:cubicBezTo>
                  <a:pt x="381" y="116"/>
                  <a:pt x="381" y="116"/>
                  <a:pt x="381" y="116"/>
                </a:cubicBezTo>
                <a:cubicBezTo>
                  <a:pt x="381" y="114"/>
                  <a:pt x="381" y="114"/>
                  <a:pt x="381" y="114"/>
                </a:cubicBezTo>
                <a:cubicBezTo>
                  <a:pt x="380" y="110"/>
                  <a:pt x="380" y="110"/>
                  <a:pt x="380" y="110"/>
                </a:cubicBezTo>
                <a:cubicBezTo>
                  <a:pt x="375" y="107"/>
                  <a:pt x="375" y="107"/>
                  <a:pt x="375" y="107"/>
                </a:cubicBezTo>
                <a:cubicBezTo>
                  <a:pt x="371" y="106"/>
                  <a:pt x="371" y="106"/>
                  <a:pt x="371" y="106"/>
                </a:cubicBezTo>
                <a:cubicBezTo>
                  <a:pt x="369" y="104"/>
                  <a:pt x="369" y="104"/>
                  <a:pt x="369" y="104"/>
                </a:cubicBezTo>
                <a:cubicBezTo>
                  <a:pt x="366" y="104"/>
                  <a:pt x="366" y="104"/>
                  <a:pt x="366" y="104"/>
                </a:cubicBezTo>
                <a:cubicBezTo>
                  <a:pt x="364" y="106"/>
                  <a:pt x="364" y="106"/>
                  <a:pt x="364" y="106"/>
                </a:cubicBezTo>
                <a:cubicBezTo>
                  <a:pt x="362" y="105"/>
                  <a:pt x="362" y="105"/>
                  <a:pt x="362" y="105"/>
                </a:cubicBezTo>
                <a:cubicBezTo>
                  <a:pt x="361" y="105"/>
                  <a:pt x="361" y="105"/>
                  <a:pt x="361" y="105"/>
                </a:cubicBezTo>
                <a:cubicBezTo>
                  <a:pt x="357" y="105"/>
                  <a:pt x="357" y="105"/>
                  <a:pt x="357" y="105"/>
                </a:cubicBezTo>
                <a:cubicBezTo>
                  <a:pt x="353" y="105"/>
                  <a:pt x="353" y="105"/>
                  <a:pt x="353" y="105"/>
                </a:cubicBezTo>
                <a:cubicBezTo>
                  <a:pt x="352" y="106"/>
                  <a:pt x="352" y="106"/>
                  <a:pt x="352" y="106"/>
                </a:cubicBezTo>
                <a:cubicBezTo>
                  <a:pt x="352" y="107"/>
                  <a:pt x="352" y="107"/>
                  <a:pt x="352" y="107"/>
                </a:cubicBezTo>
                <a:cubicBezTo>
                  <a:pt x="350" y="108"/>
                  <a:pt x="350" y="108"/>
                  <a:pt x="350" y="108"/>
                </a:cubicBezTo>
                <a:cubicBezTo>
                  <a:pt x="350" y="110"/>
                  <a:pt x="350" y="110"/>
                  <a:pt x="350" y="110"/>
                </a:cubicBezTo>
                <a:cubicBezTo>
                  <a:pt x="350" y="111"/>
                  <a:pt x="350" y="111"/>
                  <a:pt x="350" y="111"/>
                </a:cubicBezTo>
                <a:cubicBezTo>
                  <a:pt x="351" y="111"/>
                  <a:pt x="351" y="111"/>
                  <a:pt x="351" y="111"/>
                </a:cubicBezTo>
                <a:close/>
                <a:moveTo>
                  <a:pt x="330" y="108"/>
                </a:moveTo>
                <a:cubicBezTo>
                  <a:pt x="332" y="109"/>
                  <a:pt x="332" y="109"/>
                  <a:pt x="332" y="109"/>
                </a:cubicBezTo>
                <a:cubicBezTo>
                  <a:pt x="334" y="107"/>
                  <a:pt x="334" y="107"/>
                  <a:pt x="334" y="107"/>
                </a:cubicBezTo>
                <a:cubicBezTo>
                  <a:pt x="338" y="107"/>
                  <a:pt x="338" y="107"/>
                  <a:pt x="338" y="107"/>
                </a:cubicBezTo>
                <a:cubicBezTo>
                  <a:pt x="341" y="109"/>
                  <a:pt x="341" y="109"/>
                  <a:pt x="341" y="109"/>
                </a:cubicBezTo>
                <a:cubicBezTo>
                  <a:pt x="341" y="110"/>
                  <a:pt x="341" y="110"/>
                  <a:pt x="341" y="110"/>
                </a:cubicBezTo>
                <a:cubicBezTo>
                  <a:pt x="343" y="112"/>
                  <a:pt x="343" y="112"/>
                  <a:pt x="343" y="112"/>
                </a:cubicBezTo>
                <a:cubicBezTo>
                  <a:pt x="343" y="114"/>
                  <a:pt x="343" y="114"/>
                  <a:pt x="343" y="114"/>
                </a:cubicBezTo>
                <a:cubicBezTo>
                  <a:pt x="341" y="114"/>
                  <a:pt x="341" y="114"/>
                  <a:pt x="341" y="114"/>
                </a:cubicBezTo>
                <a:cubicBezTo>
                  <a:pt x="339" y="116"/>
                  <a:pt x="339" y="116"/>
                  <a:pt x="339" y="116"/>
                </a:cubicBezTo>
                <a:cubicBezTo>
                  <a:pt x="337" y="115"/>
                  <a:pt x="337" y="115"/>
                  <a:pt x="337" y="115"/>
                </a:cubicBezTo>
                <a:cubicBezTo>
                  <a:pt x="334" y="116"/>
                  <a:pt x="334" y="116"/>
                  <a:pt x="334" y="116"/>
                </a:cubicBezTo>
                <a:cubicBezTo>
                  <a:pt x="333" y="115"/>
                  <a:pt x="333" y="115"/>
                  <a:pt x="333" y="115"/>
                </a:cubicBezTo>
                <a:cubicBezTo>
                  <a:pt x="330" y="114"/>
                  <a:pt x="330" y="114"/>
                  <a:pt x="330" y="114"/>
                </a:cubicBezTo>
                <a:cubicBezTo>
                  <a:pt x="328" y="112"/>
                  <a:pt x="328" y="112"/>
                  <a:pt x="328" y="112"/>
                </a:cubicBezTo>
                <a:cubicBezTo>
                  <a:pt x="329" y="109"/>
                  <a:pt x="329" y="109"/>
                  <a:pt x="329" y="109"/>
                </a:cubicBezTo>
                <a:cubicBezTo>
                  <a:pt x="330" y="108"/>
                  <a:pt x="330" y="108"/>
                  <a:pt x="330" y="108"/>
                </a:cubicBezTo>
                <a:close/>
                <a:moveTo>
                  <a:pt x="271" y="152"/>
                </a:moveTo>
                <a:cubicBezTo>
                  <a:pt x="270" y="151"/>
                  <a:pt x="270" y="151"/>
                  <a:pt x="270" y="151"/>
                </a:cubicBezTo>
                <a:cubicBezTo>
                  <a:pt x="269" y="152"/>
                  <a:pt x="269" y="152"/>
                  <a:pt x="269" y="152"/>
                </a:cubicBezTo>
                <a:cubicBezTo>
                  <a:pt x="270" y="153"/>
                  <a:pt x="270" y="153"/>
                  <a:pt x="270" y="153"/>
                </a:cubicBezTo>
                <a:cubicBezTo>
                  <a:pt x="271" y="152"/>
                  <a:pt x="271" y="152"/>
                  <a:pt x="271" y="152"/>
                </a:cubicBezTo>
                <a:close/>
                <a:moveTo>
                  <a:pt x="269" y="137"/>
                </a:moveTo>
                <a:cubicBezTo>
                  <a:pt x="271" y="140"/>
                  <a:pt x="271" y="140"/>
                  <a:pt x="271" y="140"/>
                </a:cubicBezTo>
                <a:cubicBezTo>
                  <a:pt x="270" y="142"/>
                  <a:pt x="270" y="142"/>
                  <a:pt x="270" y="142"/>
                </a:cubicBezTo>
                <a:cubicBezTo>
                  <a:pt x="269" y="144"/>
                  <a:pt x="269" y="144"/>
                  <a:pt x="269" y="144"/>
                </a:cubicBezTo>
                <a:cubicBezTo>
                  <a:pt x="269" y="143"/>
                  <a:pt x="269" y="143"/>
                  <a:pt x="269" y="143"/>
                </a:cubicBezTo>
                <a:cubicBezTo>
                  <a:pt x="268" y="141"/>
                  <a:pt x="268" y="141"/>
                  <a:pt x="268" y="141"/>
                </a:cubicBezTo>
                <a:cubicBezTo>
                  <a:pt x="269" y="140"/>
                  <a:pt x="269" y="140"/>
                  <a:pt x="269" y="140"/>
                </a:cubicBezTo>
                <a:cubicBezTo>
                  <a:pt x="269" y="138"/>
                  <a:pt x="269" y="138"/>
                  <a:pt x="269" y="138"/>
                </a:cubicBezTo>
                <a:cubicBezTo>
                  <a:pt x="269" y="137"/>
                  <a:pt x="269" y="137"/>
                  <a:pt x="269" y="137"/>
                </a:cubicBezTo>
                <a:close/>
                <a:moveTo>
                  <a:pt x="328" y="96"/>
                </a:moveTo>
                <a:cubicBezTo>
                  <a:pt x="328" y="98"/>
                  <a:pt x="328" y="98"/>
                  <a:pt x="328" y="98"/>
                </a:cubicBezTo>
                <a:cubicBezTo>
                  <a:pt x="330" y="100"/>
                  <a:pt x="330" y="100"/>
                  <a:pt x="330" y="100"/>
                </a:cubicBezTo>
                <a:cubicBezTo>
                  <a:pt x="330" y="101"/>
                  <a:pt x="330" y="101"/>
                  <a:pt x="330" y="101"/>
                </a:cubicBezTo>
                <a:cubicBezTo>
                  <a:pt x="329" y="101"/>
                  <a:pt x="329" y="101"/>
                  <a:pt x="329" y="101"/>
                </a:cubicBezTo>
                <a:cubicBezTo>
                  <a:pt x="328" y="98"/>
                  <a:pt x="328" y="98"/>
                  <a:pt x="328" y="98"/>
                </a:cubicBezTo>
                <a:cubicBezTo>
                  <a:pt x="328" y="96"/>
                  <a:pt x="328" y="96"/>
                  <a:pt x="328" y="96"/>
                </a:cubicBezTo>
                <a:cubicBezTo>
                  <a:pt x="328" y="96"/>
                  <a:pt x="328" y="96"/>
                  <a:pt x="328" y="96"/>
                </a:cubicBezTo>
                <a:close/>
                <a:moveTo>
                  <a:pt x="322" y="93"/>
                </a:moveTo>
                <a:cubicBezTo>
                  <a:pt x="324" y="93"/>
                  <a:pt x="324" y="93"/>
                  <a:pt x="324" y="93"/>
                </a:cubicBezTo>
                <a:cubicBezTo>
                  <a:pt x="325" y="93"/>
                  <a:pt x="325" y="93"/>
                  <a:pt x="325" y="93"/>
                </a:cubicBezTo>
                <a:cubicBezTo>
                  <a:pt x="327" y="93"/>
                  <a:pt x="327" y="93"/>
                  <a:pt x="327" y="93"/>
                </a:cubicBezTo>
                <a:cubicBezTo>
                  <a:pt x="331" y="93"/>
                  <a:pt x="331" y="93"/>
                  <a:pt x="331" y="93"/>
                </a:cubicBezTo>
                <a:cubicBezTo>
                  <a:pt x="333" y="94"/>
                  <a:pt x="333" y="94"/>
                  <a:pt x="333" y="94"/>
                </a:cubicBezTo>
                <a:cubicBezTo>
                  <a:pt x="330" y="94"/>
                  <a:pt x="330" y="94"/>
                  <a:pt x="330" y="94"/>
                </a:cubicBezTo>
                <a:cubicBezTo>
                  <a:pt x="326" y="95"/>
                  <a:pt x="326" y="95"/>
                  <a:pt x="326" y="95"/>
                </a:cubicBezTo>
                <a:cubicBezTo>
                  <a:pt x="323" y="95"/>
                  <a:pt x="323" y="95"/>
                  <a:pt x="323" y="95"/>
                </a:cubicBezTo>
                <a:cubicBezTo>
                  <a:pt x="323" y="94"/>
                  <a:pt x="323" y="94"/>
                  <a:pt x="323" y="94"/>
                </a:cubicBezTo>
                <a:cubicBezTo>
                  <a:pt x="322" y="93"/>
                  <a:pt x="322" y="93"/>
                  <a:pt x="322" y="93"/>
                </a:cubicBezTo>
                <a:close/>
                <a:moveTo>
                  <a:pt x="312" y="93"/>
                </a:moveTo>
                <a:cubicBezTo>
                  <a:pt x="313" y="92"/>
                  <a:pt x="313" y="92"/>
                  <a:pt x="313" y="92"/>
                </a:cubicBezTo>
                <a:cubicBezTo>
                  <a:pt x="314" y="92"/>
                  <a:pt x="314" y="92"/>
                  <a:pt x="314" y="92"/>
                </a:cubicBezTo>
                <a:cubicBezTo>
                  <a:pt x="316" y="92"/>
                  <a:pt x="316" y="92"/>
                  <a:pt x="316" y="92"/>
                </a:cubicBezTo>
                <a:cubicBezTo>
                  <a:pt x="318" y="92"/>
                  <a:pt x="318" y="92"/>
                  <a:pt x="318" y="92"/>
                </a:cubicBezTo>
                <a:cubicBezTo>
                  <a:pt x="319" y="93"/>
                  <a:pt x="319" y="93"/>
                  <a:pt x="319" y="93"/>
                </a:cubicBezTo>
                <a:cubicBezTo>
                  <a:pt x="320" y="92"/>
                  <a:pt x="320" y="92"/>
                  <a:pt x="320" y="92"/>
                </a:cubicBezTo>
                <a:cubicBezTo>
                  <a:pt x="322" y="93"/>
                  <a:pt x="322" y="93"/>
                  <a:pt x="322" y="93"/>
                </a:cubicBezTo>
                <a:cubicBezTo>
                  <a:pt x="322" y="94"/>
                  <a:pt x="322" y="94"/>
                  <a:pt x="322" y="94"/>
                </a:cubicBezTo>
                <a:cubicBezTo>
                  <a:pt x="320" y="94"/>
                  <a:pt x="320" y="94"/>
                  <a:pt x="320" y="94"/>
                </a:cubicBezTo>
                <a:cubicBezTo>
                  <a:pt x="318" y="95"/>
                  <a:pt x="318" y="95"/>
                  <a:pt x="318" y="95"/>
                </a:cubicBezTo>
                <a:cubicBezTo>
                  <a:pt x="317" y="95"/>
                  <a:pt x="317" y="95"/>
                  <a:pt x="317" y="95"/>
                </a:cubicBezTo>
                <a:cubicBezTo>
                  <a:pt x="315" y="96"/>
                  <a:pt x="315" y="96"/>
                  <a:pt x="315" y="96"/>
                </a:cubicBezTo>
                <a:cubicBezTo>
                  <a:pt x="313" y="96"/>
                  <a:pt x="313" y="96"/>
                  <a:pt x="313" y="96"/>
                </a:cubicBezTo>
                <a:cubicBezTo>
                  <a:pt x="312" y="95"/>
                  <a:pt x="312" y="95"/>
                  <a:pt x="312" y="95"/>
                </a:cubicBezTo>
                <a:cubicBezTo>
                  <a:pt x="312" y="93"/>
                  <a:pt x="312" y="93"/>
                  <a:pt x="312" y="93"/>
                </a:cubicBezTo>
                <a:close/>
                <a:moveTo>
                  <a:pt x="293" y="133"/>
                </a:moveTo>
                <a:cubicBezTo>
                  <a:pt x="295" y="130"/>
                  <a:pt x="295" y="130"/>
                  <a:pt x="295" y="130"/>
                </a:cubicBezTo>
                <a:cubicBezTo>
                  <a:pt x="296" y="126"/>
                  <a:pt x="296" y="126"/>
                  <a:pt x="296" y="126"/>
                </a:cubicBezTo>
                <a:cubicBezTo>
                  <a:pt x="296" y="123"/>
                  <a:pt x="296" y="123"/>
                  <a:pt x="296" y="123"/>
                </a:cubicBezTo>
                <a:cubicBezTo>
                  <a:pt x="297" y="122"/>
                  <a:pt x="297" y="122"/>
                  <a:pt x="297" y="122"/>
                </a:cubicBezTo>
                <a:cubicBezTo>
                  <a:pt x="299" y="122"/>
                  <a:pt x="299" y="122"/>
                  <a:pt x="299" y="122"/>
                </a:cubicBezTo>
                <a:cubicBezTo>
                  <a:pt x="299" y="124"/>
                  <a:pt x="299" y="124"/>
                  <a:pt x="299" y="124"/>
                </a:cubicBezTo>
                <a:cubicBezTo>
                  <a:pt x="299" y="125"/>
                  <a:pt x="299" y="125"/>
                  <a:pt x="299" y="125"/>
                </a:cubicBezTo>
                <a:cubicBezTo>
                  <a:pt x="299" y="126"/>
                  <a:pt x="299" y="126"/>
                  <a:pt x="299" y="126"/>
                </a:cubicBezTo>
                <a:cubicBezTo>
                  <a:pt x="299" y="125"/>
                  <a:pt x="299" y="125"/>
                  <a:pt x="299" y="125"/>
                </a:cubicBezTo>
                <a:cubicBezTo>
                  <a:pt x="298" y="126"/>
                  <a:pt x="298" y="126"/>
                  <a:pt x="298" y="126"/>
                </a:cubicBezTo>
                <a:cubicBezTo>
                  <a:pt x="297" y="127"/>
                  <a:pt x="297" y="127"/>
                  <a:pt x="297" y="127"/>
                </a:cubicBezTo>
                <a:cubicBezTo>
                  <a:pt x="296" y="128"/>
                  <a:pt x="296" y="128"/>
                  <a:pt x="296" y="128"/>
                </a:cubicBezTo>
                <a:cubicBezTo>
                  <a:pt x="297" y="130"/>
                  <a:pt x="297" y="130"/>
                  <a:pt x="297" y="130"/>
                </a:cubicBezTo>
                <a:cubicBezTo>
                  <a:pt x="299" y="130"/>
                  <a:pt x="299" y="130"/>
                  <a:pt x="299" y="130"/>
                </a:cubicBezTo>
                <a:cubicBezTo>
                  <a:pt x="299" y="131"/>
                  <a:pt x="299" y="131"/>
                  <a:pt x="299" y="131"/>
                </a:cubicBezTo>
                <a:cubicBezTo>
                  <a:pt x="298" y="132"/>
                  <a:pt x="298" y="132"/>
                  <a:pt x="298" y="132"/>
                </a:cubicBezTo>
                <a:cubicBezTo>
                  <a:pt x="297" y="132"/>
                  <a:pt x="297" y="132"/>
                  <a:pt x="297" y="132"/>
                </a:cubicBezTo>
                <a:cubicBezTo>
                  <a:pt x="296" y="134"/>
                  <a:pt x="296" y="134"/>
                  <a:pt x="296" y="134"/>
                </a:cubicBezTo>
                <a:cubicBezTo>
                  <a:pt x="294" y="135"/>
                  <a:pt x="294" y="135"/>
                  <a:pt x="294" y="135"/>
                </a:cubicBezTo>
                <a:cubicBezTo>
                  <a:pt x="293" y="134"/>
                  <a:pt x="293" y="134"/>
                  <a:pt x="293" y="134"/>
                </a:cubicBezTo>
                <a:cubicBezTo>
                  <a:pt x="293" y="133"/>
                  <a:pt x="293" y="133"/>
                  <a:pt x="293" y="133"/>
                </a:cubicBezTo>
                <a:close/>
                <a:moveTo>
                  <a:pt x="288" y="131"/>
                </a:moveTo>
                <a:cubicBezTo>
                  <a:pt x="288" y="131"/>
                  <a:pt x="288" y="132"/>
                  <a:pt x="288" y="132"/>
                </a:cubicBezTo>
                <a:cubicBezTo>
                  <a:pt x="289" y="132"/>
                  <a:pt x="289" y="132"/>
                  <a:pt x="289" y="132"/>
                </a:cubicBezTo>
                <a:cubicBezTo>
                  <a:pt x="291" y="132"/>
                  <a:pt x="291" y="132"/>
                  <a:pt x="291" y="132"/>
                </a:cubicBezTo>
                <a:cubicBezTo>
                  <a:pt x="291" y="131"/>
                  <a:pt x="291" y="131"/>
                  <a:pt x="291" y="131"/>
                </a:cubicBezTo>
                <a:cubicBezTo>
                  <a:pt x="292" y="131"/>
                  <a:pt x="292" y="131"/>
                  <a:pt x="292" y="131"/>
                </a:cubicBezTo>
                <a:cubicBezTo>
                  <a:pt x="292" y="129"/>
                  <a:pt x="292" y="129"/>
                  <a:pt x="292" y="129"/>
                </a:cubicBezTo>
                <a:cubicBezTo>
                  <a:pt x="294" y="128"/>
                  <a:pt x="294" y="128"/>
                  <a:pt x="294" y="128"/>
                </a:cubicBezTo>
                <a:cubicBezTo>
                  <a:pt x="294" y="127"/>
                  <a:pt x="294" y="127"/>
                  <a:pt x="294" y="127"/>
                </a:cubicBezTo>
                <a:cubicBezTo>
                  <a:pt x="293" y="125"/>
                  <a:pt x="293" y="125"/>
                  <a:pt x="293" y="125"/>
                </a:cubicBezTo>
                <a:cubicBezTo>
                  <a:pt x="291" y="126"/>
                  <a:pt x="291" y="126"/>
                  <a:pt x="291" y="126"/>
                </a:cubicBezTo>
                <a:cubicBezTo>
                  <a:pt x="290" y="127"/>
                  <a:pt x="290" y="127"/>
                  <a:pt x="290" y="127"/>
                </a:cubicBezTo>
                <a:cubicBezTo>
                  <a:pt x="290" y="128"/>
                  <a:pt x="290" y="128"/>
                  <a:pt x="290" y="128"/>
                </a:cubicBezTo>
                <a:cubicBezTo>
                  <a:pt x="288" y="131"/>
                  <a:pt x="288" y="131"/>
                  <a:pt x="288" y="131"/>
                </a:cubicBezTo>
                <a:close/>
                <a:moveTo>
                  <a:pt x="284" y="129"/>
                </a:moveTo>
                <a:cubicBezTo>
                  <a:pt x="283" y="130"/>
                  <a:pt x="283" y="130"/>
                  <a:pt x="283" y="130"/>
                </a:cubicBezTo>
                <a:cubicBezTo>
                  <a:pt x="283" y="131"/>
                  <a:pt x="283" y="131"/>
                  <a:pt x="283" y="131"/>
                </a:cubicBezTo>
                <a:cubicBezTo>
                  <a:pt x="284" y="133"/>
                  <a:pt x="284" y="133"/>
                  <a:pt x="284" y="133"/>
                </a:cubicBezTo>
                <a:cubicBezTo>
                  <a:pt x="285" y="134"/>
                  <a:pt x="285" y="134"/>
                  <a:pt x="285" y="134"/>
                </a:cubicBezTo>
                <a:cubicBezTo>
                  <a:pt x="286" y="133"/>
                  <a:pt x="286" y="133"/>
                  <a:pt x="286" y="133"/>
                </a:cubicBezTo>
                <a:cubicBezTo>
                  <a:pt x="286" y="131"/>
                  <a:pt x="286" y="131"/>
                  <a:pt x="286" y="131"/>
                </a:cubicBezTo>
                <a:cubicBezTo>
                  <a:pt x="284" y="129"/>
                  <a:pt x="284" y="129"/>
                  <a:pt x="284" y="129"/>
                </a:cubicBezTo>
                <a:cubicBezTo>
                  <a:pt x="284" y="129"/>
                  <a:pt x="284" y="129"/>
                  <a:pt x="284" y="129"/>
                </a:cubicBezTo>
                <a:close/>
                <a:moveTo>
                  <a:pt x="299" y="94"/>
                </a:moveTo>
                <a:cubicBezTo>
                  <a:pt x="298" y="95"/>
                  <a:pt x="298" y="95"/>
                  <a:pt x="298" y="95"/>
                </a:cubicBezTo>
                <a:cubicBezTo>
                  <a:pt x="299" y="95"/>
                  <a:pt x="299" y="95"/>
                  <a:pt x="299" y="95"/>
                </a:cubicBezTo>
                <a:cubicBezTo>
                  <a:pt x="299" y="95"/>
                  <a:pt x="299" y="94"/>
                  <a:pt x="299" y="94"/>
                </a:cubicBezTo>
                <a:close/>
                <a:moveTo>
                  <a:pt x="301" y="93"/>
                </a:moveTo>
                <a:cubicBezTo>
                  <a:pt x="300" y="94"/>
                  <a:pt x="300" y="94"/>
                  <a:pt x="300" y="94"/>
                </a:cubicBezTo>
                <a:cubicBezTo>
                  <a:pt x="302" y="94"/>
                  <a:pt x="302" y="94"/>
                  <a:pt x="302" y="94"/>
                </a:cubicBezTo>
                <a:cubicBezTo>
                  <a:pt x="301" y="93"/>
                  <a:pt x="301" y="93"/>
                  <a:pt x="301" y="93"/>
                </a:cubicBezTo>
                <a:close/>
                <a:moveTo>
                  <a:pt x="304" y="91"/>
                </a:moveTo>
                <a:cubicBezTo>
                  <a:pt x="303" y="92"/>
                  <a:pt x="303" y="92"/>
                  <a:pt x="303" y="92"/>
                </a:cubicBezTo>
                <a:cubicBezTo>
                  <a:pt x="305" y="92"/>
                  <a:pt x="305" y="92"/>
                  <a:pt x="305" y="92"/>
                </a:cubicBezTo>
                <a:cubicBezTo>
                  <a:pt x="304" y="91"/>
                  <a:pt x="304" y="91"/>
                  <a:pt x="304" y="91"/>
                </a:cubicBezTo>
                <a:close/>
                <a:moveTo>
                  <a:pt x="295" y="88"/>
                </a:moveTo>
                <a:cubicBezTo>
                  <a:pt x="298" y="87"/>
                  <a:pt x="298" y="87"/>
                  <a:pt x="298" y="87"/>
                </a:cubicBezTo>
                <a:cubicBezTo>
                  <a:pt x="301" y="87"/>
                  <a:pt x="301" y="87"/>
                  <a:pt x="301" y="87"/>
                </a:cubicBezTo>
                <a:cubicBezTo>
                  <a:pt x="301" y="88"/>
                  <a:pt x="301" y="88"/>
                  <a:pt x="301" y="88"/>
                </a:cubicBezTo>
                <a:cubicBezTo>
                  <a:pt x="300" y="89"/>
                  <a:pt x="300" y="89"/>
                  <a:pt x="300" y="89"/>
                </a:cubicBezTo>
                <a:cubicBezTo>
                  <a:pt x="302" y="89"/>
                  <a:pt x="302" y="89"/>
                  <a:pt x="302" y="89"/>
                </a:cubicBezTo>
                <a:cubicBezTo>
                  <a:pt x="302" y="88"/>
                  <a:pt x="302" y="88"/>
                  <a:pt x="302" y="88"/>
                </a:cubicBezTo>
                <a:cubicBezTo>
                  <a:pt x="304" y="89"/>
                  <a:pt x="304" y="89"/>
                  <a:pt x="304" y="89"/>
                </a:cubicBezTo>
                <a:cubicBezTo>
                  <a:pt x="304" y="90"/>
                  <a:pt x="304" y="90"/>
                  <a:pt x="304" y="90"/>
                </a:cubicBezTo>
                <a:cubicBezTo>
                  <a:pt x="302" y="91"/>
                  <a:pt x="302" y="91"/>
                  <a:pt x="302" y="91"/>
                </a:cubicBezTo>
                <a:cubicBezTo>
                  <a:pt x="301" y="90"/>
                  <a:pt x="301" y="90"/>
                  <a:pt x="301" y="90"/>
                </a:cubicBezTo>
                <a:cubicBezTo>
                  <a:pt x="300" y="91"/>
                  <a:pt x="300" y="91"/>
                  <a:pt x="300" y="91"/>
                </a:cubicBezTo>
                <a:cubicBezTo>
                  <a:pt x="298" y="90"/>
                  <a:pt x="298" y="90"/>
                  <a:pt x="298" y="90"/>
                </a:cubicBezTo>
                <a:cubicBezTo>
                  <a:pt x="297" y="91"/>
                  <a:pt x="297" y="91"/>
                  <a:pt x="297" y="91"/>
                </a:cubicBezTo>
                <a:cubicBezTo>
                  <a:pt x="295" y="90"/>
                  <a:pt x="295" y="90"/>
                  <a:pt x="295" y="90"/>
                </a:cubicBezTo>
                <a:cubicBezTo>
                  <a:pt x="295" y="88"/>
                  <a:pt x="295" y="88"/>
                  <a:pt x="295" y="88"/>
                </a:cubicBezTo>
                <a:close/>
                <a:moveTo>
                  <a:pt x="284" y="78"/>
                </a:moveTo>
                <a:cubicBezTo>
                  <a:pt x="286" y="78"/>
                  <a:pt x="286" y="78"/>
                  <a:pt x="286" y="78"/>
                </a:cubicBezTo>
                <a:cubicBezTo>
                  <a:pt x="286" y="77"/>
                  <a:pt x="286" y="77"/>
                  <a:pt x="286" y="77"/>
                </a:cubicBezTo>
                <a:cubicBezTo>
                  <a:pt x="286" y="77"/>
                  <a:pt x="284" y="78"/>
                  <a:pt x="284" y="78"/>
                </a:cubicBezTo>
                <a:close/>
                <a:moveTo>
                  <a:pt x="283" y="78"/>
                </a:moveTo>
                <a:cubicBezTo>
                  <a:pt x="283" y="78"/>
                  <a:pt x="283" y="78"/>
                  <a:pt x="283" y="78"/>
                </a:cubicBezTo>
                <a:cubicBezTo>
                  <a:pt x="285" y="79"/>
                  <a:pt x="285" y="79"/>
                  <a:pt x="285" y="79"/>
                </a:cubicBezTo>
                <a:cubicBezTo>
                  <a:pt x="283" y="79"/>
                  <a:pt x="283" y="79"/>
                  <a:pt x="283" y="79"/>
                </a:cubicBezTo>
                <a:cubicBezTo>
                  <a:pt x="283" y="78"/>
                  <a:pt x="283" y="78"/>
                  <a:pt x="283" y="78"/>
                </a:cubicBezTo>
                <a:close/>
                <a:moveTo>
                  <a:pt x="269" y="69"/>
                </a:moveTo>
                <a:cubicBezTo>
                  <a:pt x="272" y="68"/>
                  <a:pt x="272" y="68"/>
                  <a:pt x="272" y="68"/>
                </a:cubicBezTo>
                <a:cubicBezTo>
                  <a:pt x="275" y="69"/>
                  <a:pt x="275" y="69"/>
                  <a:pt x="275" y="69"/>
                </a:cubicBezTo>
                <a:cubicBezTo>
                  <a:pt x="278" y="70"/>
                  <a:pt x="278" y="70"/>
                  <a:pt x="278" y="70"/>
                </a:cubicBezTo>
                <a:cubicBezTo>
                  <a:pt x="282" y="68"/>
                  <a:pt x="282" y="68"/>
                  <a:pt x="282" y="68"/>
                </a:cubicBezTo>
                <a:cubicBezTo>
                  <a:pt x="284" y="68"/>
                  <a:pt x="284" y="68"/>
                  <a:pt x="284" y="68"/>
                </a:cubicBezTo>
                <a:cubicBezTo>
                  <a:pt x="285" y="69"/>
                  <a:pt x="285" y="69"/>
                  <a:pt x="285" y="69"/>
                </a:cubicBezTo>
                <a:cubicBezTo>
                  <a:pt x="288" y="69"/>
                  <a:pt x="288" y="69"/>
                  <a:pt x="288" y="69"/>
                </a:cubicBezTo>
                <a:cubicBezTo>
                  <a:pt x="289" y="69"/>
                  <a:pt x="289" y="69"/>
                  <a:pt x="289" y="69"/>
                </a:cubicBezTo>
                <a:cubicBezTo>
                  <a:pt x="293" y="69"/>
                  <a:pt x="293" y="69"/>
                  <a:pt x="293" y="69"/>
                </a:cubicBezTo>
                <a:cubicBezTo>
                  <a:pt x="296" y="69"/>
                  <a:pt x="296" y="69"/>
                  <a:pt x="296" y="69"/>
                </a:cubicBezTo>
                <a:cubicBezTo>
                  <a:pt x="296" y="68"/>
                  <a:pt x="296" y="68"/>
                  <a:pt x="296" y="68"/>
                </a:cubicBezTo>
                <a:cubicBezTo>
                  <a:pt x="299" y="68"/>
                  <a:pt x="299" y="68"/>
                  <a:pt x="299" y="68"/>
                </a:cubicBezTo>
                <a:cubicBezTo>
                  <a:pt x="300" y="69"/>
                  <a:pt x="300" y="69"/>
                  <a:pt x="300" y="69"/>
                </a:cubicBezTo>
                <a:cubicBezTo>
                  <a:pt x="301" y="70"/>
                  <a:pt x="301" y="70"/>
                  <a:pt x="301" y="70"/>
                </a:cubicBezTo>
                <a:cubicBezTo>
                  <a:pt x="303" y="71"/>
                  <a:pt x="303" y="71"/>
                  <a:pt x="303" y="71"/>
                </a:cubicBezTo>
                <a:cubicBezTo>
                  <a:pt x="311" y="69"/>
                  <a:pt x="311" y="69"/>
                  <a:pt x="311" y="69"/>
                </a:cubicBezTo>
                <a:cubicBezTo>
                  <a:pt x="315" y="67"/>
                  <a:pt x="315" y="67"/>
                  <a:pt x="315" y="67"/>
                </a:cubicBezTo>
                <a:cubicBezTo>
                  <a:pt x="315" y="65"/>
                  <a:pt x="315" y="65"/>
                  <a:pt x="315" y="65"/>
                </a:cubicBezTo>
                <a:cubicBezTo>
                  <a:pt x="317" y="65"/>
                  <a:pt x="317" y="65"/>
                  <a:pt x="317" y="65"/>
                </a:cubicBezTo>
                <a:cubicBezTo>
                  <a:pt x="318" y="64"/>
                  <a:pt x="318" y="64"/>
                  <a:pt x="318" y="64"/>
                </a:cubicBezTo>
                <a:cubicBezTo>
                  <a:pt x="319" y="63"/>
                  <a:pt x="319" y="63"/>
                  <a:pt x="319" y="63"/>
                </a:cubicBezTo>
                <a:cubicBezTo>
                  <a:pt x="320" y="61"/>
                  <a:pt x="320" y="61"/>
                  <a:pt x="320" y="61"/>
                </a:cubicBezTo>
                <a:cubicBezTo>
                  <a:pt x="321" y="59"/>
                  <a:pt x="321" y="59"/>
                  <a:pt x="321" y="59"/>
                </a:cubicBezTo>
                <a:cubicBezTo>
                  <a:pt x="322" y="58"/>
                  <a:pt x="322" y="58"/>
                  <a:pt x="322" y="58"/>
                </a:cubicBezTo>
                <a:cubicBezTo>
                  <a:pt x="321" y="57"/>
                  <a:pt x="321" y="57"/>
                  <a:pt x="321" y="57"/>
                </a:cubicBezTo>
                <a:cubicBezTo>
                  <a:pt x="321" y="56"/>
                  <a:pt x="321" y="56"/>
                  <a:pt x="321" y="56"/>
                </a:cubicBezTo>
                <a:cubicBezTo>
                  <a:pt x="318" y="55"/>
                  <a:pt x="318" y="55"/>
                  <a:pt x="318" y="55"/>
                </a:cubicBezTo>
                <a:cubicBezTo>
                  <a:pt x="316" y="56"/>
                  <a:pt x="316" y="56"/>
                  <a:pt x="316" y="56"/>
                </a:cubicBezTo>
                <a:cubicBezTo>
                  <a:pt x="315" y="58"/>
                  <a:pt x="315" y="58"/>
                  <a:pt x="315" y="58"/>
                </a:cubicBezTo>
                <a:cubicBezTo>
                  <a:pt x="314" y="59"/>
                  <a:pt x="314" y="59"/>
                  <a:pt x="314" y="59"/>
                </a:cubicBezTo>
                <a:cubicBezTo>
                  <a:pt x="314" y="60"/>
                  <a:pt x="314" y="60"/>
                  <a:pt x="314" y="60"/>
                </a:cubicBezTo>
                <a:cubicBezTo>
                  <a:pt x="311" y="62"/>
                  <a:pt x="311" y="62"/>
                  <a:pt x="311" y="62"/>
                </a:cubicBezTo>
                <a:cubicBezTo>
                  <a:pt x="310" y="62"/>
                  <a:pt x="310" y="62"/>
                  <a:pt x="310" y="62"/>
                </a:cubicBezTo>
                <a:cubicBezTo>
                  <a:pt x="309" y="64"/>
                  <a:pt x="309" y="64"/>
                  <a:pt x="309" y="64"/>
                </a:cubicBezTo>
                <a:cubicBezTo>
                  <a:pt x="306" y="65"/>
                  <a:pt x="306" y="65"/>
                  <a:pt x="306" y="65"/>
                </a:cubicBezTo>
                <a:cubicBezTo>
                  <a:pt x="301" y="64"/>
                  <a:pt x="301" y="64"/>
                  <a:pt x="301" y="64"/>
                </a:cubicBezTo>
                <a:cubicBezTo>
                  <a:pt x="297" y="63"/>
                  <a:pt x="297" y="63"/>
                  <a:pt x="297" y="63"/>
                </a:cubicBezTo>
                <a:cubicBezTo>
                  <a:pt x="296" y="64"/>
                  <a:pt x="296" y="64"/>
                  <a:pt x="296" y="64"/>
                </a:cubicBezTo>
                <a:cubicBezTo>
                  <a:pt x="295" y="64"/>
                  <a:pt x="295" y="64"/>
                  <a:pt x="295" y="64"/>
                </a:cubicBezTo>
                <a:cubicBezTo>
                  <a:pt x="293" y="63"/>
                  <a:pt x="293" y="63"/>
                  <a:pt x="293" y="63"/>
                </a:cubicBezTo>
                <a:cubicBezTo>
                  <a:pt x="291" y="62"/>
                  <a:pt x="291" y="62"/>
                  <a:pt x="291" y="62"/>
                </a:cubicBezTo>
                <a:cubicBezTo>
                  <a:pt x="289" y="63"/>
                  <a:pt x="289" y="63"/>
                  <a:pt x="289" y="63"/>
                </a:cubicBezTo>
                <a:cubicBezTo>
                  <a:pt x="287" y="62"/>
                  <a:pt x="287" y="62"/>
                  <a:pt x="287" y="62"/>
                </a:cubicBezTo>
                <a:cubicBezTo>
                  <a:pt x="285" y="62"/>
                  <a:pt x="285" y="62"/>
                  <a:pt x="285" y="62"/>
                </a:cubicBezTo>
                <a:cubicBezTo>
                  <a:pt x="283" y="63"/>
                  <a:pt x="283" y="63"/>
                  <a:pt x="283" y="63"/>
                </a:cubicBezTo>
                <a:cubicBezTo>
                  <a:pt x="282" y="62"/>
                  <a:pt x="282" y="62"/>
                  <a:pt x="282" y="62"/>
                </a:cubicBezTo>
                <a:cubicBezTo>
                  <a:pt x="280" y="60"/>
                  <a:pt x="280" y="60"/>
                  <a:pt x="280" y="60"/>
                </a:cubicBezTo>
                <a:cubicBezTo>
                  <a:pt x="276" y="59"/>
                  <a:pt x="276" y="59"/>
                  <a:pt x="276" y="59"/>
                </a:cubicBezTo>
                <a:cubicBezTo>
                  <a:pt x="274" y="59"/>
                  <a:pt x="274" y="59"/>
                  <a:pt x="274" y="59"/>
                </a:cubicBezTo>
                <a:cubicBezTo>
                  <a:pt x="274" y="61"/>
                  <a:pt x="274" y="61"/>
                  <a:pt x="274" y="61"/>
                </a:cubicBezTo>
                <a:cubicBezTo>
                  <a:pt x="273" y="62"/>
                  <a:pt x="273" y="62"/>
                  <a:pt x="273" y="62"/>
                </a:cubicBezTo>
                <a:cubicBezTo>
                  <a:pt x="272" y="64"/>
                  <a:pt x="272" y="64"/>
                  <a:pt x="272" y="64"/>
                </a:cubicBezTo>
                <a:cubicBezTo>
                  <a:pt x="271" y="66"/>
                  <a:pt x="271" y="66"/>
                  <a:pt x="271" y="66"/>
                </a:cubicBezTo>
                <a:cubicBezTo>
                  <a:pt x="268" y="65"/>
                  <a:pt x="268" y="65"/>
                  <a:pt x="268" y="65"/>
                </a:cubicBezTo>
                <a:cubicBezTo>
                  <a:pt x="265" y="65"/>
                  <a:pt x="265" y="65"/>
                  <a:pt x="265" y="65"/>
                </a:cubicBezTo>
                <a:cubicBezTo>
                  <a:pt x="264" y="67"/>
                  <a:pt x="264" y="67"/>
                  <a:pt x="264" y="67"/>
                </a:cubicBezTo>
                <a:cubicBezTo>
                  <a:pt x="264" y="67"/>
                  <a:pt x="264" y="67"/>
                  <a:pt x="264" y="67"/>
                </a:cubicBezTo>
                <a:cubicBezTo>
                  <a:pt x="262" y="70"/>
                  <a:pt x="262" y="70"/>
                  <a:pt x="262" y="70"/>
                </a:cubicBezTo>
                <a:cubicBezTo>
                  <a:pt x="262" y="73"/>
                  <a:pt x="262" y="73"/>
                  <a:pt x="262" y="73"/>
                </a:cubicBezTo>
                <a:cubicBezTo>
                  <a:pt x="262" y="75"/>
                  <a:pt x="262" y="75"/>
                  <a:pt x="262" y="75"/>
                </a:cubicBezTo>
                <a:cubicBezTo>
                  <a:pt x="262" y="78"/>
                  <a:pt x="262" y="78"/>
                  <a:pt x="262" y="78"/>
                </a:cubicBezTo>
                <a:cubicBezTo>
                  <a:pt x="262" y="79"/>
                  <a:pt x="262" y="79"/>
                  <a:pt x="262" y="79"/>
                </a:cubicBezTo>
                <a:cubicBezTo>
                  <a:pt x="263" y="82"/>
                  <a:pt x="263" y="82"/>
                  <a:pt x="263" y="82"/>
                </a:cubicBezTo>
                <a:cubicBezTo>
                  <a:pt x="263" y="84"/>
                  <a:pt x="263" y="84"/>
                  <a:pt x="263" y="84"/>
                </a:cubicBezTo>
                <a:cubicBezTo>
                  <a:pt x="262" y="83"/>
                  <a:pt x="262" y="83"/>
                  <a:pt x="262" y="83"/>
                </a:cubicBezTo>
                <a:cubicBezTo>
                  <a:pt x="262" y="81"/>
                  <a:pt x="262" y="81"/>
                  <a:pt x="262" y="81"/>
                </a:cubicBezTo>
                <a:cubicBezTo>
                  <a:pt x="260" y="82"/>
                  <a:pt x="260" y="82"/>
                  <a:pt x="260" y="82"/>
                </a:cubicBezTo>
                <a:cubicBezTo>
                  <a:pt x="259" y="83"/>
                  <a:pt x="259" y="83"/>
                  <a:pt x="259" y="83"/>
                </a:cubicBezTo>
                <a:cubicBezTo>
                  <a:pt x="257" y="84"/>
                  <a:pt x="257" y="84"/>
                  <a:pt x="257" y="84"/>
                </a:cubicBezTo>
                <a:cubicBezTo>
                  <a:pt x="257" y="86"/>
                  <a:pt x="257" y="86"/>
                  <a:pt x="257" y="86"/>
                </a:cubicBezTo>
                <a:cubicBezTo>
                  <a:pt x="257" y="89"/>
                  <a:pt x="257" y="89"/>
                  <a:pt x="257" y="89"/>
                </a:cubicBezTo>
                <a:cubicBezTo>
                  <a:pt x="256" y="90"/>
                  <a:pt x="256" y="90"/>
                  <a:pt x="256" y="90"/>
                </a:cubicBezTo>
                <a:cubicBezTo>
                  <a:pt x="257" y="95"/>
                  <a:pt x="257" y="95"/>
                  <a:pt x="257" y="95"/>
                </a:cubicBezTo>
                <a:cubicBezTo>
                  <a:pt x="256" y="96"/>
                  <a:pt x="256" y="96"/>
                  <a:pt x="256" y="96"/>
                </a:cubicBezTo>
                <a:cubicBezTo>
                  <a:pt x="256" y="98"/>
                  <a:pt x="256" y="98"/>
                  <a:pt x="256" y="98"/>
                </a:cubicBezTo>
                <a:cubicBezTo>
                  <a:pt x="255" y="98"/>
                  <a:pt x="255" y="98"/>
                  <a:pt x="255" y="98"/>
                </a:cubicBezTo>
                <a:cubicBezTo>
                  <a:pt x="255" y="101"/>
                  <a:pt x="255" y="101"/>
                  <a:pt x="255" y="101"/>
                </a:cubicBezTo>
                <a:cubicBezTo>
                  <a:pt x="252" y="103"/>
                  <a:pt x="252" y="103"/>
                  <a:pt x="252" y="103"/>
                </a:cubicBezTo>
                <a:cubicBezTo>
                  <a:pt x="251" y="106"/>
                  <a:pt x="251" y="106"/>
                  <a:pt x="251" y="106"/>
                </a:cubicBezTo>
                <a:cubicBezTo>
                  <a:pt x="252" y="106"/>
                  <a:pt x="252" y="106"/>
                  <a:pt x="252" y="106"/>
                </a:cubicBezTo>
                <a:cubicBezTo>
                  <a:pt x="251" y="108"/>
                  <a:pt x="251" y="108"/>
                  <a:pt x="251" y="108"/>
                </a:cubicBezTo>
                <a:cubicBezTo>
                  <a:pt x="252" y="111"/>
                  <a:pt x="252" y="111"/>
                  <a:pt x="252" y="111"/>
                </a:cubicBezTo>
                <a:cubicBezTo>
                  <a:pt x="253" y="113"/>
                  <a:pt x="253" y="113"/>
                  <a:pt x="253" y="113"/>
                </a:cubicBezTo>
                <a:cubicBezTo>
                  <a:pt x="254" y="113"/>
                  <a:pt x="254" y="113"/>
                  <a:pt x="254" y="113"/>
                </a:cubicBezTo>
                <a:cubicBezTo>
                  <a:pt x="256" y="113"/>
                  <a:pt x="256" y="113"/>
                  <a:pt x="256" y="113"/>
                </a:cubicBezTo>
                <a:cubicBezTo>
                  <a:pt x="257" y="112"/>
                  <a:pt x="257" y="112"/>
                  <a:pt x="257" y="112"/>
                </a:cubicBezTo>
                <a:cubicBezTo>
                  <a:pt x="258" y="112"/>
                  <a:pt x="258" y="112"/>
                  <a:pt x="258" y="112"/>
                </a:cubicBezTo>
                <a:cubicBezTo>
                  <a:pt x="259" y="115"/>
                  <a:pt x="259" y="115"/>
                  <a:pt x="259" y="115"/>
                </a:cubicBezTo>
                <a:cubicBezTo>
                  <a:pt x="260" y="120"/>
                  <a:pt x="260" y="120"/>
                  <a:pt x="260" y="120"/>
                </a:cubicBezTo>
                <a:cubicBezTo>
                  <a:pt x="260" y="121"/>
                  <a:pt x="260" y="121"/>
                  <a:pt x="260" y="121"/>
                </a:cubicBezTo>
                <a:cubicBezTo>
                  <a:pt x="259" y="124"/>
                  <a:pt x="259" y="124"/>
                  <a:pt x="259" y="124"/>
                </a:cubicBezTo>
                <a:cubicBezTo>
                  <a:pt x="257" y="126"/>
                  <a:pt x="257" y="126"/>
                  <a:pt x="257" y="126"/>
                </a:cubicBezTo>
                <a:cubicBezTo>
                  <a:pt x="257" y="131"/>
                  <a:pt x="257" y="131"/>
                  <a:pt x="257" y="131"/>
                </a:cubicBezTo>
                <a:cubicBezTo>
                  <a:pt x="258" y="134"/>
                  <a:pt x="258" y="134"/>
                  <a:pt x="258" y="134"/>
                </a:cubicBezTo>
                <a:cubicBezTo>
                  <a:pt x="259" y="134"/>
                  <a:pt x="259" y="134"/>
                  <a:pt x="259" y="134"/>
                </a:cubicBezTo>
                <a:cubicBezTo>
                  <a:pt x="260" y="135"/>
                  <a:pt x="260" y="135"/>
                  <a:pt x="260" y="135"/>
                </a:cubicBezTo>
                <a:cubicBezTo>
                  <a:pt x="262" y="135"/>
                  <a:pt x="262" y="135"/>
                  <a:pt x="262" y="135"/>
                </a:cubicBezTo>
                <a:cubicBezTo>
                  <a:pt x="263" y="134"/>
                  <a:pt x="263" y="134"/>
                  <a:pt x="263" y="134"/>
                </a:cubicBezTo>
                <a:cubicBezTo>
                  <a:pt x="265" y="134"/>
                  <a:pt x="265" y="134"/>
                  <a:pt x="265" y="134"/>
                </a:cubicBezTo>
                <a:cubicBezTo>
                  <a:pt x="267" y="134"/>
                  <a:pt x="267" y="134"/>
                  <a:pt x="267" y="134"/>
                </a:cubicBezTo>
                <a:cubicBezTo>
                  <a:pt x="268" y="135"/>
                  <a:pt x="268" y="135"/>
                  <a:pt x="268" y="135"/>
                </a:cubicBezTo>
                <a:cubicBezTo>
                  <a:pt x="269" y="133"/>
                  <a:pt x="269" y="133"/>
                  <a:pt x="269" y="133"/>
                </a:cubicBezTo>
                <a:cubicBezTo>
                  <a:pt x="269" y="131"/>
                  <a:pt x="269" y="131"/>
                  <a:pt x="269" y="131"/>
                </a:cubicBezTo>
                <a:cubicBezTo>
                  <a:pt x="267" y="130"/>
                  <a:pt x="267" y="130"/>
                  <a:pt x="267" y="130"/>
                </a:cubicBezTo>
                <a:cubicBezTo>
                  <a:pt x="267" y="128"/>
                  <a:pt x="267" y="128"/>
                  <a:pt x="267" y="128"/>
                </a:cubicBezTo>
                <a:cubicBezTo>
                  <a:pt x="268" y="126"/>
                  <a:pt x="268" y="126"/>
                  <a:pt x="268" y="126"/>
                </a:cubicBezTo>
                <a:cubicBezTo>
                  <a:pt x="268" y="122"/>
                  <a:pt x="268" y="122"/>
                  <a:pt x="268" y="122"/>
                </a:cubicBezTo>
                <a:cubicBezTo>
                  <a:pt x="268" y="119"/>
                  <a:pt x="268" y="119"/>
                  <a:pt x="268" y="119"/>
                </a:cubicBezTo>
                <a:cubicBezTo>
                  <a:pt x="267" y="118"/>
                  <a:pt x="267" y="118"/>
                  <a:pt x="267" y="118"/>
                </a:cubicBezTo>
                <a:cubicBezTo>
                  <a:pt x="269" y="115"/>
                  <a:pt x="269" y="115"/>
                  <a:pt x="269" y="115"/>
                </a:cubicBezTo>
                <a:cubicBezTo>
                  <a:pt x="270" y="112"/>
                  <a:pt x="270" y="112"/>
                  <a:pt x="270" y="112"/>
                </a:cubicBezTo>
                <a:cubicBezTo>
                  <a:pt x="269" y="109"/>
                  <a:pt x="269" y="109"/>
                  <a:pt x="269" y="109"/>
                </a:cubicBezTo>
                <a:cubicBezTo>
                  <a:pt x="268" y="108"/>
                  <a:pt x="268" y="108"/>
                  <a:pt x="268" y="108"/>
                </a:cubicBezTo>
                <a:cubicBezTo>
                  <a:pt x="268" y="107"/>
                  <a:pt x="268" y="107"/>
                  <a:pt x="268" y="107"/>
                </a:cubicBezTo>
                <a:cubicBezTo>
                  <a:pt x="270" y="105"/>
                  <a:pt x="270" y="105"/>
                  <a:pt x="270" y="105"/>
                </a:cubicBezTo>
                <a:cubicBezTo>
                  <a:pt x="271" y="104"/>
                  <a:pt x="271" y="104"/>
                  <a:pt x="271" y="104"/>
                </a:cubicBezTo>
                <a:cubicBezTo>
                  <a:pt x="273" y="103"/>
                  <a:pt x="273" y="103"/>
                  <a:pt x="273" y="103"/>
                </a:cubicBezTo>
                <a:cubicBezTo>
                  <a:pt x="276" y="104"/>
                  <a:pt x="276" y="104"/>
                  <a:pt x="276" y="104"/>
                </a:cubicBezTo>
                <a:cubicBezTo>
                  <a:pt x="275" y="105"/>
                  <a:pt x="275" y="105"/>
                  <a:pt x="275" y="105"/>
                </a:cubicBezTo>
                <a:cubicBezTo>
                  <a:pt x="276" y="107"/>
                  <a:pt x="276" y="107"/>
                  <a:pt x="276" y="107"/>
                </a:cubicBezTo>
                <a:cubicBezTo>
                  <a:pt x="276" y="109"/>
                  <a:pt x="276" y="109"/>
                  <a:pt x="276" y="109"/>
                </a:cubicBezTo>
                <a:cubicBezTo>
                  <a:pt x="275" y="111"/>
                  <a:pt x="275" y="111"/>
                  <a:pt x="275" y="111"/>
                </a:cubicBezTo>
                <a:cubicBezTo>
                  <a:pt x="274" y="113"/>
                  <a:pt x="274" y="113"/>
                  <a:pt x="274" y="113"/>
                </a:cubicBezTo>
                <a:cubicBezTo>
                  <a:pt x="275" y="115"/>
                  <a:pt x="275" y="115"/>
                  <a:pt x="275" y="115"/>
                </a:cubicBezTo>
                <a:cubicBezTo>
                  <a:pt x="277" y="115"/>
                  <a:pt x="277" y="115"/>
                  <a:pt x="277" y="115"/>
                </a:cubicBezTo>
                <a:cubicBezTo>
                  <a:pt x="278" y="117"/>
                  <a:pt x="278" y="117"/>
                  <a:pt x="278" y="117"/>
                </a:cubicBezTo>
                <a:cubicBezTo>
                  <a:pt x="281" y="118"/>
                  <a:pt x="281" y="118"/>
                  <a:pt x="281" y="118"/>
                </a:cubicBezTo>
                <a:cubicBezTo>
                  <a:pt x="281" y="120"/>
                  <a:pt x="281" y="120"/>
                  <a:pt x="281" y="120"/>
                </a:cubicBezTo>
                <a:cubicBezTo>
                  <a:pt x="280" y="120"/>
                  <a:pt x="280" y="120"/>
                  <a:pt x="280" y="120"/>
                </a:cubicBezTo>
                <a:cubicBezTo>
                  <a:pt x="280" y="124"/>
                  <a:pt x="280" y="124"/>
                  <a:pt x="280" y="124"/>
                </a:cubicBezTo>
                <a:cubicBezTo>
                  <a:pt x="280" y="126"/>
                  <a:pt x="280" y="126"/>
                  <a:pt x="280" y="126"/>
                </a:cubicBezTo>
                <a:cubicBezTo>
                  <a:pt x="282" y="127"/>
                  <a:pt x="282" y="127"/>
                  <a:pt x="282" y="127"/>
                </a:cubicBezTo>
                <a:cubicBezTo>
                  <a:pt x="283" y="126"/>
                  <a:pt x="283" y="126"/>
                  <a:pt x="283" y="126"/>
                </a:cubicBezTo>
                <a:cubicBezTo>
                  <a:pt x="285" y="127"/>
                  <a:pt x="285" y="127"/>
                  <a:pt x="285" y="127"/>
                </a:cubicBezTo>
                <a:cubicBezTo>
                  <a:pt x="287" y="127"/>
                  <a:pt x="287" y="127"/>
                  <a:pt x="287" y="127"/>
                </a:cubicBezTo>
                <a:cubicBezTo>
                  <a:pt x="287" y="126"/>
                  <a:pt x="287" y="126"/>
                  <a:pt x="287" y="126"/>
                </a:cubicBezTo>
                <a:cubicBezTo>
                  <a:pt x="286" y="125"/>
                  <a:pt x="286" y="125"/>
                  <a:pt x="286" y="125"/>
                </a:cubicBezTo>
                <a:cubicBezTo>
                  <a:pt x="288" y="123"/>
                  <a:pt x="288" y="123"/>
                  <a:pt x="288" y="123"/>
                </a:cubicBezTo>
                <a:cubicBezTo>
                  <a:pt x="290" y="123"/>
                  <a:pt x="290" y="123"/>
                  <a:pt x="290" y="123"/>
                </a:cubicBezTo>
                <a:cubicBezTo>
                  <a:pt x="293" y="121"/>
                  <a:pt x="293" y="121"/>
                  <a:pt x="293" y="121"/>
                </a:cubicBezTo>
                <a:cubicBezTo>
                  <a:pt x="296" y="121"/>
                  <a:pt x="296" y="121"/>
                  <a:pt x="296" y="121"/>
                </a:cubicBezTo>
                <a:cubicBezTo>
                  <a:pt x="297" y="120"/>
                  <a:pt x="297" y="120"/>
                  <a:pt x="297" y="120"/>
                </a:cubicBezTo>
                <a:cubicBezTo>
                  <a:pt x="298" y="121"/>
                  <a:pt x="298" y="121"/>
                  <a:pt x="298" y="121"/>
                </a:cubicBezTo>
                <a:cubicBezTo>
                  <a:pt x="299" y="121"/>
                  <a:pt x="299" y="121"/>
                  <a:pt x="299" y="121"/>
                </a:cubicBezTo>
                <a:cubicBezTo>
                  <a:pt x="300" y="119"/>
                  <a:pt x="300" y="119"/>
                  <a:pt x="300" y="119"/>
                </a:cubicBezTo>
                <a:cubicBezTo>
                  <a:pt x="300" y="118"/>
                  <a:pt x="300" y="118"/>
                  <a:pt x="300" y="118"/>
                </a:cubicBezTo>
                <a:cubicBezTo>
                  <a:pt x="297" y="118"/>
                  <a:pt x="297" y="118"/>
                  <a:pt x="297" y="118"/>
                </a:cubicBezTo>
                <a:cubicBezTo>
                  <a:pt x="296" y="118"/>
                  <a:pt x="296" y="118"/>
                  <a:pt x="296" y="118"/>
                </a:cubicBezTo>
                <a:cubicBezTo>
                  <a:pt x="295" y="118"/>
                  <a:pt x="295" y="118"/>
                  <a:pt x="295" y="118"/>
                </a:cubicBezTo>
                <a:cubicBezTo>
                  <a:pt x="293" y="118"/>
                  <a:pt x="293" y="118"/>
                  <a:pt x="293" y="118"/>
                </a:cubicBezTo>
                <a:cubicBezTo>
                  <a:pt x="293" y="117"/>
                  <a:pt x="293" y="117"/>
                  <a:pt x="293" y="117"/>
                </a:cubicBezTo>
                <a:cubicBezTo>
                  <a:pt x="292" y="116"/>
                  <a:pt x="292" y="116"/>
                  <a:pt x="292" y="116"/>
                </a:cubicBezTo>
                <a:cubicBezTo>
                  <a:pt x="292" y="115"/>
                  <a:pt x="292" y="115"/>
                  <a:pt x="292" y="115"/>
                </a:cubicBezTo>
                <a:cubicBezTo>
                  <a:pt x="291" y="115"/>
                  <a:pt x="291" y="115"/>
                  <a:pt x="291" y="115"/>
                </a:cubicBezTo>
                <a:cubicBezTo>
                  <a:pt x="290" y="116"/>
                  <a:pt x="290" y="116"/>
                  <a:pt x="290" y="116"/>
                </a:cubicBezTo>
                <a:cubicBezTo>
                  <a:pt x="290" y="115"/>
                  <a:pt x="290" y="115"/>
                  <a:pt x="290" y="115"/>
                </a:cubicBezTo>
                <a:cubicBezTo>
                  <a:pt x="288" y="114"/>
                  <a:pt x="288" y="114"/>
                  <a:pt x="288" y="114"/>
                </a:cubicBezTo>
                <a:cubicBezTo>
                  <a:pt x="288" y="113"/>
                  <a:pt x="288" y="113"/>
                  <a:pt x="288" y="113"/>
                </a:cubicBezTo>
                <a:cubicBezTo>
                  <a:pt x="289" y="112"/>
                  <a:pt x="289" y="112"/>
                  <a:pt x="289" y="112"/>
                </a:cubicBezTo>
                <a:cubicBezTo>
                  <a:pt x="290" y="111"/>
                  <a:pt x="290" y="111"/>
                  <a:pt x="290" y="111"/>
                </a:cubicBezTo>
                <a:cubicBezTo>
                  <a:pt x="290" y="111"/>
                  <a:pt x="290" y="111"/>
                  <a:pt x="290" y="111"/>
                </a:cubicBezTo>
                <a:cubicBezTo>
                  <a:pt x="290" y="110"/>
                  <a:pt x="290" y="110"/>
                  <a:pt x="290" y="110"/>
                </a:cubicBezTo>
                <a:cubicBezTo>
                  <a:pt x="291" y="109"/>
                  <a:pt x="291" y="109"/>
                  <a:pt x="291" y="109"/>
                </a:cubicBezTo>
                <a:cubicBezTo>
                  <a:pt x="291" y="108"/>
                  <a:pt x="291" y="108"/>
                  <a:pt x="291" y="108"/>
                </a:cubicBezTo>
                <a:cubicBezTo>
                  <a:pt x="290" y="107"/>
                  <a:pt x="290" y="107"/>
                  <a:pt x="290" y="107"/>
                </a:cubicBezTo>
                <a:cubicBezTo>
                  <a:pt x="289" y="107"/>
                  <a:pt x="289" y="107"/>
                  <a:pt x="289" y="107"/>
                </a:cubicBezTo>
                <a:cubicBezTo>
                  <a:pt x="289" y="106"/>
                  <a:pt x="289" y="106"/>
                  <a:pt x="289" y="106"/>
                </a:cubicBezTo>
                <a:cubicBezTo>
                  <a:pt x="289" y="105"/>
                  <a:pt x="289" y="105"/>
                  <a:pt x="289" y="105"/>
                </a:cubicBezTo>
                <a:cubicBezTo>
                  <a:pt x="287" y="103"/>
                  <a:pt x="287" y="103"/>
                  <a:pt x="287" y="103"/>
                </a:cubicBezTo>
                <a:cubicBezTo>
                  <a:pt x="286" y="103"/>
                  <a:pt x="286" y="103"/>
                  <a:pt x="286" y="103"/>
                </a:cubicBezTo>
                <a:cubicBezTo>
                  <a:pt x="285" y="101"/>
                  <a:pt x="285" y="101"/>
                  <a:pt x="285" y="101"/>
                </a:cubicBezTo>
                <a:cubicBezTo>
                  <a:pt x="283" y="98"/>
                  <a:pt x="283" y="98"/>
                  <a:pt x="283" y="98"/>
                </a:cubicBezTo>
                <a:cubicBezTo>
                  <a:pt x="281" y="97"/>
                  <a:pt x="281" y="97"/>
                  <a:pt x="281" y="97"/>
                </a:cubicBezTo>
                <a:cubicBezTo>
                  <a:pt x="280" y="95"/>
                  <a:pt x="280" y="95"/>
                  <a:pt x="280" y="95"/>
                </a:cubicBezTo>
                <a:cubicBezTo>
                  <a:pt x="280" y="94"/>
                  <a:pt x="280" y="94"/>
                  <a:pt x="280" y="94"/>
                </a:cubicBezTo>
                <a:cubicBezTo>
                  <a:pt x="281" y="94"/>
                  <a:pt x="281" y="94"/>
                  <a:pt x="281" y="94"/>
                </a:cubicBezTo>
                <a:cubicBezTo>
                  <a:pt x="281" y="95"/>
                  <a:pt x="281" y="95"/>
                  <a:pt x="281" y="95"/>
                </a:cubicBezTo>
                <a:cubicBezTo>
                  <a:pt x="283" y="95"/>
                  <a:pt x="283" y="95"/>
                  <a:pt x="283" y="95"/>
                </a:cubicBezTo>
                <a:cubicBezTo>
                  <a:pt x="285" y="94"/>
                  <a:pt x="285" y="94"/>
                  <a:pt x="285" y="94"/>
                </a:cubicBezTo>
                <a:cubicBezTo>
                  <a:pt x="285" y="93"/>
                  <a:pt x="285" y="93"/>
                  <a:pt x="285" y="93"/>
                </a:cubicBezTo>
                <a:cubicBezTo>
                  <a:pt x="290" y="91"/>
                  <a:pt x="290" y="91"/>
                  <a:pt x="290" y="91"/>
                </a:cubicBezTo>
                <a:cubicBezTo>
                  <a:pt x="293" y="89"/>
                  <a:pt x="293" y="89"/>
                  <a:pt x="293" y="89"/>
                </a:cubicBezTo>
                <a:cubicBezTo>
                  <a:pt x="294" y="86"/>
                  <a:pt x="294" y="86"/>
                  <a:pt x="294" y="86"/>
                </a:cubicBezTo>
                <a:cubicBezTo>
                  <a:pt x="296" y="85"/>
                  <a:pt x="296" y="85"/>
                  <a:pt x="296" y="85"/>
                </a:cubicBezTo>
                <a:cubicBezTo>
                  <a:pt x="296" y="84"/>
                  <a:pt x="296" y="84"/>
                  <a:pt x="296" y="84"/>
                </a:cubicBezTo>
                <a:cubicBezTo>
                  <a:pt x="298" y="83"/>
                  <a:pt x="298" y="83"/>
                  <a:pt x="298" y="83"/>
                </a:cubicBezTo>
                <a:cubicBezTo>
                  <a:pt x="300" y="84"/>
                  <a:pt x="300" y="84"/>
                  <a:pt x="300" y="84"/>
                </a:cubicBezTo>
                <a:cubicBezTo>
                  <a:pt x="302" y="85"/>
                  <a:pt x="302" y="85"/>
                  <a:pt x="302" y="85"/>
                </a:cubicBezTo>
                <a:cubicBezTo>
                  <a:pt x="304" y="82"/>
                  <a:pt x="304" y="82"/>
                  <a:pt x="304" y="82"/>
                </a:cubicBezTo>
                <a:cubicBezTo>
                  <a:pt x="304" y="80"/>
                  <a:pt x="304" y="80"/>
                  <a:pt x="304" y="80"/>
                </a:cubicBezTo>
                <a:cubicBezTo>
                  <a:pt x="301" y="79"/>
                  <a:pt x="301" y="79"/>
                  <a:pt x="301" y="79"/>
                </a:cubicBezTo>
                <a:cubicBezTo>
                  <a:pt x="297" y="80"/>
                  <a:pt x="297" y="80"/>
                  <a:pt x="297" y="80"/>
                </a:cubicBezTo>
                <a:cubicBezTo>
                  <a:pt x="295" y="81"/>
                  <a:pt x="295" y="81"/>
                  <a:pt x="295" y="81"/>
                </a:cubicBezTo>
                <a:cubicBezTo>
                  <a:pt x="291" y="81"/>
                  <a:pt x="291" y="81"/>
                  <a:pt x="291" y="81"/>
                </a:cubicBezTo>
                <a:cubicBezTo>
                  <a:pt x="290" y="82"/>
                  <a:pt x="290" y="82"/>
                  <a:pt x="290" y="82"/>
                </a:cubicBezTo>
                <a:cubicBezTo>
                  <a:pt x="288" y="84"/>
                  <a:pt x="288" y="84"/>
                  <a:pt x="288" y="84"/>
                </a:cubicBezTo>
                <a:cubicBezTo>
                  <a:pt x="286" y="84"/>
                  <a:pt x="286" y="84"/>
                  <a:pt x="286" y="84"/>
                </a:cubicBezTo>
                <a:cubicBezTo>
                  <a:pt x="285" y="84"/>
                  <a:pt x="285" y="84"/>
                  <a:pt x="285" y="84"/>
                </a:cubicBezTo>
                <a:cubicBezTo>
                  <a:pt x="283" y="83"/>
                  <a:pt x="283" y="83"/>
                  <a:pt x="283" y="83"/>
                </a:cubicBezTo>
                <a:cubicBezTo>
                  <a:pt x="281" y="82"/>
                  <a:pt x="281" y="82"/>
                  <a:pt x="281" y="82"/>
                </a:cubicBezTo>
                <a:cubicBezTo>
                  <a:pt x="279" y="85"/>
                  <a:pt x="279" y="85"/>
                  <a:pt x="279" y="85"/>
                </a:cubicBezTo>
                <a:cubicBezTo>
                  <a:pt x="277" y="88"/>
                  <a:pt x="277" y="88"/>
                  <a:pt x="277" y="88"/>
                </a:cubicBezTo>
                <a:cubicBezTo>
                  <a:pt x="275" y="90"/>
                  <a:pt x="275" y="90"/>
                  <a:pt x="275" y="90"/>
                </a:cubicBezTo>
                <a:cubicBezTo>
                  <a:pt x="273" y="89"/>
                  <a:pt x="273" y="89"/>
                  <a:pt x="273" y="89"/>
                </a:cubicBezTo>
                <a:cubicBezTo>
                  <a:pt x="272" y="88"/>
                  <a:pt x="272" y="88"/>
                  <a:pt x="272" y="88"/>
                </a:cubicBezTo>
                <a:cubicBezTo>
                  <a:pt x="269" y="85"/>
                  <a:pt x="269" y="85"/>
                  <a:pt x="269" y="85"/>
                </a:cubicBezTo>
                <a:cubicBezTo>
                  <a:pt x="267" y="83"/>
                  <a:pt x="267" y="83"/>
                  <a:pt x="267" y="83"/>
                </a:cubicBezTo>
                <a:cubicBezTo>
                  <a:pt x="265" y="79"/>
                  <a:pt x="265" y="79"/>
                  <a:pt x="265" y="79"/>
                </a:cubicBezTo>
                <a:cubicBezTo>
                  <a:pt x="266" y="75"/>
                  <a:pt x="266" y="75"/>
                  <a:pt x="266" y="75"/>
                </a:cubicBezTo>
                <a:cubicBezTo>
                  <a:pt x="267" y="71"/>
                  <a:pt x="267" y="71"/>
                  <a:pt x="267" y="71"/>
                </a:cubicBezTo>
                <a:cubicBezTo>
                  <a:pt x="269" y="69"/>
                  <a:pt x="269" y="69"/>
                  <a:pt x="269" y="69"/>
                </a:cubicBezTo>
                <a:close/>
                <a:moveTo>
                  <a:pt x="271" y="0"/>
                </a:moveTo>
                <a:cubicBezTo>
                  <a:pt x="270" y="2"/>
                  <a:pt x="270" y="2"/>
                  <a:pt x="270" y="2"/>
                </a:cubicBezTo>
                <a:cubicBezTo>
                  <a:pt x="271" y="2"/>
                  <a:pt x="271" y="2"/>
                  <a:pt x="271" y="2"/>
                </a:cubicBezTo>
                <a:cubicBezTo>
                  <a:pt x="272" y="1"/>
                  <a:pt x="272" y="1"/>
                  <a:pt x="272" y="1"/>
                </a:cubicBezTo>
                <a:cubicBezTo>
                  <a:pt x="271" y="0"/>
                  <a:pt x="271" y="0"/>
                  <a:pt x="271" y="0"/>
                </a:cubicBezTo>
                <a:close/>
                <a:moveTo>
                  <a:pt x="274" y="7"/>
                </a:moveTo>
                <a:cubicBezTo>
                  <a:pt x="276" y="7"/>
                  <a:pt x="276" y="7"/>
                  <a:pt x="276" y="7"/>
                </a:cubicBezTo>
                <a:cubicBezTo>
                  <a:pt x="277" y="7"/>
                  <a:pt x="277" y="7"/>
                  <a:pt x="277" y="7"/>
                </a:cubicBezTo>
                <a:cubicBezTo>
                  <a:pt x="278" y="7"/>
                  <a:pt x="278" y="7"/>
                  <a:pt x="278" y="7"/>
                </a:cubicBezTo>
                <a:cubicBezTo>
                  <a:pt x="279" y="6"/>
                  <a:pt x="279" y="6"/>
                  <a:pt x="279" y="6"/>
                </a:cubicBezTo>
                <a:cubicBezTo>
                  <a:pt x="279" y="5"/>
                  <a:pt x="279" y="5"/>
                  <a:pt x="279" y="5"/>
                </a:cubicBezTo>
                <a:cubicBezTo>
                  <a:pt x="277" y="5"/>
                  <a:pt x="277" y="5"/>
                  <a:pt x="277" y="5"/>
                </a:cubicBezTo>
                <a:cubicBezTo>
                  <a:pt x="274" y="5"/>
                  <a:pt x="274" y="5"/>
                  <a:pt x="274" y="5"/>
                </a:cubicBezTo>
                <a:cubicBezTo>
                  <a:pt x="273" y="6"/>
                  <a:pt x="273" y="6"/>
                  <a:pt x="273" y="6"/>
                </a:cubicBezTo>
                <a:cubicBezTo>
                  <a:pt x="274" y="7"/>
                  <a:pt x="274" y="7"/>
                  <a:pt x="274" y="7"/>
                </a:cubicBezTo>
                <a:close/>
                <a:moveTo>
                  <a:pt x="258" y="18"/>
                </a:moveTo>
                <a:cubicBezTo>
                  <a:pt x="257" y="19"/>
                  <a:pt x="257" y="19"/>
                  <a:pt x="257" y="19"/>
                </a:cubicBezTo>
                <a:cubicBezTo>
                  <a:pt x="258" y="21"/>
                  <a:pt x="258" y="21"/>
                  <a:pt x="258" y="21"/>
                </a:cubicBezTo>
                <a:cubicBezTo>
                  <a:pt x="258" y="20"/>
                  <a:pt x="258" y="20"/>
                  <a:pt x="258" y="20"/>
                </a:cubicBezTo>
                <a:cubicBezTo>
                  <a:pt x="258" y="18"/>
                  <a:pt x="258" y="18"/>
                  <a:pt x="258" y="18"/>
                </a:cubicBezTo>
                <a:close/>
                <a:moveTo>
                  <a:pt x="261" y="16"/>
                </a:moveTo>
                <a:cubicBezTo>
                  <a:pt x="265" y="13"/>
                  <a:pt x="265" y="13"/>
                  <a:pt x="265" y="13"/>
                </a:cubicBezTo>
                <a:cubicBezTo>
                  <a:pt x="267" y="13"/>
                  <a:pt x="267" y="13"/>
                  <a:pt x="267" y="13"/>
                </a:cubicBezTo>
                <a:cubicBezTo>
                  <a:pt x="267" y="14"/>
                  <a:pt x="267" y="14"/>
                  <a:pt x="267" y="14"/>
                </a:cubicBezTo>
                <a:cubicBezTo>
                  <a:pt x="264" y="16"/>
                  <a:pt x="264" y="16"/>
                  <a:pt x="264" y="16"/>
                </a:cubicBezTo>
                <a:cubicBezTo>
                  <a:pt x="262" y="17"/>
                  <a:pt x="262" y="17"/>
                  <a:pt x="262" y="17"/>
                </a:cubicBezTo>
                <a:cubicBezTo>
                  <a:pt x="261" y="16"/>
                  <a:pt x="261" y="16"/>
                  <a:pt x="261" y="16"/>
                </a:cubicBezTo>
                <a:close/>
                <a:moveTo>
                  <a:pt x="240" y="28"/>
                </a:moveTo>
                <a:cubicBezTo>
                  <a:pt x="240" y="29"/>
                  <a:pt x="240" y="29"/>
                  <a:pt x="240" y="29"/>
                </a:cubicBezTo>
                <a:cubicBezTo>
                  <a:pt x="239" y="28"/>
                  <a:pt x="239" y="28"/>
                  <a:pt x="239" y="28"/>
                </a:cubicBezTo>
                <a:cubicBezTo>
                  <a:pt x="240" y="28"/>
                  <a:pt x="240" y="28"/>
                  <a:pt x="240" y="28"/>
                </a:cubicBezTo>
                <a:close/>
                <a:moveTo>
                  <a:pt x="240" y="26"/>
                </a:moveTo>
                <a:cubicBezTo>
                  <a:pt x="240" y="27"/>
                  <a:pt x="240" y="27"/>
                  <a:pt x="240" y="27"/>
                </a:cubicBezTo>
                <a:cubicBezTo>
                  <a:pt x="240" y="28"/>
                  <a:pt x="240" y="28"/>
                  <a:pt x="240" y="28"/>
                </a:cubicBezTo>
                <a:cubicBezTo>
                  <a:pt x="242" y="28"/>
                  <a:pt x="242" y="28"/>
                  <a:pt x="242" y="28"/>
                </a:cubicBezTo>
                <a:cubicBezTo>
                  <a:pt x="242" y="27"/>
                  <a:pt x="242" y="27"/>
                  <a:pt x="242" y="27"/>
                </a:cubicBezTo>
                <a:cubicBezTo>
                  <a:pt x="240" y="26"/>
                  <a:pt x="240" y="26"/>
                  <a:pt x="240" y="26"/>
                </a:cubicBezTo>
                <a:close/>
                <a:moveTo>
                  <a:pt x="241" y="32"/>
                </a:moveTo>
                <a:cubicBezTo>
                  <a:pt x="239" y="33"/>
                  <a:pt x="239" y="33"/>
                  <a:pt x="239" y="33"/>
                </a:cubicBezTo>
                <a:cubicBezTo>
                  <a:pt x="240" y="33"/>
                  <a:pt x="240" y="33"/>
                  <a:pt x="240" y="33"/>
                </a:cubicBezTo>
                <a:cubicBezTo>
                  <a:pt x="241" y="32"/>
                  <a:pt x="241" y="32"/>
                  <a:pt x="241" y="32"/>
                </a:cubicBezTo>
                <a:close/>
                <a:moveTo>
                  <a:pt x="239" y="34"/>
                </a:moveTo>
                <a:cubicBezTo>
                  <a:pt x="240" y="35"/>
                  <a:pt x="240" y="35"/>
                  <a:pt x="240" y="35"/>
                </a:cubicBezTo>
                <a:cubicBezTo>
                  <a:pt x="240" y="37"/>
                  <a:pt x="240" y="37"/>
                  <a:pt x="240" y="37"/>
                </a:cubicBezTo>
                <a:cubicBezTo>
                  <a:pt x="239" y="37"/>
                  <a:pt x="239" y="37"/>
                  <a:pt x="239" y="37"/>
                </a:cubicBezTo>
                <a:cubicBezTo>
                  <a:pt x="239" y="34"/>
                  <a:pt x="239" y="34"/>
                  <a:pt x="239" y="34"/>
                </a:cubicBezTo>
                <a:close/>
                <a:moveTo>
                  <a:pt x="225" y="111"/>
                </a:moveTo>
                <a:cubicBezTo>
                  <a:pt x="226" y="112"/>
                  <a:pt x="226" y="112"/>
                  <a:pt x="226" y="112"/>
                </a:cubicBezTo>
                <a:cubicBezTo>
                  <a:pt x="226" y="115"/>
                  <a:pt x="226" y="115"/>
                  <a:pt x="226" y="115"/>
                </a:cubicBezTo>
                <a:cubicBezTo>
                  <a:pt x="225" y="115"/>
                  <a:pt x="225" y="115"/>
                  <a:pt x="225" y="115"/>
                </a:cubicBezTo>
                <a:cubicBezTo>
                  <a:pt x="225" y="112"/>
                  <a:pt x="225" y="112"/>
                  <a:pt x="225" y="112"/>
                </a:cubicBezTo>
                <a:cubicBezTo>
                  <a:pt x="225" y="111"/>
                  <a:pt x="225" y="111"/>
                  <a:pt x="225" y="111"/>
                </a:cubicBezTo>
                <a:close/>
                <a:moveTo>
                  <a:pt x="224" y="111"/>
                </a:moveTo>
                <a:cubicBezTo>
                  <a:pt x="224" y="115"/>
                  <a:pt x="224" y="115"/>
                  <a:pt x="224" y="115"/>
                </a:cubicBezTo>
                <a:cubicBezTo>
                  <a:pt x="224" y="117"/>
                  <a:pt x="224" y="117"/>
                  <a:pt x="224" y="117"/>
                </a:cubicBezTo>
                <a:cubicBezTo>
                  <a:pt x="222" y="118"/>
                  <a:pt x="222" y="118"/>
                  <a:pt x="222" y="118"/>
                </a:cubicBezTo>
                <a:cubicBezTo>
                  <a:pt x="221" y="117"/>
                  <a:pt x="221" y="117"/>
                  <a:pt x="221" y="117"/>
                </a:cubicBezTo>
                <a:cubicBezTo>
                  <a:pt x="222" y="114"/>
                  <a:pt x="222" y="114"/>
                  <a:pt x="222" y="114"/>
                </a:cubicBezTo>
                <a:cubicBezTo>
                  <a:pt x="223" y="111"/>
                  <a:pt x="223" y="111"/>
                  <a:pt x="223" y="111"/>
                </a:cubicBezTo>
                <a:cubicBezTo>
                  <a:pt x="224" y="111"/>
                  <a:pt x="224" y="111"/>
                  <a:pt x="224" y="111"/>
                </a:cubicBezTo>
                <a:cubicBezTo>
                  <a:pt x="224" y="111"/>
                  <a:pt x="224" y="111"/>
                  <a:pt x="224" y="111"/>
                </a:cubicBezTo>
                <a:close/>
                <a:moveTo>
                  <a:pt x="151" y="78"/>
                </a:moveTo>
                <a:cubicBezTo>
                  <a:pt x="153" y="79"/>
                  <a:pt x="153" y="79"/>
                  <a:pt x="153" y="79"/>
                </a:cubicBezTo>
                <a:cubicBezTo>
                  <a:pt x="154" y="79"/>
                  <a:pt x="154" y="79"/>
                  <a:pt x="154" y="79"/>
                </a:cubicBezTo>
                <a:cubicBezTo>
                  <a:pt x="152" y="80"/>
                  <a:pt x="152" y="80"/>
                  <a:pt x="152" y="80"/>
                </a:cubicBezTo>
                <a:cubicBezTo>
                  <a:pt x="151" y="79"/>
                  <a:pt x="151" y="79"/>
                  <a:pt x="151" y="79"/>
                </a:cubicBezTo>
                <a:cubicBezTo>
                  <a:pt x="150" y="78"/>
                  <a:pt x="150" y="78"/>
                  <a:pt x="150" y="78"/>
                </a:cubicBezTo>
                <a:cubicBezTo>
                  <a:pt x="151" y="78"/>
                  <a:pt x="151" y="78"/>
                  <a:pt x="151" y="78"/>
                </a:cubicBezTo>
                <a:close/>
                <a:moveTo>
                  <a:pt x="152" y="82"/>
                </a:moveTo>
                <a:cubicBezTo>
                  <a:pt x="154" y="83"/>
                  <a:pt x="154" y="83"/>
                  <a:pt x="154" y="83"/>
                </a:cubicBezTo>
                <a:cubicBezTo>
                  <a:pt x="155" y="84"/>
                  <a:pt x="155" y="84"/>
                  <a:pt x="155" y="84"/>
                </a:cubicBezTo>
                <a:cubicBezTo>
                  <a:pt x="156" y="84"/>
                  <a:pt x="156" y="84"/>
                  <a:pt x="156" y="84"/>
                </a:cubicBezTo>
                <a:cubicBezTo>
                  <a:pt x="156" y="85"/>
                  <a:pt x="156" y="85"/>
                  <a:pt x="156" y="85"/>
                </a:cubicBezTo>
                <a:cubicBezTo>
                  <a:pt x="154" y="85"/>
                  <a:pt x="154" y="85"/>
                  <a:pt x="154" y="85"/>
                </a:cubicBezTo>
                <a:cubicBezTo>
                  <a:pt x="153" y="85"/>
                  <a:pt x="153" y="85"/>
                  <a:pt x="153" y="85"/>
                </a:cubicBezTo>
                <a:cubicBezTo>
                  <a:pt x="151" y="83"/>
                  <a:pt x="151" y="83"/>
                  <a:pt x="151" y="83"/>
                </a:cubicBezTo>
                <a:cubicBezTo>
                  <a:pt x="152" y="82"/>
                  <a:pt x="152" y="82"/>
                  <a:pt x="152" y="82"/>
                </a:cubicBezTo>
                <a:close/>
                <a:moveTo>
                  <a:pt x="154" y="86"/>
                </a:moveTo>
                <a:cubicBezTo>
                  <a:pt x="156" y="86"/>
                  <a:pt x="156" y="86"/>
                  <a:pt x="156" y="86"/>
                </a:cubicBezTo>
                <a:cubicBezTo>
                  <a:pt x="158" y="87"/>
                  <a:pt x="158" y="87"/>
                  <a:pt x="158" y="87"/>
                </a:cubicBezTo>
                <a:cubicBezTo>
                  <a:pt x="156" y="89"/>
                  <a:pt x="156" y="89"/>
                  <a:pt x="156" y="89"/>
                </a:cubicBezTo>
                <a:cubicBezTo>
                  <a:pt x="155" y="89"/>
                  <a:pt x="155" y="89"/>
                  <a:pt x="155" y="89"/>
                </a:cubicBezTo>
                <a:cubicBezTo>
                  <a:pt x="154" y="88"/>
                  <a:pt x="154" y="88"/>
                  <a:pt x="154" y="88"/>
                </a:cubicBezTo>
                <a:cubicBezTo>
                  <a:pt x="154" y="87"/>
                  <a:pt x="154" y="87"/>
                  <a:pt x="154" y="87"/>
                </a:cubicBezTo>
                <a:cubicBezTo>
                  <a:pt x="154" y="87"/>
                  <a:pt x="154" y="86"/>
                  <a:pt x="154" y="86"/>
                </a:cubicBezTo>
                <a:close/>
                <a:moveTo>
                  <a:pt x="149" y="60"/>
                </a:moveTo>
                <a:cubicBezTo>
                  <a:pt x="150" y="57"/>
                  <a:pt x="150" y="57"/>
                  <a:pt x="150" y="57"/>
                </a:cubicBezTo>
                <a:cubicBezTo>
                  <a:pt x="153" y="54"/>
                  <a:pt x="153" y="54"/>
                  <a:pt x="153" y="54"/>
                </a:cubicBezTo>
                <a:cubicBezTo>
                  <a:pt x="154" y="52"/>
                  <a:pt x="154" y="52"/>
                  <a:pt x="154" y="52"/>
                </a:cubicBezTo>
                <a:cubicBezTo>
                  <a:pt x="156" y="52"/>
                  <a:pt x="156" y="52"/>
                  <a:pt x="156" y="52"/>
                </a:cubicBezTo>
                <a:cubicBezTo>
                  <a:pt x="158" y="56"/>
                  <a:pt x="158" y="56"/>
                  <a:pt x="158" y="56"/>
                </a:cubicBezTo>
                <a:cubicBezTo>
                  <a:pt x="161" y="58"/>
                  <a:pt x="161" y="58"/>
                  <a:pt x="161" y="58"/>
                </a:cubicBezTo>
                <a:cubicBezTo>
                  <a:pt x="162" y="59"/>
                  <a:pt x="162" y="59"/>
                  <a:pt x="162" y="59"/>
                </a:cubicBezTo>
                <a:cubicBezTo>
                  <a:pt x="164" y="61"/>
                  <a:pt x="164" y="61"/>
                  <a:pt x="164" y="61"/>
                </a:cubicBezTo>
                <a:cubicBezTo>
                  <a:pt x="165" y="63"/>
                  <a:pt x="165" y="63"/>
                  <a:pt x="165" y="63"/>
                </a:cubicBezTo>
                <a:cubicBezTo>
                  <a:pt x="166" y="63"/>
                  <a:pt x="166" y="63"/>
                  <a:pt x="166" y="63"/>
                </a:cubicBezTo>
                <a:cubicBezTo>
                  <a:pt x="170" y="62"/>
                  <a:pt x="170" y="62"/>
                  <a:pt x="170" y="62"/>
                </a:cubicBezTo>
                <a:cubicBezTo>
                  <a:pt x="170" y="61"/>
                  <a:pt x="170" y="61"/>
                  <a:pt x="170" y="61"/>
                </a:cubicBezTo>
                <a:cubicBezTo>
                  <a:pt x="173" y="61"/>
                  <a:pt x="173" y="61"/>
                  <a:pt x="173" y="61"/>
                </a:cubicBezTo>
                <a:cubicBezTo>
                  <a:pt x="174" y="61"/>
                  <a:pt x="174" y="61"/>
                  <a:pt x="174" y="61"/>
                </a:cubicBezTo>
                <a:cubicBezTo>
                  <a:pt x="180" y="61"/>
                  <a:pt x="180" y="61"/>
                  <a:pt x="180" y="61"/>
                </a:cubicBezTo>
                <a:cubicBezTo>
                  <a:pt x="186" y="59"/>
                  <a:pt x="186" y="59"/>
                  <a:pt x="186" y="59"/>
                </a:cubicBezTo>
                <a:cubicBezTo>
                  <a:pt x="187" y="57"/>
                  <a:pt x="187" y="57"/>
                  <a:pt x="187" y="57"/>
                </a:cubicBezTo>
                <a:cubicBezTo>
                  <a:pt x="193" y="57"/>
                  <a:pt x="193" y="57"/>
                  <a:pt x="193" y="57"/>
                </a:cubicBezTo>
                <a:cubicBezTo>
                  <a:pt x="195" y="58"/>
                  <a:pt x="195" y="58"/>
                  <a:pt x="195" y="58"/>
                </a:cubicBezTo>
                <a:cubicBezTo>
                  <a:pt x="196" y="60"/>
                  <a:pt x="196" y="60"/>
                  <a:pt x="196" y="60"/>
                </a:cubicBezTo>
                <a:cubicBezTo>
                  <a:pt x="199" y="60"/>
                  <a:pt x="199" y="60"/>
                  <a:pt x="199" y="60"/>
                </a:cubicBezTo>
                <a:cubicBezTo>
                  <a:pt x="203" y="57"/>
                  <a:pt x="203" y="57"/>
                  <a:pt x="203" y="57"/>
                </a:cubicBezTo>
                <a:cubicBezTo>
                  <a:pt x="208" y="56"/>
                  <a:pt x="208" y="56"/>
                  <a:pt x="208" y="56"/>
                </a:cubicBezTo>
                <a:cubicBezTo>
                  <a:pt x="208" y="55"/>
                  <a:pt x="208" y="55"/>
                  <a:pt x="208" y="55"/>
                </a:cubicBezTo>
                <a:cubicBezTo>
                  <a:pt x="212" y="48"/>
                  <a:pt x="212" y="48"/>
                  <a:pt x="212" y="48"/>
                </a:cubicBezTo>
                <a:cubicBezTo>
                  <a:pt x="214" y="44"/>
                  <a:pt x="214" y="44"/>
                  <a:pt x="214" y="44"/>
                </a:cubicBezTo>
                <a:cubicBezTo>
                  <a:pt x="217" y="39"/>
                  <a:pt x="217" y="39"/>
                  <a:pt x="217" y="39"/>
                </a:cubicBezTo>
                <a:cubicBezTo>
                  <a:pt x="219" y="31"/>
                  <a:pt x="219" y="31"/>
                  <a:pt x="219" y="31"/>
                </a:cubicBezTo>
                <a:cubicBezTo>
                  <a:pt x="219" y="29"/>
                  <a:pt x="219" y="29"/>
                  <a:pt x="219" y="29"/>
                </a:cubicBezTo>
                <a:cubicBezTo>
                  <a:pt x="220" y="27"/>
                  <a:pt x="220" y="27"/>
                  <a:pt x="220" y="27"/>
                </a:cubicBezTo>
                <a:cubicBezTo>
                  <a:pt x="220" y="26"/>
                  <a:pt x="220" y="26"/>
                  <a:pt x="220" y="26"/>
                </a:cubicBezTo>
                <a:cubicBezTo>
                  <a:pt x="222" y="23"/>
                  <a:pt x="222" y="23"/>
                  <a:pt x="222" y="23"/>
                </a:cubicBezTo>
                <a:cubicBezTo>
                  <a:pt x="224" y="24"/>
                  <a:pt x="224" y="24"/>
                  <a:pt x="224" y="24"/>
                </a:cubicBezTo>
                <a:cubicBezTo>
                  <a:pt x="227" y="24"/>
                  <a:pt x="227" y="24"/>
                  <a:pt x="227" y="24"/>
                </a:cubicBezTo>
                <a:cubicBezTo>
                  <a:pt x="232" y="24"/>
                  <a:pt x="232" y="24"/>
                  <a:pt x="232" y="24"/>
                </a:cubicBezTo>
                <a:cubicBezTo>
                  <a:pt x="233" y="25"/>
                  <a:pt x="233" y="25"/>
                  <a:pt x="233" y="25"/>
                </a:cubicBezTo>
                <a:cubicBezTo>
                  <a:pt x="236" y="25"/>
                  <a:pt x="236" y="25"/>
                  <a:pt x="236" y="25"/>
                </a:cubicBezTo>
                <a:cubicBezTo>
                  <a:pt x="239" y="25"/>
                  <a:pt x="239" y="25"/>
                  <a:pt x="239" y="25"/>
                </a:cubicBezTo>
                <a:cubicBezTo>
                  <a:pt x="238" y="26"/>
                  <a:pt x="238" y="26"/>
                  <a:pt x="238" y="26"/>
                </a:cubicBezTo>
                <a:cubicBezTo>
                  <a:pt x="237" y="26"/>
                  <a:pt x="237" y="26"/>
                  <a:pt x="237" y="26"/>
                </a:cubicBezTo>
                <a:cubicBezTo>
                  <a:pt x="238" y="27"/>
                  <a:pt x="238" y="27"/>
                  <a:pt x="238" y="27"/>
                </a:cubicBezTo>
                <a:cubicBezTo>
                  <a:pt x="237" y="28"/>
                  <a:pt x="237" y="28"/>
                  <a:pt x="237" y="28"/>
                </a:cubicBezTo>
                <a:cubicBezTo>
                  <a:pt x="239" y="29"/>
                  <a:pt x="239" y="29"/>
                  <a:pt x="239" y="29"/>
                </a:cubicBezTo>
                <a:cubicBezTo>
                  <a:pt x="241" y="31"/>
                  <a:pt x="241" y="31"/>
                  <a:pt x="241" y="31"/>
                </a:cubicBezTo>
                <a:cubicBezTo>
                  <a:pt x="239" y="32"/>
                  <a:pt x="239" y="32"/>
                  <a:pt x="239" y="32"/>
                </a:cubicBezTo>
                <a:cubicBezTo>
                  <a:pt x="236" y="32"/>
                  <a:pt x="236" y="32"/>
                  <a:pt x="236" y="32"/>
                </a:cubicBezTo>
                <a:cubicBezTo>
                  <a:pt x="235" y="32"/>
                  <a:pt x="235" y="32"/>
                  <a:pt x="235" y="32"/>
                </a:cubicBezTo>
                <a:cubicBezTo>
                  <a:pt x="237" y="34"/>
                  <a:pt x="237" y="34"/>
                  <a:pt x="237" y="34"/>
                </a:cubicBezTo>
                <a:cubicBezTo>
                  <a:pt x="238" y="35"/>
                  <a:pt x="238" y="35"/>
                  <a:pt x="238" y="35"/>
                </a:cubicBezTo>
                <a:cubicBezTo>
                  <a:pt x="238" y="36"/>
                  <a:pt x="238" y="36"/>
                  <a:pt x="238" y="36"/>
                </a:cubicBezTo>
                <a:cubicBezTo>
                  <a:pt x="237" y="36"/>
                  <a:pt x="237" y="36"/>
                  <a:pt x="237" y="36"/>
                </a:cubicBezTo>
                <a:cubicBezTo>
                  <a:pt x="237" y="38"/>
                  <a:pt x="237" y="38"/>
                  <a:pt x="237" y="38"/>
                </a:cubicBezTo>
                <a:cubicBezTo>
                  <a:pt x="238" y="39"/>
                  <a:pt x="238" y="39"/>
                  <a:pt x="238" y="39"/>
                </a:cubicBezTo>
                <a:cubicBezTo>
                  <a:pt x="239" y="42"/>
                  <a:pt x="239" y="42"/>
                  <a:pt x="239" y="42"/>
                </a:cubicBezTo>
                <a:cubicBezTo>
                  <a:pt x="243" y="45"/>
                  <a:pt x="243" y="45"/>
                  <a:pt x="243" y="45"/>
                </a:cubicBezTo>
                <a:cubicBezTo>
                  <a:pt x="244" y="47"/>
                  <a:pt x="244" y="47"/>
                  <a:pt x="244" y="47"/>
                </a:cubicBezTo>
                <a:cubicBezTo>
                  <a:pt x="243" y="49"/>
                  <a:pt x="243" y="49"/>
                  <a:pt x="243" y="49"/>
                </a:cubicBezTo>
                <a:cubicBezTo>
                  <a:pt x="240" y="49"/>
                  <a:pt x="240" y="49"/>
                  <a:pt x="240" y="49"/>
                </a:cubicBezTo>
                <a:cubicBezTo>
                  <a:pt x="240" y="51"/>
                  <a:pt x="240" y="51"/>
                  <a:pt x="240" y="51"/>
                </a:cubicBezTo>
                <a:cubicBezTo>
                  <a:pt x="241" y="51"/>
                  <a:pt x="241" y="51"/>
                  <a:pt x="241" y="51"/>
                </a:cubicBezTo>
                <a:cubicBezTo>
                  <a:pt x="241" y="53"/>
                  <a:pt x="241" y="53"/>
                  <a:pt x="241" y="53"/>
                </a:cubicBezTo>
                <a:cubicBezTo>
                  <a:pt x="243" y="54"/>
                  <a:pt x="243" y="54"/>
                  <a:pt x="243" y="54"/>
                </a:cubicBezTo>
                <a:cubicBezTo>
                  <a:pt x="247" y="58"/>
                  <a:pt x="247" y="58"/>
                  <a:pt x="247" y="58"/>
                </a:cubicBezTo>
                <a:cubicBezTo>
                  <a:pt x="249" y="58"/>
                  <a:pt x="249" y="58"/>
                  <a:pt x="249" y="58"/>
                </a:cubicBezTo>
                <a:cubicBezTo>
                  <a:pt x="251" y="60"/>
                  <a:pt x="251" y="60"/>
                  <a:pt x="251" y="60"/>
                </a:cubicBezTo>
                <a:cubicBezTo>
                  <a:pt x="251" y="62"/>
                  <a:pt x="251" y="62"/>
                  <a:pt x="251" y="62"/>
                </a:cubicBezTo>
                <a:cubicBezTo>
                  <a:pt x="253" y="62"/>
                  <a:pt x="253" y="62"/>
                  <a:pt x="253" y="62"/>
                </a:cubicBezTo>
                <a:cubicBezTo>
                  <a:pt x="253" y="64"/>
                  <a:pt x="253" y="64"/>
                  <a:pt x="253" y="64"/>
                </a:cubicBezTo>
                <a:cubicBezTo>
                  <a:pt x="251" y="65"/>
                  <a:pt x="251" y="65"/>
                  <a:pt x="251" y="65"/>
                </a:cubicBezTo>
                <a:cubicBezTo>
                  <a:pt x="250" y="64"/>
                  <a:pt x="250" y="64"/>
                  <a:pt x="250" y="64"/>
                </a:cubicBezTo>
                <a:cubicBezTo>
                  <a:pt x="248" y="65"/>
                  <a:pt x="248" y="65"/>
                  <a:pt x="248" y="65"/>
                </a:cubicBezTo>
                <a:cubicBezTo>
                  <a:pt x="246" y="65"/>
                  <a:pt x="246" y="65"/>
                  <a:pt x="246" y="65"/>
                </a:cubicBezTo>
                <a:cubicBezTo>
                  <a:pt x="242" y="61"/>
                  <a:pt x="242" y="61"/>
                  <a:pt x="242" y="61"/>
                </a:cubicBezTo>
                <a:cubicBezTo>
                  <a:pt x="243" y="64"/>
                  <a:pt x="243" y="64"/>
                  <a:pt x="243" y="64"/>
                </a:cubicBezTo>
                <a:cubicBezTo>
                  <a:pt x="242" y="65"/>
                  <a:pt x="242" y="65"/>
                  <a:pt x="242" y="65"/>
                </a:cubicBezTo>
                <a:cubicBezTo>
                  <a:pt x="241" y="64"/>
                  <a:pt x="241" y="64"/>
                  <a:pt x="241" y="64"/>
                </a:cubicBezTo>
                <a:cubicBezTo>
                  <a:pt x="239" y="66"/>
                  <a:pt x="239" y="66"/>
                  <a:pt x="239" y="66"/>
                </a:cubicBezTo>
                <a:cubicBezTo>
                  <a:pt x="239" y="68"/>
                  <a:pt x="239" y="68"/>
                  <a:pt x="239" y="68"/>
                </a:cubicBezTo>
                <a:cubicBezTo>
                  <a:pt x="238" y="69"/>
                  <a:pt x="238" y="69"/>
                  <a:pt x="238" y="69"/>
                </a:cubicBezTo>
                <a:cubicBezTo>
                  <a:pt x="238" y="73"/>
                  <a:pt x="238" y="73"/>
                  <a:pt x="238" y="73"/>
                </a:cubicBezTo>
                <a:cubicBezTo>
                  <a:pt x="237" y="75"/>
                  <a:pt x="237" y="75"/>
                  <a:pt x="237" y="75"/>
                </a:cubicBezTo>
                <a:cubicBezTo>
                  <a:pt x="236" y="78"/>
                  <a:pt x="236" y="78"/>
                  <a:pt x="236" y="78"/>
                </a:cubicBezTo>
                <a:cubicBezTo>
                  <a:pt x="233" y="80"/>
                  <a:pt x="233" y="80"/>
                  <a:pt x="233" y="80"/>
                </a:cubicBezTo>
                <a:cubicBezTo>
                  <a:pt x="234" y="83"/>
                  <a:pt x="234" y="83"/>
                  <a:pt x="234" y="83"/>
                </a:cubicBezTo>
                <a:cubicBezTo>
                  <a:pt x="233" y="85"/>
                  <a:pt x="233" y="85"/>
                  <a:pt x="233" y="85"/>
                </a:cubicBezTo>
                <a:cubicBezTo>
                  <a:pt x="231" y="87"/>
                  <a:pt x="231" y="87"/>
                  <a:pt x="231" y="87"/>
                </a:cubicBezTo>
                <a:cubicBezTo>
                  <a:pt x="230" y="85"/>
                  <a:pt x="230" y="85"/>
                  <a:pt x="230" y="85"/>
                </a:cubicBezTo>
                <a:cubicBezTo>
                  <a:pt x="229" y="85"/>
                  <a:pt x="229" y="85"/>
                  <a:pt x="229" y="85"/>
                </a:cubicBezTo>
                <a:cubicBezTo>
                  <a:pt x="230" y="86"/>
                  <a:pt x="230" y="86"/>
                  <a:pt x="230" y="86"/>
                </a:cubicBezTo>
                <a:cubicBezTo>
                  <a:pt x="230" y="88"/>
                  <a:pt x="230" y="88"/>
                  <a:pt x="230" y="88"/>
                </a:cubicBezTo>
                <a:cubicBezTo>
                  <a:pt x="228" y="90"/>
                  <a:pt x="228" y="90"/>
                  <a:pt x="228" y="90"/>
                </a:cubicBezTo>
                <a:cubicBezTo>
                  <a:pt x="227" y="92"/>
                  <a:pt x="227" y="92"/>
                  <a:pt x="227" y="92"/>
                </a:cubicBezTo>
                <a:cubicBezTo>
                  <a:pt x="226" y="93"/>
                  <a:pt x="226" y="93"/>
                  <a:pt x="226" y="93"/>
                </a:cubicBezTo>
                <a:cubicBezTo>
                  <a:pt x="224" y="93"/>
                  <a:pt x="224" y="93"/>
                  <a:pt x="224" y="93"/>
                </a:cubicBezTo>
                <a:cubicBezTo>
                  <a:pt x="225" y="94"/>
                  <a:pt x="225" y="94"/>
                  <a:pt x="225" y="94"/>
                </a:cubicBezTo>
                <a:cubicBezTo>
                  <a:pt x="224" y="95"/>
                  <a:pt x="224" y="95"/>
                  <a:pt x="224" y="95"/>
                </a:cubicBezTo>
                <a:cubicBezTo>
                  <a:pt x="226" y="95"/>
                  <a:pt x="226" y="95"/>
                  <a:pt x="226" y="95"/>
                </a:cubicBezTo>
                <a:cubicBezTo>
                  <a:pt x="227" y="95"/>
                  <a:pt x="227" y="95"/>
                  <a:pt x="227" y="95"/>
                </a:cubicBezTo>
                <a:cubicBezTo>
                  <a:pt x="226" y="97"/>
                  <a:pt x="226" y="97"/>
                  <a:pt x="226" y="97"/>
                </a:cubicBezTo>
                <a:cubicBezTo>
                  <a:pt x="225" y="98"/>
                  <a:pt x="225" y="98"/>
                  <a:pt x="225" y="98"/>
                </a:cubicBezTo>
                <a:cubicBezTo>
                  <a:pt x="226" y="98"/>
                  <a:pt x="226" y="98"/>
                  <a:pt x="226" y="98"/>
                </a:cubicBezTo>
                <a:cubicBezTo>
                  <a:pt x="227" y="98"/>
                  <a:pt x="227" y="98"/>
                  <a:pt x="227" y="98"/>
                </a:cubicBezTo>
                <a:cubicBezTo>
                  <a:pt x="227" y="100"/>
                  <a:pt x="227" y="100"/>
                  <a:pt x="227" y="100"/>
                </a:cubicBezTo>
                <a:cubicBezTo>
                  <a:pt x="227" y="101"/>
                  <a:pt x="227" y="101"/>
                  <a:pt x="227" y="101"/>
                </a:cubicBezTo>
                <a:cubicBezTo>
                  <a:pt x="225" y="101"/>
                  <a:pt x="225" y="101"/>
                  <a:pt x="225" y="101"/>
                </a:cubicBezTo>
                <a:cubicBezTo>
                  <a:pt x="225" y="100"/>
                  <a:pt x="225" y="100"/>
                  <a:pt x="225" y="100"/>
                </a:cubicBezTo>
                <a:cubicBezTo>
                  <a:pt x="225" y="101"/>
                  <a:pt x="225" y="101"/>
                  <a:pt x="225" y="101"/>
                </a:cubicBezTo>
                <a:cubicBezTo>
                  <a:pt x="226" y="102"/>
                  <a:pt x="226" y="102"/>
                  <a:pt x="226" y="102"/>
                </a:cubicBezTo>
                <a:cubicBezTo>
                  <a:pt x="226" y="103"/>
                  <a:pt x="226" y="103"/>
                  <a:pt x="226" y="103"/>
                </a:cubicBezTo>
                <a:cubicBezTo>
                  <a:pt x="225" y="106"/>
                  <a:pt x="225" y="106"/>
                  <a:pt x="225" y="106"/>
                </a:cubicBezTo>
                <a:cubicBezTo>
                  <a:pt x="223" y="106"/>
                  <a:pt x="223" y="106"/>
                  <a:pt x="223" y="106"/>
                </a:cubicBezTo>
                <a:cubicBezTo>
                  <a:pt x="223" y="105"/>
                  <a:pt x="223" y="105"/>
                  <a:pt x="223" y="105"/>
                </a:cubicBezTo>
                <a:cubicBezTo>
                  <a:pt x="222" y="108"/>
                  <a:pt x="222" y="108"/>
                  <a:pt x="222" y="108"/>
                </a:cubicBezTo>
                <a:cubicBezTo>
                  <a:pt x="222" y="110"/>
                  <a:pt x="222" y="110"/>
                  <a:pt x="222" y="110"/>
                </a:cubicBezTo>
                <a:cubicBezTo>
                  <a:pt x="220" y="114"/>
                  <a:pt x="220" y="114"/>
                  <a:pt x="220" y="114"/>
                </a:cubicBezTo>
                <a:cubicBezTo>
                  <a:pt x="217" y="116"/>
                  <a:pt x="217" y="116"/>
                  <a:pt x="217" y="116"/>
                </a:cubicBezTo>
                <a:cubicBezTo>
                  <a:pt x="213" y="117"/>
                  <a:pt x="213" y="117"/>
                  <a:pt x="213" y="117"/>
                </a:cubicBezTo>
                <a:cubicBezTo>
                  <a:pt x="209" y="119"/>
                  <a:pt x="209" y="119"/>
                  <a:pt x="209" y="119"/>
                </a:cubicBezTo>
                <a:cubicBezTo>
                  <a:pt x="207" y="119"/>
                  <a:pt x="207" y="119"/>
                  <a:pt x="207" y="119"/>
                </a:cubicBezTo>
                <a:cubicBezTo>
                  <a:pt x="206" y="116"/>
                  <a:pt x="206" y="116"/>
                  <a:pt x="206" y="116"/>
                </a:cubicBezTo>
                <a:cubicBezTo>
                  <a:pt x="207" y="114"/>
                  <a:pt x="207" y="114"/>
                  <a:pt x="207" y="114"/>
                </a:cubicBezTo>
                <a:cubicBezTo>
                  <a:pt x="206" y="113"/>
                  <a:pt x="206" y="113"/>
                  <a:pt x="206" y="113"/>
                </a:cubicBezTo>
                <a:cubicBezTo>
                  <a:pt x="205" y="112"/>
                  <a:pt x="205" y="112"/>
                  <a:pt x="205" y="112"/>
                </a:cubicBezTo>
                <a:cubicBezTo>
                  <a:pt x="204" y="113"/>
                  <a:pt x="204" y="113"/>
                  <a:pt x="204" y="113"/>
                </a:cubicBezTo>
                <a:cubicBezTo>
                  <a:pt x="203" y="111"/>
                  <a:pt x="203" y="111"/>
                  <a:pt x="203" y="111"/>
                </a:cubicBezTo>
                <a:cubicBezTo>
                  <a:pt x="202" y="112"/>
                  <a:pt x="202" y="112"/>
                  <a:pt x="202" y="112"/>
                </a:cubicBezTo>
                <a:cubicBezTo>
                  <a:pt x="200" y="111"/>
                  <a:pt x="200" y="111"/>
                  <a:pt x="200" y="111"/>
                </a:cubicBezTo>
                <a:cubicBezTo>
                  <a:pt x="200" y="109"/>
                  <a:pt x="200" y="109"/>
                  <a:pt x="200" y="109"/>
                </a:cubicBezTo>
                <a:cubicBezTo>
                  <a:pt x="199" y="111"/>
                  <a:pt x="199" y="111"/>
                  <a:pt x="199" y="111"/>
                </a:cubicBezTo>
                <a:cubicBezTo>
                  <a:pt x="200" y="112"/>
                  <a:pt x="200" y="112"/>
                  <a:pt x="200" y="112"/>
                </a:cubicBezTo>
                <a:cubicBezTo>
                  <a:pt x="198" y="112"/>
                  <a:pt x="198" y="112"/>
                  <a:pt x="198" y="112"/>
                </a:cubicBezTo>
                <a:cubicBezTo>
                  <a:pt x="197" y="111"/>
                  <a:pt x="197" y="111"/>
                  <a:pt x="197" y="111"/>
                </a:cubicBezTo>
                <a:cubicBezTo>
                  <a:pt x="197" y="109"/>
                  <a:pt x="197" y="109"/>
                  <a:pt x="197" y="109"/>
                </a:cubicBezTo>
                <a:cubicBezTo>
                  <a:pt x="196" y="108"/>
                  <a:pt x="196" y="108"/>
                  <a:pt x="196" y="108"/>
                </a:cubicBezTo>
                <a:cubicBezTo>
                  <a:pt x="194" y="109"/>
                  <a:pt x="194" y="109"/>
                  <a:pt x="194" y="109"/>
                </a:cubicBezTo>
                <a:cubicBezTo>
                  <a:pt x="192" y="108"/>
                  <a:pt x="192" y="108"/>
                  <a:pt x="192" y="108"/>
                </a:cubicBezTo>
                <a:cubicBezTo>
                  <a:pt x="191" y="108"/>
                  <a:pt x="191" y="108"/>
                  <a:pt x="191" y="108"/>
                </a:cubicBezTo>
                <a:cubicBezTo>
                  <a:pt x="190" y="110"/>
                  <a:pt x="190" y="110"/>
                  <a:pt x="190" y="110"/>
                </a:cubicBezTo>
                <a:cubicBezTo>
                  <a:pt x="187" y="110"/>
                  <a:pt x="187" y="110"/>
                  <a:pt x="187" y="110"/>
                </a:cubicBezTo>
                <a:cubicBezTo>
                  <a:pt x="187" y="111"/>
                  <a:pt x="187" y="111"/>
                  <a:pt x="187" y="111"/>
                </a:cubicBezTo>
                <a:cubicBezTo>
                  <a:pt x="185" y="111"/>
                  <a:pt x="185" y="111"/>
                  <a:pt x="185" y="111"/>
                </a:cubicBezTo>
                <a:cubicBezTo>
                  <a:pt x="184" y="110"/>
                  <a:pt x="184" y="110"/>
                  <a:pt x="184" y="110"/>
                </a:cubicBezTo>
                <a:cubicBezTo>
                  <a:pt x="183" y="111"/>
                  <a:pt x="183" y="111"/>
                  <a:pt x="183" y="111"/>
                </a:cubicBezTo>
                <a:cubicBezTo>
                  <a:pt x="180" y="114"/>
                  <a:pt x="180" y="114"/>
                  <a:pt x="180" y="114"/>
                </a:cubicBezTo>
                <a:cubicBezTo>
                  <a:pt x="179" y="114"/>
                  <a:pt x="179" y="114"/>
                  <a:pt x="179" y="114"/>
                </a:cubicBezTo>
                <a:cubicBezTo>
                  <a:pt x="179" y="112"/>
                  <a:pt x="179" y="112"/>
                  <a:pt x="179" y="112"/>
                </a:cubicBezTo>
                <a:cubicBezTo>
                  <a:pt x="179" y="108"/>
                  <a:pt x="179" y="108"/>
                  <a:pt x="179" y="108"/>
                </a:cubicBezTo>
                <a:cubicBezTo>
                  <a:pt x="178" y="106"/>
                  <a:pt x="178" y="106"/>
                  <a:pt x="178" y="106"/>
                </a:cubicBezTo>
                <a:cubicBezTo>
                  <a:pt x="178" y="104"/>
                  <a:pt x="178" y="104"/>
                  <a:pt x="178" y="104"/>
                </a:cubicBezTo>
                <a:cubicBezTo>
                  <a:pt x="177" y="103"/>
                  <a:pt x="177" y="103"/>
                  <a:pt x="177" y="103"/>
                </a:cubicBezTo>
                <a:cubicBezTo>
                  <a:pt x="178" y="104"/>
                  <a:pt x="178" y="104"/>
                  <a:pt x="178" y="104"/>
                </a:cubicBezTo>
                <a:cubicBezTo>
                  <a:pt x="177" y="106"/>
                  <a:pt x="177" y="106"/>
                  <a:pt x="177" y="106"/>
                </a:cubicBezTo>
                <a:cubicBezTo>
                  <a:pt x="175" y="107"/>
                  <a:pt x="175" y="107"/>
                  <a:pt x="175" y="107"/>
                </a:cubicBezTo>
                <a:cubicBezTo>
                  <a:pt x="174" y="106"/>
                  <a:pt x="174" y="106"/>
                  <a:pt x="174" y="106"/>
                </a:cubicBezTo>
                <a:cubicBezTo>
                  <a:pt x="172" y="107"/>
                  <a:pt x="172" y="107"/>
                  <a:pt x="172" y="107"/>
                </a:cubicBezTo>
                <a:cubicBezTo>
                  <a:pt x="170" y="107"/>
                  <a:pt x="170" y="107"/>
                  <a:pt x="170" y="107"/>
                </a:cubicBezTo>
                <a:cubicBezTo>
                  <a:pt x="168" y="107"/>
                  <a:pt x="168" y="107"/>
                  <a:pt x="168" y="107"/>
                </a:cubicBezTo>
                <a:cubicBezTo>
                  <a:pt x="166" y="106"/>
                  <a:pt x="166" y="106"/>
                  <a:pt x="166" y="106"/>
                </a:cubicBezTo>
                <a:cubicBezTo>
                  <a:pt x="165" y="105"/>
                  <a:pt x="165" y="105"/>
                  <a:pt x="165" y="105"/>
                </a:cubicBezTo>
                <a:cubicBezTo>
                  <a:pt x="163" y="107"/>
                  <a:pt x="163" y="107"/>
                  <a:pt x="163" y="107"/>
                </a:cubicBezTo>
                <a:cubicBezTo>
                  <a:pt x="162" y="107"/>
                  <a:pt x="162" y="107"/>
                  <a:pt x="162" y="107"/>
                </a:cubicBezTo>
                <a:cubicBezTo>
                  <a:pt x="161" y="104"/>
                  <a:pt x="161" y="104"/>
                  <a:pt x="161" y="104"/>
                </a:cubicBezTo>
                <a:cubicBezTo>
                  <a:pt x="161" y="101"/>
                  <a:pt x="161" y="101"/>
                  <a:pt x="161" y="101"/>
                </a:cubicBezTo>
                <a:cubicBezTo>
                  <a:pt x="160" y="96"/>
                  <a:pt x="160" y="96"/>
                  <a:pt x="160" y="96"/>
                </a:cubicBezTo>
                <a:cubicBezTo>
                  <a:pt x="158" y="95"/>
                  <a:pt x="158" y="95"/>
                  <a:pt x="158" y="95"/>
                </a:cubicBezTo>
                <a:cubicBezTo>
                  <a:pt x="158" y="94"/>
                  <a:pt x="158" y="94"/>
                  <a:pt x="158" y="94"/>
                </a:cubicBezTo>
                <a:cubicBezTo>
                  <a:pt x="159" y="92"/>
                  <a:pt x="159" y="92"/>
                  <a:pt x="159" y="92"/>
                </a:cubicBezTo>
                <a:cubicBezTo>
                  <a:pt x="161" y="90"/>
                  <a:pt x="161" y="90"/>
                  <a:pt x="161" y="90"/>
                </a:cubicBezTo>
                <a:cubicBezTo>
                  <a:pt x="160" y="88"/>
                  <a:pt x="160" y="88"/>
                  <a:pt x="160" y="88"/>
                </a:cubicBezTo>
                <a:cubicBezTo>
                  <a:pt x="159" y="86"/>
                  <a:pt x="159" y="86"/>
                  <a:pt x="159" y="86"/>
                </a:cubicBezTo>
                <a:cubicBezTo>
                  <a:pt x="156" y="83"/>
                  <a:pt x="156" y="83"/>
                  <a:pt x="156" y="83"/>
                </a:cubicBezTo>
                <a:cubicBezTo>
                  <a:pt x="154" y="82"/>
                  <a:pt x="154" y="82"/>
                  <a:pt x="154" y="82"/>
                </a:cubicBezTo>
                <a:cubicBezTo>
                  <a:pt x="151" y="81"/>
                  <a:pt x="151" y="81"/>
                  <a:pt x="151" y="81"/>
                </a:cubicBezTo>
                <a:cubicBezTo>
                  <a:pt x="151" y="80"/>
                  <a:pt x="151" y="80"/>
                  <a:pt x="151" y="80"/>
                </a:cubicBezTo>
                <a:cubicBezTo>
                  <a:pt x="153" y="80"/>
                  <a:pt x="153" y="80"/>
                  <a:pt x="153" y="80"/>
                </a:cubicBezTo>
                <a:cubicBezTo>
                  <a:pt x="155" y="79"/>
                  <a:pt x="155" y="79"/>
                  <a:pt x="155" y="79"/>
                </a:cubicBezTo>
                <a:cubicBezTo>
                  <a:pt x="158" y="78"/>
                  <a:pt x="158" y="78"/>
                  <a:pt x="158" y="78"/>
                </a:cubicBezTo>
                <a:cubicBezTo>
                  <a:pt x="161" y="76"/>
                  <a:pt x="161" y="76"/>
                  <a:pt x="161" y="76"/>
                </a:cubicBezTo>
                <a:cubicBezTo>
                  <a:pt x="163" y="76"/>
                  <a:pt x="163" y="76"/>
                  <a:pt x="163" y="76"/>
                </a:cubicBezTo>
                <a:cubicBezTo>
                  <a:pt x="161" y="76"/>
                  <a:pt x="161" y="76"/>
                  <a:pt x="161" y="76"/>
                </a:cubicBezTo>
                <a:cubicBezTo>
                  <a:pt x="158" y="77"/>
                  <a:pt x="158" y="77"/>
                  <a:pt x="158" y="77"/>
                </a:cubicBezTo>
                <a:cubicBezTo>
                  <a:pt x="155" y="78"/>
                  <a:pt x="155" y="78"/>
                  <a:pt x="155" y="78"/>
                </a:cubicBezTo>
                <a:cubicBezTo>
                  <a:pt x="153" y="78"/>
                  <a:pt x="153" y="78"/>
                  <a:pt x="153" y="78"/>
                </a:cubicBezTo>
                <a:cubicBezTo>
                  <a:pt x="151" y="77"/>
                  <a:pt x="151" y="77"/>
                  <a:pt x="151" y="77"/>
                </a:cubicBezTo>
                <a:cubicBezTo>
                  <a:pt x="150" y="75"/>
                  <a:pt x="150" y="75"/>
                  <a:pt x="150" y="75"/>
                </a:cubicBezTo>
                <a:cubicBezTo>
                  <a:pt x="151" y="74"/>
                  <a:pt x="151" y="74"/>
                  <a:pt x="151" y="74"/>
                </a:cubicBezTo>
                <a:cubicBezTo>
                  <a:pt x="152" y="75"/>
                  <a:pt x="152" y="75"/>
                  <a:pt x="152" y="75"/>
                </a:cubicBezTo>
                <a:cubicBezTo>
                  <a:pt x="151" y="73"/>
                  <a:pt x="151" y="73"/>
                  <a:pt x="151" y="73"/>
                </a:cubicBezTo>
                <a:cubicBezTo>
                  <a:pt x="148" y="69"/>
                  <a:pt x="148" y="69"/>
                  <a:pt x="148" y="69"/>
                </a:cubicBezTo>
                <a:cubicBezTo>
                  <a:pt x="147" y="65"/>
                  <a:pt x="147" y="65"/>
                  <a:pt x="147" y="65"/>
                </a:cubicBezTo>
                <a:cubicBezTo>
                  <a:pt x="149" y="64"/>
                  <a:pt x="149" y="64"/>
                  <a:pt x="149" y="64"/>
                </a:cubicBezTo>
                <a:cubicBezTo>
                  <a:pt x="149" y="63"/>
                  <a:pt x="149" y="63"/>
                  <a:pt x="149" y="63"/>
                </a:cubicBezTo>
                <a:cubicBezTo>
                  <a:pt x="149" y="62"/>
                  <a:pt x="149" y="62"/>
                  <a:pt x="149" y="62"/>
                </a:cubicBezTo>
                <a:cubicBezTo>
                  <a:pt x="149" y="60"/>
                  <a:pt x="149" y="60"/>
                  <a:pt x="149" y="60"/>
                </a:cubicBezTo>
                <a:close/>
                <a:moveTo>
                  <a:pt x="425" y="83"/>
                </a:moveTo>
                <a:cubicBezTo>
                  <a:pt x="423" y="84"/>
                  <a:pt x="423" y="84"/>
                  <a:pt x="423" y="84"/>
                </a:cubicBezTo>
                <a:cubicBezTo>
                  <a:pt x="424" y="85"/>
                  <a:pt x="424" y="85"/>
                  <a:pt x="424" y="85"/>
                </a:cubicBezTo>
                <a:cubicBezTo>
                  <a:pt x="426" y="85"/>
                  <a:pt x="426" y="85"/>
                  <a:pt x="426" y="85"/>
                </a:cubicBezTo>
                <a:cubicBezTo>
                  <a:pt x="425" y="83"/>
                  <a:pt x="425" y="83"/>
                  <a:pt x="425" y="83"/>
                </a:cubicBezTo>
                <a:close/>
                <a:moveTo>
                  <a:pt x="429" y="90"/>
                </a:moveTo>
                <a:cubicBezTo>
                  <a:pt x="426" y="90"/>
                  <a:pt x="426" y="90"/>
                  <a:pt x="426" y="90"/>
                </a:cubicBezTo>
                <a:cubicBezTo>
                  <a:pt x="428" y="91"/>
                  <a:pt x="428" y="91"/>
                  <a:pt x="428" y="91"/>
                </a:cubicBezTo>
                <a:cubicBezTo>
                  <a:pt x="429" y="90"/>
                  <a:pt x="429" y="90"/>
                  <a:pt x="429" y="90"/>
                </a:cubicBezTo>
                <a:close/>
                <a:moveTo>
                  <a:pt x="431" y="91"/>
                </a:moveTo>
                <a:cubicBezTo>
                  <a:pt x="431" y="91"/>
                  <a:pt x="432" y="91"/>
                  <a:pt x="432" y="91"/>
                </a:cubicBezTo>
                <a:cubicBezTo>
                  <a:pt x="435" y="93"/>
                  <a:pt x="435" y="93"/>
                  <a:pt x="435" y="93"/>
                </a:cubicBezTo>
                <a:cubicBezTo>
                  <a:pt x="440" y="94"/>
                  <a:pt x="440" y="94"/>
                  <a:pt x="440" y="94"/>
                </a:cubicBezTo>
                <a:cubicBezTo>
                  <a:pt x="444" y="93"/>
                  <a:pt x="444" y="93"/>
                  <a:pt x="444" y="93"/>
                </a:cubicBezTo>
                <a:cubicBezTo>
                  <a:pt x="446" y="92"/>
                  <a:pt x="446" y="92"/>
                  <a:pt x="446" y="92"/>
                </a:cubicBezTo>
                <a:cubicBezTo>
                  <a:pt x="442" y="91"/>
                  <a:pt x="442" y="91"/>
                  <a:pt x="442" y="91"/>
                </a:cubicBezTo>
                <a:cubicBezTo>
                  <a:pt x="440" y="92"/>
                  <a:pt x="440" y="92"/>
                  <a:pt x="440" y="92"/>
                </a:cubicBezTo>
                <a:cubicBezTo>
                  <a:pt x="437" y="91"/>
                  <a:pt x="437" y="91"/>
                  <a:pt x="437" y="91"/>
                </a:cubicBezTo>
                <a:cubicBezTo>
                  <a:pt x="435" y="92"/>
                  <a:pt x="435" y="92"/>
                  <a:pt x="435" y="92"/>
                </a:cubicBezTo>
                <a:cubicBezTo>
                  <a:pt x="431" y="91"/>
                  <a:pt x="431" y="91"/>
                  <a:pt x="431" y="91"/>
                </a:cubicBezTo>
                <a:close/>
                <a:moveTo>
                  <a:pt x="431" y="80"/>
                </a:moveTo>
                <a:cubicBezTo>
                  <a:pt x="433" y="82"/>
                  <a:pt x="433" y="82"/>
                  <a:pt x="433" y="82"/>
                </a:cubicBezTo>
                <a:cubicBezTo>
                  <a:pt x="433" y="81"/>
                  <a:pt x="433" y="81"/>
                  <a:pt x="433" y="81"/>
                </a:cubicBezTo>
                <a:cubicBezTo>
                  <a:pt x="434" y="81"/>
                  <a:pt x="434" y="81"/>
                  <a:pt x="434" y="81"/>
                </a:cubicBezTo>
                <a:cubicBezTo>
                  <a:pt x="435" y="84"/>
                  <a:pt x="435" y="84"/>
                  <a:pt x="435" y="84"/>
                </a:cubicBezTo>
                <a:cubicBezTo>
                  <a:pt x="435" y="85"/>
                  <a:pt x="435" y="85"/>
                  <a:pt x="435" y="85"/>
                </a:cubicBezTo>
                <a:cubicBezTo>
                  <a:pt x="437" y="85"/>
                  <a:pt x="437" y="85"/>
                  <a:pt x="437" y="85"/>
                </a:cubicBezTo>
                <a:cubicBezTo>
                  <a:pt x="437" y="85"/>
                  <a:pt x="437" y="85"/>
                  <a:pt x="437" y="85"/>
                </a:cubicBezTo>
                <a:cubicBezTo>
                  <a:pt x="438" y="86"/>
                  <a:pt x="438" y="86"/>
                  <a:pt x="438" y="86"/>
                </a:cubicBezTo>
                <a:cubicBezTo>
                  <a:pt x="441" y="85"/>
                  <a:pt x="441" y="85"/>
                  <a:pt x="441" y="85"/>
                </a:cubicBezTo>
                <a:cubicBezTo>
                  <a:pt x="440" y="84"/>
                  <a:pt x="440" y="84"/>
                  <a:pt x="440" y="84"/>
                </a:cubicBezTo>
                <a:cubicBezTo>
                  <a:pt x="438" y="84"/>
                  <a:pt x="438" y="84"/>
                  <a:pt x="438" y="84"/>
                </a:cubicBezTo>
                <a:cubicBezTo>
                  <a:pt x="437" y="81"/>
                  <a:pt x="437" y="81"/>
                  <a:pt x="437" y="81"/>
                </a:cubicBezTo>
                <a:cubicBezTo>
                  <a:pt x="435" y="80"/>
                  <a:pt x="435" y="80"/>
                  <a:pt x="435" y="80"/>
                </a:cubicBezTo>
                <a:cubicBezTo>
                  <a:pt x="433" y="80"/>
                  <a:pt x="433" y="80"/>
                  <a:pt x="433" y="80"/>
                </a:cubicBezTo>
                <a:cubicBezTo>
                  <a:pt x="430" y="80"/>
                  <a:pt x="430" y="80"/>
                  <a:pt x="430" y="80"/>
                </a:cubicBezTo>
                <a:cubicBezTo>
                  <a:pt x="431" y="80"/>
                  <a:pt x="431" y="80"/>
                  <a:pt x="431" y="80"/>
                </a:cubicBezTo>
                <a:close/>
                <a:moveTo>
                  <a:pt x="400" y="134"/>
                </a:moveTo>
                <a:cubicBezTo>
                  <a:pt x="401" y="136"/>
                  <a:pt x="401" y="136"/>
                  <a:pt x="401" y="136"/>
                </a:cubicBezTo>
                <a:cubicBezTo>
                  <a:pt x="401" y="137"/>
                  <a:pt x="401" y="137"/>
                  <a:pt x="401" y="137"/>
                </a:cubicBezTo>
                <a:cubicBezTo>
                  <a:pt x="401" y="138"/>
                  <a:pt x="401" y="138"/>
                  <a:pt x="401" y="138"/>
                </a:cubicBezTo>
                <a:cubicBezTo>
                  <a:pt x="401" y="136"/>
                  <a:pt x="401" y="136"/>
                  <a:pt x="401" y="136"/>
                </a:cubicBezTo>
                <a:cubicBezTo>
                  <a:pt x="400" y="134"/>
                  <a:pt x="400" y="134"/>
                  <a:pt x="400" y="134"/>
                </a:cubicBezTo>
                <a:close/>
                <a:moveTo>
                  <a:pt x="406" y="132"/>
                </a:moveTo>
                <a:cubicBezTo>
                  <a:pt x="404" y="133"/>
                  <a:pt x="404" y="133"/>
                  <a:pt x="404" y="133"/>
                </a:cubicBezTo>
                <a:cubicBezTo>
                  <a:pt x="403" y="137"/>
                  <a:pt x="403" y="137"/>
                  <a:pt x="403" y="137"/>
                </a:cubicBezTo>
                <a:cubicBezTo>
                  <a:pt x="402" y="138"/>
                  <a:pt x="402" y="138"/>
                  <a:pt x="402" y="138"/>
                </a:cubicBezTo>
                <a:cubicBezTo>
                  <a:pt x="403" y="138"/>
                  <a:pt x="403" y="138"/>
                  <a:pt x="403" y="138"/>
                </a:cubicBezTo>
                <a:cubicBezTo>
                  <a:pt x="405" y="134"/>
                  <a:pt x="405" y="134"/>
                  <a:pt x="405" y="134"/>
                </a:cubicBezTo>
                <a:cubicBezTo>
                  <a:pt x="406" y="132"/>
                  <a:pt x="406" y="132"/>
                  <a:pt x="406" y="132"/>
                </a:cubicBezTo>
                <a:close/>
                <a:moveTo>
                  <a:pt x="422" y="146"/>
                </a:moveTo>
                <a:cubicBezTo>
                  <a:pt x="422" y="147"/>
                  <a:pt x="422" y="147"/>
                  <a:pt x="422" y="147"/>
                </a:cubicBezTo>
                <a:cubicBezTo>
                  <a:pt x="422" y="147"/>
                  <a:pt x="422" y="147"/>
                  <a:pt x="422" y="147"/>
                </a:cubicBezTo>
                <a:cubicBezTo>
                  <a:pt x="423" y="147"/>
                  <a:pt x="423" y="147"/>
                  <a:pt x="423" y="147"/>
                </a:cubicBezTo>
                <a:cubicBezTo>
                  <a:pt x="422" y="146"/>
                  <a:pt x="422" y="146"/>
                  <a:pt x="422" y="146"/>
                </a:cubicBezTo>
                <a:close/>
                <a:moveTo>
                  <a:pt x="416" y="142"/>
                </a:moveTo>
                <a:cubicBezTo>
                  <a:pt x="415" y="141"/>
                  <a:pt x="415" y="141"/>
                  <a:pt x="415" y="141"/>
                </a:cubicBezTo>
                <a:cubicBezTo>
                  <a:pt x="416" y="142"/>
                  <a:pt x="416" y="142"/>
                  <a:pt x="416" y="142"/>
                </a:cubicBezTo>
                <a:cubicBezTo>
                  <a:pt x="416" y="145"/>
                  <a:pt x="416" y="145"/>
                  <a:pt x="416" y="145"/>
                </a:cubicBezTo>
                <a:cubicBezTo>
                  <a:pt x="416" y="145"/>
                  <a:pt x="416" y="145"/>
                  <a:pt x="416" y="145"/>
                </a:cubicBezTo>
                <a:cubicBezTo>
                  <a:pt x="417" y="147"/>
                  <a:pt x="417" y="147"/>
                  <a:pt x="417" y="147"/>
                </a:cubicBezTo>
                <a:cubicBezTo>
                  <a:pt x="416" y="146"/>
                  <a:pt x="416" y="146"/>
                  <a:pt x="416" y="146"/>
                </a:cubicBezTo>
                <a:cubicBezTo>
                  <a:pt x="415" y="146"/>
                  <a:pt x="415" y="146"/>
                  <a:pt x="415" y="146"/>
                </a:cubicBezTo>
                <a:cubicBezTo>
                  <a:pt x="415" y="148"/>
                  <a:pt x="415" y="148"/>
                  <a:pt x="415" y="148"/>
                </a:cubicBezTo>
                <a:cubicBezTo>
                  <a:pt x="416" y="149"/>
                  <a:pt x="416" y="149"/>
                  <a:pt x="416" y="149"/>
                </a:cubicBezTo>
                <a:cubicBezTo>
                  <a:pt x="417" y="149"/>
                  <a:pt x="417" y="149"/>
                  <a:pt x="417" y="149"/>
                </a:cubicBezTo>
                <a:cubicBezTo>
                  <a:pt x="419" y="147"/>
                  <a:pt x="419" y="147"/>
                  <a:pt x="419" y="147"/>
                </a:cubicBezTo>
                <a:cubicBezTo>
                  <a:pt x="420" y="146"/>
                  <a:pt x="420" y="146"/>
                  <a:pt x="420" y="146"/>
                </a:cubicBezTo>
                <a:cubicBezTo>
                  <a:pt x="419" y="145"/>
                  <a:pt x="419" y="145"/>
                  <a:pt x="419" y="145"/>
                </a:cubicBezTo>
                <a:cubicBezTo>
                  <a:pt x="418" y="144"/>
                  <a:pt x="418" y="144"/>
                  <a:pt x="418" y="144"/>
                </a:cubicBezTo>
                <a:cubicBezTo>
                  <a:pt x="416" y="142"/>
                  <a:pt x="416" y="142"/>
                  <a:pt x="416" y="142"/>
                </a:cubicBezTo>
                <a:close/>
                <a:moveTo>
                  <a:pt x="420" y="143"/>
                </a:moveTo>
                <a:cubicBezTo>
                  <a:pt x="420" y="143"/>
                  <a:pt x="419" y="143"/>
                  <a:pt x="419" y="143"/>
                </a:cubicBezTo>
                <a:cubicBezTo>
                  <a:pt x="419" y="144"/>
                  <a:pt x="419" y="144"/>
                  <a:pt x="419" y="144"/>
                </a:cubicBezTo>
                <a:cubicBezTo>
                  <a:pt x="420" y="145"/>
                  <a:pt x="420" y="145"/>
                  <a:pt x="420" y="145"/>
                </a:cubicBezTo>
                <a:cubicBezTo>
                  <a:pt x="421" y="145"/>
                  <a:pt x="421" y="145"/>
                  <a:pt x="421" y="145"/>
                </a:cubicBezTo>
                <a:cubicBezTo>
                  <a:pt x="421" y="144"/>
                  <a:pt x="421" y="144"/>
                  <a:pt x="421" y="144"/>
                </a:cubicBezTo>
                <a:cubicBezTo>
                  <a:pt x="420" y="143"/>
                  <a:pt x="420" y="143"/>
                  <a:pt x="420" y="143"/>
                </a:cubicBezTo>
                <a:close/>
                <a:moveTo>
                  <a:pt x="417" y="140"/>
                </a:moveTo>
                <a:cubicBezTo>
                  <a:pt x="416" y="139"/>
                  <a:pt x="416" y="139"/>
                  <a:pt x="416" y="139"/>
                </a:cubicBezTo>
                <a:cubicBezTo>
                  <a:pt x="416" y="140"/>
                  <a:pt x="416" y="140"/>
                  <a:pt x="416" y="140"/>
                </a:cubicBezTo>
                <a:cubicBezTo>
                  <a:pt x="417" y="142"/>
                  <a:pt x="417" y="142"/>
                  <a:pt x="417" y="142"/>
                </a:cubicBezTo>
                <a:cubicBezTo>
                  <a:pt x="419" y="143"/>
                  <a:pt x="419" y="143"/>
                  <a:pt x="419" y="143"/>
                </a:cubicBezTo>
                <a:cubicBezTo>
                  <a:pt x="419" y="143"/>
                  <a:pt x="419" y="143"/>
                  <a:pt x="419" y="143"/>
                </a:cubicBezTo>
                <a:cubicBezTo>
                  <a:pt x="417" y="141"/>
                  <a:pt x="417" y="141"/>
                  <a:pt x="417" y="141"/>
                </a:cubicBezTo>
                <a:cubicBezTo>
                  <a:pt x="417" y="140"/>
                  <a:pt x="417" y="140"/>
                  <a:pt x="417" y="140"/>
                </a:cubicBezTo>
                <a:close/>
                <a:moveTo>
                  <a:pt x="421" y="138"/>
                </a:moveTo>
                <a:cubicBezTo>
                  <a:pt x="419" y="139"/>
                  <a:pt x="419" y="139"/>
                  <a:pt x="419" y="139"/>
                </a:cubicBezTo>
                <a:cubicBezTo>
                  <a:pt x="418" y="140"/>
                  <a:pt x="418" y="140"/>
                  <a:pt x="418" y="140"/>
                </a:cubicBezTo>
                <a:cubicBezTo>
                  <a:pt x="418" y="141"/>
                  <a:pt x="418" y="141"/>
                  <a:pt x="418" y="141"/>
                </a:cubicBezTo>
                <a:cubicBezTo>
                  <a:pt x="420" y="142"/>
                  <a:pt x="420" y="142"/>
                  <a:pt x="420" y="142"/>
                </a:cubicBezTo>
                <a:cubicBezTo>
                  <a:pt x="421" y="143"/>
                  <a:pt x="421" y="143"/>
                  <a:pt x="421" y="143"/>
                </a:cubicBezTo>
                <a:cubicBezTo>
                  <a:pt x="422" y="141"/>
                  <a:pt x="422" y="141"/>
                  <a:pt x="422" y="141"/>
                </a:cubicBezTo>
                <a:cubicBezTo>
                  <a:pt x="422" y="140"/>
                  <a:pt x="422" y="140"/>
                  <a:pt x="422" y="140"/>
                </a:cubicBezTo>
                <a:cubicBezTo>
                  <a:pt x="422" y="140"/>
                  <a:pt x="422" y="140"/>
                  <a:pt x="422" y="140"/>
                </a:cubicBezTo>
                <a:cubicBezTo>
                  <a:pt x="422" y="139"/>
                  <a:pt x="422" y="139"/>
                  <a:pt x="422" y="139"/>
                </a:cubicBezTo>
                <a:cubicBezTo>
                  <a:pt x="422" y="138"/>
                  <a:pt x="422" y="138"/>
                  <a:pt x="422" y="138"/>
                </a:cubicBezTo>
                <a:cubicBezTo>
                  <a:pt x="421" y="138"/>
                  <a:pt x="421" y="138"/>
                  <a:pt x="421" y="138"/>
                </a:cubicBezTo>
                <a:close/>
                <a:moveTo>
                  <a:pt x="417" y="136"/>
                </a:moveTo>
                <a:cubicBezTo>
                  <a:pt x="416" y="136"/>
                  <a:pt x="416" y="136"/>
                  <a:pt x="416" y="136"/>
                </a:cubicBezTo>
                <a:cubicBezTo>
                  <a:pt x="416" y="137"/>
                  <a:pt x="416" y="137"/>
                  <a:pt x="416" y="137"/>
                </a:cubicBezTo>
                <a:cubicBezTo>
                  <a:pt x="417" y="136"/>
                  <a:pt x="417" y="136"/>
                  <a:pt x="417" y="136"/>
                </a:cubicBezTo>
                <a:cubicBezTo>
                  <a:pt x="417" y="136"/>
                  <a:pt x="417" y="136"/>
                  <a:pt x="417" y="136"/>
                </a:cubicBezTo>
                <a:close/>
                <a:moveTo>
                  <a:pt x="420" y="133"/>
                </a:moveTo>
                <a:cubicBezTo>
                  <a:pt x="421" y="134"/>
                  <a:pt x="421" y="134"/>
                  <a:pt x="421" y="134"/>
                </a:cubicBezTo>
                <a:cubicBezTo>
                  <a:pt x="422" y="134"/>
                  <a:pt x="422" y="134"/>
                  <a:pt x="422" y="134"/>
                </a:cubicBezTo>
                <a:cubicBezTo>
                  <a:pt x="421" y="133"/>
                  <a:pt x="421" y="133"/>
                  <a:pt x="421" y="133"/>
                </a:cubicBezTo>
                <a:cubicBezTo>
                  <a:pt x="420" y="133"/>
                  <a:pt x="420" y="133"/>
                  <a:pt x="420" y="133"/>
                </a:cubicBezTo>
                <a:close/>
                <a:moveTo>
                  <a:pt x="420" y="133"/>
                </a:moveTo>
                <a:cubicBezTo>
                  <a:pt x="419" y="133"/>
                  <a:pt x="419" y="133"/>
                  <a:pt x="419" y="133"/>
                </a:cubicBezTo>
                <a:cubicBezTo>
                  <a:pt x="418" y="135"/>
                  <a:pt x="418" y="135"/>
                  <a:pt x="418" y="135"/>
                </a:cubicBezTo>
                <a:cubicBezTo>
                  <a:pt x="417" y="135"/>
                  <a:pt x="417" y="135"/>
                  <a:pt x="417" y="135"/>
                </a:cubicBezTo>
                <a:cubicBezTo>
                  <a:pt x="418" y="135"/>
                  <a:pt x="418" y="135"/>
                  <a:pt x="418" y="135"/>
                </a:cubicBezTo>
                <a:cubicBezTo>
                  <a:pt x="418" y="136"/>
                  <a:pt x="418" y="136"/>
                  <a:pt x="418" y="136"/>
                </a:cubicBezTo>
                <a:cubicBezTo>
                  <a:pt x="419" y="136"/>
                  <a:pt x="419" y="136"/>
                  <a:pt x="419" y="136"/>
                </a:cubicBezTo>
                <a:cubicBezTo>
                  <a:pt x="418" y="137"/>
                  <a:pt x="418" y="137"/>
                  <a:pt x="418" y="137"/>
                </a:cubicBezTo>
                <a:cubicBezTo>
                  <a:pt x="418" y="138"/>
                  <a:pt x="418" y="138"/>
                  <a:pt x="418" y="138"/>
                </a:cubicBezTo>
                <a:cubicBezTo>
                  <a:pt x="419" y="138"/>
                  <a:pt x="419" y="138"/>
                  <a:pt x="419" y="138"/>
                </a:cubicBezTo>
                <a:cubicBezTo>
                  <a:pt x="420" y="137"/>
                  <a:pt x="420" y="137"/>
                  <a:pt x="420" y="137"/>
                </a:cubicBezTo>
                <a:cubicBezTo>
                  <a:pt x="422" y="137"/>
                  <a:pt x="422" y="137"/>
                  <a:pt x="422" y="137"/>
                </a:cubicBezTo>
                <a:cubicBezTo>
                  <a:pt x="422" y="136"/>
                  <a:pt x="422" y="136"/>
                  <a:pt x="422" y="136"/>
                </a:cubicBezTo>
                <a:cubicBezTo>
                  <a:pt x="422" y="134"/>
                  <a:pt x="422" y="134"/>
                  <a:pt x="422" y="134"/>
                </a:cubicBezTo>
                <a:cubicBezTo>
                  <a:pt x="421" y="134"/>
                  <a:pt x="421" y="134"/>
                  <a:pt x="421" y="134"/>
                </a:cubicBezTo>
                <a:cubicBezTo>
                  <a:pt x="420" y="133"/>
                  <a:pt x="420" y="133"/>
                  <a:pt x="420" y="133"/>
                </a:cubicBezTo>
                <a:close/>
                <a:moveTo>
                  <a:pt x="392" y="150"/>
                </a:moveTo>
                <a:cubicBezTo>
                  <a:pt x="394" y="149"/>
                  <a:pt x="394" y="149"/>
                  <a:pt x="394" y="149"/>
                </a:cubicBezTo>
                <a:cubicBezTo>
                  <a:pt x="393" y="149"/>
                  <a:pt x="393" y="149"/>
                  <a:pt x="393" y="149"/>
                </a:cubicBezTo>
                <a:cubicBezTo>
                  <a:pt x="392" y="150"/>
                  <a:pt x="392" y="150"/>
                  <a:pt x="392" y="150"/>
                </a:cubicBezTo>
                <a:close/>
                <a:moveTo>
                  <a:pt x="390" y="151"/>
                </a:moveTo>
                <a:cubicBezTo>
                  <a:pt x="393" y="152"/>
                  <a:pt x="393" y="152"/>
                  <a:pt x="393" y="152"/>
                </a:cubicBezTo>
                <a:cubicBezTo>
                  <a:pt x="392" y="151"/>
                  <a:pt x="392" y="151"/>
                  <a:pt x="392" y="151"/>
                </a:cubicBezTo>
                <a:cubicBezTo>
                  <a:pt x="390" y="151"/>
                  <a:pt x="390" y="151"/>
                  <a:pt x="390" y="151"/>
                </a:cubicBezTo>
                <a:close/>
                <a:moveTo>
                  <a:pt x="381" y="156"/>
                </a:moveTo>
                <a:cubicBezTo>
                  <a:pt x="380" y="156"/>
                  <a:pt x="380" y="156"/>
                  <a:pt x="380" y="156"/>
                </a:cubicBezTo>
                <a:cubicBezTo>
                  <a:pt x="381" y="156"/>
                  <a:pt x="381" y="156"/>
                  <a:pt x="381" y="156"/>
                </a:cubicBezTo>
                <a:cubicBezTo>
                  <a:pt x="381" y="156"/>
                  <a:pt x="381" y="155"/>
                  <a:pt x="381" y="156"/>
                </a:cubicBezTo>
                <a:close/>
                <a:moveTo>
                  <a:pt x="384" y="154"/>
                </a:moveTo>
                <a:cubicBezTo>
                  <a:pt x="381" y="155"/>
                  <a:pt x="381" y="155"/>
                  <a:pt x="381" y="155"/>
                </a:cubicBezTo>
                <a:cubicBezTo>
                  <a:pt x="382" y="155"/>
                  <a:pt x="382" y="155"/>
                  <a:pt x="382" y="155"/>
                </a:cubicBezTo>
                <a:cubicBezTo>
                  <a:pt x="383" y="155"/>
                  <a:pt x="383" y="155"/>
                  <a:pt x="383" y="155"/>
                </a:cubicBezTo>
                <a:cubicBezTo>
                  <a:pt x="384" y="154"/>
                  <a:pt x="384" y="154"/>
                  <a:pt x="384" y="154"/>
                </a:cubicBezTo>
                <a:close/>
                <a:moveTo>
                  <a:pt x="384" y="162"/>
                </a:moveTo>
                <a:cubicBezTo>
                  <a:pt x="383" y="162"/>
                  <a:pt x="383" y="162"/>
                  <a:pt x="383" y="162"/>
                </a:cubicBezTo>
                <a:cubicBezTo>
                  <a:pt x="381" y="163"/>
                  <a:pt x="381" y="163"/>
                  <a:pt x="381" y="163"/>
                </a:cubicBezTo>
                <a:cubicBezTo>
                  <a:pt x="380" y="164"/>
                  <a:pt x="380" y="164"/>
                  <a:pt x="380" y="164"/>
                </a:cubicBezTo>
                <a:cubicBezTo>
                  <a:pt x="382" y="164"/>
                  <a:pt x="382" y="164"/>
                  <a:pt x="382" y="164"/>
                </a:cubicBezTo>
                <a:cubicBezTo>
                  <a:pt x="383" y="163"/>
                  <a:pt x="383" y="163"/>
                  <a:pt x="383" y="163"/>
                </a:cubicBezTo>
                <a:cubicBezTo>
                  <a:pt x="384" y="162"/>
                  <a:pt x="384" y="162"/>
                  <a:pt x="384" y="162"/>
                </a:cubicBezTo>
                <a:close/>
                <a:moveTo>
                  <a:pt x="387" y="153"/>
                </a:moveTo>
                <a:cubicBezTo>
                  <a:pt x="384" y="156"/>
                  <a:pt x="384" y="156"/>
                  <a:pt x="384" y="156"/>
                </a:cubicBezTo>
                <a:cubicBezTo>
                  <a:pt x="384" y="157"/>
                  <a:pt x="384" y="157"/>
                  <a:pt x="384" y="157"/>
                </a:cubicBezTo>
                <a:cubicBezTo>
                  <a:pt x="385" y="158"/>
                  <a:pt x="385" y="158"/>
                  <a:pt x="385" y="158"/>
                </a:cubicBezTo>
                <a:cubicBezTo>
                  <a:pt x="383" y="159"/>
                  <a:pt x="383" y="159"/>
                  <a:pt x="383" y="159"/>
                </a:cubicBezTo>
                <a:cubicBezTo>
                  <a:pt x="383" y="160"/>
                  <a:pt x="383" y="160"/>
                  <a:pt x="383" y="160"/>
                </a:cubicBezTo>
                <a:cubicBezTo>
                  <a:pt x="385" y="161"/>
                  <a:pt x="385" y="161"/>
                  <a:pt x="385" y="161"/>
                </a:cubicBezTo>
                <a:cubicBezTo>
                  <a:pt x="386" y="161"/>
                  <a:pt x="386" y="161"/>
                  <a:pt x="386" y="161"/>
                </a:cubicBezTo>
                <a:cubicBezTo>
                  <a:pt x="389" y="158"/>
                  <a:pt x="389" y="158"/>
                  <a:pt x="389" y="158"/>
                </a:cubicBezTo>
                <a:cubicBezTo>
                  <a:pt x="390" y="155"/>
                  <a:pt x="390" y="155"/>
                  <a:pt x="390" y="155"/>
                </a:cubicBezTo>
                <a:cubicBezTo>
                  <a:pt x="389" y="154"/>
                  <a:pt x="389" y="154"/>
                  <a:pt x="389" y="154"/>
                </a:cubicBezTo>
                <a:cubicBezTo>
                  <a:pt x="390" y="153"/>
                  <a:pt x="390" y="153"/>
                  <a:pt x="390" y="153"/>
                </a:cubicBezTo>
                <a:cubicBezTo>
                  <a:pt x="389" y="152"/>
                  <a:pt x="389" y="152"/>
                  <a:pt x="389" y="152"/>
                </a:cubicBezTo>
                <a:cubicBezTo>
                  <a:pt x="388" y="152"/>
                  <a:pt x="388" y="152"/>
                  <a:pt x="388" y="152"/>
                </a:cubicBezTo>
                <a:cubicBezTo>
                  <a:pt x="387" y="153"/>
                  <a:pt x="387" y="153"/>
                  <a:pt x="387" y="153"/>
                </a:cubicBezTo>
                <a:cubicBezTo>
                  <a:pt x="387" y="153"/>
                  <a:pt x="387" y="153"/>
                  <a:pt x="387" y="153"/>
                </a:cubicBezTo>
                <a:close/>
                <a:moveTo>
                  <a:pt x="371" y="143"/>
                </a:moveTo>
                <a:cubicBezTo>
                  <a:pt x="373" y="142"/>
                  <a:pt x="373" y="142"/>
                  <a:pt x="373" y="142"/>
                </a:cubicBezTo>
                <a:cubicBezTo>
                  <a:pt x="371" y="141"/>
                  <a:pt x="371" y="141"/>
                  <a:pt x="371" y="141"/>
                </a:cubicBezTo>
                <a:cubicBezTo>
                  <a:pt x="371" y="143"/>
                  <a:pt x="371" y="143"/>
                  <a:pt x="371" y="143"/>
                </a:cubicBezTo>
                <a:close/>
                <a:moveTo>
                  <a:pt x="366" y="146"/>
                </a:moveTo>
                <a:cubicBezTo>
                  <a:pt x="365" y="147"/>
                  <a:pt x="365" y="147"/>
                  <a:pt x="365" y="147"/>
                </a:cubicBezTo>
                <a:cubicBezTo>
                  <a:pt x="367" y="147"/>
                  <a:pt x="367" y="147"/>
                  <a:pt x="367" y="147"/>
                </a:cubicBezTo>
                <a:cubicBezTo>
                  <a:pt x="366" y="146"/>
                  <a:pt x="366" y="146"/>
                  <a:pt x="366" y="146"/>
                </a:cubicBezTo>
                <a:close/>
                <a:moveTo>
                  <a:pt x="370" y="162"/>
                </a:moveTo>
                <a:cubicBezTo>
                  <a:pt x="368" y="163"/>
                  <a:pt x="368" y="163"/>
                  <a:pt x="368" y="163"/>
                </a:cubicBezTo>
                <a:cubicBezTo>
                  <a:pt x="369" y="163"/>
                  <a:pt x="369" y="163"/>
                  <a:pt x="369" y="163"/>
                </a:cubicBezTo>
                <a:cubicBezTo>
                  <a:pt x="370" y="162"/>
                  <a:pt x="370" y="162"/>
                  <a:pt x="370" y="162"/>
                </a:cubicBezTo>
                <a:close/>
                <a:moveTo>
                  <a:pt x="367" y="159"/>
                </a:moveTo>
                <a:cubicBezTo>
                  <a:pt x="368" y="158"/>
                  <a:pt x="368" y="158"/>
                  <a:pt x="368" y="158"/>
                </a:cubicBezTo>
                <a:cubicBezTo>
                  <a:pt x="369" y="159"/>
                  <a:pt x="369" y="159"/>
                  <a:pt x="369" y="159"/>
                </a:cubicBezTo>
                <a:cubicBezTo>
                  <a:pt x="370" y="161"/>
                  <a:pt x="370" y="161"/>
                  <a:pt x="370" y="161"/>
                </a:cubicBezTo>
                <a:cubicBezTo>
                  <a:pt x="368" y="161"/>
                  <a:pt x="368" y="161"/>
                  <a:pt x="368" y="161"/>
                </a:cubicBezTo>
                <a:cubicBezTo>
                  <a:pt x="367" y="160"/>
                  <a:pt x="367" y="160"/>
                  <a:pt x="367" y="160"/>
                </a:cubicBezTo>
                <a:cubicBezTo>
                  <a:pt x="367" y="159"/>
                  <a:pt x="367" y="159"/>
                  <a:pt x="367" y="159"/>
                </a:cubicBezTo>
                <a:close/>
                <a:moveTo>
                  <a:pt x="355" y="152"/>
                </a:moveTo>
                <a:cubicBezTo>
                  <a:pt x="356" y="151"/>
                  <a:pt x="356" y="151"/>
                  <a:pt x="356" y="151"/>
                </a:cubicBezTo>
                <a:cubicBezTo>
                  <a:pt x="357" y="152"/>
                  <a:pt x="357" y="152"/>
                  <a:pt x="357" y="152"/>
                </a:cubicBezTo>
                <a:cubicBezTo>
                  <a:pt x="357" y="153"/>
                  <a:pt x="357" y="153"/>
                  <a:pt x="357" y="153"/>
                </a:cubicBezTo>
                <a:cubicBezTo>
                  <a:pt x="355" y="153"/>
                  <a:pt x="355" y="153"/>
                  <a:pt x="355" y="153"/>
                </a:cubicBezTo>
                <a:cubicBezTo>
                  <a:pt x="355" y="152"/>
                  <a:pt x="355" y="152"/>
                  <a:pt x="355" y="152"/>
                </a:cubicBezTo>
                <a:close/>
                <a:moveTo>
                  <a:pt x="357" y="164"/>
                </a:moveTo>
                <a:cubicBezTo>
                  <a:pt x="359" y="164"/>
                  <a:pt x="359" y="164"/>
                  <a:pt x="359" y="164"/>
                </a:cubicBezTo>
                <a:cubicBezTo>
                  <a:pt x="360" y="165"/>
                  <a:pt x="360" y="165"/>
                  <a:pt x="360" y="165"/>
                </a:cubicBezTo>
                <a:cubicBezTo>
                  <a:pt x="359" y="165"/>
                  <a:pt x="359" y="165"/>
                  <a:pt x="359" y="165"/>
                </a:cubicBezTo>
                <a:cubicBezTo>
                  <a:pt x="357" y="164"/>
                  <a:pt x="357" y="164"/>
                  <a:pt x="357" y="164"/>
                </a:cubicBezTo>
                <a:close/>
                <a:moveTo>
                  <a:pt x="341" y="157"/>
                </a:moveTo>
                <a:cubicBezTo>
                  <a:pt x="343" y="155"/>
                  <a:pt x="343" y="155"/>
                  <a:pt x="343" y="155"/>
                </a:cubicBezTo>
                <a:cubicBezTo>
                  <a:pt x="342" y="155"/>
                  <a:pt x="342" y="155"/>
                  <a:pt x="342" y="155"/>
                </a:cubicBezTo>
                <a:cubicBezTo>
                  <a:pt x="341" y="156"/>
                  <a:pt x="341" y="156"/>
                  <a:pt x="341" y="156"/>
                </a:cubicBezTo>
                <a:cubicBezTo>
                  <a:pt x="341" y="157"/>
                  <a:pt x="341" y="157"/>
                  <a:pt x="341" y="157"/>
                </a:cubicBezTo>
                <a:close/>
                <a:moveTo>
                  <a:pt x="347" y="163"/>
                </a:moveTo>
                <a:cubicBezTo>
                  <a:pt x="350" y="163"/>
                  <a:pt x="350" y="163"/>
                  <a:pt x="350" y="163"/>
                </a:cubicBezTo>
                <a:cubicBezTo>
                  <a:pt x="352" y="163"/>
                  <a:pt x="352" y="163"/>
                  <a:pt x="352" y="163"/>
                </a:cubicBezTo>
                <a:cubicBezTo>
                  <a:pt x="352" y="164"/>
                  <a:pt x="352" y="164"/>
                  <a:pt x="352" y="164"/>
                </a:cubicBezTo>
                <a:cubicBezTo>
                  <a:pt x="349" y="165"/>
                  <a:pt x="349" y="165"/>
                  <a:pt x="349" y="165"/>
                </a:cubicBezTo>
                <a:cubicBezTo>
                  <a:pt x="347" y="164"/>
                  <a:pt x="347" y="164"/>
                  <a:pt x="347" y="164"/>
                </a:cubicBezTo>
                <a:cubicBezTo>
                  <a:pt x="347" y="163"/>
                  <a:pt x="347" y="163"/>
                  <a:pt x="347" y="163"/>
                </a:cubicBezTo>
                <a:close/>
                <a:moveTo>
                  <a:pt x="344" y="164"/>
                </a:moveTo>
                <a:cubicBezTo>
                  <a:pt x="345" y="163"/>
                  <a:pt x="345" y="163"/>
                  <a:pt x="345" y="163"/>
                </a:cubicBezTo>
                <a:cubicBezTo>
                  <a:pt x="345" y="165"/>
                  <a:pt x="345" y="165"/>
                  <a:pt x="345" y="165"/>
                </a:cubicBezTo>
                <a:cubicBezTo>
                  <a:pt x="344" y="164"/>
                  <a:pt x="344" y="164"/>
                  <a:pt x="344" y="164"/>
                </a:cubicBezTo>
                <a:close/>
                <a:moveTo>
                  <a:pt x="339" y="163"/>
                </a:moveTo>
                <a:cubicBezTo>
                  <a:pt x="340" y="162"/>
                  <a:pt x="340" y="162"/>
                  <a:pt x="340" y="162"/>
                </a:cubicBezTo>
                <a:cubicBezTo>
                  <a:pt x="341" y="163"/>
                  <a:pt x="341" y="163"/>
                  <a:pt x="341" y="163"/>
                </a:cubicBezTo>
                <a:cubicBezTo>
                  <a:pt x="340" y="164"/>
                  <a:pt x="340" y="164"/>
                  <a:pt x="340" y="164"/>
                </a:cubicBezTo>
                <a:cubicBezTo>
                  <a:pt x="339" y="163"/>
                  <a:pt x="339" y="163"/>
                  <a:pt x="339" y="163"/>
                </a:cubicBezTo>
                <a:close/>
                <a:moveTo>
                  <a:pt x="299" y="186"/>
                </a:moveTo>
                <a:cubicBezTo>
                  <a:pt x="298" y="188"/>
                  <a:pt x="298" y="188"/>
                  <a:pt x="298" y="188"/>
                </a:cubicBezTo>
                <a:cubicBezTo>
                  <a:pt x="300" y="189"/>
                  <a:pt x="300" y="189"/>
                  <a:pt x="300" y="189"/>
                </a:cubicBezTo>
                <a:cubicBezTo>
                  <a:pt x="303" y="188"/>
                  <a:pt x="303" y="188"/>
                  <a:pt x="303" y="188"/>
                </a:cubicBezTo>
                <a:cubicBezTo>
                  <a:pt x="306" y="186"/>
                  <a:pt x="306" y="186"/>
                  <a:pt x="306" y="186"/>
                </a:cubicBezTo>
                <a:cubicBezTo>
                  <a:pt x="308" y="186"/>
                  <a:pt x="308" y="186"/>
                  <a:pt x="308" y="186"/>
                </a:cubicBezTo>
                <a:cubicBezTo>
                  <a:pt x="310" y="186"/>
                  <a:pt x="310" y="186"/>
                  <a:pt x="310" y="186"/>
                </a:cubicBezTo>
                <a:cubicBezTo>
                  <a:pt x="312" y="185"/>
                  <a:pt x="312" y="185"/>
                  <a:pt x="312" y="185"/>
                </a:cubicBezTo>
                <a:cubicBezTo>
                  <a:pt x="313" y="183"/>
                  <a:pt x="313" y="183"/>
                  <a:pt x="313" y="183"/>
                </a:cubicBezTo>
                <a:cubicBezTo>
                  <a:pt x="317" y="180"/>
                  <a:pt x="317" y="180"/>
                  <a:pt x="317" y="180"/>
                </a:cubicBezTo>
                <a:cubicBezTo>
                  <a:pt x="318" y="178"/>
                  <a:pt x="318" y="178"/>
                  <a:pt x="318" y="178"/>
                </a:cubicBezTo>
                <a:cubicBezTo>
                  <a:pt x="319" y="178"/>
                  <a:pt x="319" y="178"/>
                  <a:pt x="319" y="178"/>
                </a:cubicBezTo>
                <a:cubicBezTo>
                  <a:pt x="316" y="175"/>
                  <a:pt x="316" y="175"/>
                  <a:pt x="316" y="175"/>
                </a:cubicBezTo>
                <a:cubicBezTo>
                  <a:pt x="314" y="173"/>
                  <a:pt x="314" y="173"/>
                  <a:pt x="314" y="173"/>
                </a:cubicBezTo>
                <a:cubicBezTo>
                  <a:pt x="313" y="173"/>
                  <a:pt x="313" y="173"/>
                  <a:pt x="313" y="173"/>
                </a:cubicBezTo>
                <a:cubicBezTo>
                  <a:pt x="312" y="174"/>
                  <a:pt x="312" y="174"/>
                  <a:pt x="312" y="174"/>
                </a:cubicBezTo>
                <a:cubicBezTo>
                  <a:pt x="311" y="177"/>
                  <a:pt x="311" y="177"/>
                  <a:pt x="311" y="177"/>
                </a:cubicBezTo>
                <a:cubicBezTo>
                  <a:pt x="309" y="177"/>
                  <a:pt x="309" y="177"/>
                  <a:pt x="309" y="177"/>
                </a:cubicBezTo>
                <a:cubicBezTo>
                  <a:pt x="307" y="178"/>
                  <a:pt x="307" y="178"/>
                  <a:pt x="307" y="178"/>
                </a:cubicBezTo>
                <a:cubicBezTo>
                  <a:pt x="306" y="176"/>
                  <a:pt x="306" y="176"/>
                  <a:pt x="306" y="176"/>
                </a:cubicBezTo>
                <a:cubicBezTo>
                  <a:pt x="305" y="177"/>
                  <a:pt x="305" y="177"/>
                  <a:pt x="305" y="177"/>
                </a:cubicBezTo>
                <a:cubicBezTo>
                  <a:pt x="303" y="178"/>
                  <a:pt x="303" y="178"/>
                  <a:pt x="303" y="178"/>
                </a:cubicBezTo>
                <a:cubicBezTo>
                  <a:pt x="302" y="180"/>
                  <a:pt x="302" y="180"/>
                  <a:pt x="302" y="180"/>
                </a:cubicBezTo>
                <a:cubicBezTo>
                  <a:pt x="300" y="184"/>
                  <a:pt x="300" y="184"/>
                  <a:pt x="300" y="184"/>
                </a:cubicBezTo>
                <a:cubicBezTo>
                  <a:pt x="300" y="184"/>
                  <a:pt x="300" y="184"/>
                  <a:pt x="300" y="184"/>
                </a:cubicBezTo>
                <a:cubicBezTo>
                  <a:pt x="301" y="185"/>
                  <a:pt x="301" y="185"/>
                  <a:pt x="301" y="185"/>
                </a:cubicBezTo>
                <a:cubicBezTo>
                  <a:pt x="301" y="186"/>
                  <a:pt x="301" y="186"/>
                  <a:pt x="301" y="186"/>
                </a:cubicBezTo>
                <a:cubicBezTo>
                  <a:pt x="300" y="186"/>
                  <a:pt x="300" y="186"/>
                  <a:pt x="300" y="186"/>
                </a:cubicBezTo>
                <a:cubicBezTo>
                  <a:pt x="299" y="186"/>
                  <a:pt x="299" y="186"/>
                  <a:pt x="299" y="186"/>
                </a:cubicBezTo>
                <a:close/>
                <a:moveTo>
                  <a:pt x="297" y="188"/>
                </a:moveTo>
                <a:cubicBezTo>
                  <a:pt x="298" y="186"/>
                  <a:pt x="298" y="186"/>
                  <a:pt x="298" y="186"/>
                </a:cubicBezTo>
                <a:cubicBezTo>
                  <a:pt x="297" y="186"/>
                  <a:pt x="297" y="186"/>
                  <a:pt x="297" y="186"/>
                </a:cubicBezTo>
                <a:cubicBezTo>
                  <a:pt x="296" y="188"/>
                  <a:pt x="296" y="188"/>
                  <a:pt x="296" y="188"/>
                </a:cubicBezTo>
                <a:cubicBezTo>
                  <a:pt x="297" y="188"/>
                  <a:pt x="297" y="188"/>
                  <a:pt x="297" y="188"/>
                </a:cubicBezTo>
                <a:close/>
                <a:moveTo>
                  <a:pt x="297" y="189"/>
                </a:moveTo>
                <a:cubicBezTo>
                  <a:pt x="295" y="190"/>
                  <a:pt x="295" y="190"/>
                  <a:pt x="295" y="190"/>
                </a:cubicBezTo>
                <a:cubicBezTo>
                  <a:pt x="296" y="191"/>
                  <a:pt x="296" y="191"/>
                  <a:pt x="296" y="191"/>
                </a:cubicBezTo>
                <a:cubicBezTo>
                  <a:pt x="292" y="192"/>
                  <a:pt x="292" y="192"/>
                  <a:pt x="292" y="192"/>
                </a:cubicBezTo>
                <a:cubicBezTo>
                  <a:pt x="291" y="194"/>
                  <a:pt x="291" y="194"/>
                  <a:pt x="291" y="194"/>
                </a:cubicBezTo>
                <a:cubicBezTo>
                  <a:pt x="292" y="194"/>
                  <a:pt x="292" y="194"/>
                  <a:pt x="292" y="194"/>
                </a:cubicBezTo>
                <a:cubicBezTo>
                  <a:pt x="297" y="192"/>
                  <a:pt x="297" y="192"/>
                  <a:pt x="297" y="192"/>
                </a:cubicBezTo>
                <a:cubicBezTo>
                  <a:pt x="298" y="191"/>
                  <a:pt x="298" y="191"/>
                  <a:pt x="298" y="191"/>
                </a:cubicBezTo>
                <a:cubicBezTo>
                  <a:pt x="297" y="189"/>
                  <a:pt x="297" y="189"/>
                  <a:pt x="297" y="189"/>
                </a:cubicBezTo>
                <a:close/>
                <a:moveTo>
                  <a:pt x="281" y="189"/>
                </a:moveTo>
                <a:cubicBezTo>
                  <a:pt x="283" y="190"/>
                  <a:pt x="283" y="190"/>
                  <a:pt x="283" y="190"/>
                </a:cubicBezTo>
                <a:cubicBezTo>
                  <a:pt x="283" y="191"/>
                  <a:pt x="283" y="191"/>
                  <a:pt x="283" y="191"/>
                </a:cubicBezTo>
                <a:cubicBezTo>
                  <a:pt x="281" y="191"/>
                  <a:pt x="281" y="191"/>
                  <a:pt x="281" y="191"/>
                </a:cubicBezTo>
                <a:cubicBezTo>
                  <a:pt x="280" y="191"/>
                  <a:pt x="280" y="191"/>
                  <a:pt x="280" y="191"/>
                </a:cubicBezTo>
                <a:cubicBezTo>
                  <a:pt x="281" y="190"/>
                  <a:pt x="281" y="190"/>
                  <a:pt x="281" y="190"/>
                </a:cubicBezTo>
                <a:cubicBezTo>
                  <a:pt x="281" y="189"/>
                  <a:pt x="281" y="189"/>
                  <a:pt x="281" y="189"/>
                </a:cubicBezTo>
                <a:close/>
                <a:moveTo>
                  <a:pt x="251" y="178"/>
                </a:moveTo>
                <a:cubicBezTo>
                  <a:pt x="255" y="175"/>
                  <a:pt x="255" y="175"/>
                  <a:pt x="255" y="175"/>
                </a:cubicBezTo>
                <a:cubicBezTo>
                  <a:pt x="258" y="177"/>
                  <a:pt x="258" y="177"/>
                  <a:pt x="258" y="177"/>
                </a:cubicBezTo>
                <a:cubicBezTo>
                  <a:pt x="260" y="177"/>
                  <a:pt x="260" y="177"/>
                  <a:pt x="260" y="177"/>
                </a:cubicBezTo>
                <a:cubicBezTo>
                  <a:pt x="262" y="176"/>
                  <a:pt x="262" y="176"/>
                  <a:pt x="262" y="176"/>
                </a:cubicBezTo>
                <a:cubicBezTo>
                  <a:pt x="264" y="178"/>
                  <a:pt x="264" y="178"/>
                  <a:pt x="264" y="178"/>
                </a:cubicBezTo>
                <a:cubicBezTo>
                  <a:pt x="265" y="180"/>
                  <a:pt x="265" y="180"/>
                  <a:pt x="265" y="180"/>
                </a:cubicBezTo>
                <a:cubicBezTo>
                  <a:pt x="267" y="180"/>
                  <a:pt x="267" y="180"/>
                  <a:pt x="267" y="180"/>
                </a:cubicBezTo>
                <a:cubicBezTo>
                  <a:pt x="269" y="182"/>
                  <a:pt x="269" y="182"/>
                  <a:pt x="269" y="182"/>
                </a:cubicBezTo>
                <a:cubicBezTo>
                  <a:pt x="271" y="184"/>
                  <a:pt x="271" y="184"/>
                  <a:pt x="271" y="184"/>
                </a:cubicBezTo>
                <a:cubicBezTo>
                  <a:pt x="271" y="185"/>
                  <a:pt x="271" y="185"/>
                  <a:pt x="271" y="185"/>
                </a:cubicBezTo>
                <a:cubicBezTo>
                  <a:pt x="268" y="187"/>
                  <a:pt x="268" y="187"/>
                  <a:pt x="268" y="187"/>
                </a:cubicBezTo>
                <a:cubicBezTo>
                  <a:pt x="265" y="187"/>
                  <a:pt x="265" y="187"/>
                  <a:pt x="265" y="187"/>
                </a:cubicBezTo>
                <a:cubicBezTo>
                  <a:pt x="263" y="186"/>
                  <a:pt x="263" y="186"/>
                  <a:pt x="263" y="186"/>
                </a:cubicBezTo>
                <a:cubicBezTo>
                  <a:pt x="261" y="183"/>
                  <a:pt x="261" y="183"/>
                  <a:pt x="261" y="183"/>
                </a:cubicBezTo>
                <a:cubicBezTo>
                  <a:pt x="259" y="183"/>
                  <a:pt x="259" y="183"/>
                  <a:pt x="259" y="183"/>
                </a:cubicBezTo>
                <a:cubicBezTo>
                  <a:pt x="257" y="181"/>
                  <a:pt x="257" y="181"/>
                  <a:pt x="257" y="181"/>
                </a:cubicBezTo>
                <a:cubicBezTo>
                  <a:pt x="255" y="181"/>
                  <a:pt x="255" y="181"/>
                  <a:pt x="255" y="181"/>
                </a:cubicBezTo>
                <a:cubicBezTo>
                  <a:pt x="252" y="181"/>
                  <a:pt x="252" y="181"/>
                  <a:pt x="252" y="181"/>
                </a:cubicBezTo>
                <a:cubicBezTo>
                  <a:pt x="250" y="179"/>
                  <a:pt x="250" y="179"/>
                  <a:pt x="250" y="179"/>
                </a:cubicBezTo>
                <a:cubicBezTo>
                  <a:pt x="251" y="178"/>
                  <a:pt x="251" y="178"/>
                  <a:pt x="251" y="178"/>
                </a:cubicBezTo>
                <a:close/>
                <a:moveTo>
                  <a:pt x="218" y="153"/>
                </a:moveTo>
                <a:cubicBezTo>
                  <a:pt x="219" y="153"/>
                  <a:pt x="219" y="153"/>
                  <a:pt x="219" y="153"/>
                </a:cubicBezTo>
                <a:cubicBezTo>
                  <a:pt x="220" y="153"/>
                  <a:pt x="220" y="153"/>
                  <a:pt x="220" y="153"/>
                </a:cubicBezTo>
                <a:cubicBezTo>
                  <a:pt x="220" y="154"/>
                  <a:pt x="220" y="154"/>
                  <a:pt x="220" y="154"/>
                </a:cubicBezTo>
                <a:cubicBezTo>
                  <a:pt x="218" y="154"/>
                  <a:pt x="218" y="154"/>
                  <a:pt x="218" y="154"/>
                </a:cubicBezTo>
                <a:cubicBezTo>
                  <a:pt x="218" y="153"/>
                  <a:pt x="218" y="153"/>
                  <a:pt x="218" y="153"/>
                </a:cubicBezTo>
                <a:close/>
                <a:moveTo>
                  <a:pt x="211" y="150"/>
                </a:moveTo>
                <a:cubicBezTo>
                  <a:pt x="213" y="151"/>
                  <a:pt x="213" y="151"/>
                  <a:pt x="213" y="151"/>
                </a:cubicBezTo>
                <a:cubicBezTo>
                  <a:pt x="214" y="150"/>
                  <a:pt x="214" y="150"/>
                  <a:pt x="214" y="150"/>
                </a:cubicBezTo>
                <a:cubicBezTo>
                  <a:pt x="215" y="150"/>
                  <a:pt x="215" y="150"/>
                  <a:pt x="215" y="150"/>
                </a:cubicBezTo>
                <a:cubicBezTo>
                  <a:pt x="216" y="150"/>
                  <a:pt x="216" y="150"/>
                  <a:pt x="216" y="150"/>
                </a:cubicBezTo>
                <a:cubicBezTo>
                  <a:pt x="216" y="149"/>
                  <a:pt x="216" y="149"/>
                  <a:pt x="216" y="149"/>
                </a:cubicBezTo>
                <a:cubicBezTo>
                  <a:pt x="214" y="149"/>
                  <a:pt x="214" y="149"/>
                  <a:pt x="214" y="149"/>
                </a:cubicBezTo>
                <a:cubicBezTo>
                  <a:pt x="212" y="149"/>
                  <a:pt x="212" y="149"/>
                  <a:pt x="212" y="149"/>
                </a:cubicBezTo>
                <a:cubicBezTo>
                  <a:pt x="211" y="149"/>
                  <a:pt x="211" y="149"/>
                  <a:pt x="211" y="149"/>
                </a:cubicBezTo>
                <a:cubicBezTo>
                  <a:pt x="211" y="150"/>
                  <a:pt x="211" y="150"/>
                  <a:pt x="211" y="150"/>
                </a:cubicBezTo>
                <a:close/>
                <a:moveTo>
                  <a:pt x="326" y="161"/>
                </a:moveTo>
                <a:cubicBezTo>
                  <a:pt x="328" y="159"/>
                  <a:pt x="328" y="159"/>
                  <a:pt x="328" y="159"/>
                </a:cubicBezTo>
                <a:cubicBezTo>
                  <a:pt x="332" y="160"/>
                  <a:pt x="332" y="160"/>
                  <a:pt x="332" y="160"/>
                </a:cubicBezTo>
                <a:cubicBezTo>
                  <a:pt x="333" y="161"/>
                  <a:pt x="333" y="161"/>
                  <a:pt x="333" y="161"/>
                </a:cubicBezTo>
                <a:cubicBezTo>
                  <a:pt x="333" y="160"/>
                  <a:pt x="333" y="160"/>
                  <a:pt x="333" y="160"/>
                </a:cubicBezTo>
                <a:cubicBezTo>
                  <a:pt x="335" y="159"/>
                  <a:pt x="335" y="159"/>
                  <a:pt x="335" y="159"/>
                </a:cubicBezTo>
                <a:cubicBezTo>
                  <a:pt x="336" y="158"/>
                  <a:pt x="336" y="158"/>
                  <a:pt x="336" y="158"/>
                </a:cubicBezTo>
                <a:cubicBezTo>
                  <a:pt x="336" y="157"/>
                  <a:pt x="336" y="157"/>
                  <a:pt x="336" y="157"/>
                </a:cubicBezTo>
                <a:cubicBezTo>
                  <a:pt x="334" y="156"/>
                  <a:pt x="334" y="156"/>
                  <a:pt x="334" y="156"/>
                </a:cubicBezTo>
                <a:cubicBezTo>
                  <a:pt x="333" y="157"/>
                  <a:pt x="333" y="157"/>
                  <a:pt x="333" y="157"/>
                </a:cubicBezTo>
                <a:cubicBezTo>
                  <a:pt x="329" y="158"/>
                  <a:pt x="329" y="158"/>
                  <a:pt x="329" y="158"/>
                </a:cubicBezTo>
                <a:cubicBezTo>
                  <a:pt x="328" y="157"/>
                  <a:pt x="328" y="157"/>
                  <a:pt x="328" y="157"/>
                </a:cubicBezTo>
                <a:cubicBezTo>
                  <a:pt x="326" y="158"/>
                  <a:pt x="326" y="158"/>
                  <a:pt x="326" y="158"/>
                </a:cubicBezTo>
                <a:cubicBezTo>
                  <a:pt x="326" y="160"/>
                  <a:pt x="326" y="160"/>
                  <a:pt x="326" y="160"/>
                </a:cubicBezTo>
                <a:cubicBezTo>
                  <a:pt x="326" y="161"/>
                  <a:pt x="326" y="161"/>
                  <a:pt x="326" y="161"/>
                </a:cubicBezTo>
                <a:close/>
                <a:moveTo>
                  <a:pt x="322" y="164"/>
                </a:moveTo>
                <a:cubicBezTo>
                  <a:pt x="322" y="165"/>
                  <a:pt x="322" y="165"/>
                  <a:pt x="322" y="165"/>
                </a:cubicBezTo>
                <a:cubicBezTo>
                  <a:pt x="322" y="165"/>
                  <a:pt x="322" y="165"/>
                  <a:pt x="322" y="165"/>
                </a:cubicBezTo>
                <a:cubicBezTo>
                  <a:pt x="323" y="164"/>
                  <a:pt x="323" y="164"/>
                  <a:pt x="323" y="164"/>
                </a:cubicBezTo>
                <a:cubicBezTo>
                  <a:pt x="322" y="164"/>
                  <a:pt x="322" y="164"/>
                  <a:pt x="322" y="164"/>
                </a:cubicBezTo>
                <a:close/>
                <a:moveTo>
                  <a:pt x="313" y="163"/>
                </a:moveTo>
                <a:cubicBezTo>
                  <a:pt x="311" y="164"/>
                  <a:pt x="311" y="164"/>
                  <a:pt x="311" y="164"/>
                </a:cubicBezTo>
                <a:cubicBezTo>
                  <a:pt x="312" y="165"/>
                  <a:pt x="312" y="165"/>
                  <a:pt x="312" y="165"/>
                </a:cubicBezTo>
                <a:cubicBezTo>
                  <a:pt x="311" y="166"/>
                  <a:pt x="311" y="166"/>
                  <a:pt x="311" y="166"/>
                </a:cubicBezTo>
                <a:cubicBezTo>
                  <a:pt x="311" y="167"/>
                  <a:pt x="311" y="167"/>
                  <a:pt x="311" y="167"/>
                </a:cubicBezTo>
                <a:cubicBezTo>
                  <a:pt x="313" y="167"/>
                  <a:pt x="313" y="167"/>
                  <a:pt x="313" y="167"/>
                </a:cubicBezTo>
                <a:cubicBezTo>
                  <a:pt x="317" y="166"/>
                  <a:pt x="317" y="166"/>
                  <a:pt x="317" y="166"/>
                </a:cubicBezTo>
                <a:cubicBezTo>
                  <a:pt x="318" y="164"/>
                  <a:pt x="318" y="164"/>
                  <a:pt x="318" y="164"/>
                </a:cubicBezTo>
                <a:cubicBezTo>
                  <a:pt x="317" y="164"/>
                  <a:pt x="317" y="164"/>
                  <a:pt x="317" y="164"/>
                </a:cubicBezTo>
                <a:cubicBezTo>
                  <a:pt x="314" y="164"/>
                  <a:pt x="314" y="164"/>
                  <a:pt x="314" y="164"/>
                </a:cubicBezTo>
                <a:cubicBezTo>
                  <a:pt x="313" y="163"/>
                  <a:pt x="313" y="163"/>
                  <a:pt x="313" y="163"/>
                </a:cubicBezTo>
                <a:close/>
                <a:moveTo>
                  <a:pt x="305" y="168"/>
                </a:moveTo>
                <a:cubicBezTo>
                  <a:pt x="307" y="168"/>
                  <a:pt x="307" y="168"/>
                  <a:pt x="307" y="168"/>
                </a:cubicBezTo>
                <a:cubicBezTo>
                  <a:pt x="308" y="169"/>
                  <a:pt x="308" y="169"/>
                  <a:pt x="308" y="169"/>
                </a:cubicBezTo>
                <a:cubicBezTo>
                  <a:pt x="309" y="166"/>
                  <a:pt x="309" y="166"/>
                  <a:pt x="309" y="166"/>
                </a:cubicBezTo>
                <a:cubicBezTo>
                  <a:pt x="309" y="165"/>
                  <a:pt x="309" y="165"/>
                  <a:pt x="309" y="165"/>
                </a:cubicBezTo>
                <a:cubicBezTo>
                  <a:pt x="308" y="166"/>
                  <a:pt x="308" y="166"/>
                  <a:pt x="308" y="166"/>
                </a:cubicBezTo>
                <a:cubicBezTo>
                  <a:pt x="306" y="167"/>
                  <a:pt x="306" y="167"/>
                  <a:pt x="306" y="167"/>
                </a:cubicBezTo>
                <a:cubicBezTo>
                  <a:pt x="305" y="168"/>
                  <a:pt x="305" y="168"/>
                  <a:pt x="305" y="168"/>
                </a:cubicBezTo>
                <a:close/>
                <a:moveTo>
                  <a:pt x="299" y="168"/>
                </a:moveTo>
                <a:cubicBezTo>
                  <a:pt x="301" y="166"/>
                  <a:pt x="301" y="166"/>
                  <a:pt x="301" y="166"/>
                </a:cubicBezTo>
                <a:cubicBezTo>
                  <a:pt x="300" y="165"/>
                  <a:pt x="300" y="165"/>
                  <a:pt x="300" y="165"/>
                </a:cubicBezTo>
                <a:cubicBezTo>
                  <a:pt x="301" y="165"/>
                  <a:pt x="301" y="165"/>
                  <a:pt x="301" y="165"/>
                </a:cubicBezTo>
                <a:cubicBezTo>
                  <a:pt x="303" y="165"/>
                  <a:pt x="303" y="165"/>
                  <a:pt x="303" y="165"/>
                </a:cubicBezTo>
                <a:cubicBezTo>
                  <a:pt x="304" y="164"/>
                  <a:pt x="304" y="164"/>
                  <a:pt x="304" y="164"/>
                </a:cubicBezTo>
                <a:cubicBezTo>
                  <a:pt x="305" y="165"/>
                  <a:pt x="305" y="165"/>
                  <a:pt x="305" y="165"/>
                </a:cubicBezTo>
                <a:cubicBezTo>
                  <a:pt x="303" y="167"/>
                  <a:pt x="303" y="167"/>
                  <a:pt x="303" y="167"/>
                </a:cubicBezTo>
                <a:cubicBezTo>
                  <a:pt x="302" y="168"/>
                  <a:pt x="302" y="168"/>
                  <a:pt x="302" y="168"/>
                </a:cubicBezTo>
                <a:cubicBezTo>
                  <a:pt x="299" y="169"/>
                  <a:pt x="299" y="169"/>
                  <a:pt x="299" y="169"/>
                </a:cubicBezTo>
                <a:cubicBezTo>
                  <a:pt x="299" y="168"/>
                  <a:pt x="299" y="168"/>
                  <a:pt x="299" y="168"/>
                </a:cubicBezTo>
                <a:close/>
                <a:moveTo>
                  <a:pt x="297" y="167"/>
                </a:moveTo>
                <a:cubicBezTo>
                  <a:pt x="295" y="168"/>
                  <a:pt x="295" y="168"/>
                  <a:pt x="295" y="168"/>
                </a:cubicBezTo>
                <a:cubicBezTo>
                  <a:pt x="294" y="169"/>
                  <a:pt x="294" y="169"/>
                  <a:pt x="294" y="169"/>
                </a:cubicBezTo>
                <a:cubicBezTo>
                  <a:pt x="295" y="168"/>
                  <a:pt x="295" y="168"/>
                  <a:pt x="295" y="168"/>
                </a:cubicBezTo>
                <a:cubicBezTo>
                  <a:pt x="297" y="167"/>
                  <a:pt x="297" y="167"/>
                  <a:pt x="297" y="167"/>
                </a:cubicBezTo>
                <a:close/>
                <a:moveTo>
                  <a:pt x="298" y="164"/>
                </a:moveTo>
                <a:cubicBezTo>
                  <a:pt x="296" y="165"/>
                  <a:pt x="296" y="165"/>
                  <a:pt x="296" y="165"/>
                </a:cubicBezTo>
                <a:cubicBezTo>
                  <a:pt x="298" y="166"/>
                  <a:pt x="298" y="166"/>
                  <a:pt x="298" y="166"/>
                </a:cubicBezTo>
                <a:cubicBezTo>
                  <a:pt x="298" y="165"/>
                  <a:pt x="298" y="165"/>
                  <a:pt x="298" y="165"/>
                </a:cubicBezTo>
                <a:cubicBezTo>
                  <a:pt x="298" y="164"/>
                  <a:pt x="298" y="164"/>
                  <a:pt x="298" y="164"/>
                </a:cubicBezTo>
                <a:close/>
                <a:moveTo>
                  <a:pt x="260" y="169"/>
                </a:moveTo>
                <a:cubicBezTo>
                  <a:pt x="260" y="168"/>
                  <a:pt x="261" y="167"/>
                  <a:pt x="261" y="167"/>
                </a:cubicBezTo>
                <a:cubicBezTo>
                  <a:pt x="264" y="165"/>
                  <a:pt x="264" y="165"/>
                  <a:pt x="264" y="165"/>
                </a:cubicBezTo>
                <a:cubicBezTo>
                  <a:pt x="269" y="164"/>
                  <a:pt x="269" y="164"/>
                  <a:pt x="269" y="164"/>
                </a:cubicBezTo>
                <a:cubicBezTo>
                  <a:pt x="272" y="165"/>
                  <a:pt x="272" y="165"/>
                  <a:pt x="272" y="165"/>
                </a:cubicBezTo>
                <a:cubicBezTo>
                  <a:pt x="273" y="165"/>
                  <a:pt x="273" y="165"/>
                  <a:pt x="273" y="165"/>
                </a:cubicBezTo>
                <a:cubicBezTo>
                  <a:pt x="276" y="165"/>
                  <a:pt x="276" y="165"/>
                  <a:pt x="276" y="165"/>
                </a:cubicBezTo>
                <a:cubicBezTo>
                  <a:pt x="279" y="167"/>
                  <a:pt x="279" y="167"/>
                  <a:pt x="279" y="167"/>
                </a:cubicBezTo>
                <a:cubicBezTo>
                  <a:pt x="281" y="166"/>
                  <a:pt x="281" y="166"/>
                  <a:pt x="281" y="166"/>
                </a:cubicBezTo>
                <a:cubicBezTo>
                  <a:pt x="284" y="166"/>
                  <a:pt x="284" y="166"/>
                  <a:pt x="284" y="166"/>
                </a:cubicBezTo>
                <a:cubicBezTo>
                  <a:pt x="285" y="168"/>
                  <a:pt x="285" y="168"/>
                  <a:pt x="285" y="168"/>
                </a:cubicBezTo>
                <a:cubicBezTo>
                  <a:pt x="288" y="167"/>
                  <a:pt x="288" y="167"/>
                  <a:pt x="288" y="167"/>
                </a:cubicBezTo>
                <a:cubicBezTo>
                  <a:pt x="289" y="166"/>
                  <a:pt x="289" y="166"/>
                  <a:pt x="289" y="166"/>
                </a:cubicBezTo>
                <a:cubicBezTo>
                  <a:pt x="291" y="165"/>
                  <a:pt x="291" y="165"/>
                  <a:pt x="291" y="165"/>
                </a:cubicBezTo>
                <a:cubicBezTo>
                  <a:pt x="292" y="163"/>
                  <a:pt x="292" y="163"/>
                  <a:pt x="292" y="163"/>
                </a:cubicBezTo>
                <a:cubicBezTo>
                  <a:pt x="291" y="163"/>
                  <a:pt x="291" y="163"/>
                  <a:pt x="291" y="163"/>
                </a:cubicBezTo>
                <a:cubicBezTo>
                  <a:pt x="293" y="162"/>
                  <a:pt x="293" y="162"/>
                  <a:pt x="293" y="162"/>
                </a:cubicBezTo>
                <a:cubicBezTo>
                  <a:pt x="295" y="163"/>
                  <a:pt x="295" y="163"/>
                  <a:pt x="295" y="163"/>
                </a:cubicBezTo>
                <a:cubicBezTo>
                  <a:pt x="296" y="165"/>
                  <a:pt x="296" y="165"/>
                  <a:pt x="296" y="165"/>
                </a:cubicBezTo>
                <a:cubicBezTo>
                  <a:pt x="295" y="166"/>
                  <a:pt x="295" y="166"/>
                  <a:pt x="295" y="166"/>
                </a:cubicBezTo>
                <a:cubicBezTo>
                  <a:pt x="293" y="167"/>
                  <a:pt x="293" y="167"/>
                  <a:pt x="293" y="167"/>
                </a:cubicBezTo>
                <a:cubicBezTo>
                  <a:pt x="292" y="169"/>
                  <a:pt x="292" y="169"/>
                  <a:pt x="292" y="169"/>
                </a:cubicBezTo>
                <a:cubicBezTo>
                  <a:pt x="289" y="169"/>
                  <a:pt x="289" y="169"/>
                  <a:pt x="289" y="169"/>
                </a:cubicBezTo>
                <a:cubicBezTo>
                  <a:pt x="288" y="170"/>
                  <a:pt x="288" y="170"/>
                  <a:pt x="288" y="170"/>
                </a:cubicBezTo>
                <a:cubicBezTo>
                  <a:pt x="287" y="170"/>
                  <a:pt x="287" y="170"/>
                  <a:pt x="287" y="170"/>
                </a:cubicBezTo>
                <a:cubicBezTo>
                  <a:pt x="284" y="170"/>
                  <a:pt x="284" y="170"/>
                  <a:pt x="284" y="170"/>
                </a:cubicBezTo>
                <a:cubicBezTo>
                  <a:pt x="281" y="171"/>
                  <a:pt x="281" y="171"/>
                  <a:pt x="281" y="171"/>
                </a:cubicBezTo>
                <a:cubicBezTo>
                  <a:pt x="277" y="170"/>
                  <a:pt x="277" y="170"/>
                  <a:pt x="277" y="170"/>
                </a:cubicBezTo>
                <a:cubicBezTo>
                  <a:pt x="275" y="171"/>
                  <a:pt x="275" y="171"/>
                  <a:pt x="275" y="171"/>
                </a:cubicBezTo>
                <a:cubicBezTo>
                  <a:pt x="275" y="172"/>
                  <a:pt x="275" y="172"/>
                  <a:pt x="275" y="172"/>
                </a:cubicBezTo>
                <a:cubicBezTo>
                  <a:pt x="273" y="172"/>
                  <a:pt x="273" y="172"/>
                  <a:pt x="273" y="172"/>
                </a:cubicBezTo>
                <a:cubicBezTo>
                  <a:pt x="272" y="171"/>
                  <a:pt x="272" y="171"/>
                  <a:pt x="272" y="171"/>
                </a:cubicBezTo>
                <a:cubicBezTo>
                  <a:pt x="270" y="172"/>
                  <a:pt x="270" y="172"/>
                  <a:pt x="270" y="172"/>
                </a:cubicBezTo>
                <a:cubicBezTo>
                  <a:pt x="269" y="171"/>
                  <a:pt x="269" y="171"/>
                  <a:pt x="269" y="171"/>
                </a:cubicBezTo>
                <a:cubicBezTo>
                  <a:pt x="267" y="171"/>
                  <a:pt x="267" y="171"/>
                  <a:pt x="267" y="171"/>
                </a:cubicBezTo>
                <a:cubicBezTo>
                  <a:pt x="265" y="171"/>
                  <a:pt x="265" y="171"/>
                  <a:pt x="265" y="171"/>
                </a:cubicBezTo>
                <a:cubicBezTo>
                  <a:pt x="264" y="171"/>
                  <a:pt x="264" y="171"/>
                  <a:pt x="264" y="171"/>
                </a:cubicBezTo>
                <a:cubicBezTo>
                  <a:pt x="262" y="171"/>
                  <a:pt x="262" y="171"/>
                  <a:pt x="262" y="171"/>
                </a:cubicBezTo>
                <a:cubicBezTo>
                  <a:pt x="261" y="170"/>
                  <a:pt x="261" y="170"/>
                  <a:pt x="261" y="170"/>
                </a:cubicBezTo>
                <a:cubicBezTo>
                  <a:pt x="260" y="169"/>
                  <a:pt x="260" y="169"/>
                  <a:pt x="260" y="169"/>
                </a:cubicBezTo>
                <a:close/>
                <a:moveTo>
                  <a:pt x="259" y="168"/>
                </a:moveTo>
                <a:cubicBezTo>
                  <a:pt x="258" y="171"/>
                  <a:pt x="258" y="171"/>
                  <a:pt x="258" y="171"/>
                </a:cubicBezTo>
                <a:cubicBezTo>
                  <a:pt x="259" y="170"/>
                  <a:pt x="259" y="170"/>
                  <a:pt x="259" y="170"/>
                </a:cubicBezTo>
                <a:cubicBezTo>
                  <a:pt x="260" y="169"/>
                  <a:pt x="260" y="169"/>
                  <a:pt x="260" y="169"/>
                </a:cubicBezTo>
                <a:cubicBezTo>
                  <a:pt x="259" y="168"/>
                  <a:pt x="259" y="168"/>
                  <a:pt x="259" y="168"/>
                </a:cubicBezTo>
                <a:close/>
                <a:moveTo>
                  <a:pt x="258" y="167"/>
                </a:moveTo>
                <a:cubicBezTo>
                  <a:pt x="256" y="167"/>
                  <a:pt x="256" y="167"/>
                  <a:pt x="256" y="167"/>
                </a:cubicBezTo>
                <a:cubicBezTo>
                  <a:pt x="255" y="169"/>
                  <a:pt x="255" y="169"/>
                  <a:pt x="255" y="169"/>
                </a:cubicBezTo>
                <a:cubicBezTo>
                  <a:pt x="256" y="171"/>
                  <a:pt x="256" y="171"/>
                  <a:pt x="256" y="171"/>
                </a:cubicBezTo>
                <a:cubicBezTo>
                  <a:pt x="257" y="168"/>
                  <a:pt x="257" y="168"/>
                  <a:pt x="257" y="168"/>
                </a:cubicBezTo>
                <a:cubicBezTo>
                  <a:pt x="258" y="167"/>
                  <a:pt x="258" y="167"/>
                  <a:pt x="258" y="167"/>
                </a:cubicBezTo>
                <a:close/>
                <a:moveTo>
                  <a:pt x="227" y="169"/>
                </a:moveTo>
                <a:cubicBezTo>
                  <a:pt x="227" y="170"/>
                  <a:pt x="227" y="170"/>
                  <a:pt x="227" y="170"/>
                </a:cubicBezTo>
                <a:cubicBezTo>
                  <a:pt x="228" y="171"/>
                  <a:pt x="228" y="171"/>
                  <a:pt x="228" y="171"/>
                </a:cubicBezTo>
                <a:cubicBezTo>
                  <a:pt x="227" y="172"/>
                  <a:pt x="227" y="172"/>
                  <a:pt x="227" y="172"/>
                </a:cubicBezTo>
                <a:cubicBezTo>
                  <a:pt x="228" y="173"/>
                  <a:pt x="228" y="173"/>
                  <a:pt x="228" y="173"/>
                </a:cubicBezTo>
                <a:cubicBezTo>
                  <a:pt x="230" y="174"/>
                  <a:pt x="230" y="174"/>
                  <a:pt x="230" y="174"/>
                </a:cubicBezTo>
                <a:cubicBezTo>
                  <a:pt x="233" y="173"/>
                  <a:pt x="233" y="173"/>
                  <a:pt x="233" y="173"/>
                </a:cubicBezTo>
                <a:cubicBezTo>
                  <a:pt x="234" y="174"/>
                  <a:pt x="234" y="174"/>
                  <a:pt x="234" y="174"/>
                </a:cubicBezTo>
                <a:cubicBezTo>
                  <a:pt x="236" y="173"/>
                  <a:pt x="236" y="173"/>
                  <a:pt x="236" y="173"/>
                </a:cubicBezTo>
                <a:cubicBezTo>
                  <a:pt x="237" y="172"/>
                  <a:pt x="237" y="172"/>
                  <a:pt x="237" y="172"/>
                </a:cubicBezTo>
                <a:cubicBezTo>
                  <a:pt x="239" y="172"/>
                  <a:pt x="239" y="172"/>
                  <a:pt x="239" y="172"/>
                </a:cubicBezTo>
                <a:cubicBezTo>
                  <a:pt x="242" y="171"/>
                  <a:pt x="242" y="171"/>
                  <a:pt x="242" y="171"/>
                </a:cubicBezTo>
                <a:cubicBezTo>
                  <a:pt x="244" y="172"/>
                  <a:pt x="244" y="172"/>
                  <a:pt x="244" y="172"/>
                </a:cubicBezTo>
                <a:cubicBezTo>
                  <a:pt x="246" y="170"/>
                  <a:pt x="246" y="170"/>
                  <a:pt x="246" y="170"/>
                </a:cubicBezTo>
                <a:cubicBezTo>
                  <a:pt x="247" y="171"/>
                  <a:pt x="247" y="171"/>
                  <a:pt x="247" y="171"/>
                </a:cubicBezTo>
                <a:cubicBezTo>
                  <a:pt x="249" y="171"/>
                  <a:pt x="249" y="171"/>
                  <a:pt x="249" y="171"/>
                </a:cubicBezTo>
                <a:cubicBezTo>
                  <a:pt x="252" y="171"/>
                  <a:pt x="252" y="171"/>
                  <a:pt x="252" y="171"/>
                </a:cubicBezTo>
                <a:cubicBezTo>
                  <a:pt x="250" y="170"/>
                  <a:pt x="250" y="170"/>
                  <a:pt x="250" y="170"/>
                </a:cubicBezTo>
                <a:cubicBezTo>
                  <a:pt x="253" y="170"/>
                  <a:pt x="253" y="170"/>
                  <a:pt x="253" y="170"/>
                </a:cubicBezTo>
                <a:cubicBezTo>
                  <a:pt x="253" y="168"/>
                  <a:pt x="253" y="168"/>
                  <a:pt x="253" y="168"/>
                </a:cubicBezTo>
                <a:cubicBezTo>
                  <a:pt x="253" y="169"/>
                  <a:pt x="253" y="169"/>
                  <a:pt x="253" y="169"/>
                </a:cubicBezTo>
                <a:cubicBezTo>
                  <a:pt x="252" y="167"/>
                  <a:pt x="252" y="167"/>
                  <a:pt x="252" y="167"/>
                </a:cubicBezTo>
                <a:cubicBezTo>
                  <a:pt x="252" y="165"/>
                  <a:pt x="252" y="165"/>
                  <a:pt x="252" y="165"/>
                </a:cubicBezTo>
                <a:cubicBezTo>
                  <a:pt x="250" y="165"/>
                  <a:pt x="250" y="165"/>
                  <a:pt x="250" y="165"/>
                </a:cubicBezTo>
                <a:cubicBezTo>
                  <a:pt x="250" y="166"/>
                  <a:pt x="250" y="166"/>
                  <a:pt x="250" y="166"/>
                </a:cubicBezTo>
                <a:cubicBezTo>
                  <a:pt x="249" y="167"/>
                  <a:pt x="249" y="167"/>
                  <a:pt x="249" y="167"/>
                </a:cubicBezTo>
                <a:cubicBezTo>
                  <a:pt x="249" y="165"/>
                  <a:pt x="249" y="165"/>
                  <a:pt x="249" y="165"/>
                </a:cubicBezTo>
                <a:cubicBezTo>
                  <a:pt x="247" y="164"/>
                  <a:pt x="247" y="164"/>
                  <a:pt x="247" y="164"/>
                </a:cubicBezTo>
                <a:cubicBezTo>
                  <a:pt x="245" y="164"/>
                  <a:pt x="245" y="164"/>
                  <a:pt x="245" y="164"/>
                </a:cubicBezTo>
                <a:cubicBezTo>
                  <a:pt x="243" y="163"/>
                  <a:pt x="243" y="163"/>
                  <a:pt x="243" y="163"/>
                </a:cubicBezTo>
                <a:cubicBezTo>
                  <a:pt x="241" y="162"/>
                  <a:pt x="241" y="162"/>
                  <a:pt x="241" y="162"/>
                </a:cubicBezTo>
                <a:cubicBezTo>
                  <a:pt x="238" y="164"/>
                  <a:pt x="238" y="164"/>
                  <a:pt x="238" y="164"/>
                </a:cubicBezTo>
                <a:cubicBezTo>
                  <a:pt x="238" y="165"/>
                  <a:pt x="238" y="165"/>
                  <a:pt x="238" y="165"/>
                </a:cubicBezTo>
                <a:cubicBezTo>
                  <a:pt x="243" y="167"/>
                  <a:pt x="243" y="167"/>
                  <a:pt x="243" y="167"/>
                </a:cubicBezTo>
                <a:cubicBezTo>
                  <a:pt x="244" y="169"/>
                  <a:pt x="244" y="169"/>
                  <a:pt x="244" y="169"/>
                </a:cubicBezTo>
                <a:cubicBezTo>
                  <a:pt x="242" y="169"/>
                  <a:pt x="242" y="169"/>
                  <a:pt x="242" y="169"/>
                </a:cubicBezTo>
                <a:cubicBezTo>
                  <a:pt x="240" y="170"/>
                  <a:pt x="240" y="170"/>
                  <a:pt x="240" y="170"/>
                </a:cubicBezTo>
                <a:cubicBezTo>
                  <a:pt x="237" y="168"/>
                  <a:pt x="237" y="168"/>
                  <a:pt x="237" y="168"/>
                </a:cubicBezTo>
                <a:cubicBezTo>
                  <a:pt x="237" y="166"/>
                  <a:pt x="237" y="166"/>
                  <a:pt x="237" y="166"/>
                </a:cubicBezTo>
                <a:cubicBezTo>
                  <a:pt x="235" y="166"/>
                  <a:pt x="235" y="166"/>
                  <a:pt x="235" y="166"/>
                </a:cubicBezTo>
                <a:cubicBezTo>
                  <a:pt x="234" y="166"/>
                  <a:pt x="234" y="166"/>
                  <a:pt x="234" y="166"/>
                </a:cubicBezTo>
                <a:cubicBezTo>
                  <a:pt x="232" y="166"/>
                  <a:pt x="232" y="166"/>
                  <a:pt x="232" y="166"/>
                </a:cubicBezTo>
                <a:cubicBezTo>
                  <a:pt x="229" y="167"/>
                  <a:pt x="229" y="167"/>
                  <a:pt x="229" y="167"/>
                </a:cubicBezTo>
                <a:cubicBezTo>
                  <a:pt x="229" y="167"/>
                  <a:pt x="227" y="169"/>
                  <a:pt x="227" y="169"/>
                </a:cubicBezTo>
                <a:close/>
                <a:moveTo>
                  <a:pt x="221" y="166"/>
                </a:moveTo>
                <a:cubicBezTo>
                  <a:pt x="223" y="165"/>
                  <a:pt x="223" y="165"/>
                  <a:pt x="223" y="165"/>
                </a:cubicBezTo>
                <a:cubicBezTo>
                  <a:pt x="227" y="166"/>
                  <a:pt x="227" y="166"/>
                  <a:pt x="227" y="166"/>
                </a:cubicBezTo>
                <a:cubicBezTo>
                  <a:pt x="226" y="168"/>
                  <a:pt x="226" y="168"/>
                  <a:pt x="226" y="168"/>
                </a:cubicBezTo>
                <a:cubicBezTo>
                  <a:pt x="225" y="170"/>
                  <a:pt x="225" y="170"/>
                  <a:pt x="225" y="170"/>
                </a:cubicBezTo>
                <a:cubicBezTo>
                  <a:pt x="225" y="171"/>
                  <a:pt x="225" y="171"/>
                  <a:pt x="225" y="171"/>
                </a:cubicBezTo>
                <a:cubicBezTo>
                  <a:pt x="224" y="171"/>
                  <a:pt x="224" y="171"/>
                  <a:pt x="224" y="171"/>
                </a:cubicBezTo>
                <a:cubicBezTo>
                  <a:pt x="222" y="172"/>
                  <a:pt x="222" y="172"/>
                  <a:pt x="222" y="172"/>
                </a:cubicBezTo>
                <a:cubicBezTo>
                  <a:pt x="218" y="171"/>
                  <a:pt x="218" y="171"/>
                  <a:pt x="218" y="171"/>
                </a:cubicBezTo>
                <a:cubicBezTo>
                  <a:pt x="218" y="170"/>
                  <a:pt x="218" y="170"/>
                  <a:pt x="218" y="170"/>
                </a:cubicBezTo>
                <a:cubicBezTo>
                  <a:pt x="219" y="169"/>
                  <a:pt x="219" y="169"/>
                  <a:pt x="219" y="169"/>
                </a:cubicBezTo>
                <a:cubicBezTo>
                  <a:pt x="220" y="169"/>
                  <a:pt x="220" y="169"/>
                  <a:pt x="220" y="169"/>
                </a:cubicBezTo>
                <a:cubicBezTo>
                  <a:pt x="221" y="166"/>
                  <a:pt x="221" y="166"/>
                  <a:pt x="221" y="166"/>
                </a:cubicBezTo>
                <a:close/>
                <a:moveTo>
                  <a:pt x="214" y="170"/>
                </a:moveTo>
                <a:cubicBezTo>
                  <a:pt x="215" y="168"/>
                  <a:pt x="215" y="168"/>
                  <a:pt x="215" y="168"/>
                </a:cubicBezTo>
                <a:cubicBezTo>
                  <a:pt x="216" y="170"/>
                  <a:pt x="216" y="170"/>
                  <a:pt x="216" y="170"/>
                </a:cubicBezTo>
                <a:cubicBezTo>
                  <a:pt x="215" y="170"/>
                  <a:pt x="215" y="170"/>
                  <a:pt x="215" y="170"/>
                </a:cubicBezTo>
                <a:cubicBezTo>
                  <a:pt x="214" y="170"/>
                  <a:pt x="214" y="170"/>
                  <a:pt x="214" y="170"/>
                </a:cubicBezTo>
                <a:close/>
                <a:moveTo>
                  <a:pt x="204" y="163"/>
                </a:moveTo>
                <a:cubicBezTo>
                  <a:pt x="204" y="165"/>
                  <a:pt x="204" y="165"/>
                  <a:pt x="204" y="165"/>
                </a:cubicBezTo>
                <a:cubicBezTo>
                  <a:pt x="205" y="166"/>
                  <a:pt x="205" y="166"/>
                  <a:pt x="205" y="166"/>
                </a:cubicBezTo>
                <a:cubicBezTo>
                  <a:pt x="208" y="167"/>
                  <a:pt x="208" y="167"/>
                  <a:pt x="208" y="167"/>
                </a:cubicBezTo>
                <a:cubicBezTo>
                  <a:pt x="210" y="169"/>
                  <a:pt x="210" y="169"/>
                  <a:pt x="210" y="169"/>
                </a:cubicBezTo>
                <a:cubicBezTo>
                  <a:pt x="211" y="170"/>
                  <a:pt x="211" y="170"/>
                  <a:pt x="211" y="170"/>
                </a:cubicBezTo>
                <a:cubicBezTo>
                  <a:pt x="212" y="168"/>
                  <a:pt x="212" y="168"/>
                  <a:pt x="212" y="168"/>
                </a:cubicBezTo>
                <a:cubicBezTo>
                  <a:pt x="214" y="168"/>
                  <a:pt x="214" y="168"/>
                  <a:pt x="214" y="168"/>
                </a:cubicBezTo>
                <a:cubicBezTo>
                  <a:pt x="214" y="167"/>
                  <a:pt x="214" y="167"/>
                  <a:pt x="214" y="167"/>
                </a:cubicBezTo>
                <a:cubicBezTo>
                  <a:pt x="216" y="166"/>
                  <a:pt x="216" y="166"/>
                  <a:pt x="216" y="166"/>
                </a:cubicBezTo>
                <a:cubicBezTo>
                  <a:pt x="217" y="165"/>
                  <a:pt x="217" y="165"/>
                  <a:pt x="217" y="165"/>
                </a:cubicBezTo>
                <a:cubicBezTo>
                  <a:pt x="214" y="162"/>
                  <a:pt x="214" y="162"/>
                  <a:pt x="214" y="162"/>
                </a:cubicBezTo>
                <a:cubicBezTo>
                  <a:pt x="212" y="162"/>
                  <a:pt x="212" y="162"/>
                  <a:pt x="212" y="162"/>
                </a:cubicBezTo>
                <a:cubicBezTo>
                  <a:pt x="209" y="163"/>
                  <a:pt x="209" y="163"/>
                  <a:pt x="209" y="163"/>
                </a:cubicBezTo>
                <a:cubicBezTo>
                  <a:pt x="206" y="162"/>
                  <a:pt x="206" y="162"/>
                  <a:pt x="206" y="162"/>
                </a:cubicBezTo>
                <a:cubicBezTo>
                  <a:pt x="204" y="163"/>
                  <a:pt x="204" y="163"/>
                  <a:pt x="204" y="163"/>
                </a:cubicBezTo>
                <a:close/>
                <a:moveTo>
                  <a:pt x="463" y="164"/>
                </a:moveTo>
                <a:cubicBezTo>
                  <a:pt x="464" y="165"/>
                  <a:pt x="464" y="165"/>
                  <a:pt x="464" y="165"/>
                </a:cubicBezTo>
                <a:cubicBezTo>
                  <a:pt x="466" y="165"/>
                  <a:pt x="466" y="165"/>
                  <a:pt x="466" y="165"/>
                </a:cubicBezTo>
                <a:cubicBezTo>
                  <a:pt x="466" y="165"/>
                  <a:pt x="466" y="165"/>
                  <a:pt x="466" y="165"/>
                </a:cubicBezTo>
                <a:cubicBezTo>
                  <a:pt x="465" y="162"/>
                  <a:pt x="465" y="162"/>
                  <a:pt x="465" y="162"/>
                </a:cubicBezTo>
                <a:cubicBezTo>
                  <a:pt x="465" y="162"/>
                  <a:pt x="465" y="162"/>
                  <a:pt x="465" y="162"/>
                </a:cubicBezTo>
                <a:cubicBezTo>
                  <a:pt x="464" y="163"/>
                  <a:pt x="464" y="163"/>
                  <a:pt x="464" y="163"/>
                </a:cubicBezTo>
                <a:cubicBezTo>
                  <a:pt x="463" y="164"/>
                  <a:pt x="463" y="164"/>
                  <a:pt x="463" y="164"/>
                </a:cubicBezTo>
                <a:close/>
                <a:moveTo>
                  <a:pt x="452" y="165"/>
                </a:moveTo>
                <a:cubicBezTo>
                  <a:pt x="452" y="165"/>
                  <a:pt x="456" y="165"/>
                  <a:pt x="456" y="165"/>
                </a:cubicBezTo>
                <a:cubicBezTo>
                  <a:pt x="457" y="164"/>
                  <a:pt x="457" y="164"/>
                  <a:pt x="457" y="164"/>
                </a:cubicBezTo>
                <a:cubicBezTo>
                  <a:pt x="460" y="165"/>
                  <a:pt x="460" y="165"/>
                  <a:pt x="460" y="165"/>
                </a:cubicBezTo>
                <a:cubicBezTo>
                  <a:pt x="462" y="164"/>
                  <a:pt x="462" y="164"/>
                  <a:pt x="462" y="164"/>
                </a:cubicBezTo>
                <a:cubicBezTo>
                  <a:pt x="463" y="162"/>
                  <a:pt x="463" y="162"/>
                  <a:pt x="463" y="162"/>
                </a:cubicBezTo>
                <a:cubicBezTo>
                  <a:pt x="465" y="162"/>
                  <a:pt x="465" y="162"/>
                  <a:pt x="465" y="162"/>
                </a:cubicBezTo>
                <a:cubicBezTo>
                  <a:pt x="466" y="160"/>
                  <a:pt x="466" y="160"/>
                  <a:pt x="466" y="160"/>
                </a:cubicBezTo>
                <a:cubicBezTo>
                  <a:pt x="466" y="159"/>
                  <a:pt x="466" y="159"/>
                  <a:pt x="466" y="159"/>
                </a:cubicBezTo>
                <a:cubicBezTo>
                  <a:pt x="466" y="159"/>
                  <a:pt x="466" y="159"/>
                  <a:pt x="466" y="159"/>
                </a:cubicBezTo>
                <a:cubicBezTo>
                  <a:pt x="467" y="157"/>
                  <a:pt x="467" y="157"/>
                  <a:pt x="467" y="157"/>
                </a:cubicBezTo>
                <a:cubicBezTo>
                  <a:pt x="467" y="156"/>
                  <a:pt x="467" y="156"/>
                  <a:pt x="467" y="156"/>
                </a:cubicBezTo>
                <a:cubicBezTo>
                  <a:pt x="466" y="155"/>
                  <a:pt x="466" y="155"/>
                  <a:pt x="466" y="155"/>
                </a:cubicBezTo>
                <a:cubicBezTo>
                  <a:pt x="465" y="154"/>
                  <a:pt x="465" y="154"/>
                  <a:pt x="465" y="154"/>
                </a:cubicBezTo>
                <a:cubicBezTo>
                  <a:pt x="461" y="154"/>
                  <a:pt x="461" y="154"/>
                  <a:pt x="461" y="154"/>
                </a:cubicBezTo>
                <a:cubicBezTo>
                  <a:pt x="459" y="155"/>
                  <a:pt x="459" y="155"/>
                  <a:pt x="459" y="155"/>
                </a:cubicBezTo>
                <a:cubicBezTo>
                  <a:pt x="458" y="158"/>
                  <a:pt x="458" y="158"/>
                  <a:pt x="458" y="158"/>
                </a:cubicBezTo>
                <a:cubicBezTo>
                  <a:pt x="456" y="161"/>
                  <a:pt x="456" y="161"/>
                  <a:pt x="456" y="161"/>
                </a:cubicBezTo>
                <a:cubicBezTo>
                  <a:pt x="452" y="165"/>
                  <a:pt x="452" y="165"/>
                  <a:pt x="452" y="165"/>
                </a:cubicBezTo>
                <a:close/>
                <a:moveTo>
                  <a:pt x="188" y="149"/>
                </a:moveTo>
                <a:cubicBezTo>
                  <a:pt x="186" y="151"/>
                  <a:pt x="186" y="151"/>
                  <a:pt x="186" y="151"/>
                </a:cubicBezTo>
                <a:cubicBezTo>
                  <a:pt x="188" y="153"/>
                  <a:pt x="188" y="153"/>
                  <a:pt x="188" y="153"/>
                </a:cubicBezTo>
                <a:cubicBezTo>
                  <a:pt x="190" y="153"/>
                  <a:pt x="190" y="153"/>
                  <a:pt x="190" y="153"/>
                </a:cubicBezTo>
                <a:cubicBezTo>
                  <a:pt x="191" y="153"/>
                  <a:pt x="191" y="153"/>
                  <a:pt x="191" y="153"/>
                </a:cubicBezTo>
                <a:cubicBezTo>
                  <a:pt x="195" y="153"/>
                  <a:pt x="195" y="153"/>
                  <a:pt x="195" y="153"/>
                </a:cubicBezTo>
                <a:cubicBezTo>
                  <a:pt x="197" y="152"/>
                  <a:pt x="197" y="152"/>
                  <a:pt x="197" y="152"/>
                </a:cubicBezTo>
                <a:cubicBezTo>
                  <a:pt x="199" y="152"/>
                  <a:pt x="199" y="152"/>
                  <a:pt x="199" y="152"/>
                </a:cubicBezTo>
                <a:cubicBezTo>
                  <a:pt x="200" y="150"/>
                  <a:pt x="200" y="150"/>
                  <a:pt x="200" y="150"/>
                </a:cubicBezTo>
                <a:cubicBezTo>
                  <a:pt x="199" y="150"/>
                  <a:pt x="199" y="150"/>
                  <a:pt x="199" y="150"/>
                </a:cubicBezTo>
                <a:cubicBezTo>
                  <a:pt x="196" y="150"/>
                  <a:pt x="196" y="150"/>
                  <a:pt x="196" y="150"/>
                </a:cubicBezTo>
                <a:cubicBezTo>
                  <a:pt x="195" y="150"/>
                  <a:pt x="195" y="150"/>
                  <a:pt x="195" y="150"/>
                </a:cubicBezTo>
                <a:cubicBezTo>
                  <a:pt x="189" y="149"/>
                  <a:pt x="189" y="149"/>
                  <a:pt x="189" y="149"/>
                </a:cubicBezTo>
                <a:cubicBezTo>
                  <a:pt x="188" y="149"/>
                  <a:pt x="188" y="149"/>
                  <a:pt x="188" y="149"/>
                </a:cubicBezTo>
                <a:close/>
                <a:moveTo>
                  <a:pt x="107" y="145"/>
                </a:moveTo>
                <a:cubicBezTo>
                  <a:pt x="108" y="146"/>
                  <a:pt x="108" y="146"/>
                  <a:pt x="108" y="146"/>
                </a:cubicBezTo>
                <a:cubicBezTo>
                  <a:pt x="108" y="146"/>
                  <a:pt x="108" y="146"/>
                  <a:pt x="108" y="146"/>
                </a:cubicBezTo>
                <a:cubicBezTo>
                  <a:pt x="109" y="145"/>
                  <a:pt x="109" y="145"/>
                  <a:pt x="109" y="145"/>
                </a:cubicBezTo>
                <a:cubicBezTo>
                  <a:pt x="107" y="145"/>
                  <a:pt x="107" y="145"/>
                  <a:pt x="107" y="145"/>
                </a:cubicBezTo>
                <a:close/>
                <a:moveTo>
                  <a:pt x="109" y="147"/>
                </a:moveTo>
                <a:cubicBezTo>
                  <a:pt x="110" y="148"/>
                  <a:pt x="110" y="148"/>
                  <a:pt x="110" y="148"/>
                </a:cubicBezTo>
                <a:cubicBezTo>
                  <a:pt x="111" y="147"/>
                  <a:pt x="111" y="147"/>
                  <a:pt x="111" y="147"/>
                </a:cubicBezTo>
                <a:cubicBezTo>
                  <a:pt x="112" y="145"/>
                  <a:pt x="112" y="145"/>
                  <a:pt x="112" y="145"/>
                </a:cubicBezTo>
                <a:cubicBezTo>
                  <a:pt x="114" y="145"/>
                  <a:pt x="114" y="145"/>
                  <a:pt x="114" y="145"/>
                </a:cubicBezTo>
                <a:cubicBezTo>
                  <a:pt x="115" y="142"/>
                  <a:pt x="115" y="142"/>
                  <a:pt x="115" y="142"/>
                </a:cubicBezTo>
                <a:cubicBezTo>
                  <a:pt x="115" y="140"/>
                  <a:pt x="115" y="140"/>
                  <a:pt x="115" y="140"/>
                </a:cubicBezTo>
                <a:cubicBezTo>
                  <a:pt x="117" y="138"/>
                  <a:pt x="117" y="138"/>
                  <a:pt x="117" y="138"/>
                </a:cubicBezTo>
                <a:cubicBezTo>
                  <a:pt x="118" y="139"/>
                  <a:pt x="118" y="139"/>
                  <a:pt x="118" y="139"/>
                </a:cubicBezTo>
                <a:cubicBezTo>
                  <a:pt x="120" y="139"/>
                  <a:pt x="120" y="139"/>
                  <a:pt x="120" y="139"/>
                </a:cubicBezTo>
                <a:cubicBezTo>
                  <a:pt x="124" y="139"/>
                  <a:pt x="124" y="139"/>
                  <a:pt x="124" y="139"/>
                </a:cubicBezTo>
                <a:cubicBezTo>
                  <a:pt x="125" y="140"/>
                  <a:pt x="125" y="140"/>
                  <a:pt x="125" y="140"/>
                </a:cubicBezTo>
                <a:cubicBezTo>
                  <a:pt x="126" y="140"/>
                  <a:pt x="126" y="140"/>
                  <a:pt x="126" y="140"/>
                </a:cubicBezTo>
                <a:cubicBezTo>
                  <a:pt x="127" y="139"/>
                  <a:pt x="127" y="139"/>
                  <a:pt x="127" y="139"/>
                </a:cubicBezTo>
                <a:cubicBezTo>
                  <a:pt x="131" y="139"/>
                  <a:pt x="131" y="139"/>
                  <a:pt x="131" y="139"/>
                </a:cubicBezTo>
                <a:cubicBezTo>
                  <a:pt x="133" y="140"/>
                  <a:pt x="133" y="140"/>
                  <a:pt x="133" y="140"/>
                </a:cubicBezTo>
                <a:cubicBezTo>
                  <a:pt x="136" y="141"/>
                  <a:pt x="136" y="141"/>
                  <a:pt x="136" y="141"/>
                </a:cubicBezTo>
                <a:cubicBezTo>
                  <a:pt x="141" y="142"/>
                  <a:pt x="141" y="142"/>
                  <a:pt x="141" y="142"/>
                </a:cubicBezTo>
                <a:cubicBezTo>
                  <a:pt x="142" y="144"/>
                  <a:pt x="142" y="144"/>
                  <a:pt x="142" y="144"/>
                </a:cubicBezTo>
                <a:cubicBezTo>
                  <a:pt x="142" y="146"/>
                  <a:pt x="142" y="146"/>
                  <a:pt x="142" y="146"/>
                </a:cubicBezTo>
                <a:cubicBezTo>
                  <a:pt x="143" y="147"/>
                  <a:pt x="143" y="147"/>
                  <a:pt x="143" y="147"/>
                </a:cubicBezTo>
                <a:cubicBezTo>
                  <a:pt x="146" y="149"/>
                  <a:pt x="146" y="149"/>
                  <a:pt x="146" y="149"/>
                </a:cubicBezTo>
                <a:cubicBezTo>
                  <a:pt x="153" y="149"/>
                  <a:pt x="153" y="149"/>
                  <a:pt x="153" y="149"/>
                </a:cubicBezTo>
                <a:cubicBezTo>
                  <a:pt x="158" y="149"/>
                  <a:pt x="158" y="149"/>
                  <a:pt x="158" y="149"/>
                </a:cubicBezTo>
                <a:cubicBezTo>
                  <a:pt x="163" y="149"/>
                  <a:pt x="163" y="149"/>
                  <a:pt x="163" y="149"/>
                </a:cubicBezTo>
                <a:cubicBezTo>
                  <a:pt x="165" y="147"/>
                  <a:pt x="165" y="147"/>
                  <a:pt x="165" y="147"/>
                </a:cubicBezTo>
                <a:cubicBezTo>
                  <a:pt x="165" y="143"/>
                  <a:pt x="165" y="143"/>
                  <a:pt x="165" y="143"/>
                </a:cubicBezTo>
                <a:cubicBezTo>
                  <a:pt x="167" y="143"/>
                  <a:pt x="167" y="143"/>
                  <a:pt x="167" y="143"/>
                </a:cubicBezTo>
                <a:cubicBezTo>
                  <a:pt x="170" y="145"/>
                  <a:pt x="170" y="145"/>
                  <a:pt x="170" y="145"/>
                </a:cubicBezTo>
                <a:cubicBezTo>
                  <a:pt x="172" y="145"/>
                  <a:pt x="172" y="145"/>
                  <a:pt x="172" y="145"/>
                </a:cubicBezTo>
                <a:cubicBezTo>
                  <a:pt x="173" y="145"/>
                  <a:pt x="173" y="145"/>
                  <a:pt x="173" y="145"/>
                </a:cubicBezTo>
                <a:cubicBezTo>
                  <a:pt x="175" y="146"/>
                  <a:pt x="175" y="146"/>
                  <a:pt x="175" y="146"/>
                </a:cubicBezTo>
                <a:cubicBezTo>
                  <a:pt x="177" y="148"/>
                  <a:pt x="177" y="148"/>
                  <a:pt x="177" y="148"/>
                </a:cubicBezTo>
                <a:cubicBezTo>
                  <a:pt x="179" y="148"/>
                  <a:pt x="179" y="148"/>
                  <a:pt x="179" y="148"/>
                </a:cubicBezTo>
                <a:cubicBezTo>
                  <a:pt x="181" y="149"/>
                  <a:pt x="181" y="149"/>
                  <a:pt x="181" y="149"/>
                </a:cubicBezTo>
                <a:cubicBezTo>
                  <a:pt x="182" y="149"/>
                  <a:pt x="182" y="149"/>
                  <a:pt x="182" y="149"/>
                </a:cubicBezTo>
                <a:cubicBezTo>
                  <a:pt x="185" y="149"/>
                  <a:pt x="185" y="149"/>
                  <a:pt x="185" y="149"/>
                </a:cubicBezTo>
                <a:cubicBezTo>
                  <a:pt x="185" y="152"/>
                  <a:pt x="185" y="152"/>
                  <a:pt x="185" y="152"/>
                </a:cubicBezTo>
                <a:cubicBezTo>
                  <a:pt x="187" y="154"/>
                  <a:pt x="187" y="154"/>
                  <a:pt x="187" y="154"/>
                </a:cubicBezTo>
                <a:cubicBezTo>
                  <a:pt x="187" y="156"/>
                  <a:pt x="187" y="156"/>
                  <a:pt x="187" y="156"/>
                </a:cubicBezTo>
                <a:cubicBezTo>
                  <a:pt x="189" y="158"/>
                  <a:pt x="189" y="158"/>
                  <a:pt x="189" y="158"/>
                </a:cubicBezTo>
                <a:cubicBezTo>
                  <a:pt x="191" y="159"/>
                  <a:pt x="191" y="159"/>
                  <a:pt x="191" y="159"/>
                </a:cubicBezTo>
                <a:cubicBezTo>
                  <a:pt x="193" y="158"/>
                  <a:pt x="193" y="158"/>
                  <a:pt x="193" y="158"/>
                </a:cubicBezTo>
                <a:cubicBezTo>
                  <a:pt x="195" y="159"/>
                  <a:pt x="195" y="159"/>
                  <a:pt x="195" y="159"/>
                </a:cubicBezTo>
                <a:cubicBezTo>
                  <a:pt x="197" y="159"/>
                  <a:pt x="197" y="159"/>
                  <a:pt x="197" y="159"/>
                </a:cubicBezTo>
                <a:cubicBezTo>
                  <a:pt x="198" y="158"/>
                  <a:pt x="198" y="158"/>
                  <a:pt x="198" y="158"/>
                </a:cubicBezTo>
                <a:cubicBezTo>
                  <a:pt x="200" y="158"/>
                  <a:pt x="200" y="158"/>
                  <a:pt x="200" y="158"/>
                </a:cubicBezTo>
                <a:cubicBezTo>
                  <a:pt x="200" y="159"/>
                  <a:pt x="200" y="159"/>
                  <a:pt x="200" y="159"/>
                </a:cubicBezTo>
                <a:cubicBezTo>
                  <a:pt x="202" y="159"/>
                  <a:pt x="202" y="159"/>
                  <a:pt x="202" y="159"/>
                </a:cubicBezTo>
                <a:cubicBezTo>
                  <a:pt x="203" y="160"/>
                  <a:pt x="203" y="160"/>
                  <a:pt x="203" y="160"/>
                </a:cubicBezTo>
                <a:cubicBezTo>
                  <a:pt x="203" y="165"/>
                  <a:pt x="203" y="165"/>
                  <a:pt x="203" y="165"/>
                </a:cubicBezTo>
                <a:cubicBezTo>
                  <a:pt x="202" y="166"/>
                  <a:pt x="202" y="166"/>
                  <a:pt x="202" y="166"/>
                </a:cubicBezTo>
                <a:cubicBezTo>
                  <a:pt x="203" y="167"/>
                  <a:pt x="203" y="167"/>
                  <a:pt x="203" y="167"/>
                </a:cubicBezTo>
                <a:cubicBezTo>
                  <a:pt x="203" y="170"/>
                  <a:pt x="203" y="170"/>
                  <a:pt x="203" y="170"/>
                </a:cubicBezTo>
                <a:cubicBezTo>
                  <a:pt x="202" y="171"/>
                  <a:pt x="202" y="171"/>
                  <a:pt x="202" y="171"/>
                </a:cubicBezTo>
                <a:cubicBezTo>
                  <a:pt x="200" y="169"/>
                  <a:pt x="200" y="169"/>
                  <a:pt x="200" y="169"/>
                </a:cubicBezTo>
                <a:cubicBezTo>
                  <a:pt x="198" y="169"/>
                  <a:pt x="198" y="169"/>
                  <a:pt x="198" y="169"/>
                </a:cubicBezTo>
                <a:cubicBezTo>
                  <a:pt x="195" y="167"/>
                  <a:pt x="195" y="167"/>
                  <a:pt x="195" y="167"/>
                </a:cubicBezTo>
                <a:cubicBezTo>
                  <a:pt x="193" y="166"/>
                  <a:pt x="193" y="166"/>
                  <a:pt x="193" y="166"/>
                </a:cubicBezTo>
                <a:cubicBezTo>
                  <a:pt x="191" y="164"/>
                  <a:pt x="191" y="164"/>
                  <a:pt x="191" y="164"/>
                </a:cubicBezTo>
                <a:cubicBezTo>
                  <a:pt x="190" y="164"/>
                  <a:pt x="190" y="164"/>
                  <a:pt x="190" y="164"/>
                </a:cubicBezTo>
                <a:cubicBezTo>
                  <a:pt x="186" y="166"/>
                  <a:pt x="186" y="166"/>
                  <a:pt x="186" y="166"/>
                </a:cubicBezTo>
                <a:cubicBezTo>
                  <a:pt x="183" y="166"/>
                  <a:pt x="183" y="166"/>
                  <a:pt x="183" y="166"/>
                </a:cubicBezTo>
                <a:cubicBezTo>
                  <a:pt x="181" y="164"/>
                  <a:pt x="181" y="164"/>
                  <a:pt x="181" y="164"/>
                </a:cubicBezTo>
                <a:cubicBezTo>
                  <a:pt x="178" y="164"/>
                  <a:pt x="178" y="164"/>
                  <a:pt x="178" y="164"/>
                </a:cubicBezTo>
                <a:cubicBezTo>
                  <a:pt x="175" y="166"/>
                  <a:pt x="175" y="166"/>
                  <a:pt x="175" y="166"/>
                </a:cubicBezTo>
                <a:cubicBezTo>
                  <a:pt x="172" y="164"/>
                  <a:pt x="172" y="164"/>
                  <a:pt x="172" y="164"/>
                </a:cubicBezTo>
                <a:cubicBezTo>
                  <a:pt x="169" y="164"/>
                  <a:pt x="169" y="164"/>
                  <a:pt x="169" y="164"/>
                </a:cubicBezTo>
                <a:cubicBezTo>
                  <a:pt x="167" y="165"/>
                  <a:pt x="167" y="165"/>
                  <a:pt x="167" y="165"/>
                </a:cubicBezTo>
                <a:cubicBezTo>
                  <a:pt x="161" y="163"/>
                  <a:pt x="161" y="163"/>
                  <a:pt x="161" y="163"/>
                </a:cubicBezTo>
                <a:cubicBezTo>
                  <a:pt x="156" y="159"/>
                  <a:pt x="156" y="159"/>
                  <a:pt x="156" y="159"/>
                </a:cubicBezTo>
                <a:cubicBezTo>
                  <a:pt x="152" y="160"/>
                  <a:pt x="152" y="160"/>
                  <a:pt x="152" y="160"/>
                </a:cubicBezTo>
                <a:cubicBezTo>
                  <a:pt x="150" y="158"/>
                  <a:pt x="150" y="158"/>
                  <a:pt x="150" y="158"/>
                </a:cubicBezTo>
                <a:cubicBezTo>
                  <a:pt x="148" y="158"/>
                  <a:pt x="148" y="158"/>
                  <a:pt x="148" y="158"/>
                </a:cubicBezTo>
                <a:cubicBezTo>
                  <a:pt x="147" y="159"/>
                  <a:pt x="147" y="159"/>
                  <a:pt x="147" y="159"/>
                </a:cubicBezTo>
                <a:cubicBezTo>
                  <a:pt x="145" y="159"/>
                  <a:pt x="145" y="159"/>
                  <a:pt x="145" y="159"/>
                </a:cubicBezTo>
                <a:cubicBezTo>
                  <a:pt x="143" y="157"/>
                  <a:pt x="143" y="157"/>
                  <a:pt x="143" y="157"/>
                </a:cubicBezTo>
                <a:cubicBezTo>
                  <a:pt x="142" y="157"/>
                  <a:pt x="142" y="157"/>
                  <a:pt x="142" y="157"/>
                </a:cubicBezTo>
                <a:cubicBezTo>
                  <a:pt x="140" y="160"/>
                  <a:pt x="140" y="160"/>
                  <a:pt x="140" y="160"/>
                </a:cubicBezTo>
                <a:cubicBezTo>
                  <a:pt x="135" y="158"/>
                  <a:pt x="135" y="158"/>
                  <a:pt x="135" y="158"/>
                </a:cubicBezTo>
                <a:cubicBezTo>
                  <a:pt x="132" y="156"/>
                  <a:pt x="132" y="156"/>
                  <a:pt x="132" y="156"/>
                </a:cubicBezTo>
                <a:cubicBezTo>
                  <a:pt x="129" y="156"/>
                  <a:pt x="129" y="156"/>
                  <a:pt x="129" y="156"/>
                </a:cubicBezTo>
                <a:cubicBezTo>
                  <a:pt x="127" y="155"/>
                  <a:pt x="127" y="155"/>
                  <a:pt x="127" y="155"/>
                </a:cubicBezTo>
                <a:cubicBezTo>
                  <a:pt x="125" y="156"/>
                  <a:pt x="125" y="156"/>
                  <a:pt x="125" y="156"/>
                </a:cubicBezTo>
                <a:cubicBezTo>
                  <a:pt x="123" y="155"/>
                  <a:pt x="123" y="155"/>
                  <a:pt x="123" y="155"/>
                </a:cubicBezTo>
                <a:cubicBezTo>
                  <a:pt x="120" y="155"/>
                  <a:pt x="120" y="155"/>
                  <a:pt x="120" y="155"/>
                </a:cubicBezTo>
                <a:cubicBezTo>
                  <a:pt x="119" y="154"/>
                  <a:pt x="119" y="154"/>
                  <a:pt x="119" y="154"/>
                </a:cubicBezTo>
                <a:cubicBezTo>
                  <a:pt x="121" y="151"/>
                  <a:pt x="121" y="151"/>
                  <a:pt x="121" y="151"/>
                </a:cubicBezTo>
                <a:cubicBezTo>
                  <a:pt x="122" y="150"/>
                  <a:pt x="122" y="150"/>
                  <a:pt x="122" y="150"/>
                </a:cubicBezTo>
                <a:cubicBezTo>
                  <a:pt x="120" y="150"/>
                  <a:pt x="120" y="150"/>
                  <a:pt x="120" y="150"/>
                </a:cubicBezTo>
                <a:cubicBezTo>
                  <a:pt x="119" y="151"/>
                  <a:pt x="119" y="151"/>
                  <a:pt x="119" y="151"/>
                </a:cubicBezTo>
                <a:cubicBezTo>
                  <a:pt x="117" y="150"/>
                  <a:pt x="117" y="150"/>
                  <a:pt x="117" y="150"/>
                </a:cubicBezTo>
                <a:cubicBezTo>
                  <a:pt x="116" y="148"/>
                  <a:pt x="116" y="148"/>
                  <a:pt x="116" y="148"/>
                </a:cubicBezTo>
                <a:cubicBezTo>
                  <a:pt x="114" y="149"/>
                  <a:pt x="114" y="149"/>
                  <a:pt x="114" y="149"/>
                </a:cubicBezTo>
                <a:cubicBezTo>
                  <a:pt x="110" y="149"/>
                  <a:pt x="110" y="149"/>
                  <a:pt x="110" y="149"/>
                </a:cubicBezTo>
                <a:cubicBezTo>
                  <a:pt x="108" y="148"/>
                  <a:pt x="108" y="148"/>
                  <a:pt x="108" y="148"/>
                </a:cubicBezTo>
                <a:cubicBezTo>
                  <a:pt x="108" y="147"/>
                  <a:pt x="108" y="147"/>
                  <a:pt x="108" y="147"/>
                </a:cubicBezTo>
                <a:cubicBezTo>
                  <a:pt x="109" y="147"/>
                  <a:pt x="109" y="147"/>
                  <a:pt x="109" y="147"/>
                </a:cubicBezTo>
                <a:close/>
                <a:moveTo>
                  <a:pt x="137" y="27"/>
                </a:moveTo>
                <a:cubicBezTo>
                  <a:pt x="139" y="29"/>
                  <a:pt x="139" y="29"/>
                  <a:pt x="139" y="29"/>
                </a:cubicBezTo>
                <a:cubicBezTo>
                  <a:pt x="140" y="29"/>
                  <a:pt x="140" y="29"/>
                  <a:pt x="140" y="29"/>
                </a:cubicBezTo>
                <a:cubicBezTo>
                  <a:pt x="140" y="31"/>
                  <a:pt x="140" y="31"/>
                  <a:pt x="140" y="31"/>
                </a:cubicBezTo>
                <a:cubicBezTo>
                  <a:pt x="141" y="31"/>
                  <a:pt x="141" y="31"/>
                  <a:pt x="141" y="31"/>
                </a:cubicBezTo>
                <a:cubicBezTo>
                  <a:pt x="142" y="28"/>
                  <a:pt x="142" y="28"/>
                  <a:pt x="142" y="28"/>
                </a:cubicBezTo>
                <a:cubicBezTo>
                  <a:pt x="140" y="24"/>
                  <a:pt x="140" y="24"/>
                  <a:pt x="140" y="24"/>
                </a:cubicBezTo>
                <a:cubicBezTo>
                  <a:pt x="138" y="25"/>
                  <a:pt x="138" y="25"/>
                  <a:pt x="138" y="25"/>
                </a:cubicBezTo>
                <a:cubicBezTo>
                  <a:pt x="137" y="27"/>
                  <a:pt x="137" y="27"/>
                  <a:pt x="137" y="27"/>
                </a:cubicBezTo>
                <a:close/>
                <a:moveTo>
                  <a:pt x="119" y="40"/>
                </a:moveTo>
                <a:cubicBezTo>
                  <a:pt x="119" y="42"/>
                  <a:pt x="119" y="42"/>
                  <a:pt x="119" y="42"/>
                </a:cubicBezTo>
                <a:cubicBezTo>
                  <a:pt x="120" y="41"/>
                  <a:pt x="120" y="41"/>
                  <a:pt x="120" y="41"/>
                </a:cubicBezTo>
                <a:cubicBezTo>
                  <a:pt x="119" y="40"/>
                  <a:pt x="119" y="40"/>
                  <a:pt x="119" y="40"/>
                </a:cubicBezTo>
                <a:close/>
                <a:moveTo>
                  <a:pt x="119" y="36"/>
                </a:moveTo>
                <a:cubicBezTo>
                  <a:pt x="120" y="34"/>
                  <a:pt x="120" y="34"/>
                  <a:pt x="120" y="34"/>
                </a:cubicBezTo>
                <a:cubicBezTo>
                  <a:pt x="119" y="34"/>
                  <a:pt x="119" y="34"/>
                  <a:pt x="119" y="34"/>
                </a:cubicBezTo>
                <a:cubicBezTo>
                  <a:pt x="119" y="36"/>
                  <a:pt x="119" y="36"/>
                  <a:pt x="119" y="36"/>
                </a:cubicBezTo>
                <a:close/>
                <a:moveTo>
                  <a:pt x="119" y="36"/>
                </a:moveTo>
                <a:cubicBezTo>
                  <a:pt x="119" y="38"/>
                  <a:pt x="119" y="38"/>
                  <a:pt x="119" y="38"/>
                </a:cubicBezTo>
                <a:cubicBezTo>
                  <a:pt x="120" y="38"/>
                  <a:pt x="120" y="38"/>
                  <a:pt x="120" y="38"/>
                </a:cubicBezTo>
                <a:cubicBezTo>
                  <a:pt x="119" y="36"/>
                  <a:pt x="119" y="36"/>
                  <a:pt x="119" y="36"/>
                </a:cubicBezTo>
                <a:close/>
                <a:moveTo>
                  <a:pt x="112" y="38"/>
                </a:moveTo>
                <a:cubicBezTo>
                  <a:pt x="112" y="40"/>
                  <a:pt x="112" y="40"/>
                  <a:pt x="112" y="40"/>
                </a:cubicBezTo>
                <a:cubicBezTo>
                  <a:pt x="113" y="41"/>
                  <a:pt x="113" y="41"/>
                  <a:pt x="113" y="41"/>
                </a:cubicBezTo>
                <a:cubicBezTo>
                  <a:pt x="115" y="39"/>
                  <a:pt x="115" y="39"/>
                  <a:pt x="115" y="39"/>
                </a:cubicBezTo>
                <a:cubicBezTo>
                  <a:pt x="114" y="38"/>
                  <a:pt x="114" y="38"/>
                  <a:pt x="114" y="38"/>
                </a:cubicBezTo>
                <a:cubicBezTo>
                  <a:pt x="112" y="38"/>
                  <a:pt x="112" y="38"/>
                  <a:pt x="112" y="38"/>
                </a:cubicBezTo>
                <a:close/>
                <a:moveTo>
                  <a:pt x="94" y="62"/>
                </a:moveTo>
                <a:cubicBezTo>
                  <a:pt x="96" y="63"/>
                  <a:pt x="96" y="63"/>
                  <a:pt x="96" y="63"/>
                </a:cubicBezTo>
                <a:cubicBezTo>
                  <a:pt x="98" y="61"/>
                  <a:pt x="98" y="61"/>
                  <a:pt x="98" y="61"/>
                </a:cubicBezTo>
                <a:cubicBezTo>
                  <a:pt x="97" y="59"/>
                  <a:pt x="97" y="59"/>
                  <a:pt x="97" y="59"/>
                </a:cubicBezTo>
                <a:cubicBezTo>
                  <a:pt x="94" y="62"/>
                  <a:pt x="94" y="62"/>
                  <a:pt x="94" y="62"/>
                </a:cubicBezTo>
                <a:close/>
                <a:moveTo>
                  <a:pt x="99" y="60"/>
                </a:moveTo>
                <a:cubicBezTo>
                  <a:pt x="98" y="62"/>
                  <a:pt x="98" y="62"/>
                  <a:pt x="98" y="62"/>
                </a:cubicBezTo>
                <a:cubicBezTo>
                  <a:pt x="101" y="63"/>
                  <a:pt x="101" y="63"/>
                  <a:pt x="101" y="63"/>
                </a:cubicBezTo>
                <a:cubicBezTo>
                  <a:pt x="101" y="65"/>
                  <a:pt x="101" y="65"/>
                  <a:pt x="101" y="65"/>
                </a:cubicBezTo>
                <a:cubicBezTo>
                  <a:pt x="103" y="65"/>
                  <a:pt x="103" y="65"/>
                  <a:pt x="103" y="65"/>
                </a:cubicBezTo>
                <a:cubicBezTo>
                  <a:pt x="103" y="62"/>
                  <a:pt x="103" y="62"/>
                  <a:pt x="103" y="62"/>
                </a:cubicBezTo>
                <a:cubicBezTo>
                  <a:pt x="102" y="60"/>
                  <a:pt x="102" y="60"/>
                  <a:pt x="102" y="60"/>
                </a:cubicBezTo>
                <a:cubicBezTo>
                  <a:pt x="103" y="59"/>
                  <a:pt x="103" y="59"/>
                  <a:pt x="103" y="59"/>
                </a:cubicBezTo>
                <a:cubicBezTo>
                  <a:pt x="102" y="59"/>
                  <a:pt x="102" y="59"/>
                  <a:pt x="102" y="59"/>
                </a:cubicBezTo>
                <a:cubicBezTo>
                  <a:pt x="101" y="60"/>
                  <a:pt x="101" y="60"/>
                  <a:pt x="101" y="60"/>
                </a:cubicBezTo>
                <a:cubicBezTo>
                  <a:pt x="99" y="60"/>
                  <a:pt x="99" y="60"/>
                  <a:pt x="99" y="60"/>
                </a:cubicBezTo>
                <a:close/>
                <a:moveTo>
                  <a:pt x="147" y="92"/>
                </a:moveTo>
                <a:cubicBezTo>
                  <a:pt x="147" y="93"/>
                  <a:pt x="147" y="93"/>
                  <a:pt x="147" y="93"/>
                </a:cubicBezTo>
                <a:cubicBezTo>
                  <a:pt x="148" y="94"/>
                  <a:pt x="148" y="94"/>
                  <a:pt x="148" y="94"/>
                </a:cubicBezTo>
                <a:cubicBezTo>
                  <a:pt x="149" y="93"/>
                  <a:pt x="149" y="93"/>
                  <a:pt x="149" y="93"/>
                </a:cubicBezTo>
                <a:cubicBezTo>
                  <a:pt x="148" y="92"/>
                  <a:pt x="148" y="92"/>
                  <a:pt x="148" y="92"/>
                </a:cubicBezTo>
                <a:cubicBezTo>
                  <a:pt x="147" y="92"/>
                  <a:pt x="147" y="92"/>
                  <a:pt x="147" y="92"/>
                </a:cubicBezTo>
                <a:close/>
                <a:moveTo>
                  <a:pt x="133" y="102"/>
                </a:moveTo>
                <a:cubicBezTo>
                  <a:pt x="133" y="104"/>
                  <a:pt x="133" y="104"/>
                  <a:pt x="133" y="104"/>
                </a:cubicBezTo>
                <a:cubicBezTo>
                  <a:pt x="133" y="105"/>
                  <a:pt x="133" y="105"/>
                  <a:pt x="133" y="105"/>
                </a:cubicBezTo>
                <a:cubicBezTo>
                  <a:pt x="131" y="105"/>
                  <a:pt x="131" y="105"/>
                  <a:pt x="131" y="105"/>
                </a:cubicBezTo>
                <a:cubicBezTo>
                  <a:pt x="130" y="106"/>
                  <a:pt x="130" y="106"/>
                  <a:pt x="130" y="106"/>
                </a:cubicBezTo>
                <a:cubicBezTo>
                  <a:pt x="132" y="106"/>
                  <a:pt x="132" y="106"/>
                  <a:pt x="132" y="106"/>
                </a:cubicBezTo>
                <a:cubicBezTo>
                  <a:pt x="132" y="106"/>
                  <a:pt x="132" y="106"/>
                  <a:pt x="132" y="106"/>
                </a:cubicBezTo>
                <a:cubicBezTo>
                  <a:pt x="134" y="105"/>
                  <a:pt x="134" y="105"/>
                  <a:pt x="134" y="105"/>
                </a:cubicBezTo>
                <a:cubicBezTo>
                  <a:pt x="133" y="108"/>
                  <a:pt x="133" y="108"/>
                  <a:pt x="133" y="108"/>
                </a:cubicBezTo>
                <a:cubicBezTo>
                  <a:pt x="135" y="110"/>
                  <a:pt x="135" y="110"/>
                  <a:pt x="135" y="110"/>
                </a:cubicBezTo>
                <a:cubicBezTo>
                  <a:pt x="137" y="107"/>
                  <a:pt x="137" y="107"/>
                  <a:pt x="137" y="107"/>
                </a:cubicBezTo>
                <a:cubicBezTo>
                  <a:pt x="138" y="108"/>
                  <a:pt x="138" y="108"/>
                  <a:pt x="138" y="108"/>
                </a:cubicBezTo>
                <a:cubicBezTo>
                  <a:pt x="140" y="109"/>
                  <a:pt x="140" y="109"/>
                  <a:pt x="140" y="109"/>
                </a:cubicBezTo>
                <a:cubicBezTo>
                  <a:pt x="140" y="107"/>
                  <a:pt x="140" y="107"/>
                  <a:pt x="140" y="107"/>
                </a:cubicBezTo>
                <a:cubicBezTo>
                  <a:pt x="142" y="106"/>
                  <a:pt x="142" y="106"/>
                  <a:pt x="142" y="106"/>
                </a:cubicBezTo>
                <a:cubicBezTo>
                  <a:pt x="141" y="104"/>
                  <a:pt x="141" y="104"/>
                  <a:pt x="141" y="104"/>
                </a:cubicBezTo>
                <a:cubicBezTo>
                  <a:pt x="137" y="102"/>
                  <a:pt x="137" y="102"/>
                  <a:pt x="137" y="102"/>
                </a:cubicBezTo>
                <a:cubicBezTo>
                  <a:pt x="134" y="101"/>
                  <a:pt x="134" y="101"/>
                  <a:pt x="134" y="101"/>
                </a:cubicBezTo>
                <a:cubicBezTo>
                  <a:pt x="133" y="102"/>
                  <a:pt x="133" y="102"/>
                  <a:pt x="133" y="102"/>
                </a:cubicBezTo>
                <a:close/>
                <a:moveTo>
                  <a:pt x="126" y="106"/>
                </a:moveTo>
                <a:cubicBezTo>
                  <a:pt x="126" y="108"/>
                  <a:pt x="126" y="108"/>
                  <a:pt x="126" y="108"/>
                </a:cubicBezTo>
                <a:cubicBezTo>
                  <a:pt x="127" y="106"/>
                  <a:pt x="127" y="106"/>
                  <a:pt x="127" y="106"/>
                </a:cubicBezTo>
                <a:cubicBezTo>
                  <a:pt x="126" y="106"/>
                  <a:pt x="126" y="106"/>
                  <a:pt x="126" y="106"/>
                </a:cubicBezTo>
                <a:close/>
                <a:moveTo>
                  <a:pt x="111" y="92"/>
                </a:moveTo>
                <a:cubicBezTo>
                  <a:pt x="110" y="94"/>
                  <a:pt x="110" y="94"/>
                  <a:pt x="110" y="94"/>
                </a:cubicBezTo>
                <a:cubicBezTo>
                  <a:pt x="108" y="95"/>
                  <a:pt x="108" y="95"/>
                  <a:pt x="108" y="95"/>
                </a:cubicBezTo>
                <a:cubicBezTo>
                  <a:pt x="110" y="97"/>
                  <a:pt x="110" y="97"/>
                  <a:pt x="110" y="97"/>
                </a:cubicBezTo>
                <a:cubicBezTo>
                  <a:pt x="114" y="97"/>
                  <a:pt x="114" y="97"/>
                  <a:pt x="114" y="97"/>
                </a:cubicBezTo>
                <a:cubicBezTo>
                  <a:pt x="115" y="98"/>
                  <a:pt x="115" y="98"/>
                  <a:pt x="115" y="98"/>
                </a:cubicBezTo>
                <a:cubicBezTo>
                  <a:pt x="115" y="101"/>
                  <a:pt x="115" y="101"/>
                  <a:pt x="115" y="101"/>
                </a:cubicBezTo>
                <a:cubicBezTo>
                  <a:pt x="116" y="101"/>
                  <a:pt x="116" y="101"/>
                  <a:pt x="116" y="101"/>
                </a:cubicBezTo>
                <a:cubicBezTo>
                  <a:pt x="117" y="104"/>
                  <a:pt x="117" y="104"/>
                  <a:pt x="117" y="104"/>
                </a:cubicBezTo>
                <a:cubicBezTo>
                  <a:pt x="119" y="106"/>
                  <a:pt x="119" y="106"/>
                  <a:pt x="119" y="106"/>
                </a:cubicBezTo>
                <a:cubicBezTo>
                  <a:pt x="121" y="105"/>
                  <a:pt x="121" y="105"/>
                  <a:pt x="121" y="105"/>
                </a:cubicBezTo>
                <a:cubicBezTo>
                  <a:pt x="122" y="108"/>
                  <a:pt x="122" y="108"/>
                  <a:pt x="122" y="108"/>
                </a:cubicBezTo>
                <a:cubicBezTo>
                  <a:pt x="123" y="108"/>
                  <a:pt x="123" y="108"/>
                  <a:pt x="123" y="108"/>
                </a:cubicBezTo>
                <a:cubicBezTo>
                  <a:pt x="124" y="107"/>
                  <a:pt x="124" y="107"/>
                  <a:pt x="124" y="107"/>
                </a:cubicBezTo>
                <a:cubicBezTo>
                  <a:pt x="123" y="105"/>
                  <a:pt x="123" y="105"/>
                  <a:pt x="123" y="105"/>
                </a:cubicBezTo>
                <a:cubicBezTo>
                  <a:pt x="124" y="102"/>
                  <a:pt x="124" y="102"/>
                  <a:pt x="124" y="102"/>
                </a:cubicBezTo>
                <a:cubicBezTo>
                  <a:pt x="121" y="101"/>
                  <a:pt x="121" y="101"/>
                  <a:pt x="121" y="101"/>
                </a:cubicBezTo>
                <a:cubicBezTo>
                  <a:pt x="119" y="99"/>
                  <a:pt x="119" y="99"/>
                  <a:pt x="119" y="99"/>
                </a:cubicBezTo>
                <a:cubicBezTo>
                  <a:pt x="118" y="94"/>
                  <a:pt x="118" y="94"/>
                  <a:pt x="118" y="94"/>
                </a:cubicBezTo>
                <a:cubicBezTo>
                  <a:pt x="117" y="93"/>
                  <a:pt x="117" y="93"/>
                  <a:pt x="117" y="93"/>
                </a:cubicBezTo>
                <a:cubicBezTo>
                  <a:pt x="117" y="91"/>
                  <a:pt x="117" y="91"/>
                  <a:pt x="117" y="91"/>
                </a:cubicBezTo>
                <a:cubicBezTo>
                  <a:pt x="115" y="91"/>
                  <a:pt x="115" y="91"/>
                  <a:pt x="115" y="91"/>
                </a:cubicBezTo>
                <a:cubicBezTo>
                  <a:pt x="114" y="91"/>
                  <a:pt x="114" y="91"/>
                  <a:pt x="114" y="91"/>
                </a:cubicBezTo>
                <a:cubicBezTo>
                  <a:pt x="114" y="92"/>
                  <a:pt x="114" y="92"/>
                  <a:pt x="114" y="92"/>
                </a:cubicBezTo>
                <a:cubicBezTo>
                  <a:pt x="115" y="94"/>
                  <a:pt x="115" y="94"/>
                  <a:pt x="115" y="94"/>
                </a:cubicBezTo>
                <a:cubicBezTo>
                  <a:pt x="113" y="93"/>
                  <a:pt x="113" y="93"/>
                  <a:pt x="113" y="93"/>
                </a:cubicBezTo>
                <a:cubicBezTo>
                  <a:pt x="111" y="92"/>
                  <a:pt x="111" y="92"/>
                  <a:pt x="111" y="92"/>
                </a:cubicBezTo>
                <a:cubicBezTo>
                  <a:pt x="111" y="92"/>
                  <a:pt x="111" y="92"/>
                  <a:pt x="111" y="92"/>
                </a:cubicBezTo>
                <a:close/>
                <a:moveTo>
                  <a:pt x="100" y="79"/>
                </a:moveTo>
                <a:cubicBezTo>
                  <a:pt x="99" y="80"/>
                  <a:pt x="99" y="80"/>
                  <a:pt x="99" y="80"/>
                </a:cubicBezTo>
                <a:cubicBezTo>
                  <a:pt x="101" y="82"/>
                  <a:pt x="101" y="82"/>
                  <a:pt x="101" y="82"/>
                </a:cubicBezTo>
                <a:cubicBezTo>
                  <a:pt x="103" y="81"/>
                  <a:pt x="103" y="81"/>
                  <a:pt x="103" y="81"/>
                </a:cubicBezTo>
                <a:cubicBezTo>
                  <a:pt x="102" y="79"/>
                  <a:pt x="102" y="79"/>
                  <a:pt x="102" y="79"/>
                </a:cubicBezTo>
                <a:cubicBezTo>
                  <a:pt x="100" y="79"/>
                  <a:pt x="100" y="79"/>
                  <a:pt x="100" y="79"/>
                </a:cubicBezTo>
                <a:close/>
                <a:moveTo>
                  <a:pt x="102" y="74"/>
                </a:moveTo>
                <a:cubicBezTo>
                  <a:pt x="101" y="76"/>
                  <a:pt x="101" y="76"/>
                  <a:pt x="101" y="76"/>
                </a:cubicBezTo>
                <a:cubicBezTo>
                  <a:pt x="102" y="78"/>
                  <a:pt x="102" y="78"/>
                  <a:pt x="102" y="78"/>
                </a:cubicBezTo>
                <a:cubicBezTo>
                  <a:pt x="104" y="77"/>
                  <a:pt x="104" y="77"/>
                  <a:pt x="104" y="77"/>
                </a:cubicBezTo>
                <a:cubicBezTo>
                  <a:pt x="106" y="79"/>
                  <a:pt x="106" y="79"/>
                  <a:pt x="106" y="79"/>
                </a:cubicBezTo>
                <a:cubicBezTo>
                  <a:pt x="107" y="78"/>
                  <a:pt x="107" y="78"/>
                  <a:pt x="107" y="78"/>
                </a:cubicBezTo>
                <a:cubicBezTo>
                  <a:pt x="104" y="75"/>
                  <a:pt x="104" y="75"/>
                  <a:pt x="104" y="75"/>
                </a:cubicBezTo>
                <a:cubicBezTo>
                  <a:pt x="102" y="74"/>
                  <a:pt x="102" y="74"/>
                  <a:pt x="102" y="74"/>
                </a:cubicBezTo>
                <a:close/>
                <a:moveTo>
                  <a:pt x="81" y="60"/>
                </a:moveTo>
                <a:cubicBezTo>
                  <a:pt x="79" y="63"/>
                  <a:pt x="79" y="63"/>
                  <a:pt x="79" y="63"/>
                </a:cubicBezTo>
                <a:cubicBezTo>
                  <a:pt x="79" y="65"/>
                  <a:pt x="79" y="65"/>
                  <a:pt x="79" y="65"/>
                </a:cubicBezTo>
                <a:cubicBezTo>
                  <a:pt x="83" y="65"/>
                  <a:pt x="83" y="65"/>
                  <a:pt x="83" y="65"/>
                </a:cubicBezTo>
                <a:cubicBezTo>
                  <a:pt x="86" y="66"/>
                  <a:pt x="86" y="66"/>
                  <a:pt x="86" y="66"/>
                </a:cubicBezTo>
                <a:cubicBezTo>
                  <a:pt x="86" y="66"/>
                  <a:pt x="86" y="66"/>
                  <a:pt x="86" y="66"/>
                </a:cubicBezTo>
                <a:cubicBezTo>
                  <a:pt x="86" y="63"/>
                  <a:pt x="86" y="63"/>
                  <a:pt x="86" y="63"/>
                </a:cubicBezTo>
                <a:cubicBezTo>
                  <a:pt x="83" y="61"/>
                  <a:pt x="83" y="61"/>
                  <a:pt x="83" y="61"/>
                </a:cubicBezTo>
                <a:cubicBezTo>
                  <a:pt x="81" y="60"/>
                  <a:pt x="81" y="60"/>
                  <a:pt x="81" y="60"/>
                </a:cubicBezTo>
                <a:close/>
                <a:moveTo>
                  <a:pt x="75" y="57"/>
                </a:moveTo>
                <a:cubicBezTo>
                  <a:pt x="76" y="57"/>
                  <a:pt x="76" y="57"/>
                  <a:pt x="76" y="57"/>
                </a:cubicBezTo>
                <a:cubicBezTo>
                  <a:pt x="79" y="58"/>
                  <a:pt x="79" y="58"/>
                  <a:pt x="79" y="58"/>
                </a:cubicBezTo>
                <a:cubicBezTo>
                  <a:pt x="80" y="59"/>
                  <a:pt x="80" y="59"/>
                  <a:pt x="80" y="59"/>
                </a:cubicBezTo>
                <a:cubicBezTo>
                  <a:pt x="78" y="62"/>
                  <a:pt x="78" y="62"/>
                  <a:pt x="78" y="62"/>
                </a:cubicBezTo>
                <a:cubicBezTo>
                  <a:pt x="77" y="61"/>
                  <a:pt x="77" y="61"/>
                  <a:pt x="77" y="61"/>
                </a:cubicBezTo>
                <a:cubicBezTo>
                  <a:pt x="75" y="57"/>
                  <a:pt x="75" y="57"/>
                  <a:pt x="75" y="57"/>
                </a:cubicBezTo>
                <a:close/>
                <a:moveTo>
                  <a:pt x="67" y="52"/>
                </a:moveTo>
                <a:cubicBezTo>
                  <a:pt x="68" y="55"/>
                  <a:pt x="68" y="55"/>
                  <a:pt x="68" y="55"/>
                </a:cubicBezTo>
                <a:cubicBezTo>
                  <a:pt x="70" y="55"/>
                  <a:pt x="70" y="55"/>
                  <a:pt x="70" y="55"/>
                </a:cubicBezTo>
                <a:cubicBezTo>
                  <a:pt x="72" y="52"/>
                  <a:pt x="72" y="52"/>
                  <a:pt x="72" y="52"/>
                </a:cubicBezTo>
                <a:cubicBezTo>
                  <a:pt x="70" y="50"/>
                  <a:pt x="70" y="50"/>
                  <a:pt x="70" y="50"/>
                </a:cubicBezTo>
                <a:cubicBezTo>
                  <a:pt x="69" y="51"/>
                  <a:pt x="69" y="51"/>
                  <a:pt x="69" y="51"/>
                </a:cubicBezTo>
                <a:cubicBezTo>
                  <a:pt x="67" y="52"/>
                  <a:pt x="67" y="52"/>
                  <a:pt x="67" y="52"/>
                </a:cubicBezTo>
                <a:close/>
                <a:moveTo>
                  <a:pt x="75" y="131"/>
                </a:moveTo>
                <a:cubicBezTo>
                  <a:pt x="77" y="133"/>
                  <a:pt x="77" y="133"/>
                  <a:pt x="77" y="133"/>
                </a:cubicBezTo>
                <a:cubicBezTo>
                  <a:pt x="77" y="132"/>
                  <a:pt x="77" y="132"/>
                  <a:pt x="77" y="132"/>
                </a:cubicBezTo>
                <a:cubicBezTo>
                  <a:pt x="76" y="131"/>
                  <a:pt x="76" y="131"/>
                  <a:pt x="76" y="131"/>
                </a:cubicBezTo>
                <a:cubicBezTo>
                  <a:pt x="75" y="131"/>
                  <a:pt x="75" y="131"/>
                  <a:pt x="75" y="131"/>
                </a:cubicBezTo>
                <a:close/>
                <a:moveTo>
                  <a:pt x="55" y="105"/>
                </a:moveTo>
                <a:cubicBezTo>
                  <a:pt x="54" y="107"/>
                  <a:pt x="54" y="107"/>
                  <a:pt x="54" y="107"/>
                </a:cubicBezTo>
                <a:cubicBezTo>
                  <a:pt x="58" y="110"/>
                  <a:pt x="58" y="110"/>
                  <a:pt x="58" y="110"/>
                </a:cubicBezTo>
                <a:cubicBezTo>
                  <a:pt x="57" y="108"/>
                  <a:pt x="57" y="108"/>
                  <a:pt x="57" y="108"/>
                </a:cubicBezTo>
                <a:cubicBezTo>
                  <a:pt x="57" y="106"/>
                  <a:pt x="57" y="106"/>
                  <a:pt x="57" y="106"/>
                </a:cubicBezTo>
                <a:cubicBezTo>
                  <a:pt x="55" y="105"/>
                  <a:pt x="55" y="105"/>
                  <a:pt x="55" y="105"/>
                </a:cubicBezTo>
                <a:close/>
                <a:moveTo>
                  <a:pt x="52" y="103"/>
                </a:moveTo>
                <a:cubicBezTo>
                  <a:pt x="54" y="103"/>
                  <a:pt x="54" y="103"/>
                  <a:pt x="54" y="103"/>
                </a:cubicBezTo>
                <a:cubicBezTo>
                  <a:pt x="52" y="105"/>
                  <a:pt x="52" y="105"/>
                  <a:pt x="52" y="105"/>
                </a:cubicBezTo>
                <a:cubicBezTo>
                  <a:pt x="52" y="103"/>
                  <a:pt x="52" y="103"/>
                  <a:pt x="52" y="103"/>
                </a:cubicBezTo>
                <a:close/>
                <a:moveTo>
                  <a:pt x="48" y="96"/>
                </a:moveTo>
                <a:cubicBezTo>
                  <a:pt x="47" y="97"/>
                  <a:pt x="47" y="97"/>
                  <a:pt x="47" y="97"/>
                </a:cubicBezTo>
                <a:cubicBezTo>
                  <a:pt x="48" y="99"/>
                  <a:pt x="48" y="99"/>
                  <a:pt x="48" y="99"/>
                </a:cubicBezTo>
                <a:cubicBezTo>
                  <a:pt x="50" y="99"/>
                  <a:pt x="50" y="99"/>
                  <a:pt x="50" y="99"/>
                </a:cubicBezTo>
                <a:cubicBezTo>
                  <a:pt x="48" y="96"/>
                  <a:pt x="48" y="96"/>
                  <a:pt x="48" y="96"/>
                </a:cubicBezTo>
                <a:close/>
                <a:moveTo>
                  <a:pt x="36" y="86"/>
                </a:moveTo>
                <a:cubicBezTo>
                  <a:pt x="36" y="88"/>
                  <a:pt x="36" y="88"/>
                  <a:pt x="36" y="88"/>
                </a:cubicBezTo>
                <a:cubicBezTo>
                  <a:pt x="39" y="89"/>
                  <a:pt x="39" y="89"/>
                  <a:pt x="39" y="89"/>
                </a:cubicBezTo>
                <a:cubicBezTo>
                  <a:pt x="41" y="93"/>
                  <a:pt x="41" y="93"/>
                  <a:pt x="41" y="93"/>
                </a:cubicBezTo>
                <a:cubicBezTo>
                  <a:pt x="44" y="94"/>
                  <a:pt x="44" y="94"/>
                  <a:pt x="44" y="94"/>
                </a:cubicBezTo>
                <a:cubicBezTo>
                  <a:pt x="44" y="90"/>
                  <a:pt x="44" y="90"/>
                  <a:pt x="44" y="90"/>
                </a:cubicBezTo>
                <a:cubicBezTo>
                  <a:pt x="41" y="85"/>
                  <a:pt x="41" y="85"/>
                  <a:pt x="41" y="85"/>
                </a:cubicBezTo>
                <a:cubicBezTo>
                  <a:pt x="39" y="84"/>
                  <a:pt x="39" y="84"/>
                  <a:pt x="39" y="84"/>
                </a:cubicBezTo>
                <a:cubicBezTo>
                  <a:pt x="36" y="86"/>
                  <a:pt x="36" y="86"/>
                  <a:pt x="36" y="86"/>
                </a:cubicBezTo>
                <a:close/>
                <a:moveTo>
                  <a:pt x="35" y="78"/>
                </a:moveTo>
                <a:cubicBezTo>
                  <a:pt x="34" y="81"/>
                  <a:pt x="34" y="81"/>
                  <a:pt x="34" y="81"/>
                </a:cubicBezTo>
                <a:cubicBezTo>
                  <a:pt x="35" y="82"/>
                  <a:pt x="35" y="82"/>
                  <a:pt x="35" y="82"/>
                </a:cubicBezTo>
                <a:cubicBezTo>
                  <a:pt x="37" y="81"/>
                  <a:pt x="37" y="81"/>
                  <a:pt x="37" y="81"/>
                </a:cubicBezTo>
                <a:cubicBezTo>
                  <a:pt x="37" y="79"/>
                  <a:pt x="37" y="79"/>
                  <a:pt x="37" y="79"/>
                </a:cubicBezTo>
                <a:cubicBezTo>
                  <a:pt x="35" y="78"/>
                  <a:pt x="35" y="78"/>
                  <a:pt x="35" y="78"/>
                </a:cubicBezTo>
                <a:close/>
                <a:moveTo>
                  <a:pt x="36" y="72"/>
                </a:moveTo>
                <a:cubicBezTo>
                  <a:pt x="39" y="73"/>
                  <a:pt x="39" y="73"/>
                  <a:pt x="39" y="73"/>
                </a:cubicBezTo>
                <a:cubicBezTo>
                  <a:pt x="40" y="73"/>
                  <a:pt x="40" y="73"/>
                  <a:pt x="40" y="73"/>
                </a:cubicBezTo>
                <a:cubicBezTo>
                  <a:pt x="40" y="72"/>
                  <a:pt x="40" y="72"/>
                  <a:pt x="40" y="72"/>
                </a:cubicBezTo>
                <a:cubicBezTo>
                  <a:pt x="38" y="71"/>
                  <a:pt x="38" y="71"/>
                  <a:pt x="38" y="71"/>
                </a:cubicBezTo>
                <a:cubicBezTo>
                  <a:pt x="36" y="72"/>
                  <a:pt x="36" y="72"/>
                  <a:pt x="36" y="72"/>
                </a:cubicBezTo>
                <a:close/>
                <a:moveTo>
                  <a:pt x="21" y="58"/>
                </a:moveTo>
                <a:cubicBezTo>
                  <a:pt x="23" y="58"/>
                  <a:pt x="23" y="58"/>
                  <a:pt x="23" y="58"/>
                </a:cubicBezTo>
                <a:cubicBezTo>
                  <a:pt x="24" y="57"/>
                  <a:pt x="24" y="57"/>
                  <a:pt x="24" y="57"/>
                </a:cubicBezTo>
                <a:cubicBezTo>
                  <a:pt x="26" y="57"/>
                  <a:pt x="26" y="57"/>
                  <a:pt x="26" y="57"/>
                </a:cubicBezTo>
                <a:cubicBezTo>
                  <a:pt x="27" y="60"/>
                  <a:pt x="27" y="60"/>
                  <a:pt x="27" y="60"/>
                </a:cubicBezTo>
                <a:cubicBezTo>
                  <a:pt x="30" y="62"/>
                  <a:pt x="30" y="62"/>
                  <a:pt x="30" y="62"/>
                </a:cubicBezTo>
                <a:cubicBezTo>
                  <a:pt x="29" y="64"/>
                  <a:pt x="29" y="64"/>
                  <a:pt x="29" y="64"/>
                </a:cubicBezTo>
                <a:cubicBezTo>
                  <a:pt x="29" y="67"/>
                  <a:pt x="29" y="67"/>
                  <a:pt x="29" y="67"/>
                </a:cubicBezTo>
                <a:cubicBezTo>
                  <a:pt x="28" y="67"/>
                  <a:pt x="28" y="67"/>
                  <a:pt x="28" y="67"/>
                </a:cubicBezTo>
                <a:cubicBezTo>
                  <a:pt x="26" y="63"/>
                  <a:pt x="26" y="63"/>
                  <a:pt x="26" y="63"/>
                </a:cubicBezTo>
                <a:cubicBezTo>
                  <a:pt x="24" y="63"/>
                  <a:pt x="24" y="63"/>
                  <a:pt x="24" y="63"/>
                </a:cubicBezTo>
                <a:cubicBezTo>
                  <a:pt x="24" y="61"/>
                  <a:pt x="24" y="61"/>
                  <a:pt x="24" y="61"/>
                </a:cubicBezTo>
                <a:cubicBezTo>
                  <a:pt x="21" y="58"/>
                  <a:pt x="21" y="58"/>
                  <a:pt x="21" y="58"/>
                </a:cubicBezTo>
                <a:close/>
                <a:moveTo>
                  <a:pt x="21" y="50"/>
                </a:moveTo>
                <a:cubicBezTo>
                  <a:pt x="24" y="51"/>
                  <a:pt x="24" y="51"/>
                  <a:pt x="24" y="51"/>
                </a:cubicBezTo>
                <a:cubicBezTo>
                  <a:pt x="23" y="49"/>
                  <a:pt x="23" y="49"/>
                  <a:pt x="23" y="49"/>
                </a:cubicBezTo>
                <a:cubicBezTo>
                  <a:pt x="21" y="50"/>
                  <a:pt x="21" y="50"/>
                  <a:pt x="21" y="50"/>
                </a:cubicBezTo>
                <a:close/>
                <a:moveTo>
                  <a:pt x="7" y="41"/>
                </a:moveTo>
                <a:cubicBezTo>
                  <a:pt x="6" y="42"/>
                  <a:pt x="6" y="42"/>
                  <a:pt x="6" y="42"/>
                </a:cubicBezTo>
                <a:cubicBezTo>
                  <a:pt x="5" y="43"/>
                  <a:pt x="5" y="43"/>
                  <a:pt x="5" y="43"/>
                </a:cubicBezTo>
                <a:cubicBezTo>
                  <a:pt x="7" y="44"/>
                  <a:pt x="7" y="44"/>
                  <a:pt x="7" y="44"/>
                </a:cubicBezTo>
                <a:cubicBezTo>
                  <a:pt x="10" y="44"/>
                  <a:pt x="10" y="44"/>
                  <a:pt x="10" y="44"/>
                </a:cubicBezTo>
                <a:cubicBezTo>
                  <a:pt x="8" y="42"/>
                  <a:pt x="8" y="42"/>
                  <a:pt x="8" y="42"/>
                </a:cubicBezTo>
                <a:cubicBezTo>
                  <a:pt x="7" y="41"/>
                  <a:pt x="7" y="41"/>
                  <a:pt x="7" y="41"/>
                </a:cubicBezTo>
                <a:close/>
                <a:moveTo>
                  <a:pt x="0" y="11"/>
                </a:moveTo>
                <a:cubicBezTo>
                  <a:pt x="0" y="12"/>
                  <a:pt x="0" y="12"/>
                  <a:pt x="0" y="12"/>
                </a:cubicBezTo>
                <a:cubicBezTo>
                  <a:pt x="1" y="15"/>
                  <a:pt x="1" y="15"/>
                  <a:pt x="1" y="15"/>
                </a:cubicBezTo>
                <a:cubicBezTo>
                  <a:pt x="3" y="21"/>
                  <a:pt x="3" y="21"/>
                  <a:pt x="3" y="21"/>
                </a:cubicBezTo>
                <a:cubicBezTo>
                  <a:pt x="5" y="22"/>
                  <a:pt x="5" y="22"/>
                  <a:pt x="5" y="22"/>
                </a:cubicBezTo>
                <a:cubicBezTo>
                  <a:pt x="9" y="27"/>
                  <a:pt x="9" y="27"/>
                  <a:pt x="9" y="27"/>
                </a:cubicBezTo>
                <a:cubicBezTo>
                  <a:pt x="11" y="27"/>
                  <a:pt x="11" y="27"/>
                  <a:pt x="11" y="27"/>
                </a:cubicBezTo>
                <a:cubicBezTo>
                  <a:pt x="14" y="30"/>
                  <a:pt x="14" y="30"/>
                  <a:pt x="14" y="30"/>
                </a:cubicBezTo>
                <a:cubicBezTo>
                  <a:pt x="15" y="31"/>
                  <a:pt x="15" y="31"/>
                  <a:pt x="15" y="31"/>
                </a:cubicBezTo>
                <a:cubicBezTo>
                  <a:pt x="17" y="30"/>
                  <a:pt x="17" y="30"/>
                  <a:pt x="17" y="30"/>
                </a:cubicBezTo>
                <a:cubicBezTo>
                  <a:pt x="20" y="33"/>
                  <a:pt x="20" y="33"/>
                  <a:pt x="20" y="33"/>
                </a:cubicBezTo>
                <a:cubicBezTo>
                  <a:pt x="24" y="39"/>
                  <a:pt x="24" y="39"/>
                  <a:pt x="24" y="39"/>
                </a:cubicBezTo>
                <a:cubicBezTo>
                  <a:pt x="28" y="43"/>
                  <a:pt x="28" y="43"/>
                  <a:pt x="28" y="43"/>
                </a:cubicBezTo>
                <a:cubicBezTo>
                  <a:pt x="29" y="43"/>
                  <a:pt x="29" y="43"/>
                  <a:pt x="29" y="43"/>
                </a:cubicBezTo>
                <a:cubicBezTo>
                  <a:pt x="29" y="45"/>
                  <a:pt x="29" y="45"/>
                  <a:pt x="29" y="45"/>
                </a:cubicBezTo>
                <a:cubicBezTo>
                  <a:pt x="30" y="46"/>
                  <a:pt x="30" y="46"/>
                  <a:pt x="30" y="46"/>
                </a:cubicBezTo>
                <a:cubicBezTo>
                  <a:pt x="30" y="49"/>
                  <a:pt x="30" y="49"/>
                  <a:pt x="30" y="49"/>
                </a:cubicBezTo>
                <a:cubicBezTo>
                  <a:pt x="31" y="50"/>
                  <a:pt x="31" y="50"/>
                  <a:pt x="31" y="50"/>
                </a:cubicBezTo>
                <a:cubicBezTo>
                  <a:pt x="34" y="50"/>
                  <a:pt x="34" y="50"/>
                  <a:pt x="34" y="50"/>
                </a:cubicBezTo>
                <a:cubicBezTo>
                  <a:pt x="37" y="54"/>
                  <a:pt x="37" y="54"/>
                  <a:pt x="37" y="54"/>
                </a:cubicBezTo>
                <a:cubicBezTo>
                  <a:pt x="38" y="55"/>
                  <a:pt x="38" y="55"/>
                  <a:pt x="38" y="55"/>
                </a:cubicBezTo>
                <a:cubicBezTo>
                  <a:pt x="39" y="54"/>
                  <a:pt x="39" y="54"/>
                  <a:pt x="39" y="54"/>
                </a:cubicBezTo>
                <a:cubicBezTo>
                  <a:pt x="40" y="56"/>
                  <a:pt x="40" y="56"/>
                  <a:pt x="40" y="56"/>
                </a:cubicBezTo>
                <a:cubicBezTo>
                  <a:pt x="39" y="57"/>
                  <a:pt x="39" y="57"/>
                  <a:pt x="39" y="57"/>
                </a:cubicBezTo>
                <a:cubicBezTo>
                  <a:pt x="40" y="59"/>
                  <a:pt x="40" y="59"/>
                  <a:pt x="40" y="59"/>
                </a:cubicBezTo>
                <a:cubicBezTo>
                  <a:pt x="41" y="61"/>
                  <a:pt x="41" y="61"/>
                  <a:pt x="41" y="61"/>
                </a:cubicBezTo>
                <a:cubicBezTo>
                  <a:pt x="41" y="62"/>
                  <a:pt x="41" y="62"/>
                  <a:pt x="41" y="62"/>
                </a:cubicBezTo>
                <a:cubicBezTo>
                  <a:pt x="43" y="68"/>
                  <a:pt x="43" y="68"/>
                  <a:pt x="43" y="68"/>
                </a:cubicBezTo>
                <a:cubicBezTo>
                  <a:pt x="44" y="71"/>
                  <a:pt x="44" y="71"/>
                  <a:pt x="44" y="71"/>
                </a:cubicBezTo>
                <a:cubicBezTo>
                  <a:pt x="47" y="72"/>
                  <a:pt x="47" y="72"/>
                  <a:pt x="47" y="72"/>
                </a:cubicBezTo>
                <a:cubicBezTo>
                  <a:pt x="50" y="74"/>
                  <a:pt x="50" y="74"/>
                  <a:pt x="50" y="74"/>
                </a:cubicBezTo>
                <a:cubicBezTo>
                  <a:pt x="50" y="76"/>
                  <a:pt x="50" y="76"/>
                  <a:pt x="50" y="76"/>
                </a:cubicBezTo>
                <a:cubicBezTo>
                  <a:pt x="53" y="80"/>
                  <a:pt x="53" y="80"/>
                  <a:pt x="53" y="80"/>
                </a:cubicBezTo>
                <a:cubicBezTo>
                  <a:pt x="55" y="82"/>
                  <a:pt x="55" y="82"/>
                  <a:pt x="55" y="82"/>
                </a:cubicBezTo>
                <a:cubicBezTo>
                  <a:pt x="56" y="87"/>
                  <a:pt x="56" y="87"/>
                  <a:pt x="56" y="87"/>
                </a:cubicBezTo>
                <a:cubicBezTo>
                  <a:pt x="60" y="95"/>
                  <a:pt x="60" y="95"/>
                  <a:pt x="60" y="95"/>
                </a:cubicBezTo>
                <a:cubicBezTo>
                  <a:pt x="59" y="98"/>
                  <a:pt x="59" y="98"/>
                  <a:pt x="59" y="98"/>
                </a:cubicBezTo>
                <a:cubicBezTo>
                  <a:pt x="60" y="100"/>
                  <a:pt x="60" y="100"/>
                  <a:pt x="60" y="100"/>
                </a:cubicBezTo>
                <a:cubicBezTo>
                  <a:pt x="64" y="103"/>
                  <a:pt x="64" y="103"/>
                  <a:pt x="64" y="103"/>
                </a:cubicBezTo>
                <a:cubicBezTo>
                  <a:pt x="68" y="108"/>
                  <a:pt x="68" y="108"/>
                  <a:pt x="68" y="108"/>
                </a:cubicBezTo>
                <a:cubicBezTo>
                  <a:pt x="69" y="111"/>
                  <a:pt x="69" y="111"/>
                  <a:pt x="69" y="111"/>
                </a:cubicBezTo>
                <a:cubicBezTo>
                  <a:pt x="72" y="111"/>
                  <a:pt x="72" y="111"/>
                  <a:pt x="72" y="111"/>
                </a:cubicBezTo>
                <a:cubicBezTo>
                  <a:pt x="73" y="112"/>
                  <a:pt x="73" y="112"/>
                  <a:pt x="73" y="112"/>
                </a:cubicBezTo>
                <a:cubicBezTo>
                  <a:pt x="76" y="114"/>
                  <a:pt x="76" y="114"/>
                  <a:pt x="76" y="114"/>
                </a:cubicBezTo>
                <a:cubicBezTo>
                  <a:pt x="76" y="117"/>
                  <a:pt x="76" y="117"/>
                  <a:pt x="76" y="117"/>
                </a:cubicBezTo>
                <a:cubicBezTo>
                  <a:pt x="79" y="119"/>
                  <a:pt x="79" y="119"/>
                  <a:pt x="79" y="119"/>
                </a:cubicBezTo>
                <a:cubicBezTo>
                  <a:pt x="81" y="122"/>
                  <a:pt x="81" y="122"/>
                  <a:pt x="81" y="122"/>
                </a:cubicBezTo>
                <a:cubicBezTo>
                  <a:pt x="86" y="125"/>
                  <a:pt x="86" y="125"/>
                  <a:pt x="86" y="125"/>
                </a:cubicBezTo>
                <a:cubicBezTo>
                  <a:pt x="87" y="127"/>
                  <a:pt x="87" y="127"/>
                  <a:pt x="87" y="127"/>
                </a:cubicBezTo>
                <a:cubicBezTo>
                  <a:pt x="90" y="128"/>
                  <a:pt x="90" y="128"/>
                  <a:pt x="90" y="128"/>
                </a:cubicBezTo>
                <a:cubicBezTo>
                  <a:pt x="97" y="133"/>
                  <a:pt x="97" y="133"/>
                  <a:pt x="97" y="133"/>
                </a:cubicBezTo>
                <a:cubicBezTo>
                  <a:pt x="97" y="136"/>
                  <a:pt x="97" y="136"/>
                  <a:pt x="97" y="136"/>
                </a:cubicBezTo>
                <a:cubicBezTo>
                  <a:pt x="98" y="136"/>
                  <a:pt x="98" y="136"/>
                  <a:pt x="98" y="136"/>
                </a:cubicBezTo>
                <a:cubicBezTo>
                  <a:pt x="100" y="139"/>
                  <a:pt x="100" y="139"/>
                  <a:pt x="100" y="139"/>
                </a:cubicBezTo>
                <a:cubicBezTo>
                  <a:pt x="101" y="138"/>
                  <a:pt x="101" y="138"/>
                  <a:pt x="101" y="138"/>
                </a:cubicBezTo>
                <a:cubicBezTo>
                  <a:pt x="101" y="136"/>
                  <a:pt x="101" y="136"/>
                  <a:pt x="101" y="136"/>
                </a:cubicBezTo>
                <a:cubicBezTo>
                  <a:pt x="100" y="135"/>
                  <a:pt x="100" y="135"/>
                  <a:pt x="100" y="135"/>
                </a:cubicBezTo>
                <a:cubicBezTo>
                  <a:pt x="100" y="134"/>
                  <a:pt x="100" y="134"/>
                  <a:pt x="100" y="134"/>
                </a:cubicBezTo>
                <a:cubicBezTo>
                  <a:pt x="102" y="134"/>
                  <a:pt x="102" y="134"/>
                  <a:pt x="102" y="134"/>
                </a:cubicBezTo>
                <a:cubicBezTo>
                  <a:pt x="106" y="138"/>
                  <a:pt x="106" y="138"/>
                  <a:pt x="106" y="138"/>
                </a:cubicBezTo>
                <a:cubicBezTo>
                  <a:pt x="107" y="137"/>
                  <a:pt x="107" y="137"/>
                  <a:pt x="107" y="137"/>
                </a:cubicBezTo>
                <a:cubicBezTo>
                  <a:pt x="107" y="134"/>
                  <a:pt x="107" y="134"/>
                  <a:pt x="107" y="134"/>
                </a:cubicBezTo>
                <a:cubicBezTo>
                  <a:pt x="108" y="133"/>
                  <a:pt x="108" y="133"/>
                  <a:pt x="108" y="133"/>
                </a:cubicBezTo>
                <a:cubicBezTo>
                  <a:pt x="110" y="133"/>
                  <a:pt x="110" y="133"/>
                  <a:pt x="110" y="133"/>
                </a:cubicBezTo>
                <a:cubicBezTo>
                  <a:pt x="112" y="136"/>
                  <a:pt x="112" y="136"/>
                  <a:pt x="112" y="136"/>
                </a:cubicBezTo>
                <a:cubicBezTo>
                  <a:pt x="113" y="137"/>
                  <a:pt x="113" y="137"/>
                  <a:pt x="113" y="137"/>
                </a:cubicBezTo>
                <a:cubicBezTo>
                  <a:pt x="114" y="135"/>
                  <a:pt x="114" y="135"/>
                  <a:pt x="114" y="135"/>
                </a:cubicBezTo>
                <a:cubicBezTo>
                  <a:pt x="114" y="131"/>
                  <a:pt x="114" y="131"/>
                  <a:pt x="114" y="131"/>
                </a:cubicBezTo>
                <a:cubicBezTo>
                  <a:pt x="115" y="125"/>
                  <a:pt x="115" y="125"/>
                  <a:pt x="115" y="125"/>
                </a:cubicBezTo>
                <a:cubicBezTo>
                  <a:pt x="114" y="121"/>
                  <a:pt x="114" y="121"/>
                  <a:pt x="114" y="121"/>
                </a:cubicBezTo>
                <a:cubicBezTo>
                  <a:pt x="116" y="117"/>
                  <a:pt x="116" y="117"/>
                  <a:pt x="116" y="117"/>
                </a:cubicBezTo>
                <a:cubicBezTo>
                  <a:pt x="115" y="115"/>
                  <a:pt x="115" y="115"/>
                  <a:pt x="115" y="115"/>
                </a:cubicBezTo>
                <a:cubicBezTo>
                  <a:pt x="115" y="112"/>
                  <a:pt x="115" y="112"/>
                  <a:pt x="115" y="112"/>
                </a:cubicBezTo>
                <a:cubicBezTo>
                  <a:pt x="117" y="111"/>
                  <a:pt x="117" y="111"/>
                  <a:pt x="117" y="111"/>
                </a:cubicBezTo>
                <a:cubicBezTo>
                  <a:pt x="118" y="109"/>
                  <a:pt x="118" y="109"/>
                  <a:pt x="118" y="109"/>
                </a:cubicBezTo>
                <a:cubicBezTo>
                  <a:pt x="117" y="107"/>
                  <a:pt x="117" y="107"/>
                  <a:pt x="117" y="107"/>
                </a:cubicBezTo>
                <a:cubicBezTo>
                  <a:pt x="116" y="106"/>
                  <a:pt x="116" y="106"/>
                  <a:pt x="116" y="106"/>
                </a:cubicBezTo>
                <a:cubicBezTo>
                  <a:pt x="114" y="105"/>
                  <a:pt x="114" y="105"/>
                  <a:pt x="114" y="105"/>
                </a:cubicBezTo>
                <a:cubicBezTo>
                  <a:pt x="113" y="102"/>
                  <a:pt x="113" y="102"/>
                  <a:pt x="113" y="102"/>
                </a:cubicBezTo>
                <a:cubicBezTo>
                  <a:pt x="112" y="102"/>
                  <a:pt x="112" y="102"/>
                  <a:pt x="112" y="102"/>
                </a:cubicBezTo>
                <a:cubicBezTo>
                  <a:pt x="111" y="100"/>
                  <a:pt x="111" y="100"/>
                  <a:pt x="111" y="100"/>
                </a:cubicBezTo>
                <a:cubicBezTo>
                  <a:pt x="109" y="99"/>
                  <a:pt x="109" y="99"/>
                  <a:pt x="109" y="99"/>
                </a:cubicBezTo>
                <a:cubicBezTo>
                  <a:pt x="106" y="100"/>
                  <a:pt x="106" y="100"/>
                  <a:pt x="106" y="100"/>
                </a:cubicBezTo>
                <a:cubicBezTo>
                  <a:pt x="104" y="99"/>
                  <a:pt x="104" y="99"/>
                  <a:pt x="104" y="99"/>
                </a:cubicBezTo>
                <a:cubicBezTo>
                  <a:pt x="104" y="96"/>
                  <a:pt x="104" y="96"/>
                  <a:pt x="104" y="96"/>
                </a:cubicBezTo>
                <a:cubicBezTo>
                  <a:pt x="102" y="94"/>
                  <a:pt x="102" y="94"/>
                  <a:pt x="102" y="94"/>
                </a:cubicBezTo>
                <a:cubicBezTo>
                  <a:pt x="101" y="95"/>
                  <a:pt x="101" y="95"/>
                  <a:pt x="101" y="95"/>
                </a:cubicBezTo>
                <a:cubicBezTo>
                  <a:pt x="102" y="93"/>
                  <a:pt x="102" y="93"/>
                  <a:pt x="102" y="93"/>
                </a:cubicBezTo>
                <a:cubicBezTo>
                  <a:pt x="101" y="91"/>
                  <a:pt x="101" y="91"/>
                  <a:pt x="101" y="91"/>
                </a:cubicBezTo>
                <a:cubicBezTo>
                  <a:pt x="100" y="85"/>
                  <a:pt x="100" y="85"/>
                  <a:pt x="100" y="85"/>
                </a:cubicBezTo>
                <a:cubicBezTo>
                  <a:pt x="98" y="86"/>
                  <a:pt x="98" y="86"/>
                  <a:pt x="98" y="86"/>
                </a:cubicBezTo>
                <a:cubicBezTo>
                  <a:pt x="97" y="85"/>
                  <a:pt x="97" y="85"/>
                  <a:pt x="97" y="85"/>
                </a:cubicBezTo>
                <a:cubicBezTo>
                  <a:pt x="93" y="85"/>
                  <a:pt x="93" y="85"/>
                  <a:pt x="93" y="85"/>
                </a:cubicBezTo>
                <a:cubicBezTo>
                  <a:pt x="89" y="83"/>
                  <a:pt x="89" y="83"/>
                  <a:pt x="89" y="83"/>
                </a:cubicBezTo>
                <a:cubicBezTo>
                  <a:pt x="89" y="81"/>
                  <a:pt x="89" y="81"/>
                  <a:pt x="89" y="81"/>
                </a:cubicBezTo>
                <a:cubicBezTo>
                  <a:pt x="91" y="80"/>
                  <a:pt x="91" y="80"/>
                  <a:pt x="91" y="80"/>
                </a:cubicBezTo>
                <a:cubicBezTo>
                  <a:pt x="94" y="79"/>
                  <a:pt x="94" y="79"/>
                  <a:pt x="94" y="79"/>
                </a:cubicBezTo>
                <a:cubicBezTo>
                  <a:pt x="92" y="78"/>
                  <a:pt x="92" y="78"/>
                  <a:pt x="92" y="78"/>
                </a:cubicBezTo>
                <a:cubicBezTo>
                  <a:pt x="90" y="78"/>
                  <a:pt x="90" y="78"/>
                  <a:pt x="90" y="78"/>
                </a:cubicBezTo>
                <a:cubicBezTo>
                  <a:pt x="89" y="78"/>
                  <a:pt x="89" y="78"/>
                  <a:pt x="89" y="78"/>
                </a:cubicBezTo>
                <a:cubicBezTo>
                  <a:pt x="86" y="78"/>
                  <a:pt x="86" y="78"/>
                  <a:pt x="86" y="78"/>
                </a:cubicBezTo>
                <a:cubicBezTo>
                  <a:pt x="88" y="77"/>
                  <a:pt x="88" y="77"/>
                  <a:pt x="88" y="77"/>
                </a:cubicBezTo>
                <a:cubicBezTo>
                  <a:pt x="91" y="75"/>
                  <a:pt x="91" y="75"/>
                  <a:pt x="91" y="75"/>
                </a:cubicBezTo>
                <a:cubicBezTo>
                  <a:pt x="94" y="75"/>
                  <a:pt x="94" y="75"/>
                  <a:pt x="94" y="75"/>
                </a:cubicBezTo>
                <a:cubicBezTo>
                  <a:pt x="93" y="72"/>
                  <a:pt x="93" y="72"/>
                  <a:pt x="93" y="72"/>
                </a:cubicBezTo>
                <a:cubicBezTo>
                  <a:pt x="90" y="69"/>
                  <a:pt x="90" y="69"/>
                  <a:pt x="90" y="69"/>
                </a:cubicBezTo>
                <a:cubicBezTo>
                  <a:pt x="88" y="69"/>
                  <a:pt x="88" y="69"/>
                  <a:pt x="88" y="69"/>
                </a:cubicBezTo>
                <a:cubicBezTo>
                  <a:pt x="85" y="70"/>
                  <a:pt x="85" y="70"/>
                  <a:pt x="85" y="70"/>
                </a:cubicBezTo>
                <a:cubicBezTo>
                  <a:pt x="83" y="72"/>
                  <a:pt x="83" y="72"/>
                  <a:pt x="83" y="72"/>
                </a:cubicBezTo>
                <a:cubicBezTo>
                  <a:pt x="81" y="72"/>
                  <a:pt x="81" y="72"/>
                  <a:pt x="81" y="72"/>
                </a:cubicBezTo>
                <a:cubicBezTo>
                  <a:pt x="82" y="71"/>
                  <a:pt x="82" y="71"/>
                  <a:pt x="82" y="71"/>
                </a:cubicBezTo>
                <a:cubicBezTo>
                  <a:pt x="83" y="70"/>
                  <a:pt x="83" y="70"/>
                  <a:pt x="83" y="70"/>
                </a:cubicBezTo>
                <a:cubicBezTo>
                  <a:pt x="84" y="70"/>
                  <a:pt x="84" y="70"/>
                  <a:pt x="84" y="70"/>
                </a:cubicBezTo>
                <a:cubicBezTo>
                  <a:pt x="85" y="69"/>
                  <a:pt x="85" y="69"/>
                  <a:pt x="85" y="69"/>
                </a:cubicBezTo>
                <a:cubicBezTo>
                  <a:pt x="85" y="67"/>
                  <a:pt x="85" y="67"/>
                  <a:pt x="85" y="67"/>
                </a:cubicBezTo>
                <a:cubicBezTo>
                  <a:pt x="82" y="66"/>
                  <a:pt x="82" y="66"/>
                  <a:pt x="82" y="66"/>
                </a:cubicBezTo>
                <a:cubicBezTo>
                  <a:pt x="78" y="66"/>
                  <a:pt x="78" y="66"/>
                  <a:pt x="78" y="66"/>
                </a:cubicBezTo>
                <a:cubicBezTo>
                  <a:pt x="76" y="64"/>
                  <a:pt x="76" y="64"/>
                  <a:pt x="76" y="64"/>
                </a:cubicBezTo>
                <a:cubicBezTo>
                  <a:pt x="76" y="63"/>
                  <a:pt x="76" y="63"/>
                  <a:pt x="76" y="63"/>
                </a:cubicBezTo>
                <a:cubicBezTo>
                  <a:pt x="75" y="60"/>
                  <a:pt x="75" y="60"/>
                  <a:pt x="75" y="60"/>
                </a:cubicBezTo>
                <a:cubicBezTo>
                  <a:pt x="71" y="56"/>
                  <a:pt x="71" y="56"/>
                  <a:pt x="71" y="56"/>
                </a:cubicBezTo>
                <a:cubicBezTo>
                  <a:pt x="70" y="55"/>
                  <a:pt x="70" y="55"/>
                  <a:pt x="70" y="55"/>
                </a:cubicBezTo>
                <a:cubicBezTo>
                  <a:pt x="68" y="56"/>
                  <a:pt x="68" y="56"/>
                  <a:pt x="68" y="56"/>
                </a:cubicBezTo>
                <a:cubicBezTo>
                  <a:pt x="66" y="54"/>
                  <a:pt x="66" y="54"/>
                  <a:pt x="66" y="54"/>
                </a:cubicBezTo>
                <a:cubicBezTo>
                  <a:pt x="66" y="50"/>
                  <a:pt x="66" y="50"/>
                  <a:pt x="66" y="50"/>
                </a:cubicBezTo>
                <a:cubicBezTo>
                  <a:pt x="63" y="47"/>
                  <a:pt x="63" y="47"/>
                  <a:pt x="63" y="47"/>
                </a:cubicBezTo>
                <a:cubicBezTo>
                  <a:pt x="59" y="45"/>
                  <a:pt x="59" y="45"/>
                  <a:pt x="59" y="45"/>
                </a:cubicBezTo>
                <a:cubicBezTo>
                  <a:pt x="56" y="45"/>
                  <a:pt x="56" y="45"/>
                  <a:pt x="56" y="45"/>
                </a:cubicBezTo>
                <a:cubicBezTo>
                  <a:pt x="56" y="46"/>
                  <a:pt x="56" y="46"/>
                  <a:pt x="56" y="46"/>
                </a:cubicBezTo>
                <a:cubicBezTo>
                  <a:pt x="55" y="45"/>
                  <a:pt x="55" y="45"/>
                  <a:pt x="55" y="45"/>
                </a:cubicBezTo>
                <a:cubicBezTo>
                  <a:pt x="54" y="42"/>
                  <a:pt x="54" y="42"/>
                  <a:pt x="54" y="42"/>
                </a:cubicBezTo>
                <a:cubicBezTo>
                  <a:pt x="53" y="44"/>
                  <a:pt x="53" y="44"/>
                  <a:pt x="53" y="44"/>
                </a:cubicBezTo>
                <a:cubicBezTo>
                  <a:pt x="51" y="42"/>
                  <a:pt x="51" y="42"/>
                  <a:pt x="51" y="42"/>
                </a:cubicBezTo>
                <a:cubicBezTo>
                  <a:pt x="51" y="39"/>
                  <a:pt x="51" y="39"/>
                  <a:pt x="51" y="39"/>
                </a:cubicBezTo>
                <a:cubicBezTo>
                  <a:pt x="49" y="37"/>
                  <a:pt x="49" y="37"/>
                  <a:pt x="49" y="37"/>
                </a:cubicBezTo>
                <a:cubicBezTo>
                  <a:pt x="47" y="36"/>
                  <a:pt x="47" y="36"/>
                  <a:pt x="47" y="36"/>
                </a:cubicBezTo>
                <a:cubicBezTo>
                  <a:pt x="46" y="35"/>
                  <a:pt x="46" y="35"/>
                  <a:pt x="46" y="35"/>
                </a:cubicBezTo>
                <a:cubicBezTo>
                  <a:pt x="40" y="31"/>
                  <a:pt x="40" y="31"/>
                  <a:pt x="40" y="31"/>
                </a:cubicBezTo>
                <a:cubicBezTo>
                  <a:pt x="38" y="30"/>
                  <a:pt x="38" y="30"/>
                  <a:pt x="38" y="30"/>
                </a:cubicBezTo>
                <a:cubicBezTo>
                  <a:pt x="35" y="28"/>
                  <a:pt x="35" y="28"/>
                  <a:pt x="35" y="28"/>
                </a:cubicBezTo>
                <a:cubicBezTo>
                  <a:pt x="33" y="27"/>
                  <a:pt x="33" y="27"/>
                  <a:pt x="33" y="27"/>
                </a:cubicBezTo>
                <a:cubicBezTo>
                  <a:pt x="32" y="26"/>
                  <a:pt x="32" y="26"/>
                  <a:pt x="32" y="26"/>
                </a:cubicBezTo>
                <a:cubicBezTo>
                  <a:pt x="32" y="22"/>
                  <a:pt x="32" y="22"/>
                  <a:pt x="32" y="22"/>
                </a:cubicBezTo>
                <a:cubicBezTo>
                  <a:pt x="30" y="21"/>
                  <a:pt x="30" y="21"/>
                  <a:pt x="30" y="21"/>
                </a:cubicBezTo>
                <a:cubicBezTo>
                  <a:pt x="28" y="18"/>
                  <a:pt x="28" y="18"/>
                  <a:pt x="28" y="18"/>
                </a:cubicBezTo>
                <a:cubicBezTo>
                  <a:pt x="27" y="18"/>
                  <a:pt x="27" y="18"/>
                  <a:pt x="27" y="18"/>
                </a:cubicBezTo>
                <a:cubicBezTo>
                  <a:pt x="26" y="15"/>
                  <a:pt x="26" y="15"/>
                  <a:pt x="26" y="15"/>
                </a:cubicBezTo>
                <a:cubicBezTo>
                  <a:pt x="23" y="14"/>
                  <a:pt x="23" y="14"/>
                  <a:pt x="23" y="14"/>
                </a:cubicBezTo>
                <a:cubicBezTo>
                  <a:pt x="21" y="14"/>
                  <a:pt x="21" y="14"/>
                  <a:pt x="21" y="14"/>
                </a:cubicBezTo>
                <a:cubicBezTo>
                  <a:pt x="20" y="15"/>
                  <a:pt x="20" y="15"/>
                  <a:pt x="20" y="15"/>
                </a:cubicBezTo>
                <a:cubicBezTo>
                  <a:pt x="19" y="14"/>
                  <a:pt x="19" y="14"/>
                  <a:pt x="19" y="14"/>
                </a:cubicBezTo>
                <a:cubicBezTo>
                  <a:pt x="16" y="14"/>
                  <a:pt x="16" y="14"/>
                  <a:pt x="16" y="14"/>
                </a:cubicBezTo>
                <a:cubicBezTo>
                  <a:pt x="13" y="15"/>
                  <a:pt x="13" y="15"/>
                  <a:pt x="13" y="15"/>
                </a:cubicBezTo>
                <a:cubicBezTo>
                  <a:pt x="11" y="14"/>
                  <a:pt x="11" y="14"/>
                  <a:pt x="11" y="14"/>
                </a:cubicBezTo>
                <a:cubicBezTo>
                  <a:pt x="6" y="11"/>
                  <a:pt x="6" y="11"/>
                  <a:pt x="6" y="11"/>
                </a:cubicBezTo>
                <a:cubicBezTo>
                  <a:pt x="2" y="10"/>
                  <a:pt x="2" y="10"/>
                  <a:pt x="2" y="10"/>
                </a:cubicBezTo>
                <a:lnTo>
                  <a:pt x="0" y="11"/>
                </a:lnTo>
                <a:close/>
                <a:moveTo>
                  <a:pt x="306" y="176"/>
                </a:moveTo>
                <a:cubicBezTo>
                  <a:pt x="307" y="178"/>
                  <a:pt x="307" y="178"/>
                  <a:pt x="307" y="178"/>
                </a:cubicBezTo>
                <a:cubicBezTo>
                  <a:pt x="309" y="177"/>
                  <a:pt x="309" y="177"/>
                  <a:pt x="309" y="177"/>
                </a:cubicBezTo>
                <a:cubicBezTo>
                  <a:pt x="311" y="177"/>
                  <a:pt x="311" y="177"/>
                  <a:pt x="311" y="177"/>
                </a:cubicBezTo>
                <a:cubicBezTo>
                  <a:pt x="312" y="174"/>
                  <a:pt x="312" y="174"/>
                  <a:pt x="312" y="174"/>
                </a:cubicBezTo>
                <a:cubicBezTo>
                  <a:pt x="310" y="174"/>
                  <a:pt x="310" y="174"/>
                  <a:pt x="310" y="174"/>
                </a:cubicBezTo>
                <a:cubicBezTo>
                  <a:pt x="307" y="175"/>
                  <a:pt x="307" y="175"/>
                  <a:pt x="307" y="175"/>
                </a:cubicBezTo>
                <a:cubicBezTo>
                  <a:pt x="306" y="176"/>
                  <a:pt x="306" y="176"/>
                  <a:pt x="306" y="176"/>
                </a:cubicBezTo>
                <a:close/>
                <a:moveTo>
                  <a:pt x="314" y="173"/>
                </a:moveTo>
                <a:cubicBezTo>
                  <a:pt x="316" y="175"/>
                  <a:pt x="316" y="175"/>
                  <a:pt x="316" y="175"/>
                </a:cubicBezTo>
                <a:cubicBezTo>
                  <a:pt x="319" y="178"/>
                  <a:pt x="319" y="178"/>
                  <a:pt x="319" y="178"/>
                </a:cubicBezTo>
                <a:cubicBezTo>
                  <a:pt x="319" y="178"/>
                  <a:pt x="319" y="178"/>
                  <a:pt x="319" y="178"/>
                </a:cubicBezTo>
                <a:cubicBezTo>
                  <a:pt x="321" y="176"/>
                  <a:pt x="321" y="176"/>
                  <a:pt x="321" y="176"/>
                </a:cubicBezTo>
                <a:cubicBezTo>
                  <a:pt x="323" y="175"/>
                  <a:pt x="323" y="175"/>
                  <a:pt x="323" y="175"/>
                </a:cubicBezTo>
                <a:cubicBezTo>
                  <a:pt x="325" y="175"/>
                  <a:pt x="325" y="175"/>
                  <a:pt x="325" y="175"/>
                </a:cubicBezTo>
                <a:cubicBezTo>
                  <a:pt x="329" y="175"/>
                  <a:pt x="329" y="175"/>
                  <a:pt x="329" y="175"/>
                </a:cubicBezTo>
                <a:cubicBezTo>
                  <a:pt x="332" y="173"/>
                  <a:pt x="332" y="173"/>
                  <a:pt x="332" y="173"/>
                </a:cubicBezTo>
                <a:cubicBezTo>
                  <a:pt x="336" y="172"/>
                  <a:pt x="336" y="172"/>
                  <a:pt x="336" y="172"/>
                </a:cubicBezTo>
                <a:cubicBezTo>
                  <a:pt x="336" y="171"/>
                  <a:pt x="336" y="171"/>
                  <a:pt x="336" y="171"/>
                </a:cubicBezTo>
                <a:cubicBezTo>
                  <a:pt x="338" y="170"/>
                  <a:pt x="338" y="170"/>
                  <a:pt x="338" y="170"/>
                </a:cubicBezTo>
                <a:cubicBezTo>
                  <a:pt x="340" y="169"/>
                  <a:pt x="340" y="169"/>
                  <a:pt x="340" y="169"/>
                </a:cubicBezTo>
                <a:cubicBezTo>
                  <a:pt x="340" y="168"/>
                  <a:pt x="340" y="168"/>
                  <a:pt x="340" y="168"/>
                </a:cubicBezTo>
                <a:cubicBezTo>
                  <a:pt x="339" y="167"/>
                  <a:pt x="339" y="167"/>
                  <a:pt x="339" y="167"/>
                </a:cubicBezTo>
                <a:cubicBezTo>
                  <a:pt x="335" y="168"/>
                  <a:pt x="335" y="168"/>
                  <a:pt x="335" y="168"/>
                </a:cubicBezTo>
                <a:cubicBezTo>
                  <a:pt x="332" y="168"/>
                  <a:pt x="332" y="168"/>
                  <a:pt x="332" y="168"/>
                </a:cubicBezTo>
                <a:cubicBezTo>
                  <a:pt x="330" y="168"/>
                  <a:pt x="330" y="168"/>
                  <a:pt x="330" y="168"/>
                </a:cubicBezTo>
                <a:cubicBezTo>
                  <a:pt x="328" y="168"/>
                  <a:pt x="328" y="168"/>
                  <a:pt x="328" y="168"/>
                </a:cubicBezTo>
                <a:cubicBezTo>
                  <a:pt x="325" y="169"/>
                  <a:pt x="325" y="169"/>
                  <a:pt x="325" y="169"/>
                </a:cubicBezTo>
                <a:cubicBezTo>
                  <a:pt x="320" y="169"/>
                  <a:pt x="320" y="169"/>
                  <a:pt x="320" y="169"/>
                </a:cubicBezTo>
                <a:cubicBezTo>
                  <a:pt x="317" y="172"/>
                  <a:pt x="317" y="172"/>
                  <a:pt x="317" y="172"/>
                </a:cubicBezTo>
                <a:lnTo>
                  <a:pt x="314" y="17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40" name="Freeform 181"/>
          <p:cNvSpPr>
            <a:spLocks noEditPoints="1"/>
          </p:cNvSpPr>
          <p:nvPr/>
        </p:nvSpPr>
        <p:spPr bwMode="auto">
          <a:xfrm>
            <a:off x="9859963" y="5594350"/>
            <a:ext cx="47625" cy="39688"/>
          </a:xfrm>
          <a:custGeom>
            <a:avLst/>
            <a:gdLst>
              <a:gd name="T0" fmla="*/ 0 w 30"/>
              <a:gd name="T1" fmla="*/ 10 h 25"/>
              <a:gd name="T2" fmla="*/ 2 w 30"/>
              <a:gd name="T3" fmla="*/ 12 h 25"/>
              <a:gd name="T4" fmla="*/ 5 w 30"/>
              <a:gd name="T5" fmla="*/ 12 h 25"/>
              <a:gd name="T6" fmla="*/ 10 w 30"/>
              <a:gd name="T7" fmla="*/ 20 h 25"/>
              <a:gd name="T8" fmla="*/ 15 w 30"/>
              <a:gd name="T9" fmla="*/ 25 h 25"/>
              <a:gd name="T10" fmla="*/ 17 w 30"/>
              <a:gd name="T11" fmla="*/ 22 h 25"/>
              <a:gd name="T12" fmla="*/ 17 w 30"/>
              <a:gd name="T13" fmla="*/ 10 h 25"/>
              <a:gd name="T14" fmla="*/ 20 w 30"/>
              <a:gd name="T15" fmla="*/ 7 h 25"/>
              <a:gd name="T16" fmla="*/ 22 w 30"/>
              <a:gd name="T17" fmla="*/ 5 h 25"/>
              <a:gd name="T18" fmla="*/ 22 w 30"/>
              <a:gd name="T19" fmla="*/ 5 h 25"/>
              <a:gd name="T20" fmla="*/ 22 w 30"/>
              <a:gd name="T21" fmla="*/ 0 h 25"/>
              <a:gd name="T22" fmla="*/ 15 w 30"/>
              <a:gd name="T23" fmla="*/ 0 h 25"/>
              <a:gd name="T24" fmla="*/ 10 w 30"/>
              <a:gd name="T25" fmla="*/ 5 h 25"/>
              <a:gd name="T26" fmla="*/ 0 w 30"/>
              <a:gd name="T27" fmla="*/ 7 h 25"/>
              <a:gd name="T28" fmla="*/ 0 w 30"/>
              <a:gd name="T29" fmla="*/ 10 h 25"/>
              <a:gd name="T30" fmla="*/ 0 w 30"/>
              <a:gd name="T31" fmla="*/ 10 h 25"/>
              <a:gd name="T32" fmla="*/ 22 w 30"/>
              <a:gd name="T33" fmla="*/ 7 h 25"/>
              <a:gd name="T34" fmla="*/ 22 w 30"/>
              <a:gd name="T35" fmla="*/ 12 h 25"/>
              <a:gd name="T36" fmla="*/ 25 w 30"/>
              <a:gd name="T37" fmla="*/ 17 h 25"/>
              <a:gd name="T38" fmla="*/ 27 w 30"/>
              <a:gd name="T39" fmla="*/ 20 h 25"/>
              <a:gd name="T40" fmla="*/ 30 w 30"/>
              <a:gd name="T41" fmla="*/ 15 h 25"/>
              <a:gd name="T42" fmla="*/ 27 w 30"/>
              <a:gd name="T43" fmla="*/ 7 h 25"/>
              <a:gd name="T44" fmla="*/ 25 w 30"/>
              <a:gd name="T45" fmla="*/ 5 h 25"/>
              <a:gd name="T46" fmla="*/ 25 w 30"/>
              <a:gd name="T47" fmla="*/ 7 h 25"/>
              <a:gd name="T48" fmla="*/ 22 w 30"/>
              <a:gd name="T49"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25">
                <a:moveTo>
                  <a:pt x="0" y="10"/>
                </a:moveTo>
                <a:lnTo>
                  <a:pt x="2" y="12"/>
                </a:lnTo>
                <a:lnTo>
                  <a:pt x="5" y="12"/>
                </a:lnTo>
                <a:lnTo>
                  <a:pt x="10" y="20"/>
                </a:lnTo>
                <a:lnTo>
                  <a:pt x="15" y="25"/>
                </a:lnTo>
                <a:lnTo>
                  <a:pt x="17" y="22"/>
                </a:lnTo>
                <a:lnTo>
                  <a:pt x="17" y="10"/>
                </a:lnTo>
                <a:lnTo>
                  <a:pt x="20" y="7"/>
                </a:lnTo>
                <a:lnTo>
                  <a:pt x="22" y="5"/>
                </a:lnTo>
                <a:lnTo>
                  <a:pt x="22" y="5"/>
                </a:lnTo>
                <a:lnTo>
                  <a:pt x="22" y="0"/>
                </a:lnTo>
                <a:lnTo>
                  <a:pt x="15" y="0"/>
                </a:lnTo>
                <a:lnTo>
                  <a:pt x="10" y="5"/>
                </a:lnTo>
                <a:lnTo>
                  <a:pt x="0" y="7"/>
                </a:lnTo>
                <a:lnTo>
                  <a:pt x="0" y="10"/>
                </a:lnTo>
                <a:lnTo>
                  <a:pt x="0" y="10"/>
                </a:lnTo>
                <a:close/>
                <a:moveTo>
                  <a:pt x="22" y="7"/>
                </a:moveTo>
                <a:lnTo>
                  <a:pt x="22" y="12"/>
                </a:lnTo>
                <a:lnTo>
                  <a:pt x="25" y="17"/>
                </a:lnTo>
                <a:lnTo>
                  <a:pt x="27" y="20"/>
                </a:lnTo>
                <a:lnTo>
                  <a:pt x="30" y="15"/>
                </a:lnTo>
                <a:lnTo>
                  <a:pt x="27" y="7"/>
                </a:lnTo>
                <a:lnTo>
                  <a:pt x="25" y="5"/>
                </a:lnTo>
                <a:lnTo>
                  <a:pt x="25" y="7"/>
                </a:lnTo>
                <a:lnTo>
                  <a:pt x="22" y="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41" name="Freeform 182"/>
          <p:cNvSpPr>
            <a:spLocks/>
          </p:cNvSpPr>
          <p:nvPr/>
        </p:nvSpPr>
        <p:spPr bwMode="auto">
          <a:xfrm>
            <a:off x="9340850" y="5162550"/>
            <a:ext cx="225425" cy="190500"/>
          </a:xfrm>
          <a:custGeom>
            <a:avLst/>
            <a:gdLst>
              <a:gd name="T0" fmla="*/ 68 w 142"/>
              <a:gd name="T1" fmla="*/ 115 h 120"/>
              <a:gd name="T2" fmla="*/ 78 w 142"/>
              <a:gd name="T3" fmla="*/ 105 h 120"/>
              <a:gd name="T4" fmla="*/ 85 w 142"/>
              <a:gd name="T5" fmla="*/ 107 h 120"/>
              <a:gd name="T6" fmla="*/ 102 w 142"/>
              <a:gd name="T7" fmla="*/ 107 h 120"/>
              <a:gd name="T8" fmla="*/ 112 w 142"/>
              <a:gd name="T9" fmla="*/ 110 h 120"/>
              <a:gd name="T10" fmla="*/ 110 w 142"/>
              <a:gd name="T11" fmla="*/ 102 h 120"/>
              <a:gd name="T12" fmla="*/ 100 w 142"/>
              <a:gd name="T13" fmla="*/ 95 h 120"/>
              <a:gd name="T14" fmla="*/ 105 w 142"/>
              <a:gd name="T15" fmla="*/ 82 h 120"/>
              <a:gd name="T16" fmla="*/ 117 w 142"/>
              <a:gd name="T17" fmla="*/ 77 h 120"/>
              <a:gd name="T18" fmla="*/ 132 w 142"/>
              <a:gd name="T19" fmla="*/ 70 h 120"/>
              <a:gd name="T20" fmla="*/ 137 w 142"/>
              <a:gd name="T21" fmla="*/ 65 h 120"/>
              <a:gd name="T22" fmla="*/ 140 w 142"/>
              <a:gd name="T23" fmla="*/ 50 h 120"/>
              <a:gd name="T24" fmla="*/ 140 w 142"/>
              <a:gd name="T25" fmla="*/ 37 h 120"/>
              <a:gd name="T26" fmla="*/ 135 w 142"/>
              <a:gd name="T27" fmla="*/ 20 h 120"/>
              <a:gd name="T28" fmla="*/ 127 w 142"/>
              <a:gd name="T29" fmla="*/ 7 h 120"/>
              <a:gd name="T30" fmla="*/ 117 w 142"/>
              <a:gd name="T31" fmla="*/ 5 h 120"/>
              <a:gd name="T32" fmla="*/ 112 w 142"/>
              <a:gd name="T33" fmla="*/ 0 h 120"/>
              <a:gd name="T34" fmla="*/ 97 w 142"/>
              <a:gd name="T35" fmla="*/ 5 h 120"/>
              <a:gd name="T36" fmla="*/ 102 w 142"/>
              <a:gd name="T37" fmla="*/ 17 h 120"/>
              <a:gd name="T38" fmla="*/ 105 w 142"/>
              <a:gd name="T39" fmla="*/ 25 h 120"/>
              <a:gd name="T40" fmla="*/ 93 w 142"/>
              <a:gd name="T41" fmla="*/ 15 h 120"/>
              <a:gd name="T42" fmla="*/ 83 w 142"/>
              <a:gd name="T43" fmla="*/ 10 h 120"/>
              <a:gd name="T44" fmla="*/ 73 w 142"/>
              <a:gd name="T45" fmla="*/ 7 h 120"/>
              <a:gd name="T46" fmla="*/ 60 w 142"/>
              <a:gd name="T47" fmla="*/ 5 h 120"/>
              <a:gd name="T48" fmla="*/ 48 w 142"/>
              <a:gd name="T49" fmla="*/ 2 h 120"/>
              <a:gd name="T50" fmla="*/ 38 w 142"/>
              <a:gd name="T51" fmla="*/ 5 h 120"/>
              <a:gd name="T52" fmla="*/ 18 w 142"/>
              <a:gd name="T53" fmla="*/ 7 h 120"/>
              <a:gd name="T54" fmla="*/ 8 w 142"/>
              <a:gd name="T55" fmla="*/ 15 h 120"/>
              <a:gd name="T56" fmla="*/ 3 w 142"/>
              <a:gd name="T57" fmla="*/ 30 h 120"/>
              <a:gd name="T58" fmla="*/ 3 w 142"/>
              <a:gd name="T59" fmla="*/ 50 h 120"/>
              <a:gd name="T60" fmla="*/ 10 w 142"/>
              <a:gd name="T61" fmla="*/ 57 h 120"/>
              <a:gd name="T62" fmla="*/ 10 w 142"/>
              <a:gd name="T63" fmla="*/ 72 h 120"/>
              <a:gd name="T64" fmla="*/ 13 w 142"/>
              <a:gd name="T65" fmla="*/ 77 h 120"/>
              <a:gd name="T66" fmla="*/ 18 w 142"/>
              <a:gd name="T67" fmla="*/ 85 h 120"/>
              <a:gd name="T68" fmla="*/ 20 w 142"/>
              <a:gd name="T69" fmla="*/ 95 h 120"/>
              <a:gd name="T70" fmla="*/ 25 w 142"/>
              <a:gd name="T71" fmla="*/ 97 h 120"/>
              <a:gd name="T72" fmla="*/ 25 w 142"/>
              <a:gd name="T73" fmla="*/ 105 h 120"/>
              <a:gd name="T74" fmla="*/ 30 w 142"/>
              <a:gd name="T75" fmla="*/ 110 h 120"/>
              <a:gd name="T76" fmla="*/ 35 w 142"/>
              <a:gd name="T77" fmla="*/ 105 h 120"/>
              <a:gd name="T78" fmla="*/ 40 w 142"/>
              <a:gd name="T79" fmla="*/ 100 h 120"/>
              <a:gd name="T80" fmla="*/ 43 w 142"/>
              <a:gd name="T81" fmla="*/ 107 h 120"/>
              <a:gd name="T82" fmla="*/ 38 w 142"/>
              <a:gd name="T83" fmla="*/ 115 h 120"/>
              <a:gd name="T84" fmla="*/ 40 w 142"/>
              <a:gd name="T85" fmla="*/ 120 h 120"/>
              <a:gd name="T86" fmla="*/ 48 w 142"/>
              <a:gd name="T87" fmla="*/ 115 h 120"/>
              <a:gd name="T88" fmla="*/ 50 w 142"/>
              <a:gd name="T89" fmla="*/ 117 h 120"/>
              <a:gd name="T90" fmla="*/ 58 w 142"/>
              <a:gd name="T91" fmla="*/ 11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2" h="120">
                <a:moveTo>
                  <a:pt x="63" y="120"/>
                </a:moveTo>
                <a:lnTo>
                  <a:pt x="68" y="115"/>
                </a:lnTo>
                <a:lnTo>
                  <a:pt x="73" y="112"/>
                </a:lnTo>
                <a:lnTo>
                  <a:pt x="78" y="105"/>
                </a:lnTo>
                <a:lnTo>
                  <a:pt x="83" y="105"/>
                </a:lnTo>
                <a:lnTo>
                  <a:pt x="85" y="107"/>
                </a:lnTo>
                <a:lnTo>
                  <a:pt x="97" y="105"/>
                </a:lnTo>
                <a:lnTo>
                  <a:pt x="102" y="107"/>
                </a:lnTo>
                <a:lnTo>
                  <a:pt x="102" y="112"/>
                </a:lnTo>
                <a:lnTo>
                  <a:pt x="112" y="110"/>
                </a:lnTo>
                <a:lnTo>
                  <a:pt x="110" y="105"/>
                </a:lnTo>
                <a:lnTo>
                  <a:pt x="110" y="102"/>
                </a:lnTo>
                <a:lnTo>
                  <a:pt x="105" y="97"/>
                </a:lnTo>
                <a:lnTo>
                  <a:pt x="100" y="95"/>
                </a:lnTo>
                <a:lnTo>
                  <a:pt x="97" y="85"/>
                </a:lnTo>
                <a:lnTo>
                  <a:pt x="105" y="82"/>
                </a:lnTo>
                <a:lnTo>
                  <a:pt x="112" y="82"/>
                </a:lnTo>
                <a:lnTo>
                  <a:pt x="117" y="77"/>
                </a:lnTo>
                <a:lnTo>
                  <a:pt x="125" y="72"/>
                </a:lnTo>
                <a:lnTo>
                  <a:pt x="132" y="70"/>
                </a:lnTo>
                <a:lnTo>
                  <a:pt x="132" y="67"/>
                </a:lnTo>
                <a:lnTo>
                  <a:pt x="137" y="65"/>
                </a:lnTo>
                <a:lnTo>
                  <a:pt x="140" y="57"/>
                </a:lnTo>
                <a:lnTo>
                  <a:pt x="140" y="50"/>
                </a:lnTo>
                <a:lnTo>
                  <a:pt x="142" y="42"/>
                </a:lnTo>
                <a:lnTo>
                  <a:pt x="140" y="37"/>
                </a:lnTo>
                <a:lnTo>
                  <a:pt x="140" y="30"/>
                </a:lnTo>
                <a:lnTo>
                  <a:pt x="135" y="20"/>
                </a:lnTo>
                <a:lnTo>
                  <a:pt x="130" y="17"/>
                </a:lnTo>
                <a:lnTo>
                  <a:pt x="127" y="7"/>
                </a:lnTo>
                <a:lnTo>
                  <a:pt x="125" y="7"/>
                </a:lnTo>
                <a:lnTo>
                  <a:pt x="117" y="5"/>
                </a:lnTo>
                <a:lnTo>
                  <a:pt x="115" y="5"/>
                </a:lnTo>
                <a:lnTo>
                  <a:pt x="112" y="0"/>
                </a:lnTo>
                <a:lnTo>
                  <a:pt x="102" y="2"/>
                </a:lnTo>
                <a:lnTo>
                  <a:pt x="97" y="5"/>
                </a:lnTo>
                <a:lnTo>
                  <a:pt x="105" y="12"/>
                </a:lnTo>
                <a:lnTo>
                  <a:pt x="102" y="17"/>
                </a:lnTo>
                <a:lnTo>
                  <a:pt x="105" y="22"/>
                </a:lnTo>
                <a:lnTo>
                  <a:pt x="105" y="25"/>
                </a:lnTo>
                <a:lnTo>
                  <a:pt x="97" y="22"/>
                </a:lnTo>
                <a:lnTo>
                  <a:pt x="93" y="15"/>
                </a:lnTo>
                <a:lnTo>
                  <a:pt x="85" y="15"/>
                </a:lnTo>
                <a:lnTo>
                  <a:pt x="83" y="10"/>
                </a:lnTo>
                <a:lnTo>
                  <a:pt x="75" y="7"/>
                </a:lnTo>
                <a:lnTo>
                  <a:pt x="73" y="7"/>
                </a:lnTo>
                <a:lnTo>
                  <a:pt x="68" y="5"/>
                </a:lnTo>
                <a:lnTo>
                  <a:pt x="60" y="5"/>
                </a:lnTo>
                <a:lnTo>
                  <a:pt x="55" y="2"/>
                </a:lnTo>
                <a:lnTo>
                  <a:pt x="48" y="2"/>
                </a:lnTo>
                <a:lnTo>
                  <a:pt x="40" y="7"/>
                </a:lnTo>
                <a:lnTo>
                  <a:pt x="38" y="5"/>
                </a:lnTo>
                <a:lnTo>
                  <a:pt x="30" y="5"/>
                </a:lnTo>
                <a:lnTo>
                  <a:pt x="18" y="7"/>
                </a:lnTo>
                <a:lnTo>
                  <a:pt x="13" y="7"/>
                </a:lnTo>
                <a:lnTo>
                  <a:pt x="8" y="15"/>
                </a:lnTo>
                <a:lnTo>
                  <a:pt x="5" y="22"/>
                </a:lnTo>
                <a:lnTo>
                  <a:pt x="3" y="30"/>
                </a:lnTo>
                <a:lnTo>
                  <a:pt x="0" y="40"/>
                </a:lnTo>
                <a:lnTo>
                  <a:pt x="3" y="50"/>
                </a:lnTo>
                <a:lnTo>
                  <a:pt x="8" y="52"/>
                </a:lnTo>
                <a:lnTo>
                  <a:pt x="10" y="57"/>
                </a:lnTo>
                <a:lnTo>
                  <a:pt x="10" y="67"/>
                </a:lnTo>
                <a:lnTo>
                  <a:pt x="10" y="72"/>
                </a:lnTo>
                <a:lnTo>
                  <a:pt x="10" y="72"/>
                </a:lnTo>
                <a:lnTo>
                  <a:pt x="13" y="77"/>
                </a:lnTo>
                <a:lnTo>
                  <a:pt x="13" y="82"/>
                </a:lnTo>
                <a:lnTo>
                  <a:pt x="18" y="85"/>
                </a:lnTo>
                <a:lnTo>
                  <a:pt x="18" y="90"/>
                </a:lnTo>
                <a:lnTo>
                  <a:pt x="20" y="95"/>
                </a:lnTo>
                <a:lnTo>
                  <a:pt x="23" y="95"/>
                </a:lnTo>
                <a:lnTo>
                  <a:pt x="25" y="97"/>
                </a:lnTo>
                <a:lnTo>
                  <a:pt x="25" y="102"/>
                </a:lnTo>
                <a:lnTo>
                  <a:pt x="25" y="105"/>
                </a:lnTo>
                <a:lnTo>
                  <a:pt x="28" y="110"/>
                </a:lnTo>
                <a:lnTo>
                  <a:pt x="30" y="110"/>
                </a:lnTo>
                <a:lnTo>
                  <a:pt x="35" y="110"/>
                </a:lnTo>
                <a:lnTo>
                  <a:pt x="35" y="105"/>
                </a:lnTo>
                <a:lnTo>
                  <a:pt x="38" y="102"/>
                </a:lnTo>
                <a:lnTo>
                  <a:pt x="40" y="100"/>
                </a:lnTo>
                <a:lnTo>
                  <a:pt x="40" y="102"/>
                </a:lnTo>
                <a:lnTo>
                  <a:pt x="43" y="107"/>
                </a:lnTo>
                <a:lnTo>
                  <a:pt x="40" y="110"/>
                </a:lnTo>
                <a:lnTo>
                  <a:pt x="38" y="115"/>
                </a:lnTo>
                <a:lnTo>
                  <a:pt x="40" y="117"/>
                </a:lnTo>
                <a:lnTo>
                  <a:pt x="40" y="120"/>
                </a:lnTo>
                <a:lnTo>
                  <a:pt x="43" y="120"/>
                </a:lnTo>
                <a:lnTo>
                  <a:pt x="48" y="115"/>
                </a:lnTo>
                <a:lnTo>
                  <a:pt x="48" y="115"/>
                </a:lnTo>
                <a:lnTo>
                  <a:pt x="50" y="117"/>
                </a:lnTo>
                <a:lnTo>
                  <a:pt x="55" y="117"/>
                </a:lnTo>
                <a:lnTo>
                  <a:pt x="58" y="117"/>
                </a:lnTo>
                <a:lnTo>
                  <a:pt x="63" y="12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42" name="Freeform 183"/>
          <p:cNvSpPr>
            <a:spLocks noEditPoints="1"/>
          </p:cNvSpPr>
          <p:nvPr/>
        </p:nvSpPr>
        <p:spPr bwMode="auto">
          <a:xfrm>
            <a:off x="9115425" y="4897438"/>
            <a:ext cx="357187" cy="665163"/>
          </a:xfrm>
          <a:custGeom>
            <a:avLst/>
            <a:gdLst>
              <a:gd name="T0" fmla="*/ 32 w 90"/>
              <a:gd name="T1" fmla="*/ 8 h 168"/>
              <a:gd name="T2" fmla="*/ 39 w 90"/>
              <a:gd name="T3" fmla="*/ 11 h 168"/>
              <a:gd name="T4" fmla="*/ 38 w 90"/>
              <a:gd name="T5" fmla="*/ 21 h 168"/>
              <a:gd name="T6" fmla="*/ 45 w 90"/>
              <a:gd name="T7" fmla="*/ 31 h 168"/>
              <a:gd name="T8" fmla="*/ 56 w 90"/>
              <a:gd name="T9" fmla="*/ 31 h 168"/>
              <a:gd name="T10" fmla="*/ 72 w 90"/>
              <a:gd name="T11" fmla="*/ 29 h 168"/>
              <a:gd name="T12" fmla="*/ 80 w 90"/>
              <a:gd name="T13" fmla="*/ 40 h 168"/>
              <a:gd name="T14" fmla="*/ 84 w 90"/>
              <a:gd name="T15" fmla="*/ 51 h 168"/>
              <a:gd name="T16" fmla="*/ 90 w 90"/>
              <a:gd name="T17" fmla="*/ 56 h 168"/>
              <a:gd name="T18" fmla="*/ 90 w 90"/>
              <a:gd name="T19" fmla="*/ 67 h 168"/>
              <a:gd name="T20" fmla="*/ 79 w 90"/>
              <a:gd name="T21" fmla="*/ 68 h 168"/>
              <a:gd name="T22" fmla="*/ 64 w 90"/>
              <a:gd name="T23" fmla="*/ 70 h 168"/>
              <a:gd name="T24" fmla="*/ 57 w 90"/>
              <a:gd name="T25" fmla="*/ 83 h 168"/>
              <a:gd name="T26" fmla="*/ 61 w 90"/>
              <a:gd name="T27" fmla="*/ 96 h 168"/>
              <a:gd name="T28" fmla="*/ 57 w 90"/>
              <a:gd name="T29" fmla="*/ 95 h 168"/>
              <a:gd name="T30" fmla="*/ 50 w 90"/>
              <a:gd name="T31" fmla="*/ 90 h 168"/>
              <a:gd name="T32" fmla="*/ 46 w 90"/>
              <a:gd name="T33" fmla="*/ 91 h 168"/>
              <a:gd name="T34" fmla="*/ 42 w 90"/>
              <a:gd name="T35" fmla="*/ 88 h 168"/>
              <a:gd name="T36" fmla="*/ 39 w 90"/>
              <a:gd name="T37" fmla="*/ 82 h 168"/>
              <a:gd name="T38" fmla="*/ 34 w 90"/>
              <a:gd name="T39" fmla="*/ 82 h 168"/>
              <a:gd name="T40" fmla="*/ 31 w 90"/>
              <a:gd name="T41" fmla="*/ 82 h 168"/>
              <a:gd name="T42" fmla="*/ 32 w 90"/>
              <a:gd name="T43" fmla="*/ 91 h 168"/>
              <a:gd name="T44" fmla="*/ 30 w 90"/>
              <a:gd name="T45" fmla="*/ 100 h 168"/>
              <a:gd name="T46" fmla="*/ 24 w 90"/>
              <a:gd name="T47" fmla="*/ 118 h 168"/>
              <a:gd name="T48" fmla="*/ 25 w 90"/>
              <a:gd name="T49" fmla="*/ 123 h 168"/>
              <a:gd name="T50" fmla="*/ 28 w 90"/>
              <a:gd name="T51" fmla="*/ 130 h 168"/>
              <a:gd name="T52" fmla="*/ 33 w 90"/>
              <a:gd name="T53" fmla="*/ 129 h 168"/>
              <a:gd name="T54" fmla="*/ 36 w 90"/>
              <a:gd name="T55" fmla="*/ 138 h 168"/>
              <a:gd name="T56" fmla="*/ 39 w 90"/>
              <a:gd name="T57" fmla="*/ 139 h 168"/>
              <a:gd name="T58" fmla="*/ 40 w 90"/>
              <a:gd name="T59" fmla="*/ 147 h 168"/>
              <a:gd name="T60" fmla="*/ 41 w 90"/>
              <a:gd name="T61" fmla="*/ 149 h 168"/>
              <a:gd name="T62" fmla="*/ 48 w 90"/>
              <a:gd name="T63" fmla="*/ 156 h 168"/>
              <a:gd name="T64" fmla="*/ 55 w 90"/>
              <a:gd name="T65" fmla="*/ 161 h 168"/>
              <a:gd name="T66" fmla="*/ 55 w 90"/>
              <a:gd name="T67" fmla="*/ 167 h 168"/>
              <a:gd name="T68" fmla="*/ 47 w 90"/>
              <a:gd name="T69" fmla="*/ 166 h 168"/>
              <a:gd name="T70" fmla="*/ 44 w 90"/>
              <a:gd name="T71" fmla="*/ 159 h 168"/>
              <a:gd name="T72" fmla="*/ 36 w 90"/>
              <a:gd name="T73" fmla="*/ 159 h 168"/>
              <a:gd name="T74" fmla="*/ 31 w 90"/>
              <a:gd name="T75" fmla="*/ 152 h 168"/>
              <a:gd name="T76" fmla="*/ 25 w 90"/>
              <a:gd name="T77" fmla="*/ 146 h 168"/>
              <a:gd name="T78" fmla="*/ 20 w 90"/>
              <a:gd name="T79" fmla="*/ 138 h 168"/>
              <a:gd name="T80" fmla="*/ 16 w 90"/>
              <a:gd name="T81" fmla="*/ 136 h 168"/>
              <a:gd name="T82" fmla="*/ 18 w 90"/>
              <a:gd name="T83" fmla="*/ 127 h 168"/>
              <a:gd name="T84" fmla="*/ 20 w 90"/>
              <a:gd name="T85" fmla="*/ 120 h 168"/>
              <a:gd name="T86" fmla="*/ 21 w 90"/>
              <a:gd name="T87" fmla="*/ 110 h 168"/>
              <a:gd name="T88" fmla="*/ 26 w 90"/>
              <a:gd name="T89" fmla="*/ 95 h 168"/>
              <a:gd name="T90" fmla="*/ 24 w 90"/>
              <a:gd name="T91" fmla="*/ 84 h 168"/>
              <a:gd name="T92" fmla="*/ 17 w 90"/>
              <a:gd name="T93" fmla="*/ 70 h 168"/>
              <a:gd name="T94" fmla="*/ 15 w 90"/>
              <a:gd name="T95" fmla="*/ 58 h 168"/>
              <a:gd name="T96" fmla="*/ 14 w 90"/>
              <a:gd name="T97" fmla="*/ 47 h 168"/>
              <a:gd name="T98" fmla="*/ 5 w 90"/>
              <a:gd name="T99" fmla="*/ 33 h 168"/>
              <a:gd name="T100" fmla="*/ 0 w 90"/>
              <a:gd name="T101" fmla="*/ 25 h 168"/>
              <a:gd name="T102" fmla="*/ 5 w 90"/>
              <a:gd name="T103" fmla="*/ 16 h 168"/>
              <a:gd name="T104" fmla="*/ 15 w 90"/>
              <a:gd name="T105" fmla="*/ 10 h 168"/>
              <a:gd name="T106" fmla="*/ 21 w 90"/>
              <a:gd name="T107" fmla="*/ 4 h 168"/>
              <a:gd name="T108" fmla="*/ 25 w 90"/>
              <a:gd name="T109" fmla="*/ 0 h 168"/>
              <a:gd name="T110" fmla="*/ 32 w 90"/>
              <a:gd name="T111" fmla="*/ 157 h 168"/>
              <a:gd name="T112" fmla="*/ 25 w 90"/>
              <a:gd name="T113" fmla="*/ 147 h 168"/>
              <a:gd name="T114" fmla="*/ 17 w 90"/>
              <a:gd name="T115" fmla="*/ 146 h 168"/>
              <a:gd name="T116" fmla="*/ 56 w 90"/>
              <a:gd name="T117" fmla="*/ 97 h 168"/>
              <a:gd name="T118" fmla="*/ 33 w 90"/>
              <a:gd name="T119" fmla="*/ 123 h 168"/>
              <a:gd name="T120" fmla="*/ 34 w 90"/>
              <a:gd name="T121" fmla="*/ 12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 h="168">
                <a:moveTo>
                  <a:pt x="25" y="0"/>
                </a:moveTo>
                <a:cubicBezTo>
                  <a:pt x="26" y="3"/>
                  <a:pt x="26" y="3"/>
                  <a:pt x="26" y="3"/>
                </a:cubicBezTo>
                <a:cubicBezTo>
                  <a:pt x="29" y="2"/>
                  <a:pt x="29" y="2"/>
                  <a:pt x="29" y="2"/>
                </a:cubicBezTo>
                <a:cubicBezTo>
                  <a:pt x="31" y="4"/>
                  <a:pt x="31" y="4"/>
                  <a:pt x="31" y="4"/>
                </a:cubicBezTo>
                <a:cubicBezTo>
                  <a:pt x="32" y="8"/>
                  <a:pt x="32" y="8"/>
                  <a:pt x="32" y="8"/>
                </a:cubicBezTo>
                <a:cubicBezTo>
                  <a:pt x="30" y="9"/>
                  <a:pt x="30" y="9"/>
                  <a:pt x="30" y="9"/>
                </a:cubicBezTo>
                <a:cubicBezTo>
                  <a:pt x="32" y="12"/>
                  <a:pt x="32" y="12"/>
                  <a:pt x="32" y="12"/>
                </a:cubicBezTo>
                <a:cubicBezTo>
                  <a:pt x="33" y="13"/>
                  <a:pt x="33" y="13"/>
                  <a:pt x="33" y="13"/>
                </a:cubicBezTo>
                <a:cubicBezTo>
                  <a:pt x="35" y="11"/>
                  <a:pt x="35" y="11"/>
                  <a:pt x="35" y="11"/>
                </a:cubicBezTo>
                <a:cubicBezTo>
                  <a:pt x="39" y="11"/>
                  <a:pt x="39" y="11"/>
                  <a:pt x="39" y="11"/>
                </a:cubicBezTo>
                <a:cubicBezTo>
                  <a:pt x="39" y="13"/>
                  <a:pt x="39" y="13"/>
                  <a:pt x="39" y="13"/>
                </a:cubicBezTo>
                <a:cubicBezTo>
                  <a:pt x="38" y="15"/>
                  <a:pt x="38" y="15"/>
                  <a:pt x="38" y="15"/>
                </a:cubicBezTo>
                <a:cubicBezTo>
                  <a:pt x="39" y="18"/>
                  <a:pt x="39" y="18"/>
                  <a:pt x="39" y="18"/>
                </a:cubicBezTo>
                <a:cubicBezTo>
                  <a:pt x="39" y="19"/>
                  <a:pt x="39" y="19"/>
                  <a:pt x="39" y="19"/>
                </a:cubicBezTo>
                <a:cubicBezTo>
                  <a:pt x="38" y="21"/>
                  <a:pt x="38" y="21"/>
                  <a:pt x="38" y="21"/>
                </a:cubicBezTo>
                <a:cubicBezTo>
                  <a:pt x="39" y="23"/>
                  <a:pt x="39" y="23"/>
                  <a:pt x="39" y="23"/>
                </a:cubicBezTo>
                <a:cubicBezTo>
                  <a:pt x="39" y="27"/>
                  <a:pt x="39" y="27"/>
                  <a:pt x="39" y="27"/>
                </a:cubicBezTo>
                <a:cubicBezTo>
                  <a:pt x="39" y="33"/>
                  <a:pt x="39" y="33"/>
                  <a:pt x="39" y="33"/>
                </a:cubicBezTo>
                <a:cubicBezTo>
                  <a:pt x="42" y="31"/>
                  <a:pt x="42" y="31"/>
                  <a:pt x="42" y="31"/>
                </a:cubicBezTo>
                <a:cubicBezTo>
                  <a:pt x="45" y="31"/>
                  <a:pt x="45" y="31"/>
                  <a:pt x="45" y="31"/>
                </a:cubicBezTo>
                <a:cubicBezTo>
                  <a:pt x="45" y="28"/>
                  <a:pt x="45" y="28"/>
                  <a:pt x="45" y="28"/>
                </a:cubicBezTo>
                <a:cubicBezTo>
                  <a:pt x="48" y="27"/>
                  <a:pt x="48" y="27"/>
                  <a:pt x="48" y="27"/>
                </a:cubicBezTo>
                <a:cubicBezTo>
                  <a:pt x="52" y="29"/>
                  <a:pt x="52" y="29"/>
                  <a:pt x="52" y="29"/>
                </a:cubicBezTo>
                <a:cubicBezTo>
                  <a:pt x="54" y="29"/>
                  <a:pt x="54" y="29"/>
                  <a:pt x="54" y="29"/>
                </a:cubicBezTo>
                <a:cubicBezTo>
                  <a:pt x="56" y="31"/>
                  <a:pt x="56" y="31"/>
                  <a:pt x="56" y="31"/>
                </a:cubicBezTo>
                <a:cubicBezTo>
                  <a:pt x="60" y="30"/>
                  <a:pt x="60" y="30"/>
                  <a:pt x="60" y="30"/>
                </a:cubicBezTo>
                <a:cubicBezTo>
                  <a:pt x="63" y="26"/>
                  <a:pt x="63" y="26"/>
                  <a:pt x="63" y="26"/>
                </a:cubicBezTo>
                <a:cubicBezTo>
                  <a:pt x="66" y="25"/>
                  <a:pt x="66" y="25"/>
                  <a:pt x="66" y="25"/>
                </a:cubicBezTo>
                <a:cubicBezTo>
                  <a:pt x="71" y="26"/>
                  <a:pt x="71" y="26"/>
                  <a:pt x="71" y="26"/>
                </a:cubicBezTo>
                <a:cubicBezTo>
                  <a:pt x="72" y="29"/>
                  <a:pt x="72" y="29"/>
                  <a:pt x="72" y="29"/>
                </a:cubicBezTo>
                <a:cubicBezTo>
                  <a:pt x="77" y="32"/>
                  <a:pt x="77" y="32"/>
                  <a:pt x="77" y="32"/>
                </a:cubicBezTo>
                <a:cubicBezTo>
                  <a:pt x="80" y="34"/>
                  <a:pt x="80" y="34"/>
                  <a:pt x="80" y="34"/>
                </a:cubicBezTo>
                <a:cubicBezTo>
                  <a:pt x="81" y="37"/>
                  <a:pt x="81" y="37"/>
                  <a:pt x="81" y="37"/>
                </a:cubicBezTo>
                <a:cubicBezTo>
                  <a:pt x="80" y="39"/>
                  <a:pt x="80" y="39"/>
                  <a:pt x="80" y="39"/>
                </a:cubicBezTo>
                <a:cubicBezTo>
                  <a:pt x="80" y="40"/>
                  <a:pt x="80" y="40"/>
                  <a:pt x="80" y="40"/>
                </a:cubicBezTo>
                <a:cubicBezTo>
                  <a:pt x="81" y="42"/>
                  <a:pt x="81" y="42"/>
                  <a:pt x="81" y="42"/>
                </a:cubicBezTo>
                <a:cubicBezTo>
                  <a:pt x="81" y="45"/>
                  <a:pt x="81" y="45"/>
                  <a:pt x="81" y="45"/>
                </a:cubicBezTo>
                <a:cubicBezTo>
                  <a:pt x="80" y="47"/>
                  <a:pt x="80" y="47"/>
                  <a:pt x="80" y="47"/>
                </a:cubicBezTo>
                <a:cubicBezTo>
                  <a:pt x="82" y="48"/>
                  <a:pt x="82" y="48"/>
                  <a:pt x="82" y="48"/>
                </a:cubicBezTo>
                <a:cubicBezTo>
                  <a:pt x="84" y="51"/>
                  <a:pt x="84" y="51"/>
                  <a:pt x="84" y="51"/>
                </a:cubicBezTo>
                <a:cubicBezTo>
                  <a:pt x="86" y="51"/>
                  <a:pt x="86" y="51"/>
                  <a:pt x="86" y="51"/>
                </a:cubicBezTo>
                <a:cubicBezTo>
                  <a:pt x="88" y="52"/>
                  <a:pt x="88" y="52"/>
                  <a:pt x="88" y="52"/>
                </a:cubicBezTo>
                <a:cubicBezTo>
                  <a:pt x="87" y="53"/>
                  <a:pt x="87" y="53"/>
                  <a:pt x="87" y="53"/>
                </a:cubicBezTo>
                <a:cubicBezTo>
                  <a:pt x="90" y="55"/>
                  <a:pt x="90" y="55"/>
                  <a:pt x="90" y="55"/>
                </a:cubicBezTo>
                <a:cubicBezTo>
                  <a:pt x="90" y="56"/>
                  <a:pt x="90" y="56"/>
                  <a:pt x="90" y="56"/>
                </a:cubicBezTo>
                <a:cubicBezTo>
                  <a:pt x="90" y="59"/>
                  <a:pt x="90" y="59"/>
                  <a:pt x="90" y="59"/>
                </a:cubicBezTo>
                <a:cubicBezTo>
                  <a:pt x="90" y="60"/>
                  <a:pt x="90" y="60"/>
                  <a:pt x="90" y="60"/>
                </a:cubicBezTo>
                <a:cubicBezTo>
                  <a:pt x="89" y="62"/>
                  <a:pt x="89" y="62"/>
                  <a:pt x="89" y="62"/>
                </a:cubicBezTo>
                <a:cubicBezTo>
                  <a:pt x="90" y="64"/>
                  <a:pt x="90" y="64"/>
                  <a:pt x="90" y="64"/>
                </a:cubicBezTo>
                <a:cubicBezTo>
                  <a:pt x="90" y="67"/>
                  <a:pt x="90" y="67"/>
                  <a:pt x="90" y="67"/>
                </a:cubicBezTo>
                <a:cubicBezTo>
                  <a:pt x="88" y="69"/>
                  <a:pt x="88" y="69"/>
                  <a:pt x="88" y="69"/>
                </a:cubicBezTo>
                <a:cubicBezTo>
                  <a:pt x="86" y="70"/>
                  <a:pt x="86" y="70"/>
                  <a:pt x="86" y="70"/>
                </a:cubicBezTo>
                <a:cubicBezTo>
                  <a:pt x="84" y="69"/>
                  <a:pt x="84" y="69"/>
                  <a:pt x="84" y="69"/>
                </a:cubicBezTo>
                <a:cubicBezTo>
                  <a:pt x="81" y="69"/>
                  <a:pt x="81" y="69"/>
                  <a:pt x="81" y="69"/>
                </a:cubicBezTo>
                <a:cubicBezTo>
                  <a:pt x="79" y="68"/>
                  <a:pt x="79" y="68"/>
                  <a:pt x="79" y="68"/>
                </a:cubicBezTo>
                <a:cubicBezTo>
                  <a:pt x="76" y="68"/>
                  <a:pt x="76" y="68"/>
                  <a:pt x="76" y="68"/>
                </a:cubicBezTo>
                <a:cubicBezTo>
                  <a:pt x="73" y="70"/>
                  <a:pt x="73" y="70"/>
                  <a:pt x="73" y="70"/>
                </a:cubicBezTo>
                <a:cubicBezTo>
                  <a:pt x="72" y="69"/>
                  <a:pt x="72" y="69"/>
                  <a:pt x="72" y="69"/>
                </a:cubicBezTo>
                <a:cubicBezTo>
                  <a:pt x="69" y="69"/>
                  <a:pt x="69" y="69"/>
                  <a:pt x="69" y="69"/>
                </a:cubicBezTo>
                <a:cubicBezTo>
                  <a:pt x="64" y="70"/>
                  <a:pt x="64" y="70"/>
                  <a:pt x="64" y="70"/>
                </a:cubicBezTo>
                <a:cubicBezTo>
                  <a:pt x="62" y="70"/>
                  <a:pt x="62" y="70"/>
                  <a:pt x="62" y="70"/>
                </a:cubicBezTo>
                <a:cubicBezTo>
                  <a:pt x="60" y="73"/>
                  <a:pt x="60" y="73"/>
                  <a:pt x="60" y="73"/>
                </a:cubicBezTo>
                <a:cubicBezTo>
                  <a:pt x="59" y="76"/>
                  <a:pt x="59" y="76"/>
                  <a:pt x="59" y="76"/>
                </a:cubicBezTo>
                <a:cubicBezTo>
                  <a:pt x="58" y="79"/>
                  <a:pt x="58" y="79"/>
                  <a:pt x="58" y="79"/>
                </a:cubicBezTo>
                <a:cubicBezTo>
                  <a:pt x="57" y="83"/>
                  <a:pt x="57" y="83"/>
                  <a:pt x="57" y="83"/>
                </a:cubicBezTo>
                <a:cubicBezTo>
                  <a:pt x="58" y="87"/>
                  <a:pt x="58" y="87"/>
                  <a:pt x="58" y="87"/>
                </a:cubicBezTo>
                <a:cubicBezTo>
                  <a:pt x="60" y="88"/>
                  <a:pt x="60" y="88"/>
                  <a:pt x="60" y="88"/>
                </a:cubicBezTo>
                <a:cubicBezTo>
                  <a:pt x="61" y="90"/>
                  <a:pt x="61" y="90"/>
                  <a:pt x="61" y="90"/>
                </a:cubicBezTo>
                <a:cubicBezTo>
                  <a:pt x="61" y="94"/>
                  <a:pt x="61" y="94"/>
                  <a:pt x="61" y="94"/>
                </a:cubicBezTo>
                <a:cubicBezTo>
                  <a:pt x="61" y="96"/>
                  <a:pt x="61" y="96"/>
                  <a:pt x="61" y="96"/>
                </a:cubicBezTo>
                <a:cubicBezTo>
                  <a:pt x="60" y="96"/>
                  <a:pt x="60" y="96"/>
                  <a:pt x="60" y="96"/>
                </a:cubicBezTo>
                <a:cubicBezTo>
                  <a:pt x="60" y="97"/>
                  <a:pt x="60" y="97"/>
                  <a:pt x="60" y="97"/>
                </a:cubicBezTo>
                <a:cubicBezTo>
                  <a:pt x="59" y="97"/>
                  <a:pt x="59" y="97"/>
                  <a:pt x="59" y="97"/>
                </a:cubicBezTo>
                <a:cubicBezTo>
                  <a:pt x="59" y="97"/>
                  <a:pt x="59" y="97"/>
                  <a:pt x="59" y="97"/>
                </a:cubicBezTo>
                <a:cubicBezTo>
                  <a:pt x="57" y="95"/>
                  <a:pt x="57" y="95"/>
                  <a:pt x="57" y="95"/>
                </a:cubicBezTo>
                <a:cubicBezTo>
                  <a:pt x="56" y="95"/>
                  <a:pt x="56" y="95"/>
                  <a:pt x="56" y="95"/>
                </a:cubicBezTo>
                <a:cubicBezTo>
                  <a:pt x="56" y="94"/>
                  <a:pt x="56" y="94"/>
                  <a:pt x="56" y="94"/>
                </a:cubicBezTo>
                <a:cubicBezTo>
                  <a:pt x="55" y="93"/>
                  <a:pt x="55" y="93"/>
                  <a:pt x="55" y="93"/>
                </a:cubicBezTo>
                <a:cubicBezTo>
                  <a:pt x="52" y="91"/>
                  <a:pt x="52" y="91"/>
                  <a:pt x="52" y="91"/>
                </a:cubicBezTo>
                <a:cubicBezTo>
                  <a:pt x="50" y="90"/>
                  <a:pt x="50" y="90"/>
                  <a:pt x="50" y="90"/>
                </a:cubicBezTo>
                <a:cubicBezTo>
                  <a:pt x="49" y="91"/>
                  <a:pt x="49" y="91"/>
                  <a:pt x="49" y="91"/>
                </a:cubicBezTo>
                <a:cubicBezTo>
                  <a:pt x="49" y="92"/>
                  <a:pt x="49" y="92"/>
                  <a:pt x="49" y="92"/>
                </a:cubicBezTo>
                <a:cubicBezTo>
                  <a:pt x="49" y="92"/>
                  <a:pt x="49" y="92"/>
                  <a:pt x="49" y="92"/>
                </a:cubicBezTo>
                <a:cubicBezTo>
                  <a:pt x="48" y="91"/>
                  <a:pt x="48" y="91"/>
                  <a:pt x="48" y="91"/>
                </a:cubicBezTo>
                <a:cubicBezTo>
                  <a:pt x="46" y="91"/>
                  <a:pt x="46" y="91"/>
                  <a:pt x="46" y="91"/>
                </a:cubicBezTo>
                <a:cubicBezTo>
                  <a:pt x="44" y="91"/>
                  <a:pt x="44" y="91"/>
                  <a:pt x="44" y="91"/>
                </a:cubicBezTo>
                <a:cubicBezTo>
                  <a:pt x="42" y="91"/>
                  <a:pt x="42" y="91"/>
                  <a:pt x="42" y="91"/>
                </a:cubicBezTo>
                <a:cubicBezTo>
                  <a:pt x="41" y="91"/>
                  <a:pt x="41" y="91"/>
                  <a:pt x="41" y="91"/>
                </a:cubicBezTo>
                <a:cubicBezTo>
                  <a:pt x="41" y="89"/>
                  <a:pt x="41" y="89"/>
                  <a:pt x="41" y="89"/>
                </a:cubicBezTo>
                <a:cubicBezTo>
                  <a:pt x="42" y="88"/>
                  <a:pt x="42" y="88"/>
                  <a:pt x="42" y="88"/>
                </a:cubicBezTo>
                <a:cubicBezTo>
                  <a:pt x="41" y="87"/>
                  <a:pt x="41" y="87"/>
                  <a:pt x="41" y="87"/>
                </a:cubicBezTo>
                <a:cubicBezTo>
                  <a:pt x="41" y="84"/>
                  <a:pt x="41" y="84"/>
                  <a:pt x="41" y="84"/>
                </a:cubicBezTo>
                <a:cubicBezTo>
                  <a:pt x="42" y="83"/>
                  <a:pt x="42" y="83"/>
                  <a:pt x="42" y="83"/>
                </a:cubicBezTo>
                <a:cubicBezTo>
                  <a:pt x="41" y="82"/>
                  <a:pt x="41" y="82"/>
                  <a:pt x="41" y="82"/>
                </a:cubicBezTo>
                <a:cubicBezTo>
                  <a:pt x="39" y="82"/>
                  <a:pt x="39" y="82"/>
                  <a:pt x="39" y="82"/>
                </a:cubicBezTo>
                <a:cubicBezTo>
                  <a:pt x="39" y="81"/>
                  <a:pt x="39" y="81"/>
                  <a:pt x="39" y="81"/>
                </a:cubicBezTo>
                <a:cubicBezTo>
                  <a:pt x="38" y="81"/>
                  <a:pt x="38" y="81"/>
                  <a:pt x="38" y="81"/>
                </a:cubicBezTo>
                <a:cubicBezTo>
                  <a:pt x="37" y="81"/>
                  <a:pt x="37" y="81"/>
                  <a:pt x="37" y="81"/>
                </a:cubicBezTo>
                <a:cubicBezTo>
                  <a:pt x="36" y="82"/>
                  <a:pt x="36" y="82"/>
                  <a:pt x="36" y="82"/>
                </a:cubicBezTo>
                <a:cubicBezTo>
                  <a:pt x="34" y="82"/>
                  <a:pt x="34" y="82"/>
                  <a:pt x="34" y="82"/>
                </a:cubicBezTo>
                <a:cubicBezTo>
                  <a:pt x="34" y="81"/>
                  <a:pt x="34" y="81"/>
                  <a:pt x="34" y="81"/>
                </a:cubicBezTo>
                <a:cubicBezTo>
                  <a:pt x="33" y="82"/>
                  <a:pt x="33" y="82"/>
                  <a:pt x="33" y="82"/>
                </a:cubicBezTo>
                <a:cubicBezTo>
                  <a:pt x="32" y="82"/>
                  <a:pt x="32" y="82"/>
                  <a:pt x="32" y="82"/>
                </a:cubicBezTo>
                <a:cubicBezTo>
                  <a:pt x="31" y="82"/>
                  <a:pt x="31" y="82"/>
                  <a:pt x="31" y="82"/>
                </a:cubicBezTo>
                <a:cubicBezTo>
                  <a:pt x="31" y="82"/>
                  <a:pt x="31" y="82"/>
                  <a:pt x="31" y="82"/>
                </a:cubicBezTo>
                <a:cubicBezTo>
                  <a:pt x="31" y="84"/>
                  <a:pt x="31" y="84"/>
                  <a:pt x="31" y="84"/>
                </a:cubicBezTo>
                <a:cubicBezTo>
                  <a:pt x="32" y="84"/>
                  <a:pt x="32" y="84"/>
                  <a:pt x="32" y="84"/>
                </a:cubicBezTo>
                <a:cubicBezTo>
                  <a:pt x="33" y="86"/>
                  <a:pt x="33" y="86"/>
                  <a:pt x="33" y="86"/>
                </a:cubicBezTo>
                <a:cubicBezTo>
                  <a:pt x="32" y="88"/>
                  <a:pt x="32" y="88"/>
                  <a:pt x="32" y="88"/>
                </a:cubicBezTo>
                <a:cubicBezTo>
                  <a:pt x="32" y="91"/>
                  <a:pt x="32" y="91"/>
                  <a:pt x="32" y="91"/>
                </a:cubicBezTo>
                <a:cubicBezTo>
                  <a:pt x="31" y="92"/>
                  <a:pt x="31" y="92"/>
                  <a:pt x="31" y="92"/>
                </a:cubicBezTo>
                <a:cubicBezTo>
                  <a:pt x="32" y="93"/>
                  <a:pt x="32" y="93"/>
                  <a:pt x="32" y="93"/>
                </a:cubicBezTo>
                <a:cubicBezTo>
                  <a:pt x="32" y="96"/>
                  <a:pt x="32" y="96"/>
                  <a:pt x="32" y="96"/>
                </a:cubicBezTo>
                <a:cubicBezTo>
                  <a:pt x="30" y="97"/>
                  <a:pt x="30" y="97"/>
                  <a:pt x="30" y="97"/>
                </a:cubicBezTo>
                <a:cubicBezTo>
                  <a:pt x="30" y="100"/>
                  <a:pt x="30" y="100"/>
                  <a:pt x="30" y="100"/>
                </a:cubicBezTo>
                <a:cubicBezTo>
                  <a:pt x="28" y="102"/>
                  <a:pt x="28" y="102"/>
                  <a:pt x="28" y="102"/>
                </a:cubicBezTo>
                <a:cubicBezTo>
                  <a:pt x="28" y="110"/>
                  <a:pt x="28" y="110"/>
                  <a:pt x="28" y="110"/>
                </a:cubicBezTo>
                <a:cubicBezTo>
                  <a:pt x="25" y="113"/>
                  <a:pt x="25" y="113"/>
                  <a:pt x="25" y="113"/>
                </a:cubicBezTo>
                <a:cubicBezTo>
                  <a:pt x="25" y="115"/>
                  <a:pt x="25" y="115"/>
                  <a:pt x="25" y="115"/>
                </a:cubicBezTo>
                <a:cubicBezTo>
                  <a:pt x="24" y="118"/>
                  <a:pt x="24" y="118"/>
                  <a:pt x="24" y="118"/>
                </a:cubicBezTo>
                <a:cubicBezTo>
                  <a:pt x="25" y="118"/>
                  <a:pt x="25" y="118"/>
                  <a:pt x="25" y="118"/>
                </a:cubicBezTo>
                <a:cubicBezTo>
                  <a:pt x="26" y="118"/>
                  <a:pt x="26" y="118"/>
                  <a:pt x="26" y="118"/>
                </a:cubicBezTo>
                <a:cubicBezTo>
                  <a:pt x="25" y="120"/>
                  <a:pt x="25" y="120"/>
                  <a:pt x="25" y="120"/>
                </a:cubicBezTo>
                <a:cubicBezTo>
                  <a:pt x="25" y="121"/>
                  <a:pt x="25" y="121"/>
                  <a:pt x="25" y="121"/>
                </a:cubicBezTo>
                <a:cubicBezTo>
                  <a:pt x="25" y="123"/>
                  <a:pt x="25" y="123"/>
                  <a:pt x="25" y="123"/>
                </a:cubicBezTo>
                <a:cubicBezTo>
                  <a:pt x="25" y="124"/>
                  <a:pt x="25" y="124"/>
                  <a:pt x="25" y="124"/>
                </a:cubicBezTo>
                <a:cubicBezTo>
                  <a:pt x="28" y="127"/>
                  <a:pt x="28" y="127"/>
                  <a:pt x="28" y="127"/>
                </a:cubicBezTo>
                <a:cubicBezTo>
                  <a:pt x="27" y="129"/>
                  <a:pt x="27" y="129"/>
                  <a:pt x="27" y="129"/>
                </a:cubicBezTo>
                <a:cubicBezTo>
                  <a:pt x="27" y="130"/>
                  <a:pt x="27" y="130"/>
                  <a:pt x="27" y="130"/>
                </a:cubicBezTo>
                <a:cubicBezTo>
                  <a:pt x="28" y="130"/>
                  <a:pt x="28" y="130"/>
                  <a:pt x="28" y="130"/>
                </a:cubicBezTo>
                <a:cubicBezTo>
                  <a:pt x="29" y="129"/>
                  <a:pt x="29" y="129"/>
                  <a:pt x="29" y="129"/>
                </a:cubicBezTo>
                <a:cubicBezTo>
                  <a:pt x="30" y="128"/>
                  <a:pt x="30" y="128"/>
                  <a:pt x="30" y="128"/>
                </a:cubicBezTo>
                <a:cubicBezTo>
                  <a:pt x="30" y="128"/>
                  <a:pt x="30" y="128"/>
                  <a:pt x="30" y="128"/>
                </a:cubicBezTo>
                <a:cubicBezTo>
                  <a:pt x="32" y="128"/>
                  <a:pt x="32" y="128"/>
                  <a:pt x="32" y="128"/>
                </a:cubicBezTo>
                <a:cubicBezTo>
                  <a:pt x="33" y="129"/>
                  <a:pt x="33" y="129"/>
                  <a:pt x="33" y="129"/>
                </a:cubicBezTo>
                <a:cubicBezTo>
                  <a:pt x="33" y="132"/>
                  <a:pt x="33" y="132"/>
                  <a:pt x="33" y="132"/>
                </a:cubicBezTo>
                <a:cubicBezTo>
                  <a:pt x="34" y="133"/>
                  <a:pt x="34" y="133"/>
                  <a:pt x="34" y="133"/>
                </a:cubicBezTo>
                <a:cubicBezTo>
                  <a:pt x="34" y="135"/>
                  <a:pt x="34" y="135"/>
                  <a:pt x="34" y="135"/>
                </a:cubicBezTo>
                <a:cubicBezTo>
                  <a:pt x="35" y="135"/>
                  <a:pt x="35" y="135"/>
                  <a:pt x="35" y="135"/>
                </a:cubicBezTo>
                <a:cubicBezTo>
                  <a:pt x="36" y="138"/>
                  <a:pt x="36" y="138"/>
                  <a:pt x="36" y="138"/>
                </a:cubicBezTo>
                <a:cubicBezTo>
                  <a:pt x="37" y="138"/>
                  <a:pt x="37" y="138"/>
                  <a:pt x="37" y="138"/>
                </a:cubicBezTo>
                <a:cubicBezTo>
                  <a:pt x="37" y="137"/>
                  <a:pt x="37" y="137"/>
                  <a:pt x="37" y="137"/>
                </a:cubicBezTo>
                <a:cubicBezTo>
                  <a:pt x="37" y="136"/>
                  <a:pt x="37" y="136"/>
                  <a:pt x="37" y="136"/>
                </a:cubicBezTo>
                <a:cubicBezTo>
                  <a:pt x="38" y="137"/>
                  <a:pt x="38" y="137"/>
                  <a:pt x="38" y="137"/>
                </a:cubicBezTo>
                <a:cubicBezTo>
                  <a:pt x="39" y="139"/>
                  <a:pt x="39" y="139"/>
                  <a:pt x="39" y="139"/>
                </a:cubicBezTo>
                <a:cubicBezTo>
                  <a:pt x="39" y="141"/>
                  <a:pt x="39" y="141"/>
                  <a:pt x="39" y="141"/>
                </a:cubicBezTo>
                <a:cubicBezTo>
                  <a:pt x="40" y="142"/>
                  <a:pt x="40" y="142"/>
                  <a:pt x="40" y="142"/>
                </a:cubicBezTo>
                <a:cubicBezTo>
                  <a:pt x="41" y="146"/>
                  <a:pt x="41" y="146"/>
                  <a:pt x="41" y="146"/>
                </a:cubicBezTo>
                <a:cubicBezTo>
                  <a:pt x="40" y="146"/>
                  <a:pt x="40" y="146"/>
                  <a:pt x="40" y="146"/>
                </a:cubicBezTo>
                <a:cubicBezTo>
                  <a:pt x="40" y="147"/>
                  <a:pt x="40" y="147"/>
                  <a:pt x="40" y="147"/>
                </a:cubicBezTo>
                <a:cubicBezTo>
                  <a:pt x="40" y="147"/>
                  <a:pt x="40" y="147"/>
                  <a:pt x="40" y="147"/>
                </a:cubicBezTo>
                <a:cubicBezTo>
                  <a:pt x="38" y="148"/>
                  <a:pt x="38" y="148"/>
                  <a:pt x="38" y="148"/>
                </a:cubicBezTo>
                <a:cubicBezTo>
                  <a:pt x="38" y="149"/>
                  <a:pt x="38" y="149"/>
                  <a:pt x="38" y="149"/>
                </a:cubicBezTo>
                <a:cubicBezTo>
                  <a:pt x="41" y="150"/>
                  <a:pt x="41" y="150"/>
                  <a:pt x="41" y="150"/>
                </a:cubicBezTo>
                <a:cubicBezTo>
                  <a:pt x="41" y="149"/>
                  <a:pt x="41" y="149"/>
                  <a:pt x="41" y="149"/>
                </a:cubicBezTo>
                <a:cubicBezTo>
                  <a:pt x="42" y="149"/>
                  <a:pt x="42" y="149"/>
                  <a:pt x="42" y="149"/>
                </a:cubicBezTo>
                <a:cubicBezTo>
                  <a:pt x="42" y="151"/>
                  <a:pt x="42" y="151"/>
                  <a:pt x="42" y="151"/>
                </a:cubicBezTo>
                <a:cubicBezTo>
                  <a:pt x="43" y="152"/>
                  <a:pt x="43" y="152"/>
                  <a:pt x="43" y="152"/>
                </a:cubicBezTo>
                <a:cubicBezTo>
                  <a:pt x="46" y="155"/>
                  <a:pt x="46" y="155"/>
                  <a:pt x="46" y="155"/>
                </a:cubicBezTo>
                <a:cubicBezTo>
                  <a:pt x="48" y="156"/>
                  <a:pt x="48" y="156"/>
                  <a:pt x="48" y="156"/>
                </a:cubicBezTo>
                <a:cubicBezTo>
                  <a:pt x="48" y="156"/>
                  <a:pt x="48" y="156"/>
                  <a:pt x="48" y="156"/>
                </a:cubicBezTo>
                <a:cubicBezTo>
                  <a:pt x="51" y="156"/>
                  <a:pt x="51" y="156"/>
                  <a:pt x="51" y="156"/>
                </a:cubicBezTo>
                <a:cubicBezTo>
                  <a:pt x="53" y="157"/>
                  <a:pt x="53" y="157"/>
                  <a:pt x="53" y="157"/>
                </a:cubicBezTo>
                <a:cubicBezTo>
                  <a:pt x="54" y="160"/>
                  <a:pt x="54" y="160"/>
                  <a:pt x="54" y="160"/>
                </a:cubicBezTo>
                <a:cubicBezTo>
                  <a:pt x="55" y="161"/>
                  <a:pt x="55" y="161"/>
                  <a:pt x="55" y="161"/>
                </a:cubicBezTo>
                <a:cubicBezTo>
                  <a:pt x="57" y="162"/>
                  <a:pt x="57" y="162"/>
                  <a:pt x="57" y="162"/>
                </a:cubicBezTo>
                <a:cubicBezTo>
                  <a:pt x="57" y="164"/>
                  <a:pt x="57" y="164"/>
                  <a:pt x="57" y="164"/>
                </a:cubicBezTo>
                <a:cubicBezTo>
                  <a:pt x="57" y="164"/>
                  <a:pt x="57" y="164"/>
                  <a:pt x="57" y="164"/>
                </a:cubicBezTo>
                <a:cubicBezTo>
                  <a:pt x="57" y="166"/>
                  <a:pt x="57" y="166"/>
                  <a:pt x="57" y="166"/>
                </a:cubicBezTo>
                <a:cubicBezTo>
                  <a:pt x="55" y="167"/>
                  <a:pt x="55" y="167"/>
                  <a:pt x="55" y="167"/>
                </a:cubicBezTo>
                <a:cubicBezTo>
                  <a:pt x="54" y="166"/>
                  <a:pt x="54" y="166"/>
                  <a:pt x="54" y="166"/>
                </a:cubicBezTo>
                <a:cubicBezTo>
                  <a:pt x="52" y="166"/>
                  <a:pt x="52" y="166"/>
                  <a:pt x="52" y="166"/>
                </a:cubicBezTo>
                <a:cubicBezTo>
                  <a:pt x="50" y="168"/>
                  <a:pt x="50" y="168"/>
                  <a:pt x="50" y="168"/>
                </a:cubicBezTo>
                <a:cubicBezTo>
                  <a:pt x="47" y="167"/>
                  <a:pt x="47" y="167"/>
                  <a:pt x="47" y="167"/>
                </a:cubicBezTo>
                <a:cubicBezTo>
                  <a:pt x="47" y="166"/>
                  <a:pt x="47" y="166"/>
                  <a:pt x="47" y="166"/>
                </a:cubicBezTo>
                <a:cubicBezTo>
                  <a:pt x="48" y="164"/>
                  <a:pt x="48" y="164"/>
                  <a:pt x="48" y="164"/>
                </a:cubicBezTo>
                <a:cubicBezTo>
                  <a:pt x="48" y="161"/>
                  <a:pt x="48" y="161"/>
                  <a:pt x="48" y="161"/>
                </a:cubicBezTo>
                <a:cubicBezTo>
                  <a:pt x="47" y="160"/>
                  <a:pt x="47" y="160"/>
                  <a:pt x="47" y="160"/>
                </a:cubicBezTo>
                <a:cubicBezTo>
                  <a:pt x="45" y="160"/>
                  <a:pt x="45" y="160"/>
                  <a:pt x="45" y="160"/>
                </a:cubicBezTo>
                <a:cubicBezTo>
                  <a:pt x="44" y="159"/>
                  <a:pt x="44" y="159"/>
                  <a:pt x="44" y="159"/>
                </a:cubicBezTo>
                <a:cubicBezTo>
                  <a:pt x="41" y="158"/>
                  <a:pt x="41" y="158"/>
                  <a:pt x="41" y="158"/>
                </a:cubicBezTo>
                <a:cubicBezTo>
                  <a:pt x="39" y="156"/>
                  <a:pt x="39" y="156"/>
                  <a:pt x="39" y="156"/>
                </a:cubicBezTo>
                <a:cubicBezTo>
                  <a:pt x="38" y="158"/>
                  <a:pt x="38" y="158"/>
                  <a:pt x="38" y="158"/>
                </a:cubicBezTo>
                <a:cubicBezTo>
                  <a:pt x="37" y="160"/>
                  <a:pt x="37" y="160"/>
                  <a:pt x="37" y="160"/>
                </a:cubicBezTo>
                <a:cubicBezTo>
                  <a:pt x="36" y="159"/>
                  <a:pt x="36" y="159"/>
                  <a:pt x="36" y="159"/>
                </a:cubicBezTo>
                <a:cubicBezTo>
                  <a:pt x="32" y="156"/>
                  <a:pt x="32" y="156"/>
                  <a:pt x="32" y="156"/>
                </a:cubicBezTo>
                <a:cubicBezTo>
                  <a:pt x="32" y="155"/>
                  <a:pt x="32" y="155"/>
                  <a:pt x="32" y="155"/>
                </a:cubicBezTo>
                <a:cubicBezTo>
                  <a:pt x="32" y="154"/>
                  <a:pt x="32" y="154"/>
                  <a:pt x="32" y="154"/>
                </a:cubicBezTo>
                <a:cubicBezTo>
                  <a:pt x="33" y="152"/>
                  <a:pt x="33" y="152"/>
                  <a:pt x="33" y="152"/>
                </a:cubicBezTo>
                <a:cubicBezTo>
                  <a:pt x="31" y="152"/>
                  <a:pt x="31" y="152"/>
                  <a:pt x="31" y="152"/>
                </a:cubicBezTo>
                <a:cubicBezTo>
                  <a:pt x="31" y="151"/>
                  <a:pt x="31" y="151"/>
                  <a:pt x="31" y="151"/>
                </a:cubicBezTo>
                <a:cubicBezTo>
                  <a:pt x="29" y="150"/>
                  <a:pt x="29" y="150"/>
                  <a:pt x="29" y="150"/>
                </a:cubicBezTo>
                <a:cubicBezTo>
                  <a:pt x="29" y="149"/>
                  <a:pt x="29" y="149"/>
                  <a:pt x="29" y="149"/>
                </a:cubicBezTo>
                <a:cubicBezTo>
                  <a:pt x="26" y="146"/>
                  <a:pt x="26" y="146"/>
                  <a:pt x="26" y="146"/>
                </a:cubicBezTo>
                <a:cubicBezTo>
                  <a:pt x="25" y="146"/>
                  <a:pt x="25" y="146"/>
                  <a:pt x="25" y="146"/>
                </a:cubicBezTo>
                <a:cubicBezTo>
                  <a:pt x="23" y="142"/>
                  <a:pt x="23" y="142"/>
                  <a:pt x="23" y="142"/>
                </a:cubicBezTo>
                <a:cubicBezTo>
                  <a:pt x="22" y="141"/>
                  <a:pt x="22" y="141"/>
                  <a:pt x="22" y="141"/>
                </a:cubicBezTo>
                <a:cubicBezTo>
                  <a:pt x="22" y="140"/>
                  <a:pt x="22" y="140"/>
                  <a:pt x="22" y="140"/>
                </a:cubicBezTo>
                <a:cubicBezTo>
                  <a:pt x="20" y="139"/>
                  <a:pt x="20" y="139"/>
                  <a:pt x="20" y="139"/>
                </a:cubicBezTo>
                <a:cubicBezTo>
                  <a:pt x="20" y="138"/>
                  <a:pt x="20" y="138"/>
                  <a:pt x="20" y="138"/>
                </a:cubicBezTo>
                <a:cubicBezTo>
                  <a:pt x="18" y="139"/>
                  <a:pt x="18" y="139"/>
                  <a:pt x="18" y="139"/>
                </a:cubicBezTo>
                <a:cubicBezTo>
                  <a:pt x="18" y="141"/>
                  <a:pt x="18" y="141"/>
                  <a:pt x="18" y="141"/>
                </a:cubicBezTo>
                <a:cubicBezTo>
                  <a:pt x="17" y="141"/>
                  <a:pt x="17" y="141"/>
                  <a:pt x="17" y="141"/>
                </a:cubicBezTo>
                <a:cubicBezTo>
                  <a:pt x="16" y="139"/>
                  <a:pt x="16" y="139"/>
                  <a:pt x="16" y="139"/>
                </a:cubicBezTo>
                <a:cubicBezTo>
                  <a:pt x="16" y="136"/>
                  <a:pt x="16" y="136"/>
                  <a:pt x="16" y="136"/>
                </a:cubicBezTo>
                <a:cubicBezTo>
                  <a:pt x="16" y="135"/>
                  <a:pt x="16" y="135"/>
                  <a:pt x="16" y="135"/>
                </a:cubicBezTo>
                <a:cubicBezTo>
                  <a:pt x="16" y="132"/>
                  <a:pt x="16" y="132"/>
                  <a:pt x="16" y="132"/>
                </a:cubicBezTo>
                <a:cubicBezTo>
                  <a:pt x="17" y="131"/>
                  <a:pt x="17" y="131"/>
                  <a:pt x="17" y="131"/>
                </a:cubicBezTo>
                <a:cubicBezTo>
                  <a:pt x="17" y="127"/>
                  <a:pt x="17" y="127"/>
                  <a:pt x="17" y="127"/>
                </a:cubicBezTo>
                <a:cubicBezTo>
                  <a:pt x="18" y="127"/>
                  <a:pt x="18" y="127"/>
                  <a:pt x="18" y="127"/>
                </a:cubicBezTo>
                <a:cubicBezTo>
                  <a:pt x="19" y="125"/>
                  <a:pt x="19" y="125"/>
                  <a:pt x="19" y="125"/>
                </a:cubicBezTo>
                <a:cubicBezTo>
                  <a:pt x="18" y="125"/>
                  <a:pt x="18" y="125"/>
                  <a:pt x="18" y="125"/>
                </a:cubicBezTo>
                <a:cubicBezTo>
                  <a:pt x="19" y="123"/>
                  <a:pt x="19" y="123"/>
                  <a:pt x="19" y="123"/>
                </a:cubicBezTo>
                <a:cubicBezTo>
                  <a:pt x="19" y="122"/>
                  <a:pt x="19" y="122"/>
                  <a:pt x="19" y="122"/>
                </a:cubicBezTo>
                <a:cubicBezTo>
                  <a:pt x="20" y="120"/>
                  <a:pt x="20" y="120"/>
                  <a:pt x="20" y="120"/>
                </a:cubicBezTo>
                <a:cubicBezTo>
                  <a:pt x="19" y="120"/>
                  <a:pt x="19" y="120"/>
                  <a:pt x="19" y="120"/>
                </a:cubicBezTo>
                <a:cubicBezTo>
                  <a:pt x="19" y="116"/>
                  <a:pt x="19" y="116"/>
                  <a:pt x="19" y="116"/>
                </a:cubicBezTo>
                <a:cubicBezTo>
                  <a:pt x="20" y="115"/>
                  <a:pt x="20" y="115"/>
                  <a:pt x="20" y="115"/>
                </a:cubicBezTo>
                <a:cubicBezTo>
                  <a:pt x="21" y="113"/>
                  <a:pt x="21" y="113"/>
                  <a:pt x="21" y="113"/>
                </a:cubicBezTo>
                <a:cubicBezTo>
                  <a:pt x="21" y="110"/>
                  <a:pt x="21" y="110"/>
                  <a:pt x="21" y="110"/>
                </a:cubicBezTo>
                <a:cubicBezTo>
                  <a:pt x="24" y="109"/>
                  <a:pt x="24" y="109"/>
                  <a:pt x="24" y="109"/>
                </a:cubicBezTo>
                <a:cubicBezTo>
                  <a:pt x="26" y="102"/>
                  <a:pt x="26" y="102"/>
                  <a:pt x="26" y="102"/>
                </a:cubicBezTo>
                <a:cubicBezTo>
                  <a:pt x="27" y="101"/>
                  <a:pt x="27" y="101"/>
                  <a:pt x="27" y="101"/>
                </a:cubicBezTo>
                <a:cubicBezTo>
                  <a:pt x="27" y="98"/>
                  <a:pt x="27" y="98"/>
                  <a:pt x="27" y="98"/>
                </a:cubicBezTo>
                <a:cubicBezTo>
                  <a:pt x="26" y="95"/>
                  <a:pt x="26" y="95"/>
                  <a:pt x="26" y="95"/>
                </a:cubicBezTo>
                <a:cubicBezTo>
                  <a:pt x="26" y="92"/>
                  <a:pt x="26" y="92"/>
                  <a:pt x="26" y="92"/>
                </a:cubicBezTo>
                <a:cubicBezTo>
                  <a:pt x="25" y="90"/>
                  <a:pt x="25" y="90"/>
                  <a:pt x="25" y="90"/>
                </a:cubicBezTo>
                <a:cubicBezTo>
                  <a:pt x="25" y="87"/>
                  <a:pt x="25" y="87"/>
                  <a:pt x="25" y="87"/>
                </a:cubicBezTo>
                <a:cubicBezTo>
                  <a:pt x="24" y="86"/>
                  <a:pt x="24" y="86"/>
                  <a:pt x="24" y="86"/>
                </a:cubicBezTo>
                <a:cubicBezTo>
                  <a:pt x="24" y="84"/>
                  <a:pt x="24" y="84"/>
                  <a:pt x="24" y="84"/>
                </a:cubicBezTo>
                <a:cubicBezTo>
                  <a:pt x="23" y="82"/>
                  <a:pt x="23" y="82"/>
                  <a:pt x="23" y="82"/>
                </a:cubicBezTo>
                <a:cubicBezTo>
                  <a:pt x="24" y="80"/>
                  <a:pt x="24" y="80"/>
                  <a:pt x="24" y="80"/>
                </a:cubicBezTo>
                <a:cubicBezTo>
                  <a:pt x="23" y="75"/>
                  <a:pt x="23" y="75"/>
                  <a:pt x="23" y="75"/>
                </a:cubicBezTo>
                <a:cubicBezTo>
                  <a:pt x="20" y="72"/>
                  <a:pt x="20" y="72"/>
                  <a:pt x="20" y="72"/>
                </a:cubicBezTo>
                <a:cubicBezTo>
                  <a:pt x="17" y="70"/>
                  <a:pt x="17" y="70"/>
                  <a:pt x="17" y="70"/>
                </a:cubicBezTo>
                <a:cubicBezTo>
                  <a:pt x="14" y="66"/>
                  <a:pt x="14" y="66"/>
                  <a:pt x="14" y="66"/>
                </a:cubicBezTo>
                <a:cubicBezTo>
                  <a:pt x="14" y="64"/>
                  <a:pt x="14" y="64"/>
                  <a:pt x="14" y="64"/>
                </a:cubicBezTo>
                <a:cubicBezTo>
                  <a:pt x="12" y="61"/>
                  <a:pt x="12" y="61"/>
                  <a:pt x="12" y="61"/>
                </a:cubicBezTo>
                <a:cubicBezTo>
                  <a:pt x="15" y="60"/>
                  <a:pt x="15" y="60"/>
                  <a:pt x="15" y="60"/>
                </a:cubicBezTo>
                <a:cubicBezTo>
                  <a:pt x="15" y="58"/>
                  <a:pt x="15" y="58"/>
                  <a:pt x="15" y="58"/>
                </a:cubicBezTo>
                <a:cubicBezTo>
                  <a:pt x="14" y="52"/>
                  <a:pt x="14" y="52"/>
                  <a:pt x="14" y="52"/>
                </a:cubicBezTo>
                <a:cubicBezTo>
                  <a:pt x="14" y="51"/>
                  <a:pt x="14" y="51"/>
                  <a:pt x="14" y="51"/>
                </a:cubicBezTo>
                <a:cubicBezTo>
                  <a:pt x="16" y="50"/>
                  <a:pt x="16" y="50"/>
                  <a:pt x="16" y="50"/>
                </a:cubicBezTo>
                <a:cubicBezTo>
                  <a:pt x="16" y="48"/>
                  <a:pt x="16" y="48"/>
                  <a:pt x="16" y="48"/>
                </a:cubicBezTo>
                <a:cubicBezTo>
                  <a:pt x="14" y="47"/>
                  <a:pt x="14" y="47"/>
                  <a:pt x="14" y="47"/>
                </a:cubicBezTo>
                <a:cubicBezTo>
                  <a:pt x="14" y="44"/>
                  <a:pt x="14" y="44"/>
                  <a:pt x="14" y="44"/>
                </a:cubicBezTo>
                <a:cubicBezTo>
                  <a:pt x="12" y="42"/>
                  <a:pt x="12" y="42"/>
                  <a:pt x="12" y="42"/>
                </a:cubicBezTo>
                <a:cubicBezTo>
                  <a:pt x="11" y="41"/>
                  <a:pt x="11" y="41"/>
                  <a:pt x="11" y="41"/>
                </a:cubicBezTo>
                <a:cubicBezTo>
                  <a:pt x="8" y="35"/>
                  <a:pt x="8" y="35"/>
                  <a:pt x="8" y="35"/>
                </a:cubicBezTo>
                <a:cubicBezTo>
                  <a:pt x="5" y="33"/>
                  <a:pt x="5" y="33"/>
                  <a:pt x="5" y="33"/>
                </a:cubicBezTo>
                <a:cubicBezTo>
                  <a:pt x="5" y="32"/>
                  <a:pt x="5" y="32"/>
                  <a:pt x="5" y="32"/>
                </a:cubicBezTo>
                <a:cubicBezTo>
                  <a:pt x="3" y="30"/>
                  <a:pt x="3" y="30"/>
                  <a:pt x="3" y="30"/>
                </a:cubicBezTo>
                <a:cubicBezTo>
                  <a:pt x="1" y="27"/>
                  <a:pt x="1" y="27"/>
                  <a:pt x="1" y="27"/>
                </a:cubicBezTo>
                <a:cubicBezTo>
                  <a:pt x="0" y="27"/>
                  <a:pt x="0" y="27"/>
                  <a:pt x="0" y="27"/>
                </a:cubicBezTo>
                <a:cubicBezTo>
                  <a:pt x="0" y="25"/>
                  <a:pt x="0" y="25"/>
                  <a:pt x="0" y="25"/>
                </a:cubicBezTo>
                <a:cubicBezTo>
                  <a:pt x="2" y="24"/>
                  <a:pt x="2" y="24"/>
                  <a:pt x="2" y="24"/>
                </a:cubicBezTo>
                <a:cubicBezTo>
                  <a:pt x="4" y="23"/>
                  <a:pt x="4" y="23"/>
                  <a:pt x="4" y="23"/>
                </a:cubicBezTo>
                <a:cubicBezTo>
                  <a:pt x="4" y="21"/>
                  <a:pt x="4" y="21"/>
                  <a:pt x="4" y="21"/>
                </a:cubicBezTo>
                <a:cubicBezTo>
                  <a:pt x="4" y="18"/>
                  <a:pt x="4" y="18"/>
                  <a:pt x="4" y="18"/>
                </a:cubicBezTo>
                <a:cubicBezTo>
                  <a:pt x="5" y="16"/>
                  <a:pt x="5" y="16"/>
                  <a:pt x="5" y="16"/>
                </a:cubicBezTo>
                <a:cubicBezTo>
                  <a:pt x="5" y="13"/>
                  <a:pt x="5" y="13"/>
                  <a:pt x="5" y="13"/>
                </a:cubicBezTo>
                <a:cubicBezTo>
                  <a:pt x="6" y="10"/>
                  <a:pt x="6" y="10"/>
                  <a:pt x="6" y="10"/>
                </a:cubicBezTo>
                <a:cubicBezTo>
                  <a:pt x="10" y="12"/>
                  <a:pt x="10" y="12"/>
                  <a:pt x="10" y="12"/>
                </a:cubicBezTo>
                <a:cubicBezTo>
                  <a:pt x="13" y="10"/>
                  <a:pt x="13" y="10"/>
                  <a:pt x="13" y="10"/>
                </a:cubicBezTo>
                <a:cubicBezTo>
                  <a:pt x="15" y="10"/>
                  <a:pt x="15" y="10"/>
                  <a:pt x="15" y="10"/>
                </a:cubicBezTo>
                <a:cubicBezTo>
                  <a:pt x="16" y="9"/>
                  <a:pt x="16" y="9"/>
                  <a:pt x="16" y="9"/>
                </a:cubicBezTo>
                <a:cubicBezTo>
                  <a:pt x="16" y="6"/>
                  <a:pt x="16" y="6"/>
                  <a:pt x="16" y="6"/>
                </a:cubicBezTo>
                <a:cubicBezTo>
                  <a:pt x="17" y="5"/>
                  <a:pt x="17" y="5"/>
                  <a:pt x="17" y="5"/>
                </a:cubicBezTo>
                <a:cubicBezTo>
                  <a:pt x="20" y="5"/>
                  <a:pt x="20" y="5"/>
                  <a:pt x="20" y="5"/>
                </a:cubicBezTo>
                <a:cubicBezTo>
                  <a:pt x="21" y="4"/>
                  <a:pt x="21" y="4"/>
                  <a:pt x="21" y="4"/>
                </a:cubicBezTo>
                <a:cubicBezTo>
                  <a:pt x="20" y="3"/>
                  <a:pt x="20" y="3"/>
                  <a:pt x="20" y="3"/>
                </a:cubicBezTo>
                <a:cubicBezTo>
                  <a:pt x="20" y="1"/>
                  <a:pt x="20" y="1"/>
                  <a:pt x="20" y="1"/>
                </a:cubicBezTo>
                <a:cubicBezTo>
                  <a:pt x="22" y="0"/>
                  <a:pt x="22" y="0"/>
                  <a:pt x="22" y="0"/>
                </a:cubicBezTo>
                <a:cubicBezTo>
                  <a:pt x="25" y="0"/>
                  <a:pt x="25" y="0"/>
                  <a:pt x="25" y="0"/>
                </a:cubicBezTo>
                <a:cubicBezTo>
                  <a:pt x="25" y="0"/>
                  <a:pt x="25" y="0"/>
                  <a:pt x="25" y="0"/>
                </a:cubicBezTo>
                <a:close/>
                <a:moveTo>
                  <a:pt x="31" y="157"/>
                </a:moveTo>
                <a:cubicBezTo>
                  <a:pt x="32" y="159"/>
                  <a:pt x="32" y="159"/>
                  <a:pt x="32" y="159"/>
                </a:cubicBezTo>
                <a:cubicBezTo>
                  <a:pt x="33" y="159"/>
                  <a:pt x="33" y="159"/>
                  <a:pt x="33" y="159"/>
                </a:cubicBezTo>
                <a:cubicBezTo>
                  <a:pt x="32" y="157"/>
                  <a:pt x="32" y="157"/>
                  <a:pt x="32" y="157"/>
                </a:cubicBezTo>
                <a:cubicBezTo>
                  <a:pt x="32" y="157"/>
                  <a:pt x="32" y="157"/>
                  <a:pt x="32" y="157"/>
                </a:cubicBezTo>
                <a:cubicBezTo>
                  <a:pt x="31" y="157"/>
                  <a:pt x="31" y="157"/>
                  <a:pt x="31" y="157"/>
                </a:cubicBezTo>
                <a:close/>
                <a:moveTo>
                  <a:pt x="24" y="147"/>
                </a:moveTo>
                <a:cubicBezTo>
                  <a:pt x="25" y="149"/>
                  <a:pt x="25" y="149"/>
                  <a:pt x="25" y="149"/>
                </a:cubicBezTo>
                <a:cubicBezTo>
                  <a:pt x="25" y="148"/>
                  <a:pt x="25" y="148"/>
                  <a:pt x="25" y="148"/>
                </a:cubicBezTo>
                <a:cubicBezTo>
                  <a:pt x="25" y="147"/>
                  <a:pt x="25" y="147"/>
                  <a:pt x="25" y="147"/>
                </a:cubicBezTo>
                <a:cubicBezTo>
                  <a:pt x="24" y="147"/>
                  <a:pt x="24" y="147"/>
                  <a:pt x="24" y="147"/>
                </a:cubicBezTo>
                <a:close/>
                <a:moveTo>
                  <a:pt x="17" y="141"/>
                </a:moveTo>
                <a:cubicBezTo>
                  <a:pt x="16" y="143"/>
                  <a:pt x="16" y="143"/>
                  <a:pt x="16" y="143"/>
                </a:cubicBezTo>
                <a:cubicBezTo>
                  <a:pt x="17" y="144"/>
                  <a:pt x="17" y="144"/>
                  <a:pt x="17" y="144"/>
                </a:cubicBezTo>
                <a:cubicBezTo>
                  <a:pt x="17" y="146"/>
                  <a:pt x="17" y="146"/>
                  <a:pt x="17" y="146"/>
                </a:cubicBezTo>
                <a:cubicBezTo>
                  <a:pt x="18" y="144"/>
                  <a:pt x="18" y="144"/>
                  <a:pt x="18" y="144"/>
                </a:cubicBezTo>
                <a:cubicBezTo>
                  <a:pt x="18" y="141"/>
                  <a:pt x="18" y="141"/>
                  <a:pt x="18" y="141"/>
                </a:cubicBezTo>
                <a:cubicBezTo>
                  <a:pt x="18" y="141"/>
                  <a:pt x="17" y="141"/>
                  <a:pt x="17" y="141"/>
                </a:cubicBezTo>
                <a:close/>
                <a:moveTo>
                  <a:pt x="56" y="96"/>
                </a:moveTo>
                <a:cubicBezTo>
                  <a:pt x="56" y="97"/>
                  <a:pt x="56" y="97"/>
                  <a:pt x="56" y="97"/>
                </a:cubicBezTo>
                <a:cubicBezTo>
                  <a:pt x="57" y="99"/>
                  <a:pt x="57" y="99"/>
                  <a:pt x="57" y="99"/>
                </a:cubicBezTo>
                <a:cubicBezTo>
                  <a:pt x="58" y="98"/>
                  <a:pt x="58" y="98"/>
                  <a:pt x="58" y="98"/>
                </a:cubicBezTo>
                <a:cubicBezTo>
                  <a:pt x="56" y="96"/>
                  <a:pt x="56" y="96"/>
                  <a:pt x="56" y="96"/>
                </a:cubicBezTo>
                <a:close/>
                <a:moveTo>
                  <a:pt x="35" y="122"/>
                </a:moveTo>
                <a:cubicBezTo>
                  <a:pt x="33" y="123"/>
                  <a:pt x="33" y="123"/>
                  <a:pt x="33" y="123"/>
                </a:cubicBezTo>
                <a:cubicBezTo>
                  <a:pt x="34" y="123"/>
                  <a:pt x="34" y="123"/>
                  <a:pt x="34" y="123"/>
                </a:cubicBezTo>
                <a:cubicBezTo>
                  <a:pt x="35" y="122"/>
                  <a:pt x="35" y="122"/>
                  <a:pt x="35" y="122"/>
                </a:cubicBezTo>
                <a:close/>
                <a:moveTo>
                  <a:pt x="35" y="124"/>
                </a:moveTo>
                <a:cubicBezTo>
                  <a:pt x="34" y="125"/>
                  <a:pt x="34" y="125"/>
                  <a:pt x="34" y="125"/>
                </a:cubicBezTo>
                <a:cubicBezTo>
                  <a:pt x="34" y="127"/>
                  <a:pt x="34" y="127"/>
                  <a:pt x="34" y="127"/>
                </a:cubicBezTo>
                <a:cubicBezTo>
                  <a:pt x="35" y="128"/>
                  <a:pt x="35" y="128"/>
                  <a:pt x="35" y="128"/>
                </a:cubicBezTo>
                <a:cubicBezTo>
                  <a:pt x="36" y="126"/>
                  <a:pt x="36" y="126"/>
                  <a:pt x="36" y="126"/>
                </a:cubicBezTo>
                <a:lnTo>
                  <a:pt x="35" y="124"/>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43" name="Freeform 184"/>
          <p:cNvSpPr>
            <a:spLocks noEditPoints="1"/>
          </p:cNvSpPr>
          <p:nvPr/>
        </p:nvSpPr>
        <p:spPr bwMode="auto">
          <a:xfrm>
            <a:off x="8394700" y="5384800"/>
            <a:ext cx="92075" cy="169863"/>
          </a:xfrm>
          <a:custGeom>
            <a:avLst/>
            <a:gdLst>
              <a:gd name="T0" fmla="*/ 0 w 58"/>
              <a:gd name="T1" fmla="*/ 47 h 107"/>
              <a:gd name="T2" fmla="*/ 3 w 58"/>
              <a:gd name="T3" fmla="*/ 40 h 107"/>
              <a:gd name="T4" fmla="*/ 0 w 58"/>
              <a:gd name="T5" fmla="*/ 42 h 107"/>
              <a:gd name="T6" fmla="*/ 0 w 58"/>
              <a:gd name="T7" fmla="*/ 52 h 107"/>
              <a:gd name="T8" fmla="*/ 10 w 58"/>
              <a:gd name="T9" fmla="*/ 7 h 107"/>
              <a:gd name="T10" fmla="*/ 3 w 58"/>
              <a:gd name="T11" fmla="*/ 0 h 107"/>
              <a:gd name="T12" fmla="*/ 13 w 58"/>
              <a:gd name="T13" fmla="*/ 0 h 107"/>
              <a:gd name="T14" fmla="*/ 8 w 58"/>
              <a:gd name="T15" fmla="*/ 5 h 107"/>
              <a:gd name="T16" fmla="*/ 10 w 58"/>
              <a:gd name="T17" fmla="*/ 7 h 107"/>
              <a:gd name="T18" fmla="*/ 20 w 58"/>
              <a:gd name="T19" fmla="*/ 2 h 107"/>
              <a:gd name="T20" fmla="*/ 25 w 58"/>
              <a:gd name="T21" fmla="*/ 10 h 107"/>
              <a:gd name="T22" fmla="*/ 25 w 58"/>
              <a:gd name="T23" fmla="*/ 10 h 107"/>
              <a:gd name="T24" fmla="*/ 18 w 58"/>
              <a:gd name="T25" fmla="*/ 7 h 107"/>
              <a:gd name="T26" fmla="*/ 13 w 58"/>
              <a:gd name="T27" fmla="*/ 5 h 107"/>
              <a:gd name="T28" fmla="*/ 15 w 58"/>
              <a:gd name="T29" fmla="*/ 2 h 107"/>
              <a:gd name="T30" fmla="*/ 15 w 58"/>
              <a:gd name="T31" fmla="*/ 2 h 107"/>
              <a:gd name="T32" fmla="*/ 10 w 58"/>
              <a:gd name="T33" fmla="*/ 10 h 107"/>
              <a:gd name="T34" fmla="*/ 10 w 58"/>
              <a:gd name="T35" fmla="*/ 12 h 107"/>
              <a:gd name="T36" fmla="*/ 10 w 58"/>
              <a:gd name="T37" fmla="*/ 15 h 107"/>
              <a:gd name="T38" fmla="*/ 8 w 58"/>
              <a:gd name="T39" fmla="*/ 25 h 107"/>
              <a:gd name="T40" fmla="*/ 3 w 58"/>
              <a:gd name="T41" fmla="*/ 20 h 107"/>
              <a:gd name="T42" fmla="*/ 0 w 58"/>
              <a:gd name="T43" fmla="*/ 22 h 107"/>
              <a:gd name="T44" fmla="*/ 3 w 58"/>
              <a:gd name="T45" fmla="*/ 25 h 107"/>
              <a:gd name="T46" fmla="*/ 5 w 58"/>
              <a:gd name="T47" fmla="*/ 32 h 107"/>
              <a:gd name="T48" fmla="*/ 3 w 58"/>
              <a:gd name="T49" fmla="*/ 42 h 107"/>
              <a:gd name="T50" fmla="*/ 3 w 58"/>
              <a:gd name="T51" fmla="*/ 57 h 107"/>
              <a:gd name="T52" fmla="*/ 3 w 58"/>
              <a:gd name="T53" fmla="*/ 67 h 107"/>
              <a:gd name="T54" fmla="*/ 5 w 58"/>
              <a:gd name="T55" fmla="*/ 85 h 107"/>
              <a:gd name="T56" fmla="*/ 13 w 58"/>
              <a:gd name="T57" fmla="*/ 104 h 107"/>
              <a:gd name="T58" fmla="*/ 25 w 58"/>
              <a:gd name="T59" fmla="*/ 107 h 107"/>
              <a:gd name="T60" fmla="*/ 43 w 58"/>
              <a:gd name="T61" fmla="*/ 102 h 107"/>
              <a:gd name="T62" fmla="*/ 55 w 58"/>
              <a:gd name="T63" fmla="*/ 87 h 107"/>
              <a:gd name="T64" fmla="*/ 58 w 58"/>
              <a:gd name="T65" fmla="*/ 77 h 107"/>
              <a:gd name="T66" fmla="*/ 58 w 58"/>
              <a:gd name="T67" fmla="*/ 70 h 107"/>
              <a:gd name="T68" fmla="*/ 58 w 58"/>
              <a:gd name="T69" fmla="*/ 62 h 107"/>
              <a:gd name="T70" fmla="*/ 48 w 58"/>
              <a:gd name="T71" fmla="*/ 47 h 107"/>
              <a:gd name="T72" fmla="*/ 40 w 58"/>
              <a:gd name="T73" fmla="*/ 40 h 107"/>
              <a:gd name="T74" fmla="*/ 35 w 58"/>
              <a:gd name="T75" fmla="*/ 37 h 107"/>
              <a:gd name="T76" fmla="*/ 40 w 58"/>
              <a:gd name="T77" fmla="*/ 32 h 107"/>
              <a:gd name="T78" fmla="*/ 35 w 58"/>
              <a:gd name="T79" fmla="*/ 25 h 107"/>
              <a:gd name="T80" fmla="*/ 30 w 58"/>
              <a:gd name="T81" fmla="*/ 20 h 107"/>
              <a:gd name="T82" fmla="*/ 28 w 58"/>
              <a:gd name="T83" fmla="*/ 15 h 107"/>
              <a:gd name="T84" fmla="*/ 20 w 58"/>
              <a:gd name="T85" fmla="*/ 15 h 107"/>
              <a:gd name="T86" fmla="*/ 18 w 58"/>
              <a:gd name="T87" fmla="*/ 1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107">
                <a:moveTo>
                  <a:pt x="0" y="52"/>
                </a:moveTo>
                <a:lnTo>
                  <a:pt x="0" y="47"/>
                </a:lnTo>
                <a:lnTo>
                  <a:pt x="0" y="42"/>
                </a:lnTo>
                <a:lnTo>
                  <a:pt x="3" y="40"/>
                </a:lnTo>
                <a:lnTo>
                  <a:pt x="3" y="42"/>
                </a:lnTo>
                <a:lnTo>
                  <a:pt x="0" y="42"/>
                </a:lnTo>
                <a:lnTo>
                  <a:pt x="3" y="47"/>
                </a:lnTo>
                <a:lnTo>
                  <a:pt x="0" y="52"/>
                </a:lnTo>
                <a:lnTo>
                  <a:pt x="0" y="52"/>
                </a:lnTo>
                <a:close/>
                <a:moveTo>
                  <a:pt x="10" y="7"/>
                </a:moveTo>
                <a:lnTo>
                  <a:pt x="3" y="2"/>
                </a:lnTo>
                <a:lnTo>
                  <a:pt x="3" y="0"/>
                </a:lnTo>
                <a:lnTo>
                  <a:pt x="10" y="0"/>
                </a:lnTo>
                <a:lnTo>
                  <a:pt x="13" y="0"/>
                </a:lnTo>
                <a:lnTo>
                  <a:pt x="10" y="5"/>
                </a:lnTo>
                <a:lnTo>
                  <a:pt x="8" y="5"/>
                </a:lnTo>
                <a:lnTo>
                  <a:pt x="10" y="7"/>
                </a:lnTo>
                <a:lnTo>
                  <a:pt x="10" y="7"/>
                </a:lnTo>
                <a:close/>
                <a:moveTo>
                  <a:pt x="15" y="2"/>
                </a:moveTo>
                <a:lnTo>
                  <a:pt x="20" y="2"/>
                </a:lnTo>
                <a:lnTo>
                  <a:pt x="20" y="7"/>
                </a:lnTo>
                <a:lnTo>
                  <a:pt x="25" y="10"/>
                </a:lnTo>
                <a:lnTo>
                  <a:pt x="28" y="12"/>
                </a:lnTo>
                <a:lnTo>
                  <a:pt x="25" y="10"/>
                </a:lnTo>
                <a:lnTo>
                  <a:pt x="20" y="10"/>
                </a:lnTo>
                <a:lnTo>
                  <a:pt x="18" y="7"/>
                </a:lnTo>
                <a:lnTo>
                  <a:pt x="13" y="7"/>
                </a:lnTo>
                <a:lnTo>
                  <a:pt x="13" y="5"/>
                </a:lnTo>
                <a:lnTo>
                  <a:pt x="15" y="5"/>
                </a:lnTo>
                <a:lnTo>
                  <a:pt x="15" y="2"/>
                </a:lnTo>
                <a:lnTo>
                  <a:pt x="15" y="2"/>
                </a:lnTo>
                <a:lnTo>
                  <a:pt x="15" y="2"/>
                </a:lnTo>
                <a:close/>
                <a:moveTo>
                  <a:pt x="10" y="10"/>
                </a:moveTo>
                <a:lnTo>
                  <a:pt x="10" y="10"/>
                </a:lnTo>
                <a:lnTo>
                  <a:pt x="13" y="12"/>
                </a:lnTo>
                <a:lnTo>
                  <a:pt x="10" y="12"/>
                </a:lnTo>
                <a:lnTo>
                  <a:pt x="10" y="15"/>
                </a:lnTo>
                <a:lnTo>
                  <a:pt x="10" y="15"/>
                </a:lnTo>
                <a:lnTo>
                  <a:pt x="10" y="20"/>
                </a:lnTo>
                <a:lnTo>
                  <a:pt x="8" y="25"/>
                </a:lnTo>
                <a:lnTo>
                  <a:pt x="5" y="22"/>
                </a:lnTo>
                <a:lnTo>
                  <a:pt x="3" y="20"/>
                </a:lnTo>
                <a:lnTo>
                  <a:pt x="0" y="20"/>
                </a:lnTo>
                <a:lnTo>
                  <a:pt x="0" y="22"/>
                </a:lnTo>
                <a:lnTo>
                  <a:pt x="3" y="22"/>
                </a:lnTo>
                <a:lnTo>
                  <a:pt x="3" y="25"/>
                </a:lnTo>
                <a:lnTo>
                  <a:pt x="3" y="27"/>
                </a:lnTo>
                <a:lnTo>
                  <a:pt x="5" y="32"/>
                </a:lnTo>
                <a:lnTo>
                  <a:pt x="5" y="40"/>
                </a:lnTo>
                <a:lnTo>
                  <a:pt x="3" y="42"/>
                </a:lnTo>
                <a:lnTo>
                  <a:pt x="3" y="52"/>
                </a:lnTo>
                <a:lnTo>
                  <a:pt x="3" y="57"/>
                </a:lnTo>
                <a:lnTo>
                  <a:pt x="0" y="57"/>
                </a:lnTo>
                <a:lnTo>
                  <a:pt x="3" y="67"/>
                </a:lnTo>
                <a:lnTo>
                  <a:pt x="3" y="72"/>
                </a:lnTo>
                <a:lnTo>
                  <a:pt x="5" y="85"/>
                </a:lnTo>
                <a:lnTo>
                  <a:pt x="10" y="100"/>
                </a:lnTo>
                <a:lnTo>
                  <a:pt x="13" y="104"/>
                </a:lnTo>
                <a:lnTo>
                  <a:pt x="20" y="107"/>
                </a:lnTo>
                <a:lnTo>
                  <a:pt x="25" y="107"/>
                </a:lnTo>
                <a:lnTo>
                  <a:pt x="35" y="104"/>
                </a:lnTo>
                <a:lnTo>
                  <a:pt x="43" y="102"/>
                </a:lnTo>
                <a:lnTo>
                  <a:pt x="53" y="95"/>
                </a:lnTo>
                <a:lnTo>
                  <a:pt x="55" y="87"/>
                </a:lnTo>
                <a:lnTo>
                  <a:pt x="58" y="82"/>
                </a:lnTo>
                <a:lnTo>
                  <a:pt x="58" y="77"/>
                </a:lnTo>
                <a:lnTo>
                  <a:pt x="58" y="77"/>
                </a:lnTo>
                <a:lnTo>
                  <a:pt x="58" y="70"/>
                </a:lnTo>
                <a:lnTo>
                  <a:pt x="55" y="65"/>
                </a:lnTo>
                <a:lnTo>
                  <a:pt x="58" y="62"/>
                </a:lnTo>
                <a:lnTo>
                  <a:pt x="53" y="57"/>
                </a:lnTo>
                <a:lnTo>
                  <a:pt x="48" y="47"/>
                </a:lnTo>
                <a:lnTo>
                  <a:pt x="45" y="37"/>
                </a:lnTo>
                <a:lnTo>
                  <a:pt x="40" y="40"/>
                </a:lnTo>
                <a:lnTo>
                  <a:pt x="40" y="37"/>
                </a:lnTo>
                <a:lnTo>
                  <a:pt x="35" y="37"/>
                </a:lnTo>
                <a:lnTo>
                  <a:pt x="40" y="35"/>
                </a:lnTo>
                <a:lnTo>
                  <a:pt x="40" y="32"/>
                </a:lnTo>
                <a:lnTo>
                  <a:pt x="38" y="30"/>
                </a:lnTo>
                <a:lnTo>
                  <a:pt x="35" y="25"/>
                </a:lnTo>
                <a:lnTo>
                  <a:pt x="33" y="25"/>
                </a:lnTo>
                <a:lnTo>
                  <a:pt x="30" y="20"/>
                </a:lnTo>
                <a:lnTo>
                  <a:pt x="28" y="17"/>
                </a:lnTo>
                <a:lnTo>
                  <a:pt x="28" y="15"/>
                </a:lnTo>
                <a:lnTo>
                  <a:pt x="20" y="12"/>
                </a:lnTo>
                <a:lnTo>
                  <a:pt x="20" y="15"/>
                </a:lnTo>
                <a:lnTo>
                  <a:pt x="15" y="12"/>
                </a:lnTo>
                <a:lnTo>
                  <a:pt x="18" y="10"/>
                </a:lnTo>
                <a:lnTo>
                  <a:pt x="10" y="1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44" name="Freeform 185"/>
          <p:cNvSpPr>
            <a:spLocks noEditPoints="1"/>
          </p:cNvSpPr>
          <p:nvPr/>
        </p:nvSpPr>
        <p:spPr bwMode="auto">
          <a:xfrm>
            <a:off x="8683625" y="4611688"/>
            <a:ext cx="217487" cy="280988"/>
          </a:xfrm>
          <a:custGeom>
            <a:avLst/>
            <a:gdLst>
              <a:gd name="T0" fmla="*/ 54 w 55"/>
              <a:gd name="T1" fmla="*/ 63 h 71"/>
              <a:gd name="T2" fmla="*/ 50 w 55"/>
              <a:gd name="T3" fmla="*/ 67 h 71"/>
              <a:gd name="T4" fmla="*/ 51 w 55"/>
              <a:gd name="T5" fmla="*/ 71 h 71"/>
              <a:gd name="T6" fmla="*/ 47 w 55"/>
              <a:gd name="T7" fmla="*/ 64 h 71"/>
              <a:gd name="T8" fmla="*/ 47 w 55"/>
              <a:gd name="T9" fmla="*/ 60 h 71"/>
              <a:gd name="T10" fmla="*/ 45 w 55"/>
              <a:gd name="T11" fmla="*/ 62 h 71"/>
              <a:gd name="T12" fmla="*/ 45 w 55"/>
              <a:gd name="T13" fmla="*/ 56 h 71"/>
              <a:gd name="T14" fmla="*/ 40 w 55"/>
              <a:gd name="T15" fmla="*/ 46 h 71"/>
              <a:gd name="T16" fmla="*/ 39 w 55"/>
              <a:gd name="T17" fmla="*/ 46 h 71"/>
              <a:gd name="T18" fmla="*/ 33 w 55"/>
              <a:gd name="T19" fmla="*/ 45 h 71"/>
              <a:gd name="T20" fmla="*/ 29 w 55"/>
              <a:gd name="T21" fmla="*/ 40 h 71"/>
              <a:gd name="T22" fmla="*/ 30 w 55"/>
              <a:gd name="T23" fmla="*/ 47 h 71"/>
              <a:gd name="T24" fmla="*/ 31 w 55"/>
              <a:gd name="T25" fmla="*/ 51 h 71"/>
              <a:gd name="T26" fmla="*/ 27 w 55"/>
              <a:gd name="T27" fmla="*/ 58 h 71"/>
              <a:gd name="T28" fmla="*/ 27 w 55"/>
              <a:gd name="T29" fmla="*/ 54 h 71"/>
              <a:gd name="T30" fmla="*/ 25 w 55"/>
              <a:gd name="T31" fmla="*/ 56 h 71"/>
              <a:gd name="T32" fmla="*/ 24 w 55"/>
              <a:gd name="T33" fmla="*/ 50 h 71"/>
              <a:gd name="T34" fmla="*/ 23 w 55"/>
              <a:gd name="T35" fmla="*/ 51 h 71"/>
              <a:gd name="T36" fmla="*/ 24 w 55"/>
              <a:gd name="T37" fmla="*/ 56 h 71"/>
              <a:gd name="T38" fmla="*/ 22 w 55"/>
              <a:gd name="T39" fmla="*/ 58 h 71"/>
              <a:gd name="T40" fmla="*/ 19 w 55"/>
              <a:gd name="T41" fmla="*/ 59 h 71"/>
              <a:gd name="T42" fmla="*/ 17 w 55"/>
              <a:gd name="T43" fmla="*/ 56 h 71"/>
              <a:gd name="T44" fmla="*/ 15 w 55"/>
              <a:gd name="T45" fmla="*/ 51 h 71"/>
              <a:gd name="T46" fmla="*/ 11 w 55"/>
              <a:gd name="T47" fmla="*/ 41 h 71"/>
              <a:gd name="T48" fmla="*/ 11 w 55"/>
              <a:gd name="T49" fmla="*/ 33 h 71"/>
              <a:gd name="T50" fmla="*/ 3 w 55"/>
              <a:gd name="T51" fmla="*/ 26 h 71"/>
              <a:gd name="T52" fmla="*/ 6 w 55"/>
              <a:gd name="T53" fmla="*/ 18 h 71"/>
              <a:gd name="T54" fmla="*/ 10 w 55"/>
              <a:gd name="T55" fmla="*/ 17 h 71"/>
              <a:gd name="T56" fmla="*/ 7 w 55"/>
              <a:gd name="T57" fmla="*/ 12 h 71"/>
              <a:gd name="T58" fmla="*/ 1 w 55"/>
              <a:gd name="T59" fmla="*/ 9 h 71"/>
              <a:gd name="T60" fmla="*/ 3 w 55"/>
              <a:gd name="T61" fmla="*/ 3 h 71"/>
              <a:gd name="T62" fmla="*/ 4 w 55"/>
              <a:gd name="T63" fmla="*/ 0 h 71"/>
              <a:gd name="T64" fmla="*/ 6 w 55"/>
              <a:gd name="T65" fmla="*/ 4 h 71"/>
              <a:gd name="T66" fmla="*/ 11 w 55"/>
              <a:gd name="T67" fmla="*/ 5 h 71"/>
              <a:gd name="T68" fmla="*/ 11 w 55"/>
              <a:gd name="T69" fmla="*/ 3 h 71"/>
              <a:gd name="T70" fmla="*/ 16 w 55"/>
              <a:gd name="T71" fmla="*/ 6 h 71"/>
              <a:gd name="T72" fmla="*/ 18 w 55"/>
              <a:gd name="T73" fmla="*/ 8 h 71"/>
              <a:gd name="T74" fmla="*/ 20 w 55"/>
              <a:gd name="T75" fmla="*/ 14 h 71"/>
              <a:gd name="T76" fmla="*/ 24 w 55"/>
              <a:gd name="T77" fmla="*/ 16 h 71"/>
              <a:gd name="T78" fmla="*/ 33 w 55"/>
              <a:gd name="T79" fmla="*/ 17 h 71"/>
              <a:gd name="T80" fmla="*/ 42 w 55"/>
              <a:gd name="T81" fmla="*/ 17 h 71"/>
              <a:gd name="T82" fmla="*/ 46 w 55"/>
              <a:gd name="T83" fmla="*/ 19 h 71"/>
              <a:gd name="T84" fmla="*/ 45 w 55"/>
              <a:gd name="T85" fmla="*/ 24 h 71"/>
              <a:gd name="T86" fmla="*/ 42 w 55"/>
              <a:gd name="T87" fmla="*/ 30 h 71"/>
              <a:gd name="T88" fmla="*/ 40 w 55"/>
              <a:gd name="T89" fmla="*/ 30 h 71"/>
              <a:gd name="T90" fmla="*/ 36 w 55"/>
              <a:gd name="T91" fmla="*/ 34 h 71"/>
              <a:gd name="T92" fmla="*/ 39 w 55"/>
              <a:gd name="T93" fmla="*/ 39 h 71"/>
              <a:gd name="T94" fmla="*/ 42 w 55"/>
              <a:gd name="T95" fmla="*/ 44 h 71"/>
              <a:gd name="T96" fmla="*/ 43 w 55"/>
              <a:gd name="T97" fmla="*/ 41 h 71"/>
              <a:gd name="T98" fmla="*/ 45 w 55"/>
              <a:gd name="T99" fmla="*/ 38 h 71"/>
              <a:gd name="T100" fmla="*/ 46 w 55"/>
              <a:gd name="T101" fmla="*/ 37 h 71"/>
              <a:gd name="T102" fmla="*/ 50 w 55"/>
              <a:gd name="T103" fmla="*/ 39 h 71"/>
              <a:gd name="T104" fmla="*/ 51 w 55"/>
              <a:gd name="T105" fmla="*/ 46 h 71"/>
              <a:gd name="T106" fmla="*/ 53 w 55"/>
              <a:gd name="T107" fmla="*/ 55 h 71"/>
              <a:gd name="T108" fmla="*/ 54 w 55"/>
              <a:gd name="T109" fmla="*/ 58 h 71"/>
              <a:gd name="T110" fmla="*/ 40 w 55"/>
              <a:gd name="T111" fmla="*/ 49 h 71"/>
              <a:gd name="T112" fmla="*/ 40 w 55"/>
              <a:gd name="T113" fmla="*/ 51 h 71"/>
              <a:gd name="T114" fmla="*/ 36 w 55"/>
              <a:gd name="T115" fmla="*/ 51 h 71"/>
              <a:gd name="T116" fmla="*/ 38 w 55"/>
              <a:gd name="T117" fmla="*/ 51 h 71"/>
              <a:gd name="T118" fmla="*/ 35 w 55"/>
              <a:gd name="T119" fmla="*/ 49 h 71"/>
              <a:gd name="T120" fmla="*/ 31 w 55"/>
              <a:gd name="T121" fmla="*/ 49 h 71"/>
              <a:gd name="T122" fmla="*/ 34 w 55"/>
              <a:gd name="T123" fmla="*/ 4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 h="71">
                <a:moveTo>
                  <a:pt x="55" y="58"/>
                </a:moveTo>
                <a:cubicBezTo>
                  <a:pt x="55" y="60"/>
                  <a:pt x="55" y="60"/>
                  <a:pt x="55" y="60"/>
                </a:cubicBezTo>
                <a:cubicBezTo>
                  <a:pt x="54" y="63"/>
                  <a:pt x="54" y="63"/>
                  <a:pt x="54" y="63"/>
                </a:cubicBezTo>
                <a:cubicBezTo>
                  <a:pt x="53" y="63"/>
                  <a:pt x="53" y="63"/>
                  <a:pt x="53" y="63"/>
                </a:cubicBezTo>
                <a:cubicBezTo>
                  <a:pt x="51" y="65"/>
                  <a:pt x="51" y="65"/>
                  <a:pt x="51" y="65"/>
                </a:cubicBezTo>
                <a:cubicBezTo>
                  <a:pt x="50" y="67"/>
                  <a:pt x="50" y="67"/>
                  <a:pt x="50" y="67"/>
                </a:cubicBezTo>
                <a:cubicBezTo>
                  <a:pt x="51" y="68"/>
                  <a:pt x="51" y="68"/>
                  <a:pt x="51" y="68"/>
                </a:cubicBezTo>
                <a:cubicBezTo>
                  <a:pt x="50" y="68"/>
                  <a:pt x="50" y="68"/>
                  <a:pt x="50" y="68"/>
                </a:cubicBezTo>
                <a:cubicBezTo>
                  <a:pt x="51" y="71"/>
                  <a:pt x="51" y="71"/>
                  <a:pt x="51" y="71"/>
                </a:cubicBezTo>
                <a:cubicBezTo>
                  <a:pt x="50" y="71"/>
                  <a:pt x="50" y="71"/>
                  <a:pt x="50" y="71"/>
                </a:cubicBezTo>
                <a:cubicBezTo>
                  <a:pt x="49" y="67"/>
                  <a:pt x="49" y="67"/>
                  <a:pt x="49" y="67"/>
                </a:cubicBezTo>
                <a:cubicBezTo>
                  <a:pt x="47" y="64"/>
                  <a:pt x="47" y="64"/>
                  <a:pt x="47" y="64"/>
                </a:cubicBezTo>
                <a:cubicBezTo>
                  <a:pt x="46" y="63"/>
                  <a:pt x="46" y="63"/>
                  <a:pt x="46" y="63"/>
                </a:cubicBezTo>
                <a:cubicBezTo>
                  <a:pt x="47" y="62"/>
                  <a:pt x="47" y="62"/>
                  <a:pt x="47" y="62"/>
                </a:cubicBezTo>
                <a:cubicBezTo>
                  <a:pt x="47" y="60"/>
                  <a:pt x="47" y="60"/>
                  <a:pt x="47" y="60"/>
                </a:cubicBezTo>
                <a:cubicBezTo>
                  <a:pt x="46" y="61"/>
                  <a:pt x="46" y="61"/>
                  <a:pt x="46" y="61"/>
                </a:cubicBezTo>
                <a:cubicBezTo>
                  <a:pt x="45" y="62"/>
                  <a:pt x="45" y="62"/>
                  <a:pt x="45" y="62"/>
                </a:cubicBezTo>
                <a:cubicBezTo>
                  <a:pt x="45" y="62"/>
                  <a:pt x="45" y="62"/>
                  <a:pt x="45" y="62"/>
                </a:cubicBezTo>
                <a:cubicBezTo>
                  <a:pt x="45" y="58"/>
                  <a:pt x="45" y="58"/>
                  <a:pt x="45" y="58"/>
                </a:cubicBezTo>
                <a:cubicBezTo>
                  <a:pt x="45" y="58"/>
                  <a:pt x="45" y="58"/>
                  <a:pt x="45" y="58"/>
                </a:cubicBezTo>
                <a:cubicBezTo>
                  <a:pt x="45" y="56"/>
                  <a:pt x="45" y="56"/>
                  <a:pt x="45" y="56"/>
                </a:cubicBezTo>
                <a:cubicBezTo>
                  <a:pt x="45" y="54"/>
                  <a:pt x="45" y="54"/>
                  <a:pt x="45" y="54"/>
                </a:cubicBezTo>
                <a:cubicBezTo>
                  <a:pt x="44" y="53"/>
                  <a:pt x="44" y="53"/>
                  <a:pt x="44" y="53"/>
                </a:cubicBezTo>
                <a:cubicBezTo>
                  <a:pt x="40" y="46"/>
                  <a:pt x="40" y="46"/>
                  <a:pt x="40" y="46"/>
                </a:cubicBezTo>
                <a:cubicBezTo>
                  <a:pt x="40" y="46"/>
                  <a:pt x="40" y="46"/>
                  <a:pt x="40" y="46"/>
                </a:cubicBezTo>
                <a:cubicBezTo>
                  <a:pt x="40" y="46"/>
                  <a:pt x="40" y="46"/>
                  <a:pt x="40" y="46"/>
                </a:cubicBezTo>
                <a:cubicBezTo>
                  <a:pt x="39" y="46"/>
                  <a:pt x="39" y="46"/>
                  <a:pt x="39" y="46"/>
                </a:cubicBezTo>
                <a:cubicBezTo>
                  <a:pt x="37" y="47"/>
                  <a:pt x="37" y="47"/>
                  <a:pt x="37" y="47"/>
                </a:cubicBezTo>
                <a:cubicBezTo>
                  <a:pt x="33" y="46"/>
                  <a:pt x="33" y="46"/>
                  <a:pt x="33" y="46"/>
                </a:cubicBezTo>
                <a:cubicBezTo>
                  <a:pt x="33" y="45"/>
                  <a:pt x="33" y="45"/>
                  <a:pt x="33" y="45"/>
                </a:cubicBezTo>
                <a:cubicBezTo>
                  <a:pt x="32" y="45"/>
                  <a:pt x="32" y="45"/>
                  <a:pt x="32" y="45"/>
                </a:cubicBezTo>
                <a:cubicBezTo>
                  <a:pt x="30" y="43"/>
                  <a:pt x="30" y="43"/>
                  <a:pt x="30" y="43"/>
                </a:cubicBezTo>
                <a:cubicBezTo>
                  <a:pt x="29" y="40"/>
                  <a:pt x="29" y="40"/>
                  <a:pt x="29" y="40"/>
                </a:cubicBezTo>
                <a:cubicBezTo>
                  <a:pt x="29" y="44"/>
                  <a:pt x="29" y="44"/>
                  <a:pt x="29" y="44"/>
                </a:cubicBezTo>
                <a:cubicBezTo>
                  <a:pt x="31" y="46"/>
                  <a:pt x="31" y="46"/>
                  <a:pt x="31" y="46"/>
                </a:cubicBezTo>
                <a:cubicBezTo>
                  <a:pt x="30" y="47"/>
                  <a:pt x="30" y="47"/>
                  <a:pt x="30" y="47"/>
                </a:cubicBezTo>
                <a:cubicBezTo>
                  <a:pt x="28" y="48"/>
                  <a:pt x="28" y="48"/>
                  <a:pt x="28" y="48"/>
                </a:cubicBezTo>
                <a:cubicBezTo>
                  <a:pt x="29" y="48"/>
                  <a:pt x="29" y="48"/>
                  <a:pt x="29" y="48"/>
                </a:cubicBezTo>
                <a:cubicBezTo>
                  <a:pt x="31" y="51"/>
                  <a:pt x="31" y="51"/>
                  <a:pt x="31" y="51"/>
                </a:cubicBezTo>
                <a:cubicBezTo>
                  <a:pt x="31" y="54"/>
                  <a:pt x="31" y="54"/>
                  <a:pt x="31" y="54"/>
                </a:cubicBezTo>
                <a:cubicBezTo>
                  <a:pt x="29" y="54"/>
                  <a:pt x="29" y="54"/>
                  <a:pt x="29" y="54"/>
                </a:cubicBezTo>
                <a:cubicBezTo>
                  <a:pt x="27" y="58"/>
                  <a:pt x="27" y="58"/>
                  <a:pt x="27" y="58"/>
                </a:cubicBezTo>
                <a:cubicBezTo>
                  <a:pt x="25" y="56"/>
                  <a:pt x="25" y="56"/>
                  <a:pt x="25" y="56"/>
                </a:cubicBezTo>
                <a:cubicBezTo>
                  <a:pt x="26" y="55"/>
                  <a:pt x="26" y="55"/>
                  <a:pt x="26" y="55"/>
                </a:cubicBezTo>
                <a:cubicBezTo>
                  <a:pt x="27" y="54"/>
                  <a:pt x="27" y="54"/>
                  <a:pt x="27" y="54"/>
                </a:cubicBezTo>
                <a:cubicBezTo>
                  <a:pt x="28" y="53"/>
                  <a:pt x="28" y="53"/>
                  <a:pt x="28" y="53"/>
                </a:cubicBezTo>
                <a:cubicBezTo>
                  <a:pt x="26" y="54"/>
                  <a:pt x="26" y="54"/>
                  <a:pt x="26" y="54"/>
                </a:cubicBezTo>
                <a:cubicBezTo>
                  <a:pt x="25" y="56"/>
                  <a:pt x="25" y="56"/>
                  <a:pt x="25" y="56"/>
                </a:cubicBezTo>
                <a:cubicBezTo>
                  <a:pt x="23" y="54"/>
                  <a:pt x="23" y="54"/>
                  <a:pt x="23" y="54"/>
                </a:cubicBezTo>
                <a:cubicBezTo>
                  <a:pt x="24" y="51"/>
                  <a:pt x="24" y="51"/>
                  <a:pt x="24" y="51"/>
                </a:cubicBezTo>
                <a:cubicBezTo>
                  <a:pt x="24" y="50"/>
                  <a:pt x="24" y="50"/>
                  <a:pt x="24" y="50"/>
                </a:cubicBezTo>
                <a:cubicBezTo>
                  <a:pt x="24" y="49"/>
                  <a:pt x="24" y="49"/>
                  <a:pt x="24" y="49"/>
                </a:cubicBezTo>
                <a:cubicBezTo>
                  <a:pt x="24" y="50"/>
                  <a:pt x="24" y="50"/>
                  <a:pt x="24" y="50"/>
                </a:cubicBezTo>
                <a:cubicBezTo>
                  <a:pt x="23" y="51"/>
                  <a:pt x="23" y="51"/>
                  <a:pt x="23" y="51"/>
                </a:cubicBezTo>
                <a:cubicBezTo>
                  <a:pt x="23" y="54"/>
                  <a:pt x="23" y="54"/>
                  <a:pt x="23" y="54"/>
                </a:cubicBezTo>
                <a:cubicBezTo>
                  <a:pt x="23" y="54"/>
                  <a:pt x="23" y="54"/>
                  <a:pt x="23" y="54"/>
                </a:cubicBezTo>
                <a:cubicBezTo>
                  <a:pt x="24" y="56"/>
                  <a:pt x="24" y="56"/>
                  <a:pt x="24" y="56"/>
                </a:cubicBezTo>
                <a:cubicBezTo>
                  <a:pt x="23" y="58"/>
                  <a:pt x="23" y="58"/>
                  <a:pt x="23" y="58"/>
                </a:cubicBezTo>
                <a:cubicBezTo>
                  <a:pt x="22" y="59"/>
                  <a:pt x="22" y="59"/>
                  <a:pt x="22" y="59"/>
                </a:cubicBezTo>
                <a:cubicBezTo>
                  <a:pt x="22" y="58"/>
                  <a:pt x="22" y="58"/>
                  <a:pt x="22" y="58"/>
                </a:cubicBezTo>
                <a:cubicBezTo>
                  <a:pt x="21" y="57"/>
                  <a:pt x="21" y="57"/>
                  <a:pt x="21" y="57"/>
                </a:cubicBezTo>
                <a:cubicBezTo>
                  <a:pt x="20" y="58"/>
                  <a:pt x="20" y="58"/>
                  <a:pt x="20" y="58"/>
                </a:cubicBezTo>
                <a:cubicBezTo>
                  <a:pt x="19" y="59"/>
                  <a:pt x="19" y="59"/>
                  <a:pt x="19" y="59"/>
                </a:cubicBezTo>
                <a:cubicBezTo>
                  <a:pt x="18" y="59"/>
                  <a:pt x="18" y="59"/>
                  <a:pt x="18" y="59"/>
                </a:cubicBezTo>
                <a:cubicBezTo>
                  <a:pt x="18" y="58"/>
                  <a:pt x="18" y="58"/>
                  <a:pt x="18" y="58"/>
                </a:cubicBezTo>
                <a:cubicBezTo>
                  <a:pt x="17" y="56"/>
                  <a:pt x="17" y="56"/>
                  <a:pt x="17" y="56"/>
                </a:cubicBezTo>
                <a:cubicBezTo>
                  <a:pt x="16" y="57"/>
                  <a:pt x="16" y="57"/>
                  <a:pt x="16" y="57"/>
                </a:cubicBezTo>
                <a:cubicBezTo>
                  <a:pt x="16" y="53"/>
                  <a:pt x="16" y="53"/>
                  <a:pt x="16" y="53"/>
                </a:cubicBezTo>
                <a:cubicBezTo>
                  <a:pt x="15" y="51"/>
                  <a:pt x="15" y="51"/>
                  <a:pt x="15" y="51"/>
                </a:cubicBezTo>
                <a:cubicBezTo>
                  <a:pt x="15" y="49"/>
                  <a:pt x="15" y="49"/>
                  <a:pt x="15" y="49"/>
                </a:cubicBezTo>
                <a:cubicBezTo>
                  <a:pt x="12" y="44"/>
                  <a:pt x="12" y="44"/>
                  <a:pt x="12" y="44"/>
                </a:cubicBezTo>
                <a:cubicBezTo>
                  <a:pt x="11" y="41"/>
                  <a:pt x="11" y="41"/>
                  <a:pt x="11" y="41"/>
                </a:cubicBezTo>
                <a:cubicBezTo>
                  <a:pt x="12" y="39"/>
                  <a:pt x="12" y="39"/>
                  <a:pt x="12" y="39"/>
                </a:cubicBezTo>
                <a:cubicBezTo>
                  <a:pt x="11" y="36"/>
                  <a:pt x="11" y="36"/>
                  <a:pt x="11" y="36"/>
                </a:cubicBezTo>
                <a:cubicBezTo>
                  <a:pt x="11" y="33"/>
                  <a:pt x="11" y="33"/>
                  <a:pt x="11" y="33"/>
                </a:cubicBezTo>
                <a:cubicBezTo>
                  <a:pt x="8" y="30"/>
                  <a:pt x="8" y="30"/>
                  <a:pt x="8" y="30"/>
                </a:cubicBezTo>
                <a:cubicBezTo>
                  <a:pt x="5" y="28"/>
                  <a:pt x="5" y="28"/>
                  <a:pt x="5" y="28"/>
                </a:cubicBezTo>
                <a:cubicBezTo>
                  <a:pt x="3" y="26"/>
                  <a:pt x="3" y="26"/>
                  <a:pt x="3" y="26"/>
                </a:cubicBezTo>
                <a:cubicBezTo>
                  <a:pt x="3" y="21"/>
                  <a:pt x="3" y="21"/>
                  <a:pt x="3" y="21"/>
                </a:cubicBezTo>
                <a:cubicBezTo>
                  <a:pt x="5" y="21"/>
                  <a:pt x="5" y="21"/>
                  <a:pt x="5" y="21"/>
                </a:cubicBezTo>
                <a:cubicBezTo>
                  <a:pt x="6" y="18"/>
                  <a:pt x="6" y="18"/>
                  <a:pt x="6" y="18"/>
                </a:cubicBezTo>
                <a:cubicBezTo>
                  <a:pt x="7" y="17"/>
                  <a:pt x="7" y="17"/>
                  <a:pt x="7" y="17"/>
                </a:cubicBezTo>
                <a:cubicBezTo>
                  <a:pt x="9" y="18"/>
                  <a:pt x="9" y="18"/>
                  <a:pt x="9" y="18"/>
                </a:cubicBezTo>
                <a:cubicBezTo>
                  <a:pt x="10" y="17"/>
                  <a:pt x="10" y="17"/>
                  <a:pt x="10" y="17"/>
                </a:cubicBezTo>
                <a:cubicBezTo>
                  <a:pt x="9" y="14"/>
                  <a:pt x="9" y="14"/>
                  <a:pt x="9" y="14"/>
                </a:cubicBezTo>
                <a:cubicBezTo>
                  <a:pt x="10" y="12"/>
                  <a:pt x="10" y="12"/>
                  <a:pt x="10" y="12"/>
                </a:cubicBezTo>
                <a:cubicBezTo>
                  <a:pt x="7" y="12"/>
                  <a:pt x="7" y="12"/>
                  <a:pt x="7" y="12"/>
                </a:cubicBezTo>
                <a:cubicBezTo>
                  <a:pt x="5" y="13"/>
                  <a:pt x="5" y="13"/>
                  <a:pt x="5" y="13"/>
                </a:cubicBezTo>
                <a:cubicBezTo>
                  <a:pt x="0" y="11"/>
                  <a:pt x="0" y="11"/>
                  <a:pt x="0" y="11"/>
                </a:cubicBezTo>
                <a:cubicBezTo>
                  <a:pt x="1" y="9"/>
                  <a:pt x="1" y="9"/>
                  <a:pt x="1" y="9"/>
                </a:cubicBezTo>
                <a:cubicBezTo>
                  <a:pt x="3" y="6"/>
                  <a:pt x="3" y="6"/>
                  <a:pt x="3" y="6"/>
                </a:cubicBezTo>
                <a:cubicBezTo>
                  <a:pt x="4" y="4"/>
                  <a:pt x="4" y="4"/>
                  <a:pt x="4" y="4"/>
                </a:cubicBezTo>
                <a:cubicBezTo>
                  <a:pt x="3" y="3"/>
                  <a:pt x="3" y="3"/>
                  <a:pt x="3" y="3"/>
                </a:cubicBezTo>
                <a:cubicBezTo>
                  <a:pt x="2" y="1"/>
                  <a:pt x="2" y="1"/>
                  <a:pt x="2" y="1"/>
                </a:cubicBezTo>
                <a:cubicBezTo>
                  <a:pt x="3" y="1"/>
                  <a:pt x="3" y="1"/>
                  <a:pt x="3" y="1"/>
                </a:cubicBezTo>
                <a:cubicBezTo>
                  <a:pt x="4" y="0"/>
                  <a:pt x="4" y="0"/>
                  <a:pt x="4" y="0"/>
                </a:cubicBezTo>
                <a:cubicBezTo>
                  <a:pt x="5" y="1"/>
                  <a:pt x="5" y="1"/>
                  <a:pt x="5" y="1"/>
                </a:cubicBezTo>
                <a:cubicBezTo>
                  <a:pt x="6" y="2"/>
                  <a:pt x="6" y="2"/>
                  <a:pt x="6" y="2"/>
                </a:cubicBezTo>
                <a:cubicBezTo>
                  <a:pt x="6" y="4"/>
                  <a:pt x="6" y="4"/>
                  <a:pt x="6" y="4"/>
                </a:cubicBezTo>
                <a:cubicBezTo>
                  <a:pt x="8" y="6"/>
                  <a:pt x="8" y="6"/>
                  <a:pt x="8" y="6"/>
                </a:cubicBezTo>
                <a:cubicBezTo>
                  <a:pt x="10" y="6"/>
                  <a:pt x="10" y="6"/>
                  <a:pt x="10" y="6"/>
                </a:cubicBezTo>
                <a:cubicBezTo>
                  <a:pt x="11" y="5"/>
                  <a:pt x="11" y="5"/>
                  <a:pt x="11" y="5"/>
                </a:cubicBezTo>
                <a:cubicBezTo>
                  <a:pt x="10" y="4"/>
                  <a:pt x="10" y="4"/>
                  <a:pt x="10" y="4"/>
                </a:cubicBezTo>
                <a:cubicBezTo>
                  <a:pt x="10" y="3"/>
                  <a:pt x="10" y="3"/>
                  <a:pt x="10" y="3"/>
                </a:cubicBezTo>
                <a:cubicBezTo>
                  <a:pt x="11" y="3"/>
                  <a:pt x="11" y="3"/>
                  <a:pt x="11" y="3"/>
                </a:cubicBezTo>
                <a:cubicBezTo>
                  <a:pt x="12" y="5"/>
                  <a:pt x="12" y="5"/>
                  <a:pt x="12" y="5"/>
                </a:cubicBezTo>
                <a:cubicBezTo>
                  <a:pt x="14" y="6"/>
                  <a:pt x="14" y="6"/>
                  <a:pt x="14" y="6"/>
                </a:cubicBezTo>
                <a:cubicBezTo>
                  <a:pt x="16" y="6"/>
                  <a:pt x="16" y="6"/>
                  <a:pt x="16" y="6"/>
                </a:cubicBezTo>
                <a:cubicBezTo>
                  <a:pt x="16" y="6"/>
                  <a:pt x="16" y="6"/>
                  <a:pt x="16" y="6"/>
                </a:cubicBezTo>
                <a:cubicBezTo>
                  <a:pt x="17" y="5"/>
                  <a:pt x="17" y="5"/>
                  <a:pt x="17" y="5"/>
                </a:cubicBezTo>
                <a:cubicBezTo>
                  <a:pt x="18" y="8"/>
                  <a:pt x="18" y="8"/>
                  <a:pt x="18" y="8"/>
                </a:cubicBezTo>
                <a:cubicBezTo>
                  <a:pt x="19" y="10"/>
                  <a:pt x="19" y="10"/>
                  <a:pt x="19" y="10"/>
                </a:cubicBezTo>
                <a:cubicBezTo>
                  <a:pt x="19" y="12"/>
                  <a:pt x="19" y="12"/>
                  <a:pt x="19" y="12"/>
                </a:cubicBezTo>
                <a:cubicBezTo>
                  <a:pt x="20" y="14"/>
                  <a:pt x="20" y="14"/>
                  <a:pt x="20" y="14"/>
                </a:cubicBezTo>
                <a:cubicBezTo>
                  <a:pt x="20" y="16"/>
                  <a:pt x="20" y="16"/>
                  <a:pt x="20" y="16"/>
                </a:cubicBezTo>
                <a:cubicBezTo>
                  <a:pt x="22" y="16"/>
                  <a:pt x="22" y="16"/>
                  <a:pt x="22" y="16"/>
                </a:cubicBezTo>
                <a:cubicBezTo>
                  <a:pt x="24" y="16"/>
                  <a:pt x="24" y="16"/>
                  <a:pt x="24" y="16"/>
                </a:cubicBezTo>
                <a:cubicBezTo>
                  <a:pt x="26" y="17"/>
                  <a:pt x="26" y="17"/>
                  <a:pt x="26" y="17"/>
                </a:cubicBezTo>
                <a:cubicBezTo>
                  <a:pt x="29" y="17"/>
                  <a:pt x="29" y="17"/>
                  <a:pt x="29" y="17"/>
                </a:cubicBezTo>
                <a:cubicBezTo>
                  <a:pt x="33" y="17"/>
                  <a:pt x="33" y="17"/>
                  <a:pt x="33" y="17"/>
                </a:cubicBezTo>
                <a:cubicBezTo>
                  <a:pt x="36" y="17"/>
                  <a:pt x="36" y="17"/>
                  <a:pt x="36" y="17"/>
                </a:cubicBezTo>
                <a:cubicBezTo>
                  <a:pt x="40" y="17"/>
                  <a:pt x="40" y="17"/>
                  <a:pt x="40" y="17"/>
                </a:cubicBezTo>
                <a:cubicBezTo>
                  <a:pt x="42" y="17"/>
                  <a:pt x="42" y="17"/>
                  <a:pt x="42" y="17"/>
                </a:cubicBezTo>
                <a:cubicBezTo>
                  <a:pt x="42" y="18"/>
                  <a:pt x="42" y="18"/>
                  <a:pt x="42" y="18"/>
                </a:cubicBezTo>
                <a:cubicBezTo>
                  <a:pt x="44" y="17"/>
                  <a:pt x="44" y="17"/>
                  <a:pt x="44" y="17"/>
                </a:cubicBezTo>
                <a:cubicBezTo>
                  <a:pt x="46" y="19"/>
                  <a:pt x="46" y="19"/>
                  <a:pt x="46" y="19"/>
                </a:cubicBezTo>
                <a:cubicBezTo>
                  <a:pt x="47" y="20"/>
                  <a:pt x="47" y="20"/>
                  <a:pt x="47" y="20"/>
                </a:cubicBezTo>
                <a:cubicBezTo>
                  <a:pt x="45" y="22"/>
                  <a:pt x="45" y="22"/>
                  <a:pt x="45" y="22"/>
                </a:cubicBezTo>
                <a:cubicBezTo>
                  <a:pt x="45" y="24"/>
                  <a:pt x="45" y="24"/>
                  <a:pt x="45" y="24"/>
                </a:cubicBezTo>
                <a:cubicBezTo>
                  <a:pt x="44" y="28"/>
                  <a:pt x="44" y="28"/>
                  <a:pt x="44" y="28"/>
                </a:cubicBezTo>
                <a:cubicBezTo>
                  <a:pt x="42" y="29"/>
                  <a:pt x="42" y="29"/>
                  <a:pt x="42" y="29"/>
                </a:cubicBezTo>
                <a:cubicBezTo>
                  <a:pt x="42" y="30"/>
                  <a:pt x="42" y="30"/>
                  <a:pt x="42" y="30"/>
                </a:cubicBezTo>
                <a:cubicBezTo>
                  <a:pt x="42" y="31"/>
                  <a:pt x="42" y="31"/>
                  <a:pt x="42" y="31"/>
                </a:cubicBezTo>
                <a:cubicBezTo>
                  <a:pt x="40" y="31"/>
                  <a:pt x="40" y="31"/>
                  <a:pt x="40" y="31"/>
                </a:cubicBezTo>
                <a:cubicBezTo>
                  <a:pt x="40" y="30"/>
                  <a:pt x="40" y="30"/>
                  <a:pt x="40" y="30"/>
                </a:cubicBezTo>
                <a:cubicBezTo>
                  <a:pt x="38" y="32"/>
                  <a:pt x="38" y="32"/>
                  <a:pt x="38" y="32"/>
                </a:cubicBezTo>
                <a:cubicBezTo>
                  <a:pt x="37" y="33"/>
                  <a:pt x="37" y="33"/>
                  <a:pt x="37" y="33"/>
                </a:cubicBezTo>
                <a:cubicBezTo>
                  <a:pt x="36" y="34"/>
                  <a:pt x="36" y="34"/>
                  <a:pt x="36" y="34"/>
                </a:cubicBezTo>
                <a:cubicBezTo>
                  <a:pt x="36" y="35"/>
                  <a:pt x="36" y="35"/>
                  <a:pt x="36" y="35"/>
                </a:cubicBezTo>
                <a:cubicBezTo>
                  <a:pt x="37" y="38"/>
                  <a:pt x="37" y="38"/>
                  <a:pt x="37" y="38"/>
                </a:cubicBezTo>
                <a:cubicBezTo>
                  <a:pt x="39" y="39"/>
                  <a:pt x="39" y="39"/>
                  <a:pt x="39" y="39"/>
                </a:cubicBezTo>
                <a:cubicBezTo>
                  <a:pt x="39" y="40"/>
                  <a:pt x="39" y="40"/>
                  <a:pt x="39" y="40"/>
                </a:cubicBezTo>
                <a:cubicBezTo>
                  <a:pt x="41" y="41"/>
                  <a:pt x="41" y="41"/>
                  <a:pt x="41" y="41"/>
                </a:cubicBezTo>
                <a:cubicBezTo>
                  <a:pt x="42" y="44"/>
                  <a:pt x="42" y="44"/>
                  <a:pt x="42" y="44"/>
                </a:cubicBezTo>
                <a:cubicBezTo>
                  <a:pt x="43" y="44"/>
                  <a:pt x="43" y="44"/>
                  <a:pt x="43" y="44"/>
                </a:cubicBezTo>
                <a:cubicBezTo>
                  <a:pt x="44" y="42"/>
                  <a:pt x="44" y="42"/>
                  <a:pt x="44" y="42"/>
                </a:cubicBezTo>
                <a:cubicBezTo>
                  <a:pt x="43" y="41"/>
                  <a:pt x="43" y="41"/>
                  <a:pt x="43" y="41"/>
                </a:cubicBezTo>
                <a:cubicBezTo>
                  <a:pt x="44" y="40"/>
                  <a:pt x="44" y="40"/>
                  <a:pt x="44" y="40"/>
                </a:cubicBezTo>
                <a:cubicBezTo>
                  <a:pt x="44" y="39"/>
                  <a:pt x="44" y="39"/>
                  <a:pt x="44" y="39"/>
                </a:cubicBezTo>
                <a:cubicBezTo>
                  <a:pt x="45" y="38"/>
                  <a:pt x="45" y="38"/>
                  <a:pt x="45" y="38"/>
                </a:cubicBezTo>
                <a:cubicBezTo>
                  <a:pt x="44" y="37"/>
                  <a:pt x="44" y="37"/>
                  <a:pt x="44" y="37"/>
                </a:cubicBezTo>
                <a:cubicBezTo>
                  <a:pt x="45" y="36"/>
                  <a:pt x="45" y="36"/>
                  <a:pt x="45" y="36"/>
                </a:cubicBezTo>
                <a:cubicBezTo>
                  <a:pt x="46" y="37"/>
                  <a:pt x="46" y="37"/>
                  <a:pt x="46" y="37"/>
                </a:cubicBezTo>
                <a:cubicBezTo>
                  <a:pt x="48" y="37"/>
                  <a:pt x="48" y="37"/>
                  <a:pt x="48" y="37"/>
                </a:cubicBezTo>
                <a:cubicBezTo>
                  <a:pt x="49" y="38"/>
                  <a:pt x="49" y="38"/>
                  <a:pt x="49" y="38"/>
                </a:cubicBezTo>
                <a:cubicBezTo>
                  <a:pt x="50" y="39"/>
                  <a:pt x="50" y="39"/>
                  <a:pt x="50" y="39"/>
                </a:cubicBezTo>
                <a:cubicBezTo>
                  <a:pt x="50" y="42"/>
                  <a:pt x="50" y="42"/>
                  <a:pt x="50" y="42"/>
                </a:cubicBezTo>
                <a:cubicBezTo>
                  <a:pt x="50" y="44"/>
                  <a:pt x="50" y="44"/>
                  <a:pt x="50" y="44"/>
                </a:cubicBezTo>
                <a:cubicBezTo>
                  <a:pt x="51" y="46"/>
                  <a:pt x="51" y="46"/>
                  <a:pt x="51" y="46"/>
                </a:cubicBezTo>
                <a:cubicBezTo>
                  <a:pt x="52" y="50"/>
                  <a:pt x="52" y="50"/>
                  <a:pt x="52" y="50"/>
                </a:cubicBezTo>
                <a:cubicBezTo>
                  <a:pt x="53" y="53"/>
                  <a:pt x="53" y="53"/>
                  <a:pt x="53" y="53"/>
                </a:cubicBezTo>
                <a:cubicBezTo>
                  <a:pt x="53" y="55"/>
                  <a:pt x="53" y="55"/>
                  <a:pt x="53" y="55"/>
                </a:cubicBezTo>
                <a:cubicBezTo>
                  <a:pt x="54" y="56"/>
                  <a:pt x="54" y="56"/>
                  <a:pt x="54" y="56"/>
                </a:cubicBezTo>
                <a:cubicBezTo>
                  <a:pt x="54" y="57"/>
                  <a:pt x="54" y="57"/>
                  <a:pt x="54" y="57"/>
                </a:cubicBezTo>
                <a:cubicBezTo>
                  <a:pt x="54" y="58"/>
                  <a:pt x="54" y="58"/>
                  <a:pt x="54" y="58"/>
                </a:cubicBezTo>
                <a:cubicBezTo>
                  <a:pt x="55" y="58"/>
                  <a:pt x="55" y="58"/>
                  <a:pt x="55" y="58"/>
                </a:cubicBezTo>
                <a:close/>
                <a:moveTo>
                  <a:pt x="40" y="49"/>
                </a:moveTo>
                <a:cubicBezTo>
                  <a:pt x="40" y="49"/>
                  <a:pt x="40" y="49"/>
                  <a:pt x="40" y="49"/>
                </a:cubicBezTo>
                <a:cubicBezTo>
                  <a:pt x="39" y="49"/>
                  <a:pt x="39" y="49"/>
                  <a:pt x="39" y="49"/>
                </a:cubicBezTo>
                <a:cubicBezTo>
                  <a:pt x="39" y="51"/>
                  <a:pt x="39" y="51"/>
                  <a:pt x="39" y="51"/>
                </a:cubicBezTo>
                <a:cubicBezTo>
                  <a:pt x="40" y="51"/>
                  <a:pt x="40" y="51"/>
                  <a:pt x="40" y="51"/>
                </a:cubicBezTo>
                <a:cubicBezTo>
                  <a:pt x="40" y="49"/>
                  <a:pt x="40" y="49"/>
                  <a:pt x="40" y="49"/>
                </a:cubicBezTo>
                <a:close/>
                <a:moveTo>
                  <a:pt x="35" y="49"/>
                </a:moveTo>
                <a:cubicBezTo>
                  <a:pt x="36" y="51"/>
                  <a:pt x="36" y="51"/>
                  <a:pt x="36" y="51"/>
                </a:cubicBezTo>
                <a:cubicBezTo>
                  <a:pt x="36" y="53"/>
                  <a:pt x="36" y="53"/>
                  <a:pt x="36" y="53"/>
                </a:cubicBezTo>
                <a:cubicBezTo>
                  <a:pt x="37" y="54"/>
                  <a:pt x="37" y="54"/>
                  <a:pt x="37" y="54"/>
                </a:cubicBezTo>
                <a:cubicBezTo>
                  <a:pt x="38" y="51"/>
                  <a:pt x="38" y="51"/>
                  <a:pt x="38" y="51"/>
                </a:cubicBezTo>
                <a:cubicBezTo>
                  <a:pt x="37" y="50"/>
                  <a:pt x="37" y="50"/>
                  <a:pt x="37" y="50"/>
                </a:cubicBezTo>
                <a:cubicBezTo>
                  <a:pt x="35" y="48"/>
                  <a:pt x="35" y="48"/>
                  <a:pt x="35" y="48"/>
                </a:cubicBezTo>
                <a:cubicBezTo>
                  <a:pt x="35" y="48"/>
                  <a:pt x="35" y="49"/>
                  <a:pt x="35" y="49"/>
                </a:cubicBezTo>
                <a:close/>
                <a:moveTo>
                  <a:pt x="33" y="47"/>
                </a:moveTo>
                <a:cubicBezTo>
                  <a:pt x="31" y="48"/>
                  <a:pt x="31" y="48"/>
                  <a:pt x="31" y="48"/>
                </a:cubicBezTo>
                <a:cubicBezTo>
                  <a:pt x="31" y="49"/>
                  <a:pt x="31" y="49"/>
                  <a:pt x="31" y="49"/>
                </a:cubicBezTo>
                <a:cubicBezTo>
                  <a:pt x="32" y="52"/>
                  <a:pt x="32" y="52"/>
                  <a:pt x="32" y="52"/>
                </a:cubicBezTo>
                <a:cubicBezTo>
                  <a:pt x="34" y="52"/>
                  <a:pt x="34" y="52"/>
                  <a:pt x="34" y="52"/>
                </a:cubicBezTo>
                <a:cubicBezTo>
                  <a:pt x="34" y="49"/>
                  <a:pt x="34" y="49"/>
                  <a:pt x="34" y="49"/>
                </a:cubicBezTo>
                <a:lnTo>
                  <a:pt x="33" y="4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45" name="Freeform 186"/>
          <p:cNvSpPr>
            <a:spLocks/>
          </p:cNvSpPr>
          <p:nvPr/>
        </p:nvSpPr>
        <p:spPr bwMode="auto">
          <a:xfrm>
            <a:off x="7529249" y="4124060"/>
            <a:ext cx="587375" cy="646113"/>
          </a:xfrm>
          <a:custGeom>
            <a:avLst/>
            <a:gdLst>
              <a:gd name="T0" fmla="*/ 222 w 370"/>
              <a:gd name="T1" fmla="*/ 394 h 407"/>
              <a:gd name="T2" fmla="*/ 252 w 370"/>
              <a:gd name="T3" fmla="*/ 387 h 407"/>
              <a:gd name="T4" fmla="*/ 267 w 370"/>
              <a:gd name="T5" fmla="*/ 382 h 407"/>
              <a:gd name="T6" fmla="*/ 280 w 370"/>
              <a:gd name="T7" fmla="*/ 377 h 407"/>
              <a:gd name="T8" fmla="*/ 270 w 370"/>
              <a:gd name="T9" fmla="*/ 347 h 407"/>
              <a:gd name="T10" fmla="*/ 252 w 370"/>
              <a:gd name="T11" fmla="*/ 327 h 407"/>
              <a:gd name="T12" fmla="*/ 240 w 370"/>
              <a:gd name="T13" fmla="*/ 315 h 407"/>
              <a:gd name="T14" fmla="*/ 235 w 370"/>
              <a:gd name="T15" fmla="*/ 295 h 407"/>
              <a:gd name="T16" fmla="*/ 252 w 370"/>
              <a:gd name="T17" fmla="*/ 277 h 407"/>
              <a:gd name="T18" fmla="*/ 265 w 370"/>
              <a:gd name="T19" fmla="*/ 282 h 407"/>
              <a:gd name="T20" fmla="*/ 302 w 370"/>
              <a:gd name="T21" fmla="*/ 252 h 407"/>
              <a:gd name="T22" fmla="*/ 325 w 370"/>
              <a:gd name="T23" fmla="*/ 220 h 407"/>
              <a:gd name="T24" fmla="*/ 332 w 370"/>
              <a:gd name="T25" fmla="*/ 202 h 407"/>
              <a:gd name="T26" fmla="*/ 347 w 370"/>
              <a:gd name="T27" fmla="*/ 170 h 407"/>
              <a:gd name="T28" fmla="*/ 357 w 370"/>
              <a:gd name="T29" fmla="*/ 150 h 407"/>
              <a:gd name="T30" fmla="*/ 370 w 370"/>
              <a:gd name="T31" fmla="*/ 135 h 407"/>
              <a:gd name="T32" fmla="*/ 345 w 370"/>
              <a:gd name="T33" fmla="*/ 127 h 407"/>
              <a:gd name="T34" fmla="*/ 315 w 370"/>
              <a:gd name="T35" fmla="*/ 105 h 407"/>
              <a:gd name="T36" fmla="*/ 310 w 370"/>
              <a:gd name="T37" fmla="*/ 67 h 407"/>
              <a:gd name="T38" fmla="*/ 310 w 370"/>
              <a:gd name="T39" fmla="*/ 50 h 407"/>
              <a:gd name="T40" fmla="*/ 290 w 370"/>
              <a:gd name="T41" fmla="*/ 27 h 407"/>
              <a:gd name="T42" fmla="*/ 275 w 370"/>
              <a:gd name="T43" fmla="*/ 15 h 407"/>
              <a:gd name="T44" fmla="*/ 272 w 370"/>
              <a:gd name="T45" fmla="*/ 0 h 407"/>
              <a:gd name="T46" fmla="*/ 245 w 370"/>
              <a:gd name="T47" fmla="*/ 18 h 407"/>
              <a:gd name="T48" fmla="*/ 240 w 370"/>
              <a:gd name="T49" fmla="*/ 67 h 407"/>
              <a:gd name="T50" fmla="*/ 230 w 370"/>
              <a:gd name="T51" fmla="*/ 92 h 407"/>
              <a:gd name="T52" fmla="*/ 222 w 370"/>
              <a:gd name="T53" fmla="*/ 102 h 407"/>
              <a:gd name="T54" fmla="*/ 212 w 370"/>
              <a:gd name="T55" fmla="*/ 117 h 407"/>
              <a:gd name="T56" fmla="*/ 207 w 370"/>
              <a:gd name="T57" fmla="*/ 140 h 407"/>
              <a:gd name="T58" fmla="*/ 197 w 370"/>
              <a:gd name="T59" fmla="*/ 157 h 407"/>
              <a:gd name="T60" fmla="*/ 182 w 370"/>
              <a:gd name="T61" fmla="*/ 157 h 407"/>
              <a:gd name="T62" fmla="*/ 170 w 370"/>
              <a:gd name="T63" fmla="*/ 170 h 407"/>
              <a:gd name="T64" fmla="*/ 148 w 370"/>
              <a:gd name="T65" fmla="*/ 177 h 407"/>
              <a:gd name="T66" fmla="*/ 135 w 370"/>
              <a:gd name="T67" fmla="*/ 192 h 407"/>
              <a:gd name="T68" fmla="*/ 140 w 370"/>
              <a:gd name="T69" fmla="*/ 220 h 407"/>
              <a:gd name="T70" fmla="*/ 110 w 370"/>
              <a:gd name="T71" fmla="*/ 230 h 407"/>
              <a:gd name="T72" fmla="*/ 75 w 370"/>
              <a:gd name="T73" fmla="*/ 235 h 407"/>
              <a:gd name="T74" fmla="*/ 0 w 370"/>
              <a:gd name="T75" fmla="*/ 227 h 407"/>
              <a:gd name="T76" fmla="*/ 30 w 370"/>
              <a:gd name="T77" fmla="*/ 265 h 407"/>
              <a:gd name="T78" fmla="*/ 45 w 370"/>
              <a:gd name="T79" fmla="*/ 272 h 407"/>
              <a:gd name="T80" fmla="*/ 55 w 370"/>
              <a:gd name="T81" fmla="*/ 295 h 407"/>
              <a:gd name="T82" fmla="*/ 73 w 370"/>
              <a:gd name="T83" fmla="*/ 315 h 407"/>
              <a:gd name="T84" fmla="*/ 45 w 370"/>
              <a:gd name="T85" fmla="*/ 322 h 407"/>
              <a:gd name="T86" fmla="*/ 33 w 370"/>
              <a:gd name="T87" fmla="*/ 339 h 407"/>
              <a:gd name="T88" fmla="*/ 38 w 370"/>
              <a:gd name="T89" fmla="*/ 362 h 407"/>
              <a:gd name="T90" fmla="*/ 53 w 370"/>
              <a:gd name="T91" fmla="*/ 359 h 407"/>
              <a:gd name="T92" fmla="*/ 65 w 370"/>
              <a:gd name="T93" fmla="*/ 359 h 407"/>
              <a:gd name="T94" fmla="*/ 78 w 370"/>
              <a:gd name="T95" fmla="*/ 359 h 407"/>
              <a:gd name="T96" fmla="*/ 90 w 370"/>
              <a:gd name="T97" fmla="*/ 357 h 407"/>
              <a:gd name="T98" fmla="*/ 100 w 370"/>
              <a:gd name="T99" fmla="*/ 359 h 407"/>
              <a:gd name="T100" fmla="*/ 120 w 370"/>
              <a:gd name="T101" fmla="*/ 354 h 407"/>
              <a:gd name="T102" fmla="*/ 133 w 370"/>
              <a:gd name="T103" fmla="*/ 352 h 407"/>
              <a:gd name="T104" fmla="*/ 158 w 370"/>
              <a:gd name="T105" fmla="*/ 352 h 407"/>
              <a:gd name="T106" fmla="*/ 165 w 370"/>
              <a:gd name="T107" fmla="*/ 367 h 407"/>
              <a:gd name="T108" fmla="*/ 175 w 370"/>
              <a:gd name="T109" fmla="*/ 367 h 407"/>
              <a:gd name="T110" fmla="*/ 185 w 370"/>
              <a:gd name="T111" fmla="*/ 389 h 407"/>
              <a:gd name="T112" fmla="*/ 185 w 370"/>
              <a:gd name="T113" fmla="*/ 394 h 407"/>
              <a:gd name="T114" fmla="*/ 210 w 370"/>
              <a:gd name="T115" fmla="*/ 40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0" h="407">
                <a:moveTo>
                  <a:pt x="212" y="404"/>
                </a:moveTo>
                <a:lnTo>
                  <a:pt x="212" y="397"/>
                </a:lnTo>
                <a:lnTo>
                  <a:pt x="220" y="394"/>
                </a:lnTo>
                <a:lnTo>
                  <a:pt x="222" y="394"/>
                </a:lnTo>
                <a:lnTo>
                  <a:pt x="225" y="387"/>
                </a:lnTo>
                <a:lnTo>
                  <a:pt x="230" y="387"/>
                </a:lnTo>
                <a:lnTo>
                  <a:pt x="232" y="384"/>
                </a:lnTo>
                <a:lnTo>
                  <a:pt x="252" y="387"/>
                </a:lnTo>
                <a:lnTo>
                  <a:pt x="262" y="382"/>
                </a:lnTo>
                <a:lnTo>
                  <a:pt x="265" y="379"/>
                </a:lnTo>
                <a:lnTo>
                  <a:pt x="270" y="379"/>
                </a:lnTo>
                <a:lnTo>
                  <a:pt x="267" y="382"/>
                </a:lnTo>
                <a:lnTo>
                  <a:pt x="270" y="384"/>
                </a:lnTo>
                <a:lnTo>
                  <a:pt x="277" y="382"/>
                </a:lnTo>
                <a:lnTo>
                  <a:pt x="282" y="379"/>
                </a:lnTo>
                <a:lnTo>
                  <a:pt x="280" y="377"/>
                </a:lnTo>
                <a:lnTo>
                  <a:pt x="280" y="374"/>
                </a:lnTo>
                <a:lnTo>
                  <a:pt x="275" y="357"/>
                </a:lnTo>
                <a:lnTo>
                  <a:pt x="270" y="349"/>
                </a:lnTo>
                <a:lnTo>
                  <a:pt x="270" y="347"/>
                </a:lnTo>
                <a:lnTo>
                  <a:pt x="267" y="342"/>
                </a:lnTo>
                <a:lnTo>
                  <a:pt x="262" y="344"/>
                </a:lnTo>
                <a:lnTo>
                  <a:pt x="252" y="337"/>
                </a:lnTo>
                <a:lnTo>
                  <a:pt x="252" y="327"/>
                </a:lnTo>
                <a:lnTo>
                  <a:pt x="252" y="322"/>
                </a:lnTo>
                <a:lnTo>
                  <a:pt x="247" y="315"/>
                </a:lnTo>
                <a:lnTo>
                  <a:pt x="242" y="312"/>
                </a:lnTo>
                <a:lnTo>
                  <a:pt x="240" y="315"/>
                </a:lnTo>
                <a:lnTo>
                  <a:pt x="235" y="312"/>
                </a:lnTo>
                <a:lnTo>
                  <a:pt x="230" y="312"/>
                </a:lnTo>
                <a:lnTo>
                  <a:pt x="230" y="307"/>
                </a:lnTo>
                <a:lnTo>
                  <a:pt x="235" y="295"/>
                </a:lnTo>
                <a:lnTo>
                  <a:pt x="237" y="295"/>
                </a:lnTo>
                <a:lnTo>
                  <a:pt x="245" y="285"/>
                </a:lnTo>
                <a:lnTo>
                  <a:pt x="247" y="280"/>
                </a:lnTo>
                <a:lnTo>
                  <a:pt x="252" y="277"/>
                </a:lnTo>
                <a:lnTo>
                  <a:pt x="255" y="275"/>
                </a:lnTo>
                <a:lnTo>
                  <a:pt x="260" y="277"/>
                </a:lnTo>
                <a:lnTo>
                  <a:pt x="262" y="282"/>
                </a:lnTo>
                <a:lnTo>
                  <a:pt x="265" y="282"/>
                </a:lnTo>
                <a:lnTo>
                  <a:pt x="275" y="277"/>
                </a:lnTo>
                <a:lnTo>
                  <a:pt x="290" y="277"/>
                </a:lnTo>
                <a:lnTo>
                  <a:pt x="297" y="267"/>
                </a:lnTo>
                <a:lnTo>
                  <a:pt x="302" y="252"/>
                </a:lnTo>
                <a:lnTo>
                  <a:pt x="315" y="242"/>
                </a:lnTo>
                <a:lnTo>
                  <a:pt x="317" y="237"/>
                </a:lnTo>
                <a:lnTo>
                  <a:pt x="320" y="230"/>
                </a:lnTo>
                <a:lnTo>
                  <a:pt x="325" y="220"/>
                </a:lnTo>
                <a:lnTo>
                  <a:pt x="335" y="217"/>
                </a:lnTo>
                <a:lnTo>
                  <a:pt x="337" y="210"/>
                </a:lnTo>
                <a:lnTo>
                  <a:pt x="337" y="205"/>
                </a:lnTo>
                <a:lnTo>
                  <a:pt x="332" y="202"/>
                </a:lnTo>
                <a:lnTo>
                  <a:pt x="342" y="195"/>
                </a:lnTo>
                <a:lnTo>
                  <a:pt x="345" y="190"/>
                </a:lnTo>
                <a:lnTo>
                  <a:pt x="347" y="185"/>
                </a:lnTo>
                <a:lnTo>
                  <a:pt x="347" y="170"/>
                </a:lnTo>
                <a:lnTo>
                  <a:pt x="345" y="160"/>
                </a:lnTo>
                <a:lnTo>
                  <a:pt x="342" y="160"/>
                </a:lnTo>
                <a:lnTo>
                  <a:pt x="352" y="150"/>
                </a:lnTo>
                <a:lnTo>
                  <a:pt x="357" y="150"/>
                </a:lnTo>
                <a:lnTo>
                  <a:pt x="362" y="145"/>
                </a:lnTo>
                <a:lnTo>
                  <a:pt x="365" y="147"/>
                </a:lnTo>
                <a:lnTo>
                  <a:pt x="370" y="140"/>
                </a:lnTo>
                <a:lnTo>
                  <a:pt x="370" y="135"/>
                </a:lnTo>
                <a:lnTo>
                  <a:pt x="362" y="132"/>
                </a:lnTo>
                <a:lnTo>
                  <a:pt x="357" y="135"/>
                </a:lnTo>
                <a:lnTo>
                  <a:pt x="347" y="135"/>
                </a:lnTo>
                <a:lnTo>
                  <a:pt x="345" y="127"/>
                </a:lnTo>
                <a:lnTo>
                  <a:pt x="335" y="122"/>
                </a:lnTo>
                <a:lnTo>
                  <a:pt x="325" y="120"/>
                </a:lnTo>
                <a:lnTo>
                  <a:pt x="317" y="112"/>
                </a:lnTo>
                <a:lnTo>
                  <a:pt x="315" y="105"/>
                </a:lnTo>
                <a:lnTo>
                  <a:pt x="310" y="85"/>
                </a:lnTo>
                <a:lnTo>
                  <a:pt x="305" y="77"/>
                </a:lnTo>
                <a:lnTo>
                  <a:pt x="305" y="70"/>
                </a:lnTo>
                <a:lnTo>
                  <a:pt x="310" y="67"/>
                </a:lnTo>
                <a:lnTo>
                  <a:pt x="310" y="62"/>
                </a:lnTo>
                <a:lnTo>
                  <a:pt x="317" y="57"/>
                </a:lnTo>
                <a:lnTo>
                  <a:pt x="317" y="52"/>
                </a:lnTo>
                <a:lnTo>
                  <a:pt x="310" y="50"/>
                </a:lnTo>
                <a:lnTo>
                  <a:pt x="310" y="45"/>
                </a:lnTo>
                <a:lnTo>
                  <a:pt x="302" y="40"/>
                </a:lnTo>
                <a:lnTo>
                  <a:pt x="295" y="32"/>
                </a:lnTo>
                <a:lnTo>
                  <a:pt x="290" y="27"/>
                </a:lnTo>
                <a:lnTo>
                  <a:pt x="285" y="27"/>
                </a:lnTo>
                <a:lnTo>
                  <a:pt x="280" y="30"/>
                </a:lnTo>
                <a:lnTo>
                  <a:pt x="277" y="27"/>
                </a:lnTo>
                <a:lnTo>
                  <a:pt x="275" y="15"/>
                </a:lnTo>
                <a:lnTo>
                  <a:pt x="287" y="8"/>
                </a:lnTo>
                <a:lnTo>
                  <a:pt x="285" y="3"/>
                </a:lnTo>
                <a:lnTo>
                  <a:pt x="277" y="5"/>
                </a:lnTo>
                <a:lnTo>
                  <a:pt x="272" y="0"/>
                </a:lnTo>
                <a:lnTo>
                  <a:pt x="262" y="5"/>
                </a:lnTo>
                <a:lnTo>
                  <a:pt x="257" y="10"/>
                </a:lnTo>
                <a:lnTo>
                  <a:pt x="250" y="10"/>
                </a:lnTo>
                <a:lnTo>
                  <a:pt x="245" y="18"/>
                </a:lnTo>
                <a:lnTo>
                  <a:pt x="240" y="23"/>
                </a:lnTo>
                <a:lnTo>
                  <a:pt x="252" y="40"/>
                </a:lnTo>
                <a:lnTo>
                  <a:pt x="252" y="50"/>
                </a:lnTo>
                <a:lnTo>
                  <a:pt x="240" y="67"/>
                </a:lnTo>
                <a:lnTo>
                  <a:pt x="247" y="75"/>
                </a:lnTo>
                <a:lnTo>
                  <a:pt x="247" y="80"/>
                </a:lnTo>
                <a:lnTo>
                  <a:pt x="240" y="92"/>
                </a:lnTo>
                <a:lnTo>
                  <a:pt x="230" y="92"/>
                </a:lnTo>
                <a:lnTo>
                  <a:pt x="220" y="87"/>
                </a:lnTo>
                <a:lnTo>
                  <a:pt x="212" y="92"/>
                </a:lnTo>
                <a:lnTo>
                  <a:pt x="217" y="100"/>
                </a:lnTo>
                <a:lnTo>
                  <a:pt x="222" y="102"/>
                </a:lnTo>
                <a:lnTo>
                  <a:pt x="225" y="110"/>
                </a:lnTo>
                <a:lnTo>
                  <a:pt x="225" y="115"/>
                </a:lnTo>
                <a:lnTo>
                  <a:pt x="217" y="117"/>
                </a:lnTo>
                <a:lnTo>
                  <a:pt x="212" y="117"/>
                </a:lnTo>
                <a:lnTo>
                  <a:pt x="210" y="122"/>
                </a:lnTo>
                <a:lnTo>
                  <a:pt x="210" y="130"/>
                </a:lnTo>
                <a:lnTo>
                  <a:pt x="207" y="137"/>
                </a:lnTo>
                <a:lnTo>
                  <a:pt x="207" y="140"/>
                </a:lnTo>
                <a:lnTo>
                  <a:pt x="205" y="142"/>
                </a:lnTo>
                <a:lnTo>
                  <a:pt x="207" y="155"/>
                </a:lnTo>
                <a:lnTo>
                  <a:pt x="202" y="162"/>
                </a:lnTo>
                <a:lnTo>
                  <a:pt x="197" y="157"/>
                </a:lnTo>
                <a:lnTo>
                  <a:pt x="192" y="157"/>
                </a:lnTo>
                <a:lnTo>
                  <a:pt x="192" y="160"/>
                </a:lnTo>
                <a:lnTo>
                  <a:pt x="187" y="160"/>
                </a:lnTo>
                <a:lnTo>
                  <a:pt x="182" y="157"/>
                </a:lnTo>
                <a:lnTo>
                  <a:pt x="178" y="157"/>
                </a:lnTo>
                <a:lnTo>
                  <a:pt x="175" y="162"/>
                </a:lnTo>
                <a:lnTo>
                  <a:pt x="165" y="170"/>
                </a:lnTo>
                <a:lnTo>
                  <a:pt x="170" y="170"/>
                </a:lnTo>
                <a:lnTo>
                  <a:pt x="168" y="175"/>
                </a:lnTo>
                <a:lnTo>
                  <a:pt x="158" y="180"/>
                </a:lnTo>
                <a:lnTo>
                  <a:pt x="153" y="177"/>
                </a:lnTo>
                <a:lnTo>
                  <a:pt x="148" y="177"/>
                </a:lnTo>
                <a:lnTo>
                  <a:pt x="145" y="182"/>
                </a:lnTo>
                <a:lnTo>
                  <a:pt x="145" y="187"/>
                </a:lnTo>
                <a:lnTo>
                  <a:pt x="140" y="187"/>
                </a:lnTo>
                <a:lnTo>
                  <a:pt x="135" y="192"/>
                </a:lnTo>
                <a:lnTo>
                  <a:pt x="135" y="200"/>
                </a:lnTo>
                <a:lnTo>
                  <a:pt x="138" y="210"/>
                </a:lnTo>
                <a:lnTo>
                  <a:pt x="138" y="215"/>
                </a:lnTo>
                <a:lnTo>
                  <a:pt x="140" y="220"/>
                </a:lnTo>
                <a:lnTo>
                  <a:pt x="138" y="225"/>
                </a:lnTo>
                <a:lnTo>
                  <a:pt x="128" y="230"/>
                </a:lnTo>
                <a:lnTo>
                  <a:pt x="120" y="230"/>
                </a:lnTo>
                <a:lnTo>
                  <a:pt x="110" y="230"/>
                </a:lnTo>
                <a:lnTo>
                  <a:pt x="95" y="230"/>
                </a:lnTo>
                <a:lnTo>
                  <a:pt x="88" y="232"/>
                </a:lnTo>
                <a:lnTo>
                  <a:pt x="83" y="235"/>
                </a:lnTo>
                <a:lnTo>
                  <a:pt x="75" y="235"/>
                </a:lnTo>
                <a:lnTo>
                  <a:pt x="65" y="237"/>
                </a:lnTo>
                <a:lnTo>
                  <a:pt x="35" y="240"/>
                </a:lnTo>
                <a:lnTo>
                  <a:pt x="0" y="227"/>
                </a:lnTo>
                <a:lnTo>
                  <a:pt x="0" y="227"/>
                </a:lnTo>
                <a:lnTo>
                  <a:pt x="13" y="247"/>
                </a:lnTo>
                <a:lnTo>
                  <a:pt x="15" y="252"/>
                </a:lnTo>
                <a:lnTo>
                  <a:pt x="23" y="260"/>
                </a:lnTo>
                <a:lnTo>
                  <a:pt x="30" y="265"/>
                </a:lnTo>
                <a:lnTo>
                  <a:pt x="33" y="267"/>
                </a:lnTo>
                <a:lnTo>
                  <a:pt x="40" y="267"/>
                </a:lnTo>
                <a:lnTo>
                  <a:pt x="45" y="270"/>
                </a:lnTo>
                <a:lnTo>
                  <a:pt x="45" y="272"/>
                </a:lnTo>
                <a:lnTo>
                  <a:pt x="53" y="272"/>
                </a:lnTo>
                <a:lnTo>
                  <a:pt x="53" y="282"/>
                </a:lnTo>
                <a:lnTo>
                  <a:pt x="55" y="287"/>
                </a:lnTo>
                <a:lnTo>
                  <a:pt x="55" y="295"/>
                </a:lnTo>
                <a:lnTo>
                  <a:pt x="58" y="300"/>
                </a:lnTo>
                <a:lnTo>
                  <a:pt x="65" y="300"/>
                </a:lnTo>
                <a:lnTo>
                  <a:pt x="70" y="305"/>
                </a:lnTo>
                <a:lnTo>
                  <a:pt x="73" y="315"/>
                </a:lnTo>
                <a:lnTo>
                  <a:pt x="68" y="317"/>
                </a:lnTo>
                <a:lnTo>
                  <a:pt x="60" y="315"/>
                </a:lnTo>
                <a:lnTo>
                  <a:pt x="48" y="319"/>
                </a:lnTo>
                <a:lnTo>
                  <a:pt x="45" y="322"/>
                </a:lnTo>
                <a:lnTo>
                  <a:pt x="38" y="324"/>
                </a:lnTo>
                <a:lnTo>
                  <a:pt x="35" y="329"/>
                </a:lnTo>
                <a:lnTo>
                  <a:pt x="35" y="334"/>
                </a:lnTo>
                <a:lnTo>
                  <a:pt x="33" y="339"/>
                </a:lnTo>
                <a:lnTo>
                  <a:pt x="35" y="347"/>
                </a:lnTo>
                <a:lnTo>
                  <a:pt x="33" y="357"/>
                </a:lnTo>
                <a:lnTo>
                  <a:pt x="33" y="362"/>
                </a:lnTo>
                <a:lnTo>
                  <a:pt x="38" y="362"/>
                </a:lnTo>
                <a:lnTo>
                  <a:pt x="35" y="364"/>
                </a:lnTo>
                <a:lnTo>
                  <a:pt x="38" y="364"/>
                </a:lnTo>
                <a:lnTo>
                  <a:pt x="48" y="362"/>
                </a:lnTo>
                <a:lnTo>
                  <a:pt x="53" y="359"/>
                </a:lnTo>
                <a:lnTo>
                  <a:pt x="53" y="362"/>
                </a:lnTo>
                <a:lnTo>
                  <a:pt x="55" y="362"/>
                </a:lnTo>
                <a:lnTo>
                  <a:pt x="60" y="359"/>
                </a:lnTo>
                <a:lnTo>
                  <a:pt x="65" y="359"/>
                </a:lnTo>
                <a:lnTo>
                  <a:pt x="68" y="359"/>
                </a:lnTo>
                <a:lnTo>
                  <a:pt x="73" y="359"/>
                </a:lnTo>
                <a:lnTo>
                  <a:pt x="75" y="359"/>
                </a:lnTo>
                <a:lnTo>
                  <a:pt x="78" y="359"/>
                </a:lnTo>
                <a:lnTo>
                  <a:pt x="78" y="357"/>
                </a:lnTo>
                <a:lnTo>
                  <a:pt x="80" y="354"/>
                </a:lnTo>
                <a:lnTo>
                  <a:pt x="85" y="357"/>
                </a:lnTo>
                <a:lnTo>
                  <a:pt x="90" y="357"/>
                </a:lnTo>
                <a:lnTo>
                  <a:pt x="90" y="354"/>
                </a:lnTo>
                <a:lnTo>
                  <a:pt x="93" y="354"/>
                </a:lnTo>
                <a:lnTo>
                  <a:pt x="95" y="359"/>
                </a:lnTo>
                <a:lnTo>
                  <a:pt x="100" y="359"/>
                </a:lnTo>
                <a:lnTo>
                  <a:pt x="103" y="362"/>
                </a:lnTo>
                <a:lnTo>
                  <a:pt x="108" y="362"/>
                </a:lnTo>
                <a:lnTo>
                  <a:pt x="113" y="354"/>
                </a:lnTo>
                <a:lnTo>
                  <a:pt x="120" y="354"/>
                </a:lnTo>
                <a:lnTo>
                  <a:pt x="125" y="357"/>
                </a:lnTo>
                <a:lnTo>
                  <a:pt x="128" y="354"/>
                </a:lnTo>
                <a:lnTo>
                  <a:pt x="133" y="354"/>
                </a:lnTo>
                <a:lnTo>
                  <a:pt x="133" y="352"/>
                </a:lnTo>
                <a:lnTo>
                  <a:pt x="135" y="354"/>
                </a:lnTo>
                <a:lnTo>
                  <a:pt x="143" y="354"/>
                </a:lnTo>
                <a:lnTo>
                  <a:pt x="150" y="352"/>
                </a:lnTo>
                <a:lnTo>
                  <a:pt x="158" y="352"/>
                </a:lnTo>
                <a:lnTo>
                  <a:pt x="163" y="357"/>
                </a:lnTo>
                <a:lnTo>
                  <a:pt x="165" y="362"/>
                </a:lnTo>
                <a:lnTo>
                  <a:pt x="165" y="367"/>
                </a:lnTo>
                <a:lnTo>
                  <a:pt x="165" y="367"/>
                </a:lnTo>
                <a:lnTo>
                  <a:pt x="163" y="367"/>
                </a:lnTo>
                <a:lnTo>
                  <a:pt x="163" y="369"/>
                </a:lnTo>
                <a:lnTo>
                  <a:pt x="168" y="369"/>
                </a:lnTo>
                <a:lnTo>
                  <a:pt x="175" y="367"/>
                </a:lnTo>
                <a:lnTo>
                  <a:pt x="175" y="372"/>
                </a:lnTo>
                <a:lnTo>
                  <a:pt x="182" y="379"/>
                </a:lnTo>
                <a:lnTo>
                  <a:pt x="182" y="389"/>
                </a:lnTo>
                <a:lnTo>
                  <a:pt x="185" y="389"/>
                </a:lnTo>
                <a:lnTo>
                  <a:pt x="185" y="392"/>
                </a:lnTo>
                <a:lnTo>
                  <a:pt x="182" y="394"/>
                </a:lnTo>
                <a:lnTo>
                  <a:pt x="182" y="394"/>
                </a:lnTo>
                <a:lnTo>
                  <a:pt x="185" y="394"/>
                </a:lnTo>
                <a:lnTo>
                  <a:pt x="187" y="399"/>
                </a:lnTo>
                <a:lnTo>
                  <a:pt x="192" y="399"/>
                </a:lnTo>
                <a:lnTo>
                  <a:pt x="200" y="399"/>
                </a:lnTo>
                <a:lnTo>
                  <a:pt x="210" y="404"/>
                </a:lnTo>
                <a:lnTo>
                  <a:pt x="210" y="407"/>
                </a:lnTo>
                <a:lnTo>
                  <a:pt x="212" y="404"/>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46" name="Freeform 187"/>
          <p:cNvSpPr>
            <a:spLocks noEditPoints="1"/>
          </p:cNvSpPr>
          <p:nvPr/>
        </p:nvSpPr>
        <p:spPr bwMode="auto">
          <a:xfrm>
            <a:off x="6799263" y="3886200"/>
            <a:ext cx="233362" cy="190500"/>
          </a:xfrm>
          <a:custGeom>
            <a:avLst/>
            <a:gdLst>
              <a:gd name="T0" fmla="*/ 3 w 147"/>
              <a:gd name="T1" fmla="*/ 20 h 120"/>
              <a:gd name="T2" fmla="*/ 27 w 147"/>
              <a:gd name="T3" fmla="*/ 25 h 120"/>
              <a:gd name="T4" fmla="*/ 47 w 147"/>
              <a:gd name="T5" fmla="*/ 30 h 120"/>
              <a:gd name="T6" fmla="*/ 45 w 147"/>
              <a:gd name="T7" fmla="*/ 15 h 120"/>
              <a:gd name="T8" fmla="*/ 40 w 147"/>
              <a:gd name="T9" fmla="*/ 3 h 120"/>
              <a:gd name="T10" fmla="*/ 60 w 147"/>
              <a:gd name="T11" fmla="*/ 13 h 120"/>
              <a:gd name="T12" fmla="*/ 77 w 147"/>
              <a:gd name="T13" fmla="*/ 20 h 120"/>
              <a:gd name="T14" fmla="*/ 87 w 147"/>
              <a:gd name="T15" fmla="*/ 13 h 120"/>
              <a:gd name="T16" fmla="*/ 100 w 147"/>
              <a:gd name="T17" fmla="*/ 5 h 120"/>
              <a:gd name="T18" fmla="*/ 110 w 147"/>
              <a:gd name="T19" fmla="*/ 20 h 120"/>
              <a:gd name="T20" fmla="*/ 122 w 147"/>
              <a:gd name="T21" fmla="*/ 35 h 120"/>
              <a:gd name="T22" fmla="*/ 130 w 147"/>
              <a:gd name="T23" fmla="*/ 43 h 120"/>
              <a:gd name="T24" fmla="*/ 142 w 147"/>
              <a:gd name="T25" fmla="*/ 45 h 120"/>
              <a:gd name="T26" fmla="*/ 142 w 147"/>
              <a:gd name="T27" fmla="*/ 50 h 120"/>
              <a:gd name="T28" fmla="*/ 132 w 147"/>
              <a:gd name="T29" fmla="*/ 53 h 120"/>
              <a:gd name="T30" fmla="*/ 125 w 147"/>
              <a:gd name="T31" fmla="*/ 68 h 120"/>
              <a:gd name="T32" fmla="*/ 122 w 147"/>
              <a:gd name="T33" fmla="*/ 75 h 120"/>
              <a:gd name="T34" fmla="*/ 125 w 147"/>
              <a:gd name="T35" fmla="*/ 85 h 120"/>
              <a:gd name="T36" fmla="*/ 122 w 147"/>
              <a:gd name="T37" fmla="*/ 90 h 120"/>
              <a:gd name="T38" fmla="*/ 120 w 147"/>
              <a:gd name="T39" fmla="*/ 103 h 120"/>
              <a:gd name="T40" fmla="*/ 120 w 147"/>
              <a:gd name="T41" fmla="*/ 95 h 120"/>
              <a:gd name="T42" fmla="*/ 115 w 147"/>
              <a:gd name="T43" fmla="*/ 93 h 120"/>
              <a:gd name="T44" fmla="*/ 115 w 147"/>
              <a:gd name="T45" fmla="*/ 103 h 120"/>
              <a:gd name="T46" fmla="*/ 115 w 147"/>
              <a:gd name="T47" fmla="*/ 110 h 120"/>
              <a:gd name="T48" fmla="*/ 112 w 147"/>
              <a:gd name="T49" fmla="*/ 120 h 120"/>
              <a:gd name="T50" fmla="*/ 107 w 147"/>
              <a:gd name="T51" fmla="*/ 118 h 120"/>
              <a:gd name="T52" fmla="*/ 92 w 147"/>
              <a:gd name="T53" fmla="*/ 105 h 120"/>
              <a:gd name="T54" fmla="*/ 95 w 147"/>
              <a:gd name="T55" fmla="*/ 95 h 120"/>
              <a:gd name="T56" fmla="*/ 97 w 147"/>
              <a:gd name="T57" fmla="*/ 90 h 120"/>
              <a:gd name="T58" fmla="*/ 92 w 147"/>
              <a:gd name="T59" fmla="*/ 83 h 120"/>
              <a:gd name="T60" fmla="*/ 90 w 147"/>
              <a:gd name="T61" fmla="*/ 80 h 120"/>
              <a:gd name="T62" fmla="*/ 82 w 147"/>
              <a:gd name="T63" fmla="*/ 85 h 120"/>
              <a:gd name="T64" fmla="*/ 75 w 147"/>
              <a:gd name="T65" fmla="*/ 90 h 120"/>
              <a:gd name="T66" fmla="*/ 67 w 147"/>
              <a:gd name="T67" fmla="*/ 98 h 120"/>
              <a:gd name="T68" fmla="*/ 62 w 147"/>
              <a:gd name="T69" fmla="*/ 100 h 120"/>
              <a:gd name="T70" fmla="*/ 57 w 147"/>
              <a:gd name="T71" fmla="*/ 105 h 120"/>
              <a:gd name="T72" fmla="*/ 52 w 147"/>
              <a:gd name="T73" fmla="*/ 103 h 120"/>
              <a:gd name="T74" fmla="*/ 55 w 147"/>
              <a:gd name="T75" fmla="*/ 95 h 120"/>
              <a:gd name="T76" fmla="*/ 57 w 147"/>
              <a:gd name="T77" fmla="*/ 88 h 120"/>
              <a:gd name="T78" fmla="*/ 42 w 147"/>
              <a:gd name="T79" fmla="*/ 80 h 120"/>
              <a:gd name="T80" fmla="*/ 27 w 147"/>
              <a:gd name="T81" fmla="*/ 68 h 120"/>
              <a:gd name="T82" fmla="*/ 32 w 147"/>
              <a:gd name="T83" fmla="*/ 58 h 120"/>
              <a:gd name="T84" fmla="*/ 20 w 147"/>
              <a:gd name="T85" fmla="*/ 43 h 120"/>
              <a:gd name="T86" fmla="*/ 17 w 147"/>
              <a:gd name="T87" fmla="*/ 33 h 120"/>
              <a:gd name="T88" fmla="*/ 3 w 147"/>
              <a:gd name="T89" fmla="*/ 25 h 120"/>
              <a:gd name="T90" fmla="*/ 47 w 147"/>
              <a:gd name="T91" fmla="*/ 105 h 120"/>
              <a:gd name="T92" fmla="*/ 27 w 147"/>
              <a:gd name="T93" fmla="*/ 85 h 120"/>
              <a:gd name="T94" fmla="*/ 20 w 147"/>
              <a:gd name="T95" fmla="*/ 78 h 120"/>
              <a:gd name="T96" fmla="*/ 10 w 147"/>
              <a:gd name="T97" fmla="*/ 73 h 120"/>
              <a:gd name="T98" fmla="*/ 0 w 147"/>
              <a:gd name="T99" fmla="*/ 75 h 120"/>
              <a:gd name="T100" fmla="*/ 3 w 147"/>
              <a:gd name="T101" fmla="*/ 78 h 120"/>
              <a:gd name="T102" fmla="*/ 10 w 147"/>
              <a:gd name="T103" fmla="*/ 80 h 120"/>
              <a:gd name="T104" fmla="*/ 12 w 147"/>
              <a:gd name="T105" fmla="*/ 90 h 120"/>
              <a:gd name="T106" fmla="*/ 25 w 147"/>
              <a:gd name="T107" fmla="*/ 100 h 120"/>
              <a:gd name="T108" fmla="*/ 37 w 147"/>
              <a:gd name="T109" fmla="*/ 105 h 120"/>
              <a:gd name="T110" fmla="*/ 47 w 147"/>
              <a:gd name="T111" fmla="*/ 10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7" h="120">
                <a:moveTo>
                  <a:pt x="3" y="25"/>
                </a:moveTo>
                <a:lnTo>
                  <a:pt x="3" y="20"/>
                </a:lnTo>
                <a:lnTo>
                  <a:pt x="12" y="18"/>
                </a:lnTo>
                <a:lnTo>
                  <a:pt x="27" y="25"/>
                </a:lnTo>
                <a:lnTo>
                  <a:pt x="37" y="25"/>
                </a:lnTo>
                <a:lnTo>
                  <a:pt x="47" y="30"/>
                </a:lnTo>
                <a:lnTo>
                  <a:pt x="47" y="23"/>
                </a:lnTo>
                <a:lnTo>
                  <a:pt x="45" y="15"/>
                </a:lnTo>
                <a:lnTo>
                  <a:pt x="37" y="13"/>
                </a:lnTo>
                <a:lnTo>
                  <a:pt x="40" y="3"/>
                </a:lnTo>
                <a:lnTo>
                  <a:pt x="47" y="3"/>
                </a:lnTo>
                <a:lnTo>
                  <a:pt x="60" y="13"/>
                </a:lnTo>
                <a:lnTo>
                  <a:pt x="65" y="20"/>
                </a:lnTo>
                <a:lnTo>
                  <a:pt x="77" y="20"/>
                </a:lnTo>
                <a:lnTo>
                  <a:pt x="77" y="15"/>
                </a:lnTo>
                <a:lnTo>
                  <a:pt x="87" y="13"/>
                </a:lnTo>
                <a:lnTo>
                  <a:pt x="95" y="0"/>
                </a:lnTo>
                <a:lnTo>
                  <a:pt x="100" y="5"/>
                </a:lnTo>
                <a:lnTo>
                  <a:pt x="110" y="15"/>
                </a:lnTo>
                <a:lnTo>
                  <a:pt x="110" y="20"/>
                </a:lnTo>
                <a:lnTo>
                  <a:pt x="112" y="28"/>
                </a:lnTo>
                <a:lnTo>
                  <a:pt x="122" y="35"/>
                </a:lnTo>
                <a:lnTo>
                  <a:pt x="122" y="38"/>
                </a:lnTo>
                <a:lnTo>
                  <a:pt x="130" y="43"/>
                </a:lnTo>
                <a:lnTo>
                  <a:pt x="135" y="43"/>
                </a:lnTo>
                <a:lnTo>
                  <a:pt x="142" y="45"/>
                </a:lnTo>
                <a:lnTo>
                  <a:pt x="147" y="50"/>
                </a:lnTo>
                <a:lnTo>
                  <a:pt x="142" y="50"/>
                </a:lnTo>
                <a:lnTo>
                  <a:pt x="140" y="53"/>
                </a:lnTo>
                <a:lnTo>
                  <a:pt x="132" y="53"/>
                </a:lnTo>
                <a:lnTo>
                  <a:pt x="125" y="60"/>
                </a:lnTo>
                <a:lnTo>
                  <a:pt x="125" y="68"/>
                </a:lnTo>
                <a:lnTo>
                  <a:pt x="125" y="73"/>
                </a:lnTo>
                <a:lnTo>
                  <a:pt x="122" y="75"/>
                </a:lnTo>
                <a:lnTo>
                  <a:pt x="122" y="80"/>
                </a:lnTo>
                <a:lnTo>
                  <a:pt x="125" y="85"/>
                </a:lnTo>
                <a:lnTo>
                  <a:pt x="125" y="88"/>
                </a:lnTo>
                <a:lnTo>
                  <a:pt x="122" y="90"/>
                </a:lnTo>
                <a:lnTo>
                  <a:pt x="122" y="100"/>
                </a:lnTo>
                <a:lnTo>
                  <a:pt x="120" y="103"/>
                </a:lnTo>
                <a:lnTo>
                  <a:pt x="117" y="100"/>
                </a:lnTo>
                <a:lnTo>
                  <a:pt x="120" y="95"/>
                </a:lnTo>
                <a:lnTo>
                  <a:pt x="117" y="90"/>
                </a:lnTo>
                <a:lnTo>
                  <a:pt x="115" y="93"/>
                </a:lnTo>
                <a:lnTo>
                  <a:pt x="112" y="95"/>
                </a:lnTo>
                <a:lnTo>
                  <a:pt x="115" y="103"/>
                </a:lnTo>
                <a:lnTo>
                  <a:pt x="115" y="108"/>
                </a:lnTo>
                <a:lnTo>
                  <a:pt x="115" y="110"/>
                </a:lnTo>
                <a:lnTo>
                  <a:pt x="115" y="120"/>
                </a:lnTo>
                <a:lnTo>
                  <a:pt x="112" y="120"/>
                </a:lnTo>
                <a:lnTo>
                  <a:pt x="107" y="120"/>
                </a:lnTo>
                <a:lnTo>
                  <a:pt x="107" y="118"/>
                </a:lnTo>
                <a:lnTo>
                  <a:pt x="102" y="115"/>
                </a:lnTo>
                <a:lnTo>
                  <a:pt x="92" y="105"/>
                </a:lnTo>
                <a:lnTo>
                  <a:pt x="102" y="100"/>
                </a:lnTo>
                <a:lnTo>
                  <a:pt x="95" y="95"/>
                </a:lnTo>
                <a:lnTo>
                  <a:pt x="95" y="93"/>
                </a:lnTo>
                <a:lnTo>
                  <a:pt x="97" y="90"/>
                </a:lnTo>
                <a:lnTo>
                  <a:pt x="95" y="88"/>
                </a:lnTo>
                <a:lnTo>
                  <a:pt x="92" y="83"/>
                </a:lnTo>
                <a:lnTo>
                  <a:pt x="90" y="83"/>
                </a:lnTo>
                <a:lnTo>
                  <a:pt x="90" y="80"/>
                </a:lnTo>
                <a:lnTo>
                  <a:pt x="87" y="80"/>
                </a:lnTo>
                <a:lnTo>
                  <a:pt x="82" y="85"/>
                </a:lnTo>
                <a:lnTo>
                  <a:pt x="77" y="85"/>
                </a:lnTo>
                <a:lnTo>
                  <a:pt x="75" y="90"/>
                </a:lnTo>
                <a:lnTo>
                  <a:pt x="70" y="90"/>
                </a:lnTo>
                <a:lnTo>
                  <a:pt x="67" y="98"/>
                </a:lnTo>
                <a:lnTo>
                  <a:pt x="62" y="98"/>
                </a:lnTo>
                <a:lnTo>
                  <a:pt x="62" y="100"/>
                </a:lnTo>
                <a:lnTo>
                  <a:pt x="60" y="103"/>
                </a:lnTo>
                <a:lnTo>
                  <a:pt x="57" y="105"/>
                </a:lnTo>
                <a:lnTo>
                  <a:pt x="52" y="103"/>
                </a:lnTo>
                <a:lnTo>
                  <a:pt x="52" y="103"/>
                </a:lnTo>
                <a:lnTo>
                  <a:pt x="52" y="98"/>
                </a:lnTo>
                <a:lnTo>
                  <a:pt x="55" y="95"/>
                </a:lnTo>
                <a:lnTo>
                  <a:pt x="50" y="88"/>
                </a:lnTo>
                <a:lnTo>
                  <a:pt x="57" y="88"/>
                </a:lnTo>
                <a:lnTo>
                  <a:pt x="52" y="83"/>
                </a:lnTo>
                <a:lnTo>
                  <a:pt x="42" y="80"/>
                </a:lnTo>
                <a:lnTo>
                  <a:pt x="32" y="75"/>
                </a:lnTo>
                <a:lnTo>
                  <a:pt x="27" y="68"/>
                </a:lnTo>
                <a:lnTo>
                  <a:pt x="32" y="63"/>
                </a:lnTo>
                <a:lnTo>
                  <a:pt x="32" y="58"/>
                </a:lnTo>
                <a:lnTo>
                  <a:pt x="20" y="48"/>
                </a:lnTo>
                <a:lnTo>
                  <a:pt x="20" y="43"/>
                </a:lnTo>
                <a:lnTo>
                  <a:pt x="22" y="38"/>
                </a:lnTo>
                <a:lnTo>
                  <a:pt x="17" y="33"/>
                </a:lnTo>
                <a:lnTo>
                  <a:pt x="7" y="30"/>
                </a:lnTo>
                <a:lnTo>
                  <a:pt x="3" y="25"/>
                </a:lnTo>
                <a:lnTo>
                  <a:pt x="3" y="25"/>
                </a:lnTo>
                <a:close/>
                <a:moveTo>
                  <a:pt x="47" y="105"/>
                </a:moveTo>
                <a:lnTo>
                  <a:pt x="35" y="88"/>
                </a:lnTo>
                <a:lnTo>
                  <a:pt x="27" y="85"/>
                </a:lnTo>
                <a:lnTo>
                  <a:pt x="25" y="78"/>
                </a:lnTo>
                <a:lnTo>
                  <a:pt x="20" y="78"/>
                </a:lnTo>
                <a:lnTo>
                  <a:pt x="17" y="80"/>
                </a:lnTo>
                <a:lnTo>
                  <a:pt x="10" y="73"/>
                </a:lnTo>
                <a:lnTo>
                  <a:pt x="5" y="75"/>
                </a:lnTo>
                <a:lnTo>
                  <a:pt x="0" y="75"/>
                </a:lnTo>
                <a:lnTo>
                  <a:pt x="3" y="78"/>
                </a:lnTo>
                <a:lnTo>
                  <a:pt x="3" y="78"/>
                </a:lnTo>
                <a:lnTo>
                  <a:pt x="7" y="80"/>
                </a:lnTo>
                <a:lnTo>
                  <a:pt x="10" y="80"/>
                </a:lnTo>
                <a:lnTo>
                  <a:pt x="12" y="85"/>
                </a:lnTo>
                <a:lnTo>
                  <a:pt x="12" y="90"/>
                </a:lnTo>
                <a:lnTo>
                  <a:pt x="22" y="95"/>
                </a:lnTo>
                <a:lnTo>
                  <a:pt x="25" y="100"/>
                </a:lnTo>
                <a:lnTo>
                  <a:pt x="30" y="105"/>
                </a:lnTo>
                <a:lnTo>
                  <a:pt x="37" y="105"/>
                </a:lnTo>
                <a:lnTo>
                  <a:pt x="45" y="110"/>
                </a:lnTo>
                <a:lnTo>
                  <a:pt x="47" y="10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47" name="Freeform 188"/>
          <p:cNvSpPr>
            <a:spLocks/>
          </p:cNvSpPr>
          <p:nvPr/>
        </p:nvSpPr>
        <p:spPr bwMode="auto">
          <a:xfrm>
            <a:off x="6780213" y="4010025"/>
            <a:ext cx="866775" cy="692150"/>
          </a:xfrm>
          <a:custGeom>
            <a:avLst/>
            <a:gdLst>
              <a:gd name="T0" fmla="*/ 24 w 546"/>
              <a:gd name="T1" fmla="*/ 7 h 436"/>
              <a:gd name="T2" fmla="*/ 49 w 546"/>
              <a:gd name="T3" fmla="*/ 27 h 436"/>
              <a:gd name="T4" fmla="*/ 69 w 546"/>
              <a:gd name="T5" fmla="*/ 27 h 436"/>
              <a:gd name="T6" fmla="*/ 82 w 546"/>
              <a:gd name="T7" fmla="*/ 12 h 436"/>
              <a:gd name="T8" fmla="*/ 102 w 546"/>
              <a:gd name="T9" fmla="*/ 2 h 436"/>
              <a:gd name="T10" fmla="*/ 107 w 546"/>
              <a:gd name="T11" fmla="*/ 15 h 436"/>
              <a:gd name="T12" fmla="*/ 119 w 546"/>
              <a:gd name="T13" fmla="*/ 40 h 436"/>
              <a:gd name="T14" fmla="*/ 132 w 546"/>
              <a:gd name="T15" fmla="*/ 50 h 436"/>
              <a:gd name="T16" fmla="*/ 142 w 546"/>
              <a:gd name="T17" fmla="*/ 70 h 436"/>
              <a:gd name="T18" fmla="*/ 169 w 546"/>
              <a:gd name="T19" fmla="*/ 75 h 436"/>
              <a:gd name="T20" fmla="*/ 209 w 546"/>
              <a:gd name="T21" fmla="*/ 95 h 436"/>
              <a:gd name="T22" fmla="*/ 269 w 546"/>
              <a:gd name="T23" fmla="*/ 90 h 436"/>
              <a:gd name="T24" fmla="*/ 284 w 546"/>
              <a:gd name="T25" fmla="*/ 67 h 436"/>
              <a:gd name="T26" fmla="*/ 316 w 546"/>
              <a:gd name="T27" fmla="*/ 42 h 436"/>
              <a:gd name="T28" fmla="*/ 344 w 546"/>
              <a:gd name="T29" fmla="*/ 40 h 436"/>
              <a:gd name="T30" fmla="*/ 386 w 546"/>
              <a:gd name="T31" fmla="*/ 57 h 436"/>
              <a:gd name="T32" fmla="*/ 411 w 546"/>
              <a:gd name="T33" fmla="*/ 70 h 436"/>
              <a:gd name="T34" fmla="*/ 456 w 546"/>
              <a:gd name="T35" fmla="*/ 99 h 436"/>
              <a:gd name="T36" fmla="*/ 458 w 546"/>
              <a:gd name="T37" fmla="*/ 124 h 436"/>
              <a:gd name="T38" fmla="*/ 458 w 546"/>
              <a:gd name="T39" fmla="*/ 142 h 436"/>
              <a:gd name="T40" fmla="*/ 448 w 546"/>
              <a:gd name="T41" fmla="*/ 162 h 436"/>
              <a:gd name="T42" fmla="*/ 461 w 546"/>
              <a:gd name="T43" fmla="*/ 182 h 436"/>
              <a:gd name="T44" fmla="*/ 461 w 546"/>
              <a:gd name="T45" fmla="*/ 227 h 436"/>
              <a:gd name="T46" fmla="*/ 491 w 546"/>
              <a:gd name="T47" fmla="*/ 259 h 436"/>
              <a:gd name="T48" fmla="*/ 488 w 546"/>
              <a:gd name="T49" fmla="*/ 324 h 436"/>
              <a:gd name="T50" fmla="*/ 518 w 546"/>
              <a:gd name="T51" fmla="*/ 342 h 436"/>
              <a:gd name="T52" fmla="*/ 528 w 546"/>
              <a:gd name="T53" fmla="*/ 367 h 436"/>
              <a:gd name="T54" fmla="*/ 541 w 546"/>
              <a:gd name="T55" fmla="*/ 389 h 436"/>
              <a:gd name="T56" fmla="*/ 508 w 546"/>
              <a:gd name="T57" fmla="*/ 401 h 436"/>
              <a:gd name="T58" fmla="*/ 506 w 546"/>
              <a:gd name="T59" fmla="*/ 434 h 436"/>
              <a:gd name="T60" fmla="*/ 483 w 546"/>
              <a:gd name="T61" fmla="*/ 431 h 436"/>
              <a:gd name="T62" fmla="*/ 471 w 546"/>
              <a:gd name="T63" fmla="*/ 429 h 436"/>
              <a:gd name="T64" fmla="*/ 431 w 546"/>
              <a:gd name="T65" fmla="*/ 426 h 436"/>
              <a:gd name="T66" fmla="*/ 404 w 546"/>
              <a:gd name="T67" fmla="*/ 419 h 436"/>
              <a:gd name="T68" fmla="*/ 381 w 546"/>
              <a:gd name="T69" fmla="*/ 399 h 436"/>
              <a:gd name="T70" fmla="*/ 369 w 546"/>
              <a:gd name="T71" fmla="*/ 377 h 436"/>
              <a:gd name="T72" fmla="*/ 341 w 546"/>
              <a:gd name="T73" fmla="*/ 382 h 436"/>
              <a:gd name="T74" fmla="*/ 301 w 546"/>
              <a:gd name="T75" fmla="*/ 389 h 436"/>
              <a:gd name="T76" fmla="*/ 276 w 546"/>
              <a:gd name="T77" fmla="*/ 379 h 436"/>
              <a:gd name="T78" fmla="*/ 259 w 546"/>
              <a:gd name="T79" fmla="*/ 364 h 436"/>
              <a:gd name="T80" fmla="*/ 229 w 546"/>
              <a:gd name="T81" fmla="*/ 359 h 436"/>
              <a:gd name="T82" fmla="*/ 209 w 546"/>
              <a:gd name="T83" fmla="*/ 329 h 436"/>
              <a:gd name="T84" fmla="*/ 207 w 546"/>
              <a:gd name="T85" fmla="*/ 324 h 436"/>
              <a:gd name="T86" fmla="*/ 187 w 546"/>
              <a:gd name="T87" fmla="*/ 292 h 436"/>
              <a:gd name="T88" fmla="*/ 169 w 546"/>
              <a:gd name="T89" fmla="*/ 292 h 436"/>
              <a:gd name="T90" fmla="*/ 159 w 546"/>
              <a:gd name="T91" fmla="*/ 287 h 436"/>
              <a:gd name="T92" fmla="*/ 154 w 546"/>
              <a:gd name="T93" fmla="*/ 297 h 436"/>
              <a:gd name="T94" fmla="*/ 139 w 546"/>
              <a:gd name="T95" fmla="*/ 287 h 436"/>
              <a:gd name="T96" fmla="*/ 122 w 546"/>
              <a:gd name="T97" fmla="*/ 252 h 436"/>
              <a:gd name="T98" fmla="*/ 109 w 546"/>
              <a:gd name="T99" fmla="*/ 219 h 436"/>
              <a:gd name="T100" fmla="*/ 74 w 546"/>
              <a:gd name="T101" fmla="*/ 207 h 436"/>
              <a:gd name="T102" fmla="*/ 69 w 546"/>
              <a:gd name="T103" fmla="*/ 187 h 436"/>
              <a:gd name="T104" fmla="*/ 59 w 546"/>
              <a:gd name="T105" fmla="*/ 174 h 436"/>
              <a:gd name="T106" fmla="*/ 62 w 546"/>
              <a:gd name="T107" fmla="*/ 149 h 436"/>
              <a:gd name="T108" fmla="*/ 67 w 546"/>
              <a:gd name="T109" fmla="*/ 129 h 436"/>
              <a:gd name="T110" fmla="*/ 72 w 546"/>
              <a:gd name="T111" fmla="*/ 122 h 436"/>
              <a:gd name="T112" fmla="*/ 44 w 546"/>
              <a:gd name="T113" fmla="*/ 114 h 436"/>
              <a:gd name="T114" fmla="*/ 32 w 546"/>
              <a:gd name="T115" fmla="*/ 92 h 436"/>
              <a:gd name="T116" fmla="*/ 22 w 546"/>
              <a:gd name="T117" fmla="*/ 75 h 436"/>
              <a:gd name="T118" fmla="*/ 15 w 546"/>
              <a:gd name="T119" fmla="*/ 42 h 436"/>
              <a:gd name="T120" fmla="*/ 5 w 546"/>
              <a:gd name="T121" fmla="*/ 17 h 436"/>
              <a:gd name="T122" fmla="*/ 15 w 546"/>
              <a:gd name="T123"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6" h="436">
                <a:moveTo>
                  <a:pt x="15" y="0"/>
                </a:moveTo>
                <a:lnTo>
                  <a:pt x="15" y="0"/>
                </a:lnTo>
                <a:lnTo>
                  <a:pt x="19" y="2"/>
                </a:lnTo>
                <a:lnTo>
                  <a:pt x="22" y="2"/>
                </a:lnTo>
                <a:lnTo>
                  <a:pt x="24" y="7"/>
                </a:lnTo>
                <a:lnTo>
                  <a:pt x="24" y="12"/>
                </a:lnTo>
                <a:lnTo>
                  <a:pt x="34" y="17"/>
                </a:lnTo>
                <a:lnTo>
                  <a:pt x="37" y="22"/>
                </a:lnTo>
                <a:lnTo>
                  <a:pt x="42" y="27"/>
                </a:lnTo>
                <a:lnTo>
                  <a:pt x="49" y="27"/>
                </a:lnTo>
                <a:lnTo>
                  <a:pt x="57" y="32"/>
                </a:lnTo>
                <a:lnTo>
                  <a:pt x="59" y="27"/>
                </a:lnTo>
                <a:lnTo>
                  <a:pt x="59" y="27"/>
                </a:lnTo>
                <a:lnTo>
                  <a:pt x="64" y="25"/>
                </a:lnTo>
                <a:lnTo>
                  <a:pt x="69" y="27"/>
                </a:lnTo>
                <a:lnTo>
                  <a:pt x="72" y="25"/>
                </a:lnTo>
                <a:lnTo>
                  <a:pt x="74" y="22"/>
                </a:lnTo>
                <a:lnTo>
                  <a:pt x="74" y="20"/>
                </a:lnTo>
                <a:lnTo>
                  <a:pt x="79" y="20"/>
                </a:lnTo>
                <a:lnTo>
                  <a:pt x="82" y="12"/>
                </a:lnTo>
                <a:lnTo>
                  <a:pt x="87" y="12"/>
                </a:lnTo>
                <a:lnTo>
                  <a:pt x="89" y="7"/>
                </a:lnTo>
                <a:lnTo>
                  <a:pt x="94" y="7"/>
                </a:lnTo>
                <a:lnTo>
                  <a:pt x="99" y="2"/>
                </a:lnTo>
                <a:lnTo>
                  <a:pt x="102" y="2"/>
                </a:lnTo>
                <a:lnTo>
                  <a:pt x="102" y="5"/>
                </a:lnTo>
                <a:lnTo>
                  <a:pt x="104" y="5"/>
                </a:lnTo>
                <a:lnTo>
                  <a:pt x="107" y="10"/>
                </a:lnTo>
                <a:lnTo>
                  <a:pt x="109" y="12"/>
                </a:lnTo>
                <a:lnTo>
                  <a:pt x="107" y="15"/>
                </a:lnTo>
                <a:lnTo>
                  <a:pt x="107" y="17"/>
                </a:lnTo>
                <a:lnTo>
                  <a:pt x="114" y="22"/>
                </a:lnTo>
                <a:lnTo>
                  <a:pt x="104" y="27"/>
                </a:lnTo>
                <a:lnTo>
                  <a:pt x="114" y="37"/>
                </a:lnTo>
                <a:lnTo>
                  <a:pt x="119" y="40"/>
                </a:lnTo>
                <a:lnTo>
                  <a:pt x="119" y="42"/>
                </a:lnTo>
                <a:lnTo>
                  <a:pt x="124" y="42"/>
                </a:lnTo>
                <a:lnTo>
                  <a:pt x="127" y="42"/>
                </a:lnTo>
                <a:lnTo>
                  <a:pt x="127" y="42"/>
                </a:lnTo>
                <a:lnTo>
                  <a:pt x="132" y="50"/>
                </a:lnTo>
                <a:lnTo>
                  <a:pt x="132" y="55"/>
                </a:lnTo>
                <a:lnTo>
                  <a:pt x="132" y="62"/>
                </a:lnTo>
                <a:lnTo>
                  <a:pt x="132" y="65"/>
                </a:lnTo>
                <a:lnTo>
                  <a:pt x="137" y="65"/>
                </a:lnTo>
                <a:lnTo>
                  <a:pt x="142" y="70"/>
                </a:lnTo>
                <a:lnTo>
                  <a:pt x="147" y="70"/>
                </a:lnTo>
                <a:lnTo>
                  <a:pt x="152" y="72"/>
                </a:lnTo>
                <a:lnTo>
                  <a:pt x="159" y="70"/>
                </a:lnTo>
                <a:lnTo>
                  <a:pt x="164" y="72"/>
                </a:lnTo>
                <a:lnTo>
                  <a:pt x="169" y="75"/>
                </a:lnTo>
                <a:lnTo>
                  <a:pt x="169" y="80"/>
                </a:lnTo>
                <a:lnTo>
                  <a:pt x="174" y="85"/>
                </a:lnTo>
                <a:lnTo>
                  <a:pt x="187" y="90"/>
                </a:lnTo>
                <a:lnTo>
                  <a:pt x="194" y="90"/>
                </a:lnTo>
                <a:lnTo>
                  <a:pt x="209" y="95"/>
                </a:lnTo>
                <a:lnTo>
                  <a:pt x="217" y="95"/>
                </a:lnTo>
                <a:lnTo>
                  <a:pt x="234" y="90"/>
                </a:lnTo>
                <a:lnTo>
                  <a:pt x="249" y="87"/>
                </a:lnTo>
                <a:lnTo>
                  <a:pt x="264" y="90"/>
                </a:lnTo>
                <a:lnTo>
                  <a:pt x="269" y="90"/>
                </a:lnTo>
                <a:lnTo>
                  <a:pt x="271" y="85"/>
                </a:lnTo>
                <a:lnTo>
                  <a:pt x="266" y="77"/>
                </a:lnTo>
                <a:lnTo>
                  <a:pt x="264" y="70"/>
                </a:lnTo>
                <a:lnTo>
                  <a:pt x="271" y="67"/>
                </a:lnTo>
                <a:lnTo>
                  <a:pt x="284" y="67"/>
                </a:lnTo>
                <a:lnTo>
                  <a:pt x="286" y="60"/>
                </a:lnTo>
                <a:lnTo>
                  <a:pt x="289" y="55"/>
                </a:lnTo>
                <a:lnTo>
                  <a:pt x="294" y="55"/>
                </a:lnTo>
                <a:lnTo>
                  <a:pt x="304" y="45"/>
                </a:lnTo>
                <a:lnTo>
                  <a:pt x="316" y="42"/>
                </a:lnTo>
                <a:lnTo>
                  <a:pt x="326" y="45"/>
                </a:lnTo>
                <a:lnTo>
                  <a:pt x="329" y="40"/>
                </a:lnTo>
                <a:lnTo>
                  <a:pt x="334" y="37"/>
                </a:lnTo>
                <a:lnTo>
                  <a:pt x="339" y="40"/>
                </a:lnTo>
                <a:lnTo>
                  <a:pt x="344" y="40"/>
                </a:lnTo>
                <a:lnTo>
                  <a:pt x="354" y="47"/>
                </a:lnTo>
                <a:lnTo>
                  <a:pt x="361" y="50"/>
                </a:lnTo>
                <a:lnTo>
                  <a:pt x="379" y="60"/>
                </a:lnTo>
                <a:lnTo>
                  <a:pt x="381" y="60"/>
                </a:lnTo>
                <a:lnTo>
                  <a:pt x="386" y="57"/>
                </a:lnTo>
                <a:lnTo>
                  <a:pt x="396" y="60"/>
                </a:lnTo>
                <a:lnTo>
                  <a:pt x="401" y="62"/>
                </a:lnTo>
                <a:lnTo>
                  <a:pt x="404" y="70"/>
                </a:lnTo>
                <a:lnTo>
                  <a:pt x="406" y="72"/>
                </a:lnTo>
                <a:lnTo>
                  <a:pt x="411" y="70"/>
                </a:lnTo>
                <a:lnTo>
                  <a:pt x="421" y="72"/>
                </a:lnTo>
                <a:lnTo>
                  <a:pt x="434" y="87"/>
                </a:lnTo>
                <a:lnTo>
                  <a:pt x="443" y="90"/>
                </a:lnTo>
                <a:lnTo>
                  <a:pt x="451" y="92"/>
                </a:lnTo>
                <a:lnTo>
                  <a:pt x="456" y="99"/>
                </a:lnTo>
                <a:lnTo>
                  <a:pt x="453" y="102"/>
                </a:lnTo>
                <a:lnTo>
                  <a:pt x="456" y="109"/>
                </a:lnTo>
                <a:lnTo>
                  <a:pt x="456" y="114"/>
                </a:lnTo>
                <a:lnTo>
                  <a:pt x="458" y="117"/>
                </a:lnTo>
                <a:lnTo>
                  <a:pt x="458" y="124"/>
                </a:lnTo>
                <a:lnTo>
                  <a:pt x="458" y="129"/>
                </a:lnTo>
                <a:lnTo>
                  <a:pt x="456" y="132"/>
                </a:lnTo>
                <a:lnTo>
                  <a:pt x="458" y="137"/>
                </a:lnTo>
                <a:lnTo>
                  <a:pt x="458" y="139"/>
                </a:lnTo>
                <a:lnTo>
                  <a:pt x="458" y="142"/>
                </a:lnTo>
                <a:lnTo>
                  <a:pt x="451" y="147"/>
                </a:lnTo>
                <a:lnTo>
                  <a:pt x="446" y="149"/>
                </a:lnTo>
                <a:lnTo>
                  <a:pt x="448" y="152"/>
                </a:lnTo>
                <a:lnTo>
                  <a:pt x="453" y="157"/>
                </a:lnTo>
                <a:lnTo>
                  <a:pt x="448" y="162"/>
                </a:lnTo>
                <a:lnTo>
                  <a:pt x="448" y="164"/>
                </a:lnTo>
                <a:lnTo>
                  <a:pt x="451" y="174"/>
                </a:lnTo>
                <a:lnTo>
                  <a:pt x="451" y="179"/>
                </a:lnTo>
                <a:lnTo>
                  <a:pt x="458" y="182"/>
                </a:lnTo>
                <a:lnTo>
                  <a:pt x="461" y="182"/>
                </a:lnTo>
                <a:lnTo>
                  <a:pt x="453" y="192"/>
                </a:lnTo>
                <a:lnTo>
                  <a:pt x="453" y="197"/>
                </a:lnTo>
                <a:lnTo>
                  <a:pt x="458" y="212"/>
                </a:lnTo>
                <a:lnTo>
                  <a:pt x="463" y="224"/>
                </a:lnTo>
                <a:lnTo>
                  <a:pt x="461" y="227"/>
                </a:lnTo>
                <a:lnTo>
                  <a:pt x="463" y="232"/>
                </a:lnTo>
                <a:lnTo>
                  <a:pt x="466" y="242"/>
                </a:lnTo>
                <a:lnTo>
                  <a:pt x="488" y="242"/>
                </a:lnTo>
                <a:lnTo>
                  <a:pt x="493" y="252"/>
                </a:lnTo>
                <a:lnTo>
                  <a:pt x="491" y="259"/>
                </a:lnTo>
                <a:lnTo>
                  <a:pt x="493" y="269"/>
                </a:lnTo>
                <a:lnTo>
                  <a:pt x="493" y="274"/>
                </a:lnTo>
                <a:lnTo>
                  <a:pt x="473" y="299"/>
                </a:lnTo>
                <a:lnTo>
                  <a:pt x="486" y="319"/>
                </a:lnTo>
                <a:lnTo>
                  <a:pt x="488" y="324"/>
                </a:lnTo>
                <a:lnTo>
                  <a:pt x="496" y="332"/>
                </a:lnTo>
                <a:lnTo>
                  <a:pt x="503" y="337"/>
                </a:lnTo>
                <a:lnTo>
                  <a:pt x="506" y="339"/>
                </a:lnTo>
                <a:lnTo>
                  <a:pt x="513" y="339"/>
                </a:lnTo>
                <a:lnTo>
                  <a:pt x="518" y="342"/>
                </a:lnTo>
                <a:lnTo>
                  <a:pt x="518" y="344"/>
                </a:lnTo>
                <a:lnTo>
                  <a:pt x="526" y="344"/>
                </a:lnTo>
                <a:lnTo>
                  <a:pt x="526" y="354"/>
                </a:lnTo>
                <a:lnTo>
                  <a:pt x="528" y="359"/>
                </a:lnTo>
                <a:lnTo>
                  <a:pt x="528" y="367"/>
                </a:lnTo>
                <a:lnTo>
                  <a:pt x="531" y="372"/>
                </a:lnTo>
                <a:lnTo>
                  <a:pt x="538" y="372"/>
                </a:lnTo>
                <a:lnTo>
                  <a:pt x="543" y="377"/>
                </a:lnTo>
                <a:lnTo>
                  <a:pt x="546" y="387"/>
                </a:lnTo>
                <a:lnTo>
                  <a:pt x="541" y="389"/>
                </a:lnTo>
                <a:lnTo>
                  <a:pt x="533" y="387"/>
                </a:lnTo>
                <a:lnTo>
                  <a:pt x="521" y="391"/>
                </a:lnTo>
                <a:lnTo>
                  <a:pt x="518" y="394"/>
                </a:lnTo>
                <a:lnTo>
                  <a:pt x="511" y="396"/>
                </a:lnTo>
                <a:lnTo>
                  <a:pt x="508" y="401"/>
                </a:lnTo>
                <a:lnTo>
                  <a:pt x="508" y="406"/>
                </a:lnTo>
                <a:lnTo>
                  <a:pt x="506" y="411"/>
                </a:lnTo>
                <a:lnTo>
                  <a:pt x="508" y="419"/>
                </a:lnTo>
                <a:lnTo>
                  <a:pt x="506" y="429"/>
                </a:lnTo>
                <a:lnTo>
                  <a:pt x="506" y="434"/>
                </a:lnTo>
                <a:lnTo>
                  <a:pt x="506" y="434"/>
                </a:lnTo>
                <a:lnTo>
                  <a:pt x="503" y="434"/>
                </a:lnTo>
                <a:lnTo>
                  <a:pt x="501" y="436"/>
                </a:lnTo>
                <a:lnTo>
                  <a:pt x="491" y="434"/>
                </a:lnTo>
                <a:lnTo>
                  <a:pt x="483" y="431"/>
                </a:lnTo>
                <a:lnTo>
                  <a:pt x="481" y="426"/>
                </a:lnTo>
                <a:lnTo>
                  <a:pt x="478" y="426"/>
                </a:lnTo>
                <a:lnTo>
                  <a:pt x="478" y="431"/>
                </a:lnTo>
                <a:lnTo>
                  <a:pt x="476" y="431"/>
                </a:lnTo>
                <a:lnTo>
                  <a:pt x="471" y="429"/>
                </a:lnTo>
                <a:lnTo>
                  <a:pt x="468" y="429"/>
                </a:lnTo>
                <a:lnTo>
                  <a:pt x="466" y="429"/>
                </a:lnTo>
                <a:lnTo>
                  <a:pt x="453" y="429"/>
                </a:lnTo>
                <a:lnTo>
                  <a:pt x="446" y="424"/>
                </a:lnTo>
                <a:lnTo>
                  <a:pt x="431" y="426"/>
                </a:lnTo>
                <a:lnTo>
                  <a:pt x="424" y="419"/>
                </a:lnTo>
                <a:lnTo>
                  <a:pt x="421" y="419"/>
                </a:lnTo>
                <a:lnTo>
                  <a:pt x="414" y="424"/>
                </a:lnTo>
                <a:lnTo>
                  <a:pt x="409" y="419"/>
                </a:lnTo>
                <a:lnTo>
                  <a:pt x="404" y="419"/>
                </a:lnTo>
                <a:lnTo>
                  <a:pt x="389" y="421"/>
                </a:lnTo>
                <a:lnTo>
                  <a:pt x="389" y="416"/>
                </a:lnTo>
                <a:lnTo>
                  <a:pt x="386" y="416"/>
                </a:lnTo>
                <a:lnTo>
                  <a:pt x="386" y="409"/>
                </a:lnTo>
                <a:lnTo>
                  <a:pt x="381" y="399"/>
                </a:lnTo>
                <a:lnTo>
                  <a:pt x="376" y="389"/>
                </a:lnTo>
                <a:lnTo>
                  <a:pt x="374" y="382"/>
                </a:lnTo>
                <a:lnTo>
                  <a:pt x="371" y="379"/>
                </a:lnTo>
                <a:lnTo>
                  <a:pt x="369" y="379"/>
                </a:lnTo>
                <a:lnTo>
                  <a:pt x="369" y="377"/>
                </a:lnTo>
                <a:lnTo>
                  <a:pt x="361" y="377"/>
                </a:lnTo>
                <a:lnTo>
                  <a:pt x="356" y="379"/>
                </a:lnTo>
                <a:lnTo>
                  <a:pt x="349" y="384"/>
                </a:lnTo>
                <a:lnTo>
                  <a:pt x="344" y="384"/>
                </a:lnTo>
                <a:lnTo>
                  <a:pt x="341" y="382"/>
                </a:lnTo>
                <a:lnTo>
                  <a:pt x="341" y="384"/>
                </a:lnTo>
                <a:lnTo>
                  <a:pt x="331" y="391"/>
                </a:lnTo>
                <a:lnTo>
                  <a:pt x="321" y="399"/>
                </a:lnTo>
                <a:lnTo>
                  <a:pt x="311" y="391"/>
                </a:lnTo>
                <a:lnTo>
                  <a:pt x="301" y="389"/>
                </a:lnTo>
                <a:lnTo>
                  <a:pt x="296" y="389"/>
                </a:lnTo>
                <a:lnTo>
                  <a:pt x="294" y="391"/>
                </a:lnTo>
                <a:lnTo>
                  <a:pt x="284" y="384"/>
                </a:lnTo>
                <a:lnTo>
                  <a:pt x="279" y="384"/>
                </a:lnTo>
                <a:lnTo>
                  <a:pt x="276" y="379"/>
                </a:lnTo>
                <a:lnTo>
                  <a:pt x="269" y="379"/>
                </a:lnTo>
                <a:lnTo>
                  <a:pt x="261" y="372"/>
                </a:lnTo>
                <a:lnTo>
                  <a:pt x="264" y="367"/>
                </a:lnTo>
                <a:lnTo>
                  <a:pt x="264" y="364"/>
                </a:lnTo>
                <a:lnTo>
                  <a:pt x="259" y="364"/>
                </a:lnTo>
                <a:lnTo>
                  <a:pt x="256" y="364"/>
                </a:lnTo>
                <a:lnTo>
                  <a:pt x="249" y="362"/>
                </a:lnTo>
                <a:lnTo>
                  <a:pt x="246" y="359"/>
                </a:lnTo>
                <a:lnTo>
                  <a:pt x="239" y="357"/>
                </a:lnTo>
                <a:lnTo>
                  <a:pt x="229" y="359"/>
                </a:lnTo>
                <a:lnTo>
                  <a:pt x="224" y="354"/>
                </a:lnTo>
                <a:lnTo>
                  <a:pt x="217" y="337"/>
                </a:lnTo>
                <a:lnTo>
                  <a:pt x="214" y="334"/>
                </a:lnTo>
                <a:lnTo>
                  <a:pt x="212" y="334"/>
                </a:lnTo>
                <a:lnTo>
                  <a:pt x="209" y="329"/>
                </a:lnTo>
                <a:lnTo>
                  <a:pt x="209" y="329"/>
                </a:lnTo>
                <a:lnTo>
                  <a:pt x="212" y="329"/>
                </a:lnTo>
                <a:lnTo>
                  <a:pt x="214" y="329"/>
                </a:lnTo>
                <a:lnTo>
                  <a:pt x="209" y="324"/>
                </a:lnTo>
                <a:lnTo>
                  <a:pt x="207" y="324"/>
                </a:lnTo>
                <a:lnTo>
                  <a:pt x="204" y="324"/>
                </a:lnTo>
                <a:lnTo>
                  <a:pt x="202" y="314"/>
                </a:lnTo>
                <a:lnTo>
                  <a:pt x="194" y="304"/>
                </a:lnTo>
                <a:lnTo>
                  <a:pt x="192" y="299"/>
                </a:lnTo>
                <a:lnTo>
                  <a:pt x="187" y="292"/>
                </a:lnTo>
                <a:lnTo>
                  <a:pt x="184" y="289"/>
                </a:lnTo>
                <a:lnTo>
                  <a:pt x="177" y="297"/>
                </a:lnTo>
                <a:lnTo>
                  <a:pt x="174" y="297"/>
                </a:lnTo>
                <a:lnTo>
                  <a:pt x="169" y="292"/>
                </a:lnTo>
                <a:lnTo>
                  <a:pt x="169" y="292"/>
                </a:lnTo>
                <a:lnTo>
                  <a:pt x="162" y="289"/>
                </a:lnTo>
                <a:lnTo>
                  <a:pt x="162" y="287"/>
                </a:lnTo>
                <a:lnTo>
                  <a:pt x="164" y="284"/>
                </a:lnTo>
                <a:lnTo>
                  <a:pt x="162" y="284"/>
                </a:lnTo>
                <a:lnTo>
                  <a:pt x="159" y="287"/>
                </a:lnTo>
                <a:lnTo>
                  <a:pt x="157" y="284"/>
                </a:lnTo>
                <a:lnTo>
                  <a:pt x="159" y="289"/>
                </a:lnTo>
                <a:lnTo>
                  <a:pt x="159" y="294"/>
                </a:lnTo>
                <a:lnTo>
                  <a:pt x="157" y="297"/>
                </a:lnTo>
                <a:lnTo>
                  <a:pt x="154" y="297"/>
                </a:lnTo>
                <a:lnTo>
                  <a:pt x="149" y="292"/>
                </a:lnTo>
                <a:lnTo>
                  <a:pt x="149" y="289"/>
                </a:lnTo>
                <a:lnTo>
                  <a:pt x="147" y="289"/>
                </a:lnTo>
                <a:lnTo>
                  <a:pt x="144" y="289"/>
                </a:lnTo>
                <a:lnTo>
                  <a:pt x="139" y="287"/>
                </a:lnTo>
                <a:lnTo>
                  <a:pt x="134" y="284"/>
                </a:lnTo>
                <a:lnTo>
                  <a:pt x="132" y="267"/>
                </a:lnTo>
                <a:lnTo>
                  <a:pt x="124" y="267"/>
                </a:lnTo>
                <a:lnTo>
                  <a:pt x="122" y="259"/>
                </a:lnTo>
                <a:lnTo>
                  <a:pt x="122" y="252"/>
                </a:lnTo>
                <a:lnTo>
                  <a:pt x="129" y="247"/>
                </a:lnTo>
                <a:lnTo>
                  <a:pt x="122" y="234"/>
                </a:lnTo>
                <a:lnTo>
                  <a:pt x="117" y="232"/>
                </a:lnTo>
                <a:lnTo>
                  <a:pt x="112" y="222"/>
                </a:lnTo>
                <a:lnTo>
                  <a:pt x="109" y="219"/>
                </a:lnTo>
                <a:lnTo>
                  <a:pt x="107" y="222"/>
                </a:lnTo>
                <a:lnTo>
                  <a:pt x="87" y="209"/>
                </a:lnTo>
                <a:lnTo>
                  <a:pt x="82" y="209"/>
                </a:lnTo>
                <a:lnTo>
                  <a:pt x="79" y="212"/>
                </a:lnTo>
                <a:lnTo>
                  <a:pt x="74" y="207"/>
                </a:lnTo>
                <a:lnTo>
                  <a:pt x="74" y="204"/>
                </a:lnTo>
                <a:lnTo>
                  <a:pt x="74" y="202"/>
                </a:lnTo>
                <a:lnTo>
                  <a:pt x="77" y="197"/>
                </a:lnTo>
                <a:lnTo>
                  <a:pt x="69" y="192"/>
                </a:lnTo>
                <a:lnTo>
                  <a:pt x="69" y="187"/>
                </a:lnTo>
                <a:lnTo>
                  <a:pt x="64" y="187"/>
                </a:lnTo>
                <a:lnTo>
                  <a:pt x="59" y="182"/>
                </a:lnTo>
                <a:lnTo>
                  <a:pt x="57" y="182"/>
                </a:lnTo>
                <a:lnTo>
                  <a:pt x="57" y="179"/>
                </a:lnTo>
                <a:lnTo>
                  <a:pt x="59" y="174"/>
                </a:lnTo>
                <a:lnTo>
                  <a:pt x="57" y="172"/>
                </a:lnTo>
                <a:lnTo>
                  <a:pt x="59" y="169"/>
                </a:lnTo>
                <a:lnTo>
                  <a:pt x="59" y="159"/>
                </a:lnTo>
                <a:lnTo>
                  <a:pt x="62" y="157"/>
                </a:lnTo>
                <a:lnTo>
                  <a:pt x="62" y="149"/>
                </a:lnTo>
                <a:lnTo>
                  <a:pt x="67" y="149"/>
                </a:lnTo>
                <a:lnTo>
                  <a:pt x="69" y="147"/>
                </a:lnTo>
                <a:lnTo>
                  <a:pt x="69" y="137"/>
                </a:lnTo>
                <a:lnTo>
                  <a:pt x="67" y="137"/>
                </a:lnTo>
                <a:lnTo>
                  <a:pt x="67" y="129"/>
                </a:lnTo>
                <a:lnTo>
                  <a:pt x="69" y="129"/>
                </a:lnTo>
                <a:lnTo>
                  <a:pt x="74" y="127"/>
                </a:lnTo>
                <a:lnTo>
                  <a:pt x="77" y="127"/>
                </a:lnTo>
                <a:lnTo>
                  <a:pt x="74" y="124"/>
                </a:lnTo>
                <a:lnTo>
                  <a:pt x="72" y="122"/>
                </a:lnTo>
                <a:lnTo>
                  <a:pt x="64" y="124"/>
                </a:lnTo>
                <a:lnTo>
                  <a:pt x="62" y="122"/>
                </a:lnTo>
                <a:lnTo>
                  <a:pt x="52" y="117"/>
                </a:lnTo>
                <a:lnTo>
                  <a:pt x="47" y="117"/>
                </a:lnTo>
                <a:lnTo>
                  <a:pt x="44" y="114"/>
                </a:lnTo>
                <a:lnTo>
                  <a:pt x="42" y="107"/>
                </a:lnTo>
                <a:lnTo>
                  <a:pt x="37" y="104"/>
                </a:lnTo>
                <a:lnTo>
                  <a:pt x="34" y="102"/>
                </a:lnTo>
                <a:lnTo>
                  <a:pt x="32" y="97"/>
                </a:lnTo>
                <a:lnTo>
                  <a:pt x="32" y="92"/>
                </a:lnTo>
                <a:lnTo>
                  <a:pt x="29" y="87"/>
                </a:lnTo>
                <a:lnTo>
                  <a:pt x="24" y="85"/>
                </a:lnTo>
                <a:lnTo>
                  <a:pt x="24" y="85"/>
                </a:lnTo>
                <a:lnTo>
                  <a:pt x="24" y="82"/>
                </a:lnTo>
                <a:lnTo>
                  <a:pt x="22" y="75"/>
                </a:lnTo>
                <a:lnTo>
                  <a:pt x="17" y="65"/>
                </a:lnTo>
                <a:lnTo>
                  <a:pt x="10" y="62"/>
                </a:lnTo>
                <a:lnTo>
                  <a:pt x="10" y="60"/>
                </a:lnTo>
                <a:lnTo>
                  <a:pt x="10" y="52"/>
                </a:lnTo>
                <a:lnTo>
                  <a:pt x="15" y="42"/>
                </a:lnTo>
                <a:lnTo>
                  <a:pt x="12" y="40"/>
                </a:lnTo>
                <a:lnTo>
                  <a:pt x="5" y="40"/>
                </a:lnTo>
                <a:lnTo>
                  <a:pt x="5" y="32"/>
                </a:lnTo>
                <a:lnTo>
                  <a:pt x="7" y="27"/>
                </a:lnTo>
                <a:lnTo>
                  <a:pt x="5" y="17"/>
                </a:lnTo>
                <a:lnTo>
                  <a:pt x="2" y="12"/>
                </a:lnTo>
                <a:lnTo>
                  <a:pt x="0" y="10"/>
                </a:lnTo>
                <a:lnTo>
                  <a:pt x="7" y="10"/>
                </a:lnTo>
                <a:lnTo>
                  <a:pt x="10" y="2"/>
                </a:lnTo>
                <a:lnTo>
                  <a:pt x="15" y="0"/>
                </a:lnTo>
                <a:lnTo>
                  <a:pt x="15"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48" name="Freeform 189"/>
          <p:cNvSpPr>
            <a:spLocks/>
          </p:cNvSpPr>
          <p:nvPr/>
        </p:nvSpPr>
        <p:spPr bwMode="auto">
          <a:xfrm>
            <a:off x="6740525" y="3922713"/>
            <a:ext cx="149225" cy="130175"/>
          </a:xfrm>
          <a:custGeom>
            <a:avLst/>
            <a:gdLst>
              <a:gd name="T0" fmla="*/ 0 w 94"/>
              <a:gd name="T1" fmla="*/ 7 h 82"/>
              <a:gd name="T2" fmla="*/ 7 w 94"/>
              <a:gd name="T3" fmla="*/ 5 h 82"/>
              <a:gd name="T4" fmla="*/ 20 w 94"/>
              <a:gd name="T5" fmla="*/ 0 h 82"/>
              <a:gd name="T6" fmla="*/ 22 w 94"/>
              <a:gd name="T7" fmla="*/ 2 h 82"/>
              <a:gd name="T8" fmla="*/ 37 w 94"/>
              <a:gd name="T9" fmla="*/ 2 h 82"/>
              <a:gd name="T10" fmla="*/ 44 w 94"/>
              <a:gd name="T11" fmla="*/ 7 h 82"/>
              <a:gd name="T12" fmla="*/ 54 w 94"/>
              <a:gd name="T13" fmla="*/ 10 h 82"/>
              <a:gd name="T14" fmla="*/ 59 w 94"/>
              <a:gd name="T15" fmla="*/ 15 h 82"/>
              <a:gd name="T16" fmla="*/ 57 w 94"/>
              <a:gd name="T17" fmla="*/ 20 h 82"/>
              <a:gd name="T18" fmla="*/ 57 w 94"/>
              <a:gd name="T19" fmla="*/ 25 h 82"/>
              <a:gd name="T20" fmla="*/ 69 w 94"/>
              <a:gd name="T21" fmla="*/ 35 h 82"/>
              <a:gd name="T22" fmla="*/ 69 w 94"/>
              <a:gd name="T23" fmla="*/ 40 h 82"/>
              <a:gd name="T24" fmla="*/ 64 w 94"/>
              <a:gd name="T25" fmla="*/ 45 h 82"/>
              <a:gd name="T26" fmla="*/ 69 w 94"/>
              <a:gd name="T27" fmla="*/ 52 h 82"/>
              <a:gd name="T28" fmla="*/ 79 w 94"/>
              <a:gd name="T29" fmla="*/ 57 h 82"/>
              <a:gd name="T30" fmla="*/ 89 w 94"/>
              <a:gd name="T31" fmla="*/ 60 h 82"/>
              <a:gd name="T32" fmla="*/ 94 w 94"/>
              <a:gd name="T33" fmla="*/ 65 h 82"/>
              <a:gd name="T34" fmla="*/ 87 w 94"/>
              <a:gd name="T35" fmla="*/ 65 h 82"/>
              <a:gd name="T36" fmla="*/ 92 w 94"/>
              <a:gd name="T37" fmla="*/ 72 h 82"/>
              <a:gd name="T38" fmla="*/ 89 w 94"/>
              <a:gd name="T39" fmla="*/ 75 h 82"/>
              <a:gd name="T40" fmla="*/ 89 w 94"/>
              <a:gd name="T41" fmla="*/ 80 h 82"/>
              <a:gd name="T42" fmla="*/ 84 w 94"/>
              <a:gd name="T43" fmla="*/ 82 h 82"/>
              <a:gd name="T44" fmla="*/ 72 w 94"/>
              <a:gd name="T45" fmla="*/ 65 h 82"/>
              <a:gd name="T46" fmla="*/ 64 w 94"/>
              <a:gd name="T47" fmla="*/ 62 h 82"/>
              <a:gd name="T48" fmla="*/ 62 w 94"/>
              <a:gd name="T49" fmla="*/ 55 h 82"/>
              <a:gd name="T50" fmla="*/ 57 w 94"/>
              <a:gd name="T51" fmla="*/ 55 h 82"/>
              <a:gd name="T52" fmla="*/ 54 w 94"/>
              <a:gd name="T53" fmla="*/ 57 h 82"/>
              <a:gd name="T54" fmla="*/ 47 w 94"/>
              <a:gd name="T55" fmla="*/ 50 h 82"/>
              <a:gd name="T56" fmla="*/ 42 w 94"/>
              <a:gd name="T57" fmla="*/ 52 h 82"/>
              <a:gd name="T58" fmla="*/ 37 w 94"/>
              <a:gd name="T59" fmla="*/ 52 h 82"/>
              <a:gd name="T60" fmla="*/ 35 w 94"/>
              <a:gd name="T61" fmla="*/ 50 h 82"/>
              <a:gd name="T62" fmla="*/ 32 w 94"/>
              <a:gd name="T63" fmla="*/ 45 h 82"/>
              <a:gd name="T64" fmla="*/ 27 w 94"/>
              <a:gd name="T65" fmla="*/ 45 h 82"/>
              <a:gd name="T66" fmla="*/ 17 w 94"/>
              <a:gd name="T67" fmla="*/ 45 h 82"/>
              <a:gd name="T68" fmla="*/ 10 w 94"/>
              <a:gd name="T69" fmla="*/ 40 h 82"/>
              <a:gd name="T70" fmla="*/ 10 w 94"/>
              <a:gd name="T71" fmla="*/ 30 h 82"/>
              <a:gd name="T72" fmla="*/ 12 w 94"/>
              <a:gd name="T73" fmla="*/ 20 h 82"/>
              <a:gd name="T74" fmla="*/ 10 w 94"/>
              <a:gd name="T75" fmla="*/ 15 h 82"/>
              <a:gd name="T76" fmla="*/ 5 w 94"/>
              <a:gd name="T77" fmla="*/ 15 h 82"/>
              <a:gd name="T78" fmla="*/ 2 w 94"/>
              <a:gd name="T79" fmla="*/ 10 h 82"/>
              <a:gd name="T80" fmla="*/ 0 w 94"/>
              <a:gd name="T8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82">
                <a:moveTo>
                  <a:pt x="0" y="7"/>
                </a:moveTo>
                <a:lnTo>
                  <a:pt x="7" y="5"/>
                </a:lnTo>
                <a:lnTo>
                  <a:pt x="20" y="0"/>
                </a:lnTo>
                <a:lnTo>
                  <a:pt x="22" y="2"/>
                </a:lnTo>
                <a:lnTo>
                  <a:pt x="37" y="2"/>
                </a:lnTo>
                <a:lnTo>
                  <a:pt x="44" y="7"/>
                </a:lnTo>
                <a:lnTo>
                  <a:pt x="54" y="10"/>
                </a:lnTo>
                <a:lnTo>
                  <a:pt x="59" y="15"/>
                </a:lnTo>
                <a:lnTo>
                  <a:pt x="57" y="20"/>
                </a:lnTo>
                <a:lnTo>
                  <a:pt x="57" y="25"/>
                </a:lnTo>
                <a:lnTo>
                  <a:pt x="69" y="35"/>
                </a:lnTo>
                <a:lnTo>
                  <a:pt x="69" y="40"/>
                </a:lnTo>
                <a:lnTo>
                  <a:pt x="64" y="45"/>
                </a:lnTo>
                <a:lnTo>
                  <a:pt x="69" y="52"/>
                </a:lnTo>
                <a:lnTo>
                  <a:pt x="79" y="57"/>
                </a:lnTo>
                <a:lnTo>
                  <a:pt x="89" y="60"/>
                </a:lnTo>
                <a:lnTo>
                  <a:pt x="94" y="65"/>
                </a:lnTo>
                <a:lnTo>
                  <a:pt x="87" y="65"/>
                </a:lnTo>
                <a:lnTo>
                  <a:pt x="92" y="72"/>
                </a:lnTo>
                <a:lnTo>
                  <a:pt x="89" y="75"/>
                </a:lnTo>
                <a:lnTo>
                  <a:pt x="89" y="80"/>
                </a:lnTo>
                <a:lnTo>
                  <a:pt x="84" y="82"/>
                </a:lnTo>
                <a:lnTo>
                  <a:pt x="72" y="65"/>
                </a:lnTo>
                <a:lnTo>
                  <a:pt x="64" y="62"/>
                </a:lnTo>
                <a:lnTo>
                  <a:pt x="62" y="55"/>
                </a:lnTo>
                <a:lnTo>
                  <a:pt x="57" y="55"/>
                </a:lnTo>
                <a:lnTo>
                  <a:pt x="54" y="57"/>
                </a:lnTo>
                <a:lnTo>
                  <a:pt x="47" y="50"/>
                </a:lnTo>
                <a:lnTo>
                  <a:pt x="42" y="52"/>
                </a:lnTo>
                <a:lnTo>
                  <a:pt x="37" y="52"/>
                </a:lnTo>
                <a:lnTo>
                  <a:pt x="35" y="50"/>
                </a:lnTo>
                <a:lnTo>
                  <a:pt x="32" y="45"/>
                </a:lnTo>
                <a:lnTo>
                  <a:pt x="27" y="45"/>
                </a:lnTo>
                <a:lnTo>
                  <a:pt x="17" y="45"/>
                </a:lnTo>
                <a:lnTo>
                  <a:pt x="10" y="40"/>
                </a:lnTo>
                <a:lnTo>
                  <a:pt x="10" y="30"/>
                </a:lnTo>
                <a:lnTo>
                  <a:pt x="12" y="20"/>
                </a:lnTo>
                <a:lnTo>
                  <a:pt x="10" y="15"/>
                </a:lnTo>
                <a:lnTo>
                  <a:pt x="5" y="15"/>
                </a:lnTo>
                <a:lnTo>
                  <a:pt x="2" y="10"/>
                </a:lnTo>
                <a:lnTo>
                  <a:pt x="0" y="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49" name="Freeform 190"/>
          <p:cNvSpPr>
            <a:spLocks noEditPoints="1"/>
          </p:cNvSpPr>
          <p:nvPr/>
        </p:nvSpPr>
        <p:spPr bwMode="auto">
          <a:xfrm>
            <a:off x="6038850" y="3894138"/>
            <a:ext cx="779462" cy="312738"/>
          </a:xfrm>
          <a:custGeom>
            <a:avLst/>
            <a:gdLst>
              <a:gd name="T0" fmla="*/ 23 w 491"/>
              <a:gd name="T1" fmla="*/ 18 h 197"/>
              <a:gd name="T2" fmla="*/ 38 w 491"/>
              <a:gd name="T3" fmla="*/ 0 h 197"/>
              <a:gd name="T4" fmla="*/ 67 w 491"/>
              <a:gd name="T5" fmla="*/ 23 h 197"/>
              <a:gd name="T6" fmla="*/ 65 w 491"/>
              <a:gd name="T7" fmla="*/ 38 h 197"/>
              <a:gd name="T8" fmla="*/ 25 w 491"/>
              <a:gd name="T9" fmla="*/ 55 h 197"/>
              <a:gd name="T10" fmla="*/ 20 w 491"/>
              <a:gd name="T11" fmla="*/ 50 h 197"/>
              <a:gd name="T12" fmla="*/ 8 w 491"/>
              <a:gd name="T13" fmla="*/ 43 h 197"/>
              <a:gd name="T14" fmla="*/ 374 w 491"/>
              <a:gd name="T15" fmla="*/ 33 h 197"/>
              <a:gd name="T16" fmla="*/ 344 w 491"/>
              <a:gd name="T17" fmla="*/ 30 h 197"/>
              <a:gd name="T18" fmla="*/ 299 w 491"/>
              <a:gd name="T19" fmla="*/ 33 h 197"/>
              <a:gd name="T20" fmla="*/ 265 w 491"/>
              <a:gd name="T21" fmla="*/ 23 h 197"/>
              <a:gd name="T22" fmla="*/ 245 w 491"/>
              <a:gd name="T23" fmla="*/ 13 h 197"/>
              <a:gd name="T24" fmla="*/ 215 w 491"/>
              <a:gd name="T25" fmla="*/ 3 h 197"/>
              <a:gd name="T26" fmla="*/ 167 w 491"/>
              <a:gd name="T27" fmla="*/ 10 h 197"/>
              <a:gd name="T28" fmla="*/ 140 w 491"/>
              <a:gd name="T29" fmla="*/ 28 h 197"/>
              <a:gd name="T30" fmla="*/ 107 w 491"/>
              <a:gd name="T31" fmla="*/ 30 h 197"/>
              <a:gd name="T32" fmla="*/ 87 w 491"/>
              <a:gd name="T33" fmla="*/ 43 h 197"/>
              <a:gd name="T34" fmla="*/ 75 w 491"/>
              <a:gd name="T35" fmla="*/ 55 h 197"/>
              <a:gd name="T36" fmla="*/ 62 w 491"/>
              <a:gd name="T37" fmla="*/ 58 h 197"/>
              <a:gd name="T38" fmla="*/ 35 w 491"/>
              <a:gd name="T39" fmla="*/ 58 h 197"/>
              <a:gd name="T40" fmla="*/ 15 w 491"/>
              <a:gd name="T41" fmla="*/ 85 h 197"/>
              <a:gd name="T42" fmla="*/ 35 w 491"/>
              <a:gd name="T43" fmla="*/ 88 h 197"/>
              <a:gd name="T44" fmla="*/ 33 w 491"/>
              <a:gd name="T45" fmla="*/ 108 h 197"/>
              <a:gd name="T46" fmla="*/ 35 w 491"/>
              <a:gd name="T47" fmla="*/ 118 h 197"/>
              <a:gd name="T48" fmla="*/ 20 w 491"/>
              <a:gd name="T49" fmla="*/ 120 h 197"/>
              <a:gd name="T50" fmla="*/ 30 w 491"/>
              <a:gd name="T51" fmla="*/ 138 h 197"/>
              <a:gd name="T52" fmla="*/ 43 w 491"/>
              <a:gd name="T53" fmla="*/ 158 h 197"/>
              <a:gd name="T54" fmla="*/ 48 w 491"/>
              <a:gd name="T55" fmla="*/ 170 h 197"/>
              <a:gd name="T56" fmla="*/ 50 w 491"/>
              <a:gd name="T57" fmla="*/ 175 h 197"/>
              <a:gd name="T58" fmla="*/ 65 w 491"/>
              <a:gd name="T59" fmla="*/ 180 h 197"/>
              <a:gd name="T60" fmla="*/ 82 w 491"/>
              <a:gd name="T61" fmla="*/ 177 h 197"/>
              <a:gd name="T62" fmla="*/ 92 w 491"/>
              <a:gd name="T63" fmla="*/ 185 h 197"/>
              <a:gd name="T64" fmla="*/ 117 w 491"/>
              <a:gd name="T65" fmla="*/ 190 h 197"/>
              <a:gd name="T66" fmla="*/ 132 w 491"/>
              <a:gd name="T67" fmla="*/ 180 h 197"/>
              <a:gd name="T68" fmla="*/ 180 w 491"/>
              <a:gd name="T69" fmla="*/ 190 h 197"/>
              <a:gd name="T70" fmla="*/ 225 w 491"/>
              <a:gd name="T71" fmla="*/ 187 h 197"/>
              <a:gd name="T72" fmla="*/ 267 w 491"/>
              <a:gd name="T73" fmla="*/ 175 h 197"/>
              <a:gd name="T74" fmla="*/ 270 w 491"/>
              <a:gd name="T75" fmla="*/ 185 h 197"/>
              <a:gd name="T76" fmla="*/ 289 w 491"/>
              <a:gd name="T77" fmla="*/ 195 h 197"/>
              <a:gd name="T78" fmla="*/ 304 w 491"/>
              <a:gd name="T79" fmla="*/ 175 h 197"/>
              <a:gd name="T80" fmla="*/ 347 w 491"/>
              <a:gd name="T81" fmla="*/ 170 h 197"/>
              <a:gd name="T82" fmla="*/ 389 w 491"/>
              <a:gd name="T83" fmla="*/ 160 h 197"/>
              <a:gd name="T84" fmla="*/ 434 w 491"/>
              <a:gd name="T85" fmla="*/ 158 h 197"/>
              <a:gd name="T86" fmla="*/ 477 w 491"/>
              <a:gd name="T87" fmla="*/ 150 h 197"/>
              <a:gd name="T88" fmla="*/ 489 w 491"/>
              <a:gd name="T89" fmla="*/ 148 h 197"/>
              <a:gd name="T90" fmla="*/ 479 w 491"/>
              <a:gd name="T91" fmla="*/ 113 h 197"/>
              <a:gd name="T92" fmla="*/ 467 w 491"/>
              <a:gd name="T93" fmla="*/ 83 h 197"/>
              <a:gd name="T94" fmla="*/ 469 w 491"/>
              <a:gd name="T95" fmla="*/ 63 h 197"/>
              <a:gd name="T96" fmla="*/ 447 w 491"/>
              <a:gd name="T97" fmla="*/ 33 h 197"/>
              <a:gd name="T98" fmla="*/ 417 w 491"/>
              <a:gd name="T99" fmla="*/ 15 h 197"/>
              <a:gd name="T100" fmla="*/ 397 w 491"/>
              <a:gd name="T101" fmla="*/ 10 h 197"/>
              <a:gd name="T102" fmla="*/ 60 w 491"/>
              <a:gd name="T103" fmla="*/ 182 h 197"/>
              <a:gd name="T104" fmla="*/ 10 w 491"/>
              <a:gd name="T105" fmla="*/ 6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1" h="197">
                <a:moveTo>
                  <a:pt x="8" y="43"/>
                </a:moveTo>
                <a:lnTo>
                  <a:pt x="13" y="43"/>
                </a:lnTo>
                <a:lnTo>
                  <a:pt x="15" y="35"/>
                </a:lnTo>
                <a:lnTo>
                  <a:pt x="15" y="30"/>
                </a:lnTo>
                <a:lnTo>
                  <a:pt x="23" y="25"/>
                </a:lnTo>
                <a:lnTo>
                  <a:pt x="23" y="18"/>
                </a:lnTo>
                <a:lnTo>
                  <a:pt x="18" y="18"/>
                </a:lnTo>
                <a:lnTo>
                  <a:pt x="18" y="10"/>
                </a:lnTo>
                <a:lnTo>
                  <a:pt x="23" y="5"/>
                </a:lnTo>
                <a:lnTo>
                  <a:pt x="25" y="5"/>
                </a:lnTo>
                <a:lnTo>
                  <a:pt x="30" y="0"/>
                </a:lnTo>
                <a:lnTo>
                  <a:pt x="38" y="0"/>
                </a:lnTo>
                <a:lnTo>
                  <a:pt x="45" y="8"/>
                </a:lnTo>
                <a:lnTo>
                  <a:pt x="48" y="3"/>
                </a:lnTo>
                <a:lnTo>
                  <a:pt x="53" y="5"/>
                </a:lnTo>
                <a:lnTo>
                  <a:pt x="55" y="15"/>
                </a:lnTo>
                <a:lnTo>
                  <a:pt x="62" y="23"/>
                </a:lnTo>
                <a:lnTo>
                  <a:pt x="67" y="23"/>
                </a:lnTo>
                <a:lnTo>
                  <a:pt x="75" y="28"/>
                </a:lnTo>
                <a:lnTo>
                  <a:pt x="80" y="33"/>
                </a:lnTo>
                <a:lnTo>
                  <a:pt x="80" y="35"/>
                </a:lnTo>
                <a:lnTo>
                  <a:pt x="75" y="40"/>
                </a:lnTo>
                <a:lnTo>
                  <a:pt x="67" y="40"/>
                </a:lnTo>
                <a:lnTo>
                  <a:pt x="65" y="38"/>
                </a:lnTo>
                <a:lnTo>
                  <a:pt x="60" y="38"/>
                </a:lnTo>
                <a:lnTo>
                  <a:pt x="58" y="40"/>
                </a:lnTo>
                <a:lnTo>
                  <a:pt x="48" y="40"/>
                </a:lnTo>
                <a:lnTo>
                  <a:pt x="43" y="40"/>
                </a:lnTo>
                <a:lnTo>
                  <a:pt x="40" y="48"/>
                </a:lnTo>
                <a:lnTo>
                  <a:pt x="25" y="55"/>
                </a:lnTo>
                <a:lnTo>
                  <a:pt x="15" y="65"/>
                </a:lnTo>
                <a:lnTo>
                  <a:pt x="15" y="60"/>
                </a:lnTo>
                <a:lnTo>
                  <a:pt x="18" y="53"/>
                </a:lnTo>
                <a:lnTo>
                  <a:pt x="20" y="53"/>
                </a:lnTo>
                <a:lnTo>
                  <a:pt x="25" y="50"/>
                </a:lnTo>
                <a:lnTo>
                  <a:pt x="20" y="50"/>
                </a:lnTo>
                <a:lnTo>
                  <a:pt x="18" y="50"/>
                </a:lnTo>
                <a:lnTo>
                  <a:pt x="13" y="50"/>
                </a:lnTo>
                <a:lnTo>
                  <a:pt x="10" y="48"/>
                </a:lnTo>
                <a:lnTo>
                  <a:pt x="8" y="43"/>
                </a:lnTo>
                <a:lnTo>
                  <a:pt x="8" y="43"/>
                </a:lnTo>
                <a:lnTo>
                  <a:pt x="8" y="43"/>
                </a:lnTo>
                <a:close/>
                <a:moveTo>
                  <a:pt x="397" y="10"/>
                </a:moveTo>
                <a:lnTo>
                  <a:pt x="394" y="13"/>
                </a:lnTo>
                <a:lnTo>
                  <a:pt x="392" y="20"/>
                </a:lnTo>
                <a:lnTo>
                  <a:pt x="384" y="23"/>
                </a:lnTo>
                <a:lnTo>
                  <a:pt x="377" y="28"/>
                </a:lnTo>
                <a:lnTo>
                  <a:pt x="374" y="33"/>
                </a:lnTo>
                <a:lnTo>
                  <a:pt x="367" y="33"/>
                </a:lnTo>
                <a:lnTo>
                  <a:pt x="364" y="35"/>
                </a:lnTo>
                <a:lnTo>
                  <a:pt x="352" y="33"/>
                </a:lnTo>
                <a:lnTo>
                  <a:pt x="349" y="30"/>
                </a:lnTo>
                <a:lnTo>
                  <a:pt x="344" y="30"/>
                </a:lnTo>
                <a:lnTo>
                  <a:pt x="344" y="30"/>
                </a:lnTo>
                <a:lnTo>
                  <a:pt x="339" y="30"/>
                </a:lnTo>
                <a:lnTo>
                  <a:pt x="329" y="33"/>
                </a:lnTo>
                <a:lnTo>
                  <a:pt x="317" y="35"/>
                </a:lnTo>
                <a:lnTo>
                  <a:pt x="309" y="35"/>
                </a:lnTo>
                <a:lnTo>
                  <a:pt x="302" y="30"/>
                </a:lnTo>
                <a:lnTo>
                  <a:pt x="299" y="33"/>
                </a:lnTo>
                <a:lnTo>
                  <a:pt x="289" y="28"/>
                </a:lnTo>
                <a:lnTo>
                  <a:pt x="284" y="28"/>
                </a:lnTo>
                <a:lnTo>
                  <a:pt x="274" y="20"/>
                </a:lnTo>
                <a:lnTo>
                  <a:pt x="272" y="20"/>
                </a:lnTo>
                <a:lnTo>
                  <a:pt x="270" y="23"/>
                </a:lnTo>
                <a:lnTo>
                  <a:pt x="265" y="23"/>
                </a:lnTo>
                <a:lnTo>
                  <a:pt x="260" y="18"/>
                </a:lnTo>
                <a:lnTo>
                  <a:pt x="260" y="10"/>
                </a:lnTo>
                <a:lnTo>
                  <a:pt x="255" y="5"/>
                </a:lnTo>
                <a:lnTo>
                  <a:pt x="252" y="8"/>
                </a:lnTo>
                <a:lnTo>
                  <a:pt x="245" y="13"/>
                </a:lnTo>
                <a:lnTo>
                  <a:pt x="245" y="13"/>
                </a:lnTo>
                <a:lnTo>
                  <a:pt x="242" y="15"/>
                </a:lnTo>
                <a:lnTo>
                  <a:pt x="232" y="5"/>
                </a:lnTo>
                <a:lnTo>
                  <a:pt x="230" y="0"/>
                </a:lnTo>
                <a:lnTo>
                  <a:pt x="230" y="0"/>
                </a:lnTo>
                <a:lnTo>
                  <a:pt x="222" y="3"/>
                </a:lnTo>
                <a:lnTo>
                  <a:pt x="215" y="3"/>
                </a:lnTo>
                <a:lnTo>
                  <a:pt x="210" y="0"/>
                </a:lnTo>
                <a:lnTo>
                  <a:pt x="205" y="3"/>
                </a:lnTo>
                <a:lnTo>
                  <a:pt x="192" y="3"/>
                </a:lnTo>
                <a:lnTo>
                  <a:pt x="185" y="3"/>
                </a:lnTo>
                <a:lnTo>
                  <a:pt x="172" y="8"/>
                </a:lnTo>
                <a:lnTo>
                  <a:pt x="167" y="10"/>
                </a:lnTo>
                <a:lnTo>
                  <a:pt x="157" y="10"/>
                </a:lnTo>
                <a:lnTo>
                  <a:pt x="155" y="15"/>
                </a:lnTo>
                <a:lnTo>
                  <a:pt x="150" y="15"/>
                </a:lnTo>
                <a:lnTo>
                  <a:pt x="145" y="20"/>
                </a:lnTo>
                <a:lnTo>
                  <a:pt x="142" y="23"/>
                </a:lnTo>
                <a:lnTo>
                  <a:pt x="140" y="28"/>
                </a:lnTo>
                <a:lnTo>
                  <a:pt x="137" y="30"/>
                </a:lnTo>
                <a:lnTo>
                  <a:pt x="140" y="33"/>
                </a:lnTo>
                <a:lnTo>
                  <a:pt x="130" y="33"/>
                </a:lnTo>
                <a:lnTo>
                  <a:pt x="115" y="28"/>
                </a:lnTo>
                <a:lnTo>
                  <a:pt x="110" y="28"/>
                </a:lnTo>
                <a:lnTo>
                  <a:pt x="107" y="30"/>
                </a:lnTo>
                <a:lnTo>
                  <a:pt x="102" y="30"/>
                </a:lnTo>
                <a:lnTo>
                  <a:pt x="95" y="33"/>
                </a:lnTo>
                <a:lnTo>
                  <a:pt x="90" y="30"/>
                </a:lnTo>
                <a:lnTo>
                  <a:pt x="82" y="33"/>
                </a:lnTo>
                <a:lnTo>
                  <a:pt x="82" y="35"/>
                </a:lnTo>
                <a:lnTo>
                  <a:pt x="87" y="43"/>
                </a:lnTo>
                <a:lnTo>
                  <a:pt x="95" y="45"/>
                </a:lnTo>
                <a:lnTo>
                  <a:pt x="100" y="45"/>
                </a:lnTo>
                <a:lnTo>
                  <a:pt x="100" y="48"/>
                </a:lnTo>
                <a:lnTo>
                  <a:pt x="87" y="48"/>
                </a:lnTo>
                <a:lnTo>
                  <a:pt x="80" y="50"/>
                </a:lnTo>
                <a:lnTo>
                  <a:pt x="75" y="55"/>
                </a:lnTo>
                <a:lnTo>
                  <a:pt x="77" y="58"/>
                </a:lnTo>
                <a:lnTo>
                  <a:pt x="82" y="55"/>
                </a:lnTo>
                <a:lnTo>
                  <a:pt x="85" y="60"/>
                </a:lnTo>
                <a:lnTo>
                  <a:pt x="80" y="60"/>
                </a:lnTo>
                <a:lnTo>
                  <a:pt x="67" y="60"/>
                </a:lnTo>
                <a:lnTo>
                  <a:pt x="62" y="58"/>
                </a:lnTo>
                <a:lnTo>
                  <a:pt x="58" y="60"/>
                </a:lnTo>
                <a:lnTo>
                  <a:pt x="53" y="58"/>
                </a:lnTo>
                <a:lnTo>
                  <a:pt x="50" y="58"/>
                </a:lnTo>
                <a:lnTo>
                  <a:pt x="45" y="63"/>
                </a:lnTo>
                <a:lnTo>
                  <a:pt x="40" y="63"/>
                </a:lnTo>
                <a:lnTo>
                  <a:pt x="35" y="58"/>
                </a:lnTo>
                <a:lnTo>
                  <a:pt x="28" y="58"/>
                </a:lnTo>
                <a:lnTo>
                  <a:pt x="18" y="65"/>
                </a:lnTo>
                <a:lnTo>
                  <a:pt x="15" y="70"/>
                </a:lnTo>
                <a:lnTo>
                  <a:pt x="13" y="75"/>
                </a:lnTo>
                <a:lnTo>
                  <a:pt x="15" y="78"/>
                </a:lnTo>
                <a:lnTo>
                  <a:pt x="15" y="85"/>
                </a:lnTo>
                <a:lnTo>
                  <a:pt x="13" y="88"/>
                </a:lnTo>
                <a:lnTo>
                  <a:pt x="15" y="90"/>
                </a:lnTo>
                <a:lnTo>
                  <a:pt x="23" y="88"/>
                </a:lnTo>
                <a:lnTo>
                  <a:pt x="23" y="88"/>
                </a:lnTo>
                <a:lnTo>
                  <a:pt x="28" y="88"/>
                </a:lnTo>
                <a:lnTo>
                  <a:pt x="35" y="88"/>
                </a:lnTo>
                <a:lnTo>
                  <a:pt x="30" y="93"/>
                </a:lnTo>
                <a:lnTo>
                  <a:pt x="30" y="98"/>
                </a:lnTo>
                <a:lnTo>
                  <a:pt x="33" y="100"/>
                </a:lnTo>
                <a:lnTo>
                  <a:pt x="33" y="105"/>
                </a:lnTo>
                <a:lnTo>
                  <a:pt x="33" y="108"/>
                </a:lnTo>
                <a:lnTo>
                  <a:pt x="33" y="108"/>
                </a:lnTo>
                <a:lnTo>
                  <a:pt x="38" y="105"/>
                </a:lnTo>
                <a:lnTo>
                  <a:pt x="38" y="108"/>
                </a:lnTo>
                <a:lnTo>
                  <a:pt x="35" y="110"/>
                </a:lnTo>
                <a:lnTo>
                  <a:pt x="30" y="115"/>
                </a:lnTo>
                <a:lnTo>
                  <a:pt x="30" y="118"/>
                </a:lnTo>
                <a:lnTo>
                  <a:pt x="35" y="118"/>
                </a:lnTo>
                <a:lnTo>
                  <a:pt x="30" y="120"/>
                </a:lnTo>
                <a:lnTo>
                  <a:pt x="30" y="125"/>
                </a:lnTo>
                <a:lnTo>
                  <a:pt x="25" y="125"/>
                </a:lnTo>
                <a:lnTo>
                  <a:pt x="23" y="118"/>
                </a:lnTo>
                <a:lnTo>
                  <a:pt x="20" y="115"/>
                </a:lnTo>
                <a:lnTo>
                  <a:pt x="20" y="120"/>
                </a:lnTo>
                <a:lnTo>
                  <a:pt x="23" y="125"/>
                </a:lnTo>
                <a:lnTo>
                  <a:pt x="20" y="128"/>
                </a:lnTo>
                <a:lnTo>
                  <a:pt x="20" y="133"/>
                </a:lnTo>
                <a:lnTo>
                  <a:pt x="25" y="135"/>
                </a:lnTo>
                <a:lnTo>
                  <a:pt x="25" y="133"/>
                </a:lnTo>
                <a:lnTo>
                  <a:pt x="30" y="138"/>
                </a:lnTo>
                <a:lnTo>
                  <a:pt x="35" y="135"/>
                </a:lnTo>
                <a:lnTo>
                  <a:pt x="40" y="140"/>
                </a:lnTo>
                <a:lnTo>
                  <a:pt x="43" y="145"/>
                </a:lnTo>
                <a:lnTo>
                  <a:pt x="38" y="150"/>
                </a:lnTo>
                <a:lnTo>
                  <a:pt x="43" y="153"/>
                </a:lnTo>
                <a:lnTo>
                  <a:pt x="43" y="158"/>
                </a:lnTo>
                <a:lnTo>
                  <a:pt x="45" y="158"/>
                </a:lnTo>
                <a:lnTo>
                  <a:pt x="53" y="163"/>
                </a:lnTo>
                <a:lnTo>
                  <a:pt x="50" y="168"/>
                </a:lnTo>
                <a:lnTo>
                  <a:pt x="45" y="165"/>
                </a:lnTo>
                <a:lnTo>
                  <a:pt x="45" y="170"/>
                </a:lnTo>
                <a:lnTo>
                  <a:pt x="48" y="170"/>
                </a:lnTo>
                <a:lnTo>
                  <a:pt x="55" y="168"/>
                </a:lnTo>
                <a:lnTo>
                  <a:pt x="67" y="168"/>
                </a:lnTo>
                <a:lnTo>
                  <a:pt x="67" y="170"/>
                </a:lnTo>
                <a:lnTo>
                  <a:pt x="65" y="172"/>
                </a:lnTo>
                <a:lnTo>
                  <a:pt x="58" y="175"/>
                </a:lnTo>
                <a:lnTo>
                  <a:pt x="50" y="175"/>
                </a:lnTo>
                <a:lnTo>
                  <a:pt x="48" y="177"/>
                </a:lnTo>
                <a:lnTo>
                  <a:pt x="50" y="180"/>
                </a:lnTo>
                <a:lnTo>
                  <a:pt x="55" y="177"/>
                </a:lnTo>
                <a:lnTo>
                  <a:pt x="60" y="177"/>
                </a:lnTo>
                <a:lnTo>
                  <a:pt x="65" y="177"/>
                </a:lnTo>
                <a:lnTo>
                  <a:pt x="65" y="180"/>
                </a:lnTo>
                <a:lnTo>
                  <a:pt x="65" y="182"/>
                </a:lnTo>
                <a:lnTo>
                  <a:pt x="67" y="177"/>
                </a:lnTo>
                <a:lnTo>
                  <a:pt x="72" y="172"/>
                </a:lnTo>
                <a:lnTo>
                  <a:pt x="75" y="172"/>
                </a:lnTo>
                <a:lnTo>
                  <a:pt x="77" y="177"/>
                </a:lnTo>
                <a:lnTo>
                  <a:pt x="82" y="177"/>
                </a:lnTo>
                <a:lnTo>
                  <a:pt x="87" y="180"/>
                </a:lnTo>
                <a:lnTo>
                  <a:pt x="90" y="175"/>
                </a:lnTo>
                <a:lnTo>
                  <a:pt x="92" y="177"/>
                </a:lnTo>
                <a:lnTo>
                  <a:pt x="92" y="180"/>
                </a:lnTo>
                <a:lnTo>
                  <a:pt x="90" y="180"/>
                </a:lnTo>
                <a:lnTo>
                  <a:pt x="92" y="185"/>
                </a:lnTo>
                <a:lnTo>
                  <a:pt x="95" y="187"/>
                </a:lnTo>
                <a:lnTo>
                  <a:pt x="100" y="192"/>
                </a:lnTo>
                <a:lnTo>
                  <a:pt x="102" y="192"/>
                </a:lnTo>
                <a:lnTo>
                  <a:pt x="107" y="195"/>
                </a:lnTo>
                <a:lnTo>
                  <a:pt x="115" y="192"/>
                </a:lnTo>
                <a:lnTo>
                  <a:pt x="117" y="190"/>
                </a:lnTo>
                <a:lnTo>
                  <a:pt x="122" y="190"/>
                </a:lnTo>
                <a:lnTo>
                  <a:pt x="125" y="187"/>
                </a:lnTo>
                <a:lnTo>
                  <a:pt x="130" y="190"/>
                </a:lnTo>
                <a:lnTo>
                  <a:pt x="132" y="187"/>
                </a:lnTo>
                <a:lnTo>
                  <a:pt x="132" y="182"/>
                </a:lnTo>
                <a:lnTo>
                  <a:pt x="132" y="180"/>
                </a:lnTo>
                <a:lnTo>
                  <a:pt x="132" y="172"/>
                </a:lnTo>
                <a:lnTo>
                  <a:pt x="145" y="172"/>
                </a:lnTo>
                <a:lnTo>
                  <a:pt x="152" y="172"/>
                </a:lnTo>
                <a:lnTo>
                  <a:pt x="167" y="180"/>
                </a:lnTo>
                <a:lnTo>
                  <a:pt x="170" y="180"/>
                </a:lnTo>
                <a:lnTo>
                  <a:pt x="180" y="190"/>
                </a:lnTo>
                <a:lnTo>
                  <a:pt x="187" y="195"/>
                </a:lnTo>
                <a:lnTo>
                  <a:pt x="210" y="192"/>
                </a:lnTo>
                <a:lnTo>
                  <a:pt x="217" y="190"/>
                </a:lnTo>
                <a:lnTo>
                  <a:pt x="220" y="190"/>
                </a:lnTo>
                <a:lnTo>
                  <a:pt x="222" y="190"/>
                </a:lnTo>
                <a:lnTo>
                  <a:pt x="225" y="187"/>
                </a:lnTo>
                <a:lnTo>
                  <a:pt x="227" y="185"/>
                </a:lnTo>
                <a:lnTo>
                  <a:pt x="237" y="170"/>
                </a:lnTo>
                <a:lnTo>
                  <a:pt x="240" y="170"/>
                </a:lnTo>
                <a:lnTo>
                  <a:pt x="252" y="175"/>
                </a:lnTo>
                <a:lnTo>
                  <a:pt x="257" y="177"/>
                </a:lnTo>
                <a:lnTo>
                  <a:pt x="267" y="175"/>
                </a:lnTo>
                <a:lnTo>
                  <a:pt x="267" y="172"/>
                </a:lnTo>
                <a:lnTo>
                  <a:pt x="272" y="168"/>
                </a:lnTo>
                <a:lnTo>
                  <a:pt x="277" y="170"/>
                </a:lnTo>
                <a:lnTo>
                  <a:pt x="277" y="175"/>
                </a:lnTo>
                <a:lnTo>
                  <a:pt x="274" y="180"/>
                </a:lnTo>
                <a:lnTo>
                  <a:pt x="270" y="185"/>
                </a:lnTo>
                <a:lnTo>
                  <a:pt x="270" y="187"/>
                </a:lnTo>
                <a:lnTo>
                  <a:pt x="274" y="192"/>
                </a:lnTo>
                <a:lnTo>
                  <a:pt x="272" y="197"/>
                </a:lnTo>
                <a:lnTo>
                  <a:pt x="277" y="197"/>
                </a:lnTo>
                <a:lnTo>
                  <a:pt x="282" y="197"/>
                </a:lnTo>
                <a:lnTo>
                  <a:pt x="289" y="195"/>
                </a:lnTo>
                <a:lnTo>
                  <a:pt x="287" y="190"/>
                </a:lnTo>
                <a:lnTo>
                  <a:pt x="292" y="187"/>
                </a:lnTo>
                <a:lnTo>
                  <a:pt x="292" y="177"/>
                </a:lnTo>
                <a:lnTo>
                  <a:pt x="292" y="172"/>
                </a:lnTo>
                <a:lnTo>
                  <a:pt x="299" y="175"/>
                </a:lnTo>
                <a:lnTo>
                  <a:pt x="304" y="175"/>
                </a:lnTo>
                <a:lnTo>
                  <a:pt x="317" y="170"/>
                </a:lnTo>
                <a:lnTo>
                  <a:pt x="322" y="170"/>
                </a:lnTo>
                <a:lnTo>
                  <a:pt x="324" y="168"/>
                </a:lnTo>
                <a:lnTo>
                  <a:pt x="339" y="168"/>
                </a:lnTo>
                <a:lnTo>
                  <a:pt x="344" y="168"/>
                </a:lnTo>
                <a:lnTo>
                  <a:pt x="347" y="170"/>
                </a:lnTo>
                <a:lnTo>
                  <a:pt x="354" y="172"/>
                </a:lnTo>
                <a:lnTo>
                  <a:pt x="367" y="172"/>
                </a:lnTo>
                <a:lnTo>
                  <a:pt x="369" y="170"/>
                </a:lnTo>
                <a:lnTo>
                  <a:pt x="374" y="168"/>
                </a:lnTo>
                <a:lnTo>
                  <a:pt x="379" y="163"/>
                </a:lnTo>
                <a:lnTo>
                  <a:pt x="389" y="160"/>
                </a:lnTo>
                <a:lnTo>
                  <a:pt x="394" y="160"/>
                </a:lnTo>
                <a:lnTo>
                  <a:pt x="399" y="160"/>
                </a:lnTo>
                <a:lnTo>
                  <a:pt x="414" y="160"/>
                </a:lnTo>
                <a:lnTo>
                  <a:pt x="424" y="158"/>
                </a:lnTo>
                <a:lnTo>
                  <a:pt x="432" y="158"/>
                </a:lnTo>
                <a:lnTo>
                  <a:pt x="434" y="158"/>
                </a:lnTo>
                <a:lnTo>
                  <a:pt x="442" y="153"/>
                </a:lnTo>
                <a:lnTo>
                  <a:pt x="447" y="153"/>
                </a:lnTo>
                <a:lnTo>
                  <a:pt x="449" y="150"/>
                </a:lnTo>
                <a:lnTo>
                  <a:pt x="462" y="150"/>
                </a:lnTo>
                <a:lnTo>
                  <a:pt x="469" y="153"/>
                </a:lnTo>
                <a:lnTo>
                  <a:pt x="477" y="150"/>
                </a:lnTo>
                <a:lnTo>
                  <a:pt x="482" y="153"/>
                </a:lnTo>
                <a:lnTo>
                  <a:pt x="482" y="158"/>
                </a:lnTo>
                <a:lnTo>
                  <a:pt x="484" y="160"/>
                </a:lnTo>
                <a:lnTo>
                  <a:pt x="491" y="158"/>
                </a:lnTo>
                <a:lnTo>
                  <a:pt x="491" y="155"/>
                </a:lnTo>
                <a:lnTo>
                  <a:pt x="489" y="148"/>
                </a:lnTo>
                <a:lnTo>
                  <a:pt x="484" y="138"/>
                </a:lnTo>
                <a:lnTo>
                  <a:pt x="477" y="135"/>
                </a:lnTo>
                <a:lnTo>
                  <a:pt x="477" y="133"/>
                </a:lnTo>
                <a:lnTo>
                  <a:pt x="477" y="125"/>
                </a:lnTo>
                <a:lnTo>
                  <a:pt x="482" y="115"/>
                </a:lnTo>
                <a:lnTo>
                  <a:pt x="479" y="113"/>
                </a:lnTo>
                <a:lnTo>
                  <a:pt x="472" y="113"/>
                </a:lnTo>
                <a:lnTo>
                  <a:pt x="472" y="105"/>
                </a:lnTo>
                <a:lnTo>
                  <a:pt x="474" y="100"/>
                </a:lnTo>
                <a:lnTo>
                  <a:pt x="472" y="90"/>
                </a:lnTo>
                <a:lnTo>
                  <a:pt x="469" y="85"/>
                </a:lnTo>
                <a:lnTo>
                  <a:pt x="467" y="83"/>
                </a:lnTo>
                <a:lnTo>
                  <a:pt x="474" y="83"/>
                </a:lnTo>
                <a:lnTo>
                  <a:pt x="477" y="75"/>
                </a:lnTo>
                <a:lnTo>
                  <a:pt x="482" y="73"/>
                </a:lnTo>
                <a:lnTo>
                  <a:pt x="477" y="68"/>
                </a:lnTo>
                <a:lnTo>
                  <a:pt x="474" y="63"/>
                </a:lnTo>
                <a:lnTo>
                  <a:pt x="469" y="63"/>
                </a:lnTo>
                <a:lnTo>
                  <a:pt x="459" y="63"/>
                </a:lnTo>
                <a:lnTo>
                  <a:pt x="452" y="58"/>
                </a:lnTo>
                <a:lnTo>
                  <a:pt x="452" y="48"/>
                </a:lnTo>
                <a:lnTo>
                  <a:pt x="454" y="38"/>
                </a:lnTo>
                <a:lnTo>
                  <a:pt x="452" y="33"/>
                </a:lnTo>
                <a:lnTo>
                  <a:pt x="447" y="33"/>
                </a:lnTo>
                <a:lnTo>
                  <a:pt x="444" y="28"/>
                </a:lnTo>
                <a:lnTo>
                  <a:pt x="442" y="25"/>
                </a:lnTo>
                <a:lnTo>
                  <a:pt x="437" y="23"/>
                </a:lnTo>
                <a:lnTo>
                  <a:pt x="424" y="13"/>
                </a:lnTo>
                <a:lnTo>
                  <a:pt x="419" y="13"/>
                </a:lnTo>
                <a:lnTo>
                  <a:pt x="417" y="15"/>
                </a:lnTo>
                <a:lnTo>
                  <a:pt x="414" y="15"/>
                </a:lnTo>
                <a:lnTo>
                  <a:pt x="407" y="13"/>
                </a:lnTo>
                <a:lnTo>
                  <a:pt x="404" y="18"/>
                </a:lnTo>
                <a:lnTo>
                  <a:pt x="402" y="15"/>
                </a:lnTo>
                <a:lnTo>
                  <a:pt x="399" y="10"/>
                </a:lnTo>
                <a:lnTo>
                  <a:pt x="397" y="10"/>
                </a:lnTo>
                <a:lnTo>
                  <a:pt x="397" y="10"/>
                </a:lnTo>
                <a:close/>
                <a:moveTo>
                  <a:pt x="58" y="182"/>
                </a:moveTo>
                <a:lnTo>
                  <a:pt x="60" y="180"/>
                </a:lnTo>
                <a:lnTo>
                  <a:pt x="62" y="180"/>
                </a:lnTo>
                <a:lnTo>
                  <a:pt x="62" y="182"/>
                </a:lnTo>
                <a:lnTo>
                  <a:pt x="60" y="182"/>
                </a:lnTo>
                <a:lnTo>
                  <a:pt x="58" y="182"/>
                </a:lnTo>
                <a:lnTo>
                  <a:pt x="58" y="182"/>
                </a:lnTo>
                <a:close/>
                <a:moveTo>
                  <a:pt x="0" y="65"/>
                </a:moveTo>
                <a:lnTo>
                  <a:pt x="3" y="65"/>
                </a:lnTo>
                <a:lnTo>
                  <a:pt x="8" y="65"/>
                </a:lnTo>
                <a:lnTo>
                  <a:pt x="10" y="60"/>
                </a:lnTo>
                <a:lnTo>
                  <a:pt x="8" y="60"/>
                </a:lnTo>
                <a:lnTo>
                  <a:pt x="5" y="63"/>
                </a:lnTo>
                <a:lnTo>
                  <a:pt x="0" y="63"/>
                </a:lnTo>
                <a:lnTo>
                  <a:pt x="0" y="6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50" name="Freeform 191"/>
          <p:cNvSpPr>
            <a:spLocks/>
          </p:cNvSpPr>
          <p:nvPr/>
        </p:nvSpPr>
        <p:spPr bwMode="auto">
          <a:xfrm>
            <a:off x="6937375" y="4476750"/>
            <a:ext cx="71437" cy="76200"/>
          </a:xfrm>
          <a:custGeom>
            <a:avLst/>
            <a:gdLst>
              <a:gd name="T0" fmla="*/ 0 w 45"/>
              <a:gd name="T1" fmla="*/ 30 h 48"/>
              <a:gd name="T2" fmla="*/ 8 w 45"/>
              <a:gd name="T3" fmla="*/ 20 h 48"/>
              <a:gd name="T4" fmla="*/ 13 w 45"/>
              <a:gd name="T5" fmla="*/ 8 h 48"/>
              <a:gd name="T6" fmla="*/ 25 w 45"/>
              <a:gd name="T7" fmla="*/ 0 h 48"/>
              <a:gd name="T8" fmla="*/ 33 w 45"/>
              <a:gd name="T9" fmla="*/ 5 h 48"/>
              <a:gd name="T10" fmla="*/ 40 w 45"/>
              <a:gd name="T11" fmla="*/ 3 h 48"/>
              <a:gd name="T12" fmla="*/ 43 w 45"/>
              <a:gd name="T13" fmla="*/ 3 h 48"/>
              <a:gd name="T14" fmla="*/ 43 w 45"/>
              <a:gd name="T15" fmla="*/ 5 h 48"/>
              <a:gd name="T16" fmla="*/ 45 w 45"/>
              <a:gd name="T17" fmla="*/ 18 h 48"/>
              <a:gd name="T18" fmla="*/ 30 w 45"/>
              <a:gd name="T19" fmla="*/ 20 h 48"/>
              <a:gd name="T20" fmla="*/ 40 w 45"/>
              <a:gd name="T21" fmla="*/ 28 h 48"/>
              <a:gd name="T22" fmla="*/ 40 w 45"/>
              <a:gd name="T23" fmla="*/ 25 h 48"/>
              <a:gd name="T24" fmla="*/ 43 w 45"/>
              <a:gd name="T25" fmla="*/ 28 h 48"/>
              <a:gd name="T26" fmla="*/ 43 w 45"/>
              <a:gd name="T27" fmla="*/ 33 h 48"/>
              <a:gd name="T28" fmla="*/ 45 w 45"/>
              <a:gd name="T29" fmla="*/ 35 h 48"/>
              <a:gd name="T30" fmla="*/ 45 w 45"/>
              <a:gd name="T31" fmla="*/ 35 h 48"/>
              <a:gd name="T32" fmla="*/ 43 w 45"/>
              <a:gd name="T33" fmla="*/ 38 h 48"/>
              <a:gd name="T34" fmla="*/ 45 w 45"/>
              <a:gd name="T35" fmla="*/ 40 h 48"/>
              <a:gd name="T36" fmla="*/ 30 w 45"/>
              <a:gd name="T37" fmla="*/ 48 h 48"/>
              <a:gd name="T38" fmla="*/ 28 w 45"/>
              <a:gd name="T39" fmla="*/ 38 h 48"/>
              <a:gd name="T40" fmla="*/ 5 w 45"/>
              <a:gd name="T41" fmla="*/ 30 h 48"/>
              <a:gd name="T42" fmla="*/ 0 w 45"/>
              <a:gd name="T43"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48">
                <a:moveTo>
                  <a:pt x="0" y="30"/>
                </a:moveTo>
                <a:lnTo>
                  <a:pt x="8" y="20"/>
                </a:lnTo>
                <a:lnTo>
                  <a:pt x="13" y="8"/>
                </a:lnTo>
                <a:lnTo>
                  <a:pt x="25" y="0"/>
                </a:lnTo>
                <a:lnTo>
                  <a:pt x="33" y="5"/>
                </a:lnTo>
                <a:lnTo>
                  <a:pt x="40" y="3"/>
                </a:lnTo>
                <a:lnTo>
                  <a:pt x="43" y="3"/>
                </a:lnTo>
                <a:lnTo>
                  <a:pt x="43" y="5"/>
                </a:lnTo>
                <a:lnTo>
                  <a:pt x="45" y="18"/>
                </a:lnTo>
                <a:lnTo>
                  <a:pt x="30" y="20"/>
                </a:lnTo>
                <a:lnTo>
                  <a:pt x="40" y="28"/>
                </a:lnTo>
                <a:lnTo>
                  <a:pt x="40" y="25"/>
                </a:lnTo>
                <a:lnTo>
                  <a:pt x="43" y="28"/>
                </a:lnTo>
                <a:lnTo>
                  <a:pt x="43" y="33"/>
                </a:lnTo>
                <a:lnTo>
                  <a:pt x="45" y="35"/>
                </a:lnTo>
                <a:lnTo>
                  <a:pt x="45" y="35"/>
                </a:lnTo>
                <a:lnTo>
                  <a:pt x="43" y="38"/>
                </a:lnTo>
                <a:lnTo>
                  <a:pt x="45" y="40"/>
                </a:lnTo>
                <a:lnTo>
                  <a:pt x="30" y="48"/>
                </a:lnTo>
                <a:lnTo>
                  <a:pt x="28" y="38"/>
                </a:lnTo>
                <a:lnTo>
                  <a:pt x="5" y="30"/>
                </a:lnTo>
                <a:lnTo>
                  <a:pt x="0" y="3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51" name="Freeform 192"/>
          <p:cNvSpPr>
            <a:spLocks/>
          </p:cNvSpPr>
          <p:nvPr/>
        </p:nvSpPr>
        <p:spPr bwMode="auto">
          <a:xfrm>
            <a:off x="6467475" y="4144963"/>
            <a:ext cx="260350" cy="233363"/>
          </a:xfrm>
          <a:custGeom>
            <a:avLst/>
            <a:gdLst>
              <a:gd name="T0" fmla="*/ 132 w 164"/>
              <a:gd name="T1" fmla="*/ 82 h 147"/>
              <a:gd name="T2" fmla="*/ 139 w 164"/>
              <a:gd name="T3" fmla="*/ 72 h 147"/>
              <a:gd name="T4" fmla="*/ 139 w 164"/>
              <a:gd name="T5" fmla="*/ 59 h 147"/>
              <a:gd name="T6" fmla="*/ 142 w 164"/>
              <a:gd name="T7" fmla="*/ 42 h 147"/>
              <a:gd name="T8" fmla="*/ 139 w 164"/>
              <a:gd name="T9" fmla="*/ 22 h 147"/>
              <a:gd name="T10" fmla="*/ 154 w 164"/>
              <a:gd name="T11" fmla="*/ 12 h 147"/>
              <a:gd name="T12" fmla="*/ 162 w 164"/>
              <a:gd name="T13" fmla="*/ 7 h 147"/>
              <a:gd name="T14" fmla="*/ 162 w 164"/>
              <a:gd name="T15" fmla="*/ 0 h 147"/>
              <a:gd name="T16" fmla="*/ 144 w 164"/>
              <a:gd name="T17" fmla="*/ 2 h 147"/>
              <a:gd name="T18" fmla="*/ 124 w 164"/>
              <a:gd name="T19" fmla="*/ 2 h 147"/>
              <a:gd name="T20" fmla="*/ 109 w 164"/>
              <a:gd name="T21" fmla="*/ 5 h 147"/>
              <a:gd name="T22" fmla="*/ 99 w 164"/>
              <a:gd name="T23" fmla="*/ 12 h 147"/>
              <a:gd name="T24" fmla="*/ 84 w 164"/>
              <a:gd name="T25" fmla="*/ 14 h 147"/>
              <a:gd name="T26" fmla="*/ 74 w 164"/>
              <a:gd name="T27" fmla="*/ 10 h 147"/>
              <a:gd name="T28" fmla="*/ 54 w 164"/>
              <a:gd name="T29" fmla="*/ 10 h 147"/>
              <a:gd name="T30" fmla="*/ 47 w 164"/>
              <a:gd name="T31" fmla="*/ 12 h 147"/>
              <a:gd name="T32" fmla="*/ 29 w 164"/>
              <a:gd name="T33" fmla="*/ 17 h 147"/>
              <a:gd name="T34" fmla="*/ 22 w 164"/>
              <a:gd name="T35" fmla="*/ 19 h 147"/>
              <a:gd name="T36" fmla="*/ 17 w 164"/>
              <a:gd name="T37" fmla="*/ 32 h 147"/>
              <a:gd name="T38" fmla="*/ 12 w 164"/>
              <a:gd name="T39" fmla="*/ 39 h 147"/>
              <a:gd name="T40" fmla="*/ 2 w 164"/>
              <a:gd name="T41" fmla="*/ 39 h 147"/>
              <a:gd name="T42" fmla="*/ 0 w 164"/>
              <a:gd name="T43" fmla="*/ 39 h 147"/>
              <a:gd name="T44" fmla="*/ 4 w 164"/>
              <a:gd name="T45" fmla="*/ 57 h 147"/>
              <a:gd name="T46" fmla="*/ 4 w 164"/>
              <a:gd name="T47" fmla="*/ 69 h 147"/>
              <a:gd name="T48" fmla="*/ 14 w 164"/>
              <a:gd name="T49" fmla="*/ 82 h 147"/>
              <a:gd name="T50" fmla="*/ 22 w 164"/>
              <a:gd name="T51" fmla="*/ 89 h 147"/>
              <a:gd name="T52" fmla="*/ 24 w 164"/>
              <a:gd name="T53" fmla="*/ 99 h 147"/>
              <a:gd name="T54" fmla="*/ 19 w 164"/>
              <a:gd name="T55" fmla="*/ 102 h 147"/>
              <a:gd name="T56" fmla="*/ 12 w 164"/>
              <a:gd name="T57" fmla="*/ 112 h 147"/>
              <a:gd name="T58" fmla="*/ 7 w 164"/>
              <a:gd name="T59" fmla="*/ 117 h 147"/>
              <a:gd name="T60" fmla="*/ 12 w 164"/>
              <a:gd name="T61" fmla="*/ 124 h 147"/>
              <a:gd name="T62" fmla="*/ 12 w 164"/>
              <a:gd name="T63" fmla="*/ 137 h 147"/>
              <a:gd name="T64" fmla="*/ 22 w 164"/>
              <a:gd name="T65" fmla="*/ 142 h 147"/>
              <a:gd name="T66" fmla="*/ 29 w 164"/>
              <a:gd name="T67" fmla="*/ 144 h 147"/>
              <a:gd name="T68" fmla="*/ 84 w 164"/>
              <a:gd name="T69" fmla="*/ 1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147">
                <a:moveTo>
                  <a:pt x="84" y="114"/>
                </a:moveTo>
                <a:lnTo>
                  <a:pt x="132" y="82"/>
                </a:lnTo>
                <a:lnTo>
                  <a:pt x="134" y="77"/>
                </a:lnTo>
                <a:lnTo>
                  <a:pt x="139" y="72"/>
                </a:lnTo>
                <a:lnTo>
                  <a:pt x="139" y="64"/>
                </a:lnTo>
                <a:lnTo>
                  <a:pt x="139" y="59"/>
                </a:lnTo>
                <a:lnTo>
                  <a:pt x="142" y="49"/>
                </a:lnTo>
                <a:lnTo>
                  <a:pt x="142" y="42"/>
                </a:lnTo>
                <a:lnTo>
                  <a:pt x="137" y="32"/>
                </a:lnTo>
                <a:lnTo>
                  <a:pt x="139" y="22"/>
                </a:lnTo>
                <a:lnTo>
                  <a:pt x="144" y="14"/>
                </a:lnTo>
                <a:lnTo>
                  <a:pt x="154" y="12"/>
                </a:lnTo>
                <a:lnTo>
                  <a:pt x="159" y="7"/>
                </a:lnTo>
                <a:lnTo>
                  <a:pt x="162" y="7"/>
                </a:lnTo>
                <a:lnTo>
                  <a:pt x="164" y="2"/>
                </a:lnTo>
                <a:lnTo>
                  <a:pt x="162" y="0"/>
                </a:lnTo>
                <a:lnTo>
                  <a:pt x="154" y="0"/>
                </a:lnTo>
                <a:lnTo>
                  <a:pt x="144" y="2"/>
                </a:lnTo>
                <a:lnTo>
                  <a:pt x="129" y="2"/>
                </a:lnTo>
                <a:lnTo>
                  <a:pt x="124" y="2"/>
                </a:lnTo>
                <a:lnTo>
                  <a:pt x="119" y="2"/>
                </a:lnTo>
                <a:lnTo>
                  <a:pt x="109" y="5"/>
                </a:lnTo>
                <a:lnTo>
                  <a:pt x="104" y="10"/>
                </a:lnTo>
                <a:lnTo>
                  <a:pt x="99" y="12"/>
                </a:lnTo>
                <a:lnTo>
                  <a:pt x="97" y="14"/>
                </a:lnTo>
                <a:lnTo>
                  <a:pt x="84" y="14"/>
                </a:lnTo>
                <a:lnTo>
                  <a:pt x="77" y="12"/>
                </a:lnTo>
                <a:lnTo>
                  <a:pt x="74" y="10"/>
                </a:lnTo>
                <a:lnTo>
                  <a:pt x="69" y="10"/>
                </a:lnTo>
                <a:lnTo>
                  <a:pt x="54" y="10"/>
                </a:lnTo>
                <a:lnTo>
                  <a:pt x="52" y="12"/>
                </a:lnTo>
                <a:lnTo>
                  <a:pt x="47" y="12"/>
                </a:lnTo>
                <a:lnTo>
                  <a:pt x="34" y="17"/>
                </a:lnTo>
                <a:lnTo>
                  <a:pt x="29" y="17"/>
                </a:lnTo>
                <a:lnTo>
                  <a:pt x="22" y="14"/>
                </a:lnTo>
                <a:lnTo>
                  <a:pt x="22" y="19"/>
                </a:lnTo>
                <a:lnTo>
                  <a:pt x="22" y="29"/>
                </a:lnTo>
                <a:lnTo>
                  <a:pt x="17" y="32"/>
                </a:lnTo>
                <a:lnTo>
                  <a:pt x="19" y="37"/>
                </a:lnTo>
                <a:lnTo>
                  <a:pt x="12" y="39"/>
                </a:lnTo>
                <a:lnTo>
                  <a:pt x="7" y="39"/>
                </a:lnTo>
                <a:lnTo>
                  <a:pt x="2" y="39"/>
                </a:lnTo>
                <a:lnTo>
                  <a:pt x="2" y="39"/>
                </a:lnTo>
                <a:lnTo>
                  <a:pt x="0" y="39"/>
                </a:lnTo>
                <a:lnTo>
                  <a:pt x="0" y="49"/>
                </a:lnTo>
                <a:lnTo>
                  <a:pt x="4" y="57"/>
                </a:lnTo>
                <a:lnTo>
                  <a:pt x="7" y="64"/>
                </a:lnTo>
                <a:lnTo>
                  <a:pt x="4" y="69"/>
                </a:lnTo>
                <a:lnTo>
                  <a:pt x="4" y="79"/>
                </a:lnTo>
                <a:lnTo>
                  <a:pt x="14" y="82"/>
                </a:lnTo>
                <a:lnTo>
                  <a:pt x="17" y="87"/>
                </a:lnTo>
                <a:lnTo>
                  <a:pt x="22" y="89"/>
                </a:lnTo>
                <a:lnTo>
                  <a:pt x="22" y="97"/>
                </a:lnTo>
                <a:lnTo>
                  <a:pt x="24" y="99"/>
                </a:lnTo>
                <a:lnTo>
                  <a:pt x="22" y="102"/>
                </a:lnTo>
                <a:lnTo>
                  <a:pt x="19" y="102"/>
                </a:lnTo>
                <a:lnTo>
                  <a:pt x="12" y="104"/>
                </a:lnTo>
                <a:lnTo>
                  <a:pt x="12" y="112"/>
                </a:lnTo>
                <a:lnTo>
                  <a:pt x="7" y="117"/>
                </a:lnTo>
                <a:lnTo>
                  <a:pt x="7" y="117"/>
                </a:lnTo>
                <a:lnTo>
                  <a:pt x="7" y="119"/>
                </a:lnTo>
                <a:lnTo>
                  <a:pt x="12" y="124"/>
                </a:lnTo>
                <a:lnTo>
                  <a:pt x="12" y="132"/>
                </a:lnTo>
                <a:lnTo>
                  <a:pt x="12" y="137"/>
                </a:lnTo>
                <a:lnTo>
                  <a:pt x="14" y="137"/>
                </a:lnTo>
                <a:lnTo>
                  <a:pt x="22" y="142"/>
                </a:lnTo>
                <a:lnTo>
                  <a:pt x="27" y="144"/>
                </a:lnTo>
                <a:lnTo>
                  <a:pt x="29" y="144"/>
                </a:lnTo>
                <a:lnTo>
                  <a:pt x="32" y="147"/>
                </a:lnTo>
                <a:lnTo>
                  <a:pt x="84" y="114"/>
                </a:lnTo>
                <a:lnTo>
                  <a:pt x="84" y="114"/>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52" name="Freeform 193"/>
          <p:cNvSpPr>
            <a:spLocks/>
          </p:cNvSpPr>
          <p:nvPr/>
        </p:nvSpPr>
        <p:spPr bwMode="auto">
          <a:xfrm>
            <a:off x="6411913" y="4330700"/>
            <a:ext cx="66675" cy="185738"/>
          </a:xfrm>
          <a:custGeom>
            <a:avLst/>
            <a:gdLst>
              <a:gd name="T0" fmla="*/ 27 w 42"/>
              <a:gd name="T1" fmla="*/ 117 h 117"/>
              <a:gd name="T2" fmla="*/ 30 w 42"/>
              <a:gd name="T3" fmla="*/ 112 h 117"/>
              <a:gd name="T4" fmla="*/ 30 w 42"/>
              <a:gd name="T5" fmla="*/ 112 h 117"/>
              <a:gd name="T6" fmla="*/ 30 w 42"/>
              <a:gd name="T7" fmla="*/ 110 h 117"/>
              <a:gd name="T8" fmla="*/ 32 w 42"/>
              <a:gd name="T9" fmla="*/ 107 h 117"/>
              <a:gd name="T10" fmla="*/ 32 w 42"/>
              <a:gd name="T11" fmla="*/ 100 h 117"/>
              <a:gd name="T12" fmla="*/ 35 w 42"/>
              <a:gd name="T13" fmla="*/ 92 h 117"/>
              <a:gd name="T14" fmla="*/ 35 w 42"/>
              <a:gd name="T15" fmla="*/ 85 h 117"/>
              <a:gd name="T16" fmla="*/ 35 w 42"/>
              <a:gd name="T17" fmla="*/ 85 h 117"/>
              <a:gd name="T18" fmla="*/ 35 w 42"/>
              <a:gd name="T19" fmla="*/ 80 h 117"/>
              <a:gd name="T20" fmla="*/ 37 w 42"/>
              <a:gd name="T21" fmla="*/ 72 h 117"/>
              <a:gd name="T22" fmla="*/ 37 w 42"/>
              <a:gd name="T23" fmla="*/ 70 h 117"/>
              <a:gd name="T24" fmla="*/ 37 w 42"/>
              <a:gd name="T25" fmla="*/ 57 h 117"/>
              <a:gd name="T26" fmla="*/ 35 w 42"/>
              <a:gd name="T27" fmla="*/ 57 h 117"/>
              <a:gd name="T28" fmla="*/ 32 w 42"/>
              <a:gd name="T29" fmla="*/ 57 h 117"/>
              <a:gd name="T30" fmla="*/ 27 w 42"/>
              <a:gd name="T31" fmla="*/ 60 h 117"/>
              <a:gd name="T32" fmla="*/ 25 w 42"/>
              <a:gd name="T33" fmla="*/ 57 h 117"/>
              <a:gd name="T34" fmla="*/ 27 w 42"/>
              <a:gd name="T35" fmla="*/ 50 h 117"/>
              <a:gd name="T36" fmla="*/ 27 w 42"/>
              <a:gd name="T37" fmla="*/ 37 h 117"/>
              <a:gd name="T38" fmla="*/ 25 w 42"/>
              <a:gd name="T39" fmla="*/ 35 h 117"/>
              <a:gd name="T40" fmla="*/ 27 w 42"/>
              <a:gd name="T41" fmla="*/ 27 h 117"/>
              <a:gd name="T42" fmla="*/ 32 w 42"/>
              <a:gd name="T43" fmla="*/ 27 h 117"/>
              <a:gd name="T44" fmla="*/ 32 w 42"/>
              <a:gd name="T45" fmla="*/ 32 h 117"/>
              <a:gd name="T46" fmla="*/ 35 w 42"/>
              <a:gd name="T47" fmla="*/ 32 h 117"/>
              <a:gd name="T48" fmla="*/ 39 w 42"/>
              <a:gd name="T49" fmla="*/ 30 h 117"/>
              <a:gd name="T50" fmla="*/ 39 w 42"/>
              <a:gd name="T51" fmla="*/ 25 h 117"/>
              <a:gd name="T52" fmla="*/ 39 w 42"/>
              <a:gd name="T53" fmla="*/ 25 h 117"/>
              <a:gd name="T54" fmla="*/ 37 w 42"/>
              <a:gd name="T55" fmla="*/ 22 h 117"/>
              <a:gd name="T56" fmla="*/ 37 w 42"/>
              <a:gd name="T57" fmla="*/ 20 h 117"/>
              <a:gd name="T58" fmla="*/ 39 w 42"/>
              <a:gd name="T59" fmla="*/ 10 h 117"/>
              <a:gd name="T60" fmla="*/ 39 w 42"/>
              <a:gd name="T61" fmla="*/ 5 h 117"/>
              <a:gd name="T62" fmla="*/ 42 w 42"/>
              <a:gd name="T63" fmla="*/ 0 h 117"/>
              <a:gd name="T64" fmla="*/ 39 w 42"/>
              <a:gd name="T65" fmla="*/ 2 h 117"/>
              <a:gd name="T66" fmla="*/ 35 w 42"/>
              <a:gd name="T67" fmla="*/ 7 h 117"/>
              <a:gd name="T68" fmla="*/ 27 w 42"/>
              <a:gd name="T69" fmla="*/ 7 h 117"/>
              <a:gd name="T70" fmla="*/ 25 w 42"/>
              <a:gd name="T71" fmla="*/ 7 h 117"/>
              <a:gd name="T72" fmla="*/ 20 w 42"/>
              <a:gd name="T73" fmla="*/ 12 h 117"/>
              <a:gd name="T74" fmla="*/ 17 w 42"/>
              <a:gd name="T75" fmla="*/ 32 h 117"/>
              <a:gd name="T76" fmla="*/ 10 w 42"/>
              <a:gd name="T77" fmla="*/ 47 h 117"/>
              <a:gd name="T78" fmla="*/ 0 w 42"/>
              <a:gd name="T79" fmla="*/ 57 h 117"/>
              <a:gd name="T80" fmla="*/ 5 w 42"/>
              <a:gd name="T81" fmla="*/ 60 h 117"/>
              <a:gd name="T82" fmla="*/ 10 w 42"/>
              <a:gd name="T83" fmla="*/ 67 h 117"/>
              <a:gd name="T84" fmla="*/ 12 w 42"/>
              <a:gd name="T85" fmla="*/ 77 h 117"/>
              <a:gd name="T86" fmla="*/ 20 w 42"/>
              <a:gd name="T87" fmla="*/ 90 h 117"/>
              <a:gd name="T88" fmla="*/ 25 w 42"/>
              <a:gd name="T89" fmla="*/ 102 h 117"/>
              <a:gd name="T90" fmla="*/ 22 w 42"/>
              <a:gd name="T91" fmla="*/ 110 h 117"/>
              <a:gd name="T92" fmla="*/ 27 w 42"/>
              <a:gd name="T93"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 h="117">
                <a:moveTo>
                  <a:pt x="27" y="117"/>
                </a:moveTo>
                <a:lnTo>
                  <a:pt x="30" y="112"/>
                </a:lnTo>
                <a:lnTo>
                  <a:pt x="30" y="112"/>
                </a:lnTo>
                <a:lnTo>
                  <a:pt x="30" y="110"/>
                </a:lnTo>
                <a:lnTo>
                  <a:pt x="32" y="107"/>
                </a:lnTo>
                <a:lnTo>
                  <a:pt x="32" y="100"/>
                </a:lnTo>
                <a:lnTo>
                  <a:pt x="35" y="92"/>
                </a:lnTo>
                <a:lnTo>
                  <a:pt x="35" y="85"/>
                </a:lnTo>
                <a:lnTo>
                  <a:pt x="35" y="85"/>
                </a:lnTo>
                <a:lnTo>
                  <a:pt x="35" y="80"/>
                </a:lnTo>
                <a:lnTo>
                  <a:pt x="37" y="72"/>
                </a:lnTo>
                <a:lnTo>
                  <a:pt x="37" y="70"/>
                </a:lnTo>
                <a:lnTo>
                  <a:pt x="37" y="57"/>
                </a:lnTo>
                <a:lnTo>
                  <a:pt x="35" y="57"/>
                </a:lnTo>
                <a:lnTo>
                  <a:pt x="32" y="57"/>
                </a:lnTo>
                <a:lnTo>
                  <a:pt x="27" y="60"/>
                </a:lnTo>
                <a:lnTo>
                  <a:pt x="25" y="57"/>
                </a:lnTo>
                <a:lnTo>
                  <a:pt x="27" y="50"/>
                </a:lnTo>
                <a:lnTo>
                  <a:pt x="27" y="37"/>
                </a:lnTo>
                <a:lnTo>
                  <a:pt x="25" y="35"/>
                </a:lnTo>
                <a:lnTo>
                  <a:pt x="27" y="27"/>
                </a:lnTo>
                <a:lnTo>
                  <a:pt x="32" y="27"/>
                </a:lnTo>
                <a:lnTo>
                  <a:pt x="32" y="32"/>
                </a:lnTo>
                <a:lnTo>
                  <a:pt x="35" y="32"/>
                </a:lnTo>
                <a:lnTo>
                  <a:pt x="39" y="30"/>
                </a:lnTo>
                <a:lnTo>
                  <a:pt x="39" y="25"/>
                </a:lnTo>
                <a:lnTo>
                  <a:pt x="39" y="25"/>
                </a:lnTo>
                <a:lnTo>
                  <a:pt x="37" y="22"/>
                </a:lnTo>
                <a:lnTo>
                  <a:pt x="37" y="20"/>
                </a:lnTo>
                <a:lnTo>
                  <a:pt x="39" y="10"/>
                </a:lnTo>
                <a:lnTo>
                  <a:pt x="39" y="5"/>
                </a:lnTo>
                <a:lnTo>
                  <a:pt x="42" y="0"/>
                </a:lnTo>
                <a:lnTo>
                  <a:pt x="39" y="2"/>
                </a:lnTo>
                <a:lnTo>
                  <a:pt x="35" y="7"/>
                </a:lnTo>
                <a:lnTo>
                  <a:pt x="27" y="7"/>
                </a:lnTo>
                <a:lnTo>
                  <a:pt x="25" y="7"/>
                </a:lnTo>
                <a:lnTo>
                  <a:pt x="20" y="12"/>
                </a:lnTo>
                <a:lnTo>
                  <a:pt x="17" y="32"/>
                </a:lnTo>
                <a:lnTo>
                  <a:pt x="10" y="47"/>
                </a:lnTo>
                <a:lnTo>
                  <a:pt x="0" y="57"/>
                </a:lnTo>
                <a:lnTo>
                  <a:pt x="5" y="60"/>
                </a:lnTo>
                <a:lnTo>
                  <a:pt x="10" y="67"/>
                </a:lnTo>
                <a:lnTo>
                  <a:pt x="12" y="77"/>
                </a:lnTo>
                <a:lnTo>
                  <a:pt x="20" y="90"/>
                </a:lnTo>
                <a:lnTo>
                  <a:pt x="25" y="102"/>
                </a:lnTo>
                <a:lnTo>
                  <a:pt x="22" y="110"/>
                </a:lnTo>
                <a:lnTo>
                  <a:pt x="27" y="11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53" name="Freeform 194"/>
          <p:cNvSpPr>
            <a:spLocks noEditPoints="1"/>
          </p:cNvSpPr>
          <p:nvPr/>
        </p:nvSpPr>
        <p:spPr bwMode="auto">
          <a:xfrm>
            <a:off x="6451600" y="4330700"/>
            <a:ext cx="34925" cy="95250"/>
          </a:xfrm>
          <a:custGeom>
            <a:avLst/>
            <a:gdLst>
              <a:gd name="T0" fmla="*/ 14 w 22"/>
              <a:gd name="T1" fmla="*/ 25 h 60"/>
              <a:gd name="T2" fmla="*/ 12 w 22"/>
              <a:gd name="T3" fmla="*/ 22 h 60"/>
              <a:gd name="T4" fmla="*/ 12 w 22"/>
              <a:gd name="T5" fmla="*/ 20 h 60"/>
              <a:gd name="T6" fmla="*/ 14 w 22"/>
              <a:gd name="T7" fmla="*/ 10 h 60"/>
              <a:gd name="T8" fmla="*/ 14 w 22"/>
              <a:gd name="T9" fmla="*/ 5 h 60"/>
              <a:gd name="T10" fmla="*/ 17 w 22"/>
              <a:gd name="T11" fmla="*/ 0 h 60"/>
              <a:gd name="T12" fmla="*/ 17 w 22"/>
              <a:gd name="T13" fmla="*/ 0 h 60"/>
              <a:gd name="T14" fmla="*/ 17 w 22"/>
              <a:gd name="T15" fmla="*/ 2 h 60"/>
              <a:gd name="T16" fmla="*/ 22 w 22"/>
              <a:gd name="T17" fmla="*/ 7 h 60"/>
              <a:gd name="T18" fmla="*/ 22 w 22"/>
              <a:gd name="T19" fmla="*/ 15 h 60"/>
              <a:gd name="T20" fmla="*/ 22 w 22"/>
              <a:gd name="T21" fmla="*/ 20 h 60"/>
              <a:gd name="T22" fmla="*/ 19 w 22"/>
              <a:gd name="T23" fmla="*/ 20 h 60"/>
              <a:gd name="T24" fmla="*/ 17 w 22"/>
              <a:gd name="T25" fmla="*/ 22 h 60"/>
              <a:gd name="T26" fmla="*/ 14 w 22"/>
              <a:gd name="T27" fmla="*/ 25 h 60"/>
              <a:gd name="T28" fmla="*/ 14 w 22"/>
              <a:gd name="T29" fmla="*/ 25 h 60"/>
              <a:gd name="T30" fmla="*/ 12 w 22"/>
              <a:gd name="T31" fmla="*/ 57 h 60"/>
              <a:gd name="T32" fmla="*/ 12 w 22"/>
              <a:gd name="T33" fmla="*/ 47 h 60"/>
              <a:gd name="T34" fmla="*/ 12 w 22"/>
              <a:gd name="T35" fmla="*/ 42 h 60"/>
              <a:gd name="T36" fmla="*/ 14 w 22"/>
              <a:gd name="T37" fmla="*/ 37 h 60"/>
              <a:gd name="T38" fmla="*/ 14 w 22"/>
              <a:gd name="T39" fmla="*/ 35 h 60"/>
              <a:gd name="T40" fmla="*/ 14 w 22"/>
              <a:gd name="T41" fmla="*/ 30 h 60"/>
              <a:gd name="T42" fmla="*/ 14 w 22"/>
              <a:gd name="T43" fmla="*/ 30 h 60"/>
              <a:gd name="T44" fmla="*/ 10 w 22"/>
              <a:gd name="T45" fmla="*/ 32 h 60"/>
              <a:gd name="T46" fmla="*/ 7 w 22"/>
              <a:gd name="T47" fmla="*/ 32 h 60"/>
              <a:gd name="T48" fmla="*/ 7 w 22"/>
              <a:gd name="T49" fmla="*/ 27 h 60"/>
              <a:gd name="T50" fmla="*/ 2 w 22"/>
              <a:gd name="T51" fmla="*/ 27 h 60"/>
              <a:gd name="T52" fmla="*/ 0 w 22"/>
              <a:gd name="T53" fmla="*/ 35 h 60"/>
              <a:gd name="T54" fmla="*/ 2 w 22"/>
              <a:gd name="T55" fmla="*/ 37 h 60"/>
              <a:gd name="T56" fmla="*/ 2 w 22"/>
              <a:gd name="T57" fmla="*/ 50 h 60"/>
              <a:gd name="T58" fmla="*/ 0 w 22"/>
              <a:gd name="T59" fmla="*/ 57 h 60"/>
              <a:gd name="T60" fmla="*/ 2 w 22"/>
              <a:gd name="T61" fmla="*/ 60 h 60"/>
              <a:gd name="T62" fmla="*/ 7 w 22"/>
              <a:gd name="T63" fmla="*/ 57 h 60"/>
              <a:gd name="T64" fmla="*/ 10 w 22"/>
              <a:gd name="T65" fmla="*/ 57 h 60"/>
              <a:gd name="T66" fmla="*/ 12 w 22"/>
              <a:gd name="T67" fmla="*/ 5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60">
                <a:moveTo>
                  <a:pt x="14" y="25"/>
                </a:moveTo>
                <a:lnTo>
                  <a:pt x="12" y="22"/>
                </a:lnTo>
                <a:lnTo>
                  <a:pt x="12" y="20"/>
                </a:lnTo>
                <a:lnTo>
                  <a:pt x="14" y="10"/>
                </a:lnTo>
                <a:lnTo>
                  <a:pt x="14" y="5"/>
                </a:lnTo>
                <a:lnTo>
                  <a:pt x="17" y="0"/>
                </a:lnTo>
                <a:lnTo>
                  <a:pt x="17" y="0"/>
                </a:lnTo>
                <a:lnTo>
                  <a:pt x="17" y="2"/>
                </a:lnTo>
                <a:lnTo>
                  <a:pt x="22" y="7"/>
                </a:lnTo>
                <a:lnTo>
                  <a:pt x="22" y="15"/>
                </a:lnTo>
                <a:lnTo>
                  <a:pt x="22" y="20"/>
                </a:lnTo>
                <a:lnTo>
                  <a:pt x="19" y="20"/>
                </a:lnTo>
                <a:lnTo>
                  <a:pt x="17" y="22"/>
                </a:lnTo>
                <a:lnTo>
                  <a:pt x="14" y="25"/>
                </a:lnTo>
                <a:lnTo>
                  <a:pt x="14" y="25"/>
                </a:lnTo>
                <a:close/>
                <a:moveTo>
                  <a:pt x="12" y="57"/>
                </a:moveTo>
                <a:lnTo>
                  <a:pt x="12" y="47"/>
                </a:lnTo>
                <a:lnTo>
                  <a:pt x="12" y="42"/>
                </a:lnTo>
                <a:lnTo>
                  <a:pt x="14" y="37"/>
                </a:lnTo>
                <a:lnTo>
                  <a:pt x="14" y="35"/>
                </a:lnTo>
                <a:lnTo>
                  <a:pt x="14" y="30"/>
                </a:lnTo>
                <a:lnTo>
                  <a:pt x="14" y="30"/>
                </a:lnTo>
                <a:lnTo>
                  <a:pt x="10" y="32"/>
                </a:lnTo>
                <a:lnTo>
                  <a:pt x="7" y="32"/>
                </a:lnTo>
                <a:lnTo>
                  <a:pt x="7" y="27"/>
                </a:lnTo>
                <a:lnTo>
                  <a:pt x="2" y="27"/>
                </a:lnTo>
                <a:lnTo>
                  <a:pt x="0" y="35"/>
                </a:lnTo>
                <a:lnTo>
                  <a:pt x="2" y="37"/>
                </a:lnTo>
                <a:lnTo>
                  <a:pt x="2" y="50"/>
                </a:lnTo>
                <a:lnTo>
                  <a:pt x="0" y="57"/>
                </a:lnTo>
                <a:lnTo>
                  <a:pt x="2" y="60"/>
                </a:lnTo>
                <a:lnTo>
                  <a:pt x="7" y="57"/>
                </a:lnTo>
                <a:lnTo>
                  <a:pt x="10" y="57"/>
                </a:lnTo>
                <a:lnTo>
                  <a:pt x="12" y="5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54" name="Freeform 195"/>
          <p:cNvSpPr>
            <a:spLocks/>
          </p:cNvSpPr>
          <p:nvPr/>
        </p:nvSpPr>
        <p:spPr bwMode="auto">
          <a:xfrm>
            <a:off x="6451600" y="4270375"/>
            <a:ext cx="53975" cy="71438"/>
          </a:xfrm>
          <a:custGeom>
            <a:avLst/>
            <a:gdLst>
              <a:gd name="T0" fmla="*/ 0 w 34"/>
              <a:gd name="T1" fmla="*/ 45 h 45"/>
              <a:gd name="T2" fmla="*/ 2 w 34"/>
              <a:gd name="T3" fmla="*/ 45 h 45"/>
              <a:gd name="T4" fmla="*/ 10 w 34"/>
              <a:gd name="T5" fmla="*/ 45 h 45"/>
              <a:gd name="T6" fmla="*/ 14 w 34"/>
              <a:gd name="T7" fmla="*/ 40 h 45"/>
              <a:gd name="T8" fmla="*/ 17 w 34"/>
              <a:gd name="T9" fmla="*/ 38 h 45"/>
              <a:gd name="T10" fmla="*/ 22 w 34"/>
              <a:gd name="T11" fmla="*/ 33 h 45"/>
              <a:gd name="T12" fmla="*/ 22 w 34"/>
              <a:gd name="T13" fmla="*/ 25 h 45"/>
              <a:gd name="T14" fmla="*/ 29 w 34"/>
              <a:gd name="T15" fmla="*/ 23 h 45"/>
              <a:gd name="T16" fmla="*/ 32 w 34"/>
              <a:gd name="T17" fmla="*/ 23 h 45"/>
              <a:gd name="T18" fmla="*/ 34 w 34"/>
              <a:gd name="T19" fmla="*/ 20 h 45"/>
              <a:gd name="T20" fmla="*/ 32 w 34"/>
              <a:gd name="T21" fmla="*/ 18 h 45"/>
              <a:gd name="T22" fmla="*/ 32 w 34"/>
              <a:gd name="T23" fmla="*/ 10 h 45"/>
              <a:gd name="T24" fmla="*/ 27 w 34"/>
              <a:gd name="T25" fmla="*/ 8 h 45"/>
              <a:gd name="T26" fmla="*/ 24 w 34"/>
              <a:gd name="T27" fmla="*/ 3 h 45"/>
              <a:gd name="T28" fmla="*/ 14 w 34"/>
              <a:gd name="T29" fmla="*/ 0 h 45"/>
              <a:gd name="T30" fmla="*/ 14 w 34"/>
              <a:gd name="T31" fmla="*/ 3 h 45"/>
              <a:gd name="T32" fmla="*/ 10 w 34"/>
              <a:gd name="T33" fmla="*/ 3 h 45"/>
              <a:gd name="T34" fmla="*/ 10 w 34"/>
              <a:gd name="T35" fmla="*/ 23 h 45"/>
              <a:gd name="T36" fmla="*/ 5 w 34"/>
              <a:gd name="T37" fmla="*/ 30 h 45"/>
              <a:gd name="T38" fmla="*/ 0 w 34"/>
              <a:gd name="T39" fmla="*/ 35 h 45"/>
              <a:gd name="T40" fmla="*/ 0 w 34"/>
              <a:gd name="T41" fmla="*/ 43 h 45"/>
              <a:gd name="T42" fmla="*/ 0 w 34"/>
              <a:gd name="T4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45">
                <a:moveTo>
                  <a:pt x="0" y="45"/>
                </a:moveTo>
                <a:lnTo>
                  <a:pt x="2" y="45"/>
                </a:lnTo>
                <a:lnTo>
                  <a:pt x="10" y="45"/>
                </a:lnTo>
                <a:lnTo>
                  <a:pt x="14" y="40"/>
                </a:lnTo>
                <a:lnTo>
                  <a:pt x="17" y="38"/>
                </a:lnTo>
                <a:lnTo>
                  <a:pt x="22" y="33"/>
                </a:lnTo>
                <a:lnTo>
                  <a:pt x="22" y="25"/>
                </a:lnTo>
                <a:lnTo>
                  <a:pt x="29" y="23"/>
                </a:lnTo>
                <a:lnTo>
                  <a:pt x="32" y="23"/>
                </a:lnTo>
                <a:lnTo>
                  <a:pt x="34" y="20"/>
                </a:lnTo>
                <a:lnTo>
                  <a:pt x="32" y="18"/>
                </a:lnTo>
                <a:lnTo>
                  <a:pt x="32" y="10"/>
                </a:lnTo>
                <a:lnTo>
                  <a:pt x="27" y="8"/>
                </a:lnTo>
                <a:lnTo>
                  <a:pt x="24" y="3"/>
                </a:lnTo>
                <a:lnTo>
                  <a:pt x="14" y="0"/>
                </a:lnTo>
                <a:lnTo>
                  <a:pt x="14" y="3"/>
                </a:lnTo>
                <a:lnTo>
                  <a:pt x="10" y="3"/>
                </a:lnTo>
                <a:lnTo>
                  <a:pt x="10" y="23"/>
                </a:lnTo>
                <a:lnTo>
                  <a:pt x="5" y="30"/>
                </a:lnTo>
                <a:lnTo>
                  <a:pt x="0" y="35"/>
                </a:lnTo>
                <a:lnTo>
                  <a:pt x="0" y="43"/>
                </a:lnTo>
                <a:lnTo>
                  <a:pt x="0" y="4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55" name="Freeform 196"/>
          <p:cNvSpPr>
            <a:spLocks/>
          </p:cNvSpPr>
          <p:nvPr/>
        </p:nvSpPr>
        <p:spPr bwMode="auto">
          <a:xfrm>
            <a:off x="6454775" y="4325938"/>
            <a:ext cx="169862" cy="211138"/>
          </a:xfrm>
          <a:custGeom>
            <a:avLst/>
            <a:gdLst>
              <a:gd name="T0" fmla="*/ 3 w 107"/>
              <a:gd name="T1" fmla="*/ 115 h 133"/>
              <a:gd name="T2" fmla="*/ 3 w 107"/>
              <a:gd name="T3" fmla="*/ 115 h 133"/>
              <a:gd name="T4" fmla="*/ 3 w 107"/>
              <a:gd name="T5" fmla="*/ 113 h 133"/>
              <a:gd name="T6" fmla="*/ 5 w 107"/>
              <a:gd name="T7" fmla="*/ 110 h 133"/>
              <a:gd name="T8" fmla="*/ 5 w 107"/>
              <a:gd name="T9" fmla="*/ 103 h 133"/>
              <a:gd name="T10" fmla="*/ 8 w 107"/>
              <a:gd name="T11" fmla="*/ 95 h 133"/>
              <a:gd name="T12" fmla="*/ 8 w 107"/>
              <a:gd name="T13" fmla="*/ 88 h 133"/>
              <a:gd name="T14" fmla="*/ 8 w 107"/>
              <a:gd name="T15" fmla="*/ 88 h 133"/>
              <a:gd name="T16" fmla="*/ 8 w 107"/>
              <a:gd name="T17" fmla="*/ 83 h 133"/>
              <a:gd name="T18" fmla="*/ 10 w 107"/>
              <a:gd name="T19" fmla="*/ 75 h 133"/>
              <a:gd name="T20" fmla="*/ 10 w 107"/>
              <a:gd name="T21" fmla="*/ 73 h 133"/>
              <a:gd name="T22" fmla="*/ 10 w 107"/>
              <a:gd name="T23" fmla="*/ 50 h 133"/>
              <a:gd name="T24" fmla="*/ 10 w 107"/>
              <a:gd name="T25" fmla="*/ 45 h 133"/>
              <a:gd name="T26" fmla="*/ 12 w 107"/>
              <a:gd name="T27" fmla="*/ 40 h 133"/>
              <a:gd name="T28" fmla="*/ 12 w 107"/>
              <a:gd name="T29" fmla="*/ 38 h 133"/>
              <a:gd name="T30" fmla="*/ 12 w 107"/>
              <a:gd name="T31" fmla="*/ 33 h 133"/>
              <a:gd name="T32" fmla="*/ 12 w 107"/>
              <a:gd name="T33" fmla="*/ 28 h 133"/>
              <a:gd name="T34" fmla="*/ 12 w 107"/>
              <a:gd name="T35" fmla="*/ 28 h 133"/>
              <a:gd name="T36" fmla="*/ 15 w 107"/>
              <a:gd name="T37" fmla="*/ 25 h 133"/>
              <a:gd name="T38" fmla="*/ 17 w 107"/>
              <a:gd name="T39" fmla="*/ 23 h 133"/>
              <a:gd name="T40" fmla="*/ 22 w 107"/>
              <a:gd name="T41" fmla="*/ 23 h 133"/>
              <a:gd name="T42" fmla="*/ 30 w 107"/>
              <a:gd name="T43" fmla="*/ 28 h 133"/>
              <a:gd name="T44" fmla="*/ 35 w 107"/>
              <a:gd name="T45" fmla="*/ 30 h 133"/>
              <a:gd name="T46" fmla="*/ 37 w 107"/>
              <a:gd name="T47" fmla="*/ 30 h 133"/>
              <a:gd name="T48" fmla="*/ 40 w 107"/>
              <a:gd name="T49" fmla="*/ 33 h 133"/>
              <a:gd name="T50" fmla="*/ 92 w 107"/>
              <a:gd name="T51" fmla="*/ 0 h 133"/>
              <a:gd name="T52" fmla="*/ 107 w 107"/>
              <a:gd name="T53" fmla="*/ 35 h 133"/>
              <a:gd name="T54" fmla="*/ 105 w 107"/>
              <a:gd name="T55" fmla="*/ 35 h 133"/>
              <a:gd name="T56" fmla="*/ 95 w 107"/>
              <a:gd name="T57" fmla="*/ 45 h 133"/>
              <a:gd name="T58" fmla="*/ 57 w 107"/>
              <a:gd name="T59" fmla="*/ 58 h 133"/>
              <a:gd name="T60" fmla="*/ 87 w 107"/>
              <a:gd name="T61" fmla="*/ 90 h 133"/>
              <a:gd name="T62" fmla="*/ 75 w 107"/>
              <a:gd name="T63" fmla="*/ 103 h 133"/>
              <a:gd name="T64" fmla="*/ 75 w 107"/>
              <a:gd name="T65" fmla="*/ 113 h 133"/>
              <a:gd name="T66" fmla="*/ 55 w 107"/>
              <a:gd name="T67" fmla="*/ 115 h 133"/>
              <a:gd name="T68" fmla="*/ 35 w 107"/>
              <a:gd name="T69" fmla="*/ 133 h 133"/>
              <a:gd name="T70" fmla="*/ 8 w 107"/>
              <a:gd name="T71" fmla="*/ 125 h 133"/>
              <a:gd name="T72" fmla="*/ 0 w 107"/>
              <a:gd name="T73" fmla="*/ 125 h 133"/>
              <a:gd name="T74" fmla="*/ 0 w 107"/>
              <a:gd name="T75" fmla="*/ 125 h 133"/>
              <a:gd name="T76" fmla="*/ 3 w 107"/>
              <a:gd name="T77" fmla="*/ 118 h 133"/>
              <a:gd name="T78" fmla="*/ 3 w 107"/>
              <a:gd name="T79" fmla="*/ 115 h 133"/>
              <a:gd name="T80" fmla="*/ 3 w 107"/>
              <a:gd name="T81"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133">
                <a:moveTo>
                  <a:pt x="3" y="115"/>
                </a:moveTo>
                <a:lnTo>
                  <a:pt x="3" y="115"/>
                </a:lnTo>
                <a:lnTo>
                  <a:pt x="3" y="113"/>
                </a:lnTo>
                <a:lnTo>
                  <a:pt x="5" y="110"/>
                </a:lnTo>
                <a:lnTo>
                  <a:pt x="5" y="103"/>
                </a:lnTo>
                <a:lnTo>
                  <a:pt x="8" y="95"/>
                </a:lnTo>
                <a:lnTo>
                  <a:pt x="8" y="88"/>
                </a:lnTo>
                <a:lnTo>
                  <a:pt x="8" y="88"/>
                </a:lnTo>
                <a:lnTo>
                  <a:pt x="8" y="83"/>
                </a:lnTo>
                <a:lnTo>
                  <a:pt x="10" y="75"/>
                </a:lnTo>
                <a:lnTo>
                  <a:pt x="10" y="73"/>
                </a:lnTo>
                <a:lnTo>
                  <a:pt x="10" y="50"/>
                </a:lnTo>
                <a:lnTo>
                  <a:pt x="10" y="45"/>
                </a:lnTo>
                <a:lnTo>
                  <a:pt x="12" y="40"/>
                </a:lnTo>
                <a:lnTo>
                  <a:pt x="12" y="38"/>
                </a:lnTo>
                <a:lnTo>
                  <a:pt x="12" y="33"/>
                </a:lnTo>
                <a:lnTo>
                  <a:pt x="12" y="28"/>
                </a:lnTo>
                <a:lnTo>
                  <a:pt x="12" y="28"/>
                </a:lnTo>
                <a:lnTo>
                  <a:pt x="15" y="25"/>
                </a:lnTo>
                <a:lnTo>
                  <a:pt x="17" y="23"/>
                </a:lnTo>
                <a:lnTo>
                  <a:pt x="22" y="23"/>
                </a:lnTo>
                <a:lnTo>
                  <a:pt x="30" y="28"/>
                </a:lnTo>
                <a:lnTo>
                  <a:pt x="35" y="30"/>
                </a:lnTo>
                <a:lnTo>
                  <a:pt x="37" y="30"/>
                </a:lnTo>
                <a:lnTo>
                  <a:pt x="40" y="33"/>
                </a:lnTo>
                <a:lnTo>
                  <a:pt x="92" y="0"/>
                </a:lnTo>
                <a:lnTo>
                  <a:pt x="107" y="35"/>
                </a:lnTo>
                <a:lnTo>
                  <a:pt x="105" y="35"/>
                </a:lnTo>
                <a:lnTo>
                  <a:pt x="95" y="45"/>
                </a:lnTo>
                <a:lnTo>
                  <a:pt x="57" y="58"/>
                </a:lnTo>
                <a:lnTo>
                  <a:pt x="87" y="90"/>
                </a:lnTo>
                <a:lnTo>
                  <a:pt x="75" y="103"/>
                </a:lnTo>
                <a:lnTo>
                  <a:pt x="75" y="113"/>
                </a:lnTo>
                <a:lnTo>
                  <a:pt x="55" y="115"/>
                </a:lnTo>
                <a:lnTo>
                  <a:pt x="35" y="133"/>
                </a:lnTo>
                <a:lnTo>
                  <a:pt x="8" y="125"/>
                </a:lnTo>
                <a:lnTo>
                  <a:pt x="0" y="125"/>
                </a:lnTo>
                <a:lnTo>
                  <a:pt x="0" y="125"/>
                </a:lnTo>
                <a:lnTo>
                  <a:pt x="3" y="118"/>
                </a:lnTo>
                <a:lnTo>
                  <a:pt x="3" y="115"/>
                </a:lnTo>
                <a:lnTo>
                  <a:pt x="3" y="11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56" name="Freeform 197"/>
          <p:cNvSpPr>
            <a:spLocks/>
          </p:cNvSpPr>
          <p:nvPr/>
        </p:nvSpPr>
        <p:spPr bwMode="auto">
          <a:xfrm>
            <a:off x="6454775" y="4325938"/>
            <a:ext cx="169862" cy="211138"/>
          </a:xfrm>
          <a:custGeom>
            <a:avLst/>
            <a:gdLst>
              <a:gd name="T0" fmla="*/ 3 w 107"/>
              <a:gd name="T1" fmla="*/ 115 h 133"/>
              <a:gd name="T2" fmla="*/ 3 w 107"/>
              <a:gd name="T3" fmla="*/ 115 h 133"/>
              <a:gd name="T4" fmla="*/ 3 w 107"/>
              <a:gd name="T5" fmla="*/ 113 h 133"/>
              <a:gd name="T6" fmla="*/ 5 w 107"/>
              <a:gd name="T7" fmla="*/ 110 h 133"/>
              <a:gd name="T8" fmla="*/ 5 w 107"/>
              <a:gd name="T9" fmla="*/ 103 h 133"/>
              <a:gd name="T10" fmla="*/ 8 w 107"/>
              <a:gd name="T11" fmla="*/ 95 h 133"/>
              <a:gd name="T12" fmla="*/ 8 w 107"/>
              <a:gd name="T13" fmla="*/ 88 h 133"/>
              <a:gd name="T14" fmla="*/ 8 w 107"/>
              <a:gd name="T15" fmla="*/ 88 h 133"/>
              <a:gd name="T16" fmla="*/ 8 w 107"/>
              <a:gd name="T17" fmla="*/ 83 h 133"/>
              <a:gd name="T18" fmla="*/ 10 w 107"/>
              <a:gd name="T19" fmla="*/ 75 h 133"/>
              <a:gd name="T20" fmla="*/ 10 w 107"/>
              <a:gd name="T21" fmla="*/ 73 h 133"/>
              <a:gd name="T22" fmla="*/ 10 w 107"/>
              <a:gd name="T23" fmla="*/ 50 h 133"/>
              <a:gd name="T24" fmla="*/ 10 w 107"/>
              <a:gd name="T25" fmla="*/ 45 h 133"/>
              <a:gd name="T26" fmla="*/ 12 w 107"/>
              <a:gd name="T27" fmla="*/ 40 h 133"/>
              <a:gd name="T28" fmla="*/ 12 w 107"/>
              <a:gd name="T29" fmla="*/ 38 h 133"/>
              <a:gd name="T30" fmla="*/ 12 w 107"/>
              <a:gd name="T31" fmla="*/ 33 h 133"/>
              <a:gd name="T32" fmla="*/ 12 w 107"/>
              <a:gd name="T33" fmla="*/ 28 h 133"/>
              <a:gd name="T34" fmla="*/ 12 w 107"/>
              <a:gd name="T35" fmla="*/ 28 h 133"/>
              <a:gd name="T36" fmla="*/ 15 w 107"/>
              <a:gd name="T37" fmla="*/ 25 h 133"/>
              <a:gd name="T38" fmla="*/ 17 w 107"/>
              <a:gd name="T39" fmla="*/ 23 h 133"/>
              <a:gd name="T40" fmla="*/ 22 w 107"/>
              <a:gd name="T41" fmla="*/ 23 h 133"/>
              <a:gd name="T42" fmla="*/ 30 w 107"/>
              <a:gd name="T43" fmla="*/ 28 h 133"/>
              <a:gd name="T44" fmla="*/ 35 w 107"/>
              <a:gd name="T45" fmla="*/ 30 h 133"/>
              <a:gd name="T46" fmla="*/ 37 w 107"/>
              <a:gd name="T47" fmla="*/ 30 h 133"/>
              <a:gd name="T48" fmla="*/ 40 w 107"/>
              <a:gd name="T49" fmla="*/ 33 h 133"/>
              <a:gd name="T50" fmla="*/ 92 w 107"/>
              <a:gd name="T51" fmla="*/ 0 h 133"/>
              <a:gd name="T52" fmla="*/ 107 w 107"/>
              <a:gd name="T53" fmla="*/ 35 h 133"/>
              <a:gd name="T54" fmla="*/ 105 w 107"/>
              <a:gd name="T55" fmla="*/ 35 h 133"/>
              <a:gd name="T56" fmla="*/ 95 w 107"/>
              <a:gd name="T57" fmla="*/ 45 h 133"/>
              <a:gd name="T58" fmla="*/ 57 w 107"/>
              <a:gd name="T59" fmla="*/ 58 h 133"/>
              <a:gd name="T60" fmla="*/ 87 w 107"/>
              <a:gd name="T61" fmla="*/ 90 h 133"/>
              <a:gd name="T62" fmla="*/ 75 w 107"/>
              <a:gd name="T63" fmla="*/ 103 h 133"/>
              <a:gd name="T64" fmla="*/ 75 w 107"/>
              <a:gd name="T65" fmla="*/ 113 h 133"/>
              <a:gd name="T66" fmla="*/ 55 w 107"/>
              <a:gd name="T67" fmla="*/ 115 h 133"/>
              <a:gd name="T68" fmla="*/ 35 w 107"/>
              <a:gd name="T69" fmla="*/ 133 h 133"/>
              <a:gd name="T70" fmla="*/ 8 w 107"/>
              <a:gd name="T71" fmla="*/ 125 h 133"/>
              <a:gd name="T72" fmla="*/ 0 w 107"/>
              <a:gd name="T73" fmla="*/ 125 h 133"/>
              <a:gd name="T74" fmla="*/ 0 w 107"/>
              <a:gd name="T75" fmla="*/ 125 h 133"/>
              <a:gd name="T76" fmla="*/ 3 w 107"/>
              <a:gd name="T77" fmla="*/ 118 h 133"/>
              <a:gd name="T78" fmla="*/ 3 w 107"/>
              <a:gd name="T79" fmla="*/ 115 h 133"/>
              <a:gd name="T80" fmla="*/ 3 w 107"/>
              <a:gd name="T81"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133">
                <a:moveTo>
                  <a:pt x="3" y="115"/>
                </a:moveTo>
                <a:lnTo>
                  <a:pt x="3" y="115"/>
                </a:lnTo>
                <a:lnTo>
                  <a:pt x="3" y="113"/>
                </a:lnTo>
                <a:lnTo>
                  <a:pt x="5" y="110"/>
                </a:lnTo>
                <a:lnTo>
                  <a:pt x="5" y="103"/>
                </a:lnTo>
                <a:lnTo>
                  <a:pt x="8" y="95"/>
                </a:lnTo>
                <a:lnTo>
                  <a:pt x="8" y="88"/>
                </a:lnTo>
                <a:lnTo>
                  <a:pt x="8" y="88"/>
                </a:lnTo>
                <a:lnTo>
                  <a:pt x="8" y="83"/>
                </a:lnTo>
                <a:lnTo>
                  <a:pt x="10" y="75"/>
                </a:lnTo>
                <a:lnTo>
                  <a:pt x="10" y="73"/>
                </a:lnTo>
                <a:lnTo>
                  <a:pt x="10" y="50"/>
                </a:lnTo>
                <a:lnTo>
                  <a:pt x="10" y="45"/>
                </a:lnTo>
                <a:lnTo>
                  <a:pt x="12" y="40"/>
                </a:lnTo>
                <a:lnTo>
                  <a:pt x="12" y="38"/>
                </a:lnTo>
                <a:lnTo>
                  <a:pt x="12" y="33"/>
                </a:lnTo>
                <a:lnTo>
                  <a:pt x="12" y="28"/>
                </a:lnTo>
                <a:lnTo>
                  <a:pt x="12" y="28"/>
                </a:lnTo>
                <a:lnTo>
                  <a:pt x="15" y="25"/>
                </a:lnTo>
                <a:lnTo>
                  <a:pt x="17" y="23"/>
                </a:lnTo>
                <a:lnTo>
                  <a:pt x="22" y="23"/>
                </a:lnTo>
                <a:lnTo>
                  <a:pt x="30" y="28"/>
                </a:lnTo>
                <a:lnTo>
                  <a:pt x="35" y="30"/>
                </a:lnTo>
                <a:lnTo>
                  <a:pt x="37" y="30"/>
                </a:lnTo>
                <a:lnTo>
                  <a:pt x="40" y="33"/>
                </a:lnTo>
                <a:lnTo>
                  <a:pt x="92" y="0"/>
                </a:lnTo>
                <a:lnTo>
                  <a:pt x="107" y="35"/>
                </a:lnTo>
                <a:lnTo>
                  <a:pt x="105" y="35"/>
                </a:lnTo>
                <a:lnTo>
                  <a:pt x="95" y="45"/>
                </a:lnTo>
                <a:lnTo>
                  <a:pt x="57" y="58"/>
                </a:lnTo>
                <a:lnTo>
                  <a:pt x="87" y="90"/>
                </a:lnTo>
                <a:lnTo>
                  <a:pt x="75" y="103"/>
                </a:lnTo>
                <a:lnTo>
                  <a:pt x="75" y="113"/>
                </a:lnTo>
                <a:lnTo>
                  <a:pt x="55" y="115"/>
                </a:lnTo>
                <a:lnTo>
                  <a:pt x="35" y="133"/>
                </a:lnTo>
                <a:lnTo>
                  <a:pt x="8" y="125"/>
                </a:lnTo>
                <a:lnTo>
                  <a:pt x="0" y="125"/>
                </a:lnTo>
                <a:lnTo>
                  <a:pt x="0" y="125"/>
                </a:lnTo>
                <a:lnTo>
                  <a:pt x="3" y="118"/>
                </a:lnTo>
                <a:lnTo>
                  <a:pt x="3" y="115"/>
                </a:lnTo>
                <a:lnTo>
                  <a:pt x="3" y="11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57" name="Freeform 198"/>
          <p:cNvSpPr>
            <a:spLocks/>
          </p:cNvSpPr>
          <p:nvPr/>
        </p:nvSpPr>
        <p:spPr bwMode="auto">
          <a:xfrm>
            <a:off x="6451600" y="4381500"/>
            <a:ext cx="874712" cy="741363"/>
          </a:xfrm>
          <a:custGeom>
            <a:avLst/>
            <a:gdLst>
              <a:gd name="T0" fmla="*/ 334 w 551"/>
              <a:gd name="T1" fmla="*/ 98 h 467"/>
              <a:gd name="T2" fmla="*/ 132 w 551"/>
              <a:gd name="T3" fmla="*/ 3 h 467"/>
              <a:gd name="T4" fmla="*/ 59 w 551"/>
              <a:gd name="T5" fmla="*/ 23 h 467"/>
              <a:gd name="T6" fmla="*/ 77 w 551"/>
              <a:gd name="T7" fmla="*/ 78 h 467"/>
              <a:gd name="T8" fmla="*/ 10 w 551"/>
              <a:gd name="T9" fmla="*/ 90 h 467"/>
              <a:gd name="T10" fmla="*/ 2 w 551"/>
              <a:gd name="T11" fmla="*/ 113 h 467"/>
              <a:gd name="T12" fmla="*/ 2 w 551"/>
              <a:gd name="T13" fmla="*/ 120 h 467"/>
              <a:gd name="T14" fmla="*/ 14 w 551"/>
              <a:gd name="T15" fmla="*/ 125 h 467"/>
              <a:gd name="T16" fmla="*/ 24 w 551"/>
              <a:gd name="T17" fmla="*/ 143 h 467"/>
              <a:gd name="T18" fmla="*/ 34 w 551"/>
              <a:gd name="T19" fmla="*/ 155 h 467"/>
              <a:gd name="T20" fmla="*/ 44 w 551"/>
              <a:gd name="T21" fmla="*/ 172 h 467"/>
              <a:gd name="T22" fmla="*/ 52 w 551"/>
              <a:gd name="T23" fmla="*/ 185 h 467"/>
              <a:gd name="T24" fmla="*/ 67 w 551"/>
              <a:gd name="T25" fmla="*/ 205 h 467"/>
              <a:gd name="T26" fmla="*/ 69 w 551"/>
              <a:gd name="T27" fmla="*/ 217 h 467"/>
              <a:gd name="T28" fmla="*/ 77 w 551"/>
              <a:gd name="T29" fmla="*/ 230 h 467"/>
              <a:gd name="T30" fmla="*/ 89 w 551"/>
              <a:gd name="T31" fmla="*/ 232 h 467"/>
              <a:gd name="T32" fmla="*/ 107 w 551"/>
              <a:gd name="T33" fmla="*/ 250 h 467"/>
              <a:gd name="T34" fmla="*/ 112 w 551"/>
              <a:gd name="T35" fmla="*/ 260 h 467"/>
              <a:gd name="T36" fmla="*/ 122 w 551"/>
              <a:gd name="T37" fmla="*/ 282 h 467"/>
              <a:gd name="T38" fmla="*/ 119 w 551"/>
              <a:gd name="T39" fmla="*/ 295 h 467"/>
              <a:gd name="T40" fmla="*/ 124 w 551"/>
              <a:gd name="T41" fmla="*/ 320 h 467"/>
              <a:gd name="T42" fmla="*/ 144 w 551"/>
              <a:gd name="T43" fmla="*/ 342 h 467"/>
              <a:gd name="T44" fmla="*/ 157 w 551"/>
              <a:gd name="T45" fmla="*/ 350 h 467"/>
              <a:gd name="T46" fmla="*/ 167 w 551"/>
              <a:gd name="T47" fmla="*/ 360 h 467"/>
              <a:gd name="T48" fmla="*/ 177 w 551"/>
              <a:gd name="T49" fmla="*/ 367 h 467"/>
              <a:gd name="T50" fmla="*/ 189 w 551"/>
              <a:gd name="T51" fmla="*/ 400 h 467"/>
              <a:gd name="T52" fmla="*/ 214 w 551"/>
              <a:gd name="T53" fmla="*/ 432 h 467"/>
              <a:gd name="T54" fmla="*/ 231 w 551"/>
              <a:gd name="T55" fmla="*/ 447 h 467"/>
              <a:gd name="T56" fmla="*/ 246 w 551"/>
              <a:gd name="T57" fmla="*/ 440 h 467"/>
              <a:gd name="T58" fmla="*/ 251 w 551"/>
              <a:gd name="T59" fmla="*/ 415 h 467"/>
              <a:gd name="T60" fmla="*/ 299 w 551"/>
              <a:gd name="T61" fmla="*/ 432 h 467"/>
              <a:gd name="T62" fmla="*/ 371 w 551"/>
              <a:gd name="T63" fmla="*/ 402 h 467"/>
              <a:gd name="T64" fmla="*/ 546 w 551"/>
              <a:gd name="T65" fmla="*/ 270 h 467"/>
              <a:gd name="T66" fmla="*/ 458 w 551"/>
              <a:gd name="T67" fmla="*/ 265 h 467"/>
              <a:gd name="T68" fmla="*/ 446 w 551"/>
              <a:gd name="T69" fmla="*/ 227 h 467"/>
              <a:gd name="T70" fmla="*/ 443 w 551"/>
              <a:gd name="T71" fmla="*/ 225 h 467"/>
              <a:gd name="T72" fmla="*/ 441 w 551"/>
              <a:gd name="T73" fmla="*/ 220 h 467"/>
              <a:gd name="T74" fmla="*/ 429 w 551"/>
              <a:gd name="T75" fmla="*/ 212 h 467"/>
              <a:gd name="T76" fmla="*/ 421 w 551"/>
              <a:gd name="T77" fmla="*/ 205 h 467"/>
              <a:gd name="T78" fmla="*/ 401 w 551"/>
              <a:gd name="T79" fmla="*/ 175 h 467"/>
              <a:gd name="T80" fmla="*/ 401 w 551"/>
              <a:gd name="T81" fmla="*/ 160 h 467"/>
              <a:gd name="T82" fmla="*/ 394 w 551"/>
              <a:gd name="T83" fmla="*/ 153 h 467"/>
              <a:gd name="T84" fmla="*/ 379 w 551"/>
              <a:gd name="T85" fmla="*/ 135 h 467"/>
              <a:gd name="T86" fmla="*/ 384 w 551"/>
              <a:gd name="T87" fmla="*/ 135 h 467"/>
              <a:gd name="T88" fmla="*/ 369 w 551"/>
              <a:gd name="T89" fmla="*/ 128 h 467"/>
              <a:gd name="T90" fmla="*/ 356 w 551"/>
              <a:gd name="T91" fmla="*/ 108 h 467"/>
              <a:gd name="T92" fmla="*/ 351 w 551"/>
              <a:gd name="T93" fmla="*/ 10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1" h="467">
                <a:moveTo>
                  <a:pt x="351" y="100"/>
                </a:moveTo>
                <a:lnTo>
                  <a:pt x="336" y="108"/>
                </a:lnTo>
                <a:lnTo>
                  <a:pt x="334" y="98"/>
                </a:lnTo>
                <a:lnTo>
                  <a:pt x="311" y="90"/>
                </a:lnTo>
                <a:lnTo>
                  <a:pt x="256" y="90"/>
                </a:lnTo>
                <a:lnTo>
                  <a:pt x="132" y="3"/>
                </a:lnTo>
                <a:lnTo>
                  <a:pt x="107" y="0"/>
                </a:lnTo>
                <a:lnTo>
                  <a:pt x="97" y="10"/>
                </a:lnTo>
                <a:lnTo>
                  <a:pt x="59" y="23"/>
                </a:lnTo>
                <a:lnTo>
                  <a:pt x="89" y="55"/>
                </a:lnTo>
                <a:lnTo>
                  <a:pt x="77" y="68"/>
                </a:lnTo>
                <a:lnTo>
                  <a:pt x="77" y="78"/>
                </a:lnTo>
                <a:lnTo>
                  <a:pt x="57" y="80"/>
                </a:lnTo>
                <a:lnTo>
                  <a:pt x="37" y="98"/>
                </a:lnTo>
                <a:lnTo>
                  <a:pt x="10" y="90"/>
                </a:lnTo>
                <a:lnTo>
                  <a:pt x="2" y="90"/>
                </a:lnTo>
                <a:lnTo>
                  <a:pt x="2" y="100"/>
                </a:lnTo>
                <a:lnTo>
                  <a:pt x="2" y="113"/>
                </a:lnTo>
                <a:lnTo>
                  <a:pt x="0" y="120"/>
                </a:lnTo>
                <a:lnTo>
                  <a:pt x="0" y="123"/>
                </a:lnTo>
                <a:lnTo>
                  <a:pt x="2" y="120"/>
                </a:lnTo>
                <a:lnTo>
                  <a:pt x="5" y="123"/>
                </a:lnTo>
                <a:lnTo>
                  <a:pt x="7" y="120"/>
                </a:lnTo>
                <a:lnTo>
                  <a:pt x="14" y="125"/>
                </a:lnTo>
                <a:lnTo>
                  <a:pt x="12" y="125"/>
                </a:lnTo>
                <a:lnTo>
                  <a:pt x="24" y="138"/>
                </a:lnTo>
                <a:lnTo>
                  <a:pt x="24" y="143"/>
                </a:lnTo>
                <a:lnTo>
                  <a:pt x="27" y="145"/>
                </a:lnTo>
                <a:lnTo>
                  <a:pt x="29" y="150"/>
                </a:lnTo>
                <a:lnTo>
                  <a:pt x="34" y="155"/>
                </a:lnTo>
                <a:lnTo>
                  <a:pt x="37" y="155"/>
                </a:lnTo>
                <a:lnTo>
                  <a:pt x="44" y="170"/>
                </a:lnTo>
                <a:lnTo>
                  <a:pt x="44" y="172"/>
                </a:lnTo>
                <a:lnTo>
                  <a:pt x="47" y="177"/>
                </a:lnTo>
                <a:lnTo>
                  <a:pt x="52" y="177"/>
                </a:lnTo>
                <a:lnTo>
                  <a:pt x="52" y="185"/>
                </a:lnTo>
                <a:lnTo>
                  <a:pt x="54" y="190"/>
                </a:lnTo>
                <a:lnTo>
                  <a:pt x="62" y="192"/>
                </a:lnTo>
                <a:lnTo>
                  <a:pt x="67" y="205"/>
                </a:lnTo>
                <a:lnTo>
                  <a:pt x="69" y="207"/>
                </a:lnTo>
                <a:lnTo>
                  <a:pt x="72" y="215"/>
                </a:lnTo>
                <a:lnTo>
                  <a:pt x="69" y="217"/>
                </a:lnTo>
                <a:lnTo>
                  <a:pt x="69" y="222"/>
                </a:lnTo>
                <a:lnTo>
                  <a:pt x="74" y="225"/>
                </a:lnTo>
                <a:lnTo>
                  <a:pt x="77" y="230"/>
                </a:lnTo>
                <a:lnTo>
                  <a:pt x="79" y="232"/>
                </a:lnTo>
                <a:lnTo>
                  <a:pt x="84" y="227"/>
                </a:lnTo>
                <a:lnTo>
                  <a:pt x="89" y="232"/>
                </a:lnTo>
                <a:lnTo>
                  <a:pt x="97" y="237"/>
                </a:lnTo>
                <a:lnTo>
                  <a:pt x="104" y="245"/>
                </a:lnTo>
                <a:lnTo>
                  <a:pt x="107" y="250"/>
                </a:lnTo>
                <a:lnTo>
                  <a:pt x="109" y="250"/>
                </a:lnTo>
                <a:lnTo>
                  <a:pt x="109" y="257"/>
                </a:lnTo>
                <a:lnTo>
                  <a:pt x="112" y="260"/>
                </a:lnTo>
                <a:lnTo>
                  <a:pt x="114" y="267"/>
                </a:lnTo>
                <a:lnTo>
                  <a:pt x="119" y="272"/>
                </a:lnTo>
                <a:lnTo>
                  <a:pt x="122" y="282"/>
                </a:lnTo>
                <a:lnTo>
                  <a:pt x="122" y="285"/>
                </a:lnTo>
                <a:lnTo>
                  <a:pt x="119" y="295"/>
                </a:lnTo>
                <a:lnTo>
                  <a:pt x="119" y="295"/>
                </a:lnTo>
                <a:lnTo>
                  <a:pt x="119" y="300"/>
                </a:lnTo>
                <a:lnTo>
                  <a:pt x="122" y="310"/>
                </a:lnTo>
                <a:lnTo>
                  <a:pt x="124" y="320"/>
                </a:lnTo>
                <a:lnTo>
                  <a:pt x="129" y="325"/>
                </a:lnTo>
                <a:lnTo>
                  <a:pt x="129" y="327"/>
                </a:lnTo>
                <a:lnTo>
                  <a:pt x="144" y="342"/>
                </a:lnTo>
                <a:lnTo>
                  <a:pt x="147" y="345"/>
                </a:lnTo>
                <a:lnTo>
                  <a:pt x="154" y="345"/>
                </a:lnTo>
                <a:lnTo>
                  <a:pt x="157" y="350"/>
                </a:lnTo>
                <a:lnTo>
                  <a:pt x="159" y="350"/>
                </a:lnTo>
                <a:lnTo>
                  <a:pt x="167" y="355"/>
                </a:lnTo>
                <a:lnTo>
                  <a:pt x="167" y="360"/>
                </a:lnTo>
                <a:lnTo>
                  <a:pt x="174" y="362"/>
                </a:lnTo>
                <a:lnTo>
                  <a:pt x="174" y="365"/>
                </a:lnTo>
                <a:lnTo>
                  <a:pt x="177" y="367"/>
                </a:lnTo>
                <a:lnTo>
                  <a:pt x="182" y="390"/>
                </a:lnTo>
                <a:lnTo>
                  <a:pt x="189" y="392"/>
                </a:lnTo>
                <a:lnTo>
                  <a:pt x="189" y="400"/>
                </a:lnTo>
                <a:lnTo>
                  <a:pt x="209" y="420"/>
                </a:lnTo>
                <a:lnTo>
                  <a:pt x="212" y="420"/>
                </a:lnTo>
                <a:lnTo>
                  <a:pt x="214" y="432"/>
                </a:lnTo>
                <a:lnTo>
                  <a:pt x="222" y="435"/>
                </a:lnTo>
                <a:lnTo>
                  <a:pt x="226" y="447"/>
                </a:lnTo>
                <a:lnTo>
                  <a:pt x="231" y="447"/>
                </a:lnTo>
                <a:lnTo>
                  <a:pt x="236" y="449"/>
                </a:lnTo>
                <a:lnTo>
                  <a:pt x="239" y="445"/>
                </a:lnTo>
                <a:lnTo>
                  <a:pt x="246" y="440"/>
                </a:lnTo>
                <a:lnTo>
                  <a:pt x="241" y="430"/>
                </a:lnTo>
                <a:lnTo>
                  <a:pt x="244" y="417"/>
                </a:lnTo>
                <a:lnTo>
                  <a:pt x="251" y="415"/>
                </a:lnTo>
                <a:lnTo>
                  <a:pt x="259" y="422"/>
                </a:lnTo>
                <a:lnTo>
                  <a:pt x="276" y="422"/>
                </a:lnTo>
                <a:lnTo>
                  <a:pt x="299" y="432"/>
                </a:lnTo>
                <a:lnTo>
                  <a:pt x="321" y="442"/>
                </a:lnTo>
                <a:lnTo>
                  <a:pt x="324" y="467"/>
                </a:lnTo>
                <a:lnTo>
                  <a:pt x="371" y="402"/>
                </a:lnTo>
                <a:lnTo>
                  <a:pt x="548" y="350"/>
                </a:lnTo>
                <a:lnTo>
                  <a:pt x="551" y="290"/>
                </a:lnTo>
                <a:lnTo>
                  <a:pt x="546" y="270"/>
                </a:lnTo>
                <a:lnTo>
                  <a:pt x="546" y="270"/>
                </a:lnTo>
                <a:lnTo>
                  <a:pt x="536" y="277"/>
                </a:lnTo>
                <a:lnTo>
                  <a:pt x="458" y="265"/>
                </a:lnTo>
                <a:lnTo>
                  <a:pt x="453" y="245"/>
                </a:lnTo>
                <a:lnTo>
                  <a:pt x="446" y="237"/>
                </a:lnTo>
                <a:lnTo>
                  <a:pt x="446" y="227"/>
                </a:lnTo>
                <a:lnTo>
                  <a:pt x="446" y="227"/>
                </a:lnTo>
                <a:lnTo>
                  <a:pt x="446" y="227"/>
                </a:lnTo>
                <a:lnTo>
                  <a:pt x="443" y="225"/>
                </a:lnTo>
                <a:lnTo>
                  <a:pt x="443" y="222"/>
                </a:lnTo>
                <a:lnTo>
                  <a:pt x="446" y="220"/>
                </a:lnTo>
                <a:lnTo>
                  <a:pt x="441" y="220"/>
                </a:lnTo>
                <a:lnTo>
                  <a:pt x="441" y="217"/>
                </a:lnTo>
                <a:lnTo>
                  <a:pt x="436" y="217"/>
                </a:lnTo>
                <a:lnTo>
                  <a:pt x="429" y="212"/>
                </a:lnTo>
                <a:lnTo>
                  <a:pt x="426" y="210"/>
                </a:lnTo>
                <a:lnTo>
                  <a:pt x="426" y="212"/>
                </a:lnTo>
                <a:lnTo>
                  <a:pt x="421" y="205"/>
                </a:lnTo>
                <a:lnTo>
                  <a:pt x="419" y="197"/>
                </a:lnTo>
                <a:lnTo>
                  <a:pt x="406" y="182"/>
                </a:lnTo>
                <a:lnTo>
                  <a:pt x="401" y="175"/>
                </a:lnTo>
                <a:lnTo>
                  <a:pt x="406" y="175"/>
                </a:lnTo>
                <a:lnTo>
                  <a:pt x="406" y="172"/>
                </a:lnTo>
                <a:lnTo>
                  <a:pt x="401" y="160"/>
                </a:lnTo>
                <a:lnTo>
                  <a:pt x="401" y="157"/>
                </a:lnTo>
                <a:lnTo>
                  <a:pt x="396" y="153"/>
                </a:lnTo>
                <a:lnTo>
                  <a:pt x="394" y="153"/>
                </a:lnTo>
                <a:lnTo>
                  <a:pt x="386" y="140"/>
                </a:lnTo>
                <a:lnTo>
                  <a:pt x="384" y="140"/>
                </a:lnTo>
                <a:lnTo>
                  <a:pt x="379" y="135"/>
                </a:lnTo>
                <a:lnTo>
                  <a:pt x="379" y="133"/>
                </a:lnTo>
                <a:lnTo>
                  <a:pt x="381" y="133"/>
                </a:lnTo>
                <a:lnTo>
                  <a:pt x="384" y="135"/>
                </a:lnTo>
                <a:lnTo>
                  <a:pt x="381" y="130"/>
                </a:lnTo>
                <a:lnTo>
                  <a:pt x="376" y="130"/>
                </a:lnTo>
                <a:lnTo>
                  <a:pt x="369" y="128"/>
                </a:lnTo>
                <a:lnTo>
                  <a:pt x="364" y="115"/>
                </a:lnTo>
                <a:lnTo>
                  <a:pt x="359" y="108"/>
                </a:lnTo>
                <a:lnTo>
                  <a:pt x="356" y="108"/>
                </a:lnTo>
                <a:lnTo>
                  <a:pt x="356" y="103"/>
                </a:lnTo>
                <a:lnTo>
                  <a:pt x="354" y="103"/>
                </a:lnTo>
                <a:lnTo>
                  <a:pt x="351" y="1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58" name="Freeform 199"/>
          <p:cNvSpPr>
            <a:spLocks/>
          </p:cNvSpPr>
          <p:nvPr/>
        </p:nvSpPr>
        <p:spPr bwMode="auto">
          <a:xfrm>
            <a:off x="7124700" y="4654550"/>
            <a:ext cx="34925" cy="71438"/>
          </a:xfrm>
          <a:custGeom>
            <a:avLst/>
            <a:gdLst>
              <a:gd name="T0" fmla="*/ 17 w 22"/>
              <a:gd name="T1" fmla="*/ 45 h 45"/>
              <a:gd name="T2" fmla="*/ 12 w 22"/>
              <a:gd name="T3" fmla="*/ 45 h 45"/>
              <a:gd name="T4" fmla="*/ 5 w 22"/>
              <a:gd name="T5" fmla="*/ 40 h 45"/>
              <a:gd name="T6" fmla="*/ 2 w 22"/>
              <a:gd name="T7" fmla="*/ 38 h 45"/>
              <a:gd name="T8" fmla="*/ 5 w 22"/>
              <a:gd name="T9" fmla="*/ 38 h 45"/>
              <a:gd name="T10" fmla="*/ 5 w 22"/>
              <a:gd name="T11" fmla="*/ 33 h 45"/>
              <a:gd name="T12" fmla="*/ 2 w 22"/>
              <a:gd name="T13" fmla="*/ 30 h 45"/>
              <a:gd name="T14" fmla="*/ 0 w 22"/>
              <a:gd name="T15" fmla="*/ 25 h 45"/>
              <a:gd name="T16" fmla="*/ 2 w 22"/>
              <a:gd name="T17" fmla="*/ 18 h 45"/>
              <a:gd name="T18" fmla="*/ 5 w 22"/>
              <a:gd name="T19" fmla="*/ 18 h 45"/>
              <a:gd name="T20" fmla="*/ 5 w 22"/>
              <a:gd name="T21" fmla="*/ 20 h 45"/>
              <a:gd name="T22" fmla="*/ 5 w 22"/>
              <a:gd name="T23" fmla="*/ 10 h 45"/>
              <a:gd name="T24" fmla="*/ 5 w 22"/>
              <a:gd name="T25" fmla="*/ 10 h 45"/>
              <a:gd name="T26" fmla="*/ 5 w 22"/>
              <a:gd name="T27" fmla="*/ 8 h 45"/>
              <a:gd name="T28" fmla="*/ 5 w 22"/>
              <a:gd name="T29" fmla="*/ 5 h 45"/>
              <a:gd name="T30" fmla="*/ 5 w 22"/>
              <a:gd name="T31" fmla="*/ 3 h 45"/>
              <a:gd name="T32" fmla="*/ 7 w 22"/>
              <a:gd name="T33" fmla="*/ 3 h 45"/>
              <a:gd name="T34" fmla="*/ 10 w 22"/>
              <a:gd name="T35" fmla="*/ 0 h 45"/>
              <a:gd name="T36" fmla="*/ 10 w 22"/>
              <a:gd name="T37" fmla="*/ 0 h 45"/>
              <a:gd name="T38" fmla="*/ 14 w 22"/>
              <a:gd name="T39" fmla="*/ 5 h 45"/>
              <a:gd name="T40" fmla="*/ 14 w 22"/>
              <a:gd name="T41" fmla="*/ 8 h 45"/>
              <a:gd name="T42" fmla="*/ 17 w 22"/>
              <a:gd name="T43" fmla="*/ 8 h 45"/>
              <a:gd name="T44" fmla="*/ 19 w 22"/>
              <a:gd name="T45" fmla="*/ 8 h 45"/>
              <a:gd name="T46" fmla="*/ 17 w 22"/>
              <a:gd name="T47" fmla="*/ 18 h 45"/>
              <a:gd name="T48" fmla="*/ 14 w 22"/>
              <a:gd name="T49" fmla="*/ 18 h 45"/>
              <a:gd name="T50" fmla="*/ 17 w 22"/>
              <a:gd name="T51" fmla="*/ 28 h 45"/>
              <a:gd name="T52" fmla="*/ 19 w 22"/>
              <a:gd name="T53" fmla="*/ 28 h 45"/>
              <a:gd name="T54" fmla="*/ 22 w 22"/>
              <a:gd name="T55" fmla="*/ 33 h 45"/>
              <a:gd name="T56" fmla="*/ 19 w 22"/>
              <a:gd name="T57" fmla="*/ 45 h 45"/>
              <a:gd name="T58" fmla="*/ 17 w 22"/>
              <a:gd name="T59" fmla="*/ 45 h 45"/>
              <a:gd name="T60" fmla="*/ 17 w 22"/>
              <a:gd name="T6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 h="45">
                <a:moveTo>
                  <a:pt x="17" y="45"/>
                </a:moveTo>
                <a:lnTo>
                  <a:pt x="12" y="45"/>
                </a:lnTo>
                <a:lnTo>
                  <a:pt x="5" y="40"/>
                </a:lnTo>
                <a:lnTo>
                  <a:pt x="2" y="38"/>
                </a:lnTo>
                <a:lnTo>
                  <a:pt x="5" y="38"/>
                </a:lnTo>
                <a:lnTo>
                  <a:pt x="5" y="33"/>
                </a:lnTo>
                <a:lnTo>
                  <a:pt x="2" y="30"/>
                </a:lnTo>
                <a:lnTo>
                  <a:pt x="0" y="25"/>
                </a:lnTo>
                <a:lnTo>
                  <a:pt x="2" y="18"/>
                </a:lnTo>
                <a:lnTo>
                  <a:pt x="5" y="18"/>
                </a:lnTo>
                <a:lnTo>
                  <a:pt x="5" y="20"/>
                </a:lnTo>
                <a:lnTo>
                  <a:pt x="5" y="10"/>
                </a:lnTo>
                <a:lnTo>
                  <a:pt x="5" y="10"/>
                </a:lnTo>
                <a:lnTo>
                  <a:pt x="5" y="8"/>
                </a:lnTo>
                <a:lnTo>
                  <a:pt x="5" y="5"/>
                </a:lnTo>
                <a:lnTo>
                  <a:pt x="5" y="3"/>
                </a:lnTo>
                <a:lnTo>
                  <a:pt x="7" y="3"/>
                </a:lnTo>
                <a:lnTo>
                  <a:pt x="10" y="0"/>
                </a:lnTo>
                <a:lnTo>
                  <a:pt x="10" y="0"/>
                </a:lnTo>
                <a:lnTo>
                  <a:pt x="14" y="5"/>
                </a:lnTo>
                <a:lnTo>
                  <a:pt x="14" y="8"/>
                </a:lnTo>
                <a:lnTo>
                  <a:pt x="17" y="8"/>
                </a:lnTo>
                <a:lnTo>
                  <a:pt x="19" y="8"/>
                </a:lnTo>
                <a:lnTo>
                  <a:pt x="17" y="18"/>
                </a:lnTo>
                <a:lnTo>
                  <a:pt x="14" y="18"/>
                </a:lnTo>
                <a:lnTo>
                  <a:pt x="17" y="28"/>
                </a:lnTo>
                <a:lnTo>
                  <a:pt x="19" y="28"/>
                </a:lnTo>
                <a:lnTo>
                  <a:pt x="22" y="33"/>
                </a:lnTo>
                <a:lnTo>
                  <a:pt x="19" y="45"/>
                </a:lnTo>
                <a:lnTo>
                  <a:pt x="17" y="45"/>
                </a:lnTo>
                <a:lnTo>
                  <a:pt x="17" y="4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59" name="Freeform 200"/>
          <p:cNvSpPr>
            <a:spLocks/>
          </p:cNvSpPr>
          <p:nvPr/>
        </p:nvSpPr>
        <p:spPr bwMode="auto">
          <a:xfrm>
            <a:off x="7159625" y="4662488"/>
            <a:ext cx="201612" cy="158750"/>
          </a:xfrm>
          <a:custGeom>
            <a:avLst/>
            <a:gdLst>
              <a:gd name="T0" fmla="*/ 0 w 127"/>
              <a:gd name="T1" fmla="*/ 50 h 100"/>
              <a:gd name="T2" fmla="*/ 0 w 127"/>
              <a:gd name="T3" fmla="*/ 60 h 100"/>
              <a:gd name="T4" fmla="*/ 7 w 127"/>
              <a:gd name="T5" fmla="*/ 68 h 100"/>
              <a:gd name="T6" fmla="*/ 12 w 127"/>
              <a:gd name="T7" fmla="*/ 88 h 100"/>
              <a:gd name="T8" fmla="*/ 90 w 127"/>
              <a:gd name="T9" fmla="*/ 100 h 100"/>
              <a:gd name="T10" fmla="*/ 100 w 127"/>
              <a:gd name="T11" fmla="*/ 93 h 100"/>
              <a:gd name="T12" fmla="*/ 122 w 127"/>
              <a:gd name="T13" fmla="*/ 23 h 100"/>
              <a:gd name="T14" fmla="*/ 127 w 127"/>
              <a:gd name="T15" fmla="*/ 20 h 100"/>
              <a:gd name="T16" fmla="*/ 127 w 127"/>
              <a:gd name="T17" fmla="*/ 15 h 100"/>
              <a:gd name="T18" fmla="*/ 125 w 127"/>
              <a:gd name="T19" fmla="*/ 10 h 100"/>
              <a:gd name="T20" fmla="*/ 125 w 127"/>
              <a:gd name="T21" fmla="*/ 13 h 100"/>
              <a:gd name="T22" fmla="*/ 122 w 127"/>
              <a:gd name="T23" fmla="*/ 10 h 100"/>
              <a:gd name="T24" fmla="*/ 122 w 127"/>
              <a:gd name="T25" fmla="*/ 10 h 100"/>
              <a:gd name="T26" fmla="*/ 120 w 127"/>
              <a:gd name="T27" fmla="*/ 10 h 100"/>
              <a:gd name="T28" fmla="*/ 120 w 127"/>
              <a:gd name="T29" fmla="*/ 0 h 100"/>
              <a:gd name="T30" fmla="*/ 115 w 127"/>
              <a:gd name="T31" fmla="*/ 0 h 100"/>
              <a:gd name="T32" fmla="*/ 115 w 127"/>
              <a:gd name="T33" fmla="*/ 3 h 100"/>
              <a:gd name="T34" fmla="*/ 115 w 127"/>
              <a:gd name="T35" fmla="*/ 5 h 100"/>
              <a:gd name="T36" fmla="*/ 97 w 127"/>
              <a:gd name="T37" fmla="*/ 15 h 100"/>
              <a:gd name="T38" fmla="*/ 97 w 127"/>
              <a:gd name="T39" fmla="*/ 23 h 100"/>
              <a:gd name="T40" fmla="*/ 82 w 127"/>
              <a:gd name="T41" fmla="*/ 35 h 100"/>
              <a:gd name="T42" fmla="*/ 80 w 127"/>
              <a:gd name="T43" fmla="*/ 40 h 100"/>
              <a:gd name="T44" fmla="*/ 82 w 127"/>
              <a:gd name="T45" fmla="*/ 40 h 100"/>
              <a:gd name="T46" fmla="*/ 82 w 127"/>
              <a:gd name="T47" fmla="*/ 43 h 100"/>
              <a:gd name="T48" fmla="*/ 77 w 127"/>
              <a:gd name="T49" fmla="*/ 50 h 100"/>
              <a:gd name="T50" fmla="*/ 75 w 127"/>
              <a:gd name="T51" fmla="*/ 48 h 100"/>
              <a:gd name="T52" fmla="*/ 72 w 127"/>
              <a:gd name="T53" fmla="*/ 50 h 100"/>
              <a:gd name="T54" fmla="*/ 70 w 127"/>
              <a:gd name="T55" fmla="*/ 50 h 100"/>
              <a:gd name="T56" fmla="*/ 70 w 127"/>
              <a:gd name="T57" fmla="*/ 53 h 100"/>
              <a:gd name="T58" fmla="*/ 67 w 127"/>
              <a:gd name="T59" fmla="*/ 53 h 100"/>
              <a:gd name="T60" fmla="*/ 67 w 127"/>
              <a:gd name="T61" fmla="*/ 55 h 100"/>
              <a:gd name="T62" fmla="*/ 57 w 127"/>
              <a:gd name="T63" fmla="*/ 58 h 100"/>
              <a:gd name="T64" fmla="*/ 52 w 127"/>
              <a:gd name="T65" fmla="*/ 58 h 100"/>
              <a:gd name="T66" fmla="*/ 50 w 127"/>
              <a:gd name="T67" fmla="*/ 55 h 100"/>
              <a:gd name="T68" fmla="*/ 45 w 127"/>
              <a:gd name="T69" fmla="*/ 55 h 100"/>
              <a:gd name="T70" fmla="*/ 42 w 127"/>
              <a:gd name="T71" fmla="*/ 55 h 100"/>
              <a:gd name="T72" fmla="*/ 40 w 127"/>
              <a:gd name="T73" fmla="*/ 55 h 100"/>
              <a:gd name="T74" fmla="*/ 30 w 127"/>
              <a:gd name="T75" fmla="*/ 53 h 100"/>
              <a:gd name="T76" fmla="*/ 20 w 127"/>
              <a:gd name="T77" fmla="*/ 63 h 100"/>
              <a:gd name="T78" fmla="*/ 15 w 127"/>
              <a:gd name="T79" fmla="*/ 60 h 100"/>
              <a:gd name="T80" fmla="*/ 10 w 127"/>
              <a:gd name="T81" fmla="*/ 60 h 100"/>
              <a:gd name="T82" fmla="*/ 7 w 127"/>
              <a:gd name="T83" fmla="*/ 63 h 100"/>
              <a:gd name="T84" fmla="*/ 5 w 127"/>
              <a:gd name="T85" fmla="*/ 50 h 100"/>
              <a:gd name="T86" fmla="*/ 2 w 127"/>
              <a:gd name="T87" fmla="*/ 53 h 100"/>
              <a:gd name="T88" fmla="*/ 0 w 127"/>
              <a:gd name="T89"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00">
                <a:moveTo>
                  <a:pt x="0" y="50"/>
                </a:moveTo>
                <a:lnTo>
                  <a:pt x="0" y="60"/>
                </a:lnTo>
                <a:lnTo>
                  <a:pt x="7" y="68"/>
                </a:lnTo>
                <a:lnTo>
                  <a:pt x="12" y="88"/>
                </a:lnTo>
                <a:lnTo>
                  <a:pt x="90" y="100"/>
                </a:lnTo>
                <a:lnTo>
                  <a:pt x="100" y="93"/>
                </a:lnTo>
                <a:lnTo>
                  <a:pt x="122" y="23"/>
                </a:lnTo>
                <a:lnTo>
                  <a:pt x="127" y="20"/>
                </a:lnTo>
                <a:lnTo>
                  <a:pt x="127" y="15"/>
                </a:lnTo>
                <a:lnTo>
                  <a:pt x="125" y="10"/>
                </a:lnTo>
                <a:lnTo>
                  <a:pt x="125" y="13"/>
                </a:lnTo>
                <a:lnTo>
                  <a:pt x="122" y="10"/>
                </a:lnTo>
                <a:lnTo>
                  <a:pt x="122" y="10"/>
                </a:lnTo>
                <a:lnTo>
                  <a:pt x="120" y="10"/>
                </a:lnTo>
                <a:lnTo>
                  <a:pt x="120" y="0"/>
                </a:lnTo>
                <a:lnTo>
                  <a:pt x="115" y="0"/>
                </a:lnTo>
                <a:lnTo>
                  <a:pt x="115" y="3"/>
                </a:lnTo>
                <a:lnTo>
                  <a:pt x="115" y="5"/>
                </a:lnTo>
                <a:lnTo>
                  <a:pt x="97" y="15"/>
                </a:lnTo>
                <a:lnTo>
                  <a:pt x="97" y="23"/>
                </a:lnTo>
                <a:lnTo>
                  <a:pt x="82" y="35"/>
                </a:lnTo>
                <a:lnTo>
                  <a:pt x="80" y="40"/>
                </a:lnTo>
                <a:lnTo>
                  <a:pt x="82" y="40"/>
                </a:lnTo>
                <a:lnTo>
                  <a:pt x="82" y="43"/>
                </a:lnTo>
                <a:lnTo>
                  <a:pt x="77" y="50"/>
                </a:lnTo>
                <a:lnTo>
                  <a:pt x="75" y="48"/>
                </a:lnTo>
                <a:lnTo>
                  <a:pt x="72" y="50"/>
                </a:lnTo>
                <a:lnTo>
                  <a:pt x="70" y="50"/>
                </a:lnTo>
                <a:lnTo>
                  <a:pt x="70" y="53"/>
                </a:lnTo>
                <a:lnTo>
                  <a:pt x="67" y="53"/>
                </a:lnTo>
                <a:lnTo>
                  <a:pt x="67" y="55"/>
                </a:lnTo>
                <a:lnTo>
                  <a:pt x="57" y="58"/>
                </a:lnTo>
                <a:lnTo>
                  <a:pt x="52" y="58"/>
                </a:lnTo>
                <a:lnTo>
                  <a:pt x="50" y="55"/>
                </a:lnTo>
                <a:lnTo>
                  <a:pt x="45" y="55"/>
                </a:lnTo>
                <a:lnTo>
                  <a:pt x="42" y="55"/>
                </a:lnTo>
                <a:lnTo>
                  <a:pt x="40" y="55"/>
                </a:lnTo>
                <a:lnTo>
                  <a:pt x="30" y="53"/>
                </a:lnTo>
                <a:lnTo>
                  <a:pt x="20" y="63"/>
                </a:lnTo>
                <a:lnTo>
                  <a:pt x="15" y="60"/>
                </a:lnTo>
                <a:lnTo>
                  <a:pt x="10" y="60"/>
                </a:lnTo>
                <a:lnTo>
                  <a:pt x="7" y="63"/>
                </a:lnTo>
                <a:lnTo>
                  <a:pt x="5" y="50"/>
                </a:lnTo>
                <a:lnTo>
                  <a:pt x="2" y="53"/>
                </a:lnTo>
                <a:lnTo>
                  <a:pt x="0" y="5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60" name="Freeform 201"/>
          <p:cNvSpPr>
            <a:spLocks noEditPoints="1"/>
          </p:cNvSpPr>
          <p:nvPr/>
        </p:nvSpPr>
        <p:spPr bwMode="auto">
          <a:xfrm>
            <a:off x="7199313" y="4643438"/>
            <a:ext cx="315912" cy="444500"/>
          </a:xfrm>
          <a:custGeom>
            <a:avLst/>
            <a:gdLst>
              <a:gd name="T0" fmla="*/ 77 w 199"/>
              <a:gd name="T1" fmla="*/ 185 h 280"/>
              <a:gd name="T2" fmla="*/ 75 w 199"/>
              <a:gd name="T3" fmla="*/ 105 h 280"/>
              <a:gd name="T4" fmla="*/ 102 w 199"/>
              <a:gd name="T5" fmla="*/ 32 h 280"/>
              <a:gd name="T6" fmla="*/ 112 w 199"/>
              <a:gd name="T7" fmla="*/ 60 h 280"/>
              <a:gd name="T8" fmla="*/ 127 w 199"/>
              <a:gd name="T9" fmla="*/ 77 h 280"/>
              <a:gd name="T10" fmla="*/ 137 w 199"/>
              <a:gd name="T11" fmla="*/ 77 h 280"/>
              <a:gd name="T12" fmla="*/ 155 w 199"/>
              <a:gd name="T13" fmla="*/ 77 h 280"/>
              <a:gd name="T14" fmla="*/ 165 w 199"/>
              <a:gd name="T15" fmla="*/ 77 h 280"/>
              <a:gd name="T16" fmla="*/ 175 w 199"/>
              <a:gd name="T17" fmla="*/ 95 h 280"/>
              <a:gd name="T18" fmla="*/ 182 w 199"/>
              <a:gd name="T19" fmla="*/ 102 h 280"/>
              <a:gd name="T20" fmla="*/ 197 w 199"/>
              <a:gd name="T21" fmla="*/ 112 h 280"/>
              <a:gd name="T22" fmla="*/ 197 w 199"/>
              <a:gd name="T23" fmla="*/ 120 h 280"/>
              <a:gd name="T24" fmla="*/ 194 w 199"/>
              <a:gd name="T25" fmla="*/ 127 h 280"/>
              <a:gd name="T26" fmla="*/ 184 w 199"/>
              <a:gd name="T27" fmla="*/ 147 h 280"/>
              <a:gd name="T28" fmla="*/ 175 w 199"/>
              <a:gd name="T29" fmla="*/ 160 h 280"/>
              <a:gd name="T30" fmla="*/ 170 w 199"/>
              <a:gd name="T31" fmla="*/ 172 h 280"/>
              <a:gd name="T32" fmla="*/ 162 w 199"/>
              <a:gd name="T33" fmla="*/ 170 h 280"/>
              <a:gd name="T34" fmla="*/ 165 w 199"/>
              <a:gd name="T35" fmla="*/ 165 h 280"/>
              <a:gd name="T36" fmla="*/ 160 w 199"/>
              <a:gd name="T37" fmla="*/ 167 h 280"/>
              <a:gd name="T38" fmla="*/ 155 w 199"/>
              <a:gd name="T39" fmla="*/ 172 h 280"/>
              <a:gd name="T40" fmla="*/ 155 w 199"/>
              <a:gd name="T41" fmla="*/ 177 h 280"/>
              <a:gd name="T42" fmla="*/ 150 w 199"/>
              <a:gd name="T43" fmla="*/ 190 h 280"/>
              <a:gd name="T44" fmla="*/ 150 w 199"/>
              <a:gd name="T45" fmla="*/ 195 h 280"/>
              <a:gd name="T46" fmla="*/ 150 w 199"/>
              <a:gd name="T47" fmla="*/ 200 h 280"/>
              <a:gd name="T48" fmla="*/ 155 w 199"/>
              <a:gd name="T49" fmla="*/ 212 h 280"/>
              <a:gd name="T50" fmla="*/ 142 w 199"/>
              <a:gd name="T51" fmla="*/ 215 h 280"/>
              <a:gd name="T52" fmla="*/ 135 w 199"/>
              <a:gd name="T53" fmla="*/ 215 h 280"/>
              <a:gd name="T54" fmla="*/ 120 w 199"/>
              <a:gd name="T55" fmla="*/ 230 h 280"/>
              <a:gd name="T56" fmla="*/ 117 w 199"/>
              <a:gd name="T57" fmla="*/ 240 h 280"/>
              <a:gd name="T58" fmla="*/ 110 w 199"/>
              <a:gd name="T59" fmla="*/ 242 h 280"/>
              <a:gd name="T60" fmla="*/ 92 w 199"/>
              <a:gd name="T61" fmla="*/ 245 h 280"/>
              <a:gd name="T62" fmla="*/ 87 w 199"/>
              <a:gd name="T63" fmla="*/ 250 h 280"/>
              <a:gd name="T64" fmla="*/ 87 w 199"/>
              <a:gd name="T65" fmla="*/ 255 h 280"/>
              <a:gd name="T66" fmla="*/ 90 w 199"/>
              <a:gd name="T67" fmla="*/ 260 h 280"/>
              <a:gd name="T68" fmla="*/ 87 w 199"/>
              <a:gd name="T69" fmla="*/ 262 h 280"/>
              <a:gd name="T70" fmla="*/ 80 w 199"/>
              <a:gd name="T71" fmla="*/ 272 h 280"/>
              <a:gd name="T72" fmla="*/ 70 w 199"/>
              <a:gd name="T73" fmla="*/ 270 h 280"/>
              <a:gd name="T74" fmla="*/ 55 w 199"/>
              <a:gd name="T75" fmla="*/ 275 h 280"/>
              <a:gd name="T76" fmla="*/ 45 w 199"/>
              <a:gd name="T77" fmla="*/ 280 h 280"/>
              <a:gd name="T78" fmla="*/ 40 w 199"/>
              <a:gd name="T79" fmla="*/ 280 h 280"/>
              <a:gd name="T80" fmla="*/ 20 w 199"/>
              <a:gd name="T81" fmla="*/ 262 h 280"/>
              <a:gd name="T82" fmla="*/ 0 w 199"/>
              <a:gd name="T83" fmla="*/ 220 h 280"/>
              <a:gd name="T84" fmla="*/ 2 w 199"/>
              <a:gd name="T85" fmla="*/ 207 h 280"/>
              <a:gd name="T86" fmla="*/ 97 w 199"/>
              <a:gd name="T87" fmla="*/ 20 h 280"/>
              <a:gd name="T88" fmla="*/ 100 w 199"/>
              <a:gd name="T89" fmla="*/ 7 h 280"/>
              <a:gd name="T90" fmla="*/ 100 w 199"/>
              <a:gd name="T91" fmla="*/ 2 h 280"/>
              <a:gd name="T92" fmla="*/ 100 w 199"/>
              <a:gd name="T93" fmla="*/ 0 h 280"/>
              <a:gd name="T94" fmla="*/ 100 w 199"/>
              <a:gd name="T95" fmla="*/ 0 h 280"/>
              <a:gd name="T96" fmla="*/ 95 w 199"/>
              <a:gd name="T97" fmla="*/ 0 h 280"/>
              <a:gd name="T98" fmla="*/ 92 w 199"/>
              <a:gd name="T99" fmla="*/ 7 h 280"/>
              <a:gd name="T100" fmla="*/ 90 w 199"/>
              <a:gd name="T101" fmla="*/ 10 h 280"/>
              <a:gd name="T102" fmla="*/ 95 w 199"/>
              <a:gd name="T103" fmla="*/ 12 h 280"/>
              <a:gd name="T104" fmla="*/ 97 w 199"/>
              <a:gd name="T105" fmla="*/ 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280">
                <a:moveTo>
                  <a:pt x="2" y="207"/>
                </a:moveTo>
                <a:lnTo>
                  <a:pt x="77" y="185"/>
                </a:lnTo>
                <a:lnTo>
                  <a:pt x="80" y="125"/>
                </a:lnTo>
                <a:lnTo>
                  <a:pt x="75" y="105"/>
                </a:lnTo>
                <a:lnTo>
                  <a:pt x="97" y="35"/>
                </a:lnTo>
                <a:lnTo>
                  <a:pt x="102" y="32"/>
                </a:lnTo>
                <a:lnTo>
                  <a:pt x="105" y="50"/>
                </a:lnTo>
                <a:lnTo>
                  <a:pt x="112" y="60"/>
                </a:lnTo>
                <a:lnTo>
                  <a:pt x="112" y="65"/>
                </a:lnTo>
                <a:lnTo>
                  <a:pt x="127" y="77"/>
                </a:lnTo>
                <a:lnTo>
                  <a:pt x="135" y="77"/>
                </a:lnTo>
                <a:lnTo>
                  <a:pt x="137" y="77"/>
                </a:lnTo>
                <a:lnTo>
                  <a:pt x="142" y="77"/>
                </a:lnTo>
                <a:lnTo>
                  <a:pt x="155" y="77"/>
                </a:lnTo>
                <a:lnTo>
                  <a:pt x="162" y="77"/>
                </a:lnTo>
                <a:lnTo>
                  <a:pt x="165" y="77"/>
                </a:lnTo>
                <a:lnTo>
                  <a:pt x="172" y="87"/>
                </a:lnTo>
                <a:lnTo>
                  <a:pt x="175" y="95"/>
                </a:lnTo>
                <a:lnTo>
                  <a:pt x="179" y="97"/>
                </a:lnTo>
                <a:lnTo>
                  <a:pt x="182" y="102"/>
                </a:lnTo>
                <a:lnTo>
                  <a:pt x="192" y="110"/>
                </a:lnTo>
                <a:lnTo>
                  <a:pt x="197" y="112"/>
                </a:lnTo>
                <a:lnTo>
                  <a:pt x="199" y="115"/>
                </a:lnTo>
                <a:lnTo>
                  <a:pt x="197" y="120"/>
                </a:lnTo>
                <a:lnTo>
                  <a:pt x="194" y="125"/>
                </a:lnTo>
                <a:lnTo>
                  <a:pt x="194" y="127"/>
                </a:lnTo>
                <a:lnTo>
                  <a:pt x="194" y="132"/>
                </a:lnTo>
                <a:lnTo>
                  <a:pt x="184" y="147"/>
                </a:lnTo>
                <a:lnTo>
                  <a:pt x="177" y="155"/>
                </a:lnTo>
                <a:lnTo>
                  <a:pt x="175" y="160"/>
                </a:lnTo>
                <a:lnTo>
                  <a:pt x="172" y="162"/>
                </a:lnTo>
                <a:lnTo>
                  <a:pt x="170" y="172"/>
                </a:lnTo>
                <a:lnTo>
                  <a:pt x="167" y="172"/>
                </a:lnTo>
                <a:lnTo>
                  <a:pt x="162" y="170"/>
                </a:lnTo>
                <a:lnTo>
                  <a:pt x="165" y="167"/>
                </a:lnTo>
                <a:lnTo>
                  <a:pt x="165" y="165"/>
                </a:lnTo>
                <a:lnTo>
                  <a:pt x="162" y="165"/>
                </a:lnTo>
                <a:lnTo>
                  <a:pt x="160" y="167"/>
                </a:lnTo>
                <a:lnTo>
                  <a:pt x="157" y="172"/>
                </a:lnTo>
                <a:lnTo>
                  <a:pt x="155" y="172"/>
                </a:lnTo>
                <a:lnTo>
                  <a:pt x="157" y="177"/>
                </a:lnTo>
                <a:lnTo>
                  <a:pt x="155" y="177"/>
                </a:lnTo>
                <a:lnTo>
                  <a:pt x="150" y="185"/>
                </a:lnTo>
                <a:lnTo>
                  <a:pt x="150" y="190"/>
                </a:lnTo>
                <a:lnTo>
                  <a:pt x="147" y="195"/>
                </a:lnTo>
                <a:lnTo>
                  <a:pt x="150" y="195"/>
                </a:lnTo>
                <a:lnTo>
                  <a:pt x="152" y="200"/>
                </a:lnTo>
                <a:lnTo>
                  <a:pt x="150" y="200"/>
                </a:lnTo>
                <a:lnTo>
                  <a:pt x="155" y="210"/>
                </a:lnTo>
                <a:lnTo>
                  <a:pt x="155" y="212"/>
                </a:lnTo>
                <a:lnTo>
                  <a:pt x="155" y="215"/>
                </a:lnTo>
                <a:lnTo>
                  <a:pt x="142" y="215"/>
                </a:lnTo>
                <a:lnTo>
                  <a:pt x="140" y="217"/>
                </a:lnTo>
                <a:lnTo>
                  <a:pt x="135" y="215"/>
                </a:lnTo>
                <a:lnTo>
                  <a:pt x="130" y="217"/>
                </a:lnTo>
                <a:lnTo>
                  <a:pt x="120" y="230"/>
                </a:lnTo>
                <a:lnTo>
                  <a:pt x="120" y="237"/>
                </a:lnTo>
                <a:lnTo>
                  <a:pt x="117" y="240"/>
                </a:lnTo>
                <a:lnTo>
                  <a:pt x="112" y="245"/>
                </a:lnTo>
                <a:lnTo>
                  <a:pt x="110" y="242"/>
                </a:lnTo>
                <a:lnTo>
                  <a:pt x="102" y="245"/>
                </a:lnTo>
                <a:lnTo>
                  <a:pt x="92" y="245"/>
                </a:lnTo>
                <a:lnTo>
                  <a:pt x="90" y="247"/>
                </a:lnTo>
                <a:lnTo>
                  <a:pt x="87" y="250"/>
                </a:lnTo>
                <a:lnTo>
                  <a:pt x="87" y="252"/>
                </a:lnTo>
                <a:lnTo>
                  <a:pt x="87" y="255"/>
                </a:lnTo>
                <a:lnTo>
                  <a:pt x="90" y="257"/>
                </a:lnTo>
                <a:lnTo>
                  <a:pt x="90" y="260"/>
                </a:lnTo>
                <a:lnTo>
                  <a:pt x="87" y="260"/>
                </a:lnTo>
                <a:lnTo>
                  <a:pt x="87" y="262"/>
                </a:lnTo>
                <a:lnTo>
                  <a:pt x="82" y="272"/>
                </a:lnTo>
                <a:lnTo>
                  <a:pt x="80" y="272"/>
                </a:lnTo>
                <a:lnTo>
                  <a:pt x="75" y="270"/>
                </a:lnTo>
                <a:lnTo>
                  <a:pt x="70" y="270"/>
                </a:lnTo>
                <a:lnTo>
                  <a:pt x="65" y="270"/>
                </a:lnTo>
                <a:lnTo>
                  <a:pt x="55" y="275"/>
                </a:lnTo>
                <a:lnTo>
                  <a:pt x="50" y="275"/>
                </a:lnTo>
                <a:lnTo>
                  <a:pt x="45" y="280"/>
                </a:lnTo>
                <a:lnTo>
                  <a:pt x="40" y="280"/>
                </a:lnTo>
                <a:lnTo>
                  <a:pt x="40" y="280"/>
                </a:lnTo>
                <a:lnTo>
                  <a:pt x="35" y="280"/>
                </a:lnTo>
                <a:lnTo>
                  <a:pt x="20" y="262"/>
                </a:lnTo>
                <a:lnTo>
                  <a:pt x="25" y="250"/>
                </a:lnTo>
                <a:lnTo>
                  <a:pt x="0" y="220"/>
                </a:lnTo>
                <a:lnTo>
                  <a:pt x="2" y="207"/>
                </a:lnTo>
                <a:lnTo>
                  <a:pt x="2" y="207"/>
                </a:lnTo>
                <a:close/>
                <a:moveTo>
                  <a:pt x="97" y="22"/>
                </a:moveTo>
                <a:lnTo>
                  <a:pt x="97" y="20"/>
                </a:lnTo>
                <a:lnTo>
                  <a:pt x="100" y="15"/>
                </a:lnTo>
                <a:lnTo>
                  <a:pt x="100" y="7"/>
                </a:lnTo>
                <a:lnTo>
                  <a:pt x="100" y="7"/>
                </a:lnTo>
                <a:lnTo>
                  <a:pt x="100" y="2"/>
                </a:lnTo>
                <a:lnTo>
                  <a:pt x="100" y="2"/>
                </a:lnTo>
                <a:lnTo>
                  <a:pt x="100" y="0"/>
                </a:lnTo>
                <a:lnTo>
                  <a:pt x="100" y="0"/>
                </a:lnTo>
                <a:lnTo>
                  <a:pt x="100" y="0"/>
                </a:lnTo>
                <a:lnTo>
                  <a:pt x="97" y="0"/>
                </a:lnTo>
                <a:lnTo>
                  <a:pt x="95" y="0"/>
                </a:lnTo>
                <a:lnTo>
                  <a:pt x="95" y="7"/>
                </a:lnTo>
                <a:lnTo>
                  <a:pt x="92" y="7"/>
                </a:lnTo>
                <a:lnTo>
                  <a:pt x="92" y="7"/>
                </a:lnTo>
                <a:lnTo>
                  <a:pt x="90" y="10"/>
                </a:lnTo>
                <a:lnTo>
                  <a:pt x="90" y="12"/>
                </a:lnTo>
                <a:lnTo>
                  <a:pt x="95" y="12"/>
                </a:lnTo>
                <a:lnTo>
                  <a:pt x="95" y="22"/>
                </a:lnTo>
                <a:lnTo>
                  <a:pt x="97" y="22"/>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61" name="Freeform 202"/>
          <p:cNvSpPr>
            <a:spLocks noEditPoints="1"/>
          </p:cNvSpPr>
          <p:nvPr/>
        </p:nvSpPr>
        <p:spPr bwMode="auto">
          <a:xfrm>
            <a:off x="6807200" y="4972050"/>
            <a:ext cx="511175" cy="312738"/>
          </a:xfrm>
          <a:custGeom>
            <a:avLst/>
            <a:gdLst>
              <a:gd name="T0" fmla="*/ 7 w 322"/>
              <a:gd name="T1" fmla="*/ 75 h 197"/>
              <a:gd name="T2" fmla="*/ 15 w 322"/>
              <a:gd name="T3" fmla="*/ 73 h 197"/>
              <a:gd name="T4" fmla="*/ 17 w 322"/>
              <a:gd name="T5" fmla="*/ 58 h 197"/>
              <a:gd name="T6" fmla="*/ 27 w 322"/>
              <a:gd name="T7" fmla="*/ 43 h 197"/>
              <a:gd name="T8" fmla="*/ 52 w 322"/>
              <a:gd name="T9" fmla="*/ 50 h 197"/>
              <a:gd name="T10" fmla="*/ 97 w 322"/>
              <a:gd name="T11" fmla="*/ 70 h 197"/>
              <a:gd name="T12" fmla="*/ 147 w 322"/>
              <a:gd name="T13" fmla="*/ 30 h 197"/>
              <a:gd name="T14" fmla="*/ 247 w 322"/>
              <a:gd name="T15" fmla="*/ 13 h 197"/>
              <a:gd name="T16" fmla="*/ 267 w 322"/>
              <a:gd name="T17" fmla="*/ 55 h 197"/>
              <a:gd name="T18" fmla="*/ 277 w 322"/>
              <a:gd name="T19" fmla="*/ 75 h 197"/>
              <a:gd name="T20" fmla="*/ 257 w 322"/>
              <a:gd name="T21" fmla="*/ 87 h 197"/>
              <a:gd name="T22" fmla="*/ 259 w 322"/>
              <a:gd name="T23" fmla="*/ 97 h 197"/>
              <a:gd name="T24" fmla="*/ 259 w 322"/>
              <a:gd name="T25" fmla="*/ 100 h 197"/>
              <a:gd name="T26" fmla="*/ 242 w 322"/>
              <a:gd name="T27" fmla="*/ 107 h 197"/>
              <a:gd name="T28" fmla="*/ 214 w 322"/>
              <a:gd name="T29" fmla="*/ 117 h 197"/>
              <a:gd name="T30" fmla="*/ 185 w 322"/>
              <a:gd name="T31" fmla="*/ 127 h 197"/>
              <a:gd name="T32" fmla="*/ 177 w 322"/>
              <a:gd name="T33" fmla="*/ 130 h 197"/>
              <a:gd name="T34" fmla="*/ 162 w 322"/>
              <a:gd name="T35" fmla="*/ 145 h 197"/>
              <a:gd name="T36" fmla="*/ 157 w 322"/>
              <a:gd name="T37" fmla="*/ 145 h 197"/>
              <a:gd name="T38" fmla="*/ 152 w 322"/>
              <a:gd name="T39" fmla="*/ 147 h 197"/>
              <a:gd name="T40" fmla="*/ 145 w 322"/>
              <a:gd name="T41" fmla="*/ 145 h 197"/>
              <a:gd name="T42" fmla="*/ 135 w 322"/>
              <a:gd name="T43" fmla="*/ 155 h 197"/>
              <a:gd name="T44" fmla="*/ 120 w 322"/>
              <a:gd name="T45" fmla="*/ 160 h 197"/>
              <a:gd name="T46" fmla="*/ 102 w 322"/>
              <a:gd name="T47" fmla="*/ 162 h 197"/>
              <a:gd name="T48" fmla="*/ 92 w 322"/>
              <a:gd name="T49" fmla="*/ 160 h 197"/>
              <a:gd name="T50" fmla="*/ 87 w 322"/>
              <a:gd name="T51" fmla="*/ 160 h 197"/>
              <a:gd name="T52" fmla="*/ 77 w 322"/>
              <a:gd name="T53" fmla="*/ 165 h 197"/>
              <a:gd name="T54" fmla="*/ 72 w 322"/>
              <a:gd name="T55" fmla="*/ 172 h 197"/>
              <a:gd name="T56" fmla="*/ 62 w 322"/>
              <a:gd name="T57" fmla="*/ 180 h 197"/>
              <a:gd name="T58" fmla="*/ 55 w 322"/>
              <a:gd name="T59" fmla="*/ 177 h 197"/>
              <a:gd name="T60" fmla="*/ 45 w 322"/>
              <a:gd name="T61" fmla="*/ 185 h 197"/>
              <a:gd name="T62" fmla="*/ 35 w 322"/>
              <a:gd name="T63" fmla="*/ 182 h 197"/>
              <a:gd name="T64" fmla="*/ 27 w 322"/>
              <a:gd name="T65" fmla="*/ 180 h 197"/>
              <a:gd name="T66" fmla="*/ 20 w 322"/>
              <a:gd name="T67" fmla="*/ 167 h 197"/>
              <a:gd name="T68" fmla="*/ 20 w 322"/>
              <a:gd name="T69" fmla="*/ 157 h 197"/>
              <a:gd name="T70" fmla="*/ 15 w 322"/>
              <a:gd name="T71" fmla="*/ 145 h 197"/>
              <a:gd name="T72" fmla="*/ 5 w 322"/>
              <a:gd name="T73" fmla="*/ 110 h 197"/>
              <a:gd name="T74" fmla="*/ 0 w 322"/>
              <a:gd name="T75" fmla="*/ 107 h 197"/>
              <a:gd name="T76" fmla="*/ 2 w 322"/>
              <a:gd name="T77" fmla="*/ 105 h 197"/>
              <a:gd name="T78" fmla="*/ 7 w 322"/>
              <a:gd name="T79" fmla="*/ 102 h 197"/>
              <a:gd name="T80" fmla="*/ 5 w 322"/>
              <a:gd name="T81" fmla="*/ 80 h 197"/>
              <a:gd name="T82" fmla="*/ 2 w 322"/>
              <a:gd name="T83" fmla="*/ 75 h 197"/>
              <a:gd name="T84" fmla="*/ 262 w 322"/>
              <a:gd name="T85" fmla="*/ 195 h 197"/>
              <a:gd name="T86" fmla="*/ 264 w 322"/>
              <a:gd name="T87" fmla="*/ 197 h 197"/>
              <a:gd name="T88" fmla="*/ 257 w 322"/>
              <a:gd name="T89" fmla="*/ 197 h 197"/>
              <a:gd name="T90" fmla="*/ 294 w 322"/>
              <a:gd name="T91" fmla="*/ 187 h 197"/>
              <a:gd name="T92" fmla="*/ 297 w 322"/>
              <a:gd name="T93" fmla="*/ 180 h 197"/>
              <a:gd name="T94" fmla="*/ 302 w 322"/>
              <a:gd name="T95" fmla="*/ 182 h 197"/>
              <a:gd name="T96" fmla="*/ 309 w 322"/>
              <a:gd name="T97" fmla="*/ 182 h 197"/>
              <a:gd name="T98" fmla="*/ 317 w 322"/>
              <a:gd name="T99" fmla="*/ 185 h 197"/>
              <a:gd name="T100" fmla="*/ 322 w 322"/>
              <a:gd name="T101" fmla="*/ 187 h 197"/>
              <a:gd name="T102" fmla="*/ 317 w 322"/>
              <a:gd name="T103" fmla="*/ 190 h 197"/>
              <a:gd name="T104" fmla="*/ 302 w 322"/>
              <a:gd name="T105" fmla="*/ 195 h 197"/>
              <a:gd name="T106" fmla="*/ 294 w 322"/>
              <a:gd name="T107" fmla="*/ 19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2" h="197">
                <a:moveTo>
                  <a:pt x="2" y="75"/>
                </a:moveTo>
                <a:lnTo>
                  <a:pt x="7" y="75"/>
                </a:lnTo>
                <a:lnTo>
                  <a:pt x="12" y="77"/>
                </a:lnTo>
                <a:lnTo>
                  <a:pt x="15" y="73"/>
                </a:lnTo>
                <a:lnTo>
                  <a:pt x="22" y="68"/>
                </a:lnTo>
                <a:lnTo>
                  <a:pt x="17" y="58"/>
                </a:lnTo>
                <a:lnTo>
                  <a:pt x="20" y="45"/>
                </a:lnTo>
                <a:lnTo>
                  <a:pt x="27" y="43"/>
                </a:lnTo>
                <a:lnTo>
                  <a:pt x="35" y="50"/>
                </a:lnTo>
                <a:lnTo>
                  <a:pt x="52" y="50"/>
                </a:lnTo>
                <a:lnTo>
                  <a:pt x="75" y="60"/>
                </a:lnTo>
                <a:lnTo>
                  <a:pt x="97" y="70"/>
                </a:lnTo>
                <a:lnTo>
                  <a:pt x="100" y="95"/>
                </a:lnTo>
                <a:lnTo>
                  <a:pt x="147" y="30"/>
                </a:lnTo>
                <a:lnTo>
                  <a:pt x="249" y="0"/>
                </a:lnTo>
                <a:lnTo>
                  <a:pt x="247" y="13"/>
                </a:lnTo>
                <a:lnTo>
                  <a:pt x="272" y="43"/>
                </a:lnTo>
                <a:lnTo>
                  <a:pt x="267" y="55"/>
                </a:lnTo>
                <a:lnTo>
                  <a:pt x="282" y="73"/>
                </a:lnTo>
                <a:lnTo>
                  <a:pt x="277" y="75"/>
                </a:lnTo>
                <a:lnTo>
                  <a:pt x="267" y="77"/>
                </a:lnTo>
                <a:lnTo>
                  <a:pt x="257" y="87"/>
                </a:lnTo>
                <a:lnTo>
                  <a:pt x="257" y="95"/>
                </a:lnTo>
                <a:lnTo>
                  <a:pt x="259" y="97"/>
                </a:lnTo>
                <a:lnTo>
                  <a:pt x="257" y="97"/>
                </a:lnTo>
                <a:lnTo>
                  <a:pt x="259" y="100"/>
                </a:lnTo>
                <a:lnTo>
                  <a:pt x="247" y="102"/>
                </a:lnTo>
                <a:lnTo>
                  <a:pt x="242" y="107"/>
                </a:lnTo>
                <a:lnTo>
                  <a:pt x="232" y="112"/>
                </a:lnTo>
                <a:lnTo>
                  <a:pt x="214" y="117"/>
                </a:lnTo>
                <a:lnTo>
                  <a:pt x="212" y="120"/>
                </a:lnTo>
                <a:lnTo>
                  <a:pt x="185" y="127"/>
                </a:lnTo>
                <a:lnTo>
                  <a:pt x="180" y="127"/>
                </a:lnTo>
                <a:lnTo>
                  <a:pt x="177" y="130"/>
                </a:lnTo>
                <a:lnTo>
                  <a:pt x="170" y="140"/>
                </a:lnTo>
                <a:lnTo>
                  <a:pt x="162" y="145"/>
                </a:lnTo>
                <a:lnTo>
                  <a:pt x="160" y="145"/>
                </a:lnTo>
                <a:lnTo>
                  <a:pt x="157" y="145"/>
                </a:lnTo>
                <a:lnTo>
                  <a:pt x="155" y="147"/>
                </a:lnTo>
                <a:lnTo>
                  <a:pt x="152" y="147"/>
                </a:lnTo>
                <a:lnTo>
                  <a:pt x="147" y="145"/>
                </a:lnTo>
                <a:lnTo>
                  <a:pt x="145" y="145"/>
                </a:lnTo>
                <a:lnTo>
                  <a:pt x="135" y="152"/>
                </a:lnTo>
                <a:lnTo>
                  <a:pt x="135" y="155"/>
                </a:lnTo>
                <a:lnTo>
                  <a:pt x="130" y="157"/>
                </a:lnTo>
                <a:lnTo>
                  <a:pt x="120" y="160"/>
                </a:lnTo>
                <a:lnTo>
                  <a:pt x="107" y="165"/>
                </a:lnTo>
                <a:lnTo>
                  <a:pt x="102" y="162"/>
                </a:lnTo>
                <a:lnTo>
                  <a:pt x="100" y="160"/>
                </a:lnTo>
                <a:lnTo>
                  <a:pt x="92" y="160"/>
                </a:lnTo>
                <a:lnTo>
                  <a:pt x="92" y="160"/>
                </a:lnTo>
                <a:lnTo>
                  <a:pt x="87" y="160"/>
                </a:lnTo>
                <a:lnTo>
                  <a:pt x="85" y="160"/>
                </a:lnTo>
                <a:lnTo>
                  <a:pt x="77" y="165"/>
                </a:lnTo>
                <a:lnTo>
                  <a:pt x="75" y="172"/>
                </a:lnTo>
                <a:lnTo>
                  <a:pt x="72" y="172"/>
                </a:lnTo>
                <a:lnTo>
                  <a:pt x="67" y="180"/>
                </a:lnTo>
                <a:lnTo>
                  <a:pt x="62" y="180"/>
                </a:lnTo>
                <a:lnTo>
                  <a:pt x="60" y="177"/>
                </a:lnTo>
                <a:lnTo>
                  <a:pt x="55" y="177"/>
                </a:lnTo>
                <a:lnTo>
                  <a:pt x="50" y="182"/>
                </a:lnTo>
                <a:lnTo>
                  <a:pt x="45" y="185"/>
                </a:lnTo>
                <a:lnTo>
                  <a:pt x="37" y="182"/>
                </a:lnTo>
                <a:lnTo>
                  <a:pt x="35" y="182"/>
                </a:lnTo>
                <a:lnTo>
                  <a:pt x="30" y="185"/>
                </a:lnTo>
                <a:lnTo>
                  <a:pt x="27" y="180"/>
                </a:lnTo>
                <a:lnTo>
                  <a:pt x="27" y="172"/>
                </a:lnTo>
                <a:lnTo>
                  <a:pt x="20" y="167"/>
                </a:lnTo>
                <a:lnTo>
                  <a:pt x="17" y="160"/>
                </a:lnTo>
                <a:lnTo>
                  <a:pt x="20" y="157"/>
                </a:lnTo>
                <a:lnTo>
                  <a:pt x="20" y="150"/>
                </a:lnTo>
                <a:lnTo>
                  <a:pt x="15" y="145"/>
                </a:lnTo>
                <a:lnTo>
                  <a:pt x="10" y="120"/>
                </a:lnTo>
                <a:lnTo>
                  <a:pt x="5" y="110"/>
                </a:lnTo>
                <a:lnTo>
                  <a:pt x="5" y="107"/>
                </a:lnTo>
                <a:lnTo>
                  <a:pt x="0" y="107"/>
                </a:lnTo>
                <a:lnTo>
                  <a:pt x="0" y="102"/>
                </a:lnTo>
                <a:lnTo>
                  <a:pt x="2" y="105"/>
                </a:lnTo>
                <a:lnTo>
                  <a:pt x="2" y="102"/>
                </a:lnTo>
                <a:lnTo>
                  <a:pt x="7" y="102"/>
                </a:lnTo>
                <a:lnTo>
                  <a:pt x="7" y="92"/>
                </a:lnTo>
                <a:lnTo>
                  <a:pt x="5" y="80"/>
                </a:lnTo>
                <a:lnTo>
                  <a:pt x="2" y="75"/>
                </a:lnTo>
                <a:lnTo>
                  <a:pt x="2" y="75"/>
                </a:lnTo>
                <a:close/>
                <a:moveTo>
                  <a:pt x="257" y="197"/>
                </a:moveTo>
                <a:lnTo>
                  <a:pt x="262" y="195"/>
                </a:lnTo>
                <a:lnTo>
                  <a:pt x="269" y="197"/>
                </a:lnTo>
                <a:lnTo>
                  <a:pt x="264" y="197"/>
                </a:lnTo>
                <a:lnTo>
                  <a:pt x="257" y="197"/>
                </a:lnTo>
                <a:lnTo>
                  <a:pt x="257" y="197"/>
                </a:lnTo>
                <a:close/>
                <a:moveTo>
                  <a:pt x="289" y="190"/>
                </a:moveTo>
                <a:lnTo>
                  <a:pt x="294" y="187"/>
                </a:lnTo>
                <a:lnTo>
                  <a:pt x="294" y="182"/>
                </a:lnTo>
                <a:lnTo>
                  <a:pt x="297" y="180"/>
                </a:lnTo>
                <a:lnTo>
                  <a:pt x="299" y="180"/>
                </a:lnTo>
                <a:lnTo>
                  <a:pt x="302" y="182"/>
                </a:lnTo>
                <a:lnTo>
                  <a:pt x="304" y="185"/>
                </a:lnTo>
                <a:lnTo>
                  <a:pt x="309" y="182"/>
                </a:lnTo>
                <a:lnTo>
                  <a:pt x="314" y="182"/>
                </a:lnTo>
                <a:lnTo>
                  <a:pt x="317" y="185"/>
                </a:lnTo>
                <a:lnTo>
                  <a:pt x="322" y="185"/>
                </a:lnTo>
                <a:lnTo>
                  <a:pt x="322" y="187"/>
                </a:lnTo>
                <a:lnTo>
                  <a:pt x="319" y="190"/>
                </a:lnTo>
                <a:lnTo>
                  <a:pt x="317" y="190"/>
                </a:lnTo>
                <a:lnTo>
                  <a:pt x="312" y="192"/>
                </a:lnTo>
                <a:lnTo>
                  <a:pt x="302" y="195"/>
                </a:lnTo>
                <a:lnTo>
                  <a:pt x="297" y="192"/>
                </a:lnTo>
                <a:lnTo>
                  <a:pt x="294" y="190"/>
                </a:lnTo>
                <a:lnTo>
                  <a:pt x="289" y="19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62" name="Freeform 203"/>
          <p:cNvSpPr>
            <a:spLocks noEditPoints="1"/>
          </p:cNvSpPr>
          <p:nvPr/>
        </p:nvSpPr>
        <p:spPr bwMode="auto">
          <a:xfrm>
            <a:off x="9261475" y="5491163"/>
            <a:ext cx="812800" cy="285750"/>
          </a:xfrm>
          <a:custGeom>
            <a:avLst/>
            <a:gdLst>
              <a:gd name="T0" fmla="*/ 307 w 512"/>
              <a:gd name="T1" fmla="*/ 137 h 180"/>
              <a:gd name="T2" fmla="*/ 307 w 512"/>
              <a:gd name="T3" fmla="*/ 135 h 180"/>
              <a:gd name="T4" fmla="*/ 3 w 512"/>
              <a:gd name="T5" fmla="*/ 57 h 180"/>
              <a:gd name="T6" fmla="*/ 302 w 512"/>
              <a:gd name="T7" fmla="*/ 142 h 180"/>
              <a:gd name="T8" fmla="*/ 312 w 512"/>
              <a:gd name="T9" fmla="*/ 130 h 180"/>
              <a:gd name="T10" fmla="*/ 317 w 512"/>
              <a:gd name="T11" fmla="*/ 135 h 180"/>
              <a:gd name="T12" fmla="*/ 447 w 512"/>
              <a:gd name="T13" fmla="*/ 3 h 180"/>
              <a:gd name="T14" fmla="*/ 452 w 512"/>
              <a:gd name="T15" fmla="*/ 5 h 180"/>
              <a:gd name="T16" fmla="*/ 494 w 512"/>
              <a:gd name="T17" fmla="*/ 52 h 180"/>
              <a:gd name="T18" fmla="*/ 474 w 512"/>
              <a:gd name="T19" fmla="*/ 47 h 180"/>
              <a:gd name="T20" fmla="*/ 467 w 512"/>
              <a:gd name="T21" fmla="*/ 42 h 180"/>
              <a:gd name="T22" fmla="*/ 464 w 512"/>
              <a:gd name="T23" fmla="*/ 23 h 180"/>
              <a:gd name="T24" fmla="*/ 449 w 512"/>
              <a:gd name="T25" fmla="*/ 10 h 180"/>
              <a:gd name="T26" fmla="*/ 442 w 512"/>
              <a:gd name="T27" fmla="*/ 13 h 180"/>
              <a:gd name="T28" fmla="*/ 424 w 512"/>
              <a:gd name="T29" fmla="*/ 45 h 180"/>
              <a:gd name="T30" fmla="*/ 404 w 512"/>
              <a:gd name="T31" fmla="*/ 60 h 180"/>
              <a:gd name="T32" fmla="*/ 404 w 512"/>
              <a:gd name="T33" fmla="*/ 67 h 180"/>
              <a:gd name="T34" fmla="*/ 402 w 512"/>
              <a:gd name="T35" fmla="*/ 82 h 180"/>
              <a:gd name="T36" fmla="*/ 397 w 512"/>
              <a:gd name="T37" fmla="*/ 72 h 180"/>
              <a:gd name="T38" fmla="*/ 382 w 512"/>
              <a:gd name="T39" fmla="*/ 77 h 180"/>
              <a:gd name="T40" fmla="*/ 364 w 512"/>
              <a:gd name="T41" fmla="*/ 92 h 180"/>
              <a:gd name="T42" fmla="*/ 340 w 512"/>
              <a:gd name="T43" fmla="*/ 122 h 180"/>
              <a:gd name="T44" fmla="*/ 317 w 512"/>
              <a:gd name="T45" fmla="*/ 137 h 180"/>
              <a:gd name="T46" fmla="*/ 302 w 512"/>
              <a:gd name="T47" fmla="*/ 157 h 180"/>
              <a:gd name="T48" fmla="*/ 267 w 512"/>
              <a:gd name="T49" fmla="*/ 160 h 180"/>
              <a:gd name="T50" fmla="*/ 272 w 512"/>
              <a:gd name="T51" fmla="*/ 167 h 180"/>
              <a:gd name="T52" fmla="*/ 295 w 512"/>
              <a:gd name="T53" fmla="*/ 177 h 180"/>
              <a:gd name="T54" fmla="*/ 335 w 512"/>
              <a:gd name="T55" fmla="*/ 170 h 180"/>
              <a:gd name="T56" fmla="*/ 367 w 512"/>
              <a:gd name="T57" fmla="*/ 172 h 180"/>
              <a:gd name="T58" fmla="*/ 404 w 512"/>
              <a:gd name="T59" fmla="*/ 132 h 180"/>
              <a:gd name="T60" fmla="*/ 419 w 512"/>
              <a:gd name="T61" fmla="*/ 87 h 180"/>
              <a:gd name="T62" fmla="*/ 452 w 512"/>
              <a:gd name="T63" fmla="*/ 85 h 180"/>
              <a:gd name="T64" fmla="*/ 477 w 512"/>
              <a:gd name="T65" fmla="*/ 87 h 180"/>
              <a:gd name="T66" fmla="*/ 482 w 512"/>
              <a:gd name="T67" fmla="*/ 67 h 180"/>
              <a:gd name="T68" fmla="*/ 509 w 512"/>
              <a:gd name="T69" fmla="*/ 57 h 180"/>
              <a:gd name="T70" fmla="*/ 105 w 512"/>
              <a:gd name="T71" fmla="*/ 142 h 180"/>
              <a:gd name="T72" fmla="*/ 93 w 512"/>
              <a:gd name="T73" fmla="*/ 125 h 180"/>
              <a:gd name="T74" fmla="*/ 90 w 512"/>
              <a:gd name="T75" fmla="*/ 92 h 180"/>
              <a:gd name="T76" fmla="*/ 63 w 512"/>
              <a:gd name="T77" fmla="*/ 37 h 180"/>
              <a:gd name="T78" fmla="*/ 50 w 512"/>
              <a:gd name="T79" fmla="*/ 35 h 180"/>
              <a:gd name="T80" fmla="*/ 38 w 512"/>
              <a:gd name="T81" fmla="*/ 40 h 180"/>
              <a:gd name="T82" fmla="*/ 28 w 512"/>
              <a:gd name="T83" fmla="*/ 28 h 180"/>
              <a:gd name="T84" fmla="*/ 5 w 512"/>
              <a:gd name="T85" fmla="*/ 15 h 180"/>
              <a:gd name="T86" fmla="*/ 13 w 512"/>
              <a:gd name="T87" fmla="*/ 65 h 180"/>
              <a:gd name="T88" fmla="*/ 18 w 512"/>
              <a:gd name="T89" fmla="*/ 90 h 180"/>
              <a:gd name="T90" fmla="*/ 35 w 512"/>
              <a:gd name="T91" fmla="*/ 112 h 180"/>
              <a:gd name="T92" fmla="*/ 48 w 512"/>
              <a:gd name="T93" fmla="*/ 130 h 180"/>
              <a:gd name="T94" fmla="*/ 70 w 512"/>
              <a:gd name="T95" fmla="*/ 147 h 180"/>
              <a:gd name="T96" fmla="*/ 95 w 512"/>
              <a:gd name="T97" fmla="*/ 165 h 180"/>
              <a:gd name="T98" fmla="*/ 110 w 512"/>
              <a:gd name="T99" fmla="*/ 160 h 180"/>
              <a:gd name="T100" fmla="*/ 115 w 512"/>
              <a:gd name="T101" fmla="*/ 16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180">
                <a:moveTo>
                  <a:pt x="307" y="137"/>
                </a:moveTo>
                <a:lnTo>
                  <a:pt x="310" y="135"/>
                </a:lnTo>
                <a:lnTo>
                  <a:pt x="312" y="137"/>
                </a:lnTo>
                <a:lnTo>
                  <a:pt x="310" y="140"/>
                </a:lnTo>
                <a:lnTo>
                  <a:pt x="307" y="137"/>
                </a:lnTo>
                <a:close/>
                <a:moveTo>
                  <a:pt x="307" y="135"/>
                </a:moveTo>
                <a:lnTo>
                  <a:pt x="307" y="130"/>
                </a:lnTo>
                <a:lnTo>
                  <a:pt x="307" y="130"/>
                </a:lnTo>
                <a:lnTo>
                  <a:pt x="307" y="135"/>
                </a:lnTo>
                <a:lnTo>
                  <a:pt x="307" y="135"/>
                </a:lnTo>
                <a:lnTo>
                  <a:pt x="307" y="135"/>
                </a:lnTo>
                <a:close/>
                <a:moveTo>
                  <a:pt x="3" y="50"/>
                </a:moveTo>
                <a:lnTo>
                  <a:pt x="0" y="47"/>
                </a:lnTo>
                <a:lnTo>
                  <a:pt x="0" y="55"/>
                </a:lnTo>
                <a:lnTo>
                  <a:pt x="3" y="57"/>
                </a:lnTo>
                <a:lnTo>
                  <a:pt x="5" y="57"/>
                </a:lnTo>
                <a:lnTo>
                  <a:pt x="5" y="52"/>
                </a:lnTo>
                <a:lnTo>
                  <a:pt x="3" y="50"/>
                </a:lnTo>
                <a:close/>
                <a:moveTo>
                  <a:pt x="307" y="137"/>
                </a:moveTo>
                <a:lnTo>
                  <a:pt x="302" y="142"/>
                </a:lnTo>
                <a:lnTo>
                  <a:pt x="307" y="140"/>
                </a:lnTo>
                <a:lnTo>
                  <a:pt x="307" y="137"/>
                </a:lnTo>
                <a:close/>
                <a:moveTo>
                  <a:pt x="317" y="135"/>
                </a:moveTo>
                <a:lnTo>
                  <a:pt x="315" y="130"/>
                </a:lnTo>
                <a:lnTo>
                  <a:pt x="312" y="130"/>
                </a:lnTo>
                <a:lnTo>
                  <a:pt x="310" y="130"/>
                </a:lnTo>
                <a:lnTo>
                  <a:pt x="310" y="132"/>
                </a:lnTo>
                <a:lnTo>
                  <a:pt x="310" y="135"/>
                </a:lnTo>
                <a:lnTo>
                  <a:pt x="312" y="137"/>
                </a:lnTo>
                <a:lnTo>
                  <a:pt x="317" y="135"/>
                </a:lnTo>
                <a:close/>
                <a:moveTo>
                  <a:pt x="447" y="3"/>
                </a:moveTo>
                <a:lnTo>
                  <a:pt x="447" y="0"/>
                </a:lnTo>
                <a:lnTo>
                  <a:pt x="442" y="5"/>
                </a:lnTo>
                <a:lnTo>
                  <a:pt x="444" y="3"/>
                </a:lnTo>
                <a:lnTo>
                  <a:pt x="447" y="3"/>
                </a:lnTo>
                <a:close/>
                <a:moveTo>
                  <a:pt x="457" y="5"/>
                </a:moveTo>
                <a:lnTo>
                  <a:pt x="457" y="0"/>
                </a:lnTo>
                <a:lnTo>
                  <a:pt x="454" y="0"/>
                </a:lnTo>
                <a:lnTo>
                  <a:pt x="449" y="5"/>
                </a:lnTo>
                <a:lnTo>
                  <a:pt x="452" y="5"/>
                </a:lnTo>
                <a:lnTo>
                  <a:pt x="457" y="5"/>
                </a:lnTo>
                <a:close/>
                <a:moveTo>
                  <a:pt x="509" y="57"/>
                </a:moveTo>
                <a:lnTo>
                  <a:pt x="504" y="57"/>
                </a:lnTo>
                <a:lnTo>
                  <a:pt x="499" y="55"/>
                </a:lnTo>
                <a:lnTo>
                  <a:pt x="494" y="52"/>
                </a:lnTo>
                <a:lnTo>
                  <a:pt x="489" y="52"/>
                </a:lnTo>
                <a:lnTo>
                  <a:pt x="484" y="45"/>
                </a:lnTo>
                <a:lnTo>
                  <a:pt x="479" y="45"/>
                </a:lnTo>
                <a:lnTo>
                  <a:pt x="477" y="50"/>
                </a:lnTo>
                <a:lnTo>
                  <a:pt x="474" y="47"/>
                </a:lnTo>
                <a:lnTo>
                  <a:pt x="479" y="42"/>
                </a:lnTo>
                <a:lnTo>
                  <a:pt x="477" y="37"/>
                </a:lnTo>
                <a:lnTo>
                  <a:pt x="474" y="40"/>
                </a:lnTo>
                <a:lnTo>
                  <a:pt x="469" y="45"/>
                </a:lnTo>
                <a:lnTo>
                  <a:pt x="467" y="42"/>
                </a:lnTo>
                <a:lnTo>
                  <a:pt x="467" y="40"/>
                </a:lnTo>
                <a:lnTo>
                  <a:pt x="467" y="33"/>
                </a:lnTo>
                <a:lnTo>
                  <a:pt x="469" y="30"/>
                </a:lnTo>
                <a:lnTo>
                  <a:pt x="469" y="28"/>
                </a:lnTo>
                <a:lnTo>
                  <a:pt x="464" y="23"/>
                </a:lnTo>
                <a:lnTo>
                  <a:pt x="462" y="25"/>
                </a:lnTo>
                <a:lnTo>
                  <a:pt x="457" y="20"/>
                </a:lnTo>
                <a:lnTo>
                  <a:pt x="457" y="13"/>
                </a:lnTo>
                <a:lnTo>
                  <a:pt x="452" y="10"/>
                </a:lnTo>
                <a:lnTo>
                  <a:pt x="449" y="10"/>
                </a:lnTo>
                <a:lnTo>
                  <a:pt x="449" y="15"/>
                </a:lnTo>
                <a:lnTo>
                  <a:pt x="444" y="23"/>
                </a:lnTo>
                <a:lnTo>
                  <a:pt x="442" y="20"/>
                </a:lnTo>
                <a:lnTo>
                  <a:pt x="444" y="15"/>
                </a:lnTo>
                <a:lnTo>
                  <a:pt x="442" y="13"/>
                </a:lnTo>
                <a:lnTo>
                  <a:pt x="439" y="13"/>
                </a:lnTo>
                <a:lnTo>
                  <a:pt x="437" y="23"/>
                </a:lnTo>
                <a:lnTo>
                  <a:pt x="432" y="25"/>
                </a:lnTo>
                <a:lnTo>
                  <a:pt x="427" y="37"/>
                </a:lnTo>
                <a:lnTo>
                  <a:pt x="424" y="45"/>
                </a:lnTo>
                <a:lnTo>
                  <a:pt x="417" y="55"/>
                </a:lnTo>
                <a:lnTo>
                  <a:pt x="412" y="55"/>
                </a:lnTo>
                <a:lnTo>
                  <a:pt x="404" y="57"/>
                </a:lnTo>
                <a:lnTo>
                  <a:pt x="402" y="60"/>
                </a:lnTo>
                <a:lnTo>
                  <a:pt x="404" y="60"/>
                </a:lnTo>
                <a:lnTo>
                  <a:pt x="402" y="62"/>
                </a:lnTo>
                <a:lnTo>
                  <a:pt x="404" y="65"/>
                </a:lnTo>
                <a:lnTo>
                  <a:pt x="409" y="62"/>
                </a:lnTo>
                <a:lnTo>
                  <a:pt x="407" y="67"/>
                </a:lnTo>
                <a:lnTo>
                  <a:pt x="404" y="67"/>
                </a:lnTo>
                <a:lnTo>
                  <a:pt x="402" y="70"/>
                </a:lnTo>
                <a:lnTo>
                  <a:pt x="404" y="72"/>
                </a:lnTo>
                <a:lnTo>
                  <a:pt x="407" y="80"/>
                </a:lnTo>
                <a:lnTo>
                  <a:pt x="404" y="85"/>
                </a:lnTo>
                <a:lnTo>
                  <a:pt x="402" y="82"/>
                </a:lnTo>
                <a:lnTo>
                  <a:pt x="399" y="77"/>
                </a:lnTo>
                <a:lnTo>
                  <a:pt x="399" y="72"/>
                </a:lnTo>
                <a:lnTo>
                  <a:pt x="399" y="72"/>
                </a:lnTo>
                <a:lnTo>
                  <a:pt x="399" y="70"/>
                </a:lnTo>
                <a:lnTo>
                  <a:pt x="397" y="72"/>
                </a:lnTo>
                <a:lnTo>
                  <a:pt x="394" y="75"/>
                </a:lnTo>
                <a:lnTo>
                  <a:pt x="394" y="87"/>
                </a:lnTo>
                <a:lnTo>
                  <a:pt x="392" y="90"/>
                </a:lnTo>
                <a:lnTo>
                  <a:pt x="387" y="85"/>
                </a:lnTo>
                <a:lnTo>
                  <a:pt x="382" y="77"/>
                </a:lnTo>
                <a:lnTo>
                  <a:pt x="379" y="77"/>
                </a:lnTo>
                <a:lnTo>
                  <a:pt x="377" y="75"/>
                </a:lnTo>
                <a:lnTo>
                  <a:pt x="372" y="80"/>
                </a:lnTo>
                <a:lnTo>
                  <a:pt x="372" y="85"/>
                </a:lnTo>
                <a:lnTo>
                  <a:pt x="364" y="92"/>
                </a:lnTo>
                <a:lnTo>
                  <a:pt x="362" y="97"/>
                </a:lnTo>
                <a:lnTo>
                  <a:pt x="355" y="105"/>
                </a:lnTo>
                <a:lnTo>
                  <a:pt x="355" y="110"/>
                </a:lnTo>
                <a:lnTo>
                  <a:pt x="347" y="117"/>
                </a:lnTo>
                <a:lnTo>
                  <a:pt x="340" y="122"/>
                </a:lnTo>
                <a:lnTo>
                  <a:pt x="317" y="127"/>
                </a:lnTo>
                <a:lnTo>
                  <a:pt x="315" y="130"/>
                </a:lnTo>
                <a:lnTo>
                  <a:pt x="317" y="137"/>
                </a:lnTo>
                <a:lnTo>
                  <a:pt x="320" y="140"/>
                </a:lnTo>
                <a:lnTo>
                  <a:pt x="317" y="137"/>
                </a:lnTo>
                <a:lnTo>
                  <a:pt x="312" y="140"/>
                </a:lnTo>
                <a:lnTo>
                  <a:pt x="307" y="140"/>
                </a:lnTo>
                <a:lnTo>
                  <a:pt x="305" y="145"/>
                </a:lnTo>
                <a:lnTo>
                  <a:pt x="302" y="150"/>
                </a:lnTo>
                <a:lnTo>
                  <a:pt x="302" y="157"/>
                </a:lnTo>
                <a:lnTo>
                  <a:pt x="297" y="165"/>
                </a:lnTo>
                <a:lnTo>
                  <a:pt x="297" y="165"/>
                </a:lnTo>
                <a:lnTo>
                  <a:pt x="287" y="165"/>
                </a:lnTo>
                <a:lnTo>
                  <a:pt x="275" y="160"/>
                </a:lnTo>
                <a:lnTo>
                  <a:pt x="267" y="160"/>
                </a:lnTo>
                <a:lnTo>
                  <a:pt x="265" y="157"/>
                </a:lnTo>
                <a:lnTo>
                  <a:pt x="260" y="152"/>
                </a:lnTo>
                <a:lnTo>
                  <a:pt x="260" y="152"/>
                </a:lnTo>
                <a:lnTo>
                  <a:pt x="265" y="162"/>
                </a:lnTo>
                <a:lnTo>
                  <a:pt x="272" y="167"/>
                </a:lnTo>
                <a:lnTo>
                  <a:pt x="275" y="170"/>
                </a:lnTo>
                <a:lnTo>
                  <a:pt x="280" y="175"/>
                </a:lnTo>
                <a:lnTo>
                  <a:pt x="282" y="180"/>
                </a:lnTo>
                <a:lnTo>
                  <a:pt x="285" y="180"/>
                </a:lnTo>
                <a:lnTo>
                  <a:pt x="295" y="177"/>
                </a:lnTo>
                <a:lnTo>
                  <a:pt x="295" y="175"/>
                </a:lnTo>
                <a:lnTo>
                  <a:pt x="302" y="175"/>
                </a:lnTo>
                <a:lnTo>
                  <a:pt x="305" y="175"/>
                </a:lnTo>
                <a:lnTo>
                  <a:pt x="320" y="175"/>
                </a:lnTo>
                <a:lnTo>
                  <a:pt x="335" y="170"/>
                </a:lnTo>
                <a:lnTo>
                  <a:pt x="337" y="165"/>
                </a:lnTo>
                <a:lnTo>
                  <a:pt x="352" y="165"/>
                </a:lnTo>
                <a:lnTo>
                  <a:pt x="357" y="167"/>
                </a:lnTo>
                <a:lnTo>
                  <a:pt x="359" y="172"/>
                </a:lnTo>
                <a:lnTo>
                  <a:pt x="367" y="172"/>
                </a:lnTo>
                <a:lnTo>
                  <a:pt x="377" y="165"/>
                </a:lnTo>
                <a:lnTo>
                  <a:pt x="389" y="162"/>
                </a:lnTo>
                <a:lnTo>
                  <a:pt x="389" y="160"/>
                </a:lnTo>
                <a:lnTo>
                  <a:pt x="399" y="142"/>
                </a:lnTo>
                <a:lnTo>
                  <a:pt x="404" y="132"/>
                </a:lnTo>
                <a:lnTo>
                  <a:pt x="412" y="120"/>
                </a:lnTo>
                <a:lnTo>
                  <a:pt x="417" y="100"/>
                </a:lnTo>
                <a:lnTo>
                  <a:pt x="417" y="95"/>
                </a:lnTo>
                <a:lnTo>
                  <a:pt x="419" y="90"/>
                </a:lnTo>
                <a:lnTo>
                  <a:pt x="419" y="87"/>
                </a:lnTo>
                <a:lnTo>
                  <a:pt x="424" y="80"/>
                </a:lnTo>
                <a:lnTo>
                  <a:pt x="429" y="82"/>
                </a:lnTo>
                <a:lnTo>
                  <a:pt x="437" y="82"/>
                </a:lnTo>
                <a:lnTo>
                  <a:pt x="449" y="82"/>
                </a:lnTo>
                <a:lnTo>
                  <a:pt x="452" y="85"/>
                </a:lnTo>
                <a:lnTo>
                  <a:pt x="459" y="85"/>
                </a:lnTo>
                <a:lnTo>
                  <a:pt x="467" y="85"/>
                </a:lnTo>
                <a:lnTo>
                  <a:pt x="467" y="82"/>
                </a:lnTo>
                <a:lnTo>
                  <a:pt x="472" y="87"/>
                </a:lnTo>
                <a:lnTo>
                  <a:pt x="477" y="87"/>
                </a:lnTo>
                <a:lnTo>
                  <a:pt x="482" y="85"/>
                </a:lnTo>
                <a:lnTo>
                  <a:pt x="489" y="85"/>
                </a:lnTo>
                <a:lnTo>
                  <a:pt x="489" y="82"/>
                </a:lnTo>
                <a:lnTo>
                  <a:pt x="482" y="75"/>
                </a:lnTo>
                <a:lnTo>
                  <a:pt x="482" y="67"/>
                </a:lnTo>
                <a:lnTo>
                  <a:pt x="487" y="67"/>
                </a:lnTo>
                <a:lnTo>
                  <a:pt x="497" y="67"/>
                </a:lnTo>
                <a:lnTo>
                  <a:pt x="504" y="65"/>
                </a:lnTo>
                <a:lnTo>
                  <a:pt x="512" y="60"/>
                </a:lnTo>
                <a:lnTo>
                  <a:pt x="509" y="57"/>
                </a:lnTo>
                <a:close/>
                <a:moveTo>
                  <a:pt x="110" y="147"/>
                </a:moveTo>
                <a:lnTo>
                  <a:pt x="108" y="147"/>
                </a:lnTo>
                <a:lnTo>
                  <a:pt x="108" y="145"/>
                </a:lnTo>
                <a:lnTo>
                  <a:pt x="108" y="142"/>
                </a:lnTo>
                <a:lnTo>
                  <a:pt x="105" y="142"/>
                </a:lnTo>
                <a:lnTo>
                  <a:pt x="105" y="135"/>
                </a:lnTo>
                <a:lnTo>
                  <a:pt x="105" y="132"/>
                </a:lnTo>
                <a:lnTo>
                  <a:pt x="105" y="130"/>
                </a:lnTo>
                <a:lnTo>
                  <a:pt x="100" y="130"/>
                </a:lnTo>
                <a:lnTo>
                  <a:pt x="93" y="125"/>
                </a:lnTo>
                <a:lnTo>
                  <a:pt x="90" y="117"/>
                </a:lnTo>
                <a:lnTo>
                  <a:pt x="90" y="105"/>
                </a:lnTo>
                <a:lnTo>
                  <a:pt x="88" y="100"/>
                </a:lnTo>
                <a:lnTo>
                  <a:pt x="88" y="95"/>
                </a:lnTo>
                <a:lnTo>
                  <a:pt x="90" y="92"/>
                </a:lnTo>
                <a:lnTo>
                  <a:pt x="90" y="80"/>
                </a:lnTo>
                <a:lnTo>
                  <a:pt x="90" y="77"/>
                </a:lnTo>
                <a:lnTo>
                  <a:pt x="88" y="67"/>
                </a:lnTo>
                <a:lnTo>
                  <a:pt x="83" y="57"/>
                </a:lnTo>
                <a:lnTo>
                  <a:pt x="63" y="37"/>
                </a:lnTo>
                <a:lnTo>
                  <a:pt x="60" y="30"/>
                </a:lnTo>
                <a:lnTo>
                  <a:pt x="58" y="30"/>
                </a:lnTo>
                <a:lnTo>
                  <a:pt x="55" y="33"/>
                </a:lnTo>
                <a:lnTo>
                  <a:pt x="50" y="35"/>
                </a:lnTo>
                <a:lnTo>
                  <a:pt x="50" y="35"/>
                </a:lnTo>
                <a:lnTo>
                  <a:pt x="50" y="35"/>
                </a:lnTo>
                <a:lnTo>
                  <a:pt x="50" y="40"/>
                </a:lnTo>
                <a:lnTo>
                  <a:pt x="45" y="42"/>
                </a:lnTo>
                <a:lnTo>
                  <a:pt x="43" y="40"/>
                </a:lnTo>
                <a:lnTo>
                  <a:pt x="38" y="40"/>
                </a:lnTo>
                <a:lnTo>
                  <a:pt x="33" y="45"/>
                </a:lnTo>
                <a:lnTo>
                  <a:pt x="25" y="42"/>
                </a:lnTo>
                <a:lnTo>
                  <a:pt x="25" y="40"/>
                </a:lnTo>
                <a:lnTo>
                  <a:pt x="28" y="35"/>
                </a:lnTo>
                <a:lnTo>
                  <a:pt x="28" y="28"/>
                </a:lnTo>
                <a:lnTo>
                  <a:pt x="25" y="25"/>
                </a:lnTo>
                <a:lnTo>
                  <a:pt x="20" y="25"/>
                </a:lnTo>
                <a:lnTo>
                  <a:pt x="18" y="23"/>
                </a:lnTo>
                <a:lnTo>
                  <a:pt x="10" y="20"/>
                </a:lnTo>
                <a:lnTo>
                  <a:pt x="5" y="15"/>
                </a:lnTo>
                <a:lnTo>
                  <a:pt x="3" y="20"/>
                </a:lnTo>
                <a:lnTo>
                  <a:pt x="0" y="25"/>
                </a:lnTo>
                <a:lnTo>
                  <a:pt x="5" y="35"/>
                </a:lnTo>
                <a:lnTo>
                  <a:pt x="10" y="57"/>
                </a:lnTo>
                <a:lnTo>
                  <a:pt x="13" y="65"/>
                </a:lnTo>
                <a:lnTo>
                  <a:pt x="15" y="70"/>
                </a:lnTo>
                <a:lnTo>
                  <a:pt x="15" y="80"/>
                </a:lnTo>
                <a:lnTo>
                  <a:pt x="13" y="80"/>
                </a:lnTo>
                <a:lnTo>
                  <a:pt x="13" y="87"/>
                </a:lnTo>
                <a:lnTo>
                  <a:pt x="18" y="90"/>
                </a:lnTo>
                <a:lnTo>
                  <a:pt x="15" y="92"/>
                </a:lnTo>
                <a:lnTo>
                  <a:pt x="20" y="97"/>
                </a:lnTo>
                <a:lnTo>
                  <a:pt x="25" y="102"/>
                </a:lnTo>
                <a:lnTo>
                  <a:pt x="30" y="107"/>
                </a:lnTo>
                <a:lnTo>
                  <a:pt x="35" y="112"/>
                </a:lnTo>
                <a:lnTo>
                  <a:pt x="40" y="117"/>
                </a:lnTo>
                <a:lnTo>
                  <a:pt x="35" y="120"/>
                </a:lnTo>
                <a:lnTo>
                  <a:pt x="35" y="125"/>
                </a:lnTo>
                <a:lnTo>
                  <a:pt x="38" y="127"/>
                </a:lnTo>
                <a:lnTo>
                  <a:pt x="48" y="130"/>
                </a:lnTo>
                <a:lnTo>
                  <a:pt x="55" y="137"/>
                </a:lnTo>
                <a:lnTo>
                  <a:pt x="55" y="142"/>
                </a:lnTo>
                <a:lnTo>
                  <a:pt x="60" y="150"/>
                </a:lnTo>
                <a:lnTo>
                  <a:pt x="65" y="150"/>
                </a:lnTo>
                <a:lnTo>
                  <a:pt x="70" y="147"/>
                </a:lnTo>
                <a:lnTo>
                  <a:pt x="73" y="150"/>
                </a:lnTo>
                <a:lnTo>
                  <a:pt x="75" y="155"/>
                </a:lnTo>
                <a:lnTo>
                  <a:pt x="83" y="160"/>
                </a:lnTo>
                <a:lnTo>
                  <a:pt x="93" y="160"/>
                </a:lnTo>
                <a:lnTo>
                  <a:pt x="95" y="165"/>
                </a:lnTo>
                <a:lnTo>
                  <a:pt x="100" y="167"/>
                </a:lnTo>
                <a:lnTo>
                  <a:pt x="103" y="165"/>
                </a:lnTo>
                <a:lnTo>
                  <a:pt x="108" y="162"/>
                </a:lnTo>
                <a:lnTo>
                  <a:pt x="110" y="162"/>
                </a:lnTo>
                <a:lnTo>
                  <a:pt x="110" y="160"/>
                </a:lnTo>
                <a:lnTo>
                  <a:pt x="108" y="157"/>
                </a:lnTo>
                <a:lnTo>
                  <a:pt x="110" y="160"/>
                </a:lnTo>
                <a:lnTo>
                  <a:pt x="110" y="162"/>
                </a:lnTo>
                <a:lnTo>
                  <a:pt x="113" y="165"/>
                </a:lnTo>
                <a:lnTo>
                  <a:pt x="115" y="165"/>
                </a:lnTo>
                <a:lnTo>
                  <a:pt x="115" y="160"/>
                </a:lnTo>
                <a:lnTo>
                  <a:pt x="110" y="147"/>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63" name="Freeform 204"/>
          <p:cNvSpPr>
            <a:spLocks/>
          </p:cNvSpPr>
          <p:nvPr/>
        </p:nvSpPr>
        <p:spPr bwMode="auto">
          <a:xfrm>
            <a:off x="9424988" y="5748338"/>
            <a:ext cx="11112" cy="7938"/>
          </a:xfrm>
          <a:custGeom>
            <a:avLst/>
            <a:gdLst>
              <a:gd name="T0" fmla="*/ 7 w 7"/>
              <a:gd name="T1" fmla="*/ 0 h 5"/>
              <a:gd name="T2" fmla="*/ 5 w 7"/>
              <a:gd name="T3" fmla="*/ 0 h 5"/>
              <a:gd name="T4" fmla="*/ 0 w 7"/>
              <a:gd name="T5" fmla="*/ 3 h 5"/>
              <a:gd name="T6" fmla="*/ 2 w 7"/>
              <a:gd name="T7" fmla="*/ 5 h 5"/>
              <a:gd name="T8" fmla="*/ 2 w 7"/>
              <a:gd name="T9" fmla="*/ 5 h 5"/>
              <a:gd name="T10" fmla="*/ 7 w 7"/>
              <a:gd name="T11" fmla="*/ 3 h 5"/>
              <a:gd name="T12" fmla="*/ 7 w 7"/>
              <a:gd name="T13" fmla="*/ 3 h 5"/>
              <a:gd name="T14" fmla="*/ 7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7" y="0"/>
                </a:moveTo>
                <a:lnTo>
                  <a:pt x="5" y="0"/>
                </a:lnTo>
                <a:lnTo>
                  <a:pt x="0" y="3"/>
                </a:lnTo>
                <a:lnTo>
                  <a:pt x="2" y="5"/>
                </a:lnTo>
                <a:lnTo>
                  <a:pt x="2" y="5"/>
                </a:lnTo>
                <a:lnTo>
                  <a:pt x="7" y="3"/>
                </a:lnTo>
                <a:lnTo>
                  <a:pt x="7" y="3"/>
                </a:lnTo>
                <a:lnTo>
                  <a:pt x="7" y="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Display" panose="02000000000000000000" pitchFamily="2" charset="77"/>
            </a:endParaRPr>
          </a:p>
        </p:txBody>
      </p:sp>
      <p:sp>
        <p:nvSpPr>
          <p:cNvPr id="64" name="Rectangle 205"/>
          <p:cNvSpPr>
            <a:spLocks noChangeArrowheads="1"/>
          </p:cNvSpPr>
          <p:nvPr/>
        </p:nvSpPr>
        <p:spPr bwMode="auto">
          <a:xfrm>
            <a:off x="8691563" y="3989388"/>
            <a:ext cx="381515" cy="123111"/>
          </a:xfrm>
          <a:prstGeom prst="rect">
            <a:avLst/>
          </a:prstGeom>
          <a:noFill/>
          <a:ln>
            <a:noFill/>
          </a:ln>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800" u="none" strike="noStrike" cap="none" normalizeH="0" baseline="0" dirty="0">
                <a:ln>
                  <a:noFill/>
                </a:ln>
                <a:solidFill>
                  <a:srgbClr val="FFFFFF"/>
                </a:solidFill>
                <a:effectLst/>
                <a:latin typeface="RBC Display" panose="02000000000000000000" pitchFamily="2" charset="77"/>
              </a:rPr>
              <a:t>C H I N A</a:t>
            </a:r>
            <a:endParaRPr kumimoji="0" lang="en-US" altLang="en-US" sz="800" u="none" strike="noStrike" cap="none" normalizeH="0" baseline="0" dirty="0">
              <a:ln>
                <a:noFill/>
              </a:ln>
              <a:solidFill>
                <a:schemeClr val="tx1"/>
              </a:solidFill>
              <a:effectLst/>
              <a:latin typeface="RBC Display" panose="02000000000000000000" pitchFamily="2" charset="77"/>
            </a:endParaRPr>
          </a:p>
        </p:txBody>
      </p:sp>
      <p:sp>
        <p:nvSpPr>
          <p:cNvPr id="65" name="Rectangle 206"/>
          <p:cNvSpPr>
            <a:spLocks noChangeArrowheads="1"/>
          </p:cNvSpPr>
          <p:nvPr/>
        </p:nvSpPr>
        <p:spPr bwMode="auto">
          <a:xfrm>
            <a:off x="8770938" y="3430588"/>
            <a:ext cx="504946" cy="123111"/>
          </a:xfrm>
          <a:prstGeom prst="rect">
            <a:avLst/>
          </a:prstGeom>
          <a:noFill/>
          <a:ln>
            <a:noFill/>
          </a:ln>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800" u="none" strike="noStrike" cap="none" normalizeH="0" baseline="0" dirty="0">
                <a:ln>
                  <a:noFill/>
                </a:ln>
                <a:solidFill>
                  <a:schemeClr val="tx1">
                    <a:alpha val="70000"/>
                  </a:schemeClr>
                </a:solidFill>
                <a:effectLst/>
                <a:latin typeface="RBC Display" panose="02000000000000000000" pitchFamily="2" charset="77"/>
              </a:rPr>
              <a:t>MONGOLIA</a:t>
            </a:r>
          </a:p>
        </p:txBody>
      </p:sp>
      <p:sp>
        <p:nvSpPr>
          <p:cNvPr id="66" name="Rectangle 207"/>
          <p:cNvSpPr>
            <a:spLocks noChangeArrowheads="1"/>
          </p:cNvSpPr>
          <p:nvPr/>
        </p:nvSpPr>
        <p:spPr bwMode="auto">
          <a:xfrm>
            <a:off x="7373938" y="3438525"/>
            <a:ext cx="612347" cy="123111"/>
          </a:xfrm>
          <a:prstGeom prst="rect">
            <a:avLst/>
          </a:prstGeom>
          <a:noFill/>
          <a:ln>
            <a:noFill/>
          </a:ln>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800" u="none" strike="noStrike" cap="none" normalizeH="0" baseline="0" dirty="0">
                <a:ln>
                  <a:noFill/>
                </a:ln>
                <a:solidFill>
                  <a:schemeClr val="tx1">
                    <a:alpha val="70000"/>
                  </a:schemeClr>
                </a:solidFill>
                <a:effectLst/>
                <a:latin typeface="RBC Display" panose="02000000000000000000" pitchFamily="2" charset="77"/>
              </a:rPr>
              <a:t>KAZAKHSTAN</a:t>
            </a:r>
          </a:p>
        </p:txBody>
      </p:sp>
      <p:sp>
        <p:nvSpPr>
          <p:cNvPr id="67" name="Rectangle 208"/>
          <p:cNvSpPr>
            <a:spLocks noChangeArrowheads="1"/>
          </p:cNvSpPr>
          <p:nvPr/>
        </p:nvSpPr>
        <p:spPr bwMode="auto">
          <a:xfrm>
            <a:off x="6280150" y="3989388"/>
            <a:ext cx="362279" cy="123111"/>
          </a:xfrm>
          <a:prstGeom prst="rect">
            <a:avLst/>
          </a:prstGeom>
          <a:noFill/>
          <a:ln>
            <a:noFill/>
          </a:ln>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800" u="none" strike="noStrike" cap="none" normalizeH="0" baseline="0" dirty="0">
                <a:ln>
                  <a:noFill/>
                </a:ln>
                <a:solidFill>
                  <a:srgbClr val="FFFFFF"/>
                </a:solidFill>
                <a:effectLst/>
                <a:latin typeface="RBC Display" panose="02000000000000000000" pitchFamily="2" charset="77"/>
              </a:rPr>
              <a:t>TURKEY</a:t>
            </a:r>
            <a:endParaRPr kumimoji="0" lang="en-US" altLang="en-US" sz="800" u="none" strike="noStrike" cap="none" normalizeH="0" baseline="0" dirty="0">
              <a:ln>
                <a:noFill/>
              </a:ln>
              <a:solidFill>
                <a:schemeClr val="tx1"/>
              </a:solidFill>
              <a:effectLst/>
              <a:latin typeface="RBC Display" panose="02000000000000000000" pitchFamily="2" charset="77"/>
            </a:endParaRPr>
          </a:p>
        </p:txBody>
      </p:sp>
      <p:sp>
        <p:nvSpPr>
          <p:cNvPr id="68" name="Rectangle 209"/>
          <p:cNvSpPr>
            <a:spLocks noChangeArrowheads="1"/>
          </p:cNvSpPr>
          <p:nvPr/>
        </p:nvSpPr>
        <p:spPr bwMode="auto">
          <a:xfrm>
            <a:off x="6740525" y="4619625"/>
            <a:ext cx="282129" cy="123111"/>
          </a:xfrm>
          <a:prstGeom prst="rect">
            <a:avLst/>
          </a:prstGeom>
          <a:noFill/>
          <a:ln>
            <a:noFill/>
          </a:ln>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800" u="none" strike="noStrike" cap="none" normalizeH="0" baseline="0" dirty="0">
                <a:ln>
                  <a:noFill/>
                </a:ln>
                <a:solidFill>
                  <a:srgbClr val="FFFFFF"/>
                </a:solidFill>
                <a:effectLst/>
                <a:latin typeface="RBC Display" panose="02000000000000000000" pitchFamily="2" charset="77"/>
              </a:rPr>
              <a:t>SAUDI</a:t>
            </a:r>
            <a:endParaRPr kumimoji="0" lang="en-US" altLang="en-US" sz="800" u="none" strike="noStrike" cap="none" normalizeH="0" baseline="0" dirty="0">
              <a:ln>
                <a:noFill/>
              </a:ln>
              <a:solidFill>
                <a:schemeClr val="tx1"/>
              </a:solidFill>
              <a:effectLst/>
              <a:latin typeface="RBC Display" panose="02000000000000000000" pitchFamily="2" charset="77"/>
            </a:endParaRPr>
          </a:p>
        </p:txBody>
      </p:sp>
      <p:sp>
        <p:nvSpPr>
          <p:cNvPr id="69" name="Rectangle 210"/>
          <p:cNvSpPr>
            <a:spLocks noChangeArrowheads="1"/>
          </p:cNvSpPr>
          <p:nvPr/>
        </p:nvSpPr>
        <p:spPr bwMode="auto">
          <a:xfrm>
            <a:off x="6711950" y="4725988"/>
            <a:ext cx="333425" cy="123111"/>
          </a:xfrm>
          <a:prstGeom prst="rect">
            <a:avLst/>
          </a:prstGeom>
          <a:noFill/>
          <a:ln>
            <a:noFill/>
          </a:ln>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800" u="none" strike="noStrike" cap="none" normalizeH="0" baseline="0" dirty="0">
                <a:ln>
                  <a:noFill/>
                </a:ln>
                <a:solidFill>
                  <a:srgbClr val="FFFFFF"/>
                </a:solidFill>
                <a:effectLst/>
                <a:latin typeface="RBC Display" panose="02000000000000000000" pitchFamily="2" charset="77"/>
              </a:rPr>
              <a:t>ARABIA</a:t>
            </a:r>
            <a:endParaRPr kumimoji="0" lang="en-US" altLang="en-US" sz="800" u="none" strike="noStrike" cap="none" normalizeH="0" baseline="0" dirty="0">
              <a:ln>
                <a:noFill/>
              </a:ln>
              <a:solidFill>
                <a:schemeClr val="tx1"/>
              </a:solidFill>
              <a:effectLst/>
              <a:latin typeface="RBC Display" panose="02000000000000000000" pitchFamily="2" charset="77"/>
            </a:endParaRPr>
          </a:p>
        </p:txBody>
      </p:sp>
      <p:sp>
        <p:nvSpPr>
          <p:cNvPr id="98" name="Rectangle 239"/>
          <p:cNvSpPr>
            <a:spLocks noChangeArrowheads="1"/>
          </p:cNvSpPr>
          <p:nvPr/>
        </p:nvSpPr>
        <p:spPr bwMode="auto">
          <a:xfrm>
            <a:off x="10536238" y="4183063"/>
            <a:ext cx="270908" cy="123111"/>
          </a:xfrm>
          <a:prstGeom prst="rect">
            <a:avLst/>
          </a:prstGeom>
          <a:noFill/>
          <a:ln>
            <a:noFill/>
          </a:ln>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800" u="none" strike="noStrike" cap="none" normalizeH="0" baseline="0" dirty="0">
                <a:ln>
                  <a:noFill/>
                </a:ln>
                <a:solidFill>
                  <a:schemeClr val="tx1">
                    <a:alpha val="70000"/>
                  </a:schemeClr>
                </a:solidFill>
                <a:effectLst/>
                <a:latin typeface="RBC Display" panose="02000000000000000000" pitchFamily="2" charset="77"/>
              </a:rPr>
              <a:t>JAPAN</a:t>
            </a:r>
          </a:p>
        </p:txBody>
      </p:sp>
      <p:sp>
        <p:nvSpPr>
          <p:cNvPr id="111" name="Rectangle 252"/>
          <p:cNvSpPr>
            <a:spLocks noChangeArrowheads="1"/>
          </p:cNvSpPr>
          <p:nvPr/>
        </p:nvSpPr>
        <p:spPr bwMode="auto">
          <a:xfrm>
            <a:off x="8161338" y="4683125"/>
            <a:ext cx="346249" cy="123111"/>
          </a:xfrm>
          <a:prstGeom prst="rect">
            <a:avLst/>
          </a:prstGeom>
          <a:noFill/>
          <a:ln>
            <a:noFill/>
          </a:ln>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800" u="none" strike="noStrike" cap="none" normalizeH="0" baseline="0" dirty="0">
                <a:ln>
                  <a:noFill/>
                </a:ln>
                <a:solidFill>
                  <a:srgbClr val="FFFFFF"/>
                </a:solidFill>
                <a:effectLst/>
                <a:latin typeface="RBC Display" panose="02000000000000000000" pitchFamily="2" charset="77"/>
              </a:rPr>
              <a:t>I N D I A</a:t>
            </a:r>
            <a:endParaRPr kumimoji="0" lang="en-US" altLang="en-US" sz="800" u="none" strike="noStrike" cap="none" normalizeH="0" baseline="0" dirty="0">
              <a:ln>
                <a:noFill/>
              </a:ln>
              <a:solidFill>
                <a:schemeClr val="tx1"/>
              </a:solidFill>
              <a:effectLst/>
              <a:latin typeface="RBC Display" panose="02000000000000000000" pitchFamily="2" charset="77"/>
            </a:endParaRPr>
          </a:p>
        </p:txBody>
      </p:sp>
      <p:sp>
        <p:nvSpPr>
          <p:cNvPr id="113" name="Rectangle 254"/>
          <p:cNvSpPr>
            <a:spLocks noChangeArrowheads="1"/>
          </p:cNvSpPr>
          <p:nvPr/>
        </p:nvSpPr>
        <p:spPr bwMode="auto">
          <a:xfrm>
            <a:off x="7080250" y="4251325"/>
            <a:ext cx="286938" cy="123111"/>
          </a:xfrm>
          <a:prstGeom prst="rect">
            <a:avLst/>
          </a:prstGeom>
          <a:noFill/>
          <a:ln>
            <a:noFill/>
          </a:ln>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800" u="none" strike="noStrike" cap="none" normalizeH="0" baseline="0" dirty="0">
                <a:ln>
                  <a:noFill/>
                </a:ln>
                <a:solidFill>
                  <a:schemeClr val="tx1">
                    <a:alpha val="70000"/>
                  </a:schemeClr>
                </a:solidFill>
                <a:effectLst/>
                <a:latin typeface="RBC Display" panose="02000000000000000000" pitchFamily="2" charset="77"/>
              </a:rPr>
              <a:t>I R A N</a:t>
            </a:r>
          </a:p>
        </p:txBody>
      </p:sp>
      <p:sp>
        <p:nvSpPr>
          <p:cNvPr id="114" name="Rectangle 255"/>
          <p:cNvSpPr>
            <a:spLocks noChangeArrowheads="1"/>
          </p:cNvSpPr>
          <p:nvPr/>
        </p:nvSpPr>
        <p:spPr bwMode="auto">
          <a:xfrm>
            <a:off x="8220075" y="2249488"/>
            <a:ext cx="453650" cy="123111"/>
          </a:xfrm>
          <a:prstGeom prst="rect">
            <a:avLst/>
          </a:prstGeom>
          <a:noFill/>
          <a:ln>
            <a:noFill/>
          </a:ln>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800" u="none" strike="noStrike" cap="none" normalizeH="0" baseline="0" dirty="0">
                <a:ln>
                  <a:noFill/>
                </a:ln>
                <a:solidFill>
                  <a:schemeClr val="tx1">
                    <a:alpha val="70000"/>
                  </a:schemeClr>
                </a:solidFill>
                <a:effectLst/>
                <a:latin typeface="RBC Display" panose="02000000000000000000" pitchFamily="2" charset="77"/>
              </a:rPr>
              <a:t>R U S S I A</a:t>
            </a:r>
          </a:p>
        </p:txBody>
      </p:sp>
      <p:sp>
        <p:nvSpPr>
          <p:cNvPr id="118" name="Oval 117"/>
          <p:cNvSpPr/>
          <p:nvPr/>
        </p:nvSpPr>
        <p:spPr>
          <a:xfrm>
            <a:off x="1010452" y="3912658"/>
            <a:ext cx="130546" cy="130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RBC Text" panose="02000000000000000000" pitchFamily="2" charset="77"/>
            </a:endParaRPr>
          </a:p>
        </p:txBody>
      </p:sp>
      <p:sp>
        <p:nvSpPr>
          <p:cNvPr id="120" name="Oval 119"/>
          <p:cNvSpPr/>
          <p:nvPr/>
        </p:nvSpPr>
        <p:spPr>
          <a:xfrm>
            <a:off x="1010452" y="4282775"/>
            <a:ext cx="130546" cy="130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RBC Text" panose="02000000000000000000" pitchFamily="2" charset="77"/>
            </a:endParaRPr>
          </a:p>
        </p:txBody>
      </p:sp>
      <p:sp>
        <p:nvSpPr>
          <p:cNvPr id="121" name="Oval 120"/>
          <p:cNvSpPr/>
          <p:nvPr/>
        </p:nvSpPr>
        <p:spPr>
          <a:xfrm>
            <a:off x="1010452" y="4652892"/>
            <a:ext cx="130546" cy="130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RBC Text" panose="02000000000000000000" pitchFamily="2" charset="77"/>
            </a:endParaRPr>
          </a:p>
        </p:txBody>
      </p:sp>
      <p:sp>
        <p:nvSpPr>
          <p:cNvPr id="122" name="Oval 121"/>
          <p:cNvSpPr/>
          <p:nvPr/>
        </p:nvSpPr>
        <p:spPr>
          <a:xfrm>
            <a:off x="1010452" y="5023009"/>
            <a:ext cx="130546" cy="130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RBC Text" panose="02000000000000000000" pitchFamily="2" charset="77"/>
            </a:endParaRPr>
          </a:p>
        </p:txBody>
      </p:sp>
      <p:sp>
        <p:nvSpPr>
          <p:cNvPr id="123" name="Oval 122"/>
          <p:cNvSpPr/>
          <p:nvPr/>
        </p:nvSpPr>
        <p:spPr>
          <a:xfrm>
            <a:off x="1010452" y="5393126"/>
            <a:ext cx="130546" cy="130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RBC Text" panose="02000000000000000000" pitchFamily="2" charset="77"/>
            </a:endParaRPr>
          </a:p>
        </p:txBody>
      </p:sp>
      <p:sp>
        <p:nvSpPr>
          <p:cNvPr id="77" name="Text Placeholder 6">
            <a:extLst>
              <a:ext uri="{FF2B5EF4-FFF2-40B4-BE49-F238E27FC236}">
                <a16:creationId xmlns:a16="http://schemas.microsoft.com/office/drawing/2014/main" id="{37894DD7-2B87-A74A-A46F-FCB622FFDC73}"/>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86001575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9" name="Table 118"/>
          <p:cNvGraphicFramePr>
            <a:graphicFrameLocks noGrp="1"/>
          </p:cNvGraphicFramePr>
          <p:nvPr>
            <p:extLst>
              <p:ext uri="{D42A27DB-BD31-4B8C-83A1-F6EECF244321}">
                <p14:modId xmlns:p14="http://schemas.microsoft.com/office/powerpoint/2010/main" val="264713121"/>
              </p:ext>
            </p:extLst>
          </p:nvPr>
        </p:nvGraphicFramePr>
        <p:xfrm>
          <a:off x="913016" y="4502605"/>
          <a:ext cx="3937946" cy="1112520"/>
        </p:xfrm>
        <a:graphic>
          <a:graphicData uri="http://schemas.openxmlformats.org/drawingml/2006/table">
            <a:tbl>
              <a:tblPr firstRow="1" bandRow="1">
                <a:tableStyleId>{2D5ABB26-0587-4C30-8999-92F81FD0307C}</a:tableStyleId>
              </a:tblPr>
              <a:tblGrid>
                <a:gridCol w="1968973">
                  <a:extLst>
                    <a:ext uri="{9D8B030D-6E8A-4147-A177-3AD203B41FA5}">
                      <a16:colId xmlns:a16="http://schemas.microsoft.com/office/drawing/2014/main" val="20000"/>
                    </a:ext>
                  </a:extLst>
                </a:gridCol>
                <a:gridCol w="1968973">
                  <a:extLst>
                    <a:ext uri="{9D8B030D-6E8A-4147-A177-3AD203B41FA5}">
                      <a16:colId xmlns:a16="http://schemas.microsoft.com/office/drawing/2014/main" val="20001"/>
                    </a:ext>
                  </a:extLst>
                </a:gridCol>
              </a:tblGrid>
              <a:tr h="370840">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Text" panose="02000000000000000000" pitchFamily="2" charset="77"/>
                          <a:ea typeface="Open Sans" charset="0"/>
                          <a:cs typeface="Open Sans" charset="0"/>
                        </a:rPr>
                        <a:t>Sydney</a:t>
                      </a:r>
                    </a:p>
                  </a:txBody>
                  <a:tcPr marL="360000" anchor="ctr">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Text" panose="02000000000000000000" pitchFamily="2" charset="77"/>
                          <a:ea typeface="Open Sans" charset="0"/>
                          <a:cs typeface="Open Sans" charset="0"/>
                        </a:rPr>
                        <a:t>$2300B</a:t>
                      </a:r>
                    </a:p>
                  </a:txBody>
                  <a:tcPr anchor="ctr">
                    <a:lnL w="12700" cap="flat" cmpd="sng" algn="ctr">
                      <a:solidFill>
                        <a:schemeClr val="accent1"/>
                      </a:solidFill>
                      <a:prstDash val="solid"/>
                      <a:round/>
                      <a:headEnd type="none" w="med" len="med"/>
                      <a:tailEnd type="none" w="med" len="med"/>
                    </a:lnL>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Text" panose="02000000000000000000" pitchFamily="2" charset="77"/>
                          <a:ea typeface="Open Sans" charset="0"/>
                          <a:cs typeface="Open Sans" charset="0"/>
                        </a:rPr>
                        <a:t>Melbourne</a:t>
                      </a:r>
                    </a:p>
                  </a:txBody>
                  <a:tcPr marL="360000"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Text" panose="02000000000000000000" pitchFamily="2" charset="77"/>
                          <a:ea typeface="Open Sans" charset="0"/>
                          <a:cs typeface="Open Sans" charset="0"/>
                        </a:rPr>
                        <a:t>$400B</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err="1">
                          <a:solidFill>
                            <a:schemeClr val="tx1"/>
                          </a:solidFill>
                          <a:latin typeface="RBC Text" panose="02000000000000000000" pitchFamily="2" charset="77"/>
                          <a:ea typeface="Open Sans" charset="0"/>
                          <a:cs typeface="Open Sans" charset="0"/>
                        </a:rPr>
                        <a:t>Viktoria</a:t>
                      </a:r>
                      <a:endParaRPr lang="en-US" sz="1200" b="1" i="0" dirty="0">
                        <a:solidFill>
                          <a:schemeClr val="tx1"/>
                        </a:solidFill>
                        <a:latin typeface="RBC Text" panose="02000000000000000000" pitchFamily="2" charset="77"/>
                        <a:ea typeface="Open Sans" charset="0"/>
                        <a:cs typeface="Open Sans" charset="0"/>
                      </a:endParaRPr>
                    </a:p>
                  </a:txBody>
                  <a:tcPr marL="360000"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indent="0" algn="l" defTabSz="914318"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RBC Text" panose="02000000000000000000" pitchFamily="2" charset="77"/>
                          <a:ea typeface="Open Sans" charset="0"/>
                          <a:cs typeface="Open Sans" charset="0"/>
                        </a:rPr>
                        <a:t>$50B</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solidFill>
                  <a:schemeClr val="accent1"/>
                </a:solidFill>
              </a:rPr>
              <a:t>Australia</a:t>
            </a:r>
            <a:br>
              <a:rPr lang="en-US" dirty="0"/>
            </a:br>
            <a:r>
              <a:rPr lang="en-US" dirty="0"/>
              <a:t>Chart</a:t>
            </a:r>
          </a:p>
        </p:txBody>
      </p:sp>
      <p:sp>
        <p:nvSpPr>
          <p:cNvPr id="118" name="Oval 117"/>
          <p:cNvSpPr/>
          <p:nvPr/>
        </p:nvSpPr>
        <p:spPr>
          <a:xfrm>
            <a:off x="1010452" y="4629075"/>
            <a:ext cx="130546" cy="130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20" name="Oval 119"/>
          <p:cNvSpPr/>
          <p:nvPr/>
        </p:nvSpPr>
        <p:spPr>
          <a:xfrm>
            <a:off x="1010452" y="4999192"/>
            <a:ext cx="130546" cy="1305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21" name="Oval 120"/>
          <p:cNvSpPr/>
          <p:nvPr/>
        </p:nvSpPr>
        <p:spPr>
          <a:xfrm>
            <a:off x="1010452" y="5369309"/>
            <a:ext cx="130546" cy="1305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80" name="Freeform 7"/>
          <p:cNvSpPr>
            <a:spLocks noEditPoints="1"/>
          </p:cNvSpPr>
          <p:nvPr/>
        </p:nvSpPr>
        <p:spPr bwMode="auto">
          <a:xfrm>
            <a:off x="4700433" y="983767"/>
            <a:ext cx="2722563" cy="3624262"/>
          </a:xfrm>
          <a:custGeom>
            <a:avLst/>
            <a:gdLst>
              <a:gd name="T0" fmla="*/ 1308 w 1715"/>
              <a:gd name="T1" fmla="*/ 88 h 2283"/>
              <a:gd name="T2" fmla="*/ 1249 w 1715"/>
              <a:gd name="T3" fmla="*/ 180 h 2283"/>
              <a:gd name="T4" fmla="*/ 1651 w 1715"/>
              <a:gd name="T5" fmla="*/ 126 h 2283"/>
              <a:gd name="T6" fmla="*/ 1619 w 1715"/>
              <a:gd name="T7" fmla="*/ 166 h 2283"/>
              <a:gd name="T8" fmla="*/ 1613 w 1715"/>
              <a:gd name="T9" fmla="*/ 94 h 2283"/>
              <a:gd name="T10" fmla="*/ 1546 w 1715"/>
              <a:gd name="T11" fmla="*/ 24 h 2283"/>
              <a:gd name="T12" fmla="*/ 1488 w 1715"/>
              <a:gd name="T13" fmla="*/ 3 h 2283"/>
              <a:gd name="T14" fmla="*/ 1471 w 1715"/>
              <a:gd name="T15" fmla="*/ 37 h 2283"/>
              <a:gd name="T16" fmla="*/ 1442 w 1715"/>
              <a:gd name="T17" fmla="*/ 29 h 2283"/>
              <a:gd name="T18" fmla="*/ 1413 w 1715"/>
              <a:gd name="T19" fmla="*/ 27 h 2283"/>
              <a:gd name="T20" fmla="*/ 1410 w 1715"/>
              <a:gd name="T21" fmla="*/ 43 h 2283"/>
              <a:gd name="T22" fmla="*/ 1386 w 1715"/>
              <a:gd name="T23" fmla="*/ 91 h 2283"/>
              <a:gd name="T24" fmla="*/ 1362 w 1715"/>
              <a:gd name="T25" fmla="*/ 64 h 2283"/>
              <a:gd name="T26" fmla="*/ 1340 w 1715"/>
              <a:gd name="T27" fmla="*/ 80 h 2283"/>
              <a:gd name="T28" fmla="*/ 1305 w 1715"/>
              <a:gd name="T29" fmla="*/ 107 h 2283"/>
              <a:gd name="T30" fmla="*/ 1321 w 1715"/>
              <a:gd name="T31" fmla="*/ 134 h 2283"/>
              <a:gd name="T32" fmla="*/ 1305 w 1715"/>
              <a:gd name="T33" fmla="*/ 153 h 2283"/>
              <a:gd name="T34" fmla="*/ 1273 w 1715"/>
              <a:gd name="T35" fmla="*/ 158 h 2283"/>
              <a:gd name="T36" fmla="*/ 1303 w 1715"/>
              <a:gd name="T37" fmla="*/ 172 h 2283"/>
              <a:gd name="T38" fmla="*/ 1254 w 1715"/>
              <a:gd name="T39" fmla="*/ 164 h 2283"/>
              <a:gd name="T40" fmla="*/ 1225 w 1715"/>
              <a:gd name="T41" fmla="*/ 204 h 2283"/>
              <a:gd name="T42" fmla="*/ 1238 w 1715"/>
              <a:gd name="T43" fmla="*/ 257 h 2283"/>
              <a:gd name="T44" fmla="*/ 1244 w 1715"/>
              <a:gd name="T45" fmla="*/ 284 h 2283"/>
              <a:gd name="T46" fmla="*/ 1163 w 1715"/>
              <a:gd name="T47" fmla="*/ 276 h 2283"/>
              <a:gd name="T48" fmla="*/ 1150 w 1715"/>
              <a:gd name="T49" fmla="*/ 279 h 2283"/>
              <a:gd name="T50" fmla="*/ 1134 w 1715"/>
              <a:gd name="T51" fmla="*/ 306 h 2283"/>
              <a:gd name="T52" fmla="*/ 1155 w 1715"/>
              <a:gd name="T53" fmla="*/ 362 h 2283"/>
              <a:gd name="T54" fmla="*/ 1123 w 1715"/>
              <a:gd name="T55" fmla="*/ 392 h 2283"/>
              <a:gd name="T56" fmla="*/ 1075 w 1715"/>
              <a:gd name="T57" fmla="*/ 292 h 2283"/>
              <a:gd name="T58" fmla="*/ 1024 w 1715"/>
              <a:gd name="T59" fmla="*/ 335 h 2283"/>
              <a:gd name="T60" fmla="*/ 1005 w 1715"/>
              <a:gd name="T61" fmla="*/ 453 h 2283"/>
              <a:gd name="T62" fmla="*/ 917 w 1715"/>
              <a:gd name="T63" fmla="*/ 571 h 2283"/>
              <a:gd name="T64" fmla="*/ 646 w 1715"/>
              <a:gd name="T65" fmla="*/ 676 h 2283"/>
              <a:gd name="T66" fmla="*/ 523 w 1715"/>
              <a:gd name="T67" fmla="*/ 735 h 2283"/>
              <a:gd name="T68" fmla="*/ 418 w 1715"/>
              <a:gd name="T69" fmla="*/ 724 h 2283"/>
              <a:gd name="T70" fmla="*/ 228 w 1715"/>
              <a:gd name="T71" fmla="*/ 848 h 2283"/>
              <a:gd name="T72" fmla="*/ 137 w 1715"/>
              <a:gd name="T73" fmla="*/ 933 h 2283"/>
              <a:gd name="T74" fmla="*/ 78 w 1715"/>
              <a:gd name="T75" fmla="*/ 944 h 2283"/>
              <a:gd name="T76" fmla="*/ 54 w 1715"/>
              <a:gd name="T77" fmla="*/ 1100 h 2283"/>
              <a:gd name="T78" fmla="*/ 142 w 1715"/>
              <a:gd name="T79" fmla="*/ 1290 h 2283"/>
              <a:gd name="T80" fmla="*/ 105 w 1715"/>
              <a:gd name="T81" fmla="*/ 1304 h 2283"/>
              <a:gd name="T82" fmla="*/ 51 w 1715"/>
              <a:gd name="T83" fmla="*/ 1274 h 2283"/>
              <a:gd name="T84" fmla="*/ 75 w 1715"/>
              <a:gd name="T85" fmla="*/ 1365 h 2283"/>
              <a:gd name="T86" fmla="*/ 43 w 1715"/>
              <a:gd name="T87" fmla="*/ 1336 h 2283"/>
              <a:gd name="T88" fmla="*/ 156 w 1715"/>
              <a:gd name="T89" fmla="*/ 1556 h 2283"/>
              <a:gd name="T90" fmla="*/ 233 w 1715"/>
              <a:gd name="T91" fmla="*/ 1802 h 2283"/>
              <a:gd name="T92" fmla="*/ 295 w 1715"/>
              <a:gd name="T93" fmla="*/ 2022 h 2283"/>
              <a:gd name="T94" fmla="*/ 220 w 1715"/>
              <a:gd name="T95" fmla="*/ 2140 h 2283"/>
              <a:gd name="T96" fmla="*/ 383 w 1715"/>
              <a:gd name="T97" fmla="*/ 2264 h 2283"/>
              <a:gd name="T98" fmla="*/ 485 w 1715"/>
              <a:gd name="T99" fmla="*/ 2277 h 2283"/>
              <a:gd name="T100" fmla="*/ 563 w 1715"/>
              <a:gd name="T101" fmla="*/ 2266 h 2283"/>
              <a:gd name="T102" fmla="*/ 678 w 1715"/>
              <a:gd name="T103" fmla="*/ 2210 h 2283"/>
              <a:gd name="T104" fmla="*/ 796 w 1715"/>
              <a:gd name="T105" fmla="*/ 2159 h 2283"/>
              <a:gd name="T106" fmla="*/ 968 w 1715"/>
              <a:gd name="T107" fmla="*/ 2143 h 2283"/>
              <a:gd name="T108" fmla="*/ 1096 w 1715"/>
              <a:gd name="T109" fmla="*/ 2162 h 2283"/>
              <a:gd name="T110" fmla="*/ 1198 w 1715"/>
              <a:gd name="T111" fmla="*/ 2063 h 2283"/>
              <a:gd name="T112" fmla="*/ 1715 w 1715"/>
              <a:gd name="T113" fmla="*/ 1915 h 2283"/>
              <a:gd name="T114" fmla="*/ 1694 w 1715"/>
              <a:gd name="T115" fmla="*/ 298 h 2283"/>
              <a:gd name="T116" fmla="*/ 1670 w 1715"/>
              <a:gd name="T117" fmla="*/ 314 h 2283"/>
              <a:gd name="T118" fmla="*/ 1686 w 1715"/>
              <a:gd name="T119" fmla="*/ 255 h 2283"/>
              <a:gd name="T120" fmla="*/ 1624 w 1715"/>
              <a:gd name="T121" fmla="*/ 153 h 2283"/>
              <a:gd name="T122" fmla="*/ 16 w 1715"/>
              <a:gd name="T123" fmla="*/ 1282 h 2283"/>
              <a:gd name="T124" fmla="*/ 266 w 1715"/>
              <a:gd name="T125" fmla="*/ 759 h 2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5" h="2283">
                <a:moveTo>
                  <a:pt x="1447" y="19"/>
                </a:moveTo>
                <a:lnTo>
                  <a:pt x="1450" y="19"/>
                </a:lnTo>
                <a:lnTo>
                  <a:pt x="1450" y="19"/>
                </a:lnTo>
                <a:lnTo>
                  <a:pt x="1453" y="19"/>
                </a:lnTo>
                <a:lnTo>
                  <a:pt x="1453" y="19"/>
                </a:lnTo>
                <a:lnTo>
                  <a:pt x="1455" y="19"/>
                </a:lnTo>
                <a:lnTo>
                  <a:pt x="1458" y="19"/>
                </a:lnTo>
                <a:lnTo>
                  <a:pt x="1458" y="19"/>
                </a:lnTo>
                <a:lnTo>
                  <a:pt x="1461" y="19"/>
                </a:lnTo>
                <a:lnTo>
                  <a:pt x="1461" y="19"/>
                </a:lnTo>
                <a:lnTo>
                  <a:pt x="1458" y="16"/>
                </a:lnTo>
                <a:lnTo>
                  <a:pt x="1453" y="16"/>
                </a:lnTo>
                <a:lnTo>
                  <a:pt x="1450" y="16"/>
                </a:lnTo>
                <a:lnTo>
                  <a:pt x="1447" y="16"/>
                </a:lnTo>
                <a:lnTo>
                  <a:pt x="1447" y="19"/>
                </a:lnTo>
                <a:lnTo>
                  <a:pt x="1447" y="19"/>
                </a:lnTo>
                <a:close/>
                <a:moveTo>
                  <a:pt x="1276" y="134"/>
                </a:moveTo>
                <a:lnTo>
                  <a:pt x="1276" y="134"/>
                </a:lnTo>
                <a:lnTo>
                  <a:pt x="1276" y="134"/>
                </a:lnTo>
                <a:lnTo>
                  <a:pt x="1279" y="137"/>
                </a:lnTo>
                <a:lnTo>
                  <a:pt x="1279" y="137"/>
                </a:lnTo>
                <a:lnTo>
                  <a:pt x="1279" y="137"/>
                </a:lnTo>
                <a:lnTo>
                  <a:pt x="1281" y="139"/>
                </a:lnTo>
                <a:lnTo>
                  <a:pt x="1281" y="139"/>
                </a:lnTo>
                <a:lnTo>
                  <a:pt x="1281" y="137"/>
                </a:lnTo>
                <a:lnTo>
                  <a:pt x="1281" y="137"/>
                </a:lnTo>
                <a:lnTo>
                  <a:pt x="1281" y="137"/>
                </a:lnTo>
                <a:lnTo>
                  <a:pt x="1281" y="134"/>
                </a:lnTo>
                <a:lnTo>
                  <a:pt x="1279" y="134"/>
                </a:lnTo>
                <a:lnTo>
                  <a:pt x="1281" y="134"/>
                </a:lnTo>
                <a:lnTo>
                  <a:pt x="1281" y="131"/>
                </a:lnTo>
                <a:lnTo>
                  <a:pt x="1281" y="131"/>
                </a:lnTo>
                <a:lnTo>
                  <a:pt x="1281" y="131"/>
                </a:lnTo>
                <a:lnTo>
                  <a:pt x="1281" y="129"/>
                </a:lnTo>
                <a:lnTo>
                  <a:pt x="1279" y="131"/>
                </a:lnTo>
                <a:lnTo>
                  <a:pt x="1279" y="131"/>
                </a:lnTo>
                <a:lnTo>
                  <a:pt x="1279" y="131"/>
                </a:lnTo>
                <a:lnTo>
                  <a:pt x="1279" y="134"/>
                </a:lnTo>
                <a:lnTo>
                  <a:pt x="1276" y="131"/>
                </a:lnTo>
                <a:lnTo>
                  <a:pt x="1273" y="131"/>
                </a:lnTo>
                <a:lnTo>
                  <a:pt x="1273" y="134"/>
                </a:lnTo>
                <a:lnTo>
                  <a:pt x="1273" y="134"/>
                </a:lnTo>
                <a:lnTo>
                  <a:pt x="1276" y="134"/>
                </a:lnTo>
                <a:close/>
                <a:moveTo>
                  <a:pt x="1297" y="96"/>
                </a:moveTo>
                <a:lnTo>
                  <a:pt x="1300" y="94"/>
                </a:lnTo>
                <a:lnTo>
                  <a:pt x="1300" y="94"/>
                </a:lnTo>
                <a:lnTo>
                  <a:pt x="1300" y="96"/>
                </a:lnTo>
                <a:lnTo>
                  <a:pt x="1303" y="96"/>
                </a:lnTo>
                <a:lnTo>
                  <a:pt x="1303" y="99"/>
                </a:lnTo>
                <a:lnTo>
                  <a:pt x="1303" y="99"/>
                </a:lnTo>
                <a:lnTo>
                  <a:pt x="1303" y="96"/>
                </a:lnTo>
                <a:lnTo>
                  <a:pt x="1305" y="96"/>
                </a:lnTo>
                <a:lnTo>
                  <a:pt x="1303" y="96"/>
                </a:lnTo>
                <a:lnTo>
                  <a:pt x="1303" y="96"/>
                </a:lnTo>
                <a:lnTo>
                  <a:pt x="1305" y="94"/>
                </a:lnTo>
                <a:lnTo>
                  <a:pt x="1305" y="94"/>
                </a:lnTo>
                <a:lnTo>
                  <a:pt x="1305" y="94"/>
                </a:lnTo>
                <a:lnTo>
                  <a:pt x="1305" y="94"/>
                </a:lnTo>
                <a:lnTo>
                  <a:pt x="1308" y="94"/>
                </a:lnTo>
                <a:lnTo>
                  <a:pt x="1311" y="94"/>
                </a:lnTo>
                <a:lnTo>
                  <a:pt x="1308" y="91"/>
                </a:lnTo>
                <a:lnTo>
                  <a:pt x="1308" y="88"/>
                </a:lnTo>
                <a:lnTo>
                  <a:pt x="1308" y="88"/>
                </a:lnTo>
                <a:lnTo>
                  <a:pt x="1308" y="86"/>
                </a:lnTo>
                <a:lnTo>
                  <a:pt x="1308" y="83"/>
                </a:lnTo>
                <a:lnTo>
                  <a:pt x="1311" y="80"/>
                </a:lnTo>
                <a:lnTo>
                  <a:pt x="1311" y="80"/>
                </a:lnTo>
                <a:lnTo>
                  <a:pt x="1308" y="80"/>
                </a:lnTo>
                <a:lnTo>
                  <a:pt x="1308" y="80"/>
                </a:lnTo>
                <a:lnTo>
                  <a:pt x="1308" y="80"/>
                </a:lnTo>
                <a:lnTo>
                  <a:pt x="1308" y="78"/>
                </a:lnTo>
                <a:lnTo>
                  <a:pt x="1308" y="78"/>
                </a:lnTo>
                <a:lnTo>
                  <a:pt x="1305" y="75"/>
                </a:lnTo>
                <a:lnTo>
                  <a:pt x="1305" y="75"/>
                </a:lnTo>
                <a:lnTo>
                  <a:pt x="1305" y="78"/>
                </a:lnTo>
                <a:lnTo>
                  <a:pt x="1305" y="78"/>
                </a:lnTo>
                <a:lnTo>
                  <a:pt x="1303" y="80"/>
                </a:lnTo>
                <a:lnTo>
                  <a:pt x="1300" y="80"/>
                </a:lnTo>
                <a:lnTo>
                  <a:pt x="1300" y="83"/>
                </a:lnTo>
                <a:lnTo>
                  <a:pt x="1303" y="83"/>
                </a:lnTo>
                <a:lnTo>
                  <a:pt x="1303" y="83"/>
                </a:lnTo>
                <a:lnTo>
                  <a:pt x="1303" y="86"/>
                </a:lnTo>
                <a:lnTo>
                  <a:pt x="1303" y="88"/>
                </a:lnTo>
                <a:lnTo>
                  <a:pt x="1303" y="88"/>
                </a:lnTo>
                <a:lnTo>
                  <a:pt x="1300" y="88"/>
                </a:lnTo>
                <a:lnTo>
                  <a:pt x="1300" y="86"/>
                </a:lnTo>
                <a:lnTo>
                  <a:pt x="1297" y="88"/>
                </a:lnTo>
                <a:lnTo>
                  <a:pt x="1297" y="91"/>
                </a:lnTo>
                <a:lnTo>
                  <a:pt x="1297" y="94"/>
                </a:lnTo>
                <a:lnTo>
                  <a:pt x="1297" y="96"/>
                </a:lnTo>
                <a:lnTo>
                  <a:pt x="1297" y="96"/>
                </a:lnTo>
                <a:close/>
                <a:moveTo>
                  <a:pt x="1646" y="131"/>
                </a:moveTo>
                <a:lnTo>
                  <a:pt x="1651" y="137"/>
                </a:lnTo>
                <a:lnTo>
                  <a:pt x="1654" y="139"/>
                </a:lnTo>
                <a:lnTo>
                  <a:pt x="1654" y="137"/>
                </a:lnTo>
                <a:lnTo>
                  <a:pt x="1654" y="134"/>
                </a:lnTo>
                <a:lnTo>
                  <a:pt x="1654" y="131"/>
                </a:lnTo>
                <a:lnTo>
                  <a:pt x="1651" y="131"/>
                </a:lnTo>
                <a:lnTo>
                  <a:pt x="1651" y="131"/>
                </a:lnTo>
                <a:lnTo>
                  <a:pt x="1648" y="123"/>
                </a:lnTo>
                <a:lnTo>
                  <a:pt x="1648" y="123"/>
                </a:lnTo>
                <a:lnTo>
                  <a:pt x="1646" y="123"/>
                </a:lnTo>
                <a:lnTo>
                  <a:pt x="1646" y="123"/>
                </a:lnTo>
                <a:lnTo>
                  <a:pt x="1646" y="129"/>
                </a:lnTo>
                <a:lnTo>
                  <a:pt x="1646" y="131"/>
                </a:lnTo>
                <a:close/>
                <a:moveTo>
                  <a:pt x="1233" y="177"/>
                </a:moveTo>
                <a:lnTo>
                  <a:pt x="1236" y="177"/>
                </a:lnTo>
                <a:lnTo>
                  <a:pt x="1236" y="174"/>
                </a:lnTo>
                <a:lnTo>
                  <a:pt x="1236" y="177"/>
                </a:lnTo>
                <a:lnTo>
                  <a:pt x="1236" y="177"/>
                </a:lnTo>
                <a:lnTo>
                  <a:pt x="1238" y="174"/>
                </a:lnTo>
                <a:lnTo>
                  <a:pt x="1238" y="174"/>
                </a:lnTo>
                <a:lnTo>
                  <a:pt x="1241" y="177"/>
                </a:lnTo>
                <a:lnTo>
                  <a:pt x="1244" y="177"/>
                </a:lnTo>
                <a:lnTo>
                  <a:pt x="1241" y="177"/>
                </a:lnTo>
                <a:lnTo>
                  <a:pt x="1241" y="177"/>
                </a:lnTo>
                <a:lnTo>
                  <a:pt x="1238" y="180"/>
                </a:lnTo>
                <a:lnTo>
                  <a:pt x="1238" y="180"/>
                </a:lnTo>
                <a:lnTo>
                  <a:pt x="1236" y="180"/>
                </a:lnTo>
                <a:lnTo>
                  <a:pt x="1236" y="182"/>
                </a:lnTo>
                <a:lnTo>
                  <a:pt x="1236" y="182"/>
                </a:lnTo>
                <a:lnTo>
                  <a:pt x="1238" y="182"/>
                </a:lnTo>
                <a:lnTo>
                  <a:pt x="1241" y="182"/>
                </a:lnTo>
                <a:lnTo>
                  <a:pt x="1249" y="180"/>
                </a:lnTo>
                <a:lnTo>
                  <a:pt x="1252" y="177"/>
                </a:lnTo>
                <a:lnTo>
                  <a:pt x="1249" y="177"/>
                </a:lnTo>
                <a:lnTo>
                  <a:pt x="1246" y="172"/>
                </a:lnTo>
                <a:lnTo>
                  <a:pt x="1244" y="172"/>
                </a:lnTo>
                <a:lnTo>
                  <a:pt x="1244" y="169"/>
                </a:lnTo>
                <a:lnTo>
                  <a:pt x="1244" y="169"/>
                </a:lnTo>
                <a:lnTo>
                  <a:pt x="1241" y="169"/>
                </a:lnTo>
                <a:lnTo>
                  <a:pt x="1241" y="169"/>
                </a:lnTo>
                <a:lnTo>
                  <a:pt x="1241" y="169"/>
                </a:lnTo>
                <a:lnTo>
                  <a:pt x="1241" y="164"/>
                </a:lnTo>
                <a:lnTo>
                  <a:pt x="1241" y="161"/>
                </a:lnTo>
                <a:lnTo>
                  <a:pt x="1241" y="164"/>
                </a:lnTo>
                <a:lnTo>
                  <a:pt x="1236" y="166"/>
                </a:lnTo>
                <a:lnTo>
                  <a:pt x="1233" y="166"/>
                </a:lnTo>
                <a:lnTo>
                  <a:pt x="1236" y="166"/>
                </a:lnTo>
                <a:lnTo>
                  <a:pt x="1236" y="169"/>
                </a:lnTo>
                <a:lnTo>
                  <a:pt x="1236" y="169"/>
                </a:lnTo>
                <a:lnTo>
                  <a:pt x="1236" y="169"/>
                </a:lnTo>
                <a:lnTo>
                  <a:pt x="1236" y="172"/>
                </a:lnTo>
                <a:lnTo>
                  <a:pt x="1233" y="169"/>
                </a:lnTo>
                <a:lnTo>
                  <a:pt x="1233" y="169"/>
                </a:lnTo>
                <a:lnTo>
                  <a:pt x="1233" y="169"/>
                </a:lnTo>
                <a:lnTo>
                  <a:pt x="1233" y="172"/>
                </a:lnTo>
                <a:lnTo>
                  <a:pt x="1233" y="172"/>
                </a:lnTo>
                <a:lnTo>
                  <a:pt x="1233" y="172"/>
                </a:lnTo>
                <a:lnTo>
                  <a:pt x="1230" y="174"/>
                </a:lnTo>
                <a:lnTo>
                  <a:pt x="1230" y="174"/>
                </a:lnTo>
                <a:lnTo>
                  <a:pt x="1233" y="174"/>
                </a:lnTo>
                <a:lnTo>
                  <a:pt x="1233" y="177"/>
                </a:lnTo>
                <a:close/>
                <a:moveTo>
                  <a:pt x="1713" y="121"/>
                </a:moveTo>
                <a:lnTo>
                  <a:pt x="1710" y="121"/>
                </a:lnTo>
                <a:lnTo>
                  <a:pt x="1707" y="121"/>
                </a:lnTo>
                <a:lnTo>
                  <a:pt x="1705" y="118"/>
                </a:lnTo>
                <a:lnTo>
                  <a:pt x="1697" y="118"/>
                </a:lnTo>
                <a:lnTo>
                  <a:pt x="1694" y="118"/>
                </a:lnTo>
                <a:lnTo>
                  <a:pt x="1691" y="118"/>
                </a:lnTo>
                <a:lnTo>
                  <a:pt x="1689" y="118"/>
                </a:lnTo>
                <a:lnTo>
                  <a:pt x="1689" y="118"/>
                </a:lnTo>
                <a:lnTo>
                  <a:pt x="1683" y="115"/>
                </a:lnTo>
                <a:lnTo>
                  <a:pt x="1680" y="113"/>
                </a:lnTo>
                <a:lnTo>
                  <a:pt x="1670" y="113"/>
                </a:lnTo>
                <a:lnTo>
                  <a:pt x="1667" y="110"/>
                </a:lnTo>
                <a:lnTo>
                  <a:pt x="1664" y="110"/>
                </a:lnTo>
                <a:lnTo>
                  <a:pt x="1662" y="110"/>
                </a:lnTo>
                <a:lnTo>
                  <a:pt x="1662" y="113"/>
                </a:lnTo>
                <a:lnTo>
                  <a:pt x="1659" y="113"/>
                </a:lnTo>
                <a:lnTo>
                  <a:pt x="1654" y="113"/>
                </a:lnTo>
                <a:lnTo>
                  <a:pt x="1648" y="115"/>
                </a:lnTo>
                <a:lnTo>
                  <a:pt x="1648" y="115"/>
                </a:lnTo>
                <a:lnTo>
                  <a:pt x="1651" y="118"/>
                </a:lnTo>
                <a:lnTo>
                  <a:pt x="1651" y="118"/>
                </a:lnTo>
                <a:lnTo>
                  <a:pt x="1654" y="118"/>
                </a:lnTo>
                <a:lnTo>
                  <a:pt x="1654" y="118"/>
                </a:lnTo>
                <a:lnTo>
                  <a:pt x="1654" y="121"/>
                </a:lnTo>
                <a:lnTo>
                  <a:pt x="1654" y="121"/>
                </a:lnTo>
                <a:lnTo>
                  <a:pt x="1654" y="121"/>
                </a:lnTo>
                <a:lnTo>
                  <a:pt x="1654" y="121"/>
                </a:lnTo>
                <a:lnTo>
                  <a:pt x="1651" y="121"/>
                </a:lnTo>
                <a:lnTo>
                  <a:pt x="1651" y="121"/>
                </a:lnTo>
                <a:lnTo>
                  <a:pt x="1651" y="123"/>
                </a:lnTo>
                <a:lnTo>
                  <a:pt x="1651" y="123"/>
                </a:lnTo>
                <a:lnTo>
                  <a:pt x="1651" y="126"/>
                </a:lnTo>
                <a:lnTo>
                  <a:pt x="1651" y="126"/>
                </a:lnTo>
                <a:lnTo>
                  <a:pt x="1654" y="129"/>
                </a:lnTo>
                <a:lnTo>
                  <a:pt x="1656" y="134"/>
                </a:lnTo>
                <a:lnTo>
                  <a:pt x="1656" y="134"/>
                </a:lnTo>
                <a:lnTo>
                  <a:pt x="1656" y="137"/>
                </a:lnTo>
                <a:lnTo>
                  <a:pt x="1656" y="137"/>
                </a:lnTo>
                <a:lnTo>
                  <a:pt x="1656" y="137"/>
                </a:lnTo>
                <a:lnTo>
                  <a:pt x="1656" y="139"/>
                </a:lnTo>
                <a:lnTo>
                  <a:pt x="1656" y="139"/>
                </a:lnTo>
                <a:lnTo>
                  <a:pt x="1656" y="139"/>
                </a:lnTo>
                <a:lnTo>
                  <a:pt x="1654" y="142"/>
                </a:lnTo>
                <a:lnTo>
                  <a:pt x="1651" y="139"/>
                </a:lnTo>
                <a:lnTo>
                  <a:pt x="1651" y="139"/>
                </a:lnTo>
                <a:lnTo>
                  <a:pt x="1646" y="134"/>
                </a:lnTo>
                <a:lnTo>
                  <a:pt x="1646" y="137"/>
                </a:lnTo>
                <a:lnTo>
                  <a:pt x="1646" y="137"/>
                </a:lnTo>
                <a:lnTo>
                  <a:pt x="1646" y="142"/>
                </a:lnTo>
                <a:lnTo>
                  <a:pt x="1646" y="139"/>
                </a:lnTo>
                <a:lnTo>
                  <a:pt x="1643" y="139"/>
                </a:lnTo>
                <a:lnTo>
                  <a:pt x="1643" y="129"/>
                </a:lnTo>
                <a:lnTo>
                  <a:pt x="1643" y="126"/>
                </a:lnTo>
                <a:lnTo>
                  <a:pt x="1640" y="126"/>
                </a:lnTo>
                <a:lnTo>
                  <a:pt x="1638" y="129"/>
                </a:lnTo>
                <a:lnTo>
                  <a:pt x="1638" y="129"/>
                </a:lnTo>
                <a:lnTo>
                  <a:pt x="1638" y="131"/>
                </a:lnTo>
                <a:lnTo>
                  <a:pt x="1638" y="131"/>
                </a:lnTo>
                <a:lnTo>
                  <a:pt x="1638" y="131"/>
                </a:lnTo>
                <a:lnTo>
                  <a:pt x="1638" y="131"/>
                </a:lnTo>
                <a:lnTo>
                  <a:pt x="1638" y="131"/>
                </a:lnTo>
                <a:lnTo>
                  <a:pt x="1635" y="134"/>
                </a:lnTo>
                <a:lnTo>
                  <a:pt x="1630" y="139"/>
                </a:lnTo>
                <a:lnTo>
                  <a:pt x="1630" y="142"/>
                </a:lnTo>
                <a:lnTo>
                  <a:pt x="1630" y="147"/>
                </a:lnTo>
                <a:lnTo>
                  <a:pt x="1630" y="147"/>
                </a:lnTo>
                <a:lnTo>
                  <a:pt x="1630" y="147"/>
                </a:lnTo>
                <a:lnTo>
                  <a:pt x="1630" y="147"/>
                </a:lnTo>
                <a:lnTo>
                  <a:pt x="1632" y="153"/>
                </a:lnTo>
                <a:lnTo>
                  <a:pt x="1632" y="153"/>
                </a:lnTo>
                <a:lnTo>
                  <a:pt x="1630" y="156"/>
                </a:lnTo>
                <a:lnTo>
                  <a:pt x="1632" y="158"/>
                </a:lnTo>
                <a:lnTo>
                  <a:pt x="1632" y="161"/>
                </a:lnTo>
                <a:lnTo>
                  <a:pt x="1632" y="161"/>
                </a:lnTo>
                <a:lnTo>
                  <a:pt x="1638" y="166"/>
                </a:lnTo>
                <a:lnTo>
                  <a:pt x="1638" y="166"/>
                </a:lnTo>
                <a:lnTo>
                  <a:pt x="1640" y="169"/>
                </a:lnTo>
                <a:lnTo>
                  <a:pt x="1638" y="180"/>
                </a:lnTo>
                <a:lnTo>
                  <a:pt x="1638" y="180"/>
                </a:lnTo>
                <a:lnTo>
                  <a:pt x="1638" y="177"/>
                </a:lnTo>
                <a:lnTo>
                  <a:pt x="1635" y="169"/>
                </a:lnTo>
                <a:lnTo>
                  <a:pt x="1632" y="166"/>
                </a:lnTo>
                <a:lnTo>
                  <a:pt x="1632" y="166"/>
                </a:lnTo>
                <a:lnTo>
                  <a:pt x="1632" y="164"/>
                </a:lnTo>
                <a:lnTo>
                  <a:pt x="1627" y="158"/>
                </a:lnTo>
                <a:lnTo>
                  <a:pt x="1622" y="158"/>
                </a:lnTo>
                <a:lnTo>
                  <a:pt x="1622" y="156"/>
                </a:lnTo>
                <a:lnTo>
                  <a:pt x="1622" y="156"/>
                </a:lnTo>
                <a:lnTo>
                  <a:pt x="1619" y="156"/>
                </a:lnTo>
                <a:lnTo>
                  <a:pt x="1619" y="158"/>
                </a:lnTo>
                <a:lnTo>
                  <a:pt x="1619" y="158"/>
                </a:lnTo>
                <a:lnTo>
                  <a:pt x="1619" y="161"/>
                </a:lnTo>
                <a:lnTo>
                  <a:pt x="1619" y="161"/>
                </a:lnTo>
                <a:lnTo>
                  <a:pt x="1619" y="166"/>
                </a:lnTo>
                <a:lnTo>
                  <a:pt x="1619" y="172"/>
                </a:lnTo>
                <a:lnTo>
                  <a:pt x="1619" y="177"/>
                </a:lnTo>
                <a:lnTo>
                  <a:pt x="1619" y="182"/>
                </a:lnTo>
                <a:lnTo>
                  <a:pt x="1616" y="185"/>
                </a:lnTo>
                <a:lnTo>
                  <a:pt x="1613" y="185"/>
                </a:lnTo>
                <a:lnTo>
                  <a:pt x="1613" y="188"/>
                </a:lnTo>
                <a:lnTo>
                  <a:pt x="1611" y="188"/>
                </a:lnTo>
                <a:lnTo>
                  <a:pt x="1608" y="188"/>
                </a:lnTo>
                <a:lnTo>
                  <a:pt x="1611" y="188"/>
                </a:lnTo>
                <a:lnTo>
                  <a:pt x="1613" y="182"/>
                </a:lnTo>
                <a:lnTo>
                  <a:pt x="1616" y="180"/>
                </a:lnTo>
                <a:lnTo>
                  <a:pt x="1616" y="174"/>
                </a:lnTo>
                <a:lnTo>
                  <a:pt x="1611" y="166"/>
                </a:lnTo>
                <a:lnTo>
                  <a:pt x="1613" y="166"/>
                </a:lnTo>
                <a:lnTo>
                  <a:pt x="1616" y="166"/>
                </a:lnTo>
                <a:lnTo>
                  <a:pt x="1616" y="166"/>
                </a:lnTo>
                <a:lnTo>
                  <a:pt x="1616" y="156"/>
                </a:lnTo>
                <a:lnTo>
                  <a:pt x="1616" y="153"/>
                </a:lnTo>
                <a:lnTo>
                  <a:pt x="1616" y="150"/>
                </a:lnTo>
                <a:lnTo>
                  <a:pt x="1613" y="150"/>
                </a:lnTo>
                <a:lnTo>
                  <a:pt x="1613" y="147"/>
                </a:lnTo>
                <a:lnTo>
                  <a:pt x="1616" y="145"/>
                </a:lnTo>
                <a:lnTo>
                  <a:pt x="1616" y="142"/>
                </a:lnTo>
                <a:lnTo>
                  <a:pt x="1616" y="142"/>
                </a:lnTo>
                <a:lnTo>
                  <a:pt x="1616" y="139"/>
                </a:lnTo>
                <a:lnTo>
                  <a:pt x="1616" y="137"/>
                </a:lnTo>
                <a:lnTo>
                  <a:pt x="1619" y="137"/>
                </a:lnTo>
                <a:lnTo>
                  <a:pt x="1619" y="134"/>
                </a:lnTo>
                <a:lnTo>
                  <a:pt x="1619" y="131"/>
                </a:lnTo>
                <a:lnTo>
                  <a:pt x="1622" y="126"/>
                </a:lnTo>
                <a:lnTo>
                  <a:pt x="1622" y="121"/>
                </a:lnTo>
                <a:lnTo>
                  <a:pt x="1619" y="121"/>
                </a:lnTo>
                <a:lnTo>
                  <a:pt x="1622" y="118"/>
                </a:lnTo>
                <a:lnTo>
                  <a:pt x="1624" y="118"/>
                </a:lnTo>
                <a:lnTo>
                  <a:pt x="1624" y="118"/>
                </a:lnTo>
                <a:lnTo>
                  <a:pt x="1627" y="118"/>
                </a:lnTo>
                <a:lnTo>
                  <a:pt x="1627" y="118"/>
                </a:lnTo>
                <a:lnTo>
                  <a:pt x="1627" y="118"/>
                </a:lnTo>
                <a:lnTo>
                  <a:pt x="1627" y="115"/>
                </a:lnTo>
                <a:lnTo>
                  <a:pt x="1627" y="113"/>
                </a:lnTo>
                <a:lnTo>
                  <a:pt x="1627" y="110"/>
                </a:lnTo>
                <a:lnTo>
                  <a:pt x="1627" y="107"/>
                </a:lnTo>
                <a:lnTo>
                  <a:pt x="1630" y="107"/>
                </a:lnTo>
                <a:lnTo>
                  <a:pt x="1630" y="107"/>
                </a:lnTo>
                <a:lnTo>
                  <a:pt x="1632" y="110"/>
                </a:lnTo>
                <a:lnTo>
                  <a:pt x="1632" y="107"/>
                </a:lnTo>
                <a:lnTo>
                  <a:pt x="1632" y="107"/>
                </a:lnTo>
                <a:lnTo>
                  <a:pt x="1632" y="107"/>
                </a:lnTo>
                <a:lnTo>
                  <a:pt x="1632" y="105"/>
                </a:lnTo>
                <a:lnTo>
                  <a:pt x="1630" y="105"/>
                </a:lnTo>
                <a:lnTo>
                  <a:pt x="1630" y="105"/>
                </a:lnTo>
                <a:lnTo>
                  <a:pt x="1630" y="105"/>
                </a:lnTo>
                <a:lnTo>
                  <a:pt x="1630" y="105"/>
                </a:lnTo>
                <a:lnTo>
                  <a:pt x="1627" y="105"/>
                </a:lnTo>
                <a:lnTo>
                  <a:pt x="1624" y="102"/>
                </a:lnTo>
                <a:lnTo>
                  <a:pt x="1619" y="99"/>
                </a:lnTo>
                <a:lnTo>
                  <a:pt x="1619" y="99"/>
                </a:lnTo>
                <a:lnTo>
                  <a:pt x="1619" y="96"/>
                </a:lnTo>
                <a:lnTo>
                  <a:pt x="1616" y="96"/>
                </a:lnTo>
                <a:lnTo>
                  <a:pt x="1613" y="96"/>
                </a:lnTo>
                <a:lnTo>
                  <a:pt x="1613" y="94"/>
                </a:lnTo>
                <a:lnTo>
                  <a:pt x="1613" y="94"/>
                </a:lnTo>
                <a:lnTo>
                  <a:pt x="1613" y="94"/>
                </a:lnTo>
                <a:lnTo>
                  <a:pt x="1611" y="91"/>
                </a:lnTo>
                <a:lnTo>
                  <a:pt x="1608" y="91"/>
                </a:lnTo>
                <a:lnTo>
                  <a:pt x="1608" y="88"/>
                </a:lnTo>
                <a:lnTo>
                  <a:pt x="1608" y="88"/>
                </a:lnTo>
                <a:lnTo>
                  <a:pt x="1605" y="91"/>
                </a:lnTo>
                <a:lnTo>
                  <a:pt x="1603" y="91"/>
                </a:lnTo>
                <a:lnTo>
                  <a:pt x="1603" y="91"/>
                </a:lnTo>
                <a:lnTo>
                  <a:pt x="1603" y="91"/>
                </a:lnTo>
                <a:lnTo>
                  <a:pt x="1603" y="88"/>
                </a:lnTo>
                <a:lnTo>
                  <a:pt x="1600" y="88"/>
                </a:lnTo>
                <a:lnTo>
                  <a:pt x="1600" y="88"/>
                </a:lnTo>
                <a:lnTo>
                  <a:pt x="1603" y="86"/>
                </a:lnTo>
                <a:lnTo>
                  <a:pt x="1603" y="86"/>
                </a:lnTo>
                <a:lnTo>
                  <a:pt x="1600" y="86"/>
                </a:lnTo>
                <a:lnTo>
                  <a:pt x="1597" y="83"/>
                </a:lnTo>
                <a:lnTo>
                  <a:pt x="1595" y="80"/>
                </a:lnTo>
                <a:lnTo>
                  <a:pt x="1595" y="80"/>
                </a:lnTo>
                <a:lnTo>
                  <a:pt x="1592" y="80"/>
                </a:lnTo>
                <a:lnTo>
                  <a:pt x="1592" y="78"/>
                </a:lnTo>
                <a:lnTo>
                  <a:pt x="1595" y="75"/>
                </a:lnTo>
                <a:lnTo>
                  <a:pt x="1595" y="75"/>
                </a:lnTo>
                <a:lnTo>
                  <a:pt x="1592" y="72"/>
                </a:lnTo>
                <a:lnTo>
                  <a:pt x="1592" y="75"/>
                </a:lnTo>
                <a:lnTo>
                  <a:pt x="1592" y="75"/>
                </a:lnTo>
                <a:lnTo>
                  <a:pt x="1592" y="75"/>
                </a:lnTo>
                <a:lnTo>
                  <a:pt x="1589" y="78"/>
                </a:lnTo>
                <a:lnTo>
                  <a:pt x="1589" y="78"/>
                </a:lnTo>
                <a:lnTo>
                  <a:pt x="1589" y="75"/>
                </a:lnTo>
                <a:lnTo>
                  <a:pt x="1589" y="75"/>
                </a:lnTo>
                <a:lnTo>
                  <a:pt x="1589" y="70"/>
                </a:lnTo>
                <a:lnTo>
                  <a:pt x="1589" y="70"/>
                </a:lnTo>
                <a:lnTo>
                  <a:pt x="1587" y="70"/>
                </a:lnTo>
                <a:lnTo>
                  <a:pt x="1587" y="70"/>
                </a:lnTo>
                <a:lnTo>
                  <a:pt x="1584" y="70"/>
                </a:lnTo>
                <a:lnTo>
                  <a:pt x="1581" y="62"/>
                </a:lnTo>
                <a:lnTo>
                  <a:pt x="1581" y="59"/>
                </a:lnTo>
                <a:lnTo>
                  <a:pt x="1576" y="54"/>
                </a:lnTo>
                <a:lnTo>
                  <a:pt x="1573" y="54"/>
                </a:lnTo>
                <a:lnTo>
                  <a:pt x="1573" y="51"/>
                </a:lnTo>
                <a:lnTo>
                  <a:pt x="1571" y="48"/>
                </a:lnTo>
                <a:lnTo>
                  <a:pt x="1568" y="46"/>
                </a:lnTo>
                <a:lnTo>
                  <a:pt x="1565" y="43"/>
                </a:lnTo>
                <a:lnTo>
                  <a:pt x="1565" y="43"/>
                </a:lnTo>
                <a:lnTo>
                  <a:pt x="1565" y="43"/>
                </a:lnTo>
                <a:lnTo>
                  <a:pt x="1565" y="43"/>
                </a:lnTo>
                <a:lnTo>
                  <a:pt x="1563" y="43"/>
                </a:lnTo>
                <a:lnTo>
                  <a:pt x="1563" y="43"/>
                </a:lnTo>
                <a:lnTo>
                  <a:pt x="1560" y="40"/>
                </a:lnTo>
                <a:lnTo>
                  <a:pt x="1557" y="40"/>
                </a:lnTo>
                <a:lnTo>
                  <a:pt x="1557" y="37"/>
                </a:lnTo>
                <a:lnTo>
                  <a:pt x="1555" y="37"/>
                </a:lnTo>
                <a:lnTo>
                  <a:pt x="1552" y="35"/>
                </a:lnTo>
                <a:lnTo>
                  <a:pt x="1552" y="37"/>
                </a:lnTo>
                <a:lnTo>
                  <a:pt x="1552" y="37"/>
                </a:lnTo>
                <a:lnTo>
                  <a:pt x="1549" y="35"/>
                </a:lnTo>
                <a:lnTo>
                  <a:pt x="1549" y="35"/>
                </a:lnTo>
                <a:lnTo>
                  <a:pt x="1549" y="32"/>
                </a:lnTo>
                <a:lnTo>
                  <a:pt x="1549" y="29"/>
                </a:lnTo>
                <a:lnTo>
                  <a:pt x="1549" y="27"/>
                </a:lnTo>
                <a:lnTo>
                  <a:pt x="1549" y="27"/>
                </a:lnTo>
                <a:lnTo>
                  <a:pt x="1546" y="24"/>
                </a:lnTo>
                <a:lnTo>
                  <a:pt x="1546" y="24"/>
                </a:lnTo>
                <a:lnTo>
                  <a:pt x="1544" y="24"/>
                </a:lnTo>
                <a:lnTo>
                  <a:pt x="1544" y="27"/>
                </a:lnTo>
                <a:lnTo>
                  <a:pt x="1544" y="27"/>
                </a:lnTo>
                <a:lnTo>
                  <a:pt x="1544" y="24"/>
                </a:lnTo>
                <a:lnTo>
                  <a:pt x="1541" y="24"/>
                </a:lnTo>
                <a:lnTo>
                  <a:pt x="1541" y="21"/>
                </a:lnTo>
                <a:lnTo>
                  <a:pt x="1541" y="21"/>
                </a:lnTo>
                <a:lnTo>
                  <a:pt x="1538" y="21"/>
                </a:lnTo>
                <a:lnTo>
                  <a:pt x="1538" y="21"/>
                </a:lnTo>
                <a:lnTo>
                  <a:pt x="1538" y="19"/>
                </a:lnTo>
                <a:lnTo>
                  <a:pt x="1536" y="19"/>
                </a:lnTo>
                <a:lnTo>
                  <a:pt x="1536" y="21"/>
                </a:lnTo>
                <a:lnTo>
                  <a:pt x="1536" y="24"/>
                </a:lnTo>
                <a:lnTo>
                  <a:pt x="1536" y="24"/>
                </a:lnTo>
                <a:lnTo>
                  <a:pt x="1533" y="24"/>
                </a:lnTo>
                <a:lnTo>
                  <a:pt x="1530" y="24"/>
                </a:lnTo>
                <a:lnTo>
                  <a:pt x="1528" y="19"/>
                </a:lnTo>
                <a:lnTo>
                  <a:pt x="1525" y="19"/>
                </a:lnTo>
                <a:lnTo>
                  <a:pt x="1525" y="19"/>
                </a:lnTo>
                <a:lnTo>
                  <a:pt x="1522" y="21"/>
                </a:lnTo>
                <a:lnTo>
                  <a:pt x="1522" y="24"/>
                </a:lnTo>
                <a:lnTo>
                  <a:pt x="1522" y="24"/>
                </a:lnTo>
                <a:lnTo>
                  <a:pt x="1522" y="24"/>
                </a:lnTo>
                <a:lnTo>
                  <a:pt x="1520" y="21"/>
                </a:lnTo>
                <a:lnTo>
                  <a:pt x="1520" y="19"/>
                </a:lnTo>
                <a:lnTo>
                  <a:pt x="1520" y="19"/>
                </a:lnTo>
                <a:lnTo>
                  <a:pt x="1520" y="16"/>
                </a:lnTo>
                <a:lnTo>
                  <a:pt x="1517" y="19"/>
                </a:lnTo>
                <a:lnTo>
                  <a:pt x="1517" y="19"/>
                </a:lnTo>
                <a:lnTo>
                  <a:pt x="1520" y="19"/>
                </a:lnTo>
                <a:lnTo>
                  <a:pt x="1520" y="21"/>
                </a:lnTo>
                <a:lnTo>
                  <a:pt x="1517" y="21"/>
                </a:lnTo>
                <a:lnTo>
                  <a:pt x="1517" y="24"/>
                </a:lnTo>
                <a:lnTo>
                  <a:pt x="1514" y="27"/>
                </a:lnTo>
                <a:lnTo>
                  <a:pt x="1512" y="24"/>
                </a:lnTo>
                <a:lnTo>
                  <a:pt x="1512" y="21"/>
                </a:lnTo>
                <a:lnTo>
                  <a:pt x="1512" y="19"/>
                </a:lnTo>
                <a:lnTo>
                  <a:pt x="1509" y="16"/>
                </a:lnTo>
                <a:lnTo>
                  <a:pt x="1506" y="16"/>
                </a:lnTo>
                <a:lnTo>
                  <a:pt x="1509" y="16"/>
                </a:lnTo>
                <a:lnTo>
                  <a:pt x="1509" y="13"/>
                </a:lnTo>
                <a:lnTo>
                  <a:pt x="1509" y="11"/>
                </a:lnTo>
                <a:lnTo>
                  <a:pt x="1506" y="13"/>
                </a:lnTo>
                <a:lnTo>
                  <a:pt x="1506" y="11"/>
                </a:lnTo>
                <a:lnTo>
                  <a:pt x="1506" y="11"/>
                </a:lnTo>
                <a:lnTo>
                  <a:pt x="1506" y="11"/>
                </a:lnTo>
                <a:lnTo>
                  <a:pt x="1504" y="11"/>
                </a:lnTo>
                <a:lnTo>
                  <a:pt x="1504" y="8"/>
                </a:lnTo>
                <a:lnTo>
                  <a:pt x="1504" y="5"/>
                </a:lnTo>
                <a:lnTo>
                  <a:pt x="1501" y="5"/>
                </a:lnTo>
                <a:lnTo>
                  <a:pt x="1501" y="5"/>
                </a:lnTo>
                <a:lnTo>
                  <a:pt x="1498" y="3"/>
                </a:lnTo>
                <a:lnTo>
                  <a:pt x="1496" y="0"/>
                </a:lnTo>
                <a:lnTo>
                  <a:pt x="1493" y="0"/>
                </a:lnTo>
                <a:lnTo>
                  <a:pt x="1493" y="0"/>
                </a:lnTo>
                <a:lnTo>
                  <a:pt x="1490" y="3"/>
                </a:lnTo>
                <a:lnTo>
                  <a:pt x="1493" y="3"/>
                </a:lnTo>
                <a:lnTo>
                  <a:pt x="1493" y="3"/>
                </a:lnTo>
                <a:lnTo>
                  <a:pt x="1493" y="5"/>
                </a:lnTo>
                <a:lnTo>
                  <a:pt x="1490" y="3"/>
                </a:lnTo>
                <a:lnTo>
                  <a:pt x="1488" y="3"/>
                </a:lnTo>
                <a:lnTo>
                  <a:pt x="1488" y="3"/>
                </a:lnTo>
                <a:lnTo>
                  <a:pt x="1485" y="3"/>
                </a:lnTo>
                <a:lnTo>
                  <a:pt x="1485" y="5"/>
                </a:lnTo>
                <a:lnTo>
                  <a:pt x="1485" y="5"/>
                </a:lnTo>
                <a:lnTo>
                  <a:pt x="1488" y="8"/>
                </a:lnTo>
                <a:lnTo>
                  <a:pt x="1488" y="8"/>
                </a:lnTo>
                <a:lnTo>
                  <a:pt x="1488" y="8"/>
                </a:lnTo>
                <a:lnTo>
                  <a:pt x="1485" y="8"/>
                </a:lnTo>
                <a:lnTo>
                  <a:pt x="1485" y="8"/>
                </a:lnTo>
                <a:lnTo>
                  <a:pt x="1485" y="11"/>
                </a:lnTo>
                <a:lnTo>
                  <a:pt x="1482" y="11"/>
                </a:lnTo>
                <a:lnTo>
                  <a:pt x="1482" y="11"/>
                </a:lnTo>
                <a:lnTo>
                  <a:pt x="1482" y="8"/>
                </a:lnTo>
                <a:lnTo>
                  <a:pt x="1482" y="5"/>
                </a:lnTo>
                <a:lnTo>
                  <a:pt x="1482" y="5"/>
                </a:lnTo>
                <a:lnTo>
                  <a:pt x="1479" y="5"/>
                </a:lnTo>
                <a:lnTo>
                  <a:pt x="1479" y="5"/>
                </a:lnTo>
                <a:lnTo>
                  <a:pt x="1477" y="8"/>
                </a:lnTo>
                <a:lnTo>
                  <a:pt x="1477" y="8"/>
                </a:lnTo>
                <a:lnTo>
                  <a:pt x="1474" y="8"/>
                </a:lnTo>
                <a:lnTo>
                  <a:pt x="1474" y="8"/>
                </a:lnTo>
                <a:lnTo>
                  <a:pt x="1477" y="13"/>
                </a:lnTo>
                <a:lnTo>
                  <a:pt x="1477" y="13"/>
                </a:lnTo>
                <a:lnTo>
                  <a:pt x="1479" y="16"/>
                </a:lnTo>
                <a:lnTo>
                  <a:pt x="1479" y="16"/>
                </a:lnTo>
                <a:lnTo>
                  <a:pt x="1479" y="19"/>
                </a:lnTo>
                <a:lnTo>
                  <a:pt x="1479" y="21"/>
                </a:lnTo>
                <a:lnTo>
                  <a:pt x="1479" y="21"/>
                </a:lnTo>
                <a:lnTo>
                  <a:pt x="1482" y="21"/>
                </a:lnTo>
                <a:lnTo>
                  <a:pt x="1482" y="21"/>
                </a:lnTo>
                <a:lnTo>
                  <a:pt x="1485" y="21"/>
                </a:lnTo>
                <a:lnTo>
                  <a:pt x="1485" y="24"/>
                </a:lnTo>
                <a:lnTo>
                  <a:pt x="1485" y="24"/>
                </a:lnTo>
                <a:lnTo>
                  <a:pt x="1482" y="24"/>
                </a:lnTo>
                <a:lnTo>
                  <a:pt x="1482" y="24"/>
                </a:lnTo>
                <a:lnTo>
                  <a:pt x="1479" y="24"/>
                </a:lnTo>
                <a:lnTo>
                  <a:pt x="1482" y="24"/>
                </a:lnTo>
                <a:lnTo>
                  <a:pt x="1482" y="27"/>
                </a:lnTo>
                <a:lnTo>
                  <a:pt x="1485" y="27"/>
                </a:lnTo>
                <a:lnTo>
                  <a:pt x="1482" y="27"/>
                </a:lnTo>
                <a:lnTo>
                  <a:pt x="1482" y="27"/>
                </a:lnTo>
                <a:lnTo>
                  <a:pt x="1479" y="27"/>
                </a:lnTo>
                <a:lnTo>
                  <a:pt x="1479" y="27"/>
                </a:lnTo>
                <a:lnTo>
                  <a:pt x="1477" y="27"/>
                </a:lnTo>
                <a:lnTo>
                  <a:pt x="1477" y="27"/>
                </a:lnTo>
                <a:lnTo>
                  <a:pt x="1474" y="27"/>
                </a:lnTo>
                <a:lnTo>
                  <a:pt x="1474" y="29"/>
                </a:lnTo>
                <a:lnTo>
                  <a:pt x="1471" y="29"/>
                </a:lnTo>
                <a:lnTo>
                  <a:pt x="1471" y="27"/>
                </a:lnTo>
                <a:lnTo>
                  <a:pt x="1469" y="27"/>
                </a:lnTo>
                <a:lnTo>
                  <a:pt x="1469" y="29"/>
                </a:lnTo>
                <a:lnTo>
                  <a:pt x="1469" y="29"/>
                </a:lnTo>
                <a:lnTo>
                  <a:pt x="1469" y="32"/>
                </a:lnTo>
                <a:lnTo>
                  <a:pt x="1471" y="32"/>
                </a:lnTo>
                <a:lnTo>
                  <a:pt x="1471" y="32"/>
                </a:lnTo>
                <a:lnTo>
                  <a:pt x="1474" y="32"/>
                </a:lnTo>
                <a:lnTo>
                  <a:pt x="1474" y="29"/>
                </a:lnTo>
                <a:lnTo>
                  <a:pt x="1474" y="29"/>
                </a:lnTo>
                <a:lnTo>
                  <a:pt x="1474" y="32"/>
                </a:lnTo>
                <a:lnTo>
                  <a:pt x="1471" y="35"/>
                </a:lnTo>
                <a:lnTo>
                  <a:pt x="1471" y="35"/>
                </a:lnTo>
                <a:lnTo>
                  <a:pt x="1471" y="37"/>
                </a:lnTo>
                <a:lnTo>
                  <a:pt x="1471" y="37"/>
                </a:lnTo>
                <a:lnTo>
                  <a:pt x="1469" y="43"/>
                </a:lnTo>
                <a:lnTo>
                  <a:pt x="1469" y="43"/>
                </a:lnTo>
                <a:lnTo>
                  <a:pt x="1469" y="43"/>
                </a:lnTo>
                <a:lnTo>
                  <a:pt x="1466" y="40"/>
                </a:lnTo>
                <a:lnTo>
                  <a:pt x="1466" y="37"/>
                </a:lnTo>
                <a:lnTo>
                  <a:pt x="1466" y="37"/>
                </a:lnTo>
                <a:lnTo>
                  <a:pt x="1463" y="37"/>
                </a:lnTo>
                <a:lnTo>
                  <a:pt x="1463" y="37"/>
                </a:lnTo>
                <a:lnTo>
                  <a:pt x="1463" y="37"/>
                </a:lnTo>
                <a:lnTo>
                  <a:pt x="1463" y="37"/>
                </a:lnTo>
                <a:lnTo>
                  <a:pt x="1463" y="40"/>
                </a:lnTo>
                <a:lnTo>
                  <a:pt x="1463" y="40"/>
                </a:lnTo>
                <a:lnTo>
                  <a:pt x="1463" y="43"/>
                </a:lnTo>
                <a:lnTo>
                  <a:pt x="1463" y="43"/>
                </a:lnTo>
                <a:lnTo>
                  <a:pt x="1463" y="43"/>
                </a:lnTo>
                <a:lnTo>
                  <a:pt x="1463" y="46"/>
                </a:lnTo>
                <a:lnTo>
                  <a:pt x="1463" y="46"/>
                </a:lnTo>
                <a:lnTo>
                  <a:pt x="1461" y="48"/>
                </a:lnTo>
                <a:lnTo>
                  <a:pt x="1461" y="48"/>
                </a:lnTo>
                <a:lnTo>
                  <a:pt x="1461" y="48"/>
                </a:lnTo>
                <a:lnTo>
                  <a:pt x="1458" y="48"/>
                </a:lnTo>
                <a:lnTo>
                  <a:pt x="1458" y="51"/>
                </a:lnTo>
                <a:lnTo>
                  <a:pt x="1458" y="54"/>
                </a:lnTo>
                <a:lnTo>
                  <a:pt x="1458" y="54"/>
                </a:lnTo>
                <a:lnTo>
                  <a:pt x="1455" y="51"/>
                </a:lnTo>
                <a:lnTo>
                  <a:pt x="1455" y="51"/>
                </a:lnTo>
                <a:lnTo>
                  <a:pt x="1455" y="51"/>
                </a:lnTo>
                <a:lnTo>
                  <a:pt x="1455" y="48"/>
                </a:lnTo>
                <a:lnTo>
                  <a:pt x="1455" y="46"/>
                </a:lnTo>
                <a:lnTo>
                  <a:pt x="1455" y="46"/>
                </a:lnTo>
                <a:lnTo>
                  <a:pt x="1453" y="43"/>
                </a:lnTo>
                <a:lnTo>
                  <a:pt x="1453" y="46"/>
                </a:lnTo>
                <a:lnTo>
                  <a:pt x="1453" y="46"/>
                </a:lnTo>
                <a:lnTo>
                  <a:pt x="1450" y="46"/>
                </a:lnTo>
                <a:lnTo>
                  <a:pt x="1450" y="46"/>
                </a:lnTo>
                <a:lnTo>
                  <a:pt x="1447" y="43"/>
                </a:lnTo>
                <a:lnTo>
                  <a:pt x="1447" y="40"/>
                </a:lnTo>
                <a:lnTo>
                  <a:pt x="1450" y="37"/>
                </a:lnTo>
                <a:lnTo>
                  <a:pt x="1450" y="37"/>
                </a:lnTo>
                <a:lnTo>
                  <a:pt x="1445" y="37"/>
                </a:lnTo>
                <a:lnTo>
                  <a:pt x="1445" y="37"/>
                </a:lnTo>
                <a:lnTo>
                  <a:pt x="1442" y="37"/>
                </a:lnTo>
                <a:lnTo>
                  <a:pt x="1445" y="35"/>
                </a:lnTo>
                <a:lnTo>
                  <a:pt x="1447" y="32"/>
                </a:lnTo>
                <a:lnTo>
                  <a:pt x="1447" y="32"/>
                </a:lnTo>
                <a:lnTo>
                  <a:pt x="1447" y="29"/>
                </a:lnTo>
                <a:lnTo>
                  <a:pt x="1447" y="29"/>
                </a:lnTo>
                <a:lnTo>
                  <a:pt x="1450" y="29"/>
                </a:lnTo>
                <a:lnTo>
                  <a:pt x="1450" y="27"/>
                </a:lnTo>
                <a:lnTo>
                  <a:pt x="1450" y="27"/>
                </a:lnTo>
                <a:lnTo>
                  <a:pt x="1450" y="27"/>
                </a:lnTo>
                <a:lnTo>
                  <a:pt x="1453" y="24"/>
                </a:lnTo>
                <a:lnTo>
                  <a:pt x="1453" y="24"/>
                </a:lnTo>
                <a:lnTo>
                  <a:pt x="1455" y="24"/>
                </a:lnTo>
                <a:lnTo>
                  <a:pt x="1453" y="21"/>
                </a:lnTo>
                <a:lnTo>
                  <a:pt x="1450" y="21"/>
                </a:lnTo>
                <a:lnTo>
                  <a:pt x="1450" y="21"/>
                </a:lnTo>
                <a:lnTo>
                  <a:pt x="1447" y="27"/>
                </a:lnTo>
                <a:lnTo>
                  <a:pt x="1447" y="27"/>
                </a:lnTo>
                <a:lnTo>
                  <a:pt x="1445" y="29"/>
                </a:lnTo>
                <a:lnTo>
                  <a:pt x="1442" y="29"/>
                </a:lnTo>
                <a:lnTo>
                  <a:pt x="1439" y="27"/>
                </a:lnTo>
                <a:lnTo>
                  <a:pt x="1439" y="27"/>
                </a:lnTo>
                <a:lnTo>
                  <a:pt x="1437" y="29"/>
                </a:lnTo>
                <a:lnTo>
                  <a:pt x="1434" y="35"/>
                </a:lnTo>
                <a:lnTo>
                  <a:pt x="1434" y="35"/>
                </a:lnTo>
                <a:lnTo>
                  <a:pt x="1431" y="35"/>
                </a:lnTo>
                <a:lnTo>
                  <a:pt x="1429" y="35"/>
                </a:lnTo>
                <a:lnTo>
                  <a:pt x="1431" y="35"/>
                </a:lnTo>
                <a:lnTo>
                  <a:pt x="1431" y="37"/>
                </a:lnTo>
                <a:lnTo>
                  <a:pt x="1431" y="37"/>
                </a:lnTo>
                <a:lnTo>
                  <a:pt x="1429" y="37"/>
                </a:lnTo>
                <a:lnTo>
                  <a:pt x="1429" y="37"/>
                </a:lnTo>
                <a:lnTo>
                  <a:pt x="1429" y="40"/>
                </a:lnTo>
                <a:lnTo>
                  <a:pt x="1429" y="40"/>
                </a:lnTo>
                <a:lnTo>
                  <a:pt x="1426" y="43"/>
                </a:lnTo>
                <a:lnTo>
                  <a:pt x="1426" y="43"/>
                </a:lnTo>
                <a:lnTo>
                  <a:pt x="1426" y="46"/>
                </a:lnTo>
                <a:lnTo>
                  <a:pt x="1426" y="46"/>
                </a:lnTo>
                <a:lnTo>
                  <a:pt x="1429" y="46"/>
                </a:lnTo>
                <a:lnTo>
                  <a:pt x="1429" y="46"/>
                </a:lnTo>
                <a:lnTo>
                  <a:pt x="1431" y="46"/>
                </a:lnTo>
                <a:lnTo>
                  <a:pt x="1431" y="48"/>
                </a:lnTo>
                <a:lnTo>
                  <a:pt x="1431" y="48"/>
                </a:lnTo>
                <a:lnTo>
                  <a:pt x="1429" y="51"/>
                </a:lnTo>
                <a:lnTo>
                  <a:pt x="1426" y="51"/>
                </a:lnTo>
                <a:lnTo>
                  <a:pt x="1426" y="51"/>
                </a:lnTo>
                <a:lnTo>
                  <a:pt x="1426" y="54"/>
                </a:lnTo>
                <a:lnTo>
                  <a:pt x="1426" y="54"/>
                </a:lnTo>
                <a:lnTo>
                  <a:pt x="1423" y="51"/>
                </a:lnTo>
                <a:lnTo>
                  <a:pt x="1423" y="51"/>
                </a:lnTo>
                <a:lnTo>
                  <a:pt x="1423" y="54"/>
                </a:lnTo>
                <a:lnTo>
                  <a:pt x="1421" y="54"/>
                </a:lnTo>
                <a:lnTo>
                  <a:pt x="1421" y="54"/>
                </a:lnTo>
                <a:lnTo>
                  <a:pt x="1418" y="54"/>
                </a:lnTo>
                <a:lnTo>
                  <a:pt x="1418" y="51"/>
                </a:lnTo>
                <a:lnTo>
                  <a:pt x="1418" y="51"/>
                </a:lnTo>
                <a:lnTo>
                  <a:pt x="1418" y="51"/>
                </a:lnTo>
                <a:lnTo>
                  <a:pt x="1421" y="51"/>
                </a:lnTo>
                <a:lnTo>
                  <a:pt x="1421" y="51"/>
                </a:lnTo>
                <a:lnTo>
                  <a:pt x="1421" y="48"/>
                </a:lnTo>
                <a:lnTo>
                  <a:pt x="1418" y="48"/>
                </a:lnTo>
                <a:lnTo>
                  <a:pt x="1415" y="46"/>
                </a:lnTo>
                <a:lnTo>
                  <a:pt x="1415" y="43"/>
                </a:lnTo>
                <a:lnTo>
                  <a:pt x="1413" y="43"/>
                </a:lnTo>
                <a:lnTo>
                  <a:pt x="1415" y="43"/>
                </a:lnTo>
                <a:lnTo>
                  <a:pt x="1418" y="40"/>
                </a:lnTo>
                <a:lnTo>
                  <a:pt x="1418" y="37"/>
                </a:lnTo>
                <a:lnTo>
                  <a:pt x="1415" y="37"/>
                </a:lnTo>
                <a:lnTo>
                  <a:pt x="1413" y="37"/>
                </a:lnTo>
                <a:lnTo>
                  <a:pt x="1413" y="37"/>
                </a:lnTo>
                <a:lnTo>
                  <a:pt x="1413" y="35"/>
                </a:lnTo>
                <a:lnTo>
                  <a:pt x="1413" y="35"/>
                </a:lnTo>
                <a:lnTo>
                  <a:pt x="1415" y="35"/>
                </a:lnTo>
                <a:lnTo>
                  <a:pt x="1418" y="35"/>
                </a:lnTo>
                <a:lnTo>
                  <a:pt x="1418" y="32"/>
                </a:lnTo>
                <a:lnTo>
                  <a:pt x="1415" y="32"/>
                </a:lnTo>
                <a:lnTo>
                  <a:pt x="1413" y="29"/>
                </a:lnTo>
                <a:lnTo>
                  <a:pt x="1413" y="29"/>
                </a:lnTo>
                <a:lnTo>
                  <a:pt x="1418" y="27"/>
                </a:lnTo>
                <a:lnTo>
                  <a:pt x="1418" y="24"/>
                </a:lnTo>
                <a:lnTo>
                  <a:pt x="1415" y="27"/>
                </a:lnTo>
                <a:lnTo>
                  <a:pt x="1413" y="27"/>
                </a:lnTo>
                <a:lnTo>
                  <a:pt x="1413" y="27"/>
                </a:lnTo>
                <a:lnTo>
                  <a:pt x="1410" y="29"/>
                </a:lnTo>
                <a:lnTo>
                  <a:pt x="1407" y="29"/>
                </a:lnTo>
                <a:lnTo>
                  <a:pt x="1407" y="32"/>
                </a:lnTo>
                <a:lnTo>
                  <a:pt x="1407" y="29"/>
                </a:lnTo>
                <a:lnTo>
                  <a:pt x="1407" y="27"/>
                </a:lnTo>
                <a:lnTo>
                  <a:pt x="1410" y="27"/>
                </a:lnTo>
                <a:lnTo>
                  <a:pt x="1410" y="27"/>
                </a:lnTo>
                <a:lnTo>
                  <a:pt x="1410" y="27"/>
                </a:lnTo>
                <a:lnTo>
                  <a:pt x="1410" y="24"/>
                </a:lnTo>
                <a:lnTo>
                  <a:pt x="1410" y="24"/>
                </a:lnTo>
                <a:lnTo>
                  <a:pt x="1407" y="24"/>
                </a:lnTo>
                <a:lnTo>
                  <a:pt x="1410" y="24"/>
                </a:lnTo>
                <a:lnTo>
                  <a:pt x="1410" y="21"/>
                </a:lnTo>
                <a:lnTo>
                  <a:pt x="1410" y="21"/>
                </a:lnTo>
                <a:lnTo>
                  <a:pt x="1410" y="21"/>
                </a:lnTo>
                <a:lnTo>
                  <a:pt x="1407" y="21"/>
                </a:lnTo>
                <a:lnTo>
                  <a:pt x="1407" y="21"/>
                </a:lnTo>
                <a:lnTo>
                  <a:pt x="1404" y="21"/>
                </a:lnTo>
                <a:lnTo>
                  <a:pt x="1404" y="21"/>
                </a:lnTo>
                <a:lnTo>
                  <a:pt x="1404" y="19"/>
                </a:lnTo>
                <a:lnTo>
                  <a:pt x="1404" y="19"/>
                </a:lnTo>
                <a:lnTo>
                  <a:pt x="1404" y="16"/>
                </a:lnTo>
                <a:lnTo>
                  <a:pt x="1404" y="19"/>
                </a:lnTo>
                <a:lnTo>
                  <a:pt x="1402" y="19"/>
                </a:lnTo>
                <a:lnTo>
                  <a:pt x="1402" y="19"/>
                </a:lnTo>
                <a:lnTo>
                  <a:pt x="1402" y="21"/>
                </a:lnTo>
                <a:lnTo>
                  <a:pt x="1402" y="21"/>
                </a:lnTo>
                <a:lnTo>
                  <a:pt x="1399" y="21"/>
                </a:lnTo>
                <a:lnTo>
                  <a:pt x="1396" y="21"/>
                </a:lnTo>
                <a:lnTo>
                  <a:pt x="1396" y="21"/>
                </a:lnTo>
                <a:lnTo>
                  <a:pt x="1396" y="21"/>
                </a:lnTo>
                <a:lnTo>
                  <a:pt x="1399" y="24"/>
                </a:lnTo>
                <a:lnTo>
                  <a:pt x="1402" y="24"/>
                </a:lnTo>
                <a:lnTo>
                  <a:pt x="1404" y="27"/>
                </a:lnTo>
                <a:lnTo>
                  <a:pt x="1404" y="27"/>
                </a:lnTo>
                <a:lnTo>
                  <a:pt x="1404" y="27"/>
                </a:lnTo>
                <a:lnTo>
                  <a:pt x="1404" y="29"/>
                </a:lnTo>
                <a:lnTo>
                  <a:pt x="1404" y="29"/>
                </a:lnTo>
                <a:lnTo>
                  <a:pt x="1404" y="32"/>
                </a:lnTo>
                <a:lnTo>
                  <a:pt x="1404" y="32"/>
                </a:lnTo>
                <a:lnTo>
                  <a:pt x="1402" y="32"/>
                </a:lnTo>
                <a:lnTo>
                  <a:pt x="1399" y="27"/>
                </a:lnTo>
                <a:lnTo>
                  <a:pt x="1399" y="29"/>
                </a:lnTo>
                <a:lnTo>
                  <a:pt x="1399" y="29"/>
                </a:lnTo>
                <a:lnTo>
                  <a:pt x="1399" y="32"/>
                </a:lnTo>
                <a:lnTo>
                  <a:pt x="1399" y="32"/>
                </a:lnTo>
                <a:lnTo>
                  <a:pt x="1396" y="32"/>
                </a:lnTo>
                <a:lnTo>
                  <a:pt x="1396" y="32"/>
                </a:lnTo>
                <a:lnTo>
                  <a:pt x="1394" y="29"/>
                </a:lnTo>
                <a:lnTo>
                  <a:pt x="1391" y="29"/>
                </a:lnTo>
                <a:lnTo>
                  <a:pt x="1391" y="29"/>
                </a:lnTo>
                <a:lnTo>
                  <a:pt x="1391" y="32"/>
                </a:lnTo>
                <a:lnTo>
                  <a:pt x="1391" y="32"/>
                </a:lnTo>
                <a:lnTo>
                  <a:pt x="1391" y="32"/>
                </a:lnTo>
                <a:lnTo>
                  <a:pt x="1394" y="35"/>
                </a:lnTo>
                <a:lnTo>
                  <a:pt x="1394" y="35"/>
                </a:lnTo>
                <a:lnTo>
                  <a:pt x="1394" y="37"/>
                </a:lnTo>
                <a:lnTo>
                  <a:pt x="1396" y="37"/>
                </a:lnTo>
                <a:lnTo>
                  <a:pt x="1407" y="37"/>
                </a:lnTo>
                <a:lnTo>
                  <a:pt x="1410" y="40"/>
                </a:lnTo>
                <a:lnTo>
                  <a:pt x="1410" y="43"/>
                </a:lnTo>
                <a:lnTo>
                  <a:pt x="1410" y="46"/>
                </a:lnTo>
                <a:lnTo>
                  <a:pt x="1410" y="46"/>
                </a:lnTo>
                <a:lnTo>
                  <a:pt x="1410" y="48"/>
                </a:lnTo>
                <a:lnTo>
                  <a:pt x="1410" y="51"/>
                </a:lnTo>
                <a:lnTo>
                  <a:pt x="1410" y="51"/>
                </a:lnTo>
                <a:lnTo>
                  <a:pt x="1407" y="54"/>
                </a:lnTo>
                <a:lnTo>
                  <a:pt x="1407" y="54"/>
                </a:lnTo>
                <a:lnTo>
                  <a:pt x="1404" y="54"/>
                </a:lnTo>
                <a:lnTo>
                  <a:pt x="1402" y="54"/>
                </a:lnTo>
                <a:lnTo>
                  <a:pt x="1402" y="54"/>
                </a:lnTo>
                <a:lnTo>
                  <a:pt x="1402" y="56"/>
                </a:lnTo>
                <a:lnTo>
                  <a:pt x="1402" y="56"/>
                </a:lnTo>
                <a:lnTo>
                  <a:pt x="1402" y="59"/>
                </a:lnTo>
                <a:lnTo>
                  <a:pt x="1402" y="59"/>
                </a:lnTo>
                <a:lnTo>
                  <a:pt x="1402" y="62"/>
                </a:lnTo>
                <a:lnTo>
                  <a:pt x="1402" y="62"/>
                </a:lnTo>
                <a:lnTo>
                  <a:pt x="1402" y="62"/>
                </a:lnTo>
                <a:lnTo>
                  <a:pt x="1402" y="64"/>
                </a:lnTo>
                <a:lnTo>
                  <a:pt x="1402" y="64"/>
                </a:lnTo>
                <a:lnTo>
                  <a:pt x="1402" y="67"/>
                </a:lnTo>
                <a:lnTo>
                  <a:pt x="1402" y="67"/>
                </a:lnTo>
                <a:lnTo>
                  <a:pt x="1399" y="67"/>
                </a:lnTo>
                <a:lnTo>
                  <a:pt x="1396" y="67"/>
                </a:lnTo>
                <a:lnTo>
                  <a:pt x="1396" y="70"/>
                </a:lnTo>
                <a:lnTo>
                  <a:pt x="1396" y="70"/>
                </a:lnTo>
                <a:lnTo>
                  <a:pt x="1394" y="70"/>
                </a:lnTo>
                <a:lnTo>
                  <a:pt x="1394" y="70"/>
                </a:lnTo>
                <a:lnTo>
                  <a:pt x="1391" y="70"/>
                </a:lnTo>
                <a:lnTo>
                  <a:pt x="1391" y="72"/>
                </a:lnTo>
                <a:lnTo>
                  <a:pt x="1394" y="72"/>
                </a:lnTo>
                <a:lnTo>
                  <a:pt x="1394" y="72"/>
                </a:lnTo>
                <a:lnTo>
                  <a:pt x="1394" y="72"/>
                </a:lnTo>
                <a:lnTo>
                  <a:pt x="1394" y="75"/>
                </a:lnTo>
                <a:lnTo>
                  <a:pt x="1396" y="75"/>
                </a:lnTo>
                <a:lnTo>
                  <a:pt x="1396" y="75"/>
                </a:lnTo>
                <a:lnTo>
                  <a:pt x="1396" y="75"/>
                </a:lnTo>
                <a:lnTo>
                  <a:pt x="1396" y="78"/>
                </a:lnTo>
                <a:lnTo>
                  <a:pt x="1399" y="78"/>
                </a:lnTo>
                <a:lnTo>
                  <a:pt x="1399" y="80"/>
                </a:lnTo>
                <a:lnTo>
                  <a:pt x="1399" y="80"/>
                </a:lnTo>
                <a:lnTo>
                  <a:pt x="1399" y="83"/>
                </a:lnTo>
                <a:lnTo>
                  <a:pt x="1399" y="83"/>
                </a:lnTo>
                <a:lnTo>
                  <a:pt x="1399" y="86"/>
                </a:lnTo>
                <a:lnTo>
                  <a:pt x="1396" y="86"/>
                </a:lnTo>
                <a:lnTo>
                  <a:pt x="1396" y="83"/>
                </a:lnTo>
                <a:lnTo>
                  <a:pt x="1394" y="83"/>
                </a:lnTo>
                <a:lnTo>
                  <a:pt x="1394" y="86"/>
                </a:lnTo>
                <a:lnTo>
                  <a:pt x="1394" y="86"/>
                </a:lnTo>
                <a:lnTo>
                  <a:pt x="1394" y="86"/>
                </a:lnTo>
                <a:lnTo>
                  <a:pt x="1394" y="88"/>
                </a:lnTo>
                <a:lnTo>
                  <a:pt x="1391" y="88"/>
                </a:lnTo>
                <a:lnTo>
                  <a:pt x="1391" y="86"/>
                </a:lnTo>
                <a:lnTo>
                  <a:pt x="1391" y="86"/>
                </a:lnTo>
                <a:lnTo>
                  <a:pt x="1391" y="86"/>
                </a:lnTo>
                <a:lnTo>
                  <a:pt x="1386" y="86"/>
                </a:lnTo>
                <a:lnTo>
                  <a:pt x="1386" y="86"/>
                </a:lnTo>
                <a:lnTo>
                  <a:pt x="1386" y="86"/>
                </a:lnTo>
                <a:lnTo>
                  <a:pt x="1386" y="88"/>
                </a:lnTo>
                <a:lnTo>
                  <a:pt x="1386" y="88"/>
                </a:lnTo>
                <a:lnTo>
                  <a:pt x="1386" y="88"/>
                </a:lnTo>
                <a:lnTo>
                  <a:pt x="1383" y="91"/>
                </a:lnTo>
                <a:lnTo>
                  <a:pt x="1386" y="91"/>
                </a:lnTo>
                <a:lnTo>
                  <a:pt x="1386" y="91"/>
                </a:lnTo>
                <a:lnTo>
                  <a:pt x="1386" y="91"/>
                </a:lnTo>
                <a:lnTo>
                  <a:pt x="1386" y="94"/>
                </a:lnTo>
                <a:lnTo>
                  <a:pt x="1386" y="96"/>
                </a:lnTo>
                <a:lnTo>
                  <a:pt x="1386" y="96"/>
                </a:lnTo>
                <a:lnTo>
                  <a:pt x="1383" y="96"/>
                </a:lnTo>
                <a:lnTo>
                  <a:pt x="1380" y="94"/>
                </a:lnTo>
                <a:lnTo>
                  <a:pt x="1378" y="94"/>
                </a:lnTo>
                <a:lnTo>
                  <a:pt x="1378" y="94"/>
                </a:lnTo>
                <a:lnTo>
                  <a:pt x="1378" y="91"/>
                </a:lnTo>
                <a:lnTo>
                  <a:pt x="1375" y="91"/>
                </a:lnTo>
                <a:lnTo>
                  <a:pt x="1378" y="88"/>
                </a:lnTo>
                <a:lnTo>
                  <a:pt x="1378" y="88"/>
                </a:lnTo>
                <a:lnTo>
                  <a:pt x="1378" y="88"/>
                </a:lnTo>
                <a:lnTo>
                  <a:pt x="1375" y="86"/>
                </a:lnTo>
                <a:lnTo>
                  <a:pt x="1375" y="86"/>
                </a:lnTo>
                <a:lnTo>
                  <a:pt x="1378" y="86"/>
                </a:lnTo>
                <a:lnTo>
                  <a:pt x="1375" y="80"/>
                </a:lnTo>
                <a:lnTo>
                  <a:pt x="1378" y="80"/>
                </a:lnTo>
                <a:lnTo>
                  <a:pt x="1378" y="80"/>
                </a:lnTo>
                <a:lnTo>
                  <a:pt x="1378" y="80"/>
                </a:lnTo>
                <a:lnTo>
                  <a:pt x="1378" y="78"/>
                </a:lnTo>
                <a:lnTo>
                  <a:pt x="1378" y="78"/>
                </a:lnTo>
                <a:lnTo>
                  <a:pt x="1378" y="78"/>
                </a:lnTo>
                <a:lnTo>
                  <a:pt x="1375" y="78"/>
                </a:lnTo>
                <a:lnTo>
                  <a:pt x="1375" y="78"/>
                </a:lnTo>
                <a:lnTo>
                  <a:pt x="1375" y="78"/>
                </a:lnTo>
                <a:lnTo>
                  <a:pt x="1375" y="78"/>
                </a:lnTo>
                <a:lnTo>
                  <a:pt x="1372" y="78"/>
                </a:lnTo>
                <a:lnTo>
                  <a:pt x="1375" y="78"/>
                </a:lnTo>
                <a:lnTo>
                  <a:pt x="1375" y="78"/>
                </a:lnTo>
                <a:lnTo>
                  <a:pt x="1375" y="75"/>
                </a:lnTo>
                <a:lnTo>
                  <a:pt x="1372" y="75"/>
                </a:lnTo>
                <a:lnTo>
                  <a:pt x="1372" y="75"/>
                </a:lnTo>
                <a:lnTo>
                  <a:pt x="1372" y="78"/>
                </a:lnTo>
                <a:lnTo>
                  <a:pt x="1372" y="78"/>
                </a:lnTo>
                <a:lnTo>
                  <a:pt x="1370" y="78"/>
                </a:lnTo>
                <a:lnTo>
                  <a:pt x="1367" y="80"/>
                </a:lnTo>
                <a:lnTo>
                  <a:pt x="1367" y="78"/>
                </a:lnTo>
                <a:lnTo>
                  <a:pt x="1367" y="75"/>
                </a:lnTo>
                <a:lnTo>
                  <a:pt x="1367" y="75"/>
                </a:lnTo>
                <a:lnTo>
                  <a:pt x="1367" y="72"/>
                </a:lnTo>
                <a:lnTo>
                  <a:pt x="1367" y="72"/>
                </a:lnTo>
                <a:lnTo>
                  <a:pt x="1364" y="72"/>
                </a:lnTo>
                <a:lnTo>
                  <a:pt x="1364" y="75"/>
                </a:lnTo>
                <a:lnTo>
                  <a:pt x="1364" y="80"/>
                </a:lnTo>
                <a:lnTo>
                  <a:pt x="1364" y="83"/>
                </a:lnTo>
                <a:lnTo>
                  <a:pt x="1362" y="83"/>
                </a:lnTo>
                <a:lnTo>
                  <a:pt x="1356" y="96"/>
                </a:lnTo>
                <a:lnTo>
                  <a:pt x="1356" y="96"/>
                </a:lnTo>
                <a:lnTo>
                  <a:pt x="1356" y="94"/>
                </a:lnTo>
                <a:lnTo>
                  <a:pt x="1362" y="83"/>
                </a:lnTo>
                <a:lnTo>
                  <a:pt x="1362" y="80"/>
                </a:lnTo>
                <a:lnTo>
                  <a:pt x="1359" y="78"/>
                </a:lnTo>
                <a:lnTo>
                  <a:pt x="1359" y="67"/>
                </a:lnTo>
                <a:lnTo>
                  <a:pt x="1359" y="67"/>
                </a:lnTo>
                <a:lnTo>
                  <a:pt x="1359" y="67"/>
                </a:lnTo>
                <a:lnTo>
                  <a:pt x="1359" y="67"/>
                </a:lnTo>
                <a:lnTo>
                  <a:pt x="1359" y="64"/>
                </a:lnTo>
                <a:lnTo>
                  <a:pt x="1359" y="64"/>
                </a:lnTo>
                <a:lnTo>
                  <a:pt x="1362" y="64"/>
                </a:lnTo>
                <a:lnTo>
                  <a:pt x="1362" y="64"/>
                </a:lnTo>
                <a:lnTo>
                  <a:pt x="1362" y="64"/>
                </a:lnTo>
                <a:lnTo>
                  <a:pt x="1364" y="64"/>
                </a:lnTo>
                <a:lnTo>
                  <a:pt x="1364" y="64"/>
                </a:lnTo>
                <a:lnTo>
                  <a:pt x="1364" y="62"/>
                </a:lnTo>
                <a:lnTo>
                  <a:pt x="1364" y="62"/>
                </a:lnTo>
                <a:lnTo>
                  <a:pt x="1364" y="59"/>
                </a:lnTo>
                <a:lnTo>
                  <a:pt x="1367" y="59"/>
                </a:lnTo>
                <a:lnTo>
                  <a:pt x="1364" y="56"/>
                </a:lnTo>
                <a:lnTo>
                  <a:pt x="1364" y="59"/>
                </a:lnTo>
                <a:lnTo>
                  <a:pt x="1364" y="59"/>
                </a:lnTo>
                <a:lnTo>
                  <a:pt x="1364" y="59"/>
                </a:lnTo>
                <a:lnTo>
                  <a:pt x="1364" y="62"/>
                </a:lnTo>
                <a:lnTo>
                  <a:pt x="1362" y="59"/>
                </a:lnTo>
                <a:lnTo>
                  <a:pt x="1359" y="56"/>
                </a:lnTo>
                <a:lnTo>
                  <a:pt x="1359" y="56"/>
                </a:lnTo>
                <a:lnTo>
                  <a:pt x="1356" y="56"/>
                </a:lnTo>
                <a:lnTo>
                  <a:pt x="1356" y="56"/>
                </a:lnTo>
                <a:lnTo>
                  <a:pt x="1356" y="56"/>
                </a:lnTo>
                <a:lnTo>
                  <a:pt x="1356" y="54"/>
                </a:lnTo>
                <a:lnTo>
                  <a:pt x="1354" y="54"/>
                </a:lnTo>
                <a:lnTo>
                  <a:pt x="1354" y="54"/>
                </a:lnTo>
                <a:lnTo>
                  <a:pt x="1354" y="56"/>
                </a:lnTo>
                <a:lnTo>
                  <a:pt x="1351" y="56"/>
                </a:lnTo>
                <a:lnTo>
                  <a:pt x="1351" y="56"/>
                </a:lnTo>
                <a:lnTo>
                  <a:pt x="1351" y="56"/>
                </a:lnTo>
                <a:lnTo>
                  <a:pt x="1351" y="56"/>
                </a:lnTo>
                <a:lnTo>
                  <a:pt x="1351" y="59"/>
                </a:lnTo>
                <a:lnTo>
                  <a:pt x="1351" y="59"/>
                </a:lnTo>
                <a:lnTo>
                  <a:pt x="1351" y="62"/>
                </a:lnTo>
                <a:lnTo>
                  <a:pt x="1351" y="64"/>
                </a:lnTo>
                <a:lnTo>
                  <a:pt x="1351" y="64"/>
                </a:lnTo>
                <a:lnTo>
                  <a:pt x="1351" y="67"/>
                </a:lnTo>
                <a:lnTo>
                  <a:pt x="1351" y="70"/>
                </a:lnTo>
                <a:lnTo>
                  <a:pt x="1354" y="70"/>
                </a:lnTo>
                <a:lnTo>
                  <a:pt x="1354" y="72"/>
                </a:lnTo>
                <a:lnTo>
                  <a:pt x="1354" y="72"/>
                </a:lnTo>
                <a:lnTo>
                  <a:pt x="1354" y="75"/>
                </a:lnTo>
                <a:lnTo>
                  <a:pt x="1351" y="80"/>
                </a:lnTo>
                <a:lnTo>
                  <a:pt x="1351" y="83"/>
                </a:lnTo>
                <a:lnTo>
                  <a:pt x="1351" y="83"/>
                </a:lnTo>
                <a:lnTo>
                  <a:pt x="1351" y="83"/>
                </a:lnTo>
                <a:lnTo>
                  <a:pt x="1351" y="83"/>
                </a:lnTo>
                <a:lnTo>
                  <a:pt x="1351" y="83"/>
                </a:lnTo>
                <a:lnTo>
                  <a:pt x="1351" y="83"/>
                </a:lnTo>
                <a:lnTo>
                  <a:pt x="1351" y="83"/>
                </a:lnTo>
                <a:lnTo>
                  <a:pt x="1351" y="86"/>
                </a:lnTo>
                <a:lnTo>
                  <a:pt x="1351" y="86"/>
                </a:lnTo>
                <a:lnTo>
                  <a:pt x="1351" y="88"/>
                </a:lnTo>
                <a:lnTo>
                  <a:pt x="1348" y="88"/>
                </a:lnTo>
                <a:lnTo>
                  <a:pt x="1348" y="88"/>
                </a:lnTo>
                <a:lnTo>
                  <a:pt x="1346" y="88"/>
                </a:lnTo>
                <a:lnTo>
                  <a:pt x="1343" y="88"/>
                </a:lnTo>
                <a:lnTo>
                  <a:pt x="1346" y="86"/>
                </a:lnTo>
                <a:lnTo>
                  <a:pt x="1346" y="86"/>
                </a:lnTo>
                <a:lnTo>
                  <a:pt x="1348" y="83"/>
                </a:lnTo>
                <a:lnTo>
                  <a:pt x="1348" y="83"/>
                </a:lnTo>
                <a:lnTo>
                  <a:pt x="1346" y="83"/>
                </a:lnTo>
                <a:lnTo>
                  <a:pt x="1346" y="83"/>
                </a:lnTo>
                <a:lnTo>
                  <a:pt x="1343" y="83"/>
                </a:lnTo>
                <a:lnTo>
                  <a:pt x="1343" y="80"/>
                </a:lnTo>
                <a:lnTo>
                  <a:pt x="1343" y="80"/>
                </a:lnTo>
                <a:lnTo>
                  <a:pt x="1340" y="80"/>
                </a:lnTo>
                <a:lnTo>
                  <a:pt x="1340" y="80"/>
                </a:lnTo>
                <a:lnTo>
                  <a:pt x="1340" y="83"/>
                </a:lnTo>
                <a:lnTo>
                  <a:pt x="1340" y="86"/>
                </a:lnTo>
                <a:lnTo>
                  <a:pt x="1340" y="88"/>
                </a:lnTo>
                <a:lnTo>
                  <a:pt x="1337" y="86"/>
                </a:lnTo>
                <a:lnTo>
                  <a:pt x="1337" y="86"/>
                </a:lnTo>
                <a:lnTo>
                  <a:pt x="1337" y="88"/>
                </a:lnTo>
                <a:lnTo>
                  <a:pt x="1337" y="88"/>
                </a:lnTo>
                <a:lnTo>
                  <a:pt x="1337" y="88"/>
                </a:lnTo>
                <a:lnTo>
                  <a:pt x="1337" y="88"/>
                </a:lnTo>
                <a:lnTo>
                  <a:pt x="1337" y="91"/>
                </a:lnTo>
                <a:lnTo>
                  <a:pt x="1337" y="91"/>
                </a:lnTo>
                <a:lnTo>
                  <a:pt x="1337" y="94"/>
                </a:lnTo>
                <a:lnTo>
                  <a:pt x="1335" y="91"/>
                </a:lnTo>
                <a:lnTo>
                  <a:pt x="1335" y="94"/>
                </a:lnTo>
                <a:lnTo>
                  <a:pt x="1335" y="96"/>
                </a:lnTo>
                <a:lnTo>
                  <a:pt x="1335" y="96"/>
                </a:lnTo>
                <a:lnTo>
                  <a:pt x="1335" y="96"/>
                </a:lnTo>
                <a:lnTo>
                  <a:pt x="1335" y="96"/>
                </a:lnTo>
                <a:lnTo>
                  <a:pt x="1332" y="88"/>
                </a:lnTo>
                <a:lnTo>
                  <a:pt x="1329" y="86"/>
                </a:lnTo>
                <a:lnTo>
                  <a:pt x="1329" y="88"/>
                </a:lnTo>
                <a:lnTo>
                  <a:pt x="1327" y="91"/>
                </a:lnTo>
                <a:lnTo>
                  <a:pt x="1327" y="91"/>
                </a:lnTo>
                <a:lnTo>
                  <a:pt x="1324" y="94"/>
                </a:lnTo>
                <a:lnTo>
                  <a:pt x="1327" y="91"/>
                </a:lnTo>
                <a:lnTo>
                  <a:pt x="1327" y="91"/>
                </a:lnTo>
                <a:lnTo>
                  <a:pt x="1327" y="83"/>
                </a:lnTo>
                <a:lnTo>
                  <a:pt x="1324" y="83"/>
                </a:lnTo>
                <a:lnTo>
                  <a:pt x="1324" y="83"/>
                </a:lnTo>
                <a:lnTo>
                  <a:pt x="1324" y="83"/>
                </a:lnTo>
                <a:lnTo>
                  <a:pt x="1324" y="88"/>
                </a:lnTo>
                <a:lnTo>
                  <a:pt x="1324" y="88"/>
                </a:lnTo>
                <a:lnTo>
                  <a:pt x="1321" y="88"/>
                </a:lnTo>
                <a:lnTo>
                  <a:pt x="1321" y="91"/>
                </a:lnTo>
                <a:lnTo>
                  <a:pt x="1321" y="91"/>
                </a:lnTo>
                <a:lnTo>
                  <a:pt x="1319" y="88"/>
                </a:lnTo>
                <a:lnTo>
                  <a:pt x="1316" y="91"/>
                </a:lnTo>
                <a:lnTo>
                  <a:pt x="1313" y="94"/>
                </a:lnTo>
                <a:lnTo>
                  <a:pt x="1313" y="94"/>
                </a:lnTo>
                <a:lnTo>
                  <a:pt x="1313" y="96"/>
                </a:lnTo>
                <a:lnTo>
                  <a:pt x="1316" y="96"/>
                </a:lnTo>
                <a:lnTo>
                  <a:pt x="1319" y="96"/>
                </a:lnTo>
                <a:lnTo>
                  <a:pt x="1319" y="96"/>
                </a:lnTo>
                <a:lnTo>
                  <a:pt x="1319" y="99"/>
                </a:lnTo>
                <a:lnTo>
                  <a:pt x="1316" y="99"/>
                </a:lnTo>
                <a:lnTo>
                  <a:pt x="1316" y="99"/>
                </a:lnTo>
                <a:lnTo>
                  <a:pt x="1316" y="102"/>
                </a:lnTo>
                <a:lnTo>
                  <a:pt x="1316" y="102"/>
                </a:lnTo>
                <a:lnTo>
                  <a:pt x="1311" y="99"/>
                </a:lnTo>
                <a:lnTo>
                  <a:pt x="1311" y="102"/>
                </a:lnTo>
                <a:lnTo>
                  <a:pt x="1311" y="102"/>
                </a:lnTo>
                <a:lnTo>
                  <a:pt x="1311" y="105"/>
                </a:lnTo>
                <a:lnTo>
                  <a:pt x="1308" y="105"/>
                </a:lnTo>
                <a:lnTo>
                  <a:pt x="1308" y="105"/>
                </a:lnTo>
                <a:lnTo>
                  <a:pt x="1308" y="105"/>
                </a:lnTo>
                <a:lnTo>
                  <a:pt x="1308" y="105"/>
                </a:lnTo>
                <a:lnTo>
                  <a:pt x="1305" y="105"/>
                </a:lnTo>
                <a:lnTo>
                  <a:pt x="1305" y="105"/>
                </a:lnTo>
                <a:lnTo>
                  <a:pt x="1308" y="107"/>
                </a:lnTo>
                <a:lnTo>
                  <a:pt x="1308" y="107"/>
                </a:lnTo>
                <a:lnTo>
                  <a:pt x="1305" y="107"/>
                </a:lnTo>
                <a:lnTo>
                  <a:pt x="1305" y="107"/>
                </a:lnTo>
                <a:lnTo>
                  <a:pt x="1303" y="107"/>
                </a:lnTo>
                <a:lnTo>
                  <a:pt x="1303" y="107"/>
                </a:lnTo>
                <a:lnTo>
                  <a:pt x="1303" y="110"/>
                </a:lnTo>
                <a:lnTo>
                  <a:pt x="1303" y="110"/>
                </a:lnTo>
                <a:lnTo>
                  <a:pt x="1303" y="110"/>
                </a:lnTo>
                <a:lnTo>
                  <a:pt x="1305" y="110"/>
                </a:lnTo>
                <a:lnTo>
                  <a:pt x="1305" y="113"/>
                </a:lnTo>
                <a:lnTo>
                  <a:pt x="1305" y="113"/>
                </a:lnTo>
                <a:lnTo>
                  <a:pt x="1305" y="113"/>
                </a:lnTo>
                <a:lnTo>
                  <a:pt x="1308" y="113"/>
                </a:lnTo>
                <a:lnTo>
                  <a:pt x="1308" y="113"/>
                </a:lnTo>
                <a:lnTo>
                  <a:pt x="1308" y="118"/>
                </a:lnTo>
                <a:lnTo>
                  <a:pt x="1311" y="121"/>
                </a:lnTo>
                <a:lnTo>
                  <a:pt x="1313" y="121"/>
                </a:lnTo>
                <a:lnTo>
                  <a:pt x="1313" y="121"/>
                </a:lnTo>
                <a:lnTo>
                  <a:pt x="1316" y="121"/>
                </a:lnTo>
                <a:lnTo>
                  <a:pt x="1319" y="121"/>
                </a:lnTo>
                <a:lnTo>
                  <a:pt x="1321" y="123"/>
                </a:lnTo>
                <a:lnTo>
                  <a:pt x="1319" y="126"/>
                </a:lnTo>
                <a:lnTo>
                  <a:pt x="1319" y="126"/>
                </a:lnTo>
                <a:lnTo>
                  <a:pt x="1319" y="126"/>
                </a:lnTo>
                <a:lnTo>
                  <a:pt x="1319" y="129"/>
                </a:lnTo>
                <a:lnTo>
                  <a:pt x="1319" y="129"/>
                </a:lnTo>
                <a:lnTo>
                  <a:pt x="1316" y="129"/>
                </a:lnTo>
                <a:lnTo>
                  <a:pt x="1316" y="126"/>
                </a:lnTo>
                <a:lnTo>
                  <a:pt x="1316" y="126"/>
                </a:lnTo>
                <a:lnTo>
                  <a:pt x="1316" y="126"/>
                </a:lnTo>
                <a:lnTo>
                  <a:pt x="1313" y="126"/>
                </a:lnTo>
                <a:lnTo>
                  <a:pt x="1313" y="126"/>
                </a:lnTo>
                <a:lnTo>
                  <a:pt x="1311" y="126"/>
                </a:lnTo>
                <a:lnTo>
                  <a:pt x="1311" y="126"/>
                </a:lnTo>
                <a:lnTo>
                  <a:pt x="1311" y="129"/>
                </a:lnTo>
                <a:lnTo>
                  <a:pt x="1311" y="129"/>
                </a:lnTo>
                <a:lnTo>
                  <a:pt x="1308" y="129"/>
                </a:lnTo>
                <a:lnTo>
                  <a:pt x="1308" y="129"/>
                </a:lnTo>
                <a:lnTo>
                  <a:pt x="1308" y="131"/>
                </a:lnTo>
                <a:lnTo>
                  <a:pt x="1308" y="131"/>
                </a:lnTo>
                <a:lnTo>
                  <a:pt x="1311" y="131"/>
                </a:lnTo>
                <a:lnTo>
                  <a:pt x="1311" y="131"/>
                </a:lnTo>
                <a:lnTo>
                  <a:pt x="1311" y="131"/>
                </a:lnTo>
                <a:lnTo>
                  <a:pt x="1311" y="131"/>
                </a:lnTo>
                <a:lnTo>
                  <a:pt x="1313" y="131"/>
                </a:lnTo>
                <a:lnTo>
                  <a:pt x="1313" y="131"/>
                </a:lnTo>
                <a:lnTo>
                  <a:pt x="1313" y="131"/>
                </a:lnTo>
                <a:lnTo>
                  <a:pt x="1316" y="134"/>
                </a:lnTo>
                <a:lnTo>
                  <a:pt x="1316" y="131"/>
                </a:lnTo>
                <a:lnTo>
                  <a:pt x="1316" y="131"/>
                </a:lnTo>
                <a:lnTo>
                  <a:pt x="1316" y="131"/>
                </a:lnTo>
                <a:lnTo>
                  <a:pt x="1319" y="131"/>
                </a:lnTo>
                <a:lnTo>
                  <a:pt x="1319" y="131"/>
                </a:lnTo>
                <a:lnTo>
                  <a:pt x="1316" y="134"/>
                </a:lnTo>
                <a:lnTo>
                  <a:pt x="1316" y="134"/>
                </a:lnTo>
                <a:lnTo>
                  <a:pt x="1319" y="134"/>
                </a:lnTo>
                <a:lnTo>
                  <a:pt x="1319" y="137"/>
                </a:lnTo>
                <a:lnTo>
                  <a:pt x="1319" y="134"/>
                </a:lnTo>
                <a:lnTo>
                  <a:pt x="1321" y="134"/>
                </a:lnTo>
                <a:lnTo>
                  <a:pt x="1321" y="134"/>
                </a:lnTo>
                <a:lnTo>
                  <a:pt x="1321" y="134"/>
                </a:lnTo>
                <a:lnTo>
                  <a:pt x="1321" y="134"/>
                </a:lnTo>
                <a:lnTo>
                  <a:pt x="1321" y="134"/>
                </a:lnTo>
                <a:lnTo>
                  <a:pt x="1321" y="134"/>
                </a:lnTo>
                <a:lnTo>
                  <a:pt x="1324" y="137"/>
                </a:lnTo>
                <a:lnTo>
                  <a:pt x="1324" y="137"/>
                </a:lnTo>
                <a:lnTo>
                  <a:pt x="1324" y="137"/>
                </a:lnTo>
                <a:lnTo>
                  <a:pt x="1327" y="134"/>
                </a:lnTo>
                <a:lnTo>
                  <a:pt x="1327" y="137"/>
                </a:lnTo>
                <a:lnTo>
                  <a:pt x="1329" y="137"/>
                </a:lnTo>
                <a:lnTo>
                  <a:pt x="1332" y="137"/>
                </a:lnTo>
                <a:lnTo>
                  <a:pt x="1335" y="137"/>
                </a:lnTo>
                <a:lnTo>
                  <a:pt x="1335" y="139"/>
                </a:lnTo>
                <a:lnTo>
                  <a:pt x="1332" y="139"/>
                </a:lnTo>
                <a:lnTo>
                  <a:pt x="1329" y="139"/>
                </a:lnTo>
                <a:lnTo>
                  <a:pt x="1329" y="142"/>
                </a:lnTo>
                <a:lnTo>
                  <a:pt x="1327" y="142"/>
                </a:lnTo>
                <a:lnTo>
                  <a:pt x="1327" y="142"/>
                </a:lnTo>
                <a:lnTo>
                  <a:pt x="1327" y="142"/>
                </a:lnTo>
                <a:lnTo>
                  <a:pt x="1327" y="142"/>
                </a:lnTo>
                <a:lnTo>
                  <a:pt x="1329" y="142"/>
                </a:lnTo>
                <a:lnTo>
                  <a:pt x="1329" y="142"/>
                </a:lnTo>
                <a:lnTo>
                  <a:pt x="1329" y="145"/>
                </a:lnTo>
                <a:lnTo>
                  <a:pt x="1329" y="145"/>
                </a:lnTo>
                <a:lnTo>
                  <a:pt x="1329" y="145"/>
                </a:lnTo>
                <a:lnTo>
                  <a:pt x="1327" y="145"/>
                </a:lnTo>
                <a:lnTo>
                  <a:pt x="1327" y="145"/>
                </a:lnTo>
                <a:lnTo>
                  <a:pt x="1327" y="147"/>
                </a:lnTo>
                <a:lnTo>
                  <a:pt x="1327" y="147"/>
                </a:lnTo>
                <a:lnTo>
                  <a:pt x="1329" y="147"/>
                </a:lnTo>
                <a:lnTo>
                  <a:pt x="1329" y="150"/>
                </a:lnTo>
                <a:lnTo>
                  <a:pt x="1332" y="147"/>
                </a:lnTo>
                <a:lnTo>
                  <a:pt x="1335" y="150"/>
                </a:lnTo>
                <a:lnTo>
                  <a:pt x="1335" y="150"/>
                </a:lnTo>
                <a:lnTo>
                  <a:pt x="1332" y="153"/>
                </a:lnTo>
                <a:lnTo>
                  <a:pt x="1327" y="150"/>
                </a:lnTo>
                <a:lnTo>
                  <a:pt x="1324" y="150"/>
                </a:lnTo>
                <a:lnTo>
                  <a:pt x="1324" y="153"/>
                </a:lnTo>
                <a:lnTo>
                  <a:pt x="1321" y="153"/>
                </a:lnTo>
                <a:lnTo>
                  <a:pt x="1319" y="150"/>
                </a:lnTo>
                <a:lnTo>
                  <a:pt x="1316" y="150"/>
                </a:lnTo>
                <a:lnTo>
                  <a:pt x="1319" y="147"/>
                </a:lnTo>
                <a:lnTo>
                  <a:pt x="1319" y="147"/>
                </a:lnTo>
                <a:lnTo>
                  <a:pt x="1319" y="147"/>
                </a:lnTo>
                <a:lnTo>
                  <a:pt x="1316" y="145"/>
                </a:lnTo>
                <a:lnTo>
                  <a:pt x="1316" y="145"/>
                </a:lnTo>
                <a:lnTo>
                  <a:pt x="1313" y="145"/>
                </a:lnTo>
                <a:lnTo>
                  <a:pt x="1313" y="142"/>
                </a:lnTo>
                <a:lnTo>
                  <a:pt x="1313" y="145"/>
                </a:lnTo>
                <a:lnTo>
                  <a:pt x="1311" y="142"/>
                </a:lnTo>
                <a:lnTo>
                  <a:pt x="1311" y="142"/>
                </a:lnTo>
                <a:lnTo>
                  <a:pt x="1311" y="142"/>
                </a:lnTo>
                <a:lnTo>
                  <a:pt x="1308" y="142"/>
                </a:lnTo>
                <a:lnTo>
                  <a:pt x="1305" y="139"/>
                </a:lnTo>
                <a:lnTo>
                  <a:pt x="1305" y="139"/>
                </a:lnTo>
                <a:lnTo>
                  <a:pt x="1305" y="137"/>
                </a:lnTo>
                <a:lnTo>
                  <a:pt x="1303" y="139"/>
                </a:lnTo>
                <a:lnTo>
                  <a:pt x="1303" y="142"/>
                </a:lnTo>
                <a:lnTo>
                  <a:pt x="1305" y="142"/>
                </a:lnTo>
                <a:lnTo>
                  <a:pt x="1308" y="147"/>
                </a:lnTo>
                <a:lnTo>
                  <a:pt x="1305" y="150"/>
                </a:lnTo>
                <a:lnTo>
                  <a:pt x="1305" y="150"/>
                </a:lnTo>
                <a:lnTo>
                  <a:pt x="1305" y="150"/>
                </a:lnTo>
                <a:lnTo>
                  <a:pt x="1305" y="153"/>
                </a:lnTo>
                <a:lnTo>
                  <a:pt x="1305" y="153"/>
                </a:lnTo>
                <a:lnTo>
                  <a:pt x="1305" y="153"/>
                </a:lnTo>
                <a:lnTo>
                  <a:pt x="1305" y="153"/>
                </a:lnTo>
                <a:lnTo>
                  <a:pt x="1303" y="150"/>
                </a:lnTo>
                <a:lnTo>
                  <a:pt x="1303" y="147"/>
                </a:lnTo>
                <a:lnTo>
                  <a:pt x="1303" y="147"/>
                </a:lnTo>
                <a:lnTo>
                  <a:pt x="1300" y="142"/>
                </a:lnTo>
                <a:lnTo>
                  <a:pt x="1300" y="142"/>
                </a:lnTo>
                <a:lnTo>
                  <a:pt x="1300" y="142"/>
                </a:lnTo>
                <a:lnTo>
                  <a:pt x="1303" y="142"/>
                </a:lnTo>
                <a:lnTo>
                  <a:pt x="1300" y="139"/>
                </a:lnTo>
                <a:lnTo>
                  <a:pt x="1300" y="139"/>
                </a:lnTo>
                <a:lnTo>
                  <a:pt x="1300" y="139"/>
                </a:lnTo>
                <a:lnTo>
                  <a:pt x="1300" y="139"/>
                </a:lnTo>
                <a:lnTo>
                  <a:pt x="1300" y="139"/>
                </a:lnTo>
                <a:lnTo>
                  <a:pt x="1297" y="139"/>
                </a:lnTo>
                <a:lnTo>
                  <a:pt x="1297" y="142"/>
                </a:lnTo>
                <a:lnTo>
                  <a:pt x="1297" y="142"/>
                </a:lnTo>
                <a:lnTo>
                  <a:pt x="1295" y="139"/>
                </a:lnTo>
                <a:lnTo>
                  <a:pt x="1295" y="139"/>
                </a:lnTo>
                <a:lnTo>
                  <a:pt x="1295" y="137"/>
                </a:lnTo>
                <a:lnTo>
                  <a:pt x="1297" y="134"/>
                </a:lnTo>
                <a:lnTo>
                  <a:pt x="1297" y="134"/>
                </a:lnTo>
                <a:lnTo>
                  <a:pt x="1295" y="131"/>
                </a:lnTo>
                <a:lnTo>
                  <a:pt x="1295" y="134"/>
                </a:lnTo>
                <a:lnTo>
                  <a:pt x="1292" y="134"/>
                </a:lnTo>
                <a:lnTo>
                  <a:pt x="1292" y="134"/>
                </a:lnTo>
                <a:lnTo>
                  <a:pt x="1289" y="134"/>
                </a:lnTo>
                <a:lnTo>
                  <a:pt x="1289" y="134"/>
                </a:lnTo>
                <a:lnTo>
                  <a:pt x="1289" y="134"/>
                </a:lnTo>
                <a:lnTo>
                  <a:pt x="1289" y="134"/>
                </a:lnTo>
                <a:lnTo>
                  <a:pt x="1289" y="137"/>
                </a:lnTo>
                <a:lnTo>
                  <a:pt x="1289" y="139"/>
                </a:lnTo>
                <a:lnTo>
                  <a:pt x="1289" y="139"/>
                </a:lnTo>
                <a:lnTo>
                  <a:pt x="1292" y="139"/>
                </a:lnTo>
                <a:lnTo>
                  <a:pt x="1292" y="142"/>
                </a:lnTo>
                <a:lnTo>
                  <a:pt x="1292" y="145"/>
                </a:lnTo>
                <a:lnTo>
                  <a:pt x="1289" y="147"/>
                </a:lnTo>
                <a:lnTo>
                  <a:pt x="1289" y="145"/>
                </a:lnTo>
                <a:lnTo>
                  <a:pt x="1287" y="147"/>
                </a:lnTo>
                <a:lnTo>
                  <a:pt x="1284" y="150"/>
                </a:lnTo>
                <a:lnTo>
                  <a:pt x="1284" y="147"/>
                </a:lnTo>
                <a:lnTo>
                  <a:pt x="1284" y="147"/>
                </a:lnTo>
                <a:lnTo>
                  <a:pt x="1281" y="147"/>
                </a:lnTo>
                <a:lnTo>
                  <a:pt x="1279" y="147"/>
                </a:lnTo>
                <a:lnTo>
                  <a:pt x="1279" y="147"/>
                </a:lnTo>
                <a:lnTo>
                  <a:pt x="1276" y="147"/>
                </a:lnTo>
                <a:lnTo>
                  <a:pt x="1276" y="147"/>
                </a:lnTo>
                <a:lnTo>
                  <a:pt x="1273" y="147"/>
                </a:lnTo>
                <a:lnTo>
                  <a:pt x="1273" y="147"/>
                </a:lnTo>
                <a:lnTo>
                  <a:pt x="1273" y="147"/>
                </a:lnTo>
                <a:lnTo>
                  <a:pt x="1273" y="150"/>
                </a:lnTo>
                <a:lnTo>
                  <a:pt x="1273" y="150"/>
                </a:lnTo>
                <a:lnTo>
                  <a:pt x="1270" y="150"/>
                </a:lnTo>
                <a:lnTo>
                  <a:pt x="1270" y="150"/>
                </a:lnTo>
                <a:lnTo>
                  <a:pt x="1270" y="153"/>
                </a:lnTo>
                <a:lnTo>
                  <a:pt x="1270" y="153"/>
                </a:lnTo>
                <a:lnTo>
                  <a:pt x="1273" y="153"/>
                </a:lnTo>
                <a:lnTo>
                  <a:pt x="1273" y="153"/>
                </a:lnTo>
                <a:lnTo>
                  <a:pt x="1273" y="156"/>
                </a:lnTo>
                <a:lnTo>
                  <a:pt x="1273" y="156"/>
                </a:lnTo>
                <a:lnTo>
                  <a:pt x="1273" y="156"/>
                </a:lnTo>
                <a:lnTo>
                  <a:pt x="1273" y="158"/>
                </a:lnTo>
                <a:lnTo>
                  <a:pt x="1273" y="158"/>
                </a:lnTo>
                <a:lnTo>
                  <a:pt x="1273" y="161"/>
                </a:lnTo>
                <a:lnTo>
                  <a:pt x="1273" y="161"/>
                </a:lnTo>
                <a:lnTo>
                  <a:pt x="1273" y="158"/>
                </a:lnTo>
                <a:lnTo>
                  <a:pt x="1276" y="161"/>
                </a:lnTo>
                <a:lnTo>
                  <a:pt x="1273" y="161"/>
                </a:lnTo>
                <a:lnTo>
                  <a:pt x="1273" y="161"/>
                </a:lnTo>
                <a:lnTo>
                  <a:pt x="1273" y="164"/>
                </a:lnTo>
                <a:lnTo>
                  <a:pt x="1276" y="161"/>
                </a:lnTo>
                <a:lnTo>
                  <a:pt x="1281" y="158"/>
                </a:lnTo>
                <a:lnTo>
                  <a:pt x="1284" y="156"/>
                </a:lnTo>
                <a:lnTo>
                  <a:pt x="1284" y="156"/>
                </a:lnTo>
                <a:lnTo>
                  <a:pt x="1284" y="156"/>
                </a:lnTo>
                <a:lnTo>
                  <a:pt x="1284" y="153"/>
                </a:lnTo>
                <a:lnTo>
                  <a:pt x="1287" y="153"/>
                </a:lnTo>
                <a:lnTo>
                  <a:pt x="1287" y="156"/>
                </a:lnTo>
                <a:lnTo>
                  <a:pt x="1287" y="156"/>
                </a:lnTo>
                <a:lnTo>
                  <a:pt x="1287" y="156"/>
                </a:lnTo>
                <a:lnTo>
                  <a:pt x="1289" y="156"/>
                </a:lnTo>
                <a:lnTo>
                  <a:pt x="1289" y="156"/>
                </a:lnTo>
                <a:lnTo>
                  <a:pt x="1289" y="153"/>
                </a:lnTo>
                <a:lnTo>
                  <a:pt x="1289" y="153"/>
                </a:lnTo>
                <a:lnTo>
                  <a:pt x="1292" y="153"/>
                </a:lnTo>
                <a:lnTo>
                  <a:pt x="1295" y="153"/>
                </a:lnTo>
                <a:lnTo>
                  <a:pt x="1292" y="158"/>
                </a:lnTo>
                <a:lnTo>
                  <a:pt x="1289" y="161"/>
                </a:lnTo>
                <a:lnTo>
                  <a:pt x="1287" y="158"/>
                </a:lnTo>
                <a:lnTo>
                  <a:pt x="1287" y="158"/>
                </a:lnTo>
                <a:lnTo>
                  <a:pt x="1284" y="158"/>
                </a:lnTo>
                <a:lnTo>
                  <a:pt x="1284" y="158"/>
                </a:lnTo>
                <a:lnTo>
                  <a:pt x="1281" y="158"/>
                </a:lnTo>
                <a:lnTo>
                  <a:pt x="1281" y="161"/>
                </a:lnTo>
                <a:lnTo>
                  <a:pt x="1281" y="161"/>
                </a:lnTo>
                <a:lnTo>
                  <a:pt x="1279" y="161"/>
                </a:lnTo>
                <a:lnTo>
                  <a:pt x="1281" y="164"/>
                </a:lnTo>
                <a:lnTo>
                  <a:pt x="1279" y="164"/>
                </a:lnTo>
                <a:lnTo>
                  <a:pt x="1279" y="164"/>
                </a:lnTo>
                <a:lnTo>
                  <a:pt x="1276" y="164"/>
                </a:lnTo>
                <a:lnTo>
                  <a:pt x="1276" y="166"/>
                </a:lnTo>
                <a:lnTo>
                  <a:pt x="1276" y="166"/>
                </a:lnTo>
                <a:lnTo>
                  <a:pt x="1276" y="166"/>
                </a:lnTo>
                <a:lnTo>
                  <a:pt x="1276" y="169"/>
                </a:lnTo>
                <a:lnTo>
                  <a:pt x="1276" y="169"/>
                </a:lnTo>
                <a:lnTo>
                  <a:pt x="1276" y="169"/>
                </a:lnTo>
                <a:lnTo>
                  <a:pt x="1276" y="169"/>
                </a:lnTo>
                <a:lnTo>
                  <a:pt x="1279" y="172"/>
                </a:lnTo>
                <a:lnTo>
                  <a:pt x="1279" y="172"/>
                </a:lnTo>
                <a:lnTo>
                  <a:pt x="1279" y="172"/>
                </a:lnTo>
                <a:lnTo>
                  <a:pt x="1281" y="172"/>
                </a:lnTo>
                <a:lnTo>
                  <a:pt x="1284" y="172"/>
                </a:lnTo>
                <a:lnTo>
                  <a:pt x="1287" y="169"/>
                </a:lnTo>
                <a:lnTo>
                  <a:pt x="1292" y="166"/>
                </a:lnTo>
                <a:lnTo>
                  <a:pt x="1292" y="166"/>
                </a:lnTo>
                <a:lnTo>
                  <a:pt x="1295" y="166"/>
                </a:lnTo>
                <a:lnTo>
                  <a:pt x="1295" y="169"/>
                </a:lnTo>
                <a:lnTo>
                  <a:pt x="1297" y="169"/>
                </a:lnTo>
                <a:lnTo>
                  <a:pt x="1297" y="166"/>
                </a:lnTo>
                <a:lnTo>
                  <a:pt x="1300" y="169"/>
                </a:lnTo>
                <a:lnTo>
                  <a:pt x="1300" y="169"/>
                </a:lnTo>
                <a:lnTo>
                  <a:pt x="1303" y="169"/>
                </a:lnTo>
                <a:lnTo>
                  <a:pt x="1303" y="169"/>
                </a:lnTo>
                <a:lnTo>
                  <a:pt x="1303" y="169"/>
                </a:lnTo>
                <a:lnTo>
                  <a:pt x="1303" y="172"/>
                </a:lnTo>
                <a:lnTo>
                  <a:pt x="1300" y="172"/>
                </a:lnTo>
                <a:lnTo>
                  <a:pt x="1297" y="172"/>
                </a:lnTo>
                <a:lnTo>
                  <a:pt x="1297" y="174"/>
                </a:lnTo>
                <a:lnTo>
                  <a:pt x="1295" y="180"/>
                </a:lnTo>
                <a:lnTo>
                  <a:pt x="1295" y="180"/>
                </a:lnTo>
                <a:lnTo>
                  <a:pt x="1300" y="185"/>
                </a:lnTo>
                <a:lnTo>
                  <a:pt x="1303" y="185"/>
                </a:lnTo>
                <a:lnTo>
                  <a:pt x="1305" y="190"/>
                </a:lnTo>
                <a:lnTo>
                  <a:pt x="1308" y="190"/>
                </a:lnTo>
                <a:lnTo>
                  <a:pt x="1305" y="190"/>
                </a:lnTo>
                <a:lnTo>
                  <a:pt x="1297" y="185"/>
                </a:lnTo>
                <a:lnTo>
                  <a:pt x="1295" y="185"/>
                </a:lnTo>
                <a:lnTo>
                  <a:pt x="1295" y="185"/>
                </a:lnTo>
                <a:lnTo>
                  <a:pt x="1295" y="188"/>
                </a:lnTo>
                <a:lnTo>
                  <a:pt x="1292" y="190"/>
                </a:lnTo>
                <a:lnTo>
                  <a:pt x="1292" y="188"/>
                </a:lnTo>
                <a:lnTo>
                  <a:pt x="1289" y="188"/>
                </a:lnTo>
                <a:lnTo>
                  <a:pt x="1292" y="188"/>
                </a:lnTo>
                <a:lnTo>
                  <a:pt x="1292" y="185"/>
                </a:lnTo>
                <a:lnTo>
                  <a:pt x="1289" y="185"/>
                </a:lnTo>
                <a:lnTo>
                  <a:pt x="1289" y="185"/>
                </a:lnTo>
                <a:lnTo>
                  <a:pt x="1289" y="188"/>
                </a:lnTo>
                <a:lnTo>
                  <a:pt x="1287" y="188"/>
                </a:lnTo>
                <a:lnTo>
                  <a:pt x="1287" y="188"/>
                </a:lnTo>
                <a:lnTo>
                  <a:pt x="1287" y="185"/>
                </a:lnTo>
                <a:lnTo>
                  <a:pt x="1287" y="182"/>
                </a:lnTo>
                <a:lnTo>
                  <a:pt x="1287" y="182"/>
                </a:lnTo>
                <a:lnTo>
                  <a:pt x="1287" y="180"/>
                </a:lnTo>
                <a:lnTo>
                  <a:pt x="1287" y="180"/>
                </a:lnTo>
                <a:lnTo>
                  <a:pt x="1287" y="180"/>
                </a:lnTo>
                <a:lnTo>
                  <a:pt x="1284" y="180"/>
                </a:lnTo>
                <a:lnTo>
                  <a:pt x="1284" y="180"/>
                </a:lnTo>
                <a:lnTo>
                  <a:pt x="1284" y="177"/>
                </a:lnTo>
                <a:lnTo>
                  <a:pt x="1281" y="177"/>
                </a:lnTo>
                <a:lnTo>
                  <a:pt x="1279" y="174"/>
                </a:lnTo>
                <a:lnTo>
                  <a:pt x="1279" y="174"/>
                </a:lnTo>
                <a:lnTo>
                  <a:pt x="1276" y="174"/>
                </a:lnTo>
                <a:lnTo>
                  <a:pt x="1273" y="174"/>
                </a:lnTo>
                <a:lnTo>
                  <a:pt x="1270" y="174"/>
                </a:lnTo>
                <a:lnTo>
                  <a:pt x="1268" y="174"/>
                </a:lnTo>
                <a:lnTo>
                  <a:pt x="1270" y="172"/>
                </a:lnTo>
                <a:lnTo>
                  <a:pt x="1270" y="172"/>
                </a:lnTo>
                <a:lnTo>
                  <a:pt x="1270" y="169"/>
                </a:lnTo>
                <a:lnTo>
                  <a:pt x="1270" y="169"/>
                </a:lnTo>
                <a:lnTo>
                  <a:pt x="1268" y="169"/>
                </a:lnTo>
                <a:lnTo>
                  <a:pt x="1268" y="166"/>
                </a:lnTo>
                <a:lnTo>
                  <a:pt x="1265" y="166"/>
                </a:lnTo>
                <a:lnTo>
                  <a:pt x="1265" y="169"/>
                </a:lnTo>
                <a:lnTo>
                  <a:pt x="1260" y="172"/>
                </a:lnTo>
                <a:lnTo>
                  <a:pt x="1260" y="172"/>
                </a:lnTo>
                <a:lnTo>
                  <a:pt x="1262" y="169"/>
                </a:lnTo>
                <a:lnTo>
                  <a:pt x="1262" y="166"/>
                </a:lnTo>
                <a:lnTo>
                  <a:pt x="1262" y="166"/>
                </a:lnTo>
                <a:lnTo>
                  <a:pt x="1257" y="166"/>
                </a:lnTo>
                <a:lnTo>
                  <a:pt x="1257" y="166"/>
                </a:lnTo>
                <a:lnTo>
                  <a:pt x="1257" y="164"/>
                </a:lnTo>
                <a:lnTo>
                  <a:pt x="1257" y="164"/>
                </a:lnTo>
                <a:lnTo>
                  <a:pt x="1257" y="164"/>
                </a:lnTo>
                <a:lnTo>
                  <a:pt x="1257" y="164"/>
                </a:lnTo>
                <a:lnTo>
                  <a:pt x="1254" y="164"/>
                </a:lnTo>
                <a:lnTo>
                  <a:pt x="1254" y="164"/>
                </a:lnTo>
                <a:lnTo>
                  <a:pt x="1254" y="164"/>
                </a:lnTo>
                <a:lnTo>
                  <a:pt x="1254" y="164"/>
                </a:lnTo>
                <a:lnTo>
                  <a:pt x="1254" y="164"/>
                </a:lnTo>
                <a:lnTo>
                  <a:pt x="1252" y="164"/>
                </a:lnTo>
                <a:lnTo>
                  <a:pt x="1252" y="166"/>
                </a:lnTo>
                <a:lnTo>
                  <a:pt x="1252" y="166"/>
                </a:lnTo>
                <a:lnTo>
                  <a:pt x="1252" y="166"/>
                </a:lnTo>
                <a:lnTo>
                  <a:pt x="1252" y="166"/>
                </a:lnTo>
                <a:lnTo>
                  <a:pt x="1254" y="166"/>
                </a:lnTo>
                <a:lnTo>
                  <a:pt x="1254" y="169"/>
                </a:lnTo>
                <a:lnTo>
                  <a:pt x="1254" y="169"/>
                </a:lnTo>
                <a:lnTo>
                  <a:pt x="1254" y="169"/>
                </a:lnTo>
                <a:lnTo>
                  <a:pt x="1254" y="169"/>
                </a:lnTo>
                <a:lnTo>
                  <a:pt x="1252" y="172"/>
                </a:lnTo>
                <a:lnTo>
                  <a:pt x="1252" y="172"/>
                </a:lnTo>
                <a:lnTo>
                  <a:pt x="1252" y="174"/>
                </a:lnTo>
                <a:lnTo>
                  <a:pt x="1254" y="174"/>
                </a:lnTo>
                <a:lnTo>
                  <a:pt x="1257" y="172"/>
                </a:lnTo>
                <a:lnTo>
                  <a:pt x="1257" y="172"/>
                </a:lnTo>
                <a:lnTo>
                  <a:pt x="1260" y="174"/>
                </a:lnTo>
                <a:lnTo>
                  <a:pt x="1260" y="174"/>
                </a:lnTo>
                <a:lnTo>
                  <a:pt x="1260" y="174"/>
                </a:lnTo>
                <a:lnTo>
                  <a:pt x="1254" y="177"/>
                </a:lnTo>
                <a:lnTo>
                  <a:pt x="1254" y="177"/>
                </a:lnTo>
                <a:lnTo>
                  <a:pt x="1252" y="180"/>
                </a:lnTo>
                <a:lnTo>
                  <a:pt x="1252" y="182"/>
                </a:lnTo>
                <a:lnTo>
                  <a:pt x="1254" y="185"/>
                </a:lnTo>
                <a:lnTo>
                  <a:pt x="1254" y="188"/>
                </a:lnTo>
                <a:lnTo>
                  <a:pt x="1252" y="188"/>
                </a:lnTo>
                <a:lnTo>
                  <a:pt x="1252" y="185"/>
                </a:lnTo>
                <a:lnTo>
                  <a:pt x="1249" y="185"/>
                </a:lnTo>
                <a:lnTo>
                  <a:pt x="1249" y="182"/>
                </a:lnTo>
                <a:lnTo>
                  <a:pt x="1252" y="182"/>
                </a:lnTo>
                <a:lnTo>
                  <a:pt x="1249" y="180"/>
                </a:lnTo>
                <a:lnTo>
                  <a:pt x="1249" y="180"/>
                </a:lnTo>
                <a:lnTo>
                  <a:pt x="1249" y="180"/>
                </a:lnTo>
                <a:lnTo>
                  <a:pt x="1249" y="182"/>
                </a:lnTo>
                <a:lnTo>
                  <a:pt x="1249" y="182"/>
                </a:lnTo>
                <a:lnTo>
                  <a:pt x="1249" y="190"/>
                </a:lnTo>
                <a:lnTo>
                  <a:pt x="1246" y="190"/>
                </a:lnTo>
                <a:lnTo>
                  <a:pt x="1246" y="190"/>
                </a:lnTo>
                <a:lnTo>
                  <a:pt x="1244" y="190"/>
                </a:lnTo>
                <a:lnTo>
                  <a:pt x="1241" y="190"/>
                </a:lnTo>
                <a:lnTo>
                  <a:pt x="1238" y="188"/>
                </a:lnTo>
                <a:lnTo>
                  <a:pt x="1236" y="185"/>
                </a:lnTo>
                <a:lnTo>
                  <a:pt x="1233" y="185"/>
                </a:lnTo>
                <a:lnTo>
                  <a:pt x="1230" y="188"/>
                </a:lnTo>
                <a:lnTo>
                  <a:pt x="1230" y="190"/>
                </a:lnTo>
                <a:lnTo>
                  <a:pt x="1230" y="193"/>
                </a:lnTo>
                <a:lnTo>
                  <a:pt x="1228" y="193"/>
                </a:lnTo>
                <a:lnTo>
                  <a:pt x="1228" y="193"/>
                </a:lnTo>
                <a:lnTo>
                  <a:pt x="1225" y="193"/>
                </a:lnTo>
                <a:lnTo>
                  <a:pt x="1225" y="193"/>
                </a:lnTo>
                <a:lnTo>
                  <a:pt x="1222" y="190"/>
                </a:lnTo>
                <a:lnTo>
                  <a:pt x="1222" y="193"/>
                </a:lnTo>
                <a:lnTo>
                  <a:pt x="1225" y="193"/>
                </a:lnTo>
                <a:lnTo>
                  <a:pt x="1225" y="196"/>
                </a:lnTo>
                <a:lnTo>
                  <a:pt x="1225" y="201"/>
                </a:lnTo>
                <a:lnTo>
                  <a:pt x="1225" y="201"/>
                </a:lnTo>
                <a:lnTo>
                  <a:pt x="1228" y="201"/>
                </a:lnTo>
                <a:lnTo>
                  <a:pt x="1228" y="204"/>
                </a:lnTo>
                <a:lnTo>
                  <a:pt x="1225" y="206"/>
                </a:lnTo>
                <a:lnTo>
                  <a:pt x="1225" y="204"/>
                </a:lnTo>
                <a:lnTo>
                  <a:pt x="1225" y="204"/>
                </a:lnTo>
                <a:lnTo>
                  <a:pt x="1225" y="206"/>
                </a:lnTo>
                <a:lnTo>
                  <a:pt x="1222" y="206"/>
                </a:lnTo>
                <a:lnTo>
                  <a:pt x="1225" y="209"/>
                </a:lnTo>
                <a:lnTo>
                  <a:pt x="1222" y="209"/>
                </a:lnTo>
                <a:lnTo>
                  <a:pt x="1222" y="206"/>
                </a:lnTo>
                <a:lnTo>
                  <a:pt x="1222" y="206"/>
                </a:lnTo>
                <a:lnTo>
                  <a:pt x="1222" y="206"/>
                </a:lnTo>
                <a:lnTo>
                  <a:pt x="1222" y="209"/>
                </a:lnTo>
                <a:lnTo>
                  <a:pt x="1222" y="209"/>
                </a:lnTo>
                <a:lnTo>
                  <a:pt x="1222" y="212"/>
                </a:lnTo>
                <a:lnTo>
                  <a:pt x="1222" y="215"/>
                </a:lnTo>
                <a:lnTo>
                  <a:pt x="1222" y="215"/>
                </a:lnTo>
                <a:lnTo>
                  <a:pt x="1222" y="217"/>
                </a:lnTo>
                <a:lnTo>
                  <a:pt x="1222" y="220"/>
                </a:lnTo>
                <a:lnTo>
                  <a:pt x="1225" y="223"/>
                </a:lnTo>
                <a:lnTo>
                  <a:pt x="1225" y="228"/>
                </a:lnTo>
                <a:lnTo>
                  <a:pt x="1225" y="228"/>
                </a:lnTo>
                <a:lnTo>
                  <a:pt x="1225" y="228"/>
                </a:lnTo>
                <a:lnTo>
                  <a:pt x="1228" y="228"/>
                </a:lnTo>
                <a:lnTo>
                  <a:pt x="1228" y="228"/>
                </a:lnTo>
                <a:lnTo>
                  <a:pt x="1228" y="225"/>
                </a:lnTo>
                <a:lnTo>
                  <a:pt x="1228" y="225"/>
                </a:lnTo>
                <a:lnTo>
                  <a:pt x="1228" y="225"/>
                </a:lnTo>
                <a:lnTo>
                  <a:pt x="1230" y="225"/>
                </a:lnTo>
                <a:lnTo>
                  <a:pt x="1230" y="231"/>
                </a:lnTo>
                <a:lnTo>
                  <a:pt x="1233" y="236"/>
                </a:lnTo>
                <a:lnTo>
                  <a:pt x="1233" y="236"/>
                </a:lnTo>
                <a:lnTo>
                  <a:pt x="1233" y="236"/>
                </a:lnTo>
                <a:lnTo>
                  <a:pt x="1233" y="239"/>
                </a:lnTo>
                <a:lnTo>
                  <a:pt x="1233" y="239"/>
                </a:lnTo>
                <a:lnTo>
                  <a:pt x="1233" y="239"/>
                </a:lnTo>
                <a:lnTo>
                  <a:pt x="1233" y="241"/>
                </a:lnTo>
                <a:lnTo>
                  <a:pt x="1233" y="241"/>
                </a:lnTo>
                <a:lnTo>
                  <a:pt x="1236" y="239"/>
                </a:lnTo>
                <a:lnTo>
                  <a:pt x="1241" y="231"/>
                </a:lnTo>
                <a:lnTo>
                  <a:pt x="1244" y="225"/>
                </a:lnTo>
                <a:lnTo>
                  <a:pt x="1246" y="223"/>
                </a:lnTo>
                <a:lnTo>
                  <a:pt x="1246" y="220"/>
                </a:lnTo>
                <a:lnTo>
                  <a:pt x="1249" y="220"/>
                </a:lnTo>
                <a:lnTo>
                  <a:pt x="1254" y="220"/>
                </a:lnTo>
                <a:lnTo>
                  <a:pt x="1254" y="220"/>
                </a:lnTo>
                <a:lnTo>
                  <a:pt x="1260" y="223"/>
                </a:lnTo>
                <a:lnTo>
                  <a:pt x="1257" y="223"/>
                </a:lnTo>
                <a:lnTo>
                  <a:pt x="1257" y="225"/>
                </a:lnTo>
                <a:lnTo>
                  <a:pt x="1254" y="228"/>
                </a:lnTo>
                <a:lnTo>
                  <a:pt x="1254" y="231"/>
                </a:lnTo>
                <a:lnTo>
                  <a:pt x="1254" y="231"/>
                </a:lnTo>
                <a:lnTo>
                  <a:pt x="1252" y="228"/>
                </a:lnTo>
                <a:lnTo>
                  <a:pt x="1249" y="228"/>
                </a:lnTo>
                <a:lnTo>
                  <a:pt x="1246" y="231"/>
                </a:lnTo>
                <a:lnTo>
                  <a:pt x="1246" y="231"/>
                </a:lnTo>
                <a:lnTo>
                  <a:pt x="1246" y="236"/>
                </a:lnTo>
                <a:lnTo>
                  <a:pt x="1246" y="239"/>
                </a:lnTo>
                <a:lnTo>
                  <a:pt x="1246" y="241"/>
                </a:lnTo>
                <a:lnTo>
                  <a:pt x="1244" y="241"/>
                </a:lnTo>
                <a:lnTo>
                  <a:pt x="1244" y="241"/>
                </a:lnTo>
                <a:lnTo>
                  <a:pt x="1244" y="244"/>
                </a:lnTo>
                <a:lnTo>
                  <a:pt x="1244" y="252"/>
                </a:lnTo>
                <a:lnTo>
                  <a:pt x="1244" y="255"/>
                </a:lnTo>
                <a:lnTo>
                  <a:pt x="1241" y="255"/>
                </a:lnTo>
                <a:lnTo>
                  <a:pt x="1238" y="257"/>
                </a:lnTo>
                <a:lnTo>
                  <a:pt x="1238" y="260"/>
                </a:lnTo>
                <a:lnTo>
                  <a:pt x="1236" y="260"/>
                </a:lnTo>
                <a:lnTo>
                  <a:pt x="1236" y="260"/>
                </a:lnTo>
                <a:lnTo>
                  <a:pt x="1236" y="257"/>
                </a:lnTo>
                <a:lnTo>
                  <a:pt x="1233" y="255"/>
                </a:lnTo>
                <a:lnTo>
                  <a:pt x="1233" y="255"/>
                </a:lnTo>
                <a:lnTo>
                  <a:pt x="1230" y="255"/>
                </a:lnTo>
                <a:lnTo>
                  <a:pt x="1233" y="252"/>
                </a:lnTo>
                <a:lnTo>
                  <a:pt x="1233" y="249"/>
                </a:lnTo>
                <a:lnTo>
                  <a:pt x="1230" y="249"/>
                </a:lnTo>
                <a:lnTo>
                  <a:pt x="1230" y="249"/>
                </a:lnTo>
                <a:lnTo>
                  <a:pt x="1228" y="249"/>
                </a:lnTo>
                <a:lnTo>
                  <a:pt x="1228" y="249"/>
                </a:lnTo>
                <a:lnTo>
                  <a:pt x="1228" y="249"/>
                </a:lnTo>
                <a:lnTo>
                  <a:pt x="1228" y="257"/>
                </a:lnTo>
                <a:lnTo>
                  <a:pt x="1228" y="260"/>
                </a:lnTo>
                <a:lnTo>
                  <a:pt x="1225" y="260"/>
                </a:lnTo>
                <a:lnTo>
                  <a:pt x="1222" y="260"/>
                </a:lnTo>
                <a:lnTo>
                  <a:pt x="1222" y="260"/>
                </a:lnTo>
                <a:lnTo>
                  <a:pt x="1222" y="263"/>
                </a:lnTo>
                <a:lnTo>
                  <a:pt x="1222" y="263"/>
                </a:lnTo>
                <a:lnTo>
                  <a:pt x="1222" y="265"/>
                </a:lnTo>
                <a:lnTo>
                  <a:pt x="1222" y="265"/>
                </a:lnTo>
                <a:lnTo>
                  <a:pt x="1222" y="268"/>
                </a:lnTo>
                <a:lnTo>
                  <a:pt x="1225" y="268"/>
                </a:lnTo>
                <a:lnTo>
                  <a:pt x="1222" y="268"/>
                </a:lnTo>
                <a:lnTo>
                  <a:pt x="1222" y="271"/>
                </a:lnTo>
                <a:lnTo>
                  <a:pt x="1222" y="274"/>
                </a:lnTo>
                <a:lnTo>
                  <a:pt x="1222" y="274"/>
                </a:lnTo>
                <a:lnTo>
                  <a:pt x="1222" y="274"/>
                </a:lnTo>
                <a:lnTo>
                  <a:pt x="1222" y="274"/>
                </a:lnTo>
                <a:lnTo>
                  <a:pt x="1225" y="279"/>
                </a:lnTo>
                <a:lnTo>
                  <a:pt x="1225" y="279"/>
                </a:lnTo>
                <a:lnTo>
                  <a:pt x="1228" y="279"/>
                </a:lnTo>
                <a:lnTo>
                  <a:pt x="1228" y="279"/>
                </a:lnTo>
                <a:lnTo>
                  <a:pt x="1230" y="279"/>
                </a:lnTo>
                <a:lnTo>
                  <a:pt x="1230" y="279"/>
                </a:lnTo>
                <a:lnTo>
                  <a:pt x="1230" y="279"/>
                </a:lnTo>
                <a:lnTo>
                  <a:pt x="1233" y="279"/>
                </a:lnTo>
                <a:lnTo>
                  <a:pt x="1233" y="279"/>
                </a:lnTo>
                <a:lnTo>
                  <a:pt x="1236" y="279"/>
                </a:lnTo>
                <a:lnTo>
                  <a:pt x="1244" y="276"/>
                </a:lnTo>
                <a:lnTo>
                  <a:pt x="1244" y="276"/>
                </a:lnTo>
                <a:lnTo>
                  <a:pt x="1254" y="279"/>
                </a:lnTo>
                <a:lnTo>
                  <a:pt x="1262" y="282"/>
                </a:lnTo>
                <a:lnTo>
                  <a:pt x="1265" y="284"/>
                </a:lnTo>
                <a:lnTo>
                  <a:pt x="1268" y="284"/>
                </a:lnTo>
                <a:lnTo>
                  <a:pt x="1270" y="284"/>
                </a:lnTo>
                <a:lnTo>
                  <a:pt x="1270" y="287"/>
                </a:lnTo>
                <a:lnTo>
                  <a:pt x="1276" y="284"/>
                </a:lnTo>
                <a:lnTo>
                  <a:pt x="1279" y="284"/>
                </a:lnTo>
                <a:lnTo>
                  <a:pt x="1276" y="287"/>
                </a:lnTo>
                <a:lnTo>
                  <a:pt x="1270" y="287"/>
                </a:lnTo>
                <a:lnTo>
                  <a:pt x="1268" y="287"/>
                </a:lnTo>
                <a:lnTo>
                  <a:pt x="1265" y="284"/>
                </a:lnTo>
                <a:lnTo>
                  <a:pt x="1262" y="284"/>
                </a:lnTo>
                <a:lnTo>
                  <a:pt x="1260" y="284"/>
                </a:lnTo>
                <a:lnTo>
                  <a:pt x="1254" y="284"/>
                </a:lnTo>
                <a:lnTo>
                  <a:pt x="1252" y="284"/>
                </a:lnTo>
                <a:lnTo>
                  <a:pt x="1252" y="284"/>
                </a:lnTo>
                <a:lnTo>
                  <a:pt x="1249" y="284"/>
                </a:lnTo>
                <a:lnTo>
                  <a:pt x="1244" y="284"/>
                </a:lnTo>
                <a:lnTo>
                  <a:pt x="1233" y="284"/>
                </a:lnTo>
                <a:lnTo>
                  <a:pt x="1230" y="284"/>
                </a:lnTo>
                <a:lnTo>
                  <a:pt x="1228" y="282"/>
                </a:lnTo>
                <a:lnTo>
                  <a:pt x="1225" y="282"/>
                </a:lnTo>
                <a:lnTo>
                  <a:pt x="1222" y="279"/>
                </a:lnTo>
                <a:lnTo>
                  <a:pt x="1220" y="282"/>
                </a:lnTo>
                <a:lnTo>
                  <a:pt x="1217" y="287"/>
                </a:lnTo>
                <a:lnTo>
                  <a:pt x="1217" y="287"/>
                </a:lnTo>
                <a:lnTo>
                  <a:pt x="1214" y="284"/>
                </a:lnTo>
                <a:lnTo>
                  <a:pt x="1206" y="284"/>
                </a:lnTo>
                <a:lnTo>
                  <a:pt x="1203" y="284"/>
                </a:lnTo>
                <a:lnTo>
                  <a:pt x="1203" y="282"/>
                </a:lnTo>
                <a:lnTo>
                  <a:pt x="1201" y="276"/>
                </a:lnTo>
                <a:lnTo>
                  <a:pt x="1198" y="274"/>
                </a:lnTo>
                <a:lnTo>
                  <a:pt x="1198" y="274"/>
                </a:lnTo>
                <a:lnTo>
                  <a:pt x="1195" y="271"/>
                </a:lnTo>
                <a:lnTo>
                  <a:pt x="1193" y="271"/>
                </a:lnTo>
                <a:lnTo>
                  <a:pt x="1187" y="271"/>
                </a:lnTo>
                <a:lnTo>
                  <a:pt x="1187" y="271"/>
                </a:lnTo>
                <a:lnTo>
                  <a:pt x="1185" y="271"/>
                </a:lnTo>
                <a:lnTo>
                  <a:pt x="1185" y="271"/>
                </a:lnTo>
                <a:lnTo>
                  <a:pt x="1185" y="268"/>
                </a:lnTo>
                <a:lnTo>
                  <a:pt x="1185" y="268"/>
                </a:lnTo>
                <a:lnTo>
                  <a:pt x="1182" y="268"/>
                </a:lnTo>
                <a:lnTo>
                  <a:pt x="1179" y="268"/>
                </a:lnTo>
                <a:lnTo>
                  <a:pt x="1174" y="265"/>
                </a:lnTo>
                <a:lnTo>
                  <a:pt x="1171" y="265"/>
                </a:lnTo>
                <a:lnTo>
                  <a:pt x="1174" y="268"/>
                </a:lnTo>
                <a:lnTo>
                  <a:pt x="1174" y="271"/>
                </a:lnTo>
                <a:lnTo>
                  <a:pt x="1177" y="271"/>
                </a:lnTo>
                <a:lnTo>
                  <a:pt x="1179" y="274"/>
                </a:lnTo>
                <a:lnTo>
                  <a:pt x="1179" y="274"/>
                </a:lnTo>
                <a:lnTo>
                  <a:pt x="1177" y="274"/>
                </a:lnTo>
                <a:lnTo>
                  <a:pt x="1177" y="276"/>
                </a:lnTo>
                <a:lnTo>
                  <a:pt x="1179" y="282"/>
                </a:lnTo>
                <a:lnTo>
                  <a:pt x="1179" y="284"/>
                </a:lnTo>
                <a:lnTo>
                  <a:pt x="1177" y="282"/>
                </a:lnTo>
                <a:lnTo>
                  <a:pt x="1177" y="282"/>
                </a:lnTo>
                <a:lnTo>
                  <a:pt x="1177" y="282"/>
                </a:lnTo>
                <a:lnTo>
                  <a:pt x="1174" y="279"/>
                </a:lnTo>
                <a:lnTo>
                  <a:pt x="1171" y="279"/>
                </a:lnTo>
                <a:lnTo>
                  <a:pt x="1169" y="279"/>
                </a:lnTo>
                <a:lnTo>
                  <a:pt x="1171" y="282"/>
                </a:lnTo>
                <a:lnTo>
                  <a:pt x="1169" y="282"/>
                </a:lnTo>
                <a:lnTo>
                  <a:pt x="1171" y="287"/>
                </a:lnTo>
                <a:lnTo>
                  <a:pt x="1169" y="290"/>
                </a:lnTo>
                <a:lnTo>
                  <a:pt x="1169" y="287"/>
                </a:lnTo>
                <a:lnTo>
                  <a:pt x="1169" y="287"/>
                </a:lnTo>
                <a:lnTo>
                  <a:pt x="1169" y="287"/>
                </a:lnTo>
                <a:lnTo>
                  <a:pt x="1169" y="287"/>
                </a:lnTo>
                <a:lnTo>
                  <a:pt x="1166" y="290"/>
                </a:lnTo>
                <a:lnTo>
                  <a:pt x="1166" y="287"/>
                </a:lnTo>
                <a:lnTo>
                  <a:pt x="1163" y="282"/>
                </a:lnTo>
                <a:lnTo>
                  <a:pt x="1166" y="282"/>
                </a:lnTo>
                <a:lnTo>
                  <a:pt x="1166" y="282"/>
                </a:lnTo>
                <a:lnTo>
                  <a:pt x="1166" y="282"/>
                </a:lnTo>
                <a:lnTo>
                  <a:pt x="1169" y="282"/>
                </a:lnTo>
                <a:lnTo>
                  <a:pt x="1169" y="279"/>
                </a:lnTo>
                <a:lnTo>
                  <a:pt x="1166" y="276"/>
                </a:lnTo>
                <a:lnTo>
                  <a:pt x="1166" y="276"/>
                </a:lnTo>
                <a:lnTo>
                  <a:pt x="1163" y="276"/>
                </a:lnTo>
                <a:lnTo>
                  <a:pt x="1163" y="276"/>
                </a:lnTo>
                <a:lnTo>
                  <a:pt x="1161" y="276"/>
                </a:lnTo>
                <a:lnTo>
                  <a:pt x="1153" y="271"/>
                </a:lnTo>
                <a:lnTo>
                  <a:pt x="1155" y="271"/>
                </a:lnTo>
                <a:lnTo>
                  <a:pt x="1158" y="268"/>
                </a:lnTo>
                <a:lnTo>
                  <a:pt x="1161" y="268"/>
                </a:lnTo>
                <a:lnTo>
                  <a:pt x="1163" y="268"/>
                </a:lnTo>
                <a:lnTo>
                  <a:pt x="1161" y="268"/>
                </a:lnTo>
                <a:lnTo>
                  <a:pt x="1158" y="265"/>
                </a:lnTo>
                <a:lnTo>
                  <a:pt x="1158" y="265"/>
                </a:lnTo>
                <a:lnTo>
                  <a:pt x="1155" y="265"/>
                </a:lnTo>
                <a:lnTo>
                  <a:pt x="1158" y="265"/>
                </a:lnTo>
                <a:lnTo>
                  <a:pt x="1161" y="265"/>
                </a:lnTo>
                <a:lnTo>
                  <a:pt x="1161" y="265"/>
                </a:lnTo>
                <a:lnTo>
                  <a:pt x="1161" y="263"/>
                </a:lnTo>
                <a:lnTo>
                  <a:pt x="1161" y="263"/>
                </a:lnTo>
                <a:lnTo>
                  <a:pt x="1161" y="263"/>
                </a:lnTo>
                <a:lnTo>
                  <a:pt x="1158" y="263"/>
                </a:lnTo>
                <a:lnTo>
                  <a:pt x="1158" y="263"/>
                </a:lnTo>
                <a:lnTo>
                  <a:pt x="1158" y="260"/>
                </a:lnTo>
                <a:lnTo>
                  <a:pt x="1158" y="260"/>
                </a:lnTo>
                <a:lnTo>
                  <a:pt x="1158" y="260"/>
                </a:lnTo>
                <a:lnTo>
                  <a:pt x="1155" y="260"/>
                </a:lnTo>
                <a:lnTo>
                  <a:pt x="1153" y="260"/>
                </a:lnTo>
                <a:lnTo>
                  <a:pt x="1153" y="257"/>
                </a:lnTo>
                <a:lnTo>
                  <a:pt x="1153" y="257"/>
                </a:lnTo>
                <a:lnTo>
                  <a:pt x="1153" y="260"/>
                </a:lnTo>
                <a:lnTo>
                  <a:pt x="1147" y="257"/>
                </a:lnTo>
                <a:lnTo>
                  <a:pt x="1139" y="260"/>
                </a:lnTo>
                <a:lnTo>
                  <a:pt x="1139" y="260"/>
                </a:lnTo>
                <a:lnTo>
                  <a:pt x="1139" y="263"/>
                </a:lnTo>
                <a:lnTo>
                  <a:pt x="1136" y="260"/>
                </a:lnTo>
                <a:lnTo>
                  <a:pt x="1136" y="260"/>
                </a:lnTo>
                <a:lnTo>
                  <a:pt x="1136" y="263"/>
                </a:lnTo>
                <a:lnTo>
                  <a:pt x="1134" y="263"/>
                </a:lnTo>
                <a:lnTo>
                  <a:pt x="1134" y="265"/>
                </a:lnTo>
                <a:lnTo>
                  <a:pt x="1136" y="265"/>
                </a:lnTo>
                <a:lnTo>
                  <a:pt x="1136" y="268"/>
                </a:lnTo>
                <a:lnTo>
                  <a:pt x="1136" y="271"/>
                </a:lnTo>
                <a:lnTo>
                  <a:pt x="1131" y="271"/>
                </a:lnTo>
                <a:lnTo>
                  <a:pt x="1134" y="274"/>
                </a:lnTo>
                <a:lnTo>
                  <a:pt x="1134" y="274"/>
                </a:lnTo>
                <a:lnTo>
                  <a:pt x="1136" y="274"/>
                </a:lnTo>
                <a:lnTo>
                  <a:pt x="1136" y="276"/>
                </a:lnTo>
                <a:lnTo>
                  <a:pt x="1136" y="276"/>
                </a:lnTo>
                <a:lnTo>
                  <a:pt x="1139" y="276"/>
                </a:lnTo>
                <a:lnTo>
                  <a:pt x="1139" y="276"/>
                </a:lnTo>
                <a:lnTo>
                  <a:pt x="1139" y="276"/>
                </a:lnTo>
                <a:lnTo>
                  <a:pt x="1139" y="276"/>
                </a:lnTo>
                <a:lnTo>
                  <a:pt x="1139" y="276"/>
                </a:lnTo>
                <a:lnTo>
                  <a:pt x="1139" y="276"/>
                </a:lnTo>
                <a:lnTo>
                  <a:pt x="1139" y="276"/>
                </a:lnTo>
                <a:lnTo>
                  <a:pt x="1139" y="274"/>
                </a:lnTo>
                <a:lnTo>
                  <a:pt x="1139" y="274"/>
                </a:lnTo>
                <a:lnTo>
                  <a:pt x="1142" y="274"/>
                </a:lnTo>
                <a:lnTo>
                  <a:pt x="1142" y="274"/>
                </a:lnTo>
                <a:lnTo>
                  <a:pt x="1142" y="276"/>
                </a:lnTo>
                <a:lnTo>
                  <a:pt x="1145" y="276"/>
                </a:lnTo>
                <a:lnTo>
                  <a:pt x="1145" y="276"/>
                </a:lnTo>
                <a:lnTo>
                  <a:pt x="1145" y="279"/>
                </a:lnTo>
                <a:lnTo>
                  <a:pt x="1150" y="279"/>
                </a:lnTo>
                <a:lnTo>
                  <a:pt x="1150" y="279"/>
                </a:lnTo>
                <a:lnTo>
                  <a:pt x="1150" y="279"/>
                </a:lnTo>
                <a:lnTo>
                  <a:pt x="1150" y="282"/>
                </a:lnTo>
                <a:lnTo>
                  <a:pt x="1150" y="282"/>
                </a:lnTo>
                <a:lnTo>
                  <a:pt x="1150" y="284"/>
                </a:lnTo>
                <a:lnTo>
                  <a:pt x="1150" y="284"/>
                </a:lnTo>
                <a:lnTo>
                  <a:pt x="1147" y="282"/>
                </a:lnTo>
                <a:lnTo>
                  <a:pt x="1145" y="282"/>
                </a:lnTo>
                <a:lnTo>
                  <a:pt x="1145" y="282"/>
                </a:lnTo>
                <a:lnTo>
                  <a:pt x="1142" y="282"/>
                </a:lnTo>
                <a:lnTo>
                  <a:pt x="1142" y="282"/>
                </a:lnTo>
                <a:lnTo>
                  <a:pt x="1142" y="282"/>
                </a:lnTo>
                <a:lnTo>
                  <a:pt x="1145" y="284"/>
                </a:lnTo>
                <a:lnTo>
                  <a:pt x="1145" y="284"/>
                </a:lnTo>
                <a:lnTo>
                  <a:pt x="1145" y="284"/>
                </a:lnTo>
                <a:lnTo>
                  <a:pt x="1147" y="284"/>
                </a:lnTo>
                <a:lnTo>
                  <a:pt x="1147" y="287"/>
                </a:lnTo>
                <a:lnTo>
                  <a:pt x="1150" y="290"/>
                </a:lnTo>
                <a:lnTo>
                  <a:pt x="1145" y="287"/>
                </a:lnTo>
                <a:lnTo>
                  <a:pt x="1134" y="284"/>
                </a:lnTo>
                <a:lnTo>
                  <a:pt x="1134" y="287"/>
                </a:lnTo>
                <a:lnTo>
                  <a:pt x="1131" y="287"/>
                </a:lnTo>
                <a:lnTo>
                  <a:pt x="1128" y="287"/>
                </a:lnTo>
                <a:lnTo>
                  <a:pt x="1128" y="287"/>
                </a:lnTo>
                <a:lnTo>
                  <a:pt x="1131" y="287"/>
                </a:lnTo>
                <a:lnTo>
                  <a:pt x="1145" y="295"/>
                </a:lnTo>
                <a:lnTo>
                  <a:pt x="1142" y="295"/>
                </a:lnTo>
                <a:lnTo>
                  <a:pt x="1139" y="295"/>
                </a:lnTo>
                <a:lnTo>
                  <a:pt x="1136" y="298"/>
                </a:lnTo>
                <a:lnTo>
                  <a:pt x="1142" y="298"/>
                </a:lnTo>
                <a:lnTo>
                  <a:pt x="1142" y="298"/>
                </a:lnTo>
                <a:lnTo>
                  <a:pt x="1145" y="298"/>
                </a:lnTo>
                <a:lnTo>
                  <a:pt x="1142" y="300"/>
                </a:lnTo>
                <a:lnTo>
                  <a:pt x="1139" y="298"/>
                </a:lnTo>
                <a:lnTo>
                  <a:pt x="1136" y="298"/>
                </a:lnTo>
                <a:lnTo>
                  <a:pt x="1134" y="298"/>
                </a:lnTo>
                <a:lnTo>
                  <a:pt x="1131" y="295"/>
                </a:lnTo>
                <a:lnTo>
                  <a:pt x="1126" y="292"/>
                </a:lnTo>
                <a:lnTo>
                  <a:pt x="1126" y="292"/>
                </a:lnTo>
                <a:lnTo>
                  <a:pt x="1126" y="295"/>
                </a:lnTo>
                <a:lnTo>
                  <a:pt x="1128" y="295"/>
                </a:lnTo>
                <a:lnTo>
                  <a:pt x="1126" y="298"/>
                </a:lnTo>
                <a:lnTo>
                  <a:pt x="1126" y="295"/>
                </a:lnTo>
                <a:lnTo>
                  <a:pt x="1120" y="295"/>
                </a:lnTo>
                <a:lnTo>
                  <a:pt x="1120" y="295"/>
                </a:lnTo>
                <a:lnTo>
                  <a:pt x="1120" y="298"/>
                </a:lnTo>
                <a:lnTo>
                  <a:pt x="1120" y="298"/>
                </a:lnTo>
                <a:lnTo>
                  <a:pt x="1123" y="298"/>
                </a:lnTo>
                <a:lnTo>
                  <a:pt x="1123" y="298"/>
                </a:lnTo>
                <a:lnTo>
                  <a:pt x="1123" y="298"/>
                </a:lnTo>
                <a:lnTo>
                  <a:pt x="1123" y="298"/>
                </a:lnTo>
                <a:lnTo>
                  <a:pt x="1126" y="300"/>
                </a:lnTo>
                <a:lnTo>
                  <a:pt x="1128" y="300"/>
                </a:lnTo>
                <a:lnTo>
                  <a:pt x="1128" y="303"/>
                </a:lnTo>
                <a:lnTo>
                  <a:pt x="1128" y="303"/>
                </a:lnTo>
                <a:lnTo>
                  <a:pt x="1134" y="303"/>
                </a:lnTo>
                <a:lnTo>
                  <a:pt x="1134" y="303"/>
                </a:lnTo>
                <a:lnTo>
                  <a:pt x="1131" y="300"/>
                </a:lnTo>
                <a:lnTo>
                  <a:pt x="1134" y="300"/>
                </a:lnTo>
                <a:lnTo>
                  <a:pt x="1139" y="300"/>
                </a:lnTo>
                <a:lnTo>
                  <a:pt x="1139" y="300"/>
                </a:lnTo>
                <a:lnTo>
                  <a:pt x="1139" y="303"/>
                </a:lnTo>
                <a:lnTo>
                  <a:pt x="1139" y="303"/>
                </a:lnTo>
                <a:lnTo>
                  <a:pt x="1134" y="306"/>
                </a:lnTo>
                <a:lnTo>
                  <a:pt x="1136" y="308"/>
                </a:lnTo>
                <a:lnTo>
                  <a:pt x="1134" y="308"/>
                </a:lnTo>
                <a:lnTo>
                  <a:pt x="1131" y="311"/>
                </a:lnTo>
                <a:lnTo>
                  <a:pt x="1128" y="311"/>
                </a:lnTo>
                <a:lnTo>
                  <a:pt x="1128" y="311"/>
                </a:lnTo>
                <a:lnTo>
                  <a:pt x="1128" y="311"/>
                </a:lnTo>
                <a:lnTo>
                  <a:pt x="1139" y="314"/>
                </a:lnTo>
                <a:lnTo>
                  <a:pt x="1139" y="314"/>
                </a:lnTo>
                <a:lnTo>
                  <a:pt x="1145" y="316"/>
                </a:lnTo>
                <a:lnTo>
                  <a:pt x="1145" y="319"/>
                </a:lnTo>
                <a:lnTo>
                  <a:pt x="1150" y="319"/>
                </a:lnTo>
                <a:lnTo>
                  <a:pt x="1150" y="322"/>
                </a:lnTo>
                <a:lnTo>
                  <a:pt x="1150" y="324"/>
                </a:lnTo>
                <a:lnTo>
                  <a:pt x="1153" y="327"/>
                </a:lnTo>
                <a:lnTo>
                  <a:pt x="1153" y="330"/>
                </a:lnTo>
                <a:lnTo>
                  <a:pt x="1158" y="335"/>
                </a:lnTo>
                <a:lnTo>
                  <a:pt x="1158" y="338"/>
                </a:lnTo>
                <a:lnTo>
                  <a:pt x="1163" y="338"/>
                </a:lnTo>
                <a:lnTo>
                  <a:pt x="1171" y="335"/>
                </a:lnTo>
                <a:lnTo>
                  <a:pt x="1174" y="333"/>
                </a:lnTo>
                <a:lnTo>
                  <a:pt x="1174" y="327"/>
                </a:lnTo>
                <a:lnTo>
                  <a:pt x="1177" y="330"/>
                </a:lnTo>
                <a:lnTo>
                  <a:pt x="1177" y="330"/>
                </a:lnTo>
                <a:lnTo>
                  <a:pt x="1177" y="333"/>
                </a:lnTo>
                <a:lnTo>
                  <a:pt x="1174" y="335"/>
                </a:lnTo>
                <a:lnTo>
                  <a:pt x="1174" y="335"/>
                </a:lnTo>
                <a:lnTo>
                  <a:pt x="1171" y="338"/>
                </a:lnTo>
                <a:lnTo>
                  <a:pt x="1169" y="338"/>
                </a:lnTo>
                <a:lnTo>
                  <a:pt x="1169" y="341"/>
                </a:lnTo>
                <a:lnTo>
                  <a:pt x="1169" y="341"/>
                </a:lnTo>
                <a:lnTo>
                  <a:pt x="1163" y="343"/>
                </a:lnTo>
                <a:lnTo>
                  <a:pt x="1163" y="346"/>
                </a:lnTo>
                <a:lnTo>
                  <a:pt x="1166" y="346"/>
                </a:lnTo>
                <a:lnTo>
                  <a:pt x="1166" y="349"/>
                </a:lnTo>
                <a:lnTo>
                  <a:pt x="1169" y="349"/>
                </a:lnTo>
                <a:lnTo>
                  <a:pt x="1166" y="351"/>
                </a:lnTo>
                <a:lnTo>
                  <a:pt x="1166" y="351"/>
                </a:lnTo>
                <a:lnTo>
                  <a:pt x="1161" y="349"/>
                </a:lnTo>
                <a:lnTo>
                  <a:pt x="1161" y="349"/>
                </a:lnTo>
                <a:lnTo>
                  <a:pt x="1161" y="349"/>
                </a:lnTo>
                <a:lnTo>
                  <a:pt x="1161" y="351"/>
                </a:lnTo>
                <a:lnTo>
                  <a:pt x="1161" y="354"/>
                </a:lnTo>
                <a:lnTo>
                  <a:pt x="1163" y="362"/>
                </a:lnTo>
                <a:lnTo>
                  <a:pt x="1166" y="367"/>
                </a:lnTo>
                <a:lnTo>
                  <a:pt x="1169" y="370"/>
                </a:lnTo>
                <a:lnTo>
                  <a:pt x="1171" y="370"/>
                </a:lnTo>
                <a:lnTo>
                  <a:pt x="1171" y="370"/>
                </a:lnTo>
                <a:lnTo>
                  <a:pt x="1171" y="370"/>
                </a:lnTo>
                <a:lnTo>
                  <a:pt x="1171" y="370"/>
                </a:lnTo>
                <a:lnTo>
                  <a:pt x="1171" y="373"/>
                </a:lnTo>
                <a:lnTo>
                  <a:pt x="1171" y="373"/>
                </a:lnTo>
                <a:lnTo>
                  <a:pt x="1169" y="373"/>
                </a:lnTo>
                <a:lnTo>
                  <a:pt x="1166" y="373"/>
                </a:lnTo>
                <a:lnTo>
                  <a:pt x="1166" y="370"/>
                </a:lnTo>
                <a:lnTo>
                  <a:pt x="1163" y="367"/>
                </a:lnTo>
                <a:lnTo>
                  <a:pt x="1163" y="365"/>
                </a:lnTo>
                <a:lnTo>
                  <a:pt x="1161" y="365"/>
                </a:lnTo>
                <a:lnTo>
                  <a:pt x="1158" y="365"/>
                </a:lnTo>
                <a:lnTo>
                  <a:pt x="1158" y="362"/>
                </a:lnTo>
                <a:lnTo>
                  <a:pt x="1158" y="362"/>
                </a:lnTo>
                <a:lnTo>
                  <a:pt x="1155" y="362"/>
                </a:lnTo>
                <a:lnTo>
                  <a:pt x="1155" y="362"/>
                </a:lnTo>
                <a:lnTo>
                  <a:pt x="1155" y="359"/>
                </a:lnTo>
                <a:lnTo>
                  <a:pt x="1155" y="359"/>
                </a:lnTo>
                <a:lnTo>
                  <a:pt x="1153" y="357"/>
                </a:lnTo>
                <a:lnTo>
                  <a:pt x="1150" y="354"/>
                </a:lnTo>
                <a:lnTo>
                  <a:pt x="1150" y="354"/>
                </a:lnTo>
                <a:lnTo>
                  <a:pt x="1150" y="354"/>
                </a:lnTo>
                <a:lnTo>
                  <a:pt x="1147" y="357"/>
                </a:lnTo>
                <a:lnTo>
                  <a:pt x="1147" y="357"/>
                </a:lnTo>
                <a:lnTo>
                  <a:pt x="1147" y="351"/>
                </a:lnTo>
                <a:lnTo>
                  <a:pt x="1147" y="351"/>
                </a:lnTo>
                <a:lnTo>
                  <a:pt x="1145" y="349"/>
                </a:lnTo>
                <a:lnTo>
                  <a:pt x="1145" y="349"/>
                </a:lnTo>
                <a:lnTo>
                  <a:pt x="1142" y="349"/>
                </a:lnTo>
                <a:lnTo>
                  <a:pt x="1142" y="349"/>
                </a:lnTo>
                <a:lnTo>
                  <a:pt x="1139" y="349"/>
                </a:lnTo>
                <a:lnTo>
                  <a:pt x="1139" y="349"/>
                </a:lnTo>
                <a:lnTo>
                  <a:pt x="1139" y="349"/>
                </a:lnTo>
                <a:lnTo>
                  <a:pt x="1136" y="349"/>
                </a:lnTo>
                <a:lnTo>
                  <a:pt x="1136" y="351"/>
                </a:lnTo>
                <a:lnTo>
                  <a:pt x="1136" y="354"/>
                </a:lnTo>
                <a:lnTo>
                  <a:pt x="1136" y="359"/>
                </a:lnTo>
                <a:lnTo>
                  <a:pt x="1142" y="365"/>
                </a:lnTo>
                <a:lnTo>
                  <a:pt x="1142" y="367"/>
                </a:lnTo>
                <a:lnTo>
                  <a:pt x="1145" y="370"/>
                </a:lnTo>
                <a:lnTo>
                  <a:pt x="1145" y="370"/>
                </a:lnTo>
                <a:lnTo>
                  <a:pt x="1142" y="370"/>
                </a:lnTo>
                <a:lnTo>
                  <a:pt x="1142" y="370"/>
                </a:lnTo>
                <a:lnTo>
                  <a:pt x="1142" y="370"/>
                </a:lnTo>
                <a:lnTo>
                  <a:pt x="1142" y="370"/>
                </a:lnTo>
                <a:lnTo>
                  <a:pt x="1139" y="373"/>
                </a:lnTo>
                <a:lnTo>
                  <a:pt x="1139" y="373"/>
                </a:lnTo>
                <a:lnTo>
                  <a:pt x="1139" y="375"/>
                </a:lnTo>
                <a:lnTo>
                  <a:pt x="1139" y="378"/>
                </a:lnTo>
                <a:lnTo>
                  <a:pt x="1139" y="378"/>
                </a:lnTo>
                <a:lnTo>
                  <a:pt x="1139" y="378"/>
                </a:lnTo>
                <a:lnTo>
                  <a:pt x="1139" y="381"/>
                </a:lnTo>
                <a:lnTo>
                  <a:pt x="1139" y="381"/>
                </a:lnTo>
                <a:lnTo>
                  <a:pt x="1139" y="383"/>
                </a:lnTo>
                <a:lnTo>
                  <a:pt x="1136" y="383"/>
                </a:lnTo>
                <a:lnTo>
                  <a:pt x="1136" y="386"/>
                </a:lnTo>
                <a:lnTo>
                  <a:pt x="1136" y="389"/>
                </a:lnTo>
                <a:lnTo>
                  <a:pt x="1134" y="392"/>
                </a:lnTo>
                <a:lnTo>
                  <a:pt x="1134" y="397"/>
                </a:lnTo>
                <a:lnTo>
                  <a:pt x="1134" y="397"/>
                </a:lnTo>
                <a:lnTo>
                  <a:pt x="1136" y="402"/>
                </a:lnTo>
                <a:lnTo>
                  <a:pt x="1136" y="402"/>
                </a:lnTo>
                <a:lnTo>
                  <a:pt x="1136" y="405"/>
                </a:lnTo>
                <a:lnTo>
                  <a:pt x="1136" y="410"/>
                </a:lnTo>
                <a:lnTo>
                  <a:pt x="1136" y="410"/>
                </a:lnTo>
                <a:lnTo>
                  <a:pt x="1136" y="413"/>
                </a:lnTo>
                <a:lnTo>
                  <a:pt x="1136" y="413"/>
                </a:lnTo>
                <a:lnTo>
                  <a:pt x="1136" y="413"/>
                </a:lnTo>
                <a:lnTo>
                  <a:pt x="1136" y="410"/>
                </a:lnTo>
                <a:lnTo>
                  <a:pt x="1134" y="408"/>
                </a:lnTo>
                <a:lnTo>
                  <a:pt x="1134" y="405"/>
                </a:lnTo>
                <a:lnTo>
                  <a:pt x="1131" y="402"/>
                </a:lnTo>
                <a:lnTo>
                  <a:pt x="1128" y="400"/>
                </a:lnTo>
                <a:lnTo>
                  <a:pt x="1128" y="394"/>
                </a:lnTo>
                <a:lnTo>
                  <a:pt x="1126" y="394"/>
                </a:lnTo>
                <a:lnTo>
                  <a:pt x="1126" y="392"/>
                </a:lnTo>
                <a:lnTo>
                  <a:pt x="1126" y="392"/>
                </a:lnTo>
                <a:lnTo>
                  <a:pt x="1123" y="392"/>
                </a:lnTo>
                <a:lnTo>
                  <a:pt x="1123" y="389"/>
                </a:lnTo>
                <a:lnTo>
                  <a:pt x="1120" y="386"/>
                </a:lnTo>
                <a:lnTo>
                  <a:pt x="1118" y="383"/>
                </a:lnTo>
                <a:lnTo>
                  <a:pt x="1115" y="383"/>
                </a:lnTo>
                <a:lnTo>
                  <a:pt x="1115" y="378"/>
                </a:lnTo>
                <a:lnTo>
                  <a:pt x="1115" y="375"/>
                </a:lnTo>
                <a:lnTo>
                  <a:pt x="1115" y="373"/>
                </a:lnTo>
                <a:lnTo>
                  <a:pt x="1112" y="370"/>
                </a:lnTo>
                <a:lnTo>
                  <a:pt x="1112" y="370"/>
                </a:lnTo>
                <a:lnTo>
                  <a:pt x="1110" y="367"/>
                </a:lnTo>
                <a:lnTo>
                  <a:pt x="1110" y="365"/>
                </a:lnTo>
                <a:lnTo>
                  <a:pt x="1104" y="359"/>
                </a:lnTo>
                <a:lnTo>
                  <a:pt x="1104" y="359"/>
                </a:lnTo>
                <a:lnTo>
                  <a:pt x="1104" y="357"/>
                </a:lnTo>
                <a:lnTo>
                  <a:pt x="1104" y="351"/>
                </a:lnTo>
                <a:lnTo>
                  <a:pt x="1102" y="351"/>
                </a:lnTo>
                <a:lnTo>
                  <a:pt x="1099" y="346"/>
                </a:lnTo>
                <a:lnTo>
                  <a:pt x="1096" y="343"/>
                </a:lnTo>
                <a:lnTo>
                  <a:pt x="1094" y="341"/>
                </a:lnTo>
                <a:lnTo>
                  <a:pt x="1091" y="341"/>
                </a:lnTo>
                <a:lnTo>
                  <a:pt x="1091" y="341"/>
                </a:lnTo>
                <a:lnTo>
                  <a:pt x="1091" y="338"/>
                </a:lnTo>
                <a:lnTo>
                  <a:pt x="1091" y="333"/>
                </a:lnTo>
                <a:lnTo>
                  <a:pt x="1091" y="333"/>
                </a:lnTo>
                <a:lnTo>
                  <a:pt x="1091" y="330"/>
                </a:lnTo>
                <a:lnTo>
                  <a:pt x="1091" y="330"/>
                </a:lnTo>
                <a:lnTo>
                  <a:pt x="1091" y="327"/>
                </a:lnTo>
                <a:lnTo>
                  <a:pt x="1088" y="327"/>
                </a:lnTo>
                <a:lnTo>
                  <a:pt x="1086" y="327"/>
                </a:lnTo>
                <a:lnTo>
                  <a:pt x="1086" y="324"/>
                </a:lnTo>
                <a:lnTo>
                  <a:pt x="1086" y="322"/>
                </a:lnTo>
                <a:lnTo>
                  <a:pt x="1086" y="322"/>
                </a:lnTo>
                <a:lnTo>
                  <a:pt x="1086" y="319"/>
                </a:lnTo>
                <a:lnTo>
                  <a:pt x="1088" y="319"/>
                </a:lnTo>
                <a:lnTo>
                  <a:pt x="1088" y="319"/>
                </a:lnTo>
                <a:lnTo>
                  <a:pt x="1088" y="319"/>
                </a:lnTo>
                <a:lnTo>
                  <a:pt x="1088" y="316"/>
                </a:lnTo>
                <a:lnTo>
                  <a:pt x="1088" y="316"/>
                </a:lnTo>
                <a:lnTo>
                  <a:pt x="1088" y="316"/>
                </a:lnTo>
                <a:lnTo>
                  <a:pt x="1088" y="316"/>
                </a:lnTo>
                <a:lnTo>
                  <a:pt x="1088" y="316"/>
                </a:lnTo>
                <a:lnTo>
                  <a:pt x="1086" y="319"/>
                </a:lnTo>
                <a:lnTo>
                  <a:pt x="1086" y="319"/>
                </a:lnTo>
                <a:lnTo>
                  <a:pt x="1086" y="319"/>
                </a:lnTo>
                <a:lnTo>
                  <a:pt x="1083" y="316"/>
                </a:lnTo>
                <a:lnTo>
                  <a:pt x="1083" y="316"/>
                </a:lnTo>
                <a:lnTo>
                  <a:pt x="1080" y="316"/>
                </a:lnTo>
                <a:lnTo>
                  <a:pt x="1078" y="314"/>
                </a:lnTo>
                <a:lnTo>
                  <a:pt x="1078" y="311"/>
                </a:lnTo>
                <a:lnTo>
                  <a:pt x="1078" y="308"/>
                </a:lnTo>
                <a:lnTo>
                  <a:pt x="1078" y="308"/>
                </a:lnTo>
                <a:lnTo>
                  <a:pt x="1075" y="308"/>
                </a:lnTo>
                <a:lnTo>
                  <a:pt x="1075" y="308"/>
                </a:lnTo>
                <a:lnTo>
                  <a:pt x="1072" y="308"/>
                </a:lnTo>
                <a:lnTo>
                  <a:pt x="1072" y="308"/>
                </a:lnTo>
                <a:lnTo>
                  <a:pt x="1072" y="306"/>
                </a:lnTo>
                <a:lnTo>
                  <a:pt x="1069" y="306"/>
                </a:lnTo>
                <a:lnTo>
                  <a:pt x="1075" y="300"/>
                </a:lnTo>
                <a:lnTo>
                  <a:pt x="1072" y="298"/>
                </a:lnTo>
                <a:lnTo>
                  <a:pt x="1072" y="295"/>
                </a:lnTo>
                <a:lnTo>
                  <a:pt x="1075" y="292"/>
                </a:lnTo>
                <a:lnTo>
                  <a:pt x="1075" y="292"/>
                </a:lnTo>
                <a:lnTo>
                  <a:pt x="1078" y="292"/>
                </a:lnTo>
                <a:lnTo>
                  <a:pt x="1078" y="292"/>
                </a:lnTo>
                <a:lnTo>
                  <a:pt x="1080" y="292"/>
                </a:lnTo>
                <a:lnTo>
                  <a:pt x="1080" y="292"/>
                </a:lnTo>
                <a:lnTo>
                  <a:pt x="1080" y="292"/>
                </a:lnTo>
                <a:lnTo>
                  <a:pt x="1080" y="290"/>
                </a:lnTo>
                <a:lnTo>
                  <a:pt x="1075" y="287"/>
                </a:lnTo>
                <a:lnTo>
                  <a:pt x="1078" y="284"/>
                </a:lnTo>
                <a:lnTo>
                  <a:pt x="1078" y="284"/>
                </a:lnTo>
                <a:lnTo>
                  <a:pt x="1075" y="282"/>
                </a:lnTo>
                <a:lnTo>
                  <a:pt x="1069" y="287"/>
                </a:lnTo>
                <a:lnTo>
                  <a:pt x="1067" y="287"/>
                </a:lnTo>
                <a:lnTo>
                  <a:pt x="1064" y="290"/>
                </a:lnTo>
                <a:lnTo>
                  <a:pt x="1064" y="295"/>
                </a:lnTo>
                <a:lnTo>
                  <a:pt x="1061" y="298"/>
                </a:lnTo>
                <a:lnTo>
                  <a:pt x="1061" y="298"/>
                </a:lnTo>
                <a:lnTo>
                  <a:pt x="1061" y="298"/>
                </a:lnTo>
                <a:lnTo>
                  <a:pt x="1059" y="300"/>
                </a:lnTo>
                <a:lnTo>
                  <a:pt x="1059" y="300"/>
                </a:lnTo>
                <a:lnTo>
                  <a:pt x="1059" y="303"/>
                </a:lnTo>
                <a:lnTo>
                  <a:pt x="1056" y="303"/>
                </a:lnTo>
                <a:lnTo>
                  <a:pt x="1053" y="303"/>
                </a:lnTo>
                <a:lnTo>
                  <a:pt x="1051" y="303"/>
                </a:lnTo>
                <a:lnTo>
                  <a:pt x="1051" y="306"/>
                </a:lnTo>
                <a:lnTo>
                  <a:pt x="1051" y="306"/>
                </a:lnTo>
                <a:lnTo>
                  <a:pt x="1048" y="308"/>
                </a:lnTo>
                <a:lnTo>
                  <a:pt x="1048" y="311"/>
                </a:lnTo>
                <a:lnTo>
                  <a:pt x="1048" y="311"/>
                </a:lnTo>
                <a:lnTo>
                  <a:pt x="1048" y="314"/>
                </a:lnTo>
                <a:lnTo>
                  <a:pt x="1048" y="314"/>
                </a:lnTo>
                <a:lnTo>
                  <a:pt x="1048" y="316"/>
                </a:lnTo>
                <a:lnTo>
                  <a:pt x="1051" y="319"/>
                </a:lnTo>
                <a:lnTo>
                  <a:pt x="1056" y="324"/>
                </a:lnTo>
                <a:lnTo>
                  <a:pt x="1051" y="324"/>
                </a:lnTo>
                <a:lnTo>
                  <a:pt x="1048" y="324"/>
                </a:lnTo>
                <a:lnTo>
                  <a:pt x="1048" y="324"/>
                </a:lnTo>
                <a:lnTo>
                  <a:pt x="1045" y="324"/>
                </a:lnTo>
                <a:lnTo>
                  <a:pt x="1045" y="324"/>
                </a:lnTo>
                <a:lnTo>
                  <a:pt x="1043" y="327"/>
                </a:lnTo>
                <a:lnTo>
                  <a:pt x="1043" y="327"/>
                </a:lnTo>
                <a:lnTo>
                  <a:pt x="1040" y="327"/>
                </a:lnTo>
                <a:lnTo>
                  <a:pt x="1040" y="327"/>
                </a:lnTo>
                <a:lnTo>
                  <a:pt x="1037" y="327"/>
                </a:lnTo>
                <a:lnTo>
                  <a:pt x="1037" y="327"/>
                </a:lnTo>
                <a:lnTo>
                  <a:pt x="1035" y="327"/>
                </a:lnTo>
                <a:lnTo>
                  <a:pt x="1035" y="327"/>
                </a:lnTo>
                <a:lnTo>
                  <a:pt x="1032" y="327"/>
                </a:lnTo>
                <a:lnTo>
                  <a:pt x="1032" y="324"/>
                </a:lnTo>
                <a:lnTo>
                  <a:pt x="1029" y="324"/>
                </a:lnTo>
                <a:lnTo>
                  <a:pt x="1029" y="327"/>
                </a:lnTo>
                <a:lnTo>
                  <a:pt x="1029" y="327"/>
                </a:lnTo>
                <a:lnTo>
                  <a:pt x="1027" y="330"/>
                </a:lnTo>
                <a:lnTo>
                  <a:pt x="1027" y="330"/>
                </a:lnTo>
                <a:lnTo>
                  <a:pt x="1027" y="333"/>
                </a:lnTo>
                <a:lnTo>
                  <a:pt x="1027" y="333"/>
                </a:lnTo>
                <a:lnTo>
                  <a:pt x="1027" y="333"/>
                </a:lnTo>
                <a:lnTo>
                  <a:pt x="1027" y="333"/>
                </a:lnTo>
                <a:lnTo>
                  <a:pt x="1027" y="333"/>
                </a:lnTo>
                <a:lnTo>
                  <a:pt x="1027" y="333"/>
                </a:lnTo>
                <a:lnTo>
                  <a:pt x="1024" y="333"/>
                </a:lnTo>
                <a:lnTo>
                  <a:pt x="1024" y="333"/>
                </a:lnTo>
                <a:lnTo>
                  <a:pt x="1024" y="335"/>
                </a:lnTo>
                <a:lnTo>
                  <a:pt x="1024" y="335"/>
                </a:lnTo>
                <a:lnTo>
                  <a:pt x="1029" y="341"/>
                </a:lnTo>
                <a:lnTo>
                  <a:pt x="1029" y="343"/>
                </a:lnTo>
                <a:lnTo>
                  <a:pt x="1032" y="346"/>
                </a:lnTo>
                <a:lnTo>
                  <a:pt x="1027" y="346"/>
                </a:lnTo>
                <a:lnTo>
                  <a:pt x="1024" y="343"/>
                </a:lnTo>
                <a:lnTo>
                  <a:pt x="1024" y="343"/>
                </a:lnTo>
                <a:lnTo>
                  <a:pt x="1024" y="341"/>
                </a:lnTo>
                <a:lnTo>
                  <a:pt x="1021" y="341"/>
                </a:lnTo>
                <a:lnTo>
                  <a:pt x="1021" y="341"/>
                </a:lnTo>
                <a:lnTo>
                  <a:pt x="1019" y="341"/>
                </a:lnTo>
                <a:lnTo>
                  <a:pt x="1019" y="343"/>
                </a:lnTo>
                <a:lnTo>
                  <a:pt x="1019" y="343"/>
                </a:lnTo>
                <a:lnTo>
                  <a:pt x="1019" y="346"/>
                </a:lnTo>
                <a:lnTo>
                  <a:pt x="1019" y="349"/>
                </a:lnTo>
                <a:lnTo>
                  <a:pt x="1016" y="346"/>
                </a:lnTo>
                <a:lnTo>
                  <a:pt x="1016" y="346"/>
                </a:lnTo>
                <a:lnTo>
                  <a:pt x="1016" y="343"/>
                </a:lnTo>
                <a:lnTo>
                  <a:pt x="1013" y="346"/>
                </a:lnTo>
                <a:lnTo>
                  <a:pt x="997" y="359"/>
                </a:lnTo>
                <a:lnTo>
                  <a:pt x="997" y="359"/>
                </a:lnTo>
                <a:lnTo>
                  <a:pt x="994" y="362"/>
                </a:lnTo>
                <a:lnTo>
                  <a:pt x="997" y="362"/>
                </a:lnTo>
                <a:lnTo>
                  <a:pt x="997" y="362"/>
                </a:lnTo>
                <a:lnTo>
                  <a:pt x="997" y="365"/>
                </a:lnTo>
                <a:lnTo>
                  <a:pt x="997" y="365"/>
                </a:lnTo>
                <a:lnTo>
                  <a:pt x="992" y="373"/>
                </a:lnTo>
                <a:lnTo>
                  <a:pt x="989" y="373"/>
                </a:lnTo>
                <a:lnTo>
                  <a:pt x="989" y="373"/>
                </a:lnTo>
                <a:lnTo>
                  <a:pt x="986" y="375"/>
                </a:lnTo>
                <a:lnTo>
                  <a:pt x="986" y="378"/>
                </a:lnTo>
                <a:lnTo>
                  <a:pt x="986" y="381"/>
                </a:lnTo>
                <a:lnTo>
                  <a:pt x="984" y="386"/>
                </a:lnTo>
                <a:lnTo>
                  <a:pt x="984" y="397"/>
                </a:lnTo>
                <a:lnTo>
                  <a:pt x="984" y="410"/>
                </a:lnTo>
                <a:lnTo>
                  <a:pt x="984" y="410"/>
                </a:lnTo>
                <a:lnTo>
                  <a:pt x="984" y="413"/>
                </a:lnTo>
                <a:lnTo>
                  <a:pt x="984" y="413"/>
                </a:lnTo>
                <a:lnTo>
                  <a:pt x="986" y="416"/>
                </a:lnTo>
                <a:lnTo>
                  <a:pt x="986" y="418"/>
                </a:lnTo>
                <a:lnTo>
                  <a:pt x="986" y="421"/>
                </a:lnTo>
                <a:lnTo>
                  <a:pt x="989" y="421"/>
                </a:lnTo>
                <a:lnTo>
                  <a:pt x="989" y="424"/>
                </a:lnTo>
                <a:lnTo>
                  <a:pt x="989" y="424"/>
                </a:lnTo>
                <a:lnTo>
                  <a:pt x="989" y="426"/>
                </a:lnTo>
                <a:lnTo>
                  <a:pt x="989" y="426"/>
                </a:lnTo>
                <a:lnTo>
                  <a:pt x="989" y="429"/>
                </a:lnTo>
                <a:lnTo>
                  <a:pt x="989" y="434"/>
                </a:lnTo>
                <a:lnTo>
                  <a:pt x="989" y="443"/>
                </a:lnTo>
                <a:lnTo>
                  <a:pt x="992" y="445"/>
                </a:lnTo>
                <a:lnTo>
                  <a:pt x="989" y="451"/>
                </a:lnTo>
                <a:lnTo>
                  <a:pt x="986" y="453"/>
                </a:lnTo>
                <a:lnTo>
                  <a:pt x="986" y="453"/>
                </a:lnTo>
                <a:lnTo>
                  <a:pt x="986" y="453"/>
                </a:lnTo>
                <a:lnTo>
                  <a:pt x="989" y="456"/>
                </a:lnTo>
                <a:lnTo>
                  <a:pt x="989" y="456"/>
                </a:lnTo>
                <a:lnTo>
                  <a:pt x="989" y="456"/>
                </a:lnTo>
                <a:lnTo>
                  <a:pt x="992" y="453"/>
                </a:lnTo>
                <a:lnTo>
                  <a:pt x="994" y="451"/>
                </a:lnTo>
                <a:lnTo>
                  <a:pt x="1000" y="453"/>
                </a:lnTo>
                <a:lnTo>
                  <a:pt x="1002" y="453"/>
                </a:lnTo>
                <a:lnTo>
                  <a:pt x="1005" y="453"/>
                </a:lnTo>
                <a:lnTo>
                  <a:pt x="1008" y="456"/>
                </a:lnTo>
                <a:lnTo>
                  <a:pt x="1008" y="459"/>
                </a:lnTo>
                <a:lnTo>
                  <a:pt x="1008" y="464"/>
                </a:lnTo>
                <a:lnTo>
                  <a:pt x="1008" y="464"/>
                </a:lnTo>
                <a:lnTo>
                  <a:pt x="1005" y="469"/>
                </a:lnTo>
                <a:lnTo>
                  <a:pt x="1002" y="472"/>
                </a:lnTo>
                <a:lnTo>
                  <a:pt x="994" y="475"/>
                </a:lnTo>
                <a:lnTo>
                  <a:pt x="992" y="477"/>
                </a:lnTo>
                <a:lnTo>
                  <a:pt x="992" y="477"/>
                </a:lnTo>
                <a:lnTo>
                  <a:pt x="989" y="480"/>
                </a:lnTo>
                <a:lnTo>
                  <a:pt x="989" y="480"/>
                </a:lnTo>
                <a:lnTo>
                  <a:pt x="989" y="480"/>
                </a:lnTo>
                <a:lnTo>
                  <a:pt x="989" y="480"/>
                </a:lnTo>
                <a:lnTo>
                  <a:pt x="986" y="483"/>
                </a:lnTo>
                <a:lnTo>
                  <a:pt x="984" y="485"/>
                </a:lnTo>
                <a:lnTo>
                  <a:pt x="981" y="488"/>
                </a:lnTo>
                <a:lnTo>
                  <a:pt x="976" y="491"/>
                </a:lnTo>
                <a:lnTo>
                  <a:pt x="973" y="491"/>
                </a:lnTo>
                <a:lnTo>
                  <a:pt x="973" y="493"/>
                </a:lnTo>
                <a:lnTo>
                  <a:pt x="970" y="496"/>
                </a:lnTo>
                <a:lnTo>
                  <a:pt x="960" y="504"/>
                </a:lnTo>
                <a:lnTo>
                  <a:pt x="957" y="507"/>
                </a:lnTo>
                <a:lnTo>
                  <a:pt x="954" y="507"/>
                </a:lnTo>
                <a:lnTo>
                  <a:pt x="952" y="504"/>
                </a:lnTo>
                <a:lnTo>
                  <a:pt x="952" y="504"/>
                </a:lnTo>
                <a:lnTo>
                  <a:pt x="949" y="504"/>
                </a:lnTo>
                <a:lnTo>
                  <a:pt x="949" y="504"/>
                </a:lnTo>
                <a:lnTo>
                  <a:pt x="946" y="507"/>
                </a:lnTo>
                <a:lnTo>
                  <a:pt x="944" y="515"/>
                </a:lnTo>
                <a:lnTo>
                  <a:pt x="944" y="515"/>
                </a:lnTo>
                <a:lnTo>
                  <a:pt x="941" y="518"/>
                </a:lnTo>
                <a:lnTo>
                  <a:pt x="944" y="520"/>
                </a:lnTo>
                <a:lnTo>
                  <a:pt x="944" y="520"/>
                </a:lnTo>
                <a:lnTo>
                  <a:pt x="946" y="523"/>
                </a:lnTo>
                <a:lnTo>
                  <a:pt x="944" y="523"/>
                </a:lnTo>
                <a:lnTo>
                  <a:pt x="944" y="526"/>
                </a:lnTo>
                <a:lnTo>
                  <a:pt x="938" y="531"/>
                </a:lnTo>
                <a:lnTo>
                  <a:pt x="938" y="531"/>
                </a:lnTo>
                <a:lnTo>
                  <a:pt x="933" y="531"/>
                </a:lnTo>
                <a:lnTo>
                  <a:pt x="933" y="531"/>
                </a:lnTo>
                <a:lnTo>
                  <a:pt x="933" y="531"/>
                </a:lnTo>
                <a:lnTo>
                  <a:pt x="930" y="531"/>
                </a:lnTo>
                <a:lnTo>
                  <a:pt x="927" y="531"/>
                </a:lnTo>
                <a:lnTo>
                  <a:pt x="927" y="531"/>
                </a:lnTo>
                <a:lnTo>
                  <a:pt x="927" y="534"/>
                </a:lnTo>
                <a:lnTo>
                  <a:pt x="927" y="536"/>
                </a:lnTo>
                <a:lnTo>
                  <a:pt x="930" y="536"/>
                </a:lnTo>
                <a:lnTo>
                  <a:pt x="930" y="536"/>
                </a:lnTo>
                <a:lnTo>
                  <a:pt x="930" y="539"/>
                </a:lnTo>
                <a:lnTo>
                  <a:pt x="930" y="539"/>
                </a:lnTo>
                <a:lnTo>
                  <a:pt x="930" y="542"/>
                </a:lnTo>
                <a:lnTo>
                  <a:pt x="930" y="544"/>
                </a:lnTo>
                <a:lnTo>
                  <a:pt x="927" y="547"/>
                </a:lnTo>
                <a:lnTo>
                  <a:pt x="925" y="552"/>
                </a:lnTo>
                <a:lnTo>
                  <a:pt x="925" y="555"/>
                </a:lnTo>
                <a:lnTo>
                  <a:pt x="922" y="555"/>
                </a:lnTo>
                <a:lnTo>
                  <a:pt x="922" y="558"/>
                </a:lnTo>
                <a:lnTo>
                  <a:pt x="922" y="558"/>
                </a:lnTo>
                <a:lnTo>
                  <a:pt x="922" y="561"/>
                </a:lnTo>
                <a:lnTo>
                  <a:pt x="922" y="561"/>
                </a:lnTo>
                <a:lnTo>
                  <a:pt x="919" y="563"/>
                </a:lnTo>
                <a:lnTo>
                  <a:pt x="917" y="571"/>
                </a:lnTo>
                <a:lnTo>
                  <a:pt x="906" y="587"/>
                </a:lnTo>
                <a:lnTo>
                  <a:pt x="895" y="601"/>
                </a:lnTo>
                <a:lnTo>
                  <a:pt x="882" y="614"/>
                </a:lnTo>
                <a:lnTo>
                  <a:pt x="882" y="614"/>
                </a:lnTo>
                <a:lnTo>
                  <a:pt x="879" y="614"/>
                </a:lnTo>
                <a:lnTo>
                  <a:pt x="877" y="617"/>
                </a:lnTo>
                <a:lnTo>
                  <a:pt x="858" y="630"/>
                </a:lnTo>
                <a:lnTo>
                  <a:pt x="842" y="636"/>
                </a:lnTo>
                <a:lnTo>
                  <a:pt x="826" y="644"/>
                </a:lnTo>
                <a:lnTo>
                  <a:pt x="793" y="654"/>
                </a:lnTo>
                <a:lnTo>
                  <a:pt x="780" y="660"/>
                </a:lnTo>
                <a:lnTo>
                  <a:pt x="764" y="660"/>
                </a:lnTo>
                <a:lnTo>
                  <a:pt x="745" y="662"/>
                </a:lnTo>
                <a:lnTo>
                  <a:pt x="734" y="665"/>
                </a:lnTo>
                <a:lnTo>
                  <a:pt x="729" y="665"/>
                </a:lnTo>
                <a:lnTo>
                  <a:pt x="726" y="665"/>
                </a:lnTo>
                <a:lnTo>
                  <a:pt x="724" y="665"/>
                </a:lnTo>
                <a:lnTo>
                  <a:pt x="724" y="668"/>
                </a:lnTo>
                <a:lnTo>
                  <a:pt x="726" y="668"/>
                </a:lnTo>
                <a:lnTo>
                  <a:pt x="726" y="670"/>
                </a:lnTo>
                <a:lnTo>
                  <a:pt x="724" y="670"/>
                </a:lnTo>
                <a:lnTo>
                  <a:pt x="721" y="670"/>
                </a:lnTo>
                <a:lnTo>
                  <a:pt x="721" y="670"/>
                </a:lnTo>
                <a:lnTo>
                  <a:pt x="718" y="670"/>
                </a:lnTo>
                <a:lnTo>
                  <a:pt x="718" y="673"/>
                </a:lnTo>
                <a:lnTo>
                  <a:pt x="716" y="673"/>
                </a:lnTo>
                <a:lnTo>
                  <a:pt x="716" y="673"/>
                </a:lnTo>
                <a:lnTo>
                  <a:pt x="710" y="676"/>
                </a:lnTo>
                <a:lnTo>
                  <a:pt x="710" y="676"/>
                </a:lnTo>
                <a:lnTo>
                  <a:pt x="708" y="676"/>
                </a:lnTo>
                <a:lnTo>
                  <a:pt x="705" y="676"/>
                </a:lnTo>
                <a:lnTo>
                  <a:pt x="700" y="673"/>
                </a:lnTo>
                <a:lnTo>
                  <a:pt x="700" y="670"/>
                </a:lnTo>
                <a:lnTo>
                  <a:pt x="700" y="670"/>
                </a:lnTo>
                <a:lnTo>
                  <a:pt x="700" y="670"/>
                </a:lnTo>
                <a:lnTo>
                  <a:pt x="697" y="668"/>
                </a:lnTo>
                <a:lnTo>
                  <a:pt x="697" y="670"/>
                </a:lnTo>
                <a:lnTo>
                  <a:pt x="697" y="670"/>
                </a:lnTo>
                <a:lnTo>
                  <a:pt x="694" y="670"/>
                </a:lnTo>
                <a:lnTo>
                  <a:pt x="694" y="670"/>
                </a:lnTo>
                <a:lnTo>
                  <a:pt x="689" y="668"/>
                </a:lnTo>
                <a:lnTo>
                  <a:pt x="686" y="668"/>
                </a:lnTo>
                <a:lnTo>
                  <a:pt x="684" y="668"/>
                </a:lnTo>
                <a:lnTo>
                  <a:pt x="681" y="668"/>
                </a:lnTo>
                <a:lnTo>
                  <a:pt x="670" y="665"/>
                </a:lnTo>
                <a:lnTo>
                  <a:pt x="670" y="665"/>
                </a:lnTo>
                <a:lnTo>
                  <a:pt x="667" y="665"/>
                </a:lnTo>
                <a:lnTo>
                  <a:pt x="665" y="665"/>
                </a:lnTo>
                <a:lnTo>
                  <a:pt x="665" y="668"/>
                </a:lnTo>
                <a:lnTo>
                  <a:pt x="665" y="670"/>
                </a:lnTo>
                <a:lnTo>
                  <a:pt x="662" y="665"/>
                </a:lnTo>
                <a:lnTo>
                  <a:pt x="659" y="665"/>
                </a:lnTo>
                <a:lnTo>
                  <a:pt x="657" y="668"/>
                </a:lnTo>
                <a:lnTo>
                  <a:pt x="657" y="668"/>
                </a:lnTo>
                <a:lnTo>
                  <a:pt x="654" y="670"/>
                </a:lnTo>
                <a:lnTo>
                  <a:pt x="654" y="670"/>
                </a:lnTo>
                <a:lnTo>
                  <a:pt x="654" y="670"/>
                </a:lnTo>
                <a:lnTo>
                  <a:pt x="651" y="670"/>
                </a:lnTo>
                <a:lnTo>
                  <a:pt x="649" y="673"/>
                </a:lnTo>
                <a:lnTo>
                  <a:pt x="646" y="673"/>
                </a:lnTo>
                <a:lnTo>
                  <a:pt x="646" y="673"/>
                </a:lnTo>
                <a:lnTo>
                  <a:pt x="646" y="676"/>
                </a:lnTo>
                <a:lnTo>
                  <a:pt x="643" y="681"/>
                </a:lnTo>
                <a:lnTo>
                  <a:pt x="635" y="689"/>
                </a:lnTo>
                <a:lnTo>
                  <a:pt x="633" y="695"/>
                </a:lnTo>
                <a:lnTo>
                  <a:pt x="630" y="697"/>
                </a:lnTo>
                <a:lnTo>
                  <a:pt x="627" y="700"/>
                </a:lnTo>
                <a:lnTo>
                  <a:pt x="625" y="700"/>
                </a:lnTo>
                <a:lnTo>
                  <a:pt x="622" y="700"/>
                </a:lnTo>
                <a:lnTo>
                  <a:pt x="622" y="700"/>
                </a:lnTo>
                <a:lnTo>
                  <a:pt x="617" y="703"/>
                </a:lnTo>
                <a:lnTo>
                  <a:pt x="614" y="703"/>
                </a:lnTo>
                <a:lnTo>
                  <a:pt x="614" y="703"/>
                </a:lnTo>
                <a:lnTo>
                  <a:pt x="611" y="703"/>
                </a:lnTo>
                <a:lnTo>
                  <a:pt x="611" y="703"/>
                </a:lnTo>
                <a:lnTo>
                  <a:pt x="609" y="703"/>
                </a:lnTo>
                <a:lnTo>
                  <a:pt x="609" y="703"/>
                </a:lnTo>
                <a:lnTo>
                  <a:pt x="609" y="703"/>
                </a:lnTo>
                <a:lnTo>
                  <a:pt x="606" y="703"/>
                </a:lnTo>
                <a:lnTo>
                  <a:pt x="603" y="703"/>
                </a:lnTo>
                <a:lnTo>
                  <a:pt x="603" y="703"/>
                </a:lnTo>
                <a:lnTo>
                  <a:pt x="603" y="703"/>
                </a:lnTo>
                <a:lnTo>
                  <a:pt x="603" y="703"/>
                </a:lnTo>
                <a:lnTo>
                  <a:pt x="600" y="703"/>
                </a:lnTo>
                <a:lnTo>
                  <a:pt x="600" y="703"/>
                </a:lnTo>
                <a:lnTo>
                  <a:pt x="600" y="703"/>
                </a:lnTo>
                <a:lnTo>
                  <a:pt x="587" y="705"/>
                </a:lnTo>
                <a:lnTo>
                  <a:pt x="582" y="708"/>
                </a:lnTo>
                <a:lnTo>
                  <a:pt x="579" y="708"/>
                </a:lnTo>
                <a:lnTo>
                  <a:pt x="579" y="708"/>
                </a:lnTo>
                <a:lnTo>
                  <a:pt x="579" y="705"/>
                </a:lnTo>
                <a:lnTo>
                  <a:pt x="579" y="705"/>
                </a:lnTo>
                <a:lnTo>
                  <a:pt x="576" y="705"/>
                </a:lnTo>
                <a:lnTo>
                  <a:pt x="576" y="705"/>
                </a:lnTo>
                <a:lnTo>
                  <a:pt x="574" y="705"/>
                </a:lnTo>
                <a:lnTo>
                  <a:pt x="571" y="705"/>
                </a:lnTo>
                <a:lnTo>
                  <a:pt x="571" y="708"/>
                </a:lnTo>
                <a:lnTo>
                  <a:pt x="568" y="708"/>
                </a:lnTo>
                <a:lnTo>
                  <a:pt x="566" y="708"/>
                </a:lnTo>
                <a:lnTo>
                  <a:pt x="566" y="708"/>
                </a:lnTo>
                <a:lnTo>
                  <a:pt x="563" y="708"/>
                </a:lnTo>
                <a:lnTo>
                  <a:pt x="563" y="708"/>
                </a:lnTo>
                <a:lnTo>
                  <a:pt x="563" y="708"/>
                </a:lnTo>
                <a:lnTo>
                  <a:pt x="563" y="705"/>
                </a:lnTo>
                <a:lnTo>
                  <a:pt x="560" y="705"/>
                </a:lnTo>
                <a:lnTo>
                  <a:pt x="560" y="705"/>
                </a:lnTo>
                <a:lnTo>
                  <a:pt x="560" y="708"/>
                </a:lnTo>
                <a:lnTo>
                  <a:pt x="558" y="708"/>
                </a:lnTo>
                <a:lnTo>
                  <a:pt x="558" y="708"/>
                </a:lnTo>
                <a:lnTo>
                  <a:pt x="536" y="721"/>
                </a:lnTo>
                <a:lnTo>
                  <a:pt x="536" y="721"/>
                </a:lnTo>
                <a:lnTo>
                  <a:pt x="536" y="724"/>
                </a:lnTo>
                <a:lnTo>
                  <a:pt x="536" y="727"/>
                </a:lnTo>
                <a:lnTo>
                  <a:pt x="536" y="727"/>
                </a:lnTo>
                <a:lnTo>
                  <a:pt x="533" y="730"/>
                </a:lnTo>
                <a:lnTo>
                  <a:pt x="533" y="730"/>
                </a:lnTo>
                <a:lnTo>
                  <a:pt x="531" y="730"/>
                </a:lnTo>
                <a:lnTo>
                  <a:pt x="528" y="730"/>
                </a:lnTo>
                <a:lnTo>
                  <a:pt x="528" y="730"/>
                </a:lnTo>
                <a:lnTo>
                  <a:pt x="528" y="732"/>
                </a:lnTo>
                <a:lnTo>
                  <a:pt x="525" y="735"/>
                </a:lnTo>
                <a:lnTo>
                  <a:pt x="525" y="735"/>
                </a:lnTo>
                <a:lnTo>
                  <a:pt x="525" y="735"/>
                </a:lnTo>
                <a:lnTo>
                  <a:pt x="523" y="735"/>
                </a:lnTo>
                <a:lnTo>
                  <a:pt x="520" y="738"/>
                </a:lnTo>
                <a:lnTo>
                  <a:pt x="515" y="738"/>
                </a:lnTo>
                <a:lnTo>
                  <a:pt x="515" y="740"/>
                </a:lnTo>
                <a:lnTo>
                  <a:pt x="512" y="738"/>
                </a:lnTo>
                <a:lnTo>
                  <a:pt x="509" y="740"/>
                </a:lnTo>
                <a:lnTo>
                  <a:pt x="507" y="740"/>
                </a:lnTo>
                <a:lnTo>
                  <a:pt x="507" y="740"/>
                </a:lnTo>
                <a:lnTo>
                  <a:pt x="507" y="740"/>
                </a:lnTo>
                <a:lnTo>
                  <a:pt x="507" y="740"/>
                </a:lnTo>
                <a:lnTo>
                  <a:pt x="507" y="740"/>
                </a:lnTo>
                <a:lnTo>
                  <a:pt x="504" y="740"/>
                </a:lnTo>
                <a:lnTo>
                  <a:pt x="504" y="740"/>
                </a:lnTo>
                <a:lnTo>
                  <a:pt x="501" y="740"/>
                </a:lnTo>
                <a:lnTo>
                  <a:pt x="499" y="740"/>
                </a:lnTo>
                <a:lnTo>
                  <a:pt x="499" y="740"/>
                </a:lnTo>
                <a:lnTo>
                  <a:pt x="493" y="743"/>
                </a:lnTo>
                <a:lnTo>
                  <a:pt x="491" y="746"/>
                </a:lnTo>
                <a:lnTo>
                  <a:pt x="483" y="746"/>
                </a:lnTo>
                <a:lnTo>
                  <a:pt x="475" y="746"/>
                </a:lnTo>
                <a:lnTo>
                  <a:pt x="469" y="746"/>
                </a:lnTo>
                <a:lnTo>
                  <a:pt x="464" y="746"/>
                </a:lnTo>
                <a:lnTo>
                  <a:pt x="456" y="743"/>
                </a:lnTo>
                <a:lnTo>
                  <a:pt x="456" y="740"/>
                </a:lnTo>
                <a:lnTo>
                  <a:pt x="453" y="740"/>
                </a:lnTo>
                <a:lnTo>
                  <a:pt x="453" y="740"/>
                </a:lnTo>
                <a:lnTo>
                  <a:pt x="453" y="738"/>
                </a:lnTo>
                <a:lnTo>
                  <a:pt x="453" y="738"/>
                </a:lnTo>
                <a:lnTo>
                  <a:pt x="453" y="738"/>
                </a:lnTo>
                <a:lnTo>
                  <a:pt x="453" y="735"/>
                </a:lnTo>
                <a:lnTo>
                  <a:pt x="453" y="735"/>
                </a:lnTo>
                <a:lnTo>
                  <a:pt x="453" y="735"/>
                </a:lnTo>
                <a:lnTo>
                  <a:pt x="453" y="732"/>
                </a:lnTo>
                <a:lnTo>
                  <a:pt x="453" y="732"/>
                </a:lnTo>
                <a:lnTo>
                  <a:pt x="453" y="732"/>
                </a:lnTo>
                <a:lnTo>
                  <a:pt x="450" y="735"/>
                </a:lnTo>
                <a:lnTo>
                  <a:pt x="448" y="738"/>
                </a:lnTo>
                <a:lnTo>
                  <a:pt x="448" y="738"/>
                </a:lnTo>
                <a:lnTo>
                  <a:pt x="445" y="738"/>
                </a:lnTo>
                <a:lnTo>
                  <a:pt x="445" y="738"/>
                </a:lnTo>
                <a:lnTo>
                  <a:pt x="442" y="735"/>
                </a:lnTo>
                <a:lnTo>
                  <a:pt x="442" y="735"/>
                </a:lnTo>
                <a:lnTo>
                  <a:pt x="432" y="740"/>
                </a:lnTo>
                <a:lnTo>
                  <a:pt x="429" y="740"/>
                </a:lnTo>
                <a:lnTo>
                  <a:pt x="429" y="743"/>
                </a:lnTo>
                <a:lnTo>
                  <a:pt x="426" y="743"/>
                </a:lnTo>
                <a:lnTo>
                  <a:pt x="424" y="746"/>
                </a:lnTo>
                <a:lnTo>
                  <a:pt x="424" y="746"/>
                </a:lnTo>
                <a:lnTo>
                  <a:pt x="421" y="746"/>
                </a:lnTo>
                <a:lnTo>
                  <a:pt x="418" y="743"/>
                </a:lnTo>
                <a:lnTo>
                  <a:pt x="413" y="740"/>
                </a:lnTo>
                <a:lnTo>
                  <a:pt x="413" y="740"/>
                </a:lnTo>
                <a:lnTo>
                  <a:pt x="413" y="738"/>
                </a:lnTo>
                <a:lnTo>
                  <a:pt x="413" y="738"/>
                </a:lnTo>
                <a:lnTo>
                  <a:pt x="416" y="735"/>
                </a:lnTo>
                <a:lnTo>
                  <a:pt x="416" y="735"/>
                </a:lnTo>
                <a:lnTo>
                  <a:pt x="416" y="730"/>
                </a:lnTo>
                <a:lnTo>
                  <a:pt x="416" y="727"/>
                </a:lnTo>
                <a:lnTo>
                  <a:pt x="418" y="727"/>
                </a:lnTo>
                <a:lnTo>
                  <a:pt x="418" y="727"/>
                </a:lnTo>
                <a:lnTo>
                  <a:pt x="418" y="727"/>
                </a:lnTo>
                <a:lnTo>
                  <a:pt x="418" y="727"/>
                </a:lnTo>
                <a:lnTo>
                  <a:pt x="418" y="724"/>
                </a:lnTo>
                <a:lnTo>
                  <a:pt x="416" y="724"/>
                </a:lnTo>
                <a:lnTo>
                  <a:pt x="416" y="727"/>
                </a:lnTo>
                <a:lnTo>
                  <a:pt x="413" y="727"/>
                </a:lnTo>
                <a:lnTo>
                  <a:pt x="413" y="727"/>
                </a:lnTo>
                <a:lnTo>
                  <a:pt x="413" y="730"/>
                </a:lnTo>
                <a:lnTo>
                  <a:pt x="408" y="735"/>
                </a:lnTo>
                <a:lnTo>
                  <a:pt x="405" y="740"/>
                </a:lnTo>
                <a:lnTo>
                  <a:pt x="391" y="748"/>
                </a:lnTo>
                <a:lnTo>
                  <a:pt x="389" y="748"/>
                </a:lnTo>
                <a:lnTo>
                  <a:pt x="386" y="748"/>
                </a:lnTo>
                <a:lnTo>
                  <a:pt x="383" y="748"/>
                </a:lnTo>
                <a:lnTo>
                  <a:pt x="383" y="751"/>
                </a:lnTo>
                <a:lnTo>
                  <a:pt x="383" y="754"/>
                </a:lnTo>
                <a:lnTo>
                  <a:pt x="383" y="754"/>
                </a:lnTo>
                <a:lnTo>
                  <a:pt x="381" y="754"/>
                </a:lnTo>
                <a:lnTo>
                  <a:pt x="381" y="754"/>
                </a:lnTo>
                <a:lnTo>
                  <a:pt x="378" y="756"/>
                </a:lnTo>
                <a:lnTo>
                  <a:pt x="375" y="756"/>
                </a:lnTo>
                <a:lnTo>
                  <a:pt x="370" y="756"/>
                </a:lnTo>
                <a:lnTo>
                  <a:pt x="367" y="756"/>
                </a:lnTo>
                <a:lnTo>
                  <a:pt x="365" y="759"/>
                </a:lnTo>
                <a:lnTo>
                  <a:pt x="362" y="759"/>
                </a:lnTo>
                <a:lnTo>
                  <a:pt x="359" y="762"/>
                </a:lnTo>
                <a:lnTo>
                  <a:pt x="357" y="762"/>
                </a:lnTo>
                <a:lnTo>
                  <a:pt x="357" y="759"/>
                </a:lnTo>
                <a:lnTo>
                  <a:pt x="354" y="759"/>
                </a:lnTo>
                <a:lnTo>
                  <a:pt x="351" y="759"/>
                </a:lnTo>
                <a:lnTo>
                  <a:pt x="351" y="759"/>
                </a:lnTo>
                <a:lnTo>
                  <a:pt x="349" y="762"/>
                </a:lnTo>
                <a:lnTo>
                  <a:pt x="349" y="764"/>
                </a:lnTo>
                <a:lnTo>
                  <a:pt x="349" y="770"/>
                </a:lnTo>
                <a:lnTo>
                  <a:pt x="346" y="772"/>
                </a:lnTo>
                <a:lnTo>
                  <a:pt x="343" y="775"/>
                </a:lnTo>
                <a:lnTo>
                  <a:pt x="338" y="775"/>
                </a:lnTo>
                <a:lnTo>
                  <a:pt x="338" y="775"/>
                </a:lnTo>
                <a:lnTo>
                  <a:pt x="335" y="778"/>
                </a:lnTo>
                <a:lnTo>
                  <a:pt x="332" y="778"/>
                </a:lnTo>
                <a:lnTo>
                  <a:pt x="327" y="780"/>
                </a:lnTo>
                <a:lnTo>
                  <a:pt x="324" y="780"/>
                </a:lnTo>
                <a:lnTo>
                  <a:pt x="322" y="783"/>
                </a:lnTo>
                <a:lnTo>
                  <a:pt x="319" y="786"/>
                </a:lnTo>
                <a:lnTo>
                  <a:pt x="316" y="789"/>
                </a:lnTo>
                <a:lnTo>
                  <a:pt x="314" y="791"/>
                </a:lnTo>
                <a:lnTo>
                  <a:pt x="311" y="797"/>
                </a:lnTo>
                <a:lnTo>
                  <a:pt x="311" y="799"/>
                </a:lnTo>
                <a:lnTo>
                  <a:pt x="308" y="802"/>
                </a:lnTo>
                <a:lnTo>
                  <a:pt x="292" y="807"/>
                </a:lnTo>
                <a:lnTo>
                  <a:pt x="290" y="810"/>
                </a:lnTo>
                <a:lnTo>
                  <a:pt x="287" y="813"/>
                </a:lnTo>
                <a:lnTo>
                  <a:pt x="279" y="821"/>
                </a:lnTo>
                <a:lnTo>
                  <a:pt x="276" y="823"/>
                </a:lnTo>
                <a:lnTo>
                  <a:pt x="276" y="826"/>
                </a:lnTo>
                <a:lnTo>
                  <a:pt x="274" y="826"/>
                </a:lnTo>
                <a:lnTo>
                  <a:pt x="274" y="829"/>
                </a:lnTo>
                <a:lnTo>
                  <a:pt x="271" y="831"/>
                </a:lnTo>
                <a:lnTo>
                  <a:pt x="247" y="839"/>
                </a:lnTo>
                <a:lnTo>
                  <a:pt x="233" y="848"/>
                </a:lnTo>
                <a:lnTo>
                  <a:pt x="233" y="845"/>
                </a:lnTo>
                <a:lnTo>
                  <a:pt x="231" y="845"/>
                </a:lnTo>
                <a:lnTo>
                  <a:pt x="231" y="845"/>
                </a:lnTo>
                <a:lnTo>
                  <a:pt x="231" y="848"/>
                </a:lnTo>
                <a:lnTo>
                  <a:pt x="228" y="848"/>
                </a:lnTo>
                <a:lnTo>
                  <a:pt x="223" y="850"/>
                </a:lnTo>
                <a:lnTo>
                  <a:pt x="220" y="848"/>
                </a:lnTo>
                <a:lnTo>
                  <a:pt x="215" y="850"/>
                </a:lnTo>
                <a:lnTo>
                  <a:pt x="199" y="858"/>
                </a:lnTo>
                <a:lnTo>
                  <a:pt x="190" y="861"/>
                </a:lnTo>
                <a:lnTo>
                  <a:pt x="190" y="864"/>
                </a:lnTo>
                <a:lnTo>
                  <a:pt x="188" y="864"/>
                </a:lnTo>
                <a:lnTo>
                  <a:pt x="188" y="866"/>
                </a:lnTo>
                <a:lnTo>
                  <a:pt x="185" y="866"/>
                </a:lnTo>
                <a:lnTo>
                  <a:pt x="185" y="866"/>
                </a:lnTo>
                <a:lnTo>
                  <a:pt x="182" y="872"/>
                </a:lnTo>
                <a:lnTo>
                  <a:pt x="182" y="874"/>
                </a:lnTo>
                <a:lnTo>
                  <a:pt x="182" y="874"/>
                </a:lnTo>
                <a:lnTo>
                  <a:pt x="182" y="874"/>
                </a:lnTo>
                <a:lnTo>
                  <a:pt x="182" y="874"/>
                </a:lnTo>
                <a:lnTo>
                  <a:pt x="182" y="874"/>
                </a:lnTo>
                <a:lnTo>
                  <a:pt x="182" y="874"/>
                </a:lnTo>
                <a:lnTo>
                  <a:pt x="180" y="877"/>
                </a:lnTo>
                <a:lnTo>
                  <a:pt x="174" y="888"/>
                </a:lnTo>
                <a:lnTo>
                  <a:pt x="174" y="885"/>
                </a:lnTo>
                <a:lnTo>
                  <a:pt x="172" y="882"/>
                </a:lnTo>
                <a:lnTo>
                  <a:pt x="169" y="882"/>
                </a:lnTo>
                <a:lnTo>
                  <a:pt x="169" y="882"/>
                </a:lnTo>
                <a:lnTo>
                  <a:pt x="169" y="885"/>
                </a:lnTo>
                <a:lnTo>
                  <a:pt x="169" y="885"/>
                </a:lnTo>
                <a:lnTo>
                  <a:pt x="169" y="888"/>
                </a:lnTo>
                <a:lnTo>
                  <a:pt x="169" y="888"/>
                </a:lnTo>
                <a:lnTo>
                  <a:pt x="172" y="888"/>
                </a:lnTo>
                <a:lnTo>
                  <a:pt x="172" y="890"/>
                </a:lnTo>
                <a:lnTo>
                  <a:pt x="172" y="893"/>
                </a:lnTo>
                <a:lnTo>
                  <a:pt x="169" y="896"/>
                </a:lnTo>
                <a:lnTo>
                  <a:pt x="169" y="898"/>
                </a:lnTo>
                <a:lnTo>
                  <a:pt x="169" y="901"/>
                </a:lnTo>
                <a:lnTo>
                  <a:pt x="166" y="901"/>
                </a:lnTo>
                <a:lnTo>
                  <a:pt x="166" y="901"/>
                </a:lnTo>
                <a:lnTo>
                  <a:pt x="166" y="901"/>
                </a:lnTo>
                <a:lnTo>
                  <a:pt x="166" y="904"/>
                </a:lnTo>
                <a:lnTo>
                  <a:pt x="166" y="904"/>
                </a:lnTo>
                <a:lnTo>
                  <a:pt x="164" y="907"/>
                </a:lnTo>
                <a:lnTo>
                  <a:pt x="164" y="909"/>
                </a:lnTo>
                <a:lnTo>
                  <a:pt x="161" y="912"/>
                </a:lnTo>
                <a:lnTo>
                  <a:pt x="161" y="915"/>
                </a:lnTo>
                <a:lnTo>
                  <a:pt x="158" y="920"/>
                </a:lnTo>
                <a:lnTo>
                  <a:pt x="158" y="923"/>
                </a:lnTo>
                <a:lnTo>
                  <a:pt x="158" y="925"/>
                </a:lnTo>
                <a:lnTo>
                  <a:pt x="156" y="925"/>
                </a:lnTo>
                <a:lnTo>
                  <a:pt x="156" y="928"/>
                </a:lnTo>
                <a:lnTo>
                  <a:pt x="156" y="931"/>
                </a:lnTo>
                <a:lnTo>
                  <a:pt x="156" y="933"/>
                </a:lnTo>
                <a:lnTo>
                  <a:pt x="156" y="933"/>
                </a:lnTo>
                <a:lnTo>
                  <a:pt x="153" y="933"/>
                </a:lnTo>
                <a:lnTo>
                  <a:pt x="153" y="936"/>
                </a:lnTo>
                <a:lnTo>
                  <a:pt x="150" y="933"/>
                </a:lnTo>
                <a:lnTo>
                  <a:pt x="150" y="933"/>
                </a:lnTo>
                <a:lnTo>
                  <a:pt x="148" y="931"/>
                </a:lnTo>
                <a:lnTo>
                  <a:pt x="148" y="931"/>
                </a:lnTo>
                <a:lnTo>
                  <a:pt x="148" y="931"/>
                </a:lnTo>
                <a:lnTo>
                  <a:pt x="145" y="931"/>
                </a:lnTo>
                <a:lnTo>
                  <a:pt x="145" y="931"/>
                </a:lnTo>
                <a:lnTo>
                  <a:pt x="142" y="931"/>
                </a:lnTo>
                <a:lnTo>
                  <a:pt x="140" y="933"/>
                </a:lnTo>
                <a:lnTo>
                  <a:pt x="137" y="933"/>
                </a:lnTo>
                <a:lnTo>
                  <a:pt x="137" y="936"/>
                </a:lnTo>
                <a:lnTo>
                  <a:pt x="134" y="939"/>
                </a:lnTo>
                <a:lnTo>
                  <a:pt x="132" y="939"/>
                </a:lnTo>
                <a:lnTo>
                  <a:pt x="129" y="936"/>
                </a:lnTo>
                <a:lnTo>
                  <a:pt x="129" y="933"/>
                </a:lnTo>
                <a:lnTo>
                  <a:pt x="129" y="928"/>
                </a:lnTo>
                <a:lnTo>
                  <a:pt x="129" y="925"/>
                </a:lnTo>
                <a:lnTo>
                  <a:pt x="129" y="925"/>
                </a:lnTo>
                <a:lnTo>
                  <a:pt x="129" y="923"/>
                </a:lnTo>
                <a:lnTo>
                  <a:pt x="132" y="920"/>
                </a:lnTo>
                <a:lnTo>
                  <a:pt x="134" y="920"/>
                </a:lnTo>
                <a:lnTo>
                  <a:pt x="134" y="917"/>
                </a:lnTo>
                <a:lnTo>
                  <a:pt x="134" y="917"/>
                </a:lnTo>
                <a:lnTo>
                  <a:pt x="134" y="915"/>
                </a:lnTo>
                <a:lnTo>
                  <a:pt x="132" y="915"/>
                </a:lnTo>
                <a:lnTo>
                  <a:pt x="132" y="915"/>
                </a:lnTo>
                <a:lnTo>
                  <a:pt x="129" y="917"/>
                </a:lnTo>
                <a:lnTo>
                  <a:pt x="129" y="917"/>
                </a:lnTo>
                <a:lnTo>
                  <a:pt x="129" y="917"/>
                </a:lnTo>
                <a:lnTo>
                  <a:pt x="129" y="915"/>
                </a:lnTo>
                <a:lnTo>
                  <a:pt x="129" y="912"/>
                </a:lnTo>
                <a:lnTo>
                  <a:pt x="129" y="909"/>
                </a:lnTo>
                <a:lnTo>
                  <a:pt x="126" y="907"/>
                </a:lnTo>
                <a:lnTo>
                  <a:pt x="126" y="904"/>
                </a:lnTo>
                <a:lnTo>
                  <a:pt x="123" y="901"/>
                </a:lnTo>
                <a:lnTo>
                  <a:pt x="126" y="898"/>
                </a:lnTo>
                <a:lnTo>
                  <a:pt x="126" y="893"/>
                </a:lnTo>
                <a:lnTo>
                  <a:pt x="129" y="874"/>
                </a:lnTo>
                <a:lnTo>
                  <a:pt x="132" y="869"/>
                </a:lnTo>
                <a:lnTo>
                  <a:pt x="132" y="866"/>
                </a:lnTo>
                <a:lnTo>
                  <a:pt x="132" y="866"/>
                </a:lnTo>
                <a:lnTo>
                  <a:pt x="134" y="864"/>
                </a:lnTo>
                <a:lnTo>
                  <a:pt x="134" y="864"/>
                </a:lnTo>
                <a:lnTo>
                  <a:pt x="134" y="861"/>
                </a:lnTo>
                <a:lnTo>
                  <a:pt x="134" y="861"/>
                </a:lnTo>
                <a:lnTo>
                  <a:pt x="132" y="861"/>
                </a:lnTo>
                <a:lnTo>
                  <a:pt x="129" y="861"/>
                </a:lnTo>
                <a:lnTo>
                  <a:pt x="126" y="861"/>
                </a:lnTo>
                <a:lnTo>
                  <a:pt x="126" y="864"/>
                </a:lnTo>
                <a:lnTo>
                  <a:pt x="123" y="864"/>
                </a:lnTo>
                <a:lnTo>
                  <a:pt x="121" y="866"/>
                </a:lnTo>
                <a:lnTo>
                  <a:pt x="118" y="866"/>
                </a:lnTo>
                <a:lnTo>
                  <a:pt x="110" y="877"/>
                </a:lnTo>
                <a:lnTo>
                  <a:pt x="107" y="885"/>
                </a:lnTo>
                <a:lnTo>
                  <a:pt x="105" y="888"/>
                </a:lnTo>
                <a:lnTo>
                  <a:pt x="105" y="890"/>
                </a:lnTo>
                <a:lnTo>
                  <a:pt x="105" y="893"/>
                </a:lnTo>
                <a:lnTo>
                  <a:pt x="105" y="893"/>
                </a:lnTo>
                <a:lnTo>
                  <a:pt x="94" y="917"/>
                </a:lnTo>
                <a:lnTo>
                  <a:pt x="94" y="920"/>
                </a:lnTo>
                <a:lnTo>
                  <a:pt x="91" y="923"/>
                </a:lnTo>
                <a:lnTo>
                  <a:pt x="89" y="925"/>
                </a:lnTo>
                <a:lnTo>
                  <a:pt x="89" y="928"/>
                </a:lnTo>
                <a:lnTo>
                  <a:pt x="89" y="933"/>
                </a:lnTo>
                <a:lnTo>
                  <a:pt x="89" y="933"/>
                </a:lnTo>
                <a:lnTo>
                  <a:pt x="86" y="936"/>
                </a:lnTo>
                <a:lnTo>
                  <a:pt x="83" y="939"/>
                </a:lnTo>
                <a:lnTo>
                  <a:pt x="83" y="941"/>
                </a:lnTo>
                <a:lnTo>
                  <a:pt x="81" y="941"/>
                </a:lnTo>
                <a:lnTo>
                  <a:pt x="78" y="941"/>
                </a:lnTo>
                <a:lnTo>
                  <a:pt x="78" y="944"/>
                </a:lnTo>
                <a:lnTo>
                  <a:pt x="78" y="944"/>
                </a:lnTo>
                <a:lnTo>
                  <a:pt x="81" y="947"/>
                </a:lnTo>
                <a:lnTo>
                  <a:pt x="81" y="947"/>
                </a:lnTo>
                <a:lnTo>
                  <a:pt x="81" y="949"/>
                </a:lnTo>
                <a:lnTo>
                  <a:pt x="81" y="952"/>
                </a:lnTo>
                <a:lnTo>
                  <a:pt x="81" y="955"/>
                </a:lnTo>
                <a:lnTo>
                  <a:pt x="81" y="955"/>
                </a:lnTo>
                <a:lnTo>
                  <a:pt x="81" y="960"/>
                </a:lnTo>
                <a:lnTo>
                  <a:pt x="81" y="960"/>
                </a:lnTo>
                <a:lnTo>
                  <a:pt x="83" y="960"/>
                </a:lnTo>
                <a:lnTo>
                  <a:pt x="83" y="960"/>
                </a:lnTo>
                <a:lnTo>
                  <a:pt x="86" y="960"/>
                </a:lnTo>
                <a:lnTo>
                  <a:pt x="91" y="966"/>
                </a:lnTo>
                <a:lnTo>
                  <a:pt x="91" y="974"/>
                </a:lnTo>
                <a:lnTo>
                  <a:pt x="94" y="976"/>
                </a:lnTo>
                <a:lnTo>
                  <a:pt x="94" y="979"/>
                </a:lnTo>
                <a:lnTo>
                  <a:pt x="97" y="982"/>
                </a:lnTo>
                <a:lnTo>
                  <a:pt x="97" y="995"/>
                </a:lnTo>
                <a:lnTo>
                  <a:pt x="94" y="998"/>
                </a:lnTo>
                <a:lnTo>
                  <a:pt x="94" y="1000"/>
                </a:lnTo>
                <a:lnTo>
                  <a:pt x="91" y="1000"/>
                </a:lnTo>
                <a:lnTo>
                  <a:pt x="91" y="1000"/>
                </a:lnTo>
                <a:lnTo>
                  <a:pt x="91" y="1000"/>
                </a:lnTo>
                <a:lnTo>
                  <a:pt x="89" y="1003"/>
                </a:lnTo>
                <a:lnTo>
                  <a:pt x="89" y="1003"/>
                </a:lnTo>
                <a:lnTo>
                  <a:pt x="89" y="1006"/>
                </a:lnTo>
                <a:lnTo>
                  <a:pt x="89" y="1008"/>
                </a:lnTo>
                <a:lnTo>
                  <a:pt x="91" y="1014"/>
                </a:lnTo>
                <a:lnTo>
                  <a:pt x="94" y="1025"/>
                </a:lnTo>
                <a:lnTo>
                  <a:pt x="91" y="1027"/>
                </a:lnTo>
                <a:lnTo>
                  <a:pt x="91" y="1030"/>
                </a:lnTo>
                <a:lnTo>
                  <a:pt x="91" y="1038"/>
                </a:lnTo>
                <a:lnTo>
                  <a:pt x="91" y="1038"/>
                </a:lnTo>
                <a:lnTo>
                  <a:pt x="91" y="1041"/>
                </a:lnTo>
                <a:lnTo>
                  <a:pt x="89" y="1041"/>
                </a:lnTo>
                <a:lnTo>
                  <a:pt x="89" y="1043"/>
                </a:lnTo>
                <a:lnTo>
                  <a:pt x="89" y="1046"/>
                </a:lnTo>
                <a:lnTo>
                  <a:pt x="83" y="1049"/>
                </a:lnTo>
                <a:lnTo>
                  <a:pt x="83" y="1049"/>
                </a:lnTo>
                <a:lnTo>
                  <a:pt x="83" y="1049"/>
                </a:lnTo>
                <a:lnTo>
                  <a:pt x="83" y="1051"/>
                </a:lnTo>
                <a:lnTo>
                  <a:pt x="81" y="1051"/>
                </a:lnTo>
                <a:lnTo>
                  <a:pt x="78" y="1051"/>
                </a:lnTo>
                <a:lnTo>
                  <a:pt x="78" y="1054"/>
                </a:lnTo>
                <a:lnTo>
                  <a:pt x="75" y="1054"/>
                </a:lnTo>
                <a:lnTo>
                  <a:pt x="75" y="1054"/>
                </a:lnTo>
                <a:lnTo>
                  <a:pt x="75" y="1054"/>
                </a:lnTo>
                <a:lnTo>
                  <a:pt x="73" y="1057"/>
                </a:lnTo>
                <a:lnTo>
                  <a:pt x="73" y="1057"/>
                </a:lnTo>
                <a:lnTo>
                  <a:pt x="70" y="1067"/>
                </a:lnTo>
                <a:lnTo>
                  <a:pt x="67" y="1067"/>
                </a:lnTo>
                <a:lnTo>
                  <a:pt x="65" y="1070"/>
                </a:lnTo>
                <a:lnTo>
                  <a:pt x="62" y="1081"/>
                </a:lnTo>
                <a:lnTo>
                  <a:pt x="62" y="1081"/>
                </a:lnTo>
                <a:lnTo>
                  <a:pt x="59" y="1086"/>
                </a:lnTo>
                <a:lnTo>
                  <a:pt x="59" y="1089"/>
                </a:lnTo>
                <a:lnTo>
                  <a:pt x="59" y="1089"/>
                </a:lnTo>
                <a:lnTo>
                  <a:pt x="59" y="1092"/>
                </a:lnTo>
                <a:lnTo>
                  <a:pt x="59" y="1094"/>
                </a:lnTo>
                <a:lnTo>
                  <a:pt x="56" y="1097"/>
                </a:lnTo>
                <a:lnTo>
                  <a:pt x="56" y="1097"/>
                </a:lnTo>
                <a:lnTo>
                  <a:pt x="54" y="1100"/>
                </a:lnTo>
                <a:lnTo>
                  <a:pt x="54" y="1100"/>
                </a:lnTo>
                <a:lnTo>
                  <a:pt x="54" y="1102"/>
                </a:lnTo>
                <a:lnTo>
                  <a:pt x="54" y="1108"/>
                </a:lnTo>
                <a:lnTo>
                  <a:pt x="56" y="1110"/>
                </a:lnTo>
                <a:lnTo>
                  <a:pt x="56" y="1113"/>
                </a:lnTo>
                <a:lnTo>
                  <a:pt x="54" y="1116"/>
                </a:lnTo>
                <a:lnTo>
                  <a:pt x="51" y="1118"/>
                </a:lnTo>
                <a:lnTo>
                  <a:pt x="51" y="1121"/>
                </a:lnTo>
                <a:lnTo>
                  <a:pt x="51" y="1121"/>
                </a:lnTo>
                <a:lnTo>
                  <a:pt x="51" y="1140"/>
                </a:lnTo>
                <a:lnTo>
                  <a:pt x="51" y="1145"/>
                </a:lnTo>
                <a:lnTo>
                  <a:pt x="54" y="1148"/>
                </a:lnTo>
                <a:lnTo>
                  <a:pt x="56" y="1153"/>
                </a:lnTo>
                <a:lnTo>
                  <a:pt x="67" y="1164"/>
                </a:lnTo>
                <a:lnTo>
                  <a:pt x="73" y="1172"/>
                </a:lnTo>
                <a:lnTo>
                  <a:pt x="75" y="1175"/>
                </a:lnTo>
                <a:lnTo>
                  <a:pt x="75" y="1177"/>
                </a:lnTo>
                <a:lnTo>
                  <a:pt x="75" y="1180"/>
                </a:lnTo>
                <a:lnTo>
                  <a:pt x="75" y="1183"/>
                </a:lnTo>
                <a:lnTo>
                  <a:pt x="75" y="1185"/>
                </a:lnTo>
                <a:lnTo>
                  <a:pt x="75" y="1185"/>
                </a:lnTo>
                <a:lnTo>
                  <a:pt x="75" y="1188"/>
                </a:lnTo>
                <a:lnTo>
                  <a:pt x="75" y="1191"/>
                </a:lnTo>
                <a:lnTo>
                  <a:pt x="78" y="1191"/>
                </a:lnTo>
                <a:lnTo>
                  <a:pt x="81" y="1194"/>
                </a:lnTo>
                <a:lnTo>
                  <a:pt x="81" y="1196"/>
                </a:lnTo>
                <a:lnTo>
                  <a:pt x="81" y="1196"/>
                </a:lnTo>
                <a:lnTo>
                  <a:pt x="81" y="1199"/>
                </a:lnTo>
                <a:lnTo>
                  <a:pt x="78" y="1199"/>
                </a:lnTo>
                <a:lnTo>
                  <a:pt x="78" y="1202"/>
                </a:lnTo>
                <a:lnTo>
                  <a:pt x="78" y="1202"/>
                </a:lnTo>
                <a:lnTo>
                  <a:pt x="78" y="1202"/>
                </a:lnTo>
                <a:lnTo>
                  <a:pt x="81" y="1204"/>
                </a:lnTo>
                <a:lnTo>
                  <a:pt x="81" y="1207"/>
                </a:lnTo>
                <a:lnTo>
                  <a:pt x="81" y="1210"/>
                </a:lnTo>
                <a:lnTo>
                  <a:pt x="83" y="1212"/>
                </a:lnTo>
                <a:lnTo>
                  <a:pt x="86" y="1215"/>
                </a:lnTo>
                <a:lnTo>
                  <a:pt x="89" y="1218"/>
                </a:lnTo>
                <a:lnTo>
                  <a:pt x="94" y="1220"/>
                </a:lnTo>
                <a:lnTo>
                  <a:pt x="94" y="1220"/>
                </a:lnTo>
                <a:lnTo>
                  <a:pt x="97" y="1220"/>
                </a:lnTo>
                <a:lnTo>
                  <a:pt x="97" y="1226"/>
                </a:lnTo>
                <a:lnTo>
                  <a:pt x="99" y="1231"/>
                </a:lnTo>
                <a:lnTo>
                  <a:pt x="102" y="1231"/>
                </a:lnTo>
                <a:lnTo>
                  <a:pt x="102" y="1234"/>
                </a:lnTo>
                <a:lnTo>
                  <a:pt x="107" y="1250"/>
                </a:lnTo>
                <a:lnTo>
                  <a:pt x="110" y="1255"/>
                </a:lnTo>
                <a:lnTo>
                  <a:pt x="118" y="1263"/>
                </a:lnTo>
                <a:lnTo>
                  <a:pt x="121" y="1269"/>
                </a:lnTo>
                <a:lnTo>
                  <a:pt x="121" y="1271"/>
                </a:lnTo>
                <a:lnTo>
                  <a:pt x="126" y="1274"/>
                </a:lnTo>
                <a:lnTo>
                  <a:pt x="126" y="1274"/>
                </a:lnTo>
                <a:lnTo>
                  <a:pt x="126" y="1277"/>
                </a:lnTo>
                <a:lnTo>
                  <a:pt x="126" y="1277"/>
                </a:lnTo>
                <a:lnTo>
                  <a:pt x="129" y="1277"/>
                </a:lnTo>
                <a:lnTo>
                  <a:pt x="129" y="1279"/>
                </a:lnTo>
                <a:lnTo>
                  <a:pt x="132" y="1279"/>
                </a:lnTo>
                <a:lnTo>
                  <a:pt x="129" y="1282"/>
                </a:lnTo>
                <a:lnTo>
                  <a:pt x="132" y="1282"/>
                </a:lnTo>
                <a:lnTo>
                  <a:pt x="132" y="1285"/>
                </a:lnTo>
                <a:lnTo>
                  <a:pt x="132" y="1287"/>
                </a:lnTo>
                <a:lnTo>
                  <a:pt x="137" y="1287"/>
                </a:lnTo>
                <a:lnTo>
                  <a:pt x="142" y="1290"/>
                </a:lnTo>
                <a:lnTo>
                  <a:pt x="142" y="1293"/>
                </a:lnTo>
                <a:lnTo>
                  <a:pt x="145" y="1295"/>
                </a:lnTo>
                <a:lnTo>
                  <a:pt x="142" y="1295"/>
                </a:lnTo>
                <a:lnTo>
                  <a:pt x="142" y="1298"/>
                </a:lnTo>
                <a:lnTo>
                  <a:pt x="142" y="1301"/>
                </a:lnTo>
                <a:lnTo>
                  <a:pt x="142" y="1304"/>
                </a:lnTo>
                <a:lnTo>
                  <a:pt x="142" y="1304"/>
                </a:lnTo>
                <a:lnTo>
                  <a:pt x="145" y="1306"/>
                </a:lnTo>
                <a:lnTo>
                  <a:pt x="145" y="1309"/>
                </a:lnTo>
                <a:lnTo>
                  <a:pt x="142" y="1309"/>
                </a:lnTo>
                <a:lnTo>
                  <a:pt x="142" y="1309"/>
                </a:lnTo>
                <a:lnTo>
                  <a:pt x="142" y="1309"/>
                </a:lnTo>
                <a:lnTo>
                  <a:pt x="140" y="1309"/>
                </a:lnTo>
                <a:lnTo>
                  <a:pt x="140" y="1309"/>
                </a:lnTo>
                <a:lnTo>
                  <a:pt x="140" y="1309"/>
                </a:lnTo>
                <a:lnTo>
                  <a:pt x="137" y="1306"/>
                </a:lnTo>
                <a:lnTo>
                  <a:pt x="137" y="1306"/>
                </a:lnTo>
                <a:lnTo>
                  <a:pt x="137" y="1306"/>
                </a:lnTo>
                <a:lnTo>
                  <a:pt x="137" y="1309"/>
                </a:lnTo>
                <a:lnTo>
                  <a:pt x="140" y="1314"/>
                </a:lnTo>
                <a:lnTo>
                  <a:pt x="140" y="1317"/>
                </a:lnTo>
                <a:lnTo>
                  <a:pt x="140" y="1317"/>
                </a:lnTo>
                <a:lnTo>
                  <a:pt x="140" y="1320"/>
                </a:lnTo>
                <a:lnTo>
                  <a:pt x="140" y="1320"/>
                </a:lnTo>
                <a:lnTo>
                  <a:pt x="140" y="1320"/>
                </a:lnTo>
                <a:lnTo>
                  <a:pt x="137" y="1320"/>
                </a:lnTo>
                <a:lnTo>
                  <a:pt x="137" y="1322"/>
                </a:lnTo>
                <a:lnTo>
                  <a:pt x="137" y="1322"/>
                </a:lnTo>
                <a:lnTo>
                  <a:pt x="137" y="1322"/>
                </a:lnTo>
                <a:lnTo>
                  <a:pt x="134" y="1325"/>
                </a:lnTo>
                <a:lnTo>
                  <a:pt x="134" y="1328"/>
                </a:lnTo>
                <a:lnTo>
                  <a:pt x="134" y="1330"/>
                </a:lnTo>
                <a:lnTo>
                  <a:pt x="134" y="1333"/>
                </a:lnTo>
                <a:lnTo>
                  <a:pt x="137" y="1333"/>
                </a:lnTo>
                <a:lnTo>
                  <a:pt x="140" y="1338"/>
                </a:lnTo>
                <a:lnTo>
                  <a:pt x="140" y="1338"/>
                </a:lnTo>
                <a:lnTo>
                  <a:pt x="137" y="1346"/>
                </a:lnTo>
                <a:lnTo>
                  <a:pt x="137" y="1349"/>
                </a:lnTo>
                <a:lnTo>
                  <a:pt x="134" y="1349"/>
                </a:lnTo>
                <a:lnTo>
                  <a:pt x="134" y="1349"/>
                </a:lnTo>
                <a:lnTo>
                  <a:pt x="132" y="1349"/>
                </a:lnTo>
                <a:lnTo>
                  <a:pt x="129" y="1352"/>
                </a:lnTo>
                <a:lnTo>
                  <a:pt x="129" y="1352"/>
                </a:lnTo>
                <a:lnTo>
                  <a:pt x="126" y="1354"/>
                </a:lnTo>
                <a:lnTo>
                  <a:pt x="126" y="1357"/>
                </a:lnTo>
                <a:lnTo>
                  <a:pt x="123" y="1357"/>
                </a:lnTo>
                <a:lnTo>
                  <a:pt x="123" y="1357"/>
                </a:lnTo>
                <a:lnTo>
                  <a:pt x="118" y="1349"/>
                </a:lnTo>
                <a:lnTo>
                  <a:pt x="113" y="1344"/>
                </a:lnTo>
                <a:lnTo>
                  <a:pt x="110" y="1341"/>
                </a:lnTo>
                <a:lnTo>
                  <a:pt x="110" y="1341"/>
                </a:lnTo>
                <a:lnTo>
                  <a:pt x="110" y="1338"/>
                </a:lnTo>
                <a:lnTo>
                  <a:pt x="110" y="1333"/>
                </a:lnTo>
                <a:lnTo>
                  <a:pt x="107" y="1328"/>
                </a:lnTo>
                <a:lnTo>
                  <a:pt x="107" y="1325"/>
                </a:lnTo>
                <a:lnTo>
                  <a:pt x="107" y="1322"/>
                </a:lnTo>
                <a:lnTo>
                  <a:pt x="105" y="1322"/>
                </a:lnTo>
                <a:lnTo>
                  <a:pt x="105" y="1320"/>
                </a:lnTo>
                <a:lnTo>
                  <a:pt x="102" y="1309"/>
                </a:lnTo>
                <a:lnTo>
                  <a:pt x="102" y="1309"/>
                </a:lnTo>
                <a:lnTo>
                  <a:pt x="105" y="1306"/>
                </a:lnTo>
                <a:lnTo>
                  <a:pt x="105" y="1304"/>
                </a:lnTo>
                <a:lnTo>
                  <a:pt x="102" y="1304"/>
                </a:lnTo>
                <a:lnTo>
                  <a:pt x="102" y="1304"/>
                </a:lnTo>
                <a:lnTo>
                  <a:pt x="99" y="1304"/>
                </a:lnTo>
                <a:lnTo>
                  <a:pt x="99" y="1304"/>
                </a:lnTo>
                <a:lnTo>
                  <a:pt x="99" y="1304"/>
                </a:lnTo>
                <a:lnTo>
                  <a:pt x="99" y="1306"/>
                </a:lnTo>
                <a:lnTo>
                  <a:pt x="102" y="1309"/>
                </a:lnTo>
                <a:lnTo>
                  <a:pt x="102" y="1309"/>
                </a:lnTo>
                <a:lnTo>
                  <a:pt x="102" y="1312"/>
                </a:lnTo>
                <a:lnTo>
                  <a:pt x="99" y="1317"/>
                </a:lnTo>
                <a:lnTo>
                  <a:pt x="99" y="1320"/>
                </a:lnTo>
                <a:lnTo>
                  <a:pt x="91" y="1330"/>
                </a:lnTo>
                <a:lnTo>
                  <a:pt x="89" y="1330"/>
                </a:lnTo>
                <a:lnTo>
                  <a:pt x="86" y="1330"/>
                </a:lnTo>
                <a:lnTo>
                  <a:pt x="86" y="1330"/>
                </a:lnTo>
                <a:lnTo>
                  <a:pt x="86" y="1328"/>
                </a:lnTo>
                <a:lnTo>
                  <a:pt x="83" y="1325"/>
                </a:lnTo>
                <a:lnTo>
                  <a:pt x="83" y="1322"/>
                </a:lnTo>
                <a:lnTo>
                  <a:pt x="83" y="1317"/>
                </a:lnTo>
                <a:lnTo>
                  <a:pt x="81" y="1314"/>
                </a:lnTo>
                <a:lnTo>
                  <a:pt x="83" y="1312"/>
                </a:lnTo>
                <a:lnTo>
                  <a:pt x="86" y="1309"/>
                </a:lnTo>
                <a:lnTo>
                  <a:pt x="86" y="1306"/>
                </a:lnTo>
                <a:lnTo>
                  <a:pt x="86" y="1306"/>
                </a:lnTo>
                <a:lnTo>
                  <a:pt x="86" y="1304"/>
                </a:lnTo>
                <a:lnTo>
                  <a:pt x="86" y="1301"/>
                </a:lnTo>
                <a:lnTo>
                  <a:pt x="89" y="1301"/>
                </a:lnTo>
                <a:lnTo>
                  <a:pt x="89" y="1298"/>
                </a:lnTo>
                <a:lnTo>
                  <a:pt x="89" y="1298"/>
                </a:lnTo>
                <a:lnTo>
                  <a:pt x="89" y="1295"/>
                </a:lnTo>
                <a:lnTo>
                  <a:pt x="86" y="1295"/>
                </a:lnTo>
                <a:lnTo>
                  <a:pt x="86" y="1295"/>
                </a:lnTo>
                <a:lnTo>
                  <a:pt x="86" y="1293"/>
                </a:lnTo>
                <a:lnTo>
                  <a:pt x="86" y="1293"/>
                </a:lnTo>
                <a:lnTo>
                  <a:pt x="83" y="1290"/>
                </a:lnTo>
                <a:lnTo>
                  <a:pt x="86" y="1287"/>
                </a:lnTo>
                <a:lnTo>
                  <a:pt x="83" y="1287"/>
                </a:lnTo>
                <a:lnTo>
                  <a:pt x="81" y="1285"/>
                </a:lnTo>
                <a:lnTo>
                  <a:pt x="78" y="1285"/>
                </a:lnTo>
                <a:lnTo>
                  <a:pt x="78" y="1282"/>
                </a:lnTo>
                <a:lnTo>
                  <a:pt x="73" y="1277"/>
                </a:lnTo>
                <a:lnTo>
                  <a:pt x="70" y="1277"/>
                </a:lnTo>
                <a:lnTo>
                  <a:pt x="70" y="1274"/>
                </a:lnTo>
                <a:lnTo>
                  <a:pt x="70" y="1269"/>
                </a:lnTo>
                <a:lnTo>
                  <a:pt x="70" y="1269"/>
                </a:lnTo>
                <a:lnTo>
                  <a:pt x="67" y="1269"/>
                </a:lnTo>
                <a:lnTo>
                  <a:pt x="67" y="1269"/>
                </a:lnTo>
                <a:lnTo>
                  <a:pt x="65" y="1269"/>
                </a:lnTo>
                <a:lnTo>
                  <a:pt x="65" y="1266"/>
                </a:lnTo>
                <a:lnTo>
                  <a:pt x="65" y="1266"/>
                </a:lnTo>
                <a:lnTo>
                  <a:pt x="65" y="1266"/>
                </a:lnTo>
                <a:lnTo>
                  <a:pt x="62" y="1266"/>
                </a:lnTo>
                <a:lnTo>
                  <a:pt x="62" y="1263"/>
                </a:lnTo>
                <a:lnTo>
                  <a:pt x="62" y="1261"/>
                </a:lnTo>
                <a:lnTo>
                  <a:pt x="62" y="1255"/>
                </a:lnTo>
                <a:lnTo>
                  <a:pt x="62" y="1255"/>
                </a:lnTo>
                <a:lnTo>
                  <a:pt x="59" y="1261"/>
                </a:lnTo>
                <a:lnTo>
                  <a:pt x="56" y="1263"/>
                </a:lnTo>
                <a:lnTo>
                  <a:pt x="56" y="1266"/>
                </a:lnTo>
                <a:lnTo>
                  <a:pt x="54" y="1269"/>
                </a:lnTo>
                <a:lnTo>
                  <a:pt x="51" y="1271"/>
                </a:lnTo>
                <a:lnTo>
                  <a:pt x="51" y="1274"/>
                </a:lnTo>
                <a:lnTo>
                  <a:pt x="51" y="1277"/>
                </a:lnTo>
                <a:lnTo>
                  <a:pt x="51" y="1279"/>
                </a:lnTo>
                <a:lnTo>
                  <a:pt x="54" y="1282"/>
                </a:lnTo>
                <a:lnTo>
                  <a:pt x="56" y="1285"/>
                </a:lnTo>
                <a:lnTo>
                  <a:pt x="59" y="1285"/>
                </a:lnTo>
                <a:lnTo>
                  <a:pt x="56" y="1287"/>
                </a:lnTo>
                <a:lnTo>
                  <a:pt x="56" y="1287"/>
                </a:lnTo>
                <a:lnTo>
                  <a:pt x="56" y="1287"/>
                </a:lnTo>
                <a:lnTo>
                  <a:pt x="59" y="1290"/>
                </a:lnTo>
                <a:lnTo>
                  <a:pt x="59" y="1290"/>
                </a:lnTo>
                <a:lnTo>
                  <a:pt x="62" y="1293"/>
                </a:lnTo>
                <a:lnTo>
                  <a:pt x="62" y="1293"/>
                </a:lnTo>
                <a:lnTo>
                  <a:pt x="62" y="1295"/>
                </a:lnTo>
                <a:lnTo>
                  <a:pt x="62" y="1298"/>
                </a:lnTo>
                <a:lnTo>
                  <a:pt x="62" y="1298"/>
                </a:lnTo>
                <a:lnTo>
                  <a:pt x="62" y="1301"/>
                </a:lnTo>
                <a:lnTo>
                  <a:pt x="67" y="1304"/>
                </a:lnTo>
                <a:lnTo>
                  <a:pt x="67" y="1314"/>
                </a:lnTo>
                <a:lnTo>
                  <a:pt x="70" y="1317"/>
                </a:lnTo>
                <a:lnTo>
                  <a:pt x="70" y="1317"/>
                </a:lnTo>
                <a:lnTo>
                  <a:pt x="73" y="1320"/>
                </a:lnTo>
                <a:lnTo>
                  <a:pt x="75" y="1320"/>
                </a:lnTo>
                <a:lnTo>
                  <a:pt x="78" y="1325"/>
                </a:lnTo>
                <a:lnTo>
                  <a:pt x="81" y="1328"/>
                </a:lnTo>
                <a:lnTo>
                  <a:pt x="81" y="1330"/>
                </a:lnTo>
                <a:lnTo>
                  <a:pt x="81" y="1330"/>
                </a:lnTo>
                <a:lnTo>
                  <a:pt x="81" y="1330"/>
                </a:lnTo>
                <a:lnTo>
                  <a:pt x="89" y="1333"/>
                </a:lnTo>
                <a:lnTo>
                  <a:pt x="94" y="1336"/>
                </a:lnTo>
                <a:lnTo>
                  <a:pt x="97" y="1338"/>
                </a:lnTo>
                <a:lnTo>
                  <a:pt x="99" y="1341"/>
                </a:lnTo>
                <a:lnTo>
                  <a:pt x="102" y="1344"/>
                </a:lnTo>
                <a:lnTo>
                  <a:pt x="102" y="1346"/>
                </a:lnTo>
                <a:lnTo>
                  <a:pt x="99" y="1349"/>
                </a:lnTo>
                <a:lnTo>
                  <a:pt x="99" y="1352"/>
                </a:lnTo>
                <a:lnTo>
                  <a:pt x="99" y="1354"/>
                </a:lnTo>
                <a:lnTo>
                  <a:pt x="102" y="1357"/>
                </a:lnTo>
                <a:lnTo>
                  <a:pt x="102" y="1360"/>
                </a:lnTo>
                <a:lnTo>
                  <a:pt x="102" y="1363"/>
                </a:lnTo>
                <a:lnTo>
                  <a:pt x="99" y="1365"/>
                </a:lnTo>
                <a:lnTo>
                  <a:pt x="99" y="1365"/>
                </a:lnTo>
                <a:lnTo>
                  <a:pt x="97" y="1368"/>
                </a:lnTo>
                <a:lnTo>
                  <a:pt x="97" y="1368"/>
                </a:lnTo>
                <a:lnTo>
                  <a:pt x="94" y="1373"/>
                </a:lnTo>
                <a:lnTo>
                  <a:pt x="91" y="1373"/>
                </a:lnTo>
                <a:lnTo>
                  <a:pt x="91" y="1371"/>
                </a:lnTo>
                <a:lnTo>
                  <a:pt x="89" y="1371"/>
                </a:lnTo>
                <a:lnTo>
                  <a:pt x="89" y="1371"/>
                </a:lnTo>
                <a:lnTo>
                  <a:pt x="86" y="1373"/>
                </a:lnTo>
                <a:lnTo>
                  <a:pt x="83" y="1376"/>
                </a:lnTo>
                <a:lnTo>
                  <a:pt x="81" y="1376"/>
                </a:lnTo>
                <a:lnTo>
                  <a:pt x="83" y="1379"/>
                </a:lnTo>
                <a:lnTo>
                  <a:pt x="78" y="1379"/>
                </a:lnTo>
                <a:lnTo>
                  <a:pt x="78" y="1379"/>
                </a:lnTo>
                <a:lnTo>
                  <a:pt x="78" y="1376"/>
                </a:lnTo>
                <a:lnTo>
                  <a:pt x="78" y="1376"/>
                </a:lnTo>
                <a:lnTo>
                  <a:pt x="78" y="1373"/>
                </a:lnTo>
                <a:lnTo>
                  <a:pt x="75" y="1373"/>
                </a:lnTo>
                <a:lnTo>
                  <a:pt x="75" y="1373"/>
                </a:lnTo>
                <a:lnTo>
                  <a:pt x="75" y="1371"/>
                </a:lnTo>
                <a:lnTo>
                  <a:pt x="75" y="1371"/>
                </a:lnTo>
                <a:lnTo>
                  <a:pt x="75" y="1365"/>
                </a:lnTo>
                <a:lnTo>
                  <a:pt x="75" y="1365"/>
                </a:lnTo>
                <a:lnTo>
                  <a:pt x="75" y="1363"/>
                </a:lnTo>
                <a:lnTo>
                  <a:pt x="75" y="1360"/>
                </a:lnTo>
                <a:lnTo>
                  <a:pt x="75" y="1357"/>
                </a:lnTo>
                <a:lnTo>
                  <a:pt x="73" y="1360"/>
                </a:lnTo>
                <a:lnTo>
                  <a:pt x="73" y="1360"/>
                </a:lnTo>
                <a:lnTo>
                  <a:pt x="73" y="1363"/>
                </a:lnTo>
                <a:lnTo>
                  <a:pt x="73" y="1363"/>
                </a:lnTo>
                <a:lnTo>
                  <a:pt x="70" y="1365"/>
                </a:lnTo>
                <a:lnTo>
                  <a:pt x="70" y="1365"/>
                </a:lnTo>
                <a:lnTo>
                  <a:pt x="70" y="1373"/>
                </a:lnTo>
                <a:lnTo>
                  <a:pt x="70" y="1373"/>
                </a:lnTo>
                <a:lnTo>
                  <a:pt x="70" y="1373"/>
                </a:lnTo>
                <a:lnTo>
                  <a:pt x="67" y="1371"/>
                </a:lnTo>
                <a:lnTo>
                  <a:pt x="67" y="1363"/>
                </a:lnTo>
                <a:lnTo>
                  <a:pt x="67" y="1360"/>
                </a:lnTo>
                <a:lnTo>
                  <a:pt x="67" y="1357"/>
                </a:lnTo>
                <a:lnTo>
                  <a:pt x="67" y="1357"/>
                </a:lnTo>
                <a:lnTo>
                  <a:pt x="67" y="1354"/>
                </a:lnTo>
                <a:lnTo>
                  <a:pt x="67" y="1352"/>
                </a:lnTo>
                <a:lnTo>
                  <a:pt x="67" y="1349"/>
                </a:lnTo>
                <a:lnTo>
                  <a:pt x="67" y="1344"/>
                </a:lnTo>
                <a:lnTo>
                  <a:pt x="65" y="1341"/>
                </a:lnTo>
                <a:lnTo>
                  <a:pt x="65" y="1338"/>
                </a:lnTo>
                <a:lnTo>
                  <a:pt x="62" y="1338"/>
                </a:lnTo>
                <a:lnTo>
                  <a:pt x="62" y="1341"/>
                </a:lnTo>
                <a:lnTo>
                  <a:pt x="62" y="1346"/>
                </a:lnTo>
                <a:lnTo>
                  <a:pt x="62" y="1349"/>
                </a:lnTo>
                <a:lnTo>
                  <a:pt x="62" y="1349"/>
                </a:lnTo>
                <a:lnTo>
                  <a:pt x="59" y="1349"/>
                </a:lnTo>
                <a:lnTo>
                  <a:pt x="59" y="1344"/>
                </a:lnTo>
                <a:lnTo>
                  <a:pt x="59" y="1338"/>
                </a:lnTo>
                <a:lnTo>
                  <a:pt x="59" y="1338"/>
                </a:lnTo>
                <a:lnTo>
                  <a:pt x="59" y="1338"/>
                </a:lnTo>
                <a:lnTo>
                  <a:pt x="59" y="1338"/>
                </a:lnTo>
                <a:lnTo>
                  <a:pt x="56" y="1338"/>
                </a:lnTo>
                <a:lnTo>
                  <a:pt x="56" y="1333"/>
                </a:lnTo>
                <a:lnTo>
                  <a:pt x="54" y="1330"/>
                </a:lnTo>
                <a:lnTo>
                  <a:pt x="54" y="1325"/>
                </a:lnTo>
                <a:lnTo>
                  <a:pt x="51" y="1322"/>
                </a:lnTo>
                <a:lnTo>
                  <a:pt x="51" y="1325"/>
                </a:lnTo>
                <a:lnTo>
                  <a:pt x="51" y="1328"/>
                </a:lnTo>
                <a:lnTo>
                  <a:pt x="48" y="1314"/>
                </a:lnTo>
                <a:lnTo>
                  <a:pt x="46" y="1312"/>
                </a:lnTo>
                <a:lnTo>
                  <a:pt x="46" y="1312"/>
                </a:lnTo>
                <a:lnTo>
                  <a:pt x="48" y="1320"/>
                </a:lnTo>
                <a:lnTo>
                  <a:pt x="48" y="1333"/>
                </a:lnTo>
                <a:lnTo>
                  <a:pt x="46" y="1336"/>
                </a:lnTo>
                <a:lnTo>
                  <a:pt x="46" y="1338"/>
                </a:lnTo>
                <a:lnTo>
                  <a:pt x="46" y="1341"/>
                </a:lnTo>
                <a:lnTo>
                  <a:pt x="48" y="1346"/>
                </a:lnTo>
                <a:lnTo>
                  <a:pt x="48" y="1349"/>
                </a:lnTo>
                <a:lnTo>
                  <a:pt x="48" y="1349"/>
                </a:lnTo>
                <a:lnTo>
                  <a:pt x="46" y="1346"/>
                </a:lnTo>
                <a:lnTo>
                  <a:pt x="46" y="1346"/>
                </a:lnTo>
                <a:lnTo>
                  <a:pt x="46" y="1344"/>
                </a:lnTo>
                <a:lnTo>
                  <a:pt x="43" y="1344"/>
                </a:lnTo>
                <a:lnTo>
                  <a:pt x="43" y="1344"/>
                </a:lnTo>
                <a:lnTo>
                  <a:pt x="43" y="1344"/>
                </a:lnTo>
                <a:lnTo>
                  <a:pt x="43" y="1341"/>
                </a:lnTo>
                <a:lnTo>
                  <a:pt x="43" y="1338"/>
                </a:lnTo>
                <a:lnTo>
                  <a:pt x="43" y="1336"/>
                </a:lnTo>
                <a:lnTo>
                  <a:pt x="40" y="1312"/>
                </a:lnTo>
                <a:lnTo>
                  <a:pt x="40" y="1312"/>
                </a:lnTo>
                <a:lnTo>
                  <a:pt x="38" y="1312"/>
                </a:lnTo>
                <a:lnTo>
                  <a:pt x="38" y="1314"/>
                </a:lnTo>
                <a:lnTo>
                  <a:pt x="38" y="1320"/>
                </a:lnTo>
                <a:lnTo>
                  <a:pt x="38" y="1322"/>
                </a:lnTo>
                <a:lnTo>
                  <a:pt x="38" y="1325"/>
                </a:lnTo>
                <a:lnTo>
                  <a:pt x="38" y="1328"/>
                </a:lnTo>
                <a:lnTo>
                  <a:pt x="38" y="1330"/>
                </a:lnTo>
                <a:lnTo>
                  <a:pt x="38" y="1333"/>
                </a:lnTo>
                <a:lnTo>
                  <a:pt x="35" y="1333"/>
                </a:lnTo>
                <a:lnTo>
                  <a:pt x="35" y="1330"/>
                </a:lnTo>
                <a:lnTo>
                  <a:pt x="35" y="1330"/>
                </a:lnTo>
                <a:lnTo>
                  <a:pt x="35" y="1328"/>
                </a:lnTo>
                <a:lnTo>
                  <a:pt x="32" y="1328"/>
                </a:lnTo>
                <a:lnTo>
                  <a:pt x="30" y="1328"/>
                </a:lnTo>
                <a:lnTo>
                  <a:pt x="27" y="1325"/>
                </a:lnTo>
                <a:lnTo>
                  <a:pt x="24" y="1325"/>
                </a:lnTo>
                <a:lnTo>
                  <a:pt x="24" y="1328"/>
                </a:lnTo>
                <a:lnTo>
                  <a:pt x="32" y="1333"/>
                </a:lnTo>
                <a:lnTo>
                  <a:pt x="35" y="1336"/>
                </a:lnTo>
                <a:lnTo>
                  <a:pt x="38" y="1341"/>
                </a:lnTo>
                <a:lnTo>
                  <a:pt x="38" y="1344"/>
                </a:lnTo>
                <a:lnTo>
                  <a:pt x="38" y="1346"/>
                </a:lnTo>
                <a:lnTo>
                  <a:pt x="38" y="1346"/>
                </a:lnTo>
                <a:lnTo>
                  <a:pt x="40" y="1352"/>
                </a:lnTo>
                <a:lnTo>
                  <a:pt x="40" y="1352"/>
                </a:lnTo>
                <a:lnTo>
                  <a:pt x="43" y="1354"/>
                </a:lnTo>
                <a:lnTo>
                  <a:pt x="46" y="1357"/>
                </a:lnTo>
                <a:lnTo>
                  <a:pt x="48" y="1357"/>
                </a:lnTo>
                <a:lnTo>
                  <a:pt x="59" y="1368"/>
                </a:lnTo>
                <a:lnTo>
                  <a:pt x="67" y="1376"/>
                </a:lnTo>
                <a:lnTo>
                  <a:pt x="67" y="1376"/>
                </a:lnTo>
                <a:lnTo>
                  <a:pt x="70" y="1379"/>
                </a:lnTo>
                <a:lnTo>
                  <a:pt x="78" y="1392"/>
                </a:lnTo>
                <a:lnTo>
                  <a:pt x="91" y="1408"/>
                </a:lnTo>
                <a:lnTo>
                  <a:pt x="107" y="1435"/>
                </a:lnTo>
                <a:lnTo>
                  <a:pt x="118" y="1448"/>
                </a:lnTo>
                <a:lnTo>
                  <a:pt x="123" y="1464"/>
                </a:lnTo>
                <a:lnTo>
                  <a:pt x="132" y="1489"/>
                </a:lnTo>
                <a:lnTo>
                  <a:pt x="132" y="1491"/>
                </a:lnTo>
                <a:lnTo>
                  <a:pt x="132" y="1491"/>
                </a:lnTo>
                <a:lnTo>
                  <a:pt x="129" y="1494"/>
                </a:lnTo>
                <a:lnTo>
                  <a:pt x="129" y="1494"/>
                </a:lnTo>
                <a:lnTo>
                  <a:pt x="129" y="1497"/>
                </a:lnTo>
                <a:lnTo>
                  <a:pt x="126" y="1499"/>
                </a:lnTo>
                <a:lnTo>
                  <a:pt x="126" y="1502"/>
                </a:lnTo>
                <a:lnTo>
                  <a:pt x="126" y="1507"/>
                </a:lnTo>
                <a:lnTo>
                  <a:pt x="126" y="1513"/>
                </a:lnTo>
                <a:lnTo>
                  <a:pt x="132" y="1523"/>
                </a:lnTo>
                <a:lnTo>
                  <a:pt x="132" y="1526"/>
                </a:lnTo>
                <a:lnTo>
                  <a:pt x="132" y="1529"/>
                </a:lnTo>
                <a:lnTo>
                  <a:pt x="132" y="1529"/>
                </a:lnTo>
                <a:lnTo>
                  <a:pt x="132" y="1531"/>
                </a:lnTo>
                <a:lnTo>
                  <a:pt x="134" y="1534"/>
                </a:lnTo>
                <a:lnTo>
                  <a:pt x="142" y="1542"/>
                </a:lnTo>
                <a:lnTo>
                  <a:pt x="145" y="1545"/>
                </a:lnTo>
                <a:lnTo>
                  <a:pt x="148" y="1545"/>
                </a:lnTo>
                <a:lnTo>
                  <a:pt x="150" y="1548"/>
                </a:lnTo>
                <a:lnTo>
                  <a:pt x="153" y="1553"/>
                </a:lnTo>
                <a:lnTo>
                  <a:pt x="156" y="1556"/>
                </a:lnTo>
                <a:lnTo>
                  <a:pt x="156" y="1556"/>
                </a:lnTo>
                <a:lnTo>
                  <a:pt x="161" y="1564"/>
                </a:lnTo>
                <a:lnTo>
                  <a:pt x="169" y="1574"/>
                </a:lnTo>
                <a:lnTo>
                  <a:pt x="172" y="1577"/>
                </a:lnTo>
                <a:lnTo>
                  <a:pt x="180" y="1593"/>
                </a:lnTo>
                <a:lnTo>
                  <a:pt x="180" y="1596"/>
                </a:lnTo>
                <a:lnTo>
                  <a:pt x="180" y="1601"/>
                </a:lnTo>
                <a:lnTo>
                  <a:pt x="177" y="1607"/>
                </a:lnTo>
                <a:lnTo>
                  <a:pt x="180" y="1607"/>
                </a:lnTo>
                <a:lnTo>
                  <a:pt x="180" y="1612"/>
                </a:lnTo>
                <a:lnTo>
                  <a:pt x="182" y="1615"/>
                </a:lnTo>
                <a:lnTo>
                  <a:pt x="185" y="1617"/>
                </a:lnTo>
                <a:lnTo>
                  <a:pt x="185" y="1620"/>
                </a:lnTo>
                <a:lnTo>
                  <a:pt x="204" y="1639"/>
                </a:lnTo>
                <a:lnTo>
                  <a:pt x="207" y="1641"/>
                </a:lnTo>
                <a:lnTo>
                  <a:pt x="212" y="1655"/>
                </a:lnTo>
                <a:lnTo>
                  <a:pt x="212" y="1660"/>
                </a:lnTo>
                <a:lnTo>
                  <a:pt x="215" y="1663"/>
                </a:lnTo>
                <a:lnTo>
                  <a:pt x="215" y="1666"/>
                </a:lnTo>
                <a:lnTo>
                  <a:pt x="215" y="1668"/>
                </a:lnTo>
                <a:lnTo>
                  <a:pt x="217" y="1671"/>
                </a:lnTo>
                <a:lnTo>
                  <a:pt x="217" y="1674"/>
                </a:lnTo>
                <a:lnTo>
                  <a:pt x="220" y="1679"/>
                </a:lnTo>
                <a:lnTo>
                  <a:pt x="220" y="1682"/>
                </a:lnTo>
                <a:lnTo>
                  <a:pt x="220" y="1684"/>
                </a:lnTo>
                <a:lnTo>
                  <a:pt x="217" y="1690"/>
                </a:lnTo>
                <a:lnTo>
                  <a:pt x="217" y="1698"/>
                </a:lnTo>
                <a:lnTo>
                  <a:pt x="217" y="1709"/>
                </a:lnTo>
                <a:lnTo>
                  <a:pt x="217" y="1717"/>
                </a:lnTo>
                <a:lnTo>
                  <a:pt x="217" y="1719"/>
                </a:lnTo>
                <a:lnTo>
                  <a:pt x="220" y="1722"/>
                </a:lnTo>
                <a:lnTo>
                  <a:pt x="220" y="1725"/>
                </a:lnTo>
                <a:lnTo>
                  <a:pt x="217" y="1738"/>
                </a:lnTo>
                <a:lnTo>
                  <a:pt x="217" y="1743"/>
                </a:lnTo>
                <a:lnTo>
                  <a:pt x="217" y="1743"/>
                </a:lnTo>
                <a:lnTo>
                  <a:pt x="217" y="1743"/>
                </a:lnTo>
                <a:lnTo>
                  <a:pt x="220" y="1746"/>
                </a:lnTo>
                <a:lnTo>
                  <a:pt x="220" y="1749"/>
                </a:lnTo>
                <a:lnTo>
                  <a:pt x="220" y="1749"/>
                </a:lnTo>
                <a:lnTo>
                  <a:pt x="223" y="1751"/>
                </a:lnTo>
                <a:lnTo>
                  <a:pt x="220" y="1754"/>
                </a:lnTo>
                <a:lnTo>
                  <a:pt x="220" y="1757"/>
                </a:lnTo>
                <a:lnTo>
                  <a:pt x="220" y="1759"/>
                </a:lnTo>
                <a:lnTo>
                  <a:pt x="220" y="1759"/>
                </a:lnTo>
                <a:lnTo>
                  <a:pt x="223" y="1759"/>
                </a:lnTo>
                <a:lnTo>
                  <a:pt x="223" y="1762"/>
                </a:lnTo>
                <a:lnTo>
                  <a:pt x="225" y="1762"/>
                </a:lnTo>
                <a:lnTo>
                  <a:pt x="225" y="1762"/>
                </a:lnTo>
                <a:lnTo>
                  <a:pt x="225" y="1765"/>
                </a:lnTo>
                <a:lnTo>
                  <a:pt x="225" y="1768"/>
                </a:lnTo>
                <a:lnTo>
                  <a:pt x="225" y="1768"/>
                </a:lnTo>
                <a:lnTo>
                  <a:pt x="223" y="1768"/>
                </a:lnTo>
                <a:lnTo>
                  <a:pt x="223" y="1770"/>
                </a:lnTo>
                <a:lnTo>
                  <a:pt x="223" y="1770"/>
                </a:lnTo>
                <a:lnTo>
                  <a:pt x="225" y="1770"/>
                </a:lnTo>
                <a:lnTo>
                  <a:pt x="225" y="1773"/>
                </a:lnTo>
                <a:lnTo>
                  <a:pt x="225" y="1776"/>
                </a:lnTo>
                <a:lnTo>
                  <a:pt x="228" y="1784"/>
                </a:lnTo>
                <a:lnTo>
                  <a:pt x="228" y="1786"/>
                </a:lnTo>
                <a:lnTo>
                  <a:pt x="228" y="1789"/>
                </a:lnTo>
                <a:lnTo>
                  <a:pt x="228" y="1792"/>
                </a:lnTo>
                <a:lnTo>
                  <a:pt x="233" y="1800"/>
                </a:lnTo>
                <a:lnTo>
                  <a:pt x="233" y="1802"/>
                </a:lnTo>
                <a:lnTo>
                  <a:pt x="233" y="1802"/>
                </a:lnTo>
                <a:lnTo>
                  <a:pt x="239" y="1816"/>
                </a:lnTo>
                <a:lnTo>
                  <a:pt x="241" y="1816"/>
                </a:lnTo>
                <a:lnTo>
                  <a:pt x="241" y="1816"/>
                </a:lnTo>
                <a:lnTo>
                  <a:pt x="241" y="1824"/>
                </a:lnTo>
                <a:lnTo>
                  <a:pt x="247" y="1829"/>
                </a:lnTo>
                <a:lnTo>
                  <a:pt x="255" y="1840"/>
                </a:lnTo>
                <a:lnTo>
                  <a:pt x="263" y="1856"/>
                </a:lnTo>
                <a:lnTo>
                  <a:pt x="271" y="1875"/>
                </a:lnTo>
                <a:lnTo>
                  <a:pt x="282" y="1888"/>
                </a:lnTo>
                <a:lnTo>
                  <a:pt x="287" y="1899"/>
                </a:lnTo>
                <a:lnTo>
                  <a:pt x="295" y="1912"/>
                </a:lnTo>
                <a:lnTo>
                  <a:pt x="298" y="1915"/>
                </a:lnTo>
                <a:lnTo>
                  <a:pt x="300" y="1923"/>
                </a:lnTo>
                <a:lnTo>
                  <a:pt x="303" y="1942"/>
                </a:lnTo>
                <a:lnTo>
                  <a:pt x="300" y="1955"/>
                </a:lnTo>
                <a:lnTo>
                  <a:pt x="300" y="1955"/>
                </a:lnTo>
                <a:lnTo>
                  <a:pt x="300" y="1958"/>
                </a:lnTo>
                <a:lnTo>
                  <a:pt x="300" y="1961"/>
                </a:lnTo>
                <a:lnTo>
                  <a:pt x="300" y="1961"/>
                </a:lnTo>
                <a:lnTo>
                  <a:pt x="300" y="1963"/>
                </a:lnTo>
                <a:lnTo>
                  <a:pt x="300" y="1963"/>
                </a:lnTo>
                <a:lnTo>
                  <a:pt x="303" y="1966"/>
                </a:lnTo>
                <a:lnTo>
                  <a:pt x="303" y="1966"/>
                </a:lnTo>
                <a:lnTo>
                  <a:pt x="303" y="1969"/>
                </a:lnTo>
                <a:lnTo>
                  <a:pt x="303" y="1971"/>
                </a:lnTo>
                <a:lnTo>
                  <a:pt x="300" y="1974"/>
                </a:lnTo>
                <a:lnTo>
                  <a:pt x="300" y="1977"/>
                </a:lnTo>
                <a:lnTo>
                  <a:pt x="300" y="1977"/>
                </a:lnTo>
                <a:lnTo>
                  <a:pt x="295" y="1977"/>
                </a:lnTo>
                <a:lnTo>
                  <a:pt x="295" y="1979"/>
                </a:lnTo>
                <a:lnTo>
                  <a:pt x="298" y="1982"/>
                </a:lnTo>
                <a:lnTo>
                  <a:pt x="300" y="1982"/>
                </a:lnTo>
                <a:lnTo>
                  <a:pt x="300" y="1985"/>
                </a:lnTo>
                <a:lnTo>
                  <a:pt x="300" y="1985"/>
                </a:lnTo>
                <a:lnTo>
                  <a:pt x="298" y="1987"/>
                </a:lnTo>
                <a:lnTo>
                  <a:pt x="300" y="1990"/>
                </a:lnTo>
                <a:lnTo>
                  <a:pt x="303" y="1993"/>
                </a:lnTo>
                <a:lnTo>
                  <a:pt x="303" y="1998"/>
                </a:lnTo>
                <a:lnTo>
                  <a:pt x="300" y="2001"/>
                </a:lnTo>
                <a:lnTo>
                  <a:pt x="300" y="2001"/>
                </a:lnTo>
                <a:lnTo>
                  <a:pt x="298" y="2004"/>
                </a:lnTo>
                <a:lnTo>
                  <a:pt x="298" y="2004"/>
                </a:lnTo>
                <a:lnTo>
                  <a:pt x="298" y="2006"/>
                </a:lnTo>
                <a:lnTo>
                  <a:pt x="300" y="2009"/>
                </a:lnTo>
                <a:lnTo>
                  <a:pt x="300" y="2009"/>
                </a:lnTo>
                <a:lnTo>
                  <a:pt x="303" y="2009"/>
                </a:lnTo>
                <a:lnTo>
                  <a:pt x="303" y="2012"/>
                </a:lnTo>
                <a:lnTo>
                  <a:pt x="306" y="2012"/>
                </a:lnTo>
                <a:lnTo>
                  <a:pt x="303" y="2014"/>
                </a:lnTo>
                <a:lnTo>
                  <a:pt x="303" y="2017"/>
                </a:lnTo>
                <a:lnTo>
                  <a:pt x="298" y="2017"/>
                </a:lnTo>
                <a:lnTo>
                  <a:pt x="298" y="2017"/>
                </a:lnTo>
                <a:lnTo>
                  <a:pt x="295" y="2014"/>
                </a:lnTo>
                <a:lnTo>
                  <a:pt x="292" y="2014"/>
                </a:lnTo>
                <a:lnTo>
                  <a:pt x="292" y="2017"/>
                </a:lnTo>
                <a:lnTo>
                  <a:pt x="292" y="2017"/>
                </a:lnTo>
                <a:lnTo>
                  <a:pt x="295" y="2017"/>
                </a:lnTo>
                <a:lnTo>
                  <a:pt x="295" y="2020"/>
                </a:lnTo>
                <a:lnTo>
                  <a:pt x="295" y="2020"/>
                </a:lnTo>
                <a:lnTo>
                  <a:pt x="295" y="2022"/>
                </a:lnTo>
                <a:lnTo>
                  <a:pt x="295" y="2022"/>
                </a:lnTo>
                <a:lnTo>
                  <a:pt x="298" y="2022"/>
                </a:lnTo>
                <a:lnTo>
                  <a:pt x="298" y="2028"/>
                </a:lnTo>
                <a:lnTo>
                  <a:pt x="300" y="2030"/>
                </a:lnTo>
                <a:lnTo>
                  <a:pt x="298" y="2033"/>
                </a:lnTo>
                <a:lnTo>
                  <a:pt x="295" y="2030"/>
                </a:lnTo>
                <a:lnTo>
                  <a:pt x="295" y="2028"/>
                </a:lnTo>
                <a:lnTo>
                  <a:pt x="290" y="2020"/>
                </a:lnTo>
                <a:lnTo>
                  <a:pt x="290" y="2014"/>
                </a:lnTo>
                <a:lnTo>
                  <a:pt x="298" y="2006"/>
                </a:lnTo>
                <a:lnTo>
                  <a:pt x="298" y="2004"/>
                </a:lnTo>
                <a:lnTo>
                  <a:pt x="295" y="2006"/>
                </a:lnTo>
                <a:lnTo>
                  <a:pt x="290" y="2012"/>
                </a:lnTo>
                <a:lnTo>
                  <a:pt x="287" y="2014"/>
                </a:lnTo>
                <a:lnTo>
                  <a:pt x="287" y="2020"/>
                </a:lnTo>
                <a:lnTo>
                  <a:pt x="287" y="2022"/>
                </a:lnTo>
                <a:lnTo>
                  <a:pt x="287" y="2025"/>
                </a:lnTo>
                <a:lnTo>
                  <a:pt x="290" y="2036"/>
                </a:lnTo>
                <a:lnTo>
                  <a:pt x="292" y="2049"/>
                </a:lnTo>
                <a:lnTo>
                  <a:pt x="295" y="2057"/>
                </a:lnTo>
                <a:lnTo>
                  <a:pt x="295" y="2068"/>
                </a:lnTo>
                <a:lnTo>
                  <a:pt x="292" y="2087"/>
                </a:lnTo>
                <a:lnTo>
                  <a:pt x="295" y="2087"/>
                </a:lnTo>
                <a:lnTo>
                  <a:pt x="295" y="2081"/>
                </a:lnTo>
                <a:lnTo>
                  <a:pt x="295" y="2076"/>
                </a:lnTo>
                <a:lnTo>
                  <a:pt x="298" y="2076"/>
                </a:lnTo>
                <a:lnTo>
                  <a:pt x="298" y="2076"/>
                </a:lnTo>
                <a:lnTo>
                  <a:pt x="298" y="2079"/>
                </a:lnTo>
                <a:lnTo>
                  <a:pt x="298" y="2084"/>
                </a:lnTo>
                <a:lnTo>
                  <a:pt x="298" y="2087"/>
                </a:lnTo>
                <a:lnTo>
                  <a:pt x="295" y="2089"/>
                </a:lnTo>
                <a:lnTo>
                  <a:pt x="292" y="2087"/>
                </a:lnTo>
                <a:lnTo>
                  <a:pt x="292" y="2087"/>
                </a:lnTo>
                <a:lnTo>
                  <a:pt x="290" y="2087"/>
                </a:lnTo>
                <a:lnTo>
                  <a:pt x="290" y="2089"/>
                </a:lnTo>
                <a:lnTo>
                  <a:pt x="290" y="2089"/>
                </a:lnTo>
                <a:lnTo>
                  <a:pt x="287" y="2095"/>
                </a:lnTo>
                <a:lnTo>
                  <a:pt x="284" y="2100"/>
                </a:lnTo>
                <a:lnTo>
                  <a:pt x="279" y="2111"/>
                </a:lnTo>
                <a:lnTo>
                  <a:pt x="268" y="2119"/>
                </a:lnTo>
                <a:lnTo>
                  <a:pt x="266" y="2122"/>
                </a:lnTo>
                <a:lnTo>
                  <a:pt x="263" y="2122"/>
                </a:lnTo>
                <a:lnTo>
                  <a:pt x="257" y="2124"/>
                </a:lnTo>
                <a:lnTo>
                  <a:pt x="252" y="2124"/>
                </a:lnTo>
                <a:lnTo>
                  <a:pt x="247" y="2124"/>
                </a:lnTo>
                <a:lnTo>
                  <a:pt x="244" y="2124"/>
                </a:lnTo>
                <a:lnTo>
                  <a:pt x="239" y="2122"/>
                </a:lnTo>
                <a:lnTo>
                  <a:pt x="236" y="2122"/>
                </a:lnTo>
                <a:lnTo>
                  <a:pt x="233" y="2119"/>
                </a:lnTo>
                <a:lnTo>
                  <a:pt x="231" y="2116"/>
                </a:lnTo>
                <a:lnTo>
                  <a:pt x="228" y="2114"/>
                </a:lnTo>
                <a:lnTo>
                  <a:pt x="223" y="2111"/>
                </a:lnTo>
                <a:lnTo>
                  <a:pt x="223" y="2111"/>
                </a:lnTo>
                <a:lnTo>
                  <a:pt x="223" y="2114"/>
                </a:lnTo>
                <a:lnTo>
                  <a:pt x="223" y="2119"/>
                </a:lnTo>
                <a:lnTo>
                  <a:pt x="223" y="2122"/>
                </a:lnTo>
                <a:lnTo>
                  <a:pt x="223" y="2122"/>
                </a:lnTo>
                <a:lnTo>
                  <a:pt x="220" y="2124"/>
                </a:lnTo>
                <a:lnTo>
                  <a:pt x="217" y="2127"/>
                </a:lnTo>
                <a:lnTo>
                  <a:pt x="217" y="2132"/>
                </a:lnTo>
                <a:lnTo>
                  <a:pt x="220" y="2135"/>
                </a:lnTo>
                <a:lnTo>
                  <a:pt x="223" y="2138"/>
                </a:lnTo>
                <a:lnTo>
                  <a:pt x="220" y="2140"/>
                </a:lnTo>
                <a:lnTo>
                  <a:pt x="220" y="2146"/>
                </a:lnTo>
                <a:lnTo>
                  <a:pt x="217" y="2146"/>
                </a:lnTo>
                <a:lnTo>
                  <a:pt x="220" y="2148"/>
                </a:lnTo>
                <a:lnTo>
                  <a:pt x="220" y="2154"/>
                </a:lnTo>
                <a:lnTo>
                  <a:pt x="220" y="2167"/>
                </a:lnTo>
                <a:lnTo>
                  <a:pt x="220" y="2170"/>
                </a:lnTo>
                <a:lnTo>
                  <a:pt x="220" y="2173"/>
                </a:lnTo>
                <a:lnTo>
                  <a:pt x="223" y="2178"/>
                </a:lnTo>
                <a:lnTo>
                  <a:pt x="223" y="2181"/>
                </a:lnTo>
                <a:lnTo>
                  <a:pt x="223" y="2181"/>
                </a:lnTo>
                <a:lnTo>
                  <a:pt x="223" y="2186"/>
                </a:lnTo>
                <a:lnTo>
                  <a:pt x="223" y="2189"/>
                </a:lnTo>
                <a:lnTo>
                  <a:pt x="225" y="2189"/>
                </a:lnTo>
                <a:lnTo>
                  <a:pt x="233" y="2199"/>
                </a:lnTo>
                <a:lnTo>
                  <a:pt x="236" y="2199"/>
                </a:lnTo>
                <a:lnTo>
                  <a:pt x="236" y="2199"/>
                </a:lnTo>
                <a:lnTo>
                  <a:pt x="241" y="2194"/>
                </a:lnTo>
                <a:lnTo>
                  <a:pt x="241" y="2194"/>
                </a:lnTo>
                <a:lnTo>
                  <a:pt x="249" y="2194"/>
                </a:lnTo>
                <a:lnTo>
                  <a:pt x="255" y="2194"/>
                </a:lnTo>
                <a:lnTo>
                  <a:pt x="257" y="2197"/>
                </a:lnTo>
                <a:lnTo>
                  <a:pt x="274" y="2202"/>
                </a:lnTo>
                <a:lnTo>
                  <a:pt x="276" y="2202"/>
                </a:lnTo>
                <a:lnTo>
                  <a:pt x="276" y="2202"/>
                </a:lnTo>
                <a:lnTo>
                  <a:pt x="276" y="2205"/>
                </a:lnTo>
                <a:lnTo>
                  <a:pt x="279" y="2205"/>
                </a:lnTo>
                <a:lnTo>
                  <a:pt x="279" y="2207"/>
                </a:lnTo>
                <a:lnTo>
                  <a:pt x="279" y="2207"/>
                </a:lnTo>
                <a:lnTo>
                  <a:pt x="284" y="2207"/>
                </a:lnTo>
                <a:lnTo>
                  <a:pt x="287" y="2210"/>
                </a:lnTo>
                <a:lnTo>
                  <a:pt x="303" y="2218"/>
                </a:lnTo>
                <a:lnTo>
                  <a:pt x="316" y="2234"/>
                </a:lnTo>
                <a:lnTo>
                  <a:pt x="319" y="2237"/>
                </a:lnTo>
                <a:lnTo>
                  <a:pt x="322" y="2240"/>
                </a:lnTo>
                <a:lnTo>
                  <a:pt x="324" y="2242"/>
                </a:lnTo>
                <a:lnTo>
                  <a:pt x="327" y="2245"/>
                </a:lnTo>
                <a:lnTo>
                  <a:pt x="327" y="2248"/>
                </a:lnTo>
                <a:lnTo>
                  <a:pt x="327" y="2250"/>
                </a:lnTo>
                <a:lnTo>
                  <a:pt x="327" y="2250"/>
                </a:lnTo>
                <a:lnTo>
                  <a:pt x="327" y="2250"/>
                </a:lnTo>
                <a:lnTo>
                  <a:pt x="327" y="2250"/>
                </a:lnTo>
                <a:lnTo>
                  <a:pt x="330" y="2250"/>
                </a:lnTo>
                <a:lnTo>
                  <a:pt x="332" y="2250"/>
                </a:lnTo>
                <a:lnTo>
                  <a:pt x="341" y="2250"/>
                </a:lnTo>
                <a:lnTo>
                  <a:pt x="357" y="2256"/>
                </a:lnTo>
                <a:lnTo>
                  <a:pt x="359" y="2258"/>
                </a:lnTo>
                <a:lnTo>
                  <a:pt x="365" y="2258"/>
                </a:lnTo>
                <a:lnTo>
                  <a:pt x="370" y="2261"/>
                </a:lnTo>
                <a:lnTo>
                  <a:pt x="373" y="2258"/>
                </a:lnTo>
                <a:lnTo>
                  <a:pt x="370" y="2253"/>
                </a:lnTo>
                <a:lnTo>
                  <a:pt x="370" y="2253"/>
                </a:lnTo>
                <a:lnTo>
                  <a:pt x="370" y="2253"/>
                </a:lnTo>
                <a:lnTo>
                  <a:pt x="370" y="2253"/>
                </a:lnTo>
                <a:lnTo>
                  <a:pt x="373" y="2253"/>
                </a:lnTo>
                <a:lnTo>
                  <a:pt x="373" y="2256"/>
                </a:lnTo>
                <a:lnTo>
                  <a:pt x="375" y="2256"/>
                </a:lnTo>
                <a:lnTo>
                  <a:pt x="375" y="2258"/>
                </a:lnTo>
                <a:lnTo>
                  <a:pt x="381" y="2258"/>
                </a:lnTo>
                <a:lnTo>
                  <a:pt x="381" y="2261"/>
                </a:lnTo>
                <a:lnTo>
                  <a:pt x="383" y="2261"/>
                </a:lnTo>
                <a:lnTo>
                  <a:pt x="383" y="2261"/>
                </a:lnTo>
                <a:lnTo>
                  <a:pt x="383" y="2264"/>
                </a:lnTo>
                <a:lnTo>
                  <a:pt x="381" y="2264"/>
                </a:lnTo>
                <a:lnTo>
                  <a:pt x="378" y="2261"/>
                </a:lnTo>
                <a:lnTo>
                  <a:pt x="370" y="2261"/>
                </a:lnTo>
                <a:lnTo>
                  <a:pt x="370" y="2261"/>
                </a:lnTo>
                <a:lnTo>
                  <a:pt x="370" y="2264"/>
                </a:lnTo>
                <a:lnTo>
                  <a:pt x="375" y="2266"/>
                </a:lnTo>
                <a:lnTo>
                  <a:pt x="378" y="2269"/>
                </a:lnTo>
                <a:lnTo>
                  <a:pt x="378" y="2269"/>
                </a:lnTo>
                <a:lnTo>
                  <a:pt x="381" y="2269"/>
                </a:lnTo>
                <a:lnTo>
                  <a:pt x="383" y="2269"/>
                </a:lnTo>
                <a:lnTo>
                  <a:pt x="383" y="2269"/>
                </a:lnTo>
                <a:lnTo>
                  <a:pt x="386" y="2269"/>
                </a:lnTo>
                <a:lnTo>
                  <a:pt x="391" y="2272"/>
                </a:lnTo>
                <a:lnTo>
                  <a:pt x="394" y="2272"/>
                </a:lnTo>
                <a:lnTo>
                  <a:pt x="397" y="2274"/>
                </a:lnTo>
                <a:lnTo>
                  <a:pt x="397" y="2272"/>
                </a:lnTo>
                <a:lnTo>
                  <a:pt x="399" y="2272"/>
                </a:lnTo>
                <a:lnTo>
                  <a:pt x="408" y="2272"/>
                </a:lnTo>
                <a:lnTo>
                  <a:pt x="408" y="2272"/>
                </a:lnTo>
                <a:lnTo>
                  <a:pt x="408" y="2269"/>
                </a:lnTo>
                <a:lnTo>
                  <a:pt x="408" y="2269"/>
                </a:lnTo>
                <a:lnTo>
                  <a:pt x="408" y="2269"/>
                </a:lnTo>
                <a:lnTo>
                  <a:pt x="410" y="2269"/>
                </a:lnTo>
                <a:lnTo>
                  <a:pt x="413" y="2272"/>
                </a:lnTo>
                <a:lnTo>
                  <a:pt x="418" y="2274"/>
                </a:lnTo>
                <a:lnTo>
                  <a:pt x="418" y="2274"/>
                </a:lnTo>
                <a:lnTo>
                  <a:pt x="424" y="2274"/>
                </a:lnTo>
                <a:lnTo>
                  <a:pt x="424" y="2274"/>
                </a:lnTo>
                <a:lnTo>
                  <a:pt x="426" y="2272"/>
                </a:lnTo>
                <a:lnTo>
                  <a:pt x="429" y="2269"/>
                </a:lnTo>
                <a:lnTo>
                  <a:pt x="429" y="2269"/>
                </a:lnTo>
                <a:lnTo>
                  <a:pt x="432" y="2269"/>
                </a:lnTo>
                <a:lnTo>
                  <a:pt x="434" y="2272"/>
                </a:lnTo>
                <a:lnTo>
                  <a:pt x="434" y="2272"/>
                </a:lnTo>
                <a:lnTo>
                  <a:pt x="437" y="2272"/>
                </a:lnTo>
                <a:lnTo>
                  <a:pt x="437" y="2272"/>
                </a:lnTo>
                <a:lnTo>
                  <a:pt x="440" y="2272"/>
                </a:lnTo>
                <a:lnTo>
                  <a:pt x="440" y="2272"/>
                </a:lnTo>
                <a:lnTo>
                  <a:pt x="442" y="2272"/>
                </a:lnTo>
                <a:lnTo>
                  <a:pt x="445" y="2272"/>
                </a:lnTo>
                <a:lnTo>
                  <a:pt x="445" y="2272"/>
                </a:lnTo>
                <a:lnTo>
                  <a:pt x="448" y="2272"/>
                </a:lnTo>
                <a:lnTo>
                  <a:pt x="450" y="2274"/>
                </a:lnTo>
                <a:lnTo>
                  <a:pt x="450" y="2274"/>
                </a:lnTo>
                <a:lnTo>
                  <a:pt x="453" y="2272"/>
                </a:lnTo>
                <a:lnTo>
                  <a:pt x="453" y="2269"/>
                </a:lnTo>
                <a:lnTo>
                  <a:pt x="456" y="2269"/>
                </a:lnTo>
                <a:lnTo>
                  <a:pt x="456" y="2269"/>
                </a:lnTo>
                <a:lnTo>
                  <a:pt x="458" y="2269"/>
                </a:lnTo>
                <a:lnTo>
                  <a:pt x="458" y="2272"/>
                </a:lnTo>
                <a:lnTo>
                  <a:pt x="461" y="2269"/>
                </a:lnTo>
                <a:lnTo>
                  <a:pt x="461" y="2269"/>
                </a:lnTo>
                <a:lnTo>
                  <a:pt x="461" y="2269"/>
                </a:lnTo>
                <a:lnTo>
                  <a:pt x="464" y="2269"/>
                </a:lnTo>
                <a:lnTo>
                  <a:pt x="469" y="2272"/>
                </a:lnTo>
                <a:lnTo>
                  <a:pt x="469" y="2272"/>
                </a:lnTo>
                <a:lnTo>
                  <a:pt x="472" y="2269"/>
                </a:lnTo>
                <a:lnTo>
                  <a:pt x="472" y="2269"/>
                </a:lnTo>
                <a:lnTo>
                  <a:pt x="475" y="2272"/>
                </a:lnTo>
                <a:lnTo>
                  <a:pt x="477" y="2272"/>
                </a:lnTo>
                <a:lnTo>
                  <a:pt x="477" y="2274"/>
                </a:lnTo>
                <a:lnTo>
                  <a:pt x="485" y="2277"/>
                </a:lnTo>
                <a:lnTo>
                  <a:pt x="485" y="2277"/>
                </a:lnTo>
                <a:lnTo>
                  <a:pt x="488" y="2277"/>
                </a:lnTo>
                <a:lnTo>
                  <a:pt x="493" y="2277"/>
                </a:lnTo>
                <a:lnTo>
                  <a:pt x="499" y="2283"/>
                </a:lnTo>
                <a:lnTo>
                  <a:pt x="501" y="2283"/>
                </a:lnTo>
                <a:lnTo>
                  <a:pt x="501" y="2280"/>
                </a:lnTo>
                <a:lnTo>
                  <a:pt x="501" y="2277"/>
                </a:lnTo>
                <a:lnTo>
                  <a:pt x="504" y="2274"/>
                </a:lnTo>
                <a:lnTo>
                  <a:pt x="507" y="2274"/>
                </a:lnTo>
                <a:lnTo>
                  <a:pt x="509" y="2274"/>
                </a:lnTo>
                <a:lnTo>
                  <a:pt x="515" y="2274"/>
                </a:lnTo>
                <a:lnTo>
                  <a:pt x="523" y="2277"/>
                </a:lnTo>
                <a:lnTo>
                  <a:pt x="528" y="2280"/>
                </a:lnTo>
                <a:lnTo>
                  <a:pt x="531" y="2280"/>
                </a:lnTo>
                <a:lnTo>
                  <a:pt x="536" y="2283"/>
                </a:lnTo>
                <a:lnTo>
                  <a:pt x="536" y="2280"/>
                </a:lnTo>
                <a:lnTo>
                  <a:pt x="539" y="2280"/>
                </a:lnTo>
                <a:lnTo>
                  <a:pt x="542" y="2280"/>
                </a:lnTo>
                <a:lnTo>
                  <a:pt x="542" y="2280"/>
                </a:lnTo>
                <a:lnTo>
                  <a:pt x="542" y="2277"/>
                </a:lnTo>
                <a:lnTo>
                  <a:pt x="542" y="2277"/>
                </a:lnTo>
                <a:lnTo>
                  <a:pt x="536" y="2277"/>
                </a:lnTo>
                <a:lnTo>
                  <a:pt x="536" y="2277"/>
                </a:lnTo>
                <a:lnTo>
                  <a:pt x="533" y="2274"/>
                </a:lnTo>
                <a:lnTo>
                  <a:pt x="531" y="2272"/>
                </a:lnTo>
                <a:lnTo>
                  <a:pt x="531" y="2274"/>
                </a:lnTo>
                <a:lnTo>
                  <a:pt x="531" y="2274"/>
                </a:lnTo>
                <a:lnTo>
                  <a:pt x="531" y="2274"/>
                </a:lnTo>
                <a:lnTo>
                  <a:pt x="531" y="2277"/>
                </a:lnTo>
                <a:lnTo>
                  <a:pt x="531" y="2277"/>
                </a:lnTo>
                <a:lnTo>
                  <a:pt x="531" y="2277"/>
                </a:lnTo>
                <a:lnTo>
                  <a:pt x="528" y="2277"/>
                </a:lnTo>
                <a:lnTo>
                  <a:pt x="525" y="2274"/>
                </a:lnTo>
                <a:lnTo>
                  <a:pt x="525" y="2274"/>
                </a:lnTo>
                <a:lnTo>
                  <a:pt x="525" y="2272"/>
                </a:lnTo>
                <a:lnTo>
                  <a:pt x="525" y="2272"/>
                </a:lnTo>
                <a:lnTo>
                  <a:pt x="533" y="2272"/>
                </a:lnTo>
                <a:lnTo>
                  <a:pt x="533" y="2272"/>
                </a:lnTo>
                <a:lnTo>
                  <a:pt x="533" y="2269"/>
                </a:lnTo>
                <a:lnTo>
                  <a:pt x="533" y="2269"/>
                </a:lnTo>
                <a:lnTo>
                  <a:pt x="533" y="2269"/>
                </a:lnTo>
                <a:lnTo>
                  <a:pt x="536" y="2269"/>
                </a:lnTo>
                <a:lnTo>
                  <a:pt x="536" y="2269"/>
                </a:lnTo>
                <a:lnTo>
                  <a:pt x="536" y="2269"/>
                </a:lnTo>
                <a:lnTo>
                  <a:pt x="536" y="2269"/>
                </a:lnTo>
                <a:lnTo>
                  <a:pt x="539" y="2269"/>
                </a:lnTo>
                <a:lnTo>
                  <a:pt x="539" y="2269"/>
                </a:lnTo>
                <a:lnTo>
                  <a:pt x="542" y="2269"/>
                </a:lnTo>
                <a:lnTo>
                  <a:pt x="544" y="2269"/>
                </a:lnTo>
                <a:lnTo>
                  <a:pt x="544" y="2269"/>
                </a:lnTo>
                <a:lnTo>
                  <a:pt x="544" y="2269"/>
                </a:lnTo>
                <a:lnTo>
                  <a:pt x="547" y="2269"/>
                </a:lnTo>
                <a:lnTo>
                  <a:pt x="547" y="2269"/>
                </a:lnTo>
                <a:lnTo>
                  <a:pt x="552" y="2269"/>
                </a:lnTo>
                <a:lnTo>
                  <a:pt x="552" y="2266"/>
                </a:lnTo>
                <a:lnTo>
                  <a:pt x="555" y="2269"/>
                </a:lnTo>
                <a:lnTo>
                  <a:pt x="555" y="2266"/>
                </a:lnTo>
                <a:lnTo>
                  <a:pt x="560" y="2269"/>
                </a:lnTo>
                <a:lnTo>
                  <a:pt x="560" y="2272"/>
                </a:lnTo>
                <a:lnTo>
                  <a:pt x="563" y="2269"/>
                </a:lnTo>
                <a:lnTo>
                  <a:pt x="563" y="2269"/>
                </a:lnTo>
                <a:lnTo>
                  <a:pt x="563" y="2266"/>
                </a:lnTo>
                <a:lnTo>
                  <a:pt x="560" y="2264"/>
                </a:lnTo>
                <a:lnTo>
                  <a:pt x="560" y="2264"/>
                </a:lnTo>
                <a:lnTo>
                  <a:pt x="560" y="2264"/>
                </a:lnTo>
                <a:lnTo>
                  <a:pt x="560" y="2264"/>
                </a:lnTo>
                <a:lnTo>
                  <a:pt x="560" y="2264"/>
                </a:lnTo>
                <a:lnTo>
                  <a:pt x="560" y="2261"/>
                </a:lnTo>
                <a:lnTo>
                  <a:pt x="563" y="2261"/>
                </a:lnTo>
                <a:lnTo>
                  <a:pt x="568" y="2258"/>
                </a:lnTo>
                <a:lnTo>
                  <a:pt x="571" y="2258"/>
                </a:lnTo>
                <a:lnTo>
                  <a:pt x="579" y="2258"/>
                </a:lnTo>
                <a:lnTo>
                  <a:pt x="584" y="2258"/>
                </a:lnTo>
                <a:lnTo>
                  <a:pt x="584" y="2258"/>
                </a:lnTo>
                <a:lnTo>
                  <a:pt x="584" y="2256"/>
                </a:lnTo>
                <a:lnTo>
                  <a:pt x="584" y="2253"/>
                </a:lnTo>
                <a:lnTo>
                  <a:pt x="584" y="2250"/>
                </a:lnTo>
                <a:lnTo>
                  <a:pt x="584" y="2248"/>
                </a:lnTo>
                <a:lnTo>
                  <a:pt x="587" y="2245"/>
                </a:lnTo>
                <a:lnTo>
                  <a:pt x="587" y="2242"/>
                </a:lnTo>
                <a:lnTo>
                  <a:pt x="590" y="2240"/>
                </a:lnTo>
                <a:lnTo>
                  <a:pt x="592" y="2240"/>
                </a:lnTo>
                <a:lnTo>
                  <a:pt x="598" y="2237"/>
                </a:lnTo>
                <a:lnTo>
                  <a:pt x="609" y="2234"/>
                </a:lnTo>
                <a:lnTo>
                  <a:pt x="609" y="2234"/>
                </a:lnTo>
                <a:lnTo>
                  <a:pt x="614" y="2232"/>
                </a:lnTo>
                <a:lnTo>
                  <a:pt x="617" y="2232"/>
                </a:lnTo>
                <a:lnTo>
                  <a:pt x="619" y="2229"/>
                </a:lnTo>
                <a:lnTo>
                  <a:pt x="622" y="2226"/>
                </a:lnTo>
                <a:lnTo>
                  <a:pt x="619" y="2226"/>
                </a:lnTo>
                <a:lnTo>
                  <a:pt x="619" y="2224"/>
                </a:lnTo>
                <a:lnTo>
                  <a:pt x="619" y="2221"/>
                </a:lnTo>
                <a:lnTo>
                  <a:pt x="622" y="2221"/>
                </a:lnTo>
                <a:lnTo>
                  <a:pt x="622" y="2221"/>
                </a:lnTo>
                <a:lnTo>
                  <a:pt x="627" y="2218"/>
                </a:lnTo>
                <a:lnTo>
                  <a:pt x="627" y="2215"/>
                </a:lnTo>
                <a:lnTo>
                  <a:pt x="635" y="2215"/>
                </a:lnTo>
                <a:lnTo>
                  <a:pt x="638" y="2215"/>
                </a:lnTo>
                <a:lnTo>
                  <a:pt x="635" y="2215"/>
                </a:lnTo>
                <a:lnTo>
                  <a:pt x="633" y="2210"/>
                </a:lnTo>
                <a:lnTo>
                  <a:pt x="633" y="2210"/>
                </a:lnTo>
                <a:lnTo>
                  <a:pt x="638" y="2210"/>
                </a:lnTo>
                <a:lnTo>
                  <a:pt x="638" y="2210"/>
                </a:lnTo>
                <a:lnTo>
                  <a:pt x="641" y="2210"/>
                </a:lnTo>
                <a:lnTo>
                  <a:pt x="641" y="2210"/>
                </a:lnTo>
                <a:lnTo>
                  <a:pt x="662" y="2213"/>
                </a:lnTo>
                <a:lnTo>
                  <a:pt x="662" y="2213"/>
                </a:lnTo>
                <a:lnTo>
                  <a:pt x="665" y="2213"/>
                </a:lnTo>
                <a:lnTo>
                  <a:pt x="665" y="2215"/>
                </a:lnTo>
                <a:lnTo>
                  <a:pt x="665" y="2215"/>
                </a:lnTo>
                <a:lnTo>
                  <a:pt x="667" y="2215"/>
                </a:lnTo>
                <a:lnTo>
                  <a:pt x="670" y="2215"/>
                </a:lnTo>
                <a:lnTo>
                  <a:pt x="670" y="2215"/>
                </a:lnTo>
                <a:lnTo>
                  <a:pt x="670" y="2215"/>
                </a:lnTo>
                <a:lnTo>
                  <a:pt x="673" y="2215"/>
                </a:lnTo>
                <a:lnTo>
                  <a:pt x="673" y="2218"/>
                </a:lnTo>
                <a:lnTo>
                  <a:pt x="673" y="2218"/>
                </a:lnTo>
                <a:lnTo>
                  <a:pt x="673" y="2218"/>
                </a:lnTo>
                <a:lnTo>
                  <a:pt x="676" y="2218"/>
                </a:lnTo>
                <a:lnTo>
                  <a:pt x="676" y="2218"/>
                </a:lnTo>
                <a:lnTo>
                  <a:pt x="678" y="2215"/>
                </a:lnTo>
                <a:lnTo>
                  <a:pt x="676" y="2213"/>
                </a:lnTo>
                <a:lnTo>
                  <a:pt x="678" y="2213"/>
                </a:lnTo>
                <a:lnTo>
                  <a:pt x="678" y="2210"/>
                </a:lnTo>
                <a:lnTo>
                  <a:pt x="678" y="2210"/>
                </a:lnTo>
                <a:lnTo>
                  <a:pt x="681" y="2210"/>
                </a:lnTo>
                <a:lnTo>
                  <a:pt x="684" y="2210"/>
                </a:lnTo>
                <a:lnTo>
                  <a:pt x="684" y="2210"/>
                </a:lnTo>
                <a:lnTo>
                  <a:pt x="686" y="2213"/>
                </a:lnTo>
                <a:lnTo>
                  <a:pt x="686" y="2213"/>
                </a:lnTo>
                <a:lnTo>
                  <a:pt x="686" y="2215"/>
                </a:lnTo>
                <a:lnTo>
                  <a:pt x="686" y="2215"/>
                </a:lnTo>
                <a:lnTo>
                  <a:pt x="689" y="2215"/>
                </a:lnTo>
                <a:lnTo>
                  <a:pt x="689" y="2213"/>
                </a:lnTo>
                <a:lnTo>
                  <a:pt x="689" y="2213"/>
                </a:lnTo>
                <a:lnTo>
                  <a:pt x="692" y="2210"/>
                </a:lnTo>
                <a:lnTo>
                  <a:pt x="692" y="2210"/>
                </a:lnTo>
                <a:lnTo>
                  <a:pt x="689" y="2210"/>
                </a:lnTo>
                <a:lnTo>
                  <a:pt x="689" y="2205"/>
                </a:lnTo>
                <a:lnTo>
                  <a:pt x="689" y="2202"/>
                </a:lnTo>
                <a:lnTo>
                  <a:pt x="692" y="2202"/>
                </a:lnTo>
                <a:lnTo>
                  <a:pt x="697" y="2202"/>
                </a:lnTo>
                <a:lnTo>
                  <a:pt x="700" y="2205"/>
                </a:lnTo>
                <a:lnTo>
                  <a:pt x="702" y="2205"/>
                </a:lnTo>
                <a:lnTo>
                  <a:pt x="705" y="2205"/>
                </a:lnTo>
                <a:lnTo>
                  <a:pt x="708" y="2202"/>
                </a:lnTo>
                <a:lnTo>
                  <a:pt x="708" y="2202"/>
                </a:lnTo>
                <a:lnTo>
                  <a:pt x="705" y="2202"/>
                </a:lnTo>
                <a:lnTo>
                  <a:pt x="702" y="2202"/>
                </a:lnTo>
                <a:lnTo>
                  <a:pt x="700" y="2199"/>
                </a:lnTo>
                <a:lnTo>
                  <a:pt x="700" y="2197"/>
                </a:lnTo>
                <a:lnTo>
                  <a:pt x="700" y="2194"/>
                </a:lnTo>
                <a:lnTo>
                  <a:pt x="700" y="2191"/>
                </a:lnTo>
                <a:lnTo>
                  <a:pt x="700" y="2189"/>
                </a:lnTo>
                <a:lnTo>
                  <a:pt x="702" y="2189"/>
                </a:lnTo>
                <a:lnTo>
                  <a:pt x="705" y="2186"/>
                </a:lnTo>
                <a:lnTo>
                  <a:pt x="705" y="2183"/>
                </a:lnTo>
                <a:lnTo>
                  <a:pt x="710" y="2178"/>
                </a:lnTo>
                <a:lnTo>
                  <a:pt x="710" y="2175"/>
                </a:lnTo>
                <a:lnTo>
                  <a:pt x="713" y="2175"/>
                </a:lnTo>
                <a:lnTo>
                  <a:pt x="716" y="2175"/>
                </a:lnTo>
                <a:lnTo>
                  <a:pt x="716" y="2173"/>
                </a:lnTo>
                <a:lnTo>
                  <a:pt x="713" y="2173"/>
                </a:lnTo>
                <a:lnTo>
                  <a:pt x="716" y="2170"/>
                </a:lnTo>
                <a:lnTo>
                  <a:pt x="724" y="2170"/>
                </a:lnTo>
                <a:lnTo>
                  <a:pt x="726" y="2167"/>
                </a:lnTo>
                <a:lnTo>
                  <a:pt x="734" y="2162"/>
                </a:lnTo>
                <a:lnTo>
                  <a:pt x="734" y="2159"/>
                </a:lnTo>
                <a:lnTo>
                  <a:pt x="740" y="2159"/>
                </a:lnTo>
                <a:lnTo>
                  <a:pt x="745" y="2159"/>
                </a:lnTo>
                <a:lnTo>
                  <a:pt x="748" y="2159"/>
                </a:lnTo>
                <a:lnTo>
                  <a:pt x="748" y="2156"/>
                </a:lnTo>
                <a:lnTo>
                  <a:pt x="753" y="2156"/>
                </a:lnTo>
                <a:lnTo>
                  <a:pt x="753" y="2154"/>
                </a:lnTo>
                <a:lnTo>
                  <a:pt x="756" y="2154"/>
                </a:lnTo>
                <a:lnTo>
                  <a:pt x="759" y="2154"/>
                </a:lnTo>
                <a:lnTo>
                  <a:pt x="759" y="2154"/>
                </a:lnTo>
                <a:lnTo>
                  <a:pt x="761" y="2154"/>
                </a:lnTo>
                <a:lnTo>
                  <a:pt x="764" y="2156"/>
                </a:lnTo>
                <a:lnTo>
                  <a:pt x="767" y="2156"/>
                </a:lnTo>
                <a:lnTo>
                  <a:pt x="769" y="2156"/>
                </a:lnTo>
                <a:lnTo>
                  <a:pt x="772" y="2154"/>
                </a:lnTo>
                <a:lnTo>
                  <a:pt x="775" y="2154"/>
                </a:lnTo>
                <a:lnTo>
                  <a:pt x="785" y="2156"/>
                </a:lnTo>
                <a:lnTo>
                  <a:pt x="796" y="2159"/>
                </a:lnTo>
                <a:lnTo>
                  <a:pt x="796" y="2159"/>
                </a:lnTo>
                <a:lnTo>
                  <a:pt x="801" y="2159"/>
                </a:lnTo>
                <a:lnTo>
                  <a:pt x="812" y="2156"/>
                </a:lnTo>
                <a:lnTo>
                  <a:pt x="812" y="2154"/>
                </a:lnTo>
                <a:lnTo>
                  <a:pt x="812" y="2154"/>
                </a:lnTo>
                <a:lnTo>
                  <a:pt x="812" y="2154"/>
                </a:lnTo>
                <a:lnTo>
                  <a:pt x="812" y="2151"/>
                </a:lnTo>
                <a:lnTo>
                  <a:pt x="815" y="2151"/>
                </a:lnTo>
                <a:lnTo>
                  <a:pt x="815" y="2151"/>
                </a:lnTo>
                <a:lnTo>
                  <a:pt x="815" y="2151"/>
                </a:lnTo>
                <a:lnTo>
                  <a:pt x="834" y="2151"/>
                </a:lnTo>
                <a:lnTo>
                  <a:pt x="836" y="2148"/>
                </a:lnTo>
                <a:lnTo>
                  <a:pt x="839" y="2148"/>
                </a:lnTo>
                <a:lnTo>
                  <a:pt x="842" y="2148"/>
                </a:lnTo>
                <a:lnTo>
                  <a:pt x="844" y="2148"/>
                </a:lnTo>
                <a:lnTo>
                  <a:pt x="847" y="2146"/>
                </a:lnTo>
                <a:lnTo>
                  <a:pt x="852" y="2146"/>
                </a:lnTo>
                <a:lnTo>
                  <a:pt x="855" y="2148"/>
                </a:lnTo>
                <a:lnTo>
                  <a:pt x="858" y="2148"/>
                </a:lnTo>
                <a:lnTo>
                  <a:pt x="860" y="2148"/>
                </a:lnTo>
                <a:lnTo>
                  <a:pt x="860" y="2148"/>
                </a:lnTo>
                <a:lnTo>
                  <a:pt x="863" y="2148"/>
                </a:lnTo>
                <a:lnTo>
                  <a:pt x="866" y="2146"/>
                </a:lnTo>
                <a:lnTo>
                  <a:pt x="871" y="2146"/>
                </a:lnTo>
                <a:lnTo>
                  <a:pt x="871" y="2146"/>
                </a:lnTo>
                <a:lnTo>
                  <a:pt x="874" y="2146"/>
                </a:lnTo>
                <a:lnTo>
                  <a:pt x="877" y="2146"/>
                </a:lnTo>
                <a:lnTo>
                  <a:pt x="879" y="2148"/>
                </a:lnTo>
                <a:lnTo>
                  <a:pt x="879" y="2148"/>
                </a:lnTo>
                <a:lnTo>
                  <a:pt x="879" y="2148"/>
                </a:lnTo>
                <a:lnTo>
                  <a:pt x="885" y="2146"/>
                </a:lnTo>
                <a:lnTo>
                  <a:pt x="887" y="2146"/>
                </a:lnTo>
                <a:lnTo>
                  <a:pt x="893" y="2143"/>
                </a:lnTo>
                <a:lnTo>
                  <a:pt x="895" y="2143"/>
                </a:lnTo>
                <a:lnTo>
                  <a:pt x="898" y="2143"/>
                </a:lnTo>
                <a:lnTo>
                  <a:pt x="914" y="2143"/>
                </a:lnTo>
                <a:lnTo>
                  <a:pt x="917" y="2143"/>
                </a:lnTo>
                <a:lnTo>
                  <a:pt x="919" y="2143"/>
                </a:lnTo>
                <a:lnTo>
                  <a:pt x="919" y="2143"/>
                </a:lnTo>
                <a:lnTo>
                  <a:pt x="922" y="2146"/>
                </a:lnTo>
                <a:lnTo>
                  <a:pt x="925" y="2146"/>
                </a:lnTo>
                <a:lnTo>
                  <a:pt x="925" y="2146"/>
                </a:lnTo>
                <a:lnTo>
                  <a:pt x="927" y="2148"/>
                </a:lnTo>
                <a:lnTo>
                  <a:pt x="927" y="2148"/>
                </a:lnTo>
                <a:lnTo>
                  <a:pt x="930" y="2148"/>
                </a:lnTo>
                <a:lnTo>
                  <a:pt x="933" y="2148"/>
                </a:lnTo>
                <a:lnTo>
                  <a:pt x="933" y="2148"/>
                </a:lnTo>
                <a:lnTo>
                  <a:pt x="933" y="2146"/>
                </a:lnTo>
                <a:lnTo>
                  <a:pt x="935" y="2146"/>
                </a:lnTo>
                <a:lnTo>
                  <a:pt x="935" y="2146"/>
                </a:lnTo>
                <a:lnTo>
                  <a:pt x="938" y="2148"/>
                </a:lnTo>
                <a:lnTo>
                  <a:pt x="938" y="2148"/>
                </a:lnTo>
                <a:lnTo>
                  <a:pt x="941" y="2148"/>
                </a:lnTo>
                <a:lnTo>
                  <a:pt x="944" y="2151"/>
                </a:lnTo>
                <a:lnTo>
                  <a:pt x="946" y="2151"/>
                </a:lnTo>
                <a:lnTo>
                  <a:pt x="949" y="2151"/>
                </a:lnTo>
                <a:lnTo>
                  <a:pt x="952" y="2148"/>
                </a:lnTo>
                <a:lnTo>
                  <a:pt x="954" y="2148"/>
                </a:lnTo>
                <a:lnTo>
                  <a:pt x="954" y="2148"/>
                </a:lnTo>
                <a:lnTo>
                  <a:pt x="960" y="2146"/>
                </a:lnTo>
                <a:lnTo>
                  <a:pt x="962" y="2143"/>
                </a:lnTo>
                <a:lnTo>
                  <a:pt x="968" y="2143"/>
                </a:lnTo>
                <a:lnTo>
                  <a:pt x="968" y="2143"/>
                </a:lnTo>
                <a:lnTo>
                  <a:pt x="968" y="2143"/>
                </a:lnTo>
                <a:lnTo>
                  <a:pt x="970" y="2143"/>
                </a:lnTo>
                <a:lnTo>
                  <a:pt x="973" y="2146"/>
                </a:lnTo>
                <a:lnTo>
                  <a:pt x="976" y="2148"/>
                </a:lnTo>
                <a:lnTo>
                  <a:pt x="976" y="2148"/>
                </a:lnTo>
                <a:lnTo>
                  <a:pt x="976" y="2151"/>
                </a:lnTo>
                <a:lnTo>
                  <a:pt x="978" y="2154"/>
                </a:lnTo>
                <a:lnTo>
                  <a:pt x="978" y="2159"/>
                </a:lnTo>
                <a:lnTo>
                  <a:pt x="978" y="2159"/>
                </a:lnTo>
                <a:lnTo>
                  <a:pt x="976" y="2162"/>
                </a:lnTo>
                <a:lnTo>
                  <a:pt x="976" y="2164"/>
                </a:lnTo>
                <a:lnTo>
                  <a:pt x="978" y="2164"/>
                </a:lnTo>
                <a:lnTo>
                  <a:pt x="989" y="2164"/>
                </a:lnTo>
                <a:lnTo>
                  <a:pt x="989" y="2164"/>
                </a:lnTo>
                <a:lnTo>
                  <a:pt x="989" y="2162"/>
                </a:lnTo>
                <a:lnTo>
                  <a:pt x="989" y="2162"/>
                </a:lnTo>
                <a:lnTo>
                  <a:pt x="992" y="2162"/>
                </a:lnTo>
                <a:lnTo>
                  <a:pt x="992" y="2162"/>
                </a:lnTo>
                <a:lnTo>
                  <a:pt x="994" y="2164"/>
                </a:lnTo>
                <a:lnTo>
                  <a:pt x="994" y="2164"/>
                </a:lnTo>
                <a:lnTo>
                  <a:pt x="997" y="2162"/>
                </a:lnTo>
                <a:lnTo>
                  <a:pt x="997" y="2159"/>
                </a:lnTo>
                <a:lnTo>
                  <a:pt x="997" y="2156"/>
                </a:lnTo>
                <a:lnTo>
                  <a:pt x="997" y="2156"/>
                </a:lnTo>
                <a:lnTo>
                  <a:pt x="1002" y="2154"/>
                </a:lnTo>
                <a:lnTo>
                  <a:pt x="1005" y="2154"/>
                </a:lnTo>
                <a:lnTo>
                  <a:pt x="1011" y="2154"/>
                </a:lnTo>
                <a:lnTo>
                  <a:pt x="1021" y="2156"/>
                </a:lnTo>
                <a:lnTo>
                  <a:pt x="1021" y="2156"/>
                </a:lnTo>
                <a:lnTo>
                  <a:pt x="1024" y="2154"/>
                </a:lnTo>
                <a:lnTo>
                  <a:pt x="1024" y="2154"/>
                </a:lnTo>
                <a:lnTo>
                  <a:pt x="1024" y="2156"/>
                </a:lnTo>
                <a:lnTo>
                  <a:pt x="1027" y="2156"/>
                </a:lnTo>
                <a:lnTo>
                  <a:pt x="1027" y="2156"/>
                </a:lnTo>
                <a:lnTo>
                  <a:pt x="1029" y="2156"/>
                </a:lnTo>
                <a:lnTo>
                  <a:pt x="1029" y="2156"/>
                </a:lnTo>
                <a:lnTo>
                  <a:pt x="1029" y="2156"/>
                </a:lnTo>
                <a:lnTo>
                  <a:pt x="1029" y="2154"/>
                </a:lnTo>
                <a:lnTo>
                  <a:pt x="1029" y="2151"/>
                </a:lnTo>
                <a:lnTo>
                  <a:pt x="1032" y="2151"/>
                </a:lnTo>
                <a:lnTo>
                  <a:pt x="1037" y="2151"/>
                </a:lnTo>
                <a:lnTo>
                  <a:pt x="1045" y="2151"/>
                </a:lnTo>
                <a:lnTo>
                  <a:pt x="1051" y="2148"/>
                </a:lnTo>
                <a:lnTo>
                  <a:pt x="1051" y="2148"/>
                </a:lnTo>
                <a:lnTo>
                  <a:pt x="1053" y="2148"/>
                </a:lnTo>
                <a:lnTo>
                  <a:pt x="1053" y="2151"/>
                </a:lnTo>
                <a:lnTo>
                  <a:pt x="1056" y="2151"/>
                </a:lnTo>
                <a:lnTo>
                  <a:pt x="1059" y="2151"/>
                </a:lnTo>
                <a:lnTo>
                  <a:pt x="1061" y="2151"/>
                </a:lnTo>
                <a:lnTo>
                  <a:pt x="1069" y="2148"/>
                </a:lnTo>
                <a:lnTo>
                  <a:pt x="1075" y="2148"/>
                </a:lnTo>
                <a:lnTo>
                  <a:pt x="1075" y="2148"/>
                </a:lnTo>
                <a:lnTo>
                  <a:pt x="1078" y="2146"/>
                </a:lnTo>
                <a:lnTo>
                  <a:pt x="1080" y="2148"/>
                </a:lnTo>
                <a:lnTo>
                  <a:pt x="1083" y="2148"/>
                </a:lnTo>
                <a:lnTo>
                  <a:pt x="1088" y="2151"/>
                </a:lnTo>
                <a:lnTo>
                  <a:pt x="1088" y="2156"/>
                </a:lnTo>
                <a:lnTo>
                  <a:pt x="1091" y="2162"/>
                </a:lnTo>
                <a:lnTo>
                  <a:pt x="1091" y="2162"/>
                </a:lnTo>
                <a:lnTo>
                  <a:pt x="1094" y="2162"/>
                </a:lnTo>
                <a:lnTo>
                  <a:pt x="1096" y="2162"/>
                </a:lnTo>
                <a:lnTo>
                  <a:pt x="1096" y="2162"/>
                </a:lnTo>
                <a:lnTo>
                  <a:pt x="1096" y="2162"/>
                </a:lnTo>
                <a:lnTo>
                  <a:pt x="1099" y="2162"/>
                </a:lnTo>
                <a:lnTo>
                  <a:pt x="1099" y="2162"/>
                </a:lnTo>
                <a:lnTo>
                  <a:pt x="1099" y="2162"/>
                </a:lnTo>
                <a:lnTo>
                  <a:pt x="1099" y="2162"/>
                </a:lnTo>
                <a:lnTo>
                  <a:pt x="1104" y="2159"/>
                </a:lnTo>
                <a:lnTo>
                  <a:pt x="1107" y="2154"/>
                </a:lnTo>
                <a:lnTo>
                  <a:pt x="1112" y="2151"/>
                </a:lnTo>
                <a:lnTo>
                  <a:pt x="1115" y="2151"/>
                </a:lnTo>
                <a:lnTo>
                  <a:pt x="1123" y="2151"/>
                </a:lnTo>
                <a:lnTo>
                  <a:pt x="1126" y="2151"/>
                </a:lnTo>
                <a:lnTo>
                  <a:pt x="1126" y="2154"/>
                </a:lnTo>
                <a:lnTo>
                  <a:pt x="1128" y="2154"/>
                </a:lnTo>
                <a:lnTo>
                  <a:pt x="1128" y="2156"/>
                </a:lnTo>
                <a:lnTo>
                  <a:pt x="1131" y="2156"/>
                </a:lnTo>
                <a:lnTo>
                  <a:pt x="1136" y="2148"/>
                </a:lnTo>
                <a:lnTo>
                  <a:pt x="1136" y="2148"/>
                </a:lnTo>
                <a:lnTo>
                  <a:pt x="1139" y="2148"/>
                </a:lnTo>
                <a:lnTo>
                  <a:pt x="1142" y="2148"/>
                </a:lnTo>
                <a:lnTo>
                  <a:pt x="1142" y="2148"/>
                </a:lnTo>
                <a:lnTo>
                  <a:pt x="1142" y="2146"/>
                </a:lnTo>
                <a:lnTo>
                  <a:pt x="1145" y="2146"/>
                </a:lnTo>
                <a:lnTo>
                  <a:pt x="1147" y="2143"/>
                </a:lnTo>
                <a:lnTo>
                  <a:pt x="1150" y="2143"/>
                </a:lnTo>
                <a:lnTo>
                  <a:pt x="1153" y="2140"/>
                </a:lnTo>
                <a:lnTo>
                  <a:pt x="1153" y="2140"/>
                </a:lnTo>
                <a:lnTo>
                  <a:pt x="1153" y="2140"/>
                </a:lnTo>
                <a:lnTo>
                  <a:pt x="1153" y="2138"/>
                </a:lnTo>
                <a:lnTo>
                  <a:pt x="1153" y="2138"/>
                </a:lnTo>
                <a:lnTo>
                  <a:pt x="1153" y="2135"/>
                </a:lnTo>
                <a:lnTo>
                  <a:pt x="1155" y="2135"/>
                </a:lnTo>
                <a:lnTo>
                  <a:pt x="1155" y="2132"/>
                </a:lnTo>
                <a:lnTo>
                  <a:pt x="1161" y="2124"/>
                </a:lnTo>
                <a:lnTo>
                  <a:pt x="1166" y="2122"/>
                </a:lnTo>
                <a:lnTo>
                  <a:pt x="1166" y="2122"/>
                </a:lnTo>
                <a:lnTo>
                  <a:pt x="1166" y="2122"/>
                </a:lnTo>
                <a:lnTo>
                  <a:pt x="1166" y="2122"/>
                </a:lnTo>
                <a:lnTo>
                  <a:pt x="1166" y="2122"/>
                </a:lnTo>
                <a:lnTo>
                  <a:pt x="1166" y="2122"/>
                </a:lnTo>
                <a:lnTo>
                  <a:pt x="1169" y="2119"/>
                </a:lnTo>
                <a:lnTo>
                  <a:pt x="1169" y="2119"/>
                </a:lnTo>
                <a:lnTo>
                  <a:pt x="1171" y="2116"/>
                </a:lnTo>
                <a:lnTo>
                  <a:pt x="1174" y="2116"/>
                </a:lnTo>
                <a:lnTo>
                  <a:pt x="1177" y="2116"/>
                </a:lnTo>
                <a:lnTo>
                  <a:pt x="1177" y="2114"/>
                </a:lnTo>
                <a:lnTo>
                  <a:pt x="1177" y="2108"/>
                </a:lnTo>
                <a:lnTo>
                  <a:pt x="1179" y="2105"/>
                </a:lnTo>
                <a:lnTo>
                  <a:pt x="1179" y="2103"/>
                </a:lnTo>
                <a:lnTo>
                  <a:pt x="1182" y="2100"/>
                </a:lnTo>
                <a:lnTo>
                  <a:pt x="1182" y="2097"/>
                </a:lnTo>
                <a:lnTo>
                  <a:pt x="1182" y="2095"/>
                </a:lnTo>
                <a:lnTo>
                  <a:pt x="1182" y="2095"/>
                </a:lnTo>
                <a:lnTo>
                  <a:pt x="1182" y="2095"/>
                </a:lnTo>
                <a:lnTo>
                  <a:pt x="1182" y="2092"/>
                </a:lnTo>
                <a:lnTo>
                  <a:pt x="1187" y="2087"/>
                </a:lnTo>
                <a:lnTo>
                  <a:pt x="1187" y="2084"/>
                </a:lnTo>
                <a:lnTo>
                  <a:pt x="1190" y="2081"/>
                </a:lnTo>
                <a:lnTo>
                  <a:pt x="1190" y="2081"/>
                </a:lnTo>
                <a:lnTo>
                  <a:pt x="1190" y="2076"/>
                </a:lnTo>
                <a:lnTo>
                  <a:pt x="1193" y="2071"/>
                </a:lnTo>
                <a:lnTo>
                  <a:pt x="1193" y="2068"/>
                </a:lnTo>
                <a:lnTo>
                  <a:pt x="1198" y="2063"/>
                </a:lnTo>
                <a:lnTo>
                  <a:pt x="1203" y="2060"/>
                </a:lnTo>
                <a:lnTo>
                  <a:pt x="1206" y="2057"/>
                </a:lnTo>
                <a:lnTo>
                  <a:pt x="1206" y="2057"/>
                </a:lnTo>
                <a:lnTo>
                  <a:pt x="1209" y="2057"/>
                </a:lnTo>
                <a:lnTo>
                  <a:pt x="1214" y="2052"/>
                </a:lnTo>
                <a:lnTo>
                  <a:pt x="1214" y="2052"/>
                </a:lnTo>
                <a:lnTo>
                  <a:pt x="1220" y="2049"/>
                </a:lnTo>
                <a:lnTo>
                  <a:pt x="1238" y="2049"/>
                </a:lnTo>
                <a:lnTo>
                  <a:pt x="1257" y="2044"/>
                </a:lnTo>
                <a:lnTo>
                  <a:pt x="1260" y="2044"/>
                </a:lnTo>
                <a:lnTo>
                  <a:pt x="1270" y="2038"/>
                </a:lnTo>
                <a:lnTo>
                  <a:pt x="1273" y="2038"/>
                </a:lnTo>
                <a:lnTo>
                  <a:pt x="1289" y="2028"/>
                </a:lnTo>
                <a:lnTo>
                  <a:pt x="1289" y="2028"/>
                </a:lnTo>
                <a:lnTo>
                  <a:pt x="1292" y="2028"/>
                </a:lnTo>
                <a:lnTo>
                  <a:pt x="1297" y="2025"/>
                </a:lnTo>
                <a:lnTo>
                  <a:pt x="1313" y="2014"/>
                </a:lnTo>
                <a:lnTo>
                  <a:pt x="1321" y="2012"/>
                </a:lnTo>
                <a:lnTo>
                  <a:pt x="1340" y="2009"/>
                </a:lnTo>
                <a:lnTo>
                  <a:pt x="1343" y="2006"/>
                </a:lnTo>
                <a:lnTo>
                  <a:pt x="1359" y="1996"/>
                </a:lnTo>
                <a:lnTo>
                  <a:pt x="1375" y="1985"/>
                </a:lnTo>
                <a:lnTo>
                  <a:pt x="1378" y="1985"/>
                </a:lnTo>
                <a:lnTo>
                  <a:pt x="1386" y="1979"/>
                </a:lnTo>
                <a:lnTo>
                  <a:pt x="1391" y="1977"/>
                </a:lnTo>
                <a:lnTo>
                  <a:pt x="1396" y="1977"/>
                </a:lnTo>
                <a:lnTo>
                  <a:pt x="1402" y="1979"/>
                </a:lnTo>
                <a:lnTo>
                  <a:pt x="1404" y="1977"/>
                </a:lnTo>
                <a:lnTo>
                  <a:pt x="1407" y="1977"/>
                </a:lnTo>
                <a:lnTo>
                  <a:pt x="1407" y="1977"/>
                </a:lnTo>
                <a:lnTo>
                  <a:pt x="1410" y="1974"/>
                </a:lnTo>
                <a:lnTo>
                  <a:pt x="1413" y="1974"/>
                </a:lnTo>
                <a:lnTo>
                  <a:pt x="1415" y="1974"/>
                </a:lnTo>
                <a:lnTo>
                  <a:pt x="1415" y="1974"/>
                </a:lnTo>
                <a:lnTo>
                  <a:pt x="1421" y="1974"/>
                </a:lnTo>
                <a:lnTo>
                  <a:pt x="1423" y="1977"/>
                </a:lnTo>
                <a:lnTo>
                  <a:pt x="1434" y="1979"/>
                </a:lnTo>
                <a:lnTo>
                  <a:pt x="1466" y="1982"/>
                </a:lnTo>
                <a:lnTo>
                  <a:pt x="1474" y="1982"/>
                </a:lnTo>
                <a:lnTo>
                  <a:pt x="1479" y="1979"/>
                </a:lnTo>
                <a:lnTo>
                  <a:pt x="1482" y="1982"/>
                </a:lnTo>
                <a:lnTo>
                  <a:pt x="1493" y="1979"/>
                </a:lnTo>
                <a:lnTo>
                  <a:pt x="1506" y="1982"/>
                </a:lnTo>
                <a:lnTo>
                  <a:pt x="1509" y="1979"/>
                </a:lnTo>
                <a:lnTo>
                  <a:pt x="1512" y="1979"/>
                </a:lnTo>
                <a:lnTo>
                  <a:pt x="1512" y="1979"/>
                </a:lnTo>
                <a:lnTo>
                  <a:pt x="1530" y="1977"/>
                </a:lnTo>
                <a:lnTo>
                  <a:pt x="1557" y="1971"/>
                </a:lnTo>
                <a:lnTo>
                  <a:pt x="1557" y="1971"/>
                </a:lnTo>
                <a:lnTo>
                  <a:pt x="1560" y="1969"/>
                </a:lnTo>
                <a:lnTo>
                  <a:pt x="1563" y="1969"/>
                </a:lnTo>
                <a:lnTo>
                  <a:pt x="1563" y="1969"/>
                </a:lnTo>
                <a:lnTo>
                  <a:pt x="1581" y="1961"/>
                </a:lnTo>
                <a:lnTo>
                  <a:pt x="1608" y="1958"/>
                </a:lnTo>
                <a:lnTo>
                  <a:pt x="1630" y="1950"/>
                </a:lnTo>
                <a:lnTo>
                  <a:pt x="1678" y="1931"/>
                </a:lnTo>
                <a:lnTo>
                  <a:pt x="1686" y="1928"/>
                </a:lnTo>
                <a:lnTo>
                  <a:pt x="1689" y="1926"/>
                </a:lnTo>
                <a:lnTo>
                  <a:pt x="1689" y="1926"/>
                </a:lnTo>
                <a:lnTo>
                  <a:pt x="1707" y="1918"/>
                </a:lnTo>
                <a:lnTo>
                  <a:pt x="1713" y="1915"/>
                </a:lnTo>
                <a:lnTo>
                  <a:pt x="1715" y="1915"/>
                </a:lnTo>
                <a:lnTo>
                  <a:pt x="1715" y="265"/>
                </a:lnTo>
                <a:lnTo>
                  <a:pt x="1710" y="265"/>
                </a:lnTo>
                <a:lnTo>
                  <a:pt x="1710" y="265"/>
                </a:lnTo>
                <a:lnTo>
                  <a:pt x="1710" y="268"/>
                </a:lnTo>
                <a:lnTo>
                  <a:pt x="1707" y="268"/>
                </a:lnTo>
                <a:lnTo>
                  <a:pt x="1707" y="268"/>
                </a:lnTo>
                <a:lnTo>
                  <a:pt x="1707" y="268"/>
                </a:lnTo>
                <a:lnTo>
                  <a:pt x="1705" y="268"/>
                </a:lnTo>
                <a:lnTo>
                  <a:pt x="1705" y="268"/>
                </a:lnTo>
                <a:lnTo>
                  <a:pt x="1705" y="271"/>
                </a:lnTo>
                <a:lnTo>
                  <a:pt x="1707" y="271"/>
                </a:lnTo>
                <a:lnTo>
                  <a:pt x="1710" y="271"/>
                </a:lnTo>
                <a:lnTo>
                  <a:pt x="1710" y="274"/>
                </a:lnTo>
                <a:lnTo>
                  <a:pt x="1707" y="274"/>
                </a:lnTo>
                <a:lnTo>
                  <a:pt x="1710" y="274"/>
                </a:lnTo>
                <a:lnTo>
                  <a:pt x="1710" y="274"/>
                </a:lnTo>
                <a:lnTo>
                  <a:pt x="1713" y="274"/>
                </a:lnTo>
                <a:lnTo>
                  <a:pt x="1713" y="276"/>
                </a:lnTo>
                <a:lnTo>
                  <a:pt x="1710" y="276"/>
                </a:lnTo>
                <a:lnTo>
                  <a:pt x="1707" y="276"/>
                </a:lnTo>
                <a:lnTo>
                  <a:pt x="1707" y="276"/>
                </a:lnTo>
                <a:lnTo>
                  <a:pt x="1705" y="279"/>
                </a:lnTo>
                <a:lnTo>
                  <a:pt x="1705" y="279"/>
                </a:lnTo>
                <a:lnTo>
                  <a:pt x="1707" y="279"/>
                </a:lnTo>
                <a:lnTo>
                  <a:pt x="1707" y="282"/>
                </a:lnTo>
                <a:lnTo>
                  <a:pt x="1710" y="282"/>
                </a:lnTo>
                <a:lnTo>
                  <a:pt x="1710" y="282"/>
                </a:lnTo>
                <a:lnTo>
                  <a:pt x="1705" y="282"/>
                </a:lnTo>
                <a:lnTo>
                  <a:pt x="1705" y="282"/>
                </a:lnTo>
                <a:lnTo>
                  <a:pt x="1702" y="284"/>
                </a:lnTo>
                <a:lnTo>
                  <a:pt x="1702" y="284"/>
                </a:lnTo>
                <a:lnTo>
                  <a:pt x="1705" y="287"/>
                </a:lnTo>
                <a:lnTo>
                  <a:pt x="1705" y="287"/>
                </a:lnTo>
                <a:lnTo>
                  <a:pt x="1705" y="290"/>
                </a:lnTo>
                <a:lnTo>
                  <a:pt x="1702" y="290"/>
                </a:lnTo>
                <a:lnTo>
                  <a:pt x="1702" y="290"/>
                </a:lnTo>
                <a:lnTo>
                  <a:pt x="1702" y="290"/>
                </a:lnTo>
                <a:lnTo>
                  <a:pt x="1702" y="287"/>
                </a:lnTo>
                <a:lnTo>
                  <a:pt x="1702" y="287"/>
                </a:lnTo>
                <a:lnTo>
                  <a:pt x="1702" y="290"/>
                </a:lnTo>
                <a:lnTo>
                  <a:pt x="1699" y="290"/>
                </a:lnTo>
                <a:lnTo>
                  <a:pt x="1699" y="290"/>
                </a:lnTo>
                <a:lnTo>
                  <a:pt x="1699" y="290"/>
                </a:lnTo>
                <a:lnTo>
                  <a:pt x="1699" y="287"/>
                </a:lnTo>
                <a:lnTo>
                  <a:pt x="1699" y="287"/>
                </a:lnTo>
                <a:lnTo>
                  <a:pt x="1699" y="287"/>
                </a:lnTo>
                <a:lnTo>
                  <a:pt x="1699" y="287"/>
                </a:lnTo>
                <a:lnTo>
                  <a:pt x="1697" y="287"/>
                </a:lnTo>
                <a:lnTo>
                  <a:pt x="1697" y="290"/>
                </a:lnTo>
                <a:lnTo>
                  <a:pt x="1697" y="290"/>
                </a:lnTo>
                <a:lnTo>
                  <a:pt x="1697" y="287"/>
                </a:lnTo>
                <a:lnTo>
                  <a:pt x="1697" y="287"/>
                </a:lnTo>
                <a:lnTo>
                  <a:pt x="1694" y="287"/>
                </a:lnTo>
                <a:lnTo>
                  <a:pt x="1694" y="287"/>
                </a:lnTo>
                <a:lnTo>
                  <a:pt x="1694" y="287"/>
                </a:lnTo>
                <a:lnTo>
                  <a:pt x="1694" y="290"/>
                </a:lnTo>
                <a:lnTo>
                  <a:pt x="1694" y="292"/>
                </a:lnTo>
                <a:lnTo>
                  <a:pt x="1691" y="292"/>
                </a:lnTo>
                <a:lnTo>
                  <a:pt x="1691" y="295"/>
                </a:lnTo>
                <a:lnTo>
                  <a:pt x="1691" y="295"/>
                </a:lnTo>
                <a:lnTo>
                  <a:pt x="1694" y="295"/>
                </a:lnTo>
                <a:lnTo>
                  <a:pt x="1694" y="298"/>
                </a:lnTo>
                <a:lnTo>
                  <a:pt x="1694" y="298"/>
                </a:lnTo>
                <a:lnTo>
                  <a:pt x="1691" y="298"/>
                </a:lnTo>
                <a:lnTo>
                  <a:pt x="1691" y="298"/>
                </a:lnTo>
                <a:lnTo>
                  <a:pt x="1691" y="300"/>
                </a:lnTo>
                <a:lnTo>
                  <a:pt x="1691" y="300"/>
                </a:lnTo>
                <a:lnTo>
                  <a:pt x="1691" y="300"/>
                </a:lnTo>
                <a:lnTo>
                  <a:pt x="1691" y="300"/>
                </a:lnTo>
                <a:lnTo>
                  <a:pt x="1694" y="300"/>
                </a:lnTo>
                <a:lnTo>
                  <a:pt x="1694" y="303"/>
                </a:lnTo>
                <a:lnTo>
                  <a:pt x="1694" y="303"/>
                </a:lnTo>
                <a:lnTo>
                  <a:pt x="1694" y="303"/>
                </a:lnTo>
                <a:lnTo>
                  <a:pt x="1694" y="306"/>
                </a:lnTo>
                <a:lnTo>
                  <a:pt x="1694" y="306"/>
                </a:lnTo>
                <a:lnTo>
                  <a:pt x="1691" y="306"/>
                </a:lnTo>
                <a:lnTo>
                  <a:pt x="1691" y="306"/>
                </a:lnTo>
                <a:lnTo>
                  <a:pt x="1689" y="308"/>
                </a:lnTo>
                <a:lnTo>
                  <a:pt x="1691" y="308"/>
                </a:lnTo>
                <a:lnTo>
                  <a:pt x="1691" y="311"/>
                </a:lnTo>
                <a:lnTo>
                  <a:pt x="1694" y="311"/>
                </a:lnTo>
                <a:lnTo>
                  <a:pt x="1694" y="311"/>
                </a:lnTo>
                <a:lnTo>
                  <a:pt x="1694" y="314"/>
                </a:lnTo>
                <a:lnTo>
                  <a:pt x="1691" y="314"/>
                </a:lnTo>
                <a:lnTo>
                  <a:pt x="1691" y="314"/>
                </a:lnTo>
                <a:lnTo>
                  <a:pt x="1691" y="314"/>
                </a:lnTo>
                <a:lnTo>
                  <a:pt x="1691" y="316"/>
                </a:lnTo>
                <a:lnTo>
                  <a:pt x="1691" y="316"/>
                </a:lnTo>
                <a:lnTo>
                  <a:pt x="1691" y="319"/>
                </a:lnTo>
                <a:lnTo>
                  <a:pt x="1691" y="322"/>
                </a:lnTo>
                <a:lnTo>
                  <a:pt x="1689" y="322"/>
                </a:lnTo>
                <a:lnTo>
                  <a:pt x="1689" y="324"/>
                </a:lnTo>
                <a:lnTo>
                  <a:pt x="1689" y="324"/>
                </a:lnTo>
                <a:lnTo>
                  <a:pt x="1686" y="327"/>
                </a:lnTo>
                <a:lnTo>
                  <a:pt x="1686" y="327"/>
                </a:lnTo>
                <a:lnTo>
                  <a:pt x="1686" y="327"/>
                </a:lnTo>
                <a:lnTo>
                  <a:pt x="1686" y="324"/>
                </a:lnTo>
                <a:lnTo>
                  <a:pt x="1686" y="324"/>
                </a:lnTo>
                <a:lnTo>
                  <a:pt x="1686" y="324"/>
                </a:lnTo>
                <a:lnTo>
                  <a:pt x="1686" y="322"/>
                </a:lnTo>
                <a:lnTo>
                  <a:pt x="1689" y="319"/>
                </a:lnTo>
                <a:lnTo>
                  <a:pt x="1689" y="316"/>
                </a:lnTo>
                <a:lnTo>
                  <a:pt x="1686" y="314"/>
                </a:lnTo>
                <a:lnTo>
                  <a:pt x="1686" y="316"/>
                </a:lnTo>
                <a:lnTo>
                  <a:pt x="1683" y="316"/>
                </a:lnTo>
                <a:lnTo>
                  <a:pt x="1683" y="314"/>
                </a:lnTo>
                <a:lnTo>
                  <a:pt x="1680" y="314"/>
                </a:lnTo>
                <a:lnTo>
                  <a:pt x="1680" y="316"/>
                </a:lnTo>
                <a:lnTo>
                  <a:pt x="1680" y="316"/>
                </a:lnTo>
                <a:lnTo>
                  <a:pt x="1678" y="314"/>
                </a:lnTo>
                <a:lnTo>
                  <a:pt x="1675" y="316"/>
                </a:lnTo>
                <a:lnTo>
                  <a:pt x="1675" y="316"/>
                </a:lnTo>
                <a:lnTo>
                  <a:pt x="1675" y="314"/>
                </a:lnTo>
                <a:lnTo>
                  <a:pt x="1675" y="314"/>
                </a:lnTo>
                <a:lnTo>
                  <a:pt x="1675" y="314"/>
                </a:lnTo>
                <a:lnTo>
                  <a:pt x="1672" y="314"/>
                </a:lnTo>
                <a:lnTo>
                  <a:pt x="1672" y="314"/>
                </a:lnTo>
                <a:lnTo>
                  <a:pt x="1675" y="311"/>
                </a:lnTo>
                <a:lnTo>
                  <a:pt x="1675" y="311"/>
                </a:lnTo>
                <a:lnTo>
                  <a:pt x="1675" y="311"/>
                </a:lnTo>
                <a:lnTo>
                  <a:pt x="1675" y="311"/>
                </a:lnTo>
                <a:lnTo>
                  <a:pt x="1672" y="311"/>
                </a:lnTo>
                <a:lnTo>
                  <a:pt x="1672" y="311"/>
                </a:lnTo>
                <a:lnTo>
                  <a:pt x="1670" y="314"/>
                </a:lnTo>
                <a:lnTo>
                  <a:pt x="1670" y="311"/>
                </a:lnTo>
                <a:lnTo>
                  <a:pt x="1670" y="311"/>
                </a:lnTo>
                <a:lnTo>
                  <a:pt x="1670" y="308"/>
                </a:lnTo>
                <a:lnTo>
                  <a:pt x="1672" y="308"/>
                </a:lnTo>
                <a:lnTo>
                  <a:pt x="1672" y="308"/>
                </a:lnTo>
                <a:lnTo>
                  <a:pt x="1667" y="308"/>
                </a:lnTo>
                <a:lnTo>
                  <a:pt x="1667" y="308"/>
                </a:lnTo>
                <a:lnTo>
                  <a:pt x="1667" y="306"/>
                </a:lnTo>
                <a:lnTo>
                  <a:pt x="1670" y="306"/>
                </a:lnTo>
                <a:lnTo>
                  <a:pt x="1672" y="306"/>
                </a:lnTo>
                <a:lnTo>
                  <a:pt x="1672" y="306"/>
                </a:lnTo>
                <a:lnTo>
                  <a:pt x="1672" y="306"/>
                </a:lnTo>
                <a:lnTo>
                  <a:pt x="1672" y="303"/>
                </a:lnTo>
                <a:lnTo>
                  <a:pt x="1672" y="303"/>
                </a:lnTo>
                <a:lnTo>
                  <a:pt x="1672" y="303"/>
                </a:lnTo>
                <a:lnTo>
                  <a:pt x="1670" y="303"/>
                </a:lnTo>
                <a:lnTo>
                  <a:pt x="1667" y="303"/>
                </a:lnTo>
                <a:lnTo>
                  <a:pt x="1667" y="300"/>
                </a:lnTo>
                <a:lnTo>
                  <a:pt x="1667" y="300"/>
                </a:lnTo>
                <a:lnTo>
                  <a:pt x="1672" y="298"/>
                </a:lnTo>
                <a:lnTo>
                  <a:pt x="1672" y="298"/>
                </a:lnTo>
                <a:lnTo>
                  <a:pt x="1670" y="298"/>
                </a:lnTo>
                <a:lnTo>
                  <a:pt x="1667" y="298"/>
                </a:lnTo>
                <a:lnTo>
                  <a:pt x="1664" y="303"/>
                </a:lnTo>
                <a:lnTo>
                  <a:pt x="1659" y="300"/>
                </a:lnTo>
                <a:lnTo>
                  <a:pt x="1662" y="300"/>
                </a:lnTo>
                <a:lnTo>
                  <a:pt x="1662" y="298"/>
                </a:lnTo>
                <a:lnTo>
                  <a:pt x="1662" y="298"/>
                </a:lnTo>
                <a:lnTo>
                  <a:pt x="1664" y="295"/>
                </a:lnTo>
                <a:lnTo>
                  <a:pt x="1664" y="292"/>
                </a:lnTo>
                <a:lnTo>
                  <a:pt x="1675" y="282"/>
                </a:lnTo>
                <a:lnTo>
                  <a:pt x="1675" y="279"/>
                </a:lnTo>
                <a:lnTo>
                  <a:pt x="1675" y="276"/>
                </a:lnTo>
                <a:lnTo>
                  <a:pt x="1675" y="274"/>
                </a:lnTo>
                <a:lnTo>
                  <a:pt x="1672" y="271"/>
                </a:lnTo>
                <a:lnTo>
                  <a:pt x="1672" y="271"/>
                </a:lnTo>
                <a:lnTo>
                  <a:pt x="1675" y="271"/>
                </a:lnTo>
                <a:lnTo>
                  <a:pt x="1675" y="268"/>
                </a:lnTo>
                <a:lnTo>
                  <a:pt x="1678" y="268"/>
                </a:lnTo>
                <a:lnTo>
                  <a:pt x="1678" y="268"/>
                </a:lnTo>
                <a:lnTo>
                  <a:pt x="1678" y="268"/>
                </a:lnTo>
                <a:lnTo>
                  <a:pt x="1678" y="265"/>
                </a:lnTo>
                <a:lnTo>
                  <a:pt x="1680" y="265"/>
                </a:lnTo>
                <a:lnTo>
                  <a:pt x="1680" y="268"/>
                </a:lnTo>
                <a:lnTo>
                  <a:pt x="1680" y="271"/>
                </a:lnTo>
                <a:lnTo>
                  <a:pt x="1683" y="268"/>
                </a:lnTo>
                <a:lnTo>
                  <a:pt x="1683" y="265"/>
                </a:lnTo>
                <a:lnTo>
                  <a:pt x="1683" y="265"/>
                </a:lnTo>
                <a:lnTo>
                  <a:pt x="1678" y="263"/>
                </a:lnTo>
                <a:lnTo>
                  <a:pt x="1678" y="263"/>
                </a:lnTo>
                <a:lnTo>
                  <a:pt x="1675" y="260"/>
                </a:lnTo>
                <a:lnTo>
                  <a:pt x="1675" y="260"/>
                </a:lnTo>
                <a:lnTo>
                  <a:pt x="1678" y="260"/>
                </a:lnTo>
                <a:lnTo>
                  <a:pt x="1678" y="260"/>
                </a:lnTo>
                <a:lnTo>
                  <a:pt x="1678" y="257"/>
                </a:lnTo>
                <a:lnTo>
                  <a:pt x="1678" y="257"/>
                </a:lnTo>
                <a:lnTo>
                  <a:pt x="1680" y="257"/>
                </a:lnTo>
                <a:lnTo>
                  <a:pt x="1680" y="257"/>
                </a:lnTo>
                <a:lnTo>
                  <a:pt x="1683" y="257"/>
                </a:lnTo>
                <a:lnTo>
                  <a:pt x="1683" y="257"/>
                </a:lnTo>
                <a:lnTo>
                  <a:pt x="1686" y="257"/>
                </a:lnTo>
                <a:lnTo>
                  <a:pt x="1686" y="255"/>
                </a:lnTo>
                <a:lnTo>
                  <a:pt x="1686" y="252"/>
                </a:lnTo>
                <a:lnTo>
                  <a:pt x="1689" y="252"/>
                </a:lnTo>
                <a:lnTo>
                  <a:pt x="1691" y="249"/>
                </a:lnTo>
                <a:lnTo>
                  <a:pt x="1694" y="249"/>
                </a:lnTo>
                <a:lnTo>
                  <a:pt x="1694" y="249"/>
                </a:lnTo>
                <a:lnTo>
                  <a:pt x="1694" y="252"/>
                </a:lnTo>
                <a:lnTo>
                  <a:pt x="1694" y="255"/>
                </a:lnTo>
                <a:lnTo>
                  <a:pt x="1689" y="257"/>
                </a:lnTo>
                <a:lnTo>
                  <a:pt x="1686" y="260"/>
                </a:lnTo>
                <a:lnTo>
                  <a:pt x="1686" y="260"/>
                </a:lnTo>
                <a:lnTo>
                  <a:pt x="1686" y="260"/>
                </a:lnTo>
                <a:lnTo>
                  <a:pt x="1691" y="260"/>
                </a:lnTo>
                <a:lnTo>
                  <a:pt x="1691" y="257"/>
                </a:lnTo>
                <a:lnTo>
                  <a:pt x="1691" y="260"/>
                </a:lnTo>
                <a:lnTo>
                  <a:pt x="1691" y="260"/>
                </a:lnTo>
                <a:lnTo>
                  <a:pt x="1691" y="260"/>
                </a:lnTo>
                <a:lnTo>
                  <a:pt x="1694" y="260"/>
                </a:lnTo>
                <a:lnTo>
                  <a:pt x="1694" y="260"/>
                </a:lnTo>
                <a:lnTo>
                  <a:pt x="1694" y="260"/>
                </a:lnTo>
                <a:lnTo>
                  <a:pt x="1694" y="263"/>
                </a:lnTo>
                <a:lnTo>
                  <a:pt x="1691" y="263"/>
                </a:lnTo>
                <a:lnTo>
                  <a:pt x="1694" y="263"/>
                </a:lnTo>
                <a:lnTo>
                  <a:pt x="1694" y="263"/>
                </a:lnTo>
                <a:lnTo>
                  <a:pt x="1694" y="263"/>
                </a:lnTo>
                <a:lnTo>
                  <a:pt x="1697" y="257"/>
                </a:lnTo>
                <a:lnTo>
                  <a:pt x="1697" y="257"/>
                </a:lnTo>
                <a:lnTo>
                  <a:pt x="1697" y="257"/>
                </a:lnTo>
                <a:lnTo>
                  <a:pt x="1697" y="260"/>
                </a:lnTo>
                <a:lnTo>
                  <a:pt x="1699" y="260"/>
                </a:lnTo>
                <a:lnTo>
                  <a:pt x="1699" y="260"/>
                </a:lnTo>
                <a:lnTo>
                  <a:pt x="1699" y="257"/>
                </a:lnTo>
                <a:lnTo>
                  <a:pt x="1702" y="257"/>
                </a:lnTo>
                <a:lnTo>
                  <a:pt x="1702" y="255"/>
                </a:lnTo>
                <a:lnTo>
                  <a:pt x="1705" y="255"/>
                </a:lnTo>
                <a:lnTo>
                  <a:pt x="1707" y="255"/>
                </a:lnTo>
                <a:lnTo>
                  <a:pt x="1710" y="255"/>
                </a:lnTo>
                <a:lnTo>
                  <a:pt x="1715" y="255"/>
                </a:lnTo>
                <a:lnTo>
                  <a:pt x="1715" y="121"/>
                </a:lnTo>
                <a:lnTo>
                  <a:pt x="1713" y="121"/>
                </a:lnTo>
                <a:close/>
                <a:moveTo>
                  <a:pt x="292" y="1974"/>
                </a:moveTo>
                <a:lnTo>
                  <a:pt x="292" y="1974"/>
                </a:lnTo>
                <a:lnTo>
                  <a:pt x="295" y="1974"/>
                </a:lnTo>
                <a:lnTo>
                  <a:pt x="295" y="1971"/>
                </a:lnTo>
                <a:lnTo>
                  <a:pt x="292" y="1966"/>
                </a:lnTo>
                <a:lnTo>
                  <a:pt x="292" y="1963"/>
                </a:lnTo>
                <a:lnTo>
                  <a:pt x="292" y="1966"/>
                </a:lnTo>
                <a:lnTo>
                  <a:pt x="292" y="1969"/>
                </a:lnTo>
                <a:lnTo>
                  <a:pt x="292" y="1971"/>
                </a:lnTo>
                <a:lnTo>
                  <a:pt x="292" y="1974"/>
                </a:lnTo>
                <a:close/>
                <a:moveTo>
                  <a:pt x="1627" y="147"/>
                </a:moveTo>
                <a:lnTo>
                  <a:pt x="1627" y="147"/>
                </a:lnTo>
                <a:lnTo>
                  <a:pt x="1624" y="147"/>
                </a:lnTo>
                <a:lnTo>
                  <a:pt x="1624" y="145"/>
                </a:lnTo>
                <a:lnTo>
                  <a:pt x="1624" y="145"/>
                </a:lnTo>
                <a:lnTo>
                  <a:pt x="1624" y="142"/>
                </a:lnTo>
                <a:lnTo>
                  <a:pt x="1622" y="139"/>
                </a:lnTo>
                <a:lnTo>
                  <a:pt x="1622" y="142"/>
                </a:lnTo>
                <a:lnTo>
                  <a:pt x="1622" y="147"/>
                </a:lnTo>
                <a:lnTo>
                  <a:pt x="1622" y="150"/>
                </a:lnTo>
                <a:lnTo>
                  <a:pt x="1622" y="153"/>
                </a:lnTo>
                <a:lnTo>
                  <a:pt x="1624" y="153"/>
                </a:lnTo>
                <a:lnTo>
                  <a:pt x="1624" y="153"/>
                </a:lnTo>
                <a:lnTo>
                  <a:pt x="1627" y="156"/>
                </a:lnTo>
                <a:lnTo>
                  <a:pt x="1627" y="156"/>
                </a:lnTo>
                <a:lnTo>
                  <a:pt x="1627" y="156"/>
                </a:lnTo>
                <a:lnTo>
                  <a:pt x="1630" y="156"/>
                </a:lnTo>
                <a:lnTo>
                  <a:pt x="1630" y="153"/>
                </a:lnTo>
                <a:lnTo>
                  <a:pt x="1627" y="150"/>
                </a:lnTo>
                <a:lnTo>
                  <a:pt x="1627" y="147"/>
                </a:lnTo>
                <a:lnTo>
                  <a:pt x="1627" y="147"/>
                </a:lnTo>
                <a:close/>
                <a:moveTo>
                  <a:pt x="1217" y="169"/>
                </a:moveTo>
                <a:lnTo>
                  <a:pt x="1222" y="169"/>
                </a:lnTo>
                <a:lnTo>
                  <a:pt x="1222" y="169"/>
                </a:lnTo>
                <a:lnTo>
                  <a:pt x="1222" y="169"/>
                </a:lnTo>
                <a:lnTo>
                  <a:pt x="1222" y="169"/>
                </a:lnTo>
                <a:lnTo>
                  <a:pt x="1222" y="169"/>
                </a:lnTo>
                <a:lnTo>
                  <a:pt x="1225" y="169"/>
                </a:lnTo>
                <a:lnTo>
                  <a:pt x="1225" y="169"/>
                </a:lnTo>
                <a:lnTo>
                  <a:pt x="1225" y="169"/>
                </a:lnTo>
                <a:lnTo>
                  <a:pt x="1228" y="169"/>
                </a:lnTo>
                <a:lnTo>
                  <a:pt x="1228" y="169"/>
                </a:lnTo>
                <a:lnTo>
                  <a:pt x="1228" y="166"/>
                </a:lnTo>
                <a:lnTo>
                  <a:pt x="1228" y="166"/>
                </a:lnTo>
                <a:lnTo>
                  <a:pt x="1230" y="166"/>
                </a:lnTo>
                <a:lnTo>
                  <a:pt x="1230" y="164"/>
                </a:lnTo>
                <a:lnTo>
                  <a:pt x="1228" y="164"/>
                </a:lnTo>
                <a:lnTo>
                  <a:pt x="1228" y="164"/>
                </a:lnTo>
                <a:lnTo>
                  <a:pt x="1228" y="164"/>
                </a:lnTo>
                <a:lnTo>
                  <a:pt x="1225" y="164"/>
                </a:lnTo>
                <a:lnTo>
                  <a:pt x="1225" y="166"/>
                </a:lnTo>
                <a:lnTo>
                  <a:pt x="1222" y="166"/>
                </a:lnTo>
                <a:lnTo>
                  <a:pt x="1217" y="166"/>
                </a:lnTo>
                <a:lnTo>
                  <a:pt x="1217" y="169"/>
                </a:lnTo>
                <a:lnTo>
                  <a:pt x="1217" y="169"/>
                </a:lnTo>
                <a:lnTo>
                  <a:pt x="1217" y="169"/>
                </a:lnTo>
                <a:close/>
                <a:moveTo>
                  <a:pt x="27" y="1320"/>
                </a:moveTo>
                <a:lnTo>
                  <a:pt x="27" y="1320"/>
                </a:lnTo>
                <a:lnTo>
                  <a:pt x="30" y="1322"/>
                </a:lnTo>
                <a:lnTo>
                  <a:pt x="30" y="1322"/>
                </a:lnTo>
                <a:lnTo>
                  <a:pt x="32" y="1325"/>
                </a:lnTo>
                <a:lnTo>
                  <a:pt x="32" y="1322"/>
                </a:lnTo>
                <a:lnTo>
                  <a:pt x="32" y="1320"/>
                </a:lnTo>
                <a:lnTo>
                  <a:pt x="32" y="1317"/>
                </a:lnTo>
                <a:lnTo>
                  <a:pt x="32" y="1317"/>
                </a:lnTo>
                <a:lnTo>
                  <a:pt x="32" y="1314"/>
                </a:lnTo>
                <a:lnTo>
                  <a:pt x="32" y="1312"/>
                </a:lnTo>
                <a:lnTo>
                  <a:pt x="32" y="1312"/>
                </a:lnTo>
                <a:lnTo>
                  <a:pt x="30" y="1312"/>
                </a:lnTo>
                <a:lnTo>
                  <a:pt x="30" y="1309"/>
                </a:lnTo>
                <a:lnTo>
                  <a:pt x="27" y="1309"/>
                </a:lnTo>
                <a:lnTo>
                  <a:pt x="27" y="1306"/>
                </a:lnTo>
                <a:lnTo>
                  <a:pt x="27" y="1304"/>
                </a:lnTo>
                <a:lnTo>
                  <a:pt x="24" y="1304"/>
                </a:lnTo>
                <a:lnTo>
                  <a:pt x="24" y="1304"/>
                </a:lnTo>
                <a:lnTo>
                  <a:pt x="24" y="1304"/>
                </a:lnTo>
                <a:lnTo>
                  <a:pt x="24" y="1306"/>
                </a:lnTo>
                <a:lnTo>
                  <a:pt x="24" y="1306"/>
                </a:lnTo>
                <a:lnTo>
                  <a:pt x="22" y="1306"/>
                </a:lnTo>
                <a:lnTo>
                  <a:pt x="22" y="1304"/>
                </a:lnTo>
                <a:lnTo>
                  <a:pt x="24" y="1295"/>
                </a:lnTo>
                <a:lnTo>
                  <a:pt x="22" y="1295"/>
                </a:lnTo>
                <a:lnTo>
                  <a:pt x="19" y="1293"/>
                </a:lnTo>
                <a:lnTo>
                  <a:pt x="19" y="1287"/>
                </a:lnTo>
                <a:lnTo>
                  <a:pt x="16" y="1282"/>
                </a:lnTo>
                <a:lnTo>
                  <a:pt x="16" y="1279"/>
                </a:lnTo>
                <a:lnTo>
                  <a:pt x="14" y="1277"/>
                </a:lnTo>
                <a:lnTo>
                  <a:pt x="11" y="1271"/>
                </a:lnTo>
                <a:lnTo>
                  <a:pt x="8" y="1266"/>
                </a:lnTo>
                <a:lnTo>
                  <a:pt x="8" y="1263"/>
                </a:lnTo>
                <a:lnTo>
                  <a:pt x="8" y="1258"/>
                </a:lnTo>
                <a:lnTo>
                  <a:pt x="8" y="1258"/>
                </a:lnTo>
                <a:lnTo>
                  <a:pt x="11" y="1255"/>
                </a:lnTo>
                <a:lnTo>
                  <a:pt x="11" y="1255"/>
                </a:lnTo>
                <a:lnTo>
                  <a:pt x="8" y="1255"/>
                </a:lnTo>
                <a:lnTo>
                  <a:pt x="8" y="1255"/>
                </a:lnTo>
                <a:lnTo>
                  <a:pt x="6" y="1255"/>
                </a:lnTo>
                <a:lnTo>
                  <a:pt x="6" y="1253"/>
                </a:lnTo>
                <a:lnTo>
                  <a:pt x="3" y="1255"/>
                </a:lnTo>
                <a:lnTo>
                  <a:pt x="3" y="1255"/>
                </a:lnTo>
                <a:lnTo>
                  <a:pt x="0" y="1258"/>
                </a:lnTo>
                <a:lnTo>
                  <a:pt x="0" y="1261"/>
                </a:lnTo>
                <a:lnTo>
                  <a:pt x="0" y="1263"/>
                </a:lnTo>
                <a:lnTo>
                  <a:pt x="0" y="1269"/>
                </a:lnTo>
                <a:lnTo>
                  <a:pt x="3" y="1277"/>
                </a:lnTo>
                <a:lnTo>
                  <a:pt x="6" y="1282"/>
                </a:lnTo>
                <a:lnTo>
                  <a:pt x="6" y="1285"/>
                </a:lnTo>
                <a:lnTo>
                  <a:pt x="6" y="1285"/>
                </a:lnTo>
                <a:lnTo>
                  <a:pt x="6" y="1287"/>
                </a:lnTo>
                <a:lnTo>
                  <a:pt x="8" y="1290"/>
                </a:lnTo>
                <a:lnTo>
                  <a:pt x="14" y="1304"/>
                </a:lnTo>
                <a:lnTo>
                  <a:pt x="16" y="1306"/>
                </a:lnTo>
                <a:lnTo>
                  <a:pt x="24" y="1312"/>
                </a:lnTo>
                <a:lnTo>
                  <a:pt x="24" y="1312"/>
                </a:lnTo>
                <a:lnTo>
                  <a:pt x="27" y="1320"/>
                </a:lnTo>
                <a:close/>
                <a:moveTo>
                  <a:pt x="16" y="1231"/>
                </a:moveTo>
                <a:lnTo>
                  <a:pt x="16" y="1231"/>
                </a:lnTo>
                <a:lnTo>
                  <a:pt x="16" y="1231"/>
                </a:lnTo>
                <a:lnTo>
                  <a:pt x="16" y="1231"/>
                </a:lnTo>
                <a:lnTo>
                  <a:pt x="19" y="1228"/>
                </a:lnTo>
                <a:lnTo>
                  <a:pt x="16" y="1223"/>
                </a:lnTo>
                <a:lnTo>
                  <a:pt x="19" y="1223"/>
                </a:lnTo>
                <a:lnTo>
                  <a:pt x="19" y="1218"/>
                </a:lnTo>
                <a:lnTo>
                  <a:pt x="22" y="1218"/>
                </a:lnTo>
                <a:lnTo>
                  <a:pt x="22" y="1212"/>
                </a:lnTo>
                <a:lnTo>
                  <a:pt x="22" y="1210"/>
                </a:lnTo>
                <a:lnTo>
                  <a:pt x="22" y="1210"/>
                </a:lnTo>
                <a:lnTo>
                  <a:pt x="22" y="1210"/>
                </a:lnTo>
                <a:lnTo>
                  <a:pt x="22" y="1207"/>
                </a:lnTo>
                <a:lnTo>
                  <a:pt x="22" y="1204"/>
                </a:lnTo>
                <a:lnTo>
                  <a:pt x="19" y="1204"/>
                </a:lnTo>
                <a:lnTo>
                  <a:pt x="19" y="1210"/>
                </a:lnTo>
                <a:lnTo>
                  <a:pt x="19" y="1218"/>
                </a:lnTo>
                <a:lnTo>
                  <a:pt x="16" y="1220"/>
                </a:lnTo>
                <a:lnTo>
                  <a:pt x="16" y="1228"/>
                </a:lnTo>
                <a:lnTo>
                  <a:pt x="16" y="1231"/>
                </a:lnTo>
                <a:lnTo>
                  <a:pt x="16" y="1231"/>
                </a:lnTo>
                <a:close/>
                <a:moveTo>
                  <a:pt x="257" y="762"/>
                </a:moveTo>
                <a:lnTo>
                  <a:pt x="257" y="762"/>
                </a:lnTo>
                <a:lnTo>
                  <a:pt x="257" y="759"/>
                </a:lnTo>
                <a:lnTo>
                  <a:pt x="257" y="759"/>
                </a:lnTo>
                <a:lnTo>
                  <a:pt x="260" y="759"/>
                </a:lnTo>
                <a:lnTo>
                  <a:pt x="260" y="762"/>
                </a:lnTo>
                <a:lnTo>
                  <a:pt x="260" y="762"/>
                </a:lnTo>
                <a:lnTo>
                  <a:pt x="266" y="762"/>
                </a:lnTo>
                <a:lnTo>
                  <a:pt x="266" y="759"/>
                </a:lnTo>
                <a:lnTo>
                  <a:pt x="266" y="759"/>
                </a:lnTo>
                <a:lnTo>
                  <a:pt x="266" y="759"/>
                </a:lnTo>
                <a:lnTo>
                  <a:pt x="268" y="756"/>
                </a:lnTo>
                <a:lnTo>
                  <a:pt x="268" y="756"/>
                </a:lnTo>
                <a:lnTo>
                  <a:pt x="268" y="756"/>
                </a:lnTo>
                <a:lnTo>
                  <a:pt x="268" y="756"/>
                </a:lnTo>
                <a:lnTo>
                  <a:pt x="268" y="754"/>
                </a:lnTo>
                <a:lnTo>
                  <a:pt x="268" y="754"/>
                </a:lnTo>
                <a:lnTo>
                  <a:pt x="271" y="751"/>
                </a:lnTo>
                <a:lnTo>
                  <a:pt x="274" y="748"/>
                </a:lnTo>
                <a:lnTo>
                  <a:pt x="271" y="748"/>
                </a:lnTo>
                <a:lnTo>
                  <a:pt x="271" y="746"/>
                </a:lnTo>
                <a:lnTo>
                  <a:pt x="271" y="743"/>
                </a:lnTo>
                <a:lnTo>
                  <a:pt x="271" y="740"/>
                </a:lnTo>
                <a:lnTo>
                  <a:pt x="268" y="740"/>
                </a:lnTo>
                <a:lnTo>
                  <a:pt x="266" y="743"/>
                </a:lnTo>
                <a:lnTo>
                  <a:pt x="257" y="751"/>
                </a:lnTo>
                <a:lnTo>
                  <a:pt x="255" y="754"/>
                </a:lnTo>
                <a:lnTo>
                  <a:pt x="255" y="759"/>
                </a:lnTo>
                <a:lnTo>
                  <a:pt x="255" y="762"/>
                </a:lnTo>
                <a:lnTo>
                  <a:pt x="255" y="762"/>
                </a:lnTo>
                <a:lnTo>
                  <a:pt x="257" y="762"/>
                </a:lnTo>
                <a:close/>
                <a:moveTo>
                  <a:pt x="22" y="1199"/>
                </a:moveTo>
                <a:lnTo>
                  <a:pt x="22" y="1202"/>
                </a:lnTo>
                <a:lnTo>
                  <a:pt x="22" y="1202"/>
                </a:lnTo>
                <a:lnTo>
                  <a:pt x="22" y="1199"/>
                </a:lnTo>
                <a:lnTo>
                  <a:pt x="24" y="1199"/>
                </a:lnTo>
                <a:lnTo>
                  <a:pt x="27" y="1194"/>
                </a:lnTo>
                <a:lnTo>
                  <a:pt x="24" y="1194"/>
                </a:lnTo>
                <a:lnTo>
                  <a:pt x="24" y="1191"/>
                </a:lnTo>
                <a:lnTo>
                  <a:pt x="27" y="1180"/>
                </a:lnTo>
                <a:lnTo>
                  <a:pt x="27" y="1177"/>
                </a:lnTo>
                <a:lnTo>
                  <a:pt x="27" y="1177"/>
                </a:lnTo>
                <a:lnTo>
                  <a:pt x="24" y="1180"/>
                </a:lnTo>
                <a:lnTo>
                  <a:pt x="22" y="1199"/>
                </a:lnTo>
                <a:lnTo>
                  <a:pt x="22" y="1199"/>
                </a:lnTo>
                <a:lnTo>
                  <a:pt x="22" y="1199"/>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1" name="Freeform 8"/>
          <p:cNvSpPr>
            <a:spLocks noEditPoints="1"/>
          </p:cNvSpPr>
          <p:nvPr/>
        </p:nvSpPr>
        <p:spPr bwMode="auto">
          <a:xfrm>
            <a:off x="9443883" y="4411179"/>
            <a:ext cx="1524000" cy="877887"/>
          </a:xfrm>
          <a:custGeom>
            <a:avLst/>
            <a:gdLst>
              <a:gd name="T0" fmla="*/ 606 w 960"/>
              <a:gd name="T1" fmla="*/ 512 h 553"/>
              <a:gd name="T2" fmla="*/ 480 w 960"/>
              <a:gd name="T3" fmla="*/ 464 h 553"/>
              <a:gd name="T4" fmla="*/ 467 w 960"/>
              <a:gd name="T5" fmla="*/ 486 h 553"/>
              <a:gd name="T6" fmla="*/ 459 w 960"/>
              <a:gd name="T7" fmla="*/ 478 h 553"/>
              <a:gd name="T8" fmla="*/ 464 w 960"/>
              <a:gd name="T9" fmla="*/ 486 h 553"/>
              <a:gd name="T10" fmla="*/ 764 w 960"/>
              <a:gd name="T11" fmla="*/ 301 h 553"/>
              <a:gd name="T12" fmla="*/ 764 w 960"/>
              <a:gd name="T13" fmla="*/ 268 h 553"/>
              <a:gd name="T14" fmla="*/ 753 w 960"/>
              <a:gd name="T15" fmla="*/ 233 h 553"/>
              <a:gd name="T16" fmla="*/ 719 w 960"/>
              <a:gd name="T17" fmla="*/ 209 h 553"/>
              <a:gd name="T18" fmla="*/ 681 w 960"/>
              <a:gd name="T19" fmla="*/ 217 h 553"/>
              <a:gd name="T20" fmla="*/ 654 w 960"/>
              <a:gd name="T21" fmla="*/ 223 h 553"/>
              <a:gd name="T22" fmla="*/ 665 w 960"/>
              <a:gd name="T23" fmla="*/ 239 h 553"/>
              <a:gd name="T24" fmla="*/ 633 w 960"/>
              <a:gd name="T25" fmla="*/ 225 h 553"/>
              <a:gd name="T26" fmla="*/ 590 w 960"/>
              <a:gd name="T27" fmla="*/ 215 h 553"/>
              <a:gd name="T28" fmla="*/ 558 w 960"/>
              <a:gd name="T29" fmla="*/ 223 h 553"/>
              <a:gd name="T30" fmla="*/ 509 w 960"/>
              <a:gd name="T31" fmla="*/ 212 h 553"/>
              <a:gd name="T32" fmla="*/ 424 w 960"/>
              <a:gd name="T33" fmla="*/ 220 h 553"/>
              <a:gd name="T34" fmla="*/ 400 w 960"/>
              <a:gd name="T35" fmla="*/ 228 h 553"/>
              <a:gd name="T36" fmla="*/ 349 w 960"/>
              <a:gd name="T37" fmla="*/ 185 h 553"/>
              <a:gd name="T38" fmla="*/ 303 w 960"/>
              <a:gd name="T39" fmla="*/ 156 h 553"/>
              <a:gd name="T40" fmla="*/ 276 w 960"/>
              <a:gd name="T41" fmla="*/ 134 h 553"/>
              <a:gd name="T42" fmla="*/ 255 w 960"/>
              <a:gd name="T43" fmla="*/ 97 h 553"/>
              <a:gd name="T44" fmla="*/ 241 w 960"/>
              <a:gd name="T45" fmla="*/ 81 h 553"/>
              <a:gd name="T46" fmla="*/ 201 w 960"/>
              <a:gd name="T47" fmla="*/ 70 h 553"/>
              <a:gd name="T48" fmla="*/ 185 w 960"/>
              <a:gd name="T49" fmla="*/ 78 h 553"/>
              <a:gd name="T50" fmla="*/ 166 w 960"/>
              <a:gd name="T51" fmla="*/ 83 h 553"/>
              <a:gd name="T52" fmla="*/ 153 w 960"/>
              <a:gd name="T53" fmla="*/ 40 h 553"/>
              <a:gd name="T54" fmla="*/ 132 w 960"/>
              <a:gd name="T55" fmla="*/ 24 h 553"/>
              <a:gd name="T56" fmla="*/ 94 w 960"/>
              <a:gd name="T57" fmla="*/ 16 h 553"/>
              <a:gd name="T58" fmla="*/ 49 w 960"/>
              <a:gd name="T59" fmla="*/ 19 h 553"/>
              <a:gd name="T60" fmla="*/ 27 w 960"/>
              <a:gd name="T61" fmla="*/ 14 h 553"/>
              <a:gd name="T62" fmla="*/ 0 w 960"/>
              <a:gd name="T63" fmla="*/ 435 h 553"/>
              <a:gd name="T64" fmla="*/ 51 w 960"/>
              <a:gd name="T65" fmla="*/ 470 h 553"/>
              <a:gd name="T66" fmla="*/ 70 w 960"/>
              <a:gd name="T67" fmla="*/ 472 h 553"/>
              <a:gd name="T68" fmla="*/ 129 w 960"/>
              <a:gd name="T69" fmla="*/ 472 h 553"/>
              <a:gd name="T70" fmla="*/ 166 w 960"/>
              <a:gd name="T71" fmla="*/ 472 h 553"/>
              <a:gd name="T72" fmla="*/ 236 w 960"/>
              <a:gd name="T73" fmla="*/ 504 h 553"/>
              <a:gd name="T74" fmla="*/ 282 w 960"/>
              <a:gd name="T75" fmla="*/ 515 h 553"/>
              <a:gd name="T76" fmla="*/ 311 w 960"/>
              <a:gd name="T77" fmla="*/ 499 h 553"/>
              <a:gd name="T78" fmla="*/ 346 w 960"/>
              <a:gd name="T79" fmla="*/ 475 h 553"/>
              <a:gd name="T80" fmla="*/ 394 w 960"/>
              <a:gd name="T81" fmla="*/ 459 h 553"/>
              <a:gd name="T82" fmla="*/ 365 w 960"/>
              <a:gd name="T83" fmla="*/ 445 h 553"/>
              <a:gd name="T84" fmla="*/ 397 w 960"/>
              <a:gd name="T85" fmla="*/ 429 h 553"/>
              <a:gd name="T86" fmla="*/ 432 w 960"/>
              <a:gd name="T87" fmla="*/ 424 h 553"/>
              <a:gd name="T88" fmla="*/ 429 w 960"/>
              <a:gd name="T89" fmla="*/ 461 h 553"/>
              <a:gd name="T90" fmla="*/ 400 w 960"/>
              <a:gd name="T91" fmla="*/ 467 h 553"/>
              <a:gd name="T92" fmla="*/ 453 w 960"/>
              <a:gd name="T93" fmla="*/ 467 h 553"/>
              <a:gd name="T94" fmla="*/ 467 w 960"/>
              <a:gd name="T95" fmla="*/ 453 h 553"/>
              <a:gd name="T96" fmla="*/ 485 w 960"/>
              <a:gd name="T97" fmla="*/ 475 h 553"/>
              <a:gd name="T98" fmla="*/ 485 w 960"/>
              <a:gd name="T99" fmla="*/ 491 h 553"/>
              <a:gd name="T100" fmla="*/ 526 w 960"/>
              <a:gd name="T101" fmla="*/ 518 h 553"/>
              <a:gd name="T102" fmla="*/ 571 w 960"/>
              <a:gd name="T103" fmla="*/ 545 h 553"/>
              <a:gd name="T104" fmla="*/ 587 w 960"/>
              <a:gd name="T105" fmla="*/ 539 h 553"/>
              <a:gd name="T106" fmla="*/ 587 w 960"/>
              <a:gd name="T107" fmla="*/ 523 h 553"/>
              <a:gd name="T108" fmla="*/ 571 w 960"/>
              <a:gd name="T109" fmla="*/ 526 h 553"/>
              <a:gd name="T110" fmla="*/ 558 w 960"/>
              <a:gd name="T111" fmla="*/ 510 h 553"/>
              <a:gd name="T112" fmla="*/ 611 w 960"/>
              <a:gd name="T113" fmla="*/ 502 h 553"/>
              <a:gd name="T114" fmla="*/ 815 w 960"/>
              <a:gd name="T115" fmla="*/ 411 h 553"/>
              <a:gd name="T116" fmla="*/ 893 w 960"/>
              <a:gd name="T117" fmla="*/ 408 h 553"/>
              <a:gd name="T118" fmla="*/ 938 w 960"/>
              <a:gd name="T119" fmla="*/ 38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0" h="553">
                <a:moveTo>
                  <a:pt x="606" y="510"/>
                </a:moveTo>
                <a:lnTo>
                  <a:pt x="606" y="510"/>
                </a:lnTo>
                <a:lnTo>
                  <a:pt x="603" y="510"/>
                </a:lnTo>
                <a:lnTo>
                  <a:pt x="601" y="510"/>
                </a:lnTo>
                <a:lnTo>
                  <a:pt x="598" y="510"/>
                </a:lnTo>
                <a:lnTo>
                  <a:pt x="595" y="510"/>
                </a:lnTo>
                <a:lnTo>
                  <a:pt x="590" y="510"/>
                </a:lnTo>
                <a:lnTo>
                  <a:pt x="587" y="510"/>
                </a:lnTo>
                <a:lnTo>
                  <a:pt x="587" y="510"/>
                </a:lnTo>
                <a:lnTo>
                  <a:pt x="590" y="512"/>
                </a:lnTo>
                <a:lnTo>
                  <a:pt x="593" y="512"/>
                </a:lnTo>
                <a:lnTo>
                  <a:pt x="595" y="515"/>
                </a:lnTo>
                <a:lnTo>
                  <a:pt x="598" y="515"/>
                </a:lnTo>
                <a:lnTo>
                  <a:pt x="598" y="512"/>
                </a:lnTo>
                <a:lnTo>
                  <a:pt x="598" y="512"/>
                </a:lnTo>
                <a:lnTo>
                  <a:pt x="598" y="512"/>
                </a:lnTo>
                <a:lnTo>
                  <a:pt x="606" y="512"/>
                </a:lnTo>
                <a:lnTo>
                  <a:pt x="606" y="512"/>
                </a:lnTo>
                <a:lnTo>
                  <a:pt x="606" y="510"/>
                </a:lnTo>
                <a:lnTo>
                  <a:pt x="609" y="510"/>
                </a:lnTo>
                <a:lnTo>
                  <a:pt x="606" y="510"/>
                </a:lnTo>
                <a:lnTo>
                  <a:pt x="606" y="510"/>
                </a:lnTo>
                <a:close/>
                <a:moveTo>
                  <a:pt x="461" y="470"/>
                </a:moveTo>
                <a:lnTo>
                  <a:pt x="461" y="472"/>
                </a:lnTo>
                <a:lnTo>
                  <a:pt x="461" y="472"/>
                </a:lnTo>
                <a:lnTo>
                  <a:pt x="464" y="475"/>
                </a:lnTo>
                <a:lnTo>
                  <a:pt x="464" y="475"/>
                </a:lnTo>
                <a:lnTo>
                  <a:pt x="469" y="475"/>
                </a:lnTo>
                <a:lnTo>
                  <a:pt x="472" y="475"/>
                </a:lnTo>
                <a:lnTo>
                  <a:pt x="475" y="470"/>
                </a:lnTo>
                <a:lnTo>
                  <a:pt x="477" y="470"/>
                </a:lnTo>
                <a:lnTo>
                  <a:pt x="480" y="470"/>
                </a:lnTo>
                <a:lnTo>
                  <a:pt x="483" y="470"/>
                </a:lnTo>
                <a:lnTo>
                  <a:pt x="483" y="470"/>
                </a:lnTo>
                <a:lnTo>
                  <a:pt x="480" y="464"/>
                </a:lnTo>
                <a:lnTo>
                  <a:pt x="480" y="464"/>
                </a:lnTo>
                <a:lnTo>
                  <a:pt x="477" y="464"/>
                </a:lnTo>
                <a:lnTo>
                  <a:pt x="475" y="464"/>
                </a:lnTo>
                <a:lnTo>
                  <a:pt x="472" y="464"/>
                </a:lnTo>
                <a:lnTo>
                  <a:pt x="469" y="464"/>
                </a:lnTo>
                <a:lnTo>
                  <a:pt x="464" y="461"/>
                </a:lnTo>
                <a:lnTo>
                  <a:pt x="464" y="461"/>
                </a:lnTo>
                <a:lnTo>
                  <a:pt x="464" y="461"/>
                </a:lnTo>
                <a:lnTo>
                  <a:pt x="464" y="461"/>
                </a:lnTo>
                <a:lnTo>
                  <a:pt x="461" y="461"/>
                </a:lnTo>
                <a:lnTo>
                  <a:pt x="461" y="461"/>
                </a:lnTo>
                <a:lnTo>
                  <a:pt x="461" y="461"/>
                </a:lnTo>
                <a:lnTo>
                  <a:pt x="461" y="464"/>
                </a:lnTo>
                <a:lnTo>
                  <a:pt x="461" y="464"/>
                </a:lnTo>
                <a:lnTo>
                  <a:pt x="459" y="467"/>
                </a:lnTo>
                <a:lnTo>
                  <a:pt x="461" y="470"/>
                </a:lnTo>
                <a:close/>
                <a:moveTo>
                  <a:pt x="469" y="486"/>
                </a:moveTo>
                <a:lnTo>
                  <a:pt x="467" y="486"/>
                </a:lnTo>
                <a:lnTo>
                  <a:pt x="467" y="486"/>
                </a:lnTo>
                <a:lnTo>
                  <a:pt x="467" y="483"/>
                </a:lnTo>
                <a:lnTo>
                  <a:pt x="467" y="483"/>
                </a:lnTo>
                <a:lnTo>
                  <a:pt x="467" y="483"/>
                </a:lnTo>
                <a:lnTo>
                  <a:pt x="464" y="483"/>
                </a:lnTo>
                <a:lnTo>
                  <a:pt x="464" y="483"/>
                </a:lnTo>
                <a:lnTo>
                  <a:pt x="464" y="483"/>
                </a:lnTo>
                <a:lnTo>
                  <a:pt x="464" y="483"/>
                </a:lnTo>
                <a:lnTo>
                  <a:pt x="464" y="483"/>
                </a:lnTo>
                <a:lnTo>
                  <a:pt x="464" y="480"/>
                </a:lnTo>
                <a:lnTo>
                  <a:pt x="464" y="480"/>
                </a:lnTo>
                <a:lnTo>
                  <a:pt x="464" y="480"/>
                </a:lnTo>
                <a:lnTo>
                  <a:pt x="464" y="480"/>
                </a:lnTo>
                <a:lnTo>
                  <a:pt x="464" y="478"/>
                </a:lnTo>
                <a:lnTo>
                  <a:pt x="461" y="478"/>
                </a:lnTo>
                <a:lnTo>
                  <a:pt x="461" y="478"/>
                </a:lnTo>
                <a:lnTo>
                  <a:pt x="461" y="478"/>
                </a:lnTo>
                <a:lnTo>
                  <a:pt x="459" y="478"/>
                </a:lnTo>
                <a:lnTo>
                  <a:pt x="459" y="478"/>
                </a:lnTo>
                <a:lnTo>
                  <a:pt x="453" y="478"/>
                </a:lnTo>
                <a:lnTo>
                  <a:pt x="451" y="480"/>
                </a:lnTo>
                <a:lnTo>
                  <a:pt x="451" y="480"/>
                </a:lnTo>
                <a:lnTo>
                  <a:pt x="448" y="483"/>
                </a:lnTo>
                <a:lnTo>
                  <a:pt x="442" y="486"/>
                </a:lnTo>
                <a:lnTo>
                  <a:pt x="442" y="486"/>
                </a:lnTo>
                <a:lnTo>
                  <a:pt x="445" y="486"/>
                </a:lnTo>
                <a:lnTo>
                  <a:pt x="448" y="486"/>
                </a:lnTo>
                <a:lnTo>
                  <a:pt x="451" y="486"/>
                </a:lnTo>
                <a:lnTo>
                  <a:pt x="451" y="486"/>
                </a:lnTo>
                <a:lnTo>
                  <a:pt x="451" y="486"/>
                </a:lnTo>
                <a:lnTo>
                  <a:pt x="453" y="486"/>
                </a:lnTo>
                <a:lnTo>
                  <a:pt x="453" y="486"/>
                </a:lnTo>
                <a:lnTo>
                  <a:pt x="453" y="486"/>
                </a:lnTo>
                <a:lnTo>
                  <a:pt x="456" y="486"/>
                </a:lnTo>
                <a:lnTo>
                  <a:pt x="459" y="486"/>
                </a:lnTo>
                <a:lnTo>
                  <a:pt x="461" y="486"/>
                </a:lnTo>
                <a:lnTo>
                  <a:pt x="464" y="486"/>
                </a:lnTo>
                <a:lnTo>
                  <a:pt x="467" y="488"/>
                </a:lnTo>
                <a:lnTo>
                  <a:pt x="467" y="488"/>
                </a:lnTo>
                <a:lnTo>
                  <a:pt x="467" y="488"/>
                </a:lnTo>
                <a:lnTo>
                  <a:pt x="469" y="491"/>
                </a:lnTo>
                <a:lnTo>
                  <a:pt x="469" y="491"/>
                </a:lnTo>
                <a:lnTo>
                  <a:pt x="469" y="488"/>
                </a:lnTo>
                <a:lnTo>
                  <a:pt x="469" y="488"/>
                </a:lnTo>
                <a:lnTo>
                  <a:pt x="469" y="486"/>
                </a:lnTo>
                <a:close/>
                <a:moveTo>
                  <a:pt x="938" y="368"/>
                </a:moveTo>
                <a:lnTo>
                  <a:pt x="893" y="349"/>
                </a:lnTo>
                <a:lnTo>
                  <a:pt x="869" y="341"/>
                </a:lnTo>
                <a:lnTo>
                  <a:pt x="823" y="322"/>
                </a:lnTo>
                <a:lnTo>
                  <a:pt x="799" y="311"/>
                </a:lnTo>
                <a:lnTo>
                  <a:pt x="775" y="303"/>
                </a:lnTo>
                <a:lnTo>
                  <a:pt x="772" y="301"/>
                </a:lnTo>
                <a:lnTo>
                  <a:pt x="767" y="301"/>
                </a:lnTo>
                <a:lnTo>
                  <a:pt x="764" y="301"/>
                </a:lnTo>
                <a:lnTo>
                  <a:pt x="764" y="301"/>
                </a:lnTo>
                <a:lnTo>
                  <a:pt x="764" y="301"/>
                </a:lnTo>
                <a:lnTo>
                  <a:pt x="772" y="290"/>
                </a:lnTo>
                <a:lnTo>
                  <a:pt x="772" y="287"/>
                </a:lnTo>
                <a:lnTo>
                  <a:pt x="772" y="284"/>
                </a:lnTo>
                <a:lnTo>
                  <a:pt x="772" y="284"/>
                </a:lnTo>
                <a:lnTo>
                  <a:pt x="772" y="282"/>
                </a:lnTo>
                <a:lnTo>
                  <a:pt x="772" y="279"/>
                </a:lnTo>
                <a:lnTo>
                  <a:pt x="769" y="279"/>
                </a:lnTo>
                <a:lnTo>
                  <a:pt x="769" y="279"/>
                </a:lnTo>
                <a:lnTo>
                  <a:pt x="767" y="276"/>
                </a:lnTo>
                <a:lnTo>
                  <a:pt x="767" y="276"/>
                </a:lnTo>
                <a:lnTo>
                  <a:pt x="767" y="276"/>
                </a:lnTo>
                <a:lnTo>
                  <a:pt x="767" y="276"/>
                </a:lnTo>
                <a:lnTo>
                  <a:pt x="767" y="274"/>
                </a:lnTo>
                <a:lnTo>
                  <a:pt x="767" y="271"/>
                </a:lnTo>
                <a:lnTo>
                  <a:pt x="767" y="268"/>
                </a:lnTo>
                <a:lnTo>
                  <a:pt x="764" y="268"/>
                </a:lnTo>
                <a:lnTo>
                  <a:pt x="764" y="268"/>
                </a:lnTo>
                <a:lnTo>
                  <a:pt x="764" y="266"/>
                </a:lnTo>
                <a:lnTo>
                  <a:pt x="764" y="266"/>
                </a:lnTo>
                <a:lnTo>
                  <a:pt x="764" y="263"/>
                </a:lnTo>
                <a:lnTo>
                  <a:pt x="759" y="260"/>
                </a:lnTo>
                <a:lnTo>
                  <a:pt x="759" y="260"/>
                </a:lnTo>
                <a:lnTo>
                  <a:pt x="756" y="258"/>
                </a:lnTo>
                <a:lnTo>
                  <a:pt x="756" y="258"/>
                </a:lnTo>
                <a:lnTo>
                  <a:pt x="759" y="255"/>
                </a:lnTo>
                <a:lnTo>
                  <a:pt x="759" y="255"/>
                </a:lnTo>
                <a:lnTo>
                  <a:pt x="759" y="252"/>
                </a:lnTo>
                <a:lnTo>
                  <a:pt x="759" y="252"/>
                </a:lnTo>
                <a:lnTo>
                  <a:pt x="756" y="250"/>
                </a:lnTo>
                <a:lnTo>
                  <a:pt x="756" y="244"/>
                </a:lnTo>
                <a:lnTo>
                  <a:pt x="753" y="242"/>
                </a:lnTo>
                <a:lnTo>
                  <a:pt x="753" y="242"/>
                </a:lnTo>
                <a:lnTo>
                  <a:pt x="753" y="239"/>
                </a:lnTo>
                <a:lnTo>
                  <a:pt x="756" y="233"/>
                </a:lnTo>
                <a:lnTo>
                  <a:pt x="753" y="233"/>
                </a:lnTo>
                <a:lnTo>
                  <a:pt x="751" y="231"/>
                </a:lnTo>
                <a:lnTo>
                  <a:pt x="748" y="228"/>
                </a:lnTo>
                <a:lnTo>
                  <a:pt x="751" y="225"/>
                </a:lnTo>
                <a:lnTo>
                  <a:pt x="751" y="223"/>
                </a:lnTo>
                <a:lnTo>
                  <a:pt x="751" y="223"/>
                </a:lnTo>
                <a:lnTo>
                  <a:pt x="748" y="220"/>
                </a:lnTo>
                <a:lnTo>
                  <a:pt x="745" y="220"/>
                </a:lnTo>
                <a:lnTo>
                  <a:pt x="743" y="220"/>
                </a:lnTo>
                <a:lnTo>
                  <a:pt x="743" y="220"/>
                </a:lnTo>
                <a:lnTo>
                  <a:pt x="743" y="220"/>
                </a:lnTo>
                <a:lnTo>
                  <a:pt x="740" y="217"/>
                </a:lnTo>
                <a:lnTo>
                  <a:pt x="740" y="217"/>
                </a:lnTo>
                <a:lnTo>
                  <a:pt x="740" y="217"/>
                </a:lnTo>
                <a:lnTo>
                  <a:pt x="737" y="215"/>
                </a:lnTo>
                <a:lnTo>
                  <a:pt x="724" y="209"/>
                </a:lnTo>
                <a:lnTo>
                  <a:pt x="721" y="209"/>
                </a:lnTo>
                <a:lnTo>
                  <a:pt x="719" y="209"/>
                </a:lnTo>
                <a:lnTo>
                  <a:pt x="719" y="209"/>
                </a:lnTo>
                <a:lnTo>
                  <a:pt x="719" y="209"/>
                </a:lnTo>
                <a:lnTo>
                  <a:pt x="716" y="212"/>
                </a:lnTo>
                <a:lnTo>
                  <a:pt x="716" y="212"/>
                </a:lnTo>
                <a:lnTo>
                  <a:pt x="702" y="215"/>
                </a:lnTo>
                <a:lnTo>
                  <a:pt x="700" y="215"/>
                </a:lnTo>
                <a:lnTo>
                  <a:pt x="700" y="212"/>
                </a:lnTo>
                <a:lnTo>
                  <a:pt x="700" y="212"/>
                </a:lnTo>
                <a:lnTo>
                  <a:pt x="697" y="212"/>
                </a:lnTo>
                <a:lnTo>
                  <a:pt x="694" y="209"/>
                </a:lnTo>
                <a:lnTo>
                  <a:pt x="694" y="209"/>
                </a:lnTo>
                <a:lnTo>
                  <a:pt x="692" y="212"/>
                </a:lnTo>
                <a:lnTo>
                  <a:pt x="692" y="212"/>
                </a:lnTo>
                <a:lnTo>
                  <a:pt x="689" y="212"/>
                </a:lnTo>
                <a:lnTo>
                  <a:pt x="686" y="212"/>
                </a:lnTo>
                <a:lnTo>
                  <a:pt x="686" y="212"/>
                </a:lnTo>
                <a:lnTo>
                  <a:pt x="684" y="215"/>
                </a:lnTo>
                <a:lnTo>
                  <a:pt x="684" y="215"/>
                </a:lnTo>
                <a:lnTo>
                  <a:pt x="681" y="217"/>
                </a:lnTo>
                <a:lnTo>
                  <a:pt x="681" y="223"/>
                </a:lnTo>
                <a:lnTo>
                  <a:pt x="681" y="225"/>
                </a:lnTo>
                <a:lnTo>
                  <a:pt x="678" y="223"/>
                </a:lnTo>
                <a:lnTo>
                  <a:pt x="676" y="223"/>
                </a:lnTo>
                <a:lnTo>
                  <a:pt x="673" y="220"/>
                </a:lnTo>
                <a:lnTo>
                  <a:pt x="673" y="220"/>
                </a:lnTo>
                <a:lnTo>
                  <a:pt x="673" y="223"/>
                </a:lnTo>
                <a:lnTo>
                  <a:pt x="668" y="223"/>
                </a:lnTo>
                <a:lnTo>
                  <a:pt x="662" y="223"/>
                </a:lnTo>
                <a:lnTo>
                  <a:pt x="662" y="223"/>
                </a:lnTo>
                <a:lnTo>
                  <a:pt x="662" y="223"/>
                </a:lnTo>
                <a:lnTo>
                  <a:pt x="660" y="220"/>
                </a:lnTo>
                <a:lnTo>
                  <a:pt x="660" y="220"/>
                </a:lnTo>
                <a:lnTo>
                  <a:pt x="657" y="220"/>
                </a:lnTo>
                <a:lnTo>
                  <a:pt x="657" y="220"/>
                </a:lnTo>
                <a:lnTo>
                  <a:pt x="657" y="220"/>
                </a:lnTo>
                <a:lnTo>
                  <a:pt x="657" y="220"/>
                </a:lnTo>
                <a:lnTo>
                  <a:pt x="654" y="223"/>
                </a:lnTo>
                <a:lnTo>
                  <a:pt x="654" y="225"/>
                </a:lnTo>
                <a:lnTo>
                  <a:pt x="654" y="225"/>
                </a:lnTo>
                <a:lnTo>
                  <a:pt x="652" y="225"/>
                </a:lnTo>
                <a:lnTo>
                  <a:pt x="652" y="228"/>
                </a:lnTo>
                <a:lnTo>
                  <a:pt x="652" y="228"/>
                </a:lnTo>
                <a:lnTo>
                  <a:pt x="652" y="228"/>
                </a:lnTo>
                <a:lnTo>
                  <a:pt x="652" y="231"/>
                </a:lnTo>
                <a:lnTo>
                  <a:pt x="652" y="231"/>
                </a:lnTo>
                <a:lnTo>
                  <a:pt x="654" y="233"/>
                </a:lnTo>
                <a:lnTo>
                  <a:pt x="654" y="233"/>
                </a:lnTo>
                <a:lnTo>
                  <a:pt x="654" y="236"/>
                </a:lnTo>
                <a:lnTo>
                  <a:pt x="654" y="236"/>
                </a:lnTo>
                <a:lnTo>
                  <a:pt x="657" y="236"/>
                </a:lnTo>
                <a:lnTo>
                  <a:pt x="657" y="239"/>
                </a:lnTo>
                <a:lnTo>
                  <a:pt x="660" y="239"/>
                </a:lnTo>
                <a:lnTo>
                  <a:pt x="662" y="239"/>
                </a:lnTo>
                <a:lnTo>
                  <a:pt x="662" y="239"/>
                </a:lnTo>
                <a:lnTo>
                  <a:pt x="665" y="239"/>
                </a:lnTo>
                <a:lnTo>
                  <a:pt x="665" y="239"/>
                </a:lnTo>
                <a:lnTo>
                  <a:pt x="662" y="242"/>
                </a:lnTo>
                <a:lnTo>
                  <a:pt x="654" y="242"/>
                </a:lnTo>
                <a:lnTo>
                  <a:pt x="654" y="242"/>
                </a:lnTo>
                <a:lnTo>
                  <a:pt x="649" y="236"/>
                </a:lnTo>
                <a:lnTo>
                  <a:pt x="649" y="233"/>
                </a:lnTo>
                <a:lnTo>
                  <a:pt x="649" y="231"/>
                </a:lnTo>
                <a:lnTo>
                  <a:pt x="649" y="228"/>
                </a:lnTo>
                <a:lnTo>
                  <a:pt x="649" y="228"/>
                </a:lnTo>
                <a:lnTo>
                  <a:pt x="646" y="225"/>
                </a:lnTo>
                <a:lnTo>
                  <a:pt x="643" y="225"/>
                </a:lnTo>
                <a:lnTo>
                  <a:pt x="643" y="225"/>
                </a:lnTo>
                <a:lnTo>
                  <a:pt x="641" y="225"/>
                </a:lnTo>
                <a:lnTo>
                  <a:pt x="641" y="228"/>
                </a:lnTo>
                <a:lnTo>
                  <a:pt x="641" y="228"/>
                </a:lnTo>
                <a:lnTo>
                  <a:pt x="638" y="228"/>
                </a:lnTo>
                <a:lnTo>
                  <a:pt x="635" y="228"/>
                </a:lnTo>
                <a:lnTo>
                  <a:pt x="633" y="225"/>
                </a:lnTo>
                <a:lnTo>
                  <a:pt x="630" y="225"/>
                </a:lnTo>
                <a:lnTo>
                  <a:pt x="627" y="225"/>
                </a:lnTo>
                <a:lnTo>
                  <a:pt x="625" y="225"/>
                </a:lnTo>
                <a:lnTo>
                  <a:pt x="625" y="223"/>
                </a:lnTo>
                <a:lnTo>
                  <a:pt x="625" y="223"/>
                </a:lnTo>
                <a:lnTo>
                  <a:pt x="622" y="223"/>
                </a:lnTo>
                <a:lnTo>
                  <a:pt x="619" y="223"/>
                </a:lnTo>
                <a:lnTo>
                  <a:pt x="617" y="220"/>
                </a:lnTo>
                <a:lnTo>
                  <a:pt x="617" y="220"/>
                </a:lnTo>
                <a:lnTo>
                  <a:pt x="614" y="220"/>
                </a:lnTo>
                <a:lnTo>
                  <a:pt x="611" y="220"/>
                </a:lnTo>
                <a:lnTo>
                  <a:pt x="609" y="220"/>
                </a:lnTo>
                <a:lnTo>
                  <a:pt x="606" y="217"/>
                </a:lnTo>
                <a:lnTo>
                  <a:pt x="603" y="215"/>
                </a:lnTo>
                <a:lnTo>
                  <a:pt x="595" y="215"/>
                </a:lnTo>
                <a:lnTo>
                  <a:pt x="595" y="215"/>
                </a:lnTo>
                <a:lnTo>
                  <a:pt x="593" y="215"/>
                </a:lnTo>
                <a:lnTo>
                  <a:pt x="590" y="215"/>
                </a:lnTo>
                <a:lnTo>
                  <a:pt x="590" y="215"/>
                </a:lnTo>
                <a:lnTo>
                  <a:pt x="590" y="215"/>
                </a:lnTo>
                <a:lnTo>
                  <a:pt x="587" y="215"/>
                </a:lnTo>
                <a:lnTo>
                  <a:pt x="587" y="215"/>
                </a:lnTo>
                <a:lnTo>
                  <a:pt x="585" y="215"/>
                </a:lnTo>
                <a:lnTo>
                  <a:pt x="585" y="215"/>
                </a:lnTo>
                <a:lnTo>
                  <a:pt x="582" y="215"/>
                </a:lnTo>
                <a:lnTo>
                  <a:pt x="579" y="220"/>
                </a:lnTo>
                <a:lnTo>
                  <a:pt x="576" y="223"/>
                </a:lnTo>
                <a:lnTo>
                  <a:pt x="568" y="220"/>
                </a:lnTo>
                <a:lnTo>
                  <a:pt x="566" y="220"/>
                </a:lnTo>
                <a:lnTo>
                  <a:pt x="563" y="220"/>
                </a:lnTo>
                <a:lnTo>
                  <a:pt x="560" y="220"/>
                </a:lnTo>
                <a:lnTo>
                  <a:pt x="560" y="220"/>
                </a:lnTo>
                <a:lnTo>
                  <a:pt x="560" y="223"/>
                </a:lnTo>
                <a:lnTo>
                  <a:pt x="560" y="223"/>
                </a:lnTo>
                <a:lnTo>
                  <a:pt x="560" y="223"/>
                </a:lnTo>
                <a:lnTo>
                  <a:pt x="558" y="223"/>
                </a:lnTo>
                <a:lnTo>
                  <a:pt x="558" y="220"/>
                </a:lnTo>
                <a:lnTo>
                  <a:pt x="555" y="220"/>
                </a:lnTo>
                <a:lnTo>
                  <a:pt x="547" y="220"/>
                </a:lnTo>
                <a:lnTo>
                  <a:pt x="544" y="220"/>
                </a:lnTo>
                <a:lnTo>
                  <a:pt x="544" y="217"/>
                </a:lnTo>
                <a:lnTo>
                  <a:pt x="542" y="217"/>
                </a:lnTo>
                <a:lnTo>
                  <a:pt x="536" y="217"/>
                </a:lnTo>
                <a:lnTo>
                  <a:pt x="536" y="217"/>
                </a:lnTo>
                <a:lnTo>
                  <a:pt x="534" y="217"/>
                </a:lnTo>
                <a:lnTo>
                  <a:pt x="534" y="215"/>
                </a:lnTo>
                <a:lnTo>
                  <a:pt x="534" y="215"/>
                </a:lnTo>
                <a:lnTo>
                  <a:pt x="534" y="215"/>
                </a:lnTo>
                <a:lnTo>
                  <a:pt x="531" y="212"/>
                </a:lnTo>
                <a:lnTo>
                  <a:pt x="528" y="212"/>
                </a:lnTo>
                <a:lnTo>
                  <a:pt x="526" y="212"/>
                </a:lnTo>
                <a:lnTo>
                  <a:pt x="520" y="215"/>
                </a:lnTo>
                <a:lnTo>
                  <a:pt x="515" y="215"/>
                </a:lnTo>
                <a:lnTo>
                  <a:pt x="509" y="212"/>
                </a:lnTo>
                <a:lnTo>
                  <a:pt x="491" y="199"/>
                </a:lnTo>
                <a:lnTo>
                  <a:pt x="488" y="199"/>
                </a:lnTo>
                <a:lnTo>
                  <a:pt x="483" y="199"/>
                </a:lnTo>
                <a:lnTo>
                  <a:pt x="477" y="199"/>
                </a:lnTo>
                <a:lnTo>
                  <a:pt x="469" y="201"/>
                </a:lnTo>
                <a:lnTo>
                  <a:pt x="467" y="204"/>
                </a:lnTo>
                <a:lnTo>
                  <a:pt x="461" y="201"/>
                </a:lnTo>
                <a:lnTo>
                  <a:pt x="459" y="201"/>
                </a:lnTo>
                <a:lnTo>
                  <a:pt x="453" y="201"/>
                </a:lnTo>
                <a:lnTo>
                  <a:pt x="442" y="201"/>
                </a:lnTo>
                <a:lnTo>
                  <a:pt x="432" y="201"/>
                </a:lnTo>
                <a:lnTo>
                  <a:pt x="429" y="204"/>
                </a:lnTo>
                <a:lnTo>
                  <a:pt x="429" y="204"/>
                </a:lnTo>
                <a:lnTo>
                  <a:pt x="426" y="204"/>
                </a:lnTo>
                <a:lnTo>
                  <a:pt x="426" y="212"/>
                </a:lnTo>
                <a:lnTo>
                  <a:pt x="424" y="215"/>
                </a:lnTo>
                <a:lnTo>
                  <a:pt x="424" y="217"/>
                </a:lnTo>
                <a:lnTo>
                  <a:pt x="424" y="220"/>
                </a:lnTo>
                <a:lnTo>
                  <a:pt x="426" y="220"/>
                </a:lnTo>
                <a:lnTo>
                  <a:pt x="429" y="223"/>
                </a:lnTo>
                <a:lnTo>
                  <a:pt x="429" y="225"/>
                </a:lnTo>
                <a:lnTo>
                  <a:pt x="429" y="225"/>
                </a:lnTo>
                <a:lnTo>
                  <a:pt x="426" y="225"/>
                </a:lnTo>
                <a:lnTo>
                  <a:pt x="421" y="225"/>
                </a:lnTo>
                <a:lnTo>
                  <a:pt x="418" y="225"/>
                </a:lnTo>
                <a:lnTo>
                  <a:pt x="416" y="225"/>
                </a:lnTo>
                <a:lnTo>
                  <a:pt x="413" y="228"/>
                </a:lnTo>
                <a:lnTo>
                  <a:pt x="410" y="231"/>
                </a:lnTo>
                <a:lnTo>
                  <a:pt x="405" y="231"/>
                </a:lnTo>
                <a:lnTo>
                  <a:pt x="402" y="231"/>
                </a:lnTo>
                <a:lnTo>
                  <a:pt x="402" y="231"/>
                </a:lnTo>
                <a:lnTo>
                  <a:pt x="402" y="228"/>
                </a:lnTo>
                <a:lnTo>
                  <a:pt x="402" y="228"/>
                </a:lnTo>
                <a:lnTo>
                  <a:pt x="400" y="228"/>
                </a:lnTo>
                <a:lnTo>
                  <a:pt x="400" y="228"/>
                </a:lnTo>
                <a:lnTo>
                  <a:pt x="400" y="228"/>
                </a:lnTo>
                <a:lnTo>
                  <a:pt x="400" y="225"/>
                </a:lnTo>
                <a:lnTo>
                  <a:pt x="397" y="225"/>
                </a:lnTo>
                <a:lnTo>
                  <a:pt x="394" y="225"/>
                </a:lnTo>
                <a:lnTo>
                  <a:pt x="389" y="225"/>
                </a:lnTo>
                <a:lnTo>
                  <a:pt x="389" y="223"/>
                </a:lnTo>
                <a:lnTo>
                  <a:pt x="375" y="212"/>
                </a:lnTo>
                <a:lnTo>
                  <a:pt x="373" y="209"/>
                </a:lnTo>
                <a:lnTo>
                  <a:pt x="370" y="209"/>
                </a:lnTo>
                <a:lnTo>
                  <a:pt x="370" y="207"/>
                </a:lnTo>
                <a:lnTo>
                  <a:pt x="365" y="196"/>
                </a:lnTo>
                <a:lnTo>
                  <a:pt x="362" y="193"/>
                </a:lnTo>
                <a:lnTo>
                  <a:pt x="359" y="191"/>
                </a:lnTo>
                <a:lnTo>
                  <a:pt x="357" y="191"/>
                </a:lnTo>
                <a:lnTo>
                  <a:pt x="354" y="191"/>
                </a:lnTo>
                <a:lnTo>
                  <a:pt x="354" y="191"/>
                </a:lnTo>
                <a:lnTo>
                  <a:pt x="351" y="188"/>
                </a:lnTo>
                <a:lnTo>
                  <a:pt x="351" y="188"/>
                </a:lnTo>
                <a:lnTo>
                  <a:pt x="349" y="185"/>
                </a:lnTo>
                <a:lnTo>
                  <a:pt x="349" y="185"/>
                </a:lnTo>
                <a:lnTo>
                  <a:pt x="346" y="183"/>
                </a:lnTo>
                <a:lnTo>
                  <a:pt x="346" y="183"/>
                </a:lnTo>
                <a:lnTo>
                  <a:pt x="346" y="183"/>
                </a:lnTo>
                <a:lnTo>
                  <a:pt x="343" y="183"/>
                </a:lnTo>
                <a:lnTo>
                  <a:pt x="343" y="183"/>
                </a:lnTo>
                <a:lnTo>
                  <a:pt x="341" y="180"/>
                </a:lnTo>
                <a:lnTo>
                  <a:pt x="335" y="172"/>
                </a:lnTo>
                <a:lnTo>
                  <a:pt x="330" y="169"/>
                </a:lnTo>
                <a:lnTo>
                  <a:pt x="327" y="169"/>
                </a:lnTo>
                <a:lnTo>
                  <a:pt x="325" y="169"/>
                </a:lnTo>
                <a:lnTo>
                  <a:pt x="322" y="166"/>
                </a:lnTo>
                <a:lnTo>
                  <a:pt x="319" y="164"/>
                </a:lnTo>
                <a:lnTo>
                  <a:pt x="314" y="161"/>
                </a:lnTo>
                <a:lnTo>
                  <a:pt x="308" y="158"/>
                </a:lnTo>
                <a:lnTo>
                  <a:pt x="306" y="158"/>
                </a:lnTo>
                <a:lnTo>
                  <a:pt x="306" y="156"/>
                </a:lnTo>
                <a:lnTo>
                  <a:pt x="303" y="156"/>
                </a:lnTo>
                <a:lnTo>
                  <a:pt x="303" y="156"/>
                </a:lnTo>
                <a:lnTo>
                  <a:pt x="300" y="156"/>
                </a:lnTo>
                <a:lnTo>
                  <a:pt x="300" y="156"/>
                </a:lnTo>
                <a:lnTo>
                  <a:pt x="300" y="153"/>
                </a:lnTo>
                <a:lnTo>
                  <a:pt x="295" y="153"/>
                </a:lnTo>
                <a:lnTo>
                  <a:pt x="287" y="150"/>
                </a:lnTo>
                <a:lnTo>
                  <a:pt x="282" y="148"/>
                </a:lnTo>
                <a:lnTo>
                  <a:pt x="279" y="148"/>
                </a:lnTo>
                <a:lnTo>
                  <a:pt x="279" y="145"/>
                </a:lnTo>
                <a:lnTo>
                  <a:pt x="279" y="145"/>
                </a:lnTo>
                <a:lnTo>
                  <a:pt x="279" y="145"/>
                </a:lnTo>
                <a:lnTo>
                  <a:pt x="279" y="142"/>
                </a:lnTo>
                <a:lnTo>
                  <a:pt x="282" y="142"/>
                </a:lnTo>
                <a:lnTo>
                  <a:pt x="282" y="140"/>
                </a:lnTo>
                <a:lnTo>
                  <a:pt x="279" y="137"/>
                </a:lnTo>
                <a:lnTo>
                  <a:pt x="279" y="137"/>
                </a:lnTo>
                <a:lnTo>
                  <a:pt x="276" y="134"/>
                </a:lnTo>
                <a:lnTo>
                  <a:pt x="276" y="134"/>
                </a:lnTo>
                <a:lnTo>
                  <a:pt x="266" y="132"/>
                </a:lnTo>
                <a:lnTo>
                  <a:pt x="263" y="132"/>
                </a:lnTo>
                <a:lnTo>
                  <a:pt x="263" y="129"/>
                </a:lnTo>
                <a:lnTo>
                  <a:pt x="260" y="129"/>
                </a:lnTo>
                <a:lnTo>
                  <a:pt x="258" y="126"/>
                </a:lnTo>
                <a:lnTo>
                  <a:pt x="258" y="121"/>
                </a:lnTo>
                <a:lnTo>
                  <a:pt x="255" y="115"/>
                </a:lnTo>
                <a:lnTo>
                  <a:pt x="255" y="110"/>
                </a:lnTo>
                <a:lnTo>
                  <a:pt x="252" y="107"/>
                </a:lnTo>
                <a:lnTo>
                  <a:pt x="252" y="105"/>
                </a:lnTo>
                <a:lnTo>
                  <a:pt x="252" y="105"/>
                </a:lnTo>
                <a:lnTo>
                  <a:pt x="255" y="102"/>
                </a:lnTo>
                <a:lnTo>
                  <a:pt x="255" y="102"/>
                </a:lnTo>
                <a:lnTo>
                  <a:pt x="255" y="102"/>
                </a:lnTo>
                <a:lnTo>
                  <a:pt x="255" y="99"/>
                </a:lnTo>
                <a:lnTo>
                  <a:pt x="252" y="99"/>
                </a:lnTo>
                <a:lnTo>
                  <a:pt x="252" y="97"/>
                </a:lnTo>
                <a:lnTo>
                  <a:pt x="255" y="97"/>
                </a:lnTo>
                <a:lnTo>
                  <a:pt x="255" y="97"/>
                </a:lnTo>
                <a:lnTo>
                  <a:pt x="255" y="97"/>
                </a:lnTo>
                <a:lnTo>
                  <a:pt x="255" y="94"/>
                </a:lnTo>
                <a:lnTo>
                  <a:pt x="255" y="94"/>
                </a:lnTo>
                <a:lnTo>
                  <a:pt x="255" y="94"/>
                </a:lnTo>
                <a:lnTo>
                  <a:pt x="255" y="91"/>
                </a:lnTo>
                <a:lnTo>
                  <a:pt x="255" y="91"/>
                </a:lnTo>
                <a:lnTo>
                  <a:pt x="255" y="89"/>
                </a:lnTo>
                <a:lnTo>
                  <a:pt x="255" y="89"/>
                </a:lnTo>
                <a:lnTo>
                  <a:pt x="252" y="86"/>
                </a:lnTo>
                <a:lnTo>
                  <a:pt x="252" y="86"/>
                </a:lnTo>
                <a:lnTo>
                  <a:pt x="250" y="86"/>
                </a:lnTo>
                <a:lnTo>
                  <a:pt x="247" y="89"/>
                </a:lnTo>
                <a:lnTo>
                  <a:pt x="247" y="86"/>
                </a:lnTo>
                <a:lnTo>
                  <a:pt x="247" y="83"/>
                </a:lnTo>
                <a:lnTo>
                  <a:pt x="244" y="83"/>
                </a:lnTo>
                <a:lnTo>
                  <a:pt x="241" y="83"/>
                </a:lnTo>
                <a:lnTo>
                  <a:pt x="241" y="81"/>
                </a:lnTo>
                <a:lnTo>
                  <a:pt x="233" y="78"/>
                </a:lnTo>
                <a:lnTo>
                  <a:pt x="233" y="78"/>
                </a:lnTo>
                <a:lnTo>
                  <a:pt x="223" y="78"/>
                </a:lnTo>
                <a:lnTo>
                  <a:pt x="220" y="75"/>
                </a:lnTo>
                <a:lnTo>
                  <a:pt x="217" y="75"/>
                </a:lnTo>
                <a:lnTo>
                  <a:pt x="217" y="75"/>
                </a:lnTo>
                <a:lnTo>
                  <a:pt x="215" y="75"/>
                </a:lnTo>
                <a:lnTo>
                  <a:pt x="215" y="75"/>
                </a:lnTo>
                <a:lnTo>
                  <a:pt x="209" y="73"/>
                </a:lnTo>
                <a:lnTo>
                  <a:pt x="209" y="73"/>
                </a:lnTo>
                <a:lnTo>
                  <a:pt x="209" y="73"/>
                </a:lnTo>
                <a:lnTo>
                  <a:pt x="207" y="75"/>
                </a:lnTo>
                <a:lnTo>
                  <a:pt x="204" y="75"/>
                </a:lnTo>
                <a:lnTo>
                  <a:pt x="204" y="75"/>
                </a:lnTo>
                <a:lnTo>
                  <a:pt x="204" y="73"/>
                </a:lnTo>
                <a:lnTo>
                  <a:pt x="204" y="73"/>
                </a:lnTo>
                <a:lnTo>
                  <a:pt x="201" y="70"/>
                </a:lnTo>
                <a:lnTo>
                  <a:pt x="201" y="70"/>
                </a:lnTo>
                <a:lnTo>
                  <a:pt x="201" y="67"/>
                </a:lnTo>
                <a:lnTo>
                  <a:pt x="199" y="67"/>
                </a:lnTo>
                <a:lnTo>
                  <a:pt x="196" y="67"/>
                </a:lnTo>
                <a:lnTo>
                  <a:pt x="196" y="65"/>
                </a:lnTo>
                <a:lnTo>
                  <a:pt x="196" y="65"/>
                </a:lnTo>
                <a:lnTo>
                  <a:pt x="193" y="65"/>
                </a:lnTo>
                <a:lnTo>
                  <a:pt x="191" y="67"/>
                </a:lnTo>
                <a:lnTo>
                  <a:pt x="191" y="67"/>
                </a:lnTo>
                <a:lnTo>
                  <a:pt x="188" y="67"/>
                </a:lnTo>
                <a:lnTo>
                  <a:pt x="188" y="70"/>
                </a:lnTo>
                <a:lnTo>
                  <a:pt x="185" y="73"/>
                </a:lnTo>
                <a:lnTo>
                  <a:pt x="185" y="75"/>
                </a:lnTo>
                <a:lnTo>
                  <a:pt x="185" y="75"/>
                </a:lnTo>
                <a:lnTo>
                  <a:pt x="185" y="75"/>
                </a:lnTo>
                <a:lnTo>
                  <a:pt x="185" y="75"/>
                </a:lnTo>
                <a:lnTo>
                  <a:pt x="185" y="78"/>
                </a:lnTo>
                <a:lnTo>
                  <a:pt x="185" y="78"/>
                </a:lnTo>
                <a:lnTo>
                  <a:pt x="185" y="78"/>
                </a:lnTo>
                <a:lnTo>
                  <a:pt x="185" y="81"/>
                </a:lnTo>
                <a:lnTo>
                  <a:pt x="185" y="81"/>
                </a:lnTo>
                <a:lnTo>
                  <a:pt x="183" y="81"/>
                </a:lnTo>
                <a:lnTo>
                  <a:pt x="183" y="81"/>
                </a:lnTo>
                <a:lnTo>
                  <a:pt x="180" y="81"/>
                </a:lnTo>
                <a:lnTo>
                  <a:pt x="177" y="81"/>
                </a:lnTo>
                <a:lnTo>
                  <a:pt x="177" y="83"/>
                </a:lnTo>
                <a:lnTo>
                  <a:pt x="177" y="83"/>
                </a:lnTo>
                <a:lnTo>
                  <a:pt x="180" y="86"/>
                </a:lnTo>
                <a:lnTo>
                  <a:pt x="180" y="86"/>
                </a:lnTo>
                <a:lnTo>
                  <a:pt x="177" y="89"/>
                </a:lnTo>
                <a:lnTo>
                  <a:pt x="174" y="86"/>
                </a:lnTo>
                <a:lnTo>
                  <a:pt x="174" y="86"/>
                </a:lnTo>
                <a:lnTo>
                  <a:pt x="172" y="86"/>
                </a:lnTo>
                <a:lnTo>
                  <a:pt x="169" y="86"/>
                </a:lnTo>
                <a:lnTo>
                  <a:pt x="169" y="86"/>
                </a:lnTo>
                <a:lnTo>
                  <a:pt x="169" y="83"/>
                </a:lnTo>
                <a:lnTo>
                  <a:pt x="166" y="83"/>
                </a:lnTo>
                <a:lnTo>
                  <a:pt x="166" y="83"/>
                </a:lnTo>
                <a:lnTo>
                  <a:pt x="166" y="81"/>
                </a:lnTo>
                <a:lnTo>
                  <a:pt x="166" y="81"/>
                </a:lnTo>
                <a:lnTo>
                  <a:pt x="164" y="73"/>
                </a:lnTo>
                <a:lnTo>
                  <a:pt x="161" y="73"/>
                </a:lnTo>
                <a:lnTo>
                  <a:pt x="161" y="70"/>
                </a:lnTo>
                <a:lnTo>
                  <a:pt x="161" y="70"/>
                </a:lnTo>
                <a:lnTo>
                  <a:pt x="161" y="70"/>
                </a:lnTo>
                <a:lnTo>
                  <a:pt x="161" y="67"/>
                </a:lnTo>
                <a:lnTo>
                  <a:pt x="161" y="67"/>
                </a:lnTo>
                <a:lnTo>
                  <a:pt x="161" y="67"/>
                </a:lnTo>
                <a:lnTo>
                  <a:pt x="153" y="62"/>
                </a:lnTo>
                <a:lnTo>
                  <a:pt x="153" y="59"/>
                </a:lnTo>
                <a:lnTo>
                  <a:pt x="150" y="51"/>
                </a:lnTo>
                <a:lnTo>
                  <a:pt x="150" y="48"/>
                </a:lnTo>
                <a:lnTo>
                  <a:pt x="150" y="46"/>
                </a:lnTo>
                <a:lnTo>
                  <a:pt x="153" y="43"/>
                </a:lnTo>
                <a:lnTo>
                  <a:pt x="153" y="40"/>
                </a:lnTo>
                <a:lnTo>
                  <a:pt x="153" y="38"/>
                </a:lnTo>
                <a:lnTo>
                  <a:pt x="150" y="38"/>
                </a:lnTo>
                <a:lnTo>
                  <a:pt x="150" y="40"/>
                </a:lnTo>
                <a:lnTo>
                  <a:pt x="148" y="40"/>
                </a:lnTo>
                <a:lnTo>
                  <a:pt x="145" y="38"/>
                </a:lnTo>
                <a:lnTo>
                  <a:pt x="142" y="38"/>
                </a:lnTo>
                <a:lnTo>
                  <a:pt x="142" y="35"/>
                </a:lnTo>
                <a:lnTo>
                  <a:pt x="140" y="32"/>
                </a:lnTo>
                <a:lnTo>
                  <a:pt x="140" y="32"/>
                </a:lnTo>
                <a:lnTo>
                  <a:pt x="140" y="32"/>
                </a:lnTo>
                <a:lnTo>
                  <a:pt x="137" y="32"/>
                </a:lnTo>
                <a:lnTo>
                  <a:pt x="137" y="30"/>
                </a:lnTo>
                <a:lnTo>
                  <a:pt x="137" y="27"/>
                </a:lnTo>
                <a:lnTo>
                  <a:pt x="137" y="24"/>
                </a:lnTo>
                <a:lnTo>
                  <a:pt x="137" y="24"/>
                </a:lnTo>
                <a:lnTo>
                  <a:pt x="134" y="24"/>
                </a:lnTo>
                <a:lnTo>
                  <a:pt x="132" y="24"/>
                </a:lnTo>
                <a:lnTo>
                  <a:pt x="132" y="24"/>
                </a:lnTo>
                <a:lnTo>
                  <a:pt x="129" y="22"/>
                </a:lnTo>
                <a:lnTo>
                  <a:pt x="129" y="19"/>
                </a:lnTo>
                <a:lnTo>
                  <a:pt x="126" y="19"/>
                </a:lnTo>
                <a:lnTo>
                  <a:pt x="124" y="19"/>
                </a:lnTo>
                <a:lnTo>
                  <a:pt x="124" y="19"/>
                </a:lnTo>
                <a:lnTo>
                  <a:pt x="121" y="22"/>
                </a:lnTo>
                <a:lnTo>
                  <a:pt x="121" y="22"/>
                </a:lnTo>
                <a:lnTo>
                  <a:pt x="118" y="16"/>
                </a:lnTo>
                <a:lnTo>
                  <a:pt x="116" y="16"/>
                </a:lnTo>
                <a:lnTo>
                  <a:pt x="113" y="14"/>
                </a:lnTo>
                <a:lnTo>
                  <a:pt x="107" y="16"/>
                </a:lnTo>
                <a:lnTo>
                  <a:pt x="107" y="16"/>
                </a:lnTo>
                <a:lnTo>
                  <a:pt x="105" y="16"/>
                </a:lnTo>
                <a:lnTo>
                  <a:pt x="105" y="16"/>
                </a:lnTo>
                <a:lnTo>
                  <a:pt x="102" y="16"/>
                </a:lnTo>
                <a:lnTo>
                  <a:pt x="102" y="16"/>
                </a:lnTo>
                <a:lnTo>
                  <a:pt x="99" y="16"/>
                </a:lnTo>
                <a:lnTo>
                  <a:pt x="94" y="16"/>
                </a:lnTo>
                <a:lnTo>
                  <a:pt x="91" y="16"/>
                </a:lnTo>
                <a:lnTo>
                  <a:pt x="86" y="14"/>
                </a:lnTo>
                <a:lnTo>
                  <a:pt x="83" y="14"/>
                </a:lnTo>
                <a:lnTo>
                  <a:pt x="81" y="14"/>
                </a:lnTo>
                <a:lnTo>
                  <a:pt x="75" y="16"/>
                </a:lnTo>
                <a:lnTo>
                  <a:pt x="73" y="19"/>
                </a:lnTo>
                <a:lnTo>
                  <a:pt x="70" y="22"/>
                </a:lnTo>
                <a:lnTo>
                  <a:pt x="67" y="24"/>
                </a:lnTo>
                <a:lnTo>
                  <a:pt x="65" y="27"/>
                </a:lnTo>
                <a:lnTo>
                  <a:pt x="62" y="27"/>
                </a:lnTo>
                <a:lnTo>
                  <a:pt x="62" y="27"/>
                </a:lnTo>
                <a:lnTo>
                  <a:pt x="62" y="24"/>
                </a:lnTo>
                <a:lnTo>
                  <a:pt x="59" y="24"/>
                </a:lnTo>
                <a:lnTo>
                  <a:pt x="59" y="22"/>
                </a:lnTo>
                <a:lnTo>
                  <a:pt x="59" y="22"/>
                </a:lnTo>
                <a:lnTo>
                  <a:pt x="54" y="22"/>
                </a:lnTo>
                <a:lnTo>
                  <a:pt x="51" y="22"/>
                </a:lnTo>
                <a:lnTo>
                  <a:pt x="49" y="19"/>
                </a:lnTo>
                <a:lnTo>
                  <a:pt x="49" y="19"/>
                </a:lnTo>
                <a:lnTo>
                  <a:pt x="46" y="16"/>
                </a:lnTo>
                <a:lnTo>
                  <a:pt x="43" y="16"/>
                </a:lnTo>
                <a:lnTo>
                  <a:pt x="40" y="19"/>
                </a:lnTo>
                <a:lnTo>
                  <a:pt x="40" y="19"/>
                </a:lnTo>
                <a:lnTo>
                  <a:pt x="38" y="16"/>
                </a:lnTo>
                <a:lnTo>
                  <a:pt x="38" y="16"/>
                </a:lnTo>
                <a:lnTo>
                  <a:pt x="35" y="14"/>
                </a:lnTo>
                <a:lnTo>
                  <a:pt x="35" y="14"/>
                </a:lnTo>
                <a:lnTo>
                  <a:pt x="32" y="14"/>
                </a:lnTo>
                <a:lnTo>
                  <a:pt x="32" y="11"/>
                </a:lnTo>
                <a:lnTo>
                  <a:pt x="32" y="11"/>
                </a:lnTo>
                <a:lnTo>
                  <a:pt x="32" y="11"/>
                </a:lnTo>
                <a:lnTo>
                  <a:pt x="30" y="11"/>
                </a:lnTo>
                <a:lnTo>
                  <a:pt x="30" y="11"/>
                </a:lnTo>
                <a:lnTo>
                  <a:pt x="30" y="11"/>
                </a:lnTo>
                <a:lnTo>
                  <a:pt x="27" y="11"/>
                </a:lnTo>
                <a:lnTo>
                  <a:pt x="27" y="14"/>
                </a:lnTo>
                <a:lnTo>
                  <a:pt x="24" y="14"/>
                </a:lnTo>
                <a:lnTo>
                  <a:pt x="24" y="11"/>
                </a:lnTo>
                <a:lnTo>
                  <a:pt x="22" y="11"/>
                </a:lnTo>
                <a:lnTo>
                  <a:pt x="22" y="11"/>
                </a:lnTo>
                <a:lnTo>
                  <a:pt x="19" y="11"/>
                </a:lnTo>
                <a:lnTo>
                  <a:pt x="8" y="11"/>
                </a:lnTo>
                <a:lnTo>
                  <a:pt x="6" y="8"/>
                </a:lnTo>
                <a:lnTo>
                  <a:pt x="6" y="5"/>
                </a:lnTo>
                <a:lnTo>
                  <a:pt x="3" y="3"/>
                </a:lnTo>
                <a:lnTo>
                  <a:pt x="0" y="0"/>
                </a:lnTo>
                <a:lnTo>
                  <a:pt x="0" y="11"/>
                </a:lnTo>
                <a:lnTo>
                  <a:pt x="0" y="65"/>
                </a:lnTo>
                <a:lnTo>
                  <a:pt x="0" y="115"/>
                </a:lnTo>
                <a:lnTo>
                  <a:pt x="0" y="223"/>
                </a:lnTo>
                <a:lnTo>
                  <a:pt x="0" y="276"/>
                </a:lnTo>
                <a:lnTo>
                  <a:pt x="0" y="330"/>
                </a:lnTo>
                <a:lnTo>
                  <a:pt x="0" y="384"/>
                </a:lnTo>
                <a:lnTo>
                  <a:pt x="0" y="435"/>
                </a:lnTo>
                <a:lnTo>
                  <a:pt x="0" y="435"/>
                </a:lnTo>
                <a:lnTo>
                  <a:pt x="3" y="437"/>
                </a:lnTo>
                <a:lnTo>
                  <a:pt x="19" y="443"/>
                </a:lnTo>
                <a:lnTo>
                  <a:pt x="27" y="448"/>
                </a:lnTo>
                <a:lnTo>
                  <a:pt x="43" y="461"/>
                </a:lnTo>
                <a:lnTo>
                  <a:pt x="46" y="461"/>
                </a:lnTo>
                <a:lnTo>
                  <a:pt x="46" y="464"/>
                </a:lnTo>
                <a:lnTo>
                  <a:pt x="46" y="464"/>
                </a:lnTo>
                <a:lnTo>
                  <a:pt x="46" y="467"/>
                </a:lnTo>
                <a:lnTo>
                  <a:pt x="46" y="467"/>
                </a:lnTo>
                <a:lnTo>
                  <a:pt x="43" y="470"/>
                </a:lnTo>
                <a:lnTo>
                  <a:pt x="43" y="470"/>
                </a:lnTo>
                <a:lnTo>
                  <a:pt x="46" y="472"/>
                </a:lnTo>
                <a:lnTo>
                  <a:pt x="46" y="472"/>
                </a:lnTo>
                <a:lnTo>
                  <a:pt x="49" y="472"/>
                </a:lnTo>
                <a:lnTo>
                  <a:pt x="49" y="472"/>
                </a:lnTo>
                <a:lnTo>
                  <a:pt x="51" y="472"/>
                </a:lnTo>
                <a:lnTo>
                  <a:pt x="51" y="470"/>
                </a:lnTo>
                <a:lnTo>
                  <a:pt x="51" y="470"/>
                </a:lnTo>
                <a:lnTo>
                  <a:pt x="51" y="470"/>
                </a:lnTo>
                <a:lnTo>
                  <a:pt x="54" y="470"/>
                </a:lnTo>
                <a:lnTo>
                  <a:pt x="57" y="470"/>
                </a:lnTo>
                <a:lnTo>
                  <a:pt x="57" y="470"/>
                </a:lnTo>
                <a:lnTo>
                  <a:pt x="59" y="470"/>
                </a:lnTo>
                <a:lnTo>
                  <a:pt x="59" y="472"/>
                </a:lnTo>
                <a:lnTo>
                  <a:pt x="62" y="475"/>
                </a:lnTo>
                <a:lnTo>
                  <a:pt x="62" y="475"/>
                </a:lnTo>
                <a:lnTo>
                  <a:pt x="65" y="478"/>
                </a:lnTo>
                <a:lnTo>
                  <a:pt x="65" y="475"/>
                </a:lnTo>
                <a:lnTo>
                  <a:pt x="65" y="475"/>
                </a:lnTo>
                <a:lnTo>
                  <a:pt x="65" y="472"/>
                </a:lnTo>
                <a:lnTo>
                  <a:pt x="67" y="472"/>
                </a:lnTo>
                <a:lnTo>
                  <a:pt x="67" y="472"/>
                </a:lnTo>
                <a:lnTo>
                  <a:pt x="70" y="472"/>
                </a:lnTo>
                <a:lnTo>
                  <a:pt x="70" y="472"/>
                </a:lnTo>
                <a:lnTo>
                  <a:pt x="70" y="472"/>
                </a:lnTo>
                <a:lnTo>
                  <a:pt x="73" y="472"/>
                </a:lnTo>
                <a:lnTo>
                  <a:pt x="75" y="472"/>
                </a:lnTo>
                <a:lnTo>
                  <a:pt x="73" y="470"/>
                </a:lnTo>
                <a:lnTo>
                  <a:pt x="73" y="470"/>
                </a:lnTo>
                <a:lnTo>
                  <a:pt x="70" y="467"/>
                </a:lnTo>
                <a:lnTo>
                  <a:pt x="70" y="464"/>
                </a:lnTo>
                <a:lnTo>
                  <a:pt x="73" y="461"/>
                </a:lnTo>
                <a:lnTo>
                  <a:pt x="75" y="459"/>
                </a:lnTo>
                <a:lnTo>
                  <a:pt x="81" y="459"/>
                </a:lnTo>
                <a:lnTo>
                  <a:pt x="86" y="456"/>
                </a:lnTo>
                <a:lnTo>
                  <a:pt x="97" y="459"/>
                </a:lnTo>
                <a:lnTo>
                  <a:pt x="99" y="459"/>
                </a:lnTo>
                <a:lnTo>
                  <a:pt x="99" y="459"/>
                </a:lnTo>
                <a:lnTo>
                  <a:pt x="105" y="459"/>
                </a:lnTo>
                <a:lnTo>
                  <a:pt x="105" y="459"/>
                </a:lnTo>
                <a:lnTo>
                  <a:pt x="110" y="461"/>
                </a:lnTo>
                <a:lnTo>
                  <a:pt x="121" y="470"/>
                </a:lnTo>
                <a:lnTo>
                  <a:pt x="129" y="472"/>
                </a:lnTo>
                <a:lnTo>
                  <a:pt x="134" y="472"/>
                </a:lnTo>
                <a:lnTo>
                  <a:pt x="140" y="472"/>
                </a:lnTo>
                <a:lnTo>
                  <a:pt x="142" y="470"/>
                </a:lnTo>
                <a:lnTo>
                  <a:pt x="145" y="470"/>
                </a:lnTo>
                <a:lnTo>
                  <a:pt x="153" y="470"/>
                </a:lnTo>
                <a:lnTo>
                  <a:pt x="156" y="470"/>
                </a:lnTo>
                <a:lnTo>
                  <a:pt x="156" y="472"/>
                </a:lnTo>
                <a:lnTo>
                  <a:pt x="158" y="472"/>
                </a:lnTo>
                <a:lnTo>
                  <a:pt x="161" y="472"/>
                </a:lnTo>
                <a:lnTo>
                  <a:pt x="161" y="472"/>
                </a:lnTo>
                <a:lnTo>
                  <a:pt x="161" y="470"/>
                </a:lnTo>
                <a:lnTo>
                  <a:pt x="161" y="470"/>
                </a:lnTo>
                <a:lnTo>
                  <a:pt x="164" y="470"/>
                </a:lnTo>
                <a:lnTo>
                  <a:pt x="164" y="470"/>
                </a:lnTo>
                <a:lnTo>
                  <a:pt x="164" y="470"/>
                </a:lnTo>
                <a:lnTo>
                  <a:pt x="164" y="470"/>
                </a:lnTo>
                <a:lnTo>
                  <a:pt x="166" y="472"/>
                </a:lnTo>
                <a:lnTo>
                  <a:pt x="166" y="472"/>
                </a:lnTo>
                <a:lnTo>
                  <a:pt x="166" y="472"/>
                </a:lnTo>
                <a:lnTo>
                  <a:pt x="166" y="472"/>
                </a:lnTo>
                <a:lnTo>
                  <a:pt x="169" y="475"/>
                </a:lnTo>
                <a:lnTo>
                  <a:pt x="169" y="475"/>
                </a:lnTo>
                <a:lnTo>
                  <a:pt x="174" y="478"/>
                </a:lnTo>
                <a:lnTo>
                  <a:pt x="180" y="480"/>
                </a:lnTo>
                <a:lnTo>
                  <a:pt x="191" y="486"/>
                </a:lnTo>
                <a:lnTo>
                  <a:pt x="193" y="486"/>
                </a:lnTo>
                <a:lnTo>
                  <a:pt x="199" y="491"/>
                </a:lnTo>
                <a:lnTo>
                  <a:pt x="201" y="491"/>
                </a:lnTo>
                <a:lnTo>
                  <a:pt x="201" y="491"/>
                </a:lnTo>
                <a:lnTo>
                  <a:pt x="204" y="494"/>
                </a:lnTo>
                <a:lnTo>
                  <a:pt x="207" y="494"/>
                </a:lnTo>
                <a:lnTo>
                  <a:pt x="212" y="496"/>
                </a:lnTo>
                <a:lnTo>
                  <a:pt x="223" y="496"/>
                </a:lnTo>
                <a:lnTo>
                  <a:pt x="225" y="499"/>
                </a:lnTo>
                <a:lnTo>
                  <a:pt x="231" y="502"/>
                </a:lnTo>
                <a:lnTo>
                  <a:pt x="236" y="504"/>
                </a:lnTo>
                <a:lnTo>
                  <a:pt x="236" y="507"/>
                </a:lnTo>
                <a:lnTo>
                  <a:pt x="239" y="510"/>
                </a:lnTo>
                <a:lnTo>
                  <a:pt x="241" y="510"/>
                </a:lnTo>
                <a:lnTo>
                  <a:pt x="244" y="510"/>
                </a:lnTo>
                <a:lnTo>
                  <a:pt x="252" y="510"/>
                </a:lnTo>
                <a:lnTo>
                  <a:pt x="255" y="510"/>
                </a:lnTo>
                <a:lnTo>
                  <a:pt x="258" y="510"/>
                </a:lnTo>
                <a:lnTo>
                  <a:pt x="260" y="512"/>
                </a:lnTo>
                <a:lnTo>
                  <a:pt x="266" y="515"/>
                </a:lnTo>
                <a:lnTo>
                  <a:pt x="266" y="515"/>
                </a:lnTo>
                <a:lnTo>
                  <a:pt x="268" y="515"/>
                </a:lnTo>
                <a:lnTo>
                  <a:pt x="268" y="518"/>
                </a:lnTo>
                <a:lnTo>
                  <a:pt x="268" y="518"/>
                </a:lnTo>
                <a:lnTo>
                  <a:pt x="274" y="520"/>
                </a:lnTo>
                <a:lnTo>
                  <a:pt x="274" y="520"/>
                </a:lnTo>
                <a:lnTo>
                  <a:pt x="276" y="520"/>
                </a:lnTo>
                <a:lnTo>
                  <a:pt x="279" y="520"/>
                </a:lnTo>
                <a:lnTo>
                  <a:pt x="282" y="515"/>
                </a:lnTo>
                <a:lnTo>
                  <a:pt x="282" y="515"/>
                </a:lnTo>
                <a:lnTo>
                  <a:pt x="287" y="512"/>
                </a:lnTo>
                <a:lnTo>
                  <a:pt x="287" y="512"/>
                </a:lnTo>
                <a:lnTo>
                  <a:pt x="287" y="512"/>
                </a:lnTo>
                <a:lnTo>
                  <a:pt x="290" y="512"/>
                </a:lnTo>
                <a:lnTo>
                  <a:pt x="290" y="512"/>
                </a:lnTo>
                <a:lnTo>
                  <a:pt x="290" y="512"/>
                </a:lnTo>
                <a:lnTo>
                  <a:pt x="290" y="512"/>
                </a:lnTo>
                <a:lnTo>
                  <a:pt x="290" y="510"/>
                </a:lnTo>
                <a:lnTo>
                  <a:pt x="292" y="510"/>
                </a:lnTo>
                <a:lnTo>
                  <a:pt x="292" y="507"/>
                </a:lnTo>
                <a:lnTo>
                  <a:pt x="295" y="507"/>
                </a:lnTo>
                <a:lnTo>
                  <a:pt x="298" y="507"/>
                </a:lnTo>
                <a:lnTo>
                  <a:pt x="308" y="504"/>
                </a:lnTo>
                <a:lnTo>
                  <a:pt x="308" y="502"/>
                </a:lnTo>
                <a:lnTo>
                  <a:pt x="311" y="502"/>
                </a:lnTo>
                <a:lnTo>
                  <a:pt x="311" y="499"/>
                </a:lnTo>
                <a:lnTo>
                  <a:pt x="311" y="499"/>
                </a:lnTo>
                <a:lnTo>
                  <a:pt x="314" y="499"/>
                </a:lnTo>
                <a:lnTo>
                  <a:pt x="317" y="494"/>
                </a:lnTo>
                <a:lnTo>
                  <a:pt x="317" y="491"/>
                </a:lnTo>
                <a:lnTo>
                  <a:pt x="319" y="491"/>
                </a:lnTo>
                <a:lnTo>
                  <a:pt x="322" y="491"/>
                </a:lnTo>
                <a:lnTo>
                  <a:pt x="322" y="491"/>
                </a:lnTo>
                <a:lnTo>
                  <a:pt x="325" y="488"/>
                </a:lnTo>
                <a:lnTo>
                  <a:pt x="325" y="488"/>
                </a:lnTo>
                <a:lnTo>
                  <a:pt x="325" y="488"/>
                </a:lnTo>
                <a:lnTo>
                  <a:pt x="325" y="486"/>
                </a:lnTo>
                <a:lnTo>
                  <a:pt x="330" y="480"/>
                </a:lnTo>
                <a:lnTo>
                  <a:pt x="333" y="480"/>
                </a:lnTo>
                <a:lnTo>
                  <a:pt x="335" y="480"/>
                </a:lnTo>
                <a:lnTo>
                  <a:pt x="338" y="480"/>
                </a:lnTo>
                <a:lnTo>
                  <a:pt x="338" y="478"/>
                </a:lnTo>
                <a:lnTo>
                  <a:pt x="338" y="478"/>
                </a:lnTo>
                <a:lnTo>
                  <a:pt x="343" y="475"/>
                </a:lnTo>
                <a:lnTo>
                  <a:pt x="346" y="475"/>
                </a:lnTo>
                <a:lnTo>
                  <a:pt x="346" y="472"/>
                </a:lnTo>
                <a:lnTo>
                  <a:pt x="346" y="472"/>
                </a:lnTo>
                <a:lnTo>
                  <a:pt x="349" y="472"/>
                </a:lnTo>
                <a:lnTo>
                  <a:pt x="351" y="472"/>
                </a:lnTo>
                <a:lnTo>
                  <a:pt x="351" y="472"/>
                </a:lnTo>
                <a:lnTo>
                  <a:pt x="357" y="467"/>
                </a:lnTo>
                <a:lnTo>
                  <a:pt x="367" y="461"/>
                </a:lnTo>
                <a:lnTo>
                  <a:pt x="370" y="461"/>
                </a:lnTo>
                <a:lnTo>
                  <a:pt x="370" y="461"/>
                </a:lnTo>
                <a:lnTo>
                  <a:pt x="373" y="461"/>
                </a:lnTo>
                <a:lnTo>
                  <a:pt x="375" y="461"/>
                </a:lnTo>
                <a:lnTo>
                  <a:pt x="375" y="461"/>
                </a:lnTo>
                <a:lnTo>
                  <a:pt x="378" y="461"/>
                </a:lnTo>
                <a:lnTo>
                  <a:pt x="378" y="461"/>
                </a:lnTo>
                <a:lnTo>
                  <a:pt x="378" y="461"/>
                </a:lnTo>
                <a:lnTo>
                  <a:pt x="381" y="461"/>
                </a:lnTo>
                <a:lnTo>
                  <a:pt x="389" y="461"/>
                </a:lnTo>
                <a:lnTo>
                  <a:pt x="394" y="459"/>
                </a:lnTo>
                <a:lnTo>
                  <a:pt x="394" y="456"/>
                </a:lnTo>
                <a:lnTo>
                  <a:pt x="394" y="456"/>
                </a:lnTo>
                <a:lnTo>
                  <a:pt x="394" y="456"/>
                </a:lnTo>
                <a:lnTo>
                  <a:pt x="397" y="453"/>
                </a:lnTo>
                <a:lnTo>
                  <a:pt x="397" y="453"/>
                </a:lnTo>
                <a:lnTo>
                  <a:pt x="400" y="453"/>
                </a:lnTo>
                <a:lnTo>
                  <a:pt x="400" y="453"/>
                </a:lnTo>
                <a:lnTo>
                  <a:pt x="400" y="451"/>
                </a:lnTo>
                <a:lnTo>
                  <a:pt x="400" y="451"/>
                </a:lnTo>
                <a:lnTo>
                  <a:pt x="400" y="451"/>
                </a:lnTo>
                <a:lnTo>
                  <a:pt x="402" y="448"/>
                </a:lnTo>
                <a:lnTo>
                  <a:pt x="400" y="445"/>
                </a:lnTo>
                <a:lnTo>
                  <a:pt x="394" y="443"/>
                </a:lnTo>
                <a:lnTo>
                  <a:pt x="386" y="448"/>
                </a:lnTo>
                <a:lnTo>
                  <a:pt x="384" y="448"/>
                </a:lnTo>
                <a:lnTo>
                  <a:pt x="381" y="448"/>
                </a:lnTo>
                <a:lnTo>
                  <a:pt x="370" y="445"/>
                </a:lnTo>
                <a:lnTo>
                  <a:pt x="365" y="445"/>
                </a:lnTo>
                <a:lnTo>
                  <a:pt x="362" y="445"/>
                </a:lnTo>
                <a:lnTo>
                  <a:pt x="365" y="443"/>
                </a:lnTo>
                <a:lnTo>
                  <a:pt x="367" y="440"/>
                </a:lnTo>
                <a:lnTo>
                  <a:pt x="373" y="440"/>
                </a:lnTo>
                <a:lnTo>
                  <a:pt x="375" y="440"/>
                </a:lnTo>
                <a:lnTo>
                  <a:pt x="375" y="440"/>
                </a:lnTo>
                <a:lnTo>
                  <a:pt x="378" y="440"/>
                </a:lnTo>
                <a:lnTo>
                  <a:pt x="378" y="440"/>
                </a:lnTo>
                <a:lnTo>
                  <a:pt x="378" y="440"/>
                </a:lnTo>
                <a:lnTo>
                  <a:pt x="381" y="440"/>
                </a:lnTo>
                <a:lnTo>
                  <a:pt x="381" y="440"/>
                </a:lnTo>
                <a:lnTo>
                  <a:pt x="381" y="440"/>
                </a:lnTo>
                <a:lnTo>
                  <a:pt x="381" y="437"/>
                </a:lnTo>
                <a:lnTo>
                  <a:pt x="381" y="437"/>
                </a:lnTo>
                <a:lnTo>
                  <a:pt x="381" y="435"/>
                </a:lnTo>
                <a:lnTo>
                  <a:pt x="384" y="435"/>
                </a:lnTo>
                <a:lnTo>
                  <a:pt x="397" y="432"/>
                </a:lnTo>
                <a:lnTo>
                  <a:pt x="397" y="429"/>
                </a:lnTo>
                <a:lnTo>
                  <a:pt x="397" y="429"/>
                </a:lnTo>
                <a:lnTo>
                  <a:pt x="402" y="427"/>
                </a:lnTo>
                <a:lnTo>
                  <a:pt x="402" y="427"/>
                </a:lnTo>
                <a:lnTo>
                  <a:pt x="405" y="424"/>
                </a:lnTo>
                <a:lnTo>
                  <a:pt x="408" y="424"/>
                </a:lnTo>
                <a:lnTo>
                  <a:pt x="408" y="424"/>
                </a:lnTo>
                <a:lnTo>
                  <a:pt x="410" y="424"/>
                </a:lnTo>
                <a:lnTo>
                  <a:pt x="410" y="421"/>
                </a:lnTo>
                <a:lnTo>
                  <a:pt x="410" y="421"/>
                </a:lnTo>
                <a:lnTo>
                  <a:pt x="413" y="419"/>
                </a:lnTo>
                <a:lnTo>
                  <a:pt x="413" y="419"/>
                </a:lnTo>
                <a:lnTo>
                  <a:pt x="421" y="419"/>
                </a:lnTo>
                <a:lnTo>
                  <a:pt x="421" y="416"/>
                </a:lnTo>
                <a:lnTo>
                  <a:pt x="424" y="416"/>
                </a:lnTo>
                <a:lnTo>
                  <a:pt x="426" y="416"/>
                </a:lnTo>
                <a:lnTo>
                  <a:pt x="429" y="419"/>
                </a:lnTo>
                <a:lnTo>
                  <a:pt x="429" y="421"/>
                </a:lnTo>
                <a:lnTo>
                  <a:pt x="432" y="424"/>
                </a:lnTo>
                <a:lnTo>
                  <a:pt x="434" y="429"/>
                </a:lnTo>
                <a:lnTo>
                  <a:pt x="434" y="429"/>
                </a:lnTo>
                <a:lnTo>
                  <a:pt x="434" y="429"/>
                </a:lnTo>
                <a:lnTo>
                  <a:pt x="440" y="432"/>
                </a:lnTo>
                <a:lnTo>
                  <a:pt x="440" y="432"/>
                </a:lnTo>
                <a:lnTo>
                  <a:pt x="442" y="435"/>
                </a:lnTo>
                <a:lnTo>
                  <a:pt x="445" y="440"/>
                </a:lnTo>
                <a:lnTo>
                  <a:pt x="445" y="443"/>
                </a:lnTo>
                <a:lnTo>
                  <a:pt x="442" y="445"/>
                </a:lnTo>
                <a:lnTo>
                  <a:pt x="437" y="451"/>
                </a:lnTo>
                <a:lnTo>
                  <a:pt x="437" y="453"/>
                </a:lnTo>
                <a:lnTo>
                  <a:pt x="434" y="456"/>
                </a:lnTo>
                <a:lnTo>
                  <a:pt x="434" y="456"/>
                </a:lnTo>
                <a:lnTo>
                  <a:pt x="434" y="456"/>
                </a:lnTo>
                <a:lnTo>
                  <a:pt x="434" y="459"/>
                </a:lnTo>
                <a:lnTo>
                  <a:pt x="432" y="459"/>
                </a:lnTo>
                <a:lnTo>
                  <a:pt x="432" y="461"/>
                </a:lnTo>
                <a:lnTo>
                  <a:pt x="429" y="461"/>
                </a:lnTo>
                <a:lnTo>
                  <a:pt x="429" y="464"/>
                </a:lnTo>
                <a:lnTo>
                  <a:pt x="429" y="464"/>
                </a:lnTo>
                <a:lnTo>
                  <a:pt x="429" y="464"/>
                </a:lnTo>
                <a:lnTo>
                  <a:pt x="429" y="467"/>
                </a:lnTo>
                <a:lnTo>
                  <a:pt x="426" y="467"/>
                </a:lnTo>
                <a:lnTo>
                  <a:pt x="418" y="470"/>
                </a:lnTo>
                <a:lnTo>
                  <a:pt x="416" y="470"/>
                </a:lnTo>
                <a:lnTo>
                  <a:pt x="410" y="470"/>
                </a:lnTo>
                <a:lnTo>
                  <a:pt x="408" y="470"/>
                </a:lnTo>
                <a:lnTo>
                  <a:pt x="405" y="467"/>
                </a:lnTo>
                <a:lnTo>
                  <a:pt x="402" y="464"/>
                </a:lnTo>
                <a:lnTo>
                  <a:pt x="397" y="464"/>
                </a:lnTo>
                <a:lnTo>
                  <a:pt x="397" y="464"/>
                </a:lnTo>
                <a:lnTo>
                  <a:pt x="397" y="464"/>
                </a:lnTo>
                <a:lnTo>
                  <a:pt x="397" y="464"/>
                </a:lnTo>
                <a:lnTo>
                  <a:pt x="397" y="464"/>
                </a:lnTo>
                <a:lnTo>
                  <a:pt x="397" y="464"/>
                </a:lnTo>
                <a:lnTo>
                  <a:pt x="400" y="467"/>
                </a:lnTo>
                <a:lnTo>
                  <a:pt x="402" y="467"/>
                </a:lnTo>
                <a:lnTo>
                  <a:pt x="418" y="480"/>
                </a:lnTo>
                <a:lnTo>
                  <a:pt x="421" y="483"/>
                </a:lnTo>
                <a:lnTo>
                  <a:pt x="424" y="483"/>
                </a:lnTo>
                <a:lnTo>
                  <a:pt x="426" y="483"/>
                </a:lnTo>
                <a:lnTo>
                  <a:pt x="434" y="483"/>
                </a:lnTo>
                <a:lnTo>
                  <a:pt x="434" y="480"/>
                </a:lnTo>
                <a:lnTo>
                  <a:pt x="434" y="480"/>
                </a:lnTo>
                <a:lnTo>
                  <a:pt x="437" y="478"/>
                </a:lnTo>
                <a:lnTo>
                  <a:pt x="437" y="478"/>
                </a:lnTo>
                <a:lnTo>
                  <a:pt x="440" y="475"/>
                </a:lnTo>
                <a:lnTo>
                  <a:pt x="442" y="475"/>
                </a:lnTo>
                <a:lnTo>
                  <a:pt x="442" y="475"/>
                </a:lnTo>
                <a:lnTo>
                  <a:pt x="442" y="472"/>
                </a:lnTo>
                <a:lnTo>
                  <a:pt x="445" y="472"/>
                </a:lnTo>
                <a:lnTo>
                  <a:pt x="456" y="472"/>
                </a:lnTo>
                <a:lnTo>
                  <a:pt x="453" y="470"/>
                </a:lnTo>
                <a:lnTo>
                  <a:pt x="453" y="467"/>
                </a:lnTo>
                <a:lnTo>
                  <a:pt x="453" y="467"/>
                </a:lnTo>
                <a:lnTo>
                  <a:pt x="453" y="464"/>
                </a:lnTo>
                <a:lnTo>
                  <a:pt x="453" y="464"/>
                </a:lnTo>
                <a:lnTo>
                  <a:pt x="453" y="464"/>
                </a:lnTo>
                <a:lnTo>
                  <a:pt x="453" y="461"/>
                </a:lnTo>
                <a:lnTo>
                  <a:pt x="456" y="461"/>
                </a:lnTo>
                <a:lnTo>
                  <a:pt x="456" y="459"/>
                </a:lnTo>
                <a:lnTo>
                  <a:pt x="456" y="459"/>
                </a:lnTo>
                <a:lnTo>
                  <a:pt x="459" y="459"/>
                </a:lnTo>
                <a:lnTo>
                  <a:pt x="459" y="456"/>
                </a:lnTo>
                <a:lnTo>
                  <a:pt x="459" y="456"/>
                </a:lnTo>
                <a:lnTo>
                  <a:pt x="459" y="453"/>
                </a:lnTo>
                <a:lnTo>
                  <a:pt x="461" y="453"/>
                </a:lnTo>
                <a:lnTo>
                  <a:pt x="464" y="453"/>
                </a:lnTo>
                <a:lnTo>
                  <a:pt x="467" y="456"/>
                </a:lnTo>
                <a:lnTo>
                  <a:pt x="467" y="456"/>
                </a:lnTo>
                <a:lnTo>
                  <a:pt x="467" y="456"/>
                </a:lnTo>
                <a:lnTo>
                  <a:pt x="467" y="453"/>
                </a:lnTo>
                <a:lnTo>
                  <a:pt x="472" y="453"/>
                </a:lnTo>
                <a:lnTo>
                  <a:pt x="477" y="453"/>
                </a:lnTo>
                <a:lnTo>
                  <a:pt x="477" y="453"/>
                </a:lnTo>
                <a:lnTo>
                  <a:pt x="480" y="453"/>
                </a:lnTo>
                <a:lnTo>
                  <a:pt x="483" y="456"/>
                </a:lnTo>
                <a:lnTo>
                  <a:pt x="485" y="459"/>
                </a:lnTo>
                <a:lnTo>
                  <a:pt x="485" y="461"/>
                </a:lnTo>
                <a:lnTo>
                  <a:pt x="485" y="461"/>
                </a:lnTo>
                <a:lnTo>
                  <a:pt x="485" y="464"/>
                </a:lnTo>
                <a:lnTo>
                  <a:pt x="485" y="467"/>
                </a:lnTo>
                <a:lnTo>
                  <a:pt x="485" y="467"/>
                </a:lnTo>
                <a:lnTo>
                  <a:pt x="488" y="467"/>
                </a:lnTo>
                <a:lnTo>
                  <a:pt x="491" y="470"/>
                </a:lnTo>
                <a:lnTo>
                  <a:pt x="491" y="470"/>
                </a:lnTo>
                <a:lnTo>
                  <a:pt x="488" y="472"/>
                </a:lnTo>
                <a:lnTo>
                  <a:pt x="488" y="472"/>
                </a:lnTo>
                <a:lnTo>
                  <a:pt x="485" y="472"/>
                </a:lnTo>
                <a:lnTo>
                  <a:pt x="485" y="475"/>
                </a:lnTo>
                <a:lnTo>
                  <a:pt x="483" y="475"/>
                </a:lnTo>
                <a:lnTo>
                  <a:pt x="483" y="475"/>
                </a:lnTo>
                <a:lnTo>
                  <a:pt x="480" y="475"/>
                </a:lnTo>
                <a:lnTo>
                  <a:pt x="480" y="475"/>
                </a:lnTo>
                <a:lnTo>
                  <a:pt x="480" y="472"/>
                </a:lnTo>
                <a:lnTo>
                  <a:pt x="475" y="475"/>
                </a:lnTo>
                <a:lnTo>
                  <a:pt x="477" y="478"/>
                </a:lnTo>
                <a:lnTo>
                  <a:pt x="477" y="478"/>
                </a:lnTo>
                <a:lnTo>
                  <a:pt x="477" y="480"/>
                </a:lnTo>
                <a:lnTo>
                  <a:pt x="475" y="480"/>
                </a:lnTo>
                <a:lnTo>
                  <a:pt x="477" y="483"/>
                </a:lnTo>
                <a:lnTo>
                  <a:pt x="475" y="486"/>
                </a:lnTo>
                <a:lnTo>
                  <a:pt x="472" y="486"/>
                </a:lnTo>
                <a:lnTo>
                  <a:pt x="469" y="486"/>
                </a:lnTo>
                <a:lnTo>
                  <a:pt x="469" y="486"/>
                </a:lnTo>
                <a:lnTo>
                  <a:pt x="472" y="488"/>
                </a:lnTo>
                <a:lnTo>
                  <a:pt x="477" y="488"/>
                </a:lnTo>
                <a:lnTo>
                  <a:pt x="485" y="491"/>
                </a:lnTo>
                <a:lnTo>
                  <a:pt x="485" y="491"/>
                </a:lnTo>
                <a:lnTo>
                  <a:pt x="488" y="494"/>
                </a:lnTo>
                <a:lnTo>
                  <a:pt x="491" y="499"/>
                </a:lnTo>
                <a:lnTo>
                  <a:pt x="493" y="502"/>
                </a:lnTo>
                <a:lnTo>
                  <a:pt x="499" y="502"/>
                </a:lnTo>
                <a:lnTo>
                  <a:pt x="504" y="499"/>
                </a:lnTo>
                <a:lnTo>
                  <a:pt x="509" y="496"/>
                </a:lnTo>
                <a:lnTo>
                  <a:pt x="512" y="499"/>
                </a:lnTo>
                <a:lnTo>
                  <a:pt x="518" y="499"/>
                </a:lnTo>
                <a:lnTo>
                  <a:pt x="520" y="502"/>
                </a:lnTo>
                <a:lnTo>
                  <a:pt x="520" y="504"/>
                </a:lnTo>
                <a:lnTo>
                  <a:pt x="518" y="504"/>
                </a:lnTo>
                <a:lnTo>
                  <a:pt x="515" y="502"/>
                </a:lnTo>
                <a:lnTo>
                  <a:pt x="512" y="499"/>
                </a:lnTo>
                <a:lnTo>
                  <a:pt x="512" y="502"/>
                </a:lnTo>
                <a:lnTo>
                  <a:pt x="518" y="507"/>
                </a:lnTo>
                <a:lnTo>
                  <a:pt x="523" y="510"/>
                </a:lnTo>
                <a:lnTo>
                  <a:pt x="526" y="518"/>
                </a:lnTo>
                <a:lnTo>
                  <a:pt x="528" y="526"/>
                </a:lnTo>
                <a:lnTo>
                  <a:pt x="528" y="526"/>
                </a:lnTo>
                <a:lnTo>
                  <a:pt x="531" y="526"/>
                </a:lnTo>
                <a:lnTo>
                  <a:pt x="536" y="526"/>
                </a:lnTo>
                <a:lnTo>
                  <a:pt x="536" y="526"/>
                </a:lnTo>
                <a:lnTo>
                  <a:pt x="536" y="520"/>
                </a:lnTo>
                <a:lnTo>
                  <a:pt x="539" y="520"/>
                </a:lnTo>
                <a:lnTo>
                  <a:pt x="539" y="518"/>
                </a:lnTo>
                <a:lnTo>
                  <a:pt x="547" y="518"/>
                </a:lnTo>
                <a:lnTo>
                  <a:pt x="558" y="523"/>
                </a:lnTo>
                <a:lnTo>
                  <a:pt x="563" y="529"/>
                </a:lnTo>
                <a:lnTo>
                  <a:pt x="566" y="537"/>
                </a:lnTo>
                <a:lnTo>
                  <a:pt x="568" y="539"/>
                </a:lnTo>
                <a:lnTo>
                  <a:pt x="568" y="539"/>
                </a:lnTo>
                <a:lnTo>
                  <a:pt x="574" y="542"/>
                </a:lnTo>
                <a:lnTo>
                  <a:pt x="574" y="542"/>
                </a:lnTo>
                <a:lnTo>
                  <a:pt x="574" y="545"/>
                </a:lnTo>
                <a:lnTo>
                  <a:pt x="571" y="545"/>
                </a:lnTo>
                <a:lnTo>
                  <a:pt x="571" y="545"/>
                </a:lnTo>
                <a:lnTo>
                  <a:pt x="571" y="547"/>
                </a:lnTo>
                <a:lnTo>
                  <a:pt x="574" y="550"/>
                </a:lnTo>
                <a:lnTo>
                  <a:pt x="574" y="550"/>
                </a:lnTo>
                <a:lnTo>
                  <a:pt x="576" y="550"/>
                </a:lnTo>
                <a:lnTo>
                  <a:pt x="579" y="553"/>
                </a:lnTo>
                <a:lnTo>
                  <a:pt x="582" y="550"/>
                </a:lnTo>
                <a:lnTo>
                  <a:pt x="582" y="550"/>
                </a:lnTo>
                <a:lnTo>
                  <a:pt x="585" y="550"/>
                </a:lnTo>
                <a:lnTo>
                  <a:pt x="585" y="547"/>
                </a:lnTo>
                <a:lnTo>
                  <a:pt x="585" y="547"/>
                </a:lnTo>
                <a:lnTo>
                  <a:pt x="585" y="545"/>
                </a:lnTo>
                <a:lnTo>
                  <a:pt x="585" y="545"/>
                </a:lnTo>
                <a:lnTo>
                  <a:pt x="587" y="545"/>
                </a:lnTo>
                <a:lnTo>
                  <a:pt x="587" y="545"/>
                </a:lnTo>
                <a:lnTo>
                  <a:pt x="590" y="542"/>
                </a:lnTo>
                <a:lnTo>
                  <a:pt x="587" y="539"/>
                </a:lnTo>
                <a:lnTo>
                  <a:pt x="587" y="539"/>
                </a:lnTo>
                <a:lnTo>
                  <a:pt x="585" y="539"/>
                </a:lnTo>
                <a:lnTo>
                  <a:pt x="585" y="539"/>
                </a:lnTo>
                <a:lnTo>
                  <a:pt x="585" y="539"/>
                </a:lnTo>
                <a:lnTo>
                  <a:pt x="585" y="539"/>
                </a:lnTo>
                <a:lnTo>
                  <a:pt x="585" y="537"/>
                </a:lnTo>
                <a:lnTo>
                  <a:pt x="585" y="534"/>
                </a:lnTo>
                <a:lnTo>
                  <a:pt x="585" y="531"/>
                </a:lnTo>
                <a:lnTo>
                  <a:pt x="585" y="531"/>
                </a:lnTo>
                <a:lnTo>
                  <a:pt x="587" y="529"/>
                </a:lnTo>
                <a:lnTo>
                  <a:pt x="587" y="529"/>
                </a:lnTo>
                <a:lnTo>
                  <a:pt x="590" y="529"/>
                </a:lnTo>
                <a:lnTo>
                  <a:pt x="590" y="526"/>
                </a:lnTo>
                <a:lnTo>
                  <a:pt x="590" y="526"/>
                </a:lnTo>
                <a:lnTo>
                  <a:pt x="590" y="526"/>
                </a:lnTo>
                <a:lnTo>
                  <a:pt x="590" y="526"/>
                </a:lnTo>
                <a:lnTo>
                  <a:pt x="587" y="523"/>
                </a:lnTo>
                <a:lnTo>
                  <a:pt x="587" y="523"/>
                </a:lnTo>
                <a:lnTo>
                  <a:pt x="587" y="523"/>
                </a:lnTo>
                <a:lnTo>
                  <a:pt x="587" y="523"/>
                </a:lnTo>
                <a:lnTo>
                  <a:pt x="587" y="518"/>
                </a:lnTo>
                <a:lnTo>
                  <a:pt x="587" y="518"/>
                </a:lnTo>
                <a:lnTo>
                  <a:pt x="587" y="515"/>
                </a:lnTo>
                <a:lnTo>
                  <a:pt x="587" y="512"/>
                </a:lnTo>
                <a:lnTo>
                  <a:pt x="585" y="512"/>
                </a:lnTo>
                <a:lnTo>
                  <a:pt x="585" y="515"/>
                </a:lnTo>
                <a:lnTo>
                  <a:pt x="582" y="518"/>
                </a:lnTo>
                <a:lnTo>
                  <a:pt x="582" y="518"/>
                </a:lnTo>
                <a:lnTo>
                  <a:pt x="582" y="518"/>
                </a:lnTo>
                <a:lnTo>
                  <a:pt x="582" y="520"/>
                </a:lnTo>
                <a:lnTo>
                  <a:pt x="582" y="520"/>
                </a:lnTo>
                <a:lnTo>
                  <a:pt x="579" y="520"/>
                </a:lnTo>
                <a:lnTo>
                  <a:pt x="579" y="520"/>
                </a:lnTo>
                <a:lnTo>
                  <a:pt x="576" y="520"/>
                </a:lnTo>
                <a:lnTo>
                  <a:pt x="574" y="523"/>
                </a:lnTo>
                <a:lnTo>
                  <a:pt x="574" y="526"/>
                </a:lnTo>
                <a:lnTo>
                  <a:pt x="571" y="526"/>
                </a:lnTo>
                <a:lnTo>
                  <a:pt x="568" y="526"/>
                </a:lnTo>
                <a:lnTo>
                  <a:pt x="568" y="526"/>
                </a:lnTo>
                <a:lnTo>
                  <a:pt x="566" y="526"/>
                </a:lnTo>
                <a:lnTo>
                  <a:pt x="568" y="523"/>
                </a:lnTo>
                <a:lnTo>
                  <a:pt x="566" y="523"/>
                </a:lnTo>
                <a:lnTo>
                  <a:pt x="566" y="520"/>
                </a:lnTo>
                <a:lnTo>
                  <a:pt x="566" y="520"/>
                </a:lnTo>
                <a:lnTo>
                  <a:pt x="566" y="518"/>
                </a:lnTo>
                <a:lnTo>
                  <a:pt x="566" y="518"/>
                </a:lnTo>
                <a:lnTo>
                  <a:pt x="566" y="518"/>
                </a:lnTo>
                <a:lnTo>
                  <a:pt x="566" y="518"/>
                </a:lnTo>
                <a:lnTo>
                  <a:pt x="566" y="518"/>
                </a:lnTo>
                <a:lnTo>
                  <a:pt x="563" y="518"/>
                </a:lnTo>
                <a:lnTo>
                  <a:pt x="563" y="518"/>
                </a:lnTo>
                <a:lnTo>
                  <a:pt x="560" y="515"/>
                </a:lnTo>
                <a:lnTo>
                  <a:pt x="560" y="515"/>
                </a:lnTo>
                <a:lnTo>
                  <a:pt x="560" y="512"/>
                </a:lnTo>
                <a:lnTo>
                  <a:pt x="558" y="510"/>
                </a:lnTo>
                <a:lnTo>
                  <a:pt x="560" y="504"/>
                </a:lnTo>
                <a:lnTo>
                  <a:pt x="563" y="504"/>
                </a:lnTo>
                <a:lnTo>
                  <a:pt x="563" y="504"/>
                </a:lnTo>
                <a:lnTo>
                  <a:pt x="574" y="504"/>
                </a:lnTo>
                <a:lnTo>
                  <a:pt x="576" y="504"/>
                </a:lnTo>
                <a:lnTo>
                  <a:pt x="576" y="504"/>
                </a:lnTo>
                <a:lnTo>
                  <a:pt x="579" y="507"/>
                </a:lnTo>
                <a:lnTo>
                  <a:pt x="582" y="507"/>
                </a:lnTo>
                <a:lnTo>
                  <a:pt x="582" y="507"/>
                </a:lnTo>
                <a:lnTo>
                  <a:pt x="585" y="507"/>
                </a:lnTo>
                <a:lnTo>
                  <a:pt x="587" y="504"/>
                </a:lnTo>
                <a:lnTo>
                  <a:pt x="590" y="504"/>
                </a:lnTo>
                <a:lnTo>
                  <a:pt x="593" y="504"/>
                </a:lnTo>
                <a:lnTo>
                  <a:pt x="595" y="504"/>
                </a:lnTo>
                <a:lnTo>
                  <a:pt x="598" y="504"/>
                </a:lnTo>
                <a:lnTo>
                  <a:pt x="603" y="502"/>
                </a:lnTo>
                <a:lnTo>
                  <a:pt x="606" y="502"/>
                </a:lnTo>
                <a:lnTo>
                  <a:pt x="611" y="502"/>
                </a:lnTo>
                <a:lnTo>
                  <a:pt x="625" y="499"/>
                </a:lnTo>
                <a:lnTo>
                  <a:pt x="627" y="499"/>
                </a:lnTo>
                <a:lnTo>
                  <a:pt x="625" y="502"/>
                </a:lnTo>
                <a:lnTo>
                  <a:pt x="627" y="502"/>
                </a:lnTo>
                <a:lnTo>
                  <a:pt x="627" y="502"/>
                </a:lnTo>
                <a:lnTo>
                  <a:pt x="630" y="499"/>
                </a:lnTo>
                <a:lnTo>
                  <a:pt x="630" y="496"/>
                </a:lnTo>
                <a:lnTo>
                  <a:pt x="633" y="496"/>
                </a:lnTo>
                <a:lnTo>
                  <a:pt x="641" y="491"/>
                </a:lnTo>
                <a:lnTo>
                  <a:pt x="652" y="480"/>
                </a:lnTo>
                <a:lnTo>
                  <a:pt x="662" y="472"/>
                </a:lnTo>
                <a:lnTo>
                  <a:pt x="686" y="453"/>
                </a:lnTo>
                <a:lnTo>
                  <a:pt x="705" y="437"/>
                </a:lnTo>
                <a:lnTo>
                  <a:pt x="724" y="427"/>
                </a:lnTo>
                <a:lnTo>
                  <a:pt x="740" y="421"/>
                </a:lnTo>
                <a:lnTo>
                  <a:pt x="764" y="413"/>
                </a:lnTo>
                <a:lnTo>
                  <a:pt x="783" y="411"/>
                </a:lnTo>
                <a:lnTo>
                  <a:pt x="815" y="411"/>
                </a:lnTo>
                <a:lnTo>
                  <a:pt x="828" y="411"/>
                </a:lnTo>
                <a:lnTo>
                  <a:pt x="828" y="411"/>
                </a:lnTo>
                <a:lnTo>
                  <a:pt x="831" y="408"/>
                </a:lnTo>
                <a:lnTo>
                  <a:pt x="834" y="408"/>
                </a:lnTo>
                <a:lnTo>
                  <a:pt x="847" y="408"/>
                </a:lnTo>
                <a:lnTo>
                  <a:pt x="850" y="408"/>
                </a:lnTo>
                <a:lnTo>
                  <a:pt x="866" y="408"/>
                </a:lnTo>
                <a:lnTo>
                  <a:pt x="871" y="405"/>
                </a:lnTo>
                <a:lnTo>
                  <a:pt x="874" y="408"/>
                </a:lnTo>
                <a:lnTo>
                  <a:pt x="874" y="408"/>
                </a:lnTo>
                <a:lnTo>
                  <a:pt x="885" y="408"/>
                </a:lnTo>
                <a:lnTo>
                  <a:pt x="885" y="408"/>
                </a:lnTo>
                <a:lnTo>
                  <a:pt x="885" y="408"/>
                </a:lnTo>
                <a:lnTo>
                  <a:pt x="885" y="408"/>
                </a:lnTo>
                <a:lnTo>
                  <a:pt x="885" y="411"/>
                </a:lnTo>
                <a:lnTo>
                  <a:pt x="885" y="411"/>
                </a:lnTo>
                <a:lnTo>
                  <a:pt x="887" y="408"/>
                </a:lnTo>
                <a:lnTo>
                  <a:pt x="893" y="408"/>
                </a:lnTo>
                <a:lnTo>
                  <a:pt x="909" y="408"/>
                </a:lnTo>
                <a:lnTo>
                  <a:pt x="909" y="405"/>
                </a:lnTo>
                <a:lnTo>
                  <a:pt x="909" y="405"/>
                </a:lnTo>
                <a:lnTo>
                  <a:pt x="911" y="405"/>
                </a:lnTo>
                <a:lnTo>
                  <a:pt x="911" y="402"/>
                </a:lnTo>
                <a:lnTo>
                  <a:pt x="914" y="402"/>
                </a:lnTo>
                <a:lnTo>
                  <a:pt x="917" y="402"/>
                </a:lnTo>
                <a:lnTo>
                  <a:pt x="919" y="400"/>
                </a:lnTo>
                <a:lnTo>
                  <a:pt x="922" y="400"/>
                </a:lnTo>
                <a:lnTo>
                  <a:pt x="922" y="400"/>
                </a:lnTo>
                <a:lnTo>
                  <a:pt x="922" y="400"/>
                </a:lnTo>
                <a:lnTo>
                  <a:pt x="928" y="397"/>
                </a:lnTo>
                <a:lnTo>
                  <a:pt x="930" y="397"/>
                </a:lnTo>
                <a:lnTo>
                  <a:pt x="933" y="392"/>
                </a:lnTo>
                <a:lnTo>
                  <a:pt x="933" y="389"/>
                </a:lnTo>
                <a:lnTo>
                  <a:pt x="938" y="386"/>
                </a:lnTo>
                <a:lnTo>
                  <a:pt x="938" y="384"/>
                </a:lnTo>
                <a:lnTo>
                  <a:pt x="938" y="384"/>
                </a:lnTo>
                <a:lnTo>
                  <a:pt x="933" y="378"/>
                </a:lnTo>
                <a:lnTo>
                  <a:pt x="938" y="378"/>
                </a:lnTo>
                <a:lnTo>
                  <a:pt x="938" y="378"/>
                </a:lnTo>
                <a:lnTo>
                  <a:pt x="941" y="378"/>
                </a:lnTo>
                <a:lnTo>
                  <a:pt x="941" y="378"/>
                </a:lnTo>
                <a:lnTo>
                  <a:pt x="941" y="378"/>
                </a:lnTo>
                <a:lnTo>
                  <a:pt x="941" y="381"/>
                </a:lnTo>
                <a:lnTo>
                  <a:pt x="941" y="381"/>
                </a:lnTo>
                <a:lnTo>
                  <a:pt x="941" y="381"/>
                </a:lnTo>
                <a:lnTo>
                  <a:pt x="941" y="381"/>
                </a:lnTo>
                <a:lnTo>
                  <a:pt x="941" y="381"/>
                </a:lnTo>
                <a:lnTo>
                  <a:pt x="952" y="381"/>
                </a:lnTo>
                <a:lnTo>
                  <a:pt x="957" y="378"/>
                </a:lnTo>
                <a:lnTo>
                  <a:pt x="960" y="378"/>
                </a:lnTo>
                <a:lnTo>
                  <a:pt x="938" y="368"/>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2" name="Freeform 9"/>
          <p:cNvSpPr>
            <a:spLocks noEditPoints="1"/>
          </p:cNvSpPr>
          <p:nvPr/>
        </p:nvSpPr>
        <p:spPr bwMode="auto">
          <a:xfrm>
            <a:off x="9929658" y="5360504"/>
            <a:ext cx="787400" cy="685800"/>
          </a:xfrm>
          <a:custGeom>
            <a:avLst/>
            <a:gdLst>
              <a:gd name="T0" fmla="*/ 455 w 496"/>
              <a:gd name="T1" fmla="*/ 327 h 432"/>
              <a:gd name="T2" fmla="*/ 378 w 496"/>
              <a:gd name="T3" fmla="*/ 387 h 432"/>
              <a:gd name="T4" fmla="*/ 480 w 496"/>
              <a:gd name="T5" fmla="*/ 295 h 432"/>
              <a:gd name="T6" fmla="*/ 477 w 496"/>
              <a:gd name="T7" fmla="*/ 231 h 432"/>
              <a:gd name="T8" fmla="*/ 474 w 496"/>
              <a:gd name="T9" fmla="*/ 172 h 432"/>
              <a:gd name="T10" fmla="*/ 453 w 496"/>
              <a:gd name="T11" fmla="*/ 126 h 432"/>
              <a:gd name="T12" fmla="*/ 410 w 496"/>
              <a:gd name="T13" fmla="*/ 132 h 432"/>
              <a:gd name="T14" fmla="*/ 340 w 496"/>
              <a:gd name="T15" fmla="*/ 148 h 432"/>
              <a:gd name="T16" fmla="*/ 319 w 496"/>
              <a:gd name="T17" fmla="*/ 169 h 432"/>
              <a:gd name="T18" fmla="*/ 292 w 496"/>
              <a:gd name="T19" fmla="*/ 169 h 432"/>
              <a:gd name="T20" fmla="*/ 203 w 496"/>
              <a:gd name="T21" fmla="*/ 148 h 432"/>
              <a:gd name="T22" fmla="*/ 153 w 496"/>
              <a:gd name="T23" fmla="*/ 126 h 432"/>
              <a:gd name="T24" fmla="*/ 99 w 496"/>
              <a:gd name="T25" fmla="*/ 118 h 432"/>
              <a:gd name="T26" fmla="*/ 91 w 496"/>
              <a:gd name="T27" fmla="*/ 167 h 432"/>
              <a:gd name="T28" fmla="*/ 120 w 496"/>
              <a:gd name="T29" fmla="*/ 228 h 432"/>
              <a:gd name="T30" fmla="*/ 158 w 496"/>
              <a:gd name="T31" fmla="*/ 274 h 432"/>
              <a:gd name="T32" fmla="*/ 182 w 496"/>
              <a:gd name="T33" fmla="*/ 295 h 432"/>
              <a:gd name="T34" fmla="*/ 158 w 496"/>
              <a:gd name="T35" fmla="*/ 287 h 432"/>
              <a:gd name="T36" fmla="*/ 158 w 496"/>
              <a:gd name="T37" fmla="*/ 325 h 432"/>
              <a:gd name="T38" fmla="*/ 195 w 496"/>
              <a:gd name="T39" fmla="*/ 368 h 432"/>
              <a:gd name="T40" fmla="*/ 212 w 496"/>
              <a:gd name="T41" fmla="*/ 389 h 432"/>
              <a:gd name="T42" fmla="*/ 228 w 496"/>
              <a:gd name="T43" fmla="*/ 392 h 432"/>
              <a:gd name="T44" fmla="*/ 254 w 496"/>
              <a:gd name="T45" fmla="*/ 405 h 432"/>
              <a:gd name="T46" fmla="*/ 230 w 496"/>
              <a:gd name="T47" fmla="*/ 408 h 432"/>
              <a:gd name="T48" fmla="*/ 260 w 496"/>
              <a:gd name="T49" fmla="*/ 419 h 432"/>
              <a:gd name="T50" fmla="*/ 313 w 496"/>
              <a:gd name="T51" fmla="*/ 429 h 432"/>
              <a:gd name="T52" fmla="*/ 340 w 496"/>
              <a:gd name="T53" fmla="*/ 416 h 432"/>
              <a:gd name="T54" fmla="*/ 348 w 496"/>
              <a:gd name="T55" fmla="*/ 397 h 432"/>
              <a:gd name="T56" fmla="*/ 348 w 496"/>
              <a:gd name="T57" fmla="*/ 389 h 432"/>
              <a:gd name="T58" fmla="*/ 370 w 496"/>
              <a:gd name="T59" fmla="*/ 368 h 432"/>
              <a:gd name="T60" fmla="*/ 386 w 496"/>
              <a:gd name="T61" fmla="*/ 354 h 432"/>
              <a:gd name="T62" fmla="*/ 394 w 496"/>
              <a:gd name="T63" fmla="*/ 346 h 432"/>
              <a:gd name="T64" fmla="*/ 429 w 496"/>
              <a:gd name="T65" fmla="*/ 360 h 432"/>
              <a:gd name="T66" fmla="*/ 410 w 496"/>
              <a:gd name="T67" fmla="*/ 357 h 432"/>
              <a:gd name="T68" fmla="*/ 426 w 496"/>
              <a:gd name="T69" fmla="*/ 387 h 432"/>
              <a:gd name="T70" fmla="*/ 442 w 496"/>
              <a:gd name="T71" fmla="*/ 378 h 432"/>
              <a:gd name="T72" fmla="*/ 439 w 496"/>
              <a:gd name="T73" fmla="*/ 352 h 432"/>
              <a:gd name="T74" fmla="*/ 439 w 496"/>
              <a:gd name="T75" fmla="*/ 336 h 432"/>
              <a:gd name="T76" fmla="*/ 445 w 496"/>
              <a:gd name="T77" fmla="*/ 301 h 432"/>
              <a:gd name="T78" fmla="*/ 461 w 496"/>
              <a:gd name="T79" fmla="*/ 266 h 432"/>
              <a:gd name="T80" fmla="*/ 463 w 496"/>
              <a:gd name="T81" fmla="*/ 263 h 432"/>
              <a:gd name="T82" fmla="*/ 480 w 496"/>
              <a:gd name="T83" fmla="*/ 287 h 432"/>
              <a:gd name="T84" fmla="*/ 238 w 496"/>
              <a:gd name="T85" fmla="*/ 327 h 432"/>
              <a:gd name="T86" fmla="*/ 262 w 496"/>
              <a:gd name="T87" fmla="*/ 333 h 432"/>
              <a:gd name="T88" fmla="*/ 252 w 496"/>
              <a:gd name="T89" fmla="*/ 344 h 432"/>
              <a:gd name="T90" fmla="*/ 254 w 496"/>
              <a:gd name="T91" fmla="*/ 365 h 432"/>
              <a:gd name="T92" fmla="*/ 236 w 496"/>
              <a:gd name="T93" fmla="*/ 341 h 432"/>
              <a:gd name="T94" fmla="*/ 262 w 496"/>
              <a:gd name="T95" fmla="*/ 354 h 432"/>
              <a:gd name="T96" fmla="*/ 362 w 496"/>
              <a:gd name="T97" fmla="*/ 405 h 432"/>
              <a:gd name="T98" fmla="*/ 364 w 496"/>
              <a:gd name="T99" fmla="*/ 411 h 432"/>
              <a:gd name="T100" fmla="*/ 378 w 496"/>
              <a:gd name="T101" fmla="*/ 405 h 432"/>
              <a:gd name="T102" fmla="*/ 29 w 496"/>
              <a:gd name="T103" fmla="*/ 35 h 432"/>
              <a:gd name="T104" fmla="*/ 8 w 496"/>
              <a:gd name="T105" fmla="*/ 11 h 432"/>
              <a:gd name="T106" fmla="*/ 8 w 496"/>
              <a:gd name="T107" fmla="*/ 59 h 432"/>
              <a:gd name="T108" fmla="*/ 463 w 496"/>
              <a:gd name="T109" fmla="*/ 100 h 432"/>
              <a:gd name="T110" fmla="*/ 431 w 496"/>
              <a:gd name="T111" fmla="*/ 35 h 432"/>
              <a:gd name="T112" fmla="*/ 461 w 496"/>
              <a:gd name="T113" fmla="*/ 73 h 432"/>
              <a:gd name="T114" fmla="*/ 469 w 496"/>
              <a:gd name="T115" fmla="*/ 59 h 432"/>
              <a:gd name="T116" fmla="*/ 421 w 496"/>
              <a:gd name="T117" fmla="*/ 30 h 432"/>
              <a:gd name="T118" fmla="*/ 445 w 496"/>
              <a:gd name="T119" fmla="*/ 86 h 432"/>
              <a:gd name="T120" fmla="*/ 485 w 496"/>
              <a:gd name="T121" fmla="*/ 97 h 432"/>
              <a:gd name="T122" fmla="*/ 118 w 496"/>
              <a:gd name="T123" fmla="*/ 86 h 432"/>
              <a:gd name="T124" fmla="*/ 112 w 496"/>
              <a:gd name="T125" fmla="*/ 12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6" h="432">
                <a:moveTo>
                  <a:pt x="461" y="325"/>
                </a:moveTo>
                <a:lnTo>
                  <a:pt x="461" y="325"/>
                </a:lnTo>
                <a:lnTo>
                  <a:pt x="458" y="322"/>
                </a:lnTo>
                <a:lnTo>
                  <a:pt x="458" y="319"/>
                </a:lnTo>
                <a:lnTo>
                  <a:pt x="455" y="319"/>
                </a:lnTo>
                <a:lnTo>
                  <a:pt x="455" y="319"/>
                </a:lnTo>
                <a:lnTo>
                  <a:pt x="453" y="319"/>
                </a:lnTo>
                <a:lnTo>
                  <a:pt x="450" y="322"/>
                </a:lnTo>
                <a:lnTo>
                  <a:pt x="447" y="322"/>
                </a:lnTo>
                <a:lnTo>
                  <a:pt x="447" y="322"/>
                </a:lnTo>
                <a:lnTo>
                  <a:pt x="445" y="325"/>
                </a:lnTo>
                <a:lnTo>
                  <a:pt x="445" y="327"/>
                </a:lnTo>
                <a:lnTo>
                  <a:pt x="447" y="330"/>
                </a:lnTo>
                <a:lnTo>
                  <a:pt x="450" y="330"/>
                </a:lnTo>
                <a:lnTo>
                  <a:pt x="447" y="333"/>
                </a:lnTo>
                <a:lnTo>
                  <a:pt x="447" y="336"/>
                </a:lnTo>
                <a:lnTo>
                  <a:pt x="445" y="336"/>
                </a:lnTo>
                <a:lnTo>
                  <a:pt x="445" y="338"/>
                </a:lnTo>
                <a:lnTo>
                  <a:pt x="447" y="338"/>
                </a:lnTo>
                <a:lnTo>
                  <a:pt x="447" y="336"/>
                </a:lnTo>
                <a:lnTo>
                  <a:pt x="450" y="336"/>
                </a:lnTo>
                <a:lnTo>
                  <a:pt x="455" y="336"/>
                </a:lnTo>
                <a:lnTo>
                  <a:pt x="455" y="336"/>
                </a:lnTo>
                <a:lnTo>
                  <a:pt x="453" y="333"/>
                </a:lnTo>
                <a:lnTo>
                  <a:pt x="453" y="330"/>
                </a:lnTo>
                <a:lnTo>
                  <a:pt x="455" y="327"/>
                </a:lnTo>
                <a:lnTo>
                  <a:pt x="461" y="330"/>
                </a:lnTo>
                <a:lnTo>
                  <a:pt x="463" y="327"/>
                </a:lnTo>
                <a:lnTo>
                  <a:pt x="461" y="327"/>
                </a:lnTo>
                <a:lnTo>
                  <a:pt x="461" y="325"/>
                </a:lnTo>
                <a:close/>
                <a:moveTo>
                  <a:pt x="383" y="384"/>
                </a:moveTo>
                <a:lnTo>
                  <a:pt x="383" y="384"/>
                </a:lnTo>
                <a:lnTo>
                  <a:pt x="380" y="381"/>
                </a:lnTo>
                <a:lnTo>
                  <a:pt x="380" y="381"/>
                </a:lnTo>
                <a:lnTo>
                  <a:pt x="380" y="381"/>
                </a:lnTo>
                <a:lnTo>
                  <a:pt x="380" y="378"/>
                </a:lnTo>
                <a:lnTo>
                  <a:pt x="380" y="376"/>
                </a:lnTo>
                <a:lnTo>
                  <a:pt x="378" y="376"/>
                </a:lnTo>
                <a:lnTo>
                  <a:pt x="375" y="373"/>
                </a:lnTo>
                <a:lnTo>
                  <a:pt x="375" y="373"/>
                </a:lnTo>
                <a:lnTo>
                  <a:pt x="372" y="376"/>
                </a:lnTo>
                <a:lnTo>
                  <a:pt x="372" y="378"/>
                </a:lnTo>
                <a:lnTo>
                  <a:pt x="372" y="378"/>
                </a:lnTo>
                <a:lnTo>
                  <a:pt x="375" y="378"/>
                </a:lnTo>
                <a:lnTo>
                  <a:pt x="375" y="378"/>
                </a:lnTo>
                <a:lnTo>
                  <a:pt x="370" y="381"/>
                </a:lnTo>
                <a:lnTo>
                  <a:pt x="370" y="381"/>
                </a:lnTo>
                <a:lnTo>
                  <a:pt x="370" y="381"/>
                </a:lnTo>
                <a:lnTo>
                  <a:pt x="372" y="384"/>
                </a:lnTo>
                <a:lnTo>
                  <a:pt x="378" y="384"/>
                </a:lnTo>
                <a:lnTo>
                  <a:pt x="378" y="387"/>
                </a:lnTo>
                <a:lnTo>
                  <a:pt x="378" y="387"/>
                </a:lnTo>
                <a:lnTo>
                  <a:pt x="375" y="387"/>
                </a:lnTo>
                <a:lnTo>
                  <a:pt x="375" y="389"/>
                </a:lnTo>
                <a:lnTo>
                  <a:pt x="375" y="392"/>
                </a:lnTo>
                <a:lnTo>
                  <a:pt x="375" y="392"/>
                </a:lnTo>
                <a:lnTo>
                  <a:pt x="378" y="392"/>
                </a:lnTo>
                <a:lnTo>
                  <a:pt x="378" y="392"/>
                </a:lnTo>
                <a:lnTo>
                  <a:pt x="380" y="392"/>
                </a:lnTo>
                <a:lnTo>
                  <a:pt x="380" y="392"/>
                </a:lnTo>
                <a:lnTo>
                  <a:pt x="383" y="392"/>
                </a:lnTo>
                <a:lnTo>
                  <a:pt x="383" y="389"/>
                </a:lnTo>
                <a:lnTo>
                  <a:pt x="383" y="387"/>
                </a:lnTo>
                <a:lnTo>
                  <a:pt x="383" y="384"/>
                </a:lnTo>
                <a:close/>
                <a:moveTo>
                  <a:pt x="480" y="293"/>
                </a:moveTo>
                <a:lnTo>
                  <a:pt x="477" y="293"/>
                </a:lnTo>
                <a:lnTo>
                  <a:pt x="477" y="290"/>
                </a:lnTo>
                <a:lnTo>
                  <a:pt x="471" y="290"/>
                </a:lnTo>
                <a:lnTo>
                  <a:pt x="471" y="290"/>
                </a:lnTo>
                <a:lnTo>
                  <a:pt x="469" y="290"/>
                </a:lnTo>
                <a:lnTo>
                  <a:pt x="469" y="293"/>
                </a:lnTo>
                <a:lnTo>
                  <a:pt x="471" y="293"/>
                </a:lnTo>
                <a:lnTo>
                  <a:pt x="474" y="293"/>
                </a:lnTo>
                <a:lnTo>
                  <a:pt x="474" y="293"/>
                </a:lnTo>
                <a:lnTo>
                  <a:pt x="477" y="295"/>
                </a:lnTo>
                <a:lnTo>
                  <a:pt x="480" y="295"/>
                </a:lnTo>
                <a:lnTo>
                  <a:pt x="480" y="295"/>
                </a:lnTo>
                <a:lnTo>
                  <a:pt x="480" y="295"/>
                </a:lnTo>
                <a:lnTo>
                  <a:pt x="480" y="295"/>
                </a:lnTo>
                <a:lnTo>
                  <a:pt x="480" y="293"/>
                </a:lnTo>
                <a:lnTo>
                  <a:pt x="480" y="293"/>
                </a:lnTo>
                <a:close/>
                <a:moveTo>
                  <a:pt x="477" y="277"/>
                </a:moveTo>
                <a:lnTo>
                  <a:pt x="480" y="274"/>
                </a:lnTo>
                <a:lnTo>
                  <a:pt x="482" y="271"/>
                </a:lnTo>
                <a:lnTo>
                  <a:pt x="482" y="271"/>
                </a:lnTo>
                <a:lnTo>
                  <a:pt x="482" y="271"/>
                </a:lnTo>
                <a:lnTo>
                  <a:pt x="482" y="268"/>
                </a:lnTo>
                <a:lnTo>
                  <a:pt x="477" y="263"/>
                </a:lnTo>
                <a:lnTo>
                  <a:pt x="477" y="258"/>
                </a:lnTo>
                <a:lnTo>
                  <a:pt x="477" y="252"/>
                </a:lnTo>
                <a:lnTo>
                  <a:pt x="480" y="250"/>
                </a:lnTo>
                <a:lnTo>
                  <a:pt x="477" y="250"/>
                </a:lnTo>
                <a:lnTo>
                  <a:pt x="477" y="247"/>
                </a:lnTo>
                <a:lnTo>
                  <a:pt x="477" y="247"/>
                </a:lnTo>
                <a:lnTo>
                  <a:pt x="477" y="247"/>
                </a:lnTo>
                <a:lnTo>
                  <a:pt x="474" y="244"/>
                </a:lnTo>
                <a:lnTo>
                  <a:pt x="474" y="244"/>
                </a:lnTo>
                <a:lnTo>
                  <a:pt x="474" y="242"/>
                </a:lnTo>
                <a:lnTo>
                  <a:pt x="474" y="239"/>
                </a:lnTo>
                <a:lnTo>
                  <a:pt x="471" y="239"/>
                </a:lnTo>
                <a:lnTo>
                  <a:pt x="471" y="236"/>
                </a:lnTo>
                <a:lnTo>
                  <a:pt x="474" y="234"/>
                </a:lnTo>
                <a:lnTo>
                  <a:pt x="477" y="234"/>
                </a:lnTo>
                <a:lnTo>
                  <a:pt x="477" y="231"/>
                </a:lnTo>
                <a:lnTo>
                  <a:pt x="474" y="226"/>
                </a:lnTo>
                <a:lnTo>
                  <a:pt x="474" y="223"/>
                </a:lnTo>
                <a:lnTo>
                  <a:pt x="477" y="220"/>
                </a:lnTo>
                <a:lnTo>
                  <a:pt x="477" y="218"/>
                </a:lnTo>
                <a:lnTo>
                  <a:pt x="477" y="215"/>
                </a:lnTo>
                <a:lnTo>
                  <a:pt x="477" y="215"/>
                </a:lnTo>
                <a:lnTo>
                  <a:pt x="477" y="212"/>
                </a:lnTo>
                <a:lnTo>
                  <a:pt x="474" y="209"/>
                </a:lnTo>
                <a:lnTo>
                  <a:pt x="474" y="207"/>
                </a:lnTo>
                <a:lnTo>
                  <a:pt x="474" y="207"/>
                </a:lnTo>
                <a:lnTo>
                  <a:pt x="474" y="204"/>
                </a:lnTo>
                <a:lnTo>
                  <a:pt x="474" y="201"/>
                </a:lnTo>
                <a:lnTo>
                  <a:pt x="474" y="201"/>
                </a:lnTo>
                <a:lnTo>
                  <a:pt x="474" y="199"/>
                </a:lnTo>
                <a:lnTo>
                  <a:pt x="480" y="185"/>
                </a:lnTo>
                <a:lnTo>
                  <a:pt x="482" y="183"/>
                </a:lnTo>
                <a:lnTo>
                  <a:pt x="480" y="183"/>
                </a:lnTo>
                <a:lnTo>
                  <a:pt x="471" y="188"/>
                </a:lnTo>
                <a:lnTo>
                  <a:pt x="471" y="185"/>
                </a:lnTo>
                <a:lnTo>
                  <a:pt x="474" y="185"/>
                </a:lnTo>
                <a:lnTo>
                  <a:pt x="477" y="180"/>
                </a:lnTo>
                <a:lnTo>
                  <a:pt x="480" y="180"/>
                </a:lnTo>
                <a:lnTo>
                  <a:pt x="477" y="177"/>
                </a:lnTo>
                <a:lnTo>
                  <a:pt x="474" y="175"/>
                </a:lnTo>
                <a:lnTo>
                  <a:pt x="474" y="175"/>
                </a:lnTo>
                <a:lnTo>
                  <a:pt x="474" y="172"/>
                </a:lnTo>
                <a:lnTo>
                  <a:pt x="474" y="172"/>
                </a:lnTo>
                <a:lnTo>
                  <a:pt x="474" y="167"/>
                </a:lnTo>
                <a:lnTo>
                  <a:pt x="474" y="164"/>
                </a:lnTo>
                <a:lnTo>
                  <a:pt x="474" y="164"/>
                </a:lnTo>
                <a:lnTo>
                  <a:pt x="474" y="164"/>
                </a:lnTo>
                <a:lnTo>
                  <a:pt x="477" y="159"/>
                </a:lnTo>
                <a:lnTo>
                  <a:pt x="477" y="159"/>
                </a:lnTo>
                <a:lnTo>
                  <a:pt x="477" y="156"/>
                </a:lnTo>
                <a:lnTo>
                  <a:pt x="474" y="156"/>
                </a:lnTo>
                <a:lnTo>
                  <a:pt x="474" y="156"/>
                </a:lnTo>
                <a:lnTo>
                  <a:pt x="474" y="156"/>
                </a:lnTo>
                <a:lnTo>
                  <a:pt x="474" y="153"/>
                </a:lnTo>
                <a:lnTo>
                  <a:pt x="477" y="153"/>
                </a:lnTo>
                <a:lnTo>
                  <a:pt x="480" y="153"/>
                </a:lnTo>
                <a:lnTo>
                  <a:pt x="480" y="150"/>
                </a:lnTo>
                <a:lnTo>
                  <a:pt x="480" y="150"/>
                </a:lnTo>
                <a:lnTo>
                  <a:pt x="477" y="148"/>
                </a:lnTo>
                <a:lnTo>
                  <a:pt x="474" y="142"/>
                </a:lnTo>
                <a:lnTo>
                  <a:pt x="466" y="134"/>
                </a:lnTo>
                <a:lnTo>
                  <a:pt x="466" y="134"/>
                </a:lnTo>
                <a:lnTo>
                  <a:pt x="461" y="134"/>
                </a:lnTo>
                <a:lnTo>
                  <a:pt x="461" y="134"/>
                </a:lnTo>
                <a:lnTo>
                  <a:pt x="458" y="132"/>
                </a:lnTo>
                <a:lnTo>
                  <a:pt x="455" y="129"/>
                </a:lnTo>
                <a:lnTo>
                  <a:pt x="455" y="126"/>
                </a:lnTo>
                <a:lnTo>
                  <a:pt x="453" y="126"/>
                </a:lnTo>
                <a:lnTo>
                  <a:pt x="453" y="126"/>
                </a:lnTo>
                <a:lnTo>
                  <a:pt x="450" y="126"/>
                </a:lnTo>
                <a:lnTo>
                  <a:pt x="450" y="126"/>
                </a:lnTo>
                <a:lnTo>
                  <a:pt x="447" y="124"/>
                </a:lnTo>
                <a:lnTo>
                  <a:pt x="447" y="124"/>
                </a:lnTo>
                <a:lnTo>
                  <a:pt x="447" y="124"/>
                </a:lnTo>
                <a:lnTo>
                  <a:pt x="445" y="124"/>
                </a:lnTo>
                <a:lnTo>
                  <a:pt x="442" y="124"/>
                </a:lnTo>
                <a:lnTo>
                  <a:pt x="442" y="124"/>
                </a:lnTo>
                <a:lnTo>
                  <a:pt x="442" y="124"/>
                </a:lnTo>
                <a:lnTo>
                  <a:pt x="439" y="124"/>
                </a:lnTo>
                <a:lnTo>
                  <a:pt x="439" y="126"/>
                </a:lnTo>
                <a:lnTo>
                  <a:pt x="439" y="129"/>
                </a:lnTo>
                <a:lnTo>
                  <a:pt x="437" y="132"/>
                </a:lnTo>
                <a:lnTo>
                  <a:pt x="437" y="132"/>
                </a:lnTo>
                <a:lnTo>
                  <a:pt x="434" y="134"/>
                </a:lnTo>
                <a:lnTo>
                  <a:pt x="431" y="137"/>
                </a:lnTo>
                <a:lnTo>
                  <a:pt x="429" y="140"/>
                </a:lnTo>
                <a:lnTo>
                  <a:pt x="426" y="140"/>
                </a:lnTo>
                <a:lnTo>
                  <a:pt x="423" y="140"/>
                </a:lnTo>
                <a:lnTo>
                  <a:pt x="421" y="137"/>
                </a:lnTo>
                <a:lnTo>
                  <a:pt x="418" y="137"/>
                </a:lnTo>
                <a:lnTo>
                  <a:pt x="415" y="137"/>
                </a:lnTo>
                <a:lnTo>
                  <a:pt x="413" y="134"/>
                </a:lnTo>
                <a:lnTo>
                  <a:pt x="410" y="134"/>
                </a:lnTo>
                <a:lnTo>
                  <a:pt x="410" y="132"/>
                </a:lnTo>
                <a:lnTo>
                  <a:pt x="407" y="132"/>
                </a:lnTo>
                <a:lnTo>
                  <a:pt x="402" y="134"/>
                </a:lnTo>
                <a:lnTo>
                  <a:pt x="399" y="137"/>
                </a:lnTo>
                <a:lnTo>
                  <a:pt x="399" y="137"/>
                </a:lnTo>
                <a:lnTo>
                  <a:pt x="394" y="145"/>
                </a:lnTo>
                <a:lnTo>
                  <a:pt x="388" y="150"/>
                </a:lnTo>
                <a:lnTo>
                  <a:pt x="386" y="153"/>
                </a:lnTo>
                <a:lnTo>
                  <a:pt x="380" y="150"/>
                </a:lnTo>
                <a:lnTo>
                  <a:pt x="380" y="150"/>
                </a:lnTo>
                <a:lnTo>
                  <a:pt x="380" y="150"/>
                </a:lnTo>
                <a:lnTo>
                  <a:pt x="380" y="148"/>
                </a:lnTo>
                <a:lnTo>
                  <a:pt x="378" y="148"/>
                </a:lnTo>
                <a:lnTo>
                  <a:pt x="375" y="148"/>
                </a:lnTo>
                <a:lnTo>
                  <a:pt x="375" y="148"/>
                </a:lnTo>
                <a:lnTo>
                  <a:pt x="375" y="145"/>
                </a:lnTo>
                <a:lnTo>
                  <a:pt x="375" y="145"/>
                </a:lnTo>
                <a:lnTo>
                  <a:pt x="370" y="148"/>
                </a:lnTo>
                <a:lnTo>
                  <a:pt x="367" y="145"/>
                </a:lnTo>
                <a:lnTo>
                  <a:pt x="359" y="150"/>
                </a:lnTo>
                <a:lnTo>
                  <a:pt x="356" y="153"/>
                </a:lnTo>
                <a:lnTo>
                  <a:pt x="343" y="150"/>
                </a:lnTo>
                <a:lnTo>
                  <a:pt x="340" y="150"/>
                </a:lnTo>
                <a:lnTo>
                  <a:pt x="340" y="148"/>
                </a:lnTo>
                <a:lnTo>
                  <a:pt x="340" y="148"/>
                </a:lnTo>
                <a:lnTo>
                  <a:pt x="340" y="148"/>
                </a:lnTo>
                <a:lnTo>
                  <a:pt x="340" y="148"/>
                </a:lnTo>
                <a:lnTo>
                  <a:pt x="337" y="150"/>
                </a:lnTo>
                <a:lnTo>
                  <a:pt x="337" y="150"/>
                </a:lnTo>
                <a:lnTo>
                  <a:pt x="337" y="150"/>
                </a:lnTo>
                <a:lnTo>
                  <a:pt x="335" y="150"/>
                </a:lnTo>
                <a:lnTo>
                  <a:pt x="335" y="150"/>
                </a:lnTo>
                <a:lnTo>
                  <a:pt x="329" y="153"/>
                </a:lnTo>
                <a:lnTo>
                  <a:pt x="324" y="153"/>
                </a:lnTo>
                <a:lnTo>
                  <a:pt x="321" y="156"/>
                </a:lnTo>
                <a:lnTo>
                  <a:pt x="319" y="159"/>
                </a:lnTo>
                <a:lnTo>
                  <a:pt x="319" y="161"/>
                </a:lnTo>
                <a:lnTo>
                  <a:pt x="321" y="164"/>
                </a:lnTo>
                <a:lnTo>
                  <a:pt x="321" y="164"/>
                </a:lnTo>
                <a:lnTo>
                  <a:pt x="327" y="164"/>
                </a:lnTo>
                <a:lnTo>
                  <a:pt x="329" y="167"/>
                </a:lnTo>
                <a:lnTo>
                  <a:pt x="329" y="167"/>
                </a:lnTo>
                <a:lnTo>
                  <a:pt x="332" y="169"/>
                </a:lnTo>
                <a:lnTo>
                  <a:pt x="332" y="169"/>
                </a:lnTo>
                <a:lnTo>
                  <a:pt x="329" y="169"/>
                </a:lnTo>
                <a:lnTo>
                  <a:pt x="329" y="169"/>
                </a:lnTo>
                <a:lnTo>
                  <a:pt x="327" y="167"/>
                </a:lnTo>
                <a:lnTo>
                  <a:pt x="327" y="167"/>
                </a:lnTo>
                <a:lnTo>
                  <a:pt x="324" y="167"/>
                </a:lnTo>
                <a:lnTo>
                  <a:pt x="324" y="169"/>
                </a:lnTo>
                <a:lnTo>
                  <a:pt x="324" y="169"/>
                </a:lnTo>
                <a:lnTo>
                  <a:pt x="321" y="169"/>
                </a:lnTo>
                <a:lnTo>
                  <a:pt x="319" y="169"/>
                </a:lnTo>
                <a:lnTo>
                  <a:pt x="316" y="169"/>
                </a:lnTo>
                <a:lnTo>
                  <a:pt x="316" y="167"/>
                </a:lnTo>
                <a:lnTo>
                  <a:pt x="319" y="167"/>
                </a:lnTo>
                <a:lnTo>
                  <a:pt x="316" y="164"/>
                </a:lnTo>
                <a:lnTo>
                  <a:pt x="316" y="161"/>
                </a:lnTo>
                <a:lnTo>
                  <a:pt x="316" y="159"/>
                </a:lnTo>
                <a:lnTo>
                  <a:pt x="313" y="159"/>
                </a:lnTo>
                <a:lnTo>
                  <a:pt x="313" y="159"/>
                </a:lnTo>
                <a:lnTo>
                  <a:pt x="311" y="159"/>
                </a:lnTo>
                <a:lnTo>
                  <a:pt x="311" y="159"/>
                </a:lnTo>
                <a:lnTo>
                  <a:pt x="308" y="159"/>
                </a:lnTo>
                <a:lnTo>
                  <a:pt x="308" y="159"/>
                </a:lnTo>
                <a:lnTo>
                  <a:pt x="305" y="161"/>
                </a:lnTo>
                <a:lnTo>
                  <a:pt x="305" y="161"/>
                </a:lnTo>
                <a:lnTo>
                  <a:pt x="303" y="161"/>
                </a:lnTo>
                <a:lnTo>
                  <a:pt x="300" y="161"/>
                </a:lnTo>
                <a:lnTo>
                  <a:pt x="300" y="161"/>
                </a:lnTo>
                <a:lnTo>
                  <a:pt x="300" y="164"/>
                </a:lnTo>
                <a:lnTo>
                  <a:pt x="297" y="164"/>
                </a:lnTo>
                <a:lnTo>
                  <a:pt x="295" y="167"/>
                </a:lnTo>
                <a:lnTo>
                  <a:pt x="292" y="169"/>
                </a:lnTo>
                <a:lnTo>
                  <a:pt x="295" y="169"/>
                </a:lnTo>
                <a:lnTo>
                  <a:pt x="295" y="169"/>
                </a:lnTo>
                <a:lnTo>
                  <a:pt x="292" y="169"/>
                </a:lnTo>
                <a:lnTo>
                  <a:pt x="292" y="169"/>
                </a:lnTo>
                <a:lnTo>
                  <a:pt x="292" y="169"/>
                </a:lnTo>
                <a:lnTo>
                  <a:pt x="289" y="167"/>
                </a:lnTo>
                <a:lnTo>
                  <a:pt x="289" y="167"/>
                </a:lnTo>
                <a:lnTo>
                  <a:pt x="284" y="167"/>
                </a:lnTo>
                <a:lnTo>
                  <a:pt x="276" y="169"/>
                </a:lnTo>
                <a:lnTo>
                  <a:pt x="268" y="169"/>
                </a:lnTo>
                <a:lnTo>
                  <a:pt x="254" y="167"/>
                </a:lnTo>
                <a:lnTo>
                  <a:pt x="244" y="164"/>
                </a:lnTo>
                <a:lnTo>
                  <a:pt x="238" y="164"/>
                </a:lnTo>
                <a:lnTo>
                  <a:pt x="238" y="164"/>
                </a:lnTo>
                <a:lnTo>
                  <a:pt x="238" y="161"/>
                </a:lnTo>
                <a:lnTo>
                  <a:pt x="236" y="161"/>
                </a:lnTo>
                <a:lnTo>
                  <a:pt x="233" y="161"/>
                </a:lnTo>
                <a:lnTo>
                  <a:pt x="228" y="159"/>
                </a:lnTo>
                <a:lnTo>
                  <a:pt x="228" y="159"/>
                </a:lnTo>
                <a:lnTo>
                  <a:pt x="225" y="159"/>
                </a:lnTo>
                <a:lnTo>
                  <a:pt x="222" y="159"/>
                </a:lnTo>
                <a:lnTo>
                  <a:pt x="222" y="156"/>
                </a:lnTo>
                <a:lnTo>
                  <a:pt x="222" y="156"/>
                </a:lnTo>
                <a:lnTo>
                  <a:pt x="220" y="156"/>
                </a:lnTo>
                <a:lnTo>
                  <a:pt x="214" y="156"/>
                </a:lnTo>
                <a:lnTo>
                  <a:pt x="214" y="156"/>
                </a:lnTo>
                <a:lnTo>
                  <a:pt x="212" y="153"/>
                </a:lnTo>
                <a:lnTo>
                  <a:pt x="209" y="153"/>
                </a:lnTo>
                <a:lnTo>
                  <a:pt x="206" y="150"/>
                </a:lnTo>
                <a:lnTo>
                  <a:pt x="203" y="148"/>
                </a:lnTo>
                <a:lnTo>
                  <a:pt x="203" y="148"/>
                </a:lnTo>
                <a:lnTo>
                  <a:pt x="203" y="145"/>
                </a:lnTo>
                <a:lnTo>
                  <a:pt x="201" y="145"/>
                </a:lnTo>
                <a:lnTo>
                  <a:pt x="190" y="142"/>
                </a:lnTo>
                <a:lnTo>
                  <a:pt x="185" y="142"/>
                </a:lnTo>
                <a:lnTo>
                  <a:pt x="182" y="140"/>
                </a:lnTo>
                <a:lnTo>
                  <a:pt x="179" y="134"/>
                </a:lnTo>
                <a:lnTo>
                  <a:pt x="174" y="137"/>
                </a:lnTo>
                <a:lnTo>
                  <a:pt x="171" y="137"/>
                </a:lnTo>
                <a:lnTo>
                  <a:pt x="169" y="134"/>
                </a:lnTo>
                <a:lnTo>
                  <a:pt x="166" y="134"/>
                </a:lnTo>
                <a:lnTo>
                  <a:pt x="163" y="134"/>
                </a:lnTo>
                <a:lnTo>
                  <a:pt x="161" y="134"/>
                </a:lnTo>
                <a:lnTo>
                  <a:pt x="161" y="134"/>
                </a:lnTo>
                <a:lnTo>
                  <a:pt x="158" y="132"/>
                </a:lnTo>
                <a:lnTo>
                  <a:pt x="155" y="132"/>
                </a:lnTo>
                <a:lnTo>
                  <a:pt x="153" y="129"/>
                </a:lnTo>
                <a:lnTo>
                  <a:pt x="153" y="129"/>
                </a:lnTo>
                <a:lnTo>
                  <a:pt x="153" y="126"/>
                </a:lnTo>
                <a:lnTo>
                  <a:pt x="155" y="126"/>
                </a:lnTo>
                <a:lnTo>
                  <a:pt x="158" y="126"/>
                </a:lnTo>
                <a:lnTo>
                  <a:pt x="155" y="124"/>
                </a:lnTo>
                <a:lnTo>
                  <a:pt x="153" y="121"/>
                </a:lnTo>
                <a:lnTo>
                  <a:pt x="153" y="121"/>
                </a:lnTo>
                <a:lnTo>
                  <a:pt x="153" y="124"/>
                </a:lnTo>
                <a:lnTo>
                  <a:pt x="153" y="124"/>
                </a:lnTo>
                <a:lnTo>
                  <a:pt x="153" y="126"/>
                </a:lnTo>
                <a:lnTo>
                  <a:pt x="153" y="129"/>
                </a:lnTo>
                <a:lnTo>
                  <a:pt x="150" y="129"/>
                </a:lnTo>
                <a:lnTo>
                  <a:pt x="139" y="129"/>
                </a:lnTo>
                <a:lnTo>
                  <a:pt x="139" y="132"/>
                </a:lnTo>
                <a:lnTo>
                  <a:pt x="139" y="132"/>
                </a:lnTo>
                <a:lnTo>
                  <a:pt x="136" y="132"/>
                </a:lnTo>
                <a:lnTo>
                  <a:pt x="134" y="132"/>
                </a:lnTo>
                <a:lnTo>
                  <a:pt x="134" y="132"/>
                </a:lnTo>
                <a:lnTo>
                  <a:pt x="134" y="132"/>
                </a:lnTo>
                <a:lnTo>
                  <a:pt x="131" y="129"/>
                </a:lnTo>
                <a:lnTo>
                  <a:pt x="128" y="126"/>
                </a:lnTo>
                <a:lnTo>
                  <a:pt x="126" y="126"/>
                </a:lnTo>
                <a:lnTo>
                  <a:pt x="126" y="126"/>
                </a:lnTo>
                <a:lnTo>
                  <a:pt x="123" y="124"/>
                </a:lnTo>
                <a:lnTo>
                  <a:pt x="120" y="124"/>
                </a:lnTo>
                <a:lnTo>
                  <a:pt x="118" y="124"/>
                </a:lnTo>
                <a:lnTo>
                  <a:pt x="112" y="124"/>
                </a:lnTo>
                <a:lnTo>
                  <a:pt x="107" y="121"/>
                </a:lnTo>
                <a:lnTo>
                  <a:pt x="102" y="121"/>
                </a:lnTo>
                <a:lnTo>
                  <a:pt x="102" y="121"/>
                </a:lnTo>
                <a:lnTo>
                  <a:pt x="102" y="121"/>
                </a:lnTo>
                <a:lnTo>
                  <a:pt x="102" y="121"/>
                </a:lnTo>
                <a:lnTo>
                  <a:pt x="99" y="121"/>
                </a:lnTo>
                <a:lnTo>
                  <a:pt x="99" y="121"/>
                </a:lnTo>
                <a:lnTo>
                  <a:pt x="99" y="118"/>
                </a:lnTo>
                <a:lnTo>
                  <a:pt x="99" y="118"/>
                </a:lnTo>
                <a:lnTo>
                  <a:pt x="96" y="116"/>
                </a:lnTo>
                <a:lnTo>
                  <a:pt x="96" y="116"/>
                </a:lnTo>
                <a:lnTo>
                  <a:pt x="94" y="113"/>
                </a:lnTo>
                <a:lnTo>
                  <a:pt x="94" y="116"/>
                </a:lnTo>
                <a:lnTo>
                  <a:pt x="91" y="118"/>
                </a:lnTo>
                <a:lnTo>
                  <a:pt x="91" y="121"/>
                </a:lnTo>
                <a:lnTo>
                  <a:pt x="94" y="132"/>
                </a:lnTo>
                <a:lnTo>
                  <a:pt x="94" y="134"/>
                </a:lnTo>
                <a:lnTo>
                  <a:pt x="94" y="137"/>
                </a:lnTo>
                <a:lnTo>
                  <a:pt x="94" y="140"/>
                </a:lnTo>
                <a:lnTo>
                  <a:pt x="91" y="140"/>
                </a:lnTo>
                <a:lnTo>
                  <a:pt x="88" y="140"/>
                </a:lnTo>
                <a:lnTo>
                  <a:pt x="88" y="140"/>
                </a:lnTo>
                <a:lnTo>
                  <a:pt x="86" y="142"/>
                </a:lnTo>
                <a:lnTo>
                  <a:pt x="86" y="142"/>
                </a:lnTo>
                <a:lnTo>
                  <a:pt x="83" y="142"/>
                </a:lnTo>
                <a:lnTo>
                  <a:pt x="86" y="145"/>
                </a:lnTo>
                <a:lnTo>
                  <a:pt x="86" y="148"/>
                </a:lnTo>
                <a:lnTo>
                  <a:pt x="86" y="148"/>
                </a:lnTo>
                <a:lnTo>
                  <a:pt x="86" y="150"/>
                </a:lnTo>
                <a:lnTo>
                  <a:pt x="83" y="150"/>
                </a:lnTo>
                <a:lnTo>
                  <a:pt x="83" y="150"/>
                </a:lnTo>
                <a:lnTo>
                  <a:pt x="88" y="156"/>
                </a:lnTo>
                <a:lnTo>
                  <a:pt x="91" y="161"/>
                </a:lnTo>
                <a:lnTo>
                  <a:pt x="88" y="164"/>
                </a:lnTo>
                <a:lnTo>
                  <a:pt x="91" y="167"/>
                </a:lnTo>
                <a:lnTo>
                  <a:pt x="91" y="169"/>
                </a:lnTo>
                <a:lnTo>
                  <a:pt x="91" y="172"/>
                </a:lnTo>
                <a:lnTo>
                  <a:pt x="91" y="175"/>
                </a:lnTo>
                <a:lnTo>
                  <a:pt x="94" y="177"/>
                </a:lnTo>
                <a:lnTo>
                  <a:pt x="99" y="188"/>
                </a:lnTo>
                <a:lnTo>
                  <a:pt x="102" y="191"/>
                </a:lnTo>
                <a:lnTo>
                  <a:pt x="102" y="193"/>
                </a:lnTo>
                <a:lnTo>
                  <a:pt x="99" y="193"/>
                </a:lnTo>
                <a:lnTo>
                  <a:pt x="99" y="193"/>
                </a:lnTo>
                <a:lnTo>
                  <a:pt x="99" y="193"/>
                </a:lnTo>
                <a:lnTo>
                  <a:pt x="99" y="196"/>
                </a:lnTo>
                <a:lnTo>
                  <a:pt x="99" y="196"/>
                </a:lnTo>
                <a:lnTo>
                  <a:pt x="99" y="196"/>
                </a:lnTo>
                <a:lnTo>
                  <a:pt x="102" y="199"/>
                </a:lnTo>
                <a:lnTo>
                  <a:pt x="102" y="199"/>
                </a:lnTo>
                <a:lnTo>
                  <a:pt x="102" y="199"/>
                </a:lnTo>
                <a:lnTo>
                  <a:pt x="104" y="201"/>
                </a:lnTo>
                <a:lnTo>
                  <a:pt x="110" y="209"/>
                </a:lnTo>
                <a:lnTo>
                  <a:pt x="115" y="220"/>
                </a:lnTo>
                <a:lnTo>
                  <a:pt x="115" y="223"/>
                </a:lnTo>
                <a:lnTo>
                  <a:pt x="115" y="226"/>
                </a:lnTo>
                <a:lnTo>
                  <a:pt x="115" y="226"/>
                </a:lnTo>
                <a:lnTo>
                  <a:pt x="118" y="226"/>
                </a:lnTo>
                <a:lnTo>
                  <a:pt x="118" y="228"/>
                </a:lnTo>
                <a:lnTo>
                  <a:pt x="120" y="228"/>
                </a:lnTo>
                <a:lnTo>
                  <a:pt x="120" y="228"/>
                </a:lnTo>
                <a:lnTo>
                  <a:pt x="120" y="228"/>
                </a:lnTo>
                <a:lnTo>
                  <a:pt x="120" y="228"/>
                </a:lnTo>
                <a:lnTo>
                  <a:pt x="123" y="231"/>
                </a:lnTo>
                <a:lnTo>
                  <a:pt x="128" y="236"/>
                </a:lnTo>
                <a:lnTo>
                  <a:pt x="128" y="239"/>
                </a:lnTo>
                <a:lnTo>
                  <a:pt x="131" y="239"/>
                </a:lnTo>
                <a:lnTo>
                  <a:pt x="131" y="239"/>
                </a:lnTo>
                <a:lnTo>
                  <a:pt x="131" y="242"/>
                </a:lnTo>
                <a:lnTo>
                  <a:pt x="131" y="242"/>
                </a:lnTo>
                <a:lnTo>
                  <a:pt x="131" y="242"/>
                </a:lnTo>
                <a:lnTo>
                  <a:pt x="142" y="250"/>
                </a:lnTo>
                <a:lnTo>
                  <a:pt x="147" y="255"/>
                </a:lnTo>
                <a:lnTo>
                  <a:pt x="153" y="263"/>
                </a:lnTo>
                <a:lnTo>
                  <a:pt x="153" y="271"/>
                </a:lnTo>
                <a:lnTo>
                  <a:pt x="150" y="279"/>
                </a:lnTo>
                <a:lnTo>
                  <a:pt x="153" y="282"/>
                </a:lnTo>
                <a:lnTo>
                  <a:pt x="153" y="282"/>
                </a:lnTo>
                <a:lnTo>
                  <a:pt x="155" y="282"/>
                </a:lnTo>
                <a:lnTo>
                  <a:pt x="155" y="279"/>
                </a:lnTo>
                <a:lnTo>
                  <a:pt x="155" y="279"/>
                </a:lnTo>
                <a:lnTo>
                  <a:pt x="155" y="277"/>
                </a:lnTo>
                <a:lnTo>
                  <a:pt x="155" y="277"/>
                </a:lnTo>
                <a:lnTo>
                  <a:pt x="155" y="277"/>
                </a:lnTo>
                <a:lnTo>
                  <a:pt x="155" y="277"/>
                </a:lnTo>
                <a:lnTo>
                  <a:pt x="158" y="274"/>
                </a:lnTo>
                <a:lnTo>
                  <a:pt x="158" y="274"/>
                </a:lnTo>
                <a:lnTo>
                  <a:pt x="158" y="274"/>
                </a:lnTo>
                <a:lnTo>
                  <a:pt x="161" y="274"/>
                </a:lnTo>
                <a:lnTo>
                  <a:pt x="161" y="274"/>
                </a:lnTo>
                <a:lnTo>
                  <a:pt x="161" y="277"/>
                </a:lnTo>
                <a:lnTo>
                  <a:pt x="161" y="277"/>
                </a:lnTo>
                <a:lnTo>
                  <a:pt x="163" y="279"/>
                </a:lnTo>
                <a:lnTo>
                  <a:pt x="163" y="282"/>
                </a:lnTo>
                <a:lnTo>
                  <a:pt x="163" y="285"/>
                </a:lnTo>
                <a:lnTo>
                  <a:pt x="166" y="285"/>
                </a:lnTo>
                <a:lnTo>
                  <a:pt x="169" y="287"/>
                </a:lnTo>
                <a:lnTo>
                  <a:pt x="174" y="293"/>
                </a:lnTo>
                <a:lnTo>
                  <a:pt x="177" y="295"/>
                </a:lnTo>
                <a:lnTo>
                  <a:pt x="177" y="293"/>
                </a:lnTo>
                <a:lnTo>
                  <a:pt x="177" y="293"/>
                </a:lnTo>
                <a:lnTo>
                  <a:pt x="177" y="293"/>
                </a:lnTo>
                <a:lnTo>
                  <a:pt x="179" y="293"/>
                </a:lnTo>
                <a:lnTo>
                  <a:pt x="179" y="293"/>
                </a:lnTo>
                <a:lnTo>
                  <a:pt x="179" y="293"/>
                </a:lnTo>
                <a:lnTo>
                  <a:pt x="179" y="295"/>
                </a:lnTo>
                <a:lnTo>
                  <a:pt x="179" y="295"/>
                </a:lnTo>
                <a:lnTo>
                  <a:pt x="179" y="295"/>
                </a:lnTo>
                <a:lnTo>
                  <a:pt x="179" y="295"/>
                </a:lnTo>
                <a:lnTo>
                  <a:pt x="179" y="295"/>
                </a:lnTo>
                <a:lnTo>
                  <a:pt x="179" y="295"/>
                </a:lnTo>
                <a:lnTo>
                  <a:pt x="179" y="295"/>
                </a:lnTo>
                <a:lnTo>
                  <a:pt x="182" y="295"/>
                </a:lnTo>
                <a:lnTo>
                  <a:pt x="182" y="295"/>
                </a:lnTo>
                <a:lnTo>
                  <a:pt x="182" y="295"/>
                </a:lnTo>
                <a:lnTo>
                  <a:pt x="182" y="295"/>
                </a:lnTo>
                <a:lnTo>
                  <a:pt x="182" y="295"/>
                </a:lnTo>
                <a:lnTo>
                  <a:pt x="185" y="295"/>
                </a:lnTo>
                <a:lnTo>
                  <a:pt x="185" y="295"/>
                </a:lnTo>
                <a:lnTo>
                  <a:pt x="182" y="298"/>
                </a:lnTo>
                <a:lnTo>
                  <a:pt x="182" y="301"/>
                </a:lnTo>
                <a:lnTo>
                  <a:pt x="179" y="303"/>
                </a:lnTo>
                <a:lnTo>
                  <a:pt x="179" y="303"/>
                </a:lnTo>
                <a:lnTo>
                  <a:pt x="177" y="303"/>
                </a:lnTo>
                <a:lnTo>
                  <a:pt x="177" y="309"/>
                </a:lnTo>
                <a:lnTo>
                  <a:pt x="177" y="311"/>
                </a:lnTo>
                <a:lnTo>
                  <a:pt x="174" y="311"/>
                </a:lnTo>
                <a:lnTo>
                  <a:pt x="174" y="311"/>
                </a:lnTo>
                <a:lnTo>
                  <a:pt x="171" y="309"/>
                </a:lnTo>
                <a:lnTo>
                  <a:pt x="171" y="303"/>
                </a:lnTo>
                <a:lnTo>
                  <a:pt x="171" y="301"/>
                </a:lnTo>
                <a:lnTo>
                  <a:pt x="171" y="298"/>
                </a:lnTo>
                <a:lnTo>
                  <a:pt x="169" y="298"/>
                </a:lnTo>
                <a:lnTo>
                  <a:pt x="163" y="293"/>
                </a:lnTo>
                <a:lnTo>
                  <a:pt x="161" y="293"/>
                </a:lnTo>
                <a:lnTo>
                  <a:pt x="158" y="293"/>
                </a:lnTo>
                <a:lnTo>
                  <a:pt x="158" y="290"/>
                </a:lnTo>
                <a:lnTo>
                  <a:pt x="158" y="290"/>
                </a:lnTo>
                <a:lnTo>
                  <a:pt x="158" y="287"/>
                </a:lnTo>
                <a:lnTo>
                  <a:pt x="158" y="287"/>
                </a:lnTo>
                <a:lnTo>
                  <a:pt x="155" y="287"/>
                </a:lnTo>
                <a:lnTo>
                  <a:pt x="153" y="287"/>
                </a:lnTo>
                <a:lnTo>
                  <a:pt x="150" y="287"/>
                </a:lnTo>
                <a:lnTo>
                  <a:pt x="150" y="285"/>
                </a:lnTo>
                <a:lnTo>
                  <a:pt x="150" y="282"/>
                </a:lnTo>
                <a:lnTo>
                  <a:pt x="147" y="282"/>
                </a:lnTo>
                <a:lnTo>
                  <a:pt x="147" y="279"/>
                </a:lnTo>
                <a:lnTo>
                  <a:pt x="145" y="279"/>
                </a:lnTo>
                <a:lnTo>
                  <a:pt x="145" y="282"/>
                </a:lnTo>
                <a:lnTo>
                  <a:pt x="145" y="282"/>
                </a:lnTo>
                <a:lnTo>
                  <a:pt x="147" y="285"/>
                </a:lnTo>
                <a:lnTo>
                  <a:pt x="147" y="290"/>
                </a:lnTo>
                <a:lnTo>
                  <a:pt x="147" y="293"/>
                </a:lnTo>
                <a:lnTo>
                  <a:pt x="147" y="298"/>
                </a:lnTo>
                <a:lnTo>
                  <a:pt x="150" y="303"/>
                </a:lnTo>
                <a:lnTo>
                  <a:pt x="150" y="309"/>
                </a:lnTo>
                <a:lnTo>
                  <a:pt x="150" y="311"/>
                </a:lnTo>
                <a:lnTo>
                  <a:pt x="153" y="314"/>
                </a:lnTo>
                <a:lnTo>
                  <a:pt x="155" y="317"/>
                </a:lnTo>
                <a:lnTo>
                  <a:pt x="153" y="322"/>
                </a:lnTo>
                <a:lnTo>
                  <a:pt x="153" y="322"/>
                </a:lnTo>
                <a:lnTo>
                  <a:pt x="155" y="322"/>
                </a:lnTo>
                <a:lnTo>
                  <a:pt x="158" y="322"/>
                </a:lnTo>
                <a:lnTo>
                  <a:pt x="158" y="325"/>
                </a:lnTo>
                <a:lnTo>
                  <a:pt x="158" y="325"/>
                </a:lnTo>
                <a:lnTo>
                  <a:pt x="158" y="327"/>
                </a:lnTo>
                <a:lnTo>
                  <a:pt x="161" y="327"/>
                </a:lnTo>
                <a:lnTo>
                  <a:pt x="161" y="327"/>
                </a:lnTo>
                <a:lnTo>
                  <a:pt x="163" y="327"/>
                </a:lnTo>
                <a:lnTo>
                  <a:pt x="163" y="333"/>
                </a:lnTo>
                <a:lnTo>
                  <a:pt x="166" y="333"/>
                </a:lnTo>
                <a:lnTo>
                  <a:pt x="166" y="333"/>
                </a:lnTo>
                <a:lnTo>
                  <a:pt x="166" y="336"/>
                </a:lnTo>
                <a:lnTo>
                  <a:pt x="163" y="338"/>
                </a:lnTo>
                <a:lnTo>
                  <a:pt x="163" y="338"/>
                </a:lnTo>
                <a:lnTo>
                  <a:pt x="163" y="338"/>
                </a:lnTo>
                <a:lnTo>
                  <a:pt x="163" y="338"/>
                </a:lnTo>
                <a:lnTo>
                  <a:pt x="163" y="338"/>
                </a:lnTo>
                <a:lnTo>
                  <a:pt x="166" y="341"/>
                </a:lnTo>
                <a:lnTo>
                  <a:pt x="166" y="341"/>
                </a:lnTo>
                <a:lnTo>
                  <a:pt x="166" y="341"/>
                </a:lnTo>
                <a:lnTo>
                  <a:pt x="169" y="344"/>
                </a:lnTo>
                <a:lnTo>
                  <a:pt x="171" y="349"/>
                </a:lnTo>
                <a:lnTo>
                  <a:pt x="171" y="352"/>
                </a:lnTo>
                <a:lnTo>
                  <a:pt x="174" y="354"/>
                </a:lnTo>
                <a:lnTo>
                  <a:pt x="179" y="360"/>
                </a:lnTo>
                <a:lnTo>
                  <a:pt x="179" y="360"/>
                </a:lnTo>
                <a:lnTo>
                  <a:pt x="187" y="360"/>
                </a:lnTo>
                <a:lnTo>
                  <a:pt x="187" y="362"/>
                </a:lnTo>
                <a:lnTo>
                  <a:pt x="193" y="368"/>
                </a:lnTo>
                <a:lnTo>
                  <a:pt x="195" y="368"/>
                </a:lnTo>
                <a:lnTo>
                  <a:pt x="195" y="370"/>
                </a:lnTo>
                <a:lnTo>
                  <a:pt x="198" y="370"/>
                </a:lnTo>
                <a:lnTo>
                  <a:pt x="198" y="370"/>
                </a:lnTo>
                <a:lnTo>
                  <a:pt x="198" y="370"/>
                </a:lnTo>
                <a:lnTo>
                  <a:pt x="198" y="370"/>
                </a:lnTo>
                <a:lnTo>
                  <a:pt x="195" y="373"/>
                </a:lnTo>
                <a:lnTo>
                  <a:pt x="195" y="373"/>
                </a:lnTo>
                <a:lnTo>
                  <a:pt x="195" y="376"/>
                </a:lnTo>
                <a:lnTo>
                  <a:pt x="198" y="376"/>
                </a:lnTo>
                <a:lnTo>
                  <a:pt x="198" y="376"/>
                </a:lnTo>
                <a:lnTo>
                  <a:pt x="201" y="376"/>
                </a:lnTo>
                <a:lnTo>
                  <a:pt x="201" y="376"/>
                </a:lnTo>
                <a:lnTo>
                  <a:pt x="203" y="376"/>
                </a:lnTo>
                <a:lnTo>
                  <a:pt x="201" y="376"/>
                </a:lnTo>
                <a:lnTo>
                  <a:pt x="201" y="378"/>
                </a:lnTo>
                <a:lnTo>
                  <a:pt x="203" y="381"/>
                </a:lnTo>
                <a:lnTo>
                  <a:pt x="203" y="381"/>
                </a:lnTo>
                <a:lnTo>
                  <a:pt x="203" y="381"/>
                </a:lnTo>
                <a:lnTo>
                  <a:pt x="206" y="381"/>
                </a:lnTo>
                <a:lnTo>
                  <a:pt x="206" y="384"/>
                </a:lnTo>
                <a:lnTo>
                  <a:pt x="206" y="384"/>
                </a:lnTo>
                <a:lnTo>
                  <a:pt x="206" y="384"/>
                </a:lnTo>
                <a:lnTo>
                  <a:pt x="206" y="384"/>
                </a:lnTo>
                <a:lnTo>
                  <a:pt x="209" y="387"/>
                </a:lnTo>
                <a:lnTo>
                  <a:pt x="212" y="387"/>
                </a:lnTo>
                <a:lnTo>
                  <a:pt x="212" y="389"/>
                </a:lnTo>
                <a:lnTo>
                  <a:pt x="212" y="392"/>
                </a:lnTo>
                <a:lnTo>
                  <a:pt x="214" y="395"/>
                </a:lnTo>
                <a:lnTo>
                  <a:pt x="214" y="397"/>
                </a:lnTo>
                <a:lnTo>
                  <a:pt x="217" y="397"/>
                </a:lnTo>
                <a:lnTo>
                  <a:pt x="220" y="397"/>
                </a:lnTo>
                <a:lnTo>
                  <a:pt x="222" y="397"/>
                </a:lnTo>
                <a:lnTo>
                  <a:pt x="222" y="395"/>
                </a:lnTo>
                <a:lnTo>
                  <a:pt x="222" y="395"/>
                </a:lnTo>
                <a:lnTo>
                  <a:pt x="222" y="395"/>
                </a:lnTo>
                <a:lnTo>
                  <a:pt x="220" y="395"/>
                </a:lnTo>
                <a:lnTo>
                  <a:pt x="217" y="395"/>
                </a:lnTo>
                <a:lnTo>
                  <a:pt x="217" y="392"/>
                </a:lnTo>
                <a:lnTo>
                  <a:pt x="217" y="392"/>
                </a:lnTo>
                <a:lnTo>
                  <a:pt x="220" y="392"/>
                </a:lnTo>
                <a:lnTo>
                  <a:pt x="220" y="392"/>
                </a:lnTo>
                <a:lnTo>
                  <a:pt x="220" y="392"/>
                </a:lnTo>
                <a:lnTo>
                  <a:pt x="222" y="392"/>
                </a:lnTo>
                <a:lnTo>
                  <a:pt x="222" y="389"/>
                </a:lnTo>
                <a:lnTo>
                  <a:pt x="222" y="389"/>
                </a:lnTo>
                <a:lnTo>
                  <a:pt x="222" y="387"/>
                </a:lnTo>
                <a:lnTo>
                  <a:pt x="222" y="387"/>
                </a:lnTo>
                <a:lnTo>
                  <a:pt x="225" y="387"/>
                </a:lnTo>
                <a:lnTo>
                  <a:pt x="228" y="389"/>
                </a:lnTo>
                <a:lnTo>
                  <a:pt x="228" y="389"/>
                </a:lnTo>
                <a:lnTo>
                  <a:pt x="228" y="392"/>
                </a:lnTo>
                <a:lnTo>
                  <a:pt x="228" y="392"/>
                </a:lnTo>
                <a:lnTo>
                  <a:pt x="228" y="395"/>
                </a:lnTo>
                <a:lnTo>
                  <a:pt x="230" y="397"/>
                </a:lnTo>
                <a:lnTo>
                  <a:pt x="230" y="397"/>
                </a:lnTo>
                <a:lnTo>
                  <a:pt x="233" y="400"/>
                </a:lnTo>
                <a:lnTo>
                  <a:pt x="236" y="400"/>
                </a:lnTo>
                <a:lnTo>
                  <a:pt x="236" y="397"/>
                </a:lnTo>
                <a:lnTo>
                  <a:pt x="236" y="395"/>
                </a:lnTo>
                <a:lnTo>
                  <a:pt x="238" y="395"/>
                </a:lnTo>
                <a:lnTo>
                  <a:pt x="238" y="395"/>
                </a:lnTo>
                <a:lnTo>
                  <a:pt x="238" y="395"/>
                </a:lnTo>
                <a:lnTo>
                  <a:pt x="241" y="395"/>
                </a:lnTo>
                <a:lnTo>
                  <a:pt x="241" y="397"/>
                </a:lnTo>
                <a:lnTo>
                  <a:pt x="241" y="400"/>
                </a:lnTo>
                <a:lnTo>
                  <a:pt x="244" y="400"/>
                </a:lnTo>
                <a:lnTo>
                  <a:pt x="244" y="400"/>
                </a:lnTo>
                <a:lnTo>
                  <a:pt x="249" y="395"/>
                </a:lnTo>
                <a:lnTo>
                  <a:pt x="249" y="395"/>
                </a:lnTo>
                <a:lnTo>
                  <a:pt x="249" y="395"/>
                </a:lnTo>
                <a:lnTo>
                  <a:pt x="252" y="397"/>
                </a:lnTo>
                <a:lnTo>
                  <a:pt x="254" y="397"/>
                </a:lnTo>
                <a:lnTo>
                  <a:pt x="254" y="400"/>
                </a:lnTo>
                <a:lnTo>
                  <a:pt x="257" y="400"/>
                </a:lnTo>
                <a:lnTo>
                  <a:pt x="257" y="403"/>
                </a:lnTo>
                <a:lnTo>
                  <a:pt x="257" y="405"/>
                </a:lnTo>
                <a:lnTo>
                  <a:pt x="254" y="408"/>
                </a:lnTo>
                <a:lnTo>
                  <a:pt x="254" y="405"/>
                </a:lnTo>
                <a:lnTo>
                  <a:pt x="254" y="405"/>
                </a:lnTo>
                <a:lnTo>
                  <a:pt x="252" y="403"/>
                </a:lnTo>
                <a:lnTo>
                  <a:pt x="252" y="403"/>
                </a:lnTo>
                <a:lnTo>
                  <a:pt x="249" y="403"/>
                </a:lnTo>
                <a:lnTo>
                  <a:pt x="249" y="403"/>
                </a:lnTo>
                <a:lnTo>
                  <a:pt x="252" y="405"/>
                </a:lnTo>
                <a:lnTo>
                  <a:pt x="249" y="405"/>
                </a:lnTo>
                <a:lnTo>
                  <a:pt x="249" y="405"/>
                </a:lnTo>
                <a:lnTo>
                  <a:pt x="249" y="405"/>
                </a:lnTo>
                <a:lnTo>
                  <a:pt x="249" y="405"/>
                </a:lnTo>
                <a:lnTo>
                  <a:pt x="249" y="408"/>
                </a:lnTo>
                <a:lnTo>
                  <a:pt x="249" y="408"/>
                </a:lnTo>
                <a:lnTo>
                  <a:pt x="246" y="408"/>
                </a:lnTo>
                <a:lnTo>
                  <a:pt x="244" y="405"/>
                </a:lnTo>
                <a:lnTo>
                  <a:pt x="244" y="403"/>
                </a:lnTo>
                <a:lnTo>
                  <a:pt x="241" y="403"/>
                </a:lnTo>
                <a:lnTo>
                  <a:pt x="230" y="403"/>
                </a:lnTo>
                <a:lnTo>
                  <a:pt x="228" y="403"/>
                </a:lnTo>
                <a:lnTo>
                  <a:pt x="230" y="405"/>
                </a:lnTo>
                <a:lnTo>
                  <a:pt x="230" y="405"/>
                </a:lnTo>
                <a:lnTo>
                  <a:pt x="230" y="405"/>
                </a:lnTo>
                <a:lnTo>
                  <a:pt x="228" y="403"/>
                </a:lnTo>
                <a:lnTo>
                  <a:pt x="225" y="403"/>
                </a:lnTo>
                <a:lnTo>
                  <a:pt x="225" y="405"/>
                </a:lnTo>
                <a:lnTo>
                  <a:pt x="225" y="405"/>
                </a:lnTo>
                <a:lnTo>
                  <a:pt x="230" y="408"/>
                </a:lnTo>
                <a:lnTo>
                  <a:pt x="233" y="413"/>
                </a:lnTo>
                <a:lnTo>
                  <a:pt x="236" y="416"/>
                </a:lnTo>
                <a:lnTo>
                  <a:pt x="233" y="424"/>
                </a:lnTo>
                <a:lnTo>
                  <a:pt x="238" y="421"/>
                </a:lnTo>
                <a:lnTo>
                  <a:pt x="241" y="421"/>
                </a:lnTo>
                <a:lnTo>
                  <a:pt x="241" y="421"/>
                </a:lnTo>
                <a:lnTo>
                  <a:pt x="241" y="424"/>
                </a:lnTo>
                <a:lnTo>
                  <a:pt x="244" y="424"/>
                </a:lnTo>
                <a:lnTo>
                  <a:pt x="244" y="421"/>
                </a:lnTo>
                <a:lnTo>
                  <a:pt x="244" y="421"/>
                </a:lnTo>
                <a:lnTo>
                  <a:pt x="244" y="419"/>
                </a:lnTo>
                <a:lnTo>
                  <a:pt x="244" y="419"/>
                </a:lnTo>
                <a:lnTo>
                  <a:pt x="246" y="419"/>
                </a:lnTo>
                <a:lnTo>
                  <a:pt x="249" y="419"/>
                </a:lnTo>
                <a:lnTo>
                  <a:pt x="249" y="419"/>
                </a:lnTo>
                <a:lnTo>
                  <a:pt x="249" y="421"/>
                </a:lnTo>
                <a:lnTo>
                  <a:pt x="252" y="421"/>
                </a:lnTo>
                <a:lnTo>
                  <a:pt x="252" y="421"/>
                </a:lnTo>
                <a:lnTo>
                  <a:pt x="252" y="419"/>
                </a:lnTo>
                <a:lnTo>
                  <a:pt x="252" y="419"/>
                </a:lnTo>
                <a:lnTo>
                  <a:pt x="254" y="416"/>
                </a:lnTo>
                <a:lnTo>
                  <a:pt x="254" y="416"/>
                </a:lnTo>
                <a:lnTo>
                  <a:pt x="257" y="416"/>
                </a:lnTo>
                <a:lnTo>
                  <a:pt x="257" y="416"/>
                </a:lnTo>
                <a:lnTo>
                  <a:pt x="260" y="416"/>
                </a:lnTo>
                <a:lnTo>
                  <a:pt x="260" y="419"/>
                </a:lnTo>
                <a:lnTo>
                  <a:pt x="260" y="419"/>
                </a:lnTo>
                <a:lnTo>
                  <a:pt x="260" y="421"/>
                </a:lnTo>
                <a:lnTo>
                  <a:pt x="262" y="421"/>
                </a:lnTo>
                <a:lnTo>
                  <a:pt x="262" y="421"/>
                </a:lnTo>
                <a:lnTo>
                  <a:pt x="265" y="421"/>
                </a:lnTo>
                <a:lnTo>
                  <a:pt x="268" y="419"/>
                </a:lnTo>
                <a:lnTo>
                  <a:pt x="270" y="419"/>
                </a:lnTo>
                <a:lnTo>
                  <a:pt x="270" y="421"/>
                </a:lnTo>
                <a:lnTo>
                  <a:pt x="284" y="421"/>
                </a:lnTo>
                <a:lnTo>
                  <a:pt x="287" y="421"/>
                </a:lnTo>
                <a:lnTo>
                  <a:pt x="289" y="419"/>
                </a:lnTo>
                <a:lnTo>
                  <a:pt x="289" y="421"/>
                </a:lnTo>
                <a:lnTo>
                  <a:pt x="292" y="421"/>
                </a:lnTo>
                <a:lnTo>
                  <a:pt x="289" y="419"/>
                </a:lnTo>
                <a:lnTo>
                  <a:pt x="289" y="416"/>
                </a:lnTo>
                <a:lnTo>
                  <a:pt x="289" y="413"/>
                </a:lnTo>
                <a:lnTo>
                  <a:pt x="292" y="416"/>
                </a:lnTo>
                <a:lnTo>
                  <a:pt x="292" y="416"/>
                </a:lnTo>
                <a:lnTo>
                  <a:pt x="295" y="421"/>
                </a:lnTo>
                <a:lnTo>
                  <a:pt x="295" y="424"/>
                </a:lnTo>
                <a:lnTo>
                  <a:pt x="295" y="424"/>
                </a:lnTo>
                <a:lnTo>
                  <a:pt x="303" y="427"/>
                </a:lnTo>
                <a:lnTo>
                  <a:pt x="305" y="429"/>
                </a:lnTo>
                <a:lnTo>
                  <a:pt x="305" y="432"/>
                </a:lnTo>
                <a:lnTo>
                  <a:pt x="308" y="432"/>
                </a:lnTo>
                <a:lnTo>
                  <a:pt x="313" y="429"/>
                </a:lnTo>
                <a:lnTo>
                  <a:pt x="313" y="429"/>
                </a:lnTo>
                <a:lnTo>
                  <a:pt x="316" y="429"/>
                </a:lnTo>
                <a:lnTo>
                  <a:pt x="319" y="432"/>
                </a:lnTo>
                <a:lnTo>
                  <a:pt x="319" y="432"/>
                </a:lnTo>
                <a:lnTo>
                  <a:pt x="319" y="432"/>
                </a:lnTo>
                <a:lnTo>
                  <a:pt x="319" y="432"/>
                </a:lnTo>
                <a:lnTo>
                  <a:pt x="321" y="432"/>
                </a:lnTo>
                <a:lnTo>
                  <a:pt x="321" y="432"/>
                </a:lnTo>
                <a:lnTo>
                  <a:pt x="329" y="429"/>
                </a:lnTo>
                <a:lnTo>
                  <a:pt x="332" y="429"/>
                </a:lnTo>
                <a:lnTo>
                  <a:pt x="332" y="427"/>
                </a:lnTo>
                <a:lnTo>
                  <a:pt x="329" y="424"/>
                </a:lnTo>
                <a:lnTo>
                  <a:pt x="327" y="424"/>
                </a:lnTo>
                <a:lnTo>
                  <a:pt x="327" y="424"/>
                </a:lnTo>
                <a:lnTo>
                  <a:pt x="327" y="421"/>
                </a:lnTo>
                <a:lnTo>
                  <a:pt x="329" y="421"/>
                </a:lnTo>
                <a:lnTo>
                  <a:pt x="329" y="421"/>
                </a:lnTo>
                <a:lnTo>
                  <a:pt x="332" y="421"/>
                </a:lnTo>
                <a:lnTo>
                  <a:pt x="332" y="421"/>
                </a:lnTo>
                <a:lnTo>
                  <a:pt x="332" y="419"/>
                </a:lnTo>
                <a:lnTo>
                  <a:pt x="332" y="419"/>
                </a:lnTo>
                <a:lnTo>
                  <a:pt x="332" y="419"/>
                </a:lnTo>
                <a:lnTo>
                  <a:pt x="332" y="416"/>
                </a:lnTo>
                <a:lnTo>
                  <a:pt x="332" y="416"/>
                </a:lnTo>
                <a:lnTo>
                  <a:pt x="335" y="416"/>
                </a:lnTo>
                <a:lnTo>
                  <a:pt x="340" y="416"/>
                </a:lnTo>
                <a:lnTo>
                  <a:pt x="337" y="413"/>
                </a:lnTo>
                <a:lnTo>
                  <a:pt x="332" y="411"/>
                </a:lnTo>
                <a:lnTo>
                  <a:pt x="329" y="411"/>
                </a:lnTo>
                <a:lnTo>
                  <a:pt x="335" y="411"/>
                </a:lnTo>
                <a:lnTo>
                  <a:pt x="335" y="411"/>
                </a:lnTo>
                <a:lnTo>
                  <a:pt x="337" y="411"/>
                </a:lnTo>
                <a:lnTo>
                  <a:pt x="337" y="408"/>
                </a:lnTo>
                <a:lnTo>
                  <a:pt x="340" y="405"/>
                </a:lnTo>
                <a:lnTo>
                  <a:pt x="340" y="405"/>
                </a:lnTo>
                <a:lnTo>
                  <a:pt x="343" y="403"/>
                </a:lnTo>
                <a:lnTo>
                  <a:pt x="343" y="403"/>
                </a:lnTo>
                <a:lnTo>
                  <a:pt x="343" y="400"/>
                </a:lnTo>
                <a:lnTo>
                  <a:pt x="340" y="400"/>
                </a:lnTo>
                <a:lnTo>
                  <a:pt x="335" y="400"/>
                </a:lnTo>
                <a:lnTo>
                  <a:pt x="335" y="400"/>
                </a:lnTo>
                <a:lnTo>
                  <a:pt x="337" y="397"/>
                </a:lnTo>
                <a:lnTo>
                  <a:pt x="340" y="397"/>
                </a:lnTo>
                <a:lnTo>
                  <a:pt x="343" y="397"/>
                </a:lnTo>
                <a:lnTo>
                  <a:pt x="343" y="397"/>
                </a:lnTo>
                <a:lnTo>
                  <a:pt x="343" y="400"/>
                </a:lnTo>
                <a:lnTo>
                  <a:pt x="343" y="400"/>
                </a:lnTo>
                <a:lnTo>
                  <a:pt x="346" y="400"/>
                </a:lnTo>
                <a:lnTo>
                  <a:pt x="346" y="400"/>
                </a:lnTo>
                <a:lnTo>
                  <a:pt x="346" y="397"/>
                </a:lnTo>
                <a:lnTo>
                  <a:pt x="348" y="397"/>
                </a:lnTo>
                <a:lnTo>
                  <a:pt x="348" y="397"/>
                </a:lnTo>
                <a:lnTo>
                  <a:pt x="348" y="395"/>
                </a:lnTo>
                <a:lnTo>
                  <a:pt x="346" y="392"/>
                </a:lnTo>
                <a:lnTo>
                  <a:pt x="346" y="392"/>
                </a:lnTo>
                <a:lnTo>
                  <a:pt x="337" y="387"/>
                </a:lnTo>
                <a:lnTo>
                  <a:pt x="335" y="387"/>
                </a:lnTo>
                <a:lnTo>
                  <a:pt x="335" y="387"/>
                </a:lnTo>
                <a:lnTo>
                  <a:pt x="335" y="384"/>
                </a:lnTo>
                <a:lnTo>
                  <a:pt x="335" y="381"/>
                </a:lnTo>
                <a:lnTo>
                  <a:pt x="335" y="378"/>
                </a:lnTo>
                <a:lnTo>
                  <a:pt x="337" y="378"/>
                </a:lnTo>
                <a:lnTo>
                  <a:pt x="337" y="376"/>
                </a:lnTo>
                <a:lnTo>
                  <a:pt x="340" y="376"/>
                </a:lnTo>
                <a:lnTo>
                  <a:pt x="340" y="378"/>
                </a:lnTo>
                <a:lnTo>
                  <a:pt x="340" y="384"/>
                </a:lnTo>
                <a:lnTo>
                  <a:pt x="340" y="384"/>
                </a:lnTo>
                <a:lnTo>
                  <a:pt x="343" y="387"/>
                </a:lnTo>
                <a:lnTo>
                  <a:pt x="343" y="387"/>
                </a:lnTo>
                <a:lnTo>
                  <a:pt x="346" y="384"/>
                </a:lnTo>
                <a:lnTo>
                  <a:pt x="348" y="384"/>
                </a:lnTo>
                <a:lnTo>
                  <a:pt x="348" y="381"/>
                </a:lnTo>
                <a:lnTo>
                  <a:pt x="351" y="384"/>
                </a:lnTo>
                <a:lnTo>
                  <a:pt x="351" y="384"/>
                </a:lnTo>
                <a:lnTo>
                  <a:pt x="351" y="387"/>
                </a:lnTo>
                <a:lnTo>
                  <a:pt x="348" y="387"/>
                </a:lnTo>
                <a:lnTo>
                  <a:pt x="348" y="389"/>
                </a:lnTo>
                <a:lnTo>
                  <a:pt x="348" y="389"/>
                </a:lnTo>
                <a:lnTo>
                  <a:pt x="354" y="389"/>
                </a:lnTo>
                <a:lnTo>
                  <a:pt x="354" y="389"/>
                </a:lnTo>
                <a:lnTo>
                  <a:pt x="354" y="392"/>
                </a:lnTo>
                <a:lnTo>
                  <a:pt x="354" y="392"/>
                </a:lnTo>
                <a:lnTo>
                  <a:pt x="354" y="392"/>
                </a:lnTo>
                <a:lnTo>
                  <a:pt x="356" y="395"/>
                </a:lnTo>
                <a:lnTo>
                  <a:pt x="356" y="395"/>
                </a:lnTo>
                <a:lnTo>
                  <a:pt x="359" y="395"/>
                </a:lnTo>
                <a:lnTo>
                  <a:pt x="359" y="395"/>
                </a:lnTo>
                <a:lnTo>
                  <a:pt x="362" y="395"/>
                </a:lnTo>
                <a:lnTo>
                  <a:pt x="364" y="392"/>
                </a:lnTo>
                <a:lnTo>
                  <a:pt x="364" y="392"/>
                </a:lnTo>
                <a:lnTo>
                  <a:pt x="364" y="387"/>
                </a:lnTo>
                <a:lnTo>
                  <a:pt x="364" y="387"/>
                </a:lnTo>
                <a:lnTo>
                  <a:pt x="364" y="381"/>
                </a:lnTo>
                <a:lnTo>
                  <a:pt x="364" y="381"/>
                </a:lnTo>
                <a:lnTo>
                  <a:pt x="364" y="378"/>
                </a:lnTo>
                <a:lnTo>
                  <a:pt x="364" y="376"/>
                </a:lnTo>
                <a:lnTo>
                  <a:pt x="367" y="376"/>
                </a:lnTo>
                <a:lnTo>
                  <a:pt x="370" y="373"/>
                </a:lnTo>
                <a:lnTo>
                  <a:pt x="370" y="373"/>
                </a:lnTo>
                <a:lnTo>
                  <a:pt x="370" y="370"/>
                </a:lnTo>
                <a:lnTo>
                  <a:pt x="367" y="370"/>
                </a:lnTo>
                <a:lnTo>
                  <a:pt x="364" y="368"/>
                </a:lnTo>
                <a:lnTo>
                  <a:pt x="367" y="365"/>
                </a:lnTo>
                <a:lnTo>
                  <a:pt x="370" y="368"/>
                </a:lnTo>
                <a:lnTo>
                  <a:pt x="372" y="370"/>
                </a:lnTo>
                <a:lnTo>
                  <a:pt x="372" y="368"/>
                </a:lnTo>
                <a:lnTo>
                  <a:pt x="372" y="365"/>
                </a:lnTo>
                <a:lnTo>
                  <a:pt x="372" y="362"/>
                </a:lnTo>
                <a:lnTo>
                  <a:pt x="375" y="360"/>
                </a:lnTo>
                <a:lnTo>
                  <a:pt x="375" y="357"/>
                </a:lnTo>
                <a:lnTo>
                  <a:pt x="375" y="354"/>
                </a:lnTo>
                <a:lnTo>
                  <a:pt x="372" y="352"/>
                </a:lnTo>
                <a:lnTo>
                  <a:pt x="372" y="349"/>
                </a:lnTo>
                <a:lnTo>
                  <a:pt x="370" y="346"/>
                </a:lnTo>
                <a:lnTo>
                  <a:pt x="367" y="344"/>
                </a:lnTo>
                <a:lnTo>
                  <a:pt x="367" y="344"/>
                </a:lnTo>
                <a:lnTo>
                  <a:pt x="367" y="344"/>
                </a:lnTo>
                <a:lnTo>
                  <a:pt x="364" y="341"/>
                </a:lnTo>
                <a:lnTo>
                  <a:pt x="367" y="341"/>
                </a:lnTo>
                <a:lnTo>
                  <a:pt x="367" y="341"/>
                </a:lnTo>
                <a:lnTo>
                  <a:pt x="370" y="341"/>
                </a:lnTo>
                <a:lnTo>
                  <a:pt x="370" y="341"/>
                </a:lnTo>
                <a:lnTo>
                  <a:pt x="375" y="349"/>
                </a:lnTo>
                <a:lnTo>
                  <a:pt x="378" y="352"/>
                </a:lnTo>
                <a:lnTo>
                  <a:pt x="380" y="352"/>
                </a:lnTo>
                <a:lnTo>
                  <a:pt x="380" y="352"/>
                </a:lnTo>
                <a:lnTo>
                  <a:pt x="383" y="354"/>
                </a:lnTo>
                <a:lnTo>
                  <a:pt x="383" y="357"/>
                </a:lnTo>
                <a:lnTo>
                  <a:pt x="383" y="357"/>
                </a:lnTo>
                <a:lnTo>
                  <a:pt x="386" y="354"/>
                </a:lnTo>
                <a:lnTo>
                  <a:pt x="388" y="354"/>
                </a:lnTo>
                <a:lnTo>
                  <a:pt x="388" y="360"/>
                </a:lnTo>
                <a:lnTo>
                  <a:pt x="388" y="360"/>
                </a:lnTo>
                <a:lnTo>
                  <a:pt x="388" y="362"/>
                </a:lnTo>
                <a:lnTo>
                  <a:pt x="388" y="362"/>
                </a:lnTo>
                <a:lnTo>
                  <a:pt x="388" y="365"/>
                </a:lnTo>
                <a:lnTo>
                  <a:pt x="388" y="365"/>
                </a:lnTo>
                <a:lnTo>
                  <a:pt x="386" y="368"/>
                </a:lnTo>
                <a:lnTo>
                  <a:pt x="386" y="365"/>
                </a:lnTo>
                <a:lnTo>
                  <a:pt x="383" y="365"/>
                </a:lnTo>
                <a:lnTo>
                  <a:pt x="383" y="362"/>
                </a:lnTo>
                <a:lnTo>
                  <a:pt x="380" y="365"/>
                </a:lnTo>
                <a:lnTo>
                  <a:pt x="380" y="365"/>
                </a:lnTo>
                <a:lnTo>
                  <a:pt x="380" y="368"/>
                </a:lnTo>
                <a:lnTo>
                  <a:pt x="383" y="368"/>
                </a:lnTo>
                <a:lnTo>
                  <a:pt x="383" y="370"/>
                </a:lnTo>
                <a:lnTo>
                  <a:pt x="386" y="368"/>
                </a:lnTo>
                <a:lnTo>
                  <a:pt x="391" y="368"/>
                </a:lnTo>
                <a:lnTo>
                  <a:pt x="394" y="365"/>
                </a:lnTo>
                <a:lnTo>
                  <a:pt x="396" y="365"/>
                </a:lnTo>
                <a:lnTo>
                  <a:pt x="396" y="362"/>
                </a:lnTo>
                <a:lnTo>
                  <a:pt x="394" y="357"/>
                </a:lnTo>
                <a:lnTo>
                  <a:pt x="391" y="352"/>
                </a:lnTo>
                <a:lnTo>
                  <a:pt x="391" y="349"/>
                </a:lnTo>
                <a:lnTo>
                  <a:pt x="394" y="349"/>
                </a:lnTo>
                <a:lnTo>
                  <a:pt x="394" y="346"/>
                </a:lnTo>
                <a:lnTo>
                  <a:pt x="399" y="346"/>
                </a:lnTo>
                <a:lnTo>
                  <a:pt x="402" y="346"/>
                </a:lnTo>
                <a:lnTo>
                  <a:pt x="402" y="346"/>
                </a:lnTo>
                <a:lnTo>
                  <a:pt x="402" y="346"/>
                </a:lnTo>
                <a:lnTo>
                  <a:pt x="404" y="349"/>
                </a:lnTo>
                <a:lnTo>
                  <a:pt x="404" y="349"/>
                </a:lnTo>
                <a:lnTo>
                  <a:pt x="404" y="349"/>
                </a:lnTo>
                <a:lnTo>
                  <a:pt x="404" y="349"/>
                </a:lnTo>
                <a:lnTo>
                  <a:pt x="407" y="349"/>
                </a:lnTo>
                <a:lnTo>
                  <a:pt x="407" y="352"/>
                </a:lnTo>
                <a:lnTo>
                  <a:pt x="407" y="352"/>
                </a:lnTo>
                <a:lnTo>
                  <a:pt x="410" y="352"/>
                </a:lnTo>
                <a:lnTo>
                  <a:pt x="410" y="352"/>
                </a:lnTo>
                <a:lnTo>
                  <a:pt x="410" y="354"/>
                </a:lnTo>
                <a:lnTo>
                  <a:pt x="415" y="352"/>
                </a:lnTo>
                <a:lnTo>
                  <a:pt x="415" y="352"/>
                </a:lnTo>
                <a:lnTo>
                  <a:pt x="415" y="352"/>
                </a:lnTo>
                <a:lnTo>
                  <a:pt x="418" y="354"/>
                </a:lnTo>
                <a:lnTo>
                  <a:pt x="418" y="354"/>
                </a:lnTo>
                <a:lnTo>
                  <a:pt x="426" y="354"/>
                </a:lnTo>
                <a:lnTo>
                  <a:pt x="426" y="354"/>
                </a:lnTo>
                <a:lnTo>
                  <a:pt x="426" y="354"/>
                </a:lnTo>
                <a:lnTo>
                  <a:pt x="426" y="357"/>
                </a:lnTo>
                <a:lnTo>
                  <a:pt x="426" y="360"/>
                </a:lnTo>
                <a:lnTo>
                  <a:pt x="429" y="360"/>
                </a:lnTo>
                <a:lnTo>
                  <a:pt x="429" y="360"/>
                </a:lnTo>
                <a:lnTo>
                  <a:pt x="429" y="360"/>
                </a:lnTo>
                <a:lnTo>
                  <a:pt x="429" y="360"/>
                </a:lnTo>
                <a:lnTo>
                  <a:pt x="426" y="360"/>
                </a:lnTo>
                <a:lnTo>
                  <a:pt x="429" y="362"/>
                </a:lnTo>
                <a:lnTo>
                  <a:pt x="429" y="365"/>
                </a:lnTo>
                <a:lnTo>
                  <a:pt x="431" y="368"/>
                </a:lnTo>
                <a:lnTo>
                  <a:pt x="434" y="368"/>
                </a:lnTo>
                <a:lnTo>
                  <a:pt x="431" y="368"/>
                </a:lnTo>
                <a:lnTo>
                  <a:pt x="431" y="368"/>
                </a:lnTo>
                <a:lnTo>
                  <a:pt x="429" y="370"/>
                </a:lnTo>
                <a:lnTo>
                  <a:pt x="429" y="370"/>
                </a:lnTo>
                <a:lnTo>
                  <a:pt x="426" y="370"/>
                </a:lnTo>
                <a:lnTo>
                  <a:pt x="426" y="370"/>
                </a:lnTo>
                <a:lnTo>
                  <a:pt x="426" y="370"/>
                </a:lnTo>
                <a:lnTo>
                  <a:pt x="426" y="370"/>
                </a:lnTo>
                <a:lnTo>
                  <a:pt x="426" y="370"/>
                </a:lnTo>
                <a:lnTo>
                  <a:pt x="421" y="370"/>
                </a:lnTo>
                <a:lnTo>
                  <a:pt x="418" y="368"/>
                </a:lnTo>
                <a:lnTo>
                  <a:pt x="415" y="365"/>
                </a:lnTo>
                <a:lnTo>
                  <a:pt x="415" y="362"/>
                </a:lnTo>
                <a:lnTo>
                  <a:pt x="415" y="362"/>
                </a:lnTo>
                <a:lnTo>
                  <a:pt x="415" y="360"/>
                </a:lnTo>
                <a:lnTo>
                  <a:pt x="415" y="357"/>
                </a:lnTo>
                <a:lnTo>
                  <a:pt x="413" y="357"/>
                </a:lnTo>
                <a:lnTo>
                  <a:pt x="413" y="357"/>
                </a:lnTo>
                <a:lnTo>
                  <a:pt x="410" y="357"/>
                </a:lnTo>
                <a:lnTo>
                  <a:pt x="410" y="360"/>
                </a:lnTo>
                <a:lnTo>
                  <a:pt x="410" y="360"/>
                </a:lnTo>
                <a:lnTo>
                  <a:pt x="410" y="360"/>
                </a:lnTo>
                <a:lnTo>
                  <a:pt x="410" y="362"/>
                </a:lnTo>
                <a:lnTo>
                  <a:pt x="410" y="362"/>
                </a:lnTo>
                <a:lnTo>
                  <a:pt x="410" y="362"/>
                </a:lnTo>
                <a:lnTo>
                  <a:pt x="410" y="362"/>
                </a:lnTo>
                <a:lnTo>
                  <a:pt x="410" y="362"/>
                </a:lnTo>
                <a:lnTo>
                  <a:pt x="410" y="362"/>
                </a:lnTo>
                <a:lnTo>
                  <a:pt x="404" y="365"/>
                </a:lnTo>
                <a:lnTo>
                  <a:pt x="404" y="365"/>
                </a:lnTo>
                <a:lnTo>
                  <a:pt x="404" y="368"/>
                </a:lnTo>
                <a:lnTo>
                  <a:pt x="404" y="368"/>
                </a:lnTo>
                <a:lnTo>
                  <a:pt x="404" y="370"/>
                </a:lnTo>
                <a:lnTo>
                  <a:pt x="407" y="373"/>
                </a:lnTo>
                <a:lnTo>
                  <a:pt x="407" y="373"/>
                </a:lnTo>
                <a:lnTo>
                  <a:pt x="418" y="376"/>
                </a:lnTo>
                <a:lnTo>
                  <a:pt x="415" y="376"/>
                </a:lnTo>
                <a:lnTo>
                  <a:pt x="413" y="378"/>
                </a:lnTo>
                <a:lnTo>
                  <a:pt x="413" y="378"/>
                </a:lnTo>
                <a:lnTo>
                  <a:pt x="413" y="381"/>
                </a:lnTo>
                <a:lnTo>
                  <a:pt x="421" y="387"/>
                </a:lnTo>
                <a:lnTo>
                  <a:pt x="423" y="392"/>
                </a:lnTo>
                <a:lnTo>
                  <a:pt x="423" y="389"/>
                </a:lnTo>
                <a:lnTo>
                  <a:pt x="426" y="387"/>
                </a:lnTo>
                <a:lnTo>
                  <a:pt x="426" y="387"/>
                </a:lnTo>
                <a:lnTo>
                  <a:pt x="431" y="387"/>
                </a:lnTo>
                <a:lnTo>
                  <a:pt x="429" y="384"/>
                </a:lnTo>
                <a:lnTo>
                  <a:pt x="429" y="384"/>
                </a:lnTo>
                <a:lnTo>
                  <a:pt x="429" y="381"/>
                </a:lnTo>
                <a:lnTo>
                  <a:pt x="431" y="378"/>
                </a:lnTo>
                <a:lnTo>
                  <a:pt x="431" y="378"/>
                </a:lnTo>
                <a:lnTo>
                  <a:pt x="431" y="378"/>
                </a:lnTo>
                <a:lnTo>
                  <a:pt x="431" y="381"/>
                </a:lnTo>
                <a:lnTo>
                  <a:pt x="434" y="384"/>
                </a:lnTo>
                <a:lnTo>
                  <a:pt x="434" y="384"/>
                </a:lnTo>
                <a:lnTo>
                  <a:pt x="439" y="389"/>
                </a:lnTo>
                <a:lnTo>
                  <a:pt x="442" y="389"/>
                </a:lnTo>
                <a:lnTo>
                  <a:pt x="445" y="389"/>
                </a:lnTo>
                <a:lnTo>
                  <a:pt x="445" y="389"/>
                </a:lnTo>
                <a:lnTo>
                  <a:pt x="442" y="387"/>
                </a:lnTo>
                <a:lnTo>
                  <a:pt x="442" y="387"/>
                </a:lnTo>
                <a:lnTo>
                  <a:pt x="442" y="384"/>
                </a:lnTo>
                <a:lnTo>
                  <a:pt x="442" y="384"/>
                </a:lnTo>
                <a:lnTo>
                  <a:pt x="445" y="384"/>
                </a:lnTo>
                <a:lnTo>
                  <a:pt x="445" y="384"/>
                </a:lnTo>
                <a:lnTo>
                  <a:pt x="445" y="381"/>
                </a:lnTo>
                <a:lnTo>
                  <a:pt x="445" y="381"/>
                </a:lnTo>
                <a:lnTo>
                  <a:pt x="442" y="378"/>
                </a:lnTo>
                <a:lnTo>
                  <a:pt x="439" y="378"/>
                </a:lnTo>
                <a:lnTo>
                  <a:pt x="442" y="378"/>
                </a:lnTo>
                <a:lnTo>
                  <a:pt x="442" y="378"/>
                </a:lnTo>
                <a:lnTo>
                  <a:pt x="442" y="376"/>
                </a:lnTo>
                <a:lnTo>
                  <a:pt x="442" y="376"/>
                </a:lnTo>
                <a:lnTo>
                  <a:pt x="439" y="373"/>
                </a:lnTo>
                <a:lnTo>
                  <a:pt x="439" y="370"/>
                </a:lnTo>
                <a:lnTo>
                  <a:pt x="439" y="365"/>
                </a:lnTo>
                <a:lnTo>
                  <a:pt x="442" y="362"/>
                </a:lnTo>
                <a:lnTo>
                  <a:pt x="442" y="362"/>
                </a:lnTo>
                <a:lnTo>
                  <a:pt x="445" y="362"/>
                </a:lnTo>
                <a:lnTo>
                  <a:pt x="445" y="362"/>
                </a:lnTo>
                <a:lnTo>
                  <a:pt x="445" y="360"/>
                </a:lnTo>
                <a:lnTo>
                  <a:pt x="445" y="360"/>
                </a:lnTo>
                <a:lnTo>
                  <a:pt x="445" y="357"/>
                </a:lnTo>
                <a:lnTo>
                  <a:pt x="445" y="357"/>
                </a:lnTo>
                <a:lnTo>
                  <a:pt x="442" y="357"/>
                </a:lnTo>
                <a:lnTo>
                  <a:pt x="445" y="357"/>
                </a:lnTo>
                <a:lnTo>
                  <a:pt x="445" y="357"/>
                </a:lnTo>
                <a:lnTo>
                  <a:pt x="445" y="354"/>
                </a:lnTo>
                <a:lnTo>
                  <a:pt x="445" y="354"/>
                </a:lnTo>
                <a:lnTo>
                  <a:pt x="445" y="354"/>
                </a:lnTo>
                <a:lnTo>
                  <a:pt x="442" y="354"/>
                </a:lnTo>
                <a:lnTo>
                  <a:pt x="442" y="352"/>
                </a:lnTo>
                <a:lnTo>
                  <a:pt x="442" y="352"/>
                </a:lnTo>
                <a:lnTo>
                  <a:pt x="442" y="352"/>
                </a:lnTo>
                <a:lnTo>
                  <a:pt x="442" y="352"/>
                </a:lnTo>
                <a:lnTo>
                  <a:pt x="442" y="352"/>
                </a:lnTo>
                <a:lnTo>
                  <a:pt x="439" y="352"/>
                </a:lnTo>
                <a:lnTo>
                  <a:pt x="439" y="352"/>
                </a:lnTo>
                <a:lnTo>
                  <a:pt x="437" y="352"/>
                </a:lnTo>
                <a:lnTo>
                  <a:pt x="437" y="349"/>
                </a:lnTo>
                <a:lnTo>
                  <a:pt x="437" y="346"/>
                </a:lnTo>
                <a:lnTo>
                  <a:pt x="434" y="349"/>
                </a:lnTo>
                <a:lnTo>
                  <a:pt x="431" y="352"/>
                </a:lnTo>
                <a:lnTo>
                  <a:pt x="434" y="352"/>
                </a:lnTo>
                <a:lnTo>
                  <a:pt x="434" y="352"/>
                </a:lnTo>
                <a:lnTo>
                  <a:pt x="434" y="354"/>
                </a:lnTo>
                <a:lnTo>
                  <a:pt x="431" y="354"/>
                </a:lnTo>
                <a:lnTo>
                  <a:pt x="429" y="352"/>
                </a:lnTo>
                <a:lnTo>
                  <a:pt x="429" y="352"/>
                </a:lnTo>
                <a:lnTo>
                  <a:pt x="429" y="349"/>
                </a:lnTo>
                <a:lnTo>
                  <a:pt x="429" y="349"/>
                </a:lnTo>
                <a:lnTo>
                  <a:pt x="431" y="346"/>
                </a:lnTo>
                <a:lnTo>
                  <a:pt x="431" y="346"/>
                </a:lnTo>
                <a:lnTo>
                  <a:pt x="431" y="346"/>
                </a:lnTo>
                <a:lnTo>
                  <a:pt x="431" y="346"/>
                </a:lnTo>
                <a:lnTo>
                  <a:pt x="431" y="346"/>
                </a:lnTo>
                <a:lnTo>
                  <a:pt x="431" y="344"/>
                </a:lnTo>
                <a:lnTo>
                  <a:pt x="431" y="341"/>
                </a:lnTo>
                <a:lnTo>
                  <a:pt x="431" y="338"/>
                </a:lnTo>
                <a:lnTo>
                  <a:pt x="434" y="338"/>
                </a:lnTo>
                <a:lnTo>
                  <a:pt x="437" y="338"/>
                </a:lnTo>
                <a:lnTo>
                  <a:pt x="437" y="336"/>
                </a:lnTo>
                <a:lnTo>
                  <a:pt x="439" y="336"/>
                </a:lnTo>
                <a:lnTo>
                  <a:pt x="439" y="333"/>
                </a:lnTo>
                <a:lnTo>
                  <a:pt x="439" y="333"/>
                </a:lnTo>
                <a:lnTo>
                  <a:pt x="439" y="330"/>
                </a:lnTo>
                <a:lnTo>
                  <a:pt x="439" y="327"/>
                </a:lnTo>
                <a:lnTo>
                  <a:pt x="439" y="327"/>
                </a:lnTo>
                <a:lnTo>
                  <a:pt x="439" y="327"/>
                </a:lnTo>
                <a:lnTo>
                  <a:pt x="439" y="327"/>
                </a:lnTo>
                <a:lnTo>
                  <a:pt x="439" y="325"/>
                </a:lnTo>
                <a:lnTo>
                  <a:pt x="439" y="325"/>
                </a:lnTo>
                <a:lnTo>
                  <a:pt x="439" y="322"/>
                </a:lnTo>
                <a:lnTo>
                  <a:pt x="437" y="322"/>
                </a:lnTo>
                <a:lnTo>
                  <a:pt x="431" y="317"/>
                </a:lnTo>
                <a:lnTo>
                  <a:pt x="434" y="317"/>
                </a:lnTo>
                <a:lnTo>
                  <a:pt x="434" y="314"/>
                </a:lnTo>
                <a:lnTo>
                  <a:pt x="434" y="314"/>
                </a:lnTo>
                <a:lnTo>
                  <a:pt x="434" y="314"/>
                </a:lnTo>
                <a:lnTo>
                  <a:pt x="437" y="314"/>
                </a:lnTo>
                <a:lnTo>
                  <a:pt x="439" y="317"/>
                </a:lnTo>
                <a:lnTo>
                  <a:pt x="439" y="317"/>
                </a:lnTo>
                <a:lnTo>
                  <a:pt x="439" y="317"/>
                </a:lnTo>
                <a:lnTo>
                  <a:pt x="442" y="314"/>
                </a:lnTo>
                <a:lnTo>
                  <a:pt x="445" y="314"/>
                </a:lnTo>
                <a:lnTo>
                  <a:pt x="445" y="311"/>
                </a:lnTo>
                <a:lnTo>
                  <a:pt x="445" y="309"/>
                </a:lnTo>
                <a:lnTo>
                  <a:pt x="445" y="306"/>
                </a:lnTo>
                <a:lnTo>
                  <a:pt x="445" y="301"/>
                </a:lnTo>
                <a:lnTo>
                  <a:pt x="445" y="298"/>
                </a:lnTo>
                <a:lnTo>
                  <a:pt x="447" y="295"/>
                </a:lnTo>
                <a:lnTo>
                  <a:pt x="447" y="293"/>
                </a:lnTo>
                <a:lnTo>
                  <a:pt x="447" y="293"/>
                </a:lnTo>
                <a:lnTo>
                  <a:pt x="445" y="290"/>
                </a:lnTo>
                <a:lnTo>
                  <a:pt x="445" y="293"/>
                </a:lnTo>
                <a:lnTo>
                  <a:pt x="442" y="293"/>
                </a:lnTo>
                <a:lnTo>
                  <a:pt x="439" y="295"/>
                </a:lnTo>
                <a:lnTo>
                  <a:pt x="442" y="293"/>
                </a:lnTo>
                <a:lnTo>
                  <a:pt x="445" y="287"/>
                </a:lnTo>
                <a:lnTo>
                  <a:pt x="447" y="287"/>
                </a:lnTo>
                <a:lnTo>
                  <a:pt x="445" y="285"/>
                </a:lnTo>
                <a:lnTo>
                  <a:pt x="447" y="285"/>
                </a:lnTo>
                <a:lnTo>
                  <a:pt x="447" y="285"/>
                </a:lnTo>
                <a:lnTo>
                  <a:pt x="447" y="282"/>
                </a:lnTo>
                <a:lnTo>
                  <a:pt x="447" y="282"/>
                </a:lnTo>
                <a:lnTo>
                  <a:pt x="453" y="279"/>
                </a:lnTo>
                <a:lnTo>
                  <a:pt x="453" y="277"/>
                </a:lnTo>
                <a:lnTo>
                  <a:pt x="453" y="274"/>
                </a:lnTo>
                <a:lnTo>
                  <a:pt x="453" y="271"/>
                </a:lnTo>
                <a:lnTo>
                  <a:pt x="455" y="268"/>
                </a:lnTo>
                <a:lnTo>
                  <a:pt x="458" y="268"/>
                </a:lnTo>
                <a:lnTo>
                  <a:pt x="466" y="268"/>
                </a:lnTo>
                <a:lnTo>
                  <a:pt x="461" y="266"/>
                </a:lnTo>
                <a:lnTo>
                  <a:pt x="461" y="266"/>
                </a:lnTo>
                <a:lnTo>
                  <a:pt x="461" y="266"/>
                </a:lnTo>
                <a:lnTo>
                  <a:pt x="458" y="266"/>
                </a:lnTo>
                <a:lnTo>
                  <a:pt x="458" y="266"/>
                </a:lnTo>
                <a:lnTo>
                  <a:pt x="458" y="263"/>
                </a:lnTo>
                <a:lnTo>
                  <a:pt x="458" y="263"/>
                </a:lnTo>
                <a:lnTo>
                  <a:pt x="461" y="263"/>
                </a:lnTo>
                <a:lnTo>
                  <a:pt x="461" y="263"/>
                </a:lnTo>
                <a:lnTo>
                  <a:pt x="461" y="260"/>
                </a:lnTo>
                <a:lnTo>
                  <a:pt x="461" y="260"/>
                </a:lnTo>
                <a:lnTo>
                  <a:pt x="461" y="258"/>
                </a:lnTo>
                <a:lnTo>
                  <a:pt x="461" y="258"/>
                </a:lnTo>
                <a:lnTo>
                  <a:pt x="463" y="258"/>
                </a:lnTo>
                <a:lnTo>
                  <a:pt x="463" y="258"/>
                </a:lnTo>
                <a:lnTo>
                  <a:pt x="466" y="258"/>
                </a:lnTo>
                <a:lnTo>
                  <a:pt x="466" y="255"/>
                </a:lnTo>
                <a:lnTo>
                  <a:pt x="463" y="252"/>
                </a:lnTo>
                <a:lnTo>
                  <a:pt x="463" y="252"/>
                </a:lnTo>
                <a:lnTo>
                  <a:pt x="466" y="252"/>
                </a:lnTo>
                <a:lnTo>
                  <a:pt x="466" y="252"/>
                </a:lnTo>
                <a:lnTo>
                  <a:pt x="466" y="255"/>
                </a:lnTo>
                <a:lnTo>
                  <a:pt x="466" y="255"/>
                </a:lnTo>
                <a:lnTo>
                  <a:pt x="469" y="258"/>
                </a:lnTo>
                <a:lnTo>
                  <a:pt x="469" y="258"/>
                </a:lnTo>
                <a:lnTo>
                  <a:pt x="469" y="260"/>
                </a:lnTo>
                <a:lnTo>
                  <a:pt x="469" y="260"/>
                </a:lnTo>
                <a:lnTo>
                  <a:pt x="466" y="260"/>
                </a:lnTo>
                <a:lnTo>
                  <a:pt x="463" y="263"/>
                </a:lnTo>
                <a:lnTo>
                  <a:pt x="461" y="263"/>
                </a:lnTo>
                <a:lnTo>
                  <a:pt x="469" y="266"/>
                </a:lnTo>
                <a:lnTo>
                  <a:pt x="471" y="266"/>
                </a:lnTo>
                <a:lnTo>
                  <a:pt x="474" y="271"/>
                </a:lnTo>
                <a:lnTo>
                  <a:pt x="474" y="271"/>
                </a:lnTo>
                <a:lnTo>
                  <a:pt x="480" y="271"/>
                </a:lnTo>
                <a:lnTo>
                  <a:pt x="477" y="271"/>
                </a:lnTo>
                <a:lnTo>
                  <a:pt x="477" y="274"/>
                </a:lnTo>
                <a:lnTo>
                  <a:pt x="474" y="274"/>
                </a:lnTo>
                <a:lnTo>
                  <a:pt x="474" y="274"/>
                </a:lnTo>
                <a:lnTo>
                  <a:pt x="474" y="277"/>
                </a:lnTo>
                <a:lnTo>
                  <a:pt x="477" y="277"/>
                </a:lnTo>
                <a:lnTo>
                  <a:pt x="477" y="277"/>
                </a:lnTo>
                <a:lnTo>
                  <a:pt x="477" y="279"/>
                </a:lnTo>
                <a:lnTo>
                  <a:pt x="477" y="279"/>
                </a:lnTo>
                <a:lnTo>
                  <a:pt x="474" y="282"/>
                </a:lnTo>
                <a:lnTo>
                  <a:pt x="474" y="282"/>
                </a:lnTo>
                <a:lnTo>
                  <a:pt x="474" y="282"/>
                </a:lnTo>
                <a:lnTo>
                  <a:pt x="471" y="282"/>
                </a:lnTo>
                <a:lnTo>
                  <a:pt x="471" y="285"/>
                </a:lnTo>
                <a:lnTo>
                  <a:pt x="471" y="285"/>
                </a:lnTo>
                <a:lnTo>
                  <a:pt x="477" y="285"/>
                </a:lnTo>
                <a:lnTo>
                  <a:pt x="477" y="287"/>
                </a:lnTo>
                <a:lnTo>
                  <a:pt x="477" y="287"/>
                </a:lnTo>
                <a:lnTo>
                  <a:pt x="480" y="287"/>
                </a:lnTo>
                <a:lnTo>
                  <a:pt x="480" y="287"/>
                </a:lnTo>
                <a:lnTo>
                  <a:pt x="480" y="285"/>
                </a:lnTo>
                <a:lnTo>
                  <a:pt x="482" y="285"/>
                </a:lnTo>
                <a:lnTo>
                  <a:pt x="482" y="285"/>
                </a:lnTo>
                <a:lnTo>
                  <a:pt x="482" y="279"/>
                </a:lnTo>
                <a:lnTo>
                  <a:pt x="482" y="277"/>
                </a:lnTo>
                <a:lnTo>
                  <a:pt x="477" y="277"/>
                </a:lnTo>
                <a:close/>
                <a:moveTo>
                  <a:pt x="230" y="333"/>
                </a:moveTo>
                <a:lnTo>
                  <a:pt x="230" y="333"/>
                </a:lnTo>
                <a:lnTo>
                  <a:pt x="233" y="333"/>
                </a:lnTo>
                <a:lnTo>
                  <a:pt x="233" y="330"/>
                </a:lnTo>
                <a:lnTo>
                  <a:pt x="233" y="330"/>
                </a:lnTo>
                <a:lnTo>
                  <a:pt x="233" y="330"/>
                </a:lnTo>
                <a:lnTo>
                  <a:pt x="233" y="327"/>
                </a:lnTo>
                <a:lnTo>
                  <a:pt x="233" y="327"/>
                </a:lnTo>
                <a:lnTo>
                  <a:pt x="233" y="325"/>
                </a:lnTo>
                <a:lnTo>
                  <a:pt x="233" y="325"/>
                </a:lnTo>
                <a:lnTo>
                  <a:pt x="233" y="325"/>
                </a:lnTo>
                <a:lnTo>
                  <a:pt x="236" y="322"/>
                </a:lnTo>
                <a:lnTo>
                  <a:pt x="236" y="325"/>
                </a:lnTo>
                <a:lnTo>
                  <a:pt x="236" y="325"/>
                </a:lnTo>
                <a:lnTo>
                  <a:pt x="236" y="330"/>
                </a:lnTo>
                <a:lnTo>
                  <a:pt x="238" y="330"/>
                </a:lnTo>
                <a:lnTo>
                  <a:pt x="238" y="330"/>
                </a:lnTo>
                <a:lnTo>
                  <a:pt x="238" y="330"/>
                </a:lnTo>
                <a:lnTo>
                  <a:pt x="238" y="330"/>
                </a:lnTo>
                <a:lnTo>
                  <a:pt x="238" y="327"/>
                </a:lnTo>
                <a:lnTo>
                  <a:pt x="241" y="325"/>
                </a:lnTo>
                <a:lnTo>
                  <a:pt x="241" y="322"/>
                </a:lnTo>
                <a:lnTo>
                  <a:pt x="241" y="319"/>
                </a:lnTo>
                <a:lnTo>
                  <a:pt x="244" y="322"/>
                </a:lnTo>
                <a:lnTo>
                  <a:pt x="244" y="322"/>
                </a:lnTo>
                <a:lnTo>
                  <a:pt x="244" y="325"/>
                </a:lnTo>
                <a:lnTo>
                  <a:pt x="244" y="327"/>
                </a:lnTo>
                <a:lnTo>
                  <a:pt x="246" y="327"/>
                </a:lnTo>
                <a:lnTo>
                  <a:pt x="249" y="327"/>
                </a:lnTo>
                <a:lnTo>
                  <a:pt x="249" y="327"/>
                </a:lnTo>
                <a:lnTo>
                  <a:pt x="249" y="325"/>
                </a:lnTo>
                <a:lnTo>
                  <a:pt x="249" y="322"/>
                </a:lnTo>
                <a:lnTo>
                  <a:pt x="252" y="319"/>
                </a:lnTo>
                <a:lnTo>
                  <a:pt x="254" y="322"/>
                </a:lnTo>
                <a:lnTo>
                  <a:pt x="257" y="325"/>
                </a:lnTo>
                <a:lnTo>
                  <a:pt x="257" y="325"/>
                </a:lnTo>
                <a:lnTo>
                  <a:pt x="260" y="325"/>
                </a:lnTo>
                <a:lnTo>
                  <a:pt x="260" y="325"/>
                </a:lnTo>
                <a:lnTo>
                  <a:pt x="260" y="327"/>
                </a:lnTo>
                <a:lnTo>
                  <a:pt x="260" y="327"/>
                </a:lnTo>
                <a:lnTo>
                  <a:pt x="257" y="327"/>
                </a:lnTo>
                <a:lnTo>
                  <a:pt x="257" y="327"/>
                </a:lnTo>
                <a:lnTo>
                  <a:pt x="257" y="330"/>
                </a:lnTo>
                <a:lnTo>
                  <a:pt x="260" y="330"/>
                </a:lnTo>
                <a:lnTo>
                  <a:pt x="262" y="333"/>
                </a:lnTo>
                <a:lnTo>
                  <a:pt x="262" y="333"/>
                </a:lnTo>
                <a:lnTo>
                  <a:pt x="265" y="336"/>
                </a:lnTo>
                <a:lnTo>
                  <a:pt x="265" y="336"/>
                </a:lnTo>
                <a:lnTo>
                  <a:pt x="265" y="336"/>
                </a:lnTo>
                <a:lnTo>
                  <a:pt x="262" y="336"/>
                </a:lnTo>
                <a:lnTo>
                  <a:pt x="262" y="338"/>
                </a:lnTo>
                <a:lnTo>
                  <a:pt x="265" y="338"/>
                </a:lnTo>
                <a:lnTo>
                  <a:pt x="265" y="338"/>
                </a:lnTo>
                <a:lnTo>
                  <a:pt x="268" y="344"/>
                </a:lnTo>
                <a:lnTo>
                  <a:pt x="268" y="344"/>
                </a:lnTo>
                <a:lnTo>
                  <a:pt x="268" y="346"/>
                </a:lnTo>
                <a:lnTo>
                  <a:pt x="265" y="344"/>
                </a:lnTo>
                <a:lnTo>
                  <a:pt x="262" y="341"/>
                </a:lnTo>
                <a:lnTo>
                  <a:pt x="260" y="341"/>
                </a:lnTo>
                <a:lnTo>
                  <a:pt x="260" y="344"/>
                </a:lnTo>
                <a:lnTo>
                  <a:pt x="260" y="344"/>
                </a:lnTo>
                <a:lnTo>
                  <a:pt x="257" y="346"/>
                </a:lnTo>
                <a:lnTo>
                  <a:pt x="257" y="346"/>
                </a:lnTo>
                <a:lnTo>
                  <a:pt x="257" y="349"/>
                </a:lnTo>
                <a:lnTo>
                  <a:pt x="257" y="349"/>
                </a:lnTo>
                <a:lnTo>
                  <a:pt x="257" y="349"/>
                </a:lnTo>
                <a:lnTo>
                  <a:pt x="254" y="349"/>
                </a:lnTo>
                <a:lnTo>
                  <a:pt x="254" y="346"/>
                </a:lnTo>
                <a:lnTo>
                  <a:pt x="254" y="346"/>
                </a:lnTo>
                <a:lnTo>
                  <a:pt x="254" y="346"/>
                </a:lnTo>
                <a:lnTo>
                  <a:pt x="252" y="346"/>
                </a:lnTo>
                <a:lnTo>
                  <a:pt x="252" y="344"/>
                </a:lnTo>
                <a:lnTo>
                  <a:pt x="249" y="341"/>
                </a:lnTo>
                <a:lnTo>
                  <a:pt x="249" y="341"/>
                </a:lnTo>
                <a:lnTo>
                  <a:pt x="249" y="338"/>
                </a:lnTo>
                <a:lnTo>
                  <a:pt x="246" y="336"/>
                </a:lnTo>
                <a:lnTo>
                  <a:pt x="244" y="336"/>
                </a:lnTo>
                <a:lnTo>
                  <a:pt x="241" y="336"/>
                </a:lnTo>
                <a:lnTo>
                  <a:pt x="241" y="336"/>
                </a:lnTo>
                <a:lnTo>
                  <a:pt x="241" y="336"/>
                </a:lnTo>
                <a:lnTo>
                  <a:pt x="241" y="336"/>
                </a:lnTo>
                <a:lnTo>
                  <a:pt x="238" y="336"/>
                </a:lnTo>
                <a:lnTo>
                  <a:pt x="238" y="336"/>
                </a:lnTo>
                <a:lnTo>
                  <a:pt x="236" y="336"/>
                </a:lnTo>
                <a:lnTo>
                  <a:pt x="236" y="336"/>
                </a:lnTo>
                <a:lnTo>
                  <a:pt x="233" y="336"/>
                </a:lnTo>
                <a:lnTo>
                  <a:pt x="233" y="336"/>
                </a:lnTo>
                <a:lnTo>
                  <a:pt x="230" y="336"/>
                </a:lnTo>
                <a:lnTo>
                  <a:pt x="228" y="336"/>
                </a:lnTo>
                <a:lnTo>
                  <a:pt x="228" y="336"/>
                </a:lnTo>
                <a:lnTo>
                  <a:pt x="230" y="333"/>
                </a:lnTo>
                <a:close/>
                <a:moveTo>
                  <a:pt x="270" y="368"/>
                </a:moveTo>
                <a:lnTo>
                  <a:pt x="265" y="368"/>
                </a:lnTo>
                <a:lnTo>
                  <a:pt x="260" y="368"/>
                </a:lnTo>
                <a:lnTo>
                  <a:pt x="260" y="368"/>
                </a:lnTo>
                <a:lnTo>
                  <a:pt x="254" y="368"/>
                </a:lnTo>
                <a:lnTo>
                  <a:pt x="254" y="368"/>
                </a:lnTo>
                <a:lnTo>
                  <a:pt x="254" y="365"/>
                </a:lnTo>
                <a:lnTo>
                  <a:pt x="254" y="362"/>
                </a:lnTo>
                <a:lnTo>
                  <a:pt x="254" y="362"/>
                </a:lnTo>
                <a:lnTo>
                  <a:pt x="252" y="360"/>
                </a:lnTo>
                <a:lnTo>
                  <a:pt x="252" y="360"/>
                </a:lnTo>
                <a:lnTo>
                  <a:pt x="246" y="360"/>
                </a:lnTo>
                <a:lnTo>
                  <a:pt x="244" y="360"/>
                </a:lnTo>
                <a:lnTo>
                  <a:pt x="244" y="360"/>
                </a:lnTo>
                <a:lnTo>
                  <a:pt x="244" y="360"/>
                </a:lnTo>
                <a:lnTo>
                  <a:pt x="244" y="357"/>
                </a:lnTo>
                <a:lnTo>
                  <a:pt x="241" y="357"/>
                </a:lnTo>
                <a:lnTo>
                  <a:pt x="238" y="357"/>
                </a:lnTo>
                <a:lnTo>
                  <a:pt x="238" y="354"/>
                </a:lnTo>
                <a:lnTo>
                  <a:pt x="236" y="352"/>
                </a:lnTo>
                <a:lnTo>
                  <a:pt x="236" y="349"/>
                </a:lnTo>
                <a:lnTo>
                  <a:pt x="233" y="346"/>
                </a:lnTo>
                <a:lnTo>
                  <a:pt x="233" y="346"/>
                </a:lnTo>
                <a:lnTo>
                  <a:pt x="230" y="346"/>
                </a:lnTo>
                <a:lnTo>
                  <a:pt x="230" y="346"/>
                </a:lnTo>
                <a:lnTo>
                  <a:pt x="230" y="344"/>
                </a:lnTo>
                <a:lnTo>
                  <a:pt x="230" y="344"/>
                </a:lnTo>
                <a:lnTo>
                  <a:pt x="228" y="341"/>
                </a:lnTo>
                <a:lnTo>
                  <a:pt x="230" y="338"/>
                </a:lnTo>
                <a:lnTo>
                  <a:pt x="230" y="341"/>
                </a:lnTo>
                <a:lnTo>
                  <a:pt x="233" y="341"/>
                </a:lnTo>
                <a:lnTo>
                  <a:pt x="233" y="341"/>
                </a:lnTo>
                <a:lnTo>
                  <a:pt x="236" y="341"/>
                </a:lnTo>
                <a:lnTo>
                  <a:pt x="236" y="341"/>
                </a:lnTo>
                <a:lnTo>
                  <a:pt x="236" y="341"/>
                </a:lnTo>
                <a:lnTo>
                  <a:pt x="238" y="341"/>
                </a:lnTo>
                <a:lnTo>
                  <a:pt x="238" y="341"/>
                </a:lnTo>
                <a:lnTo>
                  <a:pt x="238" y="341"/>
                </a:lnTo>
                <a:lnTo>
                  <a:pt x="241" y="344"/>
                </a:lnTo>
                <a:lnTo>
                  <a:pt x="244" y="346"/>
                </a:lnTo>
                <a:lnTo>
                  <a:pt x="246" y="346"/>
                </a:lnTo>
                <a:lnTo>
                  <a:pt x="249" y="346"/>
                </a:lnTo>
                <a:lnTo>
                  <a:pt x="249" y="346"/>
                </a:lnTo>
                <a:lnTo>
                  <a:pt x="252" y="349"/>
                </a:lnTo>
                <a:lnTo>
                  <a:pt x="246" y="349"/>
                </a:lnTo>
                <a:lnTo>
                  <a:pt x="246" y="349"/>
                </a:lnTo>
                <a:lnTo>
                  <a:pt x="244" y="349"/>
                </a:lnTo>
                <a:lnTo>
                  <a:pt x="244" y="349"/>
                </a:lnTo>
                <a:lnTo>
                  <a:pt x="241" y="349"/>
                </a:lnTo>
                <a:lnTo>
                  <a:pt x="241" y="352"/>
                </a:lnTo>
                <a:lnTo>
                  <a:pt x="244" y="352"/>
                </a:lnTo>
                <a:lnTo>
                  <a:pt x="249" y="354"/>
                </a:lnTo>
                <a:lnTo>
                  <a:pt x="252" y="357"/>
                </a:lnTo>
                <a:lnTo>
                  <a:pt x="254" y="357"/>
                </a:lnTo>
                <a:lnTo>
                  <a:pt x="254" y="357"/>
                </a:lnTo>
                <a:lnTo>
                  <a:pt x="260" y="352"/>
                </a:lnTo>
                <a:lnTo>
                  <a:pt x="262" y="352"/>
                </a:lnTo>
                <a:lnTo>
                  <a:pt x="262" y="354"/>
                </a:lnTo>
                <a:lnTo>
                  <a:pt x="262" y="354"/>
                </a:lnTo>
                <a:lnTo>
                  <a:pt x="265" y="357"/>
                </a:lnTo>
                <a:lnTo>
                  <a:pt x="265" y="360"/>
                </a:lnTo>
                <a:lnTo>
                  <a:pt x="268" y="360"/>
                </a:lnTo>
                <a:lnTo>
                  <a:pt x="270" y="360"/>
                </a:lnTo>
                <a:lnTo>
                  <a:pt x="268" y="362"/>
                </a:lnTo>
                <a:lnTo>
                  <a:pt x="268" y="362"/>
                </a:lnTo>
                <a:lnTo>
                  <a:pt x="268" y="362"/>
                </a:lnTo>
                <a:lnTo>
                  <a:pt x="270" y="362"/>
                </a:lnTo>
                <a:lnTo>
                  <a:pt x="270" y="365"/>
                </a:lnTo>
                <a:lnTo>
                  <a:pt x="273" y="365"/>
                </a:lnTo>
                <a:lnTo>
                  <a:pt x="273" y="365"/>
                </a:lnTo>
                <a:lnTo>
                  <a:pt x="270" y="368"/>
                </a:lnTo>
                <a:close/>
                <a:moveTo>
                  <a:pt x="375" y="403"/>
                </a:moveTo>
                <a:lnTo>
                  <a:pt x="372" y="400"/>
                </a:lnTo>
                <a:lnTo>
                  <a:pt x="372" y="400"/>
                </a:lnTo>
                <a:lnTo>
                  <a:pt x="370" y="392"/>
                </a:lnTo>
                <a:lnTo>
                  <a:pt x="370" y="392"/>
                </a:lnTo>
                <a:lnTo>
                  <a:pt x="367" y="395"/>
                </a:lnTo>
                <a:lnTo>
                  <a:pt x="364" y="397"/>
                </a:lnTo>
                <a:lnTo>
                  <a:pt x="362" y="400"/>
                </a:lnTo>
                <a:lnTo>
                  <a:pt x="362" y="400"/>
                </a:lnTo>
                <a:lnTo>
                  <a:pt x="362" y="400"/>
                </a:lnTo>
                <a:lnTo>
                  <a:pt x="364" y="403"/>
                </a:lnTo>
                <a:lnTo>
                  <a:pt x="364" y="403"/>
                </a:lnTo>
                <a:lnTo>
                  <a:pt x="362" y="405"/>
                </a:lnTo>
                <a:lnTo>
                  <a:pt x="362" y="405"/>
                </a:lnTo>
                <a:lnTo>
                  <a:pt x="362" y="405"/>
                </a:lnTo>
                <a:lnTo>
                  <a:pt x="359" y="403"/>
                </a:lnTo>
                <a:lnTo>
                  <a:pt x="359" y="403"/>
                </a:lnTo>
                <a:lnTo>
                  <a:pt x="356" y="403"/>
                </a:lnTo>
                <a:lnTo>
                  <a:pt x="356" y="403"/>
                </a:lnTo>
                <a:lnTo>
                  <a:pt x="356" y="403"/>
                </a:lnTo>
                <a:lnTo>
                  <a:pt x="356" y="405"/>
                </a:lnTo>
                <a:lnTo>
                  <a:pt x="356" y="408"/>
                </a:lnTo>
                <a:lnTo>
                  <a:pt x="356" y="411"/>
                </a:lnTo>
                <a:lnTo>
                  <a:pt x="356" y="413"/>
                </a:lnTo>
                <a:lnTo>
                  <a:pt x="356" y="413"/>
                </a:lnTo>
                <a:lnTo>
                  <a:pt x="354" y="413"/>
                </a:lnTo>
                <a:lnTo>
                  <a:pt x="348" y="408"/>
                </a:lnTo>
                <a:lnTo>
                  <a:pt x="348" y="408"/>
                </a:lnTo>
                <a:lnTo>
                  <a:pt x="346" y="411"/>
                </a:lnTo>
                <a:lnTo>
                  <a:pt x="348" y="411"/>
                </a:lnTo>
                <a:lnTo>
                  <a:pt x="348" y="413"/>
                </a:lnTo>
                <a:lnTo>
                  <a:pt x="351" y="413"/>
                </a:lnTo>
                <a:lnTo>
                  <a:pt x="351" y="416"/>
                </a:lnTo>
                <a:lnTo>
                  <a:pt x="354" y="419"/>
                </a:lnTo>
                <a:lnTo>
                  <a:pt x="356" y="419"/>
                </a:lnTo>
                <a:lnTo>
                  <a:pt x="356" y="416"/>
                </a:lnTo>
                <a:lnTo>
                  <a:pt x="359" y="413"/>
                </a:lnTo>
                <a:lnTo>
                  <a:pt x="359" y="411"/>
                </a:lnTo>
                <a:lnTo>
                  <a:pt x="362" y="408"/>
                </a:lnTo>
                <a:lnTo>
                  <a:pt x="364" y="411"/>
                </a:lnTo>
                <a:lnTo>
                  <a:pt x="362" y="411"/>
                </a:lnTo>
                <a:lnTo>
                  <a:pt x="362" y="411"/>
                </a:lnTo>
                <a:lnTo>
                  <a:pt x="362" y="411"/>
                </a:lnTo>
                <a:lnTo>
                  <a:pt x="362" y="411"/>
                </a:lnTo>
                <a:lnTo>
                  <a:pt x="362" y="413"/>
                </a:lnTo>
                <a:lnTo>
                  <a:pt x="364" y="413"/>
                </a:lnTo>
                <a:lnTo>
                  <a:pt x="364" y="413"/>
                </a:lnTo>
                <a:lnTo>
                  <a:pt x="364" y="416"/>
                </a:lnTo>
                <a:lnTo>
                  <a:pt x="362" y="416"/>
                </a:lnTo>
                <a:lnTo>
                  <a:pt x="364" y="416"/>
                </a:lnTo>
                <a:lnTo>
                  <a:pt x="364" y="416"/>
                </a:lnTo>
                <a:lnTo>
                  <a:pt x="364" y="416"/>
                </a:lnTo>
                <a:lnTo>
                  <a:pt x="364" y="416"/>
                </a:lnTo>
                <a:lnTo>
                  <a:pt x="367" y="416"/>
                </a:lnTo>
                <a:lnTo>
                  <a:pt x="367" y="419"/>
                </a:lnTo>
                <a:lnTo>
                  <a:pt x="370" y="419"/>
                </a:lnTo>
                <a:lnTo>
                  <a:pt x="372" y="419"/>
                </a:lnTo>
                <a:lnTo>
                  <a:pt x="372" y="416"/>
                </a:lnTo>
                <a:lnTo>
                  <a:pt x="372" y="413"/>
                </a:lnTo>
                <a:lnTo>
                  <a:pt x="375" y="411"/>
                </a:lnTo>
                <a:lnTo>
                  <a:pt x="375" y="411"/>
                </a:lnTo>
                <a:lnTo>
                  <a:pt x="375" y="408"/>
                </a:lnTo>
                <a:lnTo>
                  <a:pt x="375" y="408"/>
                </a:lnTo>
                <a:lnTo>
                  <a:pt x="378" y="408"/>
                </a:lnTo>
                <a:lnTo>
                  <a:pt x="378" y="405"/>
                </a:lnTo>
                <a:lnTo>
                  <a:pt x="378" y="405"/>
                </a:lnTo>
                <a:lnTo>
                  <a:pt x="375" y="403"/>
                </a:lnTo>
                <a:close/>
                <a:moveTo>
                  <a:pt x="96" y="100"/>
                </a:moveTo>
                <a:lnTo>
                  <a:pt x="96" y="100"/>
                </a:lnTo>
                <a:lnTo>
                  <a:pt x="96" y="105"/>
                </a:lnTo>
                <a:lnTo>
                  <a:pt x="96" y="105"/>
                </a:lnTo>
                <a:lnTo>
                  <a:pt x="96" y="108"/>
                </a:lnTo>
                <a:lnTo>
                  <a:pt x="99" y="108"/>
                </a:lnTo>
                <a:lnTo>
                  <a:pt x="99" y="100"/>
                </a:lnTo>
                <a:lnTo>
                  <a:pt x="102" y="100"/>
                </a:lnTo>
                <a:lnTo>
                  <a:pt x="102" y="100"/>
                </a:lnTo>
                <a:lnTo>
                  <a:pt x="102" y="91"/>
                </a:lnTo>
                <a:lnTo>
                  <a:pt x="102" y="89"/>
                </a:lnTo>
                <a:lnTo>
                  <a:pt x="102" y="89"/>
                </a:lnTo>
                <a:lnTo>
                  <a:pt x="102" y="89"/>
                </a:lnTo>
                <a:lnTo>
                  <a:pt x="102" y="89"/>
                </a:lnTo>
                <a:lnTo>
                  <a:pt x="99" y="94"/>
                </a:lnTo>
                <a:lnTo>
                  <a:pt x="99" y="94"/>
                </a:lnTo>
                <a:lnTo>
                  <a:pt x="96" y="94"/>
                </a:lnTo>
                <a:lnTo>
                  <a:pt x="96" y="94"/>
                </a:lnTo>
                <a:lnTo>
                  <a:pt x="94" y="94"/>
                </a:lnTo>
                <a:lnTo>
                  <a:pt x="94" y="97"/>
                </a:lnTo>
                <a:lnTo>
                  <a:pt x="94" y="97"/>
                </a:lnTo>
                <a:lnTo>
                  <a:pt x="96" y="100"/>
                </a:lnTo>
                <a:close/>
                <a:moveTo>
                  <a:pt x="32" y="35"/>
                </a:moveTo>
                <a:lnTo>
                  <a:pt x="32" y="35"/>
                </a:lnTo>
                <a:lnTo>
                  <a:pt x="29" y="35"/>
                </a:lnTo>
                <a:lnTo>
                  <a:pt x="29" y="32"/>
                </a:lnTo>
                <a:lnTo>
                  <a:pt x="29" y="30"/>
                </a:lnTo>
                <a:lnTo>
                  <a:pt x="32" y="27"/>
                </a:lnTo>
                <a:lnTo>
                  <a:pt x="32" y="24"/>
                </a:lnTo>
                <a:lnTo>
                  <a:pt x="32" y="22"/>
                </a:lnTo>
                <a:lnTo>
                  <a:pt x="29" y="16"/>
                </a:lnTo>
                <a:lnTo>
                  <a:pt x="29" y="16"/>
                </a:lnTo>
                <a:lnTo>
                  <a:pt x="29" y="11"/>
                </a:lnTo>
                <a:lnTo>
                  <a:pt x="29" y="8"/>
                </a:lnTo>
                <a:lnTo>
                  <a:pt x="29" y="8"/>
                </a:lnTo>
                <a:lnTo>
                  <a:pt x="29" y="8"/>
                </a:lnTo>
                <a:lnTo>
                  <a:pt x="27" y="6"/>
                </a:lnTo>
                <a:lnTo>
                  <a:pt x="24" y="3"/>
                </a:lnTo>
                <a:lnTo>
                  <a:pt x="21" y="3"/>
                </a:lnTo>
                <a:lnTo>
                  <a:pt x="19" y="0"/>
                </a:lnTo>
                <a:lnTo>
                  <a:pt x="16" y="0"/>
                </a:lnTo>
                <a:lnTo>
                  <a:pt x="16" y="0"/>
                </a:lnTo>
                <a:lnTo>
                  <a:pt x="13" y="0"/>
                </a:lnTo>
                <a:lnTo>
                  <a:pt x="13" y="0"/>
                </a:lnTo>
                <a:lnTo>
                  <a:pt x="11" y="0"/>
                </a:lnTo>
                <a:lnTo>
                  <a:pt x="11" y="3"/>
                </a:lnTo>
                <a:lnTo>
                  <a:pt x="13" y="6"/>
                </a:lnTo>
                <a:lnTo>
                  <a:pt x="13" y="8"/>
                </a:lnTo>
                <a:lnTo>
                  <a:pt x="11" y="8"/>
                </a:lnTo>
                <a:lnTo>
                  <a:pt x="11" y="11"/>
                </a:lnTo>
                <a:lnTo>
                  <a:pt x="8" y="11"/>
                </a:lnTo>
                <a:lnTo>
                  <a:pt x="5" y="11"/>
                </a:lnTo>
                <a:lnTo>
                  <a:pt x="2" y="14"/>
                </a:lnTo>
                <a:lnTo>
                  <a:pt x="2" y="14"/>
                </a:lnTo>
                <a:lnTo>
                  <a:pt x="2" y="16"/>
                </a:lnTo>
                <a:lnTo>
                  <a:pt x="2" y="16"/>
                </a:lnTo>
                <a:lnTo>
                  <a:pt x="2" y="19"/>
                </a:lnTo>
                <a:lnTo>
                  <a:pt x="2" y="19"/>
                </a:lnTo>
                <a:lnTo>
                  <a:pt x="2" y="19"/>
                </a:lnTo>
                <a:lnTo>
                  <a:pt x="2" y="19"/>
                </a:lnTo>
                <a:lnTo>
                  <a:pt x="2" y="22"/>
                </a:lnTo>
                <a:lnTo>
                  <a:pt x="5" y="24"/>
                </a:lnTo>
                <a:lnTo>
                  <a:pt x="2" y="27"/>
                </a:lnTo>
                <a:lnTo>
                  <a:pt x="2" y="30"/>
                </a:lnTo>
                <a:lnTo>
                  <a:pt x="2" y="30"/>
                </a:lnTo>
                <a:lnTo>
                  <a:pt x="0" y="35"/>
                </a:lnTo>
                <a:lnTo>
                  <a:pt x="0" y="38"/>
                </a:lnTo>
                <a:lnTo>
                  <a:pt x="2" y="41"/>
                </a:lnTo>
                <a:lnTo>
                  <a:pt x="5" y="41"/>
                </a:lnTo>
                <a:lnTo>
                  <a:pt x="5" y="41"/>
                </a:lnTo>
                <a:lnTo>
                  <a:pt x="8" y="43"/>
                </a:lnTo>
                <a:lnTo>
                  <a:pt x="8" y="49"/>
                </a:lnTo>
                <a:lnTo>
                  <a:pt x="5" y="51"/>
                </a:lnTo>
                <a:lnTo>
                  <a:pt x="5" y="51"/>
                </a:lnTo>
                <a:lnTo>
                  <a:pt x="5" y="54"/>
                </a:lnTo>
                <a:lnTo>
                  <a:pt x="5" y="57"/>
                </a:lnTo>
                <a:lnTo>
                  <a:pt x="8" y="59"/>
                </a:lnTo>
                <a:lnTo>
                  <a:pt x="11" y="59"/>
                </a:lnTo>
                <a:lnTo>
                  <a:pt x="21" y="54"/>
                </a:lnTo>
                <a:lnTo>
                  <a:pt x="21" y="54"/>
                </a:lnTo>
                <a:lnTo>
                  <a:pt x="24" y="54"/>
                </a:lnTo>
                <a:lnTo>
                  <a:pt x="24" y="51"/>
                </a:lnTo>
                <a:lnTo>
                  <a:pt x="24" y="51"/>
                </a:lnTo>
                <a:lnTo>
                  <a:pt x="27" y="51"/>
                </a:lnTo>
                <a:lnTo>
                  <a:pt x="27" y="49"/>
                </a:lnTo>
                <a:lnTo>
                  <a:pt x="29" y="49"/>
                </a:lnTo>
                <a:lnTo>
                  <a:pt x="29" y="49"/>
                </a:lnTo>
                <a:lnTo>
                  <a:pt x="29" y="46"/>
                </a:lnTo>
                <a:lnTo>
                  <a:pt x="29" y="46"/>
                </a:lnTo>
                <a:lnTo>
                  <a:pt x="32" y="46"/>
                </a:lnTo>
                <a:lnTo>
                  <a:pt x="32" y="43"/>
                </a:lnTo>
                <a:lnTo>
                  <a:pt x="32" y="43"/>
                </a:lnTo>
                <a:lnTo>
                  <a:pt x="32" y="43"/>
                </a:lnTo>
                <a:lnTo>
                  <a:pt x="32" y="38"/>
                </a:lnTo>
                <a:lnTo>
                  <a:pt x="35" y="38"/>
                </a:lnTo>
                <a:lnTo>
                  <a:pt x="35" y="38"/>
                </a:lnTo>
                <a:lnTo>
                  <a:pt x="32" y="35"/>
                </a:lnTo>
                <a:lnTo>
                  <a:pt x="32" y="35"/>
                </a:lnTo>
                <a:close/>
                <a:moveTo>
                  <a:pt x="469" y="100"/>
                </a:moveTo>
                <a:lnTo>
                  <a:pt x="471" y="97"/>
                </a:lnTo>
                <a:lnTo>
                  <a:pt x="471" y="97"/>
                </a:lnTo>
                <a:lnTo>
                  <a:pt x="463" y="97"/>
                </a:lnTo>
                <a:lnTo>
                  <a:pt x="463" y="100"/>
                </a:lnTo>
                <a:lnTo>
                  <a:pt x="458" y="100"/>
                </a:lnTo>
                <a:lnTo>
                  <a:pt x="455" y="100"/>
                </a:lnTo>
                <a:lnTo>
                  <a:pt x="455" y="102"/>
                </a:lnTo>
                <a:lnTo>
                  <a:pt x="455" y="102"/>
                </a:lnTo>
                <a:lnTo>
                  <a:pt x="455" y="102"/>
                </a:lnTo>
                <a:lnTo>
                  <a:pt x="455" y="102"/>
                </a:lnTo>
                <a:lnTo>
                  <a:pt x="455" y="102"/>
                </a:lnTo>
                <a:lnTo>
                  <a:pt x="458" y="105"/>
                </a:lnTo>
                <a:lnTo>
                  <a:pt x="458" y="105"/>
                </a:lnTo>
                <a:lnTo>
                  <a:pt x="458" y="105"/>
                </a:lnTo>
                <a:lnTo>
                  <a:pt x="461" y="105"/>
                </a:lnTo>
                <a:lnTo>
                  <a:pt x="461" y="105"/>
                </a:lnTo>
                <a:lnTo>
                  <a:pt x="463" y="108"/>
                </a:lnTo>
                <a:lnTo>
                  <a:pt x="466" y="108"/>
                </a:lnTo>
                <a:lnTo>
                  <a:pt x="466" y="108"/>
                </a:lnTo>
                <a:lnTo>
                  <a:pt x="466" y="105"/>
                </a:lnTo>
                <a:lnTo>
                  <a:pt x="466" y="102"/>
                </a:lnTo>
                <a:lnTo>
                  <a:pt x="469" y="102"/>
                </a:lnTo>
                <a:lnTo>
                  <a:pt x="469" y="102"/>
                </a:lnTo>
                <a:lnTo>
                  <a:pt x="469" y="102"/>
                </a:lnTo>
                <a:lnTo>
                  <a:pt x="469" y="100"/>
                </a:lnTo>
                <a:lnTo>
                  <a:pt x="469" y="100"/>
                </a:lnTo>
                <a:close/>
                <a:moveTo>
                  <a:pt x="426" y="35"/>
                </a:moveTo>
                <a:lnTo>
                  <a:pt x="429" y="32"/>
                </a:lnTo>
                <a:lnTo>
                  <a:pt x="431" y="32"/>
                </a:lnTo>
                <a:lnTo>
                  <a:pt x="431" y="35"/>
                </a:lnTo>
                <a:lnTo>
                  <a:pt x="434" y="38"/>
                </a:lnTo>
                <a:lnTo>
                  <a:pt x="434" y="41"/>
                </a:lnTo>
                <a:lnTo>
                  <a:pt x="434" y="43"/>
                </a:lnTo>
                <a:lnTo>
                  <a:pt x="434" y="43"/>
                </a:lnTo>
                <a:lnTo>
                  <a:pt x="431" y="46"/>
                </a:lnTo>
                <a:lnTo>
                  <a:pt x="431" y="49"/>
                </a:lnTo>
                <a:lnTo>
                  <a:pt x="434" y="49"/>
                </a:lnTo>
                <a:lnTo>
                  <a:pt x="437" y="49"/>
                </a:lnTo>
                <a:lnTo>
                  <a:pt x="437" y="49"/>
                </a:lnTo>
                <a:lnTo>
                  <a:pt x="439" y="51"/>
                </a:lnTo>
                <a:lnTo>
                  <a:pt x="439" y="54"/>
                </a:lnTo>
                <a:lnTo>
                  <a:pt x="439" y="54"/>
                </a:lnTo>
                <a:lnTo>
                  <a:pt x="442" y="54"/>
                </a:lnTo>
                <a:lnTo>
                  <a:pt x="442" y="54"/>
                </a:lnTo>
                <a:lnTo>
                  <a:pt x="445" y="57"/>
                </a:lnTo>
                <a:lnTo>
                  <a:pt x="445" y="57"/>
                </a:lnTo>
                <a:lnTo>
                  <a:pt x="447" y="59"/>
                </a:lnTo>
                <a:lnTo>
                  <a:pt x="445" y="62"/>
                </a:lnTo>
                <a:lnTo>
                  <a:pt x="445" y="62"/>
                </a:lnTo>
                <a:lnTo>
                  <a:pt x="447" y="65"/>
                </a:lnTo>
                <a:lnTo>
                  <a:pt x="450" y="67"/>
                </a:lnTo>
                <a:lnTo>
                  <a:pt x="447" y="67"/>
                </a:lnTo>
                <a:lnTo>
                  <a:pt x="450" y="70"/>
                </a:lnTo>
                <a:lnTo>
                  <a:pt x="453" y="73"/>
                </a:lnTo>
                <a:lnTo>
                  <a:pt x="458" y="73"/>
                </a:lnTo>
                <a:lnTo>
                  <a:pt x="461" y="73"/>
                </a:lnTo>
                <a:lnTo>
                  <a:pt x="461" y="73"/>
                </a:lnTo>
                <a:lnTo>
                  <a:pt x="463" y="70"/>
                </a:lnTo>
                <a:lnTo>
                  <a:pt x="463" y="70"/>
                </a:lnTo>
                <a:lnTo>
                  <a:pt x="466" y="67"/>
                </a:lnTo>
                <a:lnTo>
                  <a:pt x="466" y="67"/>
                </a:lnTo>
                <a:lnTo>
                  <a:pt x="466" y="67"/>
                </a:lnTo>
                <a:lnTo>
                  <a:pt x="469" y="67"/>
                </a:lnTo>
                <a:lnTo>
                  <a:pt x="471" y="67"/>
                </a:lnTo>
                <a:lnTo>
                  <a:pt x="474" y="67"/>
                </a:lnTo>
                <a:lnTo>
                  <a:pt x="474" y="70"/>
                </a:lnTo>
                <a:lnTo>
                  <a:pt x="477" y="70"/>
                </a:lnTo>
                <a:lnTo>
                  <a:pt x="480" y="67"/>
                </a:lnTo>
                <a:lnTo>
                  <a:pt x="480" y="67"/>
                </a:lnTo>
                <a:lnTo>
                  <a:pt x="477" y="67"/>
                </a:lnTo>
                <a:lnTo>
                  <a:pt x="474" y="65"/>
                </a:lnTo>
                <a:lnTo>
                  <a:pt x="474" y="62"/>
                </a:lnTo>
                <a:lnTo>
                  <a:pt x="480" y="65"/>
                </a:lnTo>
                <a:lnTo>
                  <a:pt x="480" y="65"/>
                </a:lnTo>
                <a:lnTo>
                  <a:pt x="480" y="62"/>
                </a:lnTo>
                <a:lnTo>
                  <a:pt x="480" y="59"/>
                </a:lnTo>
                <a:lnTo>
                  <a:pt x="477" y="57"/>
                </a:lnTo>
                <a:lnTo>
                  <a:pt x="477" y="54"/>
                </a:lnTo>
                <a:lnTo>
                  <a:pt x="474" y="57"/>
                </a:lnTo>
                <a:lnTo>
                  <a:pt x="471" y="59"/>
                </a:lnTo>
                <a:lnTo>
                  <a:pt x="471" y="59"/>
                </a:lnTo>
                <a:lnTo>
                  <a:pt x="469" y="59"/>
                </a:lnTo>
                <a:lnTo>
                  <a:pt x="469" y="57"/>
                </a:lnTo>
                <a:lnTo>
                  <a:pt x="474" y="54"/>
                </a:lnTo>
                <a:lnTo>
                  <a:pt x="474" y="51"/>
                </a:lnTo>
                <a:lnTo>
                  <a:pt x="474" y="43"/>
                </a:lnTo>
                <a:lnTo>
                  <a:pt x="477" y="41"/>
                </a:lnTo>
                <a:lnTo>
                  <a:pt x="466" y="41"/>
                </a:lnTo>
                <a:lnTo>
                  <a:pt x="461" y="38"/>
                </a:lnTo>
                <a:lnTo>
                  <a:pt x="461" y="35"/>
                </a:lnTo>
                <a:lnTo>
                  <a:pt x="458" y="35"/>
                </a:lnTo>
                <a:lnTo>
                  <a:pt x="439" y="14"/>
                </a:lnTo>
                <a:lnTo>
                  <a:pt x="434" y="19"/>
                </a:lnTo>
                <a:lnTo>
                  <a:pt x="434" y="19"/>
                </a:lnTo>
                <a:lnTo>
                  <a:pt x="431" y="19"/>
                </a:lnTo>
                <a:lnTo>
                  <a:pt x="431" y="16"/>
                </a:lnTo>
                <a:lnTo>
                  <a:pt x="429" y="16"/>
                </a:lnTo>
                <a:lnTo>
                  <a:pt x="429" y="19"/>
                </a:lnTo>
                <a:lnTo>
                  <a:pt x="429" y="19"/>
                </a:lnTo>
                <a:lnTo>
                  <a:pt x="431" y="19"/>
                </a:lnTo>
                <a:lnTo>
                  <a:pt x="431" y="22"/>
                </a:lnTo>
                <a:lnTo>
                  <a:pt x="429" y="22"/>
                </a:lnTo>
                <a:lnTo>
                  <a:pt x="429" y="22"/>
                </a:lnTo>
                <a:lnTo>
                  <a:pt x="429" y="24"/>
                </a:lnTo>
                <a:lnTo>
                  <a:pt x="429" y="27"/>
                </a:lnTo>
                <a:lnTo>
                  <a:pt x="423" y="27"/>
                </a:lnTo>
                <a:lnTo>
                  <a:pt x="423" y="27"/>
                </a:lnTo>
                <a:lnTo>
                  <a:pt x="421" y="30"/>
                </a:lnTo>
                <a:lnTo>
                  <a:pt x="418" y="32"/>
                </a:lnTo>
                <a:lnTo>
                  <a:pt x="423" y="35"/>
                </a:lnTo>
                <a:lnTo>
                  <a:pt x="426" y="35"/>
                </a:lnTo>
                <a:close/>
                <a:moveTo>
                  <a:pt x="493" y="89"/>
                </a:moveTo>
                <a:lnTo>
                  <a:pt x="490" y="83"/>
                </a:lnTo>
                <a:lnTo>
                  <a:pt x="490" y="83"/>
                </a:lnTo>
                <a:lnTo>
                  <a:pt x="488" y="83"/>
                </a:lnTo>
                <a:lnTo>
                  <a:pt x="485" y="83"/>
                </a:lnTo>
                <a:lnTo>
                  <a:pt x="482" y="78"/>
                </a:lnTo>
                <a:lnTo>
                  <a:pt x="480" y="78"/>
                </a:lnTo>
                <a:lnTo>
                  <a:pt x="480" y="78"/>
                </a:lnTo>
                <a:lnTo>
                  <a:pt x="480" y="78"/>
                </a:lnTo>
                <a:lnTo>
                  <a:pt x="477" y="78"/>
                </a:lnTo>
                <a:lnTo>
                  <a:pt x="474" y="78"/>
                </a:lnTo>
                <a:lnTo>
                  <a:pt x="474" y="81"/>
                </a:lnTo>
                <a:lnTo>
                  <a:pt x="471" y="81"/>
                </a:lnTo>
                <a:lnTo>
                  <a:pt x="466" y="81"/>
                </a:lnTo>
                <a:lnTo>
                  <a:pt x="466" y="83"/>
                </a:lnTo>
                <a:lnTo>
                  <a:pt x="466" y="83"/>
                </a:lnTo>
                <a:lnTo>
                  <a:pt x="463" y="81"/>
                </a:lnTo>
                <a:lnTo>
                  <a:pt x="461" y="81"/>
                </a:lnTo>
                <a:lnTo>
                  <a:pt x="458" y="81"/>
                </a:lnTo>
                <a:lnTo>
                  <a:pt x="453" y="81"/>
                </a:lnTo>
                <a:lnTo>
                  <a:pt x="453" y="81"/>
                </a:lnTo>
                <a:lnTo>
                  <a:pt x="445" y="86"/>
                </a:lnTo>
                <a:lnTo>
                  <a:pt x="445" y="86"/>
                </a:lnTo>
                <a:lnTo>
                  <a:pt x="445" y="89"/>
                </a:lnTo>
                <a:lnTo>
                  <a:pt x="445" y="91"/>
                </a:lnTo>
                <a:lnTo>
                  <a:pt x="445" y="91"/>
                </a:lnTo>
                <a:lnTo>
                  <a:pt x="447" y="91"/>
                </a:lnTo>
                <a:lnTo>
                  <a:pt x="447" y="91"/>
                </a:lnTo>
                <a:lnTo>
                  <a:pt x="450" y="91"/>
                </a:lnTo>
                <a:lnTo>
                  <a:pt x="450" y="91"/>
                </a:lnTo>
                <a:lnTo>
                  <a:pt x="453" y="94"/>
                </a:lnTo>
                <a:lnTo>
                  <a:pt x="461" y="91"/>
                </a:lnTo>
                <a:lnTo>
                  <a:pt x="461" y="91"/>
                </a:lnTo>
                <a:lnTo>
                  <a:pt x="463" y="94"/>
                </a:lnTo>
                <a:lnTo>
                  <a:pt x="463" y="94"/>
                </a:lnTo>
                <a:lnTo>
                  <a:pt x="463" y="94"/>
                </a:lnTo>
                <a:lnTo>
                  <a:pt x="463" y="91"/>
                </a:lnTo>
                <a:lnTo>
                  <a:pt x="466" y="91"/>
                </a:lnTo>
                <a:lnTo>
                  <a:pt x="466" y="91"/>
                </a:lnTo>
                <a:lnTo>
                  <a:pt x="466" y="91"/>
                </a:lnTo>
                <a:lnTo>
                  <a:pt x="469" y="91"/>
                </a:lnTo>
                <a:lnTo>
                  <a:pt x="469" y="94"/>
                </a:lnTo>
                <a:lnTo>
                  <a:pt x="477" y="91"/>
                </a:lnTo>
                <a:lnTo>
                  <a:pt x="480" y="91"/>
                </a:lnTo>
                <a:lnTo>
                  <a:pt x="480" y="94"/>
                </a:lnTo>
                <a:lnTo>
                  <a:pt x="480" y="100"/>
                </a:lnTo>
                <a:lnTo>
                  <a:pt x="482" y="97"/>
                </a:lnTo>
                <a:lnTo>
                  <a:pt x="485" y="97"/>
                </a:lnTo>
                <a:lnTo>
                  <a:pt x="485" y="97"/>
                </a:lnTo>
                <a:lnTo>
                  <a:pt x="488" y="97"/>
                </a:lnTo>
                <a:lnTo>
                  <a:pt x="488" y="94"/>
                </a:lnTo>
                <a:lnTo>
                  <a:pt x="488" y="94"/>
                </a:lnTo>
                <a:lnTo>
                  <a:pt x="490" y="94"/>
                </a:lnTo>
                <a:lnTo>
                  <a:pt x="490" y="94"/>
                </a:lnTo>
                <a:lnTo>
                  <a:pt x="490" y="91"/>
                </a:lnTo>
                <a:lnTo>
                  <a:pt x="493" y="91"/>
                </a:lnTo>
                <a:lnTo>
                  <a:pt x="493" y="91"/>
                </a:lnTo>
                <a:lnTo>
                  <a:pt x="493" y="91"/>
                </a:lnTo>
                <a:lnTo>
                  <a:pt x="493" y="91"/>
                </a:lnTo>
                <a:lnTo>
                  <a:pt x="496" y="91"/>
                </a:lnTo>
                <a:lnTo>
                  <a:pt x="496" y="91"/>
                </a:lnTo>
                <a:lnTo>
                  <a:pt x="493" y="89"/>
                </a:lnTo>
                <a:close/>
                <a:moveTo>
                  <a:pt x="110" y="94"/>
                </a:moveTo>
                <a:lnTo>
                  <a:pt x="112" y="94"/>
                </a:lnTo>
                <a:lnTo>
                  <a:pt x="115" y="94"/>
                </a:lnTo>
                <a:lnTo>
                  <a:pt x="115" y="94"/>
                </a:lnTo>
                <a:lnTo>
                  <a:pt x="115" y="94"/>
                </a:lnTo>
                <a:lnTo>
                  <a:pt x="118" y="94"/>
                </a:lnTo>
                <a:lnTo>
                  <a:pt x="120" y="94"/>
                </a:lnTo>
                <a:lnTo>
                  <a:pt x="120" y="91"/>
                </a:lnTo>
                <a:lnTo>
                  <a:pt x="120" y="91"/>
                </a:lnTo>
                <a:lnTo>
                  <a:pt x="120" y="89"/>
                </a:lnTo>
                <a:lnTo>
                  <a:pt x="120" y="89"/>
                </a:lnTo>
                <a:lnTo>
                  <a:pt x="120" y="86"/>
                </a:lnTo>
                <a:lnTo>
                  <a:pt x="118" y="86"/>
                </a:lnTo>
                <a:lnTo>
                  <a:pt x="118" y="86"/>
                </a:lnTo>
                <a:lnTo>
                  <a:pt x="115" y="86"/>
                </a:lnTo>
                <a:lnTo>
                  <a:pt x="112" y="86"/>
                </a:lnTo>
                <a:lnTo>
                  <a:pt x="112" y="86"/>
                </a:lnTo>
                <a:lnTo>
                  <a:pt x="112" y="86"/>
                </a:lnTo>
                <a:lnTo>
                  <a:pt x="112" y="86"/>
                </a:lnTo>
                <a:lnTo>
                  <a:pt x="112" y="86"/>
                </a:lnTo>
                <a:lnTo>
                  <a:pt x="112" y="86"/>
                </a:lnTo>
                <a:lnTo>
                  <a:pt x="112" y="89"/>
                </a:lnTo>
                <a:lnTo>
                  <a:pt x="112" y="89"/>
                </a:lnTo>
                <a:lnTo>
                  <a:pt x="110" y="89"/>
                </a:lnTo>
                <a:lnTo>
                  <a:pt x="110" y="89"/>
                </a:lnTo>
                <a:lnTo>
                  <a:pt x="107" y="89"/>
                </a:lnTo>
                <a:lnTo>
                  <a:pt x="107" y="91"/>
                </a:lnTo>
                <a:lnTo>
                  <a:pt x="107" y="91"/>
                </a:lnTo>
                <a:lnTo>
                  <a:pt x="110" y="94"/>
                </a:lnTo>
                <a:close/>
                <a:moveTo>
                  <a:pt x="118" y="110"/>
                </a:moveTo>
                <a:lnTo>
                  <a:pt x="118" y="110"/>
                </a:lnTo>
                <a:lnTo>
                  <a:pt x="115" y="110"/>
                </a:lnTo>
                <a:lnTo>
                  <a:pt x="110" y="116"/>
                </a:lnTo>
                <a:lnTo>
                  <a:pt x="110" y="116"/>
                </a:lnTo>
                <a:lnTo>
                  <a:pt x="110" y="121"/>
                </a:lnTo>
                <a:lnTo>
                  <a:pt x="112" y="121"/>
                </a:lnTo>
                <a:lnTo>
                  <a:pt x="112" y="121"/>
                </a:lnTo>
                <a:lnTo>
                  <a:pt x="112" y="121"/>
                </a:lnTo>
                <a:lnTo>
                  <a:pt x="112" y="121"/>
                </a:lnTo>
                <a:lnTo>
                  <a:pt x="115" y="121"/>
                </a:lnTo>
                <a:lnTo>
                  <a:pt x="115" y="121"/>
                </a:lnTo>
                <a:lnTo>
                  <a:pt x="115" y="121"/>
                </a:lnTo>
                <a:lnTo>
                  <a:pt x="118" y="121"/>
                </a:lnTo>
                <a:lnTo>
                  <a:pt x="123" y="118"/>
                </a:lnTo>
                <a:lnTo>
                  <a:pt x="126" y="118"/>
                </a:lnTo>
                <a:lnTo>
                  <a:pt x="128" y="121"/>
                </a:lnTo>
                <a:lnTo>
                  <a:pt x="131" y="121"/>
                </a:lnTo>
                <a:lnTo>
                  <a:pt x="131" y="118"/>
                </a:lnTo>
                <a:lnTo>
                  <a:pt x="128" y="118"/>
                </a:lnTo>
                <a:lnTo>
                  <a:pt x="128" y="116"/>
                </a:lnTo>
                <a:lnTo>
                  <a:pt x="126" y="116"/>
                </a:lnTo>
                <a:lnTo>
                  <a:pt x="123" y="116"/>
                </a:lnTo>
                <a:lnTo>
                  <a:pt x="123" y="113"/>
                </a:lnTo>
                <a:lnTo>
                  <a:pt x="120" y="113"/>
                </a:lnTo>
                <a:lnTo>
                  <a:pt x="118" y="113"/>
                </a:lnTo>
                <a:lnTo>
                  <a:pt x="118" y="110"/>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3" name="Freeform 10"/>
          <p:cNvSpPr>
            <a:spLocks noEditPoints="1"/>
          </p:cNvSpPr>
          <p:nvPr/>
        </p:nvSpPr>
        <p:spPr bwMode="auto">
          <a:xfrm>
            <a:off x="7422995" y="3061804"/>
            <a:ext cx="2030413" cy="2043112"/>
          </a:xfrm>
          <a:custGeom>
            <a:avLst/>
            <a:gdLst>
              <a:gd name="T0" fmla="*/ 493 w 1279"/>
              <a:gd name="T1" fmla="*/ 670 h 1287"/>
              <a:gd name="T2" fmla="*/ 590 w 1279"/>
              <a:gd name="T3" fmla="*/ 821 h 1287"/>
              <a:gd name="T4" fmla="*/ 887 w 1279"/>
              <a:gd name="T5" fmla="*/ 909 h 1287"/>
              <a:gd name="T6" fmla="*/ 936 w 1279"/>
              <a:gd name="T7" fmla="*/ 1041 h 1287"/>
              <a:gd name="T8" fmla="*/ 917 w 1279"/>
              <a:gd name="T9" fmla="*/ 1022 h 1287"/>
              <a:gd name="T10" fmla="*/ 823 w 1279"/>
              <a:gd name="T11" fmla="*/ 1038 h 1287"/>
              <a:gd name="T12" fmla="*/ 820 w 1279"/>
              <a:gd name="T13" fmla="*/ 1070 h 1287"/>
              <a:gd name="T14" fmla="*/ 863 w 1279"/>
              <a:gd name="T15" fmla="*/ 1070 h 1287"/>
              <a:gd name="T16" fmla="*/ 917 w 1279"/>
              <a:gd name="T17" fmla="*/ 1062 h 1287"/>
              <a:gd name="T18" fmla="*/ 970 w 1279"/>
              <a:gd name="T19" fmla="*/ 1049 h 1287"/>
              <a:gd name="T20" fmla="*/ 180 w 1279"/>
              <a:gd name="T21" fmla="*/ 598 h 1287"/>
              <a:gd name="T22" fmla="*/ 370 w 1279"/>
              <a:gd name="T23" fmla="*/ 644 h 1287"/>
              <a:gd name="T24" fmla="*/ 424 w 1279"/>
              <a:gd name="T25" fmla="*/ 652 h 1287"/>
              <a:gd name="T26" fmla="*/ 472 w 1279"/>
              <a:gd name="T27" fmla="*/ 662 h 1287"/>
              <a:gd name="T28" fmla="*/ 485 w 1279"/>
              <a:gd name="T29" fmla="*/ 657 h 1287"/>
              <a:gd name="T30" fmla="*/ 507 w 1279"/>
              <a:gd name="T31" fmla="*/ 662 h 1287"/>
              <a:gd name="T32" fmla="*/ 518 w 1279"/>
              <a:gd name="T33" fmla="*/ 687 h 1287"/>
              <a:gd name="T34" fmla="*/ 536 w 1279"/>
              <a:gd name="T35" fmla="*/ 689 h 1287"/>
              <a:gd name="T36" fmla="*/ 552 w 1279"/>
              <a:gd name="T37" fmla="*/ 724 h 1287"/>
              <a:gd name="T38" fmla="*/ 542 w 1279"/>
              <a:gd name="T39" fmla="*/ 740 h 1287"/>
              <a:gd name="T40" fmla="*/ 560 w 1279"/>
              <a:gd name="T41" fmla="*/ 764 h 1287"/>
              <a:gd name="T42" fmla="*/ 601 w 1279"/>
              <a:gd name="T43" fmla="*/ 767 h 1287"/>
              <a:gd name="T44" fmla="*/ 619 w 1279"/>
              <a:gd name="T45" fmla="*/ 783 h 1287"/>
              <a:gd name="T46" fmla="*/ 662 w 1279"/>
              <a:gd name="T47" fmla="*/ 847 h 1287"/>
              <a:gd name="T48" fmla="*/ 681 w 1279"/>
              <a:gd name="T49" fmla="*/ 906 h 1287"/>
              <a:gd name="T50" fmla="*/ 684 w 1279"/>
              <a:gd name="T51" fmla="*/ 920 h 1287"/>
              <a:gd name="T52" fmla="*/ 660 w 1279"/>
              <a:gd name="T53" fmla="*/ 901 h 1287"/>
              <a:gd name="T54" fmla="*/ 678 w 1279"/>
              <a:gd name="T55" fmla="*/ 925 h 1287"/>
              <a:gd name="T56" fmla="*/ 729 w 1279"/>
              <a:gd name="T57" fmla="*/ 949 h 1287"/>
              <a:gd name="T58" fmla="*/ 745 w 1279"/>
              <a:gd name="T59" fmla="*/ 933 h 1287"/>
              <a:gd name="T60" fmla="*/ 732 w 1279"/>
              <a:gd name="T61" fmla="*/ 936 h 1287"/>
              <a:gd name="T62" fmla="*/ 753 w 1279"/>
              <a:gd name="T63" fmla="*/ 909 h 1287"/>
              <a:gd name="T64" fmla="*/ 791 w 1279"/>
              <a:gd name="T65" fmla="*/ 855 h 1287"/>
              <a:gd name="T66" fmla="*/ 842 w 1279"/>
              <a:gd name="T67" fmla="*/ 829 h 1287"/>
              <a:gd name="T68" fmla="*/ 869 w 1279"/>
              <a:gd name="T69" fmla="*/ 821 h 1287"/>
              <a:gd name="T70" fmla="*/ 914 w 1279"/>
              <a:gd name="T71" fmla="*/ 746 h 1287"/>
              <a:gd name="T72" fmla="*/ 938 w 1279"/>
              <a:gd name="T73" fmla="*/ 729 h 1287"/>
              <a:gd name="T74" fmla="*/ 936 w 1279"/>
              <a:gd name="T75" fmla="*/ 703 h 1287"/>
              <a:gd name="T76" fmla="*/ 954 w 1279"/>
              <a:gd name="T77" fmla="*/ 748 h 1287"/>
              <a:gd name="T78" fmla="*/ 952 w 1279"/>
              <a:gd name="T79" fmla="*/ 762 h 1287"/>
              <a:gd name="T80" fmla="*/ 946 w 1279"/>
              <a:gd name="T81" fmla="*/ 810 h 1287"/>
              <a:gd name="T82" fmla="*/ 909 w 1279"/>
              <a:gd name="T83" fmla="*/ 855 h 1287"/>
              <a:gd name="T84" fmla="*/ 901 w 1279"/>
              <a:gd name="T85" fmla="*/ 896 h 1287"/>
              <a:gd name="T86" fmla="*/ 895 w 1279"/>
              <a:gd name="T87" fmla="*/ 955 h 1287"/>
              <a:gd name="T88" fmla="*/ 845 w 1279"/>
              <a:gd name="T89" fmla="*/ 974 h 1287"/>
              <a:gd name="T90" fmla="*/ 871 w 1279"/>
              <a:gd name="T91" fmla="*/ 984 h 1287"/>
              <a:gd name="T92" fmla="*/ 930 w 1279"/>
              <a:gd name="T93" fmla="*/ 974 h 1287"/>
              <a:gd name="T94" fmla="*/ 946 w 1279"/>
              <a:gd name="T95" fmla="*/ 912 h 1287"/>
              <a:gd name="T96" fmla="*/ 987 w 1279"/>
              <a:gd name="T97" fmla="*/ 898 h 1287"/>
              <a:gd name="T98" fmla="*/ 1016 w 1279"/>
              <a:gd name="T99" fmla="*/ 939 h 1287"/>
              <a:gd name="T100" fmla="*/ 1005 w 1279"/>
              <a:gd name="T101" fmla="*/ 995 h 1287"/>
              <a:gd name="T102" fmla="*/ 987 w 1279"/>
              <a:gd name="T103" fmla="*/ 1030 h 1287"/>
              <a:gd name="T104" fmla="*/ 1062 w 1279"/>
              <a:gd name="T105" fmla="*/ 1016 h 1287"/>
              <a:gd name="T106" fmla="*/ 1059 w 1279"/>
              <a:gd name="T107" fmla="*/ 1008 h 1287"/>
              <a:gd name="T108" fmla="*/ 1102 w 1279"/>
              <a:gd name="T109" fmla="*/ 1006 h 1287"/>
              <a:gd name="T110" fmla="*/ 1099 w 1279"/>
              <a:gd name="T111" fmla="*/ 1033 h 1287"/>
              <a:gd name="T112" fmla="*/ 1072 w 1279"/>
              <a:gd name="T113" fmla="*/ 1016 h 1287"/>
              <a:gd name="T114" fmla="*/ 1126 w 1279"/>
              <a:gd name="T115" fmla="*/ 1073 h 1287"/>
              <a:gd name="T116" fmla="*/ 1155 w 1279"/>
              <a:gd name="T117" fmla="*/ 1132 h 1287"/>
              <a:gd name="T118" fmla="*/ 1174 w 1279"/>
              <a:gd name="T119" fmla="*/ 1226 h 1287"/>
              <a:gd name="T120" fmla="*/ 1209 w 1279"/>
              <a:gd name="T121" fmla="*/ 1266 h 1287"/>
              <a:gd name="T122" fmla="*/ 1273 w 1279"/>
              <a:gd name="T123" fmla="*/ 1285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79" h="1287">
                <a:moveTo>
                  <a:pt x="796" y="976"/>
                </a:moveTo>
                <a:lnTo>
                  <a:pt x="794" y="974"/>
                </a:lnTo>
                <a:lnTo>
                  <a:pt x="794" y="976"/>
                </a:lnTo>
                <a:lnTo>
                  <a:pt x="791" y="976"/>
                </a:lnTo>
                <a:lnTo>
                  <a:pt x="794" y="979"/>
                </a:lnTo>
                <a:lnTo>
                  <a:pt x="794" y="979"/>
                </a:lnTo>
                <a:lnTo>
                  <a:pt x="796" y="979"/>
                </a:lnTo>
                <a:lnTo>
                  <a:pt x="796" y="979"/>
                </a:lnTo>
                <a:lnTo>
                  <a:pt x="799" y="979"/>
                </a:lnTo>
                <a:lnTo>
                  <a:pt x="796" y="976"/>
                </a:lnTo>
                <a:lnTo>
                  <a:pt x="796" y="976"/>
                </a:lnTo>
                <a:close/>
                <a:moveTo>
                  <a:pt x="491" y="665"/>
                </a:moveTo>
                <a:lnTo>
                  <a:pt x="488" y="668"/>
                </a:lnTo>
                <a:lnTo>
                  <a:pt x="488" y="668"/>
                </a:lnTo>
                <a:lnTo>
                  <a:pt x="485" y="668"/>
                </a:lnTo>
                <a:lnTo>
                  <a:pt x="483" y="670"/>
                </a:lnTo>
                <a:lnTo>
                  <a:pt x="483" y="673"/>
                </a:lnTo>
                <a:lnTo>
                  <a:pt x="485" y="673"/>
                </a:lnTo>
                <a:lnTo>
                  <a:pt x="488" y="673"/>
                </a:lnTo>
                <a:lnTo>
                  <a:pt x="491" y="673"/>
                </a:lnTo>
                <a:lnTo>
                  <a:pt x="491" y="673"/>
                </a:lnTo>
                <a:lnTo>
                  <a:pt x="491" y="670"/>
                </a:lnTo>
                <a:lnTo>
                  <a:pt x="491" y="670"/>
                </a:lnTo>
                <a:lnTo>
                  <a:pt x="493" y="670"/>
                </a:lnTo>
                <a:lnTo>
                  <a:pt x="493" y="668"/>
                </a:lnTo>
                <a:lnTo>
                  <a:pt x="491" y="668"/>
                </a:lnTo>
                <a:lnTo>
                  <a:pt x="496" y="665"/>
                </a:lnTo>
                <a:lnTo>
                  <a:pt x="496" y="665"/>
                </a:lnTo>
                <a:lnTo>
                  <a:pt x="493" y="665"/>
                </a:lnTo>
                <a:lnTo>
                  <a:pt x="491" y="665"/>
                </a:lnTo>
                <a:close/>
                <a:moveTo>
                  <a:pt x="590" y="821"/>
                </a:moveTo>
                <a:lnTo>
                  <a:pt x="590" y="821"/>
                </a:lnTo>
                <a:lnTo>
                  <a:pt x="587" y="821"/>
                </a:lnTo>
                <a:lnTo>
                  <a:pt x="587" y="821"/>
                </a:lnTo>
                <a:lnTo>
                  <a:pt x="585" y="821"/>
                </a:lnTo>
                <a:lnTo>
                  <a:pt x="585" y="823"/>
                </a:lnTo>
                <a:lnTo>
                  <a:pt x="585" y="823"/>
                </a:lnTo>
                <a:lnTo>
                  <a:pt x="585" y="823"/>
                </a:lnTo>
                <a:lnTo>
                  <a:pt x="582" y="826"/>
                </a:lnTo>
                <a:lnTo>
                  <a:pt x="582" y="829"/>
                </a:lnTo>
                <a:lnTo>
                  <a:pt x="582" y="829"/>
                </a:lnTo>
                <a:lnTo>
                  <a:pt x="585" y="829"/>
                </a:lnTo>
                <a:lnTo>
                  <a:pt x="587" y="826"/>
                </a:lnTo>
                <a:lnTo>
                  <a:pt x="587" y="826"/>
                </a:lnTo>
                <a:lnTo>
                  <a:pt x="590" y="826"/>
                </a:lnTo>
                <a:lnTo>
                  <a:pt x="590" y="823"/>
                </a:lnTo>
                <a:lnTo>
                  <a:pt x="590" y="823"/>
                </a:lnTo>
                <a:lnTo>
                  <a:pt x="590" y="821"/>
                </a:lnTo>
                <a:close/>
                <a:moveTo>
                  <a:pt x="767" y="963"/>
                </a:moveTo>
                <a:lnTo>
                  <a:pt x="764" y="963"/>
                </a:lnTo>
                <a:lnTo>
                  <a:pt x="764" y="963"/>
                </a:lnTo>
                <a:lnTo>
                  <a:pt x="764" y="960"/>
                </a:lnTo>
                <a:lnTo>
                  <a:pt x="759" y="955"/>
                </a:lnTo>
                <a:lnTo>
                  <a:pt x="756" y="952"/>
                </a:lnTo>
                <a:lnTo>
                  <a:pt x="753" y="955"/>
                </a:lnTo>
                <a:lnTo>
                  <a:pt x="756" y="957"/>
                </a:lnTo>
                <a:lnTo>
                  <a:pt x="759" y="960"/>
                </a:lnTo>
                <a:lnTo>
                  <a:pt x="761" y="963"/>
                </a:lnTo>
                <a:lnTo>
                  <a:pt x="761" y="965"/>
                </a:lnTo>
                <a:lnTo>
                  <a:pt x="761" y="965"/>
                </a:lnTo>
                <a:lnTo>
                  <a:pt x="764" y="968"/>
                </a:lnTo>
                <a:lnTo>
                  <a:pt x="767" y="968"/>
                </a:lnTo>
                <a:lnTo>
                  <a:pt x="767" y="968"/>
                </a:lnTo>
                <a:lnTo>
                  <a:pt x="767" y="965"/>
                </a:lnTo>
                <a:lnTo>
                  <a:pt x="767" y="965"/>
                </a:lnTo>
                <a:lnTo>
                  <a:pt x="767" y="963"/>
                </a:lnTo>
                <a:close/>
                <a:moveTo>
                  <a:pt x="890" y="909"/>
                </a:moveTo>
                <a:lnTo>
                  <a:pt x="890" y="906"/>
                </a:lnTo>
                <a:lnTo>
                  <a:pt x="890" y="904"/>
                </a:lnTo>
                <a:lnTo>
                  <a:pt x="887" y="906"/>
                </a:lnTo>
                <a:lnTo>
                  <a:pt x="887" y="909"/>
                </a:lnTo>
                <a:lnTo>
                  <a:pt x="887" y="909"/>
                </a:lnTo>
                <a:lnTo>
                  <a:pt x="890" y="909"/>
                </a:lnTo>
                <a:lnTo>
                  <a:pt x="890" y="909"/>
                </a:lnTo>
                <a:close/>
                <a:moveTo>
                  <a:pt x="970" y="1046"/>
                </a:moveTo>
                <a:lnTo>
                  <a:pt x="968" y="1046"/>
                </a:lnTo>
                <a:lnTo>
                  <a:pt x="965" y="1046"/>
                </a:lnTo>
                <a:lnTo>
                  <a:pt x="965" y="1046"/>
                </a:lnTo>
                <a:lnTo>
                  <a:pt x="965" y="1041"/>
                </a:lnTo>
                <a:lnTo>
                  <a:pt x="965" y="1041"/>
                </a:lnTo>
                <a:lnTo>
                  <a:pt x="962" y="1041"/>
                </a:lnTo>
                <a:lnTo>
                  <a:pt x="960" y="1038"/>
                </a:lnTo>
                <a:lnTo>
                  <a:pt x="954" y="1038"/>
                </a:lnTo>
                <a:lnTo>
                  <a:pt x="952" y="1038"/>
                </a:lnTo>
                <a:lnTo>
                  <a:pt x="949" y="1038"/>
                </a:lnTo>
                <a:lnTo>
                  <a:pt x="946" y="1038"/>
                </a:lnTo>
                <a:lnTo>
                  <a:pt x="946" y="1041"/>
                </a:lnTo>
                <a:lnTo>
                  <a:pt x="946" y="1043"/>
                </a:lnTo>
                <a:lnTo>
                  <a:pt x="944" y="1043"/>
                </a:lnTo>
                <a:lnTo>
                  <a:pt x="944" y="1046"/>
                </a:lnTo>
                <a:lnTo>
                  <a:pt x="941" y="1046"/>
                </a:lnTo>
                <a:lnTo>
                  <a:pt x="938" y="1046"/>
                </a:lnTo>
                <a:lnTo>
                  <a:pt x="936" y="1046"/>
                </a:lnTo>
                <a:lnTo>
                  <a:pt x="936" y="1043"/>
                </a:lnTo>
                <a:lnTo>
                  <a:pt x="936" y="1043"/>
                </a:lnTo>
                <a:lnTo>
                  <a:pt x="936" y="1041"/>
                </a:lnTo>
                <a:lnTo>
                  <a:pt x="936" y="1041"/>
                </a:lnTo>
                <a:lnTo>
                  <a:pt x="936" y="1041"/>
                </a:lnTo>
                <a:lnTo>
                  <a:pt x="933" y="1038"/>
                </a:lnTo>
                <a:lnTo>
                  <a:pt x="933" y="1038"/>
                </a:lnTo>
                <a:lnTo>
                  <a:pt x="933" y="1038"/>
                </a:lnTo>
                <a:lnTo>
                  <a:pt x="930" y="1041"/>
                </a:lnTo>
                <a:lnTo>
                  <a:pt x="928" y="1041"/>
                </a:lnTo>
                <a:lnTo>
                  <a:pt x="925" y="1041"/>
                </a:lnTo>
                <a:lnTo>
                  <a:pt x="920" y="1038"/>
                </a:lnTo>
                <a:lnTo>
                  <a:pt x="917" y="1038"/>
                </a:lnTo>
                <a:lnTo>
                  <a:pt x="914" y="1038"/>
                </a:lnTo>
                <a:lnTo>
                  <a:pt x="914" y="1038"/>
                </a:lnTo>
                <a:lnTo>
                  <a:pt x="917" y="1033"/>
                </a:lnTo>
                <a:lnTo>
                  <a:pt x="920" y="1030"/>
                </a:lnTo>
                <a:lnTo>
                  <a:pt x="920" y="1030"/>
                </a:lnTo>
                <a:lnTo>
                  <a:pt x="920" y="1030"/>
                </a:lnTo>
                <a:lnTo>
                  <a:pt x="914" y="1030"/>
                </a:lnTo>
                <a:lnTo>
                  <a:pt x="914" y="1027"/>
                </a:lnTo>
                <a:lnTo>
                  <a:pt x="914" y="1027"/>
                </a:lnTo>
                <a:lnTo>
                  <a:pt x="914" y="1024"/>
                </a:lnTo>
                <a:lnTo>
                  <a:pt x="917" y="1024"/>
                </a:lnTo>
                <a:lnTo>
                  <a:pt x="920" y="1024"/>
                </a:lnTo>
                <a:lnTo>
                  <a:pt x="920" y="1022"/>
                </a:lnTo>
                <a:lnTo>
                  <a:pt x="917" y="1022"/>
                </a:lnTo>
                <a:lnTo>
                  <a:pt x="914" y="1022"/>
                </a:lnTo>
                <a:lnTo>
                  <a:pt x="914" y="1022"/>
                </a:lnTo>
                <a:lnTo>
                  <a:pt x="912" y="1022"/>
                </a:lnTo>
                <a:lnTo>
                  <a:pt x="909" y="1022"/>
                </a:lnTo>
                <a:lnTo>
                  <a:pt x="906" y="1024"/>
                </a:lnTo>
                <a:lnTo>
                  <a:pt x="903" y="1022"/>
                </a:lnTo>
                <a:lnTo>
                  <a:pt x="901" y="1022"/>
                </a:lnTo>
                <a:lnTo>
                  <a:pt x="901" y="1024"/>
                </a:lnTo>
                <a:lnTo>
                  <a:pt x="898" y="1024"/>
                </a:lnTo>
                <a:lnTo>
                  <a:pt x="898" y="1024"/>
                </a:lnTo>
                <a:lnTo>
                  <a:pt x="890" y="1022"/>
                </a:lnTo>
                <a:lnTo>
                  <a:pt x="887" y="1022"/>
                </a:lnTo>
                <a:lnTo>
                  <a:pt x="885" y="1022"/>
                </a:lnTo>
                <a:lnTo>
                  <a:pt x="885" y="1024"/>
                </a:lnTo>
                <a:lnTo>
                  <a:pt x="882" y="1024"/>
                </a:lnTo>
                <a:lnTo>
                  <a:pt x="882" y="1024"/>
                </a:lnTo>
                <a:lnTo>
                  <a:pt x="866" y="1027"/>
                </a:lnTo>
                <a:lnTo>
                  <a:pt x="861" y="1030"/>
                </a:lnTo>
                <a:lnTo>
                  <a:pt x="858" y="1030"/>
                </a:lnTo>
                <a:lnTo>
                  <a:pt x="831" y="1035"/>
                </a:lnTo>
                <a:lnTo>
                  <a:pt x="828" y="1035"/>
                </a:lnTo>
                <a:lnTo>
                  <a:pt x="828" y="1035"/>
                </a:lnTo>
                <a:lnTo>
                  <a:pt x="826" y="1038"/>
                </a:lnTo>
                <a:lnTo>
                  <a:pt x="823" y="1038"/>
                </a:lnTo>
                <a:lnTo>
                  <a:pt x="818" y="1038"/>
                </a:lnTo>
                <a:lnTo>
                  <a:pt x="810" y="1041"/>
                </a:lnTo>
                <a:lnTo>
                  <a:pt x="810" y="1041"/>
                </a:lnTo>
                <a:lnTo>
                  <a:pt x="807" y="1041"/>
                </a:lnTo>
                <a:lnTo>
                  <a:pt x="807" y="1043"/>
                </a:lnTo>
                <a:lnTo>
                  <a:pt x="807" y="1043"/>
                </a:lnTo>
                <a:lnTo>
                  <a:pt x="807" y="1046"/>
                </a:lnTo>
                <a:lnTo>
                  <a:pt x="807" y="1046"/>
                </a:lnTo>
                <a:lnTo>
                  <a:pt x="804" y="1046"/>
                </a:lnTo>
                <a:lnTo>
                  <a:pt x="804" y="1049"/>
                </a:lnTo>
                <a:lnTo>
                  <a:pt x="804" y="1051"/>
                </a:lnTo>
                <a:lnTo>
                  <a:pt x="804" y="1051"/>
                </a:lnTo>
                <a:lnTo>
                  <a:pt x="802" y="1051"/>
                </a:lnTo>
                <a:lnTo>
                  <a:pt x="802" y="1051"/>
                </a:lnTo>
                <a:lnTo>
                  <a:pt x="802" y="1054"/>
                </a:lnTo>
                <a:lnTo>
                  <a:pt x="802" y="1057"/>
                </a:lnTo>
                <a:lnTo>
                  <a:pt x="802" y="1057"/>
                </a:lnTo>
                <a:lnTo>
                  <a:pt x="807" y="1062"/>
                </a:lnTo>
                <a:lnTo>
                  <a:pt x="810" y="1062"/>
                </a:lnTo>
                <a:lnTo>
                  <a:pt x="812" y="1062"/>
                </a:lnTo>
                <a:lnTo>
                  <a:pt x="815" y="1062"/>
                </a:lnTo>
                <a:lnTo>
                  <a:pt x="818" y="1067"/>
                </a:lnTo>
                <a:lnTo>
                  <a:pt x="820" y="1070"/>
                </a:lnTo>
                <a:lnTo>
                  <a:pt x="820" y="1070"/>
                </a:lnTo>
                <a:lnTo>
                  <a:pt x="820" y="1073"/>
                </a:lnTo>
                <a:lnTo>
                  <a:pt x="820" y="1073"/>
                </a:lnTo>
                <a:lnTo>
                  <a:pt x="823" y="1073"/>
                </a:lnTo>
                <a:lnTo>
                  <a:pt x="823" y="1073"/>
                </a:lnTo>
                <a:lnTo>
                  <a:pt x="826" y="1073"/>
                </a:lnTo>
                <a:lnTo>
                  <a:pt x="826" y="1073"/>
                </a:lnTo>
                <a:lnTo>
                  <a:pt x="826" y="1073"/>
                </a:lnTo>
                <a:lnTo>
                  <a:pt x="828" y="1070"/>
                </a:lnTo>
                <a:lnTo>
                  <a:pt x="828" y="1070"/>
                </a:lnTo>
                <a:lnTo>
                  <a:pt x="831" y="1070"/>
                </a:lnTo>
                <a:lnTo>
                  <a:pt x="834" y="1070"/>
                </a:lnTo>
                <a:lnTo>
                  <a:pt x="834" y="1070"/>
                </a:lnTo>
                <a:lnTo>
                  <a:pt x="836" y="1070"/>
                </a:lnTo>
                <a:lnTo>
                  <a:pt x="836" y="1070"/>
                </a:lnTo>
                <a:lnTo>
                  <a:pt x="836" y="1070"/>
                </a:lnTo>
                <a:lnTo>
                  <a:pt x="839" y="1070"/>
                </a:lnTo>
                <a:lnTo>
                  <a:pt x="842" y="1070"/>
                </a:lnTo>
                <a:lnTo>
                  <a:pt x="847" y="1070"/>
                </a:lnTo>
                <a:lnTo>
                  <a:pt x="853" y="1067"/>
                </a:lnTo>
                <a:lnTo>
                  <a:pt x="855" y="1070"/>
                </a:lnTo>
                <a:lnTo>
                  <a:pt x="855" y="1070"/>
                </a:lnTo>
                <a:lnTo>
                  <a:pt x="858" y="1070"/>
                </a:lnTo>
                <a:lnTo>
                  <a:pt x="861" y="1070"/>
                </a:lnTo>
                <a:lnTo>
                  <a:pt x="863" y="1070"/>
                </a:lnTo>
                <a:lnTo>
                  <a:pt x="866" y="1070"/>
                </a:lnTo>
                <a:lnTo>
                  <a:pt x="869" y="1070"/>
                </a:lnTo>
                <a:lnTo>
                  <a:pt x="871" y="1067"/>
                </a:lnTo>
                <a:lnTo>
                  <a:pt x="871" y="1065"/>
                </a:lnTo>
                <a:lnTo>
                  <a:pt x="874" y="1065"/>
                </a:lnTo>
                <a:lnTo>
                  <a:pt x="877" y="1065"/>
                </a:lnTo>
                <a:lnTo>
                  <a:pt x="877" y="1065"/>
                </a:lnTo>
                <a:lnTo>
                  <a:pt x="882" y="1065"/>
                </a:lnTo>
                <a:lnTo>
                  <a:pt x="887" y="1067"/>
                </a:lnTo>
                <a:lnTo>
                  <a:pt x="890" y="1067"/>
                </a:lnTo>
                <a:lnTo>
                  <a:pt x="895" y="1073"/>
                </a:lnTo>
                <a:lnTo>
                  <a:pt x="898" y="1073"/>
                </a:lnTo>
                <a:lnTo>
                  <a:pt x="901" y="1075"/>
                </a:lnTo>
                <a:lnTo>
                  <a:pt x="903" y="1073"/>
                </a:lnTo>
                <a:lnTo>
                  <a:pt x="912" y="1070"/>
                </a:lnTo>
                <a:lnTo>
                  <a:pt x="914" y="1070"/>
                </a:lnTo>
                <a:lnTo>
                  <a:pt x="917" y="1067"/>
                </a:lnTo>
                <a:lnTo>
                  <a:pt x="917" y="1067"/>
                </a:lnTo>
                <a:lnTo>
                  <a:pt x="917" y="1067"/>
                </a:lnTo>
                <a:lnTo>
                  <a:pt x="917" y="1067"/>
                </a:lnTo>
                <a:lnTo>
                  <a:pt x="917" y="1065"/>
                </a:lnTo>
                <a:lnTo>
                  <a:pt x="917" y="1065"/>
                </a:lnTo>
                <a:lnTo>
                  <a:pt x="917" y="1065"/>
                </a:lnTo>
                <a:lnTo>
                  <a:pt x="917" y="1062"/>
                </a:lnTo>
                <a:lnTo>
                  <a:pt x="917" y="1062"/>
                </a:lnTo>
                <a:lnTo>
                  <a:pt x="917" y="1059"/>
                </a:lnTo>
                <a:lnTo>
                  <a:pt x="917" y="1059"/>
                </a:lnTo>
                <a:lnTo>
                  <a:pt x="920" y="1057"/>
                </a:lnTo>
                <a:lnTo>
                  <a:pt x="922" y="1057"/>
                </a:lnTo>
                <a:lnTo>
                  <a:pt x="933" y="1051"/>
                </a:lnTo>
                <a:lnTo>
                  <a:pt x="936" y="1051"/>
                </a:lnTo>
                <a:lnTo>
                  <a:pt x="938" y="1051"/>
                </a:lnTo>
                <a:lnTo>
                  <a:pt x="941" y="1051"/>
                </a:lnTo>
                <a:lnTo>
                  <a:pt x="944" y="1054"/>
                </a:lnTo>
                <a:lnTo>
                  <a:pt x="946" y="1054"/>
                </a:lnTo>
                <a:lnTo>
                  <a:pt x="949" y="1054"/>
                </a:lnTo>
                <a:lnTo>
                  <a:pt x="952" y="1054"/>
                </a:lnTo>
                <a:lnTo>
                  <a:pt x="952" y="1054"/>
                </a:lnTo>
                <a:lnTo>
                  <a:pt x="957" y="1057"/>
                </a:lnTo>
                <a:lnTo>
                  <a:pt x="957" y="1057"/>
                </a:lnTo>
                <a:lnTo>
                  <a:pt x="960" y="1057"/>
                </a:lnTo>
                <a:lnTo>
                  <a:pt x="962" y="1057"/>
                </a:lnTo>
                <a:lnTo>
                  <a:pt x="965" y="1057"/>
                </a:lnTo>
                <a:lnTo>
                  <a:pt x="968" y="1054"/>
                </a:lnTo>
                <a:lnTo>
                  <a:pt x="968" y="1051"/>
                </a:lnTo>
                <a:lnTo>
                  <a:pt x="970" y="1051"/>
                </a:lnTo>
                <a:lnTo>
                  <a:pt x="970" y="1051"/>
                </a:lnTo>
                <a:lnTo>
                  <a:pt x="970" y="1049"/>
                </a:lnTo>
                <a:lnTo>
                  <a:pt x="970" y="1046"/>
                </a:lnTo>
                <a:lnTo>
                  <a:pt x="970" y="1046"/>
                </a:lnTo>
                <a:close/>
                <a:moveTo>
                  <a:pt x="0" y="0"/>
                </a:moveTo>
                <a:lnTo>
                  <a:pt x="0" y="606"/>
                </a:lnTo>
                <a:lnTo>
                  <a:pt x="8" y="606"/>
                </a:lnTo>
                <a:lnTo>
                  <a:pt x="11" y="606"/>
                </a:lnTo>
                <a:lnTo>
                  <a:pt x="14" y="606"/>
                </a:lnTo>
                <a:lnTo>
                  <a:pt x="19" y="603"/>
                </a:lnTo>
                <a:lnTo>
                  <a:pt x="22" y="603"/>
                </a:lnTo>
                <a:lnTo>
                  <a:pt x="30" y="603"/>
                </a:lnTo>
                <a:lnTo>
                  <a:pt x="32" y="603"/>
                </a:lnTo>
                <a:lnTo>
                  <a:pt x="38" y="601"/>
                </a:lnTo>
                <a:lnTo>
                  <a:pt x="46" y="601"/>
                </a:lnTo>
                <a:lnTo>
                  <a:pt x="49" y="601"/>
                </a:lnTo>
                <a:lnTo>
                  <a:pt x="57" y="601"/>
                </a:lnTo>
                <a:lnTo>
                  <a:pt x="78" y="598"/>
                </a:lnTo>
                <a:lnTo>
                  <a:pt x="99" y="595"/>
                </a:lnTo>
                <a:lnTo>
                  <a:pt x="113" y="595"/>
                </a:lnTo>
                <a:lnTo>
                  <a:pt x="121" y="595"/>
                </a:lnTo>
                <a:lnTo>
                  <a:pt x="124" y="595"/>
                </a:lnTo>
                <a:lnTo>
                  <a:pt x="134" y="595"/>
                </a:lnTo>
                <a:lnTo>
                  <a:pt x="140" y="595"/>
                </a:lnTo>
                <a:lnTo>
                  <a:pt x="164" y="595"/>
                </a:lnTo>
                <a:lnTo>
                  <a:pt x="180" y="598"/>
                </a:lnTo>
                <a:lnTo>
                  <a:pt x="191" y="598"/>
                </a:lnTo>
                <a:lnTo>
                  <a:pt x="193" y="598"/>
                </a:lnTo>
                <a:lnTo>
                  <a:pt x="212" y="593"/>
                </a:lnTo>
                <a:lnTo>
                  <a:pt x="223" y="585"/>
                </a:lnTo>
                <a:lnTo>
                  <a:pt x="225" y="585"/>
                </a:lnTo>
                <a:lnTo>
                  <a:pt x="231" y="585"/>
                </a:lnTo>
                <a:lnTo>
                  <a:pt x="250" y="590"/>
                </a:lnTo>
                <a:lnTo>
                  <a:pt x="268" y="598"/>
                </a:lnTo>
                <a:lnTo>
                  <a:pt x="295" y="611"/>
                </a:lnTo>
                <a:lnTo>
                  <a:pt x="311" y="622"/>
                </a:lnTo>
                <a:lnTo>
                  <a:pt x="327" y="630"/>
                </a:lnTo>
                <a:lnTo>
                  <a:pt x="330" y="633"/>
                </a:lnTo>
                <a:lnTo>
                  <a:pt x="335" y="638"/>
                </a:lnTo>
                <a:lnTo>
                  <a:pt x="341" y="641"/>
                </a:lnTo>
                <a:lnTo>
                  <a:pt x="343" y="644"/>
                </a:lnTo>
                <a:lnTo>
                  <a:pt x="349" y="644"/>
                </a:lnTo>
                <a:lnTo>
                  <a:pt x="354" y="644"/>
                </a:lnTo>
                <a:lnTo>
                  <a:pt x="359" y="641"/>
                </a:lnTo>
                <a:lnTo>
                  <a:pt x="362" y="641"/>
                </a:lnTo>
                <a:lnTo>
                  <a:pt x="362" y="641"/>
                </a:lnTo>
                <a:lnTo>
                  <a:pt x="365" y="641"/>
                </a:lnTo>
                <a:lnTo>
                  <a:pt x="367" y="644"/>
                </a:lnTo>
                <a:lnTo>
                  <a:pt x="370" y="644"/>
                </a:lnTo>
                <a:lnTo>
                  <a:pt x="370" y="644"/>
                </a:lnTo>
                <a:lnTo>
                  <a:pt x="367" y="641"/>
                </a:lnTo>
                <a:lnTo>
                  <a:pt x="367" y="638"/>
                </a:lnTo>
                <a:lnTo>
                  <a:pt x="367" y="638"/>
                </a:lnTo>
                <a:lnTo>
                  <a:pt x="367" y="636"/>
                </a:lnTo>
                <a:lnTo>
                  <a:pt x="370" y="636"/>
                </a:lnTo>
                <a:lnTo>
                  <a:pt x="370" y="633"/>
                </a:lnTo>
                <a:lnTo>
                  <a:pt x="373" y="633"/>
                </a:lnTo>
                <a:lnTo>
                  <a:pt x="378" y="633"/>
                </a:lnTo>
                <a:lnTo>
                  <a:pt x="381" y="633"/>
                </a:lnTo>
                <a:lnTo>
                  <a:pt x="389" y="636"/>
                </a:lnTo>
                <a:lnTo>
                  <a:pt x="394" y="636"/>
                </a:lnTo>
                <a:lnTo>
                  <a:pt x="400" y="636"/>
                </a:lnTo>
                <a:lnTo>
                  <a:pt x="402" y="636"/>
                </a:lnTo>
                <a:lnTo>
                  <a:pt x="402" y="636"/>
                </a:lnTo>
                <a:lnTo>
                  <a:pt x="408" y="638"/>
                </a:lnTo>
                <a:lnTo>
                  <a:pt x="410" y="641"/>
                </a:lnTo>
                <a:lnTo>
                  <a:pt x="418" y="646"/>
                </a:lnTo>
                <a:lnTo>
                  <a:pt x="421" y="646"/>
                </a:lnTo>
                <a:lnTo>
                  <a:pt x="421" y="646"/>
                </a:lnTo>
                <a:lnTo>
                  <a:pt x="421" y="649"/>
                </a:lnTo>
                <a:lnTo>
                  <a:pt x="421" y="652"/>
                </a:lnTo>
                <a:lnTo>
                  <a:pt x="424" y="652"/>
                </a:lnTo>
                <a:lnTo>
                  <a:pt x="424" y="652"/>
                </a:lnTo>
                <a:lnTo>
                  <a:pt x="424" y="652"/>
                </a:lnTo>
                <a:lnTo>
                  <a:pt x="426" y="649"/>
                </a:lnTo>
                <a:lnTo>
                  <a:pt x="426" y="649"/>
                </a:lnTo>
                <a:lnTo>
                  <a:pt x="429" y="649"/>
                </a:lnTo>
                <a:lnTo>
                  <a:pt x="432" y="652"/>
                </a:lnTo>
                <a:lnTo>
                  <a:pt x="440" y="660"/>
                </a:lnTo>
                <a:lnTo>
                  <a:pt x="440" y="660"/>
                </a:lnTo>
                <a:lnTo>
                  <a:pt x="440" y="660"/>
                </a:lnTo>
                <a:lnTo>
                  <a:pt x="440" y="660"/>
                </a:lnTo>
                <a:lnTo>
                  <a:pt x="443" y="660"/>
                </a:lnTo>
                <a:lnTo>
                  <a:pt x="443" y="660"/>
                </a:lnTo>
                <a:lnTo>
                  <a:pt x="445" y="660"/>
                </a:lnTo>
                <a:lnTo>
                  <a:pt x="445" y="660"/>
                </a:lnTo>
                <a:lnTo>
                  <a:pt x="448" y="660"/>
                </a:lnTo>
                <a:lnTo>
                  <a:pt x="448" y="660"/>
                </a:lnTo>
                <a:lnTo>
                  <a:pt x="451" y="662"/>
                </a:lnTo>
                <a:lnTo>
                  <a:pt x="453" y="662"/>
                </a:lnTo>
                <a:lnTo>
                  <a:pt x="453" y="662"/>
                </a:lnTo>
                <a:lnTo>
                  <a:pt x="456" y="662"/>
                </a:lnTo>
                <a:lnTo>
                  <a:pt x="459" y="660"/>
                </a:lnTo>
                <a:lnTo>
                  <a:pt x="459" y="660"/>
                </a:lnTo>
                <a:lnTo>
                  <a:pt x="464" y="662"/>
                </a:lnTo>
                <a:lnTo>
                  <a:pt x="469" y="662"/>
                </a:lnTo>
                <a:lnTo>
                  <a:pt x="469" y="662"/>
                </a:lnTo>
                <a:lnTo>
                  <a:pt x="472" y="662"/>
                </a:lnTo>
                <a:lnTo>
                  <a:pt x="472" y="660"/>
                </a:lnTo>
                <a:lnTo>
                  <a:pt x="472" y="660"/>
                </a:lnTo>
                <a:lnTo>
                  <a:pt x="472" y="660"/>
                </a:lnTo>
                <a:lnTo>
                  <a:pt x="475" y="662"/>
                </a:lnTo>
                <a:lnTo>
                  <a:pt x="475" y="662"/>
                </a:lnTo>
                <a:lnTo>
                  <a:pt x="477" y="660"/>
                </a:lnTo>
                <a:lnTo>
                  <a:pt x="477" y="660"/>
                </a:lnTo>
                <a:lnTo>
                  <a:pt x="475" y="657"/>
                </a:lnTo>
                <a:lnTo>
                  <a:pt x="472" y="657"/>
                </a:lnTo>
                <a:lnTo>
                  <a:pt x="469" y="657"/>
                </a:lnTo>
                <a:lnTo>
                  <a:pt x="469" y="657"/>
                </a:lnTo>
                <a:lnTo>
                  <a:pt x="469" y="654"/>
                </a:lnTo>
                <a:lnTo>
                  <a:pt x="469" y="654"/>
                </a:lnTo>
                <a:lnTo>
                  <a:pt x="472" y="654"/>
                </a:lnTo>
                <a:lnTo>
                  <a:pt x="472" y="654"/>
                </a:lnTo>
                <a:lnTo>
                  <a:pt x="472" y="654"/>
                </a:lnTo>
                <a:lnTo>
                  <a:pt x="475" y="652"/>
                </a:lnTo>
                <a:lnTo>
                  <a:pt x="477" y="652"/>
                </a:lnTo>
                <a:lnTo>
                  <a:pt x="477" y="654"/>
                </a:lnTo>
                <a:lnTo>
                  <a:pt x="477" y="654"/>
                </a:lnTo>
                <a:lnTo>
                  <a:pt x="480" y="657"/>
                </a:lnTo>
                <a:lnTo>
                  <a:pt x="483" y="657"/>
                </a:lnTo>
                <a:lnTo>
                  <a:pt x="485" y="657"/>
                </a:lnTo>
                <a:lnTo>
                  <a:pt x="485" y="657"/>
                </a:lnTo>
                <a:lnTo>
                  <a:pt x="488" y="654"/>
                </a:lnTo>
                <a:lnTo>
                  <a:pt x="488" y="652"/>
                </a:lnTo>
                <a:lnTo>
                  <a:pt x="488" y="652"/>
                </a:lnTo>
                <a:lnTo>
                  <a:pt x="488" y="649"/>
                </a:lnTo>
                <a:lnTo>
                  <a:pt x="491" y="649"/>
                </a:lnTo>
                <a:lnTo>
                  <a:pt x="493" y="652"/>
                </a:lnTo>
                <a:lnTo>
                  <a:pt x="496" y="652"/>
                </a:lnTo>
                <a:lnTo>
                  <a:pt x="499" y="652"/>
                </a:lnTo>
                <a:lnTo>
                  <a:pt x="499" y="654"/>
                </a:lnTo>
                <a:lnTo>
                  <a:pt x="496" y="654"/>
                </a:lnTo>
                <a:lnTo>
                  <a:pt x="496" y="654"/>
                </a:lnTo>
                <a:lnTo>
                  <a:pt x="496" y="657"/>
                </a:lnTo>
                <a:lnTo>
                  <a:pt x="496" y="657"/>
                </a:lnTo>
                <a:lnTo>
                  <a:pt x="499" y="657"/>
                </a:lnTo>
                <a:lnTo>
                  <a:pt x="499" y="657"/>
                </a:lnTo>
                <a:lnTo>
                  <a:pt x="499" y="657"/>
                </a:lnTo>
                <a:lnTo>
                  <a:pt x="499" y="660"/>
                </a:lnTo>
                <a:lnTo>
                  <a:pt x="499" y="660"/>
                </a:lnTo>
                <a:lnTo>
                  <a:pt x="499" y="660"/>
                </a:lnTo>
                <a:lnTo>
                  <a:pt x="499" y="660"/>
                </a:lnTo>
                <a:lnTo>
                  <a:pt x="501" y="662"/>
                </a:lnTo>
                <a:lnTo>
                  <a:pt x="504" y="662"/>
                </a:lnTo>
                <a:lnTo>
                  <a:pt x="507" y="662"/>
                </a:lnTo>
                <a:lnTo>
                  <a:pt x="507" y="662"/>
                </a:lnTo>
                <a:lnTo>
                  <a:pt x="507" y="662"/>
                </a:lnTo>
                <a:lnTo>
                  <a:pt x="507" y="665"/>
                </a:lnTo>
                <a:lnTo>
                  <a:pt x="507" y="668"/>
                </a:lnTo>
                <a:lnTo>
                  <a:pt x="507" y="668"/>
                </a:lnTo>
                <a:lnTo>
                  <a:pt x="510" y="668"/>
                </a:lnTo>
                <a:lnTo>
                  <a:pt x="510" y="668"/>
                </a:lnTo>
                <a:lnTo>
                  <a:pt x="510" y="668"/>
                </a:lnTo>
                <a:lnTo>
                  <a:pt x="512" y="665"/>
                </a:lnTo>
                <a:lnTo>
                  <a:pt x="512" y="665"/>
                </a:lnTo>
                <a:lnTo>
                  <a:pt x="515" y="665"/>
                </a:lnTo>
                <a:lnTo>
                  <a:pt x="515" y="668"/>
                </a:lnTo>
                <a:lnTo>
                  <a:pt x="520" y="673"/>
                </a:lnTo>
                <a:lnTo>
                  <a:pt x="520" y="673"/>
                </a:lnTo>
                <a:lnTo>
                  <a:pt x="523" y="676"/>
                </a:lnTo>
                <a:lnTo>
                  <a:pt x="526" y="678"/>
                </a:lnTo>
                <a:lnTo>
                  <a:pt x="526" y="681"/>
                </a:lnTo>
                <a:lnTo>
                  <a:pt x="526" y="684"/>
                </a:lnTo>
                <a:lnTo>
                  <a:pt x="523" y="684"/>
                </a:lnTo>
                <a:lnTo>
                  <a:pt x="523" y="684"/>
                </a:lnTo>
                <a:lnTo>
                  <a:pt x="520" y="684"/>
                </a:lnTo>
                <a:lnTo>
                  <a:pt x="520" y="681"/>
                </a:lnTo>
                <a:lnTo>
                  <a:pt x="520" y="684"/>
                </a:lnTo>
                <a:lnTo>
                  <a:pt x="518" y="687"/>
                </a:lnTo>
                <a:lnTo>
                  <a:pt x="518" y="687"/>
                </a:lnTo>
                <a:lnTo>
                  <a:pt x="518" y="689"/>
                </a:lnTo>
                <a:lnTo>
                  <a:pt x="518" y="692"/>
                </a:lnTo>
                <a:lnTo>
                  <a:pt x="518" y="692"/>
                </a:lnTo>
                <a:lnTo>
                  <a:pt x="518" y="695"/>
                </a:lnTo>
                <a:lnTo>
                  <a:pt x="518" y="695"/>
                </a:lnTo>
                <a:lnTo>
                  <a:pt x="518" y="695"/>
                </a:lnTo>
                <a:lnTo>
                  <a:pt x="518" y="695"/>
                </a:lnTo>
                <a:lnTo>
                  <a:pt x="515" y="697"/>
                </a:lnTo>
                <a:lnTo>
                  <a:pt x="518" y="697"/>
                </a:lnTo>
                <a:lnTo>
                  <a:pt x="518" y="697"/>
                </a:lnTo>
                <a:lnTo>
                  <a:pt x="518" y="697"/>
                </a:lnTo>
                <a:lnTo>
                  <a:pt x="520" y="697"/>
                </a:lnTo>
                <a:lnTo>
                  <a:pt x="520" y="697"/>
                </a:lnTo>
                <a:lnTo>
                  <a:pt x="523" y="697"/>
                </a:lnTo>
                <a:lnTo>
                  <a:pt x="523" y="697"/>
                </a:lnTo>
                <a:lnTo>
                  <a:pt x="523" y="695"/>
                </a:lnTo>
                <a:lnTo>
                  <a:pt x="526" y="692"/>
                </a:lnTo>
                <a:lnTo>
                  <a:pt x="526" y="692"/>
                </a:lnTo>
                <a:lnTo>
                  <a:pt x="528" y="695"/>
                </a:lnTo>
                <a:lnTo>
                  <a:pt x="531" y="695"/>
                </a:lnTo>
                <a:lnTo>
                  <a:pt x="534" y="692"/>
                </a:lnTo>
                <a:lnTo>
                  <a:pt x="534" y="692"/>
                </a:lnTo>
                <a:lnTo>
                  <a:pt x="536" y="689"/>
                </a:lnTo>
                <a:lnTo>
                  <a:pt x="536" y="689"/>
                </a:lnTo>
                <a:lnTo>
                  <a:pt x="539" y="689"/>
                </a:lnTo>
                <a:lnTo>
                  <a:pt x="542" y="689"/>
                </a:lnTo>
                <a:lnTo>
                  <a:pt x="542" y="689"/>
                </a:lnTo>
                <a:lnTo>
                  <a:pt x="542" y="689"/>
                </a:lnTo>
                <a:lnTo>
                  <a:pt x="544" y="689"/>
                </a:lnTo>
                <a:lnTo>
                  <a:pt x="544" y="687"/>
                </a:lnTo>
                <a:lnTo>
                  <a:pt x="544" y="687"/>
                </a:lnTo>
                <a:lnTo>
                  <a:pt x="547" y="689"/>
                </a:lnTo>
                <a:lnTo>
                  <a:pt x="552" y="692"/>
                </a:lnTo>
                <a:lnTo>
                  <a:pt x="555" y="695"/>
                </a:lnTo>
                <a:lnTo>
                  <a:pt x="558" y="700"/>
                </a:lnTo>
                <a:lnTo>
                  <a:pt x="560" y="703"/>
                </a:lnTo>
                <a:lnTo>
                  <a:pt x="563" y="711"/>
                </a:lnTo>
                <a:lnTo>
                  <a:pt x="563" y="711"/>
                </a:lnTo>
                <a:lnTo>
                  <a:pt x="563" y="713"/>
                </a:lnTo>
                <a:lnTo>
                  <a:pt x="560" y="716"/>
                </a:lnTo>
                <a:lnTo>
                  <a:pt x="560" y="719"/>
                </a:lnTo>
                <a:lnTo>
                  <a:pt x="560" y="719"/>
                </a:lnTo>
                <a:lnTo>
                  <a:pt x="558" y="719"/>
                </a:lnTo>
                <a:lnTo>
                  <a:pt x="558" y="721"/>
                </a:lnTo>
                <a:lnTo>
                  <a:pt x="555" y="724"/>
                </a:lnTo>
                <a:lnTo>
                  <a:pt x="555" y="724"/>
                </a:lnTo>
                <a:lnTo>
                  <a:pt x="555" y="727"/>
                </a:lnTo>
                <a:lnTo>
                  <a:pt x="552" y="724"/>
                </a:lnTo>
                <a:lnTo>
                  <a:pt x="552" y="724"/>
                </a:lnTo>
                <a:lnTo>
                  <a:pt x="552" y="724"/>
                </a:lnTo>
                <a:lnTo>
                  <a:pt x="552" y="721"/>
                </a:lnTo>
                <a:lnTo>
                  <a:pt x="552" y="721"/>
                </a:lnTo>
                <a:lnTo>
                  <a:pt x="552" y="719"/>
                </a:lnTo>
                <a:lnTo>
                  <a:pt x="552" y="719"/>
                </a:lnTo>
                <a:lnTo>
                  <a:pt x="555" y="716"/>
                </a:lnTo>
                <a:lnTo>
                  <a:pt x="552" y="716"/>
                </a:lnTo>
                <a:lnTo>
                  <a:pt x="544" y="716"/>
                </a:lnTo>
                <a:lnTo>
                  <a:pt x="542" y="716"/>
                </a:lnTo>
                <a:lnTo>
                  <a:pt x="539" y="716"/>
                </a:lnTo>
                <a:lnTo>
                  <a:pt x="539" y="716"/>
                </a:lnTo>
                <a:lnTo>
                  <a:pt x="539" y="719"/>
                </a:lnTo>
                <a:lnTo>
                  <a:pt x="544" y="721"/>
                </a:lnTo>
                <a:lnTo>
                  <a:pt x="544" y="727"/>
                </a:lnTo>
                <a:lnTo>
                  <a:pt x="547" y="729"/>
                </a:lnTo>
                <a:lnTo>
                  <a:pt x="544" y="732"/>
                </a:lnTo>
                <a:lnTo>
                  <a:pt x="544" y="732"/>
                </a:lnTo>
                <a:lnTo>
                  <a:pt x="542" y="735"/>
                </a:lnTo>
                <a:lnTo>
                  <a:pt x="539" y="735"/>
                </a:lnTo>
                <a:lnTo>
                  <a:pt x="539" y="737"/>
                </a:lnTo>
                <a:lnTo>
                  <a:pt x="539" y="737"/>
                </a:lnTo>
                <a:lnTo>
                  <a:pt x="539" y="737"/>
                </a:lnTo>
                <a:lnTo>
                  <a:pt x="542" y="740"/>
                </a:lnTo>
                <a:lnTo>
                  <a:pt x="544" y="740"/>
                </a:lnTo>
                <a:lnTo>
                  <a:pt x="547" y="740"/>
                </a:lnTo>
                <a:lnTo>
                  <a:pt x="547" y="740"/>
                </a:lnTo>
                <a:lnTo>
                  <a:pt x="547" y="740"/>
                </a:lnTo>
                <a:lnTo>
                  <a:pt x="550" y="740"/>
                </a:lnTo>
                <a:lnTo>
                  <a:pt x="550" y="740"/>
                </a:lnTo>
                <a:lnTo>
                  <a:pt x="550" y="740"/>
                </a:lnTo>
                <a:lnTo>
                  <a:pt x="552" y="740"/>
                </a:lnTo>
                <a:lnTo>
                  <a:pt x="552" y="743"/>
                </a:lnTo>
                <a:lnTo>
                  <a:pt x="555" y="746"/>
                </a:lnTo>
                <a:lnTo>
                  <a:pt x="555" y="746"/>
                </a:lnTo>
                <a:lnTo>
                  <a:pt x="552" y="748"/>
                </a:lnTo>
                <a:lnTo>
                  <a:pt x="550" y="748"/>
                </a:lnTo>
                <a:lnTo>
                  <a:pt x="547" y="748"/>
                </a:lnTo>
                <a:lnTo>
                  <a:pt x="550" y="751"/>
                </a:lnTo>
                <a:lnTo>
                  <a:pt x="550" y="751"/>
                </a:lnTo>
                <a:lnTo>
                  <a:pt x="552" y="751"/>
                </a:lnTo>
                <a:lnTo>
                  <a:pt x="555" y="751"/>
                </a:lnTo>
                <a:lnTo>
                  <a:pt x="558" y="751"/>
                </a:lnTo>
                <a:lnTo>
                  <a:pt x="558" y="754"/>
                </a:lnTo>
                <a:lnTo>
                  <a:pt x="560" y="759"/>
                </a:lnTo>
                <a:lnTo>
                  <a:pt x="560" y="759"/>
                </a:lnTo>
                <a:lnTo>
                  <a:pt x="560" y="762"/>
                </a:lnTo>
                <a:lnTo>
                  <a:pt x="560" y="764"/>
                </a:lnTo>
                <a:lnTo>
                  <a:pt x="568" y="767"/>
                </a:lnTo>
                <a:lnTo>
                  <a:pt x="568" y="767"/>
                </a:lnTo>
                <a:lnTo>
                  <a:pt x="568" y="767"/>
                </a:lnTo>
                <a:lnTo>
                  <a:pt x="568" y="764"/>
                </a:lnTo>
                <a:lnTo>
                  <a:pt x="568" y="764"/>
                </a:lnTo>
                <a:lnTo>
                  <a:pt x="571" y="762"/>
                </a:lnTo>
                <a:lnTo>
                  <a:pt x="571" y="764"/>
                </a:lnTo>
                <a:lnTo>
                  <a:pt x="571" y="764"/>
                </a:lnTo>
                <a:lnTo>
                  <a:pt x="571" y="764"/>
                </a:lnTo>
                <a:lnTo>
                  <a:pt x="574" y="764"/>
                </a:lnTo>
                <a:lnTo>
                  <a:pt x="577" y="764"/>
                </a:lnTo>
                <a:lnTo>
                  <a:pt x="579" y="762"/>
                </a:lnTo>
                <a:lnTo>
                  <a:pt x="582" y="764"/>
                </a:lnTo>
                <a:lnTo>
                  <a:pt x="590" y="767"/>
                </a:lnTo>
                <a:lnTo>
                  <a:pt x="595" y="767"/>
                </a:lnTo>
                <a:lnTo>
                  <a:pt x="595" y="770"/>
                </a:lnTo>
                <a:lnTo>
                  <a:pt x="598" y="772"/>
                </a:lnTo>
                <a:lnTo>
                  <a:pt x="601" y="772"/>
                </a:lnTo>
                <a:lnTo>
                  <a:pt x="601" y="770"/>
                </a:lnTo>
                <a:lnTo>
                  <a:pt x="601" y="770"/>
                </a:lnTo>
                <a:lnTo>
                  <a:pt x="603" y="770"/>
                </a:lnTo>
                <a:lnTo>
                  <a:pt x="601" y="770"/>
                </a:lnTo>
                <a:lnTo>
                  <a:pt x="601" y="770"/>
                </a:lnTo>
                <a:lnTo>
                  <a:pt x="601" y="767"/>
                </a:lnTo>
                <a:lnTo>
                  <a:pt x="601" y="767"/>
                </a:lnTo>
                <a:lnTo>
                  <a:pt x="598" y="767"/>
                </a:lnTo>
                <a:lnTo>
                  <a:pt x="598" y="767"/>
                </a:lnTo>
                <a:lnTo>
                  <a:pt x="595" y="767"/>
                </a:lnTo>
                <a:lnTo>
                  <a:pt x="593" y="764"/>
                </a:lnTo>
                <a:lnTo>
                  <a:pt x="593" y="764"/>
                </a:lnTo>
                <a:lnTo>
                  <a:pt x="593" y="762"/>
                </a:lnTo>
                <a:lnTo>
                  <a:pt x="595" y="762"/>
                </a:lnTo>
                <a:lnTo>
                  <a:pt x="603" y="764"/>
                </a:lnTo>
                <a:lnTo>
                  <a:pt x="606" y="764"/>
                </a:lnTo>
                <a:lnTo>
                  <a:pt x="606" y="764"/>
                </a:lnTo>
                <a:lnTo>
                  <a:pt x="609" y="767"/>
                </a:lnTo>
                <a:lnTo>
                  <a:pt x="609" y="770"/>
                </a:lnTo>
                <a:lnTo>
                  <a:pt x="609" y="770"/>
                </a:lnTo>
                <a:lnTo>
                  <a:pt x="609" y="770"/>
                </a:lnTo>
                <a:lnTo>
                  <a:pt x="606" y="770"/>
                </a:lnTo>
                <a:lnTo>
                  <a:pt x="603" y="772"/>
                </a:lnTo>
                <a:lnTo>
                  <a:pt x="606" y="772"/>
                </a:lnTo>
                <a:lnTo>
                  <a:pt x="606" y="772"/>
                </a:lnTo>
                <a:lnTo>
                  <a:pt x="609" y="775"/>
                </a:lnTo>
                <a:lnTo>
                  <a:pt x="609" y="775"/>
                </a:lnTo>
                <a:lnTo>
                  <a:pt x="614" y="780"/>
                </a:lnTo>
                <a:lnTo>
                  <a:pt x="617" y="783"/>
                </a:lnTo>
                <a:lnTo>
                  <a:pt x="619" y="783"/>
                </a:lnTo>
                <a:lnTo>
                  <a:pt x="619" y="788"/>
                </a:lnTo>
                <a:lnTo>
                  <a:pt x="622" y="796"/>
                </a:lnTo>
                <a:lnTo>
                  <a:pt x="625" y="796"/>
                </a:lnTo>
                <a:lnTo>
                  <a:pt x="625" y="799"/>
                </a:lnTo>
                <a:lnTo>
                  <a:pt x="625" y="805"/>
                </a:lnTo>
                <a:lnTo>
                  <a:pt x="625" y="807"/>
                </a:lnTo>
                <a:lnTo>
                  <a:pt x="622" y="807"/>
                </a:lnTo>
                <a:lnTo>
                  <a:pt x="622" y="810"/>
                </a:lnTo>
                <a:lnTo>
                  <a:pt x="622" y="813"/>
                </a:lnTo>
                <a:lnTo>
                  <a:pt x="622" y="813"/>
                </a:lnTo>
                <a:lnTo>
                  <a:pt x="622" y="815"/>
                </a:lnTo>
                <a:lnTo>
                  <a:pt x="625" y="815"/>
                </a:lnTo>
                <a:lnTo>
                  <a:pt x="627" y="815"/>
                </a:lnTo>
                <a:lnTo>
                  <a:pt x="627" y="818"/>
                </a:lnTo>
                <a:lnTo>
                  <a:pt x="630" y="821"/>
                </a:lnTo>
                <a:lnTo>
                  <a:pt x="630" y="821"/>
                </a:lnTo>
                <a:lnTo>
                  <a:pt x="633" y="823"/>
                </a:lnTo>
                <a:lnTo>
                  <a:pt x="638" y="826"/>
                </a:lnTo>
                <a:lnTo>
                  <a:pt x="646" y="831"/>
                </a:lnTo>
                <a:lnTo>
                  <a:pt x="654" y="839"/>
                </a:lnTo>
                <a:lnTo>
                  <a:pt x="654" y="839"/>
                </a:lnTo>
                <a:lnTo>
                  <a:pt x="657" y="839"/>
                </a:lnTo>
                <a:lnTo>
                  <a:pt x="660" y="842"/>
                </a:lnTo>
                <a:lnTo>
                  <a:pt x="662" y="847"/>
                </a:lnTo>
                <a:lnTo>
                  <a:pt x="665" y="850"/>
                </a:lnTo>
                <a:lnTo>
                  <a:pt x="665" y="853"/>
                </a:lnTo>
                <a:lnTo>
                  <a:pt x="668" y="855"/>
                </a:lnTo>
                <a:lnTo>
                  <a:pt x="668" y="858"/>
                </a:lnTo>
                <a:lnTo>
                  <a:pt x="668" y="861"/>
                </a:lnTo>
                <a:lnTo>
                  <a:pt x="668" y="861"/>
                </a:lnTo>
                <a:lnTo>
                  <a:pt x="668" y="864"/>
                </a:lnTo>
                <a:lnTo>
                  <a:pt x="668" y="864"/>
                </a:lnTo>
                <a:lnTo>
                  <a:pt x="668" y="866"/>
                </a:lnTo>
                <a:lnTo>
                  <a:pt x="668" y="866"/>
                </a:lnTo>
                <a:lnTo>
                  <a:pt x="665" y="866"/>
                </a:lnTo>
                <a:lnTo>
                  <a:pt x="662" y="866"/>
                </a:lnTo>
                <a:lnTo>
                  <a:pt x="662" y="869"/>
                </a:lnTo>
                <a:lnTo>
                  <a:pt x="665" y="869"/>
                </a:lnTo>
                <a:lnTo>
                  <a:pt x="668" y="872"/>
                </a:lnTo>
                <a:lnTo>
                  <a:pt x="670" y="872"/>
                </a:lnTo>
                <a:lnTo>
                  <a:pt x="673" y="877"/>
                </a:lnTo>
                <a:lnTo>
                  <a:pt x="676" y="882"/>
                </a:lnTo>
                <a:lnTo>
                  <a:pt x="676" y="896"/>
                </a:lnTo>
                <a:lnTo>
                  <a:pt x="678" y="898"/>
                </a:lnTo>
                <a:lnTo>
                  <a:pt x="678" y="901"/>
                </a:lnTo>
                <a:lnTo>
                  <a:pt x="681" y="904"/>
                </a:lnTo>
                <a:lnTo>
                  <a:pt x="681" y="904"/>
                </a:lnTo>
                <a:lnTo>
                  <a:pt x="681" y="906"/>
                </a:lnTo>
                <a:lnTo>
                  <a:pt x="681" y="906"/>
                </a:lnTo>
                <a:lnTo>
                  <a:pt x="678" y="906"/>
                </a:lnTo>
                <a:lnTo>
                  <a:pt x="678" y="909"/>
                </a:lnTo>
                <a:lnTo>
                  <a:pt x="678" y="909"/>
                </a:lnTo>
                <a:lnTo>
                  <a:pt x="678" y="909"/>
                </a:lnTo>
                <a:lnTo>
                  <a:pt x="678" y="912"/>
                </a:lnTo>
                <a:lnTo>
                  <a:pt x="678" y="912"/>
                </a:lnTo>
                <a:lnTo>
                  <a:pt x="678" y="915"/>
                </a:lnTo>
                <a:lnTo>
                  <a:pt x="681" y="915"/>
                </a:lnTo>
                <a:lnTo>
                  <a:pt x="681" y="915"/>
                </a:lnTo>
                <a:lnTo>
                  <a:pt x="681" y="915"/>
                </a:lnTo>
                <a:lnTo>
                  <a:pt x="681" y="915"/>
                </a:lnTo>
                <a:lnTo>
                  <a:pt x="684" y="912"/>
                </a:lnTo>
                <a:lnTo>
                  <a:pt x="684" y="912"/>
                </a:lnTo>
                <a:lnTo>
                  <a:pt x="684" y="912"/>
                </a:lnTo>
                <a:lnTo>
                  <a:pt x="684" y="912"/>
                </a:lnTo>
                <a:lnTo>
                  <a:pt x="686" y="912"/>
                </a:lnTo>
                <a:lnTo>
                  <a:pt x="686" y="915"/>
                </a:lnTo>
                <a:lnTo>
                  <a:pt x="684" y="915"/>
                </a:lnTo>
                <a:lnTo>
                  <a:pt x="684" y="917"/>
                </a:lnTo>
                <a:lnTo>
                  <a:pt x="689" y="917"/>
                </a:lnTo>
                <a:lnTo>
                  <a:pt x="692" y="917"/>
                </a:lnTo>
                <a:lnTo>
                  <a:pt x="692" y="920"/>
                </a:lnTo>
                <a:lnTo>
                  <a:pt x="684" y="920"/>
                </a:lnTo>
                <a:lnTo>
                  <a:pt x="684" y="923"/>
                </a:lnTo>
                <a:lnTo>
                  <a:pt x="681" y="923"/>
                </a:lnTo>
                <a:lnTo>
                  <a:pt x="681" y="920"/>
                </a:lnTo>
                <a:lnTo>
                  <a:pt x="678" y="920"/>
                </a:lnTo>
                <a:lnTo>
                  <a:pt x="676" y="917"/>
                </a:lnTo>
                <a:lnTo>
                  <a:pt x="676" y="917"/>
                </a:lnTo>
                <a:lnTo>
                  <a:pt x="676" y="917"/>
                </a:lnTo>
                <a:lnTo>
                  <a:pt x="676" y="915"/>
                </a:lnTo>
                <a:lnTo>
                  <a:pt x="673" y="915"/>
                </a:lnTo>
                <a:lnTo>
                  <a:pt x="670" y="912"/>
                </a:lnTo>
                <a:lnTo>
                  <a:pt x="670" y="912"/>
                </a:lnTo>
                <a:lnTo>
                  <a:pt x="670" y="909"/>
                </a:lnTo>
                <a:lnTo>
                  <a:pt x="673" y="909"/>
                </a:lnTo>
                <a:lnTo>
                  <a:pt x="673" y="909"/>
                </a:lnTo>
                <a:lnTo>
                  <a:pt x="665" y="906"/>
                </a:lnTo>
                <a:lnTo>
                  <a:pt x="662" y="906"/>
                </a:lnTo>
                <a:lnTo>
                  <a:pt x="662" y="906"/>
                </a:lnTo>
                <a:lnTo>
                  <a:pt x="660" y="904"/>
                </a:lnTo>
                <a:lnTo>
                  <a:pt x="662" y="901"/>
                </a:lnTo>
                <a:lnTo>
                  <a:pt x="662" y="898"/>
                </a:lnTo>
                <a:lnTo>
                  <a:pt x="660" y="898"/>
                </a:lnTo>
                <a:lnTo>
                  <a:pt x="660" y="898"/>
                </a:lnTo>
                <a:lnTo>
                  <a:pt x="660" y="901"/>
                </a:lnTo>
                <a:lnTo>
                  <a:pt x="660" y="901"/>
                </a:lnTo>
                <a:lnTo>
                  <a:pt x="660" y="904"/>
                </a:lnTo>
                <a:lnTo>
                  <a:pt x="657" y="904"/>
                </a:lnTo>
                <a:lnTo>
                  <a:pt x="657" y="904"/>
                </a:lnTo>
                <a:lnTo>
                  <a:pt x="654" y="906"/>
                </a:lnTo>
                <a:lnTo>
                  <a:pt x="654" y="909"/>
                </a:lnTo>
                <a:lnTo>
                  <a:pt x="654" y="912"/>
                </a:lnTo>
                <a:lnTo>
                  <a:pt x="649" y="915"/>
                </a:lnTo>
                <a:lnTo>
                  <a:pt x="649" y="917"/>
                </a:lnTo>
                <a:lnTo>
                  <a:pt x="652" y="917"/>
                </a:lnTo>
                <a:lnTo>
                  <a:pt x="654" y="917"/>
                </a:lnTo>
                <a:lnTo>
                  <a:pt x="654" y="915"/>
                </a:lnTo>
                <a:lnTo>
                  <a:pt x="657" y="915"/>
                </a:lnTo>
                <a:lnTo>
                  <a:pt x="660" y="915"/>
                </a:lnTo>
                <a:lnTo>
                  <a:pt x="660" y="915"/>
                </a:lnTo>
                <a:lnTo>
                  <a:pt x="662" y="912"/>
                </a:lnTo>
                <a:lnTo>
                  <a:pt x="665" y="915"/>
                </a:lnTo>
                <a:lnTo>
                  <a:pt x="668" y="917"/>
                </a:lnTo>
                <a:lnTo>
                  <a:pt x="673" y="920"/>
                </a:lnTo>
                <a:lnTo>
                  <a:pt x="676" y="920"/>
                </a:lnTo>
                <a:lnTo>
                  <a:pt x="676" y="923"/>
                </a:lnTo>
                <a:lnTo>
                  <a:pt x="673" y="925"/>
                </a:lnTo>
                <a:lnTo>
                  <a:pt x="673" y="925"/>
                </a:lnTo>
                <a:lnTo>
                  <a:pt x="676" y="925"/>
                </a:lnTo>
                <a:lnTo>
                  <a:pt x="678" y="925"/>
                </a:lnTo>
                <a:lnTo>
                  <a:pt x="678" y="928"/>
                </a:lnTo>
                <a:lnTo>
                  <a:pt x="684" y="928"/>
                </a:lnTo>
                <a:lnTo>
                  <a:pt x="686" y="931"/>
                </a:lnTo>
                <a:lnTo>
                  <a:pt x="689" y="933"/>
                </a:lnTo>
                <a:lnTo>
                  <a:pt x="692" y="939"/>
                </a:lnTo>
                <a:lnTo>
                  <a:pt x="702" y="947"/>
                </a:lnTo>
                <a:lnTo>
                  <a:pt x="705" y="949"/>
                </a:lnTo>
                <a:lnTo>
                  <a:pt x="705" y="952"/>
                </a:lnTo>
                <a:lnTo>
                  <a:pt x="705" y="952"/>
                </a:lnTo>
                <a:lnTo>
                  <a:pt x="705" y="955"/>
                </a:lnTo>
                <a:lnTo>
                  <a:pt x="705" y="955"/>
                </a:lnTo>
                <a:lnTo>
                  <a:pt x="711" y="955"/>
                </a:lnTo>
                <a:lnTo>
                  <a:pt x="711" y="955"/>
                </a:lnTo>
                <a:lnTo>
                  <a:pt x="711" y="952"/>
                </a:lnTo>
                <a:lnTo>
                  <a:pt x="711" y="952"/>
                </a:lnTo>
                <a:lnTo>
                  <a:pt x="711" y="952"/>
                </a:lnTo>
                <a:lnTo>
                  <a:pt x="711" y="949"/>
                </a:lnTo>
                <a:lnTo>
                  <a:pt x="713" y="949"/>
                </a:lnTo>
                <a:lnTo>
                  <a:pt x="713" y="949"/>
                </a:lnTo>
                <a:lnTo>
                  <a:pt x="713" y="947"/>
                </a:lnTo>
                <a:lnTo>
                  <a:pt x="719" y="944"/>
                </a:lnTo>
                <a:lnTo>
                  <a:pt x="721" y="944"/>
                </a:lnTo>
                <a:lnTo>
                  <a:pt x="727" y="947"/>
                </a:lnTo>
                <a:lnTo>
                  <a:pt x="729" y="949"/>
                </a:lnTo>
                <a:lnTo>
                  <a:pt x="729" y="949"/>
                </a:lnTo>
                <a:lnTo>
                  <a:pt x="729" y="952"/>
                </a:lnTo>
                <a:lnTo>
                  <a:pt x="729" y="952"/>
                </a:lnTo>
                <a:lnTo>
                  <a:pt x="732" y="952"/>
                </a:lnTo>
                <a:lnTo>
                  <a:pt x="735" y="955"/>
                </a:lnTo>
                <a:lnTo>
                  <a:pt x="735" y="955"/>
                </a:lnTo>
                <a:lnTo>
                  <a:pt x="737" y="955"/>
                </a:lnTo>
                <a:lnTo>
                  <a:pt x="740" y="960"/>
                </a:lnTo>
                <a:lnTo>
                  <a:pt x="740" y="960"/>
                </a:lnTo>
                <a:lnTo>
                  <a:pt x="743" y="960"/>
                </a:lnTo>
                <a:lnTo>
                  <a:pt x="745" y="957"/>
                </a:lnTo>
                <a:lnTo>
                  <a:pt x="745" y="957"/>
                </a:lnTo>
                <a:lnTo>
                  <a:pt x="745" y="955"/>
                </a:lnTo>
                <a:lnTo>
                  <a:pt x="745" y="955"/>
                </a:lnTo>
                <a:lnTo>
                  <a:pt x="745" y="955"/>
                </a:lnTo>
                <a:lnTo>
                  <a:pt x="745" y="955"/>
                </a:lnTo>
                <a:lnTo>
                  <a:pt x="743" y="947"/>
                </a:lnTo>
                <a:lnTo>
                  <a:pt x="743" y="944"/>
                </a:lnTo>
                <a:lnTo>
                  <a:pt x="743" y="944"/>
                </a:lnTo>
                <a:lnTo>
                  <a:pt x="745" y="941"/>
                </a:lnTo>
                <a:lnTo>
                  <a:pt x="745" y="941"/>
                </a:lnTo>
                <a:lnTo>
                  <a:pt x="745" y="939"/>
                </a:lnTo>
                <a:lnTo>
                  <a:pt x="748" y="933"/>
                </a:lnTo>
                <a:lnTo>
                  <a:pt x="745" y="933"/>
                </a:lnTo>
                <a:lnTo>
                  <a:pt x="745" y="931"/>
                </a:lnTo>
                <a:lnTo>
                  <a:pt x="745" y="931"/>
                </a:lnTo>
                <a:lnTo>
                  <a:pt x="743" y="931"/>
                </a:lnTo>
                <a:lnTo>
                  <a:pt x="743" y="933"/>
                </a:lnTo>
                <a:lnTo>
                  <a:pt x="743" y="936"/>
                </a:lnTo>
                <a:lnTo>
                  <a:pt x="743" y="936"/>
                </a:lnTo>
                <a:lnTo>
                  <a:pt x="743" y="936"/>
                </a:lnTo>
                <a:lnTo>
                  <a:pt x="740" y="936"/>
                </a:lnTo>
                <a:lnTo>
                  <a:pt x="740" y="936"/>
                </a:lnTo>
                <a:lnTo>
                  <a:pt x="740" y="936"/>
                </a:lnTo>
                <a:lnTo>
                  <a:pt x="737" y="936"/>
                </a:lnTo>
                <a:lnTo>
                  <a:pt x="735" y="939"/>
                </a:lnTo>
                <a:lnTo>
                  <a:pt x="732" y="939"/>
                </a:lnTo>
                <a:lnTo>
                  <a:pt x="732" y="941"/>
                </a:lnTo>
                <a:lnTo>
                  <a:pt x="729" y="941"/>
                </a:lnTo>
                <a:lnTo>
                  <a:pt x="727" y="941"/>
                </a:lnTo>
                <a:lnTo>
                  <a:pt x="724" y="939"/>
                </a:lnTo>
                <a:lnTo>
                  <a:pt x="724" y="939"/>
                </a:lnTo>
                <a:lnTo>
                  <a:pt x="724" y="939"/>
                </a:lnTo>
                <a:lnTo>
                  <a:pt x="727" y="936"/>
                </a:lnTo>
                <a:lnTo>
                  <a:pt x="727" y="936"/>
                </a:lnTo>
                <a:lnTo>
                  <a:pt x="727" y="936"/>
                </a:lnTo>
                <a:lnTo>
                  <a:pt x="729" y="936"/>
                </a:lnTo>
                <a:lnTo>
                  <a:pt x="732" y="936"/>
                </a:lnTo>
                <a:lnTo>
                  <a:pt x="732" y="933"/>
                </a:lnTo>
                <a:lnTo>
                  <a:pt x="732" y="931"/>
                </a:lnTo>
                <a:lnTo>
                  <a:pt x="729" y="931"/>
                </a:lnTo>
                <a:lnTo>
                  <a:pt x="729" y="928"/>
                </a:lnTo>
                <a:lnTo>
                  <a:pt x="729" y="928"/>
                </a:lnTo>
                <a:lnTo>
                  <a:pt x="732" y="925"/>
                </a:lnTo>
                <a:lnTo>
                  <a:pt x="732" y="925"/>
                </a:lnTo>
                <a:lnTo>
                  <a:pt x="732" y="923"/>
                </a:lnTo>
                <a:lnTo>
                  <a:pt x="732" y="920"/>
                </a:lnTo>
                <a:lnTo>
                  <a:pt x="735" y="920"/>
                </a:lnTo>
                <a:lnTo>
                  <a:pt x="737" y="923"/>
                </a:lnTo>
                <a:lnTo>
                  <a:pt x="740" y="920"/>
                </a:lnTo>
                <a:lnTo>
                  <a:pt x="737" y="920"/>
                </a:lnTo>
                <a:lnTo>
                  <a:pt x="735" y="915"/>
                </a:lnTo>
                <a:lnTo>
                  <a:pt x="737" y="915"/>
                </a:lnTo>
                <a:lnTo>
                  <a:pt x="737" y="912"/>
                </a:lnTo>
                <a:lnTo>
                  <a:pt x="737" y="909"/>
                </a:lnTo>
                <a:lnTo>
                  <a:pt x="740" y="909"/>
                </a:lnTo>
                <a:lnTo>
                  <a:pt x="740" y="909"/>
                </a:lnTo>
                <a:lnTo>
                  <a:pt x="743" y="906"/>
                </a:lnTo>
                <a:lnTo>
                  <a:pt x="748" y="904"/>
                </a:lnTo>
                <a:lnTo>
                  <a:pt x="753" y="904"/>
                </a:lnTo>
                <a:lnTo>
                  <a:pt x="753" y="906"/>
                </a:lnTo>
                <a:lnTo>
                  <a:pt x="753" y="909"/>
                </a:lnTo>
                <a:lnTo>
                  <a:pt x="756" y="909"/>
                </a:lnTo>
                <a:lnTo>
                  <a:pt x="756" y="909"/>
                </a:lnTo>
                <a:lnTo>
                  <a:pt x="759" y="904"/>
                </a:lnTo>
                <a:lnTo>
                  <a:pt x="759" y="901"/>
                </a:lnTo>
                <a:lnTo>
                  <a:pt x="759" y="901"/>
                </a:lnTo>
                <a:lnTo>
                  <a:pt x="756" y="898"/>
                </a:lnTo>
                <a:lnTo>
                  <a:pt x="756" y="898"/>
                </a:lnTo>
                <a:lnTo>
                  <a:pt x="759" y="896"/>
                </a:lnTo>
                <a:lnTo>
                  <a:pt x="759" y="896"/>
                </a:lnTo>
                <a:lnTo>
                  <a:pt x="756" y="893"/>
                </a:lnTo>
                <a:lnTo>
                  <a:pt x="759" y="890"/>
                </a:lnTo>
                <a:lnTo>
                  <a:pt x="767" y="888"/>
                </a:lnTo>
                <a:lnTo>
                  <a:pt x="769" y="885"/>
                </a:lnTo>
                <a:lnTo>
                  <a:pt x="775" y="874"/>
                </a:lnTo>
                <a:lnTo>
                  <a:pt x="778" y="872"/>
                </a:lnTo>
                <a:lnTo>
                  <a:pt x="780" y="869"/>
                </a:lnTo>
                <a:lnTo>
                  <a:pt x="780" y="869"/>
                </a:lnTo>
                <a:lnTo>
                  <a:pt x="783" y="866"/>
                </a:lnTo>
                <a:lnTo>
                  <a:pt x="783" y="866"/>
                </a:lnTo>
                <a:lnTo>
                  <a:pt x="783" y="866"/>
                </a:lnTo>
                <a:lnTo>
                  <a:pt x="783" y="864"/>
                </a:lnTo>
                <a:lnTo>
                  <a:pt x="783" y="861"/>
                </a:lnTo>
                <a:lnTo>
                  <a:pt x="783" y="861"/>
                </a:lnTo>
                <a:lnTo>
                  <a:pt x="791" y="855"/>
                </a:lnTo>
                <a:lnTo>
                  <a:pt x="794" y="855"/>
                </a:lnTo>
                <a:lnTo>
                  <a:pt x="796" y="853"/>
                </a:lnTo>
                <a:lnTo>
                  <a:pt x="799" y="853"/>
                </a:lnTo>
                <a:lnTo>
                  <a:pt x="802" y="850"/>
                </a:lnTo>
                <a:lnTo>
                  <a:pt x="807" y="847"/>
                </a:lnTo>
                <a:lnTo>
                  <a:pt x="807" y="845"/>
                </a:lnTo>
                <a:lnTo>
                  <a:pt x="807" y="845"/>
                </a:lnTo>
                <a:lnTo>
                  <a:pt x="807" y="845"/>
                </a:lnTo>
                <a:lnTo>
                  <a:pt x="810" y="842"/>
                </a:lnTo>
                <a:lnTo>
                  <a:pt x="815" y="839"/>
                </a:lnTo>
                <a:lnTo>
                  <a:pt x="818" y="839"/>
                </a:lnTo>
                <a:lnTo>
                  <a:pt x="820" y="839"/>
                </a:lnTo>
                <a:lnTo>
                  <a:pt x="820" y="839"/>
                </a:lnTo>
                <a:lnTo>
                  <a:pt x="823" y="837"/>
                </a:lnTo>
                <a:lnTo>
                  <a:pt x="823" y="837"/>
                </a:lnTo>
                <a:lnTo>
                  <a:pt x="826" y="837"/>
                </a:lnTo>
                <a:lnTo>
                  <a:pt x="828" y="834"/>
                </a:lnTo>
                <a:lnTo>
                  <a:pt x="828" y="834"/>
                </a:lnTo>
                <a:lnTo>
                  <a:pt x="831" y="831"/>
                </a:lnTo>
                <a:lnTo>
                  <a:pt x="834" y="831"/>
                </a:lnTo>
                <a:lnTo>
                  <a:pt x="836" y="831"/>
                </a:lnTo>
                <a:lnTo>
                  <a:pt x="839" y="831"/>
                </a:lnTo>
                <a:lnTo>
                  <a:pt x="842" y="831"/>
                </a:lnTo>
                <a:lnTo>
                  <a:pt x="842" y="829"/>
                </a:lnTo>
                <a:lnTo>
                  <a:pt x="847" y="826"/>
                </a:lnTo>
                <a:lnTo>
                  <a:pt x="845" y="826"/>
                </a:lnTo>
                <a:lnTo>
                  <a:pt x="839" y="829"/>
                </a:lnTo>
                <a:lnTo>
                  <a:pt x="839" y="829"/>
                </a:lnTo>
                <a:lnTo>
                  <a:pt x="839" y="826"/>
                </a:lnTo>
                <a:lnTo>
                  <a:pt x="839" y="826"/>
                </a:lnTo>
                <a:lnTo>
                  <a:pt x="839" y="826"/>
                </a:lnTo>
                <a:lnTo>
                  <a:pt x="842" y="826"/>
                </a:lnTo>
                <a:lnTo>
                  <a:pt x="842" y="823"/>
                </a:lnTo>
                <a:lnTo>
                  <a:pt x="842" y="823"/>
                </a:lnTo>
                <a:lnTo>
                  <a:pt x="845" y="823"/>
                </a:lnTo>
                <a:lnTo>
                  <a:pt x="845" y="821"/>
                </a:lnTo>
                <a:lnTo>
                  <a:pt x="845" y="818"/>
                </a:lnTo>
                <a:lnTo>
                  <a:pt x="847" y="818"/>
                </a:lnTo>
                <a:lnTo>
                  <a:pt x="850" y="821"/>
                </a:lnTo>
                <a:lnTo>
                  <a:pt x="850" y="821"/>
                </a:lnTo>
                <a:lnTo>
                  <a:pt x="850" y="823"/>
                </a:lnTo>
                <a:lnTo>
                  <a:pt x="850" y="823"/>
                </a:lnTo>
                <a:lnTo>
                  <a:pt x="853" y="823"/>
                </a:lnTo>
                <a:lnTo>
                  <a:pt x="853" y="823"/>
                </a:lnTo>
                <a:lnTo>
                  <a:pt x="853" y="823"/>
                </a:lnTo>
                <a:lnTo>
                  <a:pt x="861" y="823"/>
                </a:lnTo>
                <a:lnTo>
                  <a:pt x="866" y="823"/>
                </a:lnTo>
                <a:lnTo>
                  <a:pt x="869" y="821"/>
                </a:lnTo>
                <a:lnTo>
                  <a:pt x="871" y="818"/>
                </a:lnTo>
                <a:lnTo>
                  <a:pt x="874" y="818"/>
                </a:lnTo>
                <a:lnTo>
                  <a:pt x="874" y="815"/>
                </a:lnTo>
                <a:lnTo>
                  <a:pt x="879" y="813"/>
                </a:lnTo>
                <a:lnTo>
                  <a:pt x="885" y="799"/>
                </a:lnTo>
                <a:lnTo>
                  <a:pt x="885" y="796"/>
                </a:lnTo>
                <a:lnTo>
                  <a:pt x="890" y="791"/>
                </a:lnTo>
                <a:lnTo>
                  <a:pt x="890" y="791"/>
                </a:lnTo>
                <a:lnTo>
                  <a:pt x="893" y="788"/>
                </a:lnTo>
                <a:lnTo>
                  <a:pt x="893" y="780"/>
                </a:lnTo>
                <a:lnTo>
                  <a:pt x="893" y="778"/>
                </a:lnTo>
                <a:lnTo>
                  <a:pt x="898" y="770"/>
                </a:lnTo>
                <a:lnTo>
                  <a:pt x="898" y="767"/>
                </a:lnTo>
                <a:lnTo>
                  <a:pt x="898" y="767"/>
                </a:lnTo>
                <a:lnTo>
                  <a:pt x="898" y="764"/>
                </a:lnTo>
                <a:lnTo>
                  <a:pt x="901" y="762"/>
                </a:lnTo>
                <a:lnTo>
                  <a:pt x="901" y="759"/>
                </a:lnTo>
                <a:lnTo>
                  <a:pt x="903" y="759"/>
                </a:lnTo>
                <a:lnTo>
                  <a:pt x="906" y="759"/>
                </a:lnTo>
                <a:lnTo>
                  <a:pt x="914" y="751"/>
                </a:lnTo>
                <a:lnTo>
                  <a:pt x="914" y="748"/>
                </a:lnTo>
                <a:lnTo>
                  <a:pt x="914" y="748"/>
                </a:lnTo>
                <a:lnTo>
                  <a:pt x="914" y="746"/>
                </a:lnTo>
                <a:lnTo>
                  <a:pt x="914" y="746"/>
                </a:lnTo>
                <a:lnTo>
                  <a:pt x="917" y="743"/>
                </a:lnTo>
                <a:lnTo>
                  <a:pt x="920" y="743"/>
                </a:lnTo>
                <a:lnTo>
                  <a:pt x="922" y="740"/>
                </a:lnTo>
                <a:lnTo>
                  <a:pt x="922" y="740"/>
                </a:lnTo>
                <a:lnTo>
                  <a:pt x="928" y="743"/>
                </a:lnTo>
                <a:lnTo>
                  <a:pt x="928" y="746"/>
                </a:lnTo>
                <a:lnTo>
                  <a:pt x="930" y="746"/>
                </a:lnTo>
                <a:lnTo>
                  <a:pt x="930" y="746"/>
                </a:lnTo>
                <a:lnTo>
                  <a:pt x="933" y="746"/>
                </a:lnTo>
                <a:lnTo>
                  <a:pt x="933" y="746"/>
                </a:lnTo>
                <a:lnTo>
                  <a:pt x="933" y="743"/>
                </a:lnTo>
                <a:lnTo>
                  <a:pt x="933" y="740"/>
                </a:lnTo>
                <a:lnTo>
                  <a:pt x="933" y="740"/>
                </a:lnTo>
                <a:lnTo>
                  <a:pt x="930" y="737"/>
                </a:lnTo>
                <a:lnTo>
                  <a:pt x="930" y="737"/>
                </a:lnTo>
                <a:lnTo>
                  <a:pt x="933" y="737"/>
                </a:lnTo>
                <a:lnTo>
                  <a:pt x="933" y="737"/>
                </a:lnTo>
                <a:lnTo>
                  <a:pt x="933" y="737"/>
                </a:lnTo>
                <a:lnTo>
                  <a:pt x="936" y="737"/>
                </a:lnTo>
                <a:lnTo>
                  <a:pt x="936" y="735"/>
                </a:lnTo>
                <a:lnTo>
                  <a:pt x="936" y="732"/>
                </a:lnTo>
                <a:lnTo>
                  <a:pt x="938" y="732"/>
                </a:lnTo>
                <a:lnTo>
                  <a:pt x="938" y="732"/>
                </a:lnTo>
                <a:lnTo>
                  <a:pt x="938" y="729"/>
                </a:lnTo>
                <a:lnTo>
                  <a:pt x="938" y="724"/>
                </a:lnTo>
                <a:lnTo>
                  <a:pt x="936" y="719"/>
                </a:lnTo>
                <a:lnTo>
                  <a:pt x="936" y="716"/>
                </a:lnTo>
                <a:lnTo>
                  <a:pt x="936" y="716"/>
                </a:lnTo>
                <a:lnTo>
                  <a:pt x="936" y="713"/>
                </a:lnTo>
                <a:lnTo>
                  <a:pt x="930" y="713"/>
                </a:lnTo>
                <a:lnTo>
                  <a:pt x="930" y="713"/>
                </a:lnTo>
                <a:lnTo>
                  <a:pt x="933" y="711"/>
                </a:lnTo>
                <a:lnTo>
                  <a:pt x="933" y="705"/>
                </a:lnTo>
                <a:lnTo>
                  <a:pt x="933" y="703"/>
                </a:lnTo>
                <a:lnTo>
                  <a:pt x="930" y="700"/>
                </a:lnTo>
                <a:lnTo>
                  <a:pt x="933" y="700"/>
                </a:lnTo>
                <a:lnTo>
                  <a:pt x="933" y="697"/>
                </a:lnTo>
                <a:lnTo>
                  <a:pt x="933" y="695"/>
                </a:lnTo>
                <a:lnTo>
                  <a:pt x="933" y="695"/>
                </a:lnTo>
                <a:lnTo>
                  <a:pt x="936" y="695"/>
                </a:lnTo>
                <a:lnTo>
                  <a:pt x="936" y="697"/>
                </a:lnTo>
                <a:lnTo>
                  <a:pt x="936" y="700"/>
                </a:lnTo>
                <a:lnTo>
                  <a:pt x="936" y="700"/>
                </a:lnTo>
                <a:lnTo>
                  <a:pt x="936" y="700"/>
                </a:lnTo>
                <a:lnTo>
                  <a:pt x="938" y="700"/>
                </a:lnTo>
                <a:lnTo>
                  <a:pt x="938" y="700"/>
                </a:lnTo>
                <a:lnTo>
                  <a:pt x="938" y="703"/>
                </a:lnTo>
                <a:lnTo>
                  <a:pt x="936" y="703"/>
                </a:lnTo>
                <a:lnTo>
                  <a:pt x="938" y="705"/>
                </a:lnTo>
                <a:lnTo>
                  <a:pt x="938" y="705"/>
                </a:lnTo>
                <a:lnTo>
                  <a:pt x="941" y="708"/>
                </a:lnTo>
                <a:lnTo>
                  <a:pt x="941" y="708"/>
                </a:lnTo>
                <a:lnTo>
                  <a:pt x="941" y="711"/>
                </a:lnTo>
                <a:lnTo>
                  <a:pt x="941" y="711"/>
                </a:lnTo>
                <a:lnTo>
                  <a:pt x="941" y="713"/>
                </a:lnTo>
                <a:lnTo>
                  <a:pt x="941" y="713"/>
                </a:lnTo>
                <a:lnTo>
                  <a:pt x="941" y="713"/>
                </a:lnTo>
                <a:lnTo>
                  <a:pt x="941" y="713"/>
                </a:lnTo>
                <a:lnTo>
                  <a:pt x="941" y="713"/>
                </a:lnTo>
                <a:lnTo>
                  <a:pt x="941" y="713"/>
                </a:lnTo>
                <a:lnTo>
                  <a:pt x="944" y="713"/>
                </a:lnTo>
                <a:lnTo>
                  <a:pt x="944" y="716"/>
                </a:lnTo>
                <a:lnTo>
                  <a:pt x="946" y="716"/>
                </a:lnTo>
                <a:lnTo>
                  <a:pt x="946" y="716"/>
                </a:lnTo>
                <a:lnTo>
                  <a:pt x="946" y="716"/>
                </a:lnTo>
                <a:lnTo>
                  <a:pt x="946" y="716"/>
                </a:lnTo>
                <a:lnTo>
                  <a:pt x="952" y="719"/>
                </a:lnTo>
                <a:lnTo>
                  <a:pt x="949" y="721"/>
                </a:lnTo>
                <a:lnTo>
                  <a:pt x="946" y="721"/>
                </a:lnTo>
                <a:lnTo>
                  <a:pt x="946" y="724"/>
                </a:lnTo>
                <a:lnTo>
                  <a:pt x="954" y="746"/>
                </a:lnTo>
                <a:lnTo>
                  <a:pt x="954" y="748"/>
                </a:lnTo>
                <a:lnTo>
                  <a:pt x="954" y="748"/>
                </a:lnTo>
                <a:lnTo>
                  <a:pt x="954" y="748"/>
                </a:lnTo>
                <a:lnTo>
                  <a:pt x="957" y="748"/>
                </a:lnTo>
                <a:lnTo>
                  <a:pt x="960" y="748"/>
                </a:lnTo>
                <a:lnTo>
                  <a:pt x="960" y="751"/>
                </a:lnTo>
                <a:lnTo>
                  <a:pt x="960" y="751"/>
                </a:lnTo>
                <a:lnTo>
                  <a:pt x="962" y="754"/>
                </a:lnTo>
                <a:lnTo>
                  <a:pt x="962" y="756"/>
                </a:lnTo>
                <a:lnTo>
                  <a:pt x="962" y="756"/>
                </a:lnTo>
                <a:lnTo>
                  <a:pt x="962" y="759"/>
                </a:lnTo>
                <a:lnTo>
                  <a:pt x="962" y="759"/>
                </a:lnTo>
                <a:lnTo>
                  <a:pt x="962" y="759"/>
                </a:lnTo>
                <a:lnTo>
                  <a:pt x="962" y="759"/>
                </a:lnTo>
                <a:lnTo>
                  <a:pt x="962" y="762"/>
                </a:lnTo>
                <a:lnTo>
                  <a:pt x="960" y="762"/>
                </a:lnTo>
                <a:lnTo>
                  <a:pt x="960" y="762"/>
                </a:lnTo>
                <a:lnTo>
                  <a:pt x="957" y="762"/>
                </a:lnTo>
                <a:lnTo>
                  <a:pt x="957" y="762"/>
                </a:lnTo>
                <a:lnTo>
                  <a:pt x="957" y="762"/>
                </a:lnTo>
                <a:lnTo>
                  <a:pt x="954" y="762"/>
                </a:lnTo>
                <a:lnTo>
                  <a:pt x="954" y="762"/>
                </a:lnTo>
                <a:lnTo>
                  <a:pt x="954" y="762"/>
                </a:lnTo>
                <a:lnTo>
                  <a:pt x="954" y="762"/>
                </a:lnTo>
                <a:lnTo>
                  <a:pt x="952" y="762"/>
                </a:lnTo>
                <a:lnTo>
                  <a:pt x="946" y="764"/>
                </a:lnTo>
                <a:lnTo>
                  <a:pt x="944" y="767"/>
                </a:lnTo>
                <a:lnTo>
                  <a:pt x="941" y="767"/>
                </a:lnTo>
                <a:lnTo>
                  <a:pt x="941" y="770"/>
                </a:lnTo>
                <a:lnTo>
                  <a:pt x="938" y="772"/>
                </a:lnTo>
                <a:lnTo>
                  <a:pt x="938" y="775"/>
                </a:lnTo>
                <a:lnTo>
                  <a:pt x="938" y="778"/>
                </a:lnTo>
                <a:lnTo>
                  <a:pt x="941" y="780"/>
                </a:lnTo>
                <a:lnTo>
                  <a:pt x="946" y="783"/>
                </a:lnTo>
                <a:lnTo>
                  <a:pt x="946" y="783"/>
                </a:lnTo>
                <a:lnTo>
                  <a:pt x="946" y="786"/>
                </a:lnTo>
                <a:lnTo>
                  <a:pt x="944" y="788"/>
                </a:lnTo>
                <a:lnTo>
                  <a:pt x="944" y="791"/>
                </a:lnTo>
                <a:lnTo>
                  <a:pt x="949" y="791"/>
                </a:lnTo>
                <a:lnTo>
                  <a:pt x="949" y="794"/>
                </a:lnTo>
                <a:lnTo>
                  <a:pt x="949" y="794"/>
                </a:lnTo>
                <a:lnTo>
                  <a:pt x="949" y="796"/>
                </a:lnTo>
                <a:lnTo>
                  <a:pt x="952" y="799"/>
                </a:lnTo>
                <a:lnTo>
                  <a:pt x="952" y="802"/>
                </a:lnTo>
                <a:lnTo>
                  <a:pt x="952" y="807"/>
                </a:lnTo>
                <a:lnTo>
                  <a:pt x="952" y="807"/>
                </a:lnTo>
                <a:lnTo>
                  <a:pt x="952" y="810"/>
                </a:lnTo>
                <a:lnTo>
                  <a:pt x="952" y="813"/>
                </a:lnTo>
                <a:lnTo>
                  <a:pt x="946" y="810"/>
                </a:lnTo>
                <a:lnTo>
                  <a:pt x="944" y="813"/>
                </a:lnTo>
                <a:lnTo>
                  <a:pt x="936" y="821"/>
                </a:lnTo>
                <a:lnTo>
                  <a:pt x="936" y="821"/>
                </a:lnTo>
                <a:lnTo>
                  <a:pt x="933" y="821"/>
                </a:lnTo>
                <a:lnTo>
                  <a:pt x="930" y="823"/>
                </a:lnTo>
                <a:lnTo>
                  <a:pt x="928" y="831"/>
                </a:lnTo>
                <a:lnTo>
                  <a:pt x="928" y="831"/>
                </a:lnTo>
                <a:lnTo>
                  <a:pt x="922" y="834"/>
                </a:lnTo>
                <a:lnTo>
                  <a:pt x="920" y="837"/>
                </a:lnTo>
                <a:lnTo>
                  <a:pt x="917" y="839"/>
                </a:lnTo>
                <a:lnTo>
                  <a:pt x="914" y="839"/>
                </a:lnTo>
                <a:lnTo>
                  <a:pt x="917" y="839"/>
                </a:lnTo>
                <a:lnTo>
                  <a:pt x="917" y="842"/>
                </a:lnTo>
                <a:lnTo>
                  <a:pt x="917" y="842"/>
                </a:lnTo>
                <a:lnTo>
                  <a:pt x="920" y="842"/>
                </a:lnTo>
                <a:lnTo>
                  <a:pt x="917" y="845"/>
                </a:lnTo>
                <a:lnTo>
                  <a:pt x="917" y="845"/>
                </a:lnTo>
                <a:lnTo>
                  <a:pt x="917" y="847"/>
                </a:lnTo>
                <a:lnTo>
                  <a:pt x="914" y="847"/>
                </a:lnTo>
                <a:lnTo>
                  <a:pt x="912" y="850"/>
                </a:lnTo>
                <a:lnTo>
                  <a:pt x="912" y="850"/>
                </a:lnTo>
                <a:lnTo>
                  <a:pt x="909" y="853"/>
                </a:lnTo>
                <a:lnTo>
                  <a:pt x="909" y="855"/>
                </a:lnTo>
                <a:lnTo>
                  <a:pt x="909" y="855"/>
                </a:lnTo>
                <a:lnTo>
                  <a:pt x="909" y="855"/>
                </a:lnTo>
                <a:lnTo>
                  <a:pt x="909" y="858"/>
                </a:lnTo>
                <a:lnTo>
                  <a:pt x="912" y="858"/>
                </a:lnTo>
                <a:lnTo>
                  <a:pt x="912" y="861"/>
                </a:lnTo>
                <a:lnTo>
                  <a:pt x="909" y="861"/>
                </a:lnTo>
                <a:lnTo>
                  <a:pt x="906" y="869"/>
                </a:lnTo>
                <a:lnTo>
                  <a:pt x="906" y="869"/>
                </a:lnTo>
                <a:lnTo>
                  <a:pt x="903" y="869"/>
                </a:lnTo>
                <a:lnTo>
                  <a:pt x="901" y="869"/>
                </a:lnTo>
                <a:lnTo>
                  <a:pt x="901" y="869"/>
                </a:lnTo>
                <a:lnTo>
                  <a:pt x="901" y="869"/>
                </a:lnTo>
                <a:lnTo>
                  <a:pt x="901" y="869"/>
                </a:lnTo>
                <a:lnTo>
                  <a:pt x="901" y="872"/>
                </a:lnTo>
                <a:lnTo>
                  <a:pt x="901" y="874"/>
                </a:lnTo>
                <a:lnTo>
                  <a:pt x="903" y="877"/>
                </a:lnTo>
                <a:lnTo>
                  <a:pt x="903" y="877"/>
                </a:lnTo>
                <a:lnTo>
                  <a:pt x="903" y="880"/>
                </a:lnTo>
                <a:lnTo>
                  <a:pt x="903" y="882"/>
                </a:lnTo>
                <a:lnTo>
                  <a:pt x="903" y="890"/>
                </a:lnTo>
                <a:lnTo>
                  <a:pt x="901" y="893"/>
                </a:lnTo>
                <a:lnTo>
                  <a:pt x="901" y="893"/>
                </a:lnTo>
                <a:lnTo>
                  <a:pt x="901" y="896"/>
                </a:lnTo>
                <a:lnTo>
                  <a:pt x="901" y="896"/>
                </a:lnTo>
                <a:lnTo>
                  <a:pt x="901" y="896"/>
                </a:lnTo>
                <a:lnTo>
                  <a:pt x="898" y="896"/>
                </a:lnTo>
                <a:lnTo>
                  <a:pt x="898" y="896"/>
                </a:lnTo>
                <a:lnTo>
                  <a:pt x="898" y="898"/>
                </a:lnTo>
                <a:lnTo>
                  <a:pt x="895" y="901"/>
                </a:lnTo>
                <a:lnTo>
                  <a:pt x="895" y="904"/>
                </a:lnTo>
                <a:lnTo>
                  <a:pt x="898" y="904"/>
                </a:lnTo>
                <a:lnTo>
                  <a:pt x="898" y="901"/>
                </a:lnTo>
                <a:lnTo>
                  <a:pt x="901" y="901"/>
                </a:lnTo>
                <a:lnTo>
                  <a:pt x="903" y="904"/>
                </a:lnTo>
                <a:lnTo>
                  <a:pt x="903" y="904"/>
                </a:lnTo>
                <a:lnTo>
                  <a:pt x="903" y="909"/>
                </a:lnTo>
                <a:lnTo>
                  <a:pt x="903" y="912"/>
                </a:lnTo>
                <a:lnTo>
                  <a:pt x="903" y="915"/>
                </a:lnTo>
                <a:lnTo>
                  <a:pt x="906" y="920"/>
                </a:lnTo>
                <a:lnTo>
                  <a:pt x="903" y="928"/>
                </a:lnTo>
                <a:lnTo>
                  <a:pt x="903" y="931"/>
                </a:lnTo>
                <a:lnTo>
                  <a:pt x="903" y="933"/>
                </a:lnTo>
                <a:lnTo>
                  <a:pt x="903" y="933"/>
                </a:lnTo>
                <a:lnTo>
                  <a:pt x="901" y="936"/>
                </a:lnTo>
                <a:lnTo>
                  <a:pt x="901" y="939"/>
                </a:lnTo>
                <a:lnTo>
                  <a:pt x="901" y="944"/>
                </a:lnTo>
                <a:lnTo>
                  <a:pt x="901" y="947"/>
                </a:lnTo>
                <a:lnTo>
                  <a:pt x="898" y="952"/>
                </a:lnTo>
                <a:lnTo>
                  <a:pt x="895" y="955"/>
                </a:lnTo>
                <a:lnTo>
                  <a:pt x="893" y="955"/>
                </a:lnTo>
                <a:lnTo>
                  <a:pt x="890" y="955"/>
                </a:lnTo>
                <a:lnTo>
                  <a:pt x="890" y="952"/>
                </a:lnTo>
                <a:lnTo>
                  <a:pt x="885" y="952"/>
                </a:lnTo>
                <a:lnTo>
                  <a:pt x="882" y="952"/>
                </a:lnTo>
                <a:lnTo>
                  <a:pt x="882" y="949"/>
                </a:lnTo>
                <a:lnTo>
                  <a:pt x="879" y="949"/>
                </a:lnTo>
                <a:lnTo>
                  <a:pt x="874" y="949"/>
                </a:lnTo>
                <a:lnTo>
                  <a:pt x="866" y="952"/>
                </a:lnTo>
                <a:lnTo>
                  <a:pt x="861" y="952"/>
                </a:lnTo>
                <a:lnTo>
                  <a:pt x="855" y="949"/>
                </a:lnTo>
                <a:lnTo>
                  <a:pt x="853" y="949"/>
                </a:lnTo>
                <a:lnTo>
                  <a:pt x="853" y="952"/>
                </a:lnTo>
                <a:lnTo>
                  <a:pt x="847" y="955"/>
                </a:lnTo>
                <a:lnTo>
                  <a:pt x="850" y="957"/>
                </a:lnTo>
                <a:lnTo>
                  <a:pt x="850" y="960"/>
                </a:lnTo>
                <a:lnTo>
                  <a:pt x="847" y="960"/>
                </a:lnTo>
                <a:lnTo>
                  <a:pt x="845" y="963"/>
                </a:lnTo>
                <a:lnTo>
                  <a:pt x="845" y="963"/>
                </a:lnTo>
                <a:lnTo>
                  <a:pt x="845" y="965"/>
                </a:lnTo>
                <a:lnTo>
                  <a:pt x="847" y="965"/>
                </a:lnTo>
                <a:lnTo>
                  <a:pt x="847" y="968"/>
                </a:lnTo>
                <a:lnTo>
                  <a:pt x="847" y="971"/>
                </a:lnTo>
                <a:lnTo>
                  <a:pt x="845" y="974"/>
                </a:lnTo>
                <a:lnTo>
                  <a:pt x="845" y="976"/>
                </a:lnTo>
                <a:lnTo>
                  <a:pt x="845" y="976"/>
                </a:lnTo>
                <a:lnTo>
                  <a:pt x="842" y="976"/>
                </a:lnTo>
                <a:lnTo>
                  <a:pt x="842" y="976"/>
                </a:lnTo>
                <a:lnTo>
                  <a:pt x="839" y="979"/>
                </a:lnTo>
                <a:lnTo>
                  <a:pt x="842" y="979"/>
                </a:lnTo>
                <a:lnTo>
                  <a:pt x="839" y="979"/>
                </a:lnTo>
                <a:lnTo>
                  <a:pt x="836" y="982"/>
                </a:lnTo>
                <a:lnTo>
                  <a:pt x="836" y="982"/>
                </a:lnTo>
                <a:lnTo>
                  <a:pt x="834" y="984"/>
                </a:lnTo>
                <a:lnTo>
                  <a:pt x="834" y="984"/>
                </a:lnTo>
                <a:lnTo>
                  <a:pt x="834" y="987"/>
                </a:lnTo>
                <a:lnTo>
                  <a:pt x="834" y="987"/>
                </a:lnTo>
                <a:lnTo>
                  <a:pt x="836" y="987"/>
                </a:lnTo>
                <a:lnTo>
                  <a:pt x="836" y="990"/>
                </a:lnTo>
                <a:lnTo>
                  <a:pt x="839" y="990"/>
                </a:lnTo>
                <a:lnTo>
                  <a:pt x="842" y="992"/>
                </a:lnTo>
                <a:lnTo>
                  <a:pt x="847" y="990"/>
                </a:lnTo>
                <a:lnTo>
                  <a:pt x="850" y="987"/>
                </a:lnTo>
                <a:lnTo>
                  <a:pt x="855" y="984"/>
                </a:lnTo>
                <a:lnTo>
                  <a:pt x="858" y="984"/>
                </a:lnTo>
                <a:lnTo>
                  <a:pt x="863" y="984"/>
                </a:lnTo>
                <a:lnTo>
                  <a:pt x="869" y="984"/>
                </a:lnTo>
                <a:lnTo>
                  <a:pt x="871" y="984"/>
                </a:lnTo>
                <a:lnTo>
                  <a:pt x="874" y="982"/>
                </a:lnTo>
                <a:lnTo>
                  <a:pt x="877" y="979"/>
                </a:lnTo>
                <a:lnTo>
                  <a:pt x="879" y="976"/>
                </a:lnTo>
                <a:lnTo>
                  <a:pt x="887" y="979"/>
                </a:lnTo>
                <a:lnTo>
                  <a:pt x="887" y="976"/>
                </a:lnTo>
                <a:lnTo>
                  <a:pt x="893" y="974"/>
                </a:lnTo>
                <a:lnTo>
                  <a:pt x="895" y="974"/>
                </a:lnTo>
                <a:lnTo>
                  <a:pt x="895" y="971"/>
                </a:lnTo>
                <a:lnTo>
                  <a:pt x="898" y="971"/>
                </a:lnTo>
                <a:lnTo>
                  <a:pt x="903" y="971"/>
                </a:lnTo>
                <a:lnTo>
                  <a:pt x="903" y="974"/>
                </a:lnTo>
                <a:lnTo>
                  <a:pt x="906" y="974"/>
                </a:lnTo>
                <a:lnTo>
                  <a:pt x="906" y="974"/>
                </a:lnTo>
                <a:lnTo>
                  <a:pt x="909" y="974"/>
                </a:lnTo>
                <a:lnTo>
                  <a:pt x="912" y="974"/>
                </a:lnTo>
                <a:lnTo>
                  <a:pt x="914" y="974"/>
                </a:lnTo>
                <a:lnTo>
                  <a:pt x="917" y="976"/>
                </a:lnTo>
                <a:lnTo>
                  <a:pt x="922" y="979"/>
                </a:lnTo>
                <a:lnTo>
                  <a:pt x="925" y="979"/>
                </a:lnTo>
                <a:lnTo>
                  <a:pt x="925" y="979"/>
                </a:lnTo>
                <a:lnTo>
                  <a:pt x="928" y="976"/>
                </a:lnTo>
                <a:lnTo>
                  <a:pt x="930" y="974"/>
                </a:lnTo>
                <a:lnTo>
                  <a:pt x="930" y="974"/>
                </a:lnTo>
                <a:lnTo>
                  <a:pt x="930" y="974"/>
                </a:lnTo>
                <a:lnTo>
                  <a:pt x="930" y="968"/>
                </a:lnTo>
                <a:lnTo>
                  <a:pt x="930" y="965"/>
                </a:lnTo>
                <a:lnTo>
                  <a:pt x="930" y="965"/>
                </a:lnTo>
                <a:lnTo>
                  <a:pt x="933" y="963"/>
                </a:lnTo>
                <a:lnTo>
                  <a:pt x="933" y="960"/>
                </a:lnTo>
                <a:lnTo>
                  <a:pt x="933" y="957"/>
                </a:lnTo>
                <a:lnTo>
                  <a:pt x="936" y="952"/>
                </a:lnTo>
                <a:lnTo>
                  <a:pt x="938" y="947"/>
                </a:lnTo>
                <a:lnTo>
                  <a:pt x="938" y="944"/>
                </a:lnTo>
                <a:lnTo>
                  <a:pt x="938" y="944"/>
                </a:lnTo>
                <a:lnTo>
                  <a:pt x="941" y="941"/>
                </a:lnTo>
                <a:lnTo>
                  <a:pt x="941" y="941"/>
                </a:lnTo>
                <a:lnTo>
                  <a:pt x="941" y="939"/>
                </a:lnTo>
                <a:lnTo>
                  <a:pt x="944" y="936"/>
                </a:lnTo>
                <a:lnTo>
                  <a:pt x="944" y="936"/>
                </a:lnTo>
                <a:lnTo>
                  <a:pt x="944" y="933"/>
                </a:lnTo>
                <a:lnTo>
                  <a:pt x="944" y="925"/>
                </a:lnTo>
                <a:lnTo>
                  <a:pt x="946" y="925"/>
                </a:lnTo>
                <a:lnTo>
                  <a:pt x="946" y="923"/>
                </a:lnTo>
                <a:lnTo>
                  <a:pt x="949" y="920"/>
                </a:lnTo>
                <a:lnTo>
                  <a:pt x="946" y="915"/>
                </a:lnTo>
                <a:lnTo>
                  <a:pt x="946" y="915"/>
                </a:lnTo>
                <a:lnTo>
                  <a:pt x="946" y="915"/>
                </a:lnTo>
                <a:lnTo>
                  <a:pt x="946" y="912"/>
                </a:lnTo>
                <a:lnTo>
                  <a:pt x="946" y="909"/>
                </a:lnTo>
                <a:lnTo>
                  <a:pt x="949" y="898"/>
                </a:lnTo>
                <a:lnTo>
                  <a:pt x="952" y="898"/>
                </a:lnTo>
                <a:lnTo>
                  <a:pt x="957" y="890"/>
                </a:lnTo>
                <a:lnTo>
                  <a:pt x="962" y="885"/>
                </a:lnTo>
                <a:lnTo>
                  <a:pt x="962" y="885"/>
                </a:lnTo>
                <a:lnTo>
                  <a:pt x="960" y="885"/>
                </a:lnTo>
                <a:lnTo>
                  <a:pt x="960" y="882"/>
                </a:lnTo>
                <a:lnTo>
                  <a:pt x="960" y="880"/>
                </a:lnTo>
                <a:lnTo>
                  <a:pt x="960" y="880"/>
                </a:lnTo>
                <a:lnTo>
                  <a:pt x="960" y="877"/>
                </a:lnTo>
                <a:lnTo>
                  <a:pt x="962" y="872"/>
                </a:lnTo>
                <a:lnTo>
                  <a:pt x="965" y="869"/>
                </a:lnTo>
                <a:lnTo>
                  <a:pt x="965" y="869"/>
                </a:lnTo>
                <a:lnTo>
                  <a:pt x="965" y="866"/>
                </a:lnTo>
                <a:lnTo>
                  <a:pt x="968" y="869"/>
                </a:lnTo>
                <a:lnTo>
                  <a:pt x="976" y="874"/>
                </a:lnTo>
                <a:lnTo>
                  <a:pt x="976" y="877"/>
                </a:lnTo>
                <a:lnTo>
                  <a:pt x="973" y="880"/>
                </a:lnTo>
                <a:lnTo>
                  <a:pt x="973" y="880"/>
                </a:lnTo>
                <a:lnTo>
                  <a:pt x="976" y="882"/>
                </a:lnTo>
                <a:lnTo>
                  <a:pt x="978" y="882"/>
                </a:lnTo>
                <a:lnTo>
                  <a:pt x="981" y="888"/>
                </a:lnTo>
                <a:lnTo>
                  <a:pt x="987" y="898"/>
                </a:lnTo>
                <a:lnTo>
                  <a:pt x="987" y="904"/>
                </a:lnTo>
                <a:lnTo>
                  <a:pt x="989" y="906"/>
                </a:lnTo>
                <a:lnTo>
                  <a:pt x="992" y="909"/>
                </a:lnTo>
                <a:lnTo>
                  <a:pt x="995" y="909"/>
                </a:lnTo>
                <a:lnTo>
                  <a:pt x="995" y="915"/>
                </a:lnTo>
                <a:lnTo>
                  <a:pt x="997" y="917"/>
                </a:lnTo>
                <a:lnTo>
                  <a:pt x="1000" y="917"/>
                </a:lnTo>
                <a:lnTo>
                  <a:pt x="1005" y="920"/>
                </a:lnTo>
                <a:lnTo>
                  <a:pt x="1005" y="923"/>
                </a:lnTo>
                <a:lnTo>
                  <a:pt x="1005" y="923"/>
                </a:lnTo>
                <a:lnTo>
                  <a:pt x="1005" y="923"/>
                </a:lnTo>
                <a:lnTo>
                  <a:pt x="1005" y="925"/>
                </a:lnTo>
                <a:lnTo>
                  <a:pt x="1005" y="925"/>
                </a:lnTo>
                <a:lnTo>
                  <a:pt x="1005" y="925"/>
                </a:lnTo>
                <a:lnTo>
                  <a:pt x="1008" y="928"/>
                </a:lnTo>
                <a:lnTo>
                  <a:pt x="1011" y="928"/>
                </a:lnTo>
                <a:lnTo>
                  <a:pt x="1011" y="928"/>
                </a:lnTo>
                <a:lnTo>
                  <a:pt x="1011" y="931"/>
                </a:lnTo>
                <a:lnTo>
                  <a:pt x="1011" y="931"/>
                </a:lnTo>
                <a:lnTo>
                  <a:pt x="1013" y="931"/>
                </a:lnTo>
                <a:lnTo>
                  <a:pt x="1016" y="931"/>
                </a:lnTo>
                <a:lnTo>
                  <a:pt x="1016" y="933"/>
                </a:lnTo>
                <a:lnTo>
                  <a:pt x="1016" y="936"/>
                </a:lnTo>
                <a:lnTo>
                  <a:pt x="1016" y="939"/>
                </a:lnTo>
                <a:lnTo>
                  <a:pt x="1016" y="936"/>
                </a:lnTo>
                <a:lnTo>
                  <a:pt x="1013" y="936"/>
                </a:lnTo>
                <a:lnTo>
                  <a:pt x="1011" y="936"/>
                </a:lnTo>
                <a:lnTo>
                  <a:pt x="1011" y="936"/>
                </a:lnTo>
                <a:lnTo>
                  <a:pt x="1011" y="947"/>
                </a:lnTo>
                <a:lnTo>
                  <a:pt x="1011" y="949"/>
                </a:lnTo>
                <a:lnTo>
                  <a:pt x="1013" y="960"/>
                </a:lnTo>
                <a:lnTo>
                  <a:pt x="1013" y="963"/>
                </a:lnTo>
                <a:lnTo>
                  <a:pt x="1011" y="965"/>
                </a:lnTo>
                <a:lnTo>
                  <a:pt x="1008" y="968"/>
                </a:lnTo>
                <a:lnTo>
                  <a:pt x="1008" y="971"/>
                </a:lnTo>
                <a:lnTo>
                  <a:pt x="1008" y="976"/>
                </a:lnTo>
                <a:lnTo>
                  <a:pt x="1008" y="979"/>
                </a:lnTo>
                <a:lnTo>
                  <a:pt x="1008" y="982"/>
                </a:lnTo>
                <a:lnTo>
                  <a:pt x="1008" y="982"/>
                </a:lnTo>
                <a:lnTo>
                  <a:pt x="1008" y="982"/>
                </a:lnTo>
                <a:lnTo>
                  <a:pt x="1008" y="984"/>
                </a:lnTo>
                <a:lnTo>
                  <a:pt x="1008" y="984"/>
                </a:lnTo>
                <a:lnTo>
                  <a:pt x="1008" y="987"/>
                </a:lnTo>
                <a:lnTo>
                  <a:pt x="1005" y="987"/>
                </a:lnTo>
                <a:lnTo>
                  <a:pt x="1005" y="987"/>
                </a:lnTo>
                <a:lnTo>
                  <a:pt x="1005" y="990"/>
                </a:lnTo>
                <a:lnTo>
                  <a:pt x="1005" y="995"/>
                </a:lnTo>
                <a:lnTo>
                  <a:pt x="1005" y="995"/>
                </a:lnTo>
                <a:lnTo>
                  <a:pt x="1003" y="998"/>
                </a:lnTo>
                <a:lnTo>
                  <a:pt x="1003" y="998"/>
                </a:lnTo>
                <a:lnTo>
                  <a:pt x="1000" y="1000"/>
                </a:lnTo>
                <a:lnTo>
                  <a:pt x="997" y="1000"/>
                </a:lnTo>
                <a:lnTo>
                  <a:pt x="995" y="1000"/>
                </a:lnTo>
                <a:lnTo>
                  <a:pt x="995" y="1003"/>
                </a:lnTo>
                <a:lnTo>
                  <a:pt x="992" y="1006"/>
                </a:lnTo>
                <a:lnTo>
                  <a:pt x="989" y="1008"/>
                </a:lnTo>
                <a:lnTo>
                  <a:pt x="987" y="1011"/>
                </a:lnTo>
                <a:lnTo>
                  <a:pt x="976" y="1016"/>
                </a:lnTo>
                <a:lnTo>
                  <a:pt x="973" y="1016"/>
                </a:lnTo>
                <a:lnTo>
                  <a:pt x="970" y="1019"/>
                </a:lnTo>
                <a:lnTo>
                  <a:pt x="970" y="1022"/>
                </a:lnTo>
                <a:lnTo>
                  <a:pt x="970" y="1024"/>
                </a:lnTo>
                <a:lnTo>
                  <a:pt x="968" y="1024"/>
                </a:lnTo>
                <a:lnTo>
                  <a:pt x="970" y="1024"/>
                </a:lnTo>
                <a:lnTo>
                  <a:pt x="976" y="1030"/>
                </a:lnTo>
                <a:lnTo>
                  <a:pt x="976" y="1030"/>
                </a:lnTo>
                <a:lnTo>
                  <a:pt x="978" y="1030"/>
                </a:lnTo>
                <a:lnTo>
                  <a:pt x="981" y="1030"/>
                </a:lnTo>
                <a:lnTo>
                  <a:pt x="984" y="1030"/>
                </a:lnTo>
                <a:lnTo>
                  <a:pt x="987" y="1030"/>
                </a:lnTo>
                <a:lnTo>
                  <a:pt x="987" y="1027"/>
                </a:lnTo>
                <a:lnTo>
                  <a:pt x="987" y="1030"/>
                </a:lnTo>
                <a:lnTo>
                  <a:pt x="1005" y="1030"/>
                </a:lnTo>
                <a:lnTo>
                  <a:pt x="1013" y="1027"/>
                </a:lnTo>
                <a:lnTo>
                  <a:pt x="1019" y="1027"/>
                </a:lnTo>
                <a:lnTo>
                  <a:pt x="1021" y="1024"/>
                </a:lnTo>
                <a:lnTo>
                  <a:pt x="1024" y="1022"/>
                </a:lnTo>
                <a:lnTo>
                  <a:pt x="1024" y="1022"/>
                </a:lnTo>
                <a:lnTo>
                  <a:pt x="1027" y="1019"/>
                </a:lnTo>
                <a:lnTo>
                  <a:pt x="1029" y="1019"/>
                </a:lnTo>
                <a:lnTo>
                  <a:pt x="1037" y="1016"/>
                </a:lnTo>
                <a:lnTo>
                  <a:pt x="1043" y="1016"/>
                </a:lnTo>
                <a:lnTo>
                  <a:pt x="1045" y="1016"/>
                </a:lnTo>
                <a:lnTo>
                  <a:pt x="1048" y="1019"/>
                </a:lnTo>
                <a:lnTo>
                  <a:pt x="1051" y="1019"/>
                </a:lnTo>
                <a:lnTo>
                  <a:pt x="1051" y="1019"/>
                </a:lnTo>
                <a:lnTo>
                  <a:pt x="1054" y="1019"/>
                </a:lnTo>
                <a:lnTo>
                  <a:pt x="1054" y="1019"/>
                </a:lnTo>
                <a:lnTo>
                  <a:pt x="1056" y="1019"/>
                </a:lnTo>
                <a:lnTo>
                  <a:pt x="1059" y="1019"/>
                </a:lnTo>
                <a:lnTo>
                  <a:pt x="1059" y="1019"/>
                </a:lnTo>
                <a:lnTo>
                  <a:pt x="1062" y="1019"/>
                </a:lnTo>
                <a:lnTo>
                  <a:pt x="1064" y="1019"/>
                </a:lnTo>
                <a:lnTo>
                  <a:pt x="1064" y="1016"/>
                </a:lnTo>
                <a:lnTo>
                  <a:pt x="1062" y="1016"/>
                </a:lnTo>
                <a:lnTo>
                  <a:pt x="1062" y="1016"/>
                </a:lnTo>
                <a:lnTo>
                  <a:pt x="1059" y="1016"/>
                </a:lnTo>
                <a:lnTo>
                  <a:pt x="1059" y="1016"/>
                </a:lnTo>
                <a:lnTo>
                  <a:pt x="1056" y="1016"/>
                </a:lnTo>
                <a:lnTo>
                  <a:pt x="1056" y="1014"/>
                </a:lnTo>
                <a:lnTo>
                  <a:pt x="1054" y="1014"/>
                </a:lnTo>
                <a:lnTo>
                  <a:pt x="1054" y="1014"/>
                </a:lnTo>
                <a:lnTo>
                  <a:pt x="1045" y="1014"/>
                </a:lnTo>
                <a:lnTo>
                  <a:pt x="1043" y="1014"/>
                </a:lnTo>
                <a:lnTo>
                  <a:pt x="1043" y="1011"/>
                </a:lnTo>
                <a:lnTo>
                  <a:pt x="1043" y="1011"/>
                </a:lnTo>
                <a:lnTo>
                  <a:pt x="1051" y="1011"/>
                </a:lnTo>
                <a:lnTo>
                  <a:pt x="1054" y="1011"/>
                </a:lnTo>
                <a:lnTo>
                  <a:pt x="1054" y="1011"/>
                </a:lnTo>
                <a:lnTo>
                  <a:pt x="1054" y="1011"/>
                </a:lnTo>
                <a:lnTo>
                  <a:pt x="1056" y="1014"/>
                </a:lnTo>
                <a:lnTo>
                  <a:pt x="1062" y="1014"/>
                </a:lnTo>
                <a:lnTo>
                  <a:pt x="1064" y="1014"/>
                </a:lnTo>
                <a:lnTo>
                  <a:pt x="1064" y="1016"/>
                </a:lnTo>
                <a:lnTo>
                  <a:pt x="1067" y="1014"/>
                </a:lnTo>
                <a:lnTo>
                  <a:pt x="1070" y="1014"/>
                </a:lnTo>
                <a:lnTo>
                  <a:pt x="1067" y="1014"/>
                </a:lnTo>
                <a:lnTo>
                  <a:pt x="1067" y="1011"/>
                </a:lnTo>
                <a:lnTo>
                  <a:pt x="1062" y="1011"/>
                </a:lnTo>
                <a:lnTo>
                  <a:pt x="1059" y="1008"/>
                </a:lnTo>
                <a:lnTo>
                  <a:pt x="1059" y="1006"/>
                </a:lnTo>
                <a:lnTo>
                  <a:pt x="1059" y="1003"/>
                </a:lnTo>
                <a:lnTo>
                  <a:pt x="1062" y="1003"/>
                </a:lnTo>
                <a:lnTo>
                  <a:pt x="1067" y="1000"/>
                </a:lnTo>
                <a:lnTo>
                  <a:pt x="1070" y="1000"/>
                </a:lnTo>
                <a:lnTo>
                  <a:pt x="1072" y="1000"/>
                </a:lnTo>
                <a:lnTo>
                  <a:pt x="1075" y="1000"/>
                </a:lnTo>
                <a:lnTo>
                  <a:pt x="1078" y="1000"/>
                </a:lnTo>
                <a:lnTo>
                  <a:pt x="1080" y="998"/>
                </a:lnTo>
                <a:lnTo>
                  <a:pt x="1083" y="995"/>
                </a:lnTo>
                <a:lnTo>
                  <a:pt x="1086" y="995"/>
                </a:lnTo>
                <a:lnTo>
                  <a:pt x="1086" y="995"/>
                </a:lnTo>
                <a:lnTo>
                  <a:pt x="1083" y="995"/>
                </a:lnTo>
                <a:lnTo>
                  <a:pt x="1083" y="995"/>
                </a:lnTo>
                <a:lnTo>
                  <a:pt x="1083" y="992"/>
                </a:lnTo>
                <a:lnTo>
                  <a:pt x="1088" y="992"/>
                </a:lnTo>
                <a:lnTo>
                  <a:pt x="1094" y="995"/>
                </a:lnTo>
                <a:lnTo>
                  <a:pt x="1096" y="998"/>
                </a:lnTo>
                <a:lnTo>
                  <a:pt x="1099" y="1003"/>
                </a:lnTo>
                <a:lnTo>
                  <a:pt x="1099" y="1000"/>
                </a:lnTo>
                <a:lnTo>
                  <a:pt x="1102" y="998"/>
                </a:lnTo>
                <a:lnTo>
                  <a:pt x="1102" y="1000"/>
                </a:lnTo>
                <a:lnTo>
                  <a:pt x="1104" y="1000"/>
                </a:lnTo>
                <a:lnTo>
                  <a:pt x="1102" y="1006"/>
                </a:lnTo>
                <a:lnTo>
                  <a:pt x="1102" y="1006"/>
                </a:lnTo>
                <a:lnTo>
                  <a:pt x="1104" y="1008"/>
                </a:lnTo>
                <a:lnTo>
                  <a:pt x="1104" y="1008"/>
                </a:lnTo>
                <a:lnTo>
                  <a:pt x="1104" y="1011"/>
                </a:lnTo>
                <a:lnTo>
                  <a:pt x="1102" y="1011"/>
                </a:lnTo>
                <a:lnTo>
                  <a:pt x="1102" y="1011"/>
                </a:lnTo>
                <a:lnTo>
                  <a:pt x="1096" y="1011"/>
                </a:lnTo>
                <a:lnTo>
                  <a:pt x="1094" y="1011"/>
                </a:lnTo>
                <a:lnTo>
                  <a:pt x="1094" y="1011"/>
                </a:lnTo>
                <a:lnTo>
                  <a:pt x="1094" y="1011"/>
                </a:lnTo>
                <a:lnTo>
                  <a:pt x="1094" y="1011"/>
                </a:lnTo>
                <a:lnTo>
                  <a:pt x="1091" y="1011"/>
                </a:lnTo>
                <a:lnTo>
                  <a:pt x="1088" y="1014"/>
                </a:lnTo>
                <a:lnTo>
                  <a:pt x="1088" y="1014"/>
                </a:lnTo>
                <a:lnTo>
                  <a:pt x="1088" y="1014"/>
                </a:lnTo>
                <a:lnTo>
                  <a:pt x="1088" y="1016"/>
                </a:lnTo>
                <a:lnTo>
                  <a:pt x="1094" y="1016"/>
                </a:lnTo>
                <a:lnTo>
                  <a:pt x="1094" y="1016"/>
                </a:lnTo>
                <a:lnTo>
                  <a:pt x="1102" y="1022"/>
                </a:lnTo>
                <a:lnTo>
                  <a:pt x="1102" y="1024"/>
                </a:lnTo>
                <a:lnTo>
                  <a:pt x="1102" y="1027"/>
                </a:lnTo>
                <a:lnTo>
                  <a:pt x="1099" y="1030"/>
                </a:lnTo>
                <a:lnTo>
                  <a:pt x="1102" y="1030"/>
                </a:lnTo>
                <a:lnTo>
                  <a:pt x="1099" y="1033"/>
                </a:lnTo>
                <a:lnTo>
                  <a:pt x="1099" y="1035"/>
                </a:lnTo>
                <a:lnTo>
                  <a:pt x="1096" y="1035"/>
                </a:lnTo>
                <a:lnTo>
                  <a:pt x="1091" y="1033"/>
                </a:lnTo>
                <a:lnTo>
                  <a:pt x="1088" y="1033"/>
                </a:lnTo>
                <a:lnTo>
                  <a:pt x="1088" y="1033"/>
                </a:lnTo>
                <a:lnTo>
                  <a:pt x="1088" y="1030"/>
                </a:lnTo>
                <a:lnTo>
                  <a:pt x="1091" y="1030"/>
                </a:lnTo>
                <a:lnTo>
                  <a:pt x="1091" y="1030"/>
                </a:lnTo>
                <a:lnTo>
                  <a:pt x="1091" y="1027"/>
                </a:lnTo>
                <a:lnTo>
                  <a:pt x="1091" y="1027"/>
                </a:lnTo>
                <a:lnTo>
                  <a:pt x="1091" y="1027"/>
                </a:lnTo>
                <a:lnTo>
                  <a:pt x="1088" y="1027"/>
                </a:lnTo>
                <a:lnTo>
                  <a:pt x="1088" y="1024"/>
                </a:lnTo>
                <a:lnTo>
                  <a:pt x="1088" y="1024"/>
                </a:lnTo>
                <a:lnTo>
                  <a:pt x="1088" y="1022"/>
                </a:lnTo>
                <a:lnTo>
                  <a:pt x="1091" y="1019"/>
                </a:lnTo>
                <a:lnTo>
                  <a:pt x="1088" y="1019"/>
                </a:lnTo>
                <a:lnTo>
                  <a:pt x="1088" y="1016"/>
                </a:lnTo>
                <a:lnTo>
                  <a:pt x="1086" y="1016"/>
                </a:lnTo>
                <a:lnTo>
                  <a:pt x="1083" y="1016"/>
                </a:lnTo>
                <a:lnTo>
                  <a:pt x="1080" y="1014"/>
                </a:lnTo>
                <a:lnTo>
                  <a:pt x="1078" y="1014"/>
                </a:lnTo>
                <a:lnTo>
                  <a:pt x="1078" y="1014"/>
                </a:lnTo>
                <a:lnTo>
                  <a:pt x="1072" y="1016"/>
                </a:lnTo>
                <a:lnTo>
                  <a:pt x="1072" y="1019"/>
                </a:lnTo>
                <a:lnTo>
                  <a:pt x="1072" y="1022"/>
                </a:lnTo>
                <a:lnTo>
                  <a:pt x="1070" y="1019"/>
                </a:lnTo>
                <a:lnTo>
                  <a:pt x="1070" y="1022"/>
                </a:lnTo>
                <a:lnTo>
                  <a:pt x="1067" y="1022"/>
                </a:lnTo>
                <a:lnTo>
                  <a:pt x="1070" y="1024"/>
                </a:lnTo>
                <a:lnTo>
                  <a:pt x="1070" y="1024"/>
                </a:lnTo>
                <a:lnTo>
                  <a:pt x="1075" y="1027"/>
                </a:lnTo>
                <a:lnTo>
                  <a:pt x="1075" y="1027"/>
                </a:lnTo>
                <a:lnTo>
                  <a:pt x="1083" y="1033"/>
                </a:lnTo>
                <a:lnTo>
                  <a:pt x="1083" y="1033"/>
                </a:lnTo>
                <a:lnTo>
                  <a:pt x="1104" y="1049"/>
                </a:lnTo>
                <a:lnTo>
                  <a:pt x="1107" y="1051"/>
                </a:lnTo>
                <a:lnTo>
                  <a:pt x="1110" y="1051"/>
                </a:lnTo>
                <a:lnTo>
                  <a:pt x="1112" y="1054"/>
                </a:lnTo>
                <a:lnTo>
                  <a:pt x="1115" y="1054"/>
                </a:lnTo>
                <a:lnTo>
                  <a:pt x="1129" y="1067"/>
                </a:lnTo>
                <a:lnTo>
                  <a:pt x="1129" y="1070"/>
                </a:lnTo>
                <a:lnTo>
                  <a:pt x="1129" y="1075"/>
                </a:lnTo>
                <a:lnTo>
                  <a:pt x="1134" y="1086"/>
                </a:lnTo>
                <a:lnTo>
                  <a:pt x="1137" y="1092"/>
                </a:lnTo>
                <a:lnTo>
                  <a:pt x="1134" y="1092"/>
                </a:lnTo>
                <a:lnTo>
                  <a:pt x="1129" y="1078"/>
                </a:lnTo>
                <a:lnTo>
                  <a:pt x="1126" y="1073"/>
                </a:lnTo>
                <a:lnTo>
                  <a:pt x="1118" y="1065"/>
                </a:lnTo>
                <a:lnTo>
                  <a:pt x="1112" y="1059"/>
                </a:lnTo>
                <a:lnTo>
                  <a:pt x="1102" y="1049"/>
                </a:lnTo>
                <a:lnTo>
                  <a:pt x="1064" y="1022"/>
                </a:lnTo>
                <a:lnTo>
                  <a:pt x="1059" y="1019"/>
                </a:lnTo>
                <a:lnTo>
                  <a:pt x="1056" y="1022"/>
                </a:lnTo>
                <a:lnTo>
                  <a:pt x="1062" y="1024"/>
                </a:lnTo>
                <a:lnTo>
                  <a:pt x="1064" y="1024"/>
                </a:lnTo>
                <a:lnTo>
                  <a:pt x="1067" y="1027"/>
                </a:lnTo>
                <a:lnTo>
                  <a:pt x="1072" y="1030"/>
                </a:lnTo>
                <a:lnTo>
                  <a:pt x="1075" y="1033"/>
                </a:lnTo>
                <a:lnTo>
                  <a:pt x="1078" y="1035"/>
                </a:lnTo>
                <a:lnTo>
                  <a:pt x="1080" y="1038"/>
                </a:lnTo>
                <a:lnTo>
                  <a:pt x="1086" y="1038"/>
                </a:lnTo>
                <a:lnTo>
                  <a:pt x="1094" y="1046"/>
                </a:lnTo>
                <a:lnTo>
                  <a:pt x="1112" y="1062"/>
                </a:lnTo>
                <a:lnTo>
                  <a:pt x="1115" y="1062"/>
                </a:lnTo>
                <a:lnTo>
                  <a:pt x="1115" y="1065"/>
                </a:lnTo>
                <a:lnTo>
                  <a:pt x="1121" y="1070"/>
                </a:lnTo>
                <a:lnTo>
                  <a:pt x="1123" y="1073"/>
                </a:lnTo>
                <a:lnTo>
                  <a:pt x="1126" y="1075"/>
                </a:lnTo>
                <a:lnTo>
                  <a:pt x="1131" y="1089"/>
                </a:lnTo>
                <a:lnTo>
                  <a:pt x="1142" y="1105"/>
                </a:lnTo>
                <a:lnTo>
                  <a:pt x="1155" y="1132"/>
                </a:lnTo>
                <a:lnTo>
                  <a:pt x="1155" y="1134"/>
                </a:lnTo>
                <a:lnTo>
                  <a:pt x="1155" y="1148"/>
                </a:lnTo>
                <a:lnTo>
                  <a:pt x="1155" y="1153"/>
                </a:lnTo>
                <a:lnTo>
                  <a:pt x="1155" y="1156"/>
                </a:lnTo>
                <a:lnTo>
                  <a:pt x="1150" y="1159"/>
                </a:lnTo>
                <a:lnTo>
                  <a:pt x="1147" y="1161"/>
                </a:lnTo>
                <a:lnTo>
                  <a:pt x="1137" y="1167"/>
                </a:lnTo>
                <a:lnTo>
                  <a:pt x="1137" y="1169"/>
                </a:lnTo>
                <a:lnTo>
                  <a:pt x="1137" y="1169"/>
                </a:lnTo>
                <a:lnTo>
                  <a:pt x="1139" y="1172"/>
                </a:lnTo>
                <a:lnTo>
                  <a:pt x="1142" y="1172"/>
                </a:lnTo>
                <a:lnTo>
                  <a:pt x="1142" y="1175"/>
                </a:lnTo>
                <a:lnTo>
                  <a:pt x="1142" y="1180"/>
                </a:lnTo>
                <a:lnTo>
                  <a:pt x="1145" y="1183"/>
                </a:lnTo>
                <a:lnTo>
                  <a:pt x="1147" y="1183"/>
                </a:lnTo>
                <a:lnTo>
                  <a:pt x="1147" y="1185"/>
                </a:lnTo>
                <a:lnTo>
                  <a:pt x="1147" y="1188"/>
                </a:lnTo>
                <a:lnTo>
                  <a:pt x="1145" y="1191"/>
                </a:lnTo>
                <a:lnTo>
                  <a:pt x="1145" y="1191"/>
                </a:lnTo>
                <a:lnTo>
                  <a:pt x="1145" y="1191"/>
                </a:lnTo>
                <a:lnTo>
                  <a:pt x="1147" y="1196"/>
                </a:lnTo>
                <a:lnTo>
                  <a:pt x="1150" y="1202"/>
                </a:lnTo>
                <a:lnTo>
                  <a:pt x="1169" y="1226"/>
                </a:lnTo>
                <a:lnTo>
                  <a:pt x="1174" y="1226"/>
                </a:lnTo>
                <a:lnTo>
                  <a:pt x="1174" y="1226"/>
                </a:lnTo>
                <a:lnTo>
                  <a:pt x="1174" y="1226"/>
                </a:lnTo>
                <a:lnTo>
                  <a:pt x="1174" y="1226"/>
                </a:lnTo>
                <a:lnTo>
                  <a:pt x="1174" y="1223"/>
                </a:lnTo>
                <a:lnTo>
                  <a:pt x="1174" y="1223"/>
                </a:lnTo>
                <a:lnTo>
                  <a:pt x="1177" y="1226"/>
                </a:lnTo>
                <a:lnTo>
                  <a:pt x="1177" y="1226"/>
                </a:lnTo>
                <a:lnTo>
                  <a:pt x="1177" y="1226"/>
                </a:lnTo>
                <a:lnTo>
                  <a:pt x="1179" y="1226"/>
                </a:lnTo>
                <a:lnTo>
                  <a:pt x="1182" y="1226"/>
                </a:lnTo>
                <a:lnTo>
                  <a:pt x="1182" y="1228"/>
                </a:lnTo>
                <a:lnTo>
                  <a:pt x="1185" y="1231"/>
                </a:lnTo>
                <a:lnTo>
                  <a:pt x="1185" y="1231"/>
                </a:lnTo>
                <a:lnTo>
                  <a:pt x="1182" y="1234"/>
                </a:lnTo>
                <a:lnTo>
                  <a:pt x="1182" y="1234"/>
                </a:lnTo>
                <a:lnTo>
                  <a:pt x="1185" y="1236"/>
                </a:lnTo>
                <a:lnTo>
                  <a:pt x="1193" y="1242"/>
                </a:lnTo>
                <a:lnTo>
                  <a:pt x="1196" y="1244"/>
                </a:lnTo>
                <a:lnTo>
                  <a:pt x="1201" y="1250"/>
                </a:lnTo>
                <a:lnTo>
                  <a:pt x="1201" y="1252"/>
                </a:lnTo>
                <a:lnTo>
                  <a:pt x="1206" y="1261"/>
                </a:lnTo>
                <a:lnTo>
                  <a:pt x="1209" y="1263"/>
                </a:lnTo>
                <a:lnTo>
                  <a:pt x="1209" y="1266"/>
                </a:lnTo>
                <a:lnTo>
                  <a:pt x="1209" y="1266"/>
                </a:lnTo>
                <a:lnTo>
                  <a:pt x="1209" y="1266"/>
                </a:lnTo>
                <a:lnTo>
                  <a:pt x="1212" y="1269"/>
                </a:lnTo>
                <a:lnTo>
                  <a:pt x="1212" y="1269"/>
                </a:lnTo>
                <a:lnTo>
                  <a:pt x="1212" y="1269"/>
                </a:lnTo>
                <a:lnTo>
                  <a:pt x="1212" y="1269"/>
                </a:lnTo>
                <a:lnTo>
                  <a:pt x="1212" y="1269"/>
                </a:lnTo>
                <a:lnTo>
                  <a:pt x="1214" y="1271"/>
                </a:lnTo>
                <a:lnTo>
                  <a:pt x="1214" y="1271"/>
                </a:lnTo>
                <a:lnTo>
                  <a:pt x="1214" y="1271"/>
                </a:lnTo>
                <a:lnTo>
                  <a:pt x="1220" y="1274"/>
                </a:lnTo>
                <a:lnTo>
                  <a:pt x="1222" y="1274"/>
                </a:lnTo>
                <a:lnTo>
                  <a:pt x="1230" y="1279"/>
                </a:lnTo>
                <a:lnTo>
                  <a:pt x="1233" y="1282"/>
                </a:lnTo>
                <a:lnTo>
                  <a:pt x="1233" y="1282"/>
                </a:lnTo>
                <a:lnTo>
                  <a:pt x="1233" y="1282"/>
                </a:lnTo>
                <a:lnTo>
                  <a:pt x="1236" y="1285"/>
                </a:lnTo>
                <a:lnTo>
                  <a:pt x="1238" y="1285"/>
                </a:lnTo>
                <a:lnTo>
                  <a:pt x="1238" y="1285"/>
                </a:lnTo>
                <a:lnTo>
                  <a:pt x="1241" y="1285"/>
                </a:lnTo>
                <a:lnTo>
                  <a:pt x="1241" y="1285"/>
                </a:lnTo>
                <a:lnTo>
                  <a:pt x="1244" y="1287"/>
                </a:lnTo>
                <a:lnTo>
                  <a:pt x="1246" y="1287"/>
                </a:lnTo>
                <a:lnTo>
                  <a:pt x="1273" y="1285"/>
                </a:lnTo>
                <a:lnTo>
                  <a:pt x="1273" y="1285"/>
                </a:lnTo>
                <a:lnTo>
                  <a:pt x="1273" y="1234"/>
                </a:lnTo>
                <a:lnTo>
                  <a:pt x="1273" y="1180"/>
                </a:lnTo>
                <a:lnTo>
                  <a:pt x="1273" y="1126"/>
                </a:lnTo>
                <a:lnTo>
                  <a:pt x="1273" y="1073"/>
                </a:lnTo>
                <a:lnTo>
                  <a:pt x="1273" y="965"/>
                </a:lnTo>
                <a:lnTo>
                  <a:pt x="1273" y="915"/>
                </a:lnTo>
                <a:lnTo>
                  <a:pt x="1273" y="861"/>
                </a:lnTo>
                <a:lnTo>
                  <a:pt x="1273" y="850"/>
                </a:lnTo>
                <a:lnTo>
                  <a:pt x="1276" y="853"/>
                </a:lnTo>
                <a:lnTo>
                  <a:pt x="1279" y="855"/>
                </a:lnTo>
                <a:lnTo>
                  <a:pt x="1279" y="0"/>
                </a:lnTo>
                <a:lnTo>
                  <a:pt x="0" y="0"/>
                </a:lnTo>
                <a:close/>
              </a:path>
            </a:pathLst>
          </a:custGeom>
          <a:solidFill>
            <a:schemeClr val="tx1">
              <a:alpha val="20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4" name="Freeform 11"/>
          <p:cNvSpPr>
            <a:spLocks noEditPoints="1"/>
          </p:cNvSpPr>
          <p:nvPr/>
        </p:nvSpPr>
        <p:spPr bwMode="auto">
          <a:xfrm>
            <a:off x="8942233" y="226529"/>
            <a:ext cx="2628900" cy="3371850"/>
          </a:xfrm>
          <a:custGeom>
            <a:avLst/>
            <a:gdLst>
              <a:gd name="T0" fmla="*/ 1265 w 1656"/>
              <a:gd name="T1" fmla="*/ 1384 h 2124"/>
              <a:gd name="T2" fmla="*/ 1308 w 1656"/>
              <a:gd name="T3" fmla="*/ 1322 h 2124"/>
              <a:gd name="T4" fmla="*/ 1163 w 1656"/>
              <a:gd name="T5" fmla="*/ 1164 h 2124"/>
              <a:gd name="T6" fmla="*/ 1410 w 1656"/>
              <a:gd name="T7" fmla="*/ 1550 h 2124"/>
              <a:gd name="T8" fmla="*/ 1394 w 1656"/>
              <a:gd name="T9" fmla="*/ 1518 h 2124"/>
              <a:gd name="T10" fmla="*/ 1632 w 1656"/>
              <a:gd name="T11" fmla="*/ 1673 h 2124"/>
              <a:gd name="T12" fmla="*/ 1420 w 1656"/>
              <a:gd name="T13" fmla="*/ 1547 h 2124"/>
              <a:gd name="T14" fmla="*/ 1329 w 1656"/>
              <a:gd name="T15" fmla="*/ 1392 h 2124"/>
              <a:gd name="T16" fmla="*/ 1249 w 1656"/>
              <a:gd name="T17" fmla="*/ 1405 h 2124"/>
              <a:gd name="T18" fmla="*/ 153 w 1656"/>
              <a:gd name="T19" fmla="*/ 842 h 2124"/>
              <a:gd name="T20" fmla="*/ 161 w 1656"/>
              <a:gd name="T21" fmla="*/ 775 h 2124"/>
              <a:gd name="T22" fmla="*/ 139 w 1656"/>
              <a:gd name="T23" fmla="*/ 769 h 2124"/>
              <a:gd name="T24" fmla="*/ 1646 w 1656"/>
              <a:gd name="T25" fmla="*/ 1939 h 2124"/>
              <a:gd name="T26" fmla="*/ 1646 w 1656"/>
              <a:gd name="T27" fmla="*/ 1979 h 2124"/>
              <a:gd name="T28" fmla="*/ 1603 w 1656"/>
              <a:gd name="T29" fmla="*/ 1912 h 2124"/>
              <a:gd name="T30" fmla="*/ 1621 w 1656"/>
              <a:gd name="T31" fmla="*/ 1778 h 2124"/>
              <a:gd name="T32" fmla="*/ 1595 w 1656"/>
              <a:gd name="T33" fmla="*/ 1727 h 2124"/>
              <a:gd name="T34" fmla="*/ 1546 w 1656"/>
              <a:gd name="T35" fmla="*/ 1668 h 2124"/>
              <a:gd name="T36" fmla="*/ 1455 w 1656"/>
              <a:gd name="T37" fmla="*/ 1571 h 2124"/>
              <a:gd name="T38" fmla="*/ 1420 w 1656"/>
              <a:gd name="T39" fmla="*/ 1558 h 2124"/>
              <a:gd name="T40" fmla="*/ 1367 w 1656"/>
              <a:gd name="T41" fmla="*/ 1499 h 2124"/>
              <a:gd name="T42" fmla="*/ 1359 w 1656"/>
              <a:gd name="T43" fmla="*/ 1421 h 2124"/>
              <a:gd name="T44" fmla="*/ 1340 w 1656"/>
              <a:gd name="T45" fmla="*/ 1394 h 2124"/>
              <a:gd name="T46" fmla="*/ 1276 w 1656"/>
              <a:gd name="T47" fmla="*/ 1378 h 2124"/>
              <a:gd name="T48" fmla="*/ 1238 w 1656"/>
              <a:gd name="T49" fmla="*/ 1386 h 2124"/>
              <a:gd name="T50" fmla="*/ 1214 w 1656"/>
              <a:gd name="T51" fmla="*/ 1311 h 2124"/>
              <a:gd name="T52" fmla="*/ 1193 w 1656"/>
              <a:gd name="T53" fmla="*/ 1257 h 2124"/>
              <a:gd name="T54" fmla="*/ 1152 w 1656"/>
              <a:gd name="T55" fmla="*/ 1228 h 2124"/>
              <a:gd name="T56" fmla="*/ 1155 w 1656"/>
              <a:gd name="T57" fmla="*/ 1198 h 2124"/>
              <a:gd name="T58" fmla="*/ 1139 w 1656"/>
              <a:gd name="T59" fmla="*/ 1166 h 2124"/>
              <a:gd name="T60" fmla="*/ 1110 w 1656"/>
              <a:gd name="T61" fmla="*/ 1164 h 2124"/>
              <a:gd name="T62" fmla="*/ 1024 w 1656"/>
              <a:gd name="T63" fmla="*/ 1121 h 2124"/>
              <a:gd name="T64" fmla="*/ 962 w 1656"/>
              <a:gd name="T65" fmla="*/ 1062 h 2124"/>
              <a:gd name="T66" fmla="*/ 882 w 1656"/>
              <a:gd name="T67" fmla="*/ 989 h 2124"/>
              <a:gd name="T68" fmla="*/ 860 w 1656"/>
              <a:gd name="T69" fmla="*/ 885 h 2124"/>
              <a:gd name="T70" fmla="*/ 831 w 1656"/>
              <a:gd name="T71" fmla="*/ 818 h 2124"/>
              <a:gd name="T72" fmla="*/ 791 w 1656"/>
              <a:gd name="T73" fmla="*/ 764 h 2124"/>
              <a:gd name="T74" fmla="*/ 772 w 1656"/>
              <a:gd name="T75" fmla="*/ 659 h 2124"/>
              <a:gd name="T76" fmla="*/ 742 w 1656"/>
              <a:gd name="T77" fmla="*/ 587 h 2124"/>
              <a:gd name="T78" fmla="*/ 691 w 1656"/>
              <a:gd name="T79" fmla="*/ 525 h 2124"/>
              <a:gd name="T80" fmla="*/ 608 w 1656"/>
              <a:gd name="T81" fmla="*/ 517 h 2124"/>
              <a:gd name="T82" fmla="*/ 576 w 1656"/>
              <a:gd name="T83" fmla="*/ 386 h 2124"/>
              <a:gd name="T84" fmla="*/ 541 w 1656"/>
              <a:gd name="T85" fmla="*/ 308 h 2124"/>
              <a:gd name="T86" fmla="*/ 512 w 1656"/>
              <a:gd name="T87" fmla="*/ 209 h 2124"/>
              <a:gd name="T88" fmla="*/ 493 w 1656"/>
              <a:gd name="T89" fmla="*/ 160 h 2124"/>
              <a:gd name="T90" fmla="*/ 421 w 1656"/>
              <a:gd name="T91" fmla="*/ 281 h 2124"/>
              <a:gd name="T92" fmla="*/ 383 w 1656"/>
              <a:gd name="T93" fmla="*/ 354 h 2124"/>
              <a:gd name="T94" fmla="*/ 418 w 1656"/>
              <a:gd name="T95" fmla="*/ 370 h 2124"/>
              <a:gd name="T96" fmla="*/ 386 w 1656"/>
              <a:gd name="T97" fmla="*/ 413 h 2124"/>
              <a:gd name="T98" fmla="*/ 378 w 1656"/>
              <a:gd name="T99" fmla="*/ 565 h 2124"/>
              <a:gd name="T100" fmla="*/ 351 w 1656"/>
              <a:gd name="T101" fmla="*/ 761 h 2124"/>
              <a:gd name="T102" fmla="*/ 287 w 1656"/>
              <a:gd name="T103" fmla="*/ 882 h 2124"/>
              <a:gd name="T104" fmla="*/ 115 w 1656"/>
              <a:gd name="T105" fmla="*/ 823 h 2124"/>
              <a:gd name="T106" fmla="*/ 1193 w 1656"/>
              <a:gd name="T107" fmla="*/ 2086 h 2124"/>
              <a:gd name="T108" fmla="*/ 1351 w 1656"/>
              <a:gd name="T109" fmla="*/ 2070 h 2124"/>
              <a:gd name="T110" fmla="*/ 1436 w 1656"/>
              <a:gd name="T111" fmla="*/ 2116 h 2124"/>
              <a:gd name="T112" fmla="*/ 1485 w 1656"/>
              <a:gd name="T113" fmla="*/ 2097 h 2124"/>
              <a:gd name="T114" fmla="*/ 1495 w 1656"/>
              <a:gd name="T115" fmla="*/ 2054 h 2124"/>
              <a:gd name="T116" fmla="*/ 1557 w 1656"/>
              <a:gd name="T117" fmla="*/ 2030 h 2124"/>
              <a:gd name="T118" fmla="*/ 450 w 1656"/>
              <a:gd name="T119" fmla="*/ 147 h 2124"/>
              <a:gd name="T120" fmla="*/ 887 w 1656"/>
              <a:gd name="T121" fmla="*/ 981 h 2124"/>
              <a:gd name="T122" fmla="*/ 461 w 1656"/>
              <a:gd name="T123" fmla="*/ 101 h 2124"/>
              <a:gd name="T124" fmla="*/ 509 w 1656"/>
              <a:gd name="T125" fmla="*/ 13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6" h="2124">
                <a:moveTo>
                  <a:pt x="938" y="1056"/>
                </a:moveTo>
                <a:lnTo>
                  <a:pt x="938" y="1056"/>
                </a:lnTo>
                <a:lnTo>
                  <a:pt x="941" y="1059"/>
                </a:lnTo>
                <a:lnTo>
                  <a:pt x="943" y="1056"/>
                </a:lnTo>
                <a:lnTo>
                  <a:pt x="946" y="1056"/>
                </a:lnTo>
                <a:lnTo>
                  <a:pt x="946" y="1056"/>
                </a:lnTo>
                <a:lnTo>
                  <a:pt x="946" y="1054"/>
                </a:lnTo>
                <a:lnTo>
                  <a:pt x="946" y="1051"/>
                </a:lnTo>
                <a:lnTo>
                  <a:pt x="946" y="1051"/>
                </a:lnTo>
                <a:lnTo>
                  <a:pt x="946" y="1051"/>
                </a:lnTo>
                <a:lnTo>
                  <a:pt x="946" y="1051"/>
                </a:lnTo>
                <a:lnTo>
                  <a:pt x="946" y="1051"/>
                </a:lnTo>
                <a:lnTo>
                  <a:pt x="943" y="1051"/>
                </a:lnTo>
                <a:lnTo>
                  <a:pt x="943" y="1051"/>
                </a:lnTo>
                <a:lnTo>
                  <a:pt x="941" y="1051"/>
                </a:lnTo>
                <a:lnTo>
                  <a:pt x="941" y="1051"/>
                </a:lnTo>
                <a:lnTo>
                  <a:pt x="941" y="1051"/>
                </a:lnTo>
                <a:lnTo>
                  <a:pt x="938" y="1051"/>
                </a:lnTo>
                <a:lnTo>
                  <a:pt x="938" y="1054"/>
                </a:lnTo>
                <a:lnTo>
                  <a:pt x="935" y="1054"/>
                </a:lnTo>
                <a:lnTo>
                  <a:pt x="938" y="1054"/>
                </a:lnTo>
                <a:lnTo>
                  <a:pt x="938" y="1056"/>
                </a:lnTo>
                <a:close/>
                <a:moveTo>
                  <a:pt x="1179" y="1198"/>
                </a:moveTo>
                <a:lnTo>
                  <a:pt x="1177" y="1198"/>
                </a:lnTo>
                <a:lnTo>
                  <a:pt x="1177" y="1198"/>
                </a:lnTo>
                <a:lnTo>
                  <a:pt x="1177" y="1201"/>
                </a:lnTo>
                <a:lnTo>
                  <a:pt x="1177" y="1201"/>
                </a:lnTo>
                <a:lnTo>
                  <a:pt x="1177" y="1201"/>
                </a:lnTo>
                <a:lnTo>
                  <a:pt x="1179" y="1201"/>
                </a:lnTo>
                <a:lnTo>
                  <a:pt x="1179" y="1201"/>
                </a:lnTo>
                <a:lnTo>
                  <a:pt x="1182" y="1198"/>
                </a:lnTo>
                <a:lnTo>
                  <a:pt x="1182" y="1198"/>
                </a:lnTo>
                <a:lnTo>
                  <a:pt x="1185" y="1198"/>
                </a:lnTo>
                <a:lnTo>
                  <a:pt x="1185" y="1196"/>
                </a:lnTo>
                <a:lnTo>
                  <a:pt x="1182" y="1196"/>
                </a:lnTo>
                <a:lnTo>
                  <a:pt x="1182" y="1193"/>
                </a:lnTo>
                <a:lnTo>
                  <a:pt x="1182" y="1190"/>
                </a:lnTo>
                <a:lnTo>
                  <a:pt x="1182" y="1193"/>
                </a:lnTo>
                <a:lnTo>
                  <a:pt x="1182" y="1196"/>
                </a:lnTo>
                <a:lnTo>
                  <a:pt x="1182" y="1196"/>
                </a:lnTo>
                <a:lnTo>
                  <a:pt x="1179" y="1198"/>
                </a:lnTo>
                <a:lnTo>
                  <a:pt x="1179" y="1198"/>
                </a:lnTo>
                <a:close/>
                <a:moveTo>
                  <a:pt x="1265" y="1378"/>
                </a:moveTo>
                <a:lnTo>
                  <a:pt x="1268" y="1378"/>
                </a:lnTo>
                <a:lnTo>
                  <a:pt x="1268" y="1381"/>
                </a:lnTo>
                <a:lnTo>
                  <a:pt x="1268" y="1381"/>
                </a:lnTo>
                <a:lnTo>
                  <a:pt x="1265" y="1381"/>
                </a:lnTo>
                <a:lnTo>
                  <a:pt x="1265" y="1384"/>
                </a:lnTo>
                <a:lnTo>
                  <a:pt x="1268" y="1384"/>
                </a:lnTo>
                <a:lnTo>
                  <a:pt x="1270" y="1384"/>
                </a:lnTo>
                <a:lnTo>
                  <a:pt x="1270" y="1381"/>
                </a:lnTo>
                <a:lnTo>
                  <a:pt x="1270" y="1375"/>
                </a:lnTo>
                <a:lnTo>
                  <a:pt x="1273" y="1373"/>
                </a:lnTo>
                <a:lnTo>
                  <a:pt x="1270" y="1373"/>
                </a:lnTo>
                <a:lnTo>
                  <a:pt x="1270" y="1370"/>
                </a:lnTo>
                <a:lnTo>
                  <a:pt x="1270" y="1367"/>
                </a:lnTo>
                <a:lnTo>
                  <a:pt x="1270" y="1367"/>
                </a:lnTo>
                <a:lnTo>
                  <a:pt x="1270" y="1365"/>
                </a:lnTo>
                <a:lnTo>
                  <a:pt x="1268" y="1365"/>
                </a:lnTo>
                <a:lnTo>
                  <a:pt x="1268" y="1365"/>
                </a:lnTo>
                <a:lnTo>
                  <a:pt x="1268" y="1367"/>
                </a:lnTo>
                <a:lnTo>
                  <a:pt x="1268" y="1367"/>
                </a:lnTo>
                <a:lnTo>
                  <a:pt x="1268" y="1370"/>
                </a:lnTo>
                <a:lnTo>
                  <a:pt x="1265" y="1373"/>
                </a:lnTo>
                <a:lnTo>
                  <a:pt x="1265" y="1375"/>
                </a:lnTo>
                <a:lnTo>
                  <a:pt x="1265" y="1375"/>
                </a:lnTo>
                <a:lnTo>
                  <a:pt x="1265" y="1378"/>
                </a:lnTo>
                <a:lnTo>
                  <a:pt x="1265" y="1378"/>
                </a:lnTo>
                <a:close/>
                <a:moveTo>
                  <a:pt x="1115" y="1147"/>
                </a:moveTo>
                <a:lnTo>
                  <a:pt x="1115" y="1150"/>
                </a:lnTo>
                <a:lnTo>
                  <a:pt x="1115" y="1150"/>
                </a:lnTo>
                <a:lnTo>
                  <a:pt x="1115" y="1150"/>
                </a:lnTo>
                <a:lnTo>
                  <a:pt x="1115" y="1150"/>
                </a:lnTo>
                <a:lnTo>
                  <a:pt x="1118" y="1150"/>
                </a:lnTo>
                <a:lnTo>
                  <a:pt x="1118" y="1150"/>
                </a:lnTo>
                <a:lnTo>
                  <a:pt x="1118" y="1147"/>
                </a:lnTo>
                <a:lnTo>
                  <a:pt x="1118" y="1145"/>
                </a:lnTo>
                <a:lnTo>
                  <a:pt x="1115" y="1142"/>
                </a:lnTo>
                <a:lnTo>
                  <a:pt x="1112" y="1145"/>
                </a:lnTo>
                <a:lnTo>
                  <a:pt x="1115" y="1145"/>
                </a:lnTo>
                <a:lnTo>
                  <a:pt x="1115" y="1147"/>
                </a:lnTo>
                <a:close/>
                <a:moveTo>
                  <a:pt x="1305" y="1325"/>
                </a:moveTo>
                <a:lnTo>
                  <a:pt x="1308" y="1325"/>
                </a:lnTo>
                <a:lnTo>
                  <a:pt x="1308" y="1325"/>
                </a:lnTo>
                <a:lnTo>
                  <a:pt x="1308" y="1325"/>
                </a:lnTo>
                <a:lnTo>
                  <a:pt x="1308" y="1325"/>
                </a:lnTo>
                <a:lnTo>
                  <a:pt x="1311" y="1325"/>
                </a:lnTo>
                <a:lnTo>
                  <a:pt x="1311" y="1325"/>
                </a:lnTo>
                <a:lnTo>
                  <a:pt x="1311" y="1325"/>
                </a:lnTo>
                <a:lnTo>
                  <a:pt x="1311" y="1325"/>
                </a:lnTo>
                <a:lnTo>
                  <a:pt x="1311" y="1325"/>
                </a:lnTo>
                <a:lnTo>
                  <a:pt x="1311" y="1325"/>
                </a:lnTo>
                <a:lnTo>
                  <a:pt x="1311" y="1325"/>
                </a:lnTo>
                <a:lnTo>
                  <a:pt x="1311" y="1322"/>
                </a:lnTo>
                <a:lnTo>
                  <a:pt x="1311" y="1322"/>
                </a:lnTo>
                <a:lnTo>
                  <a:pt x="1308" y="1322"/>
                </a:lnTo>
                <a:lnTo>
                  <a:pt x="1305" y="1319"/>
                </a:lnTo>
                <a:lnTo>
                  <a:pt x="1305" y="1319"/>
                </a:lnTo>
                <a:lnTo>
                  <a:pt x="1305" y="1322"/>
                </a:lnTo>
                <a:lnTo>
                  <a:pt x="1305" y="1322"/>
                </a:lnTo>
                <a:lnTo>
                  <a:pt x="1305" y="1322"/>
                </a:lnTo>
                <a:lnTo>
                  <a:pt x="1305" y="1322"/>
                </a:lnTo>
                <a:lnTo>
                  <a:pt x="1305" y="1325"/>
                </a:lnTo>
                <a:lnTo>
                  <a:pt x="1305" y="1325"/>
                </a:lnTo>
                <a:lnTo>
                  <a:pt x="1305" y="1325"/>
                </a:lnTo>
                <a:lnTo>
                  <a:pt x="1305" y="1325"/>
                </a:lnTo>
                <a:close/>
                <a:moveTo>
                  <a:pt x="1168" y="1166"/>
                </a:moveTo>
                <a:lnTo>
                  <a:pt x="1168" y="1169"/>
                </a:lnTo>
                <a:lnTo>
                  <a:pt x="1168" y="1172"/>
                </a:lnTo>
                <a:lnTo>
                  <a:pt x="1168" y="1172"/>
                </a:lnTo>
                <a:lnTo>
                  <a:pt x="1168" y="1172"/>
                </a:lnTo>
                <a:lnTo>
                  <a:pt x="1166" y="1177"/>
                </a:lnTo>
                <a:lnTo>
                  <a:pt x="1166" y="1177"/>
                </a:lnTo>
                <a:lnTo>
                  <a:pt x="1166" y="1177"/>
                </a:lnTo>
                <a:lnTo>
                  <a:pt x="1166" y="1177"/>
                </a:lnTo>
                <a:lnTo>
                  <a:pt x="1166" y="1177"/>
                </a:lnTo>
                <a:lnTo>
                  <a:pt x="1168" y="1177"/>
                </a:lnTo>
                <a:lnTo>
                  <a:pt x="1168" y="1177"/>
                </a:lnTo>
                <a:lnTo>
                  <a:pt x="1168" y="1180"/>
                </a:lnTo>
                <a:lnTo>
                  <a:pt x="1171" y="1180"/>
                </a:lnTo>
                <a:lnTo>
                  <a:pt x="1171" y="1180"/>
                </a:lnTo>
                <a:lnTo>
                  <a:pt x="1174" y="1180"/>
                </a:lnTo>
                <a:lnTo>
                  <a:pt x="1174" y="1182"/>
                </a:lnTo>
                <a:lnTo>
                  <a:pt x="1177" y="1180"/>
                </a:lnTo>
                <a:lnTo>
                  <a:pt x="1177" y="1177"/>
                </a:lnTo>
                <a:lnTo>
                  <a:pt x="1179" y="1180"/>
                </a:lnTo>
                <a:lnTo>
                  <a:pt x="1179" y="1180"/>
                </a:lnTo>
                <a:lnTo>
                  <a:pt x="1179" y="1180"/>
                </a:lnTo>
                <a:lnTo>
                  <a:pt x="1179" y="1177"/>
                </a:lnTo>
                <a:lnTo>
                  <a:pt x="1179" y="1177"/>
                </a:lnTo>
                <a:lnTo>
                  <a:pt x="1177" y="1174"/>
                </a:lnTo>
                <a:lnTo>
                  <a:pt x="1177" y="1172"/>
                </a:lnTo>
                <a:lnTo>
                  <a:pt x="1177" y="1172"/>
                </a:lnTo>
                <a:lnTo>
                  <a:pt x="1174" y="1172"/>
                </a:lnTo>
                <a:lnTo>
                  <a:pt x="1174" y="1172"/>
                </a:lnTo>
                <a:lnTo>
                  <a:pt x="1174" y="1169"/>
                </a:lnTo>
                <a:lnTo>
                  <a:pt x="1174" y="1166"/>
                </a:lnTo>
                <a:lnTo>
                  <a:pt x="1171" y="1164"/>
                </a:lnTo>
                <a:lnTo>
                  <a:pt x="1171" y="1164"/>
                </a:lnTo>
                <a:lnTo>
                  <a:pt x="1168" y="1164"/>
                </a:lnTo>
                <a:lnTo>
                  <a:pt x="1168" y="1166"/>
                </a:lnTo>
                <a:close/>
                <a:moveTo>
                  <a:pt x="1160" y="1164"/>
                </a:moveTo>
                <a:lnTo>
                  <a:pt x="1160" y="1164"/>
                </a:lnTo>
                <a:lnTo>
                  <a:pt x="1163" y="1164"/>
                </a:lnTo>
                <a:lnTo>
                  <a:pt x="1163" y="1164"/>
                </a:lnTo>
                <a:lnTo>
                  <a:pt x="1163" y="1164"/>
                </a:lnTo>
                <a:lnTo>
                  <a:pt x="1163" y="1164"/>
                </a:lnTo>
                <a:lnTo>
                  <a:pt x="1163" y="1164"/>
                </a:lnTo>
                <a:lnTo>
                  <a:pt x="1163" y="1164"/>
                </a:lnTo>
                <a:lnTo>
                  <a:pt x="1163" y="1164"/>
                </a:lnTo>
                <a:lnTo>
                  <a:pt x="1166" y="1164"/>
                </a:lnTo>
                <a:lnTo>
                  <a:pt x="1166" y="1164"/>
                </a:lnTo>
                <a:lnTo>
                  <a:pt x="1166" y="1166"/>
                </a:lnTo>
                <a:lnTo>
                  <a:pt x="1168" y="1161"/>
                </a:lnTo>
                <a:lnTo>
                  <a:pt x="1168" y="1161"/>
                </a:lnTo>
                <a:lnTo>
                  <a:pt x="1168" y="1161"/>
                </a:lnTo>
                <a:lnTo>
                  <a:pt x="1166" y="1158"/>
                </a:lnTo>
                <a:lnTo>
                  <a:pt x="1166" y="1158"/>
                </a:lnTo>
                <a:lnTo>
                  <a:pt x="1168" y="1156"/>
                </a:lnTo>
                <a:lnTo>
                  <a:pt x="1168" y="1156"/>
                </a:lnTo>
                <a:lnTo>
                  <a:pt x="1171" y="1153"/>
                </a:lnTo>
                <a:lnTo>
                  <a:pt x="1168" y="1150"/>
                </a:lnTo>
                <a:lnTo>
                  <a:pt x="1168" y="1153"/>
                </a:lnTo>
                <a:lnTo>
                  <a:pt x="1168" y="1153"/>
                </a:lnTo>
                <a:lnTo>
                  <a:pt x="1166" y="1153"/>
                </a:lnTo>
                <a:lnTo>
                  <a:pt x="1166" y="1153"/>
                </a:lnTo>
                <a:lnTo>
                  <a:pt x="1166" y="1153"/>
                </a:lnTo>
                <a:lnTo>
                  <a:pt x="1166" y="1153"/>
                </a:lnTo>
                <a:lnTo>
                  <a:pt x="1163" y="1153"/>
                </a:lnTo>
                <a:lnTo>
                  <a:pt x="1163" y="1153"/>
                </a:lnTo>
                <a:lnTo>
                  <a:pt x="1163" y="1153"/>
                </a:lnTo>
                <a:lnTo>
                  <a:pt x="1163" y="1156"/>
                </a:lnTo>
                <a:lnTo>
                  <a:pt x="1163" y="1156"/>
                </a:lnTo>
                <a:lnTo>
                  <a:pt x="1163" y="1156"/>
                </a:lnTo>
                <a:lnTo>
                  <a:pt x="1160" y="1158"/>
                </a:lnTo>
                <a:lnTo>
                  <a:pt x="1160" y="1161"/>
                </a:lnTo>
                <a:lnTo>
                  <a:pt x="1160" y="1161"/>
                </a:lnTo>
                <a:lnTo>
                  <a:pt x="1160" y="1164"/>
                </a:lnTo>
                <a:close/>
                <a:moveTo>
                  <a:pt x="1391" y="1520"/>
                </a:moveTo>
                <a:lnTo>
                  <a:pt x="1391" y="1520"/>
                </a:lnTo>
                <a:lnTo>
                  <a:pt x="1388" y="1520"/>
                </a:lnTo>
                <a:lnTo>
                  <a:pt x="1391" y="1528"/>
                </a:lnTo>
                <a:lnTo>
                  <a:pt x="1394" y="1531"/>
                </a:lnTo>
                <a:lnTo>
                  <a:pt x="1394" y="1531"/>
                </a:lnTo>
                <a:lnTo>
                  <a:pt x="1396" y="1534"/>
                </a:lnTo>
                <a:lnTo>
                  <a:pt x="1402" y="1539"/>
                </a:lnTo>
                <a:lnTo>
                  <a:pt x="1402" y="1539"/>
                </a:lnTo>
                <a:lnTo>
                  <a:pt x="1404" y="1544"/>
                </a:lnTo>
                <a:lnTo>
                  <a:pt x="1404" y="1544"/>
                </a:lnTo>
                <a:lnTo>
                  <a:pt x="1407" y="1547"/>
                </a:lnTo>
                <a:lnTo>
                  <a:pt x="1407" y="1547"/>
                </a:lnTo>
                <a:lnTo>
                  <a:pt x="1410" y="1550"/>
                </a:lnTo>
                <a:lnTo>
                  <a:pt x="1410" y="1550"/>
                </a:lnTo>
                <a:lnTo>
                  <a:pt x="1410" y="1550"/>
                </a:lnTo>
                <a:lnTo>
                  <a:pt x="1415" y="1550"/>
                </a:lnTo>
                <a:lnTo>
                  <a:pt x="1415" y="1550"/>
                </a:lnTo>
                <a:lnTo>
                  <a:pt x="1415" y="1547"/>
                </a:lnTo>
                <a:lnTo>
                  <a:pt x="1415" y="1547"/>
                </a:lnTo>
                <a:lnTo>
                  <a:pt x="1415" y="1547"/>
                </a:lnTo>
                <a:lnTo>
                  <a:pt x="1415" y="1547"/>
                </a:lnTo>
                <a:lnTo>
                  <a:pt x="1415" y="1547"/>
                </a:lnTo>
                <a:lnTo>
                  <a:pt x="1418" y="1547"/>
                </a:lnTo>
                <a:lnTo>
                  <a:pt x="1418" y="1544"/>
                </a:lnTo>
                <a:lnTo>
                  <a:pt x="1418" y="1544"/>
                </a:lnTo>
                <a:lnTo>
                  <a:pt x="1418" y="1542"/>
                </a:lnTo>
                <a:lnTo>
                  <a:pt x="1418" y="1539"/>
                </a:lnTo>
                <a:lnTo>
                  <a:pt x="1415" y="1536"/>
                </a:lnTo>
                <a:lnTo>
                  <a:pt x="1412" y="1536"/>
                </a:lnTo>
                <a:lnTo>
                  <a:pt x="1412" y="1534"/>
                </a:lnTo>
                <a:lnTo>
                  <a:pt x="1410" y="1531"/>
                </a:lnTo>
                <a:lnTo>
                  <a:pt x="1410" y="1528"/>
                </a:lnTo>
                <a:lnTo>
                  <a:pt x="1410" y="1526"/>
                </a:lnTo>
                <a:lnTo>
                  <a:pt x="1412" y="1520"/>
                </a:lnTo>
                <a:lnTo>
                  <a:pt x="1412" y="1518"/>
                </a:lnTo>
                <a:lnTo>
                  <a:pt x="1410" y="1520"/>
                </a:lnTo>
                <a:lnTo>
                  <a:pt x="1407" y="1520"/>
                </a:lnTo>
                <a:lnTo>
                  <a:pt x="1407" y="1523"/>
                </a:lnTo>
                <a:lnTo>
                  <a:pt x="1404" y="1523"/>
                </a:lnTo>
                <a:lnTo>
                  <a:pt x="1407" y="1520"/>
                </a:lnTo>
                <a:lnTo>
                  <a:pt x="1404" y="1520"/>
                </a:lnTo>
                <a:lnTo>
                  <a:pt x="1402" y="1520"/>
                </a:lnTo>
                <a:lnTo>
                  <a:pt x="1402" y="1520"/>
                </a:lnTo>
                <a:lnTo>
                  <a:pt x="1402" y="1518"/>
                </a:lnTo>
                <a:lnTo>
                  <a:pt x="1396" y="1518"/>
                </a:lnTo>
                <a:lnTo>
                  <a:pt x="1394" y="1518"/>
                </a:lnTo>
                <a:lnTo>
                  <a:pt x="1394" y="1515"/>
                </a:lnTo>
                <a:lnTo>
                  <a:pt x="1394" y="1515"/>
                </a:lnTo>
                <a:lnTo>
                  <a:pt x="1394" y="1515"/>
                </a:lnTo>
                <a:lnTo>
                  <a:pt x="1394" y="1515"/>
                </a:lnTo>
                <a:lnTo>
                  <a:pt x="1394" y="1515"/>
                </a:lnTo>
                <a:lnTo>
                  <a:pt x="1391" y="1515"/>
                </a:lnTo>
                <a:lnTo>
                  <a:pt x="1391" y="1515"/>
                </a:lnTo>
                <a:lnTo>
                  <a:pt x="1391" y="1515"/>
                </a:lnTo>
                <a:lnTo>
                  <a:pt x="1388" y="1512"/>
                </a:lnTo>
                <a:lnTo>
                  <a:pt x="1388" y="1515"/>
                </a:lnTo>
                <a:lnTo>
                  <a:pt x="1388" y="1515"/>
                </a:lnTo>
                <a:lnTo>
                  <a:pt x="1388" y="1515"/>
                </a:lnTo>
                <a:lnTo>
                  <a:pt x="1391" y="1518"/>
                </a:lnTo>
                <a:lnTo>
                  <a:pt x="1391" y="1518"/>
                </a:lnTo>
                <a:lnTo>
                  <a:pt x="1394" y="1518"/>
                </a:lnTo>
                <a:lnTo>
                  <a:pt x="1391" y="1520"/>
                </a:lnTo>
                <a:lnTo>
                  <a:pt x="1391" y="1520"/>
                </a:lnTo>
                <a:close/>
                <a:moveTo>
                  <a:pt x="1311" y="1333"/>
                </a:moveTo>
                <a:lnTo>
                  <a:pt x="1313" y="1335"/>
                </a:lnTo>
                <a:lnTo>
                  <a:pt x="1316" y="1335"/>
                </a:lnTo>
                <a:lnTo>
                  <a:pt x="1316" y="1333"/>
                </a:lnTo>
                <a:lnTo>
                  <a:pt x="1319" y="1333"/>
                </a:lnTo>
                <a:lnTo>
                  <a:pt x="1319" y="1330"/>
                </a:lnTo>
                <a:lnTo>
                  <a:pt x="1316" y="1333"/>
                </a:lnTo>
                <a:lnTo>
                  <a:pt x="1313" y="1330"/>
                </a:lnTo>
                <a:lnTo>
                  <a:pt x="1313" y="1330"/>
                </a:lnTo>
                <a:lnTo>
                  <a:pt x="1311" y="1333"/>
                </a:lnTo>
                <a:lnTo>
                  <a:pt x="1311" y="1333"/>
                </a:lnTo>
                <a:close/>
                <a:moveTo>
                  <a:pt x="1605" y="1719"/>
                </a:moveTo>
                <a:lnTo>
                  <a:pt x="1603" y="1721"/>
                </a:lnTo>
                <a:lnTo>
                  <a:pt x="1603" y="1721"/>
                </a:lnTo>
                <a:lnTo>
                  <a:pt x="1600" y="1724"/>
                </a:lnTo>
                <a:lnTo>
                  <a:pt x="1600" y="1724"/>
                </a:lnTo>
                <a:lnTo>
                  <a:pt x="1600" y="1727"/>
                </a:lnTo>
                <a:lnTo>
                  <a:pt x="1597" y="1732"/>
                </a:lnTo>
                <a:lnTo>
                  <a:pt x="1597" y="1735"/>
                </a:lnTo>
                <a:lnTo>
                  <a:pt x="1595" y="1738"/>
                </a:lnTo>
                <a:lnTo>
                  <a:pt x="1595" y="1738"/>
                </a:lnTo>
                <a:lnTo>
                  <a:pt x="1592" y="1740"/>
                </a:lnTo>
                <a:lnTo>
                  <a:pt x="1595" y="1746"/>
                </a:lnTo>
                <a:lnTo>
                  <a:pt x="1597" y="1746"/>
                </a:lnTo>
                <a:lnTo>
                  <a:pt x="1597" y="1748"/>
                </a:lnTo>
                <a:lnTo>
                  <a:pt x="1600" y="1754"/>
                </a:lnTo>
                <a:lnTo>
                  <a:pt x="1597" y="1756"/>
                </a:lnTo>
                <a:lnTo>
                  <a:pt x="1600" y="1756"/>
                </a:lnTo>
                <a:lnTo>
                  <a:pt x="1600" y="1759"/>
                </a:lnTo>
                <a:lnTo>
                  <a:pt x="1605" y="1764"/>
                </a:lnTo>
                <a:lnTo>
                  <a:pt x="1608" y="1764"/>
                </a:lnTo>
                <a:lnTo>
                  <a:pt x="1611" y="1759"/>
                </a:lnTo>
                <a:lnTo>
                  <a:pt x="1611" y="1756"/>
                </a:lnTo>
                <a:lnTo>
                  <a:pt x="1608" y="1754"/>
                </a:lnTo>
                <a:lnTo>
                  <a:pt x="1608" y="1751"/>
                </a:lnTo>
                <a:lnTo>
                  <a:pt x="1616" y="1730"/>
                </a:lnTo>
                <a:lnTo>
                  <a:pt x="1627" y="1705"/>
                </a:lnTo>
                <a:lnTo>
                  <a:pt x="1635" y="1687"/>
                </a:lnTo>
                <a:lnTo>
                  <a:pt x="1635" y="1687"/>
                </a:lnTo>
                <a:lnTo>
                  <a:pt x="1637" y="1684"/>
                </a:lnTo>
                <a:lnTo>
                  <a:pt x="1637" y="1681"/>
                </a:lnTo>
                <a:lnTo>
                  <a:pt x="1637" y="1681"/>
                </a:lnTo>
                <a:lnTo>
                  <a:pt x="1637" y="1679"/>
                </a:lnTo>
                <a:lnTo>
                  <a:pt x="1637" y="1676"/>
                </a:lnTo>
                <a:lnTo>
                  <a:pt x="1632" y="1673"/>
                </a:lnTo>
                <a:lnTo>
                  <a:pt x="1632" y="1673"/>
                </a:lnTo>
                <a:lnTo>
                  <a:pt x="1632" y="1671"/>
                </a:lnTo>
                <a:lnTo>
                  <a:pt x="1629" y="1665"/>
                </a:lnTo>
                <a:lnTo>
                  <a:pt x="1629" y="1665"/>
                </a:lnTo>
                <a:lnTo>
                  <a:pt x="1629" y="1652"/>
                </a:lnTo>
                <a:lnTo>
                  <a:pt x="1629" y="1646"/>
                </a:lnTo>
                <a:lnTo>
                  <a:pt x="1627" y="1646"/>
                </a:lnTo>
                <a:lnTo>
                  <a:pt x="1624" y="1649"/>
                </a:lnTo>
                <a:lnTo>
                  <a:pt x="1621" y="1652"/>
                </a:lnTo>
                <a:lnTo>
                  <a:pt x="1619" y="1652"/>
                </a:lnTo>
                <a:lnTo>
                  <a:pt x="1613" y="1660"/>
                </a:lnTo>
                <a:lnTo>
                  <a:pt x="1616" y="1660"/>
                </a:lnTo>
                <a:lnTo>
                  <a:pt x="1619" y="1662"/>
                </a:lnTo>
                <a:lnTo>
                  <a:pt x="1621" y="1668"/>
                </a:lnTo>
                <a:lnTo>
                  <a:pt x="1624" y="1671"/>
                </a:lnTo>
                <a:lnTo>
                  <a:pt x="1624" y="1673"/>
                </a:lnTo>
                <a:lnTo>
                  <a:pt x="1624" y="1679"/>
                </a:lnTo>
                <a:lnTo>
                  <a:pt x="1624" y="1681"/>
                </a:lnTo>
                <a:lnTo>
                  <a:pt x="1621" y="1687"/>
                </a:lnTo>
                <a:lnTo>
                  <a:pt x="1619" y="1689"/>
                </a:lnTo>
                <a:lnTo>
                  <a:pt x="1613" y="1692"/>
                </a:lnTo>
                <a:lnTo>
                  <a:pt x="1603" y="1700"/>
                </a:lnTo>
                <a:lnTo>
                  <a:pt x="1600" y="1700"/>
                </a:lnTo>
                <a:lnTo>
                  <a:pt x="1600" y="1703"/>
                </a:lnTo>
                <a:lnTo>
                  <a:pt x="1600" y="1703"/>
                </a:lnTo>
                <a:lnTo>
                  <a:pt x="1600" y="1703"/>
                </a:lnTo>
                <a:lnTo>
                  <a:pt x="1600" y="1703"/>
                </a:lnTo>
                <a:lnTo>
                  <a:pt x="1603" y="1703"/>
                </a:lnTo>
                <a:lnTo>
                  <a:pt x="1605" y="1705"/>
                </a:lnTo>
                <a:lnTo>
                  <a:pt x="1605" y="1705"/>
                </a:lnTo>
                <a:lnTo>
                  <a:pt x="1605" y="1705"/>
                </a:lnTo>
                <a:lnTo>
                  <a:pt x="1605" y="1708"/>
                </a:lnTo>
                <a:lnTo>
                  <a:pt x="1605" y="1713"/>
                </a:lnTo>
                <a:lnTo>
                  <a:pt x="1605" y="1716"/>
                </a:lnTo>
                <a:lnTo>
                  <a:pt x="1605" y="1719"/>
                </a:lnTo>
                <a:close/>
                <a:moveTo>
                  <a:pt x="1420" y="1553"/>
                </a:moveTo>
                <a:lnTo>
                  <a:pt x="1423" y="1555"/>
                </a:lnTo>
                <a:lnTo>
                  <a:pt x="1423" y="1555"/>
                </a:lnTo>
                <a:lnTo>
                  <a:pt x="1423" y="1558"/>
                </a:lnTo>
                <a:lnTo>
                  <a:pt x="1426" y="1561"/>
                </a:lnTo>
                <a:lnTo>
                  <a:pt x="1428" y="1558"/>
                </a:lnTo>
                <a:lnTo>
                  <a:pt x="1426" y="1555"/>
                </a:lnTo>
                <a:lnTo>
                  <a:pt x="1426" y="1553"/>
                </a:lnTo>
                <a:lnTo>
                  <a:pt x="1423" y="1550"/>
                </a:lnTo>
                <a:lnTo>
                  <a:pt x="1423" y="1550"/>
                </a:lnTo>
                <a:lnTo>
                  <a:pt x="1423" y="1547"/>
                </a:lnTo>
                <a:lnTo>
                  <a:pt x="1420" y="1547"/>
                </a:lnTo>
                <a:lnTo>
                  <a:pt x="1420" y="1547"/>
                </a:lnTo>
                <a:lnTo>
                  <a:pt x="1420" y="1547"/>
                </a:lnTo>
                <a:lnTo>
                  <a:pt x="1420" y="1547"/>
                </a:lnTo>
                <a:lnTo>
                  <a:pt x="1420" y="1553"/>
                </a:lnTo>
                <a:close/>
                <a:moveTo>
                  <a:pt x="1597" y="1716"/>
                </a:moveTo>
                <a:lnTo>
                  <a:pt x="1600" y="1713"/>
                </a:lnTo>
                <a:lnTo>
                  <a:pt x="1597" y="1711"/>
                </a:lnTo>
                <a:lnTo>
                  <a:pt x="1595" y="1708"/>
                </a:lnTo>
                <a:lnTo>
                  <a:pt x="1595" y="1708"/>
                </a:lnTo>
                <a:lnTo>
                  <a:pt x="1595" y="1711"/>
                </a:lnTo>
                <a:lnTo>
                  <a:pt x="1597" y="1716"/>
                </a:lnTo>
                <a:close/>
                <a:moveTo>
                  <a:pt x="1329" y="1392"/>
                </a:moveTo>
                <a:lnTo>
                  <a:pt x="1329" y="1392"/>
                </a:lnTo>
                <a:lnTo>
                  <a:pt x="1329" y="1392"/>
                </a:lnTo>
                <a:lnTo>
                  <a:pt x="1329" y="1392"/>
                </a:lnTo>
                <a:lnTo>
                  <a:pt x="1332" y="1394"/>
                </a:lnTo>
                <a:lnTo>
                  <a:pt x="1329" y="1394"/>
                </a:lnTo>
                <a:lnTo>
                  <a:pt x="1329" y="1397"/>
                </a:lnTo>
                <a:lnTo>
                  <a:pt x="1332" y="1397"/>
                </a:lnTo>
                <a:lnTo>
                  <a:pt x="1335" y="1397"/>
                </a:lnTo>
                <a:lnTo>
                  <a:pt x="1335" y="1397"/>
                </a:lnTo>
                <a:lnTo>
                  <a:pt x="1335" y="1394"/>
                </a:lnTo>
                <a:lnTo>
                  <a:pt x="1335" y="1394"/>
                </a:lnTo>
                <a:lnTo>
                  <a:pt x="1337" y="1394"/>
                </a:lnTo>
                <a:lnTo>
                  <a:pt x="1337" y="1394"/>
                </a:lnTo>
                <a:lnTo>
                  <a:pt x="1337" y="1392"/>
                </a:lnTo>
                <a:lnTo>
                  <a:pt x="1337" y="1392"/>
                </a:lnTo>
                <a:lnTo>
                  <a:pt x="1340" y="1392"/>
                </a:lnTo>
                <a:lnTo>
                  <a:pt x="1340" y="1389"/>
                </a:lnTo>
                <a:lnTo>
                  <a:pt x="1337" y="1389"/>
                </a:lnTo>
                <a:lnTo>
                  <a:pt x="1337" y="1389"/>
                </a:lnTo>
                <a:lnTo>
                  <a:pt x="1337" y="1389"/>
                </a:lnTo>
                <a:lnTo>
                  <a:pt x="1335" y="1389"/>
                </a:lnTo>
                <a:lnTo>
                  <a:pt x="1335" y="1386"/>
                </a:lnTo>
                <a:lnTo>
                  <a:pt x="1335" y="1386"/>
                </a:lnTo>
                <a:lnTo>
                  <a:pt x="1335" y="1386"/>
                </a:lnTo>
                <a:lnTo>
                  <a:pt x="1335" y="1384"/>
                </a:lnTo>
                <a:lnTo>
                  <a:pt x="1335" y="1384"/>
                </a:lnTo>
                <a:lnTo>
                  <a:pt x="1332" y="1384"/>
                </a:lnTo>
                <a:lnTo>
                  <a:pt x="1332" y="1381"/>
                </a:lnTo>
                <a:lnTo>
                  <a:pt x="1329" y="1384"/>
                </a:lnTo>
                <a:lnTo>
                  <a:pt x="1329" y="1384"/>
                </a:lnTo>
                <a:lnTo>
                  <a:pt x="1329" y="1384"/>
                </a:lnTo>
                <a:lnTo>
                  <a:pt x="1332" y="1384"/>
                </a:lnTo>
                <a:lnTo>
                  <a:pt x="1332" y="1386"/>
                </a:lnTo>
                <a:lnTo>
                  <a:pt x="1329" y="1389"/>
                </a:lnTo>
                <a:lnTo>
                  <a:pt x="1329" y="1392"/>
                </a:lnTo>
                <a:lnTo>
                  <a:pt x="1329" y="1392"/>
                </a:lnTo>
                <a:lnTo>
                  <a:pt x="1329" y="1392"/>
                </a:lnTo>
                <a:lnTo>
                  <a:pt x="1329" y="1392"/>
                </a:lnTo>
                <a:close/>
                <a:moveTo>
                  <a:pt x="1637" y="1899"/>
                </a:moveTo>
                <a:lnTo>
                  <a:pt x="1637" y="1901"/>
                </a:lnTo>
                <a:lnTo>
                  <a:pt x="1637" y="1904"/>
                </a:lnTo>
                <a:lnTo>
                  <a:pt x="1637" y="1909"/>
                </a:lnTo>
                <a:lnTo>
                  <a:pt x="1637" y="1917"/>
                </a:lnTo>
                <a:lnTo>
                  <a:pt x="1640" y="1920"/>
                </a:lnTo>
                <a:lnTo>
                  <a:pt x="1640" y="1920"/>
                </a:lnTo>
                <a:lnTo>
                  <a:pt x="1640" y="1920"/>
                </a:lnTo>
                <a:lnTo>
                  <a:pt x="1643" y="1923"/>
                </a:lnTo>
                <a:lnTo>
                  <a:pt x="1643" y="1928"/>
                </a:lnTo>
                <a:lnTo>
                  <a:pt x="1643" y="1928"/>
                </a:lnTo>
                <a:lnTo>
                  <a:pt x="1643" y="1931"/>
                </a:lnTo>
                <a:lnTo>
                  <a:pt x="1646" y="1931"/>
                </a:lnTo>
                <a:lnTo>
                  <a:pt x="1646" y="1928"/>
                </a:lnTo>
                <a:lnTo>
                  <a:pt x="1646" y="1928"/>
                </a:lnTo>
                <a:lnTo>
                  <a:pt x="1646" y="1925"/>
                </a:lnTo>
                <a:lnTo>
                  <a:pt x="1643" y="1923"/>
                </a:lnTo>
                <a:lnTo>
                  <a:pt x="1643" y="1923"/>
                </a:lnTo>
                <a:lnTo>
                  <a:pt x="1643" y="1917"/>
                </a:lnTo>
                <a:lnTo>
                  <a:pt x="1643" y="1912"/>
                </a:lnTo>
                <a:lnTo>
                  <a:pt x="1648" y="1899"/>
                </a:lnTo>
                <a:lnTo>
                  <a:pt x="1648" y="1896"/>
                </a:lnTo>
                <a:lnTo>
                  <a:pt x="1648" y="1896"/>
                </a:lnTo>
                <a:lnTo>
                  <a:pt x="1648" y="1893"/>
                </a:lnTo>
                <a:lnTo>
                  <a:pt x="1646" y="1896"/>
                </a:lnTo>
                <a:lnTo>
                  <a:pt x="1643" y="1896"/>
                </a:lnTo>
                <a:lnTo>
                  <a:pt x="1640" y="1899"/>
                </a:lnTo>
                <a:lnTo>
                  <a:pt x="1637" y="1899"/>
                </a:lnTo>
                <a:lnTo>
                  <a:pt x="1637" y="1899"/>
                </a:lnTo>
                <a:close/>
                <a:moveTo>
                  <a:pt x="1249" y="1405"/>
                </a:moveTo>
                <a:lnTo>
                  <a:pt x="1249" y="1405"/>
                </a:lnTo>
                <a:lnTo>
                  <a:pt x="1249" y="1405"/>
                </a:lnTo>
                <a:lnTo>
                  <a:pt x="1252" y="1405"/>
                </a:lnTo>
                <a:lnTo>
                  <a:pt x="1252" y="1402"/>
                </a:lnTo>
                <a:lnTo>
                  <a:pt x="1254" y="1400"/>
                </a:lnTo>
                <a:lnTo>
                  <a:pt x="1254" y="1400"/>
                </a:lnTo>
                <a:lnTo>
                  <a:pt x="1254" y="1400"/>
                </a:lnTo>
                <a:lnTo>
                  <a:pt x="1254" y="1397"/>
                </a:lnTo>
                <a:lnTo>
                  <a:pt x="1252" y="1397"/>
                </a:lnTo>
                <a:lnTo>
                  <a:pt x="1252" y="1394"/>
                </a:lnTo>
                <a:lnTo>
                  <a:pt x="1249" y="1397"/>
                </a:lnTo>
                <a:lnTo>
                  <a:pt x="1249" y="1397"/>
                </a:lnTo>
                <a:lnTo>
                  <a:pt x="1249" y="1400"/>
                </a:lnTo>
                <a:lnTo>
                  <a:pt x="1249" y="1400"/>
                </a:lnTo>
                <a:lnTo>
                  <a:pt x="1249" y="1402"/>
                </a:lnTo>
                <a:lnTo>
                  <a:pt x="1249" y="1402"/>
                </a:lnTo>
                <a:lnTo>
                  <a:pt x="1249" y="1402"/>
                </a:lnTo>
                <a:lnTo>
                  <a:pt x="1249" y="1405"/>
                </a:lnTo>
                <a:close/>
                <a:moveTo>
                  <a:pt x="118" y="810"/>
                </a:moveTo>
                <a:lnTo>
                  <a:pt x="118" y="810"/>
                </a:lnTo>
                <a:lnTo>
                  <a:pt x="118" y="810"/>
                </a:lnTo>
                <a:lnTo>
                  <a:pt x="118" y="812"/>
                </a:lnTo>
                <a:lnTo>
                  <a:pt x="118" y="812"/>
                </a:lnTo>
                <a:lnTo>
                  <a:pt x="121" y="812"/>
                </a:lnTo>
                <a:lnTo>
                  <a:pt x="121" y="810"/>
                </a:lnTo>
                <a:lnTo>
                  <a:pt x="121" y="810"/>
                </a:lnTo>
                <a:lnTo>
                  <a:pt x="123" y="810"/>
                </a:lnTo>
                <a:lnTo>
                  <a:pt x="123" y="807"/>
                </a:lnTo>
                <a:lnTo>
                  <a:pt x="123" y="807"/>
                </a:lnTo>
                <a:lnTo>
                  <a:pt x="121" y="807"/>
                </a:lnTo>
                <a:lnTo>
                  <a:pt x="118" y="807"/>
                </a:lnTo>
                <a:lnTo>
                  <a:pt x="118" y="807"/>
                </a:lnTo>
                <a:lnTo>
                  <a:pt x="118" y="807"/>
                </a:lnTo>
                <a:lnTo>
                  <a:pt x="118" y="810"/>
                </a:lnTo>
                <a:close/>
                <a:moveTo>
                  <a:pt x="153" y="842"/>
                </a:moveTo>
                <a:lnTo>
                  <a:pt x="153" y="839"/>
                </a:lnTo>
                <a:lnTo>
                  <a:pt x="155" y="839"/>
                </a:lnTo>
                <a:lnTo>
                  <a:pt x="155" y="836"/>
                </a:lnTo>
                <a:lnTo>
                  <a:pt x="158" y="836"/>
                </a:lnTo>
                <a:lnTo>
                  <a:pt x="158" y="836"/>
                </a:lnTo>
                <a:lnTo>
                  <a:pt x="158" y="839"/>
                </a:lnTo>
                <a:lnTo>
                  <a:pt x="158" y="839"/>
                </a:lnTo>
                <a:lnTo>
                  <a:pt x="161" y="839"/>
                </a:lnTo>
                <a:lnTo>
                  <a:pt x="161" y="839"/>
                </a:lnTo>
                <a:lnTo>
                  <a:pt x="161" y="839"/>
                </a:lnTo>
                <a:lnTo>
                  <a:pt x="161" y="839"/>
                </a:lnTo>
                <a:lnTo>
                  <a:pt x="164" y="839"/>
                </a:lnTo>
                <a:lnTo>
                  <a:pt x="166" y="836"/>
                </a:lnTo>
                <a:lnTo>
                  <a:pt x="169" y="836"/>
                </a:lnTo>
                <a:lnTo>
                  <a:pt x="169" y="834"/>
                </a:lnTo>
                <a:lnTo>
                  <a:pt x="169" y="834"/>
                </a:lnTo>
                <a:lnTo>
                  <a:pt x="166" y="834"/>
                </a:lnTo>
                <a:lnTo>
                  <a:pt x="166" y="831"/>
                </a:lnTo>
                <a:lnTo>
                  <a:pt x="166" y="831"/>
                </a:lnTo>
                <a:lnTo>
                  <a:pt x="166" y="828"/>
                </a:lnTo>
                <a:lnTo>
                  <a:pt x="161" y="826"/>
                </a:lnTo>
                <a:lnTo>
                  <a:pt x="161" y="826"/>
                </a:lnTo>
                <a:lnTo>
                  <a:pt x="161" y="826"/>
                </a:lnTo>
                <a:lnTo>
                  <a:pt x="158" y="828"/>
                </a:lnTo>
                <a:lnTo>
                  <a:pt x="158" y="828"/>
                </a:lnTo>
                <a:lnTo>
                  <a:pt x="155" y="834"/>
                </a:lnTo>
                <a:lnTo>
                  <a:pt x="153" y="834"/>
                </a:lnTo>
                <a:lnTo>
                  <a:pt x="150" y="836"/>
                </a:lnTo>
                <a:lnTo>
                  <a:pt x="150" y="836"/>
                </a:lnTo>
                <a:lnTo>
                  <a:pt x="153" y="839"/>
                </a:lnTo>
                <a:lnTo>
                  <a:pt x="153" y="842"/>
                </a:lnTo>
                <a:lnTo>
                  <a:pt x="153" y="842"/>
                </a:lnTo>
                <a:lnTo>
                  <a:pt x="153" y="842"/>
                </a:lnTo>
                <a:lnTo>
                  <a:pt x="153" y="842"/>
                </a:lnTo>
                <a:lnTo>
                  <a:pt x="153" y="842"/>
                </a:lnTo>
                <a:close/>
                <a:moveTo>
                  <a:pt x="123" y="801"/>
                </a:moveTo>
                <a:lnTo>
                  <a:pt x="123" y="801"/>
                </a:lnTo>
                <a:lnTo>
                  <a:pt x="126" y="799"/>
                </a:lnTo>
                <a:lnTo>
                  <a:pt x="126" y="799"/>
                </a:lnTo>
                <a:lnTo>
                  <a:pt x="126" y="799"/>
                </a:lnTo>
                <a:lnTo>
                  <a:pt x="126" y="796"/>
                </a:lnTo>
                <a:lnTo>
                  <a:pt x="126" y="793"/>
                </a:lnTo>
                <a:lnTo>
                  <a:pt x="126" y="791"/>
                </a:lnTo>
                <a:lnTo>
                  <a:pt x="129" y="791"/>
                </a:lnTo>
                <a:lnTo>
                  <a:pt x="131" y="796"/>
                </a:lnTo>
                <a:lnTo>
                  <a:pt x="131" y="796"/>
                </a:lnTo>
                <a:lnTo>
                  <a:pt x="131" y="796"/>
                </a:lnTo>
                <a:lnTo>
                  <a:pt x="139" y="796"/>
                </a:lnTo>
                <a:lnTo>
                  <a:pt x="142" y="796"/>
                </a:lnTo>
                <a:lnTo>
                  <a:pt x="145" y="793"/>
                </a:lnTo>
                <a:lnTo>
                  <a:pt x="145" y="793"/>
                </a:lnTo>
                <a:lnTo>
                  <a:pt x="147" y="793"/>
                </a:lnTo>
                <a:lnTo>
                  <a:pt x="147" y="788"/>
                </a:lnTo>
                <a:lnTo>
                  <a:pt x="150" y="788"/>
                </a:lnTo>
                <a:lnTo>
                  <a:pt x="150" y="788"/>
                </a:lnTo>
                <a:lnTo>
                  <a:pt x="153" y="791"/>
                </a:lnTo>
                <a:lnTo>
                  <a:pt x="153" y="791"/>
                </a:lnTo>
                <a:lnTo>
                  <a:pt x="155" y="791"/>
                </a:lnTo>
                <a:lnTo>
                  <a:pt x="155" y="788"/>
                </a:lnTo>
                <a:lnTo>
                  <a:pt x="155" y="788"/>
                </a:lnTo>
                <a:lnTo>
                  <a:pt x="155" y="788"/>
                </a:lnTo>
                <a:lnTo>
                  <a:pt x="155" y="788"/>
                </a:lnTo>
                <a:lnTo>
                  <a:pt x="158" y="785"/>
                </a:lnTo>
                <a:lnTo>
                  <a:pt x="158" y="785"/>
                </a:lnTo>
                <a:lnTo>
                  <a:pt x="158" y="783"/>
                </a:lnTo>
                <a:lnTo>
                  <a:pt x="158" y="780"/>
                </a:lnTo>
                <a:lnTo>
                  <a:pt x="158" y="780"/>
                </a:lnTo>
                <a:lnTo>
                  <a:pt x="158" y="777"/>
                </a:lnTo>
                <a:lnTo>
                  <a:pt x="161" y="780"/>
                </a:lnTo>
                <a:lnTo>
                  <a:pt x="161" y="780"/>
                </a:lnTo>
                <a:lnTo>
                  <a:pt x="164" y="780"/>
                </a:lnTo>
                <a:lnTo>
                  <a:pt x="164" y="780"/>
                </a:lnTo>
                <a:lnTo>
                  <a:pt x="164" y="777"/>
                </a:lnTo>
                <a:lnTo>
                  <a:pt x="164" y="777"/>
                </a:lnTo>
                <a:lnTo>
                  <a:pt x="161" y="777"/>
                </a:lnTo>
                <a:lnTo>
                  <a:pt x="161" y="777"/>
                </a:lnTo>
                <a:lnTo>
                  <a:pt x="158" y="775"/>
                </a:lnTo>
                <a:lnTo>
                  <a:pt x="158" y="775"/>
                </a:lnTo>
                <a:lnTo>
                  <a:pt x="161" y="775"/>
                </a:lnTo>
                <a:lnTo>
                  <a:pt x="164" y="775"/>
                </a:lnTo>
                <a:lnTo>
                  <a:pt x="164" y="775"/>
                </a:lnTo>
                <a:lnTo>
                  <a:pt x="166" y="772"/>
                </a:lnTo>
                <a:lnTo>
                  <a:pt x="166" y="772"/>
                </a:lnTo>
                <a:lnTo>
                  <a:pt x="166" y="772"/>
                </a:lnTo>
                <a:lnTo>
                  <a:pt x="166" y="772"/>
                </a:lnTo>
                <a:lnTo>
                  <a:pt x="169" y="772"/>
                </a:lnTo>
                <a:lnTo>
                  <a:pt x="169" y="772"/>
                </a:lnTo>
                <a:lnTo>
                  <a:pt x="169" y="775"/>
                </a:lnTo>
                <a:lnTo>
                  <a:pt x="172" y="777"/>
                </a:lnTo>
                <a:lnTo>
                  <a:pt x="172" y="777"/>
                </a:lnTo>
                <a:lnTo>
                  <a:pt x="174" y="777"/>
                </a:lnTo>
                <a:lnTo>
                  <a:pt x="174" y="775"/>
                </a:lnTo>
                <a:lnTo>
                  <a:pt x="177" y="775"/>
                </a:lnTo>
                <a:lnTo>
                  <a:pt x="180" y="775"/>
                </a:lnTo>
                <a:lnTo>
                  <a:pt x="182" y="775"/>
                </a:lnTo>
                <a:lnTo>
                  <a:pt x="182" y="775"/>
                </a:lnTo>
                <a:lnTo>
                  <a:pt x="182" y="775"/>
                </a:lnTo>
                <a:lnTo>
                  <a:pt x="182" y="775"/>
                </a:lnTo>
                <a:lnTo>
                  <a:pt x="182" y="775"/>
                </a:lnTo>
                <a:lnTo>
                  <a:pt x="182" y="772"/>
                </a:lnTo>
                <a:lnTo>
                  <a:pt x="185" y="772"/>
                </a:lnTo>
                <a:lnTo>
                  <a:pt x="185" y="772"/>
                </a:lnTo>
                <a:lnTo>
                  <a:pt x="185" y="772"/>
                </a:lnTo>
                <a:lnTo>
                  <a:pt x="185" y="775"/>
                </a:lnTo>
                <a:lnTo>
                  <a:pt x="185" y="772"/>
                </a:lnTo>
                <a:lnTo>
                  <a:pt x="185" y="769"/>
                </a:lnTo>
                <a:lnTo>
                  <a:pt x="185" y="769"/>
                </a:lnTo>
                <a:lnTo>
                  <a:pt x="185" y="767"/>
                </a:lnTo>
                <a:lnTo>
                  <a:pt x="185" y="767"/>
                </a:lnTo>
                <a:lnTo>
                  <a:pt x="185" y="769"/>
                </a:lnTo>
                <a:lnTo>
                  <a:pt x="182" y="769"/>
                </a:lnTo>
                <a:lnTo>
                  <a:pt x="182" y="769"/>
                </a:lnTo>
                <a:lnTo>
                  <a:pt x="182" y="769"/>
                </a:lnTo>
                <a:lnTo>
                  <a:pt x="182" y="767"/>
                </a:lnTo>
                <a:lnTo>
                  <a:pt x="182" y="767"/>
                </a:lnTo>
                <a:lnTo>
                  <a:pt x="177" y="767"/>
                </a:lnTo>
                <a:lnTo>
                  <a:pt x="177" y="767"/>
                </a:lnTo>
                <a:lnTo>
                  <a:pt x="174" y="767"/>
                </a:lnTo>
                <a:lnTo>
                  <a:pt x="174" y="764"/>
                </a:lnTo>
                <a:lnTo>
                  <a:pt x="172" y="764"/>
                </a:lnTo>
                <a:lnTo>
                  <a:pt x="172" y="761"/>
                </a:lnTo>
                <a:lnTo>
                  <a:pt x="169" y="761"/>
                </a:lnTo>
                <a:lnTo>
                  <a:pt x="166" y="761"/>
                </a:lnTo>
                <a:lnTo>
                  <a:pt x="158" y="767"/>
                </a:lnTo>
                <a:lnTo>
                  <a:pt x="147" y="769"/>
                </a:lnTo>
                <a:lnTo>
                  <a:pt x="142" y="769"/>
                </a:lnTo>
                <a:lnTo>
                  <a:pt x="139" y="769"/>
                </a:lnTo>
                <a:lnTo>
                  <a:pt x="137" y="769"/>
                </a:lnTo>
                <a:lnTo>
                  <a:pt x="137" y="772"/>
                </a:lnTo>
                <a:lnTo>
                  <a:pt x="134" y="775"/>
                </a:lnTo>
                <a:lnTo>
                  <a:pt x="134" y="775"/>
                </a:lnTo>
                <a:lnTo>
                  <a:pt x="134" y="775"/>
                </a:lnTo>
                <a:lnTo>
                  <a:pt x="131" y="775"/>
                </a:lnTo>
                <a:lnTo>
                  <a:pt x="131" y="775"/>
                </a:lnTo>
                <a:lnTo>
                  <a:pt x="131" y="777"/>
                </a:lnTo>
                <a:lnTo>
                  <a:pt x="131" y="780"/>
                </a:lnTo>
                <a:lnTo>
                  <a:pt x="129" y="780"/>
                </a:lnTo>
                <a:lnTo>
                  <a:pt x="126" y="783"/>
                </a:lnTo>
                <a:lnTo>
                  <a:pt x="126" y="783"/>
                </a:lnTo>
                <a:lnTo>
                  <a:pt x="126" y="785"/>
                </a:lnTo>
                <a:lnTo>
                  <a:pt x="123" y="788"/>
                </a:lnTo>
                <a:lnTo>
                  <a:pt x="123" y="791"/>
                </a:lnTo>
                <a:lnTo>
                  <a:pt x="123" y="791"/>
                </a:lnTo>
                <a:lnTo>
                  <a:pt x="123" y="793"/>
                </a:lnTo>
                <a:lnTo>
                  <a:pt x="123" y="793"/>
                </a:lnTo>
                <a:lnTo>
                  <a:pt x="121" y="793"/>
                </a:lnTo>
                <a:lnTo>
                  <a:pt x="121" y="796"/>
                </a:lnTo>
                <a:lnTo>
                  <a:pt x="123" y="796"/>
                </a:lnTo>
                <a:lnTo>
                  <a:pt x="123" y="801"/>
                </a:lnTo>
                <a:close/>
                <a:moveTo>
                  <a:pt x="440" y="96"/>
                </a:moveTo>
                <a:lnTo>
                  <a:pt x="440" y="96"/>
                </a:lnTo>
                <a:lnTo>
                  <a:pt x="442" y="99"/>
                </a:lnTo>
                <a:lnTo>
                  <a:pt x="442" y="99"/>
                </a:lnTo>
                <a:lnTo>
                  <a:pt x="442" y="99"/>
                </a:lnTo>
                <a:lnTo>
                  <a:pt x="445" y="99"/>
                </a:lnTo>
                <a:lnTo>
                  <a:pt x="445" y="96"/>
                </a:lnTo>
                <a:lnTo>
                  <a:pt x="448" y="96"/>
                </a:lnTo>
                <a:lnTo>
                  <a:pt x="448" y="96"/>
                </a:lnTo>
                <a:lnTo>
                  <a:pt x="448" y="91"/>
                </a:lnTo>
                <a:lnTo>
                  <a:pt x="448" y="91"/>
                </a:lnTo>
                <a:lnTo>
                  <a:pt x="448" y="88"/>
                </a:lnTo>
                <a:lnTo>
                  <a:pt x="445" y="85"/>
                </a:lnTo>
                <a:lnTo>
                  <a:pt x="445" y="85"/>
                </a:lnTo>
                <a:lnTo>
                  <a:pt x="442" y="85"/>
                </a:lnTo>
                <a:lnTo>
                  <a:pt x="437" y="93"/>
                </a:lnTo>
                <a:lnTo>
                  <a:pt x="437" y="93"/>
                </a:lnTo>
                <a:lnTo>
                  <a:pt x="440" y="96"/>
                </a:lnTo>
                <a:close/>
                <a:moveTo>
                  <a:pt x="1651" y="1936"/>
                </a:moveTo>
                <a:lnTo>
                  <a:pt x="1651" y="1936"/>
                </a:lnTo>
                <a:lnTo>
                  <a:pt x="1648" y="1936"/>
                </a:lnTo>
                <a:lnTo>
                  <a:pt x="1648" y="1933"/>
                </a:lnTo>
                <a:lnTo>
                  <a:pt x="1646" y="1933"/>
                </a:lnTo>
                <a:lnTo>
                  <a:pt x="1646" y="1933"/>
                </a:lnTo>
                <a:lnTo>
                  <a:pt x="1646" y="1936"/>
                </a:lnTo>
                <a:lnTo>
                  <a:pt x="1646" y="1939"/>
                </a:lnTo>
                <a:lnTo>
                  <a:pt x="1643" y="1941"/>
                </a:lnTo>
                <a:lnTo>
                  <a:pt x="1643" y="1944"/>
                </a:lnTo>
                <a:lnTo>
                  <a:pt x="1640" y="1944"/>
                </a:lnTo>
                <a:lnTo>
                  <a:pt x="1643" y="1949"/>
                </a:lnTo>
                <a:lnTo>
                  <a:pt x="1643" y="1952"/>
                </a:lnTo>
                <a:lnTo>
                  <a:pt x="1643" y="1952"/>
                </a:lnTo>
                <a:lnTo>
                  <a:pt x="1640" y="1955"/>
                </a:lnTo>
                <a:lnTo>
                  <a:pt x="1640" y="1958"/>
                </a:lnTo>
                <a:lnTo>
                  <a:pt x="1643" y="1958"/>
                </a:lnTo>
                <a:lnTo>
                  <a:pt x="1643" y="1960"/>
                </a:lnTo>
                <a:lnTo>
                  <a:pt x="1643" y="1960"/>
                </a:lnTo>
                <a:lnTo>
                  <a:pt x="1643" y="1960"/>
                </a:lnTo>
                <a:lnTo>
                  <a:pt x="1643" y="1963"/>
                </a:lnTo>
                <a:lnTo>
                  <a:pt x="1640" y="1963"/>
                </a:lnTo>
                <a:lnTo>
                  <a:pt x="1640" y="1963"/>
                </a:lnTo>
                <a:lnTo>
                  <a:pt x="1640" y="1966"/>
                </a:lnTo>
                <a:lnTo>
                  <a:pt x="1640" y="1968"/>
                </a:lnTo>
                <a:lnTo>
                  <a:pt x="1643" y="1971"/>
                </a:lnTo>
                <a:lnTo>
                  <a:pt x="1643" y="1971"/>
                </a:lnTo>
                <a:lnTo>
                  <a:pt x="1643" y="1971"/>
                </a:lnTo>
                <a:lnTo>
                  <a:pt x="1646" y="1971"/>
                </a:lnTo>
                <a:lnTo>
                  <a:pt x="1646" y="1971"/>
                </a:lnTo>
                <a:lnTo>
                  <a:pt x="1648" y="1968"/>
                </a:lnTo>
                <a:lnTo>
                  <a:pt x="1654" y="1947"/>
                </a:lnTo>
                <a:lnTo>
                  <a:pt x="1656" y="1941"/>
                </a:lnTo>
                <a:lnTo>
                  <a:pt x="1656" y="1936"/>
                </a:lnTo>
                <a:lnTo>
                  <a:pt x="1654" y="1936"/>
                </a:lnTo>
                <a:lnTo>
                  <a:pt x="1651" y="1936"/>
                </a:lnTo>
                <a:close/>
                <a:moveTo>
                  <a:pt x="1651" y="2011"/>
                </a:moveTo>
                <a:lnTo>
                  <a:pt x="1648" y="2008"/>
                </a:lnTo>
                <a:lnTo>
                  <a:pt x="1646" y="2006"/>
                </a:lnTo>
                <a:lnTo>
                  <a:pt x="1646" y="1998"/>
                </a:lnTo>
                <a:lnTo>
                  <a:pt x="1646" y="1992"/>
                </a:lnTo>
                <a:lnTo>
                  <a:pt x="1646" y="1995"/>
                </a:lnTo>
                <a:lnTo>
                  <a:pt x="1643" y="1995"/>
                </a:lnTo>
                <a:lnTo>
                  <a:pt x="1643" y="1998"/>
                </a:lnTo>
                <a:lnTo>
                  <a:pt x="1643" y="1995"/>
                </a:lnTo>
                <a:lnTo>
                  <a:pt x="1640" y="1995"/>
                </a:lnTo>
                <a:lnTo>
                  <a:pt x="1643" y="1992"/>
                </a:lnTo>
                <a:lnTo>
                  <a:pt x="1643" y="1990"/>
                </a:lnTo>
                <a:lnTo>
                  <a:pt x="1643" y="1990"/>
                </a:lnTo>
                <a:lnTo>
                  <a:pt x="1646" y="1992"/>
                </a:lnTo>
                <a:lnTo>
                  <a:pt x="1646" y="1987"/>
                </a:lnTo>
                <a:lnTo>
                  <a:pt x="1646" y="1984"/>
                </a:lnTo>
                <a:lnTo>
                  <a:pt x="1646" y="1979"/>
                </a:lnTo>
                <a:lnTo>
                  <a:pt x="1646" y="1976"/>
                </a:lnTo>
                <a:lnTo>
                  <a:pt x="1646" y="1976"/>
                </a:lnTo>
                <a:lnTo>
                  <a:pt x="1646" y="1979"/>
                </a:lnTo>
                <a:lnTo>
                  <a:pt x="1643" y="1979"/>
                </a:lnTo>
                <a:lnTo>
                  <a:pt x="1643" y="1979"/>
                </a:lnTo>
                <a:lnTo>
                  <a:pt x="1643" y="1976"/>
                </a:lnTo>
                <a:lnTo>
                  <a:pt x="1643" y="1976"/>
                </a:lnTo>
                <a:lnTo>
                  <a:pt x="1640" y="1974"/>
                </a:lnTo>
                <a:lnTo>
                  <a:pt x="1637" y="1971"/>
                </a:lnTo>
                <a:lnTo>
                  <a:pt x="1637" y="1971"/>
                </a:lnTo>
                <a:lnTo>
                  <a:pt x="1637" y="1971"/>
                </a:lnTo>
                <a:lnTo>
                  <a:pt x="1637" y="1971"/>
                </a:lnTo>
                <a:lnTo>
                  <a:pt x="1637" y="1968"/>
                </a:lnTo>
                <a:lnTo>
                  <a:pt x="1635" y="1968"/>
                </a:lnTo>
                <a:lnTo>
                  <a:pt x="1635" y="1966"/>
                </a:lnTo>
                <a:lnTo>
                  <a:pt x="1632" y="1963"/>
                </a:lnTo>
                <a:lnTo>
                  <a:pt x="1632" y="1963"/>
                </a:lnTo>
                <a:lnTo>
                  <a:pt x="1632" y="1960"/>
                </a:lnTo>
                <a:lnTo>
                  <a:pt x="1632" y="1955"/>
                </a:lnTo>
                <a:lnTo>
                  <a:pt x="1632" y="1952"/>
                </a:lnTo>
                <a:lnTo>
                  <a:pt x="1629" y="1949"/>
                </a:lnTo>
                <a:lnTo>
                  <a:pt x="1629" y="1949"/>
                </a:lnTo>
                <a:lnTo>
                  <a:pt x="1629" y="1949"/>
                </a:lnTo>
                <a:lnTo>
                  <a:pt x="1629" y="1949"/>
                </a:lnTo>
                <a:lnTo>
                  <a:pt x="1627" y="1944"/>
                </a:lnTo>
                <a:lnTo>
                  <a:pt x="1627" y="1944"/>
                </a:lnTo>
                <a:lnTo>
                  <a:pt x="1627" y="1944"/>
                </a:lnTo>
                <a:lnTo>
                  <a:pt x="1624" y="1941"/>
                </a:lnTo>
                <a:lnTo>
                  <a:pt x="1621" y="1941"/>
                </a:lnTo>
                <a:lnTo>
                  <a:pt x="1621" y="1941"/>
                </a:lnTo>
                <a:lnTo>
                  <a:pt x="1619" y="1941"/>
                </a:lnTo>
                <a:lnTo>
                  <a:pt x="1619" y="1939"/>
                </a:lnTo>
                <a:lnTo>
                  <a:pt x="1619" y="1933"/>
                </a:lnTo>
                <a:lnTo>
                  <a:pt x="1616" y="1931"/>
                </a:lnTo>
                <a:lnTo>
                  <a:pt x="1616" y="1931"/>
                </a:lnTo>
                <a:lnTo>
                  <a:pt x="1611" y="1928"/>
                </a:lnTo>
                <a:lnTo>
                  <a:pt x="1608" y="1928"/>
                </a:lnTo>
                <a:lnTo>
                  <a:pt x="1608" y="1928"/>
                </a:lnTo>
                <a:lnTo>
                  <a:pt x="1605" y="1925"/>
                </a:lnTo>
                <a:lnTo>
                  <a:pt x="1605" y="1923"/>
                </a:lnTo>
                <a:lnTo>
                  <a:pt x="1605" y="1923"/>
                </a:lnTo>
                <a:lnTo>
                  <a:pt x="1608" y="1920"/>
                </a:lnTo>
                <a:lnTo>
                  <a:pt x="1611" y="1920"/>
                </a:lnTo>
                <a:lnTo>
                  <a:pt x="1611" y="1917"/>
                </a:lnTo>
                <a:lnTo>
                  <a:pt x="1611" y="1915"/>
                </a:lnTo>
                <a:lnTo>
                  <a:pt x="1611" y="1912"/>
                </a:lnTo>
                <a:lnTo>
                  <a:pt x="1611" y="1915"/>
                </a:lnTo>
                <a:lnTo>
                  <a:pt x="1608" y="1915"/>
                </a:lnTo>
                <a:lnTo>
                  <a:pt x="1608" y="1915"/>
                </a:lnTo>
                <a:lnTo>
                  <a:pt x="1605" y="1915"/>
                </a:lnTo>
                <a:lnTo>
                  <a:pt x="1603" y="1912"/>
                </a:lnTo>
                <a:lnTo>
                  <a:pt x="1603" y="1912"/>
                </a:lnTo>
                <a:lnTo>
                  <a:pt x="1603" y="1909"/>
                </a:lnTo>
                <a:lnTo>
                  <a:pt x="1605" y="1907"/>
                </a:lnTo>
                <a:lnTo>
                  <a:pt x="1608" y="1904"/>
                </a:lnTo>
                <a:lnTo>
                  <a:pt x="1611" y="1901"/>
                </a:lnTo>
                <a:lnTo>
                  <a:pt x="1616" y="1901"/>
                </a:lnTo>
                <a:lnTo>
                  <a:pt x="1619" y="1904"/>
                </a:lnTo>
                <a:lnTo>
                  <a:pt x="1621" y="1901"/>
                </a:lnTo>
                <a:lnTo>
                  <a:pt x="1621" y="1899"/>
                </a:lnTo>
                <a:lnTo>
                  <a:pt x="1616" y="1885"/>
                </a:lnTo>
                <a:lnTo>
                  <a:pt x="1613" y="1880"/>
                </a:lnTo>
                <a:lnTo>
                  <a:pt x="1613" y="1877"/>
                </a:lnTo>
                <a:lnTo>
                  <a:pt x="1613" y="1877"/>
                </a:lnTo>
                <a:lnTo>
                  <a:pt x="1613" y="1877"/>
                </a:lnTo>
                <a:lnTo>
                  <a:pt x="1613" y="1874"/>
                </a:lnTo>
                <a:lnTo>
                  <a:pt x="1616" y="1872"/>
                </a:lnTo>
                <a:lnTo>
                  <a:pt x="1616" y="1872"/>
                </a:lnTo>
                <a:lnTo>
                  <a:pt x="1616" y="1872"/>
                </a:lnTo>
                <a:lnTo>
                  <a:pt x="1616" y="1869"/>
                </a:lnTo>
                <a:lnTo>
                  <a:pt x="1613" y="1866"/>
                </a:lnTo>
                <a:lnTo>
                  <a:pt x="1613" y="1864"/>
                </a:lnTo>
                <a:lnTo>
                  <a:pt x="1616" y="1858"/>
                </a:lnTo>
                <a:lnTo>
                  <a:pt x="1611" y="1858"/>
                </a:lnTo>
                <a:lnTo>
                  <a:pt x="1611" y="1858"/>
                </a:lnTo>
                <a:lnTo>
                  <a:pt x="1611" y="1856"/>
                </a:lnTo>
                <a:lnTo>
                  <a:pt x="1611" y="1856"/>
                </a:lnTo>
                <a:lnTo>
                  <a:pt x="1611" y="1834"/>
                </a:lnTo>
                <a:lnTo>
                  <a:pt x="1611" y="1831"/>
                </a:lnTo>
                <a:lnTo>
                  <a:pt x="1613" y="1829"/>
                </a:lnTo>
                <a:lnTo>
                  <a:pt x="1613" y="1826"/>
                </a:lnTo>
                <a:lnTo>
                  <a:pt x="1611" y="1826"/>
                </a:lnTo>
                <a:lnTo>
                  <a:pt x="1611" y="1826"/>
                </a:lnTo>
                <a:lnTo>
                  <a:pt x="1608" y="1826"/>
                </a:lnTo>
                <a:lnTo>
                  <a:pt x="1608" y="1823"/>
                </a:lnTo>
                <a:lnTo>
                  <a:pt x="1608" y="1821"/>
                </a:lnTo>
                <a:lnTo>
                  <a:pt x="1608" y="1821"/>
                </a:lnTo>
                <a:lnTo>
                  <a:pt x="1608" y="1815"/>
                </a:lnTo>
                <a:lnTo>
                  <a:pt x="1611" y="1805"/>
                </a:lnTo>
                <a:lnTo>
                  <a:pt x="1611" y="1805"/>
                </a:lnTo>
                <a:lnTo>
                  <a:pt x="1613" y="1797"/>
                </a:lnTo>
                <a:lnTo>
                  <a:pt x="1613" y="1797"/>
                </a:lnTo>
                <a:lnTo>
                  <a:pt x="1613" y="1791"/>
                </a:lnTo>
                <a:lnTo>
                  <a:pt x="1613" y="1791"/>
                </a:lnTo>
                <a:lnTo>
                  <a:pt x="1616" y="1789"/>
                </a:lnTo>
                <a:lnTo>
                  <a:pt x="1619" y="1786"/>
                </a:lnTo>
                <a:lnTo>
                  <a:pt x="1619" y="1783"/>
                </a:lnTo>
                <a:lnTo>
                  <a:pt x="1621" y="1781"/>
                </a:lnTo>
                <a:lnTo>
                  <a:pt x="1621" y="1778"/>
                </a:lnTo>
                <a:lnTo>
                  <a:pt x="1619" y="1781"/>
                </a:lnTo>
                <a:lnTo>
                  <a:pt x="1613" y="1781"/>
                </a:lnTo>
                <a:lnTo>
                  <a:pt x="1611" y="1778"/>
                </a:lnTo>
                <a:lnTo>
                  <a:pt x="1611" y="1778"/>
                </a:lnTo>
                <a:lnTo>
                  <a:pt x="1608" y="1772"/>
                </a:lnTo>
                <a:lnTo>
                  <a:pt x="1608" y="1767"/>
                </a:lnTo>
                <a:lnTo>
                  <a:pt x="1608" y="1767"/>
                </a:lnTo>
                <a:lnTo>
                  <a:pt x="1605" y="1767"/>
                </a:lnTo>
                <a:lnTo>
                  <a:pt x="1605" y="1767"/>
                </a:lnTo>
                <a:lnTo>
                  <a:pt x="1608" y="1770"/>
                </a:lnTo>
                <a:lnTo>
                  <a:pt x="1605" y="1770"/>
                </a:lnTo>
                <a:lnTo>
                  <a:pt x="1605" y="1772"/>
                </a:lnTo>
                <a:lnTo>
                  <a:pt x="1605" y="1775"/>
                </a:lnTo>
                <a:lnTo>
                  <a:pt x="1605" y="1778"/>
                </a:lnTo>
                <a:lnTo>
                  <a:pt x="1603" y="1783"/>
                </a:lnTo>
                <a:lnTo>
                  <a:pt x="1600" y="1783"/>
                </a:lnTo>
                <a:lnTo>
                  <a:pt x="1600" y="1781"/>
                </a:lnTo>
                <a:lnTo>
                  <a:pt x="1600" y="1778"/>
                </a:lnTo>
                <a:lnTo>
                  <a:pt x="1603" y="1778"/>
                </a:lnTo>
                <a:lnTo>
                  <a:pt x="1603" y="1775"/>
                </a:lnTo>
                <a:lnTo>
                  <a:pt x="1603" y="1775"/>
                </a:lnTo>
                <a:lnTo>
                  <a:pt x="1603" y="1772"/>
                </a:lnTo>
                <a:lnTo>
                  <a:pt x="1603" y="1770"/>
                </a:lnTo>
                <a:lnTo>
                  <a:pt x="1600" y="1767"/>
                </a:lnTo>
                <a:lnTo>
                  <a:pt x="1597" y="1762"/>
                </a:lnTo>
                <a:lnTo>
                  <a:pt x="1595" y="1762"/>
                </a:lnTo>
                <a:lnTo>
                  <a:pt x="1592" y="1759"/>
                </a:lnTo>
                <a:lnTo>
                  <a:pt x="1592" y="1759"/>
                </a:lnTo>
                <a:lnTo>
                  <a:pt x="1589" y="1756"/>
                </a:lnTo>
                <a:lnTo>
                  <a:pt x="1592" y="1756"/>
                </a:lnTo>
                <a:lnTo>
                  <a:pt x="1592" y="1756"/>
                </a:lnTo>
                <a:lnTo>
                  <a:pt x="1589" y="1754"/>
                </a:lnTo>
                <a:lnTo>
                  <a:pt x="1587" y="1754"/>
                </a:lnTo>
                <a:lnTo>
                  <a:pt x="1587" y="1751"/>
                </a:lnTo>
                <a:lnTo>
                  <a:pt x="1589" y="1751"/>
                </a:lnTo>
                <a:lnTo>
                  <a:pt x="1589" y="1748"/>
                </a:lnTo>
                <a:lnTo>
                  <a:pt x="1589" y="1740"/>
                </a:lnTo>
                <a:lnTo>
                  <a:pt x="1589" y="1740"/>
                </a:lnTo>
                <a:lnTo>
                  <a:pt x="1589" y="1738"/>
                </a:lnTo>
                <a:lnTo>
                  <a:pt x="1595" y="1735"/>
                </a:lnTo>
                <a:lnTo>
                  <a:pt x="1595" y="1732"/>
                </a:lnTo>
                <a:lnTo>
                  <a:pt x="1595" y="1732"/>
                </a:lnTo>
                <a:lnTo>
                  <a:pt x="1592" y="1732"/>
                </a:lnTo>
                <a:lnTo>
                  <a:pt x="1592" y="1730"/>
                </a:lnTo>
                <a:lnTo>
                  <a:pt x="1592" y="1730"/>
                </a:lnTo>
                <a:lnTo>
                  <a:pt x="1595" y="1730"/>
                </a:lnTo>
                <a:lnTo>
                  <a:pt x="1595" y="1727"/>
                </a:lnTo>
                <a:lnTo>
                  <a:pt x="1595" y="1727"/>
                </a:lnTo>
                <a:lnTo>
                  <a:pt x="1592" y="1727"/>
                </a:lnTo>
                <a:lnTo>
                  <a:pt x="1587" y="1730"/>
                </a:lnTo>
                <a:lnTo>
                  <a:pt x="1584" y="1730"/>
                </a:lnTo>
                <a:lnTo>
                  <a:pt x="1587" y="1730"/>
                </a:lnTo>
                <a:lnTo>
                  <a:pt x="1587" y="1727"/>
                </a:lnTo>
                <a:lnTo>
                  <a:pt x="1587" y="1727"/>
                </a:lnTo>
                <a:lnTo>
                  <a:pt x="1592" y="1724"/>
                </a:lnTo>
                <a:lnTo>
                  <a:pt x="1592" y="1724"/>
                </a:lnTo>
                <a:lnTo>
                  <a:pt x="1589" y="1713"/>
                </a:lnTo>
                <a:lnTo>
                  <a:pt x="1589" y="1711"/>
                </a:lnTo>
                <a:lnTo>
                  <a:pt x="1589" y="1711"/>
                </a:lnTo>
                <a:lnTo>
                  <a:pt x="1589" y="1711"/>
                </a:lnTo>
                <a:lnTo>
                  <a:pt x="1584" y="1708"/>
                </a:lnTo>
                <a:lnTo>
                  <a:pt x="1581" y="1708"/>
                </a:lnTo>
                <a:lnTo>
                  <a:pt x="1581" y="1705"/>
                </a:lnTo>
                <a:lnTo>
                  <a:pt x="1581" y="1705"/>
                </a:lnTo>
                <a:lnTo>
                  <a:pt x="1579" y="1705"/>
                </a:lnTo>
                <a:lnTo>
                  <a:pt x="1579" y="1708"/>
                </a:lnTo>
                <a:lnTo>
                  <a:pt x="1579" y="1708"/>
                </a:lnTo>
                <a:lnTo>
                  <a:pt x="1579" y="1711"/>
                </a:lnTo>
                <a:lnTo>
                  <a:pt x="1576" y="1708"/>
                </a:lnTo>
                <a:lnTo>
                  <a:pt x="1576" y="1708"/>
                </a:lnTo>
                <a:lnTo>
                  <a:pt x="1570" y="1708"/>
                </a:lnTo>
                <a:lnTo>
                  <a:pt x="1568" y="1705"/>
                </a:lnTo>
                <a:lnTo>
                  <a:pt x="1565" y="1705"/>
                </a:lnTo>
                <a:lnTo>
                  <a:pt x="1562" y="1703"/>
                </a:lnTo>
                <a:lnTo>
                  <a:pt x="1562" y="1703"/>
                </a:lnTo>
                <a:lnTo>
                  <a:pt x="1560" y="1700"/>
                </a:lnTo>
                <a:lnTo>
                  <a:pt x="1557" y="1700"/>
                </a:lnTo>
                <a:lnTo>
                  <a:pt x="1557" y="1700"/>
                </a:lnTo>
                <a:lnTo>
                  <a:pt x="1554" y="1697"/>
                </a:lnTo>
                <a:lnTo>
                  <a:pt x="1552" y="1697"/>
                </a:lnTo>
                <a:lnTo>
                  <a:pt x="1552" y="1697"/>
                </a:lnTo>
                <a:lnTo>
                  <a:pt x="1554" y="1697"/>
                </a:lnTo>
                <a:lnTo>
                  <a:pt x="1554" y="1697"/>
                </a:lnTo>
                <a:lnTo>
                  <a:pt x="1554" y="1697"/>
                </a:lnTo>
                <a:lnTo>
                  <a:pt x="1557" y="1697"/>
                </a:lnTo>
                <a:lnTo>
                  <a:pt x="1557" y="1697"/>
                </a:lnTo>
                <a:lnTo>
                  <a:pt x="1560" y="1697"/>
                </a:lnTo>
                <a:lnTo>
                  <a:pt x="1560" y="1697"/>
                </a:lnTo>
                <a:lnTo>
                  <a:pt x="1560" y="1697"/>
                </a:lnTo>
                <a:lnTo>
                  <a:pt x="1560" y="1695"/>
                </a:lnTo>
                <a:lnTo>
                  <a:pt x="1554" y="1692"/>
                </a:lnTo>
                <a:lnTo>
                  <a:pt x="1554" y="1692"/>
                </a:lnTo>
                <a:lnTo>
                  <a:pt x="1554" y="1689"/>
                </a:lnTo>
                <a:lnTo>
                  <a:pt x="1546" y="1679"/>
                </a:lnTo>
                <a:lnTo>
                  <a:pt x="1546" y="1676"/>
                </a:lnTo>
                <a:lnTo>
                  <a:pt x="1546" y="1668"/>
                </a:lnTo>
                <a:lnTo>
                  <a:pt x="1544" y="1662"/>
                </a:lnTo>
                <a:lnTo>
                  <a:pt x="1541" y="1660"/>
                </a:lnTo>
                <a:lnTo>
                  <a:pt x="1538" y="1654"/>
                </a:lnTo>
                <a:lnTo>
                  <a:pt x="1536" y="1652"/>
                </a:lnTo>
                <a:lnTo>
                  <a:pt x="1530" y="1652"/>
                </a:lnTo>
                <a:lnTo>
                  <a:pt x="1528" y="1649"/>
                </a:lnTo>
                <a:lnTo>
                  <a:pt x="1525" y="1649"/>
                </a:lnTo>
                <a:lnTo>
                  <a:pt x="1509" y="1638"/>
                </a:lnTo>
                <a:lnTo>
                  <a:pt x="1506" y="1636"/>
                </a:lnTo>
                <a:lnTo>
                  <a:pt x="1501" y="1630"/>
                </a:lnTo>
                <a:lnTo>
                  <a:pt x="1498" y="1628"/>
                </a:lnTo>
                <a:lnTo>
                  <a:pt x="1493" y="1617"/>
                </a:lnTo>
                <a:lnTo>
                  <a:pt x="1485" y="1598"/>
                </a:lnTo>
                <a:lnTo>
                  <a:pt x="1485" y="1595"/>
                </a:lnTo>
                <a:lnTo>
                  <a:pt x="1485" y="1595"/>
                </a:lnTo>
                <a:lnTo>
                  <a:pt x="1482" y="1593"/>
                </a:lnTo>
                <a:lnTo>
                  <a:pt x="1482" y="1593"/>
                </a:lnTo>
                <a:lnTo>
                  <a:pt x="1482" y="1593"/>
                </a:lnTo>
                <a:lnTo>
                  <a:pt x="1482" y="1590"/>
                </a:lnTo>
                <a:lnTo>
                  <a:pt x="1482" y="1587"/>
                </a:lnTo>
                <a:lnTo>
                  <a:pt x="1479" y="1587"/>
                </a:lnTo>
                <a:lnTo>
                  <a:pt x="1479" y="1590"/>
                </a:lnTo>
                <a:lnTo>
                  <a:pt x="1479" y="1590"/>
                </a:lnTo>
                <a:lnTo>
                  <a:pt x="1479" y="1590"/>
                </a:lnTo>
                <a:lnTo>
                  <a:pt x="1479" y="1590"/>
                </a:lnTo>
                <a:lnTo>
                  <a:pt x="1479" y="1590"/>
                </a:lnTo>
                <a:lnTo>
                  <a:pt x="1479" y="1590"/>
                </a:lnTo>
                <a:lnTo>
                  <a:pt x="1479" y="1590"/>
                </a:lnTo>
                <a:lnTo>
                  <a:pt x="1477" y="1590"/>
                </a:lnTo>
                <a:lnTo>
                  <a:pt x="1474" y="1590"/>
                </a:lnTo>
                <a:lnTo>
                  <a:pt x="1471" y="1587"/>
                </a:lnTo>
                <a:lnTo>
                  <a:pt x="1471" y="1585"/>
                </a:lnTo>
                <a:lnTo>
                  <a:pt x="1469" y="1582"/>
                </a:lnTo>
                <a:lnTo>
                  <a:pt x="1469" y="1579"/>
                </a:lnTo>
                <a:lnTo>
                  <a:pt x="1469" y="1574"/>
                </a:lnTo>
                <a:lnTo>
                  <a:pt x="1466" y="1577"/>
                </a:lnTo>
                <a:lnTo>
                  <a:pt x="1463" y="1579"/>
                </a:lnTo>
                <a:lnTo>
                  <a:pt x="1463" y="1579"/>
                </a:lnTo>
                <a:lnTo>
                  <a:pt x="1463" y="1579"/>
                </a:lnTo>
                <a:lnTo>
                  <a:pt x="1461" y="1577"/>
                </a:lnTo>
                <a:lnTo>
                  <a:pt x="1463" y="1574"/>
                </a:lnTo>
                <a:lnTo>
                  <a:pt x="1463" y="1574"/>
                </a:lnTo>
                <a:lnTo>
                  <a:pt x="1461" y="1574"/>
                </a:lnTo>
                <a:lnTo>
                  <a:pt x="1461" y="1574"/>
                </a:lnTo>
                <a:lnTo>
                  <a:pt x="1461" y="1571"/>
                </a:lnTo>
                <a:lnTo>
                  <a:pt x="1458" y="1571"/>
                </a:lnTo>
                <a:lnTo>
                  <a:pt x="1455" y="1571"/>
                </a:lnTo>
                <a:lnTo>
                  <a:pt x="1455" y="1571"/>
                </a:lnTo>
                <a:lnTo>
                  <a:pt x="1453" y="1571"/>
                </a:lnTo>
                <a:lnTo>
                  <a:pt x="1453" y="1571"/>
                </a:lnTo>
                <a:lnTo>
                  <a:pt x="1453" y="1574"/>
                </a:lnTo>
                <a:lnTo>
                  <a:pt x="1455" y="1574"/>
                </a:lnTo>
                <a:lnTo>
                  <a:pt x="1455" y="1577"/>
                </a:lnTo>
                <a:lnTo>
                  <a:pt x="1458" y="1577"/>
                </a:lnTo>
                <a:lnTo>
                  <a:pt x="1458" y="1579"/>
                </a:lnTo>
                <a:lnTo>
                  <a:pt x="1461" y="1582"/>
                </a:lnTo>
                <a:lnTo>
                  <a:pt x="1458" y="1582"/>
                </a:lnTo>
                <a:lnTo>
                  <a:pt x="1455" y="1579"/>
                </a:lnTo>
                <a:lnTo>
                  <a:pt x="1453" y="1579"/>
                </a:lnTo>
                <a:lnTo>
                  <a:pt x="1450" y="1579"/>
                </a:lnTo>
                <a:lnTo>
                  <a:pt x="1450" y="1579"/>
                </a:lnTo>
                <a:lnTo>
                  <a:pt x="1447" y="1577"/>
                </a:lnTo>
                <a:lnTo>
                  <a:pt x="1447" y="1577"/>
                </a:lnTo>
                <a:lnTo>
                  <a:pt x="1447" y="1579"/>
                </a:lnTo>
                <a:lnTo>
                  <a:pt x="1447" y="1582"/>
                </a:lnTo>
                <a:lnTo>
                  <a:pt x="1447" y="1582"/>
                </a:lnTo>
                <a:lnTo>
                  <a:pt x="1447" y="1582"/>
                </a:lnTo>
                <a:lnTo>
                  <a:pt x="1447" y="1582"/>
                </a:lnTo>
                <a:lnTo>
                  <a:pt x="1447" y="1582"/>
                </a:lnTo>
                <a:lnTo>
                  <a:pt x="1447" y="1582"/>
                </a:lnTo>
                <a:lnTo>
                  <a:pt x="1445" y="1582"/>
                </a:lnTo>
                <a:lnTo>
                  <a:pt x="1445" y="1582"/>
                </a:lnTo>
                <a:lnTo>
                  <a:pt x="1442" y="1579"/>
                </a:lnTo>
                <a:lnTo>
                  <a:pt x="1442" y="1579"/>
                </a:lnTo>
                <a:lnTo>
                  <a:pt x="1442" y="1577"/>
                </a:lnTo>
                <a:lnTo>
                  <a:pt x="1445" y="1577"/>
                </a:lnTo>
                <a:lnTo>
                  <a:pt x="1445" y="1577"/>
                </a:lnTo>
                <a:lnTo>
                  <a:pt x="1445" y="1577"/>
                </a:lnTo>
                <a:lnTo>
                  <a:pt x="1445" y="1577"/>
                </a:lnTo>
                <a:lnTo>
                  <a:pt x="1442" y="1574"/>
                </a:lnTo>
                <a:lnTo>
                  <a:pt x="1442" y="1574"/>
                </a:lnTo>
                <a:lnTo>
                  <a:pt x="1439" y="1574"/>
                </a:lnTo>
                <a:lnTo>
                  <a:pt x="1439" y="1571"/>
                </a:lnTo>
                <a:lnTo>
                  <a:pt x="1436" y="1571"/>
                </a:lnTo>
                <a:lnTo>
                  <a:pt x="1436" y="1571"/>
                </a:lnTo>
                <a:lnTo>
                  <a:pt x="1434" y="1571"/>
                </a:lnTo>
                <a:lnTo>
                  <a:pt x="1434" y="1574"/>
                </a:lnTo>
                <a:lnTo>
                  <a:pt x="1434" y="1574"/>
                </a:lnTo>
                <a:lnTo>
                  <a:pt x="1434" y="1574"/>
                </a:lnTo>
                <a:lnTo>
                  <a:pt x="1431" y="1571"/>
                </a:lnTo>
                <a:lnTo>
                  <a:pt x="1431" y="1569"/>
                </a:lnTo>
                <a:lnTo>
                  <a:pt x="1428" y="1569"/>
                </a:lnTo>
                <a:lnTo>
                  <a:pt x="1423" y="1561"/>
                </a:lnTo>
                <a:lnTo>
                  <a:pt x="1423" y="1561"/>
                </a:lnTo>
                <a:lnTo>
                  <a:pt x="1420" y="1558"/>
                </a:lnTo>
                <a:lnTo>
                  <a:pt x="1420" y="1558"/>
                </a:lnTo>
                <a:lnTo>
                  <a:pt x="1420" y="1558"/>
                </a:lnTo>
                <a:lnTo>
                  <a:pt x="1418" y="1558"/>
                </a:lnTo>
                <a:lnTo>
                  <a:pt x="1418" y="1558"/>
                </a:lnTo>
                <a:lnTo>
                  <a:pt x="1418" y="1558"/>
                </a:lnTo>
                <a:lnTo>
                  <a:pt x="1418" y="1558"/>
                </a:lnTo>
                <a:lnTo>
                  <a:pt x="1415" y="1555"/>
                </a:lnTo>
                <a:lnTo>
                  <a:pt x="1415" y="1555"/>
                </a:lnTo>
                <a:lnTo>
                  <a:pt x="1415" y="1555"/>
                </a:lnTo>
                <a:lnTo>
                  <a:pt x="1415" y="1555"/>
                </a:lnTo>
                <a:lnTo>
                  <a:pt x="1415" y="1553"/>
                </a:lnTo>
                <a:lnTo>
                  <a:pt x="1412" y="1555"/>
                </a:lnTo>
                <a:lnTo>
                  <a:pt x="1412" y="1555"/>
                </a:lnTo>
                <a:lnTo>
                  <a:pt x="1407" y="1553"/>
                </a:lnTo>
                <a:lnTo>
                  <a:pt x="1407" y="1553"/>
                </a:lnTo>
                <a:lnTo>
                  <a:pt x="1404" y="1550"/>
                </a:lnTo>
                <a:lnTo>
                  <a:pt x="1404" y="1550"/>
                </a:lnTo>
                <a:lnTo>
                  <a:pt x="1402" y="1547"/>
                </a:lnTo>
                <a:lnTo>
                  <a:pt x="1402" y="1547"/>
                </a:lnTo>
                <a:lnTo>
                  <a:pt x="1402" y="1547"/>
                </a:lnTo>
                <a:lnTo>
                  <a:pt x="1402" y="1544"/>
                </a:lnTo>
                <a:lnTo>
                  <a:pt x="1402" y="1542"/>
                </a:lnTo>
                <a:lnTo>
                  <a:pt x="1399" y="1539"/>
                </a:lnTo>
                <a:lnTo>
                  <a:pt x="1399" y="1536"/>
                </a:lnTo>
                <a:lnTo>
                  <a:pt x="1399" y="1536"/>
                </a:lnTo>
                <a:lnTo>
                  <a:pt x="1394" y="1534"/>
                </a:lnTo>
                <a:lnTo>
                  <a:pt x="1391" y="1531"/>
                </a:lnTo>
                <a:lnTo>
                  <a:pt x="1391" y="1526"/>
                </a:lnTo>
                <a:lnTo>
                  <a:pt x="1388" y="1526"/>
                </a:lnTo>
                <a:lnTo>
                  <a:pt x="1386" y="1526"/>
                </a:lnTo>
                <a:lnTo>
                  <a:pt x="1380" y="1523"/>
                </a:lnTo>
                <a:lnTo>
                  <a:pt x="1380" y="1523"/>
                </a:lnTo>
                <a:lnTo>
                  <a:pt x="1378" y="1526"/>
                </a:lnTo>
                <a:lnTo>
                  <a:pt x="1375" y="1526"/>
                </a:lnTo>
                <a:lnTo>
                  <a:pt x="1375" y="1526"/>
                </a:lnTo>
                <a:lnTo>
                  <a:pt x="1372" y="1526"/>
                </a:lnTo>
                <a:lnTo>
                  <a:pt x="1372" y="1523"/>
                </a:lnTo>
                <a:lnTo>
                  <a:pt x="1369" y="1520"/>
                </a:lnTo>
                <a:lnTo>
                  <a:pt x="1369" y="1520"/>
                </a:lnTo>
                <a:lnTo>
                  <a:pt x="1367" y="1520"/>
                </a:lnTo>
                <a:lnTo>
                  <a:pt x="1367" y="1520"/>
                </a:lnTo>
                <a:lnTo>
                  <a:pt x="1369" y="1520"/>
                </a:lnTo>
                <a:lnTo>
                  <a:pt x="1372" y="1520"/>
                </a:lnTo>
                <a:lnTo>
                  <a:pt x="1372" y="1518"/>
                </a:lnTo>
                <a:lnTo>
                  <a:pt x="1372" y="1518"/>
                </a:lnTo>
                <a:lnTo>
                  <a:pt x="1369" y="1512"/>
                </a:lnTo>
                <a:lnTo>
                  <a:pt x="1367" y="1510"/>
                </a:lnTo>
                <a:lnTo>
                  <a:pt x="1364" y="1499"/>
                </a:lnTo>
                <a:lnTo>
                  <a:pt x="1367" y="1499"/>
                </a:lnTo>
                <a:lnTo>
                  <a:pt x="1367" y="1496"/>
                </a:lnTo>
                <a:lnTo>
                  <a:pt x="1369" y="1494"/>
                </a:lnTo>
                <a:lnTo>
                  <a:pt x="1367" y="1491"/>
                </a:lnTo>
                <a:lnTo>
                  <a:pt x="1367" y="1491"/>
                </a:lnTo>
                <a:lnTo>
                  <a:pt x="1367" y="1491"/>
                </a:lnTo>
                <a:lnTo>
                  <a:pt x="1367" y="1491"/>
                </a:lnTo>
                <a:lnTo>
                  <a:pt x="1364" y="1491"/>
                </a:lnTo>
                <a:lnTo>
                  <a:pt x="1364" y="1488"/>
                </a:lnTo>
                <a:lnTo>
                  <a:pt x="1364" y="1488"/>
                </a:lnTo>
                <a:lnTo>
                  <a:pt x="1364" y="1485"/>
                </a:lnTo>
                <a:lnTo>
                  <a:pt x="1361" y="1483"/>
                </a:lnTo>
                <a:lnTo>
                  <a:pt x="1361" y="1480"/>
                </a:lnTo>
                <a:lnTo>
                  <a:pt x="1361" y="1469"/>
                </a:lnTo>
                <a:lnTo>
                  <a:pt x="1361" y="1469"/>
                </a:lnTo>
                <a:lnTo>
                  <a:pt x="1361" y="1467"/>
                </a:lnTo>
                <a:lnTo>
                  <a:pt x="1361" y="1467"/>
                </a:lnTo>
                <a:lnTo>
                  <a:pt x="1361" y="1467"/>
                </a:lnTo>
                <a:lnTo>
                  <a:pt x="1361" y="1464"/>
                </a:lnTo>
                <a:lnTo>
                  <a:pt x="1361" y="1464"/>
                </a:lnTo>
                <a:lnTo>
                  <a:pt x="1361" y="1461"/>
                </a:lnTo>
                <a:lnTo>
                  <a:pt x="1361" y="1461"/>
                </a:lnTo>
                <a:lnTo>
                  <a:pt x="1359" y="1461"/>
                </a:lnTo>
                <a:lnTo>
                  <a:pt x="1359" y="1459"/>
                </a:lnTo>
                <a:lnTo>
                  <a:pt x="1359" y="1459"/>
                </a:lnTo>
                <a:lnTo>
                  <a:pt x="1359" y="1459"/>
                </a:lnTo>
                <a:lnTo>
                  <a:pt x="1361" y="1459"/>
                </a:lnTo>
                <a:lnTo>
                  <a:pt x="1361" y="1459"/>
                </a:lnTo>
                <a:lnTo>
                  <a:pt x="1364" y="1459"/>
                </a:lnTo>
                <a:lnTo>
                  <a:pt x="1364" y="1459"/>
                </a:lnTo>
                <a:lnTo>
                  <a:pt x="1364" y="1456"/>
                </a:lnTo>
                <a:lnTo>
                  <a:pt x="1364" y="1456"/>
                </a:lnTo>
                <a:lnTo>
                  <a:pt x="1364" y="1456"/>
                </a:lnTo>
                <a:lnTo>
                  <a:pt x="1364" y="1451"/>
                </a:lnTo>
                <a:lnTo>
                  <a:pt x="1364" y="1445"/>
                </a:lnTo>
                <a:lnTo>
                  <a:pt x="1367" y="1443"/>
                </a:lnTo>
                <a:lnTo>
                  <a:pt x="1367" y="1437"/>
                </a:lnTo>
                <a:lnTo>
                  <a:pt x="1367" y="1434"/>
                </a:lnTo>
                <a:lnTo>
                  <a:pt x="1367" y="1434"/>
                </a:lnTo>
                <a:lnTo>
                  <a:pt x="1367" y="1432"/>
                </a:lnTo>
                <a:lnTo>
                  <a:pt x="1364" y="1429"/>
                </a:lnTo>
                <a:lnTo>
                  <a:pt x="1364" y="1429"/>
                </a:lnTo>
                <a:lnTo>
                  <a:pt x="1361" y="1426"/>
                </a:lnTo>
                <a:lnTo>
                  <a:pt x="1364" y="1421"/>
                </a:lnTo>
                <a:lnTo>
                  <a:pt x="1361" y="1418"/>
                </a:lnTo>
                <a:lnTo>
                  <a:pt x="1361" y="1416"/>
                </a:lnTo>
                <a:lnTo>
                  <a:pt x="1361" y="1416"/>
                </a:lnTo>
                <a:lnTo>
                  <a:pt x="1361" y="1418"/>
                </a:lnTo>
                <a:lnTo>
                  <a:pt x="1359" y="1421"/>
                </a:lnTo>
                <a:lnTo>
                  <a:pt x="1359" y="1424"/>
                </a:lnTo>
                <a:lnTo>
                  <a:pt x="1359" y="1424"/>
                </a:lnTo>
                <a:lnTo>
                  <a:pt x="1359" y="1426"/>
                </a:lnTo>
                <a:lnTo>
                  <a:pt x="1356" y="1426"/>
                </a:lnTo>
                <a:lnTo>
                  <a:pt x="1356" y="1426"/>
                </a:lnTo>
                <a:lnTo>
                  <a:pt x="1356" y="1424"/>
                </a:lnTo>
                <a:lnTo>
                  <a:pt x="1356" y="1421"/>
                </a:lnTo>
                <a:lnTo>
                  <a:pt x="1356" y="1418"/>
                </a:lnTo>
                <a:lnTo>
                  <a:pt x="1353" y="1418"/>
                </a:lnTo>
                <a:lnTo>
                  <a:pt x="1351" y="1418"/>
                </a:lnTo>
                <a:lnTo>
                  <a:pt x="1353" y="1416"/>
                </a:lnTo>
                <a:lnTo>
                  <a:pt x="1351" y="1416"/>
                </a:lnTo>
                <a:lnTo>
                  <a:pt x="1351" y="1413"/>
                </a:lnTo>
                <a:lnTo>
                  <a:pt x="1353" y="1413"/>
                </a:lnTo>
                <a:lnTo>
                  <a:pt x="1353" y="1413"/>
                </a:lnTo>
                <a:lnTo>
                  <a:pt x="1353" y="1416"/>
                </a:lnTo>
                <a:lnTo>
                  <a:pt x="1356" y="1416"/>
                </a:lnTo>
                <a:lnTo>
                  <a:pt x="1359" y="1410"/>
                </a:lnTo>
                <a:lnTo>
                  <a:pt x="1359" y="1410"/>
                </a:lnTo>
                <a:lnTo>
                  <a:pt x="1361" y="1410"/>
                </a:lnTo>
                <a:lnTo>
                  <a:pt x="1359" y="1408"/>
                </a:lnTo>
                <a:lnTo>
                  <a:pt x="1359" y="1408"/>
                </a:lnTo>
                <a:lnTo>
                  <a:pt x="1359" y="1408"/>
                </a:lnTo>
                <a:lnTo>
                  <a:pt x="1356" y="1408"/>
                </a:lnTo>
                <a:lnTo>
                  <a:pt x="1353" y="1405"/>
                </a:lnTo>
                <a:lnTo>
                  <a:pt x="1353" y="1405"/>
                </a:lnTo>
                <a:lnTo>
                  <a:pt x="1353" y="1402"/>
                </a:lnTo>
                <a:lnTo>
                  <a:pt x="1351" y="1400"/>
                </a:lnTo>
                <a:lnTo>
                  <a:pt x="1351" y="1397"/>
                </a:lnTo>
                <a:lnTo>
                  <a:pt x="1351" y="1400"/>
                </a:lnTo>
                <a:lnTo>
                  <a:pt x="1351" y="1400"/>
                </a:lnTo>
                <a:lnTo>
                  <a:pt x="1351" y="1402"/>
                </a:lnTo>
                <a:lnTo>
                  <a:pt x="1351" y="1402"/>
                </a:lnTo>
                <a:lnTo>
                  <a:pt x="1351" y="1405"/>
                </a:lnTo>
                <a:lnTo>
                  <a:pt x="1348" y="1402"/>
                </a:lnTo>
                <a:lnTo>
                  <a:pt x="1348" y="1402"/>
                </a:lnTo>
                <a:lnTo>
                  <a:pt x="1348" y="1402"/>
                </a:lnTo>
                <a:lnTo>
                  <a:pt x="1345" y="1402"/>
                </a:lnTo>
                <a:lnTo>
                  <a:pt x="1345" y="1400"/>
                </a:lnTo>
                <a:lnTo>
                  <a:pt x="1348" y="1400"/>
                </a:lnTo>
                <a:lnTo>
                  <a:pt x="1348" y="1400"/>
                </a:lnTo>
                <a:lnTo>
                  <a:pt x="1345" y="1397"/>
                </a:lnTo>
                <a:lnTo>
                  <a:pt x="1348" y="1397"/>
                </a:lnTo>
                <a:lnTo>
                  <a:pt x="1348" y="1397"/>
                </a:lnTo>
                <a:lnTo>
                  <a:pt x="1345" y="1394"/>
                </a:lnTo>
                <a:lnTo>
                  <a:pt x="1343" y="1397"/>
                </a:lnTo>
                <a:lnTo>
                  <a:pt x="1340" y="1394"/>
                </a:lnTo>
                <a:lnTo>
                  <a:pt x="1340" y="1394"/>
                </a:lnTo>
                <a:lnTo>
                  <a:pt x="1337" y="1400"/>
                </a:lnTo>
                <a:lnTo>
                  <a:pt x="1337" y="1405"/>
                </a:lnTo>
                <a:lnTo>
                  <a:pt x="1337" y="1410"/>
                </a:lnTo>
                <a:lnTo>
                  <a:pt x="1340" y="1413"/>
                </a:lnTo>
                <a:lnTo>
                  <a:pt x="1340" y="1413"/>
                </a:lnTo>
                <a:lnTo>
                  <a:pt x="1340" y="1416"/>
                </a:lnTo>
                <a:lnTo>
                  <a:pt x="1343" y="1418"/>
                </a:lnTo>
                <a:lnTo>
                  <a:pt x="1343" y="1421"/>
                </a:lnTo>
                <a:lnTo>
                  <a:pt x="1345" y="1424"/>
                </a:lnTo>
                <a:lnTo>
                  <a:pt x="1345" y="1424"/>
                </a:lnTo>
                <a:lnTo>
                  <a:pt x="1337" y="1418"/>
                </a:lnTo>
                <a:lnTo>
                  <a:pt x="1335" y="1416"/>
                </a:lnTo>
                <a:lnTo>
                  <a:pt x="1329" y="1416"/>
                </a:lnTo>
                <a:lnTo>
                  <a:pt x="1327" y="1413"/>
                </a:lnTo>
                <a:lnTo>
                  <a:pt x="1324" y="1413"/>
                </a:lnTo>
                <a:lnTo>
                  <a:pt x="1324" y="1410"/>
                </a:lnTo>
                <a:lnTo>
                  <a:pt x="1321" y="1410"/>
                </a:lnTo>
                <a:lnTo>
                  <a:pt x="1321" y="1410"/>
                </a:lnTo>
                <a:lnTo>
                  <a:pt x="1316" y="1408"/>
                </a:lnTo>
                <a:lnTo>
                  <a:pt x="1316" y="1408"/>
                </a:lnTo>
                <a:lnTo>
                  <a:pt x="1313" y="1405"/>
                </a:lnTo>
                <a:lnTo>
                  <a:pt x="1311" y="1405"/>
                </a:lnTo>
                <a:lnTo>
                  <a:pt x="1302" y="1402"/>
                </a:lnTo>
                <a:lnTo>
                  <a:pt x="1300" y="1400"/>
                </a:lnTo>
                <a:lnTo>
                  <a:pt x="1297" y="1397"/>
                </a:lnTo>
                <a:lnTo>
                  <a:pt x="1300" y="1394"/>
                </a:lnTo>
                <a:lnTo>
                  <a:pt x="1300" y="1394"/>
                </a:lnTo>
                <a:lnTo>
                  <a:pt x="1297" y="1392"/>
                </a:lnTo>
                <a:lnTo>
                  <a:pt x="1297" y="1392"/>
                </a:lnTo>
                <a:lnTo>
                  <a:pt x="1297" y="1392"/>
                </a:lnTo>
                <a:lnTo>
                  <a:pt x="1297" y="1389"/>
                </a:lnTo>
                <a:lnTo>
                  <a:pt x="1297" y="1389"/>
                </a:lnTo>
                <a:lnTo>
                  <a:pt x="1294" y="1389"/>
                </a:lnTo>
                <a:lnTo>
                  <a:pt x="1294" y="1386"/>
                </a:lnTo>
                <a:lnTo>
                  <a:pt x="1294" y="1386"/>
                </a:lnTo>
                <a:lnTo>
                  <a:pt x="1292" y="1386"/>
                </a:lnTo>
                <a:lnTo>
                  <a:pt x="1292" y="1386"/>
                </a:lnTo>
                <a:lnTo>
                  <a:pt x="1292" y="1384"/>
                </a:lnTo>
                <a:lnTo>
                  <a:pt x="1289" y="1384"/>
                </a:lnTo>
                <a:lnTo>
                  <a:pt x="1289" y="1378"/>
                </a:lnTo>
                <a:lnTo>
                  <a:pt x="1289" y="1375"/>
                </a:lnTo>
                <a:lnTo>
                  <a:pt x="1286" y="1375"/>
                </a:lnTo>
                <a:lnTo>
                  <a:pt x="1286" y="1375"/>
                </a:lnTo>
                <a:lnTo>
                  <a:pt x="1284" y="1375"/>
                </a:lnTo>
                <a:lnTo>
                  <a:pt x="1281" y="1375"/>
                </a:lnTo>
                <a:lnTo>
                  <a:pt x="1278" y="1375"/>
                </a:lnTo>
                <a:lnTo>
                  <a:pt x="1278" y="1375"/>
                </a:lnTo>
                <a:lnTo>
                  <a:pt x="1276" y="1378"/>
                </a:lnTo>
                <a:lnTo>
                  <a:pt x="1276" y="1378"/>
                </a:lnTo>
                <a:lnTo>
                  <a:pt x="1276" y="1384"/>
                </a:lnTo>
                <a:lnTo>
                  <a:pt x="1273" y="1389"/>
                </a:lnTo>
                <a:lnTo>
                  <a:pt x="1273" y="1389"/>
                </a:lnTo>
                <a:lnTo>
                  <a:pt x="1270" y="1392"/>
                </a:lnTo>
                <a:lnTo>
                  <a:pt x="1273" y="1392"/>
                </a:lnTo>
                <a:lnTo>
                  <a:pt x="1273" y="1394"/>
                </a:lnTo>
                <a:lnTo>
                  <a:pt x="1273" y="1397"/>
                </a:lnTo>
                <a:lnTo>
                  <a:pt x="1273" y="1394"/>
                </a:lnTo>
                <a:lnTo>
                  <a:pt x="1270" y="1397"/>
                </a:lnTo>
                <a:lnTo>
                  <a:pt x="1273" y="1400"/>
                </a:lnTo>
                <a:lnTo>
                  <a:pt x="1276" y="1402"/>
                </a:lnTo>
                <a:lnTo>
                  <a:pt x="1281" y="1418"/>
                </a:lnTo>
                <a:lnTo>
                  <a:pt x="1284" y="1429"/>
                </a:lnTo>
                <a:lnTo>
                  <a:pt x="1281" y="1426"/>
                </a:lnTo>
                <a:lnTo>
                  <a:pt x="1278" y="1424"/>
                </a:lnTo>
                <a:lnTo>
                  <a:pt x="1278" y="1421"/>
                </a:lnTo>
                <a:lnTo>
                  <a:pt x="1276" y="1418"/>
                </a:lnTo>
                <a:lnTo>
                  <a:pt x="1276" y="1416"/>
                </a:lnTo>
                <a:lnTo>
                  <a:pt x="1268" y="1410"/>
                </a:lnTo>
                <a:lnTo>
                  <a:pt x="1265" y="1408"/>
                </a:lnTo>
                <a:lnTo>
                  <a:pt x="1265" y="1405"/>
                </a:lnTo>
                <a:lnTo>
                  <a:pt x="1265" y="1405"/>
                </a:lnTo>
                <a:lnTo>
                  <a:pt x="1262" y="1400"/>
                </a:lnTo>
                <a:lnTo>
                  <a:pt x="1260" y="1400"/>
                </a:lnTo>
                <a:lnTo>
                  <a:pt x="1257" y="1400"/>
                </a:lnTo>
                <a:lnTo>
                  <a:pt x="1257" y="1405"/>
                </a:lnTo>
                <a:lnTo>
                  <a:pt x="1254" y="1408"/>
                </a:lnTo>
                <a:lnTo>
                  <a:pt x="1252" y="1410"/>
                </a:lnTo>
                <a:lnTo>
                  <a:pt x="1246" y="1410"/>
                </a:lnTo>
                <a:lnTo>
                  <a:pt x="1244" y="1413"/>
                </a:lnTo>
                <a:lnTo>
                  <a:pt x="1244" y="1410"/>
                </a:lnTo>
                <a:lnTo>
                  <a:pt x="1246" y="1408"/>
                </a:lnTo>
                <a:lnTo>
                  <a:pt x="1246" y="1408"/>
                </a:lnTo>
                <a:lnTo>
                  <a:pt x="1249" y="1405"/>
                </a:lnTo>
                <a:lnTo>
                  <a:pt x="1249" y="1400"/>
                </a:lnTo>
                <a:lnTo>
                  <a:pt x="1249" y="1397"/>
                </a:lnTo>
                <a:lnTo>
                  <a:pt x="1246" y="1397"/>
                </a:lnTo>
                <a:lnTo>
                  <a:pt x="1246" y="1397"/>
                </a:lnTo>
                <a:lnTo>
                  <a:pt x="1244" y="1397"/>
                </a:lnTo>
                <a:lnTo>
                  <a:pt x="1244" y="1394"/>
                </a:lnTo>
                <a:lnTo>
                  <a:pt x="1244" y="1392"/>
                </a:lnTo>
                <a:lnTo>
                  <a:pt x="1241" y="1392"/>
                </a:lnTo>
                <a:lnTo>
                  <a:pt x="1241" y="1392"/>
                </a:lnTo>
                <a:lnTo>
                  <a:pt x="1235" y="1389"/>
                </a:lnTo>
                <a:lnTo>
                  <a:pt x="1235" y="1389"/>
                </a:lnTo>
                <a:lnTo>
                  <a:pt x="1235" y="1389"/>
                </a:lnTo>
                <a:lnTo>
                  <a:pt x="1238" y="1386"/>
                </a:lnTo>
                <a:lnTo>
                  <a:pt x="1238" y="1386"/>
                </a:lnTo>
                <a:lnTo>
                  <a:pt x="1235" y="1384"/>
                </a:lnTo>
                <a:lnTo>
                  <a:pt x="1235" y="1381"/>
                </a:lnTo>
                <a:lnTo>
                  <a:pt x="1233" y="1381"/>
                </a:lnTo>
                <a:lnTo>
                  <a:pt x="1233" y="1378"/>
                </a:lnTo>
                <a:lnTo>
                  <a:pt x="1233" y="1378"/>
                </a:lnTo>
                <a:lnTo>
                  <a:pt x="1233" y="1378"/>
                </a:lnTo>
                <a:lnTo>
                  <a:pt x="1233" y="1375"/>
                </a:lnTo>
                <a:lnTo>
                  <a:pt x="1230" y="1370"/>
                </a:lnTo>
                <a:lnTo>
                  <a:pt x="1230" y="1367"/>
                </a:lnTo>
                <a:lnTo>
                  <a:pt x="1227" y="1362"/>
                </a:lnTo>
                <a:lnTo>
                  <a:pt x="1227" y="1359"/>
                </a:lnTo>
                <a:lnTo>
                  <a:pt x="1225" y="1354"/>
                </a:lnTo>
                <a:lnTo>
                  <a:pt x="1222" y="1351"/>
                </a:lnTo>
                <a:lnTo>
                  <a:pt x="1222" y="1349"/>
                </a:lnTo>
                <a:lnTo>
                  <a:pt x="1222" y="1349"/>
                </a:lnTo>
                <a:lnTo>
                  <a:pt x="1225" y="1346"/>
                </a:lnTo>
                <a:lnTo>
                  <a:pt x="1225" y="1346"/>
                </a:lnTo>
                <a:lnTo>
                  <a:pt x="1222" y="1343"/>
                </a:lnTo>
                <a:lnTo>
                  <a:pt x="1222" y="1343"/>
                </a:lnTo>
                <a:lnTo>
                  <a:pt x="1222" y="1343"/>
                </a:lnTo>
                <a:lnTo>
                  <a:pt x="1222" y="1341"/>
                </a:lnTo>
                <a:lnTo>
                  <a:pt x="1219" y="1338"/>
                </a:lnTo>
                <a:lnTo>
                  <a:pt x="1219" y="1338"/>
                </a:lnTo>
                <a:lnTo>
                  <a:pt x="1219" y="1335"/>
                </a:lnTo>
                <a:lnTo>
                  <a:pt x="1219" y="1333"/>
                </a:lnTo>
                <a:lnTo>
                  <a:pt x="1222" y="1333"/>
                </a:lnTo>
                <a:lnTo>
                  <a:pt x="1222" y="1333"/>
                </a:lnTo>
                <a:lnTo>
                  <a:pt x="1222" y="1333"/>
                </a:lnTo>
                <a:lnTo>
                  <a:pt x="1225" y="1330"/>
                </a:lnTo>
                <a:lnTo>
                  <a:pt x="1225" y="1330"/>
                </a:lnTo>
                <a:lnTo>
                  <a:pt x="1222" y="1330"/>
                </a:lnTo>
                <a:lnTo>
                  <a:pt x="1222" y="1327"/>
                </a:lnTo>
                <a:lnTo>
                  <a:pt x="1219" y="1322"/>
                </a:lnTo>
                <a:lnTo>
                  <a:pt x="1219" y="1322"/>
                </a:lnTo>
                <a:lnTo>
                  <a:pt x="1219" y="1319"/>
                </a:lnTo>
                <a:lnTo>
                  <a:pt x="1225" y="1314"/>
                </a:lnTo>
                <a:lnTo>
                  <a:pt x="1225" y="1311"/>
                </a:lnTo>
                <a:lnTo>
                  <a:pt x="1225" y="1311"/>
                </a:lnTo>
                <a:lnTo>
                  <a:pt x="1225" y="1308"/>
                </a:lnTo>
                <a:lnTo>
                  <a:pt x="1222" y="1311"/>
                </a:lnTo>
                <a:lnTo>
                  <a:pt x="1222" y="1314"/>
                </a:lnTo>
                <a:lnTo>
                  <a:pt x="1219" y="1314"/>
                </a:lnTo>
                <a:lnTo>
                  <a:pt x="1219" y="1314"/>
                </a:lnTo>
                <a:lnTo>
                  <a:pt x="1217" y="1314"/>
                </a:lnTo>
                <a:lnTo>
                  <a:pt x="1217" y="1314"/>
                </a:lnTo>
                <a:lnTo>
                  <a:pt x="1217" y="1311"/>
                </a:lnTo>
                <a:lnTo>
                  <a:pt x="1214" y="1311"/>
                </a:lnTo>
                <a:lnTo>
                  <a:pt x="1214" y="1308"/>
                </a:lnTo>
                <a:lnTo>
                  <a:pt x="1214" y="1306"/>
                </a:lnTo>
                <a:lnTo>
                  <a:pt x="1214" y="1306"/>
                </a:lnTo>
                <a:lnTo>
                  <a:pt x="1211" y="1306"/>
                </a:lnTo>
                <a:lnTo>
                  <a:pt x="1211" y="1306"/>
                </a:lnTo>
                <a:lnTo>
                  <a:pt x="1209" y="1303"/>
                </a:lnTo>
                <a:lnTo>
                  <a:pt x="1206" y="1306"/>
                </a:lnTo>
                <a:lnTo>
                  <a:pt x="1203" y="1308"/>
                </a:lnTo>
                <a:lnTo>
                  <a:pt x="1203" y="1303"/>
                </a:lnTo>
                <a:lnTo>
                  <a:pt x="1203" y="1303"/>
                </a:lnTo>
                <a:lnTo>
                  <a:pt x="1206" y="1300"/>
                </a:lnTo>
                <a:lnTo>
                  <a:pt x="1206" y="1300"/>
                </a:lnTo>
                <a:lnTo>
                  <a:pt x="1209" y="1298"/>
                </a:lnTo>
                <a:lnTo>
                  <a:pt x="1209" y="1298"/>
                </a:lnTo>
                <a:lnTo>
                  <a:pt x="1203" y="1298"/>
                </a:lnTo>
                <a:lnTo>
                  <a:pt x="1203" y="1295"/>
                </a:lnTo>
                <a:lnTo>
                  <a:pt x="1203" y="1295"/>
                </a:lnTo>
                <a:lnTo>
                  <a:pt x="1206" y="1295"/>
                </a:lnTo>
                <a:lnTo>
                  <a:pt x="1206" y="1295"/>
                </a:lnTo>
                <a:lnTo>
                  <a:pt x="1206" y="1292"/>
                </a:lnTo>
                <a:lnTo>
                  <a:pt x="1206" y="1290"/>
                </a:lnTo>
                <a:lnTo>
                  <a:pt x="1203" y="1287"/>
                </a:lnTo>
                <a:lnTo>
                  <a:pt x="1203" y="1287"/>
                </a:lnTo>
                <a:lnTo>
                  <a:pt x="1206" y="1284"/>
                </a:lnTo>
                <a:lnTo>
                  <a:pt x="1203" y="1284"/>
                </a:lnTo>
                <a:lnTo>
                  <a:pt x="1203" y="1282"/>
                </a:lnTo>
                <a:lnTo>
                  <a:pt x="1203" y="1282"/>
                </a:lnTo>
                <a:lnTo>
                  <a:pt x="1203" y="1282"/>
                </a:lnTo>
                <a:lnTo>
                  <a:pt x="1201" y="1282"/>
                </a:lnTo>
                <a:lnTo>
                  <a:pt x="1201" y="1282"/>
                </a:lnTo>
                <a:lnTo>
                  <a:pt x="1201" y="1282"/>
                </a:lnTo>
                <a:lnTo>
                  <a:pt x="1201" y="1282"/>
                </a:lnTo>
                <a:lnTo>
                  <a:pt x="1201" y="1282"/>
                </a:lnTo>
                <a:lnTo>
                  <a:pt x="1201" y="1279"/>
                </a:lnTo>
                <a:lnTo>
                  <a:pt x="1201" y="1279"/>
                </a:lnTo>
                <a:lnTo>
                  <a:pt x="1201" y="1279"/>
                </a:lnTo>
                <a:lnTo>
                  <a:pt x="1198" y="1282"/>
                </a:lnTo>
                <a:lnTo>
                  <a:pt x="1198" y="1282"/>
                </a:lnTo>
                <a:lnTo>
                  <a:pt x="1198" y="1282"/>
                </a:lnTo>
                <a:lnTo>
                  <a:pt x="1198" y="1282"/>
                </a:lnTo>
                <a:lnTo>
                  <a:pt x="1193" y="1276"/>
                </a:lnTo>
                <a:lnTo>
                  <a:pt x="1193" y="1271"/>
                </a:lnTo>
                <a:lnTo>
                  <a:pt x="1198" y="1266"/>
                </a:lnTo>
                <a:lnTo>
                  <a:pt x="1198" y="1263"/>
                </a:lnTo>
                <a:lnTo>
                  <a:pt x="1195" y="1257"/>
                </a:lnTo>
                <a:lnTo>
                  <a:pt x="1195" y="1257"/>
                </a:lnTo>
                <a:lnTo>
                  <a:pt x="1193" y="1257"/>
                </a:lnTo>
                <a:lnTo>
                  <a:pt x="1193" y="1257"/>
                </a:lnTo>
                <a:lnTo>
                  <a:pt x="1190" y="1255"/>
                </a:lnTo>
                <a:lnTo>
                  <a:pt x="1190" y="1255"/>
                </a:lnTo>
                <a:lnTo>
                  <a:pt x="1190" y="1252"/>
                </a:lnTo>
                <a:lnTo>
                  <a:pt x="1185" y="1252"/>
                </a:lnTo>
                <a:lnTo>
                  <a:pt x="1185" y="1252"/>
                </a:lnTo>
                <a:lnTo>
                  <a:pt x="1182" y="1249"/>
                </a:lnTo>
                <a:lnTo>
                  <a:pt x="1182" y="1249"/>
                </a:lnTo>
                <a:lnTo>
                  <a:pt x="1177" y="1249"/>
                </a:lnTo>
                <a:lnTo>
                  <a:pt x="1177" y="1249"/>
                </a:lnTo>
                <a:lnTo>
                  <a:pt x="1177" y="1249"/>
                </a:lnTo>
                <a:lnTo>
                  <a:pt x="1177" y="1247"/>
                </a:lnTo>
                <a:lnTo>
                  <a:pt x="1177" y="1247"/>
                </a:lnTo>
                <a:lnTo>
                  <a:pt x="1177" y="1244"/>
                </a:lnTo>
                <a:lnTo>
                  <a:pt x="1177" y="1244"/>
                </a:lnTo>
                <a:lnTo>
                  <a:pt x="1179" y="1244"/>
                </a:lnTo>
                <a:lnTo>
                  <a:pt x="1179" y="1244"/>
                </a:lnTo>
                <a:lnTo>
                  <a:pt x="1179" y="1244"/>
                </a:lnTo>
                <a:lnTo>
                  <a:pt x="1179" y="1241"/>
                </a:lnTo>
                <a:lnTo>
                  <a:pt x="1177" y="1241"/>
                </a:lnTo>
                <a:lnTo>
                  <a:pt x="1177" y="1241"/>
                </a:lnTo>
                <a:lnTo>
                  <a:pt x="1174" y="1241"/>
                </a:lnTo>
                <a:lnTo>
                  <a:pt x="1174" y="1244"/>
                </a:lnTo>
                <a:lnTo>
                  <a:pt x="1174" y="1244"/>
                </a:lnTo>
                <a:lnTo>
                  <a:pt x="1174" y="1241"/>
                </a:lnTo>
                <a:lnTo>
                  <a:pt x="1171" y="1239"/>
                </a:lnTo>
                <a:lnTo>
                  <a:pt x="1168" y="1239"/>
                </a:lnTo>
                <a:lnTo>
                  <a:pt x="1168" y="1239"/>
                </a:lnTo>
                <a:lnTo>
                  <a:pt x="1166" y="1239"/>
                </a:lnTo>
                <a:lnTo>
                  <a:pt x="1163" y="1239"/>
                </a:lnTo>
                <a:lnTo>
                  <a:pt x="1163" y="1239"/>
                </a:lnTo>
                <a:lnTo>
                  <a:pt x="1160" y="1236"/>
                </a:lnTo>
                <a:lnTo>
                  <a:pt x="1160" y="1236"/>
                </a:lnTo>
                <a:lnTo>
                  <a:pt x="1158" y="1239"/>
                </a:lnTo>
                <a:lnTo>
                  <a:pt x="1155" y="1241"/>
                </a:lnTo>
                <a:lnTo>
                  <a:pt x="1155" y="1241"/>
                </a:lnTo>
                <a:lnTo>
                  <a:pt x="1155" y="1241"/>
                </a:lnTo>
                <a:lnTo>
                  <a:pt x="1155" y="1239"/>
                </a:lnTo>
                <a:lnTo>
                  <a:pt x="1155" y="1239"/>
                </a:lnTo>
                <a:lnTo>
                  <a:pt x="1155" y="1239"/>
                </a:lnTo>
                <a:lnTo>
                  <a:pt x="1155" y="1236"/>
                </a:lnTo>
                <a:lnTo>
                  <a:pt x="1155" y="1236"/>
                </a:lnTo>
                <a:lnTo>
                  <a:pt x="1158" y="1236"/>
                </a:lnTo>
                <a:lnTo>
                  <a:pt x="1158" y="1236"/>
                </a:lnTo>
                <a:lnTo>
                  <a:pt x="1158" y="1231"/>
                </a:lnTo>
                <a:lnTo>
                  <a:pt x="1155" y="1228"/>
                </a:lnTo>
                <a:lnTo>
                  <a:pt x="1155" y="1228"/>
                </a:lnTo>
                <a:lnTo>
                  <a:pt x="1155" y="1228"/>
                </a:lnTo>
                <a:lnTo>
                  <a:pt x="1152" y="1228"/>
                </a:lnTo>
                <a:lnTo>
                  <a:pt x="1152" y="1228"/>
                </a:lnTo>
                <a:lnTo>
                  <a:pt x="1152" y="1228"/>
                </a:lnTo>
                <a:lnTo>
                  <a:pt x="1150" y="1228"/>
                </a:lnTo>
                <a:lnTo>
                  <a:pt x="1150" y="1228"/>
                </a:lnTo>
                <a:lnTo>
                  <a:pt x="1150" y="1228"/>
                </a:lnTo>
                <a:lnTo>
                  <a:pt x="1147" y="1225"/>
                </a:lnTo>
                <a:lnTo>
                  <a:pt x="1147" y="1223"/>
                </a:lnTo>
                <a:lnTo>
                  <a:pt x="1144" y="1223"/>
                </a:lnTo>
                <a:lnTo>
                  <a:pt x="1144" y="1220"/>
                </a:lnTo>
                <a:lnTo>
                  <a:pt x="1142" y="1217"/>
                </a:lnTo>
                <a:lnTo>
                  <a:pt x="1144" y="1217"/>
                </a:lnTo>
                <a:lnTo>
                  <a:pt x="1144" y="1215"/>
                </a:lnTo>
                <a:lnTo>
                  <a:pt x="1142" y="1215"/>
                </a:lnTo>
                <a:lnTo>
                  <a:pt x="1142" y="1215"/>
                </a:lnTo>
                <a:lnTo>
                  <a:pt x="1142" y="1215"/>
                </a:lnTo>
                <a:lnTo>
                  <a:pt x="1139" y="1215"/>
                </a:lnTo>
                <a:lnTo>
                  <a:pt x="1139" y="1212"/>
                </a:lnTo>
                <a:lnTo>
                  <a:pt x="1139" y="1212"/>
                </a:lnTo>
                <a:lnTo>
                  <a:pt x="1139" y="1212"/>
                </a:lnTo>
                <a:lnTo>
                  <a:pt x="1136" y="1209"/>
                </a:lnTo>
                <a:lnTo>
                  <a:pt x="1136" y="1207"/>
                </a:lnTo>
                <a:lnTo>
                  <a:pt x="1136" y="1207"/>
                </a:lnTo>
                <a:lnTo>
                  <a:pt x="1139" y="1207"/>
                </a:lnTo>
                <a:lnTo>
                  <a:pt x="1142" y="1204"/>
                </a:lnTo>
                <a:lnTo>
                  <a:pt x="1142" y="1201"/>
                </a:lnTo>
                <a:lnTo>
                  <a:pt x="1144" y="1198"/>
                </a:lnTo>
                <a:lnTo>
                  <a:pt x="1142" y="1198"/>
                </a:lnTo>
                <a:lnTo>
                  <a:pt x="1142" y="1196"/>
                </a:lnTo>
                <a:lnTo>
                  <a:pt x="1142" y="1193"/>
                </a:lnTo>
                <a:lnTo>
                  <a:pt x="1144" y="1193"/>
                </a:lnTo>
                <a:lnTo>
                  <a:pt x="1144" y="1196"/>
                </a:lnTo>
                <a:lnTo>
                  <a:pt x="1144" y="1196"/>
                </a:lnTo>
                <a:lnTo>
                  <a:pt x="1144" y="1196"/>
                </a:lnTo>
                <a:lnTo>
                  <a:pt x="1147" y="1196"/>
                </a:lnTo>
                <a:lnTo>
                  <a:pt x="1150" y="1196"/>
                </a:lnTo>
                <a:lnTo>
                  <a:pt x="1150" y="1196"/>
                </a:lnTo>
                <a:lnTo>
                  <a:pt x="1150" y="1196"/>
                </a:lnTo>
                <a:lnTo>
                  <a:pt x="1150" y="1193"/>
                </a:lnTo>
                <a:lnTo>
                  <a:pt x="1150" y="1193"/>
                </a:lnTo>
                <a:lnTo>
                  <a:pt x="1150" y="1193"/>
                </a:lnTo>
                <a:lnTo>
                  <a:pt x="1152" y="1193"/>
                </a:lnTo>
                <a:lnTo>
                  <a:pt x="1152" y="1193"/>
                </a:lnTo>
                <a:lnTo>
                  <a:pt x="1155" y="1193"/>
                </a:lnTo>
                <a:lnTo>
                  <a:pt x="1155" y="1193"/>
                </a:lnTo>
                <a:lnTo>
                  <a:pt x="1155" y="1196"/>
                </a:lnTo>
                <a:lnTo>
                  <a:pt x="1155" y="1196"/>
                </a:lnTo>
                <a:lnTo>
                  <a:pt x="1155" y="1198"/>
                </a:lnTo>
                <a:lnTo>
                  <a:pt x="1155" y="1198"/>
                </a:lnTo>
                <a:lnTo>
                  <a:pt x="1155" y="1198"/>
                </a:lnTo>
                <a:lnTo>
                  <a:pt x="1158" y="1198"/>
                </a:lnTo>
                <a:lnTo>
                  <a:pt x="1158" y="1201"/>
                </a:lnTo>
                <a:lnTo>
                  <a:pt x="1158" y="1201"/>
                </a:lnTo>
                <a:lnTo>
                  <a:pt x="1160" y="1201"/>
                </a:lnTo>
                <a:lnTo>
                  <a:pt x="1160" y="1201"/>
                </a:lnTo>
                <a:lnTo>
                  <a:pt x="1160" y="1201"/>
                </a:lnTo>
                <a:lnTo>
                  <a:pt x="1163" y="1204"/>
                </a:lnTo>
                <a:lnTo>
                  <a:pt x="1163" y="1204"/>
                </a:lnTo>
                <a:lnTo>
                  <a:pt x="1163" y="1204"/>
                </a:lnTo>
                <a:lnTo>
                  <a:pt x="1166" y="1204"/>
                </a:lnTo>
                <a:lnTo>
                  <a:pt x="1166" y="1204"/>
                </a:lnTo>
                <a:lnTo>
                  <a:pt x="1166" y="1201"/>
                </a:lnTo>
                <a:lnTo>
                  <a:pt x="1163" y="1198"/>
                </a:lnTo>
                <a:lnTo>
                  <a:pt x="1163" y="1196"/>
                </a:lnTo>
                <a:lnTo>
                  <a:pt x="1166" y="1196"/>
                </a:lnTo>
                <a:lnTo>
                  <a:pt x="1158" y="1193"/>
                </a:lnTo>
                <a:lnTo>
                  <a:pt x="1158" y="1190"/>
                </a:lnTo>
                <a:lnTo>
                  <a:pt x="1155" y="1188"/>
                </a:lnTo>
                <a:lnTo>
                  <a:pt x="1155" y="1185"/>
                </a:lnTo>
                <a:lnTo>
                  <a:pt x="1158" y="1185"/>
                </a:lnTo>
                <a:lnTo>
                  <a:pt x="1158" y="1182"/>
                </a:lnTo>
                <a:lnTo>
                  <a:pt x="1155" y="1182"/>
                </a:lnTo>
                <a:lnTo>
                  <a:pt x="1155" y="1180"/>
                </a:lnTo>
                <a:lnTo>
                  <a:pt x="1155" y="1180"/>
                </a:lnTo>
                <a:lnTo>
                  <a:pt x="1152" y="1180"/>
                </a:lnTo>
                <a:lnTo>
                  <a:pt x="1152" y="1180"/>
                </a:lnTo>
                <a:lnTo>
                  <a:pt x="1152" y="1180"/>
                </a:lnTo>
                <a:lnTo>
                  <a:pt x="1152" y="1177"/>
                </a:lnTo>
                <a:lnTo>
                  <a:pt x="1150" y="1177"/>
                </a:lnTo>
                <a:lnTo>
                  <a:pt x="1152" y="1174"/>
                </a:lnTo>
                <a:lnTo>
                  <a:pt x="1150" y="1172"/>
                </a:lnTo>
                <a:lnTo>
                  <a:pt x="1147" y="1172"/>
                </a:lnTo>
                <a:lnTo>
                  <a:pt x="1147" y="1174"/>
                </a:lnTo>
                <a:lnTo>
                  <a:pt x="1144" y="1172"/>
                </a:lnTo>
                <a:lnTo>
                  <a:pt x="1142" y="1174"/>
                </a:lnTo>
                <a:lnTo>
                  <a:pt x="1139" y="1174"/>
                </a:lnTo>
                <a:lnTo>
                  <a:pt x="1139" y="1174"/>
                </a:lnTo>
                <a:lnTo>
                  <a:pt x="1139" y="1174"/>
                </a:lnTo>
                <a:lnTo>
                  <a:pt x="1139" y="1172"/>
                </a:lnTo>
                <a:lnTo>
                  <a:pt x="1139" y="1172"/>
                </a:lnTo>
                <a:lnTo>
                  <a:pt x="1139" y="1172"/>
                </a:lnTo>
                <a:lnTo>
                  <a:pt x="1136" y="1169"/>
                </a:lnTo>
                <a:lnTo>
                  <a:pt x="1139" y="1169"/>
                </a:lnTo>
                <a:lnTo>
                  <a:pt x="1139" y="1169"/>
                </a:lnTo>
                <a:lnTo>
                  <a:pt x="1139" y="1166"/>
                </a:lnTo>
                <a:lnTo>
                  <a:pt x="1139" y="1166"/>
                </a:lnTo>
                <a:lnTo>
                  <a:pt x="1139" y="1166"/>
                </a:lnTo>
                <a:lnTo>
                  <a:pt x="1136" y="1166"/>
                </a:lnTo>
                <a:lnTo>
                  <a:pt x="1136" y="1166"/>
                </a:lnTo>
                <a:lnTo>
                  <a:pt x="1136" y="1166"/>
                </a:lnTo>
                <a:lnTo>
                  <a:pt x="1136" y="1164"/>
                </a:lnTo>
                <a:lnTo>
                  <a:pt x="1136" y="1164"/>
                </a:lnTo>
                <a:lnTo>
                  <a:pt x="1134" y="1166"/>
                </a:lnTo>
                <a:lnTo>
                  <a:pt x="1134" y="1166"/>
                </a:lnTo>
                <a:lnTo>
                  <a:pt x="1134" y="1169"/>
                </a:lnTo>
                <a:lnTo>
                  <a:pt x="1134" y="1169"/>
                </a:lnTo>
                <a:lnTo>
                  <a:pt x="1131" y="1169"/>
                </a:lnTo>
                <a:lnTo>
                  <a:pt x="1131" y="1169"/>
                </a:lnTo>
                <a:lnTo>
                  <a:pt x="1131" y="1166"/>
                </a:lnTo>
                <a:lnTo>
                  <a:pt x="1131" y="1166"/>
                </a:lnTo>
                <a:lnTo>
                  <a:pt x="1128" y="1164"/>
                </a:lnTo>
                <a:lnTo>
                  <a:pt x="1128" y="1161"/>
                </a:lnTo>
                <a:lnTo>
                  <a:pt x="1126" y="1158"/>
                </a:lnTo>
                <a:lnTo>
                  <a:pt x="1126" y="1153"/>
                </a:lnTo>
                <a:lnTo>
                  <a:pt x="1126" y="1153"/>
                </a:lnTo>
                <a:lnTo>
                  <a:pt x="1123" y="1153"/>
                </a:lnTo>
                <a:lnTo>
                  <a:pt x="1123" y="1156"/>
                </a:lnTo>
                <a:lnTo>
                  <a:pt x="1123" y="1156"/>
                </a:lnTo>
                <a:lnTo>
                  <a:pt x="1118" y="1156"/>
                </a:lnTo>
                <a:lnTo>
                  <a:pt x="1118" y="1156"/>
                </a:lnTo>
                <a:lnTo>
                  <a:pt x="1118" y="1153"/>
                </a:lnTo>
                <a:lnTo>
                  <a:pt x="1115" y="1153"/>
                </a:lnTo>
                <a:lnTo>
                  <a:pt x="1112" y="1153"/>
                </a:lnTo>
                <a:lnTo>
                  <a:pt x="1112" y="1153"/>
                </a:lnTo>
                <a:lnTo>
                  <a:pt x="1112" y="1156"/>
                </a:lnTo>
                <a:lnTo>
                  <a:pt x="1112" y="1158"/>
                </a:lnTo>
                <a:lnTo>
                  <a:pt x="1115" y="1158"/>
                </a:lnTo>
                <a:lnTo>
                  <a:pt x="1115" y="1158"/>
                </a:lnTo>
                <a:lnTo>
                  <a:pt x="1118" y="1158"/>
                </a:lnTo>
                <a:lnTo>
                  <a:pt x="1118" y="1161"/>
                </a:lnTo>
                <a:lnTo>
                  <a:pt x="1118" y="1161"/>
                </a:lnTo>
                <a:lnTo>
                  <a:pt x="1115" y="1161"/>
                </a:lnTo>
                <a:lnTo>
                  <a:pt x="1115" y="1161"/>
                </a:lnTo>
                <a:lnTo>
                  <a:pt x="1112" y="1164"/>
                </a:lnTo>
                <a:lnTo>
                  <a:pt x="1112" y="1164"/>
                </a:lnTo>
                <a:lnTo>
                  <a:pt x="1112" y="1164"/>
                </a:lnTo>
                <a:lnTo>
                  <a:pt x="1115" y="1164"/>
                </a:lnTo>
                <a:lnTo>
                  <a:pt x="1115" y="1164"/>
                </a:lnTo>
                <a:lnTo>
                  <a:pt x="1115" y="1166"/>
                </a:lnTo>
                <a:lnTo>
                  <a:pt x="1115" y="1166"/>
                </a:lnTo>
                <a:lnTo>
                  <a:pt x="1112" y="1166"/>
                </a:lnTo>
                <a:lnTo>
                  <a:pt x="1110" y="1169"/>
                </a:lnTo>
                <a:lnTo>
                  <a:pt x="1110" y="1166"/>
                </a:lnTo>
                <a:lnTo>
                  <a:pt x="1110" y="1166"/>
                </a:lnTo>
                <a:lnTo>
                  <a:pt x="1110" y="1164"/>
                </a:lnTo>
                <a:lnTo>
                  <a:pt x="1107" y="1164"/>
                </a:lnTo>
                <a:lnTo>
                  <a:pt x="1102" y="1161"/>
                </a:lnTo>
                <a:lnTo>
                  <a:pt x="1102" y="1161"/>
                </a:lnTo>
                <a:lnTo>
                  <a:pt x="1102" y="1161"/>
                </a:lnTo>
                <a:lnTo>
                  <a:pt x="1099" y="1156"/>
                </a:lnTo>
                <a:lnTo>
                  <a:pt x="1096" y="1156"/>
                </a:lnTo>
                <a:lnTo>
                  <a:pt x="1093" y="1156"/>
                </a:lnTo>
                <a:lnTo>
                  <a:pt x="1096" y="1153"/>
                </a:lnTo>
                <a:lnTo>
                  <a:pt x="1096" y="1153"/>
                </a:lnTo>
                <a:lnTo>
                  <a:pt x="1096" y="1153"/>
                </a:lnTo>
                <a:lnTo>
                  <a:pt x="1093" y="1150"/>
                </a:lnTo>
                <a:lnTo>
                  <a:pt x="1096" y="1150"/>
                </a:lnTo>
                <a:lnTo>
                  <a:pt x="1099" y="1150"/>
                </a:lnTo>
                <a:lnTo>
                  <a:pt x="1096" y="1147"/>
                </a:lnTo>
                <a:lnTo>
                  <a:pt x="1096" y="1145"/>
                </a:lnTo>
                <a:lnTo>
                  <a:pt x="1096" y="1142"/>
                </a:lnTo>
                <a:lnTo>
                  <a:pt x="1093" y="1142"/>
                </a:lnTo>
                <a:lnTo>
                  <a:pt x="1088" y="1139"/>
                </a:lnTo>
                <a:lnTo>
                  <a:pt x="1080" y="1139"/>
                </a:lnTo>
                <a:lnTo>
                  <a:pt x="1080" y="1139"/>
                </a:lnTo>
                <a:lnTo>
                  <a:pt x="1077" y="1137"/>
                </a:lnTo>
                <a:lnTo>
                  <a:pt x="1075" y="1134"/>
                </a:lnTo>
                <a:lnTo>
                  <a:pt x="1075" y="1134"/>
                </a:lnTo>
                <a:lnTo>
                  <a:pt x="1072" y="1134"/>
                </a:lnTo>
                <a:lnTo>
                  <a:pt x="1072" y="1134"/>
                </a:lnTo>
                <a:lnTo>
                  <a:pt x="1072" y="1134"/>
                </a:lnTo>
                <a:lnTo>
                  <a:pt x="1069" y="1134"/>
                </a:lnTo>
                <a:lnTo>
                  <a:pt x="1069" y="1134"/>
                </a:lnTo>
                <a:lnTo>
                  <a:pt x="1069" y="1134"/>
                </a:lnTo>
                <a:lnTo>
                  <a:pt x="1069" y="1134"/>
                </a:lnTo>
                <a:lnTo>
                  <a:pt x="1069" y="1137"/>
                </a:lnTo>
                <a:lnTo>
                  <a:pt x="1067" y="1137"/>
                </a:lnTo>
                <a:lnTo>
                  <a:pt x="1064" y="1137"/>
                </a:lnTo>
                <a:lnTo>
                  <a:pt x="1061" y="1137"/>
                </a:lnTo>
                <a:lnTo>
                  <a:pt x="1059" y="1134"/>
                </a:lnTo>
                <a:lnTo>
                  <a:pt x="1056" y="1134"/>
                </a:lnTo>
                <a:lnTo>
                  <a:pt x="1053" y="1131"/>
                </a:lnTo>
                <a:lnTo>
                  <a:pt x="1051" y="1129"/>
                </a:lnTo>
                <a:lnTo>
                  <a:pt x="1051" y="1118"/>
                </a:lnTo>
                <a:lnTo>
                  <a:pt x="1048" y="1115"/>
                </a:lnTo>
                <a:lnTo>
                  <a:pt x="1040" y="1113"/>
                </a:lnTo>
                <a:lnTo>
                  <a:pt x="1040" y="1121"/>
                </a:lnTo>
                <a:lnTo>
                  <a:pt x="1040" y="1121"/>
                </a:lnTo>
                <a:lnTo>
                  <a:pt x="1040" y="1123"/>
                </a:lnTo>
                <a:lnTo>
                  <a:pt x="1043" y="1129"/>
                </a:lnTo>
                <a:lnTo>
                  <a:pt x="1037" y="1129"/>
                </a:lnTo>
                <a:lnTo>
                  <a:pt x="1032" y="1129"/>
                </a:lnTo>
                <a:lnTo>
                  <a:pt x="1024" y="1121"/>
                </a:lnTo>
                <a:lnTo>
                  <a:pt x="1024" y="1115"/>
                </a:lnTo>
                <a:lnTo>
                  <a:pt x="1021" y="1115"/>
                </a:lnTo>
                <a:lnTo>
                  <a:pt x="1021" y="1115"/>
                </a:lnTo>
                <a:lnTo>
                  <a:pt x="1024" y="1115"/>
                </a:lnTo>
                <a:lnTo>
                  <a:pt x="1024" y="1113"/>
                </a:lnTo>
                <a:lnTo>
                  <a:pt x="1021" y="1110"/>
                </a:lnTo>
                <a:lnTo>
                  <a:pt x="1024" y="1107"/>
                </a:lnTo>
                <a:lnTo>
                  <a:pt x="1021" y="1105"/>
                </a:lnTo>
                <a:lnTo>
                  <a:pt x="1021" y="1102"/>
                </a:lnTo>
                <a:lnTo>
                  <a:pt x="1018" y="1099"/>
                </a:lnTo>
                <a:lnTo>
                  <a:pt x="1018" y="1097"/>
                </a:lnTo>
                <a:lnTo>
                  <a:pt x="1018" y="1094"/>
                </a:lnTo>
                <a:lnTo>
                  <a:pt x="1013" y="1088"/>
                </a:lnTo>
                <a:lnTo>
                  <a:pt x="1008" y="1075"/>
                </a:lnTo>
                <a:lnTo>
                  <a:pt x="1005" y="1072"/>
                </a:lnTo>
                <a:lnTo>
                  <a:pt x="1002" y="1072"/>
                </a:lnTo>
                <a:lnTo>
                  <a:pt x="1002" y="1072"/>
                </a:lnTo>
                <a:lnTo>
                  <a:pt x="1002" y="1075"/>
                </a:lnTo>
                <a:lnTo>
                  <a:pt x="1005" y="1075"/>
                </a:lnTo>
                <a:lnTo>
                  <a:pt x="1008" y="1078"/>
                </a:lnTo>
                <a:lnTo>
                  <a:pt x="1008" y="1080"/>
                </a:lnTo>
                <a:lnTo>
                  <a:pt x="1008" y="1083"/>
                </a:lnTo>
                <a:lnTo>
                  <a:pt x="1005" y="1083"/>
                </a:lnTo>
                <a:lnTo>
                  <a:pt x="989" y="1083"/>
                </a:lnTo>
                <a:lnTo>
                  <a:pt x="989" y="1086"/>
                </a:lnTo>
                <a:lnTo>
                  <a:pt x="986" y="1086"/>
                </a:lnTo>
                <a:lnTo>
                  <a:pt x="986" y="1086"/>
                </a:lnTo>
                <a:lnTo>
                  <a:pt x="984" y="1083"/>
                </a:lnTo>
                <a:lnTo>
                  <a:pt x="978" y="1083"/>
                </a:lnTo>
                <a:lnTo>
                  <a:pt x="976" y="1083"/>
                </a:lnTo>
                <a:lnTo>
                  <a:pt x="973" y="1083"/>
                </a:lnTo>
                <a:lnTo>
                  <a:pt x="968" y="1078"/>
                </a:lnTo>
                <a:lnTo>
                  <a:pt x="968" y="1075"/>
                </a:lnTo>
                <a:lnTo>
                  <a:pt x="965" y="1072"/>
                </a:lnTo>
                <a:lnTo>
                  <a:pt x="965" y="1072"/>
                </a:lnTo>
                <a:lnTo>
                  <a:pt x="965" y="1070"/>
                </a:lnTo>
                <a:lnTo>
                  <a:pt x="965" y="1067"/>
                </a:lnTo>
                <a:lnTo>
                  <a:pt x="968" y="1067"/>
                </a:lnTo>
                <a:lnTo>
                  <a:pt x="968" y="1067"/>
                </a:lnTo>
                <a:lnTo>
                  <a:pt x="968" y="1064"/>
                </a:lnTo>
                <a:lnTo>
                  <a:pt x="965" y="1064"/>
                </a:lnTo>
                <a:lnTo>
                  <a:pt x="965" y="1064"/>
                </a:lnTo>
                <a:lnTo>
                  <a:pt x="965" y="1062"/>
                </a:lnTo>
                <a:lnTo>
                  <a:pt x="962" y="1059"/>
                </a:lnTo>
                <a:lnTo>
                  <a:pt x="962" y="1059"/>
                </a:lnTo>
                <a:lnTo>
                  <a:pt x="962" y="1059"/>
                </a:lnTo>
                <a:lnTo>
                  <a:pt x="962" y="1062"/>
                </a:lnTo>
                <a:lnTo>
                  <a:pt x="962" y="1062"/>
                </a:lnTo>
                <a:lnTo>
                  <a:pt x="962" y="1064"/>
                </a:lnTo>
                <a:lnTo>
                  <a:pt x="959" y="1067"/>
                </a:lnTo>
                <a:lnTo>
                  <a:pt x="957" y="1070"/>
                </a:lnTo>
                <a:lnTo>
                  <a:pt x="954" y="1072"/>
                </a:lnTo>
                <a:lnTo>
                  <a:pt x="954" y="1070"/>
                </a:lnTo>
                <a:lnTo>
                  <a:pt x="949" y="1072"/>
                </a:lnTo>
                <a:lnTo>
                  <a:pt x="946" y="1070"/>
                </a:lnTo>
                <a:lnTo>
                  <a:pt x="943" y="1067"/>
                </a:lnTo>
                <a:lnTo>
                  <a:pt x="941" y="1067"/>
                </a:lnTo>
                <a:lnTo>
                  <a:pt x="941" y="1067"/>
                </a:lnTo>
                <a:lnTo>
                  <a:pt x="938" y="1064"/>
                </a:lnTo>
                <a:lnTo>
                  <a:pt x="935" y="1062"/>
                </a:lnTo>
                <a:lnTo>
                  <a:pt x="935" y="1059"/>
                </a:lnTo>
                <a:lnTo>
                  <a:pt x="933" y="1059"/>
                </a:lnTo>
                <a:lnTo>
                  <a:pt x="927" y="1059"/>
                </a:lnTo>
                <a:lnTo>
                  <a:pt x="922" y="1059"/>
                </a:lnTo>
                <a:lnTo>
                  <a:pt x="917" y="1054"/>
                </a:lnTo>
                <a:lnTo>
                  <a:pt x="914" y="1054"/>
                </a:lnTo>
                <a:lnTo>
                  <a:pt x="914" y="1054"/>
                </a:lnTo>
                <a:lnTo>
                  <a:pt x="914" y="1054"/>
                </a:lnTo>
                <a:lnTo>
                  <a:pt x="911" y="1054"/>
                </a:lnTo>
                <a:lnTo>
                  <a:pt x="911" y="1051"/>
                </a:lnTo>
                <a:lnTo>
                  <a:pt x="909" y="1051"/>
                </a:lnTo>
                <a:lnTo>
                  <a:pt x="903" y="1048"/>
                </a:lnTo>
                <a:lnTo>
                  <a:pt x="903" y="1048"/>
                </a:lnTo>
                <a:lnTo>
                  <a:pt x="901" y="1046"/>
                </a:lnTo>
                <a:lnTo>
                  <a:pt x="898" y="1043"/>
                </a:lnTo>
                <a:lnTo>
                  <a:pt x="898" y="1040"/>
                </a:lnTo>
                <a:lnTo>
                  <a:pt x="890" y="1035"/>
                </a:lnTo>
                <a:lnTo>
                  <a:pt x="887" y="1032"/>
                </a:lnTo>
                <a:lnTo>
                  <a:pt x="887" y="1032"/>
                </a:lnTo>
                <a:lnTo>
                  <a:pt x="884" y="1029"/>
                </a:lnTo>
                <a:lnTo>
                  <a:pt x="884" y="1029"/>
                </a:lnTo>
                <a:lnTo>
                  <a:pt x="884" y="1029"/>
                </a:lnTo>
                <a:lnTo>
                  <a:pt x="882" y="1027"/>
                </a:lnTo>
                <a:lnTo>
                  <a:pt x="882" y="1024"/>
                </a:lnTo>
                <a:lnTo>
                  <a:pt x="882" y="1024"/>
                </a:lnTo>
                <a:lnTo>
                  <a:pt x="882" y="1021"/>
                </a:lnTo>
                <a:lnTo>
                  <a:pt x="882" y="1021"/>
                </a:lnTo>
                <a:lnTo>
                  <a:pt x="882" y="1021"/>
                </a:lnTo>
                <a:lnTo>
                  <a:pt x="884" y="1008"/>
                </a:lnTo>
                <a:lnTo>
                  <a:pt x="887" y="1003"/>
                </a:lnTo>
                <a:lnTo>
                  <a:pt x="887" y="997"/>
                </a:lnTo>
                <a:lnTo>
                  <a:pt x="890" y="995"/>
                </a:lnTo>
                <a:lnTo>
                  <a:pt x="890" y="989"/>
                </a:lnTo>
                <a:lnTo>
                  <a:pt x="884" y="989"/>
                </a:lnTo>
                <a:lnTo>
                  <a:pt x="884" y="987"/>
                </a:lnTo>
                <a:lnTo>
                  <a:pt x="882" y="989"/>
                </a:lnTo>
                <a:lnTo>
                  <a:pt x="882" y="989"/>
                </a:lnTo>
                <a:lnTo>
                  <a:pt x="879" y="987"/>
                </a:lnTo>
                <a:lnTo>
                  <a:pt x="876" y="987"/>
                </a:lnTo>
                <a:lnTo>
                  <a:pt x="876" y="987"/>
                </a:lnTo>
                <a:lnTo>
                  <a:pt x="876" y="987"/>
                </a:lnTo>
                <a:lnTo>
                  <a:pt x="874" y="979"/>
                </a:lnTo>
                <a:lnTo>
                  <a:pt x="874" y="976"/>
                </a:lnTo>
                <a:lnTo>
                  <a:pt x="874" y="973"/>
                </a:lnTo>
                <a:lnTo>
                  <a:pt x="871" y="973"/>
                </a:lnTo>
                <a:lnTo>
                  <a:pt x="871" y="973"/>
                </a:lnTo>
                <a:lnTo>
                  <a:pt x="868" y="970"/>
                </a:lnTo>
                <a:lnTo>
                  <a:pt x="866" y="970"/>
                </a:lnTo>
                <a:lnTo>
                  <a:pt x="863" y="970"/>
                </a:lnTo>
                <a:lnTo>
                  <a:pt x="855" y="960"/>
                </a:lnTo>
                <a:lnTo>
                  <a:pt x="855" y="957"/>
                </a:lnTo>
                <a:lnTo>
                  <a:pt x="855" y="954"/>
                </a:lnTo>
                <a:lnTo>
                  <a:pt x="855" y="954"/>
                </a:lnTo>
                <a:lnTo>
                  <a:pt x="855" y="952"/>
                </a:lnTo>
                <a:lnTo>
                  <a:pt x="852" y="952"/>
                </a:lnTo>
                <a:lnTo>
                  <a:pt x="852" y="949"/>
                </a:lnTo>
                <a:lnTo>
                  <a:pt x="855" y="949"/>
                </a:lnTo>
                <a:lnTo>
                  <a:pt x="855" y="946"/>
                </a:lnTo>
                <a:lnTo>
                  <a:pt x="855" y="941"/>
                </a:lnTo>
                <a:lnTo>
                  <a:pt x="860" y="933"/>
                </a:lnTo>
                <a:lnTo>
                  <a:pt x="863" y="925"/>
                </a:lnTo>
                <a:lnTo>
                  <a:pt x="863" y="925"/>
                </a:lnTo>
                <a:lnTo>
                  <a:pt x="863" y="922"/>
                </a:lnTo>
                <a:lnTo>
                  <a:pt x="863" y="920"/>
                </a:lnTo>
                <a:lnTo>
                  <a:pt x="866" y="920"/>
                </a:lnTo>
                <a:lnTo>
                  <a:pt x="866" y="917"/>
                </a:lnTo>
                <a:lnTo>
                  <a:pt x="863" y="914"/>
                </a:lnTo>
                <a:lnTo>
                  <a:pt x="863" y="914"/>
                </a:lnTo>
                <a:lnTo>
                  <a:pt x="863" y="914"/>
                </a:lnTo>
                <a:lnTo>
                  <a:pt x="863" y="911"/>
                </a:lnTo>
                <a:lnTo>
                  <a:pt x="863" y="911"/>
                </a:lnTo>
                <a:lnTo>
                  <a:pt x="863" y="911"/>
                </a:lnTo>
                <a:lnTo>
                  <a:pt x="863" y="909"/>
                </a:lnTo>
                <a:lnTo>
                  <a:pt x="863" y="909"/>
                </a:lnTo>
                <a:lnTo>
                  <a:pt x="866" y="909"/>
                </a:lnTo>
                <a:lnTo>
                  <a:pt x="863" y="901"/>
                </a:lnTo>
                <a:lnTo>
                  <a:pt x="866" y="898"/>
                </a:lnTo>
                <a:lnTo>
                  <a:pt x="866" y="898"/>
                </a:lnTo>
                <a:lnTo>
                  <a:pt x="868" y="895"/>
                </a:lnTo>
                <a:lnTo>
                  <a:pt x="868" y="893"/>
                </a:lnTo>
                <a:lnTo>
                  <a:pt x="868" y="893"/>
                </a:lnTo>
                <a:lnTo>
                  <a:pt x="868" y="890"/>
                </a:lnTo>
                <a:lnTo>
                  <a:pt x="866" y="887"/>
                </a:lnTo>
                <a:lnTo>
                  <a:pt x="860" y="885"/>
                </a:lnTo>
                <a:lnTo>
                  <a:pt x="860" y="882"/>
                </a:lnTo>
                <a:lnTo>
                  <a:pt x="860" y="879"/>
                </a:lnTo>
                <a:lnTo>
                  <a:pt x="860" y="874"/>
                </a:lnTo>
                <a:lnTo>
                  <a:pt x="860" y="869"/>
                </a:lnTo>
                <a:lnTo>
                  <a:pt x="860" y="869"/>
                </a:lnTo>
                <a:lnTo>
                  <a:pt x="860" y="869"/>
                </a:lnTo>
                <a:lnTo>
                  <a:pt x="858" y="866"/>
                </a:lnTo>
                <a:lnTo>
                  <a:pt x="855" y="863"/>
                </a:lnTo>
                <a:lnTo>
                  <a:pt x="852" y="858"/>
                </a:lnTo>
                <a:lnTo>
                  <a:pt x="850" y="852"/>
                </a:lnTo>
                <a:lnTo>
                  <a:pt x="850" y="850"/>
                </a:lnTo>
                <a:lnTo>
                  <a:pt x="850" y="847"/>
                </a:lnTo>
                <a:lnTo>
                  <a:pt x="850" y="847"/>
                </a:lnTo>
                <a:lnTo>
                  <a:pt x="847" y="844"/>
                </a:lnTo>
                <a:lnTo>
                  <a:pt x="844" y="836"/>
                </a:lnTo>
                <a:lnTo>
                  <a:pt x="842" y="834"/>
                </a:lnTo>
                <a:lnTo>
                  <a:pt x="842" y="834"/>
                </a:lnTo>
                <a:lnTo>
                  <a:pt x="842" y="834"/>
                </a:lnTo>
                <a:lnTo>
                  <a:pt x="842" y="831"/>
                </a:lnTo>
                <a:lnTo>
                  <a:pt x="842" y="828"/>
                </a:lnTo>
                <a:lnTo>
                  <a:pt x="842" y="828"/>
                </a:lnTo>
                <a:lnTo>
                  <a:pt x="844" y="823"/>
                </a:lnTo>
                <a:lnTo>
                  <a:pt x="844" y="823"/>
                </a:lnTo>
                <a:lnTo>
                  <a:pt x="844" y="823"/>
                </a:lnTo>
                <a:lnTo>
                  <a:pt x="847" y="820"/>
                </a:lnTo>
                <a:lnTo>
                  <a:pt x="847" y="818"/>
                </a:lnTo>
                <a:lnTo>
                  <a:pt x="847" y="818"/>
                </a:lnTo>
                <a:lnTo>
                  <a:pt x="847" y="818"/>
                </a:lnTo>
                <a:lnTo>
                  <a:pt x="847" y="818"/>
                </a:lnTo>
                <a:lnTo>
                  <a:pt x="847" y="818"/>
                </a:lnTo>
                <a:lnTo>
                  <a:pt x="847" y="815"/>
                </a:lnTo>
                <a:lnTo>
                  <a:pt x="847" y="815"/>
                </a:lnTo>
                <a:lnTo>
                  <a:pt x="847" y="815"/>
                </a:lnTo>
                <a:lnTo>
                  <a:pt x="850" y="815"/>
                </a:lnTo>
                <a:lnTo>
                  <a:pt x="850" y="812"/>
                </a:lnTo>
                <a:lnTo>
                  <a:pt x="847" y="812"/>
                </a:lnTo>
                <a:lnTo>
                  <a:pt x="844" y="812"/>
                </a:lnTo>
                <a:lnTo>
                  <a:pt x="844" y="812"/>
                </a:lnTo>
                <a:lnTo>
                  <a:pt x="844" y="812"/>
                </a:lnTo>
                <a:lnTo>
                  <a:pt x="842" y="815"/>
                </a:lnTo>
                <a:lnTo>
                  <a:pt x="842" y="815"/>
                </a:lnTo>
                <a:lnTo>
                  <a:pt x="839" y="815"/>
                </a:lnTo>
                <a:lnTo>
                  <a:pt x="839" y="815"/>
                </a:lnTo>
                <a:lnTo>
                  <a:pt x="836" y="815"/>
                </a:lnTo>
                <a:lnTo>
                  <a:pt x="836" y="815"/>
                </a:lnTo>
                <a:lnTo>
                  <a:pt x="831" y="818"/>
                </a:lnTo>
                <a:lnTo>
                  <a:pt x="831" y="818"/>
                </a:lnTo>
                <a:lnTo>
                  <a:pt x="831" y="818"/>
                </a:lnTo>
                <a:lnTo>
                  <a:pt x="831" y="820"/>
                </a:lnTo>
                <a:lnTo>
                  <a:pt x="831" y="823"/>
                </a:lnTo>
                <a:lnTo>
                  <a:pt x="831" y="826"/>
                </a:lnTo>
                <a:lnTo>
                  <a:pt x="831" y="826"/>
                </a:lnTo>
                <a:lnTo>
                  <a:pt x="831" y="826"/>
                </a:lnTo>
                <a:lnTo>
                  <a:pt x="828" y="826"/>
                </a:lnTo>
                <a:lnTo>
                  <a:pt x="828" y="823"/>
                </a:lnTo>
                <a:lnTo>
                  <a:pt x="828" y="823"/>
                </a:lnTo>
                <a:lnTo>
                  <a:pt x="828" y="823"/>
                </a:lnTo>
                <a:lnTo>
                  <a:pt x="828" y="820"/>
                </a:lnTo>
                <a:lnTo>
                  <a:pt x="825" y="820"/>
                </a:lnTo>
                <a:lnTo>
                  <a:pt x="825" y="818"/>
                </a:lnTo>
                <a:lnTo>
                  <a:pt x="825" y="818"/>
                </a:lnTo>
                <a:lnTo>
                  <a:pt x="825" y="815"/>
                </a:lnTo>
                <a:lnTo>
                  <a:pt x="828" y="815"/>
                </a:lnTo>
                <a:lnTo>
                  <a:pt x="828" y="815"/>
                </a:lnTo>
                <a:lnTo>
                  <a:pt x="828" y="815"/>
                </a:lnTo>
                <a:lnTo>
                  <a:pt x="828" y="812"/>
                </a:lnTo>
                <a:lnTo>
                  <a:pt x="828" y="812"/>
                </a:lnTo>
                <a:lnTo>
                  <a:pt x="825" y="810"/>
                </a:lnTo>
                <a:lnTo>
                  <a:pt x="823" y="804"/>
                </a:lnTo>
                <a:lnTo>
                  <a:pt x="823" y="804"/>
                </a:lnTo>
                <a:lnTo>
                  <a:pt x="820" y="804"/>
                </a:lnTo>
                <a:lnTo>
                  <a:pt x="820" y="801"/>
                </a:lnTo>
                <a:lnTo>
                  <a:pt x="820" y="801"/>
                </a:lnTo>
                <a:lnTo>
                  <a:pt x="817" y="799"/>
                </a:lnTo>
                <a:lnTo>
                  <a:pt x="817" y="799"/>
                </a:lnTo>
                <a:lnTo>
                  <a:pt x="817" y="796"/>
                </a:lnTo>
                <a:lnTo>
                  <a:pt x="815" y="796"/>
                </a:lnTo>
                <a:lnTo>
                  <a:pt x="812" y="796"/>
                </a:lnTo>
                <a:lnTo>
                  <a:pt x="809" y="791"/>
                </a:lnTo>
                <a:lnTo>
                  <a:pt x="807" y="791"/>
                </a:lnTo>
                <a:lnTo>
                  <a:pt x="807" y="788"/>
                </a:lnTo>
                <a:lnTo>
                  <a:pt x="804" y="785"/>
                </a:lnTo>
                <a:lnTo>
                  <a:pt x="804" y="785"/>
                </a:lnTo>
                <a:lnTo>
                  <a:pt x="804" y="783"/>
                </a:lnTo>
                <a:lnTo>
                  <a:pt x="801" y="780"/>
                </a:lnTo>
                <a:lnTo>
                  <a:pt x="799" y="777"/>
                </a:lnTo>
                <a:lnTo>
                  <a:pt x="796" y="775"/>
                </a:lnTo>
                <a:lnTo>
                  <a:pt x="796" y="772"/>
                </a:lnTo>
                <a:lnTo>
                  <a:pt x="796" y="772"/>
                </a:lnTo>
                <a:lnTo>
                  <a:pt x="793" y="769"/>
                </a:lnTo>
                <a:lnTo>
                  <a:pt x="793" y="769"/>
                </a:lnTo>
                <a:lnTo>
                  <a:pt x="791" y="769"/>
                </a:lnTo>
                <a:lnTo>
                  <a:pt x="791" y="769"/>
                </a:lnTo>
                <a:lnTo>
                  <a:pt x="791" y="769"/>
                </a:lnTo>
                <a:lnTo>
                  <a:pt x="788" y="767"/>
                </a:lnTo>
                <a:lnTo>
                  <a:pt x="791" y="764"/>
                </a:lnTo>
                <a:lnTo>
                  <a:pt x="791" y="756"/>
                </a:lnTo>
                <a:lnTo>
                  <a:pt x="793" y="753"/>
                </a:lnTo>
                <a:lnTo>
                  <a:pt x="796" y="748"/>
                </a:lnTo>
                <a:lnTo>
                  <a:pt x="796" y="748"/>
                </a:lnTo>
                <a:lnTo>
                  <a:pt x="796" y="745"/>
                </a:lnTo>
                <a:lnTo>
                  <a:pt x="796" y="742"/>
                </a:lnTo>
                <a:lnTo>
                  <a:pt x="796" y="742"/>
                </a:lnTo>
                <a:lnTo>
                  <a:pt x="793" y="742"/>
                </a:lnTo>
                <a:lnTo>
                  <a:pt x="793" y="740"/>
                </a:lnTo>
                <a:lnTo>
                  <a:pt x="793" y="737"/>
                </a:lnTo>
                <a:lnTo>
                  <a:pt x="796" y="729"/>
                </a:lnTo>
                <a:lnTo>
                  <a:pt x="796" y="726"/>
                </a:lnTo>
                <a:lnTo>
                  <a:pt x="793" y="724"/>
                </a:lnTo>
                <a:lnTo>
                  <a:pt x="793" y="718"/>
                </a:lnTo>
                <a:lnTo>
                  <a:pt x="788" y="713"/>
                </a:lnTo>
                <a:lnTo>
                  <a:pt x="785" y="710"/>
                </a:lnTo>
                <a:lnTo>
                  <a:pt x="785" y="710"/>
                </a:lnTo>
                <a:lnTo>
                  <a:pt x="785" y="708"/>
                </a:lnTo>
                <a:lnTo>
                  <a:pt x="785" y="705"/>
                </a:lnTo>
                <a:lnTo>
                  <a:pt x="785" y="705"/>
                </a:lnTo>
                <a:lnTo>
                  <a:pt x="785" y="702"/>
                </a:lnTo>
                <a:lnTo>
                  <a:pt x="785" y="702"/>
                </a:lnTo>
                <a:lnTo>
                  <a:pt x="785" y="702"/>
                </a:lnTo>
                <a:lnTo>
                  <a:pt x="785" y="700"/>
                </a:lnTo>
                <a:lnTo>
                  <a:pt x="785" y="700"/>
                </a:lnTo>
                <a:lnTo>
                  <a:pt x="785" y="697"/>
                </a:lnTo>
                <a:lnTo>
                  <a:pt x="785" y="694"/>
                </a:lnTo>
                <a:lnTo>
                  <a:pt x="785" y="692"/>
                </a:lnTo>
                <a:lnTo>
                  <a:pt x="785" y="689"/>
                </a:lnTo>
                <a:lnTo>
                  <a:pt x="780" y="681"/>
                </a:lnTo>
                <a:lnTo>
                  <a:pt x="780" y="681"/>
                </a:lnTo>
                <a:lnTo>
                  <a:pt x="780" y="681"/>
                </a:lnTo>
                <a:lnTo>
                  <a:pt x="780" y="678"/>
                </a:lnTo>
                <a:lnTo>
                  <a:pt x="780" y="678"/>
                </a:lnTo>
                <a:lnTo>
                  <a:pt x="780" y="675"/>
                </a:lnTo>
                <a:lnTo>
                  <a:pt x="780" y="673"/>
                </a:lnTo>
                <a:lnTo>
                  <a:pt x="780" y="673"/>
                </a:lnTo>
                <a:lnTo>
                  <a:pt x="775" y="670"/>
                </a:lnTo>
                <a:lnTo>
                  <a:pt x="775" y="670"/>
                </a:lnTo>
                <a:lnTo>
                  <a:pt x="775" y="670"/>
                </a:lnTo>
                <a:lnTo>
                  <a:pt x="775" y="667"/>
                </a:lnTo>
                <a:lnTo>
                  <a:pt x="775" y="667"/>
                </a:lnTo>
                <a:lnTo>
                  <a:pt x="775" y="667"/>
                </a:lnTo>
                <a:lnTo>
                  <a:pt x="777" y="665"/>
                </a:lnTo>
                <a:lnTo>
                  <a:pt x="777" y="665"/>
                </a:lnTo>
                <a:lnTo>
                  <a:pt x="775" y="659"/>
                </a:lnTo>
                <a:lnTo>
                  <a:pt x="775" y="659"/>
                </a:lnTo>
                <a:lnTo>
                  <a:pt x="772" y="659"/>
                </a:lnTo>
                <a:lnTo>
                  <a:pt x="772" y="659"/>
                </a:lnTo>
                <a:lnTo>
                  <a:pt x="772" y="657"/>
                </a:lnTo>
                <a:lnTo>
                  <a:pt x="775" y="654"/>
                </a:lnTo>
                <a:lnTo>
                  <a:pt x="775" y="654"/>
                </a:lnTo>
                <a:lnTo>
                  <a:pt x="777" y="654"/>
                </a:lnTo>
                <a:lnTo>
                  <a:pt x="777" y="654"/>
                </a:lnTo>
                <a:lnTo>
                  <a:pt x="777" y="651"/>
                </a:lnTo>
                <a:lnTo>
                  <a:pt x="777" y="651"/>
                </a:lnTo>
                <a:lnTo>
                  <a:pt x="777" y="649"/>
                </a:lnTo>
                <a:lnTo>
                  <a:pt x="777" y="649"/>
                </a:lnTo>
                <a:lnTo>
                  <a:pt x="777" y="646"/>
                </a:lnTo>
                <a:lnTo>
                  <a:pt x="777" y="646"/>
                </a:lnTo>
                <a:lnTo>
                  <a:pt x="780" y="643"/>
                </a:lnTo>
                <a:lnTo>
                  <a:pt x="783" y="641"/>
                </a:lnTo>
                <a:lnTo>
                  <a:pt x="783" y="641"/>
                </a:lnTo>
                <a:lnTo>
                  <a:pt x="783" y="638"/>
                </a:lnTo>
                <a:lnTo>
                  <a:pt x="780" y="635"/>
                </a:lnTo>
                <a:lnTo>
                  <a:pt x="780" y="638"/>
                </a:lnTo>
                <a:lnTo>
                  <a:pt x="780" y="641"/>
                </a:lnTo>
                <a:lnTo>
                  <a:pt x="777" y="641"/>
                </a:lnTo>
                <a:lnTo>
                  <a:pt x="777" y="641"/>
                </a:lnTo>
                <a:lnTo>
                  <a:pt x="775" y="641"/>
                </a:lnTo>
                <a:lnTo>
                  <a:pt x="775" y="638"/>
                </a:lnTo>
                <a:lnTo>
                  <a:pt x="775" y="635"/>
                </a:lnTo>
                <a:lnTo>
                  <a:pt x="772" y="633"/>
                </a:lnTo>
                <a:lnTo>
                  <a:pt x="772" y="630"/>
                </a:lnTo>
                <a:lnTo>
                  <a:pt x="772" y="622"/>
                </a:lnTo>
                <a:lnTo>
                  <a:pt x="775" y="622"/>
                </a:lnTo>
                <a:lnTo>
                  <a:pt x="783" y="611"/>
                </a:lnTo>
                <a:lnTo>
                  <a:pt x="783" y="606"/>
                </a:lnTo>
                <a:lnTo>
                  <a:pt x="780" y="606"/>
                </a:lnTo>
                <a:lnTo>
                  <a:pt x="777" y="608"/>
                </a:lnTo>
                <a:lnTo>
                  <a:pt x="777" y="608"/>
                </a:lnTo>
                <a:lnTo>
                  <a:pt x="769" y="600"/>
                </a:lnTo>
                <a:lnTo>
                  <a:pt x="769" y="598"/>
                </a:lnTo>
                <a:lnTo>
                  <a:pt x="769" y="595"/>
                </a:lnTo>
                <a:lnTo>
                  <a:pt x="769" y="595"/>
                </a:lnTo>
                <a:lnTo>
                  <a:pt x="767" y="595"/>
                </a:lnTo>
                <a:lnTo>
                  <a:pt x="764" y="595"/>
                </a:lnTo>
                <a:lnTo>
                  <a:pt x="764" y="595"/>
                </a:lnTo>
                <a:lnTo>
                  <a:pt x="761" y="595"/>
                </a:lnTo>
                <a:lnTo>
                  <a:pt x="758" y="595"/>
                </a:lnTo>
                <a:lnTo>
                  <a:pt x="756" y="592"/>
                </a:lnTo>
                <a:lnTo>
                  <a:pt x="756" y="592"/>
                </a:lnTo>
                <a:lnTo>
                  <a:pt x="753" y="590"/>
                </a:lnTo>
                <a:lnTo>
                  <a:pt x="750" y="592"/>
                </a:lnTo>
                <a:lnTo>
                  <a:pt x="748" y="590"/>
                </a:lnTo>
                <a:lnTo>
                  <a:pt x="742" y="587"/>
                </a:lnTo>
                <a:lnTo>
                  <a:pt x="740" y="584"/>
                </a:lnTo>
                <a:lnTo>
                  <a:pt x="740" y="584"/>
                </a:lnTo>
                <a:lnTo>
                  <a:pt x="740" y="579"/>
                </a:lnTo>
                <a:lnTo>
                  <a:pt x="740" y="579"/>
                </a:lnTo>
                <a:lnTo>
                  <a:pt x="737" y="576"/>
                </a:lnTo>
                <a:lnTo>
                  <a:pt x="737" y="576"/>
                </a:lnTo>
                <a:lnTo>
                  <a:pt x="737" y="573"/>
                </a:lnTo>
                <a:lnTo>
                  <a:pt x="737" y="573"/>
                </a:lnTo>
                <a:lnTo>
                  <a:pt x="737" y="573"/>
                </a:lnTo>
                <a:lnTo>
                  <a:pt x="737" y="571"/>
                </a:lnTo>
                <a:lnTo>
                  <a:pt x="734" y="571"/>
                </a:lnTo>
                <a:lnTo>
                  <a:pt x="726" y="571"/>
                </a:lnTo>
                <a:lnTo>
                  <a:pt x="724" y="571"/>
                </a:lnTo>
                <a:lnTo>
                  <a:pt x="724" y="568"/>
                </a:lnTo>
                <a:lnTo>
                  <a:pt x="721" y="565"/>
                </a:lnTo>
                <a:lnTo>
                  <a:pt x="721" y="565"/>
                </a:lnTo>
                <a:lnTo>
                  <a:pt x="718" y="565"/>
                </a:lnTo>
                <a:lnTo>
                  <a:pt x="716" y="565"/>
                </a:lnTo>
                <a:lnTo>
                  <a:pt x="713" y="565"/>
                </a:lnTo>
                <a:lnTo>
                  <a:pt x="710" y="565"/>
                </a:lnTo>
                <a:lnTo>
                  <a:pt x="710" y="563"/>
                </a:lnTo>
                <a:lnTo>
                  <a:pt x="710" y="560"/>
                </a:lnTo>
                <a:lnTo>
                  <a:pt x="708" y="557"/>
                </a:lnTo>
                <a:lnTo>
                  <a:pt x="705" y="557"/>
                </a:lnTo>
                <a:lnTo>
                  <a:pt x="705" y="557"/>
                </a:lnTo>
                <a:lnTo>
                  <a:pt x="705" y="549"/>
                </a:lnTo>
                <a:lnTo>
                  <a:pt x="705" y="549"/>
                </a:lnTo>
                <a:lnTo>
                  <a:pt x="708" y="549"/>
                </a:lnTo>
                <a:lnTo>
                  <a:pt x="708" y="547"/>
                </a:lnTo>
                <a:lnTo>
                  <a:pt x="708" y="544"/>
                </a:lnTo>
                <a:lnTo>
                  <a:pt x="708" y="541"/>
                </a:lnTo>
                <a:lnTo>
                  <a:pt x="705" y="544"/>
                </a:lnTo>
                <a:lnTo>
                  <a:pt x="705" y="544"/>
                </a:lnTo>
                <a:lnTo>
                  <a:pt x="702" y="544"/>
                </a:lnTo>
                <a:lnTo>
                  <a:pt x="702" y="544"/>
                </a:lnTo>
                <a:lnTo>
                  <a:pt x="702" y="539"/>
                </a:lnTo>
                <a:lnTo>
                  <a:pt x="702" y="536"/>
                </a:lnTo>
                <a:lnTo>
                  <a:pt x="702" y="533"/>
                </a:lnTo>
                <a:lnTo>
                  <a:pt x="697" y="528"/>
                </a:lnTo>
                <a:lnTo>
                  <a:pt x="697" y="528"/>
                </a:lnTo>
                <a:lnTo>
                  <a:pt x="697" y="528"/>
                </a:lnTo>
                <a:lnTo>
                  <a:pt x="697" y="525"/>
                </a:lnTo>
                <a:lnTo>
                  <a:pt x="694" y="525"/>
                </a:lnTo>
                <a:lnTo>
                  <a:pt x="694" y="525"/>
                </a:lnTo>
                <a:lnTo>
                  <a:pt x="691" y="523"/>
                </a:lnTo>
                <a:lnTo>
                  <a:pt x="691" y="523"/>
                </a:lnTo>
                <a:lnTo>
                  <a:pt x="691" y="525"/>
                </a:lnTo>
                <a:lnTo>
                  <a:pt x="691" y="525"/>
                </a:lnTo>
                <a:lnTo>
                  <a:pt x="691" y="525"/>
                </a:lnTo>
                <a:lnTo>
                  <a:pt x="691" y="525"/>
                </a:lnTo>
                <a:lnTo>
                  <a:pt x="689" y="528"/>
                </a:lnTo>
                <a:lnTo>
                  <a:pt x="689" y="533"/>
                </a:lnTo>
                <a:lnTo>
                  <a:pt x="686" y="533"/>
                </a:lnTo>
                <a:lnTo>
                  <a:pt x="673" y="539"/>
                </a:lnTo>
                <a:lnTo>
                  <a:pt x="670" y="539"/>
                </a:lnTo>
                <a:lnTo>
                  <a:pt x="670" y="539"/>
                </a:lnTo>
                <a:lnTo>
                  <a:pt x="667" y="539"/>
                </a:lnTo>
                <a:lnTo>
                  <a:pt x="667" y="539"/>
                </a:lnTo>
                <a:lnTo>
                  <a:pt x="667" y="539"/>
                </a:lnTo>
                <a:lnTo>
                  <a:pt x="665" y="533"/>
                </a:lnTo>
                <a:lnTo>
                  <a:pt x="665" y="533"/>
                </a:lnTo>
                <a:lnTo>
                  <a:pt x="665" y="533"/>
                </a:lnTo>
                <a:lnTo>
                  <a:pt x="665" y="533"/>
                </a:lnTo>
                <a:lnTo>
                  <a:pt x="665" y="536"/>
                </a:lnTo>
                <a:lnTo>
                  <a:pt x="662" y="536"/>
                </a:lnTo>
                <a:lnTo>
                  <a:pt x="662" y="536"/>
                </a:lnTo>
                <a:lnTo>
                  <a:pt x="662" y="533"/>
                </a:lnTo>
                <a:lnTo>
                  <a:pt x="662" y="533"/>
                </a:lnTo>
                <a:lnTo>
                  <a:pt x="659" y="533"/>
                </a:lnTo>
                <a:lnTo>
                  <a:pt x="659" y="536"/>
                </a:lnTo>
                <a:lnTo>
                  <a:pt x="659" y="539"/>
                </a:lnTo>
                <a:lnTo>
                  <a:pt x="659" y="541"/>
                </a:lnTo>
                <a:lnTo>
                  <a:pt x="659" y="544"/>
                </a:lnTo>
                <a:lnTo>
                  <a:pt x="657" y="547"/>
                </a:lnTo>
                <a:lnTo>
                  <a:pt x="657" y="547"/>
                </a:lnTo>
                <a:lnTo>
                  <a:pt x="654" y="549"/>
                </a:lnTo>
                <a:lnTo>
                  <a:pt x="651" y="549"/>
                </a:lnTo>
                <a:lnTo>
                  <a:pt x="646" y="555"/>
                </a:lnTo>
                <a:lnTo>
                  <a:pt x="643" y="557"/>
                </a:lnTo>
                <a:lnTo>
                  <a:pt x="638" y="557"/>
                </a:lnTo>
                <a:lnTo>
                  <a:pt x="635" y="560"/>
                </a:lnTo>
                <a:lnTo>
                  <a:pt x="635" y="560"/>
                </a:lnTo>
                <a:lnTo>
                  <a:pt x="633" y="560"/>
                </a:lnTo>
                <a:lnTo>
                  <a:pt x="633" y="560"/>
                </a:lnTo>
                <a:lnTo>
                  <a:pt x="633" y="557"/>
                </a:lnTo>
                <a:lnTo>
                  <a:pt x="630" y="557"/>
                </a:lnTo>
                <a:lnTo>
                  <a:pt x="627" y="557"/>
                </a:lnTo>
                <a:lnTo>
                  <a:pt x="624" y="557"/>
                </a:lnTo>
                <a:lnTo>
                  <a:pt x="624" y="557"/>
                </a:lnTo>
                <a:lnTo>
                  <a:pt x="622" y="555"/>
                </a:lnTo>
                <a:lnTo>
                  <a:pt x="619" y="552"/>
                </a:lnTo>
                <a:lnTo>
                  <a:pt x="616" y="549"/>
                </a:lnTo>
                <a:lnTo>
                  <a:pt x="614" y="541"/>
                </a:lnTo>
                <a:lnTo>
                  <a:pt x="608" y="528"/>
                </a:lnTo>
                <a:lnTo>
                  <a:pt x="608" y="520"/>
                </a:lnTo>
                <a:lnTo>
                  <a:pt x="608" y="517"/>
                </a:lnTo>
                <a:lnTo>
                  <a:pt x="608" y="514"/>
                </a:lnTo>
                <a:lnTo>
                  <a:pt x="606" y="509"/>
                </a:lnTo>
                <a:lnTo>
                  <a:pt x="606" y="506"/>
                </a:lnTo>
                <a:lnTo>
                  <a:pt x="600" y="501"/>
                </a:lnTo>
                <a:lnTo>
                  <a:pt x="598" y="501"/>
                </a:lnTo>
                <a:lnTo>
                  <a:pt x="598" y="498"/>
                </a:lnTo>
                <a:lnTo>
                  <a:pt x="598" y="498"/>
                </a:lnTo>
                <a:lnTo>
                  <a:pt x="598" y="498"/>
                </a:lnTo>
                <a:lnTo>
                  <a:pt x="598" y="493"/>
                </a:lnTo>
                <a:lnTo>
                  <a:pt x="598" y="493"/>
                </a:lnTo>
                <a:lnTo>
                  <a:pt x="592" y="488"/>
                </a:lnTo>
                <a:lnTo>
                  <a:pt x="592" y="488"/>
                </a:lnTo>
                <a:lnTo>
                  <a:pt x="592" y="485"/>
                </a:lnTo>
                <a:lnTo>
                  <a:pt x="590" y="482"/>
                </a:lnTo>
                <a:lnTo>
                  <a:pt x="590" y="480"/>
                </a:lnTo>
                <a:lnTo>
                  <a:pt x="590" y="477"/>
                </a:lnTo>
                <a:lnTo>
                  <a:pt x="592" y="474"/>
                </a:lnTo>
                <a:lnTo>
                  <a:pt x="592" y="466"/>
                </a:lnTo>
                <a:lnTo>
                  <a:pt x="592" y="464"/>
                </a:lnTo>
                <a:lnTo>
                  <a:pt x="598" y="458"/>
                </a:lnTo>
                <a:lnTo>
                  <a:pt x="598" y="455"/>
                </a:lnTo>
                <a:lnTo>
                  <a:pt x="595" y="455"/>
                </a:lnTo>
                <a:lnTo>
                  <a:pt x="595" y="453"/>
                </a:lnTo>
                <a:lnTo>
                  <a:pt x="598" y="447"/>
                </a:lnTo>
                <a:lnTo>
                  <a:pt x="598" y="445"/>
                </a:lnTo>
                <a:lnTo>
                  <a:pt x="598" y="445"/>
                </a:lnTo>
                <a:lnTo>
                  <a:pt x="595" y="442"/>
                </a:lnTo>
                <a:lnTo>
                  <a:pt x="595" y="442"/>
                </a:lnTo>
                <a:lnTo>
                  <a:pt x="595" y="439"/>
                </a:lnTo>
                <a:lnTo>
                  <a:pt x="590" y="437"/>
                </a:lnTo>
                <a:lnTo>
                  <a:pt x="590" y="437"/>
                </a:lnTo>
                <a:lnTo>
                  <a:pt x="590" y="434"/>
                </a:lnTo>
                <a:lnTo>
                  <a:pt x="590" y="421"/>
                </a:lnTo>
                <a:lnTo>
                  <a:pt x="587" y="407"/>
                </a:lnTo>
                <a:lnTo>
                  <a:pt x="587" y="399"/>
                </a:lnTo>
                <a:lnTo>
                  <a:pt x="587" y="394"/>
                </a:lnTo>
                <a:lnTo>
                  <a:pt x="587" y="391"/>
                </a:lnTo>
                <a:lnTo>
                  <a:pt x="592" y="383"/>
                </a:lnTo>
                <a:lnTo>
                  <a:pt x="590" y="383"/>
                </a:lnTo>
                <a:lnTo>
                  <a:pt x="587" y="383"/>
                </a:lnTo>
                <a:lnTo>
                  <a:pt x="587" y="386"/>
                </a:lnTo>
                <a:lnTo>
                  <a:pt x="584" y="386"/>
                </a:lnTo>
                <a:lnTo>
                  <a:pt x="582" y="386"/>
                </a:lnTo>
                <a:lnTo>
                  <a:pt x="582" y="383"/>
                </a:lnTo>
                <a:lnTo>
                  <a:pt x="579" y="383"/>
                </a:lnTo>
                <a:lnTo>
                  <a:pt x="579" y="386"/>
                </a:lnTo>
                <a:lnTo>
                  <a:pt x="576" y="386"/>
                </a:lnTo>
                <a:lnTo>
                  <a:pt x="576" y="386"/>
                </a:lnTo>
                <a:lnTo>
                  <a:pt x="574" y="386"/>
                </a:lnTo>
                <a:lnTo>
                  <a:pt x="574" y="383"/>
                </a:lnTo>
                <a:lnTo>
                  <a:pt x="571" y="386"/>
                </a:lnTo>
                <a:lnTo>
                  <a:pt x="574" y="386"/>
                </a:lnTo>
                <a:lnTo>
                  <a:pt x="574" y="378"/>
                </a:lnTo>
                <a:lnTo>
                  <a:pt x="574" y="372"/>
                </a:lnTo>
                <a:lnTo>
                  <a:pt x="574" y="372"/>
                </a:lnTo>
                <a:lnTo>
                  <a:pt x="576" y="367"/>
                </a:lnTo>
                <a:lnTo>
                  <a:pt x="576" y="364"/>
                </a:lnTo>
                <a:lnTo>
                  <a:pt x="576" y="364"/>
                </a:lnTo>
                <a:lnTo>
                  <a:pt x="576" y="362"/>
                </a:lnTo>
                <a:lnTo>
                  <a:pt x="579" y="359"/>
                </a:lnTo>
                <a:lnTo>
                  <a:pt x="579" y="359"/>
                </a:lnTo>
                <a:lnTo>
                  <a:pt x="576" y="356"/>
                </a:lnTo>
                <a:lnTo>
                  <a:pt x="576" y="354"/>
                </a:lnTo>
                <a:lnTo>
                  <a:pt x="574" y="354"/>
                </a:lnTo>
                <a:lnTo>
                  <a:pt x="571" y="354"/>
                </a:lnTo>
                <a:lnTo>
                  <a:pt x="568" y="354"/>
                </a:lnTo>
                <a:lnTo>
                  <a:pt x="566" y="351"/>
                </a:lnTo>
                <a:lnTo>
                  <a:pt x="566" y="351"/>
                </a:lnTo>
                <a:lnTo>
                  <a:pt x="563" y="348"/>
                </a:lnTo>
                <a:lnTo>
                  <a:pt x="563" y="346"/>
                </a:lnTo>
                <a:lnTo>
                  <a:pt x="563" y="340"/>
                </a:lnTo>
                <a:lnTo>
                  <a:pt x="563" y="337"/>
                </a:lnTo>
                <a:lnTo>
                  <a:pt x="560" y="335"/>
                </a:lnTo>
                <a:lnTo>
                  <a:pt x="560" y="335"/>
                </a:lnTo>
                <a:lnTo>
                  <a:pt x="560" y="335"/>
                </a:lnTo>
                <a:lnTo>
                  <a:pt x="555" y="332"/>
                </a:lnTo>
                <a:lnTo>
                  <a:pt x="555" y="332"/>
                </a:lnTo>
                <a:lnTo>
                  <a:pt x="552" y="329"/>
                </a:lnTo>
                <a:lnTo>
                  <a:pt x="552" y="329"/>
                </a:lnTo>
                <a:lnTo>
                  <a:pt x="549" y="329"/>
                </a:lnTo>
                <a:lnTo>
                  <a:pt x="544" y="329"/>
                </a:lnTo>
                <a:lnTo>
                  <a:pt x="541" y="329"/>
                </a:lnTo>
                <a:lnTo>
                  <a:pt x="541" y="329"/>
                </a:lnTo>
                <a:lnTo>
                  <a:pt x="541" y="324"/>
                </a:lnTo>
                <a:lnTo>
                  <a:pt x="541" y="321"/>
                </a:lnTo>
                <a:lnTo>
                  <a:pt x="544" y="319"/>
                </a:lnTo>
                <a:lnTo>
                  <a:pt x="541" y="319"/>
                </a:lnTo>
                <a:lnTo>
                  <a:pt x="541" y="319"/>
                </a:lnTo>
                <a:lnTo>
                  <a:pt x="541" y="319"/>
                </a:lnTo>
                <a:lnTo>
                  <a:pt x="541" y="319"/>
                </a:lnTo>
                <a:lnTo>
                  <a:pt x="544" y="316"/>
                </a:lnTo>
                <a:lnTo>
                  <a:pt x="544" y="316"/>
                </a:lnTo>
                <a:lnTo>
                  <a:pt x="544" y="313"/>
                </a:lnTo>
                <a:lnTo>
                  <a:pt x="541" y="311"/>
                </a:lnTo>
                <a:lnTo>
                  <a:pt x="541" y="311"/>
                </a:lnTo>
                <a:lnTo>
                  <a:pt x="541" y="308"/>
                </a:lnTo>
                <a:lnTo>
                  <a:pt x="544" y="308"/>
                </a:lnTo>
                <a:lnTo>
                  <a:pt x="544" y="308"/>
                </a:lnTo>
                <a:lnTo>
                  <a:pt x="544" y="308"/>
                </a:lnTo>
                <a:lnTo>
                  <a:pt x="555" y="292"/>
                </a:lnTo>
                <a:lnTo>
                  <a:pt x="557" y="292"/>
                </a:lnTo>
                <a:lnTo>
                  <a:pt x="560" y="292"/>
                </a:lnTo>
                <a:lnTo>
                  <a:pt x="560" y="289"/>
                </a:lnTo>
                <a:lnTo>
                  <a:pt x="560" y="289"/>
                </a:lnTo>
                <a:lnTo>
                  <a:pt x="557" y="289"/>
                </a:lnTo>
                <a:lnTo>
                  <a:pt x="555" y="289"/>
                </a:lnTo>
                <a:lnTo>
                  <a:pt x="552" y="289"/>
                </a:lnTo>
                <a:lnTo>
                  <a:pt x="552" y="289"/>
                </a:lnTo>
                <a:lnTo>
                  <a:pt x="547" y="284"/>
                </a:lnTo>
                <a:lnTo>
                  <a:pt x="544" y="284"/>
                </a:lnTo>
                <a:lnTo>
                  <a:pt x="541" y="284"/>
                </a:lnTo>
                <a:lnTo>
                  <a:pt x="539" y="284"/>
                </a:lnTo>
                <a:lnTo>
                  <a:pt x="536" y="287"/>
                </a:lnTo>
                <a:lnTo>
                  <a:pt x="533" y="287"/>
                </a:lnTo>
                <a:lnTo>
                  <a:pt x="531" y="284"/>
                </a:lnTo>
                <a:lnTo>
                  <a:pt x="528" y="281"/>
                </a:lnTo>
                <a:lnTo>
                  <a:pt x="525" y="281"/>
                </a:lnTo>
                <a:lnTo>
                  <a:pt x="520" y="278"/>
                </a:lnTo>
                <a:lnTo>
                  <a:pt x="520" y="276"/>
                </a:lnTo>
                <a:lnTo>
                  <a:pt x="517" y="273"/>
                </a:lnTo>
                <a:lnTo>
                  <a:pt x="520" y="265"/>
                </a:lnTo>
                <a:lnTo>
                  <a:pt x="517" y="252"/>
                </a:lnTo>
                <a:lnTo>
                  <a:pt x="517" y="249"/>
                </a:lnTo>
                <a:lnTo>
                  <a:pt x="517" y="249"/>
                </a:lnTo>
                <a:lnTo>
                  <a:pt x="517" y="246"/>
                </a:lnTo>
                <a:lnTo>
                  <a:pt x="517" y="241"/>
                </a:lnTo>
                <a:lnTo>
                  <a:pt x="517" y="241"/>
                </a:lnTo>
                <a:lnTo>
                  <a:pt x="515" y="238"/>
                </a:lnTo>
                <a:lnTo>
                  <a:pt x="515" y="238"/>
                </a:lnTo>
                <a:lnTo>
                  <a:pt x="515" y="236"/>
                </a:lnTo>
                <a:lnTo>
                  <a:pt x="517" y="230"/>
                </a:lnTo>
                <a:lnTo>
                  <a:pt x="520" y="230"/>
                </a:lnTo>
                <a:lnTo>
                  <a:pt x="520" y="227"/>
                </a:lnTo>
                <a:lnTo>
                  <a:pt x="520" y="227"/>
                </a:lnTo>
                <a:lnTo>
                  <a:pt x="520" y="225"/>
                </a:lnTo>
                <a:lnTo>
                  <a:pt x="517" y="225"/>
                </a:lnTo>
                <a:lnTo>
                  <a:pt x="517" y="222"/>
                </a:lnTo>
                <a:lnTo>
                  <a:pt x="517" y="222"/>
                </a:lnTo>
                <a:lnTo>
                  <a:pt x="517" y="219"/>
                </a:lnTo>
                <a:lnTo>
                  <a:pt x="515" y="217"/>
                </a:lnTo>
                <a:lnTo>
                  <a:pt x="515" y="219"/>
                </a:lnTo>
                <a:lnTo>
                  <a:pt x="512" y="217"/>
                </a:lnTo>
                <a:lnTo>
                  <a:pt x="512" y="214"/>
                </a:lnTo>
                <a:lnTo>
                  <a:pt x="512" y="209"/>
                </a:lnTo>
                <a:lnTo>
                  <a:pt x="512" y="206"/>
                </a:lnTo>
                <a:lnTo>
                  <a:pt x="512" y="206"/>
                </a:lnTo>
                <a:lnTo>
                  <a:pt x="515" y="206"/>
                </a:lnTo>
                <a:lnTo>
                  <a:pt x="512" y="203"/>
                </a:lnTo>
                <a:lnTo>
                  <a:pt x="512" y="201"/>
                </a:lnTo>
                <a:lnTo>
                  <a:pt x="512" y="198"/>
                </a:lnTo>
                <a:lnTo>
                  <a:pt x="512" y="195"/>
                </a:lnTo>
                <a:lnTo>
                  <a:pt x="509" y="193"/>
                </a:lnTo>
                <a:lnTo>
                  <a:pt x="509" y="190"/>
                </a:lnTo>
                <a:lnTo>
                  <a:pt x="507" y="190"/>
                </a:lnTo>
                <a:lnTo>
                  <a:pt x="507" y="187"/>
                </a:lnTo>
                <a:lnTo>
                  <a:pt x="507" y="185"/>
                </a:lnTo>
                <a:lnTo>
                  <a:pt x="507" y="185"/>
                </a:lnTo>
                <a:lnTo>
                  <a:pt x="504" y="182"/>
                </a:lnTo>
                <a:lnTo>
                  <a:pt x="501" y="185"/>
                </a:lnTo>
                <a:lnTo>
                  <a:pt x="499" y="185"/>
                </a:lnTo>
                <a:lnTo>
                  <a:pt x="499" y="187"/>
                </a:lnTo>
                <a:lnTo>
                  <a:pt x="499" y="185"/>
                </a:lnTo>
                <a:lnTo>
                  <a:pt x="499" y="182"/>
                </a:lnTo>
                <a:lnTo>
                  <a:pt x="499" y="179"/>
                </a:lnTo>
                <a:lnTo>
                  <a:pt x="496" y="179"/>
                </a:lnTo>
                <a:lnTo>
                  <a:pt x="496" y="179"/>
                </a:lnTo>
                <a:lnTo>
                  <a:pt x="496" y="179"/>
                </a:lnTo>
                <a:lnTo>
                  <a:pt x="493" y="174"/>
                </a:lnTo>
                <a:lnTo>
                  <a:pt x="493" y="171"/>
                </a:lnTo>
                <a:lnTo>
                  <a:pt x="490" y="171"/>
                </a:lnTo>
                <a:lnTo>
                  <a:pt x="488" y="174"/>
                </a:lnTo>
                <a:lnTo>
                  <a:pt x="485" y="174"/>
                </a:lnTo>
                <a:lnTo>
                  <a:pt x="485" y="177"/>
                </a:lnTo>
                <a:lnTo>
                  <a:pt x="485" y="179"/>
                </a:lnTo>
                <a:lnTo>
                  <a:pt x="482" y="179"/>
                </a:lnTo>
                <a:lnTo>
                  <a:pt x="480" y="182"/>
                </a:lnTo>
                <a:lnTo>
                  <a:pt x="482" y="179"/>
                </a:lnTo>
                <a:lnTo>
                  <a:pt x="482" y="177"/>
                </a:lnTo>
                <a:lnTo>
                  <a:pt x="482" y="174"/>
                </a:lnTo>
                <a:lnTo>
                  <a:pt x="482" y="171"/>
                </a:lnTo>
                <a:lnTo>
                  <a:pt x="482" y="171"/>
                </a:lnTo>
                <a:lnTo>
                  <a:pt x="485" y="168"/>
                </a:lnTo>
                <a:lnTo>
                  <a:pt x="485" y="168"/>
                </a:lnTo>
                <a:lnTo>
                  <a:pt x="485" y="168"/>
                </a:lnTo>
                <a:lnTo>
                  <a:pt x="488" y="166"/>
                </a:lnTo>
                <a:lnTo>
                  <a:pt x="488" y="166"/>
                </a:lnTo>
                <a:lnTo>
                  <a:pt x="488" y="163"/>
                </a:lnTo>
                <a:lnTo>
                  <a:pt x="490" y="163"/>
                </a:lnTo>
                <a:lnTo>
                  <a:pt x="490" y="163"/>
                </a:lnTo>
                <a:lnTo>
                  <a:pt x="490" y="163"/>
                </a:lnTo>
                <a:lnTo>
                  <a:pt x="493" y="160"/>
                </a:lnTo>
                <a:lnTo>
                  <a:pt x="493" y="160"/>
                </a:lnTo>
                <a:lnTo>
                  <a:pt x="493" y="160"/>
                </a:lnTo>
                <a:lnTo>
                  <a:pt x="490" y="158"/>
                </a:lnTo>
                <a:lnTo>
                  <a:pt x="488" y="155"/>
                </a:lnTo>
                <a:lnTo>
                  <a:pt x="485" y="155"/>
                </a:lnTo>
                <a:lnTo>
                  <a:pt x="485" y="155"/>
                </a:lnTo>
                <a:lnTo>
                  <a:pt x="485" y="155"/>
                </a:lnTo>
                <a:lnTo>
                  <a:pt x="485" y="152"/>
                </a:lnTo>
                <a:lnTo>
                  <a:pt x="485" y="152"/>
                </a:lnTo>
                <a:lnTo>
                  <a:pt x="485" y="152"/>
                </a:lnTo>
                <a:lnTo>
                  <a:pt x="485" y="152"/>
                </a:lnTo>
                <a:lnTo>
                  <a:pt x="485" y="155"/>
                </a:lnTo>
                <a:lnTo>
                  <a:pt x="482" y="155"/>
                </a:lnTo>
                <a:lnTo>
                  <a:pt x="482" y="155"/>
                </a:lnTo>
                <a:lnTo>
                  <a:pt x="482" y="155"/>
                </a:lnTo>
                <a:lnTo>
                  <a:pt x="480" y="155"/>
                </a:lnTo>
                <a:lnTo>
                  <a:pt x="477" y="155"/>
                </a:lnTo>
                <a:lnTo>
                  <a:pt x="474" y="155"/>
                </a:lnTo>
                <a:lnTo>
                  <a:pt x="474" y="158"/>
                </a:lnTo>
                <a:lnTo>
                  <a:pt x="472" y="160"/>
                </a:lnTo>
                <a:lnTo>
                  <a:pt x="472" y="163"/>
                </a:lnTo>
                <a:lnTo>
                  <a:pt x="469" y="166"/>
                </a:lnTo>
                <a:lnTo>
                  <a:pt x="469" y="168"/>
                </a:lnTo>
                <a:lnTo>
                  <a:pt x="466" y="171"/>
                </a:lnTo>
                <a:lnTo>
                  <a:pt x="464" y="174"/>
                </a:lnTo>
                <a:lnTo>
                  <a:pt x="461" y="177"/>
                </a:lnTo>
                <a:lnTo>
                  <a:pt x="458" y="177"/>
                </a:lnTo>
                <a:lnTo>
                  <a:pt x="456" y="177"/>
                </a:lnTo>
                <a:lnTo>
                  <a:pt x="456" y="177"/>
                </a:lnTo>
                <a:lnTo>
                  <a:pt x="453" y="177"/>
                </a:lnTo>
                <a:lnTo>
                  <a:pt x="450" y="179"/>
                </a:lnTo>
                <a:lnTo>
                  <a:pt x="450" y="179"/>
                </a:lnTo>
                <a:lnTo>
                  <a:pt x="445" y="179"/>
                </a:lnTo>
                <a:lnTo>
                  <a:pt x="442" y="182"/>
                </a:lnTo>
                <a:lnTo>
                  <a:pt x="442" y="185"/>
                </a:lnTo>
                <a:lnTo>
                  <a:pt x="445" y="193"/>
                </a:lnTo>
                <a:lnTo>
                  <a:pt x="445" y="203"/>
                </a:lnTo>
                <a:lnTo>
                  <a:pt x="442" y="206"/>
                </a:lnTo>
                <a:lnTo>
                  <a:pt x="442" y="209"/>
                </a:lnTo>
                <a:lnTo>
                  <a:pt x="442" y="211"/>
                </a:lnTo>
                <a:lnTo>
                  <a:pt x="442" y="214"/>
                </a:lnTo>
                <a:lnTo>
                  <a:pt x="442" y="219"/>
                </a:lnTo>
                <a:lnTo>
                  <a:pt x="442" y="222"/>
                </a:lnTo>
                <a:lnTo>
                  <a:pt x="429" y="262"/>
                </a:lnTo>
                <a:lnTo>
                  <a:pt x="429" y="265"/>
                </a:lnTo>
                <a:lnTo>
                  <a:pt x="429" y="265"/>
                </a:lnTo>
                <a:lnTo>
                  <a:pt x="429" y="268"/>
                </a:lnTo>
                <a:lnTo>
                  <a:pt x="423" y="273"/>
                </a:lnTo>
                <a:lnTo>
                  <a:pt x="421" y="281"/>
                </a:lnTo>
                <a:lnTo>
                  <a:pt x="421" y="287"/>
                </a:lnTo>
                <a:lnTo>
                  <a:pt x="421" y="289"/>
                </a:lnTo>
                <a:lnTo>
                  <a:pt x="423" y="292"/>
                </a:lnTo>
                <a:lnTo>
                  <a:pt x="423" y="292"/>
                </a:lnTo>
                <a:lnTo>
                  <a:pt x="423" y="292"/>
                </a:lnTo>
                <a:lnTo>
                  <a:pt x="426" y="292"/>
                </a:lnTo>
                <a:lnTo>
                  <a:pt x="426" y="292"/>
                </a:lnTo>
                <a:lnTo>
                  <a:pt x="429" y="295"/>
                </a:lnTo>
                <a:lnTo>
                  <a:pt x="429" y="297"/>
                </a:lnTo>
                <a:lnTo>
                  <a:pt x="432" y="297"/>
                </a:lnTo>
                <a:lnTo>
                  <a:pt x="429" y="300"/>
                </a:lnTo>
                <a:lnTo>
                  <a:pt x="423" y="297"/>
                </a:lnTo>
                <a:lnTo>
                  <a:pt x="423" y="297"/>
                </a:lnTo>
                <a:lnTo>
                  <a:pt x="421" y="297"/>
                </a:lnTo>
                <a:lnTo>
                  <a:pt x="418" y="305"/>
                </a:lnTo>
                <a:lnTo>
                  <a:pt x="418" y="303"/>
                </a:lnTo>
                <a:lnTo>
                  <a:pt x="418" y="300"/>
                </a:lnTo>
                <a:lnTo>
                  <a:pt x="415" y="295"/>
                </a:lnTo>
                <a:lnTo>
                  <a:pt x="415" y="292"/>
                </a:lnTo>
                <a:lnTo>
                  <a:pt x="415" y="289"/>
                </a:lnTo>
                <a:lnTo>
                  <a:pt x="418" y="289"/>
                </a:lnTo>
                <a:lnTo>
                  <a:pt x="413" y="289"/>
                </a:lnTo>
                <a:lnTo>
                  <a:pt x="410" y="295"/>
                </a:lnTo>
                <a:lnTo>
                  <a:pt x="405" y="300"/>
                </a:lnTo>
                <a:lnTo>
                  <a:pt x="405" y="305"/>
                </a:lnTo>
                <a:lnTo>
                  <a:pt x="402" y="311"/>
                </a:lnTo>
                <a:lnTo>
                  <a:pt x="402" y="313"/>
                </a:lnTo>
                <a:lnTo>
                  <a:pt x="399" y="316"/>
                </a:lnTo>
                <a:lnTo>
                  <a:pt x="402" y="316"/>
                </a:lnTo>
                <a:lnTo>
                  <a:pt x="402" y="316"/>
                </a:lnTo>
                <a:lnTo>
                  <a:pt x="402" y="316"/>
                </a:lnTo>
                <a:lnTo>
                  <a:pt x="405" y="316"/>
                </a:lnTo>
                <a:lnTo>
                  <a:pt x="405" y="313"/>
                </a:lnTo>
                <a:lnTo>
                  <a:pt x="405" y="313"/>
                </a:lnTo>
                <a:lnTo>
                  <a:pt x="405" y="316"/>
                </a:lnTo>
                <a:lnTo>
                  <a:pt x="405" y="316"/>
                </a:lnTo>
                <a:lnTo>
                  <a:pt x="405" y="319"/>
                </a:lnTo>
                <a:lnTo>
                  <a:pt x="407" y="319"/>
                </a:lnTo>
                <a:lnTo>
                  <a:pt x="405" y="319"/>
                </a:lnTo>
                <a:lnTo>
                  <a:pt x="405" y="319"/>
                </a:lnTo>
                <a:lnTo>
                  <a:pt x="402" y="319"/>
                </a:lnTo>
                <a:lnTo>
                  <a:pt x="399" y="319"/>
                </a:lnTo>
                <a:lnTo>
                  <a:pt x="397" y="319"/>
                </a:lnTo>
                <a:lnTo>
                  <a:pt x="397" y="319"/>
                </a:lnTo>
                <a:lnTo>
                  <a:pt x="394" y="327"/>
                </a:lnTo>
                <a:lnTo>
                  <a:pt x="383" y="348"/>
                </a:lnTo>
                <a:lnTo>
                  <a:pt x="383" y="351"/>
                </a:lnTo>
                <a:lnTo>
                  <a:pt x="383" y="354"/>
                </a:lnTo>
                <a:lnTo>
                  <a:pt x="386" y="354"/>
                </a:lnTo>
                <a:lnTo>
                  <a:pt x="391" y="351"/>
                </a:lnTo>
                <a:lnTo>
                  <a:pt x="394" y="351"/>
                </a:lnTo>
                <a:lnTo>
                  <a:pt x="394" y="351"/>
                </a:lnTo>
                <a:lnTo>
                  <a:pt x="394" y="351"/>
                </a:lnTo>
                <a:lnTo>
                  <a:pt x="394" y="351"/>
                </a:lnTo>
                <a:lnTo>
                  <a:pt x="391" y="348"/>
                </a:lnTo>
                <a:lnTo>
                  <a:pt x="391" y="348"/>
                </a:lnTo>
                <a:lnTo>
                  <a:pt x="391" y="343"/>
                </a:lnTo>
                <a:lnTo>
                  <a:pt x="391" y="340"/>
                </a:lnTo>
                <a:lnTo>
                  <a:pt x="391" y="340"/>
                </a:lnTo>
                <a:lnTo>
                  <a:pt x="391" y="340"/>
                </a:lnTo>
                <a:lnTo>
                  <a:pt x="391" y="340"/>
                </a:lnTo>
                <a:lnTo>
                  <a:pt x="391" y="340"/>
                </a:lnTo>
                <a:lnTo>
                  <a:pt x="394" y="343"/>
                </a:lnTo>
                <a:lnTo>
                  <a:pt x="394" y="343"/>
                </a:lnTo>
                <a:lnTo>
                  <a:pt x="399" y="343"/>
                </a:lnTo>
                <a:lnTo>
                  <a:pt x="399" y="343"/>
                </a:lnTo>
                <a:lnTo>
                  <a:pt x="399" y="343"/>
                </a:lnTo>
                <a:lnTo>
                  <a:pt x="394" y="346"/>
                </a:lnTo>
                <a:lnTo>
                  <a:pt x="399" y="348"/>
                </a:lnTo>
                <a:lnTo>
                  <a:pt x="399" y="348"/>
                </a:lnTo>
                <a:lnTo>
                  <a:pt x="402" y="351"/>
                </a:lnTo>
                <a:lnTo>
                  <a:pt x="402" y="354"/>
                </a:lnTo>
                <a:lnTo>
                  <a:pt x="405" y="354"/>
                </a:lnTo>
                <a:lnTo>
                  <a:pt x="405" y="356"/>
                </a:lnTo>
                <a:lnTo>
                  <a:pt x="407" y="356"/>
                </a:lnTo>
                <a:lnTo>
                  <a:pt x="410" y="356"/>
                </a:lnTo>
                <a:lnTo>
                  <a:pt x="413" y="356"/>
                </a:lnTo>
                <a:lnTo>
                  <a:pt x="415" y="354"/>
                </a:lnTo>
                <a:lnTo>
                  <a:pt x="415" y="356"/>
                </a:lnTo>
                <a:lnTo>
                  <a:pt x="418" y="354"/>
                </a:lnTo>
                <a:lnTo>
                  <a:pt x="421" y="354"/>
                </a:lnTo>
                <a:lnTo>
                  <a:pt x="421" y="354"/>
                </a:lnTo>
                <a:lnTo>
                  <a:pt x="423" y="356"/>
                </a:lnTo>
                <a:lnTo>
                  <a:pt x="421" y="356"/>
                </a:lnTo>
                <a:lnTo>
                  <a:pt x="421" y="356"/>
                </a:lnTo>
                <a:lnTo>
                  <a:pt x="418" y="356"/>
                </a:lnTo>
                <a:lnTo>
                  <a:pt x="418" y="356"/>
                </a:lnTo>
                <a:lnTo>
                  <a:pt x="415" y="356"/>
                </a:lnTo>
                <a:lnTo>
                  <a:pt x="413" y="359"/>
                </a:lnTo>
                <a:lnTo>
                  <a:pt x="410" y="362"/>
                </a:lnTo>
                <a:lnTo>
                  <a:pt x="407" y="362"/>
                </a:lnTo>
                <a:lnTo>
                  <a:pt x="410" y="364"/>
                </a:lnTo>
                <a:lnTo>
                  <a:pt x="415" y="364"/>
                </a:lnTo>
                <a:lnTo>
                  <a:pt x="415" y="367"/>
                </a:lnTo>
                <a:lnTo>
                  <a:pt x="418" y="367"/>
                </a:lnTo>
                <a:lnTo>
                  <a:pt x="418" y="370"/>
                </a:lnTo>
                <a:lnTo>
                  <a:pt x="421" y="370"/>
                </a:lnTo>
                <a:lnTo>
                  <a:pt x="426" y="370"/>
                </a:lnTo>
                <a:lnTo>
                  <a:pt x="429" y="370"/>
                </a:lnTo>
                <a:lnTo>
                  <a:pt x="426" y="372"/>
                </a:lnTo>
                <a:lnTo>
                  <a:pt x="418" y="375"/>
                </a:lnTo>
                <a:lnTo>
                  <a:pt x="418" y="375"/>
                </a:lnTo>
                <a:lnTo>
                  <a:pt x="418" y="380"/>
                </a:lnTo>
                <a:lnTo>
                  <a:pt x="421" y="383"/>
                </a:lnTo>
                <a:lnTo>
                  <a:pt x="421" y="386"/>
                </a:lnTo>
                <a:lnTo>
                  <a:pt x="421" y="388"/>
                </a:lnTo>
                <a:lnTo>
                  <a:pt x="421" y="391"/>
                </a:lnTo>
                <a:lnTo>
                  <a:pt x="418" y="386"/>
                </a:lnTo>
                <a:lnTo>
                  <a:pt x="415" y="383"/>
                </a:lnTo>
                <a:lnTo>
                  <a:pt x="415" y="383"/>
                </a:lnTo>
                <a:lnTo>
                  <a:pt x="415" y="380"/>
                </a:lnTo>
                <a:lnTo>
                  <a:pt x="415" y="375"/>
                </a:lnTo>
                <a:lnTo>
                  <a:pt x="415" y="370"/>
                </a:lnTo>
                <a:lnTo>
                  <a:pt x="413" y="367"/>
                </a:lnTo>
                <a:lnTo>
                  <a:pt x="410" y="367"/>
                </a:lnTo>
                <a:lnTo>
                  <a:pt x="410" y="364"/>
                </a:lnTo>
                <a:lnTo>
                  <a:pt x="407" y="367"/>
                </a:lnTo>
                <a:lnTo>
                  <a:pt x="407" y="367"/>
                </a:lnTo>
                <a:lnTo>
                  <a:pt x="407" y="364"/>
                </a:lnTo>
                <a:lnTo>
                  <a:pt x="407" y="364"/>
                </a:lnTo>
                <a:lnTo>
                  <a:pt x="407" y="364"/>
                </a:lnTo>
                <a:lnTo>
                  <a:pt x="405" y="364"/>
                </a:lnTo>
                <a:lnTo>
                  <a:pt x="405" y="367"/>
                </a:lnTo>
                <a:lnTo>
                  <a:pt x="405" y="370"/>
                </a:lnTo>
                <a:lnTo>
                  <a:pt x="402" y="378"/>
                </a:lnTo>
                <a:lnTo>
                  <a:pt x="402" y="378"/>
                </a:lnTo>
                <a:lnTo>
                  <a:pt x="402" y="380"/>
                </a:lnTo>
                <a:lnTo>
                  <a:pt x="399" y="383"/>
                </a:lnTo>
                <a:lnTo>
                  <a:pt x="397" y="386"/>
                </a:lnTo>
                <a:lnTo>
                  <a:pt x="394" y="388"/>
                </a:lnTo>
                <a:lnTo>
                  <a:pt x="391" y="388"/>
                </a:lnTo>
                <a:lnTo>
                  <a:pt x="389" y="391"/>
                </a:lnTo>
                <a:lnTo>
                  <a:pt x="389" y="388"/>
                </a:lnTo>
                <a:lnTo>
                  <a:pt x="389" y="391"/>
                </a:lnTo>
                <a:lnTo>
                  <a:pt x="386" y="391"/>
                </a:lnTo>
                <a:lnTo>
                  <a:pt x="386" y="394"/>
                </a:lnTo>
                <a:lnTo>
                  <a:pt x="383" y="396"/>
                </a:lnTo>
                <a:lnTo>
                  <a:pt x="383" y="399"/>
                </a:lnTo>
                <a:lnTo>
                  <a:pt x="383" y="399"/>
                </a:lnTo>
                <a:lnTo>
                  <a:pt x="383" y="399"/>
                </a:lnTo>
                <a:lnTo>
                  <a:pt x="383" y="399"/>
                </a:lnTo>
                <a:lnTo>
                  <a:pt x="386" y="399"/>
                </a:lnTo>
                <a:lnTo>
                  <a:pt x="386" y="405"/>
                </a:lnTo>
                <a:lnTo>
                  <a:pt x="386" y="413"/>
                </a:lnTo>
                <a:lnTo>
                  <a:pt x="386" y="415"/>
                </a:lnTo>
                <a:lnTo>
                  <a:pt x="389" y="418"/>
                </a:lnTo>
                <a:lnTo>
                  <a:pt x="389" y="418"/>
                </a:lnTo>
                <a:lnTo>
                  <a:pt x="389" y="418"/>
                </a:lnTo>
                <a:lnTo>
                  <a:pt x="391" y="421"/>
                </a:lnTo>
                <a:lnTo>
                  <a:pt x="391" y="421"/>
                </a:lnTo>
                <a:lnTo>
                  <a:pt x="391" y="421"/>
                </a:lnTo>
                <a:lnTo>
                  <a:pt x="391" y="421"/>
                </a:lnTo>
                <a:lnTo>
                  <a:pt x="394" y="423"/>
                </a:lnTo>
                <a:lnTo>
                  <a:pt x="394" y="423"/>
                </a:lnTo>
                <a:lnTo>
                  <a:pt x="394" y="423"/>
                </a:lnTo>
                <a:lnTo>
                  <a:pt x="394" y="423"/>
                </a:lnTo>
                <a:lnTo>
                  <a:pt x="394" y="426"/>
                </a:lnTo>
                <a:lnTo>
                  <a:pt x="394" y="426"/>
                </a:lnTo>
                <a:lnTo>
                  <a:pt x="394" y="429"/>
                </a:lnTo>
                <a:lnTo>
                  <a:pt x="394" y="429"/>
                </a:lnTo>
                <a:lnTo>
                  <a:pt x="394" y="431"/>
                </a:lnTo>
                <a:lnTo>
                  <a:pt x="391" y="431"/>
                </a:lnTo>
                <a:lnTo>
                  <a:pt x="391" y="434"/>
                </a:lnTo>
                <a:lnTo>
                  <a:pt x="391" y="434"/>
                </a:lnTo>
                <a:lnTo>
                  <a:pt x="391" y="437"/>
                </a:lnTo>
                <a:lnTo>
                  <a:pt x="391" y="437"/>
                </a:lnTo>
                <a:lnTo>
                  <a:pt x="391" y="437"/>
                </a:lnTo>
                <a:lnTo>
                  <a:pt x="389" y="437"/>
                </a:lnTo>
                <a:lnTo>
                  <a:pt x="389" y="437"/>
                </a:lnTo>
                <a:lnTo>
                  <a:pt x="386" y="439"/>
                </a:lnTo>
                <a:lnTo>
                  <a:pt x="383" y="447"/>
                </a:lnTo>
                <a:lnTo>
                  <a:pt x="383" y="447"/>
                </a:lnTo>
                <a:lnTo>
                  <a:pt x="381" y="453"/>
                </a:lnTo>
                <a:lnTo>
                  <a:pt x="381" y="453"/>
                </a:lnTo>
                <a:lnTo>
                  <a:pt x="378" y="455"/>
                </a:lnTo>
                <a:lnTo>
                  <a:pt x="375" y="461"/>
                </a:lnTo>
                <a:lnTo>
                  <a:pt x="370" y="482"/>
                </a:lnTo>
                <a:lnTo>
                  <a:pt x="370" y="493"/>
                </a:lnTo>
                <a:lnTo>
                  <a:pt x="373" y="501"/>
                </a:lnTo>
                <a:lnTo>
                  <a:pt x="378" y="509"/>
                </a:lnTo>
                <a:lnTo>
                  <a:pt x="381" y="512"/>
                </a:lnTo>
                <a:lnTo>
                  <a:pt x="383" y="514"/>
                </a:lnTo>
                <a:lnTo>
                  <a:pt x="383" y="520"/>
                </a:lnTo>
                <a:lnTo>
                  <a:pt x="386" y="523"/>
                </a:lnTo>
                <a:lnTo>
                  <a:pt x="383" y="528"/>
                </a:lnTo>
                <a:lnTo>
                  <a:pt x="383" y="533"/>
                </a:lnTo>
                <a:lnTo>
                  <a:pt x="378" y="549"/>
                </a:lnTo>
                <a:lnTo>
                  <a:pt x="375" y="552"/>
                </a:lnTo>
                <a:lnTo>
                  <a:pt x="375" y="557"/>
                </a:lnTo>
                <a:lnTo>
                  <a:pt x="375" y="560"/>
                </a:lnTo>
                <a:lnTo>
                  <a:pt x="378" y="563"/>
                </a:lnTo>
                <a:lnTo>
                  <a:pt x="378" y="565"/>
                </a:lnTo>
                <a:lnTo>
                  <a:pt x="378" y="573"/>
                </a:lnTo>
                <a:lnTo>
                  <a:pt x="386" y="600"/>
                </a:lnTo>
                <a:lnTo>
                  <a:pt x="386" y="603"/>
                </a:lnTo>
                <a:lnTo>
                  <a:pt x="389" y="606"/>
                </a:lnTo>
                <a:lnTo>
                  <a:pt x="389" y="606"/>
                </a:lnTo>
                <a:lnTo>
                  <a:pt x="389" y="606"/>
                </a:lnTo>
                <a:lnTo>
                  <a:pt x="389" y="608"/>
                </a:lnTo>
                <a:lnTo>
                  <a:pt x="391" y="611"/>
                </a:lnTo>
                <a:lnTo>
                  <a:pt x="391" y="611"/>
                </a:lnTo>
                <a:lnTo>
                  <a:pt x="391" y="614"/>
                </a:lnTo>
                <a:lnTo>
                  <a:pt x="391" y="616"/>
                </a:lnTo>
                <a:lnTo>
                  <a:pt x="391" y="619"/>
                </a:lnTo>
                <a:lnTo>
                  <a:pt x="391" y="622"/>
                </a:lnTo>
                <a:lnTo>
                  <a:pt x="391" y="622"/>
                </a:lnTo>
                <a:lnTo>
                  <a:pt x="389" y="622"/>
                </a:lnTo>
                <a:lnTo>
                  <a:pt x="389" y="624"/>
                </a:lnTo>
                <a:lnTo>
                  <a:pt x="389" y="627"/>
                </a:lnTo>
                <a:lnTo>
                  <a:pt x="389" y="627"/>
                </a:lnTo>
                <a:lnTo>
                  <a:pt x="386" y="630"/>
                </a:lnTo>
                <a:lnTo>
                  <a:pt x="386" y="630"/>
                </a:lnTo>
                <a:lnTo>
                  <a:pt x="383" y="633"/>
                </a:lnTo>
                <a:lnTo>
                  <a:pt x="386" y="635"/>
                </a:lnTo>
                <a:lnTo>
                  <a:pt x="383" y="635"/>
                </a:lnTo>
                <a:lnTo>
                  <a:pt x="383" y="635"/>
                </a:lnTo>
                <a:lnTo>
                  <a:pt x="383" y="638"/>
                </a:lnTo>
                <a:lnTo>
                  <a:pt x="381" y="643"/>
                </a:lnTo>
                <a:lnTo>
                  <a:pt x="381" y="643"/>
                </a:lnTo>
                <a:lnTo>
                  <a:pt x="373" y="665"/>
                </a:lnTo>
                <a:lnTo>
                  <a:pt x="367" y="683"/>
                </a:lnTo>
                <a:lnTo>
                  <a:pt x="365" y="705"/>
                </a:lnTo>
                <a:lnTo>
                  <a:pt x="365" y="708"/>
                </a:lnTo>
                <a:lnTo>
                  <a:pt x="365" y="710"/>
                </a:lnTo>
                <a:lnTo>
                  <a:pt x="362" y="710"/>
                </a:lnTo>
                <a:lnTo>
                  <a:pt x="362" y="713"/>
                </a:lnTo>
                <a:lnTo>
                  <a:pt x="362" y="713"/>
                </a:lnTo>
                <a:lnTo>
                  <a:pt x="365" y="724"/>
                </a:lnTo>
                <a:lnTo>
                  <a:pt x="367" y="726"/>
                </a:lnTo>
                <a:lnTo>
                  <a:pt x="365" y="729"/>
                </a:lnTo>
                <a:lnTo>
                  <a:pt x="359" y="740"/>
                </a:lnTo>
                <a:lnTo>
                  <a:pt x="359" y="740"/>
                </a:lnTo>
                <a:lnTo>
                  <a:pt x="359" y="742"/>
                </a:lnTo>
                <a:lnTo>
                  <a:pt x="356" y="742"/>
                </a:lnTo>
                <a:lnTo>
                  <a:pt x="356" y="748"/>
                </a:lnTo>
                <a:lnTo>
                  <a:pt x="356" y="751"/>
                </a:lnTo>
                <a:lnTo>
                  <a:pt x="356" y="753"/>
                </a:lnTo>
                <a:lnTo>
                  <a:pt x="354" y="756"/>
                </a:lnTo>
                <a:lnTo>
                  <a:pt x="354" y="759"/>
                </a:lnTo>
                <a:lnTo>
                  <a:pt x="351" y="761"/>
                </a:lnTo>
                <a:lnTo>
                  <a:pt x="351" y="761"/>
                </a:lnTo>
                <a:lnTo>
                  <a:pt x="351" y="764"/>
                </a:lnTo>
                <a:lnTo>
                  <a:pt x="351" y="767"/>
                </a:lnTo>
                <a:lnTo>
                  <a:pt x="351" y="767"/>
                </a:lnTo>
                <a:lnTo>
                  <a:pt x="354" y="767"/>
                </a:lnTo>
                <a:lnTo>
                  <a:pt x="354" y="769"/>
                </a:lnTo>
                <a:lnTo>
                  <a:pt x="351" y="769"/>
                </a:lnTo>
                <a:lnTo>
                  <a:pt x="351" y="772"/>
                </a:lnTo>
                <a:lnTo>
                  <a:pt x="351" y="775"/>
                </a:lnTo>
                <a:lnTo>
                  <a:pt x="348" y="780"/>
                </a:lnTo>
                <a:lnTo>
                  <a:pt x="346" y="780"/>
                </a:lnTo>
                <a:lnTo>
                  <a:pt x="346" y="780"/>
                </a:lnTo>
                <a:lnTo>
                  <a:pt x="343" y="788"/>
                </a:lnTo>
                <a:lnTo>
                  <a:pt x="343" y="791"/>
                </a:lnTo>
                <a:lnTo>
                  <a:pt x="343" y="793"/>
                </a:lnTo>
                <a:lnTo>
                  <a:pt x="340" y="793"/>
                </a:lnTo>
                <a:lnTo>
                  <a:pt x="335" y="801"/>
                </a:lnTo>
                <a:lnTo>
                  <a:pt x="332" y="804"/>
                </a:lnTo>
                <a:lnTo>
                  <a:pt x="332" y="804"/>
                </a:lnTo>
                <a:lnTo>
                  <a:pt x="332" y="804"/>
                </a:lnTo>
                <a:lnTo>
                  <a:pt x="330" y="804"/>
                </a:lnTo>
                <a:lnTo>
                  <a:pt x="330" y="804"/>
                </a:lnTo>
                <a:lnTo>
                  <a:pt x="327" y="815"/>
                </a:lnTo>
                <a:lnTo>
                  <a:pt x="316" y="826"/>
                </a:lnTo>
                <a:lnTo>
                  <a:pt x="314" y="828"/>
                </a:lnTo>
                <a:lnTo>
                  <a:pt x="316" y="831"/>
                </a:lnTo>
                <a:lnTo>
                  <a:pt x="316" y="831"/>
                </a:lnTo>
                <a:lnTo>
                  <a:pt x="316" y="834"/>
                </a:lnTo>
                <a:lnTo>
                  <a:pt x="316" y="842"/>
                </a:lnTo>
                <a:lnTo>
                  <a:pt x="314" y="842"/>
                </a:lnTo>
                <a:lnTo>
                  <a:pt x="314" y="844"/>
                </a:lnTo>
                <a:lnTo>
                  <a:pt x="314" y="847"/>
                </a:lnTo>
                <a:lnTo>
                  <a:pt x="311" y="850"/>
                </a:lnTo>
                <a:lnTo>
                  <a:pt x="311" y="850"/>
                </a:lnTo>
                <a:lnTo>
                  <a:pt x="308" y="855"/>
                </a:lnTo>
                <a:lnTo>
                  <a:pt x="308" y="863"/>
                </a:lnTo>
                <a:lnTo>
                  <a:pt x="306" y="871"/>
                </a:lnTo>
                <a:lnTo>
                  <a:pt x="303" y="874"/>
                </a:lnTo>
                <a:lnTo>
                  <a:pt x="303" y="874"/>
                </a:lnTo>
                <a:lnTo>
                  <a:pt x="300" y="874"/>
                </a:lnTo>
                <a:lnTo>
                  <a:pt x="298" y="874"/>
                </a:lnTo>
                <a:lnTo>
                  <a:pt x="295" y="877"/>
                </a:lnTo>
                <a:lnTo>
                  <a:pt x="295" y="877"/>
                </a:lnTo>
                <a:lnTo>
                  <a:pt x="292" y="879"/>
                </a:lnTo>
                <a:lnTo>
                  <a:pt x="292" y="879"/>
                </a:lnTo>
                <a:lnTo>
                  <a:pt x="292" y="882"/>
                </a:lnTo>
                <a:lnTo>
                  <a:pt x="287" y="882"/>
                </a:lnTo>
                <a:lnTo>
                  <a:pt x="287" y="882"/>
                </a:lnTo>
                <a:lnTo>
                  <a:pt x="281" y="887"/>
                </a:lnTo>
                <a:lnTo>
                  <a:pt x="279" y="887"/>
                </a:lnTo>
                <a:lnTo>
                  <a:pt x="279" y="887"/>
                </a:lnTo>
                <a:lnTo>
                  <a:pt x="279" y="890"/>
                </a:lnTo>
                <a:lnTo>
                  <a:pt x="276" y="890"/>
                </a:lnTo>
                <a:lnTo>
                  <a:pt x="273" y="890"/>
                </a:lnTo>
                <a:lnTo>
                  <a:pt x="271" y="893"/>
                </a:lnTo>
                <a:lnTo>
                  <a:pt x="271" y="893"/>
                </a:lnTo>
                <a:lnTo>
                  <a:pt x="268" y="895"/>
                </a:lnTo>
                <a:lnTo>
                  <a:pt x="263" y="895"/>
                </a:lnTo>
                <a:lnTo>
                  <a:pt x="260" y="895"/>
                </a:lnTo>
                <a:lnTo>
                  <a:pt x="260" y="895"/>
                </a:lnTo>
                <a:lnTo>
                  <a:pt x="260" y="895"/>
                </a:lnTo>
                <a:lnTo>
                  <a:pt x="257" y="898"/>
                </a:lnTo>
                <a:lnTo>
                  <a:pt x="239" y="901"/>
                </a:lnTo>
                <a:lnTo>
                  <a:pt x="225" y="903"/>
                </a:lnTo>
                <a:lnTo>
                  <a:pt x="214" y="901"/>
                </a:lnTo>
                <a:lnTo>
                  <a:pt x="212" y="901"/>
                </a:lnTo>
                <a:lnTo>
                  <a:pt x="209" y="898"/>
                </a:lnTo>
                <a:lnTo>
                  <a:pt x="206" y="893"/>
                </a:lnTo>
                <a:lnTo>
                  <a:pt x="206" y="893"/>
                </a:lnTo>
                <a:lnTo>
                  <a:pt x="196" y="890"/>
                </a:lnTo>
                <a:lnTo>
                  <a:pt x="196" y="887"/>
                </a:lnTo>
                <a:lnTo>
                  <a:pt x="193" y="887"/>
                </a:lnTo>
                <a:lnTo>
                  <a:pt x="190" y="887"/>
                </a:lnTo>
                <a:lnTo>
                  <a:pt x="182" y="885"/>
                </a:lnTo>
                <a:lnTo>
                  <a:pt x="180" y="885"/>
                </a:lnTo>
                <a:lnTo>
                  <a:pt x="177" y="882"/>
                </a:lnTo>
                <a:lnTo>
                  <a:pt x="174" y="882"/>
                </a:lnTo>
                <a:lnTo>
                  <a:pt x="169" y="877"/>
                </a:lnTo>
                <a:lnTo>
                  <a:pt x="164" y="874"/>
                </a:lnTo>
                <a:lnTo>
                  <a:pt x="164" y="871"/>
                </a:lnTo>
                <a:lnTo>
                  <a:pt x="161" y="871"/>
                </a:lnTo>
                <a:lnTo>
                  <a:pt x="158" y="869"/>
                </a:lnTo>
                <a:lnTo>
                  <a:pt x="155" y="866"/>
                </a:lnTo>
                <a:lnTo>
                  <a:pt x="153" y="866"/>
                </a:lnTo>
                <a:lnTo>
                  <a:pt x="150" y="866"/>
                </a:lnTo>
                <a:lnTo>
                  <a:pt x="142" y="866"/>
                </a:lnTo>
                <a:lnTo>
                  <a:pt x="137" y="863"/>
                </a:lnTo>
                <a:lnTo>
                  <a:pt x="134" y="860"/>
                </a:lnTo>
                <a:lnTo>
                  <a:pt x="129" y="858"/>
                </a:lnTo>
                <a:lnTo>
                  <a:pt x="126" y="847"/>
                </a:lnTo>
                <a:lnTo>
                  <a:pt x="123" y="844"/>
                </a:lnTo>
                <a:lnTo>
                  <a:pt x="123" y="839"/>
                </a:lnTo>
                <a:lnTo>
                  <a:pt x="123" y="834"/>
                </a:lnTo>
                <a:lnTo>
                  <a:pt x="123" y="831"/>
                </a:lnTo>
                <a:lnTo>
                  <a:pt x="118" y="826"/>
                </a:lnTo>
                <a:lnTo>
                  <a:pt x="115" y="823"/>
                </a:lnTo>
                <a:lnTo>
                  <a:pt x="113" y="818"/>
                </a:lnTo>
                <a:lnTo>
                  <a:pt x="107" y="815"/>
                </a:lnTo>
                <a:lnTo>
                  <a:pt x="105" y="815"/>
                </a:lnTo>
                <a:lnTo>
                  <a:pt x="94" y="812"/>
                </a:lnTo>
                <a:lnTo>
                  <a:pt x="91" y="812"/>
                </a:lnTo>
                <a:lnTo>
                  <a:pt x="86" y="810"/>
                </a:lnTo>
                <a:lnTo>
                  <a:pt x="80" y="810"/>
                </a:lnTo>
                <a:lnTo>
                  <a:pt x="80" y="810"/>
                </a:lnTo>
                <a:lnTo>
                  <a:pt x="78" y="807"/>
                </a:lnTo>
                <a:lnTo>
                  <a:pt x="75" y="807"/>
                </a:lnTo>
                <a:lnTo>
                  <a:pt x="72" y="807"/>
                </a:lnTo>
                <a:lnTo>
                  <a:pt x="70" y="801"/>
                </a:lnTo>
                <a:lnTo>
                  <a:pt x="70" y="801"/>
                </a:lnTo>
                <a:lnTo>
                  <a:pt x="59" y="801"/>
                </a:lnTo>
                <a:lnTo>
                  <a:pt x="54" y="804"/>
                </a:lnTo>
                <a:lnTo>
                  <a:pt x="48" y="801"/>
                </a:lnTo>
                <a:lnTo>
                  <a:pt x="43" y="801"/>
                </a:lnTo>
                <a:lnTo>
                  <a:pt x="40" y="799"/>
                </a:lnTo>
                <a:lnTo>
                  <a:pt x="35" y="799"/>
                </a:lnTo>
                <a:lnTo>
                  <a:pt x="32" y="799"/>
                </a:lnTo>
                <a:lnTo>
                  <a:pt x="32" y="799"/>
                </a:lnTo>
                <a:lnTo>
                  <a:pt x="30" y="796"/>
                </a:lnTo>
                <a:lnTo>
                  <a:pt x="30" y="796"/>
                </a:lnTo>
                <a:lnTo>
                  <a:pt x="30" y="796"/>
                </a:lnTo>
                <a:lnTo>
                  <a:pt x="27" y="796"/>
                </a:lnTo>
                <a:lnTo>
                  <a:pt x="24" y="796"/>
                </a:lnTo>
                <a:lnTo>
                  <a:pt x="21" y="793"/>
                </a:lnTo>
                <a:lnTo>
                  <a:pt x="16" y="791"/>
                </a:lnTo>
                <a:lnTo>
                  <a:pt x="11" y="788"/>
                </a:lnTo>
                <a:lnTo>
                  <a:pt x="8" y="785"/>
                </a:lnTo>
                <a:lnTo>
                  <a:pt x="0" y="777"/>
                </a:lnTo>
                <a:lnTo>
                  <a:pt x="0" y="777"/>
                </a:lnTo>
                <a:lnTo>
                  <a:pt x="0" y="1786"/>
                </a:lnTo>
                <a:lnTo>
                  <a:pt x="322" y="1786"/>
                </a:lnTo>
                <a:lnTo>
                  <a:pt x="322" y="2105"/>
                </a:lnTo>
                <a:lnTo>
                  <a:pt x="1168" y="2105"/>
                </a:lnTo>
                <a:lnTo>
                  <a:pt x="1168" y="2105"/>
                </a:lnTo>
                <a:lnTo>
                  <a:pt x="1171" y="2102"/>
                </a:lnTo>
                <a:lnTo>
                  <a:pt x="1177" y="2102"/>
                </a:lnTo>
                <a:lnTo>
                  <a:pt x="1177" y="2100"/>
                </a:lnTo>
                <a:lnTo>
                  <a:pt x="1179" y="2100"/>
                </a:lnTo>
                <a:lnTo>
                  <a:pt x="1182" y="2097"/>
                </a:lnTo>
                <a:lnTo>
                  <a:pt x="1182" y="2092"/>
                </a:lnTo>
                <a:lnTo>
                  <a:pt x="1182" y="2089"/>
                </a:lnTo>
                <a:lnTo>
                  <a:pt x="1185" y="2089"/>
                </a:lnTo>
                <a:lnTo>
                  <a:pt x="1187" y="2089"/>
                </a:lnTo>
                <a:lnTo>
                  <a:pt x="1190" y="2086"/>
                </a:lnTo>
                <a:lnTo>
                  <a:pt x="1193" y="2086"/>
                </a:lnTo>
                <a:lnTo>
                  <a:pt x="1193" y="2086"/>
                </a:lnTo>
                <a:lnTo>
                  <a:pt x="1195" y="2084"/>
                </a:lnTo>
                <a:lnTo>
                  <a:pt x="1195" y="2084"/>
                </a:lnTo>
                <a:lnTo>
                  <a:pt x="1195" y="2081"/>
                </a:lnTo>
                <a:lnTo>
                  <a:pt x="1198" y="2081"/>
                </a:lnTo>
                <a:lnTo>
                  <a:pt x="1198" y="2081"/>
                </a:lnTo>
                <a:lnTo>
                  <a:pt x="1201" y="2078"/>
                </a:lnTo>
                <a:lnTo>
                  <a:pt x="1201" y="2078"/>
                </a:lnTo>
                <a:lnTo>
                  <a:pt x="1203" y="2078"/>
                </a:lnTo>
                <a:lnTo>
                  <a:pt x="1214" y="2073"/>
                </a:lnTo>
                <a:lnTo>
                  <a:pt x="1214" y="2073"/>
                </a:lnTo>
                <a:lnTo>
                  <a:pt x="1217" y="2073"/>
                </a:lnTo>
                <a:lnTo>
                  <a:pt x="1219" y="2070"/>
                </a:lnTo>
                <a:lnTo>
                  <a:pt x="1222" y="2062"/>
                </a:lnTo>
                <a:lnTo>
                  <a:pt x="1225" y="2062"/>
                </a:lnTo>
                <a:lnTo>
                  <a:pt x="1235" y="2059"/>
                </a:lnTo>
                <a:lnTo>
                  <a:pt x="1235" y="2059"/>
                </a:lnTo>
                <a:lnTo>
                  <a:pt x="1238" y="2059"/>
                </a:lnTo>
                <a:lnTo>
                  <a:pt x="1238" y="2062"/>
                </a:lnTo>
                <a:lnTo>
                  <a:pt x="1238" y="2065"/>
                </a:lnTo>
                <a:lnTo>
                  <a:pt x="1241" y="2065"/>
                </a:lnTo>
                <a:lnTo>
                  <a:pt x="1244" y="2065"/>
                </a:lnTo>
                <a:lnTo>
                  <a:pt x="1246" y="2065"/>
                </a:lnTo>
                <a:lnTo>
                  <a:pt x="1249" y="2065"/>
                </a:lnTo>
                <a:lnTo>
                  <a:pt x="1252" y="2065"/>
                </a:lnTo>
                <a:lnTo>
                  <a:pt x="1252" y="2065"/>
                </a:lnTo>
                <a:lnTo>
                  <a:pt x="1254" y="2065"/>
                </a:lnTo>
                <a:lnTo>
                  <a:pt x="1265" y="2065"/>
                </a:lnTo>
                <a:lnTo>
                  <a:pt x="1270" y="2065"/>
                </a:lnTo>
                <a:lnTo>
                  <a:pt x="1273" y="2062"/>
                </a:lnTo>
                <a:lnTo>
                  <a:pt x="1276" y="2062"/>
                </a:lnTo>
                <a:lnTo>
                  <a:pt x="1278" y="2062"/>
                </a:lnTo>
                <a:lnTo>
                  <a:pt x="1281" y="2062"/>
                </a:lnTo>
                <a:lnTo>
                  <a:pt x="1286" y="2062"/>
                </a:lnTo>
                <a:lnTo>
                  <a:pt x="1289" y="2059"/>
                </a:lnTo>
                <a:lnTo>
                  <a:pt x="1297" y="2059"/>
                </a:lnTo>
                <a:lnTo>
                  <a:pt x="1297" y="2057"/>
                </a:lnTo>
                <a:lnTo>
                  <a:pt x="1305" y="2059"/>
                </a:lnTo>
                <a:lnTo>
                  <a:pt x="1308" y="2059"/>
                </a:lnTo>
                <a:lnTo>
                  <a:pt x="1308" y="2057"/>
                </a:lnTo>
                <a:lnTo>
                  <a:pt x="1311" y="2057"/>
                </a:lnTo>
                <a:lnTo>
                  <a:pt x="1313" y="2057"/>
                </a:lnTo>
                <a:lnTo>
                  <a:pt x="1319" y="2059"/>
                </a:lnTo>
                <a:lnTo>
                  <a:pt x="1324" y="2065"/>
                </a:lnTo>
                <a:lnTo>
                  <a:pt x="1327" y="2067"/>
                </a:lnTo>
                <a:lnTo>
                  <a:pt x="1332" y="2070"/>
                </a:lnTo>
                <a:lnTo>
                  <a:pt x="1345" y="2070"/>
                </a:lnTo>
                <a:lnTo>
                  <a:pt x="1351" y="2070"/>
                </a:lnTo>
                <a:lnTo>
                  <a:pt x="1359" y="2067"/>
                </a:lnTo>
                <a:lnTo>
                  <a:pt x="1364" y="2067"/>
                </a:lnTo>
                <a:lnTo>
                  <a:pt x="1369" y="2067"/>
                </a:lnTo>
                <a:lnTo>
                  <a:pt x="1372" y="2070"/>
                </a:lnTo>
                <a:lnTo>
                  <a:pt x="1375" y="2070"/>
                </a:lnTo>
                <a:lnTo>
                  <a:pt x="1378" y="2073"/>
                </a:lnTo>
                <a:lnTo>
                  <a:pt x="1380" y="2073"/>
                </a:lnTo>
                <a:lnTo>
                  <a:pt x="1383" y="2076"/>
                </a:lnTo>
                <a:lnTo>
                  <a:pt x="1383" y="2076"/>
                </a:lnTo>
                <a:lnTo>
                  <a:pt x="1386" y="2076"/>
                </a:lnTo>
                <a:lnTo>
                  <a:pt x="1388" y="2076"/>
                </a:lnTo>
                <a:lnTo>
                  <a:pt x="1391" y="2078"/>
                </a:lnTo>
                <a:lnTo>
                  <a:pt x="1391" y="2081"/>
                </a:lnTo>
                <a:lnTo>
                  <a:pt x="1391" y="2084"/>
                </a:lnTo>
                <a:lnTo>
                  <a:pt x="1391" y="2086"/>
                </a:lnTo>
                <a:lnTo>
                  <a:pt x="1394" y="2086"/>
                </a:lnTo>
                <a:lnTo>
                  <a:pt x="1394" y="2089"/>
                </a:lnTo>
                <a:lnTo>
                  <a:pt x="1396" y="2089"/>
                </a:lnTo>
                <a:lnTo>
                  <a:pt x="1402" y="2089"/>
                </a:lnTo>
                <a:lnTo>
                  <a:pt x="1402" y="2089"/>
                </a:lnTo>
                <a:lnTo>
                  <a:pt x="1404" y="2092"/>
                </a:lnTo>
                <a:lnTo>
                  <a:pt x="1410" y="2094"/>
                </a:lnTo>
                <a:lnTo>
                  <a:pt x="1418" y="2097"/>
                </a:lnTo>
                <a:lnTo>
                  <a:pt x="1418" y="2105"/>
                </a:lnTo>
                <a:lnTo>
                  <a:pt x="1418" y="2105"/>
                </a:lnTo>
                <a:lnTo>
                  <a:pt x="1418" y="2108"/>
                </a:lnTo>
                <a:lnTo>
                  <a:pt x="1418" y="2108"/>
                </a:lnTo>
                <a:lnTo>
                  <a:pt x="1418" y="2108"/>
                </a:lnTo>
                <a:lnTo>
                  <a:pt x="1418" y="2108"/>
                </a:lnTo>
                <a:lnTo>
                  <a:pt x="1418" y="2113"/>
                </a:lnTo>
                <a:lnTo>
                  <a:pt x="1420" y="2116"/>
                </a:lnTo>
                <a:lnTo>
                  <a:pt x="1420" y="2116"/>
                </a:lnTo>
                <a:lnTo>
                  <a:pt x="1420" y="2118"/>
                </a:lnTo>
                <a:lnTo>
                  <a:pt x="1423" y="2118"/>
                </a:lnTo>
                <a:lnTo>
                  <a:pt x="1423" y="2121"/>
                </a:lnTo>
                <a:lnTo>
                  <a:pt x="1423" y="2121"/>
                </a:lnTo>
                <a:lnTo>
                  <a:pt x="1423" y="2124"/>
                </a:lnTo>
                <a:lnTo>
                  <a:pt x="1426" y="2124"/>
                </a:lnTo>
                <a:lnTo>
                  <a:pt x="1426" y="2124"/>
                </a:lnTo>
                <a:lnTo>
                  <a:pt x="1428" y="2124"/>
                </a:lnTo>
                <a:lnTo>
                  <a:pt x="1431" y="2121"/>
                </a:lnTo>
                <a:lnTo>
                  <a:pt x="1431" y="2121"/>
                </a:lnTo>
                <a:lnTo>
                  <a:pt x="1431" y="2121"/>
                </a:lnTo>
                <a:lnTo>
                  <a:pt x="1431" y="2121"/>
                </a:lnTo>
                <a:lnTo>
                  <a:pt x="1434" y="2118"/>
                </a:lnTo>
                <a:lnTo>
                  <a:pt x="1434" y="2118"/>
                </a:lnTo>
                <a:lnTo>
                  <a:pt x="1436" y="2118"/>
                </a:lnTo>
                <a:lnTo>
                  <a:pt x="1436" y="2116"/>
                </a:lnTo>
                <a:lnTo>
                  <a:pt x="1439" y="2113"/>
                </a:lnTo>
                <a:lnTo>
                  <a:pt x="1442" y="2113"/>
                </a:lnTo>
                <a:lnTo>
                  <a:pt x="1442" y="2113"/>
                </a:lnTo>
                <a:lnTo>
                  <a:pt x="1442" y="2110"/>
                </a:lnTo>
                <a:lnTo>
                  <a:pt x="1442" y="2108"/>
                </a:lnTo>
                <a:lnTo>
                  <a:pt x="1442" y="2108"/>
                </a:lnTo>
                <a:lnTo>
                  <a:pt x="1445" y="2102"/>
                </a:lnTo>
                <a:lnTo>
                  <a:pt x="1445" y="2100"/>
                </a:lnTo>
                <a:lnTo>
                  <a:pt x="1445" y="2100"/>
                </a:lnTo>
                <a:lnTo>
                  <a:pt x="1447" y="2100"/>
                </a:lnTo>
                <a:lnTo>
                  <a:pt x="1447" y="2100"/>
                </a:lnTo>
                <a:lnTo>
                  <a:pt x="1447" y="2100"/>
                </a:lnTo>
                <a:lnTo>
                  <a:pt x="1447" y="2100"/>
                </a:lnTo>
                <a:lnTo>
                  <a:pt x="1450" y="2100"/>
                </a:lnTo>
                <a:lnTo>
                  <a:pt x="1450" y="2100"/>
                </a:lnTo>
                <a:lnTo>
                  <a:pt x="1453" y="2100"/>
                </a:lnTo>
                <a:lnTo>
                  <a:pt x="1453" y="2100"/>
                </a:lnTo>
                <a:lnTo>
                  <a:pt x="1453" y="2097"/>
                </a:lnTo>
                <a:lnTo>
                  <a:pt x="1455" y="2097"/>
                </a:lnTo>
                <a:lnTo>
                  <a:pt x="1455" y="2097"/>
                </a:lnTo>
                <a:lnTo>
                  <a:pt x="1455" y="2097"/>
                </a:lnTo>
                <a:lnTo>
                  <a:pt x="1461" y="2094"/>
                </a:lnTo>
                <a:lnTo>
                  <a:pt x="1463" y="2094"/>
                </a:lnTo>
                <a:lnTo>
                  <a:pt x="1463" y="2094"/>
                </a:lnTo>
                <a:lnTo>
                  <a:pt x="1463" y="2094"/>
                </a:lnTo>
                <a:lnTo>
                  <a:pt x="1463" y="2094"/>
                </a:lnTo>
                <a:lnTo>
                  <a:pt x="1466" y="2100"/>
                </a:lnTo>
                <a:lnTo>
                  <a:pt x="1469" y="2100"/>
                </a:lnTo>
                <a:lnTo>
                  <a:pt x="1469" y="2100"/>
                </a:lnTo>
                <a:lnTo>
                  <a:pt x="1469" y="2102"/>
                </a:lnTo>
                <a:lnTo>
                  <a:pt x="1469" y="2102"/>
                </a:lnTo>
                <a:lnTo>
                  <a:pt x="1471" y="2102"/>
                </a:lnTo>
                <a:lnTo>
                  <a:pt x="1471" y="2102"/>
                </a:lnTo>
                <a:lnTo>
                  <a:pt x="1471" y="2102"/>
                </a:lnTo>
                <a:lnTo>
                  <a:pt x="1471" y="2102"/>
                </a:lnTo>
                <a:lnTo>
                  <a:pt x="1474" y="2102"/>
                </a:lnTo>
                <a:lnTo>
                  <a:pt x="1474" y="2102"/>
                </a:lnTo>
                <a:lnTo>
                  <a:pt x="1474" y="2102"/>
                </a:lnTo>
                <a:lnTo>
                  <a:pt x="1474" y="2102"/>
                </a:lnTo>
                <a:lnTo>
                  <a:pt x="1474" y="2100"/>
                </a:lnTo>
                <a:lnTo>
                  <a:pt x="1477" y="2097"/>
                </a:lnTo>
                <a:lnTo>
                  <a:pt x="1477" y="2097"/>
                </a:lnTo>
                <a:lnTo>
                  <a:pt x="1477" y="2097"/>
                </a:lnTo>
                <a:lnTo>
                  <a:pt x="1477" y="2097"/>
                </a:lnTo>
                <a:lnTo>
                  <a:pt x="1479" y="2097"/>
                </a:lnTo>
                <a:lnTo>
                  <a:pt x="1479" y="2097"/>
                </a:lnTo>
                <a:lnTo>
                  <a:pt x="1482" y="2097"/>
                </a:lnTo>
                <a:lnTo>
                  <a:pt x="1485" y="2097"/>
                </a:lnTo>
                <a:lnTo>
                  <a:pt x="1485" y="2097"/>
                </a:lnTo>
                <a:lnTo>
                  <a:pt x="1485" y="2097"/>
                </a:lnTo>
                <a:lnTo>
                  <a:pt x="1485" y="2097"/>
                </a:lnTo>
                <a:lnTo>
                  <a:pt x="1487" y="2097"/>
                </a:lnTo>
                <a:lnTo>
                  <a:pt x="1490" y="2097"/>
                </a:lnTo>
                <a:lnTo>
                  <a:pt x="1490" y="2097"/>
                </a:lnTo>
                <a:lnTo>
                  <a:pt x="1493" y="2097"/>
                </a:lnTo>
                <a:lnTo>
                  <a:pt x="1493" y="2097"/>
                </a:lnTo>
                <a:lnTo>
                  <a:pt x="1493" y="2094"/>
                </a:lnTo>
                <a:lnTo>
                  <a:pt x="1493" y="2094"/>
                </a:lnTo>
                <a:lnTo>
                  <a:pt x="1493" y="2094"/>
                </a:lnTo>
                <a:lnTo>
                  <a:pt x="1495" y="2094"/>
                </a:lnTo>
                <a:lnTo>
                  <a:pt x="1495" y="2094"/>
                </a:lnTo>
                <a:lnTo>
                  <a:pt x="1495" y="2094"/>
                </a:lnTo>
                <a:lnTo>
                  <a:pt x="1495" y="2092"/>
                </a:lnTo>
                <a:lnTo>
                  <a:pt x="1495" y="2089"/>
                </a:lnTo>
                <a:lnTo>
                  <a:pt x="1495" y="2089"/>
                </a:lnTo>
                <a:lnTo>
                  <a:pt x="1495" y="2086"/>
                </a:lnTo>
                <a:lnTo>
                  <a:pt x="1498" y="2086"/>
                </a:lnTo>
                <a:lnTo>
                  <a:pt x="1498" y="2084"/>
                </a:lnTo>
                <a:lnTo>
                  <a:pt x="1498" y="2081"/>
                </a:lnTo>
                <a:lnTo>
                  <a:pt x="1498" y="2078"/>
                </a:lnTo>
                <a:lnTo>
                  <a:pt x="1498" y="2078"/>
                </a:lnTo>
                <a:lnTo>
                  <a:pt x="1498" y="2078"/>
                </a:lnTo>
                <a:lnTo>
                  <a:pt x="1498" y="2076"/>
                </a:lnTo>
                <a:lnTo>
                  <a:pt x="1498" y="2076"/>
                </a:lnTo>
                <a:lnTo>
                  <a:pt x="1498" y="2076"/>
                </a:lnTo>
                <a:lnTo>
                  <a:pt x="1498" y="2073"/>
                </a:lnTo>
                <a:lnTo>
                  <a:pt x="1498" y="2073"/>
                </a:lnTo>
                <a:lnTo>
                  <a:pt x="1498" y="2073"/>
                </a:lnTo>
                <a:lnTo>
                  <a:pt x="1495" y="2070"/>
                </a:lnTo>
                <a:lnTo>
                  <a:pt x="1493" y="2067"/>
                </a:lnTo>
                <a:lnTo>
                  <a:pt x="1493" y="2067"/>
                </a:lnTo>
                <a:lnTo>
                  <a:pt x="1493" y="2065"/>
                </a:lnTo>
                <a:lnTo>
                  <a:pt x="1493" y="2065"/>
                </a:lnTo>
                <a:lnTo>
                  <a:pt x="1493" y="2062"/>
                </a:lnTo>
                <a:lnTo>
                  <a:pt x="1490" y="2062"/>
                </a:lnTo>
                <a:lnTo>
                  <a:pt x="1487" y="2059"/>
                </a:lnTo>
                <a:lnTo>
                  <a:pt x="1487" y="2057"/>
                </a:lnTo>
                <a:lnTo>
                  <a:pt x="1487" y="2057"/>
                </a:lnTo>
                <a:lnTo>
                  <a:pt x="1487" y="2057"/>
                </a:lnTo>
                <a:lnTo>
                  <a:pt x="1490" y="2057"/>
                </a:lnTo>
                <a:lnTo>
                  <a:pt x="1490" y="2057"/>
                </a:lnTo>
                <a:lnTo>
                  <a:pt x="1490" y="2057"/>
                </a:lnTo>
                <a:lnTo>
                  <a:pt x="1490" y="2057"/>
                </a:lnTo>
                <a:lnTo>
                  <a:pt x="1493" y="2057"/>
                </a:lnTo>
                <a:lnTo>
                  <a:pt x="1493" y="2054"/>
                </a:lnTo>
                <a:lnTo>
                  <a:pt x="1495" y="2054"/>
                </a:lnTo>
                <a:lnTo>
                  <a:pt x="1495" y="2051"/>
                </a:lnTo>
                <a:lnTo>
                  <a:pt x="1498" y="2051"/>
                </a:lnTo>
                <a:lnTo>
                  <a:pt x="1509" y="2046"/>
                </a:lnTo>
                <a:lnTo>
                  <a:pt x="1512" y="2046"/>
                </a:lnTo>
                <a:lnTo>
                  <a:pt x="1512" y="2046"/>
                </a:lnTo>
                <a:lnTo>
                  <a:pt x="1517" y="2046"/>
                </a:lnTo>
                <a:lnTo>
                  <a:pt x="1517" y="2046"/>
                </a:lnTo>
                <a:lnTo>
                  <a:pt x="1517" y="2046"/>
                </a:lnTo>
                <a:lnTo>
                  <a:pt x="1517" y="2046"/>
                </a:lnTo>
                <a:lnTo>
                  <a:pt x="1520" y="2043"/>
                </a:lnTo>
                <a:lnTo>
                  <a:pt x="1520" y="2043"/>
                </a:lnTo>
                <a:lnTo>
                  <a:pt x="1522" y="2041"/>
                </a:lnTo>
                <a:lnTo>
                  <a:pt x="1525" y="2041"/>
                </a:lnTo>
                <a:lnTo>
                  <a:pt x="1525" y="2041"/>
                </a:lnTo>
                <a:lnTo>
                  <a:pt x="1530" y="2038"/>
                </a:lnTo>
                <a:lnTo>
                  <a:pt x="1533" y="2038"/>
                </a:lnTo>
                <a:lnTo>
                  <a:pt x="1536" y="2038"/>
                </a:lnTo>
                <a:lnTo>
                  <a:pt x="1536" y="2038"/>
                </a:lnTo>
                <a:lnTo>
                  <a:pt x="1536" y="2035"/>
                </a:lnTo>
                <a:lnTo>
                  <a:pt x="1536" y="2035"/>
                </a:lnTo>
                <a:lnTo>
                  <a:pt x="1538" y="2033"/>
                </a:lnTo>
                <a:lnTo>
                  <a:pt x="1538" y="2033"/>
                </a:lnTo>
                <a:lnTo>
                  <a:pt x="1541" y="2030"/>
                </a:lnTo>
                <a:lnTo>
                  <a:pt x="1544" y="2027"/>
                </a:lnTo>
                <a:lnTo>
                  <a:pt x="1544" y="2027"/>
                </a:lnTo>
                <a:lnTo>
                  <a:pt x="1544" y="2027"/>
                </a:lnTo>
                <a:lnTo>
                  <a:pt x="1546" y="2027"/>
                </a:lnTo>
                <a:lnTo>
                  <a:pt x="1546" y="2027"/>
                </a:lnTo>
                <a:lnTo>
                  <a:pt x="1549" y="2030"/>
                </a:lnTo>
                <a:lnTo>
                  <a:pt x="1549" y="2030"/>
                </a:lnTo>
                <a:lnTo>
                  <a:pt x="1549" y="2030"/>
                </a:lnTo>
                <a:lnTo>
                  <a:pt x="1549" y="2033"/>
                </a:lnTo>
                <a:lnTo>
                  <a:pt x="1549" y="2033"/>
                </a:lnTo>
                <a:lnTo>
                  <a:pt x="1549" y="2033"/>
                </a:lnTo>
                <a:lnTo>
                  <a:pt x="1549" y="2033"/>
                </a:lnTo>
                <a:lnTo>
                  <a:pt x="1552" y="2033"/>
                </a:lnTo>
                <a:lnTo>
                  <a:pt x="1552" y="2035"/>
                </a:lnTo>
                <a:lnTo>
                  <a:pt x="1552" y="2035"/>
                </a:lnTo>
                <a:lnTo>
                  <a:pt x="1554" y="2035"/>
                </a:lnTo>
                <a:lnTo>
                  <a:pt x="1554" y="2035"/>
                </a:lnTo>
                <a:lnTo>
                  <a:pt x="1554" y="2033"/>
                </a:lnTo>
                <a:lnTo>
                  <a:pt x="1557" y="2033"/>
                </a:lnTo>
                <a:lnTo>
                  <a:pt x="1557" y="2033"/>
                </a:lnTo>
                <a:lnTo>
                  <a:pt x="1557" y="2033"/>
                </a:lnTo>
                <a:lnTo>
                  <a:pt x="1557" y="2030"/>
                </a:lnTo>
                <a:lnTo>
                  <a:pt x="1557" y="2030"/>
                </a:lnTo>
                <a:lnTo>
                  <a:pt x="1557" y="2030"/>
                </a:lnTo>
                <a:lnTo>
                  <a:pt x="1557" y="2030"/>
                </a:lnTo>
                <a:lnTo>
                  <a:pt x="1560" y="2030"/>
                </a:lnTo>
                <a:lnTo>
                  <a:pt x="1562" y="2033"/>
                </a:lnTo>
                <a:lnTo>
                  <a:pt x="1562" y="2033"/>
                </a:lnTo>
                <a:lnTo>
                  <a:pt x="1573" y="2038"/>
                </a:lnTo>
                <a:lnTo>
                  <a:pt x="1573" y="2038"/>
                </a:lnTo>
                <a:lnTo>
                  <a:pt x="1573" y="2038"/>
                </a:lnTo>
                <a:lnTo>
                  <a:pt x="1576" y="2038"/>
                </a:lnTo>
                <a:lnTo>
                  <a:pt x="1579" y="2038"/>
                </a:lnTo>
                <a:lnTo>
                  <a:pt x="1581" y="2035"/>
                </a:lnTo>
                <a:lnTo>
                  <a:pt x="1581" y="2035"/>
                </a:lnTo>
                <a:lnTo>
                  <a:pt x="1581" y="2035"/>
                </a:lnTo>
                <a:lnTo>
                  <a:pt x="1581" y="2033"/>
                </a:lnTo>
                <a:lnTo>
                  <a:pt x="1584" y="2033"/>
                </a:lnTo>
                <a:lnTo>
                  <a:pt x="1584" y="2033"/>
                </a:lnTo>
                <a:lnTo>
                  <a:pt x="1587" y="2033"/>
                </a:lnTo>
                <a:lnTo>
                  <a:pt x="1589" y="2035"/>
                </a:lnTo>
                <a:lnTo>
                  <a:pt x="1592" y="2035"/>
                </a:lnTo>
                <a:lnTo>
                  <a:pt x="1592" y="2035"/>
                </a:lnTo>
                <a:lnTo>
                  <a:pt x="1600" y="2035"/>
                </a:lnTo>
                <a:lnTo>
                  <a:pt x="1600" y="2035"/>
                </a:lnTo>
                <a:lnTo>
                  <a:pt x="1600" y="2035"/>
                </a:lnTo>
                <a:lnTo>
                  <a:pt x="1605" y="2035"/>
                </a:lnTo>
                <a:lnTo>
                  <a:pt x="1608" y="2035"/>
                </a:lnTo>
                <a:lnTo>
                  <a:pt x="1608" y="2035"/>
                </a:lnTo>
                <a:lnTo>
                  <a:pt x="1608" y="2038"/>
                </a:lnTo>
                <a:lnTo>
                  <a:pt x="1611" y="2038"/>
                </a:lnTo>
                <a:lnTo>
                  <a:pt x="1611" y="2038"/>
                </a:lnTo>
                <a:lnTo>
                  <a:pt x="1611" y="2035"/>
                </a:lnTo>
                <a:lnTo>
                  <a:pt x="1613" y="2035"/>
                </a:lnTo>
                <a:lnTo>
                  <a:pt x="1616" y="2033"/>
                </a:lnTo>
                <a:lnTo>
                  <a:pt x="1616" y="2033"/>
                </a:lnTo>
                <a:lnTo>
                  <a:pt x="1616" y="2033"/>
                </a:lnTo>
                <a:lnTo>
                  <a:pt x="1616" y="2030"/>
                </a:lnTo>
                <a:lnTo>
                  <a:pt x="1619" y="2030"/>
                </a:lnTo>
                <a:lnTo>
                  <a:pt x="1619" y="2030"/>
                </a:lnTo>
                <a:lnTo>
                  <a:pt x="1619" y="2027"/>
                </a:lnTo>
                <a:lnTo>
                  <a:pt x="1621" y="2027"/>
                </a:lnTo>
                <a:lnTo>
                  <a:pt x="1624" y="2027"/>
                </a:lnTo>
                <a:lnTo>
                  <a:pt x="1632" y="2025"/>
                </a:lnTo>
                <a:lnTo>
                  <a:pt x="1632" y="2025"/>
                </a:lnTo>
                <a:lnTo>
                  <a:pt x="1637" y="2025"/>
                </a:lnTo>
                <a:lnTo>
                  <a:pt x="1640" y="2025"/>
                </a:lnTo>
                <a:lnTo>
                  <a:pt x="1648" y="2017"/>
                </a:lnTo>
                <a:lnTo>
                  <a:pt x="1654" y="2014"/>
                </a:lnTo>
                <a:lnTo>
                  <a:pt x="1654" y="2014"/>
                </a:lnTo>
                <a:lnTo>
                  <a:pt x="1651" y="2011"/>
                </a:lnTo>
                <a:close/>
                <a:moveTo>
                  <a:pt x="453" y="150"/>
                </a:moveTo>
                <a:lnTo>
                  <a:pt x="450" y="147"/>
                </a:lnTo>
                <a:lnTo>
                  <a:pt x="450" y="144"/>
                </a:lnTo>
                <a:lnTo>
                  <a:pt x="448" y="142"/>
                </a:lnTo>
                <a:lnTo>
                  <a:pt x="448" y="144"/>
                </a:lnTo>
                <a:lnTo>
                  <a:pt x="445" y="144"/>
                </a:lnTo>
                <a:lnTo>
                  <a:pt x="445" y="144"/>
                </a:lnTo>
                <a:lnTo>
                  <a:pt x="445" y="147"/>
                </a:lnTo>
                <a:lnTo>
                  <a:pt x="442" y="147"/>
                </a:lnTo>
                <a:lnTo>
                  <a:pt x="442" y="147"/>
                </a:lnTo>
                <a:lnTo>
                  <a:pt x="442" y="147"/>
                </a:lnTo>
                <a:lnTo>
                  <a:pt x="440" y="147"/>
                </a:lnTo>
                <a:lnTo>
                  <a:pt x="440" y="150"/>
                </a:lnTo>
                <a:lnTo>
                  <a:pt x="440" y="150"/>
                </a:lnTo>
                <a:lnTo>
                  <a:pt x="440" y="150"/>
                </a:lnTo>
                <a:lnTo>
                  <a:pt x="440" y="152"/>
                </a:lnTo>
                <a:lnTo>
                  <a:pt x="440" y="155"/>
                </a:lnTo>
                <a:lnTo>
                  <a:pt x="442" y="158"/>
                </a:lnTo>
                <a:lnTo>
                  <a:pt x="442" y="160"/>
                </a:lnTo>
                <a:lnTo>
                  <a:pt x="442" y="160"/>
                </a:lnTo>
                <a:lnTo>
                  <a:pt x="448" y="163"/>
                </a:lnTo>
                <a:lnTo>
                  <a:pt x="448" y="160"/>
                </a:lnTo>
                <a:lnTo>
                  <a:pt x="448" y="160"/>
                </a:lnTo>
                <a:lnTo>
                  <a:pt x="448" y="158"/>
                </a:lnTo>
                <a:lnTo>
                  <a:pt x="450" y="158"/>
                </a:lnTo>
                <a:lnTo>
                  <a:pt x="450" y="158"/>
                </a:lnTo>
                <a:lnTo>
                  <a:pt x="453" y="155"/>
                </a:lnTo>
                <a:lnTo>
                  <a:pt x="456" y="155"/>
                </a:lnTo>
                <a:lnTo>
                  <a:pt x="456" y="158"/>
                </a:lnTo>
                <a:lnTo>
                  <a:pt x="456" y="158"/>
                </a:lnTo>
                <a:lnTo>
                  <a:pt x="458" y="155"/>
                </a:lnTo>
                <a:lnTo>
                  <a:pt x="458" y="155"/>
                </a:lnTo>
                <a:lnTo>
                  <a:pt x="456" y="152"/>
                </a:lnTo>
                <a:lnTo>
                  <a:pt x="453" y="150"/>
                </a:lnTo>
                <a:close/>
                <a:moveTo>
                  <a:pt x="863" y="960"/>
                </a:moveTo>
                <a:lnTo>
                  <a:pt x="863" y="962"/>
                </a:lnTo>
                <a:lnTo>
                  <a:pt x="863" y="962"/>
                </a:lnTo>
                <a:lnTo>
                  <a:pt x="866" y="962"/>
                </a:lnTo>
                <a:lnTo>
                  <a:pt x="866" y="965"/>
                </a:lnTo>
                <a:lnTo>
                  <a:pt x="871" y="968"/>
                </a:lnTo>
                <a:lnTo>
                  <a:pt x="871" y="968"/>
                </a:lnTo>
                <a:lnTo>
                  <a:pt x="874" y="973"/>
                </a:lnTo>
                <a:lnTo>
                  <a:pt x="874" y="973"/>
                </a:lnTo>
                <a:lnTo>
                  <a:pt x="876" y="981"/>
                </a:lnTo>
                <a:lnTo>
                  <a:pt x="876" y="981"/>
                </a:lnTo>
                <a:lnTo>
                  <a:pt x="879" y="984"/>
                </a:lnTo>
                <a:lnTo>
                  <a:pt x="882" y="984"/>
                </a:lnTo>
                <a:lnTo>
                  <a:pt x="884" y="987"/>
                </a:lnTo>
                <a:lnTo>
                  <a:pt x="887" y="984"/>
                </a:lnTo>
                <a:lnTo>
                  <a:pt x="887" y="981"/>
                </a:lnTo>
                <a:lnTo>
                  <a:pt x="890" y="979"/>
                </a:lnTo>
                <a:lnTo>
                  <a:pt x="890" y="979"/>
                </a:lnTo>
                <a:lnTo>
                  <a:pt x="890" y="979"/>
                </a:lnTo>
                <a:lnTo>
                  <a:pt x="890" y="979"/>
                </a:lnTo>
                <a:lnTo>
                  <a:pt x="890" y="976"/>
                </a:lnTo>
                <a:lnTo>
                  <a:pt x="890" y="976"/>
                </a:lnTo>
                <a:lnTo>
                  <a:pt x="887" y="976"/>
                </a:lnTo>
                <a:lnTo>
                  <a:pt x="887" y="973"/>
                </a:lnTo>
                <a:lnTo>
                  <a:pt x="887" y="973"/>
                </a:lnTo>
                <a:lnTo>
                  <a:pt x="890" y="973"/>
                </a:lnTo>
                <a:lnTo>
                  <a:pt x="890" y="973"/>
                </a:lnTo>
                <a:lnTo>
                  <a:pt x="890" y="970"/>
                </a:lnTo>
                <a:lnTo>
                  <a:pt x="890" y="970"/>
                </a:lnTo>
                <a:lnTo>
                  <a:pt x="887" y="970"/>
                </a:lnTo>
                <a:lnTo>
                  <a:pt x="887" y="970"/>
                </a:lnTo>
                <a:lnTo>
                  <a:pt x="884" y="968"/>
                </a:lnTo>
                <a:lnTo>
                  <a:pt x="882" y="965"/>
                </a:lnTo>
                <a:lnTo>
                  <a:pt x="882" y="962"/>
                </a:lnTo>
                <a:lnTo>
                  <a:pt x="884" y="962"/>
                </a:lnTo>
                <a:lnTo>
                  <a:pt x="884" y="960"/>
                </a:lnTo>
                <a:lnTo>
                  <a:pt x="884" y="957"/>
                </a:lnTo>
                <a:lnTo>
                  <a:pt x="884" y="957"/>
                </a:lnTo>
                <a:lnTo>
                  <a:pt x="879" y="957"/>
                </a:lnTo>
                <a:lnTo>
                  <a:pt x="879" y="957"/>
                </a:lnTo>
                <a:lnTo>
                  <a:pt x="876" y="954"/>
                </a:lnTo>
                <a:lnTo>
                  <a:pt x="876" y="957"/>
                </a:lnTo>
                <a:lnTo>
                  <a:pt x="876" y="960"/>
                </a:lnTo>
                <a:lnTo>
                  <a:pt x="876" y="962"/>
                </a:lnTo>
                <a:lnTo>
                  <a:pt x="871" y="962"/>
                </a:lnTo>
                <a:lnTo>
                  <a:pt x="866" y="960"/>
                </a:lnTo>
                <a:lnTo>
                  <a:pt x="863" y="960"/>
                </a:lnTo>
                <a:close/>
                <a:moveTo>
                  <a:pt x="453" y="96"/>
                </a:moveTo>
                <a:lnTo>
                  <a:pt x="450" y="96"/>
                </a:lnTo>
                <a:lnTo>
                  <a:pt x="450" y="96"/>
                </a:lnTo>
                <a:lnTo>
                  <a:pt x="450" y="99"/>
                </a:lnTo>
                <a:lnTo>
                  <a:pt x="450" y="99"/>
                </a:lnTo>
                <a:lnTo>
                  <a:pt x="448" y="99"/>
                </a:lnTo>
                <a:lnTo>
                  <a:pt x="448" y="101"/>
                </a:lnTo>
                <a:lnTo>
                  <a:pt x="448" y="101"/>
                </a:lnTo>
                <a:lnTo>
                  <a:pt x="448" y="104"/>
                </a:lnTo>
                <a:lnTo>
                  <a:pt x="450" y="104"/>
                </a:lnTo>
                <a:lnTo>
                  <a:pt x="450" y="107"/>
                </a:lnTo>
                <a:lnTo>
                  <a:pt x="453" y="104"/>
                </a:lnTo>
                <a:lnTo>
                  <a:pt x="453" y="107"/>
                </a:lnTo>
                <a:lnTo>
                  <a:pt x="456" y="107"/>
                </a:lnTo>
                <a:lnTo>
                  <a:pt x="456" y="107"/>
                </a:lnTo>
                <a:lnTo>
                  <a:pt x="458" y="107"/>
                </a:lnTo>
                <a:lnTo>
                  <a:pt x="461" y="101"/>
                </a:lnTo>
                <a:lnTo>
                  <a:pt x="464" y="101"/>
                </a:lnTo>
                <a:lnTo>
                  <a:pt x="464" y="101"/>
                </a:lnTo>
                <a:lnTo>
                  <a:pt x="461" y="99"/>
                </a:lnTo>
                <a:lnTo>
                  <a:pt x="461" y="96"/>
                </a:lnTo>
                <a:lnTo>
                  <a:pt x="458" y="93"/>
                </a:lnTo>
                <a:lnTo>
                  <a:pt x="453" y="93"/>
                </a:lnTo>
                <a:lnTo>
                  <a:pt x="453" y="96"/>
                </a:lnTo>
                <a:close/>
                <a:moveTo>
                  <a:pt x="461" y="144"/>
                </a:moveTo>
                <a:lnTo>
                  <a:pt x="461" y="142"/>
                </a:lnTo>
                <a:lnTo>
                  <a:pt x="458" y="142"/>
                </a:lnTo>
                <a:lnTo>
                  <a:pt x="456" y="142"/>
                </a:lnTo>
                <a:lnTo>
                  <a:pt x="453" y="144"/>
                </a:lnTo>
                <a:lnTo>
                  <a:pt x="453" y="147"/>
                </a:lnTo>
                <a:lnTo>
                  <a:pt x="456" y="147"/>
                </a:lnTo>
                <a:lnTo>
                  <a:pt x="458" y="147"/>
                </a:lnTo>
                <a:lnTo>
                  <a:pt x="461" y="144"/>
                </a:lnTo>
                <a:close/>
                <a:moveTo>
                  <a:pt x="917" y="1013"/>
                </a:moveTo>
                <a:lnTo>
                  <a:pt x="919" y="1013"/>
                </a:lnTo>
                <a:lnTo>
                  <a:pt x="919" y="1013"/>
                </a:lnTo>
                <a:lnTo>
                  <a:pt x="922" y="1016"/>
                </a:lnTo>
                <a:lnTo>
                  <a:pt x="922" y="1016"/>
                </a:lnTo>
                <a:lnTo>
                  <a:pt x="925" y="1016"/>
                </a:lnTo>
                <a:lnTo>
                  <a:pt x="925" y="1013"/>
                </a:lnTo>
                <a:lnTo>
                  <a:pt x="927" y="1013"/>
                </a:lnTo>
                <a:lnTo>
                  <a:pt x="925" y="1013"/>
                </a:lnTo>
                <a:lnTo>
                  <a:pt x="922" y="1013"/>
                </a:lnTo>
                <a:lnTo>
                  <a:pt x="922" y="1011"/>
                </a:lnTo>
                <a:lnTo>
                  <a:pt x="919" y="1008"/>
                </a:lnTo>
                <a:lnTo>
                  <a:pt x="919" y="1008"/>
                </a:lnTo>
                <a:lnTo>
                  <a:pt x="917" y="1008"/>
                </a:lnTo>
                <a:lnTo>
                  <a:pt x="917" y="1005"/>
                </a:lnTo>
                <a:lnTo>
                  <a:pt x="914" y="1005"/>
                </a:lnTo>
                <a:lnTo>
                  <a:pt x="914" y="1005"/>
                </a:lnTo>
                <a:lnTo>
                  <a:pt x="914" y="1008"/>
                </a:lnTo>
                <a:lnTo>
                  <a:pt x="914" y="1011"/>
                </a:lnTo>
                <a:lnTo>
                  <a:pt x="914" y="1013"/>
                </a:lnTo>
                <a:lnTo>
                  <a:pt x="914" y="1013"/>
                </a:lnTo>
                <a:lnTo>
                  <a:pt x="914" y="1013"/>
                </a:lnTo>
                <a:lnTo>
                  <a:pt x="917" y="1013"/>
                </a:lnTo>
                <a:close/>
                <a:moveTo>
                  <a:pt x="493" y="18"/>
                </a:moveTo>
                <a:lnTo>
                  <a:pt x="496" y="18"/>
                </a:lnTo>
                <a:lnTo>
                  <a:pt x="504" y="18"/>
                </a:lnTo>
                <a:lnTo>
                  <a:pt x="504" y="18"/>
                </a:lnTo>
                <a:lnTo>
                  <a:pt x="507" y="18"/>
                </a:lnTo>
                <a:lnTo>
                  <a:pt x="507" y="16"/>
                </a:lnTo>
                <a:lnTo>
                  <a:pt x="509" y="16"/>
                </a:lnTo>
                <a:lnTo>
                  <a:pt x="509" y="16"/>
                </a:lnTo>
                <a:lnTo>
                  <a:pt x="509" y="13"/>
                </a:lnTo>
                <a:lnTo>
                  <a:pt x="507" y="13"/>
                </a:lnTo>
                <a:lnTo>
                  <a:pt x="504" y="13"/>
                </a:lnTo>
                <a:lnTo>
                  <a:pt x="501" y="13"/>
                </a:lnTo>
                <a:lnTo>
                  <a:pt x="499" y="13"/>
                </a:lnTo>
                <a:lnTo>
                  <a:pt x="496" y="13"/>
                </a:lnTo>
                <a:lnTo>
                  <a:pt x="493" y="13"/>
                </a:lnTo>
                <a:lnTo>
                  <a:pt x="490" y="16"/>
                </a:lnTo>
                <a:lnTo>
                  <a:pt x="493" y="18"/>
                </a:lnTo>
                <a:lnTo>
                  <a:pt x="493" y="18"/>
                </a:lnTo>
                <a:close/>
                <a:moveTo>
                  <a:pt x="450" y="5"/>
                </a:moveTo>
                <a:lnTo>
                  <a:pt x="456" y="5"/>
                </a:lnTo>
                <a:lnTo>
                  <a:pt x="456" y="5"/>
                </a:lnTo>
                <a:lnTo>
                  <a:pt x="458" y="2"/>
                </a:lnTo>
                <a:lnTo>
                  <a:pt x="456" y="2"/>
                </a:lnTo>
                <a:lnTo>
                  <a:pt x="450" y="0"/>
                </a:lnTo>
                <a:lnTo>
                  <a:pt x="445" y="0"/>
                </a:lnTo>
                <a:lnTo>
                  <a:pt x="442" y="2"/>
                </a:lnTo>
                <a:lnTo>
                  <a:pt x="445" y="5"/>
                </a:lnTo>
                <a:lnTo>
                  <a:pt x="450" y="5"/>
                </a:ln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5" name="Freeform 12"/>
          <p:cNvSpPr>
            <a:spLocks noEditPoints="1"/>
          </p:cNvSpPr>
          <p:nvPr/>
        </p:nvSpPr>
        <p:spPr bwMode="auto">
          <a:xfrm>
            <a:off x="7422995" y="515454"/>
            <a:ext cx="1519238" cy="2546350"/>
          </a:xfrm>
          <a:custGeom>
            <a:avLst/>
            <a:gdLst>
              <a:gd name="T0" fmla="*/ 209 w 957"/>
              <a:gd name="T1" fmla="*/ 105 h 1604"/>
              <a:gd name="T2" fmla="*/ 258 w 957"/>
              <a:gd name="T3" fmla="*/ 32 h 1604"/>
              <a:gd name="T4" fmla="*/ 217 w 957"/>
              <a:gd name="T5" fmla="*/ 37 h 1604"/>
              <a:gd name="T6" fmla="*/ 145 w 957"/>
              <a:gd name="T7" fmla="*/ 29 h 1604"/>
              <a:gd name="T8" fmla="*/ 148 w 957"/>
              <a:gd name="T9" fmla="*/ 56 h 1604"/>
              <a:gd name="T10" fmla="*/ 831 w 957"/>
              <a:gd name="T11" fmla="*/ 306 h 1604"/>
              <a:gd name="T12" fmla="*/ 812 w 957"/>
              <a:gd name="T13" fmla="*/ 40 h 1604"/>
              <a:gd name="T14" fmla="*/ 799 w 957"/>
              <a:gd name="T15" fmla="*/ 51 h 1604"/>
              <a:gd name="T16" fmla="*/ 847 w 957"/>
              <a:gd name="T17" fmla="*/ 507 h 1604"/>
              <a:gd name="T18" fmla="*/ 796 w 957"/>
              <a:gd name="T19" fmla="*/ 96 h 1604"/>
              <a:gd name="T20" fmla="*/ 769 w 957"/>
              <a:gd name="T21" fmla="*/ 75 h 1604"/>
              <a:gd name="T22" fmla="*/ 362 w 957"/>
              <a:gd name="T23" fmla="*/ 126 h 1604"/>
              <a:gd name="T24" fmla="*/ 65 w 957"/>
              <a:gd name="T25" fmla="*/ 416 h 1604"/>
              <a:gd name="T26" fmla="*/ 378 w 957"/>
              <a:gd name="T27" fmla="*/ 5 h 1604"/>
              <a:gd name="T28" fmla="*/ 469 w 957"/>
              <a:gd name="T29" fmla="*/ 56 h 1604"/>
              <a:gd name="T30" fmla="*/ 847 w 957"/>
              <a:gd name="T31" fmla="*/ 343 h 1604"/>
              <a:gd name="T32" fmla="*/ 826 w 957"/>
              <a:gd name="T33" fmla="*/ 324 h 1604"/>
              <a:gd name="T34" fmla="*/ 823 w 957"/>
              <a:gd name="T35" fmla="*/ 290 h 1604"/>
              <a:gd name="T36" fmla="*/ 799 w 957"/>
              <a:gd name="T37" fmla="*/ 303 h 1604"/>
              <a:gd name="T38" fmla="*/ 834 w 957"/>
              <a:gd name="T39" fmla="*/ 354 h 1604"/>
              <a:gd name="T40" fmla="*/ 759 w 957"/>
              <a:gd name="T41" fmla="*/ 271 h 1604"/>
              <a:gd name="T42" fmla="*/ 834 w 957"/>
              <a:gd name="T43" fmla="*/ 493 h 1604"/>
              <a:gd name="T44" fmla="*/ 799 w 957"/>
              <a:gd name="T45" fmla="*/ 499 h 1604"/>
              <a:gd name="T46" fmla="*/ 756 w 957"/>
              <a:gd name="T47" fmla="*/ 295 h 1604"/>
              <a:gd name="T48" fmla="*/ 901 w 957"/>
              <a:gd name="T49" fmla="*/ 555 h 1604"/>
              <a:gd name="T50" fmla="*/ 820 w 957"/>
              <a:gd name="T51" fmla="*/ 523 h 1604"/>
              <a:gd name="T52" fmla="*/ 716 w 957"/>
              <a:gd name="T53" fmla="*/ 442 h 1604"/>
              <a:gd name="T54" fmla="*/ 732 w 957"/>
              <a:gd name="T55" fmla="*/ 346 h 1604"/>
              <a:gd name="T56" fmla="*/ 729 w 957"/>
              <a:gd name="T57" fmla="*/ 279 h 1604"/>
              <a:gd name="T58" fmla="*/ 751 w 957"/>
              <a:gd name="T59" fmla="*/ 249 h 1604"/>
              <a:gd name="T60" fmla="*/ 783 w 957"/>
              <a:gd name="T61" fmla="*/ 228 h 1604"/>
              <a:gd name="T62" fmla="*/ 799 w 957"/>
              <a:gd name="T63" fmla="*/ 214 h 1604"/>
              <a:gd name="T64" fmla="*/ 804 w 957"/>
              <a:gd name="T65" fmla="*/ 190 h 1604"/>
              <a:gd name="T66" fmla="*/ 845 w 957"/>
              <a:gd name="T67" fmla="*/ 153 h 1604"/>
              <a:gd name="T68" fmla="*/ 796 w 957"/>
              <a:gd name="T69" fmla="*/ 107 h 1604"/>
              <a:gd name="T70" fmla="*/ 783 w 957"/>
              <a:gd name="T71" fmla="*/ 139 h 1604"/>
              <a:gd name="T72" fmla="*/ 745 w 957"/>
              <a:gd name="T73" fmla="*/ 137 h 1604"/>
              <a:gd name="T74" fmla="*/ 711 w 957"/>
              <a:gd name="T75" fmla="*/ 134 h 1604"/>
              <a:gd name="T76" fmla="*/ 716 w 957"/>
              <a:gd name="T77" fmla="*/ 105 h 1604"/>
              <a:gd name="T78" fmla="*/ 670 w 957"/>
              <a:gd name="T79" fmla="*/ 129 h 1604"/>
              <a:gd name="T80" fmla="*/ 622 w 957"/>
              <a:gd name="T81" fmla="*/ 123 h 1604"/>
              <a:gd name="T82" fmla="*/ 550 w 957"/>
              <a:gd name="T83" fmla="*/ 110 h 1604"/>
              <a:gd name="T84" fmla="*/ 520 w 957"/>
              <a:gd name="T85" fmla="*/ 83 h 1604"/>
              <a:gd name="T86" fmla="*/ 469 w 957"/>
              <a:gd name="T87" fmla="*/ 86 h 1604"/>
              <a:gd name="T88" fmla="*/ 418 w 957"/>
              <a:gd name="T89" fmla="*/ 43 h 1604"/>
              <a:gd name="T90" fmla="*/ 373 w 957"/>
              <a:gd name="T91" fmla="*/ 35 h 1604"/>
              <a:gd name="T92" fmla="*/ 341 w 957"/>
              <a:gd name="T93" fmla="*/ 32 h 1604"/>
              <a:gd name="T94" fmla="*/ 327 w 957"/>
              <a:gd name="T95" fmla="*/ 24 h 1604"/>
              <a:gd name="T96" fmla="*/ 300 w 957"/>
              <a:gd name="T97" fmla="*/ 37 h 1604"/>
              <a:gd name="T98" fmla="*/ 343 w 957"/>
              <a:gd name="T99" fmla="*/ 54 h 1604"/>
              <a:gd name="T100" fmla="*/ 394 w 957"/>
              <a:gd name="T101" fmla="*/ 123 h 1604"/>
              <a:gd name="T102" fmla="*/ 338 w 957"/>
              <a:gd name="T103" fmla="*/ 134 h 1604"/>
              <a:gd name="T104" fmla="*/ 242 w 957"/>
              <a:gd name="T105" fmla="*/ 121 h 1604"/>
              <a:gd name="T106" fmla="*/ 199 w 957"/>
              <a:gd name="T107" fmla="*/ 147 h 1604"/>
              <a:gd name="T108" fmla="*/ 188 w 957"/>
              <a:gd name="T109" fmla="*/ 172 h 1604"/>
              <a:gd name="T110" fmla="*/ 169 w 957"/>
              <a:gd name="T111" fmla="*/ 182 h 1604"/>
              <a:gd name="T112" fmla="*/ 145 w 957"/>
              <a:gd name="T113" fmla="*/ 190 h 1604"/>
              <a:gd name="T114" fmla="*/ 118 w 957"/>
              <a:gd name="T115" fmla="*/ 265 h 1604"/>
              <a:gd name="T116" fmla="*/ 67 w 957"/>
              <a:gd name="T117" fmla="*/ 327 h 1604"/>
              <a:gd name="T118" fmla="*/ 49 w 957"/>
              <a:gd name="T119" fmla="*/ 378 h 1604"/>
              <a:gd name="T120" fmla="*/ 102 w 957"/>
              <a:gd name="T121" fmla="*/ 402 h 1604"/>
              <a:gd name="T122" fmla="*/ 62 w 957"/>
              <a:gd name="T123" fmla="*/ 448 h 1604"/>
              <a:gd name="T124" fmla="*/ 19 w 957"/>
              <a:gd name="T125" fmla="*/ 434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7" h="1604">
                <a:moveTo>
                  <a:pt x="145" y="32"/>
                </a:moveTo>
                <a:lnTo>
                  <a:pt x="148" y="37"/>
                </a:lnTo>
                <a:lnTo>
                  <a:pt x="148" y="37"/>
                </a:lnTo>
                <a:lnTo>
                  <a:pt x="148" y="37"/>
                </a:lnTo>
                <a:lnTo>
                  <a:pt x="148" y="40"/>
                </a:lnTo>
                <a:lnTo>
                  <a:pt x="148" y="40"/>
                </a:lnTo>
                <a:lnTo>
                  <a:pt x="148" y="40"/>
                </a:lnTo>
                <a:lnTo>
                  <a:pt x="148" y="40"/>
                </a:lnTo>
                <a:lnTo>
                  <a:pt x="148" y="43"/>
                </a:lnTo>
                <a:lnTo>
                  <a:pt x="148" y="43"/>
                </a:lnTo>
                <a:lnTo>
                  <a:pt x="148" y="45"/>
                </a:lnTo>
                <a:lnTo>
                  <a:pt x="150" y="56"/>
                </a:lnTo>
                <a:lnTo>
                  <a:pt x="153" y="59"/>
                </a:lnTo>
                <a:lnTo>
                  <a:pt x="156" y="62"/>
                </a:lnTo>
                <a:lnTo>
                  <a:pt x="156" y="62"/>
                </a:lnTo>
                <a:lnTo>
                  <a:pt x="156" y="62"/>
                </a:lnTo>
                <a:lnTo>
                  <a:pt x="156" y="62"/>
                </a:lnTo>
                <a:lnTo>
                  <a:pt x="158" y="64"/>
                </a:lnTo>
                <a:lnTo>
                  <a:pt x="158" y="72"/>
                </a:lnTo>
                <a:lnTo>
                  <a:pt x="158" y="75"/>
                </a:lnTo>
                <a:lnTo>
                  <a:pt x="161" y="75"/>
                </a:lnTo>
                <a:lnTo>
                  <a:pt x="164" y="75"/>
                </a:lnTo>
                <a:lnTo>
                  <a:pt x="164" y="75"/>
                </a:lnTo>
                <a:lnTo>
                  <a:pt x="166" y="75"/>
                </a:lnTo>
                <a:lnTo>
                  <a:pt x="166" y="78"/>
                </a:lnTo>
                <a:lnTo>
                  <a:pt x="166" y="78"/>
                </a:lnTo>
                <a:lnTo>
                  <a:pt x="172" y="80"/>
                </a:lnTo>
                <a:lnTo>
                  <a:pt x="177" y="86"/>
                </a:lnTo>
                <a:lnTo>
                  <a:pt x="177" y="86"/>
                </a:lnTo>
                <a:lnTo>
                  <a:pt x="177" y="86"/>
                </a:lnTo>
                <a:lnTo>
                  <a:pt x="177" y="86"/>
                </a:lnTo>
                <a:lnTo>
                  <a:pt x="177" y="86"/>
                </a:lnTo>
                <a:lnTo>
                  <a:pt x="177" y="86"/>
                </a:lnTo>
                <a:lnTo>
                  <a:pt x="177" y="88"/>
                </a:lnTo>
                <a:lnTo>
                  <a:pt x="180" y="88"/>
                </a:lnTo>
                <a:lnTo>
                  <a:pt x="183" y="88"/>
                </a:lnTo>
                <a:lnTo>
                  <a:pt x="183" y="91"/>
                </a:lnTo>
                <a:lnTo>
                  <a:pt x="185" y="91"/>
                </a:lnTo>
                <a:lnTo>
                  <a:pt x="185" y="91"/>
                </a:lnTo>
                <a:lnTo>
                  <a:pt x="191" y="94"/>
                </a:lnTo>
                <a:lnTo>
                  <a:pt x="196" y="96"/>
                </a:lnTo>
                <a:lnTo>
                  <a:pt x="201" y="99"/>
                </a:lnTo>
                <a:lnTo>
                  <a:pt x="204" y="102"/>
                </a:lnTo>
                <a:lnTo>
                  <a:pt x="207" y="105"/>
                </a:lnTo>
                <a:lnTo>
                  <a:pt x="207" y="105"/>
                </a:lnTo>
                <a:lnTo>
                  <a:pt x="209" y="105"/>
                </a:lnTo>
                <a:lnTo>
                  <a:pt x="223" y="94"/>
                </a:lnTo>
                <a:lnTo>
                  <a:pt x="233" y="88"/>
                </a:lnTo>
                <a:lnTo>
                  <a:pt x="233" y="86"/>
                </a:lnTo>
                <a:lnTo>
                  <a:pt x="236" y="86"/>
                </a:lnTo>
                <a:lnTo>
                  <a:pt x="236" y="83"/>
                </a:lnTo>
                <a:lnTo>
                  <a:pt x="239" y="83"/>
                </a:lnTo>
                <a:lnTo>
                  <a:pt x="242" y="83"/>
                </a:lnTo>
                <a:lnTo>
                  <a:pt x="242" y="83"/>
                </a:lnTo>
                <a:lnTo>
                  <a:pt x="244" y="80"/>
                </a:lnTo>
                <a:lnTo>
                  <a:pt x="244" y="80"/>
                </a:lnTo>
                <a:lnTo>
                  <a:pt x="247" y="78"/>
                </a:lnTo>
                <a:lnTo>
                  <a:pt x="252" y="67"/>
                </a:lnTo>
                <a:lnTo>
                  <a:pt x="252" y="67"/>
                </a:lnTo>
                <a:lnTo>
                  <a:pt x="255" y="67"/>
                </a:lnTo>
                <a:lnTo>
                  <a:pt x="258" y="67"/>
                </a:lnTo>
                <a:lnTo>
                  <a:pt x="258" y="70"/>
                </a:lnTo>
                <a:lnTo>
                  <a:pt x="258" y="70"/>
                </a:lnTo>
                <a:lnTo>
                  <a:pt x="260" y="70"/>
                </a:lnTo>
                <a:lnTo>
                  <a:pt x="263" y="70"/>
                </a:lnTo>
                <a:lnTo>
                  <a:pt x="263" y="67"/>
                </a:lnTo>
                <a:lnTo>
                  <a:pt x="263" y="67"/>
                </a:lnTo>
                <a:lnTo>
                  <a:pt x="260" y="64"/>
                </a:lnTo>
                <a:lnTo>
                  <a:pt x="260" y="62"/>
                </a:lnTo>
                <a:lnTo>
                  <a:pt x="263" y="56"/>
                </a:lnTo>
                <a:lnTo>
                  <a:pt x="263" y="56"/>
                </a:lnTo>
                <a:lnTo>
                  <a:pt x="266" y="54"/>
                </a:lnTo>
                <a:lnTo>
                  <a:pt x="268" y="56"/>
                </a:lnTo>
                <a:lnTo>
                  <a:pt x="268" y="56"/>
                </a:lnTo>
                <a:lnTo>
                  <a:pt x="268" y="54"/>
                </a:lnTo>
                <a:lnTo>
                  <a:pt x="268" y="51"/>
                </a:lnTo>
                <a:lnTo>
                  <a:pt x="268" y="48"/>
                </a:lnTo>
                <a:lnTo>
                  <a:pt x="268" y="48"/>
                </a:lnTo>
                <a:lnTo>
                  <a:pt x="268" y="45"/>
                </a:lnTo>
                <a:lnTo>
                  <a:pt x="268" y="45"/>
                </a:lnTo>
                <a:lnTo>
                  <a:pt x="266" y="45"/>
                </a:lnTo>
                <a:lnTo>
                  <a:pt x="263" y="45"/>
                </a:lnTo>
                <a:lnTo>
                  <a:pt x="263" y="45"/>
                </a:lnTo>
                <a:lnTo>
                  <a:pt x="263" y="45"/>
                </a:lnTo>
                <a:lnTo>
                  <a:pt x="263" y="45"/>
                </a:lnTo>
                <a:lnTo>
                  <a:pt x="260" y="43"/>
                </a:lnTo>
                <a:lnTo>
                  <a:pt x="260" y="40"/>
                </a:lnTo>
                <a:lnTo>
                  <a:pt x="260" y="37"/>
                </a:lnTo>
                <a:lnTo>
                  <a:pt x="258" y="37"/>
                </a:lnTo>
                <a:lnTo>
                  <a:pt x="260" y="35"/>
                </a:lnTo>
                <a:lnTo>
                  <a:pt x="258" y="32"/>
                </a:lnTo>
                <a:lnTo>
                  <a:pt x="258" y="32"/>
                </a:lnTo>
                <a:lnTo>
                  <a:pt x="255" y="29"/>
                </a:lnTo>
                <a:lnTo>
                  <a:pt x="255" y="29"/>
                </a:lnTo>
                <a:lnTo>
                  <a:pt x="252" y="32"/>
                </a:lnTo>
                <a:lnTo>
                  <a:pt x="252" y="32"/>
                </a:lnTo>
                <a:lnTo>
                  <a:pt x="250" y="32"/>
                </a:lnTo>
                <a:lnTo>
                  <a:pt x="250" y="29"/>
                </a:lnTo>
                <a:lnTo>
                  <a:pt x="250" y="29"/>
                </a:lnTo>
                <a:lnTo>
                  <a:pt x="247" y="29"/>
                </a:lnTo>
                <a:lnTo>
                  <a:pt x="247" y="32"/>
                </a:lnTo>
                <a:lnTo>
                  <a:pt x="247" y="32"/>
                </a:lnTo>
                <a:lnTo>
                  <a:pt x="247" y="35"/>
                </a:lnTo>
                <a:lnTo>
                  <a:pt x="244" y="35"/>
                </a:lnTo>
                <a:lnTo>
                  <a:pt x="244" y="35"/>
                </a:lnTo>
                <a:lnTo>
                  <a:pt x="244" y="32"/>
                </a:lnTo>
                <a:lnTo>
                  <a:pt x="244" y="32"/>
                </a:lnTo>
                <a:lnTo>
                  <a:pt x="244" y="29"/>
                </a:lnTo>
                <a:lnTo>
                  <a:pt x="244" y="27"/>
                </a:lnTo>
                <a:lnTo>
                  <a:pt x="244" y="27"/>
                </a:lnTo>
                <a:lnTo>
                  <a:pt x="242" y="24"/>
                </a:lnTo>
                <a:lnTo>
                  <a:pt x="239" y="24"/>
                </a:lnTo>
                <a:lnTo>
                  <a:pt x="236" y="27"/>
                </a:lnTo>
                <a:lnTo>
                  <a:pt x="236" y="29"/>
                </a:lnTo>
                <a:lnTo>
                  <a:pt x="233" y="32"/>
                </a:lnTo>
                <a:lnTo>
                  <a:pt x="233" y="35"/>
                </a:lnTo>
                <a:lnTo>
                  <a:pt x="233" y="35"/>
                </a:lnTo>
                <a:lnTo>
                  <a:pt x="233" y="35"/>
                </a:lnTo>
                <a:lnTo>
                  <a:pt x="233" y="35"/>
                </a:lnTo>
                <a:lnTo>
                  <a:pt x="233" y="35"/>
                </a:lnTo>
                <a:lnTo>
                  <a:pt x="233" y="35"/>
                </a:lnTo>
                <a:lnTo>
                  <a:pt x="236" y="37"/>
                </a:lnTo>
                <a:lnTo>
                  <a:pt x="236" y="37"/>
                </a:lnTo>
                <a:lnTo>
                  <a:pt x="236" y="40"/>
                </a:lnTo>
                <a:lnTo>
                  <a:pt x="236" y="40"/>
                </a:lnTo>
                <a:lnTo>
                  <a:pt x="236" y="43"/>
                </a:lnTo>
                <a:lnTo>
                  <a:pt x="236" y="45"/>
                </a:lnTo>
                <a:lnTo>
                  <a:pt x="236" y="48"/>
                </a:lnTo>
                <a:lnTo>
                  <a:pt x="236" y="45"/>
                </a:lnTo>
                <a:lnTo>
                  <a:pt x="231" y="40"/>
                </a:lnTo>
                <a:lnTo>
                  <a:pt x="231" y="37"/>
                </a:lnTo>
                <a:lnTo>
                  <a:pt x="228" y="35"/>
                </a:lnTo>
                <a:lnTo>
                  <a:pt x="228" y="32"/>
                </a:lnTo>
                <a:lnTo>
                  <a:pt x="228" y="32"/>
                </a:lnTo>
                <a:lnTo>
                  <a:pt x="225" y="32"/>
                </a:lnTo>
                <a:lnTo>
                  <a:pt x="223" y="35"/>
                </a:lnTo>
                <a:lnTo>
                  <a:pt x="220" y="37"/>
                </a:lnTo>
                <a:lnTo>
                  <a:pt x="217" y="37"/>
                </a:lnTo>
                <a:lnTo>
                  <a:pt x="217" y="37"/>
                </a:lnTo>
                <a:lnTo>
                  <a:pt x="215" y="48"/>
                </a:lnTo>
                <a:lnTo>
                  <a:pt x="215" y="48"/>
                </a:lnTo>
                <a:lnTo>
                  <a:pt x="215" y="48"/>
                </a:lnTo>
                <a:lnTo>
                  <a:pt x="212" y="43"/>
                </a:lnTo>
                <a:lnTo>
                  <a:pt x="212" y="43"/>
                </a:lnTo>
                <a:lnTo>
                  <a:pt x="209" y="40"/>
                </a:lnTo>
                <a:lnTo>
                  <a:pt x="209" y="40"/>
                </a:lnTo>
                <a:lnTo>
                  <a:pt x="207" y="37"/>
                </a:lnTo>
                <a:lnTo>
                  <a:pt x="204" y="37"/>
                </a:lnTo>
                <a:lnTo>
                  <a:pt x="201" y="37"/>
                </a:lnTo>
                <a:lnTo>
                  <a:pt x="199" y="40"/>
                </a:lnTo>
                <a:lnTo>
                  <a:pt x="196" y="43"/>
                </a:lnTo>
                <a:lnTo>
                  <a:pt x="188" y="43"/>
                </a:lnTo>
                <a:lnTo>
                  <a:pt x="183" y="45"/>
                </a:lnTo>
                <a:lnTo>
                  <a:pt x="180" y="51"/>
                </a:lnTo>
                <a:lnTo>
                  <a:pt x="180" y="51"/>
                </a:lnTo>
                <a:lnTo>
                  <a:pt x="177" y="45"/>
                </a:lnTo>
                <a:lnTo>
                  <a:pt x="175" y="45"/>
                </a:lnTo>
                <a:lnTo>
                  <a:pt x="175" y="45"/>
                </a:lnTo>
                <a:lnTo>
                  <a:pt x="177" y="40"/>
                </a:lnTo>
                <a:lnTo>
                  <a:pt x="175" y="40"/>
                </a:lnTo>
                <a:lnTo>
                  <a:pt x="175" y="40"/>
                </a:lnTo>
                <a:lnTo>
                  <a:pt x="169" y="45"/>
                </a:lnTo>
                <a:lnTo>
                  <a:pt x="169" y="45"/>
                </a:lnTo>
                <a:lnTo>
                  <a:pt x="166" y="45"/>
                </a:lnTo>
                <a:lnTo>
                  <a:pt x="166" y="45"/>
                </a:lnTo>
                <a:lnTo>
                  <a:pt x="164" y="45"/>
                </a:lnTo>
                <a:lnTo>
                  <a:pt x="166" y="43"/>
                </a:lnTo>
                <a:lnTo>
                  <a:pt x="169" y="40"/>
                </a:lnTo>
                <a:lnTo>
                  <a:pt x="169" y="37"/>
                </a:lnTo>
                <a:lnTo>
                  <a:pt x="169" y="37"/>
                </a:lnTo>
                <a:lnTo>
                  <a:pt x="169" y="35"/>
                </a:lnTo>
                <a:lnTo>
                  <a:pt x="166" y="35"/>
                </a:lnTo>
                <a:lnTo>
                  <a:pt x="164" y="32"/>
                </a:lnTo>
                <a:lnTo>
                  <a:pt x="164" y="35"/>
                </a:lnTo>
                <a:lnTo>
                  <a:pt x="164" y="35"/>
                </a:lnTo>
                <a:lnTo>
                  <a:pt x="161" y="35"/>
                </a:lnTo>
                <a:lnTo>
                  <a:pt x="161" y="37"/>
                </a:lnTo>
                <a:lnTo>
                  <a:pt x="158" y="35"/>
                </a:lnTo>
                <a:lnTo>
                  <a:pt x="153" y="27"/>
                </a:lnTo>
                <a:lnTo>
                  <a:pt x="148" y="21"/>
                </a:lnTo>
                <a:lnTo>
                  <a:pt x="145" y="21"/>
                </a:lnTo>
                <a:lnTo>
                  <a:pt x="145" y="24"/>
                </a:lnTo>
                <a:lnTo>
                  <a:pt x="145" y="27"/>
                </a:lnTo>
                <a:lnTo>
                  <a:pt x="145" y="29"/>
                </a:lnTo>
                <a:lnTo>
                  <a:pt x="145" y="32"/>
                </a:lnTo>
                <a:lnTo>
                  <a:pt x="145" y="32"/>
                </a:lnTo>
                <a:close/>
                <a:moveTo>
                  <a:pt x="108" y="88"/>
                </a:moveTo>
                <a:lnTo>
                  <a:pt x="110" y="91"/>
                </a:lnTo>
                <a:lnTo>
                  <a:pt x="110" y="91"/>
                </a:lnTo>
                <a:lnTo>
                  <a:pt x="116" y="94"/>
                </a:lnTo>
                <a:lnTo>
                  <a:pt x="118" y="94"/>
                </a:lnTo>
                <a:lnTo>
                  <a:pt x="121" y="91"/>
                </a:lnTo>
                <a:lnTo>
                  <a:pt x="132" y="88"/>
                </a:lnTo>
                <a:lnTo>
                  <a:pt x="134" y="88"/>
                </a:lnTo>
                <a:lnTo>
                  <a:pt x="137" y="86"/>
                </a:lnTo>
                <a:lnTo>
                  <a:pt x="140" y="86"/>
                </a:lnTo>
                <a:lnTo>
                  <a:pt x="142" y="88"/>
                </a:lnTo>
                <a:lnTo>
                  <a:pt x="145" y="88"/>
                </a:lnTo>
                <a:lnTo>
                  <a:pt x="145" y="88"/>
                </a:lnTo>
                <a:lnTo>
                  <a:pt x="148" y="91"/>
                </a:lnTo>
                <a:lnTo>
                  <a:pt x="153" y="91"/>
                </a:lnTo>
                <a:lnTo>
                  <a:pt x="156" y="91"/>
                </a:lnTo>
                <a:lnTo>
                  <a:pt x="158" y="94"/>
                </a:lnTo>
                <a:lnTo>
                  <a:pt x="161" y="94"/>
                </a:lnTo>
                <a:lnTo>
                  <a:pt x="166" y="94"/>
                </a:lnTo>
                <a:lnTo>
                  <a:pt x="172" y="91"/>
                </a:lnTo>
                <a:lnTo>
                  <a:pt x="172" y="91"/>
                </a:lnTo>
                <a:lnTo>
                  <a:pt x="172" y="88"/>
                </a:lnTo>
                <a:lnTo>
                  <a:pt x="175" y="86"/>
                </a:lnTo>
                <a:lnTo>
                  <a:pt x="172" y="86"/>
                </a:lnTo>
                <a:lnTo>
                  <a:pt x="172" y="83"/>
                </a:lnTo>
                <a:lnTo>
                  <a:pt x="166" y="80"/>
                </a:lnTo>
                <a:lnTo>
                  <a:pt x="164" y="80"/>
                </a:lnTo>
                <a:lnTo>
                  <a:pt x="164" y="80"/>
                </a:lnTo>
                <a:lnTo>
                  <a:pt x="161" y="80"/>
                </a:lnTo>
                <a:lnTo>
                  <a:pt x="158" y="78"/>
                </a:lnTo>
                <a:lnTo>
                  <a:pt x="158" y="78"/>
                </a:lnTo>
                <a:lnTo>
                  <a:pt x="156" y="78"/>
                </a:lnTo>
                <a:lnTo>
                  <a:pt x="156" y="78"/>
                </a:lnTo>
                <a:lnTo>
                  <a:pt x="156" y="78"/>
                </a:lnTo>
                <a:lnTo>
                  <a:pt x="153" y="80"/>
                </a:lnTo>
                <a:lnTo>
                  <a:pt x="153" y="78"/>
                </a:lnTo>
                <a:lnTo>
                  <a:pt x="153" y="78"/>
                </a:lnTo>
                <a:lnTo>
                  <a:pt x="156" y="75"/>
                </a:lnTo>
                <a:lnTo>
                  <a:pt x="156" y="70"/>
                </a:lnTo>
                <a:lnTo>
                  <a:pt x="156" y="67"/>
                </a:lnTo>
                <a:lnTo>
                  <a:pt x="153" y="64"/>
                </a:lnTo>
                <a:lnTo>
                  <a:pt x="148" y="62"/>
                </a:lnTo>
                <a:lnTo>
                  <a:pt x="148" y="59"/>
                </a:lnTo>
                <a:lnTo>
                  <a:pt x="148" y="56"/>
                </a:lnTo>
                <a:lnTo>
                  <a:pt x="148" y="54"/>
                </a:lnTo>
                <a:lnTo>
                  <a:pt x="148" y="51"/>
                </a:lnTo>
                <a:lnTo>
                  <a:pt x="148" y="51"/>
                </a:lnTo>
                <a:lnTo>
                  <a:pt x="145" y="45"/>
                </a:lnTo>
                <a:lnTo>
                  <a:pt x="145" y="43"/>
                </a:lnTo>
                <a:lnTo>
                  <a:pt x="142" y="40"/>
                </a:lnTo>
                <a:lnTo>
                  <a:pt x="142" y="37"/>
                </a:lnTo>
                <a:lnTo>
                  <a:pt x="140" y="40"/>
                </a:lnTo>
                <a:lnTo>
                  <a:pt x="140" y="40"/>
                </a:lnTo>
                <a:lnTo>
                  <a:pt x="137" y="40"/>
                </a:lnTo>
                <a:lnTo>
                  <a:pt x="134" y="40"/>
                </a:lnTo>
                <a:lnTo>
                  <a:pt x="134" y="43"/>
                </a:lnTo>
                <a:lnTo>
                  <a:pt x="129" y="48"/>
                </a:lnTo>
                <a:lnTo>
                  <a:pt x="129" y="48"/>
                </a:lnTo>
                <a:lnTo>
                  <a:pt x="126" y="51"/>
                </a:lnTo>
                <a:lnTo>
                  <a:pt x="124" y="51"/>
                </a:lnTo>
                <a:lnTo>
                  <a:pt x="124" y="51"/>
                </a:lnTo>
                <a:lnTo>
                  <a:pt x="121" y="56"/>
                </a:lnTo>
                <a:lnTo>
                  <a:pt x="124" y="56"/>
                </a:lnTo>
                <a:lnTo>
                  <a:pt x="124" y="56"/>
                </a:lnTo>
                <a:lnTo>
                  <a:pt x="126" y="56"/>
                </a:lnTo>
                <a:lnTo>
                  <a:pt x="126" y="56"/>
                </a:lnTo>
                <a:lnTo>
                  <a:pt x="126" y="59"/>
                </a:lnTo>
                <a:lnTo>
                  <a:pt x="126" y="59"/>
                </a:lnTo>
                <a:lnTo>
                  <a:pt x="126" y="62"/>
                </a:lnTo>
                <a:lnTo>
                  <a:pt x="126" y="62"/>
                </a:lnTo>
                <a:lnTo>
                  <a:pt x="126" y="72"/>
                </a:lnTo>
                <a:lnTo>
                  <a:pt x="126" y="75"/>
                </a:lnTo>
                <a:lnTo>
                  <a:pt x="126" y="78"/>
                </a:lnTo>
                <a:lnTo>
                  <a:pt x="124" y="78"/>
                </a:lnTo>
                <a:lnTo>
                  <a:pt x="121" y="80"/>
                </a:lnTo>
                <a:lnTo>
                  <a:pt x="118" y="78"/>
                </a:lnTo>
                <a:lnTo>
                  <a:pt x="116" y="75"/>
                </a:lnTo>
                <a:lnTo>
                  <a:pt x="113" y="75"/>
                </a:lnTo>
                <a:lnTo>
                  <a:pt x="113" y="78"/>
                </a:lnTo>
                <a:lnTo>
                  <a:pt x="113" y="83"/>
                </a:lnTo>
                <a:lnTo>
                  <a:pt x="113" y="86"/>
                </a:lnTo>
                <a:lnTo>
                  <a:pt x="110" y="86"/>
                </a:lnTo>
                <a:lnTo>
                  <a:pt x="110" y="86"/>
                </a:lnTo>
                <a:lnTo>
                  <a:pt x="108" y="86"/>
                </a:lnTo>
                <a:lnTo>
                  <a:pt x="108" y="88"/>
                </a:lnTo>
                <a:lnTo>
                  <a:pt x="108" y="88"/>
                </a:lnTo>
                <a:lnTo>
                  <a:pt x="108" y="88"/>
                </a:lnTo>
                <a:close/>
                <a:moveTo>
                  <a:pt x="831" y="303"/>
                </a:moveTo>
                <a:lnTo>
                  <a:pt x="831" y="306"/>
                </a:lnTo>
                <a:lnTo>
                  <a:pt x="831" y="306"/>
                </a:lnTo>
                <a:lnTo>
                  <a:pt x="831" y="306"/>
                </a:lnTo>
                <a:lnTo>
                  <a:pt x="831" y="303"/>
                </a:lnTo>
                <a:lnTo>
                  <a:pt x="831" y="303"/>
                </a:lnTo>
                <a:lnTo>
                  <a:pt x="831" y="303"/>
                </a:lnTo>
                <a:lnTo>
                  <a:pt x="831" y="303"/>
                </a:lnTo>
                <a:close/>
                <a:moveTo>
                  <a:pt x="649" y="105"/>
                </a:moveTo>
                <a:lnTo>
                  <a:pt x="652" y="102"/>
                </a:lnTo>
                <a:lnTo>
                  <a:pt x="652" y="102"/>
                </a:lnTo>
                <a:lnTo>
                  <a:pt x="652" y="102"/>
                </a:lnTo>
                <a:lnTo>
                  <a:pt x="649" y="102"/>
                </a:lnTo>
                <a:lnTo>
                  <a:pt x="646" y="102"/>
                </a:lnTo>
                <a:lnTo>
                  <a:pt x="644" y="105"/>
                </a:lnTo>
                <a:lnTo>
                  <a:pt x="646" y="105"/>
                </a:lnTo>
                <a:lnTo>
                  <a:pt x="649" y="105"/>
                </a:lnTo>
                <a:close/>
                <a:moveTo>
                  <a:pt x="630" y="115"/>
                </a:moveTo>
                <a:lnTo>
                  <a:pt x="633" y="115"/>
                </a:lnTo>
                <a:lnTo>
                  <a:pt x="635" y="115"/>
                </a:lnTo>
                <a:lnTo>
                  <a:pt x="638" y="115"/>
                </a:lnTo>
                <a:lnTo>
                  <a:pt x="635" y="113"/>
                </a:lnTo>
                <a:lnTo>
                  <a:pt x="633" y="113"/>
                </a:lnTo>
                <a:lnTo>
                  <a:pt x="630" y="113"/>
                </a:lnTo>
                <a:lnTo>
                  <a:pt x="630" y="113"/>
                </a:lnTo>
                <a:lnTo>
                  <a:pt x="630" y="115"/>
                </a:lnTo>
                <a:lnTo>
                  <a:pt x="630" y="115"/>
                </a:lnTo>
                <a:close/>
                <a:moveTo>
                  <a:pt x="625" y="121"/>
                </a:moveTo>
                <a:lnTo>
                  <a:pt x="627" y="123"/>
                </a:lnTo>
                <a:lnTo>
                  <a:pt x="627" y="123"/>
                </a:lnTo>
                <a:lnTo>
                  <a:pt x="630" y="123"/>
                </a:lnTo>
                <a:lnTo>
                  <a:pt x="630" y="121"/>
                </a:lnTo>
                <a:lnTo>
                  <a:pt x="630" y="118"/>
                </a:lnTo>
                <a:lnTo>
                  <a:pt x="630" y="118"/>
                </a:lnTo>
                <a:lnTo>
                  <a:pt x="627" y="118"/>
                </a:lnTo>
                <a:lnTo>
                  <a:pt x="625" y="118"/>
                </a:lnTo>
                <a:lnTo>
                  <a:pt x="625" y="118"/>
                </a:lnTo>
                <a:lnTo>
                  <a:pt x="622" y="115"/>
                </a:lnTo>
                <a:lnTo>
                  <a:pt x="625" y="121"/>
                </a:lnTo>
                <a:lnTo>
                  <a:pt x="625" y="121"/>
                </a:lnTo>
                <a:close/>
                <a:moveTo>
                  <a:pt x="799" y="54"/>
                </a:moveTo>
                <a:lnTo>
                  <a:pt x="802" y="51"/>
                </a:lnTo>
                <a:lnTo>
                  <a:pt x="802" y="51"/>
                </a:lnTo>
                <a:lnTo>
                  <a:pt x="802" y="51"/>
                </a:lnTo>
                <a:lnTo>
                  <a:pt x="802" y="54"/>
                </a:lnTo>
                <a:lnTo>
                  <a:pt x="802" y="54"/>
                </a:lnTo>
                <a:lnTo>
                  <a:pt x="802" y="51"/>
                </a:lnTo>
                <a:lnTo>
                  <a:pt x="810" y="43"/>
                </a:lnTo>
                <a:lnTo>
                  <a:pt x="812" y="40"/>
                </a:lnTo>
                <a:lnTo>
                  <a:pt x="815" y="35"/>
                </a:lnTo>
                <a:lnTo>
                  <a:pt x="815" y="32"/>
                </a:lnTo>
                <a:lnTo>
                  <a:pt x="818" y="29"/>
                </a:lnTo>
                <a:lnTo>
                  <a:pt x="820" y="27"/>
                </a:lnTo>
                <a:lnTo>
                  <a:pt x="820" y="27"/>
                </a:lnTo>
                <a:lnTo>
                  <a:pt x="820" y="27"/>
                </a:lnTo>
                <a:lnTo>
                  <a:pt x="820" y="27"/>
                </a:lnTo>
                <a:lnTo>
                  <a:pt x="823" y="27"/>
                </a:lnTo>
                <a:lnTo>
                  <a:pt x="823" y="24"/>
                </a:lnTo>
                <a:lnTo>
                  <a:pt x="823" y="24"/>
                </a:lnTo>
                <a:lnTo>
                  <a:pt x="823" y="19"/>
                </a:lnTo>
                <a:lnTo>
                  <a:pt x="826" y="16"/>
                </a:lnTo>
                <a:lnTo>
                  <a:pt x="826" y="11"/>
                </a:lnTo>
                <a:lnTo>
                  <a:pt x="828" y="11"/>
                </a:lnTo>
                <a:lnTo>
                  <a:pt x="828" y="8"/>
                </a:lnTo>
                <a:lnTo>
                  <a:pt x="828" y="8"/>
                </a:lnTo>
                <a:lnTo>
                  <a:pt x="828" y="8"/>
                </a:lnTo>
                <a:lnTo>
                  <a:pt x="826" y="5"/>
                </a:lnTo>
                <a:lnTo>
                  <a:pt x="826" y="5"/>
                </a:lnTo>
                <a:lnTo>
                  <a:pt x="826" y="8"/>
                </a:lnTo>
                <a:lnTo>
                  <a:pt x="826" y="8"/>
                </a:lnTo>
                <a:lnTo>
                  <a:pt x="826" y="8"/>
                </a:lnTo>
                <a:lnTo>
                  <a:pt x="823" y="8"/>
                </a:lnTo>
                <a:lnTo>
                  <a:pt x="823" y="8"/>
                </a:lnTo>
                <a:lnTo>
                  <a:pt x="823" y="8"/>
                </a:lnTo>
                <a:lnTo>
                  <a:pt x="823" y="11"/>
                </a:lnTo>
                <a:lnTo>
                  <a:pt x="823" y="13"/>
                </a:lnTo>
                <a:lnTo>
                  <a:pt x="823" y="13"/>
                </a:lnTo>
                <a:lnTo>
                  <a:pt x="823" y="13"/>
                </a:lnTo>
                <a:lnTo>
                  <a:pt x="820" y="13"/>
                </a:lnTo>
                <a:lnTo>
                  <a:pt x="820" y="19"/>
                </a:lnTo>
                <a:lnTo>
                  <a:pt x="820" y="24"/>
                </a:lnTo>
                <a:lnTo>
                  <a:pt x="820" y="24"/>
                </a:lnTo>
                <a:lnTo>
                  <a:pt x="815" y="27"/>
                </a:lnTo>
                <a:lnTo>
                  <a:pt x="810" y="32"/>
                </a:lnTo>
                <a:lnTo>
                  <a:pt x="810" y="35"/>
                </a:lnTo>
                <a:lnTo>
                  <a:pt x="807" y="37"/>
                </a:lnTo>
                <a:lnTo>
                  <a:pt x="807" y="40"/>
                </a:lnTo>
                <a:lnTo>
                  <a:pt x="804" y="40"/>
                </a:lnTo>
                <a:lnTo>
                  <a:pt x="804" y="43"/>
                </a:lnTo>
                <a:lnTo>
                  <a:pt x="804" y="45"/>
                </a:lnTo>
                <a:lnTo>
                  <a:pt x="799" y="48"/>
                </a:lnTo>
                <a:lnTo>
                  <a:pt x="799" y="48"/>
                </a:lnTo>
                <a:lnTo>
                  <a:pt x="799" y="51"/>
                </a:lnTo>
                <a:lnTo>
                  <a:pt x="799" y="51"/>
                </a:lnTo>
                <a:lnTo>
                  <a:pt x="799" y="51"/>
                </a:lnTo>
                <a:lnTo>
                  <a:pt x="799" y="54"/>
                </a:lnTo>
                <a:lnTo>
                  <a:pt x="799" y="54"/>
                </a:lnTo>
                <a:close/>
                <a:moveTo>
                  <a:pt x="831" y="126"/>
                </a:moveTo>
                <a:lnTo>
                  <a:pt x="831" y="126"/>
                </a:lnTo>
                <a:lnTo>
                  <a:pt x="834" y="126"/>
                </a:lnTo>
                <a:lnTo>
                  <a:pt x="834" y="123"/>
                </a:lnTo>
                <a:lnTo>
                  <a:pt x="834" y="123"/>
                </a:lnTo>
                <a:lnTo>
                  <a:pt x="834" y="121"/>
                </a:lnTo>
                <a:lnTo>
                  <a:pt x="834" y="118"/>
                </a:lnTo>
                <a:lnTo>
                  <a:pt x="831" y="121"/>
                </a:lnTo>
                <a:lnTo>
                  <a:pt x="831" y="121"/>
                </a:lnTo>
                <a:lnTo>
                  <a:pt x="831" y="123"/>
                </a:lnTo>
                <a:lnTo>
                  <a:pt x="831" y="126"/>
                </a:lnTo>
                <a:close/>
                <a:moveTo>
                  <a:pt x="807" y="86"/>
                </a:moveTo>
                <a:lnTo>
                  <a:pt x="804" y="86"/>
                </a:lnTo>
                <a:lnTo>
                  <a:pt x="804" y="88"/>
                </a:lnTo>
                <a:lnTo>
                  <a:pt x="802" y="86"/>
                </a:lnTo>
                <a:lnTo>
                  <a:pt x="802" y="88"/>
                </a:lnTo>
                <a:lnTo>
                  <a:pt x="799" y="88"/>
                </a:lnTo>
                <a:lnTo>
                  <a:pt x="802" y="88"/>
                </a:lnTo>
                <a:lnTo>
                  <a:pt x="804" y="88"/>
                </a:lnTo>
                <a:lnTo>
                  <a:pt x="807" y="88"/>
                </a:lnTo>
                <a:lnTo>
                  <a:pt x="807" y="88"/>
                </a:lnTo>
                <a:lnTo>
                  <a:pt x="807" y="86"/>
                </a:lnTo>
                <a:lnTo>
                  <a:pt x="810" y="86"/>
                </a:lnTo>
                <a:lnTo>
                  <a:pt x="812" y="83"/>
                </a:lnTo>
                <a:lnTo>
                  <a:pt x="812" y="83"/>
                </a:lnTo>
                <a:lnTo>
                  <a:pt x="810" y="83"/>
                </a:lnTo>
                <a:lnTo>
                  <a:pt x="810" y="83"/>
                </a:lnTo>
                <a:lnTo>
                  <a:pt x="807" y="86"/>
                </a:lnTo>
                <a:close/>
                <a:moveTo>
                  <a:pt x="850" y="501"/>
                </a:moveTo>
                <a:lnTo>
                  <a:pt x="850" y="501"/>
                </a:lnTo>
                <a:lnTo>
                  <a:pt x="850" y="501"/>
                </a:lnTo>
                <a:lnTo>
                  <a:pt x="847" y="501"/>
                </a:lnTo>
                <a:lnTo>
                  <a:pt x="847" y="501"/>
                </a:lnTo>
                <a:lnTo>
                  <a:pt x="845" y="501"/>
                </a:lnTo>
                <a:lnTo>
                  <a:pt x="845" y="504"/>
                </a:lnTo>
                <a:lnTo>
                  <a:pt x="845" y="507"/>
                </a:lnTo>
                <a:lnTo>
                  <a:pt x="845" y="507"/>
                </a:lnTo>
                <a:lnTo>
                  <a:pt x="845" y="507"/>
                </a:lnTo>
                <a:lnTo>
                  <a:pt x="847" y="507"/>
                </a:lnTo>
                <a:lnTo>
                  <a:pt x="847" y="507"/>
                </a:lnTo>
                <a:lnTo>
                  <a:pt x="847" y="507"/>
                </a:lnTo>
                <a:lnTo>
                  <a:pt x="847" y="507"/>
                </a:lnTo>
                <a:lnTo>
                  <a:pt x="847" y="507"/>
                </a:lnTo>
                <a:lnTo>
                  <a:pt x="847" y="507"/>
                </a:lnTo>
                <a:lnTo>
                  <a:pt x="850" y="507"/>
                </a:lnTo>
                <a:lnTo>
                  <a:pt x="850" y="507"/>
                </a:lnTo>
                <a:lnTo>
                  <a:pt x="850" y="510"/>
                </a:lnTo>
                <a:lnTo>
                  <a:pt x="850" y="512"/>
                </a:lnTo>
                <a:lnTo>
                  <a:pt x="853" y="515"/>
                </a:lnTo>
                <a:lnTo>
                  <a:pt x="853" y="515"/>
                </a:lnTo>
                <a:lnTo>
                  <a:pt x="853" y="515"/>
                </a:lnTo>
                <a:lnTo>
                  <a:pt x="855" y="515"/>
                </a:lnTo>
                <a:lnTo>
                  <a:pt x="855" y="518"/>
                </a:lnTo>
                <a:lnTo>
                  <a:pt x="855" y="518"/>
                </a:lnTo>
                <a:lnTo>
                  <a:pt x="855" y="520"/>
                </a:lnTo>
                <a:lnTo>
                  <a:pt x="858" y="518"/>
                </a:lnTo>
                <a:lnTo>
                  <a:pt x="861" y="518"/>
                </a:lnTo>
                <a:lnTo>
                  <a:pt x="861" y="515"/>
                </a:lnTo>
                <a:lnTo>
                  <a:pt x="861" y="515"/>
                </a:lnTo>
                <a:lnTo>
                  <a:pt x="861" y="512"/>
                </a:lnTo>
                <a:lnTo>
                  <a:pt x="861" y="512"/>
                </a:lnTo>
                <a:lnTo>
                  <a:pt x="861" y="512"/>
                </a:lnTo>
                <a:lnTo>
                  <a:pt x="861" y="512"/>
                </a:lnTo>
                <a:lnTo>
                  <a:pt x="858" y="510"/>
                </a:lnTo>
                <a:lnTo>
                  <a:pt x="858" y="510"/>
                </a:lnTo>
                <a:lnTo>
                  <a:pt x="858" y="507"/>
                </a:lnTo>
                <a:lnTo>
                  <a:pt x="858" y="501"/>
                </a:lnTo>
                <a:lnTo>
                  <a:pt x="858" y="499"/>
                </a:lnTo>
                <a:lnTo>
                  <a:pt x="855" y="499"/>
                </a:lnTo>
                <a:lnTo>
                  <a:pt x="855" y="496"/>
                </a:lnTo>
                <a:lnTo>
                  <a:pt x="853" y="496"/>
                </a:lnTo>
                <a:lnTo>
                  <a:pt x="853" y="493"/>
                </a:lnTo>
                <a:lnTo>
                  <a:pt x="853" y="493"/>
                </a:lnTo>
                <a:lnTo>
                  <a:pt x="850" y="496"/>
                </a:lnTo>
                <a:lnTo>
                  <a:pt x="850" y="496"/>
                </a:lnTo>
                <a:lnTo>
                  <a:pt x="850" y="501"/>
                </a:lnTo>
                <a:lnTo>
                  <a:pt x="850" y="501"/>
                </a:lnTo>
                <a:close/>
                <a:moveTo>
                  <a:pt x="799" y="88"/>
                </a:moveTo>
                <a:lnTo>
                  <a:pt x="796" y="91"/>
                </a:lnTo>
                <a:lnTo>
                  <a:pt x="796" y="94"/>
                </a:lnTo>
                <a:lnTo>
                  <a:pt x="794" y="96"/>
                </a:lnTo>
                <a:lnTo>
                  <a:pt x="794" y="99"/>
                </a:lnTo>
                <a:lnTo>
                  <a:pt x="794" y="102"/>
                </a:lnTo>
                <a:lnTo>
                  <a:pt x="794" y="102"/>
                </a:lnTo>
                <a:lnTo>
                  <a:pt x="796" y="102"/>
                </a:lnTo>
                <a:lnTo>
                  <a:pt x="796" y="99"/>
                </a:lnTo>
                <a:lnTo>
                  <a:pt x="796" y="99"/>
                </a:lnTo>
                <a:lnTo>
                  <a:pt x="796" y="99"/>
                </a:lnTo>
                <a:lnTo>
                  <a:pt x="796" y="99"/>
                </a:lnTo>
                <a:lnTo>
                  <a:pt x="796" y="96"/>
                </a:lnTo>
                <a:lnTo>
                  <a:pt x="799" y="91"/>
                </a:lnTo>
                <a:lnTo>
                  <a:pt x="799" y="88"/>
                </a:lnTo>
                <a:close/>
                <a:moveTo>
                  <a:pt x="759" y="118"/>
                </a:moveTo>
                <a:lnTo>
                  <a:pt x="759" y="118"/>
                </a:lnTo>
                <a:lnTo>
                  <a:pt x="761" y="118"/>
                </a:lnTo>
                <a:lnTo>
                  <a:pt x="764" y="121"/>
                </a:lnTo>
                <a:lnTo>
                  <a:pt x="764" y="121"/>
                </a:lnTo>
                <a:lnTo>
                  <a:pt x="767" y="118"/>
                </a:lnTo>
                <a:lnTo>
                  <a:pt x="767" y="118"/>
                </a:lnTo>
                <a:lnTo>
                  <a:pt x="767" y="118"/>
                </a:lnTo>
                <a:lnTo>
                  <a:pt x="769" y="115"/>
                </a:lnTo>
                <a:lnTo>
                  <a:pt x="772" y="115"/>
                </a:lnTo>
                <a:lnTo>
                  <a:pt x="778" y="113"/>
                </a:lnTo>
                <a:lnTo>
                  <a:pt x="778" y="110"/>
                </a:lnTo>
                <a:lnTo>
                  <a:pt x="775" y="107"/>
                </a:lnTo>
                <a:lnTo>
                  <a:pt x="775" y="110"/>
                </a:lnTo>
                <a:lnTo>
                  <a:pt x="772" y="113"/>
                </a:lnTo>
                <a:lnTo>
                  <a:pt x="769" y="113"/>
                </a:lnTo>
                <a:lnTo>
                  <a:pt x="769" y="113"/>
                </a:lnTo>
                <a:lnTo>
                  <a:pt x="767" y="115"/>
                </a:lnTo>
                <a:lnTo>
                  <a:pt x="767" y="115"/>
                </a:lnTo>
                <a:lnTo>
                  <a:pt x="767" y="113"/>
                </a:lnTo>
                <a:lnTo>
                  <a:pt x="767" y="113"/>
                </a:lnTo>
                <a:lnTo>
                  <a:pt x="767" y="113"/>
                </a:lnTo>
                <a:lnTo>
                  <a:pt x="767" y="113"/>
                </a:lnTo>
                <a:lnTo>
                  <a:pt x="767" y="110"/>
                </a:lnTo>
                <a:lnTo>
                  <a:pt x="764" y="113"/>
                </a:lnTo>
                <a:lnTo>
                  <a:pt x="764" y="115"/>
                </a:lnTo>
                <a:lnTo>
                  <a:pt x="761" y="115"/>
                </a:lnTo>
                <a:lnTo>
                  <a:pt x="761" y="115"/>
                </a:lnTo>
                <a:lnTo>
                  <a:pt x="761" y="113"/>
                </a:lnTo>
                <a:lnTo>
                  <a:pt x="759" y="113"/>
                </a:lnTo>
                <a:lnTo>
                  <a:pt x="759" y="115"/>
                </a:lnTo>
                <a:lnTo>
                  <a:pt x="759" y="115"/>
                </a:lnTo>
                <a:lnTo>
                  <a:pt x="759" y="115"/>
                </a:lnTo>
                <a:lnTo>
                  <a:pt x="759" y="118"/>
                </a:lnTo>
                <a:close/>
                <a:moveTo>
                  <a:pt x="745" y="80"/>
                </a:moveTo>
                <a:lnTo>
                  <a:pt x="748" y="80"/>
                </a:lnTo>
                <a:lnTo>
                  <a:pt x="748" y="78"/>
                </a:lnTo>
                <a:lnTo>
                  <a:pt x="751" y="75"/>
                </a:lnTo>
                <a:lnTo>
                  <a:pt x="748" y="75"/>
                </a:lnTo>
                <a:lnTo>
                  <a:pt x="743" y="75"/>
                </a:lnTo>
                <a:lnTo>
                  <a:pt x="740" y="78"/>
                </a:lnTo>
                <a:lnTo>
                  <a:pt x="743" y="80"/>
                </a:lnTo>
                <a:lnTo>
                  <a:pt x="745" y="80"/>
                </a:lnTo>
                <a:close/>
                <a:moveTo>
                  <a:pt x="769" y="75"/>
                </a:moveTo>
                <a:lnTo>
                  <a:pt x="769" y="75"/>
                </a:lnTo>
                <a:lnTo>
                  <a:pt x="772" y="75"/>
                </a:lnTo>
                <a:lnTo>
                  <a:pt x="775" y="72"/>
                </a:lnTo>
                <a:lnTo>
                  <a:pt x="775" y="72"/>
                </a:lnTo>
                <a:lnTo>
                  <a:pt x="778" y="70"/>
                </a:lnTo>
                <a:lnTo>
                  <a:pt x="778" y="70"/>
                </a:lnTo>
                <a:lnTo>
                  <a:pt x="778" y="72"/>
                </a:lnTo>
                <a:lnTo>
                  <a:pt x="778" y="72"/>
                </a:lnTo>
                <a:lnTo>
                  <a:pt x="778" y="72"/>
                </a:lnTo>
                <a:lnTo>
                  <a:pt x="780" y="70"/>
                </a:lnTo>
                <a:lnTo>
                  <a:pt x="786" y="67"/>
                </a:lnTo>
                <a:lnTo>
                  <a:pt x="786" y="64"/>
                </a:lnTo>
                <a:lnTo>
                  <a:pt x="786" y="64"/>
                </a:lnTo>
                <a:lnTo>
                  <a:pt x="788" y="64"/>
                </a:lnTo>
                <a:lnTo>
                  <a:pt x="794" y="62"/>
                </a:lnTo>
                <a:lnTo>
                  <a:pt x="796" y="59"/>
                </a:lnTo>
                <a:lnTo>
                  <a:pt x="796" y="56"/>
                </a:lnTo>
                <a:lnTo>
                  <a:pt x="796" y="54"/>
                </a:lnTo>
                <a:lnTo>
                  <a:pt x="794" y="56"/>
                </a:lnTo>
                <a:lnTo>
                  <a:pt x="794" y="56"/>
                </a:lnTo>
                <a:lnTo>
                  <a:pt x="791" y="59"/>
                </a:lnTo>
                <a:lnTo>
                  <a:pt x="786" y="62"/>
                </a:lnTo>
                <a:lnTo>
                  <a:pt x="786" y="62"/>
                </a:lnTo>
                <a:lnTo>
                  <a:pt x="786" y="64"/>
                </a:lnTo>
                <a:lnTo>
                  <a:pt x="786" y="62"/>
                </a:lnTo>
                <a:lnTo>
                  <a:pt x="783" y="62"/>
                </a:lnTo>
                <a:lnTo>
                  <a:pt x="780" y="67"/>
                </a:lnTo>
                <a:lnTo>
                  <a:pt x="780" y="67"/>
                </a:lnTo>
                <a:lnTo>
                  <a:pt x="778" y="70"/>
                </a:lnTo>
                <a:lnTo>
                  <a:pt x="778" y="67"/>
                </a:lnTo>
                <a:lnTo>
                  <a:pt x="775" y="67"/>
                </a:lnTo>
                <a:lnTo>
                  <a:pt x="775" y="64"/>
                </a:lnTo>
                <a:lnTo>
                  <a:pt x="772" y="64"/>
                </a:lnTo>
                <a:lnTo>
                  <a:pt x="772" y="67"/>
                </a:lnTo>
                <a:lnTo>
                  <a:pt x="769" y="70"/>
                </a:lnTo>
                <a:lnTo>
                  <a:pt x="769" y="72"/>
                </a:lnTo>
                <a:lnTo>
                  <a:pt x="767" y="72"/>
                </a:lnTo>
                <a:lnTo>
                  <a:pt x="767" y="72"/>
                </a:lnTo>
                <a:lnTo>
                  <a:pt x="764" y="72"/>
                </a:lnTo>
                <a:lnTo>
                  <a:pt x="764" y="75"/>
                </a:lnTo>
                <a:lnTo>
                  <a:pt x="764" y="78"/>
                </a:lnTo>
                <a:lnTo>
                  <a:pt x="764" y="78"/>
                </a:lnTo>
                <a:lnTo>
                  <a:pt x="764" y="78"/>
                </a:lnTo>
                <a:lnTo>
                  <a:pt x="767" y="78"/>
                </a:lnTo>
                <a:lnTo>
                  <a:pt x="769" y="75"/>
                </a:lnTo>
                <a:close/>
                <a:moveTo>
                  <a:pt x="362" y="126"/>
                </a:moveTo>
                <a:lnTo>
                  <a:pt x="362" y="123"/>
                </a:lnTo>
                <a:lnTo>
                  <a:pt x="362" y="121"/>
                </a:lnTo>
                <a:lnTo>
                  <a:pt x="359" y="118"/>
                </a:lnTo>
                <a:lnTo>
                  <a:pt x="359" y="118"/>
                </a:lnTo>
                <a:lnTo>
                  <a:pt x="357" y="121"/>
                </a:lnTo>
                <a:lnTo>
                  <a:pt x="354" y="121"/>
                </a:lnTo>
                <a:lnTo>
                  <a:pt x="354" y="121"/>
                </a:lnTo>
                <a:lnTo>
                  <a:pt x="359" y="126"/>
                </a:lnTo>
                <a:lnTo>
                  <a:pt x="362" y="126"/>
                </a:lnTo>
                <a:close/>
                <a:moveTo>
                  <a:pt x="376" y="80"/>
                </a:moveTo>
                <a:lnTo>
                  <a:pt x="378" y="80"/>
                </a:lnTo>
                <a:lnTo>
                  <a:pt x="381" y="80"/>
                </a:lnTo>
                <a:lnTo>
                  <a:pt x="384" y="80"/>
                </a:lnTo>
                <a:lnTo>
                  <a:pt x="386" y="80"/>
                </a:lnTo>
                <a:lnTo>
                  <a:pt x="386" y="80"/>
                </a:lnTo>
                <a:lnTo>
                  <a:pt x="386" y="78"/>
                </a:lnTo>
                <a:lnTo>
                  <a:pt x="386" y="78"/>
                </a:lnTo>
                <a:lnTo>
                  <a:pt x="389" y="75"/>
                </a:lnTo>
                <a:lnTo>
                  <a:pt x="386" y="75"/>
                </a:lnTo>
                <a:lnTo>
                  <a:pt x="386" y="72"/>
                </a:lnTo>
                <a:lnTo>
                  <a:pt x="384" y="72"/>
                </a:lnTo>
                <a:lnTo>
                  <a:pt x="381" y="72"/>
                </a:lnTo>
                <a:lnTo>
                  <a:pt x="381" y="72"/>
                </a:lnTo>
                <a:lnTo>
                  <a:pt x="378" y="72"/>
                </a:lnTo>
                <a:lnTo>
                  <a:pt x="378" y="72"/>
                </a:lnTo>
                <a:lnTo>
                  <a:pt x="376" y="72"/>
                </a:lnTo>
                <a:lnTo>
                  <a:pt x="376" y="72"/>
                </a:lnTo>
                <a:lnTo>
                  <a:pt x="373" y="75"/>
                </a:lnTo>
                <a:lnTo>
                  <a:pt x="373" y="75"/>
                </a:lnTo>
                <a:lnTo>
                  <a:pt x="376" y="78"/>
                </a:lnTo>
                <a:lnTo>
                  <a:pt x="376" y="80"/>
                </a:lnTo>
                <a:close/>
                <a:moveTo>
                  <a:pt x="65" y="416"/>
                </a:moveTo>
                <a:lnTo>
                  <a:pt x="65" y="416"/>
                </a:lnTo>
                <a:lnTo>
                  <a:pt x="65" y="418"/>
                </a:lnTo>
                <a:lnTo>
                  <a:pt x="67" y="418"/>
                </a:lnTo>
                <a:lnTo>
                  <a:pt x="67" y="416"/>
                </a:lnTo>
                <a:lnTo>
                  <a:pt x="67" y="416"/>
                </a:lnTo>
                <a:lnTo>
                  <a:pt x="65" y="413"/>
                </a:lnTo>
                <a:lnTo>
                  <a:pt x="65" y="413"/>
                </a:lnTo>
                <a:lnTo>
                  <a:pt x="65" y="410"/>
                </a:lnTo>
                <a:lnTo>
                  <a:pt x="62" y="410"/>
                </a:lnTo>
                <a:lnTo>
                  <a:pt x="62" y="410"/>
                </a:lnTo>
                <a:lnTo>
                  <a:pt x="62" y="410"/>
                </a:lnTo>
                <a:lnTo>
                  <a:pt x="62" y="413"/>
                </a:lnTo>
                <a:lnTo>
                  <a:pt x="62" y="413"/>
                </a:lnTo>
                <a:lnTo>
                  <a:pt x="65" y="416"/>
                </a:lnTo>
                <a:close/>
                <a:moveTo>
                  <a:pt x="370" y="11"/>
                </a:moveTo>
                <a:lnTo>
                  <a:pt x="370" y="11"/>
                </a:lnTo>
                <a:lnTo>
                  <a:pt x="370" y="13"/>
                </a:lnTo>
                <a:lnTo>
                  <a:pt x="373" y="13"/>
                </a:lnTo>
                <a:lnTo>
                  <a:pt x="373" y="13"/>
                </a:lnTo>
                <a:lnTo>
                  <a:pt x="373" y="19"/>
                </a:lnTo>
                <a:lnTo>
                  <a:pt x="373" y="19"/>
                </a:lnTo>
                <a:lnTo>
                  <a:pt x="373" y="19"/>
                </a:lnTo>
                <a:lnTo>
                  <a:pt x="373" y="21"/>
                </a:lnTo>
                <a:lnTo>
                  <a:pt x="370" y="21"/>
                </a:lnTo>
                <a:lnTo>
                  <a:pt x="370" y="21"/>
                </a:lnTo>
                <a:lnTo>
                  <a:pt x="370" y="21"/>
                </a:lnTo>
                <a:lnTo>
                  <a:pt x="376" y="27"/>
                </a:lnTo>
                <a:lnTo>
                  <a:pt x="378" y="32"/>
                </a:lnTo>
                <a:lnTo>
                  <a:pt x="378" y="35"/>
                </a:lnTo>
                <a:lnTo>
                  <a:pt x="378" y="37"/>
                </a:lnTo>
                <a:lnTo>
                  <a:pt x="384" y="40"/>
                </a:lnTo>
                <a:lnTo>
                  <a:pt x="384" y="37"/>
                </a:lnTo>
                <a:lnTo>
                  <a:pt x="384" y="35"/>
                </a:lnTo>
                <a:lnTo>
                  <a:pt x="386" y="29"/>
                </a:lnTo>
                <a:lnTo>
                  <a:pt x="384" y="27"/>
                </a:lnTo>
                <a:lnTo>
                  <a:pt x="384" y="27"/>
                </a:lnTo>
                <a:lnTo>
                  <a:pt x="384" y="24"/>
                </a:lnTo>
                <a:lnTo>
                  <a:pt x="386" y="24"/>
                </a:lnTo>
                <a:lnTo>
                  <a:pt x="384" y="21"/>
                </a:lnTo>
                <a:lnTo>
                  <a:pt x="384" y="21"/>
                </a:lnTo>
                <a:lnTo>
                  <a:pt x="381" y="21"/>
                </a:lnTo>
                <a:lnTo>
                  <a:pt x="381" y="19"/>
                </a:lnTo>
                <a:lnTo>
                  <a:pt x="381" y="19"/>
                </a:lnTo>
                <a:lnTo>
                  <a:pt x="384" y="19"/>
                </a:lnTo>
                <a:lnTo>
                  <a:pt x="384" y="19"/>
                </a:lnTo>
                <a:lnTo>
                  <a:pt x="384" y="16"/>
                </a:lnTo>
                <a:lnTo>
                  <a:pt x="384" y="16"/>
                </a:lnTo>
                <a:lnTo>
                  <a:pt x="384" y="13"/>
                </a:lnTo>
                <a:lnTo>
                  <a:pt x="384" y="13"/>
                </a:lnTo>
                <a:lnTo>
                  <a:pt x="381" y="11"/>
                </a:lnTo>
                <a:lnTo>
                  <a:pt x="384" y="11"/>
                </a:lnTo>
                <a:lnTo>
                  <a:pt x="381" y="8"/>
                </a:lnTo>
                <a:lnTo>
                  <a:pt x="381" y="8"/>
                </a:lnTo>
                <a:lnTo>
                  <a:pt x="381" y="5"/>
                </a:lnTo>
                <a:lnTo>
                  <a:pt x="381" y="5"/>
                </a:lnTo>
                <a:lnTo>
                  <a:pt x="381" y="3"/>
                </a:lnTo>
                <a:lnTo>
                  <a:pt x="384" y="0"/>
                </a:lnTo>
                <a:lnTo>
                  <a:pt x="381" y="3"/>
                </a:lnTo>
                <a:lnTo>
                  <a:pt x="378" y="3"/>
                </a:lnTo>
                <a:lnTo>
                  <a:pt x="378" y="5"/>
                </a:lnTo>
                <a:lnTo>
                  <a:pt x="378" y="5"/>
                </a:lnTo>
                <a:lnTo>
                  <a:pt x="378" y="8"/>
                </a:lnTo>
                <a:lnTo>
                  <a:pt x="376" y="8"/>
                </a:lnTo>
                <a:lnTo>
                  <a:pt x="373" y="8"/>
                </a:lnTo>
                <a:lnTo>
                  <a:pt x="373" y="11"/>
                </a:lnTo>
                <a:lnTo>
                  <a:pt x="373" y="8"/>
                </a:lnTo>
                <a:lnTo>
                  <a:pt x="370" y="8"/>
                </a:lnTo>
                <a:lnTo>
                  <a:pt x="367" y="8"/>
                </a:lnTo>
                <a:lnTo>
                  <a:pt x="370" y="8"/>
                </a:lnTo>
                <a:lnTo>
                  <a:pt x="370" y="11"/>
                </a:lnTo>
                <a:close/>
                <a:moveTo>
                  <a:pt x="57" y="410"/>
                </a:moveTo>
                <a:lnTo>
                  <a:pt x="54" y="410"/>
                </a:lnTo>
                <a:lnTo>
                  <a:pt x="54" y="408"/>
                </a:lnTo>
                <a:lnTo>
                  <a:pt x="54" y="408"/>
                </a:lnTo>
                <a:lnTo>
                  <a:pt x="51" y="410"/>
                </a:lnTo>
                <a:lnTo>
                  <a:pt x="54" y="410"/>
                </a:lnTo>
                <a:lnTo>
                  <a:pt x="54" y="413"/>
                </a:lnTo>
                <a:lnTo>
                  <a:pt x="57" y="416"/>
                </a:lnTo>
                <a:lnTo>
                  <a:pt x="59" y="421"/>
                </a:lnTo>
                <a:lnTo>
                  <a:pt x="59" y="424"/>
                </a:lnTo>
                <a:lnTo>
                  <a:pt x="62" y="424"/>
                </a:lnTo>
                <a:lnTo>
                  <a:pt x="62" y="424"/>
                </a:lnTo>
                <a:lnTo>
                  <a:pt x="62" y="426"/>
                </a:lnTo>
                <a:lnTo>
                  <a:pt x="62" y="426"/>
                </a:lnTo>
                <a:lnTo>
                  <a:pt x="62" y="421"/>
                </a:lnTo>
                <a:lnTo>
                  <a:pt x="62" y="418"/>
                </a:lnTo>
                <a:lnTo>
                  <a:pt x="59" y="416"/>
                </a:lnTo>
                <a:lnTo>
                  <a:pt x="57" y="410"/>
                </a:lnTo>
                <a:close/>
                <a:moveTo>
                  <a:pt x="467" y="62"/>
                </a:moveTo>
                <a:lnTo>
                  <a:pt x="467" y="62"/>
                </a:lnTo>
                <a:lnTo>
                  <a:pt x="467" y="62"/>
                </a:lnTo>
                <a:lnTo>
                  <a:pt x="469" y="62"/>
                </a:lnTo>
                <a:lnTo>
                  <a:pt x="469" y="59"/>
                </a:lnTo>
                <a:lnTo>
                  <a:pt x="472" y="59"/>
                </a:lnTo>
                <a:lnTo>
                  <a:pt x="472" y="59"/>
                </a:lnTo>
                <a:lnTo>
                  <a:pt x="475" y="59"/>
                </a:lnTo>
                <a:lnTo>
                  <a:pt x="475" y="59"/>
                </a:lnTo>
                <a:lnTo>
                  <a:pt x="477" y="59"/>
                </a:lnTo>
                <a:lnTo>
                  <a:pt x="480" y="59"/>
                </a:lnTo>
                <a:lnTo>
                  <a:pt x="477" y="56"/>
                </a:lnTo>
                <a:lnTo>
                  <a:pt x="477" y="56"/>
                </a:lnTo>
                <a:lnTo>
                  <a:pt x="477" y="54"/>
                </a:lnTo>
                <a:lnTo>
                  <a:pt x="475" y="54"/>
                </a:lnTo>
                <a:lnTo>
                  <a:pt x="475" y="54"/>
                </a:lnTo>
                <a:lnTo>
                  <a:pt x="472" y="56"/>
                </a:lnTo>
                <a:lnTo>
                  <a:pt x="469" y="56"/>
                </a:lnTo>
                <a:lnTo>
                  <a:pt x="467" y="56"/>
                </a:lnTo>
                <a:lnTo>
                  <a:pt x="467" y="56"/>
                </a:lnTo>
                <a:lnTo>
                  <a:pt x="469" y="59"/>
                </a:lnTo>
                <a:lnTo>
                  <a:pt x="469" y="59"/>
                </a:lnTo>
                <a:lnTo>
                  <a:pt x="467" y="62"/>
                </a:lnTo>
                <a:lnTo>
                  <a:pt x="467" y="62"/>
                </a:lnTo>
                <a:close/>
                <a:moveTo>
                  <a:pt x="464" y="75"/>
                </a:moveTo>
                <a:lnTo>
                  <a:pt x="464" y="75"/>
                </a:lnTo>
                <a:lnTo>
                  <a:pt x="467" y="75"/>
                </a:lnTo>
                <a:lnTo>
                  <a:pt x="467" y="75"/>
                </a:lnTo>
                <a:lnTo>
                  <a:pt x="469" y="75"/>
                </a:lnTo>
                <a:lnTo>
                  <a:pt x="469" y="72"/>
                </a:lnTo>
                <a:lnTo>
                  <a:pt x="467" y="72"/>
                </a:lnTo>
                <a:lnTo>
                  <a:pt x="467" y="70"/>
                </a:lnTo>
                <a:lnTo>
                  <a:pt x="469" y="70"/>
                </a:lnTo>
                <a:lnTo>
                  <a:pt x="472" y="70"/>
                </a:lnTo>
                <a:lnTo>
                  <a:pt x="475" y="70"/>
                </a:lnTo>
                <a:lnTo>
                  <a:pt x="477" y="70"/>
                </a:lnTo>
                <a:lnTo>
                  <a:pt x="475" y="67"/>
                </a:lnTo>
                <a:lnTo>
                  <a:pt x="475" y="67"/>
                </a:lnTo>
                <a:lnTo>
                  <a:pt x="472" y="67"/>
                </a:lnTo>
                <a:lnTo>
                  <a:pt x="469" y="67"/>
                </a:lnTo>
                <a:lnTo>
                  <a:pt x="467" y="70"/>
                </a:lnTo>
                <a:lnTo>
                  <a:pt x="464" y="70"/>
                </a:lnTo>
                <a:lnTo>
                  <a:pt x="464" y="70"/>
                </a:lnTo>
                <a:lnTo>
                  <a:pt x="464" y="72"/>
                </a:lnTo>
                <a:lnTo>
                  <a:pt x="464" y="75"/>
                </a:lnTo>
                <a:lnTo>
                  <a:pt x="464" y="75"/>
                </a:lnTo>
                <a:close/>
                <a:moveTo>
                  <a:pt x="845" y="354"/>
                </a:moveTo>
                <a:lnTo>
                  <a:pt x="847" y="354"/>
                </a:lnTo>
                <a:lnTo>
                  <a:pt x="845" y="354"/>
                </a:lnTo>
                <a:lnTo>
                  <a:pt x="845" y="351"/>
                </a:lnTo>
                <a:lnTo>
                  <a:pt x="845" y="351"/>
                </a:lnTo>
                <a:lnTo>
                  <a:pt x="847" y="349"/>
                </a:lnTo>
                <a:lnTo>
                  <a:pt x="847" y="349"/>
                </a:lnTo>
                <a:lnTo>
                  <a:pt x="847" y="349"/>
                </a:lnTo>
                <a:lnTo>
                  <a:pt x="845" y="349"/>
                </a:lnTo>
                <a:lnTo>
                  <a:pt x="845" y="346"/>
                </a:lnTo>
                <a:lnTo>
                  <a:pt x="845" y="346"/>
                </a:lnTo>
                <a:lnTo>
                  <a:pt x="845" y="346"/>
                </a:lnTo>
                <a:lnTo>
                  <a:pt x="845" y="343"/>
                </a:lnTo>
                <a:lnTo>
                  <a:pt x="845" y="343"/>
                </a:lnTo>
                <a:lnTo>
                  <a:pt x="845" y="343"/>
                </a:lnTo>
                <a:lnTo>
                  <a:pt x="845" y="343"/>
                </a:lnTo>
                <a:lnTo>
                  <a:pt x="847" y="343"/>
                </a:lnTo>
                <a:lnTo>
                  <a:pt x="847" y="343"/>
                </a:lnTo>
                <a:lnTo>
                  <a:pt x="847" y="341"/>
                </a:lnTo>
                <a:lnTo>
                  <a:pt x="850" y="341"/>
                </a:lnTo>
                <a:lnTo>
                  <a:pt x="847" y="341"/>
                </a:lnTo>
                <a:lnTo>
                  <a:pt x="845" y="341"/>
                </a:lnTo>
                <a:lnTo>
                  <a:pt x="845" y="341"/>
                </a:lnTo>
                <a:lnTo>
                  <a:pt x="845" y="341"/>
                </a:lnTo>
                <a:lnTo>
                  <a:pt x="842" y="341"/>
                </a:lnTo>
                <a:lnTo>
                  <a:pt x="842" y="341"/>
                </a:lnTo>
                <a:lnTo>
                  <a:pt x="842" y="343"/>
                </a:lnTo>
                <a:lnTo>
                  <a:pt x="842" y="343"/>
                </a:lnTo>
                <a:lnTo>
                  <a:pt x="839" y="346"/>
                </a:lnTo>
                <a:lnTo>
                  <a:pt x="839" y="346"/>
                </a:lnTo>
                <a:lnTo>
                  <a:pt x="836" y="346"/>
                </a:lnTo>
                <a:lnTo>
                  <a:pt x="831" y="341"/>
                </a:lnTo>
                <a:lnTo>
                  <a:pt x="828" y="341"/>
                </a:lnTo>
                <a:lnTo>
                  <a:pt x="828" y="343"/>
                </a:lnTo>
                <a:lnTo>
                  <a:pt x="828" y="343"/>
                </a:lnTo>
                <a:lnTo>
                  <a:pt x="828" y="343"/>
                </a:lnTo>
                <a:lnTo>
                  <a:pt x="828" y="343"/>
                </a:lnTo>
                <a:lnTo>
                  <a:pt x="826" y="346"/>
                </a:lnTo>
                <a:lnTo>
                  <a:pt x="823" y="343"/>
                </a:lnTo>
                <a:lnTo>
                  <a:pt x="823" y="343"/>
                </a:lnTo>
                <a:lnTo>
                  <a:pt x="820" y="343"/>
                </a:lnTo>
                <a:lnTo>
                  <a:pt x="820" y="343"/>
                </a:lnTo>
                <a:lnTo>
                  <a:pt x="820" y="338"/>
                </a:lnTo>
                <a:lnTo>
                  <a:pt x="820" y="335"/>
                </a:lnTo>
                <a:lnTo>
                  <a:pt x="820" y="332"/>
                </a:lnTo>
                <a:lnTo>
                  <a:pt x="820" y="332"/>
                </a:lnTo>
                <a:lnTo>
                  <a:pt x="820" y="332"/>
                </a:lnTo>
                <a:lnTo>
                  <a:pt x="823" y="330"/>
                </a:lnTo>
                <a:lnTo>
                  <a:pt x="823" y="332"/>
                </a:lnTo>
                <a:lnTo>
                  <a:pt x="826" y="332"/>
                </a:lnTo>
                <a:lnTo>
                  <a:pt x="826" y="332"/>
                </a:lnTo>
                <a:lnTo>
                  <a:pt x="826" y="330"/>
                </a:lnTo>
                <a:lnTo>
                  <a:pt x="826" y="330"/>
                </a:lnTo>
                <a:lnTo>
                  <a:pt x="828" y="330"/>
                </a:lnTo>
                <a:lnTo>
                  <a:pt x="828" y="330"/>
                </a:lnTo>
                <a:lnTo>
                  <a:pt x="828" y="327"/>
                </a:lnTo>
                <a:lnTo>
                  <a:pt x="828" y="327"/>
                </a:lnTo>
                <a:lnTo>
                  <a:pt x="831" y="327"/>
                </a:lnTo>
                <a:lnTo>
                  <a:pt x="831" y="327"/>
                </a:lnTo>
                <a:lnTo>
                  <a:pt x="831" y="327"/>
                </a:lnTo>
                <a:lnTo>
                  <a:pt x="828" y="327"/>
                </a:lnTo>
                <a:lnTo>
                  <a:pt x="828" y="327"/>
                </a:lnTo>
                <a:lnTo>
                  <a:pt x="828" y="324"/>
                </a:lnTo>
                <a:lnTo>
                  <a:pt x="826" y="324"/>
                </a:lnTo>
                <a:lnTo>
                  <a:pt x="826" y="324"/>
                </a:lnTo>
                <a:lnTo>
                  <a:pt x="826" y="322"/>
                </a:lnTo>
                <a:lnTo>
                  <a:pt x="826" y="319"/>
                </a:lnTo>
                <a:lnTo>
                  <a:pt x="828" y="316"/>
                </a:lnTo>
                <a:lnTo>
                  <a:pt x="831" y="314"/>
                </a:lnTo>
                <a:lnTo>
                  <a:pt x="836" y="316"/>
                </a:lnTo>
                <a:lnTo>
                  <a:pt x="839" y="308"/>
                </a:lnTo>
                <a:lnTo>
                  <a:pt x="839" y="308"/>
                </a:lnTo>
                <a:lnTo>
                  <a:pt x="842" y="306"/>
                </a:lnTo>
                <a:lnTo>
                  <a:pt x="845" y="303"/>
                </a:lnTo>
                <a:lnTo>
                  <a:pt x="842" y="303"/>
                </a:lnTo>
                <a:lnTo>
                  <a:pt x="842" y="300"/>
                </a:lnTo>
                <a:lnTo>
                  <a:pt x="842" y="300"/>
                </a:lnTo>
                <a:lnTo>
                  <a:pt x="842" y="298"/>
                </a:lnTo>
                <a:lnTo>
                  <a:pt x="839" y="298"/>
                </a:lnTo>
                <a:lnTo>
                  <a:pt x="836" y="298"/>
                </a:lnTo>
                <a:lnTo>
                  <a:pt x="834" y="298"/>
                </a:lnTo>
                <a:lnTo>
                  <a:pt x="834" y="303"/>
                </a:lnTo>
                <a:lnTo>
                  <a:pt x="834" y="303"/>
                </a:lnTo>
                <a:lnTo>
                  <a:pt x="831" y="303"/>
                </a:lnTo>
                <a:lnTo>
                  <a:pt x="834" y="303"/>
                </a:lnTo>
                <a:lnTo>
                  <a:pt x="834" y="303"/>
                </a:lnTo>
                <a:lnTo>
                  <a:pt x="834" y="303"/>
                </a:lnTo>
                <a:lnTo>
                  <a:pt x="834" y="303"/>
                </a:lnTo>
                <a:lnTo>
                  <a:pt x="834" y="306"/>
                </a:lnTo>
                <a:lnTo>
                  <a:pt x="834" y="308"/>
                </a:lnTo>
                <a:lnTo>
                  <a:pt x="831" y="308"/>
                </a:lnTo>
                <a:lnTo>
                  <a:pt x="828" y="308"/>
                </a:lnTo>
                <a:lnTo>
                  <a:pt x="823" y="308"/>
                </a:lnTo>
                <a:lnTo>
                  <a:pt x="823" y="308"/>
                </a:lnTo>
                <a:lnTo>
                  <a:pt x="820" y="306"/>
                </a:lnTo>
                <a:lnTo>
                  <a:pt x="820" y="306"/>
                </a:lnTo>
                <a:lnTo>
                  <a:pt x="820" y="303"/>
                </a:lnTo>
                <a:lnTo>
                  <a:pt x="820" y="303"/>
                </a:lnTo>
                <a:lnTo>
                  <a:pt x="820" y="300"/>
                </a:lnTo>
                <a:lnTo>
                  <a:pt x="823" y="300"/>
                </a:lnTo>
                <a:lnTo>
                  <a:pt x="820" y="300"/>
                </a:lnTo>
                <a:lnTo>
                  <a:pt x="820" y="300"/>
                </a:lnTo>
                <a:lnTo>
                  <a:pt x="818" y="298"/>
                </a:lnTo>
                <a:lnTo>
                  <a:pt x="818" y="298"/>
                </a:lnTo>
                <a:lnTo>
                  <a:pt x="818" y="298"/>
                </a:lnTo>
                <a:lnTo>
                  <a:pt x="818" y="295"/>
                </a:lnTo>
                <a:lnTo>
                  <a:pt x="818" y="295"/>
                </a:lnTo>
                <a:lnTo>
                  <a:pt x="820" y="292"/>
                </a:lnTo>
                <a:lnTo>
                  <a:pt x="823" y="292"/>
                </a:lnTo>
                <a:lnTo>
                  <a:pt x="823" y="290"/>
                </a:lnTo>
                <a:lnTo>
                  <a:pt x="820" y="287"/>
                </a:lnTo>
                <a:lnTo>
                  <a:pt x="820" y="287"/>
                </a:lnTo>
                <a:lnTo>
                  <a:pt x="818" y="287"/>
                </a:lnTo>
                <a:lnTo>
                  <a:pt x="818" y="290"/>
                </a:lnTo>
                <a:lnTo>
                  <a:pt x="818" y="290"/>
                </a:lnTo>
                <a:lnTo>
                  <a:pt x="815" y="292"/>
                </a:lnTo>
                <a:lnTo>
                  <a:pt x="812" y="292"/>
                </a:lnTo>
                <a:lnTo>
                  <a:pt x="812" y="292"/>
                </a:lnTo>
                <a:lnTo>
                  <a:pt x="812" y="292"/>
                </a:lnTo>
                <a:lnTo>
                  <a:pt x="812" y="292"/>
                </a:lnTo>
                <a:lnTo>
                  <a:pt x="812" y="292"/>
                </a:lnTo>
                <a:lnTo>
                  <a:pt x="812" y="295"/>
                </a:lnTo>
                <a:lnTo>
                  <a:pt x="810" y="295"/>
                </a:lnTo>
                <a:lnTo>
                  <a:pt x="810" y="295"/>
                </a:lnTo>
                <a:lnTo>
                  <a:pt x="810" y="295"/>
                </a:lnTo>
                <a:lnTo>
                  <a:pt x="810" y="292"/>
                </a:lnTo>
                <a:lnTo>
                  <a:pt x="810" y="292"/>
                </a:lnTo>
                <a:lnTo>
                  <a:pt x="810" y="292"/>
                </a:lnTo>
                <a:lnTo>
                  <a:pt x="810" y="292"/>
                </a:lnTo>
                <a:lnTo>
                  <a:pt x="810" y="290"/>
                </a:lnTo>
                <a:lnTo>
                  <a:pt x="810" y="290"/>
                </a:lnTo>
                <a:lnTo>
                  <a:pt x="807" y="290"/>
                </a:lnTo>
                <a:lnTo>
                  <a:pt x="807" y="290"/>
                </a:lnTo>
                <a:lnTo>
                  <a:pt x="807" y="290"/>
                </a:lnTo>
                <a:lnTo>
                  <a:pt x="804" y="292"/>
                </a:lnTo>
                <a:lnTo>
                  <a:pt x="807" y="292"/>
                </a:lnTo>
                <a:lnTo>
                  <a:pt x="807" y="292"/>
                </a:lnTo>
                <a:lnTo>
                  <a:pt x="807" y="295"/>
                </a:lnTo>
                <a:lnTo>
                  <a:pt x="807" y="295"/>
                </a:lnTo>
                <a:lnTo>
                  <a:pt x="807" y="295"/>
                </a:lnTo>
                <a:lnTo>
                  <a:pt x="810" y="298"/>
                </a:lnTo>
                <a:lnTo>
                  <a:pt x="810" y="298"/>
                </a:lnTo>
                <a:lnTo>
                  <a:pt x="810" y="300"/>
                </a:lnTo>
                <a:lnTo>
                  <a:pt x="810" y="300"/>
                </a:lnTo>
                <a:lnTo>
                  <a:pt x="812" y="300"/>
                </a:lnTo>
                <a:lnTo>
                  <a:pt x="812" y="303"/>
                </a:lnTo>
                <a:lnTo>
                  <a:pt x="810" y="303"/>
                </a:lnTo>
                <a:lnTo>
                  <a:pt x="807" y="300"/>
                </a:lnTo>
                <a:lnTo>
                  <a:pt x="807" y="306"/>
                </a:lnTo>
                <a:lnTo>
                  <a:pt x="807" y="303"/>
                </a:lnTo>
                <a:lnTo>
                  <a:pt x="807" y="303"/>
                </a:lnTo>
                <a:lnTo>
                  <a:pt x="804" y="306"/>
                </a:lnTo>
                <a:lnTo>
                  <a:pt x="804" y="303"/>
                </a:lnTo>
                <a:lnTo>
                  <a:pt x="802" y="303"/>
                </a:lnTo>
                <a:lnTo>
                  <a:pt x="802" y="300"/>
                </a:lnTo>
                <a:lnTo>
                  <a:pt x="799" y="303"/>
                </a:lnTo>
                <a:lnTo>
                  <a:pt x="799" y="306"/>
                </a:lnTo>
                <a:lnTo>
                  <a:pt x="799" y="306"/>
                </a:lnTo>
                <a:lnTo>
                  <a:pt x="796" y="306"/>
                </a:lnTo>
                <a:lnTo>
                  <a:pt x="796" y="306"/>
                </a:lnTo>
                <a:lnTo>
                  <a:pt x="794" y="308"/>
                </a:lnTo>
                <a:lnTo>
                  <a:pt x="791" y="306"/>
                </a:lnTo>
                <a:lnTo>
                  <a:pt x="791" y="303"/>
                </a:lnTo>
                <a:lnTo>
                  <a:pt x="788" y="306"/>
                </a:lnTo>
                <a:lnTo>
                  <a:pt x="788" y="306"/>
                </a:lnTo>
                <a:lnTo>
                  <a:pt x="788" y="308"/>
                </a:lnTo>
                <a:lnTo>
                  <a:pt x="791" y="311"/>
                </a:lnTo>
                <a:lnTo>
                  <a:pt x="791" y="311"/>
                </a:lnTo>
                <a:lnTo>
                  <a:pt x="791" y="314"/>
                </a:lnTo>
                <a:lnTo>
                  <a:pt x="788" y="322"/>
                </a:lnTo>
                <a:lnTo>
                  <a:pt x="788" y="324"/>
                </a:lnTo>
                <a:lnTo>
                  <a:pt x="788" y="330"/>
                </a:lnTo>
                <a:lnTo>
                  <a:pt x="791" y="332"/>
                </a:lnTo>
                <a:lnTo>
                  <a:pt x="791" y="335"/>
                </a:lnTo>
                <a:lnTo>
                  <a:pt x="791" y="338"/>
                </a:lnTo>
                <a:lnTo>
                  <a:pt x="791" y="338"/>
                </a:lnTo>
                <a:lnTo>
                  <a:pt x="791" y="341"/>
                </a:lnTo>
                <a:lnTo>
                  <a:pt x="788" y="343"/>
                </a:lnTo>
                <a:lnTo>
                  <a:pt x="788" y="343"/>
                </a:lnTo>
                <a:lnTo>
                  <a:pt x="783" y="343"/>
                </a:lnTo>
                <a:lnTo>
                  <a:pt x="783" y="346"/>
                </a:lnTo>
                <a:lnTo>
                  <a:pt x="780" y="346"/>
                </a:lnTo>
                <a:lnTo>
                  <a:pt x="780" y="349"/>
                </a:lnTo>
                <a:lnTo>
                  <a:pt x="780" y="349"/>
                </a:lnTo>
                <a:lnTo>
                  <a:pt x="780" y="349"/>
                </a:lnTo>
                <a:lnTo>
                  <a:pt x="780" y="349"/>
                </a:lnTo>
                <a:lnTo>
                  <a:pt x="780" y="349"/>
                </a:lnTo>
                <a:lnTo>
                  <a:pt x="783" y="349"/>
                </a:lnTo>
                <a:lnTo>
                  <a:pt x="786" y="346"/>
                </a:lnTo>
                <a:lnTo>
                  <a:pt x="788" y="346"/>
                </a:lnTo>
                <a:lnTo>
                  <a:pt x="791" y="346"/>
                </a:lnTo>
                <a:lnTo>
                  <a:pt x="791" y="346"/>
                </a:lnTo>
                <a:lnTo>
                  <a:pt x="794" y="346"/>
                </a:lnTo>
                <a:lnTo>
                  <a:pt x="794" y="349"/>
                </a:lnTo>
                <a:lnTo>
                  <a:pt x="812" y="354"/>
                </a:lnTo>
                <a:lnTo>
                  <a:pt x="818" y="354"/>
                </a:lnTo>
                <a:lnTo>
                  <a:pt x="820" y="351"/>
                </a:lnTo>
                <a:lnTo>
                  <a:pt x="823" y="351"/>
                </a:lnTo>
                <a:lnTo>
                  <a:pt x="823" y="351"/>
                </a:lnTo>
                <a:lnTo>
                  <a:pt x="826" y="351"/>
                </a:lnTo>
                <a:lnTo>
                  <a:pt x="831" y="354"/>
                </a:lnTo>
                <a:lnTo>
                  <a:pt x="834" y="354"/>
                </a:lnTo>
                <a:lnTo>
                  <a:pt x="834" y="354"/>
                </a:lnTo>
                <a:lnTo>
                  <a:pt x="836" y="354"/>
                </a:lnTo>
                <a:lnTo>
                  <a:pt x="836" y="354"/>
                </a:lnTo>
                <a:lnTo>
                  <a:pt x="842" y="357"/>
                </a:lnTo>
                <a:lnTo>
                  <a:pt x="842" y="354"/>
                </a:lnTo>
                <a:lnTo>
                  <a:pt x="842" y="354"/>
                </a:lnTo>
                <a:lnTo>
                  <a:pt x="845" y="354"/>
                </a:lnTo>
                <a:lnTo>
                  <a:pt x="845" y="357"/>
                </a:lnTo>
                <a:lnTo>
                  <a:pt x="845" y="354"/>
                </a:lnTo>
                <a:lnTo>
                  <a:pt x="845" y="354"/>
                </a:lnTo>
                <a:lnTo>
                  <a:pt x="845" y="354"/>
                </a:lnTo>
                <a:close/>
                <a:moveTo>
                  <a:pt x="812" y="512"/>
                </a:moveTo>
                <a:lnTo>
                  <a:pt x="812" y="512"/>
                </a:lnTo>
                <a:lnTo>
                  <a:pt x="815" y="512"/>
                </a:lnTo>
                <a:lnTo>
                  <a:pt x="815" y="515"/>
                </a:lnTo>
                <a:lnTo>
                  <a:pt x="818" y="510"/>
                </a:lnTo>
                <a:lnTo>
                  <a:pt x="820" y="507"/>
                </a:lnTo>
                <a:lnTo>
                  <a:pt x="820" y="507"/>
                </a:lnTo>
                <a:lnTo>
                  <a:pt x="820" y="504"/>
                </a:lnTo>
                <a:lnTo>
                  <a:pt x="818" y="504"/>
                </a:lnTo>
                <a:lnTo>
                  <a:pt x="818" y="504"/>
                </a:lnTo>
                <a:lnTo>
                  <a:pt x="815" y="501"/>
                </a:lnTo>
                <a:lnTo>
                  <a:pt x="815" y="504"/>
                </a:lnTo>
                <a:lnTo>
                  <a:pt x="812" y="504"/>
                </a:lnTo>
                <a:lnTo>
                  <a:pt x="810" y="504"/>
                </a:lnTo>
                <a:lnTo>
                  <a:pt x="810" y="507"/>
                </a:lnTo>
                <a:lnTo>
                  <a:pt x="810" y="510"/>
                </a:lnTo>
                <a:lnTo>
                  <a:pt x="812" y="512"/>
                </a:lnTo>
                <a:close/>
                <a:moveTo>
                  <a:pt x="764" y="265"/>
                </a:moveTo>
                <a:lnTo>
                  <a:pt x="767" y="268"/>
                </a:lnTo>
                <a:lnTo>
                  <a:pt x="767" y="268"/>
                </a:lnTo>
                <a:lnTo>
                  <a:pt x="767" y="265"/>
                </a:lnTo>
                <a:lnTo>
                  <a:pt x="764" y="265"/>
                </a:lnTo>
                <a:lnTo>
                  <a:pt x="764" y="265"/>
                </a:lnTo>
                <a:lnTo>
                  <a:pt x="764" y="265"/>
                </a:lnTo>
                <a:lnTo>
                  <a:pt x="761" y="263"/>
                </a:lnTo>
                <a:lnTo>
                  <a:pt x="761" y="260"/>
                </a:lnTo>
                <a:lnTo>
                  <a:pt x="759" y="257"/>
                </a:lnTo>
                <a:lnTo>
                  <a:pt x="756" y="257"/>
                </a:lnTo>
                <a:lnTo>
                  <a:pt x="756" y="257"/>
                </a:lnTo>
                <a:lnTo>
                  <a:pt x="759" y="257"/>
                </a:lnTo>
                <a:lnTo>
                  <a:pt x="759" y="260"/>
                </a:lnTo>
                <a:lnTo>
                  <a:pt x="759" y="260"/>
                </a:lnTo>
                <a:lnTo>
                  <a:pt x="759" y="265"/>
                </a:lnTo>
                <a:lnTo>
                  <a:pt x="759" y="271"/>
                </a:lnTo>
                <a:lnTo>
                  <a:pt x="759" y="271"/>
                </a:lnTo>
                <a:lnTo>
                  <a:pt x="761" y="271"/>
                </a:lnTo>
                <a:lnTo>
                  <a:pt x="761" y="273"/>
                </a:lnTo>
                <a:lnTo>
                  <a:pt x="761" y="273"/>
                </a:lnTo>
                <a:lnTo>
                  <a:pt x="761" y="273"/>
                </a:lnTo>
                <a:lnTo>
                  <a:pt x="761" y="273"/>
                </a:lnTo>
                <a:lnTo>
                  <a:pt x="761" y="273"/>
                </a:lnTo>
                <a:lnTo>
                  <a:pt x="761" y="273"/>
                </a:lnTo>
                <a:lnTo>
                  <a:pt x="761" y="271"/>
                </a:lnTo>
                <a:lnTo>
                  <a:pt x="761" y="268"/>
                </a:lnTo>
                <a:lnTo>
                  <a:pt x="764" y="268"/>
                </a:lnTo>
                <a:lnTo>
                  <a:pt x="764" y="265"/>
                </a:lnTo>
                <a:close/>
                <a:moveTo>
                  <a:pt x="713" y="418"/>
                </a:moveTo>
                <a:lnTo>
                  <a:pt x="713" y="421"/>
                </a:lnTo>
                <a:lnTo>
                  <a:pt x="713" y="421"/>
                </a:lnTo>
                <a:lnTo>
                  <a:pt x="713" y="421"/>
                </a:lnTo>
                <a:lnTo>
                  <a:pt x="713" y="421"/>
                </a:lnTo>
                <a:lnTo>
                  <a:pt x="716" y="418"/>
                </a:lnTo>
                <a:lnTo>
                  <a:pt x="719" y="418"/>
                </a:lnTo>
                <a:lnTo>
                  <a:pt x="721" y="421"/>
                </a:lnTo>
                <a:lnTo>
                  <a:pt x="721" y="418"/>
                </a:lnTo>
                <a:lnTo>
                  <a:pt x="721" y="416"/>
                </a:lnTo>
                <a:lnTo>
                  <a:pt x="719" y="416"/>
                </a:lnTo>
                <a:lnTo>
                  <a:pt x="719" y="413"/>
                </a:lnTo>
                <a:lnTo>
                  <a:pt x="716" y="413"/>
                </a:lnTo>
                <a:lnTo>
                  <a:pt x="716" y="416"/>
                </a:lnTo>
                <a:lnTo>
                  <a:pt x="716" y="416"/>
                </a:lnTo>
                <a:lnTo>
                  <a:pt x="716" y="418"/>
                </a:lnTo>
                <a:lnTo>
                  <a:pt x="716" y="418"/>
                </a:lnTo>
                <a:lnTo>
                  <a:pt x="713" y="418"/>
                </a:lnTo>
                <a:close/>
                <a:moveTo>
                  <a:pt x="839" y="493"/>
                </a:moveTo>
                <a:lnTo>
                  <a:pt x="839" y="493"/>
                </a:lnTo>
                <a:lnTo>
                  <a:pt x="839" y="488"/>
                </a:lnTo>
                <a:lnTo>
                  <a:pt x="839" y="485"/>
                </a:lnTo>
                <a:lnTo>
                  <a:pt x="839" y="485"/>
                </a:lnTo>
                <a:lnTo>
                  <a:pt x="836" y="485"/>
                </a:lnTo>
                <a:lnTo>
                  <a:pt x="836" y="485"/>
                </a:lnTo>
                <a:lnTo>
                  <a:pt x="834" y="488"/>
                </a:lnTo>
                <a:lnTo>
                  <a:pt x="834" y="491"/>
                </a:lnTo>
                <a:lnTo>
                  <a:pt x="834" y="491"/>
                </a:lnTo>
                <a:lnTo>
                  <a:pt x="836" y="491"/>
                </a:lnTo>
                <a:lnTo>
                  <a:pt x="836" y="491"/>
                </a:lnTo>
                <a:lnTo>
                  <a:pt x="836" y="493"/>
                </a:lnTo>
                <a:lnTo>
                  <a:pt x="836" y="493"/>
                </a:lnTo>
                <a:lnTo>
                  <a:pt x="836" y="493"/>
                </a:lnTo>
                <a:lnTo>
                  <a:pt x="834" y="493"/>
                </a:lnTo>
                <a:lnTo>
                  <a:pt x="834" y="493"/>
                </a:lnTo>
                <a:lnTo>
                  <a:pt x="834" y="496"/>
                </a:lnTo>
                <a:lnTo>
                  <a:pt x="834" y="496"/>
                </a:lnTo>
                <a:lnTo>
                  <a:pt x="834" y="496"/>
                </a:lnTo>
                <a:lnTo>
                  <a:pt x="834" y="496"/>
                </a:lnTo>
                <a:lnTo>
                  <a:pt x="834" y="496"/>
                </a:lnTo>
                <a:lnTo>
                  <a:pt x="834" y="499"/>
                </a:lnTo>
                <a:lnTo>
                  <a:pt x="834" y="499"/>
                </a:lnTo>
                <a:lnTo>
                  <a:pt x="834" y="499"/>
                </a:lnTo>
                <a:lnTo>
                  <a:pt x="836" y="499"/>
                </a:lnTo>
                <a:lnTo>
                  <a:pt x="836" y="499"/>
                </a:lnTo>
                <a:lnTo>
                  <a:pt x="836" y="499"/>
                </a:lnTo>
                <a:lnTo>
                  <a:pt x="839" y="496"/>
                </a:lnTo>
                <a:lnTo>
                  <a:pt x="836" y="496"/>
                </a:lnTo>
                <a:lnTo>
                  <a:pt x="839" y="493"/>
                </a:lnTo>
                <a:lnTo>
                  <a:pt x="839" y="493"/>
                </a:lnTo>
                <a:close/>
                <a:moveTo>
                  <a:pt x="828" y="501"/>
                </a:moveTo>
                <a:lnTo>
                  <a:pt x="831" y="501"/>
                </a:lnTo>
                <a:lnTo>
                  <a:pt x="831" y="504"/>
                </a:lnTo>
                <a:lnTo>
                  <a:pt x="831" y="504"/>
                </a:lnTo>
                <a:lnTo>
                  <a:pt x="834" y="504"/>
                </a:lnTo>
                <a:lnTo>
                  <a:pt x="834" y="501"/>
                </a:lnTo>
                <a:lnTo>
                  <a:pt x="831" y="501"/>
                </a:lnTo>
                <a:lnTo>
                  <a:pt x="831" y="499"/>
                </a:lnTo>
                <a:lnTo>
                  <a:pt x="828" y="501"/>
                </a:lnTo>
                <a:lnTo>
                  <a:pt x="826" y="499"/>
                </a:lnTo>
                <a:lnTo>
                  <a:pt x="823" y="501"/>
                </a:lnTo>
                <a:lnTo>
                  <a:pt x="823" y="504"/>
                </a:lnTo>
                <a:lnTo>
                  <a:pt x="823" y="507"/>
                </a:lnTo>
                <a:lnTo>
                  <a:pt x="823" y="507"/>
                </a:lnTo>
                <a:lnTo>
                  <a:pt x="823" y="510"/>
                </a:lnTo>
                <a:lnTo>
                  <a:pt x="823" y="512"/>
                </a:lnTo>
                <a:lnTo>
                  <a:pt x="826" y="510"/>
                </a:lnTo>
                <a:lnTo>
                  <a:pt x="828" y="510"/>
                </a:lnTo>
                <a:lnTo>
                  <a:pt x="828" y="510"/>
                </a:lnTo>
                <a:lnTo>
                  <a:pt x="828" y="507"/>
                </a:lnTo>
                <a:lnTo>
                  <a:pt x="828" y="507"/>
                </a:lnTo>
                <a:lnTo>
                  <a:pt x="828" y="507"/>
                </a:lnTo>
                <a:lnTo>
                  <a:pt x="828" y="507"/>
                </a:lnTo>
                <a:lnTo>
                  <a:pt x="828" y="507"/>
                </a:lnTo>
                <a:lnTo>
                  <a:pt x="828" y="504"/>
                </a:lnTo>
                <a:lnTo>
                  <a:pt x="828" y="501"/>
                </a:lnTo>
                <a:lnTo>
                  <a:pt x="828" y="501"/>
                </a:lnTo>
                <a:close/>
                <a:moveTo>
                  <a:pt x="799" y="499"/>
                </a:moveTo>
                <a:lnTo>
                  <a:pt x="799" y="499"/>
                </a:lnTo>
                <a:lnTo>
                  <a:pt x="799" y="499"/>
                </a:lnTo>
                <a:lnTo>
                  <a:pt x="799" y="499"/>
                </a:lnTo>
                <a:lnTo>
                  <a:pt x="802" y="499"/>
                </a:lnTo>
                <a:lnTo>
                  <a:pt x="802" y="499"/>
                </a:lnTo>
                <a:lnTo>
                  <a:pt x="804" y="499"/>
                </a:lnTo>
                <a:lnTo>
                  <a:pt x="804" y="499"/>
                </a:lnTo>
                <a:lnTo>
                  <a:pt x="807" y="499"/>
                </a:lnTo>
                <a:lnTo>
                  <a:pt x="807" y="499"/>
                </a:lnTo>
                <a:lnTo>
                  <a:pt x="810" y="496"/>
                </a:lnTo>
                <a:lnTo>
                  <a:pt x="810" y="491"/>
                </a:lnTo>
                <a:lnTo>
                  <a:pt x="810" y="488"/>
                </a:lnTo>
                <a:lnTo>
                  <a:pt x="810" y="485"/>
                </a:lnTo>
                <a:lnTo>
                  <a:pt x="807" y="485"/>
                </a:lnTo>
                <a:lnTo>
                  <a:pt x="804" y="488"/>
                </a:lnTo>
                <a:lnTo>
                  <a:pt x="802" y="488"/>
                </a:lnTo>
                <a:lnTo>
                  <a:pt x="802" y="488"/>
                </a:lnTo>
                <a:lnTo>
                  <a:pt x="802" y="488"/>
                </a:lnTo>
                <a:lnTo>
                  <a:pt x="802" y="491"/>
                </a:lnTo>
                <a:lnTo>
                  <a:pt x="802" y="491"/>
                </a:lnTo>
                <a:lnTo>
                  <a:pt x="802" y="491"/>
                </a:lnTo>
                <a:lnTo>
                  <a:pt x="799" y="493"/>
                </a:lnTo>
                <a:lnTo>
                  <a:pt x="799" y="493"/>
                </a:lnTo>
                <a:lnTo>
                  <a:pt x="799" y="493"/>
                </a:lnTo>
                <a:lnTo>
                  <a:pt x="799" y="496"/>
                </a:lnTo>
                <a:lnTo>
                  <a:pt x="799" y="496"/>
                </a:lnTo>
                <a:lnTo>
                  <a:pt x="799" y="499"/>
                </a:lnTo>
                <a:close/>
                <a:moveTo>
                  <a:pt x="772" y="298"/>
                </a:moveTo>
                <a:lnTo>
                  <a:pt x="772" y="298"/>
                </a:lnTo>
                <a:lnTo>
                  <a:pt x="775" y="295"/>
                </a:lnTo>
                <a:lnTo>
                  <a:pt x="775" y="295"/>
                </a:lnTo>
                <a:lnTo>
                  <a:pt x="775" y="295"/>
                </a:lnTo>
                <a:lnTo>
                  <a:pt x="775" y="295"/>
                </a:lnTo>
                <a:lnTo>
                  <a:pt x="775" y="292"/>
                </a:lnTo>
                <a:lnTo>
                  <a:pt x="775" y="292"/>
                </a:lnTo>
                <a:lnTo>
                  <a:pt x="775" y="292"/>
                </a:lnTo>
                <a:lnTo>
                  <a:pt x="772" y="292"/>
                </a:lnTo>
                <a:lnTo>
                  <a:pt x="772" y="290"/>
                </a:lnTo>
                <a:lnTo>
                  <a:pt x="772" y="290"/>
                </a:lnTo>
                <a:lnTo>
                  <a:pt x="769" y="290"/>
                </a:lnTo>
                <a:lnTo>
                  <a:pt x="769" y="290"/>
                </a:lnTo>
                <a:lnTo>
                  <a:pt x="767" y="290"/>
                </a:lnTo>
                <a:lnTo>
                  <a:pt x="767" y="290"/>
                </a:lnTo>
                <a:lnTo>
                  <a:pt x="764" y="292"/>
                </a:lnTo>
                <a:lnTo>
                  <a:pt x="764" y="292"/>
                </a:lnTo>
                <a:lnTo>
                  <a:pt x="764" y="295"/>
                </a:lnTo>
                <a:lnTo>
                  <a:pt x="761" y="298"/>
                </a:lnTo>
                <a:lnTo>
                  <a:pt x="761" y="298"/>
                </a:lnTo>
                <a:lnTo>
                  <a:pt x="756" y="295"/>
                </a:lnTo>
                <a:lnTo>
                  <a:pt x="756" y="306"/>
                </a:lnTo>
                <a:lnTo>
                  <a:pt x="759" y="306"/>
                </a:lnTo>
                <a:lnTo>
                  <a:pt x="761" y="308"/>
                </a:lnTo>
                <a:lnTo>
                  <a:pt x="761" y="306"/>
                </a:lnTo>
                <a:lnTo>
                  <a:pt x="761" y="303"/>
                </a:lnTo>
                <a:lnTo>
                  <a:pt x="761" y="300"/>
                </a:lnTo>
                <a:lnTo>
                  <a:pt x="764" y="300"/>
                </a:lnTo>
                <a:lnTo>
                  <a:pt x="764" y="300"/>
                </a:lnTo>
                <a:lnTo>
                  <a:pt x="767" y="306"/>
                </a:lnTo>
                <a:lnTo>
                  <a:pt x="767" y="306"/>
                </a:lnTo>
                <a:lnTo>
                  <a:pt x="767" y="306"/>
                </a:lnTo>
                <a:lnTo>
                  <a:pt x="767" y="306"/>
                </a:lnTo>
                <a:lnTo>
                  <a:pt x="767" y="308"/>
                </a:lnTo>
                <a:lnTo>
                  <a:pt x="767" y="308"/>
                </a:lnTo>
                <a:lnTo>
                  <a:pt x="767" y="308"/>
                </a:lnTo>
                <a:lnTo>
                  <a:pt x="767" y="308"/>
                </a:lnTo>
                <a:lnTo>
                  <a:pt x="769" y="308"/>
                </a:lnTo>
                <a:lnTo>
                  <a:pt x="769" y="308"/>
                </a:lnTo>
                <a:lnTo>
                  <a:pt x="772" y="308"/>
                </a:lnTo>
                <a:lnTo>
                  <a:pt x="772" y="306"/>
                </a:lnTo>
                <a:lnTo>
                  <a:pt x="772" y="303"/>
                </a:lnTo>
                <a:lnTo>
                  <a:pt x="772" y="303"/>
                </a:lnTo>
                <a:lnTo>
                  <a:pt x="775" y="303"/>
                </a:lnTo>
                <a:lnTo>
                  <a:pt x="775" y="300"/>
                </a:lnTo>
                <a:lnTo>
                  <a:pt x="772" y="300"/>
                </a:lnTo>
                <a:lnTo>
                  <a:pt x="772" y="298"/>
                </a:lnTo>
                <a:lnTo>
                  <a:pt x="772" y="298"/>
                </a:lnTo>
                <a:lnTo>
                  <a:pt x="772" y="298"/>
                </a:lnTo>
                <a:lnTo>
                  <a:pt x="772" y="298"/>
                </a:lnTo>
                <a:close/>
                <a:moveTo>
                  <a:pt x="952" y="593"/>
                </a:moveTo>
                <a:lnTo>
                  <a:pt x="949" y="587"/>
                </a:lnTo>
                <a:lnTo>
                  <a:pt x="944" y="585"/>
                </a:lnTo>
                <a:lnTo>
                  <a:pt x="941" y="582"/>
                </a:lnTo>
                <a:lnTo>
                  <a:pt x="941" y="579"/>
                </a:lnTo>
                <a:lnTo>
                  <a:pt x="936" y="571"/>
                </a:lnTo>
                <a:lnTo>
                  <a:pt x="936" y="571"/>
                </a:lnTo>
                <a:lnTo>
                  <a:pt x="930" y="566"/>
                </a:lnTo>
                <a:lnTo>
                  <a:pt x="930" y="563"/>
                </a:lnTo>
                <a:lnTo>
                  <a:pt x="925" y="563"/>
                </a:lnTo>
                <a:lnTo>
                  <a:pt x="922" y="560"/>
                </a:lnTo>
                <a:lnTo>
                  <a:pt x="909" y="555"/>
                </a:lnTo>
                <a:lnTo>
                  <a:pt x="909" y="555"/>
                </a:lnTo>
                <a:lnTo>
                  <a:pt x="906" y="555"/>
                </a:lnTo>
                <a:lnTo>
                  <a:pt x="903" y="558"/>
                </a:lnTo>
                <a:lnTo>
                  <a:pt x="903" y="555"/>
                </a:lnTo>
                <a:lnTo>
                  <a:pt x="901" y="555"/>
                </a:lnTo>
                <a:lnTo>
                  <a:pt x="898" y="552"/>
                </a:lnTo>
                <a:lnTo>
                  <a:pt x="898" y="552"/>
                </a:lnTo>
                <a:lnTo>
                  <a:pt x="898" y="552"/>
                </a:lnTo>
                <a:lnTo>
                  <a:pt x="895" y="552"/>
                </a:lnTo>
                <a:lnTo>
                  <a:pt x="895" y="552"/>
                </a:lnTo>
                <a:lnTo>
                  <a:pt x="895" y="552"/>
                </a:lnTo>
                <a:lnTo>
                  <a:pt x="895" y="552"/>
                </a:lnTo>
                <a:lnTo>
                  <a:pt x="893" y="552"/>
                </a:lnTo>
                <a:lnTo>
                  <a:pt x="890" y="550"/>
                </a:lnTo>
                <a:lnTo>
                  <a:pt x="882" y="544"/>
                </a:lnTo>
                <a:lnTo>
                  <a:pt x="879" y="542"/>
                </a:lnTo>
                <a:lnTo>
                  <a:pt x="879" y="542"/>
                </a:lnTo>
                <a:lnTo>
                  <a:pt x="877" y="539"/>
                </a:lnTo>
                <a:lnTo>
                  <a:pt x="871" y="536"/>
                </a:lnTo>
                <a:lnTo>
                  <a:pt x="871" y="536"/>
                </a:lnTo>
                <a:lnTo>
                  <a:pt x="871" y="536"/>
                </a:lnTo>
                <a:lnTo>
                  <a:pt x="869" y="536"/>
                </a:lnTo>
                <a:lnTo>
                  <a:pt x="869" y="534"/>
                </a:lnTo>
                <a:lnTo>
                  <a:pt x="866" y="534"/>
                </a:lnTo>
                <a:lnTo>
                  <a:pt x="861" y="531"/>
                </a:lnTo>
                <a:lnTo>
                  <a:pt x="855" y="528"/>
                </a:lnTo>
                <a:lnTo>
                  <a:pt x="853" y="526"/>
                </a:lnTo>
                <a:lnTo>
                  <a:pt x="850" y="523"/>
                </a:lnTo>
                <a:lnTo>
                  <a:pt x="850" y="523"/>
                </a:lnTo>
                <a:lnTo>
                  <a:pt x="845" y="526"/>
                </a:lnTo>
                <a:lnTo>
                  <a:pt x="845" y="526"/>
                </a:lnTo>
                <a:lnTo>
                  <a:pt x="842" y="528"/>
                </a:lnTo>
                <a:lnTo>
                  <a:pt x="845" y="531"/>
                </a:lnTo>
                <a:lnTo>
                  <a:pt x="845" y="531"/>
                </a:lnTo>
                <a:lnTo>
                  <a:pt x="842" y="531"/>
                </a:lnTo>
                <a:lnTo>
                  <a:pt x="842" y="531"/>
                </a:lnTo>
                <a:lnTo>
                  <a:pt x="839" y="528"/>
                </a:lnTo>
                <a:lnTo>
                  <a:pt x="836" y="528"/>
                </a:lnTo>
                <a:lnTo>
                  <a:pt x="836" y="528"/>
                </a:lnTo>
                <a:lnTo>
                  <a:pt x="834" y="528"/>
                </a:lnTo>
                <a:lnTo>
                  <a:pt x="828" y="528"/>
                </a:lnTo>
                <a:lnTo>
                  <a:pt x="826" y="528"/>
                </a:lnTo>
                <a:lnTo>
                  <a:pt x="826" y="528"/>
                </a:lnTo>
                <a:lnTo>
                  <a:pt x="826" y="531"/>
                </a:lnTo>
                <a:lnTo>
                  <a:pt x="823" y="531"/>
                </a:lnTo>
                <a:lnTo>
                  <a:pt x="820" y="531"/>
                </a:lnTo>
                <a:lnTo>
                  <a:pt x="820" y="528"/>
                </a:lnTo>
                <a:lnTo>
                  <a:pt x="820" y="528"/>
                </a:lnTo>
                <a:lnTo>
                  <a:pt x="820" y="526"/>
                </a:lnTo>
                <a:lnTo>
                  <a:pt x="823" y="523"/>
                </a:lnTo>
                <a:lnTo>
                  <a:pt x="820" y="523"/>
                </a:lnTo>
                <a:lnTo>
                  <a:pt x="820" y="520"/>
                </a:lnTo>
                <a:lnTo>
                  <a:pt x="815" y="515"/>
                </a:lnTo>
                <a:lnTo>
                  <a:pt x="815" y="515"/>
                </a:lnTo>
                <a:lnTo>
                  <a:pt x="810" y="512"/>
                </a:lnTo>
                <a:lnTo>
                  <a:pt x="810" y="510"/>
                </a:lnTo>
                <a:lnTo>
                  <a:pt x="810" y="507"/>
                </a:lnTo>
                <a:lnTo>
                  <a:pt x="807" y="507"/>
                </a:lnTo>
                <a:lnTo>
                  <a:pt x="807" y="507"/>
                </a:lnTo>
                <a:lnTo>
                  <a:pt x="807" y="507"/>
                </a:lnTo>
                <a:lnTo>
                  <a:pt x="804" y="507"/>
                </a:lnTo>
                <a:lnTo>
                  <a:pt x="804" y="510"/>
                </a:lnTo>
                <a:lnTo>
                  <a:pt x="802" y="507"/>
                </a:lnTo>
                <a:lnTo>
                  <a:pt x="799" y="507"/>
                </a:lnTo>
                <a:lnTo>
                  <a:pt x="796" y="504"/>
                </a:lnTo>
                <a:lnTo>
                  <a:pt x="794" y="504"/>
                </a:lnTo>
                <a:lnTo>
                  <a:pt x="788" y="496"/>
                </a:lnTo>
                <a:lnTo>
                  <a:pt x="788" y="496"/>
                </a:lnTo>
                <a:lnTo>
                  <a:pt x="783" y="496"/>
                </a:lnTo>
                <a:lnTo>
                  <a:pt x="780" y="496"/>
                </a:lnTo>
                <a:lnTo>
                  <a:pt x="775" y="491"/>
                </a:lnTo>
                <a:lnTo>
                  <a:pt x="775" y="491"/>
                </a:lnTo>
                <a:lnTo>
                  <a:pt x="772" y="488"/>
                </a:lnTo>
                <a:lnTo>
                  <a:pt x="772" y="480"/>
                </a:lnTo>
                <a:lnTo>
                  <a:pt x="769" y="477"/>
                </a:lnTo>
                <a:lnTo>
                  <a:pt x="769" y="475"/>
                </a:lnTo>
                <a:lnTo>
                  <a:pt x="769" y="475"/>
                </a:lnTo>
                <a:lnTo>
                  <a:pt x="767" y="472"/>
                </a:lnTo>
                <a:lnTo>
                  <a:pt x="761" y="472"/>
                </a:lnTo>
                <a:lnTo>
                  <a:pt x="759" y="469"/>
                </a:lnTo>
                <a:lnTo>
                  <a:pt x="756" y="469"/>
                </a:lnTo>
                <a:lnTo>
                  <a:pt x="756" y="469"/>
                </a:lnTo>
                <a:lnTo>
                  <a:pt x="753" y="467"/>
                </a:lnTo>
                <a:lnTo>
                  <a:pt x="751" y="464"/>
                </a:lnTo>
                <a:lnTo>
                  <a:pt x="751" y="464"/>
                </a:lnTo>
                <a:lnTo>
                  <a:pt x="745" y="461"/>
                </a:lnTo>
                <a:lnTo>
                  <a:pt x="743" y="461"/>
                </a:lnTo>
                <a:lnTo>
                  <a:pt x="740" y="459"/>
                </a:lnTo>
                <a:lnTo>
                  <a:pt x="737" y="456"/>
                </a:lnTo>
                <a:lnTo>
                  <a:pt x="732" y="453"/>
                </a:lnTo>
                <a:lnTo>
                  <a:pt x="729" y="451"/>
                </a:lnTo>
                <a:lnTo>
                  <a:pt x="724" y="448"/>
                </a:lnTo>
                <a:lnTo>
                  <a:pt x="721" y="445"/>
                </a:lnTo>
                <a:lnTo>
                  <a:pt x="721" y="445"/>
                </a:lnTo>
                <a:lnTo>
                  <a:pt x="719" y="442"/>
                </a:lnTo>
                <a:lnTo>
                  <a:pt x="716" y="442"/>
                </a:lnTo>
                <a:lnTo>
                  <a:pt x="716" y="442"/>
                </a:lnTo>
                <a:lnTo>
                  <a:pt x="713" y="442"/>
                </a:lnTo>
                <a:lnTo>
                  <a:pt x="713" y="440"/>
                </a:lnTo>
                <a:lnTo>
                  <a:pt x="711" y="437"/>
                </a:lnTo>
                <a:lnTo>
                  <a:pt x="708" y="434"/>
                </a:lnTo>
                <a:lnTo>
                  <a:pt x="708" y="434"/>
                </a:lnTo>
                <a:lnTo>
                  <a:pt x="705" y="437"/>
                </a:lnTo>
                <a:lnTo>
                  <a:pt x="702" y="437"/>
                </a:lnTo>
                <a:lnTo>
                  <a:pt x="700" y="434"/>
                </a:lnTo>
                <a:lnTo>
                  <a:pt x="697" y="432"/>
                </a:lnTo>
                <a:lnTo>
                  <a:pt x="689" y="426"/>
                </a:lnTo>
                <a:lnTo>
                  <a:pt x="686" y="421"/>
                </a:lnTo>
                <a:lnTo>
                  <a:pt x="681" y="410"/>
                </a:lnTo>
                <a:lnTo>
                  <a:pt x="681" y="408"/>
                </a:lnTo>
                <a:lnTo>
                  <a:pt x="681" y="402"/>
                </a:lnTo>
                <a:lnTo>
                  <a:pt x="678" y="402"/>
                </a:lnTo>
                <a:lnTo>
                  <a:pt x="678" y="402"/>
                </a:lnTo>
                <a:lnTo>
                  <a:pt x="678" y="400"/>
                </a:lnTo>
                <a:lnTo>
                  <a:pt x="681" y="400"/>
                </a:lnTo>
                <a:lnTo>
                  <a:pt x="681" y="402"/>
                </a:lnTo>
                <a:lnTo>
                  <a:pt x="684" y="402"/>
                </a:lnTo>
                <a:lnTo>
                  <a:pt x="684" y="402"/>
                </a:lnTo>
                <a:lnTo>
                  <a:pt x="686" y="400"/>
                </a:lnTo>
                <a:lnTo>
                  <a:pt x="686" y="400"/>
                </a:lnTo>
                <a:lnTo>
                  <a:pt x="686" y="397"/>
                </a:lnTo>
                <a:lnTo>
                  <a:pt x="689" y="397"/>
                </a:lnTo>
                <a:lnTo>
                  <a:pt x="692" y="394"/>
                </a:lnTo>
                <a:lnTo>
                  <a:pt x="694" y="394"/>
                </a:lnTo>
                <a:lnTo>
                  <a:pt x="694" y="391"/>
                </a:lnTo>
                <a:lnTo>
                  <a:pt x="697" y="386"/>
                </a:lnTo>
                <a:lnTo>
                  <a:pt x="697" y="383"/>
                </a:lnTo>
                <a:lnTo>
                  <a:pt x="702" y="373"/>
                </a:lnTo>
                <a:lnTo>
                  <a:pt x="705" y="370"/>
                </a:lnTo>
                <a:lnTo>
                  <a:pt x="705" y="370"/>
                </a:lnTo>
                <a:lnTo>
                  <a:pt x="708" y="370"/>
                </a:lnTo>
                <a:lnTo>
                  <a:pt x="711" y="367"/>
                </a:lnTo>
                <a:lnTo>
                  <a:pt x="716" y="357"/>
                </a:lnTo>
                <a:lnTo>
                  <a:pt x="719" y="354"/>
                </a:lnTo>
                <a:lnTo>
                  <a:pt x="721" y="351"/>
                </a:lnTo>
                <a:lnTo>
                  <a:pt x="721" y="351"/>
                </a:lnTo>
                <a:lnTo>
                  <a:pt x="724" y="349"/>
                </a:lnTo>
                <a:lnTo>
                  <a:pt x="724" y="349"/>
                </a:lnTo>
                <a:lnTo>
                  <a:pt x="727" y="349"/>
                </a:lnTo>
                <a:lnTo>
                  <a:pt x="727" y="349"/>
                </a:lnTo>
                <a:lnTo>
                  <a:pt x="729" y="346"/>
                </a:lnTo>
                <a:lnTo>
                  <a:pt x="729" y="346"/>
                </a:lnTo>
                <a:lnTo>
                  <a:pt x="732" y="346"/>
                </a:lnTo>
                <a:lnTo>
                  <a:pt x="732" y="346"/>
                </a:lnTo>
                <a:lnTo>
                  <a:pt x="735" y="346"/>
                </a:lnTo>
                <a:lnTo>
                  <a:pt x="735" y="338"/>
                </a:lnTo>
                <a:lnTo>
                  <a:pt x="737" y="319"/>
                </a:lnTo>
                <a:lnTo>
                  <a:pt x="740" y="316"/>
                </a:lnTo>
                <a:lnTo>
                  <a:pt x="743" y="314"/>
                </a:lnTo>
                <a:lnTo>
                  <a:pt x="743" y="314"/>
                </a:lnTo>
                <a:lnTo>
                  <a:pt x="743" y="311"/>
                </a:lnTo>
                <a:lnTo>
                  <a:pt x="745" y="308"/>
                </a:lnTo>
                <a:lnTo>
                  <a:pt x="745" y="308"/>
                </a:lnTo>
                <a:lnTo>
                  <a:pt x="745" y="308"/>
                </a:lnTo>
                <a:lnTo>
                  <a:pt x="745" y="308"/>
                </a:lnTo>
                <a:lnTo>
                  <a:pt x="745" y="306"/>
                </a:lnTo>
                <a:lnTo>
                  <a:pt x="745" y="303"/>
                </a:lnTo>
                <a:lnTo>
                  <a:pt x="745" y="303"/>
                </a:lnTo>
                <a:lnTo>
                  <a:pt x="748" y="298"/>
                </a:lnTo>
                <a:lnTo>
                  <a:pt x="751" y="292"/>
                </a:lnTo>
                <a:lnTo>
                  <a:pt x="751" y="292"/>
                </a:lnTo>
                <a:lnTo>
                  <a:pt x="753" y="290"/>
                </a:lnTo>
                <a:lnTo>
                  <a:pt x="753" y="290"/>
                </a:lnTo>
                <a:lnTo>
                  <a:pt x="753" y="287"/>
                </a:lnTo>
                <a:lnTo>
                  <a:pt x="753" y="287"/>
                </a:lnTo>
                <a:lnTo>
                  <a:pt x="751" y="287"/>
                </a:lnTo>
                <a:lnTo>
                  <a:pt x="751" y="287"/>
                </a:lnTo>
                <a:lnTo>
                  <a:pt x="751" y="287"/>
                </a:lnTo>
                <a:lnTo>
                  <a:pt x="748" y="287"/>
                </a:lnTo>
                <a:lnTo>
                  <a:pt x="748" y="287"/>
                </a:lnTo>
                <a:lnTo>
                  <a:pt x="748" y="290"/>
                </a:lnTo>
                <a:lnTo>
                  <a:pt x="748" y="290"/>
                </a:lnTo>
                <a:lnTo>
                  <a:pt x="745" y="295"/>
                </a:lnTo>
                <a:lnTo>
                  <a:pt x="743" y="298"/>
                </a:lnTo>
                <a:lnTo>
                  <a:pt x="737" y="298"/>
                </a:lnTo>
                <a:lnTo>
                  <a:pt x="735" y="298"/>
                </a:lnTo>
                <a:lnTo>
                  <a:pt x="732" y="295"/>
                </a:lnTo>
                <a:lnTo>
                  <a:pt x="735" y="292"/>
                </a:lnTo>
                <a:lnTo>
                  <a:pt x="737" y="290"/>
                </a:lnTo>
                <a:lnTo>
                  <a:pt x="737" y="290"/>
                </a:lnTo>
                <a:lnTo>
                  <a:pt x="737" y="287"/>
                </a:lnTo>
                <a:lnTo>
                  <a:pt x="735" y="287"/>
                </a:lnTo>
                <a:lnTo>
                  <a:pt x="735" y="290"/>
                </a:lnTo>
                <a:lnTo>
                  <a:pt x="732" y="287"/>
                </a:lnTo>
                <a:lnTo>
                  <a:pt x="729" y="282"/>
                </a:lnTo>
                <a:lnTo>
                  <a:pt x="729" y="282"/>
                </a:lnTo>
                <a:lnTo>
                  <a:pt x="729" y="279"/>
                </a:lnTo>
                <a:lnTo>
                  <a:pt x="729" y="279"/>
                </a:lnTo>
                <a:lnTo>
                  <a:pt x="729" y="279"/>
                </a:lnTo>
                <a:lnTo>
                  <a:pt x="729" y="276"/>
                </a:lnTo>
                <a:lnTo>
                  <a:pt x="732" y="276"/>
                </a:lnTo>
                <a:lnTo>
                  <a:pt x="732" y="276"/>
                </a:lnTo>
                <a:lnTo>
                  <a:pt x="729" y="271"/>
                </a:lnTo>
                <a:lnTo>
                  <a:pt x="729" y="268"/>
                </a:lnTo>
                <a:lnTo>
                  <a:pt x="729" y="265"/>
                </a:lnTo>
                <a:lnTo>
                  <a:pt x="732" y="263"/>
                </a:lnTo>
                <a:lnTo>
                  <a:pt x="735" y="265"/>
                </a:lnTo>
                <a:lnTo>
                  <a:pt x="737" y="268"/>
                </a:lnTo>
                <a:lnTo>
                  <a:pt x="737" y="265"/>
                </a:lnTo>
                <a:lnTo>
                  <a:pt x="740" y="265"/>
                </a:lnTo>
                <a:lnTo>
                  <a:pt x="740" y="265"/>
                </a:lnTo>
                <a:lnTo>
                  <a:pt x="743" y="265"/>
                </a:lnTo>
                <a:lnTo>
                  <a:pt x="743" y="263"/>
                </a:lnTo>
                <a:lnTo>
                  <a:pt x="743" y="263"/>
                </a:lnTo>
                <a:lnTo>
                  <a:pt x="740" y="263"/>
                </a:lnTo>
                <a:lnTo>
                  <a:pt x="740" y="263"/>
                </a:lnTo>
                <a:lnTo>
                  <a:pt x="740" y="263"/>
                </a:lnTo>
                <a:lnTo>
                  <a:pt x="740" y="263"/>
                </a:lnTo>
                <a:lnTo>
                  <a:pt x="740" y="263"/>
                </a:lnTo>
                <a:lnTo>
                  <a:pt x="737" y="263"/>
                </a:lnTo>
                <a:lnTo>
                  <a:pt x="737" y="263"/>
                </a:lnTo>
                <a:lnTo>
                  <a:pt x="737" y="260"/>
                </a:lnTo>
                <a:lnTo>
                  <a:pt x="737" y="260"/>
                </a:lnTo>
                <a:lnTo>
                  <a:pt x="737" y="260"/>
                </a:lnTo>
                <a:lnTo>
                  <a:pt x="737" y="260"/>
                </a:lnTo>
                <a:lnTo>
                  <a:pt x="737" y="257"/>
                </a:lnTo>
                <a:lnTo>
                  <a:pt x="735" y="257"/>
                </a:lnTo>
                <a:lnTo>
                  <a:pt x="732" y="257"/>
                </a:lnTo>
                <a:lnTo>
                  <a:pt x="735" y="255"/>
                </a:lnTo>
                <a:lnTo>
                  <a:pt x="735" y="249"/>
                </a:lnTo>
                <a:lnTo>
                  <a:pt x="737" y="249"/>
                </a:lnTo>
                <a:lnTo>
                  <a:pt x="737" y="247"/>
                </a:lnTo>
                <a:lnTo>
                  <a:pt x="737" y="247"/>
                </a:lnTo>
                <a:lnTo>
                  <a:pt x="740" y="247"/>
                </a:lnTo>
                <a:lnTo>
                  <a:pt x="740" y="247"/>
                </a:lnTo>
                <a:lnTo>
                  <a:pt x="743" y="249"/>
                </a:lnTo>
                <a:lnTo>
                  <a:pt x="743" y="244"/>
                </a:lnTo>
                <a:lnTo>
                  <a:pt x="745" y="241"/>
                </a:lnTo>
                <a:lnTo>
                  <a:pt x="745" y="241"/>
                </a:lnTo>
                <a:lnTo>
                  <a:pt x="748" y="244"/>
                </a:lnTo>
                <a:lnTo>
                  <a:pt x="748" y="247"/>
                </a:lnTo>
                <a:lnTo>
                  <a:pt x="748" y="249"/>
                </a:lnTo>
                <a:lnTo>
                  <a:pt x="751" y="252"/>
                </a:lnTo>
                <a:lnTo>
                  <a:pt x="751" y="252"/>
                </a:lnTo>
                <a:lnTo>
                  <a:pt x="751" y="249"/>
                </a:lnTo>
                <a:lnTo>
                  <a:pt x="751" y="244"/>
                </a:lnTo>
                <a:lnTo>
                  <a:pt x="751" y="241"/>
                </a:lnTo>
                <a:lnTo>
                  <a:pt x="751" y="241"/>
                </a:lnTo>
                <a:lnTo>
                  <a:pt x="751" y="241"/>
                </a:lnTo>
                <a:lnTo>
                  <a:pt x="753" y="241"/>
                </a:lnTo>
                <a:lnTo>
                  <a:pt x="753" y="241"/>
                </a:lnTo>
                <a:lnTo>
                  <a:pt x="753" y="241"/>
                </a:lnTo>
                <a:lnTo>
                  <a:pt x="753" y="241"/>
                </a:lnTo>
                <a:lnTo>
                  <a:pt x="759" y="231"/>
                </a:lnTo>
                <a:lnTo>
                  <a:pt x="761" y="231"/>
                </a:lnTo>
                <a:lnTo>
                  <a:pt x="761" y="233"/>
                </a:lnTo>
                <a:lnTo>
                  <a:pt x="761" y="236"/>
                </a:lnTo>
                <a:lnTo>
                  <a:pt x="761" y="239"/>
                </a:lnTo>
                <a:lnTo>
                  <a:pt x="761" y="241"/>
                </a:lnTo>
                <a:lnTo>
                  <a:pt x="761" y="244"/>
                </a:lnTo>
                <a:lnTo>
                  <a:pt x="764" y="244"/>
                </a:lnTo>
                <a:lnTo>
                  <a:pt x="764" y="244"/>
                </a:lnTo>
                <a:lnTo>
                  <a:pt x="767" y="241"/>
                </a:lnTo>
                <a:lnTo>
                  <a:pt x="767" y="241"/>
                </a:lnTo>
                <a:lnTo>
                  <a:pt x="767" y="241"/>
                </a:lnTo>
                <a:lnTo>
                  <a:pt x="767" y="241"/>
                </a:lnTo>
                <a:lnTo>
                  <a:pt x="767" y="239"/>
                </a:lnTo>
                <a:lnTo>
                  <a:pt x="769" y="239"/>
                </a:lnTo>
                <a:lnTo>
                  <a:pt x="769" y="241"/>
                </a:lnTo>
                <a:lnTo>
                  <a:pt x="772" y="239"/>
                </a:lnTo>
                <a:lnTo>
                  <a:pt x="769" y="236"/>
                </a:lnTo>
                <a:lnTo>
                  <a:pt x="769" y="236"/>
                </a:lnTo>
                <a:lnTo>
                  <a:pt x="769" y="233"/>
                </a:lnTo>
                <a:lnTo>
                  <a:pt x="769" y="233"/>
                </a:lnTo>
                <a:lnTo>
                  <a:pt x="772" y="231"/>
                </a:lnTo>
                <a:lnTo>
                  <a:pt x="772" y="231"/>
                </a:lnTo>
                <a:lnTo>
                  <a:pt x="775" y="236"/>
                </a:lnTo>
                <a:lnTo>
                  <a:pt x="775" y="236"/>
                </a:lnTo>
                <a:lnTo>
                  <a:pt x="778" y="236"/>
                </a:lnTo>
                <a:lnTo>
                  <a:pt x="780" y="233"/>
                </a:lnTo>
                <a:lnTo>
                  <a:pt x="780" y="233"/>
                </a:lnTo>
                <a:lnTo>
                  <a:pt x="780" y="231"/>
                </a:lnTo>
                <a:lnTo>
                  <a:pt x="778" y="228"/>
                </a:lnTo>
                <a:lnTo>
                  <a:pt x="778" y="228"/>
                </a:lnTo>
                <a:lnTo>
                  <a:pt x="778" y="225"/>
                </a:lnTo>
                <a:lnTo>
                  <a:pt x="778" y="225"/>
                </a:lnTo>
                <a:lnTo>
                  <a:pt x="780" y="223"/>
                </a:lnTo>
                <a:lnTo>
                  <a:pt x="780" y="223"/>
                </a:lnTo>
                <a:lnTo>
                  <a:pt x="783" y="223"/>
                </a:lnTo>
                <a:lnTo>
                  <a:pt x="786" y="225"/>
                </a:lnTo>
                <a:lnTo>
                  <a:pt x="783" y="228"/>
                </a:lnTo>
                <a:lnTo>
                  <a:pt x="783" y="231"/>
                </a:lnTo>
                <a:lnTo>
                  <a:pt x="786" y="233"/>
                </a:lnTo>
                <a:lnTo>
                  <a:pt x="786" y="236"/>
                </a:lnTo>
                <a:lnTo>
                  <a:pt x="788" y="241"/>
                </a:lnTo>
                <a:lnTo>
                  <a:pt x="786" y="241"/>
                </a:lnTo>
                <a:lnTo>
                  <a:pt x="786" y="241"/>
                </a:lnTo>
                <a:lnTo>
                  <a:pt x="786" y="244"/>
                </a:lnTo>
                <a:lnTo>
                  <a:pt x="783" y="244"/>
                </a:lnTo>
                <a:lnTo>
                  <a:pt x="783" y="244"/>
                </a:lnTo>
                <a:lnTo>
                  <a:pt x="783" y="244"/>
                </a:lnTo>
                <a:lnTo>
                  <a:pt x="783" y="247"/>
                </a:lnTo>
                <a:lnTo>
                  <a:pt x="780" y="247"/>
                </a:lnTo>
                <a:lnTo>
                  <a:pt x="780" y="249"/>
                </a:lnTo>
                <a:lnTo>
                  <a:pt x="780" y="249"/>
                </a:lnTo>
                <a:lnTo>
                  <a:pt x="780" y="249"/>
                </a:lnTo>
                <a:lnTo>
                  <a:pt x="783" y="249"/>
                </a:lnTo>
                <a:lnTo>
                  <a:pt x="780" y="252"/>
                </a:lnTo>
                <a:lnTo>
                  <a:pt x="783" y="252"/>
                </a:lnTo>
                <a:lnTo>
                  <a:pt x="783" y="249"/>
                </a:lnTo>
                <a:lnTo>
                  <a:pt x="786" y="247"/>
                </a:lnTo>
                <a:lnTo>
                  <a:pt x="788" y="244"/>
                </a:lnTo>
                <a:lnTo>
                  <a:pt x="791" y="241"/>
                </a:lnTo>
                <a:lnTo>
                  <a:pt x="791" y="241"/>
                </a:lnTo>
                <a:lnTo>
                  <a:pt x="794" y="241"/>
                </a:lnTo>
                <a:lnTo>
                  <a:pt x="794" y="241"/>
                </a:lnTo>
                <a:lnTo>
                  <a:pt x="794" y="244"/>
                </a:lnTo>
                <a:lnTo>
                  <a:pt x="794" y="244"/>
                </a:lnTo>
                <a:lnTo>
                  <a:pt x="796" y="244"/>
                </a:lnTo>
                <a:lnTo>
                  <a:pt x="796" y="241"/>
                </a:lnTo>
                <a:lnTo>
                  <a:pt x="796" y="239"/>
                </a:lnTo>
                <a:lnTo>
                  <a:pt x="796" y="236"/>
                </a:lnTo>
                <a:lnTo>
                  <a:pt x="799" y="233"/>
                </a:lnTo>
                <a:lnTo>
                  <a:pt x="802" y="233"/>
                </a:lnTo>
                <a:lnTo>
                  <a:pt x="804" y="231"/>
                </a:lnTo>
                <a:lnTo>
                  <a:pt x="804" y="225"/>
                </a:lnTo>
                <a:lnTo>
                  <a:pt x="802" y="223"/>
                </a:lnTo>
                <a:lnTo>
                  <a:pt x="802" y="220"/>
                </a:lnTo>
                <a:lnTo>
                  <a:pt x="802" y="220"/>
                </a:lnTo>
                <a:lnTo>
                  <a:pt x="802" y="220"/>
                </a:lnTo>
                <a:lnTo>
                  <a:pt x="799" y="220"/>
                </a:lnTo>
                <a:lnTo>
                  <a:pt x="799" y="220"/>
                </a:lnTo>
                <a:lnTo>
                  <a:pt x="799" y="220"/>
                </a:lnTo>
                <a:lnTo>
                  <a:pt x="796" y="217"/>
                </a:lnTo>
                <a:lnTo>
                  <a:pt x="796" y="217"/>
                </a:lnTo>
                <a:lnTo>
                  <a:pt x="796" y="214"/>
                </a:lnTo>
                <a:lnTo>
                  <a:pt x="799" y="214"/>
                </a:lnTo>
                <a:lnTo>
                  <a:pt x="799" y="214"/>
                </a:lnTo>
                <a:lnTo>
                  <a:pt x="799" y="214"/>
                </a:lnTo>
                <a:lnTo>
                  <a:pt x="802" y="214"/>
                </a:lnTo>
                <a:lnTo>
                  <a:pt x="802" y="214"/>
                </a:lnTo>
                <a:lnTo>
                  <a:pt x="802" y="214"/>
                </a:lnTo>
                <a:lnTo>
                  <a:pt x="802" y="214"/>
                </a:lnTo>
                <a:lnTo>
                  <a:pt x="802" y="214"/>
                </a:lnTo>
                <a:lnTo>
                  <a:pt x="804" y="214"/>
                </a:lnTo>
                <a:lnTo>
                  <a:pt x="804" y="214"/>
                </a:lnTo>
                <a:lnTo>
                  <a:pt x="804" y="217"/>
                </a:lnTo>
                <a:lnTo>
                  <a:pt x="807" y="217"/>
                </a:lnTo>
                <a:lnTo>
                  <a:pt x="810" y="217"/>
                </a:lnTo>
                <a:lnTo>
                  <a:pt x="810" y="214"/>
                </a:lnTo>
                <a:lnTo>
                  <a:pt x="810" y="217"/>
                </a:lnTo>
                <a:lnTo>
                  <a:pt x="810" y="217"/>
                </a:lnTo>
                <a:lnTo>
                  <a:pt x="812" y="217"/>
                </a:lnTo>
                <a:lnTo>
                  <a:pt x="812" y="217"/>
                </a:lnTo>
                <a:lnTo>
                  <a:pt x="812" y="220"/>
                </a:lnTo>
                <a:lnTo>
                  <a:pt x="815" y="220"/>
                </a:lnTo>
                <a:lnTo>
                  <a:pt x="815" y="217"/>
                </a:lnTo>
                <a:lnTo>
                  <a:pt x="815" y="217"/>
                </a:lnTo>
                <a:lnTo>
                  <a:pt x="815" y="214"/>
                </a:lnTo>
                <a:lnTo>
                  <a:pt x="812" y="212"/>
                </a:lnTo>
                <a:lnTo>
                  <a:pt x="812" y="212"/>
                </a:lnTo>
                <a:lnTo>
                  <a:pt x="804" y="209"/>
                </a:lnTo>
                <a:lnTo>
                  <a:pt x="804" y="209"/>
                </a:lnTo>
                <a:lnTo>
                  <a:pt x="802" y="209"/>
                </a:lnTo>
                <a:lnTo>
                  <a:pt x="804" y="206"/>
                </a:lnTo>
                <a:lnTo>
                  <a:pt x="802" y="204"/>
                </a:lnTo>
                <a:lnTo>
                  <a:pt x="802" y="204"/>
                </a:lnTo>
                <a:lnTo>
                  <a:pt x="796" y="201"/>
                </a:lnTo>
                <a:lnTo>
                  <a:pt x="796" y="201"/>
                </a:lnTo>
                <a:lnTo>
                  <a:pt x="796" y="198"/>
                </a:lnTo>
                <a:lnTo>
                  <a:pt x="796" y="196"/>
                </a:lnTo>
                <a:lnTo>
                  <a:pt x="796" y="193"/>
                </a:lnTo>
                <a:lnTo>
                  <a:pt x="796" y="193"/>
                </a:lnTo>
                <a:lnTo>
                  <a:pt x="799" y="193"/>
                </a:lnTo>
                <a:lnTo>
                  <a:pt x="802" y="198"/>
                </a:lnTo>
                <a:lnTo>
                  <a:pt x="802" y="198"/>
                </a:lnTo>
                <a:lnTo>
                  <a:pt x="804" y="198"/>
                </a:lnTo>
                <a:lnTo>
                  <a:pt x="804" y="196"/>
                </a:lnTo>
                <a:lnTo>
                  <a:pt x="804" y="193"/>
                </a:lnTo>
                <a:lnTo>
                  <a:pt x="802" y="193"/>
                </a:lnTo>
                <a:lnTo>
                  <a:pt x="802" y="190"/>
                </a:lnTo>
                <a:lnTo>
                  <a:pt x="802" y="190"/>
                </a:lnTo>
                <a:lnTo>
                  <a:pt x="804" y="190"/>
                </a:lnTo>
                <a:lnTo>
                  <a:pt x="804" y="190"/>
                </a:lnTo>
                <a:lnTo>
                  <a:pt x="804" y="190"/>
                </a:lnTo>
                <a:lnTo>
                  <a:pt x="804" y="190"/>
                </a:lnTo>
                <a:lnTo>
                  <a:pt x="804" y="193"/>
                </a:lnTo>
                <a:lnTo>
                  <a:pt x="807" y="196"/>
                </a:lnTo>
                <a:lnTo>
                  <a:pt x="807" y="198"/>
                </a:lnTo>
                <a:lnTo>
                  <a:pt x="807" y="198"/>
                </a:lnTo>
                <a:lnTo>
                  <a:pt x="810" y="201"/>
                </a:lnTo>
                <a:lnTo>
                  <a:pt x="810" y="198"/>
                </a:lnTo>
                <a:lnTo>
                  <a:pt x="812" y="198"/>
                </a:lnTo>
                <a:lnTo>
                  <a:pt x="812" y="198"/>
                </a:lnTo>
                <a:lnTo>
                  <a:pt x="810" y="196"/>
                </a:lnTo>
                <a:lnTo>
                  <a:pt x="812" y="196"/>
                </a:lnTo>
                <a:lnTo>
                  <a:pt x="812" y="193"/>
                </a:lnTo>
                <a:lnTo>
                  <a:pt x="810" y="190"/>
                </a:lnTo>
                <a:lnTo>
                  <a:pt x="810" y="190"/>
                </a:lnTo>
                <a:lnTo>
                  <a:pt x="810" y="188"/>
                </a:lnTo>
                <a:lnTo>
                  <a:pt x="812" y="185"/>
                </a:lnTo>
                <a:lnTo>
                  <a:pt x="815" y="185"/>
                </a:lnTo>
                <a:lnTo>
                  <a:pt x="818" y="185"/>
                </a:lnTo>
                <a:lnTo>
                  <a:pt x="818" y="185"/>
                </a:lnTo>
                <a:lnTo>
                  <a:pt x="818" y="180"/>
                </a:lnTo>
                <a:lnTo>
                  <a:pt x="820" y="177"/>
                </a:lnTo>
                <a:lnTo>
                  <a:pt x="823" y="172"/>
                </a:lnTo>
                <a:lnTo>
                  <a:pt x="823" y="172"/>
                </a:lnTo>
                <a:lnTo>
                  <a:pt x="828" y="172"/>
                </a:lnTo>
                <a:lnTo>
                  <a:pt x="826" y="169"/>
                </a:lnTo>
                <a:lnTo>
                  <a:pt x="823" y="166"/>
                </a:lnTo>
                <a:lnTo>
                  <a:pt x="823" y="161"/>
                </a:lnTo>
                <a:lnTo>
                  <a:pt x="826" y="161"/>
                </a:lnTo>
                <a:lnTo>
                  <a:pt x="828" y="161"/>
                </a:lnTo>
                <a:lnTo>
                  <a:pt x="828" y="158"/>
                </a:lnTo>
                <a:lnTo>
                  <a:pt x="828" y="158"/>
                </a:lnTo>
                <a:lnTo>
                  <a:pt x="831" y="158"/>
                </a:lnTo>
                <a:lnTo>
                  <a:pt x="831" y="161"/>
                </a:lnTo>
                <a:lnTo>
                  <a:pt x="831" y="161"/>
                </a:lnTo>
                <a:lnTo>
                  <a:pt x="831" y="161"/>
                </a:lnTo>
                <a:lnTo>
                  <a:pt x="831" y="164"/>
                </a:lnTo>
                <a:lnTo>
                  <a:pt x="828" y="166"/>
                </a:lnTo>
                <a:lnTo>
                  <a:pt x="828" y="166"/>
                </a:lnTo>
                <a:lnTo>
                  <a:pt x="828" y="169"/>
                </a:lnTo>
                <a:lnTo>
                  <a:pt x="828" y="169"/>
                </a:lnTo>
                <a:lnTo>
                  <a:pt x="828" y="166"/>
                </a:lnTo>
                <a:lnTo>
                  <a:pt x="842" y="153"/>
                </a:lnTo>
                <a:lnTo>
                  <a:pt x="845" y="153"/>
                </a:lnTo>
                <a:lnTo>
                  <a:pt x="845" y="153"/>
                </a:lnTo>
                <a:lnTo>
                  <a:pt x="845" y="150"/>
                </a:lnTo>
                <a:lnTo>
                  <a:pt x="847" y="150"/>
                </a:lnTo>
                <a:lnTo>
                  <a:pt x="847" y="150"/>
                </a:lnTo>
                <a:lnTo>
                  <a:pt x="847" y="150"/>
                </a:lnTo>
                <a:lnTo>
                  <a:pt x="850" y="147"/>
                </a:lnTo>
                <a:lnTo>
                  <a:pt x="847" y="147"/>
                </a:lnTo>
                <a:lnTo>
                  <a:pt x="845" y="147"/>
                </a:lnTo>
                <a:lnTo>
                  <a:pt x="845" y="147"/>
                </a:lnTo>
                <a:lnTo>
                  <a:pt x="845" y="145"/>
                </a:lnTo>
                <a:lnTo>
                  <a:pt x="845" y="142"/>
                </a:lnTo>
                <a:lnTo>
                  <a:pt x="839" y="137"/>
                </a:lnTo>
                <a:lnTo>
                  <a:pt x="839" y="134"/>
                </a:lnTo>
                <a:lnTo>
                  <a:pt x="831" y="131"/>
                </a:lnTo>
                <a:lnTo>
                  <a:pt x="828" y="129"/>
                </a:lnTo>
                <a:lnTo>
                  <a:pt x="826" y="129"/>
                </a:lnTo>
                <a:lnTo>
                  <a:pt x="826" y="131"/>
                </a:lnTo>
                <a:lnTo>
                  <a:pt x="818" y="131"/>
                </a:lnTo>
                <a:lnTo>
                  <a:pt x="818" y="131"/>
                </a:lnTo>
                <a:lnTo>
                  <a:pt x="818" y="134"/>
                </a:lnTo>
                <a:lnTo>
                  <a:pt x="820" y="134"/>
                </a:lnTo>
                <a:lnTo>
                  <a:pt x="823" y="134"/>
                </a:lnTo>
                <a:lnTo>
                  <a:pt x="823" y="134"/>
                </a:lnTo>
                <a:lnTo>
                  <a:pt x="826" y="134"/>
                </a:lnTo>
                <a:lnTo>
                  <a:pt x="826" y="137"/>
                </a:lnTo>
                <a:lnTo>
                  <a:pt x="826" y="137"/>
                </a:lnTo>
                <a:lnTo>
                  <a:pt x="823" y="139"/>
                </a:lnTo>
                <a:lnTo>
                  <a:pt x="820" y="142"/>
                </a:lnTo>
                <a:lnTo>
                  <a:pt x="818" y="142"/>
                </a:lnTo>
                <a:lnTo>
                  <a:pt x="815" y="139"/>
                </a:lnTo>
                <a:lnTo>
                  <a:pt x="815" y="139"/>
                </a:lnTo>
                <a:lnTo>
                  <a:pt x="815" y="137"/>
                </a:lnTo>
                <a:lnTo>
                  <a:pt x="812" y="134"/>
                </a:lnTo>
                <a:lnTo>
                  <a:pt x="810" y="131"/>
                </a:lnTo>
                <a:lnTo>
                  <a:pt x="810" y="129"/>
                </a:lnTo>
                <a:lnTo>
                  <a:pt x="807" y="126"/>
                </a:lnTo>
                <a:lnTo>
                  <a:pt x="810" y="123"/>
                </a:lnTo>
                <a:lnTo>
                  <a:pt x="807" y="121"/>
                </a:lnTo>
                <a:lnTo>
                  <a:pt x="807" y="121"/>
                </a:lnTo>
                <a:lnTo>
                  <a:pt x="804" y="118"/>
                </a:lnTo>
                <a:lnTo>
                  <a:pt x="802" y="113"/>
                </a:lnTo>
                <a:lnTo>
                  <a:pt x="799" y="110"/>
                </a:lnTo>
                <a:lnTo>
                  <a:pt x="799" y="113"/>
                </a:lnTo>
                <a:lnTo>
                  <a:pt x="799" y="113"/>
                </a:lnTo>
                <a:lnTo>
                  <a:pt x="796" y="110"/>
                </a:lnTo>
                <a:lnTo>
                  <a:pt x="796" y="110"/>
                </a:lnTo>
                <a:lnTo>
                  <a:pt x="796" y="107"/>
                </a:lnTo>
                <a:lnTo>
                  <a:pt x="796" y="107"/>
                </a:lnTo>
                <a:lnTo>
                  <a:pt x="799" y="107"/>
                </a:lnTo>
                <a:lnTo>
                  <a:pt x="804" y="107"/>
                </a:lnTo>
                <a:lnTo>
                  <a:pt x="804" y="107"/>
                </a:lnTo>
                <a:lnTo>
                  <a:pt x="807" y="105"/>
                </a:lnTo>
                <a:lnTo>
                  <a:pt x="807" y="105"/>
                </a:lnTo>
                <a:lnTo>
                  <a:pt x="807" y="102"/>
                </a:lnTo>
                <a:lnTo>
                  <a:pt x="810" y="102"/>
                </a:lnTo>
                <a:lnTo>
                  <a:pt x="807" y="99"/>
                </a:lnTo>
                <a:lnTo>
                  <a:pt x="807" y="99"/>
                </a:lnTo>
                <a:lnTo>
                  <a:pt x="807" y="99"/>
                </a:lnTo>
                <a:lnTo>
                  <a:pt x="807" y="102"/>
                </a:lnTo>
                <a:lnTo>
                  <a:pt x="804" y="105"/>
                </a:lnTo>
                <a:lnTo>
                  <a:pt x="802" y="105"/>
                </a:lnTo>
                <a:lnTo>
                  <a:pt x="796" y="105"/>
                </a:lnTo>
                <a:lnTo>
                  <a:pt x="796" y="105"/>
                </a:lnTo>
                <a:lnTo>
                  <a:pt x="794" y="105"/>
                </a:lnTo>
                <a:lnTo>
                  <a:pt x="791" y="107"/>
                </a:lnTo>
                <a:lnTo>
                  <a:pt x="791" y="107"/>
                </a:lnTo>
                <a:lnTo>
                  <a:pt x="788" y="107"/>
                </a:lnTo>
                <a:lnTo>
                  <a:pt x="786" y="113"/>
                </a:lnTo>
                <a:lnTo>
                  <a:pt x="783" y="113"/>
                </a:lnTo>
                <a:lnTo>
                  <a:pt x="780" y="115"/>
                </a:lnTo>
                <a:lnTo>
                  <a:pt x="780" y="118"/>
                </a:lnTo>
                <a:lnTo>
                  <a:pt x="780" y="115"/>
                </a:lnTo>
                <a:lnTo>
                  <a:pt x="778" y="115"/>
                </a:lnTo>
                <a:lnTo>
                  <a:pt x="775" y="118"/>
                </a:lnTo>
                <a:lnTo>
                  <a:pt x="769" y="126"/>
                </a:lnTo>
                <a:lnTo>
                  <a:pt x="769" y="129"/>
                </a:lnTo>
                <a:lnTo>
                  <a:pt x="767" y="129"/>
                </a:lnTo>
                <a:lnTo>
                  <a:pt x="764" y="129"/>
                </a:lnTo>
                <a:lnTo>
                  <a:pt x="764" y="129"/>
                </a:lnTo>
                <a:lnTo>
                  <a:pt x="764" y="131"/>
                </a:lnTo>
                <a:lnTo>
                  <a:pt x="764" y="131"/>
                </a:lnTo>
                <a:lnTo>
                  <a:pt x="767" y="131"/>
                </a:lnTo>
                <a:lnTo>
                  <a:pt x="769" y="131"/>
                </a:lnTo>
                <a:lnTo>
                  <a:pt x="769" y="134"/>
                </a:lnTo>
                <a:lnTo>
                  <a:pt x="772" y="134"/>
                </a:lnTo>
                <a:lnTo>
                  <a:pt x="775" y="134"/>
                </a:lnTo>
                <a:lnTo>
                  <a:pt x="778" y="134"/>
                </a:lnTo>
                <a:lnTo>
                  <a:pt x="778" y="131"/>
                </a:lnTo>
                <a:lnTo>
                  <a:pt x="780" y="134"/>
                </a:lnTo>
                <a:lnTo>
                  <a:pt x="783" y="134"/>
                </a:lnTo>
                <a:lnTo>
                  <a:pt x="783" y="134"/>
                </a:lnTo>
                <a:lnTo>
                  <a:pt x="783" y="137"/>
                </a:lnTo>
                <a:lnTo>
                  <a:pt x="783" y="139"/>
                </a:lnTo>
                <a:lnTo>
                  <a:pt x="780" y="145"/>
                </a:lnTo>
                <a:lnTo>
                  <a:pt x="778" y="153"/>
                </a:lnTo>
                <a:lnTo>
                  <a:pt x="775" y="155"/>
                </a:lnTo>
                <a:lnTo>
                  <a:pt x="772" y="158"/>
                </a:lnTo>
                <a:lnTo>
                  <a:pt x="767" y="161"/>
                </a:lnTo>
                <a:lnTo>
                  <a:pt x="767" y="161"/>
                </a:lnTo>
                <a:lnTo>
                  <a:pt x="764" y="161"/>
                </a:lnTo>
                <a:lnTo>
                  <a:pt x="764" y="161"/>
                </a:lnTo>
                <a:lnTo>
                  <a:pt x="761" y="158"/>
                </a:lnTo>
                <a:lnTo>
                  <a:pt x="761" y="158"/>
                </a:lnTo>
                <a:lnTo>
                  <a:pt x="759" y="158"/>
                </a:lnTo>
                <a:lnTo>
                  <a:pt x="756" y="158"/>
                </a:lnTo>
                <a:lnTo>
                  <a:pt x="756" y="158"/>
                </a:lnTo>
                <a:lnTo>
                  <a:pt x="753" y="158"/>
                </a:lnTo>
                <a:lnTo>
                  <a:pt x="753" y="158"/>
                </a:lnTo>
                <a:lnTo>
                  <a:pt x="753" y="158"/>
                </a:lnTo>
                <a:lnTo>
                  <a:pt x="753" y="158"/>
                </a:lnTo>
                <a:lnTo>
                  <a:pt x="753" y="158"/>
                </a:lnTo>
                <a:lnTo>
                  <a:pt x="753" y="155"/>
                </a:lnTo>
                <a:lnTo>
                  <a:pt x="751" y="158"/>
                </a:lnTo>
                <a:lnTo>
                  <a:pt x="751" y="158"/>
                </a:lnTo>
                <a:lnTo>
                  <a:pt x="751" y="158"/>
                </a:lnTo>
                <a:lnTo>
                  <a:pt x="751" y="161"/>
                </a:lnTo>
                <a:lnTo>
                  <a:pt x="748" y="161"/>
                </a:lnTo>
                <a:lnTo>
                  <a:pt x="748" y="161"/>
                </a:lnTo>
                <a:lnTo>
                  <a:pt x="745" y="158"/>
                </a:lnTo>
                <a:lnTo>
                  <a:pt x="745" y="155"/>
                </a:lnTo>
                <a:lnTo>
                  <a:pt x="745" y="153"/>
                </a:lnTo>
                <a:lnTo>
                  <a:pt x="745" y="153"/>
                </a:lnTo>
                <a:lnTo>
                  <a:pt x="745" y="153"/>
                </a:lnTo>
                <a:lnTo>
                  <a:pt x="745" y="153"/>
                </a:lnTo>
                <a:lnTo>
                  <a:pt x="743" y="153"/>
                </a:lnTo>
                <a:lnTo>
                  <a:pt x="743" y="150"/>
                </a:lnTo>
                <a:lnTo>
                  <a:pt x="743" y="150"/>
                </a:lnTo>
                <a:lnTo>
                  <a:pt x="743" y="150"/>
                </a:lnTo>
                <a:lnTo>
                  <a:pt x="748" y="145"/>
                </a:lnTo>
                <a:lnTo>
                  <a:pt x="748" y="142"/>
                </a:lnTo>
                <a:lnTo>
                  <a:pt x="748" y="139"/>
                </a:lnTo>
                <a:lnTo>
                  <a:pt x="751" y="139"/>
                </a:lnTo>
                <a:lnTo>
                  <a:pt x="751" y="139"/>
                </a:lnTo>
                <a:lnTo>
                  <a:pt x="751" y="139"/>
                </a:lnTo>
                <a:lnTo>
                  <a:pt x="751" y="139"/>
                </a:lnTo>
                <a:lnTo>
                  <a:pt x="751" y="137"/>
                </a:lnTo>
                <a:lnTo>
                  <a:pt x="751" y="137"/>
                </a:lnTo>
                <a:lnTo>
                  <a:pt x="748" y="137"/>
                </a:lnTo>
                <a:lnTo>
                  <a:pt x="745" y="137"/>
                </a:lnTo>
                <a:lnTo>
                  <a:pt x="745" y="139"/>
                </a:lnTo>
                <a:lnTo>
                  <a:pt x="743" y="139"/>
                </a:lnTo>
                <a:lnTo>
                  <a:pt x="740" y="139"/>
                </a:lnTo>
                <a:lnTo>
                  <a:pt x="740" y="137"/>
                </a:lnTo>
                <a:lnTo>
                  <a:pt x="740" y="134"/>
                </a:lnTo>
                <a:lnTo>
                  <a:pt x="737" y="134"/>
                </a:lnTo>
                <a:lnTo>
                  <a:pt x="737" y="134"/>
                </a:lnTo>
                <a:lnTo>
                  <a:pt x="737" y="131"/>
                </a:lnTo>
                <a:lnTo>
                  <a:pt x="740" y="131"/>
                </a:lnTo>
                <a:lnTo>
                  <a:pt x="740" y="131"/>
                </a:lnTo>
                <a:lnTo>
                  <a:pt x="743" y="129"/>
                </a:lnTo>
                <a:lnTo>
                  <a:pt x="743" y="129"/>
                </a:lnTo>
                <a:lnTo>
                  <a:pt x="743" y="126"/>
                </a:lnTo>
                <a:lnTo>
                  <a:pt x="745" y="126"/>
                </a:lnTo>
                <a:lnTo>
                  <a:pt x="745" y="126"/>
                </a:lnTo>
                <a:lnTo>
                  <a:pt x="745" y="123"/>
                </a:lnTo>
                <a:lnTo>
                  <a:pt x="748" y="123"/>
                </a:lnTo>
                <a:lnTo>
                  <a:pt x="748" y="123"/>
                </a:lnTo>
                <a:lnTo>
                  <a:pt x="751" y="121"/>
                </a:lnTo>
                <a:lnTo>
                  <a:pt x="751" y="118"/>
                </a:lnTo>
                <a:lnTo>
                  <a:pt x="748" y="121"/>
                </a:lnTo>
                <a:lnTo>
                  <a:pt x="740" y="126"/>
                </a:lnTo>
                <a:lnTo>
                  <a:pt x="740" y="126"/>
                </a:lnTo>
                <a:lnTo>
                  <a:pt x="740" y="126"/>
                </a:lnTo>
                <a:lnTo>
                  <a:pt x="737" y="126"/>
                </a:lnTo>
                <a:lnTo>
                  <a:pt x="737" y="129"/>
                </a:lnTo>
                <a:lnTo>
                  <a:pt x="737" y="129"/>
                </a:lnTo>
                <a:lnTo>
                  <a:pt x="735" y="131"/>
                </a:lnTo>
                <a:lnTo>
                  <a:pt x="735" y="131"/>
                </a:lnTo>
                <a:lnTo>
                  <a:pt x="735" y="129"/>
                </a:lnTo>
                <a:lnTo>
                  <a:pt x="735" y="129"/>
                </a:lnTo>
                <a:lnTo>
                  <a:pt x="735" y="126"/>
                </a:lnTo>
                <a:lnTo>
                  <a:pt x="732" y="126"/>
                </a:lnTo>
                <a:lnTo>
                  <a:pt x="732" y="126"/>
                </a:lnTo>
                <a:lnTo>
                  <a:pt x="729" y="131"/>
                </a:lnTo>
                <a:lnTo>
                  <a:pt x="724" y="134"/>
                </a:lnTo>
                <a:lnTo>
                  <a:pt x="724" y="137"/>
                </a:lnTo>
                <a:lnTo>
                  <a:pt x="721" y="139"/>
                </a:lnTo>
                <a:lnTo>
                  <a:pt x="721" y="139"/>
                </a:lnTo>
                <a:lnTo>
                  <a:pt x="719" y="139"/>
                </a:lnTo>
                <a:lnTo>
                  <a:pt x="719" y="139"/>
                </a:lnTo>
                <a:lnTo>
                  <a:pt x="716" y="145"/>
                </a:lnTo>
                <a:lnTo>
                  <a:pt x="716" y="139"/>
                </a:lnTo>
                <a:lnTo>
                  <a:pt x="716" y="139"/>
                </a:lnTo>
                <a:lnTo>
                  <a:pt x="711" y="137"/>
                </a:lnTo>
                <a:lnTo>
                  <a:pt x="711" y="134"/>
                </a:lnTo>
                <a:lnTo>
                  <a:pt x="711" y="131"/>
                </a:lnTo>
                <a:lnTo>
                  <a:pt x="711" y="129"/>
                </a:lnTo>
                <a:lnTo>
                  <a:pt x="711" y="126"/>
                </a:lnTo>
                <a:lnTo>
                  <a:pt x="713" y="126"/>
                </a:lnTo>
                <a:lnTo>
                  <a:pt x="716" y="123"/>
                </a:lnTo>
                <a:lnTo>
                  <a:pt x="716" y="123"/>
                </a:lnTo>
                <a:lnTo>
                  <a:pt x="719" y="118"/>
                </a:lnTo>
                <a:lnTo>
                  <a:pt x="724" y="115"/>
                </a:lnTo>
                <a:lnTo>
                  <a:pt x="727" y="113"/>
                </a:lnTo>
                <a:lnTo>
                  <a:pt x="729" y="110"/>
                </a:lnTo>
                <a:lnTo>
                  <a:pt x="735" y="110"/>
                </a:lnTo>
                <a:lnTo>
                  <a:pt x="735" y="107"/>
                </a:lnTo>
                <a:lnTo>
                  <a:pt x="735" y="107"/>
                </a:lnTo>
                <a:lnTo>
                  <a:pt x="735" y="107"/>
                </a:lnTo>
                <a:lnTo>
                  <a:pt x="729" y="110"/>
                </a:lnTo>
                <a:lnTo>
                  <a:pt x="729" y="110"/>
                </a:lnTo>
                <a:lnTo>
                  <a:pt x="721" y="110"/>
                </a:lnTo>
                <a:lnTo>
                  <a:pt x="719" y="110"/>
                </a:lnTo>
                <a:lnTo>
                  <a:pt x="719" y="110"/>
                </a:lnTo>
                <a:lnTo>
                  <a:pt x="719" y="110"/>
                </a:lnTo>
                <a:lnTo>
                  <a:pt x="719" y="110"/>
                </a:lnTo>
                <a:lnTo>
                  <a:pt x="719" y="107"/>
                </a:lnTo>
                <a:lnTo>
                  <a:pt x="719" y="107"/>
                </a:lnTo>
                <a:lnTo>
                  <a:pt x="724" y="107"/>
                </a:lnTo>
                <a:lnTo>
                  <a:pt x="724" y="107"/>
                </a:lnTo>
                <a:lnTo>
                  <a:pt x="727" y="102"/>
                </a:lnTo>
                <a:lnTo>
                  <a:pt x="735" y="94"/>
                </a:lnTo>
                <a:lnTo>
                  <a:pt x="737" y="91"/>
                </a:lnTo>
                <a:lnTo>
                  <a:pt x="737" y="88"/>
                </a:lnTo>
                <a:lnTo>
                  <a:pt x="737" y="86"/>
                </a:lnTo>
                <a:lnTo>
                  <a:pt x="735" y="86"/>
                </a:lnTo>
                <a:lnTo>
                  <a:pt x="732" y="86"/>
                </a:lnTo>
                <a:lnTo>
                  <a:pt x="732" y="86"/>
                </a:lnTo>
                <a:lnTo>
                  <a:pt x="732" y="88"/>
                </a:lnTo>
                <a:lnTo>
                  <a:pt x="732" y="91"/>
                </a:lnTo>
                <a:lnTo>
                  <a:pt x="732" y="91"/>
                </a:lnTo>
                <a:lnTo>
                  <a:pt x="732" y="94"/>
                </a:lnTo>
                <a:lnTo>
                  <a:pt x="729" y="94"/>
                </a:lnTo>
                <a:lnTo>
                  <a:pt x="729" y="96"/>
                </a:lnTo>
                <a:lnTo>
                  <a:pt x="729" y="96"/>
                </a:lnTo>
                <a:lnTo>
                  <a:pt x="727" y="96"/>
                </a:lnTo>
                <a:lnTo>
                  <a:pt x="727" y="96"/>
                </a:lnTo>
                <a:lnTo>
                  <a:pt x="724" y="99"/>
                </a:lnTo>
                <a:lnTo>
                  <a:pt x="721" y="102"/>
                </a:lnTo>
                <a:lnTo>
                  <a:pt x="716" y="105"/>
                </a:lnTo>
                <a:lnTo>
                  <a:pt x="716" y="105"/>
                </a:lnTo>
                <a:lnTo>
                  <a:pt x="713" y="105"/>
                </a:lnTo>
                <a:lnTo>
                  <a:pt x="711" y="105"/>
                </a:lnTo>
                <a:lnTo>
                  <a:pt x="711" y="105"/>
                </a:lnTo>
                <a:lnTo>
                  <a:pt x="708" y="107"/>
                </a:lnTo>
                <a:lnTo>
                  <a:pt x="708" y="107"/>
                </a:lnTo>
                <a:lnTo>
                  <a:pt x="708" y="107"/>
                </a:lnTo>
                <a:lnTo>
                  <a:pt x="708" y="107"/>
                </a:lnTo>
                <a:lnTo>
                  <a:pt x="705" y="107"/>
                </a:lnTo>
                <a:lnTo>
                  <a:pt x="705" y="107"/>
                </a:lnTo>
                <a:lnTo>
                  <a:pt x="705" y="107"/>
                </a:lnTo>
                <a:lnTo>
                  <a:pt x="705" y="107"/>
                </a:lnTo>
                <a:lnTo>
                  <a:pt x="702" y="107"/>
                </a:lnTo>
                <a:lnTo>
                  <a:pt x="702" y="107"/>
                </a:lnTo>
                <a:lnTo>
                  <a:pt x="700" y="110"/>
                </a:lnTo>
                <a:lnTo>
                  <a:pt x="700" y="115"/>
                </a:lnTo>
                <a:lnTo>
                  <a:pt x="700" y="115"/>
                </a:lnTo>
                <a:lnTo>
                  <a:pt x="700" y="118"/>
                </a:lnTo>
                <a:lnTo>
                  <a:pt x="702" y="118"/>
                </a:lnTo>
                <a:lnTo>
                  <a:pt x="705" y="113"/>
                </a:lnTo>
                <a:lnTo>
                  <a:pt x="708" y="113"/>
                </a:lnTo>
                <a:lnTo>
                  <a:pt x="708" y="113"/>
                </a:lnTo>
                <a:lnTo>
                  <a:pt x="711" y="115"/>
                </a:lnTo>
                <a:lnTo>
                  <a:pt x="708" y="115"/>
                </a:lnTo>
                <a:lnTo>
                  <a:pt x="708" y="118"/>
                </a:lnTo>
                <a:lnTo>
                  <a:pt x="705" y="118"/>
                </a:lnTo>
                <a:lnTo>
                  <a:pt x="705" y="118"/>
                </a:lnTo>
                <a:lnTo>
                  <a:pt x="700" y="121"/>
                </a:lnTo>
                <a:lnTo>
                  <a:pt x="700" y="121"/>
                </a:lnTo>
                <a:lnTo>
                  <a:pt x="697" y="121"/>
                </a:lnTo>
                <a:lnTo>
                  <a:pt x="697" y="118"/>
                </a:lnTo>
                <a:lnTo>
                  <a:pt x="694" y="121"/>
                </a:lnTo>
                <a:lnTo>
                  <a:pt x="692" y="121"/>
                </a:lnTo>
                <a:lnTo>
                  <a:pt x="689" y="123"/>
                </a:lnTo>
                <a:lnTo>
                  <a:pt x="686" y="123"/>
                </a:lnTo>
                <a:lnTo>
                  <a:pt x="684" y="123"/>
                </a:lnTo>
                <a:lnTo>
                  <a:pt x="684" y="123"/>
                </a:lnTo>
                <a:lnTo>
                  <a:pt x="684" y="121"/>
                </a:lnTo>
                <a:lnTo>
                  <a:pt x="684" y="121"/>
                </a:lnTo>
                <a:lnTo>
                  <a:pt x="678" y="121"/>
                </a:lnTo>
                <a:lnTo>
                  <a:pt x="673" y="123"/>
                </a:lnTo>
                <a:lnTo>
                  <a:pt x="673" y="123"/>
                </a:lnTo>
                <a:lnTo>
                  <a:pt x="673" y="126"/>
                </a:lnTo>
                <a:lnTo>
                  <a:pt x="673" y="126"/>
                </a:lnTo>
                <a:lnTo>
                  <a:pt x="673" y="126"/>
                </a:lnTo>
                <a:lnTo>
                  <a:pt x="670" y="129"/>
                </a:lnTo>
                <a:lnTo>
                  <a:pt x="670" y="129"/>
                </a:lnTo>
                <a:lnTo>
                  <a:pt x="665" y="129"/>
                </a:lnTo>
                <a:lnTo>
                  <a:pt x="665" y="131"/>
                </a:lnTo>
                <a:lnTo>
                  <a:pt x="665" y="131"/>
                </a:lnTo>
                <a:lnTo>
                  <a:pt x="670" y="134"/>
                </a:lnTo>
                <a:lnTo>
                  <a:pt x="670" y="134"/>
                </a:lnTo>
                <a:lnTo>
                  <a:pt x="673" y="134"/>
                </a:lnTo>
                <a:lnTo>
                  <a:pt x="676" y="134"/>
                </a:lnTo>
                <a:lnTo>
                  <a:pt x="676" y="137"/>
                </a:lnTo>
                <a:lnTo>
                  <a:pt x="673" y="137"/>
                </a:lnTo>
                <a:lnTo>
                  <a:pt x="673" y="137"/>
                </a:lnTo>
                <a:lnTo>
                  <a:pt x="670" y="137"/>
                </a:lnTo>
                <a:lnTo>
                  <a:pt x="668" y="137"/>
                </a:lnTo>
                <a:lnTo>
                  <a:pt x="668" y="137"/>
                </a:lnTo>
                <a:lnTo>
                  <a:pt x="665" y="134"/>
                </a:lnTo>
                <a:lnTo>
                  <a:pt x="665" y="134"/>
                </a:lnTo>
                <a:lnTo>
                  <a:pt x="660" y="137"/>
                </a:lnTo>
                <a:lnTo>
                  <a:pt x="660" y="137"/>
                </a:lnTo>
                <a:lnTo>
                  <a:pt x="660" y="137"/>
                </a:lnTo>
                <a:lnTo>
                  <a:pt x="662" y="139"/>
                </a:lnTo>
                <a:lnTo>
                  <a:pt x="662" y="142"/>
                </a:lnTo>
                <a:lnTo>
                  <a:pt x="662" y="142"/>
                </a:lnTo>
                <a:lnTo>
                  <a:pt x="660" y="139"/>
                </a:lnTo>
                <a:lnTo>
                  <a:pt x="660" y="139"/>
                </a:lnTo>
                <a:lnTo>
                  <a:pt x="657" y="137"/>
                </a:lnTo>
                <a:lnTo>
                  <a:pt x="654" y="137"/>
                </a:lnTo>
                <a:lnTo>
                  <a:pt x="654" y="137"/>
                </a:lnTo>
                <a:lnTo>
                  <a:pt x="652" y="137"/>
                </a:lnTo>
                <a:lnTo>
                  <a:pt x="652" y="137"/>
                </a:lnTo>
                <a:lnTo>
                  <a:pt x="649" y="139"/>
                </a:lnTo>
                <a:lnTo>
                  <a:pt x="646" y="139"/>
                </a:lnTo>
                <a:lnTo>
                  <a:pt x="646" y="139"/>
                </a:lnTo>
                <a:lnTo>
                  <a:pt x="644" y="137"/>
                </a:lnTo>
                <a:lnTo>
                  <a:pt x="644" y="137"/>
                </a:lnTo>
                <a:lnTo>
                  <a:pt x="644" y="134"/>
                </a:lnTo>
                <a:lnTo>
                  <a:pt x="638" y="134"/>
                </a:lnTo>
                <a:lnTo>
                  <a:pt x="638" y="134"/>
                </a:lnTo>
                <a:lnTo>
                  <a:pt x="638" y="131"/>
                </a:lnTo>
                <a:lnTo>
                  <a:pt x="635" y="129"/>
                </a:lnTo>
                <a:lnTo>
                  <a:pt x="635" y="126"/>
                </a:lnTo>
                <a:lnTo>
                  <a:pt x="635" y="126"/>
                </a:lnTo>
                <a:lnTo>
                  <a:pt x="633" y="126"/>
                </a:lnTo>
                <a:lnTo>
                  <a:pt x="633" y="126"/>
                </a:lnTo>
                <a:lnTo>
                  <a:pt x="630" y="126"/>
                </a:lnTo>
                <a:lnTo>
                  <a:pt x="625" y="126"/>
                </a:lnTo>
                <a:lnTo>
                  <a:pt x="625" y="123"/>
                </a:lnTo>
                <a:lnTo>
                  <a:pt x="622" y="123"/>
                </a:lnTo>
                <a:lnTo>
                  <a:pt x="622" y="121"/>
                </a:lnTo>
                <a:lnTo>
                  <a:pt x="622" y="115"/>
                </a:lnTo>
                <a:lnTo>
                  <a:pt x="622" y="115"/>
                </a:lnTo>
                <a:lnTo>
                  <a:pt x="619" y="115"/>
                </a:lnTo>
                <a:lnTo>
                  <a:pt x="619" y="115"/>
                </a:lnTo>
                <a:lnTo>
                  <a:pt x="617" y="115"/>
                </a:lnTo>
                <a:lnTo>
                  <a:pt x="617" y="115"/>
                </a:lnTo>
                <a:lnTo>
                  <a:pt x="617" y="113"/>
                </a:lnTo>
                <a:lnTo>
                  <a:pt x="617" y="113"/>
                </a:lnTo>
                <a:lnTo>
                  <a:pt x="614" y="113"/>
                </a:lnTo>
                <a:lnTo>
                  <a:pt x="614" y="110"/>
                </a:lnTo>
                <a:lnTo>
                  <a:pt x="614" y="110"/>
                </a:lnTo>
                <a:lnTo>
                  <a:pt x="614" y="107"/>
                </a:lnTo>
                <a:lnTo>
                  <a:pt x="614" y="107"/>
                </a:lnTo>
                <a:lnTo>
                  <a:pt x="614" y="105"/>
                </a:lnTo>
                <a:lnTo>
                  <a:pt x="611" y="105"/>
                </a:lnTo>
                <a:lnTo>
                  <a:pt x="609" y="107"/>
                </a:lnTo>
                <a:lnTo>
                  <a:pt x="606" y="107"/>
                </a:lnTo>
                <a:lnTo>
                  <a:pt x="606" y="107"/>
                </a:lnTo>
                <a:lnTo>
                  <a:pt x="598" y="115"/>
                </a:lnTo>
                <a:lnTo>
                  <a:pt x="595" y="115"/>
                </a:lnTo>
                <a:lnTo>
                  <a:pt x="595" y="118"/>
                </a:lnTo>
                <a:lnTo>
                  <a:pt x="593" y="115"/>
                </a:lnTo>
                <a:lnTo>
                  <a:pt x="593" y="118"/>
                </a:lnTo>
                <a:lnTo>
                  <a:pt x="587" y="118"/>
                </a:lnTo>
                <a:lnTo>
                  <a:pt x="577" y="118"/>
                </a:lnTo>
                <a:lnTo>
                  <a:pt x="571" y="115"/>
                </a:lnTo>
                <a:lnTo>
                  <a:pt x="568" y="113"/>
                </a:lnTo>
                <a:lnTo>
                  <a:pt x="563" y="107"/>
                </a:lnTo>
                <a:lnTo>
                  <a:pt x="560" y="110"/>
                </a:lnTo>
                <a:lnTo>
                  <a:pt x="560" y="110"/>
                </a:lnTo>
                <a:lnTo>
                  <a:pt x="560" y="110"/>
                </a:lnTo>
                <a:lnTo>
                  <a:pt x="560" y="113"/>
                </a:lnTo>
                <a:lnTo>
                  <a:pt x="558" y="115"/>
                </a:lnTo>
                <a:lnTo>
                  <a:pt x="555" y="118"/>
                </a:lnTo>
                <a:lnTo>
                  <a:pt x="552" y="118"/>
                </a:lnTo>
                <a:lnTo>
                  <a:pt x="552" y="121"/>
                </a:lnTo>
                <a:lnTo>
                  <a:pt x="552" y="121"/>
                </a:lnTo>
                <a:lnTo>
                  <a:pt x="552" y="118"/>
                </a:lnTo>
                <a:lnTo>
                  <a:pt x="552" y="118"/>
                </a:lnTo>
                <a:lnTo>
                  <a:pt x="552" y="115"/>
                </a:lnTo>
                <a:lnTo>
                  <a:pt x="552" y="115"/>
                </a:lnTo>
                <a:lnTo>
                  <a:pt x="552" y="113"/>
                </a:lnTo>
                <a:lnTo>
                  <a:pt x="552" y="113"/>
                </a:lnTo>
                <a:lnTo>
                  <a:pt x="552" y="110"/>
                </a:lnTo>
                <a:lnTo>
                  <a:pt x="550" y="110"/>
                </a:lnTo>
                <a:lnTo>
                  <a:pt x="550" y="110"/>
                </a:lnTo>
                <a:lnTo>
                  <a:pt x="550" y="110"/>
                </a:lnTo>
                <a:lnTo>
                  <a:pt x="550" y="107"/>
                </a:lnTo>
                <a:lnTo>
                  <a:pt x="550" y="107"/>
                </a:lnTo>
                <a:lnTo>
                  <a:pt x="552" y="107"/>
                </a:lnTo>
                <a:lnTo>
                  <a:pt x="552" y="107"/>
                </a:lnTo>
                <a:lnTo>
                  <a:pt x="552" y="105"/>
                </a:lnTo>
                <a:lnTo>
                  <a:pt x="552" y="105"/>
                </a:lnTo>
                <a:lnTo>
                  <a:pt x="550" y="105"/>
                </a:lnTo>
                <a:lnTo>
                  <a:pt x="550" y="105"/>
                </a:lnTo>
                <a:lnTo>
                  <a:pt x="550" y="102"/>
                </a:lnTo>
                <a:lnTo>
                  <a:pt x="547" y="99"/>
                </a:lnTo>
                <a:lnTo>
                  <a:pt x="547" y="99"/>
                </a:lnTo>
                <a:lnTo>
                  <a:pt x="547" y="99"/>
                </a:lnTo>
                <a:lnTo>
                  <a:pt x="542" y="105"/>
                </a:lnTo>
                <a:lnTo>
                  <a:pt x="542" y="102"/>
                </a:lnTo>
                <a:lnTo>
                  <a:pt x="542" y="102"/>
                </a:lnTo>
                <a:lnTo>
                  <a:pt x="542" y="102"/>
                </a:lnTo>
                <a:lnTo>
                  <a:pt x="542" y="99"/>
                </a:lnTo>
                <a:lnTo>
                  <a:pt x="542" y="99"/>
                </a:lnTo>
                <a:lnTo>
                  <a:pt x="539" y="99"/>
                </a:lnTo>
                <a:lnTo>
                  <a:pt x="539" y="96"/>
                </a:lnTo>
                <a:lnTo>
                  <a:pt x="539" y="96"/>
                </a:lnTo>
                <a:lnTo>
                  <a:pt x="539" y="96"/>
                </a:lnTo>
                <a:lnTo>
                  <a:pt x="539" y="94"/>
                </a:lnTo>
                <a:lnTo>
                  <a:pt x="536" y="94"/>
                </a:lnTo>
                <a:lnTo>
                  <a:pt x="534" y="94"/>
                </a:lnTo>
                <a:lnTo>
                  <a:pt x="534" y="96"/>
                </a:lnTo>
                <a:lnTo>
                  <a:pt x="534" y="96"/>
                </a:lnTo>
                <a:lnTo>
                  <a:pt x="534" y="99"/>
                </a:lnTo>
                <a:lnTo>
                  <a:pt x="531" y="99"/>
                </a:lnTo>
                <a:lnTo>
                  <a:pt x="526" y="102"/>
                </a:lnTo>
                <a:lnTo>
                  <a:pt x="520" y="99"/>
                </a:lnTo>
                <a:lnTo>
                  <a:pt x="515" y="96"/>
                </a:lnTo>
                <a:lnTo>
                  <a:pt x="515" y="94"/>
                </a:lnTo>
                <a:lnTo>
                  <a:pt x="515" y="91"/>
                </a:lnTo>
                <a:lnTo>
                  <a:pt x="518" y="88"/>
                </a:lnTo>
                <a:lnTo>
                  <a:pt x="520" y="88"/>
                </a:lnTo>
                <a:lnTo>
                  <a:pt x="520" y="88"/>
                </a:lnTo>
                <a:lnTo>
                  <a:pt x="523" y="86"/>
                </a:lnTo>
                <a:lnTo>
                  <a:pt x="523" y="86"/>
                </a:lnTo>
                <a:lnTo>
                  <a:pt x="526" y="86"/>
                </a:lnTo>
                <a:lnTo>
                  <a:pt x="526" y="86"/>
                </a:lnTo>
                <a:lnTo>
                  <a:pt x="526" y="83"/>
                </a:lnTo>
                <a:lnTo>
                  <a:pt x="523" y="80"/>
                </a:lnTo>
                <a:lnTo>
                  <a:pt x="520" y="83"/>
                </a:lnTo>
                <a:lnTo>
                  <a:pt x="520" y="83"/>
                </a:lnTo>
                <a:lnTo>
                  <a:pt x="518" y="83"/>
                </a:lnTo>
                <a:lnTo>
                  <a:pt x="515" y="83"/>
                </a:lnTo>
                <a:lnTo>
                  <a:pt x="515" y="83"/>
                </a:lnTo>
                <a:lnTo>
                  <a:pt x="515" y="80"/>
                </a:lnTo>
                <a:lnTo>
                  <a:pt x="515" y="80"/>
                </a:lnTo>
                <a:lnTo>
                  <a:pt x="515" y="80"/>
                </a:lnTo>
                <a:lnTo>
                  <a:pt x="510" y="80"/>
                </a:lnTo>
                <a:lnTo>
                  <a:pt x="507" y="86"/>
                </a:lnTo>
                <a:lnTo>
                  <a:pt x="504" y="86"/>
                </a:lnTo>
                <a:lnTo>
                  <a:pt x="504" y="88"/>
                </a:lnTo>
                <a:lnTo>
                  <a:pt x="501" y="88"/>
                </a:lnTo>
                <a:lnTo>
                  <a:pt x="499" y="88"/>
                </a:lnTo>
                <a:lnTo>
                  <a:pt x="499" y="86"/>
                </a:lnTo>
                <a:lnTo>
                  <a:pt x="496" y="91"/>
                </a:lnTo>
                <a:lnTo>
                  <a:pt x="496" y="91"/>
                </a:lnTo>
                <a:lnTo>
                  <a:pt x="496" y="91"/>
                </a:lnTo>
                <a:lnTo>
                  <a:pt x="493" y="91"/>
                </a:lnTo>
                <a:lnTo>
                  <a:pt x="491" y="94"/>
                </a:lnTo>
                <a:lnTo>
                  <a:pt x="491" y="94"/>
                </a:lnTo>
                <a:lnTo>
                  <a:pt x="491" y="91"/>
                </a:lnTo>
                <a:lnTo>
                  <a:pt x="491" y="91"/>
                </a:lnTo>
                <a:lnTo>
                  <a:pt x="488" y="91"/>
                </a:lnTo>
                <a:lnTo>
                  <a:pt x="488" y="91"/>
                </a:lnTo>
                <a:lnTo>
                  <a:pt x="488" y="88"/>
                </a:lnTo>
                <a:lnTo>
                  <a:pt x="488" y="91"/>
                </a:lnTo>
                <a:lnTo>
                  <a:pt x="485" y="91"/>
                </a:lnTo>
                <a:lnTo>
                  <a:pt x="483" y="91"/>
                </a:lnTo>
                <a:lnTo>
                  <a:pt x="483" y="96"/>
                </a:lnTo>
                <a:lnTo>
                  <a:pt x="483" y="96"/>
                </a:lnTo>
                <a:lnTo>
                  <a:pt x="480" y="96"/>
                </a:lnTo>
                <a:lnTo>
                  <a:pt x="483" y="94"/>
                </a:lnTo>
                <a:lnTo>
                  <a:pt x="483" y="91"/>
                </a:lnTo>
                <a:lnTo>
                  <a:pt x="483" y="86"/>
                </a:lnTo>
                <a:lnTo>
                  <a:pt x="483" y="83"/>
                </a:lnTo>
                <a:lnTo>
                  <a:pt x="480" y="86"/>
                </a:lnTo>
                <a:lnTo>
                  <a:pt x="480" y="86"/>
                </a:lnTo>
                <a:lnTo>
                  <a:pt x="477" y="88"/>
                </a:lnTo>
                <a:lnTo>
                  <a:pt x="477" y="88"/>
                </a:lnTo>
                <a:lnTo>
                  <a:pt x="477" y="88"/>
                </a:lnTo>
                <a:lnTo>
                  <a:pt x="475" y="88"/>
                </a:lnTo>
                <a:lnTo>
                  <a:pt x="472" y="86"/>
                </a:lnTo>
                <a:lnTo>
                  <a:pt x="469" y="86"/>
                </a:lnTo>
                <a:lnTo>
                  <a:pt x="469" y="86"/>
                </a:lnTo>
                <a:lnTo>
                  <a:pt x="469" y="86"/>
                </a:lnTo>
                <a:lnTo>
                  <a:pt x="469" y="86"/>
                </a:lnTo>
                <a:lnTo>
                  <a:pt x="469" y="86"/>
                </a:lnTo>
                <a:lnTo>
                  <a:pt x="469" y="83"/>
                </a:lnTo>
                <a:lnTo>
                  <a:pt x="469" y="83"/>
                </a:lnTo>
                <a:lnTo>
                  <a:pt x="469" y="83"/>
                </a:lnTo>
                <a:lnTo>
                  <a:pt x="469" y="80"/>
                </a:lnTo>
                <a:lnTo>
                  <a:pt x="467" y="83"/>
                </a:lnTo>
                <a:lnTo>
                  <a:pt x="467" y="83"/>
                </a:lnTo>
                <a:lnTo>
                  <a:pt x="464" y="86"/>
                </a:lnTo>
                <a:lnTo>
                  <a:pt x="464" y="86"/>
                </a:lnTo>
                <a:lnTo>
                  <a:pt x="464" y="86"/>
                </a:lnTo>
                <a:lnTo>
                  <a:pt x="461" y="86"/>
                </a:lnTo>
                <a:lnTo>
                  <a:pt x="459" y="86"/>
                </a:lnTo>
                <a:lnTo>
                  <a:pt x="459" y="83"/>
                </a:lnTo>
                <a:lnTo>
                  <a:pt x="459" y="83"/>
                </a:lnTo>
                <a:lnTo>
                  <a:pt x="461" y="80"/>
                </a:lnTo>
                <a:lnTo>
                  <a:pt x="461" y="80"/>
                </a:lnTo>
                <a:lnTo>
                  <a:pt x="464" y="80"/>
                </a:lnTo>
                <a:lnTo>
                  <a:pt x="464" y="78"/>
                </a:lnTo>
                <a:lnTo>
                  <a:pt x="461" y="78"/>
                </a:lnTo>
                <a:lnTo>
                  <a:pt x="461" y="78"/>
                </a:lnTo>
                <a:lnTo>
                  <a:pt x="459" y="78"/>
                </a:lnTo>
                <a:lnTo>
                  <a:pt x="456" y="78"/>
                </a:lnTo>
                <a:lnTo>
                  <a:pt x="456" y="80"/>
                </a:lnTo>
                <a:lnTo>
                  <a:pt x="453" y="83"/>
                </a:lnTo>
                <a:lnTo>
                  <a:pt x="448" y="80"/>
                </a:lnTo>
                <a:lnTo>
                  <a:pt x="445" y="80"/>
                </a:lnTo>
                <a:lnTo>
                  <a:pt x="443" y="80"/>
                </a:lnTo>
                <a:lnTo>
                  <a:pt x="443" y="78"/>
                </a:lnTo>
                <a:lnTo>
                  <a:pt x="440" y="78"/>
                </a:lnTo>
                <a:lnTo>
                  <a:pt x="434" y="67"/>
                </a:lnTo>
                <a:lnTo>
                  <a:pt x="432" y="64"/>
                </a:lnTo>
                <a:lnTo>
                  <a:pt x="432" y="62"/>
                </a:lnTo>
                <a:lnTo>
                  <a:pt x="434" y="59"/>
                </a:lnTo>
                <a:lnTo>
                  <a:pt x="434" y="59"/>
                </a:lnTo>
                <a:lnTo>
                  <a:pt x="432" y="59"/>
                </a:lnTo>
                <a:lnTo>
                  <a:pt x="432" y="59"/>
                </a:lnTo>
                <a:lnTo>
                  <a:pt x="432" y="56"/>
                </a:lnTo>
                <a:lnTo>
                  <a:pt x="429" y="56"/>
                </a:lnTo>
                <a:lnTo>
                  <a:pt x="429" y="54"/>
                </a:lnTo>
                <a:lnTo>
                  <a:pt x="426" y="51"/>
                </a:lnTo>
                <a:lnTo>
                  <a:pt x="424" y="48"/>
                </a:lnTo>
                <a:lnTo>
                  <a:pt x="421" y="45"/>
                </a:lnTo>
                <a:lnTo>
                  <a:pt x="421" y="45"/>
                </a:lnTo>
                <a:lnTo>
                  <a:pt x="418" y="43"/>
                </a:lnTo>
                <a:lnTo>
                  <a:pt x="418" y="43"/>
                </a:lnTo>
                <a:lnTo>
                  <a:pt x="418" y="43"/>
                </a:lnTo>
                <a:lnTo>
                  <a:pt x="418" y="43"/>
                </a:lnTo>
                <a:lnTo>
                  <a:pt x="416" y="40"/>
                </a:lnTo>
                <a:lnTo>
                  <a:pt x="416" y="40"/>
                </a:lnTo>
                <a:lnTo>
                  <a:pt x="416" y="40"/>
                </a:lnTo>
                <a:lnTo>
                  <a:pt x="416" y="40"/>
                </a:lnTo>
                <a:lnTo>
                  <a:pt x="413" y="40"/>
                </a:lnTo>
                <a:lnTo>
                  <a:pt x="413" y="40"/>
                </a:lnTo>
                <a:lnTo>
                  <a:pt x="410" y="40"/>
                </a:lnTo>
                <a:lnTo>
                  <a:pt x="410" y="40"/>
                </a:lnTo>
                <a:lnTo>
                  <a:pt x="413" y="43"/>
                </a:lnTo>
                <a:lnTo>
                  <a:pt x="416" y="43"/>
                </a:lnTo>
                <a:lnTo>
                  <a:pt x="416" y="45"/>
                </a:lnTo>
                <a:lnTo>
                  <a:pt x="413" y="48"/>
                </a:lnTo>
                <a:lnTo>
                  <a:pt x="413" y="48"/>
                </a:lnTo>
                <a:lnTo>
                  <a:pt x="410" y="48"/>
                </a:lnTo>
                <a:lnTo>
                  <a:pt x="408" y="48"/>
                </a:lnTo>
                <a:lnTo>
                  <a:pt x="408" y="48"/>
                </a:lnTo>
                <a:lnTo>
                  <a:pt x="408" y="48"/>
                </a:lnTo>
                <a:lnTo>
                  <a:pt x="408" y="48"/>
                </a:lnTo>
                <a:lnTo>
                  <a:pt x="408" y="48"/>
                </a:lnTo>
                <a:lnTo>
                  <a:pt x="408" y="48"/>
                </a:lnTo>
                <a:lnTo>
                  <a:pt x="405" y="51"/>
                </a:lnTo>
                <a:lnTo>
                  <a:pt x="405" y="51"/>
                </a:lnTo>
                <a:lnTo>
                  <a:pt x="402" y="51"/>
                </a:lnTo>
                <a:lnTo>
                  <a:pt x="402" y="51"/>
                </a:lnTo>
                <a:lnTo>
                  <a:pt x="402" y="54"/>
                </a:lnTo>
                <a:lnTo>
                  <a:pt x="400" y="56"/>
                </a:lnTo>
                <a:lnTo>
                  <a:pt x="397" y="59"/>
                </a:lnTo>
                <a:lnTo>
                  <a:pt x="394" y="59"/>
                </a:lnTo>
                <a:lnTo>
                  <a:pt x="392" y="59"/>
                </a:lnTo>
                <a:lnTo>
                  <a:pt x="389" y="56"/>
                </a:lnTo>
                <a:lnTo>
                  <a:pt x="386" y="51"/>
                </a:lnTo>
                <a:lnTo>
                  <a:pt x="384" y="48"/>
                </a:lnTo>
                <a:lnTo>
                  <a:pt x="378" y="45"/>
                </a:lnTo>
                <a:lnTo>
                  <a:pt x="378" y="43"/>
                </a:lnTo>
                <a:lnTo>
                  <a:pt x="378" y="43"/>
                </a:lnTo>
                <a:lnTo>
                  <a:pt x="376" y="40"/>
                </a:lnTo>
                <a:lnTo>
                  <a:pt x="376" y="40"/>
                </a:lnTo>
                <a:lnTo>
                  <a:pt x="376" y="40"/>
                </a:lnTo>
                <a:lnTo>
                  <a:pt x="376" y="40"/>
                </a:lnTo>
                <a:lnTo>
                  <a:pt x="376" y="40"/>
                </a:lnTo>
                <a:lnTo>
                  <a:pt x="373" y="40"/>
                </a:lnTo>
                <a:lnTo>
                  <a:pt x="373" y="40"/>
                </a:lnTo>
                <a:lnTo>
                  <a:pt x="373" y="40"/>
                </a:lnTo>
                <a:lnTo>
                  <a:pt x="373" y="37"/>
                </a:lnTo>
                <a:lnTo>
                  <a:pt x="373" y="35"/>
                </a:lnTo>
                <a:lnTo>
                  <a:pt x="370" y="29"/>
                </a:lnTo>
                <a:lnTo>
                  <a:pt x="365" y="27"/>
                </a:lnTo>
                <a:lnTo>
                  <a:pt x="365" y="29"/>
                </a:lnTo>
                <a:lnTo>
                  <a:pt x="362" y="32"/>
                </a:lnTo>
                <a:lnTo>
                  <a:pt x="362" y="35"/>
                </a:lnTo>
                <a:lnTo>
                  <a:pt x="359" y="35"/>
                </a:lnTo>
                <a:lnTo>
                  <a:pt x="359" y="35"/>
                </a:lnTo>
                <a:lnTo>
                  <a:pt x="359" y="29"/>
                </a:lnTo>
                <a:lnTo>
                  <a:pt x="359" y="29"/>
                </a:lnTo>
                <a:lnTo>
                  <a:pt x="359" y="29"/>
                </a:lnTo>
                <a:lnTo>
                  <a:pt x="359" y="27"/>
                </a:lnTo>
                <a:lnTo>
                  <a:pt x="359" y="27"/>
                </a:lnTo>
                <a:lnTo>
                  <a:pt x="357" y="21"/>
                </a:lnTo>
                <a:lnTo>
                  <a:pt x="357" y="19"/>
                </a:lnTo>
                <a:lnTo>
                  <a:pt x="354" y="19"/>
                </a:lnTo>
                <a:lnTo>
                  <a:pt x="354" y="19"/>
                </a:lnTo>
                <a:lnTo>
                  <a:pt x="354" y="21"/>
                </a:lnTo>
                <a:lnTo>
                  <a:pt x="354" y="21"/>
                </a:lnTo>
                <a:lnTo>
                  <a:pt x="351" y="21"/>
                </a:lnTo>
                <a:lnTo>
                  <a:pt x="351" y="21"/>
                </a:lnTo>
                <a:lnTo>
                  <a:pt x="351" y="21"/>
                </a:lnTo>
                <a:lnTo>
                  <a:pt x="351" y="21"/>
                </a:lnTo>
                <a:lnTo>
                  <a:pt x="349" y="21"/>
                </a:lnTo>
                <a:lnTo>
                  <a:pt x="349" y="24"/>
                </a:lnTo>
                <a:lnTo>
                  <a:pt x="349" y="27"/>
                </a:lnTo>
                <a:lnTo>
                  <a:pt x="349" y="32"/>
                </a:lnTo>
                <a:lnTo>
                  <a:pt x="349" y="32"/>
                </a:lnTo>
                <a:lnTo>
                  <a:pt x="346" y="32"/>
                </a:lnTo>
                <a:lnTo>
                  <a:pt x="346" y="29"/>
                </a:lnTo>
                <a:lnTo>
                  <a:pt x="343" y="27"/>
                </a:lnTo>
                <a:lnTo>
                  <a:pt x="343" y="24"/>
                </a:lnTo>
                <a:lnTo>
                  <a:pt x="341" y="24"/>
                </a:lnTo>
                <a:lnTo>
                  <a:pt x="341" y="21"/>
                </a:lnTo>
                <a:lnTo>
                  <a:pt x="341" y="21"/>
                </a:lnTo>
                <a:lnTo>
                  <a:pt x="338" y="19"/>
                </a:lnTo>
                <a:lnTo>
                  <a:pt x="335" y="19"/>
                </a:lnTo>
                <a:lnTo>
                  <a:pt x="335" y="19"/>
                </a:lnTo>
                <a:lnTo>
                  <a:pt x="335" y="21"/>
                </a:lnTo>
                <a:lnTo>
                  <a:pt x="335" y="21"/>
                </a:lnTo>
                <a:lnTo>
                  <a:pt x="335" y="24"/>
                </a:lnTo>
                <a:lnTo>
                  <a:pt x="338" y="27"/>
                </a:lnTo>
                <a:lnTo>
                  <a:pt x="338" y="27"/>
                </a:lnTo>
                <a:lnTo>
                  <a:pt x="338" y="29"/>
                </a:lnTo>
                <a:lnTo>
                  <a:pt x="338" y="29"/>
                </a:lnTo>
                <a:lnTo>
                  <a:pt x="341" y="32"/>
                </a:lnTo>
                <a:lnTo>
                  <a:pt x="341" y="32"/>
                </a:lnTo>
                <a:lnTo>
                  <a:pt x="341" y="35"/>
                </a:lnTo>
                <a:lnTo>
                  <a:pt x="338" y="35"/>
                </a:lnTo>
                <a:lnTo>
                  <a:pt x="338" y="37"/>
                </a:lnTo>
                <a:lnTo>
                  <a:pt x="338" y="37"/>
                </a:lnTo>
                <a:lnTo>
                  <a:pt x="338" y="37"/>
                </a:lnTo>
                <a:lnTo>
                  <a:pt x="341" y="37"/>
                </a:lnTo>
                <a:lnTo>
                  <a:pt x="341" y="37"/>
                </a:lnTo>
                <a:lnTo>
                  <a:pt x="341" y="37"/>
                </a:lnTo>
                <a:lnTo>
                  <a:pt x="343" y="40"/>
                </a:lnTo>
                <a:lnTo>
                  <a:pt x="343" y="40"/>
                </a:lnTo>
                <a:lnTo>
                  <a:pt x="343" y="43"/>
                </a:lnTo>
                <a:lnTo>
                  <a:pt x="343" y="43"/>
                </a:lnTo>
                <a:lnTo>
                  <a:pt x="341" y="43"/>
                </a:lnTo>
                <a:lnTo>
                  <a:pt x="341" y="43"/>
                </a:lnTo>
                <a:lnTo>
                  <a:pt x="338" y="43"/>
                </a:lnTo>
                <a:lnTo>
                  <a:pt x="338" y="43"/>
                </a:lnTo>
                <a:lnTo>
                  <a:pt x="341" y="45"/>
                </a:lnTo>
                <a:lnTo>
                  <a:pt x="341" y="48"/>
                </a:lnTo>
                <a:lnTo>
                  <a:pt x="338" y="48"/>
                </a:lnTo>
                <a:lnTo>
                  <a:pt x="335" y="45"/>
                </a:lnTo>
                <a:lnTo>
                  <a:pt x="335" y="43"/>
                </a:lnTo>
                <a:lnTo>
                  <a:pt x="335" y="40"/>
                </a:lnTo>
                <a:lnTo>
                  <a:pt x="333" y="37"/>
                </a:lnTo>
                <a:lnTo>
                  <a:pt x="333" y="37"/>
                </a:lnTo>
                <a:lnTo>
                  <a:pt x="333" y="40"/>
                </a:lnTo>
                <a:lnTo>
                  <a:pt x="333" y="40"/>
                </a:lnTo>
                <a:lnTo>
                  <a:pt x="333" y="40"/>
                </a:lnTo>
                <a:lnTo>
                  <a:pt x="333" y="40"/>
                </a:lnTo>
                <a:lnTo>
                  <a:pt x="333" y="40"/>
                </a:lnTo>
                <a:lnTo>
                  <a:pt x="333" y="40"/>
                </a:lnTo>
                <a:lnTo>
                  <a:pt x="330" y="40"/>
                </a:lnTo>
                <a:lnTo>
                  <a:pt x="330" y="40"/>
                </a:lnTo>
                <a:lnTo>
                  <a:pt x="330" y="37"/>
                </a:lnTo>
                <a:lnTo>
                  <a:pt x="330" y="35"/>
                </a:lnTo>
                <a:lnTo>
                  <a:pt x="330" y="35"/>
                </a:lnTo>
                <a:lnTo>
                  <a:pt x="330" y="32"/>
                </a:lnTo>
                <a:lnTo>
                  <a:pt x="330" y="32"/>
                </a:lnTo>
                <a:lnTo>
                  <a:pt x="330" y="29"/>
                </a:lnTo>
                <a:lnTo>
                  <a:pt x="330" y="29"/>
                </a:lnTo>
                <a:lnTo>
                  <a:pt x="333" y="29"/>
                </a:lnTo>
                <a:lnTo>
                  <a:pt x="330" y="27"/>
                </a:lnTo>
                <a:lnTo>
                  <a:pt x="330" y="27"/>
                </a:lnTo>
                <a:lnTo>
                  <a:pt x="330" y="29"/>
                </a:lnTo>
                <a:lnTo>
                  <a:pt x="327" y="29"/>
                </a:lnTo>
                <a:lnTo>
                  <a:pt x="327" y="27"/>
                </a:lnTo>
                <a:lnTo>
                  <a:pt x="327" y="24"/>
                </a:lnTo>
                <a:lnTo>
                  <a:pt x="325" y="24"/>
                </a:lnTo>
                <a:lnTo>
                  <a:pt x="322" y="21"/>
                </a:lnTo>
                <a:lnTo>
                  <a:pt x="322" y="21"/>
                </a:lnTo>
                <a:lnTo>
                  <a:pt x="319" y="19"/>
                </a:lnTo>
                <a:lnTo>
                  <a:pt x="319" y="19"/>
                </a:lnTo>
                <a:lnTo>
                  <a:pt x="317" y="19"/>
                </a:lnTo>
                <a:lnTo>
                  <a:pt x="317" y="19"/>
                </a:lnTo>
                <a:lnTo>
                  <a:pt x="317" y="21"/>
                </a:lnTo>
                <a:lnTo>
                  <a:pt x="317" y="21"/>
                </a:lnTo>
                <a:lnTo>
                  <a:pt x="317" y="24"/>
                </a:lnTo>
                <a:lnTo>
                  <a:pt x="317" y="21"/>
                </a:lnTo>
                <a:lnTo>
                  <a:pt x="317" y="24"/>
                </a:lnTo>
                <a:lnTo>
                  <a:pt x="317" y="27"/>
                </a:lnTo>
                <a:lnTo>
                  <a:pt x="317" y="29"/>
                </a:lnTo>
                <a:lnTo>
                  <a:pt x="314" y="29"/>
                </a:lnTo>
                <a:lnTo>
                  <a:pt x="314" y="32"/>
                </a:lnTo>
                <a:lnTo>
                  <a:pt x="311" y="32"/>
                </a:lnTo>
                <a:lnTo>
                  <a:pt x="311" y="32"/>
                </a:lnTo>
                <a:lnTo>
                  <a:pt x="309" y="27"/>
                </a:lnTo>
                <a:lnTo>
                  <a:pt x="306" y="24"/>
                </a:lnTo>
                <a:lnTo>
                  <a:pt x="306" y="24"/>
                </a:lnTo>
                <a:lnTo>
                  <a:pt x="306" y="24"/>
                </a:lnTo>
                <a:lnTo>
                  <a:pt x="306" y="24"/>
                </a:lnTo>
                <a:lnTo>
                  <a:pt x="306" y="24"/>
                </a:lnTo>
                <a:lnTo>
                  <a:pt x="306" y="27"/>
                </a:lnTo>
                <a:lnTo>
                  <a:pt x="306" y="27"/>
                </a:lnTo>
                <a:lnTo>
                  <a:pt x="306" y="27"/>
                </a:lnTo>
                <a:lnTo>
                  <a:pt x="306" y="27"/>
                </a:lnTo>
                <a:lnTo>
                  <a:pt x="303" y="27"/>
                </a:lnTo>
                <a:lnTo>
                  <a:pt x="303" y="27"/>
                </a:lnTo>
                <a:lnTo>
                  <a:pt x="300" y="27"/>
                </a:lnTo>
                <a:lnTo>
                  <a:pt x="300" y="27"/>
                </a:lnTo>
                <a:lnTo>
                  <a:pt x="300" y="29"/>
                </a:lnTo>
                <a:lnTo>
                  <a:pt x="300" y="29"/>
                </a:lnTo>
                <a:lnTo>
                  <a:pt x="303" y="32"/>
                </a:lnTo>
                <a:lnTo>
                  <a:pt x="300" y="35"/>
                </a:lnTo>
                <a:lnTo>
                  <a:pt x="300" y="35"/>
                </a:lnTo>
                <a:lnTo>
                  <a:pt x="298" y="32"/>
                </a:lnTo>
                <a:lnTo>
                  <a:pt x="295" y="32"/>
                </a:lnTo>
                <a:lnTo>
                  <a:pt x="298" y="35"/>
                </a:lnTo>
                <a:lnTo>
                  <a:pt x="295" y="35"/>
                </a:lnTo>
                <a:lnTo>
                  <a:pt x="295" y="37"/>
                </a:lnTo>
                <a:lnTo>
                  <a:pt x="292" y="37"/>
                </a:lnTo>
                <a:lnTo>
                  <a:pt x="295" y="37"/>
                </a:lnTo>
                <a:lnTo>
                  <a:pt x="298" y="37"/>
                </a:lnTo>
                <a:lnTo>
                  <a:pt x="300" y="37"/>
                </a:lnTo>
                <a:lnTo>
                  <a:pt x="303" y="37"/>
                </a:lnTo>
                <a:lnTo>
                  <a:pt x="303" y="37"/>
                </a:lnTo>
                <a:lnTo>
                  <a:pt x="306" y="37"/>
                </a:lnTo>
                <a:lnTo>
                  <a:pt x="309" y="37"/>
                </a:lnTo>
                <a:lnTo>
                  <a:pt x="309" y="37"/>
                </a:lnTo>
                <a:lnTo>
                  <a:pt x="311" y="37"/>
                </a:lnTo>
                <a:lnTo>
                  <a:pt x="311" y="40"/>
                </a:lnTo>
                <a:lnTo>
                  <a:pt x="311" y="40"/>
                </a:lnTo>
                <a:lnTo>
                  <a:pt x="311" y="43"/>
                </a:lnTo>
                <a:lnTo>
                  <a:pt x="311" y="43"/>
                </a:lnTo>
                <a:lnTo>
                  <a:pt x="314" y="40"/>
                </a:lnTo>
                <a:lnTo>
                  <a:pt x="317" y="43"/>
                </a:lnTo>
                <a:lnTo>
                  <a:pt x="317" y="43"/>
                </a:lnTo>
                <a:lnTo>
                  <a:pt x="317" y="45"/>
                </a:lnTo>
                <a:lnTo>
                  <a:pt x="314" y="45"/>
                </a:lnTo>
                <a:lnTo>
                  <a:pt x="314" y="45"/>
                </a:lnTo>
                <a:lnTo>
                  <a:pt x="314" y="48"/>
                </a:lnTo>
                <a:lnTo>
                  <a:pt x="314" y="48"/>
                </a:lnTo>
                <a:lnTo>
                  <a:pt x="317" y="48"/>
                </a:lnTo>
                <a:lnTo>
                  <a:pt x="317" y="48"/>
                </a:lnTo>
                <a:lnTo>
                  <a:pt x="317" y="51"/>
                </a:lnTo>
                <a:lnTo>
                  <a:pt x="319" y="51"/>
                </a:lnTo>
                <a:lnTo>
                  <a:pt x="322" y="48"/>
                </a:lnTo>
                <a:lnTo>
                  <a:pt x="325" y="51"/>
                </a:lnTo>
                <a:lnTo>
                  <a:pt x="325" y="51"/>
                </a:lnTo>
                <a:lnTo>
                  <a:pt x="325" y="51"/>
                </a:lnTo>
                <a:lnTo>
                  <a:pt x="322" y="51"/>
                </a:lnTo>
                <a:lnTo>
                  <a:pt x="322" y="54"/>
                </a:lnTo>
                <a:lnTo>
                  <a:pt x="322" y="54"/>
                </a:lnTo>
                <a:lnTo>
                  <a:pt x="322" y="56"/>
                </a:lnTo>
                <a:lnTo>
                  <a:pt x="322" y="56"/>
                </a:lnTo>
                <a:lnTo>
                  <a:pt x="325" y="56"/>
                </a:lnTo>
                <a:lnTo>
                  <a:pt x="325" y="56"/>
                </a:lnTo>
                <a:lnTo>
                  <a:pt x="327" y="59"/>
                </a:lnTo>
                <a:lnTo>
                  <a:pt x="327" y="59"/>
                </a:lnTo>
                <a:lnTo>
                  <a:pt x="330" y="62"/>
                </a:lnTo>
                <a:lnTo>
                  <a:pt x="333" y="59"/>
                </a:lnTo>
                <a:lnTo>
                  <a:pt x="333" y="59"/>
                </a:lnTo>
                <a:lnTo>
                  <a:pt x="338" y="56"/>
                </a:lnTo>
                <a:lnTo>
                  <a:pt x="338" y="56"/>
                </a:lnTo>
                <a:lnTo>
                  <a:pt x="338" y="56"/>
                </a:lnTo>
                <a:lnTo>
                  <a:pt x="338" y="56"/>
                </a:lnTo>
                <a:lnTo>
                  <a:pt x="341" y="56"/>
                </a:lnTo>
                <a:lnTo>
                  <a:pt x="341" y="56"/>
                </a:lnTo>
                <a:lnTo>
                  <a:pt x="341" y="56"/>
                </a:lnTo>
                <a:lnTo>
                  <a:pt x="343" y="54"/>
                </a:lnTo>
                <a:lnTo>
                  <a:pt x="343" y="54"/>
                </a:lnTo>
                <a:lnTo>
                  <a:pt x="343" y="54"/>
                </a:lnTo>
                <a:lnTo>
                  <a:pt x="343" y="54"/>
                </a:lnTo>
                <a:lnTo>
                  <a:pt x="346" y="54"/>
                </a:lnTo>
                <a:lnTo>
                  <a:pt x="349" y="54"/>
                </a:lnTo>
                <a:lnTo>
                  <a:pt x="351" y="54"/>
                </a:lnTo>
                <a:lnTo>
                  <a:pt x="357" y="51"/>
                </a:lnTo>
                <a:lnTo>
                  <a:pt x="357" y="51"/>
                </a:lnTo>
                <a:lnTo>
                  <a:pt x="362" y="51"/>
                </a:lnTo>
                <a:lnTo>
                  <a:pt x="365" y="51"/>
                </a:lnTo>
                <a:lnTo>
                  <a:pt x="370" y="56"/>
                </a:lnTo>
                <a:lnTo>
                  <a:pt x="373" y="59"/>
                </a:lnTo>
                <a:lnTo>
                  <a:pt x="376" y="59"/>
                </a:lnTo>
                <a:lnTo>
                  <a:pt x="376" y="62"/>
                </a:lnTo>
                <a:lnTo>
                  <a:pt x="376" y="62"/>
                </a:lnTo>
                <a:lnTo>
                  <a:pt x="378" y="62"/>
                </a:lnTo>
                <a:lnTo>
                  <a:pt x="378" y="64"/>
                </a:lnTo>
                <a:lnTo>
                  <a:pt x="378" y="64"/>
                </a:lnTo>
                <a:lnTo>
                  <a:pt x="378" y="67"/>
                </a:lnTo>
                <a:lnTo>
                  <a:pt x="378" y="67"/>
                </a:lnTo>
                <a:lnTo>
                  <a:pt x="378" y="70"/>
                </a:lnTo>
                <a:lnTo>
                  <a:pt x="381" y="70"/>
                </a:lnTo>
                <a:lnTo>
                  <a:pt x="381" y="70"/>
                </a:lnTo>
                <a:lnTo>
                  <a:pt x="384" y="72"/>
                </a:lnTo>
                <a:lnTo>
                  <a:pt x="389" y="72"/>
                </a:lnTo>
                <a:lnTo>
                  <a:pt x="392" y="75"/>
                </a:lnTo>
                <a:lnTo>
                  <a:pt x="392" y="75"/>
                </a:lnTo>
                <a:lnTo>
                  <a:pt x="392" y="75"/>
                </a:lnTo>
                <a:lnTo>
                  <a:pt x="389" y="78"/>
                </a:lnTo>
                <a:lnTo>
                  <a:pt x="389" y="80"/>
                </a:lnTo>
                <a:lnTo>
                  <a:pt x="386" y="83"/>
                </a:lnTo>
                <a:lnTo>
                  <a:pt x="384" y="86"/>
                </a:lnTo>
                <a:lnTo>
                  <a:pt x="381" y="88"/>
                </a:lnTo>
                <a:lnTo>
                  <a:pt x="384" y="88"/>
                </a:lnTo>
                <a:lnTo>
                  <a:pt x="386" y="91"/>
                </a:lnTo>
                <a:lnTo>
                  <a:pt x="389" y="94"/>
                </a:lnTo>
                <a:lnTo>
                  <a:pt x="389" y="94"/>
                </a:lnTo>
                <a:lnTo>
                  <a:pt x="389" y="96"/>
                </a:lnTo>
                <a:lnTo>
                  <a:pt x="386" y="113"/>
                </a:lnTo>
                <a:lnTo>
                  <a:pt x="386" y="115"/>
                </a:lnTo>
                <a:lnTo>
                  <a:pt x="386" y="118"/>
                </a:lnTo>
                <a:lnTo>
                  <a:pt x="389" y="121"/>
                </a:lnTo>
                <a:lnTo>
                  <a:pt x="392" y="123"/>
                </a:lnTo>
                <a:lnTo>
                  <a:pt x="392" y="123"/>
                </a:lnTo>
                <a:lnTo>
                  <a:pt x="394" y="123"/>
                </a:lnTo>
                <a:lnTo>
                  <a:pt x="394" y="123"/>
                </a:lnTo>
                <a:lnTo>
                  <a:pt x="397" y="126"/>
                </a:lnTo>
                <a:lnTo>
                  <a:pt x="397" y="126"/>
                </a:lnTo>
                <a:lnTo>
                  <a:pt x="400" y="126"/>
                </a:lnTo>
                <a:lnTo>
                  <a:pt x="394" y="126"/>
                </a:lnTo>
                <a:lnTo>
                  <a:pt x="392" y="126"/>
                </a:lnTo>
                <a:lnTo>
                  <a:pt x="386" y="123"/>
                </a:lnTo>
                <a:lnTo>
                  <a:pt x="384" y="123"/>
                </a:lnTo>
                <a:lnTo>
                  <a:pt x="381" y="121"/>
                </a:lnTo>
                <a:lnTo>
                  <a:pt x="378" y="121"/>
                </a:lnTo>
                <a:lnTo>
                  <a:pt x="376" y="121"/>
                </a:lnTo>
                <a:lnTo>
                  <a:pt x="370" y="126"/>
                </a:lnTo>
                <a:lnTo>
                  <a:pt x="367" y="126"/>
                </a:lnTo>
                <a:lnTo>
                  <a:pt x="365" y="129"/>
                </a:lnTo>
                <a:lnTo>
                  <a:pt x="365" y="131"/>
                </a:lnTo>
                <a:lnTo>
                  <a:pt x="365" y="137"/>
                </a:lnTo>
                <a:lnTo>
                  <a:pt x="367" y="142"/>
                </a:lnTo>
                <a:lnTo>
                  <a:pt x="365" y="147"/>
                </a:lnTo>
                <a:lnTo>
                  <a:pt x="362" y="150"/>
                </a:lnTo>
                <a:lnTo>
                  <a:pt x="359" y="153"/>
                </a:lnTo>
                <a:lnTo>
                  <a:pt x="359" y="150"/>
                </a:lnTo>
                <a:lnTo>
                  <a:pt x="359" y="147"/>
                </a:lnTo>
                <a:lnTo>
                  <a:pt x="359" y="147"/>
                </a:lnTo>
                <a:lnTo>
                  <a:pt x="362" y="147"/>
                </a:lnTo>
                <a:lnTo>
                  <a:pt x="362" y="145"/>
                </a:lnTo>
                <a:lnTo>
                  <a:pt x="362" y="145"/>
                </a:lnTo>
                <a:lnTo>
                  <a:pt x="365" y="145"/>
                </a:lnTo>
                <a:lnTo>
                  <a:pt x="365" y="145"/>
                </a:lnTo>
                <a:lnTo>
                  <a:pt x="362" y="142"/>
                </a:lnTo>
                <a:lnTo>
                  <a:pt x="362" y="142"/>
                </a:lnTo>
                <a:lnTo>
                  <a:pt x="362" y="139"/>
                </a:lnTo>
                <a:lnTo>
                  <a:pt x="359" y="134"/>
                </a:lnTo>
                <a:lnTo>
                  <a:pt x="359" y="134"/>
                </a:lnTo>
                <a:lnTo>
                  <a:pt x="357" y="134"/>
                </a:lnTo>
                <a:lnTo>
                  <a:pt x="357" y="131"/>
                </a:lnTo>
                <a:lnTo>
                  <a:pt x="354" y="134"/>
                </a:lnTo>
                <a:lnTo>
                  <a:pt x="351" y="134"/>
                </a:lnTo>
                <a:lnTo>
                  <a:pt x="349" y="137"/>
                </a:lnTo>
                <a:lnTo>
                  <a:pt x="349" y="131"/>
                </a:lnTo>
                <a:lnTo>
                  <a:pt x="346" y="131"/>
                </a:lnTo>
                <a:lnTo>
                  <a:pt x="346" y="129"/>
                </a:lnTo>
                <a:lnTo>
                  <a:pt x="346" y="129"/>
                </a:lnTo>
                <a:lnTo>
                  <a:pt x="343" y="129"/>
                </a:lnTo>
                <a:lnTo>
                  <a:pt x="343" y="129"/>
                </a:lnTo>
                <a:lnTo>
                  <a:pt x="343" y="131"/>
                </a:lnTo>
                <a:lnTo>
                  <a:pt x="341" y="134"/>
                </a:lnTo>
                <a:lnTo>
                  <a:pt x="338" y="134"/>
                </a:lnTo>
                <a:lnTo>
                  <a:pt x="335" y="134"/>
                </a:lnTo>
                <a:lnTo>
                  <a:pt x="335" y="137"/>
                </a:lnTo>
                <a:lnTo>
                  <a:pt x="330" y="139"/>
                </a:lnTo>
                <a:lnTo>
                  <a:pt x="327" y="142"/>
                </a:lnTo>
                <a:lnTo>
                  <a:pt x="325" y="145"/>
                </a:lnTo>
                <a:lnTo>
                  <a:pt x="325" y="145"/>
                </a:lnTo>
                <a:lnTo>
                  <a:pt x="322" y="142"/>
                </a:lnTo>
                <a:lnTo>
                  <a:pt x="319" y="142"/>
                </a:lnTo>
                <a:lnTo>
                  <a:pt x="317" y="142"/>
                </a:lnTo>
                <a:lnTo>
                  <a:pt x="311" y="139"/>
                </a:lnTo>
                <a:lnTo>
                  <a:pt x="309" y="137"/>
                </a:lnTo>
                <a:lnTo>
                  <a:pt x="309" y="137"/>
                </a:lnTo>
                <a:lnTo>
                  <a:pt x="309" y="137"/>
                </a:lnTo>
                <a:lnTo>
                  <a:pt x="309" y="134"/>
                </a:lnTo>
                <a:lnTo>
                  <a:pt x="309" y="134"/>
                </a:lnTo>
                <a:lnTo>
                  <a:pt x="306" y="134"/>
                </a:lnTo>
                <a:lnTo>
                  <a:pt x="306" y="134"/>
                </a:lnTo>
                <a:lnTo>
                  <a:pt x="303" y="134"/>
                </a:lnTo>
                <a:lnTo>
                  <a:pt x="300" y="137"/>
                </a:lnTo>
                <a:lnTo>
                  <a:pt x="300" y="139"/>
                </a:lnTo>
                <a:lnTo>
                  <a:pt x="295" y="139"/>
                </a:lnTo>
                <a:lnTo>
                  <a:pt x="287" y="142"/>
                </a:lnTo>
                <a:lnTo>
                  <a:pt x="279" y="142"/>
                </a:lnTo>
                <a:lnTo>
                  <a:pt x="276" y="142"/>
                </a:lnTo>
                <a:lnTo>
                  <a:pt x="276" y="142"/>
                </a:lnTo>
                <a:lnTo>
                  <a:pt x="274" y="142"/>
                </a:lnTo>
                <a:lnTo>
                  <a:pt x="271" y="142"/>
                </a:lnTo>
                <a:lnTo>
                  <a:pt x="266" y="142"/>
                </a:lnTo>
                <a:lnTo>
                  <a:pt x="266" y="142"/>
                </a:lnTo>
                <a:lnTo>
                  <a:pt x="263" y="142"/>
                </a:lnTo>
                <a:lnTo>
                  <a:pt x="260" y="142"/>
                </a:lnTo>
                <a:lnTo>
                  <a:pt x="258" y="142"/>
                </a:lnTo>
                <a:lnTo>
                  <a:pt x="255" y="139"/>
                </a:lnTo>
                <a:lnTo>
                  <a:pt x="252" y="137"/>
                </a:lnTo>
                <a:lnTo>
                  <a:pt x="250" y="134"/>
                </a:lnTo>
                <a:lnTo>
                  <a:pt x="247" y="131"/>
                </a:lnTo>
                <a:lnTo>
                  <a:pt x="247" y="126"/>
                </a:lnTo>
                <a:lnTo>
                  <a:pt x="247" y="121"/>
                </a:lnTo>
                <a:lnTo>
                  <a:pt x="247" y="121"/>
                </a:lnTo>
                <a:lnTo>
                  <a:pt x="244" y="118"/>
                </a:lnTo>
                <a:lnTo>
                  <a:pt x="244" y="115"/>
                </a:lnTo>
                <a:lnTo>
                  <a:pt x="244" y="115"/>
                </a:lnTo>
                <a:lnTo>
                  <a:pt x="242" y="115"/>
                </a:lnTo>
                <a:lnTo>
                  <a:pt x="242" y="118"/>
                </a:lnTo>
                <a:lnTo>
                  <a:pt x="242" y="118"/>
                </a:lnTo>
                <a:lnTo>
                  <a:pt x="242" y="121"/>
                </a:lnTo>
                <a:lnTo>
                  <a:pt x="239" y="126"/>
                </a:lnTo>
                <a:lnTo>
                  <a:pt x="239" y="126"/>
                </a:lnTo>
                <a:lnTo>
                  <a:pt x="239" y="129"/>
                </a:lnTo>
                <a:lnTo>
                  <a:pt x="239" y="131"/>
                </a:lnTo>
                <a:lnTo>
                  <a:pt x="239" y="131"/>
                </a:lnTo>
                <a:lnTo>
                  <a:pt x="236" y="131"/>
                </a:lnTo>
                <a:lnTo>
                  <a:pt x="239" y="134"/>
                </a:lnTo>
                <a:lnTo>
                  <a:pt x="239" y="137"/>
                </a:lnTo>
                <a:lnTo>
                  <a:pt x="236" y="137"/>
                </a:lnTo>
                <a:lnTo>
                  <a:pt x="236" y="137"/>
                </a:lnTo>
                <a:lnTo>
                  <a:pt x="236" y="134"/>
                </a:lnTo>
                <a:lnTo>
                  <a:pt x="233" y="134"/>
                </a:lnTo>
                <a:lnTo>
                  <a:pt x="231" y="131"/>
                </a:lnTo>
                <a:lnTo>
                  <a:pt x="228" y="129"/>
                </a:lnTo>
                <a:lnTo>
                  <a:pt x="225" y="131"/>
                </a:lnTo>
                <a:lnTo>
                  <a:pt x="225" y="129"/>
                </a:lnTo>
                <a:lnTo>
                  <a:pt x="225" y="129"/>
                </a:lnTo>
                <a:lnTo>
                  <a:pt x="223" y="126"/>
                </a:lnTo>
                <a:lnTo>
                  <a:pt x="223" y="126"/>
                </a:lnTo>
                <a:lnTo>
                  <a:pt x="220" y="129"/>
                </a:lnTo>
                <a:lnTo>
                  <a:pt x="220" y="129"/>
                </a:lnTo>
                <a:lnTo>
                  <a:pt x="220" y="129"/>
                </a:lnTo>
                <a:lnTo>
                  <a:pt x="217" y="126"/>
                </a:lnTo>
                <a:lnTo>
                  <a:pt x="217" y="126"/>
                </a:lnTo>
                <a:lnTo>
                  <a:pt x="215" y="126"/>
                </a:lnTo>
                <a:lnTo>
                  <a:pt x="212" y="129"/>
                </a:lnTo>
                <a:lnTo>
                  <a:pt x="212" y="129"/>
                </a:lnTo>
                <a:lnTo>
                  <a:pt x="212" y="131"/>
                </a:lnTo>
                <a:lnTo>
                  <a:pt x="212" y="134"/>
                </a:lnTo>
                <a:lnTo>
                  <a:pt x="215" y="137"/>
                </a:lnTo>
                <a:lnTo>
                  <a:pt x="215" y="139"/>
                </a:lnTo>
                <a:lnTo>
                  <a:pt x="215" y="145"/>
                </a:lnTo>
                <a:lnTo>
                  <a:pt x="215" y="145"/>
                </a:lnTo>
                <a:lnTo>
                  <a:pt x="217" y="147"/>
                </a:lnTo>
                <a:lnTo>
                  <a:pt x="217" y="150"/>
                </a:lnTo>
                <a:lnTo>
                  <a:pt x="217" y="150"/>
                </a:lnTo>
                <a:lnTo>
                  <a:pt x="215" y="150"/>
                </a:lnTo>
                <a:lnTo>
                  <a:pt x="204" y="147"/>
                </a:lnTo>
                <a:lnTo>
                  <a:pt x="204" y="147"/>
                </a:lnTo>
                <a:lnTo>
                  <a:pt x="204" y="147"/>
                </a:lnTo>
                <a:lnTo>
                  <a:pt x="204" y="147"/>
                </a:lnTo>
                <a:lnTo>
                  <a:pt x="201" y="147"/>
                </a:lnTo>
                <a:lnTo>
                  <a:pt x="201" y="147"/>
                </a:lnTo>
                <a:lnTo>
                  <a:pt x="201" y="147"/>
                </a:lnTo>
                <a:lnTo>
                  <a:pt x="201" y="147"/>
                </a:lnTo>
                <a:lnTo>
                  <a:pt x="199" y="147"/>
                </a:lnTo>
                <a:lnTo>
                  <a:pt x="196" y="150"/>
                </a:lnTo>
                <a:lnTo>
                  <a:pt x="196" y="153"/>
                </a:lnTo>
                <a:lnTo>
                  <a:pt x="196" y="153"/>
                </a:lnTo>
                <a:lnTo>
                  <a:pt x="193" y="153"/>
                </a:lnTo>
                <a:lnTo>
                  <a:pt x="193" y="155"/>
                </a:lnTo>
                <a:lnTo>
                  <a:pt x="193" y="158"/>
                </a:lnTo>
                <a:lnTo>
                  <a:pt x="193" y="158"/>
                </a:lnTo>
                <a:lnTo>
                  <a:pt x="193" y="158"/>
                </a:lnTo>
                <a:lnTo>
                  <a:pt x="196" y="161"/>
                </a:lnTo>
                <a:lnTo>
                  <a:pt x="196" y="158"/>
                </a:lnTo>
                <a:lnTo>
                  <a:pt x="199" y="158"/>
                </a:lnTo>
                <a:lnTo>
                  <a:pt x="199" y="158"/>
                </a:lnTo>
                <a:lnTo>
                  <a:pt x="201" y="161"/>
                </a:lnTo>
                <a:lnTo>
                  <a:pt x="201" y="161"/>
                </a:lnTo>
                <a:lnTo>
                  <a:pt x="201" y="164"/>
                </a:lnTo>
                <a:lnTo>
                  <a:pt x="201" y="164"/>
                </a:lnTo>
                <a:lnTo>
                  <a:pt x="204" y="164"/>
                </a:lnTo>
                <a:lnTo>
                  <a:pt x="204" y="164"/>
                </a:lnTo>
                <a:lnTo>
                  <a:pt x="207" y="166"/>
                </a:lnTo>
                <a:lnTo>
                  <a:pt x="209" y="166"/>
                </a:lnTo>
                <a:lnTo>
                  <a:pt x="209" y="169"/>
                </a:lnTo>
                <a:lnTo>
                  <a:pt x="207" y="169"/>
                </a:lnTo>
                <a:lnTo>
                  <a:pt x="204" y="166"/>
                </a:lnTo>
                <a:lnTo>
                  <a:pt x="201" y="166"/>
                </a:lnTo>
                <a:lnTo>
                  <a:pt x="199" y="166"/>
                </a:lnTo>
                <a:lnTo>
                  <a:pt x="199" y="166"/>
                </a:lnTo>
                <a:lnTo>
                  <a:pt x="199" y="166"/>
                </a:lnTo>
                <a:lnTo>
                  <a:pt x="199" y="169"/>
                </a:lnTo>
                <a:lnTo>
                  <a:pt x="201" y="172"/>
                </a:lnTo>
                <a:lnTo>
                  <a:pt x="204" y="174"/>
                </a:lnTo>
                <a:lnTo>
                  <a:pt x="207" y="174"/>
                </a:lnTo>
                <a:lnTo>
                  <a:pt x="209" y="177"/>
                </a:lnTo>
                <a:lnTo>
                  <a:pt x="204" y="174"/>
                </a:lnTo>
                <a:lnTo>
                  <a:pt x="201" y="174"/>
                </a:lnTo>
                <a:lnTo>
                  <a:pt x="201" y="177"/>
                </a:lnTo>
                <a:lnTo>
                  <a:pt x="201" y="177"/>
                </a:lnTo>
                <a:lnTo>
                  <a:pt x="201" y="177"/>
                </a:lnTo>
                <a:lnTo>
                  <a:pt x="201" y="180"/>
                </a:lnTo>
                <a:lnTo>
                  <a:pt x="199" y="177"/>
                </a:lnTo>
                <a:lnTo>
                  <a:pt x="196" y="172"/>
                </a:lnTo>
                <a:lnTo>
                  <a:pt x="193" y="169"/>
                </a:lnTo>
                <a:lnTo>
                  <a:pt x="191" y="169"/>
                </a:lnTo>
                <a:lnTo>
                  <a:pt x="191" y="172"/>
                </a:lnTo>
                <a:lnTo>
                  <a:pt x="191" y="172"/>
                </a:lnTo>
                <a:lnTo>
                  <a:pt x="191" y="174"/>
                </a:lnTo>
                <a:lnTo>
                  <a:pt x="188" y="172"/>
                </a:lnTo>
                <a:lnTo>
                  <a:pt x="188" y="164"/>
                </a:lnTo>
                <a:lnTo>
                  <a:pt x="188" y="161"/>
                </a:lnTo>
                <a:lnTo>
                  <a:pt x="188" y="161"/>
                </a:lnTo>
                <a:lnTo>
                  <a:pt x="188" y="158"/>
                </a:lnTo>
                <a:lnTo>
                  <a:pt x="188" y="155"/>
                </a:lnTo>
                <a:lnTo>
                  <a:pt x="185" y="155"/>
                </a:lnTo>
                <a:lnTo>
                  <a:pt x="183" y="155"/>
                </a:lnTo>
                <a:lnTo>
                  <a:pt x="180" y="155"/>
                </a:lnTo>
                <a:lnTo>
                  <a:pt x="177" y="153"/>
                </a:lnTo>
                <a:lnTo>
                  <a:pt x="175" y="153"/>
                </a:lnTo>
                <a:lnTo>
                  <a:pt x="169" y="153"/>
                </a:lnTo>
                <a:lnTo>
                  <a:pt x="166" y="153"/>
                </a:lnTo>
                <a:lnTo>
                  <a:pt x="166" y="155"/>
                </a:lnTo>
                <a:lnTo>
                  <a:pt x="169" y="155"/>
                </a:lnTo>
                <a:lnTo>
                  <a:pt x="169" y="155"/>
                </a:lnTo>
                <a:lnTo>
                  <a:pt x="172" y="155"/>
                </a:lnTo>
                <a:lnTo>
                  <a:pt x="172" y="158"/>
                </a:lnTo>
                <a:lnTo>
                  <a:pt x="169" y="158"/>
                </a:lnTo>
                <a:lnTo>
                  <a:pt x="169" y="158"/>
                </a:lnTo>
                <a:lnTo>
                  <a:pt x="169" y="161"/>
                </a:lnTo>
                <a:lnTo>
                  <a:pt x="169" y="164"/>
                </a:lnTo>
                <a:lnTo>
                  <a:pt x="169" y="166"/>
                </a:lnTo>
                <a:lnTo>
                  <a:pt x="166" y="172"/>
                </a:lnTo>
                <a:lnTo>
                  <a:pt x="166" y="174"/>
                </a:lnTo>
                <a:lnTo>
                  <a:pt x="166" y="174"/>
                </a:lnTo>
                <a:lnTo>
                  <a:pt x="169" y="174"/>
                </a:lnTo>
                <a:lnTo>
                  <a:pt x="172" y="174"/>
                </a:lnTo>
                <a:lnTo>
                  <a:pt x="172" y="174"/>
                </a:lnTo>
                <a:lnTo>
                  <a:pt x="172" y="174"/>
                </a:lnTo>
                <a:lnTo>
                  <a:pt x="172" y="177"/>
                </a:lnTo>
                <a:lnTo>
                  <a:pt x="169" y="177"/>
                </a:lnTo>
                <a:lnTo>
                  <a:pt x="169" y="177"/>
                </a:lnTo>
                <a:lnTo>
                  <a:pt x="169" y="177"/>
                </a:lnTo>
                <a:lnTo>
                  <a:pt x="166" y="177"/>
                </a:lnTo>
                <a:lnTo>
                  <a:pt x="166" y="177"/>
                </a:lnTo>
                <a:lnTo>
                  <a:pt x="164" y="177"/>
                </a:lnTo>
                <a:lnTo>
                  <a:pt x="166" y="177"/>
                </a:lnTo>
                <a:lnTo>
                  <a:pt x="166" y="180"/>
                </a:lnTo>
                <a:lnTo>
                  <a:pt x="166" y="180"/>
                </a:lnTo>
                <a:lnTo>
                  <a:pt x="166" y="180"/>
                </a:lnTo>
                <a:lnTo>
                  <a:pt x="169" y="182"/>
                </a:lnTo>
                <a:lnTo>
                  <a:pt x="169" y="182"/>
                </a:lnTo>
                <a:lnTo>
                  <a:pt x="169" y="182"/>
                </a:lnTo>
                <a:lnTo>
                  <a:pt x="169" y="182"/>
                </a:lnTo>
                <a:lnTo>
                  <a:pt x="169" y="182"/>
                </a:lnTo>
                <a:lnTo>
                  <a:pt x="169" y="182"/>
                </a:lnTo>
                <a:lnTo>
                  <a:pt x="172" y="182"/>
                </a:lnTo>
                <a:lnTo>
                  <a:pt x="172" y="182"/>
                </a:lnTo>
                <a:lnTo>
                  <a:pt x="172" y="182"/>
                </a:lnTo>
                <a:lnTo>
                  <a:pt x="180" y="185"/>
                </a:lnTo>
                <a:lnTo>
                  <a:pt x="180" y="185"/>
                </a:lnTo>
                <a:lnTo>
                  <a:pt x="180" y="188"/>
                </a:lnTo>
                <a:lnTo>
                  <a:pt x="177" y="188"/>
                </a:lnTo>
                <a:lnTo>
                  <a:pt x="177" y="188"/>
                </a:lnTo>
                <a:lnTo>
                  <a:pt x="175" y="188"/>
                </a:lnTo>
                <a:lnTo>
                  <a:pt x="175" y="185"/>
                </a:lnTo>
                <a:lnTo>
                  <a:pt x="175" y="185"/>
                </a:lnTo>
                <a:lnTo>
                  <a:pt x="175" y="185"/>
                </a:lnTo>
                <a:lnTo>
                  <a:pt x="172" y="188"/>
                </a:lnTo>
                <a:lnTo>
                  <a:pt x="172" y="188"/>
                </a:lnTo>
                <a:lnTo>
                  <a:pt x="172" y="188"/>
                </a:lnTo>
                <a:lnTo>
                  <a:pt x="172" y="188"/>
                </a:lnTo>
                <a:lnTo>
                  <a:pt x="169" y="188"/>
                </a:lnTo>
                <a:lnTo>
                  <a:pt x="169" y="185"/>
                </a:lnTo>
                <a:lnTo>
                  <a:pt x="169" y="188"/>
                </a:lnTo>
                <a:lnTo>
                  <a:pt x="169" y="185"/>
                </a:lnTo>
                <a:lnTo>
                  <a:pt x="166" y="185"/>
                </a:lnTo>
                <a:lnTo>
                  <a:pt x="166" y="185"/>
                </a:lnTo>
                <a:lnTo>
                  <a:pt x="164" y="185"/>
                </a:lnTo>
                <a:lnTo>
                  <a:pt x="161" y="174"/>
                </a:lnTo>
                <a:lnTo>
                  <a:pt x="158" y="174"/>
                </a:lnTo>
                <a:lnTo>
                  <a:pt x="158" y="177"/>
                </a:lnTo>
                <a:lnTo>
                  <a:pt x="158" y="177"/>
                </a:lnTo>
                <a:lnTo>
                  <a:pt x="158" y="180"/>
                </a:lnTo>
                <a:lnTo>
                  <a:pt x="161" y="180"/>
                </a:lnTo>
                <a:lnTo>
                  <a:pt x="158" y="180"/>
                </a:lnTo>
                <a:lnTo>
                  <a:pt x="156" y="180"/>
                </a:lnTo>
                <a:lnTo>
                  <a:pt x="153" y="177"/>
                </a:lnTo>
                <a:lnTo>
                  <a:pt x="153" y="180"/>
                </a:lnTo>
                <a:lnTo>
                  <a:pt x="150" y="180"/>
                </a:lnTo>
                <a:lnTo>
                  <a:pt x="150" y="180"/>
                </a:lnTo>
                <a:lnTo>
                  <a:pt x="148" y="180"/>
                </a:lnTo>
                <a:lnTo>
                  <a:pt x="148" y="182"/>
                </a:lnTo>
                <a:lnTo>
                  <a:pt x="148" y="182"/>
                </a:lnTo>
                <a:lnTo>
                  <a:pt x="148" y="185"/>
                </a:lnTo>
                <a:lnTo>
                  <a:pt x="145" y="185"/>
                </a:lnTo>
                <a:lnTo>
                  <a:pt x="145" y="182"/>
                </a:lnTo>
                <a:lnTo>
                  <a:pt x="142" y="182"/>
                </a:lnTo>
                <a:lnTo>
                  <a:pt x="142" y="185"/>
                </a:lnTo>
                <a:lnTo>
                  <a:pt x="142" y="188"/>
                </a:lnTo>
                <a:lnTo>
                  <a:pt x="142" y="190"/>
                </a:lnTo>
                <a:lnTo>
                  <a:pt x="145" y="190"/>
                </a:lnTo>
                <a:lnTo>
                  <a:pt x="142" y="196"/>
                </a:lnTo>
                <a:lnTo>
                  <a:pt x="142" y="201"/>
                </a:lnTo>
                <a:lnTo>
                  <a:pt x="142" y="204"/>
                </a:lnTo>
                <a:lnTo>
                  <a:pt x="142" y="206"/>
                </a:lnTo>
                <a:lnTo>
                  <a:pt x="140" y="206"/>
                </a:lnTo>
                <a:lnTo>
                  <a:pt x="137" y="209"/>
                </a:lnTo>
                <a:lnTo>
                  <a:pt x="137" y="209"/>
                </a:lnTo>
                <a:lnTo>
                  <a:pt x="132" y="212"/>
                </a:lnTo>
                <a:lnTo>
                  <a:pt x="129" y="212"/>
                </a:lnTo>
                <a:lnTo>
                  <a:pt x="126" y="212"/>
                </a:lnTo>
                <a:lnTo>
                  <a:pt x="126" y="209"/>
                </a:lnTo>
                <a:lnTo>
                  <a:pt x="126" y="209"/>
                </a:lnTo>
                <a:lnTo>
                  <a:pt x="124" y="206"/>
                </a:lnTo>
                <a:lnTo>
                  <a:pt x="124" y="209"/>
                </a:lnTo>
                <a:lnTo>
                  <a:pt x="124" y="209"/>
                </a:lnTo>
                <a:lnTo>
                  <a:pt x="124" y="209"/>
                </a:lnTo>
                <a:lnTo>
                  <a:pt x="121" y="209"/>
                </a:lnTo>
                <a:lnTo>
                  <a:pt x="118" y="212"/>
                </a:lnTo>
                <a:lnTo>
                  <a:pt x="118" y="214"/>
                </a:lnTo>
                <a:lnTo>
                  <a:pt x="121" y="217"/>
                </a:lnTo>
                <a:lnTo>
                  <a:pt x="118" y="220"/>
                </a:lnTo>
                <a:lnTo>
                  <a:pt x="118" y="223"/>
                </a:lnTo>
                <a:lnTo>
                  <a:pt x="118" y="223"/>
                </a:lnTo>
                <a:lnTo>
                  <a:pt x="118" y="233"/>
                </a:lnTo>
                <a:lnTo>
                  <a:pt x="118" y="236"/>
                </a:lnTo>
                <a:lnTo>
                  <a:pt x="118" y="236"/>
                </a:lnTo>
                <a:lnTo>
                  <a:pt x="121" y="236"/>
                </a:lnTo>
                <a:lnTo>
                  <a:pt x="124" y="236"/>
                </a:lnTo>
                <a:lnTo>
                  <a:pt x="129" y="244"/>
                </a:lnTo>
                <a:lnTo>
                  <a:pt x="129" y="247"/>
                </a:lnTo>
                <a:lnTo>
                  <a:pt x="132" y="247"/>
                </a:lnTo>
                <a:lnTo>
                  <a:pt x="132" y="249"/>
                </a:lnTo>
                <a:lnTo>
                  <a:pt x="134" y="249"/>
                </a:lnTo>
                <a:lnTo>
                  <a:pt x="137" y="249"/>
                </a:lnTo>
                <a:lnTo>
                  <a:pt x="140" y="249"/>
                </a:lnTo>
                <a:lnTo>
                  <a:pt x="140" y="252"/>
                </a:lnTo>
                <a:lnTo>
                  <a:pt x="140" y="255"/>
                </a:lnTo>
                <a:lnTo>
                  <a:pt x="140" y="255"/>
                </a:lnTo>
                <a:lnTo>
                  <a:pt x="137" y="252"/>
                </a:lnTo>
                <a:lnTo>
                  <a:pt x="134" y="252"/>
                </a:lnTo>
                <a:lnTo>
                  <a:pt x="132" y="252"/>
                </a:lnTo>
                <a:lnTo>
                  <a:pt x="132" y="255"/>
                </a:lnTo>
                <a:lnTo>
                  <a:pt x="129" y="257"/>
                </a:lnTo>
                <a:lnTo>
                  <a:pt x="124" y="263"/>
                </a:lnTo>
                <a:lnTo>
                  <a:pt x="121" y="268"/>
                </a:lnTo>
                <a:lnTo>
                  <a:pt x="118" y="265"/>
                </a:lnTo>
                <a:lnTo>
                  <a:pt x="113" y="271"/>
                </a:lnTo>
                <a:lnTo>
                  <a:pt x="110" y="271"/>
                </a:lnTo>
                <a:lnTo>
                  <a:pt x="105" y="273"/>
                </a:lnTo>
                <a:lnTo>
                  <a:pt x="102" y="273"/>
                </a:lnTo>
                <a:lnTo>
                  <a:pt x="99" y="273"/>
                </a:lnTo>
                <a:lnTo>
                  <a:pt x="97" y="273"/>
                </a:lnTo>
                <a:lnTo>
                  <a:pt x="97" y="271"/>
                </a:lnTo>
                <a:lnTo>
                  <a:pt x="97" y="268"/>
                </a:lnTo>
                <a:lnTo>
                  <a:pt x="97" y="265"/>
                </a:lnTo>
                <a:lnTo>
                  <a:pt x="94" y="265"/>
                </a:lnTo>
                <a:lnTo>
                  <a:pt x="94" y="265"/>
                </a:lnTo>
                <a:lnTo>
                  <a:pt x="94" y="265"/>
                </a:lnTo>
                <a:lnTo>
                  <a:pt x="91" y="268"/>
                </a:lnTo>
                <a:lnTo>
                  <a:pt x="91" y="271"/>
                </a:lnTo>
                <a:lnTo>
                  <a:pt x="91" y="271"/>
                </a:lnTo>
                <a:lnTo>
                  <a:pt x="89" y="271"/>
                </a:lnTo>
                <a:lnTo>
                  <a:pt x="89" y="273"/>
                </a:lnTo>
                <a:lnTo>
                  <a:pt x="89" y="273"/>
                </a:lnTo>
                <a:lnTo>
                  <a:pt x="89" y="276"/>
                </a:lnTo>
                <a:lnTo>
                  <a:pt x="89" y="279"/>
                </a:lnTo>
                <a:lnTo>
                  <a:pt x="86" y="279"/>
                </a:lnTo>
                <a:lnTo>
                  <a:pt x="86" y="284"/>
                </a:lnTo>
                <a:lnTo>
                  <a:pt x="83" y="290"/>
                </a:lnTo>
                <a:lnTo>
                  <a:pt x="83" y="292"/>
                </a:lnTo>
                <a:lnTo>
                  <a:pt x="83" y="295"/>
                </a:lnTo>
                <a:lnTo>
                  <a:pt x="83" y="298"/>
                </a:lnTo>
                <a:lnTo>
                  <a:pt x="83" y="298"/>
                </a:lnTo>
                <a:lnTo>
                  <a:pt x="83" y="300"/>
                </a:lnTo>
                <a:lnTo>
                  <a:pt x="83" y="298"/>
                </a:lnTo>
                <a:lnTo>
                  <a:pt x="83" y="298"/>
                </a:lnTo>
                <a:lnTo>
                  <a:pt x="83" y="298"/>
                </a:lnTo>
                <a:lnTo>
                  <a:pt x="86" y="300"/>
                </a:lnTo>
                <a:lnTo>
                  <a:pt x="83" y="300"/>
                </a:lnTo>
                <a:lnTo>
                  <a:pt x="78" y="306"/>
                </a:lnTo>
                <a:lnTo>
                  <a:pt x="75" y="308"/>
                </a:lnTo>
                <a:lnTo>
                  <a:pt x="75" y="311"/>
                </a:lnTo>
                <a:lnTo>
                  <a:pt x="75" y="311"/>
                </a:lnTo>
                <a:lnTo>
                  <a:pt x="75" y="314"/>
                </a:lnTo>
                <a:lnTo>
                  <a:pt x="78" y="314"/>
                </a:lnTo>
                <a:lnTo>
                  <a:pt x="78" y="316"/>
                </a:lnTo>
                <a:lnTo>
                  <a:pt x="78" y="316"/>
                </a:lnTo>
                <a:lnTo>
                  <a:pt x="78" y="319"/>
                </a:lnTo>
                <a:lnTo>
                  <a:pt x="78" y="324"/>
                </a:lnTo>
                <a:lnTo>
                  <a:pt x="75" y="327"/>
                </a:lnTo>
                <a:lnTo>
                  <a:pt x="73" y="327"/>
                </a:lnTo>
                <a:lnTo>
                  <a:pt x="67" y="327"/>
                </a:lnTo>
                <a:lnTo>
                  <a:pt x="65" y="327"/>
                </a:lnTo>
                <a:lnTo>
                  <a:pt x="65" y="324"/>
                </a:lnTo>
                <a:lnTo>
                  <a:pt x="62" y="324"/>
                </a:lnTo>
                <a:lnTo>
                  <a:pt x="62" y="327"/>
                </a:lnTo>
                <a:lnTo>
                  <a:pt x="65" y="332"/>
                </a:lnTo>
                <a:lnTo>
                  <a:pt x="62" y="335"/>
                </a:lnTo>
                <a:lnTo>
                  <a:pt x="62" y="332"/>
                </a:lnTo>
                <a:lnTo>
                  <a:pt x="59" y="332"/>
                </a:lnTo>
                <a:lnTo>
                  <a:pt x="59" y="332"/>
                </a:lnTo>
                <a:lnTo>
                  <a:pt x="57" y="332"/>
                </a:lnTo>
                <a:lnTo>
                  <a:pt x="57" y="332"/>
                </a:lnTo>
                <a:lnTo>
                  <a:pt x="57" y="332"/>
                </a:lnTo>
                <a:lnTo>
                  <a:pt x="57" y="330"/>
                </a:lnTo>
                <a:lnTo>
                  <a:pt x="57" y="330"/>
                </a:lnTo>
                <a:lnTo>
                  <a:pt x="54" y="330"/>
                </a:lnTo>
                <a:lnTo>
                  <a:pt x="51" y="330"/>
                </a:lnTo>
                <a:lnTo>
                  <a:pt x="51" y="330"/>
                </a:lnTo>
                <a:lnTo>
                  <a:pt x="51" y="330"/>
                </a:lnTo>
                <a:lnTo>
                  <a:pt x="51" y="330"/>
                </a:lnTo>
                <a:lnTo>
                  <a:pt x="51" y="332"/>
                </a:lnTo>
                <a:lnTo>
                  <a:pt x="51" y="335"/>
                </a:lnTo>
                <a:lnTo>
                  <a:pt x="51" y="338"/>
                </a:lnTo>
                <a:lnTo>
                  <a:pt x="51" y="341"/>
                </a:lnTo>
                <a:lnTo>
                  <a:pt x="51" y="341"/>
                </a:lnTo>
                <a:lnTo>
                  <a:pt x="49" y="343"/>
                </a:lnTo>
                <a:lnTo>
                  <a:pt x="46" y="349"/>
                </a:lnTo>
                <a:lnTo>
                  <a:pt x="43" y="349"/>
                </a:lnTo>
                <a:lnTo>
                  <a:pt x="43" y="351"/>
                </a:lnTo>
                <a:lnTo>
                  <a:pt x="43" y="351"/>
                </a:lnTo>
                <a:lnTo>
                  <a:pt x="43" y="354"/>
                </a:lnTo>
                <a:lnTo>
                  <a:pt x="43" y="354"/>
                </a:lnTo>
                <a:lnTo>
                  <a:pt x="43" y="357"/>
                </a:lnTo>
                <a:lnTo>
                  <a:pt x="38" y="359"/>
                </a:lnTo>
                <a:lnTo>
                  <a:pt x="38" y="359"/>
                </a:lnTo>
                <a:lnTo>
                  <a:pt x="38" y="367"/>
                </a:lnTo>
                <a:lnTo>
                  <a:pt x="38" y="370"/>
                </a:lnTo>
                <a:lnTo>
                  <a:pt x="43" y="373"/>
                </a:lnTo>
                <a:lnTo>
                  <a:pt x="43" y="373"/>
                </a:lnTo>
                <a:lnTo>
                  <a:pt x="43" y="373"/>
                </a:lnTo>
                <a:lnTo>
                  <a:pt x="43" y="375"/>
                </a:lnTo>
                <a:lnTo>
                  <a:pt x="46" y="375"/>
                </a:lnTo>
                <a:lnTo>
                  <a:pt x="46" y="375"/>
                </a:lnTo>
                <a:lnTo>
                  <a:pt x="46" y="375"/>
                </a:lnTo>
                <a:lnTo>
                  <a:pt x="46" y="375"/>
                </a:lnTo>
                <a:lnTo>
                  <a:pt x="49" y="378"/>
                </a:lnTo>
                <a:lnTo>
                  <a:pt x="49" y="378"/>
                </a:lnTo>
                <a:lnTo>
                  <a:pt x="49" y="378"/>
                </a:lnTo>
                <a:lnTo>
                  <a:pt x="49" y="378"/>
                </a:lnTo>
                <a:lnTo>
                  <a:pt x="49" y="378"/>
                </a:lnTo>
                <a:lnTo>
                  <a:pt x="57" y="383"/>
                </a:lnTo>
                <a:lnTo>
                  <a:pt x="59" y="383"/>
                </a:lnTo>
                <a:lnTo>
                  <a:pt x="59" y="383"/>
                </a:lnTo>
                <a:lnTo>
                  <a:pt x="59" y="383"/>
                </a:lnTo>
                <a:lnTo>
                  <a:pt x="62" y="383"/>
                </a:lnTo>
                <a:lnTo>
                  <a:pt x="62" y="383"/>
                </a:lnTo>
                <a:lnTo>
                  <a:pt x="62" y="386"/>
                </a:lnTo>
                <a:lnTo>
                  <a:pt x="65" y="383"/>
                </a:lnTo>
                <a:lnTo>
                  <a:pt x="65" y="383"/>
                </a:lnTo>
                <a:lnTo>
                  <a:pt x="70" y="386"/>
                </a:lnTo>
                <a:lnTo>
                  <a:pt x="73" y="386"/>
                </a:lnTo>
                <a:lnTo>
                  <a:pt x="75" y="383"/>
                </a:lnTo>
                <a:lnTo>
                  <a:pt x="78" y="381"/>
                </a:lnTo>
                <a:lnTo>
                  <a:pt x="81" y="381"/>
                </a:lnTo>
                <a:lnTo>
                  <a:pt x="83" y="381"/>
                </a:lnTo>
                <a:lnTo>
                  <a:pt x="81" y="383"/>
                </a:lnTo>
                <a:lnTo>
                  <a:pt x="78" y="386"/>
                </a:lnTo>
                <a:lnTo>
                  <a:pt x="75" y="386"/>
                </a:lnTo>
                <a:lnTo>
                  <a:pt x="75" y="389"/>
                </a:lnTo>
                <a:lnTo>
                  <a:pt x="73" y="389"/>
                </a:lnTo>
                <a:lnTo>
                  <a:pt x="67" y="389"/>
                </a:lnTo>
                <a:lnTo>
                  <a:pt x="65" y="389"/>
                </a:lnTo>
                <a:lnTo>
                  <a:pt x="62" y="389"/>
                </a:lnTo>
                <a:lnTo>
                  <a:pt x="62" y="389"/>
                </a:lnTo>
                <a:lnTo>
                  <a:pt x="62" y="391"/>
                </a:lnTo>
                <a:lnTo>
                  <a:pt x="65" y="397"/>
                </a:lnTo>
                <a:lnTo>
                  <a:pt x="65" y="397"/>
                </a:lnTo>
                <a:lnTo>
                  <a:pt x="67" y="400"/>
                </a:lnTo>
                <a:lnTo>
                  <a:pt x="70" y="402"/>
                </a:lnTo>
                <a:lnTo>
                  <a:pt x="70" y="402"/>
                </a:lnTo>
                <a:lnTo>
                  <a:pt x="70" y="405"/>
                </a:lnTo>
                <a:lnTo>
                  <a:pt x="75" y="408"/>
                </a:lnTo>
                <a:lnTo>
                  <a:pt x="75" y="408"/>
                </a:lnTo>
                <a:lnTo>
                  <a:pt x="78" y="408"/>
                </a:lnTo>
                <a:lnTo>
                  <a:pt x="81" y="408"/>
                </a:lnTo>
                <a:lnTo>
                  <a:pt x="83" y="405"/>
                </a:lnTo>
                <a:lnTo>
                  <a:pt x="83" y="405"/>
                </a:lnTo>
                <a:lnTo>
                  <a:pt x="83" y="408"/>
                </a:lnTo>
                <a:lnTo>
                  <a:pt x="81" y="413"/>
                </a:lnTo>
                <a:lnTo>
                  <a:pt x="83" y="410"/>
                </a:lnTo>
                <a:lnTo>
                  <a:pt x="94" y="408"/>
                </a:lnTo>
                <a:lnTo>
                  <a:pt x="99" y="405"/>
                </a:lnTo>
                <a:lnTo>
                  <a:pt x="102" y="402"/>
                </a:lnTo>
                <a:lnTo>
                  <a:pt x="105" y="400"/>
                </a:lnTo>
                <a:lnTo>
                  <a:pt x="105" y="402"/>
                </a:lnTo>
                <a:lnTo>
                  <a:pt x="102" y="408"/>
                </a:lnTo>
                <a:lnTo>
                  <a:pt x="105" y="410"/>
                </a:lnTo>
                <a:lnTo>
                  <a:pt x="99" y="408"/>
                </a:lnTo>
                <a:lnTo>
                  <a:pt x="99" y="408"/>
                </a:lnTo>
                <a:lnTo>
                  <a:pt x="97" y="408"/>
                </a:lnTo>
                <a:lnTo>
                  <a:pt x="97" y="408"/>
                </a:lnTo>
                <a:lnTo>
                  <a:pt x="91" y="413"/>
                </a:lnTo>
                <a:lnTo>
                  <a:pt x="91" y="413"/>
                </a:lnTo>
                <a:lnTo>
                  <a:pt x="91" y="413"/>
                </a:lnTo>
                <a:lnTo>
                  <a:pt x="91" y="413"/>
                </a:lnTo>
                <a:lnTo>
                  <a:pt x="91" y="413"/>
                </a:lnTo>
                <a:lnTo>
                  <a:pt x="89" y="413"/>
                </a:lnTo>
                <a:lnTo>
                  <a:pt x="86" y="416"/>
                </a:lnTo>
                <a:lnTo>
                  <a:pt x="83" y="416"/>
                </a:lnTo>
                <a:lnTo>
                  <a:pt x="83" y="416"/>
                </a:lnTo>
                <a:lnTo>
                  <a:pt x="81" y="416"/>
                </a:lnTo>
                <a:lnTo>
                  <a:pt x="78" y="416"/>
                </a:lnTo>
                <a:lnTo>
                  <a:pt x="73" y="416"/>
                </a:lnTo>
                <a:lnTo>
                  <a:pt x="73" y="416"/>
                </a:lnTo>
                <a:lnTo>
                  <a:pt x="70" y="413"/>
                </a:lnTo>
                <a:lnTo>
                  <a:pt x="67" y="413"/>
                </a:lnTo>
                <a:lnTo>
                  <a:pt x="67" y="413"/>
                </a:lnTo>
                <a:lnTo>
                  <a:pt x="67" y="421"/>
                </a:lnTo>
                <a:lnTo>
                  <a:pt x="67" y="421"/>
                </a:lnTo>
                <a:lnTo>
                  <a:pt x="65" y="424"/>
                </a:lnTo>
                <a:lnTo>
                  <a:pt x="65" y="424"/>
                </a:lnTo>
                <a:lnTo>
                  <a:pt x="65" y="426"/>
                </a:lnTo>
                <a:lnTo>
                  <a:pt x="67" y="432"/>
                </a:lnTo>
                <a:lnTo>
                  <a:pt x="67" y="440"/>
                </a:lnTo>
                <a:lnTo>
                  <a:pt x="70" y="440"/>
                </a:lnTo>
                <a:lnTo>
                  <a:pt x="75" y="448"/>
                </a:lnTo>
                <a:lnTo>
                  <a:pt x="75" y="448"/>
                </a:lnTo>
                <a:lnTo>
                  <a:pt x="78" y="451"/>
                </a:lnTo>
                <a:lnTo>
                  <a:pt x="75" y="451"/>
                </a:lnTo>
                <a:lnTo>
                  <a:pt x="75" y="451"/>
                </a:lnTo>
                <a:lnTo>
                  <a:pt x="73" y="451"/>
                </a:lnTo>
                <a:lnTo>
                  <a:pt x="70" y="453"/>
                </a:lnTo>
                <a:lnTo>
                  <a:pt x="70" y="451"/>
                </a:lnTo>
                <a:lnTo>
                  <a:pt x="70" y="451"/>
                </a:lnTo>
                <a:lnTo>
                  <a:pt x="70" y="448"/>
                </a:lnTo>
                <a:lnTo>
                  <a:pt x="70" y="445"/>
                </a:lnTo>
                <a:lnTo>
                  <a:pt x="67" y="445"/>
                </a:lnTo>
                <a:lnTo>
                  <a:pt x="67" y="445"/>
                </a:lnTo>
                <a:lnTo>
                  <a:pt x="62" y="448"/>
                </a:lnTo>
                <a:lnTo>
                  <a:pt x="62" y="448"/>
                </a:lnTo>
                <a:lnTo>
                  <a:pt x="62" y="442"/>
                </a:lnTo>
                <a:lnTo>
                  <a:pt x="62" y="442"/>
                </a:lnTo>
                <a:lnTo>
                  <a:pt x="62" y="440"/>
                </a:lnTo>
                <a:lnTo>
                  <a:pt x="59" y="437"/>
                </a:lnTo>
                <a:lnTo>
                  <a:pt x="59" y="434"/>
                </a:lnTo>
                <a:lnTo>
                  <a:pt x="59" y="434"/>
                </a:lnTo>
                <a:lnTo>
                  <a:pt x="54" y="432"/>
                </a:lnTo>
                <a:lnTo>
                  <a:pt x="54" y="432"/>
                </a:lnTo>
                <a:lnTo>
                  <a:pt x="51" y="426"/>
                </a:lnTo>
                <a:lnTo>
                  <a:pt x="51" y="426"/>
                </a:lnTo>
                <a:lnTo>
                  <a:pt x="49" y="424"/>
                </a:lnTo>
                <a:lnTo>
                  <a:pt x="38" y="421"/>
                </a:lnTo>
                <a:lnTo>
                  <a:pt x="38" y="418"/>
                </a:lnTo>
                <a:lnTo>
                  <a:pt x="32" y="416"/>
                </a:lnTo>
                <a:lnTo>
                  <a:pt x="30" y="416"/>
                </a:lnTo>
                <a:lnTo>
                  <a:pt x="27" y="418"/>
                </a:lnTo>
                <a:lnTo>
                  <a:pt x="27" y="418"/>
                </a:lnTo>
                <a:lnTo>
                  <a:pt x="27" y="416"/>
                </a:lnTo>
                <a:lnTo>
                  <a:pt x="24" y="416"/>
                </a:lnTo>
                <a:lnTo>
                  <a:pt x="24" y="413"/>
                </a:lnTo>
                <a:lnTo>
                  <a:pt x="22" y="416"/>
                </a:lnTo>
                <a:lnTo>
                  <a:pt x="22" y="416"/>
                </a:lnTo>
                <a:lnTo>
                  <a:pt x="24" y="424"/>
                </a:lnTo>
                <a:lnTo>
                  <a:pt x="24" y="429"/>
                </a:lnTo>
                <a:lnTo>
                  <a:pt x="24" y="432"/>
                </a:lnTo>
                <a:lnTo>
                  <a:pt x="27" y="432"/>
                </a:lnTo>
                <a:lnTo>
                  <a:pt x="27" y="434"/>
                </a:lnTo>
                <a:lnTo>
                  <a:pt x="27" y="440"/>
                </a:lnTo>
                <a:lnTo>
                  <a:pt x="27" y="442"/>
                </a:lnTo>
                <a:lnTo>
                  <a:pt x="24" y="442"/>
                </a:lnTo>
                <a:lnTo>
                  <a:pt x="22" y="456"/>
                </a:lnTo>
                <a:lnTo>
                  <a:pt x="22" y="456"/>
                </a:lnTo>
                <a:lnTo>
                  <a:pt x="22" y="453"/>
                </a:lnTo>
                <a:lnTo>
                  <a:pt x="22" y="451"/>
                </a:lnTo>
                <a:lnTo>
                  <a:pt x="22" y="448"/>
                </a:lnTo>
                <a:lnTo>
                  <a:pt x="19" y="448"/>
                </a:lnTo>
                <a:lnTo>
                  <a:pt x="16" y="456"/>
                </a:lnTo>
                <a:lnTo>
                  <a:pt x="16" y="456"/>
                </a:lnTo>
                <a:lnTo>
                  <a:pt x="16" y="451"/>
                </a:lnTo>
                <a:lnTo>
                  <a:pt x="19" y="445"/>
                </a:lnTo>
                <a:lnTo>
                  <a:pt x="19" y="442"/>
                </a:lnTo>
                <a:lnTo>
                  <a:pt x="19" y="442"/>
                </a:lnTo>
                <a:lnTo>
                  <a:pt x="19" y="440"/>
                </a:lnTo>
                <a:lnTo>
                  <a:pt x="16" y="437"/>
                </a:lnTo>
                <a:lnTo>
                  <a:pt x="19" y="434"/>
                </a:lnTo>
                <a:lnTo>
                  <a:pt x="19" y="434"/>
                </a:lnTo>
                <a:lnTo>
                  <a:pt x="19" y="432"/>
                </a:lnTo>
                <a:lnTo>
                  <a:pt x="19" y="429"/>
                </a:lnTo>
                <a:lnTo>
                  <a:pt x="16" y="426"/>
                </a:lnTo>
                <a:lnTo>
                  <a:pt x="16" y="426"/>
                </a:lnTo>
                <a:lnTo>
                  <a:pt x="14" y="426"/>
                </a:lnTo>
                <a:lnTo>
                  <a:pt x="11" y="426"/>
                </a:lnTo>
                <a:lnTo>
                  <a:pt x="11" y="424"/>
                </a:lnTo>
                <a:lnTo>
                  <a:pt x="11" y="424"/>
                </a:lnTo>
                <a:lnTo>
                  <a:pt x="11" y="421"/>
                </a:lnTo>
                <a:lnTo>
                  <a:pt x="11" y="421"/>
                </a:lnTo>
                <a:lnTo>
                  <a:pt x="8" y="421"/>
                </a:lnTo>
                <a:lnTo>
                  <a:pt x="6" y="418"/>
                </a:lnTo>
                <a:lnTo>
                  <a:pt x="0" y="418"/>
                </a:lnTo>
                <a:lnTo>
                  <a:pt x="0" y="416"/>
                </a:lnTo>
                <a:lnTo>
                  <a:pt x="0" y="550"/>
                </a:lnTo>
                <a:lnTo>
                  <a:pt x="3" y="550"/>
                </a:lnTo>
                <a:lnTo>
                  <a:pt x="3" y="550"/>
                </a:lnTo>
                <a:lnTo>
                  <a:pt x="3" y="552"/>
                </a:lnTo>
                <a:lnTo>
                  <a:pt x="3" y="555"/>
                </a:lnTo>
                <a:lnTo>
                  <a:pt x="0" y="555"/>
                </a:lnTo>
                <a:lnTo>
                  <a:pt x="0" y="555"/>
                </a:lnTo>
                <a:lnTo>
                  <a:pt x="0" y="558"/>
                </a:lnTo>
                <a:lnTo>
                  <a:pt x="0" y="558"/>
                </a:lnTo>
                <a:lnTo>
                  <a:pt x="0" y="558"/>
                </a:lnTo>
                <a:lnTo>
                  <a:pt x="0" y="558"/>
                </a:lnTo>
                <a:lnTo>
                  <a:pt x="0" y="558"/>
                </a:lnTo>
                <a:lnTo>
                  <a:pt x="0" y="558"/>
                </a:lnTo>
                <a:lnTo>
                  <a:pt x="0" y="560"/>
                </a:lnTo>
                <a:lnTo>
                  <a:pt x="0" y="560"/>
                </a:lnTo>
                <a:lnTo>
                  <a:pt x="0" y="560"/>
                </a:lnTo>
                <a:lnTo>
                  <a:pt x="0" y="560"/>
                </a:lnTo>
                <a:lnTo>
                  <a:pt x="0" y="560"/>
                </a:lnTo>
                <a:lnTo>
                  <a:pt x="0" y="560"/>
                </a:lnTo>
                <a:lnTo>
                  <a:pt x="0" y="1604"/>
                </a:lnTo>
                <a:lnTo>
                  <a:pt x="957" y="1604"/>
                </a:lnTo>
                <a:lnTo>
                  <a:pt x="957" y="595"/>
                </a:lnTo>
                <a:lnTo>
                  <a:pt x="952" y="593"/>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6" name="Freeform 13"/>
          <p:cNvSpPr>
            <a:spLocks noEditPoints="1"/>
          </p:cNvSpPr>
          <p:nvPr/>
        </p:nvSpPr>
        <p:spPr bwMode="auto">
          <a:xfrm>
            <a:off x="9453408" y="3423754"/>
            <a:ext cx="2135188" cy="1587500"/>
          </a:xfrm>
          <a:custGeom>
            <a:avLst/>
            <a:gdLst>
              <a:gd name="T0" fmla="*/ 1294 w 1345"/>
              <a:gd name="T1" fmla="*/ 16 h 1000"/>
              <a:gd name="T2" fmla="*/ 1259 w 1345"/>
              <a:gd name="T3" fmla="*/ 21 h 1000"/>
              <a:gd name="T4" fmla="*/ 1227 w 1345"/>
              <a:gd name="T5" fmla="*/ 19 h 1000"/>
              <a:gd name="T6" fmla="*/ 1200 w 1345"/>
              <a:gd name="T7" fmla="*/ 27 h 1000"/>
              <a:gd name="T8" fmla="*/ 1168 w 1345"/>
              <a:gd name="T9" fmla="*/ 48 h 1000"/>
              <a:gd name="T10" fmla="*/ 1173 w 1345"/>
              <a:gd name="T11" fmla="*/ 80 h 1000"/>
              <a:gd name="T12" fmla="*/ 1152 w 1345"/>
              <a:gd name="T13" fmla="*/ 88 h 1000"/>
              <a:gd name="T14" fmla="*/ 1131 w 1345"/>
              <a:gd name="T15" fmla="*/ 86 h 1000"/>
              <a:gd name="T16" fmla="*/ 1109 w 1345"/>
              <a:gd name="T17" fmla="*/ 107 h 1000"/>
              <a:gd name="T18" fmla="*/ 1074 w 1345"/>
              <a:gd name="T19" fmla="*/ 75 h 1000"/>
              <a:gd name="T20" fmla="*/ 997 w 1345"/>
              <a:gd name="T21" fmla="*/ 45 h 1000"/>
              <a:gd name="T22" fmla="*/ 916 w 1345"/>
              <a:gd name="T23" fmla="*/ 51 h 1000"/>
              <a:gd name="T24" fmla="*/ 863 w 1345"/>
              <a:gd name="T25" fmla="*/ 75 h 1000"/>
              <a:gd name="T26" fmla="*/ 24 w 1345"/>
              <a:gd name="T27" fmla="*/ 633 h 1000"/>
              <a:gd name="T28" fmla="*/ 59 w 1345"/>
              <a:gd name="T29" fmla="*/ 649 h 1000"/>
              <a:gd name="T30" fmla="*/ 118 w 1345"/>
              <a:gd name="T31" fmla="*/ 641 h 1000"/>
              <a:gd name="T32" fmla="*/ 147 w 1345"/>
              <a:gd name="T33" fmla="*/ 665 h 1000"/>
              <a:gd name="T34" fmla="*/ 168 w 1345"/>
              <a:gd name="T35" fmla="*/ 708 h 1000"/>
              <a:gd name="T36" fmla="*/ 185 w 1345"/>
              <a:gd name="T37" fmla="*/ 689 h 1000"/>
              <a:gd name="T38" fmla="*/ 227 w 1345"/>
              <a:gd name="T39" fmla="*/ 700 h 1000"/>
              <a:gd name="T40" fmla="*/ 249 w 1345"/>
              <a:gd name="T41" fmla="*/ 721 h 1000"/>
              <a:gd name="T42" fmla="*/ 273 w 1345"/>
              <a:gd name="T43" fmla="*/ 767 h 1000"/>
              <a:gd name="T44" fmla="*/ 337 w 1345"/>
              <a:gd name="T45" fmla="*/ 805 h 1000"/>
              <a:gd name="T46" fmla="*/ 394 w 1345"/>
              <a:gd name="T47" fmla="*/ 850 h 1000"/>
              <a:gd name="T48" fmla="*/ 423 w 1345"/>
              <a:gd name="T49" fmla="*/ 826 h 1000"/>
              <a:gd name="T50" fmla="*/ 530 w 1345"/>
              <a:gd name="T51" fmla="*/ 839 h 1000"/>
              <a:gd name="T52" fmla="*/ 560 w 1345"/>
              <a:gd name="T53" fmla="*/ 842 h 1000"/>
              <a:gd name="T54" fmla="*/ 616 w 1345"/>
              <a:gd name="T55" fmla="*/ 845 h 1000"/>
              <a:gd name="T56" fmla="*/ 651 w 1345"/>
              <a:gd name="T57" fmla="*/ 837 h 1000"/>
              <a:gd name="T58" fmla="*/ 680 w 1345"/>
              <a:gd name="T59" fmla="*/ 834 h 1000"/>
              <a:gd name="T60" fmla="*/ 737 w 1345"/>
              <a:gd name="T61" fmla="*/ 842 h 1000"/>
              <a:gd name="T62" fmla="*/ 753 w 1345"/>
              <a:gd name="T63" fmla="*/ 882 h 1000"/>
              <a:gd name="T64" fmla="*/ 758 w 1345"/>
              <a:gd name="T65" fmla="*/ 923 h 1000"/>
              <a:gd name="T66" fmla="*/ 962 w 1345"/>
              <a:gd name="T67" fmla="*/ 974 h 1000"/>
              <a:gd name="T68" fmla="*/ 951 w 1345"/>
              <a:gd name="T69" fmla="*/ 949 h 1000"/>
              <a:gd name="T70" fmla="*/ 964 w 1345"/>
              <a:gd name="T71" fmla="*/ 901 h 1000"/>
              <a:gd name="T72" fmla="*/ 970 w 1345"/>
              <a:gd name="T73" fmla="*/ 855 h 1000"/>
              <a:gd name="T74" fmla="*/ 980 w 1345"/>
              <a:gd name="T75" fmla="*/ 823 h 1000"/>
              <a:gd name="T76" fmla="*/ 1005 w 1345"/>
              <a:gd name="T77" fmla="*/ 778 h 1000"/>
              <a:gd name="T78" fmla="*/ 1034 w 1345"/>
              <a:gd name="T79" fmla="*/ 754 h 1000"/>
              <a:gd name="T80" fmla="*/ 1034 w 1345"/>
              <a:gd name="T81" fmla="*/ 732 h 1000"/>
              <a:gd name="T82" fmla="*/ 1037 w 1345"/>
              <a:gd name="T83" fmla="*/ 724 h 1000"/>
              <a:gd name="T84" fmla="*/ 1045 w 1345"/>
              <a:gd name="T85" fmla="*/ 684 h 1000"/>
              <a:gd name="T86" fmla="*/ 1077 w 1345"/>
              <a:gd name="T87" fmla="*/ 641 h 1000"/>
              <a:gd name="T88" fmla="*/ 1077 w 1345"/>
              <a:gd name="T89" fmla="*/ 627 h 1000"/>
              <a:gd name="T90" fmla="*/ 1090 w 1345"/>
              <a:gd name="T91" fmla="*/ 611 h 1000"/>
              <a:gd name="T92" fmla="*/ 1098 w 1345"/>
              <a:gd name="T93" fmla="*/ 582 h 1000"/>
              <a:gd name="T94" fmla="*/ 1104 w 1345"/>
              <a:gd name="T95" fmla="*/ 574 h 1000"/>
              <a:gd name="T96" fmla="*/ 1112 w 1345"/>
              <a:gd name="T97" fmla="*/ 558 h 1000"/>
              <a:gd name="T98" fmla="*/ 1131 w 1345"/>
              <a:gd name="T99" fmla="*/ 542 h 1000"/>
              <a:gd name="T100" fmla="*/ 1155 w 1345"/>
              <a:gd name="T101" fmla="*/ 504 h 1000"/>
              <a:gd name="T102" fmla="*/ 1181 w 1345"/>
              <a:gd name="T103" fmla="*/ 485 h 1000"/>
              <a:gd name="T104" fmla="*/ 1230 w 1345"/>
              <a:gd name="T105" fmla="*/ 459 h 1000"/>
              <a:gd name="T106" fmla="*/ 1230 w 1345"/>
              <a:gd name="T107" fmla="*/ 432 h 1000"/>
              <a:gd name="T108" fmla="*/ 1259 w 1345"/>
              <a:gd name="T109" fmla="*/ 375 h 1000"/>
              <a:gd name="T110" fmla="*/ 1283 w 1345"/>
              <a:gd name="T111" fmla="*/ 311 h 1000"/>
              <a:gd name="T112" fmla="*/ 1278 w 1345"/>
              <a:gd name="T113" fmla="*/ 268 h 1000"/>
              <a:gd name="T114" fmla="*/ 1305 w 1345"/>
              <a:gd name="T115" fmla="*/ 188 h 1000"/>
              <a:gd name="T116" fmla="*/ 1315 w 1345"/>
              <a:gd name="T117" fmla="*/ 142 h 1000"/>
              <a:gd name="T118" fmla="*/ 1340 w 1345"/>
              <a:gd name="T119" fmla="*/ 80 h 1000"/>
              <a:gd name="T120" fmla="*/ 855 w 1345"/>
              <a:gd name="T121" fmla="*/ 619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5" h="1000">
                <a:moveTo>
                  <a:pt x="1342" y="53"/>
                </a:moveTo>
                <a:lnTo>
                  <a:pt x="1340" y="51"/>
                </a:lnTo>
                <a:lnTo>
                  <a:pt x="1337" y="48"/>
                </a:lnTo>
                <a:lnTo>
                  <a:pt x="1337" y="40"/>
                </a:lnTo>
                <a:lnTo>
                  <a:pt x="1337" y="35"/>
                </a:lnTo>
                <a:lnTo>
                  <a:pt x="1340" y="19"/>
                </a:lnTo>
                <a:lnTo>
                  <a:pt x="1340" y="13"/>
                </a:lnTo>
                <a:lnTo>
                  <a:pt x="1340" y="11"/>
                </a:lnTo>
                <a:lnTo>
                  <a:pt x="1337" y="5"/>
                </a:lnTo>
                <a:lnTo>
                  <a:pt x="1337" y="3"/>
                </a:lnTo>
                <a:lnTo>
                  <a:pt x="1334" y="5"/>
                </a:lnTo>
                <a:lnTo>
                  <a:pt x="1332" y="0"/>
                </a:lnTo>
                <a:lnTo>
                  <a:pt x="1326" y="3"/>
                </a:lnTo>
                <a:lnTo>
                  <a:pt x="1318" y="11"/>
                </a:lnTo>
                <a:lnTo>
                  <a:pt x="1315" y="11"/>
                </a:lnTo>
                <a:lnTo>
                  <a:pt x="1310" y="11"/>
                </a:lnTo>
                <a:lnTo>
                  <a:pt x="1310" y="11"/>
                </a:lnTo>
                <a:lnTo>
                  <a:pt x="1302" y="13"/>
                </a:lnTo>
                <a:lnTo>
                  <a:pt x="1299" y="13"/>
                </a:lnTo>
                <a:lnTo>
                  <a:pt x="1297" y="13"/>
                </a:lnTo>
                <a:lnTo>
                  <a:pt x="1297" y="16"/>
                </a:lnTo>
                <a:lnTo>
                  <a:pt x="1297" y="16"/>
                </a:lnTo>
                <a:lnTo>
                  <a:pt x="1294" y="16"/>
                </a:lnTo>
                <a:lnTo>
                  <a:pt x="1294" y="19"/>
                </a:lnTo>
                <a:lnTo>
                  <a:pt x="1294" y="19"/>
                </a:lnTo>
                <a:lnTo>
                  <a:pt x="1294" y="19"/>
                </a:lnTo>
                <a:lnTo>
                  <a:pt x="1291" y="21"/>
                </a:lnTo>
                <a:lnTo>
                  <a:pt x="1289" y="21"/>
                </a:lnTo>
                <a:lnTo>
                  <a:pt x="1289" y="24"/>
                </a:lnTo>
                <a:lnTo>
                  <a:pt x="1289" y="24"/>
                </a:lnTo>
                <a:lnTo>
                  <a:pt x="1286" y="24"/>
                </a:lnTo>
                <a:lnTo>
                  <a:pt x="1286" y="21"/>
                </a:lnTo>
                <a:lnTo>
                  <a:pt x="1286" y="21"/>
                </a:lnTo>
                <a:lnTo>
                  <a:pt x="1283" y="21"/>
                </a:lnTo>
                <a:lnTo>
                  <a:pt x="1278" y="21"/>
                </a:lnTo>
                <a:lnTo>
                  <a:pt x="1278" y="21"/>
                </a:lnTo>
                <a:lnTo>
                  <a:pt x="1278" y="21"/>
                </a:lnTo>
                <a:lnTo>
                  <a:pt x="1270" y="21"/>
                </a:lnTo>
                <a:lnTo>
                  <a:pt x="1270" y="21"/>
                </a:lnTo>
                <a:lnTo>
                  <a:pt x="1267" y="21"/>
                </a:lnTo>
                <a:lnTo>
                  <a:pt x="1265" y="19"/>
                </a:lnTo>
                <a:lnTo>
                  <a:pt x="1262" y="19"/>
                </a:lnTo>
                <a:lnTo>
                  <a:pt x="1262" y="19"/>
                </a:lnTo>
                <a:lnTo>
                  <a:pt x="1259" y="19"/>
                </a:lnTo>
                <a:lnTo>
                  <a:pt x="1259" y="21"/>
                </a:lnTo>
                <a:lnTo>
                  <a:pt x="1259" y="21"/>
                </a:lnTo>
                <a:lnTo>
                  <a:pt x="1259" y="21"/>
                </a:lnTo>
                <a:lnTo>
                  <a:pt x="1257" y="24"/>
                </a:lnTo>
                <a:lnTo>
                  <a:pt x="1254" y="24"/>
                </a:lnTo>
                <a:lnTo>
                  <a:pt x="1251" y="24"/>
                </a:lnTo>
                <a:lnTo>
                  <a:pt x="1251" y="24"/>
                </a:lnTo>
                <a:lnTo>
                  <a:pt x="1251" y="24"/>
                </a:lnTo>
                <a:lnTo>
                  <a:pt x="1240" y="19"/>
                </a:lnTo>
                <a:lnTo>
                  <a:pt x="1240" y="19"/>
                </a:lnTo>
                <a:lnTo>
                  <a:pt x="1238" y="16"/>
                </a:lnTo>
                <a:lnTo>
                  <a:pt x="1235" y="16"/>
                </a:lnTo>
                <a:lnTo>
                  <a:pt x="1235" y="16"/>
                </a:lnTo>
                <a:lnTo>
                  <a:pt x="1235" y="16"/>
                </a:lnTo>
                <a:lnTo>
                  <a:pt x="1235" y="16"/>
                </a:lnTo>
                <a:lnTo>
                  <a:pt x="1235" y="19"/>
                </a:lnTo>
                <a:lnTo>
                  <a:pt x="1235" y="19"/>
                </a:lnTo>
                <a:lnTo>
                  <a:pt x="1235" y="19"/>
                </a:lnTo>
                <a:lnTo>
                  <a:pt x="1232" y="19"/>
                </a:lnTo>
                <a:lnTo>
                  <a:pt x="1232" y="21"/>
                </a:lnTo>
                <a:lnTo>
                  <a:pt x="1232" y="21"/>
                </a:lnTo>
                <a:lnTo>
                  <a:pt x="1230" y="21"/>
                </a:lnTo>
                <a:lnTo>
                  <a:pt x="1230" y="21"/>
                </a:lnTo>
                <a:lnTo>
                  <a:pt x="1230" y="19"/>
                </a:lnTo>
                <a:lnTo>
                  <a:pt x="1227" y="19"/>
                </a:lnTo>
                <a:lnTo>
                  <a:pt x="1227" y="19"/>
                </a:lnTo>
                <a:lnTo>
                  <a:pt x="1227" y="19"/>
                </a:lnTo>
                <a:lnTo>
                  <a:pt x="1227" y="19"/>
                </a:lnTo>
                <a:lnTo>
                  <a:pt x="1227" y="16"/>
                </a:lnTo>
                <a:lnTo>
                  <a:pt x="1227" y="16"/>
                </a:lnTo>
                <a:lnTo>
                  <a:pt x="1227" y="16"/>
                </a:lnTo>
                <a:lnTo>
                  <a:pt x="1224" y="13"/>
                </a:lnTo>
                <a:lnTo>
                  <a:pt x="1224" y="13"/>
                </a:lnTo>
                <a:lnTo>
                  <a:pt x="1222" y="13"/>
                </a:lnTo>
                <a:lnTo>
                  <a:pt x="1222" y="13"/>
                </a:lnTo>
                <a:lnTo>
                  <a:pt x="1222" y="13"/>
                </a:lnTo>
                <a:lnTo>
                  <a:pt x="1219" y="16"/>
                </a:lnTo>
                <a:lnTo>
                  <a:pt x="1216" y="19"/>
                </a:lnTo>
                <a:lnTo>
                  <a:pt x="1216" y="19"/>
                </a:lnTo>
                <a:lnTo>
                  <a:pt x="1214" y="21"/>
                </a:lnTo>
                <a:lnTo>
                  <a:pt x="1214" y="21"/>
                </a:lnTo>
                <a:lnTo>
                  <a:pt x="1214" y="24"/>
                </a:lnTo>
                <a:lnTo>
                  <a:pt x="1214" y="24"/>
                </a:lnTo>
                <a:lnTo>
                  <a:pt x="1211" y="24"/>
                </a:lnTo>
                <a:lnTo>
                  <a:pt x="1208" y="24"/>
                </a:lnTo>
                <a:lnTo>
                  <a:pt x="1203" y="27"/>
                </a:lnTo>
                <a:lnTo>
                  <a:pt x="1203" y="27"/>
                </a:lnTo>
                <a:lnTo>
                  <a:pt x="1200" y="27"/>
                </a:lnTo>
                <a:lnTo>
                  <a:pt x="1198" y="29"/>
                </a:lnTo>
                <a:lnTo>
                  <a:pt x="1198" y="29"/>
                </a:lnTo>
                <a:lnTo>
                  <a:pt x="1195" y="32"/>
                </a:lnTo>
                <a:lnTo>
                  <a:pt x="1195" y="32"/>
                </a:lnTo>
                <a:lnTo>
                  <a:pt x="1195" y="32"/>
                </a:lnTo>
                <a:lnTo>
                  <a:pt x="1195" y="32"/>
                </a:lnTo>
                <a:lnTo>
                  <a:pt x="1190" y="32"/>
                </a:lnTo>
                <a:lnTo>
                  <a:pt x="1190" y="32"/>
                </a:lnTo>
                <a:lnTo>
                  <a:pt x="1187" y="32"/>
                </a:lnTo>
                <a:lnTo>
                  <a:pt x="1176" y="37"/>
                </a:lnTo>
                <a:lnTo>
                  <a:pt x="1173" y="37"/>
                </a:lnTo>
                <a:lnTo>
                  <a:pt x="1173" y="40"/>
                </a:lnTo>
                <a:lnTo>
                  <a:pt x="1171" y="40"/>
                </a:lnTo>
                <a:lnTo>
                  <a:pt x="1171" y="43"/>
                </a:lnTo>
                <a:lnTo>
                  <a:pt x="1168" y="43"/>
                </a:lnTo>
                <a:lnTo>
                  <a:pt x="1168" y="43"/>
                </a:lnTo>
                <a:lnTo>
                  <a:pt x="1168" y="43"/>
                </a:lnTo>
                <a:lnTo>
                  <a:pt x="1168" y="43"/>
                </a:lnTo>
                <a:lnTo>
                  <a:pt x="1165" y="43"/>
                </a:lnTo>
                <a:lnTo>
                  <a:pt x="1165" y="43"/>
                </a:lnTo>
                <a:lnTo>
                  <a:pt x="1165" y="43"/>
                </a:lnTo>
                <a:lnTo>
                  <a:pt x="1165" y="45"/>
                </a:lnTo>
                <a:lnTo>
                  <a:pt x="1168" y="48"/>
                </a:lnTo>
                <a:lnTo>
                  <a:pt x="1171" y="48"/>
                </a:lnTo>
                <a:lnTo>
                  <a:pt x="1171" y="51"/>
                </a:lnTo>
                <a:lnTo>
                  <a:pt x="1171" y="51"/>
                </a:lnTo>
                <a:lnTo>
                  <a:pt x="1171" y="53"/>
                </a:lnTo>
                <a:lnTo>
                  <a:pt x="1171" y="53"/>
                </a:lnTo>
                <a:lnTo>
                  <a:pt x="1173" y="56"/>
                </a:lnTo>
                <a:lnTo>
                  <a:pt x="1176" y="59"/>
                </a:lnTo>
                <a:lnTo>
                  <a:pt x="1176" y="59"/>
                </a:lnTo>
                <a:lnTo>
                  <a:pt x="1176" y="59"/>
                </a:lnTo>
                <a:lnTo>
                  <a:pt x="1176" y="62"/>
                </a:lnTo>
                <a:lnTo>
                  <a:pt x="1176" y="62"/>
                </a:lnTo>
                <a:lnTo>
                  <a:pt x="1176" y="62"/>
                </a:lnTo>
                <a:lnTo>
                  <a:pt x="1176" y="64"/>
                </a:lnTo>
                <a:lnTo>
                  <a:pt x="1176" y="64"/>
                </a:lnTo>
                <a:lnTo>
                  <a:pt x="1176" y="64"/>
                </a:lnTo>
                <a:lnTo>
                  <a:pt x="1176" y="67"/>
                </a:lnTo>
                <a:lnTo>
                  <a:pt x="1176" y="70"/>
                </a:lnTo>
                <a:lnTo>
                  <a:pt x="1176" y="72"/>
                </a:lnTo>
                <a:lnTo>
                  <a:pt x="1173" y="72"/>
                </a:lnTo>
                <a:lnTo>
                  <a:pt x="1173" y="75"/>
                </a:lnTo>
                <a:lnTo>
                  <a:pt x="1173" y="75"/>
                </a:lnTo>
                <a:lnTo>
                  <a:pt x="1173" y="78"/>
                </a:lnTo>
                <a:lnTo>
                  <a:pt x="1173" y="80"/>
                </a:lnTo>
                <a:lnTo>
                  <a:pt x="1173" y="80"/>
                </a:lnTo>
                <a:lnTo>
                  <a:pt x="1173" y="80"/>
                </a:lnTo>
                <a:lnTo>
                  <a:pt x="1171" y="80"/>
                </a:lnTo>
                <a:lnTo>
                  <a:pt x="1171" y="80"/>
                </a:lnTo>
                <a:lnTo>
                  <a:pt x="1171" y="80"/>
                </a:lnTo>
                <a:lnTo>
                  <a:pt x="1171" y="83"/>
                </a:lnTo>
                <a:lnTo>
                  <a:pt x="1171" y="83"/>
                </a:lnTo>
                <a:lnTo>
                  <a:pt x="1168" y="83"/>
                </a:lnTo>
                <a:lnTo>
                  <a:pt x="1168" y="83"/>
                </a:lnTo>
                <a:lnTo>
                  <a:pt x="1165" y="83"/>
                </a:lnTo>
                <a:lnTo>
                  <a:pt x="1163" y="83"/>
                </a:lnTo>
                <a:lnTo>
                  <a:pt x="1163" y="83"/>
                </a:lnTo>
                <a:lnTo>
                  <a:pt x="1163" y="83"/>
                </a:lnTo>
                <a:lnTo>
                  <a:pt x="1163" y="83"/>
                </a:lnTo>
                <a:lnTo>
                  <a:pt x="1160" y="83"/>
                </a:lnTo>
                <a:lnTo>
                  <a:pt x="1157" y="83"/>
                </a:lnTo>
                <a:lnTo>
                  <a:pt x="1157" y="83"/>
                </a:lnTo>
                <a:lnTo>
                  <a:pt x="1155" y="83"/>
                </a:lnTo>
                <a:lnTo>
                  <a:pt x="1155" y="83"/>
                </a:lnTo>
                <a:lnTo>
                  <a:pt x="1155" y="83"/>
                </a:lnTo>
                <a:lnTo>
                  <a:pt x="1155" y="83"/>
                </a:lnTo>
                <a:lnTo>
                  <a:pt x="1152" y="86"/>
                </a:lnTo>
                <a:lnTo>
                  <a:pt x="1152" y="88"/>
                </a:lnTo>
                <a:lnTo>
                  <a:pt x="1152" y="88"/>
                </a:lnTo>
                <a:lnTo>
                  <a:pt x="1152" y="88"/>
                </a:lnTo>
                <a:lnTo>
                  <a:pt x="1152" y="88"/>
                </a:lnTo>
                <a:lnTo>
                  <a:pt x="1149" y="88"/>
                </a:lnTo>
                <a:lnTo>
                  <a:pt x="1149" y="88"/>
                </a:lnTo>
                <a:lnTo>
                  <a:pt x="1149" y="88"/>
                </a:lnTo>
                <a:lnTo>
                  <a:pt x="1149" y="88"/>
                </a:lnTo>
                <a:lnTo>
                  <a:pt x="1147" y="88"/>
                </a:lnTo>
                <a:lnTo>
                  <a:pt x="1147" y="88"/>
                </a:lnTo>
                <a:lnTo>
                  <a:pt x="1147" y="86"/>
                </a:lnTo>
                <a:lnTo>
                  <a:pt x="1147" y="86"/>
                </a:lnTo>
                <a:lnTo>
                  <a:pt x="1144" y="86"/>
                </a:lnTo>
                <a:lnTo>
                  <a:pt x="1141" y="80"/>
                </a:lnTo>
                <a:lnTo>
                  <a:pt x="1141" y="80"/>
                </a:lnTo>
                <a:lnTo>
                  <a:pt x="1141" y="80"/>
                </a:lnTo>
                <a:lnTo>
                  <a:pt x="1141" y="80"/>
                </a:lnTo>
                <a:lnTo>
                  <a:pt x="1139" y="80"/>
                </a:lnTo>
                <a:lnTo>
                  <a:pt x="1133" y="83"/>
                </a:lnTo>
                <a:lnTo>
                  <a:pt x="1133" y="83"/>
                </a:lnTo>
                <a:lnTo>
                  <a:pt x="1133" y="83"/>
                </a:lnTo>
                <a:lnTo>
                  <a:pt x="1131" y="83"/>
                </a:lnTo>
                <a:lnTo>
                  <a:pt x="1131" y="86"/>
                </a:lnTo>
                <a:lnTo>
                  <a:pt x="1131" y="86"/>
                </a:lnTo>
                <a:lnTo>
                  <a:pt x="1128" y="86"/>
                </a:lnTo>
                <a:lnTo>
                  <a:pt x="1128" y="86"/>
                </a:lnTo>
                <a:lnTo>
                  <a:pt x="1125" y="86"/>
                </a:lnTo>
                <a:lnTo>
                  <a:pt x="1125" y="86"/>
                </a:lnTo>
                <a:lnTo>
                  <a:pt x="1125" y="86"/>
                </a:lnTo>
                <a:lnTo>
                  <a:pt x="1125" y="86"/>
                </a:lnTo>
                <a:lnTo>
                  <a:pt x="1123" y="86"/>
                </a:lnTo>
                <a:lnTo>
                  <a:pt x="1123" y="86"/>
                </a:lnTo>
                <a:lnTo>
                  <a:pt x="1123" y="88"/>
                </a:lnTo>
                <a:lnTo>
                  <a:pt x="1120" y="94"/>
                </a:lnTo>
                <a:lnTo>
                  <a:pt x="1120" y="94"/>
                </a:lnTo>
                <a:lnTo>
                  <a:pt x="1120" y="96"/>
                </a:lnTo>
                <a:lnTo>
                  <a:pt x="1120" y="99"/>
                </a:lnTo>
                <a:lnTo>
                  <a:pt x="1120" y="99"/>
                </a:lnTo>
                <a:lnTo>
                  <a:pt x="1117" y="99"/>
                </a:lnTo>
                <a:lnTo>
                  <a:pt x="1114" y="102"/>
                </a:lnTo>
                <a:lnTo>
                  <a:pt x="1114" y="104"/>
                </a:lnTo>
                <a:lnTo>
                  <a:pt x="1112" y="104"/>
                </a:lnTo>
                <a:lnTo>
                  <a:pt x="1112" y="104"/>
                </a:lnTo>
                <a:lnTo>
                  <a:pt x="1109" y="107"/>
                </a:lnTo>
                <a:lnTo>
                  <a:pt x="1109" y="107"/>
                </a:lnTo>
                <a:lnTo>
                  <a:pt x="1109" y="107"/>
                </a:lnTo>
                <a:lnTo>
                  <a:pt x="1109" y="107"/>
                </a:lnTo>
                <a:lnTo>
                  <a:pt x="1106" y="110"/>
                </a:lnTo>
                <a:lnTo>
                  <a:pt x="1104" y="110"/>
                </a:lnTo>
                <a:lnTo>
                  <a:pt x="1104" y="110"/>
                </a:lnTo>
                <a:lnTo>
                  <a:pt x="1101" y="110"/>
                </a:lnTo>
                <a:lnTo>
                  <a:pt x="1101" y="107"/>
                </a:lnTo>
                <a:lnTo>
                  <a:pt x="1101" y="107"/>
                </a:lnTo>
                <a:lnTo>
                  <a:pt x="1101" y="104"/>
                </a:lnTo>
                <a:lnTo>
                  <a:pt x="1098" y="104"/>
                </a:lnTo>
                <a:lnTo>
                  <a:pt x="1098" y="102"/>
                </a:lnTo>
                <a:lnTo>
                  <a:pt x="1098" y="102"/>
                </a:lnTo>
                <a:lnTo>
                  <a:pt x="1096" y="99"/>
                </a:lnTo>
                <a:lnTo>
                  <a:pt x="1096" y="94"/>
                </a:lnTo>
                <a:lnTo>
                  <a:pt x="1096" y="94"/>
                </a:lnTo>
                <a:lnTo>
                  <a:pt x="1096" y="94"/>
                </a:lnTo>
                <a:lnTo>
                  <a:pt x="1096" y="94"/>
                </a:lnTo>
                <a:lnTo>
                  <a:pt x="1096" y="91"/>
                </a:lnTo>
                <a:lnTo>
                  <a:pt x="1096" y="91"/>
                </a:lnTo>
                <a:lnTo>
                  <a:pt x="1096" y="83"/>
                </a:lnTo>
                <a:lnTo>
                  <a:pt x="1088" y="80"/>
                </a:lnTo>
                <a:lnTo>
                  <a:pt x="1082" y="78"/>
                </a:lnTo>
                <a:lnTo>
                  <a:pt x="1080" y="75"/>
                </a:lnTo>
                <a:lnTo>
                  <a:pt x="1080" y="75"/>
                </a:lnTo>
                <a:lnTo>
                  <a:pt x="1074" y="75"/>
                </a:lnTo>
                <a:lnTo>
                  <a:pt x="1072" y="75"/>
                </a:lnTo>
                <a:lnTo>
                  <a:pt x="1072" y="72"/>
                </a:lnTo>
                <a:lnTo>
                  <a:pt x="1069" y="72"/>
                </a:lnTo>
                <a:lnTo>
                  <a:pt x="1069" y="70"/>
                </a:lnTo>
                <a:lnTo>
                  <a:pt x="1069" y="67"/>
                </a:lnTo>
                <a:lnTo>
                  <a:pt x="1069" y="64"/>
                </a:lnTo>
                <a:lnTo>
                  <a:pt x="1066" y="62"/>
                </a:lnTo>
                <a:lnTo>
                  <a:pt x="1064" y="62"/>
                </a:lnTo>
                <a:lnTo>
                  <a:pt x="1061" y="62"/>
                </a:lnTo>
                <a:lnTo>
                  <a:pt x="1061" y="62"/>
                </a:lnTo>
                <a:lnTo>
                  <a:pt x="1058" y="59"/>
                </a:lnTo>
                <a:lnTo>
                  <a:pt x="1056" y="59"/>
                </a:lnTo>
                <a:lnTo>
                  <a:pt x="1053" y="56"/>
                </a:lnTo>
                <a:lnTo>
                  <a:pt x="1050" y="56"/>
                </a:lnTo>
                <a:lnTo>
                  <a:pt x="1047" y="53"/>
                </a:lnTo>
                <a:lnTo>
                  <a:pt x="1042" y="53"/>
                </a:lnTo>
                <a:lnTo>
                  <a:pt x="1037" y="53"/>
                </a:lnTo>
                <a:lnTo>
                  <a:pt x="1029" y="56"/>
                </a:lnTo>
                <a:lnTo>
                  <a:pt x="1023" y="56"/>
                </a:lnTo>
                <a:lnTo>
                  <a:pt x="1010" y="56"/>
                </a:lnTo>
                <a:lnTo>
                  <a:pt x="1005" y="53"/>
                </a:lnTo>
                <a:lnTo>
                  <a:pt x="1002" y="51"/>
                </a:lnTo>
                <a:lnTo>
                  <a:pt x="997" y="45"/>
                </a:lnTo>
                <a:lnTo>
                  <a:pt x="991" y="43"/>
                </a:lnTo>
                <a:lnTo>
                  <a:pt x="989" y="43"/>
                </a:lnTo>
                <a:lnTo>
                  <a:pt x="986" y="43"/>
                </a:lnTo>
                <a:lnTo>
                  <a:pt x="986" y="45"/>
                </a:lnTo>
                <a:lnTo>
                  <a:pt x="983" y="45"/>
                </a:lnTo>
                <a:lnTo>
                  <a:pt x="975" y="43"/>
                </a:lnTo>
                <a:lnTo>
                  <a:pt x="975" y="45"/>
                </a:lnTo>
                <a:lnTo>
                  <a:pt x="967" y="45"/>
                </a:lnTo>
                <a:lnTo>
                  <a:pt x="964" y="48"/>
                </a:lnTo>
                <a:lnTo>
                  <a:pt x="959" y="48"/>
                </a:lnTo>
                <a:lnTo>
                  <a:pt x="956" y="48"/>
                </a:lnTo>
                <a:lnTo>
                  <a:pt x="954" y="48"/>
                </a:lnTo>
                <a:lnTo>
                  <a:pt x="951" y="48"/>
                </a:lnTo>
                <a:lnTo>
                  <a:pt x="948" y="51"/>
                </a:lnTo>
                <a:lnTo>
                  <a:pt x="943" y="51"/>
                </a:lnTo>
                <a:lnTo>
                  <a:pt x="932" y="51"/>
                </a:lnTo>
                <a:lnTo>
                  <a:pt x="930" y="51"/>
                </a:lnTo>
                <a:lnTo>
                  <a:pt x="930" y="51"/>
                </a:lnTo>
                <a:lnTo>
                  <a:pt x="927" y="51"/>
                </a:lnTo>
                <a:lnTo>
                  <a:pt x="924" y="51"/>
                </a:lnTo>
                <a:lnTo>
                  <a:pt x="922" y="51"/>
                </a:lnTo>
                <a:lnTo>
                  <a:pt x="919" y="51"/>
                </a:lnTo>
                <a:lnTo>
                  <a:pt x="916" y="51"/>
                </a:lnTo>
                <a:lnTo>
                  <a:pt x="916" y="48"/>
                </a:lnTo>
                <a:lnTo>
                  <a:pt x="916" y="45"/>
                </a:lnTo>
                <a:lnTo>
                  <a:pt x="913" y="45"/>
                </a:lnTo>
                <a:lnTo>
                  <a:pt x="913" y="45"/>
                </a:lnTo>
                <a:lnTo>
                  <a:pt x="903" y="48"/>
                </a:lnTo>
                <a:lnTo>
                  <a:pt x="900" y="48"/>
                </a:lnTo>
                <a:lnTo>
                  <a:pt x="897" y="56"/>
                </a:lnTo>
                <a:lnTo>
                  <a:pt x="895" y="59"/>
                </a:lnTo>
                <a:lnTo>
                  <a:pt x="892" y="59"/>
                </a:lnTo>
                <a:lnTo>
                  <a:pt x="892" y="59"/>
                </a:lnTo>
                <a:lnTo>
                  <a:pt x="881" y="64"/>
                </a:lnTo>
                <a:lnTo>
                  <a:pt x="879" y="64"/>
                </a:lnTo>
                <a:lnTo>
                  <a:pt x="879" y="64"/>
                </a:lnTo>
                <a:lnTo>
                  <a:pt x="876" y="67"/>
                </a:lnTo>
                <a:lnTo>
                  <a:pt x="876" y="67"/>
                </a:lnTo>
                <a:lnTo>
                  <a:pt x="873" y="67"/>
                </a:lnTo>
                <a:lnTo>
                  <a:pt x="873" y="70"/>
                </a:lnTo>
                <a:lnTo>
                  <a:pt x="873" y="70"/>
                </a:lnTo>
                <a:lnTo>
                  <a:pt x="871" y="72"/>
                </a:lnTo>
                <a:lnTo>
                  <a:pt x="871" y="72"/>
                </a:lnTo>
                <a:lnTo>
                  <a:pt x="868" y="72"/>
                </a:lnTo>
                <a:lnTo>
                  <a:pt x="865" y="75"/>
                </a:lnTo>
                <a:lnTo>
                  <a:pt x="863" y="75"/>
                </a:lnTo>
                <a:lnTo>
                  <a:pt x="860" y="75"/>
                </a:lnTo>
                <a:lnTo>
                  <a:pt x="860" y="78"/>
                </a:lnTo>
                <a:lnTo>
                  <a:pt x="860" y="83"/>
                </a:lnTo>
                <a:lnTo>
                  <a:pt x="857" y="86"/>
                </a:lnTo>
                <a:lnTo>
                  <a:pt x="855" y="86"/>
                </a:lnTo>
                <a:lnTo>
                  <a:pt x="855" y="88"/>
                </a:lnTo>
                <a:lnTo>
                  <a:pt x="849" y="88"/>
                </a:lnTo>
                <a:lnTo>
                  <a:pt x="846" y="91"/>
                </a:lnTo>
                <a:lnTo>
                  <a:pt x="846" y="91"/>
                </a:lnTo>
                <a:lnTo>
                  <a:pt x="0" y="91"/>
                </a:lnTo>
                <a:lnTo>
                  <a:pt x="0" y="627"/>
                </a:lnTo>
                <a:lnTo>
                  <a:pt x="0" y="630"/>
                </a:lnTo>
                <a:lnTo>
                  <a:pt x="2" y="633"/>
                </a:lnTo>
                <a:lnTo>
                  <a:pt x="13" y="633"/>
                </a:lnTo>
                <a:lnTo>
                  <a:pt x="16" y="633"/>
                </a:lnTo>
                <a:lnTo>
                  <a:pt x="16" y="633"/>
                </a:lnTo>
                <a:lnTo>
                  <a:pt x="18" y="633"/>
                </a:lnTo>
                <a:lnTo>
                  <a:pt x="18" y="636"/>
                </a:lnTo>
                <a:lnTo>
                  <a:pt x="21" y="636"/>
                </a:lnTo>
                <a:lnTo>
                  <a:pt x="21" y="633"/>
                </a:lnTo>
                <a:lnTo>
                  <a:pt x="24" y="633"/>
                </a:lnTo>
                <a:lnTo>
                  <a:pt x="24" y="633"/>
                </a:lnTo>
                <a:lnTo>
                  <a:pt x="24" y="633"/>
                </a:lnTo>
                <a:lnTo>
                  <a:pt x="26" y="633"/>
                </a:lnTo>
                <a:lnTo>
                  <a:pt x="26" y="633"/>
                </a:lnTo>
                <a:lnTo>
                  <a:pt x="26" y="633"/>
                </a:lnTo>
                <a:lnTo>
                  <a:pt x="26" y="636"/>
                </a:lnTo>
                <a:lnTo>
                  <a:pt x="29" y="636"/>
                </a:lnTo>
                <a:lnTo>
                  <a:pt x="29" y="636"/>
                </a:lnTo>
                <a:lnTo>
                  <a:pt x="32" y="638"/>
                </a:lnTo>
                <a:lnTo>
                  <a:pt x="32" y="638"/>
                </a:lnTo>
                <a:lnTo>
                  <a:pt x="34" y="641"/>
                </a:lnTo>
                <a:lnTo>
                  <a:pt x="34" y="641"/>
                </a:lnTo>
                <a:lnTo>
                  <a:pt x="37" y="638"/>
                </a:lnTo>
                <a:lnTo>
                  <a:pt x="40" y="638"/>
                </a:lnTo>
                <a:lnTo>
                  <a:pt x="43" y="641"/>
                </a:lnTo>
                <a:lnTo>
                  <a:pt x="43" y="641"/>
                </a:lnTo>
                <a:lnTo>
                  <a:pt x="45" y="644"/>
                </a:lnTo>
                <a:lnTo>
                  <a:pt x="48" y="644"/>
                </a:lnTo>
                <a:lnTo>
                  <a:pt x="53" y="644"/>
                </a:lnTo>
                <a:lnTo>
                  <a:pt x="53" y="644"/>
                </a:lnTo>
                <a:lnTo>
                  <a:pt x="53" y="646"/>
                </a:lnTo>
                <a:lnTo>
                  <a:pt x="56" y="646"/>
                </a:lnTo>
                <a:lnTo>
                  <a:pt x="56" y="649"/>
                </a:lnTo>
                <a:lnTo>
                  <a:pt x="56" y="649"/>
                </a:lnTo>
                <a:lnTo>
                  <a:pt x="59" y="649"/>
                </a:lnTo>
                <a:lnTo>
                  <a:pt x="61" y="646"/>
                </a:lnTo>
                <a:lnTo>
                  <a:pt x="64" y="644"/>
                </a:lnTo>
                <a:lnTo>
                  <a:pt x="67" y="641"/>
                </a:lnTo>
                <a:lnTo>
                  <a:pt x="69" y="638"/>
                </a:lnTo>
                <a:lnTo>
                  <a:pt x="75" y="636"/>
                </a:lnTo>
                <a:lnTo>
                  <a:pt x="77" y="636"/>
                </a:lnTo>
                <a:lnTo>
                  <a:pt x="80" y="636"/>
                </a:lnTo>
                <a:lnTo>
                  <a:pt x="85" y="638"/>
                </a:lnTo>
                <a:lnTo>
                  <a:pt x="88" y="638"/>
                </a:lnTo>
                <a:lnTo>
                  <a:pt x="93" y="638"/>
                </a:lnTo>
                <a:lnTo>
                  <a:pt x="96" y="638"/>
                </a:lnTo>
                <a:lnTo>
                  <a:pt x="96" y="638"/>
                </a:lnTo>
                <a:lnTo>
                  <a:pt x="99" y="638"/>
                </a:lnTo>
                <a:lnTo>
                  <a:pt x="99" y="638"/>
                </a:lnTo>
                <a:lnTo>
                  <a:pt x="101" y="638"/>
                </a:lnTo>
                <a:lnTo>
                  <a:pt x="101" y="638"/>
                </a:lnTo>
                <a:lnTo>
                  <a:pt x="107" y="636"/>
                </a:lnTo>
                <a:lnTo>
                  <a:pt x="110" y="638"/>
                </a:lnTo>
                <a:lnTo>
                  <a:pt x="112" y="638"/>
                </a:lnTo>
                <a:lnTo>
                  <a:pt x="115" y="644"/>
                </a:lnTo>
                <a:lnTo>
                  <a:pt x="115" y="644"/>
                </a:lnTo>
                <a:lnTo>
                  <a:pt x="118" y="641"/>
                </a:lnTo>
                <a:lnTo>
                  <a:pt x="118" y="641"/>
                </a:lnTo>
                <a:lnTo>
                  <a:pt x="120" y="641"/>
                </a:lnTo>
                <a:lnTo>
                  <a:pt x="123" y="641"/>
                </a:lnTo>
                <a:lnTo>
                  <a:pt x="123" y="644"/>
                </a:lnTo>
                <a:lnTo>
                  <a:pt x="126" y="646"/>
                </a:lnTo>
                <a:lnTo>
                  <a:pt x="126" y="646"/>
                </a:lnTo>
                <a:lnTo>
                  <a:pt x="128" y="646"/>
                </a:lnTo>
                <a:lnTo>
                  <a:pt x="131" y="646"/>
                </a:lnTo>
                <a:lnTo>
                  <a:pt x="131" y="646"/>
                </a:lnTo>
                <a:lnTo>
                  <a:pt x="131" y="649"/>
                </a:lnTo>
                <a:lnTo>
                  <a:pt x="131" y="652"/>
                </a:lnTo>
                <a:lnTo>
                  <a:pt x="131" y="654"/>
                </a:lnTo>
                <a:lnTo>
                  <a:pt x="134" y="654"/>
                </a:lnTo>
                <a:lnTo>
                  <a:pt x="134" y="654"/>
                </a:lnTo>
                <a:lnTo>
                  <a:pt x="134" y="654"/>
                </a:lnTo>
                <a:lnTo>
                  <a:pt x="136" y="657"/>
                </a:lnTo>
                <a:lnTo>
                  <a:pt x="136" y="660"/>
                </a:lnTo>
                <a:lnTo>
                  <a:pt x="139" y="660"/>
                </a:lnTo>
                <a:lnTo>
                  <a:pt x="142" y="662"/>
                </a:lnTo>
                <a:lnTo>
                  <a:pt x="144" y="662"/>
                </a:lnTo>
                <a:lnTo>
                  <a:pt x="144" y="660"/>
                </a:lnTo>
                <a:lnTo>
                  <a:pt x="147" y="660"/>
                </a:lnTo>
                <a:lnTo>
                  <a:pt x="147" y="662"/>
                </a:lnTo>
                <a:lnTo>
                  <a:pt x="147" y="665"/>
                </a:lnTo>
                <a:lnTo>
                  <a:pt x="144" y="668"/>
                </a:lnTo>
                <a:lnTo>
                  <a:pt x="144" y="670"/>
                </a:lnTo>
                <a:lnTo>
                  <a:pt x="144" y="673"/>
                </a:lnTo>
                <a:lnTo>
                  <a:pt x="147" y="681"/>
                </a:lnTo>
                <a:lnTo>
                  <a:pt x="147" y="684"/>
                </a:lnTo>
                <a:lnTo>
                  <a:pt x="155" y="689"/>
                </a:lnTo>
                <a:lnTo>
                  <a:pt x="155" y="689"/>
                </a:lnTo>
                <a:lnTo>
                  <a:pt x="155" y="689"/>
                </a:lnTo>
                <a:lnTo>
                  <a:pt x="155" y="692"/>
                </a:lnTo>
                <a:lnTo>
                  <a:pt x="155" y="692"/>
                </a:lnTo>
                <a:lnTo>
                  <a:pt x="155" y="692"/>
                </a:lnTo>
                <a:lnTo>
                  <a:pt x="155" y="695"/>
                </a:lnTo>
                <a:lnTo>
                  <a:pt x="158" y="695"/>
                </a:lnTo>
                <a:lnTo>
                  <a:pt x="160" y="703"/>
                </a:lnTo>
                <a:lnTo>
                  <a:pt x="160" y="703"/>
                </a:lnTo>
                <a:lnTo>
                  <a:pt x="160" y="705"/>
                </a:lnTo>
                <a:lnTo>
                  <a:pt x="160" y="705"/>
                </a:lnTo>
                <a:lnTo>
                  <a:pt x="163" y="705"/>
                </a:lnTo>
                <a:lnTo>
                  <a:pt x="163" y="708"/>
                </a:lnTo>
                <a:lnTo>
                  <a:pt x="163" y="708"/>
                </a:lnTo>
                <a:lnTo>
                  <a:pt x="166" y="708"/>
                </a:lnTo>
                <a:lnTo>
                  <a:pt x="168" y="708"/>
                </a:lnTo>
                <a:lnTo>
                  <a:pt x="168" y="708"/>
                </a:lnTo>
                <a:lnTo>
                  <a:pt x="171" y="711"/>
                </a:lnTo>
                <a:lnTo>
                  <a:pt x="174" y="708"/>
                </a:lnTo>
                <a:lnTo>
                  <a:pt x="174" y="708"/>
                </a:lnTo>
                <a:lnTo>
                  <a:pt x="171" y="705"/>
                </a:lnTo>
                <a:lnTo>
                  <a:pt x="171" y="705"/>
                </a:lnTo>
                <a:lnTo>
                  <a:pt x="171" y="703"/>
                </a:lnTo>
                <a:lnTo>
                  <a:pt x="174" y="703"/>
                </a:lnTo>
                <a:lnTo>
                  <a:pt x="177" y="703"/>
                </a:lnTo>
                <a:lnTo>
                  <a:pt x="177" y="703"/>
                </a:lnTo>
                <a:lnTo>
                  <a:pt x="179" y="703"/>
                </a:lnTo>
                <a:lnTo>
                  <a:pt x="179" y="703"/>
                </a:lnTo>
                <a:lnTo>
                  <a:pt x="179" y="700"/>
                </a:lnTo>
                <a:lnTo>
                  <a:pt x="179" y="700"/>
                </a:lnTo>
                <a:lnTo>
                  <a:pt x="179" y="700"/>
                </a:lnTo>
                <a:lnTo>
                  <a:pt x="179" y="697"/>
                </a:lnTo>
                <a:lnTo>
                  <a:pt x="179" y="697"/>
                </a:lnTo>
                <a:lnTo>
                  <a:pt x="179" y="697"/>
                </a:lnTo>
                <a:lnTo>
                  <a:pt x="179" y="697"/>
                </a:lnTo>
                <a:lnTo>
                  <a:pt x="179" y="695"/>
                </a:lnTo>
                <a:lnTo>
                  <a:pt x="182" y="692"/>
                </a:lnTo>
                <a:lnTo>
                  <a:pt x="182" y="689"/>
                </a:lnTo>
                <a:lnTo>
                  <a:pt x="185" y="689"/>
                </a:lnTo>
                <a:lnTo>
                  <a:pt x="185" y="689"/>
                </a:lnTo>
                <a:lnTo>
                  <a:pt x="187" y="687"/>
                </a:lnTo>
                <a:lnTo>
                  <a:pt x="190" y="687"/>
                </a:lnTo>
                <a:lnTo>
                  <a:pt x="190" y="687"/>
                </a:lnTo>
                <a:lnTo>
                  <a:pt x="190" y="689"/>
                </a:lnTo>
                <a:lnTo>
                  <a:pt x="193" y="689"/>
                </a:lnTo>
                <a:lnTo>
                  <a:pt x="195" y="689"/>
                </a:lnTo>
                <a:lnTo>
                  <a:pt x="195" y="692"/>
                </a:lnTo>
                <a:lnTo>
                  <a:pt x="195" y="692"/>
                </a:lnTo>
                <a:lnTo>
                  <a:pt x="198" y="695"/>
                </a:lnTo>
                <a:lnTo>
                  <a:pt x="198" y="695"/>
                </a:lnTo>
                <a:lnTo>
                  <a:pt x="198" y="697"/>
                </a:lnTo>
                <a:lnTo>
                  <a:pt x="198" y="697"/>
                </a:lnTo>
                <a:lnTo>
                  <a:pt x="201" y="697"/>
                </a:lnTo>
                <a:lnTo>
                  <a:pt x="203" y="695"/>
                </a:lnTo>
                <a:lnTo>
                  <a:pt x="203" y="695"/>
                </a:lnTo>
                <a:lnTo>
                  <a:pt x="203" y="695"/>
                </a:lnTo>
                <a:lnTo>
                  <a:pt x="209" y="697"/>
                </a:lnTo>
                <a:lnTo>
                  <a:pt x="209" y="697"/>
                </a:lnTo>
                <a:lnTo>
                  <a:pt x="211" y="697"/>
                </a:lnTo>
                <a:lnTo>
                  <a:pt x="211" y="697"/>
                </a:lnTo>
                <a:lnTo>
                  <a:pt x="214" y="697"/>
                </a:lnTo>
                <a:lnTo>
                  <a:pt x="217" y="700"/>
                </a:lnTo>
                <a:lnTo>
                  <a:pt x="227" y="700"/>
                </a:lnTo>
                <a:lnTo>
                  <a:pt x="227" y="700"/>
                </a:lnTo>
                <a:lnTo>
                  <a:pt x="235" y="703"/>
                </a:lnTo>
                <a:lnTo>
                  <a:pt x="235" y="705"/>
                </a:lnTo>
                <a:lnTo>
                  <a:pt x="238" y="705"/>
                </a:lnTo>
                <a:lnTo>
                  <a:pt x="241" y="705"/>
                </a:lnTo>
                <a:lnTo>
                  <a:pt x="241" y="708"/>
                </a:lnTo>
                <a:lnTo>
                  <a:pt x="241" y="711"/>
                </a:lnTo>
                <a:lnTo>
                  <a:pt x="244" y="708"/>
                </a:lnTo>
                <a:lnTo>
                  <a:pt x="246" y="708"/>
                </a:lnTo>
                <a:lnTo>
                  <a:pt x="246" y="708"/>
                </a:lnTo>
                <a:lnTo>
                  <a:pt x="249" y="711"/>
                </a:lnTo>
                <a:lnTo>
                  <a:pt x="249" y="711"/>
                </a:lnTo>
                <a:lnTo>
                  <a:pt x="249" y="713"/>
                </a:lnTo>
                <a:lnTo>
                  <a:pt x="249" y="713"/>
                </a:lnTo>
                <a:lnTo>
                  <a:pt x="249" y="716"/>
                </a:lnTo>
                <a:lnTo>
                  <a:pt x="249" y="716"/>
                </a:lnTo>
                <a:lnTo>
                  <a:pt x="249" y="716"/>
                </a:lnTo>
                <a:lnTo>
                  <a:pt x="249" y="719"/>
                </a:lnTo>
                <a:lnTo>
                  <a:pt x="249" y="719"/>
                </a:lnTo>
                <a:lnTo>
                  <a:pt x="249" y="719"/>
                </a:lnTo>
                <a:lnTo>
                  <a:pt x="246" y="719"/>
                </a:lnTo>
                <a:lnTo>
                  <a:pt x="246" y="721"/>
                </a:lnTo>
                <a:lnTo>
                  <a:pt x="249" y="721"/>
                </a:lnTo>
                <a:lnTo>
                  <a:pt x="249" y="724"/>
                </a:lnTo>
                <a:lnTo>
                  <a:pt x="249" y="724"/>
                </a:lnTo>
                <a:lnTo>
                  <a:pt x="249" y="724"/>
                </a:lnTo>
                <a:lnTo>
                  <a:pt x="246" y="727"/>
                </a:lnTo>
                <a:lnTo>
                  <a:pt x="246" y="727"/>
                </a:lnTo>
                <a:lnTo>
                  <a:pt x="246" y="729"/>
                </a:lnTo>
                <a:lnTo>
                  <a:pt x="249" y="732"/>
                </a:lnTo>
                <a:lnTo>
                  <a:pt x="249" y="737"/>
                </a:lnTo>
                <a:lnTo>
                  <a:pt x="252" y="743"/>
                </a:lnTo>
                <a:lnTo>
                  <a:pt x="252" y="748"/>
                </a:lnTo>
                <a:lnTo>
                  <a:pt x="254" y="751"/>
                </a:lnTo>
                <a:lnTo>
                  <a:pt x="257" y="751"/>
                </a:lnTo>
                <a:lnTo>
                  <a:pt x="257" y="754"/>
                </a:lnTo>
                <a:lnTo>
                  <a:pt x="260" y="754"/>
                </a:lnTo>
                <a:lnTo>
                  <a:pt x="270" y="756"/>
                </a:lnTo>
                <a:lnTo>
                  <a:pt x="270" y="756"/>
                </a:lnTo>
                <a:lnTo>
                  <a:pt x="273" y="759"/>
                </a:lnTo>
                <a:lnTo>
                  <a:pt x="273" y="759"/>
                </a:lnTo>
                <a:lnTo>
                  <a:pt x="276" y="762"/>
                </a:lnTo>
                <a:lnTo>
                  <a:pt x="276" y="764"/>
                </a:lnTo>
                <a:lnTo>
                  <a:pt x="273" y="764"/>
                </a:lnTo>
                <a:lnTo>
                  <a:pt x="273" y="767"/>
                </a:lnTo>
                <a:lnTo>
                  <a:pt x="273" y="767"/>
                </a:lnTo>
                <a:lnTo>
                  <a:pt x="273" y="767"/>
                </a:lnTo>
                <a:lnTo>
                  <a:pt x="273" y="770"/>
                </a:lnTo>
                <a:lnTo>
                  <a:pt x="276" y="770"/>
                </a:lnTo>
                <a:lnTo>
                  <a:pt x="281" y="772"/>
                </a:lnTo>
                <a:lnTo>
                  <a:pt x="289" y="775"/>
                </a:lnTo>
                <a:lnTo>
                  <a:pt x="294" y="775"/>
                </a:lnTo>
                <a:lnTo>
                  <a:pt x="294" y="778"/>
                </a:lnTo>
                <a:lnTo>
                  <a:pt x="294" y="778"/>
                </a:lnTo>
                <a:lnTo>
                  <a:pt x="297" y="778"/>
                </a:lnTo>
                <a:lnTo>
                  <a:pt x="297" y="778"/>
                </a:lnTo>
                <a:lnTo>
                  <a:pt x="300" y="778"/>
                </a:lnTo>
                <a:lnTo>
                  <a:pt x="300" y="780"/>
                </a:lnTo>
                <a:lnTo>
                  <a:pt x="302" y="780"/>
                </a:lnTo>
                <a:lnTo>
                  <a:pt x="308" y="783"/>
                </a:lnTo>
                <a:lnTo>
                  <a:pt x="313" y="786"/>
                </a:lnTo>
                <a:lnTo>
                  <a:pt x="316" y="788"/>
                </a:lnTo>
                <a:lnTo>
                  <a:pt x="319" y="791"/>
                </a:lnTo>
                <a:lnTo>
                  <a:pt x="321" y="791"/>
                </a:lnTo>
                <a:lnTo>
                  <a:pt x="324" y="791"/>
                </a:lnTo>
                <a:lnTo>
                  <a:pt x="329" y="794"/>
                </a:lnTo>
                <a:lnTo>
                  <a:pt x="335" y="802"/>
                </a:lnTo>
                <a:lnTo>
                  <a:pt x="337" y="805"/>
                </a:lnTo>
                <a:lnTo>
                  <a:pt x="337" y="805"/>
                </a:lnTo>
                <a:lnTo>
                  <a:pt x="340" y="805"/>
                </a:lnTo>
                <a:lnTo>
                  <a:pt x="340" y="805"/>
                </a:lnTo>
                <a:lnTo>
                  <a:pt x="340" y="805"/>
                </a:lnTo>
                <a:lnTo>
                  <a:pt x="343" y="807"/>
                </a:lnTo>
                <a:lnTo>
                  <a:pt x="343" y="807"/>
                </a:lnTo>
                <a:lnTo>
                  <a:pt x="345" y="810"/>
                </a:lnTo>
                <a:lnTo>
                  <a:pt x="345" y="810"/>
                </a:lnTo>
                <a:lnTo>
                  <a:pt x="348" y="813"/>
                </a:lnTo>
                <a:lnTo>
                  <a:pt x="348" y="813"/>
                </a:lnTo>
                <a:lnTo>
                  <a:pt x="351" y="813"/>
                </a:lnTo>
                <a:lnTo>
                  <a:pt x="353" y="813"/>
                </a:lnTo>
                <a:lnTo>
                  <a:pt x="356" y="815"/>
                </a:lnTo>
                <a:lnTo>
                  <a:pt x="359" y="818"/>
                </a:lnTo>
                <a:lnTo>
                  <a:pt x="364" y="829"/>
                </a:lnTo>
                <a:lnTo>
                  <a:pt x="364" y="831"/>
                </a:lnTo>
                <a:lnTo>
                  <a:pt x="367" y="831"/>
                </a:lnTo>
                <a:lnTo>
                  <a:pt x="369" y="834"/>
                </a:lnTo>
                <a:lnTo>
                  <a:pt x="383" y="845"/>
                </a:lnTo>
                <a:lnTo>
                  <a:pt x="383" y="847"/>
                </a:lnTo>
                <a:lnTo>
                  <a:pt x="388" y="847"/>
                </a:lnTo>
                <a:lnTo>
                  <a:pt x="391" y="847"/>
                </a:lnTo>
                <a:lnTo>
                  <a:pt x="394" y="847"/>
                </a:lnTo>
                <a:lnTo>
                  <a:pt x="394" y="850"/>
                </a:lnTo>
                <a:lnTo>
                  <a:pt x="394" y="850"/>
                </a:lnTo>
                <a:lnTo>
                  <a:pt x="394" y="850"/>
                </a:lnTo>
                <a:lnTo>
                  <a:pt x="396" y="850"/>
                </a:lnTo>
                <a:lnTo>
                  <a:pt x="396" y="850"/>
                </a:lnTo>
                <a:lnTo>
                  <a:pt x="396" y="853"/>
                </a:lnTo>
                <a:lnTo>
                  <a:pt x="396" y="853"/>
                </a:lnTo>
                <a:lnTo>
                  <a:pt x="399" y="853"/>
                </a:lnTo>
                <a:lnTo>
                  <a:pt x="404" y="853"/>
                </a:lnTo>
                <a:lnTo>
                  <a:pt x="407" y="850"/>
                </a:lnTo>
                <a:lnTo>
                  <a:pt x="410" y="847"/>
                </a:lnTo>
                <a:lnTo>
                  <a:pt x="412" y="847"/>
                </a:lnTo>
                <a:lnTo>
                  <a:pt x="415" y="847"/>
                </a:lnTo>
                <a:lnTo>
                  <a:pt x="420" y="847"/>
                </a:lnTo>
                <a:lnTo>
                  <a:pt x="423" y="847"/>
                </a:lnTo>
                <a:lnTo>
                  <a:pt x="423" y="847"/>
                </a:lnTo>
                <a:lnTo>
                  <a:pt x="423" y="845"/>
                </a:lnTo>
                <a:lnTo>
                  <a:pt x="420" y="842"/>
                </a:lnTo>
                <a:lnTo>
                  <a:pt x="418" y="842"/>
                </a:lnTo>
                <a:lnTo>
                  <a:pt x="418" y="839"/>
                </a:lnTo>
                <a:lnTo>
                  <a:pt x="418" y="837"/>
                </a:lnTo>
                <a:lnTo>
                  <a:pt x="420" y="834"/>
                </a:lnTo>
                <a:lnTo>
                  <a:pt x="420" y="826"/>
                </a:lnTo>
                <a:lnTo>
                  <a:pt x="423" y="826"/>
                </a:lnTo>
                <a:lnTo>
                  <a:pt x="423" y="826"/>
                </a:lnTo>
                <a:lnTo>
                  <a:pt x="426" y="823"/>
                </a:lnTo>
                <a:lnTo>
                  <a:pt x="436" y="823"/>
                </a:lnTo>
                <a:lnTo>
                  <a:pt x="447" y="823"/>
                </a:lnTo>
                <a:lnTo>
                  <a:pt x="453" y="823"/>
                </a:lnTo>
                <a:lnTo>
                  <a:pt x="455" y="823"/>
                </a:lnTo>
                <a:lnTo>
                  <a:pt x="461" y="826"/>
                </a:lnTo>
                <a:lnTo>
                  <a:pt x="463" y="823"/>
                </a:lnTo>
                <a:lnTo>
                  <a:pt x="471" y="821"/>
                </a:lnTo>
                <a:lnTo>
                  <a:pt x="477" y="821"/>
                </a:lnTo>
                <a:lnTo>
                  <a:pt x="482" y="821"/>
                </a:lnTo>
                <a:lnTo>
                  <a:pt x="485" y="821"/>
                </a:lnTo>
                <a:lnTo>
                  <a:pt x="503" y="834"/>
                </a:lnTo>
                <a:lnTo>
                  <a:pt x="509" y="837"/>
                </a:lnTo>
                <a:lnTo>
                  <a:pt x="514" y="837"/>
                </a:lnTo>
                <a:lnTo>
                  <a:pt x="520" y="834"/>
                </a:lnTo>
                <a:lnTo>
                  <a:pt x="522" y="834"/>
                </a:lnTo>
                <a:lnTo>
                  <a:pt x="525" y="834"/>
                </a:lnTo>
                <a:lnTo>
                  <a:pt x="528" y="837"/>
                </a:lnTo>
                <a:lnTo>
                  <a:pt x="528" y="837"/>
                </a:lnTo>
                <a:lnTo>
                  <a:pt x="528" y="837"/>
                </a:lnTo>
                <a:lnTo>
                  <a:pt x="528" y="839"/>
                </a:lnTo>
                <a:lnTo>
                  <a:pt x="530" y="839"/>
                </a:lnTo>
                <a:lnTo>
                  <a:pt x="530" y="839"/>
                </a:lnTo>
                <a:lnTo>
                  <a:pt x="536" y="839"/>
                </a:lnTo>
                <a:lnTo>
                  <a:pt x="536" y="839"/>
                </a:lnTo>
                <a:lnTo>
                  <a:pt x="533" y="839"/>
                </a:lnTo>
                <a:lnTo>
                  <a:pt x="533" y="837"/>
                </a:lnTo>
                <a:lnTo>
                  <a:pt x="533" y="837"/>
                </a:lnTo>
                <a:lnTo>
                  <a:pt x="533" y="834"/>
                </a:lnTo>
                <a:lnTo>
                  <a:pt x="533" y="834"/>
                </a:lnTo>
                <a:lnTo>
                  <a:pt x="538" y="834"/>
                </a:lnTo>
                <a:lnTo>
                  <a:pt x="538" y="834"/>
                </a:lnTo>
                <a:lnTo>
                  <a:pt x="538" y="837"/>
                </a:lnTo>
                <a:lnTo>
                  <a:pt x="541" y="839"/>
                </a:lnTo>
                <a:lnTo>
                  <a:pt x="541" y="839"/>
                </a:lnTo>
                <a:lnTo>
                  <a:pt x="544" y="837"/>
                </a:lnTo>
                <a:lnTo>
                  <a:pt x="549" y="839"/>
                </a:lnTo>
                <a:lnTo>
                  <a:pt x="549" y="839"/>
                </a:lnTo>
                <a:lnTo>
                  <a:pt x="552" y="842"/>
                </a:lnTo>
                <a:lnTo>
                  <a:pt x="554" y="845"/>
                </a:lnTo>
                <a:lnTo>
                  <a:pt x="554" y="845"/>
                </a:lnTo>
                <a:lnTo>
                  <a:pt x="554" y="842"/>
                </a:lnTo>
                <a:lnTo>
                  <a:pt x="554" y="842"/>
                </a:lnTo>
                <a:lnTo>
                  <a:pt x="557" y="842"/>
                </a:lnTo>
                <a:lnTo>
                  <a:pt x="560" y="842"/>
                </a:lnTo>
                <a:lnTo>
                  <a:pt x="562" y="842"/>
                </a:lnTo>
                <a:lnTo>
                  <a:pt x="570" y="845"/>
                </a:lnTo>
                <a:lnTo>
                  <a:pt x="573" y="842"/>
                </a:lnTo>
                <a:lnTo>
                  <a:pt x="576" y="837"/>
                </a:lnTo>
                <a:lnTo>
                  <a:pt x="579" y="837"/>
                </a:lnTo>
                <a:lnTo>
                  <a:pt x="579" y="837"/>
                </a:lnTo>
                <a:lnTo>
                  <a:pt x="581" y="837"/>
                </a:lnTo>
                <a:lnTo>
                  <a:pt x="581" y="837"/>
                </a:lnTo>
                <a:lnTo>
                  <a:pt x="584" y="837"/>
                </a:lnTo>
                <a:lnTo>
                  <a:pt x="584" y="837"/>
                </a:lnTo>
                <a:lnTo>
                  <a:pt x="584" y="837"/>
                </a:lnTo>
                <a:lnTo>
                  <a:pt x="587" y="837"/>
                </a:lnTo>
                <a:lnTo>
                  <a:pt x="589" y="837"/>
                </a:lnTo>
                <a:lnTo>
                  <a:pt x="589" y="837"/>
                </a:lnTo>
                <a:lnTo>
                  <a:pt x="597" y="837"/>
                </a:lnTo>
                <a:lnTo>
                  <a:pt x="600" y="839"/>
                </a:lnTo>
                <a:lnTo>
                  <a:pt x="603" y="842"/>
                </a:lnTo>
                <a:lnTo>
                  <a:pt x="605" y="842"/>
                </a:lnTo>
                <a:lnTo>
                  <a:pt x="608" y="842"/>
                </a:lnTo>
                <a:lnTo>
                  <a:pt x="611" y="842"/>
                </a:lnTo>
                <a:lnTo>
                  <a:pt x="611" y="842"/>
                </a:lnTo>
                <a:lnTo>
                  <a:pt x="613" y="845"/>
                </a:lnTo>
                <a:lnTo>
                  <a:pt x="616" y="845"/>
                </a:lnTo>
                <a:lnTo>
                  <a:pt x="619" y="845"/>
                </a:lnTo>
                <a:lnTo>
                  <a:pt x="619" y="845"/>
                </a:lnTo>
                <a:lnTo>
                  <a:pt x="619" y="847"/>
                </a:lnTo>
                <a:lnTo>
                  <a:pt x="621" y="847"/>
                </a:lnTo>
                <a:lnTo>
                  <a:pt x="624" y="847"/>
                </a:lnTo>
                <a:lnTo>
                  <a:pt x="627" y="847"/>
                </a:lnTo>
                <a:lnTo>
                  <a:pt x="629" y="850"/>
                </a:lnTo>
                <a:lnTo>
                  <a:pt x="632" y="850"/>
                </a:lnTo>
                <a:lnTo>
                  <a:pt x="635" y="850"/>
                </a:lnTo>
                <a:lnTo>
                  <a:pt x="635" y="850"/>
                </a:lnTo>
                <a:lnTo>
                  <a:pt x="635" y="847"/>
                </a:lnTo>
                <a:lnTo>
                  <a:pt x="637" y="847"/>
                </a:lnTo>
                <a:lnTo>
                  <a:pt x="637" y="847"/>
                </a:lnTo>
                <a:lnTo>
                  <a:pt x="640" y="847"/>
                </a:lnTo>
                <a:lnTo>
                  <a:pt x="643" y="850"/>
                </a:lnTo>
                <a:lnTo>
                  <a:pt x="648" y="842"/>
                </a:lnTo>
                <a:lnTo>
                  <a:pt x="643" y="837"/>
                </a:lnTo>
                <a:lnTo>
                  <a:pt x="643" y="837"/>
                </a:lnTo>
                <a:lnTo>
                  <a:pt x="646" y="834"/>
                </a:lnTo>
                <a:lnTo>
                  <a:pt x="646" y="834"/>
                </a:lnTo>
                <a:lnTo>
                  <a:pt x="648" y="837"/>
                </a:lnTo>
                <a:lnTo>
                  <a:pt x="651" y="837"/>
                </a:lnTo>
                <a:lnTo>
                  <a:pt x="651" y="837"/>
                </a:lnTo>
                <a:lnTo>
                  <a:pt x="651" y="837"/>
                </a:lnTo>
                <a:lnTo>
                  <a:pt x="654" y="837"/>
                </a:lnTo>
                <a:lnTo>
                  <a:pt x="656" y="839"/>
                </a:lnTo>
                <a:lnTo>
                  <a:pt x="659" y="842"/>
                </a:lnTo>
                <a:lnTo>
                  <a:pt x="662" y="842"/>
                </a:lnTo>
                <a:lnTo>
                  <a:pt x="662" y="842"/>
                </a:lnTo>
                <a:lnTo>
                  <a:pt x="664" y="842"/>
                </a:lnTo>
                <a:lnTo>
                  <a:pt x="667" y="842"/>
                </a:lnTo>
                <a:lnTo>
                  <a:pt x="662" y="845"/>
                </a:lnTo>
                <a:lnTo>
                  <a:pt x="656" y="845"/>
                </a:lnTo>
                <a:lnTo>
                  <a:pt x="656" y="845"/>
                </a:lnTo>
                <a:lnTo>
                  <a:pt x="662" y="845"/>
                </a:lnTo>
                <a:lnTo>
                  <a:pt x="667" y="845"/>
                </a:lnTo>
                <a:lnTo>
                  <a:pt x="667" y="842"/>
                </a:lnTo>
                <a:lnTo>
                  <a:pt x="667" y="842"/>
                </a:lnTo>
                <a:lnTo>
                  <a:pt x="670" y="845"/>
                </a:lnTo>
                <a:lnTo>
                  <a:pt x="672" y="845"/>
                </a:lnTo>
                <a:lnTo>
                  <a:pt x="675" y="847"/>
                </a:lnTo>
                <a:lnTo>
                  <a:pt x="675" y="845"/>
                </a:lnTo>
                <a:lnTo>
                  <a:pt x="675" y="839"/>
                </a:lnTo>
                <a:lnTo>
                  <a:pt x="678" y="837"/>
                </a:lnTo>
                <a:lnTo>
                  <a:pt x="678" y="837"/>
                </a:lnTo>
                <a:lnTo>
                  <a:pt x="680" y="834"/>
                </a:lnTo>
                <a:lnTo>
                  <a:pt x="680" y="834"/>
                </a:lnTo>
                <a:lnTo>
                  <a:pt x="683" y="834"/>
                </a:lnTo>
                <a:lnTo>
                  <a:pt x="686" y="834"/>
                </a:lnTo>
                <a:lnTo>
                  <a:pt x="686" y="834"/>
                </a:lnTo>
                <a:lnTo>
                  <a:pt x="688" y="831"/>
                </a:lnTo>
                <a:lnTo>
                  <a:pt x="688" y="831"/>
                </a:lnTo>
                <a:lnTo>
                  <a:pt x="691" y="834"/>
                </a:lnTo>
                <a:lnTo>
                  <a:pt x="694" y="834"/>
                </a:lnTo>
                <a:lnTo>
                  <a:pt x="694" y="834"/>
                </a:lnTo>
                <a:lnTo>
                  <a:pt x="694" y="837"/>
                </a:lnTo>
                <a:lnTo>
                  <a:pt x="696" y="837"/>
                </a:lnTo>
                <a:lnTo>
                  <a:pt x="710" y="834"/>
                </a:lnTo>
                <a:lnTo>
                  <a:pt x="710" y="834"/>
                </a:lnTo>
                <a:lnTo>
                  <a:pt x="713" y="831"/>
                </a:lnTo>
                <a:lnTo>
                  <a:pt x="713" y="831"/>
                </a:lnTo>
                <a:lnTo>
                  <a:pt x="713" y="831"/>
                </a:lnTo>
                <a:lnTo>
                  <a:pt x="715" y="831"/>
                </a:lnTo>
                <a:lnTo>
                  <a:pt x="718" y="831"/>
                </a:lnTo>
                <a:lnTo>
                  <a:pt x="731" y="837"/>
                </a:lnTo>
                <a:lnTo>
                  <a:pt x="734" y="839"/>
                </a:lnTo>
                <a:lnTo>
                  <a:pt x="734" y="839"/>
                </a:lnTo>
                <a:lnTo>
                  <a:pt x="734" y="839"/>
                </a:lnTo>
                <a:lnTo>
                  <a:pt x="737" y="842"/>
                </a:lnTo>
                <a:lnTo>
                  <a:pt x="737" y="842"/>
                </a:lnTo>
                <a:lnTo>
                  <a:pt x="737" y="842"/>
                </a:lnTo>
                <a:lnTo>
                  <a:pt x="739" y="842"/>
                </a:lnTo>
                <a:lnTo>
                  <a:pt x="742" y="842"/>
                </a:lnTo>
                <a:lnTo>
                  <a:pt x="745" y="845"/>
                </a:lnTo>
                <a:lnTo>
                  <a:pt x="745" y="845"/>
                </a:lnTo>
                <a:lnTo>
                  <a:pt x="745" y="847"/>
                </a:lnTo>
                <a:lnTo>
                  <a:pt x="742" y="850"/>
                </a:lnTo>
                <a:lnTo>
                  <a:pt x="745" y="853"/>
                </a:lnTo>
                <a:lnTo>
                  <a:pt x="747" y="855"/>
                </a:lnTo>
                <a:lnTo>
                  <a:pt x="750" y="855"/>
                </a:lnTo>
                <a:lnTo>
                  <a:pt x="747" y="861"/>
                </a:lnTo>
                <a:lnTo>
                  <a:pt x="747" y="864"/>
                </a:lnTo>
                <a:lnTo>
                  <a:pt x="747" y="864"/>
                </a:lnTo>
                <a:lnTo>
                  <a:pt x="750" y="866"/>
                </a:lnTo>
                <a:lnTo>
                  <a:pt x="750" y="872"/>
                </a:lnTo>
                <a:lnTo>
                  <a:pt x="753" y="874"/>
                </a:lnTo>
                <a:lnTo>
                  <a:pt x="753" y="874"/>
                </a:lnTo>
                <a:lnTo>
                  <a:pt x="753" y="877"/>
                </a:lnTo>
                <a:lnTo>
                  <a:pt x="753" y="877"/>
                </a:lnTo>
                <a:lnTo>
                  <a:pt x="750" y="880"/>
                </a:lnTo>
                <a:lnTo>
                  <a:pt x="750" y="880"/>
                </a:lnTo>
                <a:lnTo>
                  <a:pt x="753" y="882"/>
                </a:lnTo>
                <a:lnTo>
                  <a:pt x="753" y="882"/>
                </a:lnTo>
                <a:lnTo>
                  <a:pt x="758" y="885"/>
                </a:lnTo>
                <a:lnTo>
                  <a:pt x="758" y="888"/>
                </a:lnTo>
                <a:lnTo>
                  <a:pt x="758" y="888"/>
                </a:lnTo>
                <a:lnTo>
                  <a:pt x="758" y="890"/>
                </a:lnTo>
                <a:lnTo>
                  <a:pt x="758" y="890"/>
                </a:lnTo>
                <a:lnTo>
                  <a:pt x="761" y="890"/>
                </a:lnTo>
                <a:lnTo>
                  <a:pt x="761" y="893"/>
                </a:lnTo>
                <a:lnTo>
                  <a:pt x="761" y="896"/>
                </a:lnTo>
                <a:lnTo>
                  <a:pt x="761" y="898"/>
                </a:lnTo>
                <a:lnTo>
                  <a:pt x="761" y="898"/>
                </a:lnTo>
                <a:lnTo>
                  <a:pt x="761" y="898"/>
                </a:lnTo>
                <a:lnTo>
                  <a:pt x="761" y="898"/>
                </a:lnTo>
                <a:lnTo>
                  <a:pt x="763" y="901"/>
                </a:lnTo>
                <a:lnTo>
                  <a:pt x="763" y="901"/>
                </a:lnTo>
                <a:lnTo>
                  <a:pt x="766" y="901"/>
                </a:lnTo>
                <a:lnTo>
                  <a:pt x="766" y="904"/>
                </a:lnTo>
                <a:lnTo>
                  <a:pt x="766" y="906"/>
                </a:lnTo>
                <a:lnTo>
                  <a:pt x="766" y="906"/>
                </a:lnTo>
                <a:lnTo>
                  <a:pt x="766" y="909"/>
                </a:lnTo>
                <a:lnTo>
                  <a:pt x="766" y="912"/>
                </a:lnTo>
                <a:lnTo>
                  <a:pt x="758" y="923"/>
                </a:lnTo>
                <a:lnTo>
                  <a:pt x="758" y="923"/>
                </a:lnTo>
                <a:lnTo>
                  <a:pt x="758" y="923"/>
                </a:lnTo>
                <a:lnTo>
                  <a:pt x="761" y="923"/>
                </a:lnTo>
                <a:lnTo>
                  <a:pt x="766" y="923"/>
                </a:lnTo>
                <a:lnTo>
                  <a:pt x="769" y="925"/>
                </a:lnTo>
                <a:lnTo>
                  <a:pt x="793" y="933"/>
                </a:lnTo>
                <a:lnTo>
                  <a:pt x="817" y="944"/>
                </a:lnTo>
                <a:lnTo>
                  <a:pt x="863" y="963"/>
                </a:lnTo>
                <a:lnTo>
                  <a:pt x="887" y="971"/>
                </a:lnTo>
                <a:lnTo>
                  <a:pt x="932" y="990"/>
                </a:lnTo>
                <a:lnTo>
                  <a:pt x="954" y="1000"/>
                </a:lnTo>
                <a:lnTo>
                  <a:pt x="956" y="998"/>
                </a:lnTo>
                <a:lnTo>
                  <a:pt x="954" y="992"/>
                </a:lnTo>
                <a:lnTo>
                  <a:pt x="954" y="990"/>
                </a:lnTo>
                <a:lnTo>
                  <a:pt x="954" y="984"/>
                </a:lnTo>
                <a:lnTo>
                  <a:pt x="954" y="982"/>
                </a:lnTo>
                <a:lnTo>
                  <a:pt x="951" y="976"/>
                </a:lnTo>
                <a:lnTo>
                  <a:pt x="951" y="976"/>
                </a:lnTo>
                <a:lnTo>
                  <a:pt x="954" y="974"/>
                </a:lnTo>
                <a:lnTo>
                  <a:pt x="956" y="974"/>
                </a:lnTo>
                <a:lnTo>
                  <a:pt x="959" y="974"/>
                </a:lnTo>
                <a:lnTo>
                  <a:pt x="962" y="974"/>
                </a:lnTo>
                <a:lnTo>
                  <a:pt x="962" y="974"/>
                </a:lnTo>
                <a:lnTo>
                  <a:pt x="962" y="974"/>
                </a:lnTo>
                <a:lnTo>
                  <a:pt x="959" y="968"/>
                </a:lnTo>
                <a:lnTo>
                  <a:pt x="959" y="965"/>
                </a:lnTo>
                <a:lnTo>
                  <a:pt x="959" y="963"/>
                </a:lnTo>
                <a:lnTo>
                  <a:pt x="959" y="963"/>
                </a:lnTo>
                <a:lnTo>
                  <a:pt x="956" y="960"/>
                </a:lnTo>
                <a:lnTo>
                  <a:pt x="954" y="957"/>
                </a:lnTo>
                <a:lnTo>
                  <a:pt x="951" y="957"/>
                </a:lnTo>
                <a:lnTo>
                  <a:pt x="951" y="957"/>
                </a:lnTo>
                <a:lnTo>
                  <a:pt x="951" y="957"/>
                </a:lnTo>
                <a:lnTo>
                  <a:pt x="948" y="957"/>
                </a:lnTo>
                <a:lnTo>
                  <a:pt x="946" y="957"/>
                </a:lnTo>
                <a:lnTo>
                  <a:pt x="946" y="957"/>
                </a:lnTo>
                <a:lnTo>
                  <a:pt x="943" y="955"/>
                </a:lnTo>
                <a:lnTo>
                  <a:pt x="946" y="955"/>
                </a:lnTo>
                <a:lnTo>
                  <a:pt x="946" y="955"/>
                </a:lnTo>
                <a:lnTo>
                  <a:pt x="948" y="952"/>
                </a:lnTo>
                <a:lnTo>
                  <a:pt x="948" y="952"/>
                </a:lnTo>
                <a:lnTo>
                  <a:pt x="951" y="952"/>
                </a:lnTo>
                <a:lnTo>
                  <a:pt x="951" y="952"/>
                </a:lnTo>
                <a:lnTo>
                  <a:pt x="951" y="952"/>
                </a:lnTo>
                <a:lnTo>
                  <a:pt x="951" y="952"/>
                </a:lnTo>
                <a:lnTo>
                  <a:pt x="951" y="949"/>
                </a:lnTo>
                <a:lnTo>
                  <a:pt x="951" y="949"/>
                </a:lnTo>
                <a:lnTo>
                  <a:pt x="951" y="949"/>
                </a:lnTo>
                <a:lnTo>
                  <a:pt x="951" y="947"/>
                </a:lnTo>
                <a:lnTo>
                  <a:pt x="948" y="947"/>
                </a:lnTo>
                <a:lnTo>
                  <a:pt x="948" y="944"/>
                </a:lnTo>
                <a:lnTo>
                  <a:pt x="948" y="944"/>
                </a:lnTo>
                <a:lnTo>
                  <a:pt x="951" y="941"/>
                </a:lnTo>
                <a:lnTo>
                  <a:pt x="951" y="939"/>
                </a:lnTo>
                <a:lnTo>
                  <a:pt x="948" y="939"/>
                </a:lnTo>
                <a:lnTo>
                  <a:pt x="948" y="939"/>
                </a:lnTo>
                <a:lnTo>
                  <a:pt x="946" y="936"/>
                </a:lnTo>
                <a:lnTo>
                  <a:pt x="948" y="936"/>
                </a:lnTo>
                <a:lnTo>
                  <a:pt x="951" y="931"/>
                </a:lnTo>
                <a:lnTo>
                  <a:pt x="951" y="928"/>
                </a:lnTo>
                <a:lnTo>
                  <a:pt x="951" y="928"/>
                </a:lnTo>
                <a:lnTo>
                  <a:pt x="951" y="925"/>
                </a:lnTo>
                <a:lnTo>
                  <a:pt x="954" y="923"/>
                </a:lnTo>
                <a:lnTo>
                  <a:pt x="956" y="920"/>
                </a:lnTo>
                <a:lnTo>
                  <a:pt x="956" y="917"/>
                </a:lnTo>
                <a:lnTo>
                  <a:pt x="956" y="914"/>
                </a:lnTo>
                <a:lnTo>
                  <a:pt x="956" y="914"/>
                </a:lnTo>
                <a:lnTo>
                  <a:pt x="956" y="912"/>
                </a:lnTo>
                <a:lnTo>
                  <a:pt x="959" y="904"/>
                </a:lnTo>
                <a:lnTo>
                  <a:pt x="964" y="901"/>
                </a:lnTo>
                <a:lnTo>
                  <a:pt x="964" y="898"/>
                </a:lnTo>
                <a:lnTo>
                  <a:pt x="964" y="896"/>
                </a:lnTo>
                <a:lnTo>
                  <a:pt x="962" y="890"/>
                </a:lnTo>
                <a:lnTo>
                  <a:pt x="964" y="890"/>
                </a:lnTo>
                <a:lnTo>
                  <a:pt x="964" y="888"/>
                </a:lnTo>
                <a:lnTo>
                  <a:pt x="964" y="888"/>
                </a:lnTo>
                <a:lnTo>
                  <a:pt x="964" y="888"/>
                </a:lnTo>
                <a:lnTo>
                  <a:pt x="964" y="885"/>
                </a:lnTo>
                <a:lnTo>
                  <a:pt x="964" y="882"/>
                </a:lnTo>
                <a:lnTo>
                  <a:pt x="964" y="880"/>
                </a:lnTo>
                <a:lnTo>
                  <a:pt x="967" y="877"/>
                </a:lnTo>
                <a:lnTo>
                  <a:pt x="970" y="874"/>
                </a:lnTo>
                <a:lnTo>
                  <a:pt x="970" y="874"/>
                </a:lnTo>
                <a:lnTo>
                  <a:pt x="972" y="874"/>
                </a:lnTo>
                <a:lnTo>
                  <a:pt x="972" y="872"/>
                </a:lnTo>
                <a:lnTo>
                  <a:pt x="972" y="872"/>
                </a:lnTo>
                <a:lnTo>
                  <a:pt x="972" y="869"/>
                </a:lnTo>
                <a:lnTo>
                  <a:pt x="972" y="869"/>
                </a:lnTo>
                <a:lnTo>
                  <a:pt x="972" y="866"/>
                </a:lnTo>
                <a:lnTo>
                  <a:pt x="972" y="866"/>
                </a:lnTo>
                <a:lnTo>
                  <a:pt x="970" y="858"/>
                </a:lnTo>
                <a:lnTo>
                  <a:pt x="970" y="855"/>
                </a:lnTo>
                <a:lnTo>
                  <a:pt x="970" y="855"/>
                </a:lnTo>
                <a:lnTo>
                  <a:pt x="972" y="850"/>
                </a:lnTo>
                <a:lnTo>
                  <a:pt x="972" y="847"/>
                </a:lnTo>
                <a:lnTo>
                  <a:pt x="970" y="847"/>
                </a:lnTo>
                <a:lnTo>
                  <a:pt x="967" y="847"/>
                </a:lnTo>
                <a:lnTo>
                  <a:pt x="967" y="847"/>
                </a:lnTo>
                <a:lnTo>
                  <a:pt x="967" y="847"/>
                </a:lnTo>
                <a:lnTo>
                  <a:pt x="967" y="847"/>
                </a:lnTo>
                <a:lnTo>
                  <a:pt x="967" y="847"/>
                </a:lnTo>
                <a:lnTo>
                  <a:pt x="967" y="847"/>
                </a:lnTo>
                <a:lnTo>
                  <a:pt x="967" y="845"/>
                </a:lnTo>
                <a:lnTo>
                  <a:pt x="967" y="845"/>
                </a:lnTo>
                <a:lnTo>
                  <a:pt x="970" y="842"/>
                </a:lnTo>
                <a:lnTo>
                  <a:pt x="970" y="845"/>
                </a:lnTo>
                <a:lnTo>
                  <a:pt x="972" y="845"/>
                </a:lnTo>
                <a:lnTo>
                  <a:pt x="975" y="842"/>
                </a:lnTo>
                <a:lnTo>
                  <a:pt x="975" y="834"/>
                </a:lnTo>
                <a:lnTo>
                  <a:pt x="975" y="831"/>
                </a:lnTo>
                <a:lnTo>
                  <a:pt x="972" y="829"/>
                </a:lnTo>
                <a:lnTo>
                  <a:pt x="972" y="826"/>
                </a:lnTo>
                <a:lnTo>
                  <a:pt x="972" y="826"/>
                </a:lnTo>
                <a:lnTo>
                  <a:pt x="978" y="823"/>
                </a:lnTo>
                <a:lnTo>
                  <a:pt x="978" y="823"/>
                </a:lnTo>
                <a:lnTo>
                  <a:pt x="980" y="823"/>
                </a:lnTo>
                <a:lnTo>
                  <a:pt x="983" y="821"/>
                </a:lnTo>
                <a:lnTo>
                  <a:pt x="983" y="821"/>
                </a:lnTo>
                <a:lnTo>
                  <a:pt x="983" y="818"/>
                </a:lnTo>
                <a:lnTo>
                  <a:pt x="983" y="818"/>
                </a:lnTo>
                <a:lnTo>
                  <a:pt x="980" y="815"/>
                </a:lnTo>
                <a:lnTo>
                  <a:pt x="980" y="815"/>
                </a:lnTo>
                <a:lnTo>
                  <a:pt x="980" y="813"/>
                </a:lnTo>
                <a:lnTo>
                  <a:pt x="978" y="810"/>
                </a:lnTo>
                <a:lnTo>
                  <a:pt x="980" y="807"/>
                </a:lnTo>
                <a:lnTo>
                  <a:pt x="983" y="807"/>
                </a:lnTo>
                <a:lnTo>
                  <a:pt x="983" y="810"/>
                </a:lnTo>
                <a:lnTo>
                  <a:pt x="986" y="810"/>
                </a:lnTo>
                <a:lnTo>
                  <a:pt x="989" y="810"/>
                </a:lnTo>
                <a:lnTo>
                  <a:pt x="991" y="807"/>
                </a:lnTo>
                <a:lnTo>
                  <a:pt x="994" y="799"/>
                </a:lnTo>
                <a:lnTo>
                  <a:pt x="997" y="794"/>
                </a:lnTo>
                <a:lnTo>
                  <a:pt x="999" y="791"/>
                </a:lnTo>
                <a:lnTo>
                  <a:pt x="999" y="791"/>
                </a:lnTo>
                <a:lnTo>
                  <a:pt x="1002" y="788"/>
                </a:lnTo>
                <a:lnTo>
                  <a:pt x="999" y="783"/>
                </a:lnTo>
                <a:lnTo>
                  <a:pt x="1002" y="780"/>
                </a:lnTo>
                <a:lnTo>
                  <a:pt x="1002" y="780"/>
                </a:lnTo>
                <a:lnTo>
                  <a:pt x="1005" y="778"/>
                </a:lnTo>
                <a:lnTo>
                  <a:pt x="1005" y="778"/>
                </a:lnTo>
                <a:lnTo>
                  <a:pt x="1005" y="775"/>
                </a:lnTo>
                <a:lnTo>
                  <a:pt x="1005" y="775"/>
                </a:lnTo>
                <a:lnTo>
                  <a:pt x="1010" y="772"/>
                </a:lnTo>
                <a:lnTo>
                  <a:pt x="1010" y="772"/>
                </a:lnTo>
                <a:lnTo>
                  <a:pt x="1010" y="770"/>
                </a:lnTo>
                <a:lnTo>
                  <a:pt x="1010" y="770"/>
                </a:lnTo>
                <a:lnTo>
                  <a:pt x="1010" y="770"/>
                </a:lnTo>
                <a:lnTo>
                  <a:pt x="1010" y="767"/>
                </a:lnTo>
                <a:lnTo>
                  <a:pt x="1010" y="764"/>
                </a:lnTo>
                <a:lnTo>
                  <a:pt x="1010" y="762"/>
                </a:lnTo>
                <a:lnTo>
                  <a:pt x="1013" y="759"/>
                </a:lnTo>
                <a:lnTo>
                  <a:pt x="1015" y="759"/>
                </a:lnTo>
                <a:lnTo>
                  <a:pt x="1015" y="759"/>
                </a:lnTo>
                <a:lnTo>
                  <a:pt x="1015" y="756"/>
                </a:lnTo>
                <a:lnTo>
                  <a:pt x="1015" y="756"/>
                </a:lnTo>
                <a:lnTo>
                  <a:pt x="1015" y="754"/>
                </a:lnTo>
                <a:lnTo>
                  <a:pt x="1021" y="754"/>
                </a:lnTo>
                <a:lnTo>
                  <a:pt x="1023" y="751"/>
                </a:lnTo>
                <a:lnTo>
                  <a:pt x="1026" y="751"/>
                </a:lnTo>
                <a:lnTo>
                  <a:pt x="1031" y="751"/>
                </a:lnTo>
                <a:lnTo>
                  <a:pt x="1031" y="754"/>
                </a:lnTo>
                <a:lnTo>
                  <a:pt x="1034" y="754"/>
                </a:lnTo>
                <a:lnTo>
                  <a:pt x="1034" y="751"/>
                </a:lnTo>
                <a:lnTo>
                  <a:pt x="1034" y="751"/>
                </a:lnTo>
                <a:lnTo>
                  <a:pt x="1034" y="751"/>
                </a:lnTo>
                <a:lnTo>
                  <a:pt x="1037" y="751"/>
                </a:lnTo>
                <a:lnTo>
                  <a:pt x="1037" y="751"/>
                </a:lnTo>
                <a:lnTo>
                  <a:pt x="1037" y="751"/>
                </a:lnTo>
                <a:lnTo>
                  <a:pt x="1039" y="751"/>
                </a:lnTo>
                <a:lnTo>
                  <a:pt x="1039" y="748"/>
                </a:lnTo>
                <a:lnTo>
                  <a:pt x="1039" y="748"/>
                </a:lnTo>
                <a:lnTo>
                  <a:pt x="1039" y="746"/>
                </a:lnTo>
                <a:lnTo>
                  <a:pt x="1039" y="746"/>
                </a:lnTo>
                <a:lnTo>
                  <a:pt x="1037" y="746"/>
                </a:lnTo>
                <a:lnTo>
                  <a:pt x="1037" y="746"/>
                </a:lnTo>
                <a:lnTo>
                  <a:pt x="1034" y="746"/>
                </a:lnTo>
                <a:lnTo>
                  <a:pt x="1031" y="746"/>
                </a:lnTo>
                <a:lnTo>
                  <a:pt x="1031" y="746"/>
                </a:lnTo>
                <a:lnTo>
                  <a:pt x="1031" y="743"/>
                </a:lnTo>
                <a:lnTo>
                  <a:pt x="1031" y="740"/>
                </a:lnTo>
                <a:lnTo>
                  <a:pt x="1031" y="740"/>
                </a:lnTo>
                <a:lnTo>
                  <a:pt x="1029" y="740"/>
                </a:lnTo>
                <a:lnTo>
                  <a:pt x="1031" y="735"/>
                </a:lnTo>
                <a:lnTo>
                  <a:pt x="1031" y="735"/>
                </a:lnTo>
                <a:lnTo>
                  <a:pt x="1034" y="732"/>
                </a:lnTo>
                <a:lnTo>
                  <a:pt x="1037" y="732"/>
                </a:lnTo>
                <a:lnTo>
                  <a:pt x="1039" y="732"/>
                </a:lnTo>
                <a:lnTo>
                  <a:pt x="1042" y="732"/>
                </a:lnTo>
                <a:lnTo>
                  <a:pt x="1039" y="735"/>
                </a:lnTo>
                <a:lnTo>
                  <a:pt x="1042" y="737"/>
                </a:lnTo>
                <a:lnTo>
                  <a:pt x="1039" y="737"/>
                </a:lnTo>
                <a:lnTo>
                  <a:pt x="1039" y="740"/>
                </a:lnTo>
                <a:lnTo>
                  <a:pt x="1042" y="740"/>
                </a:lnTo>
                <a:lnTo>
                  <a:pt x="1042" y="743"/>
                </a:lnTo>
                <a:lnTo>
                  <a:pt x="1042" y="743"/>
                </a:lnTo>
                <a:lnTo>
                  <a:pt x="1045" y="740"/>
                </a:lnTo>
                <a:lnTo>
                  <a:pt x="1047" y="740"/>
                </a:lnTo>
                <a:lnTo>
                  <a:pt x="1047" y="737"/>
                </a:lnTo>
                <a:lnTo>
                  <a:pt x="1047" y="735"/>
                </a:lnTo>
                <a:lnTo>
                  <a:pt x="1047" y="732"/>
                </a:lnTo>
                <a:lnTo>
                  <a:pt x="1045" y="732"/>
                </a:lnTo>
                <a:lnTo>
                  <a:pt x="1042" y="732"/>
                </a:lnTo>
                <a:lnTo>
                  <a:pt x="1039" y="729"/>
                </a:lnTo>
                <a:lnTo>
                  <a:pt x="1042" y="727"/>
                </a:lnTo>
                <a:lnTo>
                  <a:pt x="1039" y="727"/>
                </a:lnTo>
                <a:lnTo>
                  <a:pt x="1042" y="727"/>
                </a:lnTo>
                <a:lnTo>
                  <a:pt x="1039" y="724"/>
                </a:lnTo>
                <a:lnTo>
                  <a:pt x="1037" y="724"/>
                </a:lnTo>
                <a:lnTo>
                  <a:pt x="1037" y="724"/>
                </a:lnTo>
                <a:lnTo>
                  <a:pt x="1039" y="724"/>
                </a:lnTo>
                <a:lnTo>
                  <a:pt x="1039" y="721"/>
                </a:lnTo>
                <a:lnTo>
                  <a:pt x="1039" y="721"/>
                </a:lnTo>
                <a:lnTo>
                  <a:pt x="1039" y="721"/>
                </a:lnTo>
                <a:lnTo>
                  <a:pt x="1037" y="721"/>
                </a:lnTo>
                <a:lnTo>
                  <a:pt x="1037" y="719"/>
                </a:lnTo>
                <a:lnTo>
                  <a:pt x="1034" y="719"/>
                </a:lnTo>
                <a:lnTo>
                  <a:pt x="1034" y="719"/>
                </a:lnTo>
                <a:lnTo>
                  <a:pt x="1037" y="716"/>
                </a:lnTo>
                <a:lnTo>
                  <a:pt x="1039" y="711"/>
                </a:lnTo>
                <a:lnTo>
                  <a:pt x="1045" y="711"/>
                </a:lnTo>
                <a:lnTo>
                  <a:pt x="1045" y="708"/>
                </a:lnTo>
                <a:lnTo>
                  <a:pt x="1047" y="705"/>
                </a:lnTo>
                <a:lnTo>
                  <a:pt x="1050" y="692"/>
                </a:lnTo>
                <a:lnTo>
                  <a:pt x="1050" y="689"/>
                </a:lnTo>
                <a:lnTo>
                  <a:pt x="1056" y="689"/>
                </a:lnTo>
                <a:lnTo>
                  <a:pt x="1053" y="689"/>
                </a:lnTo>
                <a:lnTo>
                  <a:pt x="1050" y="689"/>
                </a:lnTo>
                <a:lnTo>
                  <a:pt x="1047" y="687"/>
                </a:lnTo>
                <a:lnTo>
                  <a:pt x="1047" y="684"/>
                </a:lnTo>
                <a:lnTo>
                  <a:pt x="1045" y="684"/>
                </a:lnTo>
                <a:lnTo>
                  <a:pt x="1045" y="684"/>
                </a:lnTo>
                <a:lnTo>
                  <a:pt x="1042" y="684"/>
                </a:lnTo>
                <a:lnTo>
                  <a:pt x="1042" y="684"/>
                </a:lnTo>
                <a:lnTo>
                  <a:pt x="1047" y="678"/>
                </a:lnTo>
                <a:lnTo>
                  <a:pt x="1047" y="678"/>
                </a:lnTo>
                <a:lnTo>
                  <a:pt x="1047" y="678"/>
                </a:lnTo>
                <a:lnTo>
                  <a:pt x="1050" y="678"/>
                </a:lnTo>
                <a:lnTo>
                  <a:pt x="1050" y="681"/>
                </a:lnTo>
                <a:lnTo>
                  <a:pt x="1047" y="684"/>
                </a:lnTo>
                <a:lnTo>
                  <a:pt x="1050" y="684"/>
                </a:lnTo>
                <a:lnTo>
                  <a:pt x="1053" y="681"/>
                </a:lnTo>
                <a:lnTo>
                  <a:pt x="1053" y="678"/>
                </a:lnTo>
                <a:lnTo>
                  <a:pt x="1056" y="678"/>
                </a:lnTo>
                <a:lnTo>
                  <a:pt x="1056" y="678"/>
                </a:lnTo>
                <a:lnTo>
                  <a:pt x="1056" y="668"/>
                </a:lnTo>
                <a:lnTo>
                  <a:pt x="1058" y="660"/>
                </a:lnTo>
                <a:lnTo>
                  <a:pt x="1058" y="660"/>
                </a:lnTo>
                <a:lnTo>
                  <a:pt x="1066" y="649"/>
                </a:lnTo>
                <a:lnTo>
                  <a:pt x="1066" y="649"/>
                </a:lnTo>
                <a:lnTo>
                  <a:pt x="1066" y="646"/>
                </a:lnTo>
                <a:lnTo>
                  <a:pt x="1074" y="644"/>
                </a:lnTo>
                <a:lnTo>
                  <a:pt x="1074" y="644"/>
                </a:lnTo>
                <a:lnTo>
                  <a:pt x="1077" y="641"/>
                </a:lnTo>
                <a:lnTo>
                  <a:pt x="1077" y="641"/>
                </a:lnTo>
                <a:lnTo>
                  <a:pt x="1080" y="638"/>
                </a:lnTo>
                <a:lnTo>
                  <a:pt x="1082" y="636"/>
                </a:lnTo>
                <a:lnTo>
                  <a:pt x="1082" y="636"/>
                </a:lnTo>
                <a:lnTo>
                  <a:pt x="1082" y="636"/>
                </a:lnTo>
                <a:lnTo>
                  <a:pt x="1082" y="633"/>
                </a:lnTo>
                <a:lnTo>
                  <a:pt x="1080" y="633"/>
                </a:lnTo>
                <a:lnTo>
                  <a:pt x="1077" y="633"/>
                </a:lnTo>
                <a:lnTo>
                  <a:pt x="1080" y="633"/>
                </a:lnTo>
                <a:lnTo>
                  <a:pt x="1080" y="633"/>
                </a:lnTo>
                <a:lnTo>
                  <a:pt x="1080" y="633"/>
                </a:lnTo>
                <a:lnTo>
                  <a:pt x="1082" y="630"/>
                </a:lnTo>
                <a:lnTo>
                  <a:pt x="1082" y="630"/>
                </a:lnTo>
                <a:lnTo>
                  <a:pt x="1082" y="630"/>
                </a:lnTo>
                <a:lnTo>
                  <a:pt x="1082" y="630"/>
                </a:lnTo>
                <a:lnTo>
                  <a:pt x="1088" y="630"/>
                </a:lnTo>
                <a:lnTo>
                  <a:pt x="1088" y="630"/>
                </a:lnTo>
                <a:lnTo>
                  <a:pt x="1088" y="627"/>
                </a:lnTo>
                <a:lnTo>
                  <a:pt x="1088" y="627"/>
                </a:lnTo>
                <a:lnTo>
                  <a:pt x="1080" y="627"/>
                </a:lnTo>
                <a:lnTo>
                  <a:pt x="1080" y="627"/>
                </a:lnTo>
                <a:lnTo>
                  <a:pt x="1080" y="627"/>
                </a:lnTo>
                <a:lnTo>
                  <a:pt x="1077" y="627"/>
                </a:lnTo>
                <a:lnTo>
                  <a:pt x="1077" y="627"/>
                </a:lnTo>
                <a:lnTo>
                  <a:pt x="1074" y="627"/>
                </a:lnTo>
                <a:lnTo>
                  <a:pt x="1074" y="625"/>
                </a:lnTo>
                <a:lnTo>
                  <a:pt x="1077" y="625"/>
                </a:lnTo>
                <a:lnTo>
                  <a:pt x="1080" y="625"/>
                </a:lnTo>
                <a:lnTo>
                  <a:pt x="1082" y="625"/>
                </a:lnTo>
                <a:lnTo>
                  <a:pt x="1082" y="625"/>
                </a:lnTo>
                <a:lnTo>
                  <a:pt x="1082" y="622"/>
                </a:lnTo>
                <a:lnTo>
                  <a:pt x="1082" y="622"/>
                </a:lnTo>
                <a:lnTo>
                  <a:pt x="1085" y="619"/>
                </a:lnTo>
                <a:lnTo>
                  <a:pt x="1088" y="622"/>
                </a:lnTo>
                <a:lnTo>
                  <a:pt x="1090" y="625"/>
                </a:lnTo>
                <a:lnTo>
                  <a:pt x="1090" y="625"/>
                </a:lnTo>
                <a:lnTo>
                  <a:pt x="1090" y="625"/>
                </a:lnTo>
                <a:lnTo>
                  <a:pt x="1093" y="622"/>
                </a:lnTo>
                <a:lnTo>
                  <a:pt x="1093" y="619"/>
                </a:lnTo>
                <a:lnTo>
                  <a:pt x="1093" y="619"/>
                </a:lnTo>
                <a:lnTo>
                  <a:pt x="1096" y="614"/>
                </a:lnTo>
                <a:lnTo>
                  <a:pt x="1096" y="611"/>
                </a:lnTo>
                <a:lnTo>
                  <a:pt x="1096" y="609"/>
                </a:lnTo>
                <a:lnTo>
                  <a:pt x="1093" y="609"/>
                </a:lnTo>
                <a:lnTo>
                  <a:pt x="1093" y="611"/>
                </a:lnTo>
                <a:lnTo>
                  <a:pt x="1093" y="611"/>
                </a:lnTo>
                <a:lnTo>
                  <a:pt x="1090" y="611"/>
                </a:lnTo>
                <a:lnTo>
                  <a:pt x="1090" y="611"/>
                </a:lnTo>
                <a:lnTo>
                  <a:pt x="1090" y="609"/>
                </a:lnTo>
                <a:lnTo>
                  <a:pt x="1090" y="609"/>
                </a:lnTo>
                <a:lnTo>
                  <a:pt x="1093" y="606"/>
                </a:lnTo>
                <a:lnTo>
                  <a:pt x="1093" y="606"/>
                </a:lnTo>
                <a:lnTo>
                  <a:pt x="1096" y="606"/>
                </a:lnTo>
                <a:lnTo>
                  <a:pt x="1096" y="606"/>
                </a:lnTo>
                <a:lnTo>
                  <a:pt x="1096" y="601"/>
                </a:lnTo>
                <a:lnTo>
                  <a:pt x="1098" y="598"/>
                </a:lnTo>
                <a:lnTo>
                  <a:pt x="1098" y="598"/>
                </a:lnTo>
                <a:lnTo>
                  <a:pt x="1096" y="598"/>
                </a:lnTo>
                <a:lnTo>
                  <a:pt x="1096" y="595"/>
                </a:lnTo>
                <a:lnTo>
                  <a:pt x="1096" y="595"/>
                </a:lnTo>
                <a:lnTo>
                  <a:pt x="1098" y="593"/>
                </a:lnTo>
                <a:lnTo>
                  <a:pt x="1098" y="590"/>
                </a:lnTo>
                <a:lnTo>
                  <a:pt x="1101" y="587"/>
                </a:lnTo>
                <a:lnTo>
                  <a:pt x="1098" y="582"/>
                </a:lnTo>
                <a:lnTo>
                  <a:pt x="1098" y="585"/>
                </a:lnTo>
                <a:lnTo>
                  <a:pt x="1098" y="587"/>
                </a:lnTo>
                <a:lnTo>
                  <a:pt x="1096" y="590"/>
                </a:lnTo>
                <a:lnTo>
                  <a:pt x="1093" y="590"/>
                </a:lnTo>
                <a:lnTo>
                  <a:pt x="1096" y="587"/>
                </a:lnTo>
                <a:lnTo>
                  <a:pt x="1098" y="582"/>
                </a:lnTo>
                <a:lnTo>
                  <a:pt x="1096" y="579"/>
                </a:lnTo>
                <a:lnTo>
                  <a:pt x="1096" y="582"/>
                </a:lnTo>
                <a:lnTo>
                  <a:pt x="1090" y="582"/>
                </a:lnTo>
                <a:lnTo>
                  <a:pt x="1088" y="582"/>
                </a:lnTo>
                <a:lnTo>
                  <a:pt x="1088" y="582"/>
                </a:lnTo>
                <a:lnTo>
                  <a:pt x="1088" y="582"/>
                </a:lnTo>
                <a:lnTo>
                  <a:pt x="1090" y="582"/>
                </a:lnTo>
                <a:lnTo>
                  <a:pt x="1090" y="582"/>
                </a:lnTo>
                <a:lnTo>
                  <a:pt x="1090" y="579"/>
                </a:lnTo>
                <a:lnTo>
                  <a:pt x="1088" y="579"/>
                </a:lnTo>
                <a:lnTo>
                  <a:pt x="1088" y="577"/>
                </a:lnTo>
                <a:lnTo>
                  <a:pt x="1088" y="577"/>
                </a:lnTo>
                <a:lnTo>
                  <a:pt x="1090" y="574"/>
                </a:lnTo>
                <a:lnTo>
                  <a:pt x="1090" y="577"/>
                </a:lnTo>
                <a:lnTo>
                  <a:pt x="1093" y="579"/>
                </a:lnTo>
                <a:lnTo>
                  <a:pt x="1093" y="579"/>
                </a:lnTo>
                <a:lnTo>
                  <a:pt x="1096" y="577"/>
                </a:lnTo>
                <a:lnTo>
                  <a:pt x="1098" y="577"/>
                </a:lnTo>
                <a:lnTo>
                  <a:pt x="1101" y="577"/>
                </a:lnTo>
                <a:lnTo>
                  <a:pt x="1101" y="577"/>
                </a:lnTo>
                <a:lnTo>
                  <a:pt x="1104" y="577"/>
                </a:lnTo>
                <a:lnTo>
                  <a:pt x="1104" y="577"/>
                </a:lnTo>
                <a:lnTo>
                  <a:pt x="1104" y="574"/>
                </a:lnTo>
                <a:lnTo>
                  <a:pt x="1106" y="577"/>
                </a:lnTo>
                <a:lnTo>
                  <a:pt x="1109" y="574"/>
                </a:lnTo>
                <a:lnTo>
                  <a:pt x="1109" y="574"/>
                </a:lnTo>
                <a:lnTo>
                  <a:pt x="1109" y="574"/>
                </a:lnTo>
                <a:lnTo>
                  <a:pt x="1109" y="574"/>
                </a:lnTo>
                <a:lnTo>
                  <a:pt x="1109" y="574"/>
                </a:lnTo>
                <a:lnTo>
                  <a:pt x="1112" y="571"/>
                </a:lnTo>
                <a:lnTo>
                  <a:pt x="1112" y="571"/>
                </a:lnTo>
                <a:lnTo>
                  <a:pt x="1112" y="571"/>
                </a:lnTo>
                <a:lnTo>
                  <a:pt x="1112" y="568"/>
                </a:lnTo>
                <a:lnTo>
                  <a:pt x="1112" y="568"/>
                </a:lnTo>
                <a:lnTo>
                  <a:pt x="1114" y="568"/>
                </a:lnTo>
                <a:lnTo>
                  <a:pt x="1112" y="566"/>
                </a:lnTo>
                <a:lnTo>
                  <a:pt x="1112" y="566"/>
                </a:lnTo>
                <a:lnTo>
                  <a:pt x="1112" y="566"/>
                </a:lnTo>
                <a:lnTo>
                  <a:pt x="1114" y="563"/>
                </a:lnTo>
                <a:lnTo>
                  <a:pt x="1117" y="560"/>
                </a:lnTo>
                <a:lnTo>
                  <a:pt x="1117" y="558"/>
                </a:lnTo>
                <a:lnTo>
                  <a:pt x="1117" y="558"/>
                </a:lnTo>
                <a:lnTo>
                  <a:pt x="1117" y="558"/>
                </a:lnTo>
                <a:lnTo>
                  <a:pt x="1117" y="558"/>
                </a:lnTo>
                <a:lnTo>
                  <a:pt x="1114" y="558"/>
                </a:lnTo>
                <a:lnTo>
                  <a:pt x="1112" y="558"/>
                </a:lnTo>
                <a:lnTo>
                  <a:pt x="1112" y="558"/>
                </a:lnTo>
                <a:lnTo>
                  <a:pt x="1112" y="558"/>
                </a:lnTo>
                <a:lnTo>
                  <a:pt x="1112" y="555"/>
                </a:lnTo>
                <a:lnTo>
                  <a:pt x="1112" y="555"/>
                </a:lnTo>
                <a:lnTo>
                  <a:pt x="1112" y="555"/>
                </a:lnTo>
                <a:lnTo>
                  <a:pt x="1114" y="555"/>
                </a:lnTo>
                <a:lnTo>
                  <a:pt x="1114" y="552"/>
                </a:lnTo>
                <a:lnTo>
                  <a:pt x="1114" y="552"/>
                </a:lnTo>
                <a:lnTo>
                  <a:pt x="1114" y="552"/>
                </a:lnTo>
                <a:lnTo>
                  <a:pt x="1112" y="552"/>
                </a:lnTo>
                <a:lnTo>
                  <a:pt x="1117" y="550"/>
                </a:lnTo>
                <a:lnTo>
                  <a:pt x="1120" y="547"/>
                </a:lnTo>
                <a:lnTo>
                  <a:pt x="1123" y="547"/>
                </a:lnTo>
                <a:lnTo>
                  <a:pt x="1120" y="552"/>
                </a:lnTo>
                <a:lnTo>
                  <a:pt x="1120" y="552"/>
                </a:lnTo>
                <a:lnTo>
                  <a:pt x="1120" y="555"/>
                </a:lnTo>
                <a:lnTo>
                  <a:pt x="1120" y="552"/>
                </a:lnTo>
                <a:lnTo>
                  <a:pt x="1125" y="550"/>
                </a:lnTo>
                <a:lnTo>
                  <a:pt x="1125" y="550"/>
                </a:lnTo>
                <a:lnTo>
                  <a:pt x="1125" y="547"/>
                </a:lnTo>
                <a:lnTo>
                  <a:pt x="1125" y="544"/>
                </a:lnTo>
                <a:lnTo>
                  <a:pt x="1128" y="542"/>
                </a:lnTo>
                <a:lnTo>
                  <a:pt x="1131" y="542"/>
                </a:lnTo>
                <a:lnTo>
                  <a:pt x="1131" y="539"/>
                </a:lnTo>
                <a:lnTo>
                  <a:pt x="1131" y="536"/>
                </a:lnTo>
                <a:lnTo>
                  <a:pt x="1131" y="536"/>
                </a:lnTo>
                <a:lnTo>
                  <a:pt x="1133" y="534"/>
                </a:lnTo>
                <a:lnTo>
                  <a:pt x="1133" y="534"/>
                </a:lnTo>
                <a:lnTo>
                  <a:pt x="1133" y="531"/>
                </a:lnTo>
                <a:lnTo>
                  <a:pt x="1136" y="526"/>
                </a:lnTo>
                <a:lnTo>
                  <a:pt x="1136" y="526"/>
                </a:lnTo>
                <a:lnTo>
                  <a:pt x="1136" y="523"/>
                </a:lnTo>
                <a:lnTo>
                  <a:pt x="1139" y="523"/>
                </a:lnTo>
                <a:lnTo>
                  <a:pt x="1141" y="520"/>
                </a:lnTo>
                <a:lnTo>
                  <a:pt x="1141" y="520"/>
                </a:lnTo>
                <a:lnTo>
                  <a:pt x="1144" y="518"/>
                </a:lnTo>
                <a:lnTo>
                  <a:pt x="1144" y="515"/>
                </a:lnTo>
                <a:lnTo>
                  <a:pt x="1144" y="515"/>
                </a:lnTo>
                <a:lnTo>
                  <a:pt x="1144" y="515"/>
                </a:lnTo>
                <a:lnTo>
                  <a:pt x="1147" y="512"/>
                </a:lnTo>
                <a:lnTo>
                  <a:pt x="1149" y="512"/>
                </a:lnTo>
                <a:lnTo>
                  <a:pt x="1147" y="512"/>
                </a:lnTo>
                <a:lnTo>
                  <a:pt x="1149" y="509"/>
                </a:lnTo>
                <a:lnTo>
                  <a:pt x="1152" y="504"/>
                </a:lnTo>
                <a:lnTo>
                  <a:pt x="1152" y="504"/>
                </a:lnTo>
                <a:lnTo>
                  <a:pt x="1155" y="504"/>
                </a:lnTo>
                <a:lnTo>
                  <a:pt x="1160" y="501"/>
                </a:lnTo>
                <a:lnTo>
                  <a:pt x="1165" y="499"/>
                </a:lnTo>
                <a:lnTo>
                  <a:pt x="1168" y="499"/>
                </a:lnTo>
                <a:lnTo>
                  <a:pt x="1176" y="496"/>
                </a:lnTo>
                <a:lnTo>
                  <a:pt x="1181" y="496"/>
                </a:lnTo>
                <a:lnTo>
                  <a:pt x="1184" y="496"/>
                </a:lnTo>
                <a:lnTo>
                  <a:pt x="1184" y="496"/>
                </a:lnTo>
                <a:lnTo>
                  <a:pt x="1184" y="496"/>
                </a:lnTo>
                <a:lnTo>
                  <a:pt x="1184" y="493"/>
                </a:lnTo>
                <a:lnTo>
                  <a:pt x="1187" y="493"/>
                </a:lnTo>
                <a:lnTo>
                  <a:pt x="1190" y="493"/>
                </a:lnTo>
                <a:lnTo>
                  <a:pt x="1190" y="493"/>
                </a:lnTo>
                <a:lnTo>
                  <a:pt x="1190" y="493"/>
                </a:lnTo>
                <a:lnTo>
                  <a:pt x="1190" y="491"/>
                </a:lnTo>
                <a:lnTo>
                  <a:pt x="1192" y="491"/>
                </a:lnTo>
                <a:lnTo>
                  <a:pt x="1192" y="491"/>
                </a:lnTo>
                <a:lnTo>
                  <a:pt x="1190" y="488"/>
                </a:lnTo>
                <a:lnTo>
                  <a:pt x="1190" y="488"/>
                </a:lnTo>
                <a:lnTo>
                  <a:pt x="1187" y="488"/>
                </a:lnTo>
                <a:lnTo>
                  <a:pt x="1179" y="488"/>
                </a:lnTo>
                <a:lnTo>
                  <a:pt x="1179" y="488"/>
                </a:lnTo>
                <a:lnTo>
                  <a:pt x="1176" y="485"/>
                </a:lnTo>
                <a:lnTo>
                  <a:pt x="1181" y="485"/>
                </a:lnTo>
                <a:lnTo>
                  <a:pt x="1181" y="485"/>
                </a:lnTo>
                <a:lnTo>
                  <a:pt x="1184" y="483"/>
                </a:lnTo>
                <a:lnTo>
                  <a:pt x="1184" y="483"/>
                </a:lnTo>
                <a:lnTo>
                  <a:pt x="1187" y="483"/>
                </a:lnTo>
                <a:lnTo>
                  <a:pt x="1190" y="485"/>
                </a:lnTo>
                <a:lnTo>
                  <a:pt x="1190" y="485"/>
                </a:lnTo>
                <a:lnTo>
                  <a:pt x="1190" y="485"/>
                </a:lnTo>
                <a:lnTo>
                  <a:pt x="1190" y="485"/>
                </a:lnTo>
                <a:lnTo>
                  <a:pt x="1192" y="485"/>
                </a:lnTo>
                <a:lnTo>
                  <a:pt x="1192" y="485"/>
                </a:lnTo>
                <a:lnTo>
                  <a:pt x="1192" y="485"/>
                </a:lnTo>
                <a:lnTo>
                  <a:pt x="1195" y="485"/>
                </a:lnTo>
                <a:lnTo>
                  <a:pt x="1192" y="485"/>
                </a:lnTo>
                <a:lnTo>
                  <a:pt x="1192" y="483"/>
                </a:lnTo>
                <a:lnTo>
                  <a:pt x="1192" y="480"/>
                </a:lnTo>
                <a:lnTo>
                  <a:pt x="1195" y="480"/>
                </a:lnTo>
                <a:lnTo>
                  <a:pt x="1195" y="477"/>
                </a:lnTo>
                <a:lnTo>
                  <a:pt x="1200" y="475"/>
                </a:lnTo>
                <a:lnTo>
                  <a:pt x="1203" y="475"/>
                </a:lnTo>
                <a:lnTo>
                  <a:pt x="1208" y="469"/>
                </a:lnTo>
                <a:lnTo>
                  <a:pt x="1208" y="467"/>
                </a:lnTo>
                <a:lnTo>
                  <a:pt x="1214" y="464"/>
                </a:lnTo>
                <a:lnTo>
                  <a:pt x="1230" y="459"/>
                </a:lnTo>
                <a:lnTo>
                  <a:pt x="1227" y="456"/>
                </a:lnTo>
                <a:lnTo>
                  <a:pt x="1227" y="456"/>
                </a:lnTo>
                <a:lnTo>
                  <a:pt x="1227" y="453"/>
                </a:lnTo>
                <a:lnTo>
                  <a:pt x="1227" y="450"/>
                </a:lnTo>
                <a:lnTo>
                  <a:pt x="1227" y="450"/>
                </a:lnTo>
                <a:lnTo>
                  <a:pt x="1227" y="448"/>
                </a:lnTo>
                <a:lnTo>
                  <a:pt x="1227" y="448"/>
                </a:lnTo>
                <a:lnTo>
                  <a:pt x="1230" y="448"/>
                </a:lnTo>
                <a:lnTo>
                  <a:pt x="1230" y="448"/>
                </a:lnTo>
                <a:lnTo>
                  <a:pt x="1230" y="445"/>
                </a:lnTo>
                <a:lnTo>
                  <a:pt x="1230" y="445"/>
                </a:lnTo>
                <a:lnTo>
                  <a:pt x="1227" y="442"/>
                </a:lnTo>
                <a:lnTo>
                  <a:pt x="1227" y="442"/>
                </a:lnTo>
                <a:lnTo>
                  <a:pt x="1227" y="442"/>
                </a:lnTo>
                <a:lnTo>
                  <a:pt x="1227" y="440"/>
                </a:lnTo>
                <a:lnTo>
                  <a:pt x="1227" y="440"/>
                </a:lnTo>
                <a:lnTo>
                  <a:pt x="1230" y="437"/>
                </a:lnTo>
                <a:lnTo>
                  <a:pt x="1230" y="437"/>
                </a:lnTo>
                <a:lnTo>
                  <a:pt x="1230" y="434"/>
                </a:lnTo>
                <a:lnTo>
                  <a:pt x="1232" y="434"/>
                </a:lnTo>
                <a:lnTo>
                  <a:pt x="1232" y="434"/>
                </a:lnTo>
                <a:lnTo>
                  <a:pt x="1230" y="432"/>
                </a:lnTo>
                <a:lnTo>
                  <a:pt x="1230" y="432"/>
                </a:lnTo>
                <a:lnTo>
                  <a:pt x="1227" y="429"/>
                </a:lnTo>
                <a:lnTo>
                  <a:pt x="1224" y="426"/>
                </a:lnTo>
                <a:lnTo>
                  <a:pt x="1224" y="426"/>
                </a:lnTo>
                <a:lnTo>
                  <a:pt x="1227" y="424"/>
                </a:lnTo>
                <a:lnTo>
                  <a:pt x="1227" y="421"/>
                </a:lnTo>
                <a:lnTo>
                  <a:pt x="1230" y="418"/>
                </a:lnTo>
                <a:lnTo>
                  <a:pt x="1230" y="413"/>
                </a:lnTo>
                <a:lnTo>
                  <a:pt x="1232" y="413"/>
                </a:lnTo>
                <a:lnTo>
                  <a:pt x="1240" y="402"/>
                </a:lnTo>
                <a:lnTo>
                  <a:pt x="1243" y="400"/>
                </a:lnTo>
                <a:lnTo>
                  <a:pt x="1251" y="397"/>
                </a:lnTo>
                <a:lnTo>
                  <a:pt x="1254" y="394"/>
                </a:lnTo>
                <a:lnTo>
                  <a:pt x="1251" y="391"/>
                </a:lnTo>
                <a:lnTo>
                  <a:pt x="1254" y="389"/>
                </a:lnTo>
                <a:lnTo>
                  <a:pt x="1257" y="383"/>
                </a:lnTo>
                <a:lnTo>
                  <a:pt x="1259" y="383"/>
                </a:lnTo>
                <a:lnTo>
                  <a:pt x="1259" y="381"/>
                </a:lnTo>
                <a:lnTo>
                  <a:pt x="1259" y="381"/>
                </a:lnTo>
                <a:lnTo>
                  <a:pt x="1259" y="381"/>
                </a:lnTo>
                <a:lnTo>
                  <a:pt x="1259" y="381"/>
                </a:lnTo>
                <a:lnTo>
                  <a:pt x="1259" y="378"/>
                </a:lnTo>
                <a:lnTo>
                  <a:pt x="1259" y="378"/>
                </a:lnTo>
                <a:lnTo>
                  <a:pt x="1259" y="375"/>
                </a:lnTo>
                <a:lnTo>
                  <a:pt x="1262" y="375"/>
                </a:lnTo>
                <a:lnTo>
                  <a:pt x="1262" y="373"/>
                </a:lnTo>
                <a:lnTo>
                  <a:pt x="1262" y="370"/>
                </a:lnTo>
                <a:lnTo>
                  <a:pt x="1262" y="365"/>
                </a:lnTo>
                <a:lnTo>
                  <a:pt x="1265" y="362"/>
                </a:lnTo>
                <a:lnTo>
                  <a:pt x="1267" y="359"/>
                </a:lnTo>
                <a:lnTo>
                  <a:pt x="1270" y="357"/>
                </a:lnTo>
                <a:lnTo>
                  <a:pt x="1273" y="357"/>
                </a:lnTo>
                <a:lnTo>
                  <a:pt x="1273" y="354"/>
                </a:lnTo>
                <a:lnTo>
                  <a:pt x="1273" y="351"/>
                </a:lnTo>
                <a:lnTo>
                  <a:pt x="1270" y="351"/>
                </a:lnTo>
                <a:lnTo>
                  <a:pt x="1270" y="349"/>
                </a:lnTo>
                <a:lnTo>
                  <a:pt x="1270" y="349"/>
                </a:lnTo>
                <a:lnTo>
                  <a:pt x="1270" y="346"/>
                </a:lnTo>
                <a:lnTo>
                  <a:pt x="1275" y="338"/>
                </a:lnTo>
                <a:lnTo>
                  <a:pt x="1275" y="338"/>
                </a:lnTo>
                <a:lnTo>
                  <a:pt x="1275" y="330"/>
                </a:lnTo>
                <a:lnTo>
                  <a:pt x="1275" y="327"/>
                </a:lnTo>
                <a:lnTo>
                  <a:pt x="1275" y="324"/>
                </a:lnTo>
                <a:lnTo>
                  <a:pt x="1281" y="316"/>
                </a:lnTo>
                <a:lnTo>
                  <a:pt x="1283" y="314"/>
                </a:lnTo>
                <a:lnTo>
                  <a:pt x="1283" y="314"/>
                </a:lnTo>
                <a:lnTo>
                  <a:pt x="1283" y="311"/>
                </a:lnTo>
                <a:lnTo>
                  <a:pt x="1283" y="311"/>
                </a:lnTo>
                <a:lnTo>
                  <a:pt x="1283" y="308"/>
                </a:lnTo>
                <a:lnTo>
                  <a:pt x="1283" y="308"/>
                </a:lnTo>
                <a:lnTo>
                  <a:pt x="1283" y="306"/>
                </a:lnTo>
                <a:lnTo>
                  <a:pt x="1283" y="303"/>
                </a:lnTo>
                <a:lnTo>
                  <a:pt x="1286" y="300"/>
                </a:lnTo>
                <a:lnTo>
                  <a:pt x="1286" y="298"/>
                </a:lnTo>
                <a:lnTo>
                  <a:pt x="1286" y="298"/>
                </a:lnTo>
                <a:lnTo>
                  <a:pt x="1286" y="295"/>
                </a:lnTo>
                <a:lnTo>
                  <a:pt x="1286" y="295"/>
                </a:lnTo>
                <a:lnTo>
                  <a:pt x="1286" y="292"/>
                </a:lnTo>
                <a:lnTo>
                  <a:pt x="1283" y="292"/>
                </a:lnTo>
                <a:lnTo>
                  <a:pt x="1283" y="292"/>
                </a:lnTo>
                <a:lnTo>
                  <a:pt x="1283" y="295"/>
                </a:lnTo>
                <a:lnTo>
                  <a:pt x="1283" y="295"/>
                </a:lnTo>
                <a:lnTo>
                  <a:pt x="1281" y="292"/>
                </a:lnTo>
                <a:lnTo>
                  <a:pt x="1281" y="292"/>
                </a:lnTo>
                <a:lnTo>
                  <a:pt x="1281" y="292"/>
                </a:lnTo>
                <a:lnTo>
                  <a:pt x="1281" y="292"/>
                </a:lnTo>
                <a:lnTo>
                  <a:pt x="1281" y="290"/>
                </a:lnTo>
                <a:lnTo>
                  <a:pt x="1278" y="287"/>
                </a:lnTo>
                <a:lnTo>
                  <a:pt x="1278" y="268"/>
                </a:lnTo>
                <a:lnTo>
                  <a:pt x="1278" y="268"/>
                </a:lnTo>
                <a:lnTo>
                  <a:pt x="1278" y="268"/>
                </a:lnTo>
                <a:lnTo>
                  <a:pt x="1278" y="265"/>
                </a:lnTo>
                <a:lnTo>
                  <a:pt x="1278" y="265"/>
                </a:lnTo>
                <a:lnTo>
                  <a:pt x="1281" y="252"/>
                </a:lnTo>
                <a:lnTo>
                  <a:pt x="1283" y="249"/>
                </a:lnTo>
                <a:lnTo>
                  <a:pt x="1286" y="244"/>
                </a:lnTo>
                <a:lnTo>
                  <a:pt x="1286" y="241"/>
                </a:lnTo>
                <a:lnTo>
                  <a:pt x="1286" y="239"/>
                </a:lnTo>
                <a:lnTo>
                  <a:pt x="1291" y="233"/>
                </a:lnTo>
                <a:lnTo>
                  <a:pt x="1291" y="228"/>
                </a:lnTo>
                <a:lnTo>
                  <a:pt x="1291" y="225"/>
                </a:lnTo>
                <a:lnTo>
                  <a:pt x="1297" y="217"/>
                </a:lnTo>
                <a:lnTo>
                  <a:pt x="1299" y="212"/>
                </a:lnTo>
                <a:lnTo>
                  <a:pt x="1299" y="206"/>
                </a:lnTo>
                <a:lnTo>
                  <a:pt x="1299" y="204"/>
                </a:lnTo>
                <a:lnTo>
                  <a:pt x="1297" y="201"/>
                </a:lnTo>
                <a:lnTo>
                  <a:pt x="1299" y="201"/>
                </a:lnTo>
                <a:lnTo>
                  <a:pt x="1299" y="198"/>
                </a:lnTo>
                <a:lnTo>
                  <a:pt x="1299" y="198"/>
                </a:lnTo>
                <a:lnTo>
                  <a:pt x="1302" y="196"/>
                </a:lnTo>
                <a:lnTo>
                  <a:pt x="1305" y="193"/>
                </a:lnTo>
                <a:lnTo>
                  <a:pt x="1305" y="190"/>
                </a:lnTo>
                <a:lnTo>
                  <a:pt x="1305" y="188"/>
                </a:lnTo>
                <a:lnTo>
                  <a:pt x="1305" y="182"/>
                </a:lnTo>
                <a:lnTo>
                  <a:pt x="1307" y="182"/>
                </a:lnTo>
                <a:lnTo>
                  <a:pt x="1307" y="180"/>
                </a:lnTo>
                <a:lnTo>
                  <a:pt x="1307" y="180"/>
                </a:lnTo>
                <a:lnTo>
                  <a:pt x="1307" y="174"/>
                </a:lnTo>
                <a:lnTo>
                  <a:pt x="1307" y="174"/>
                </a:lnTo>
                <a:lnTo>
                  <a:pt x="1307" y="172"/>
                </a:lnTo>
                <a:lnTo>
                  <a:pt x="1307" y="169"/>
                </a:lnTo>
                <a:lnTo>
                  <a:pt x="1310" y="166"/>
                </a:lnTo>
                <a:lnTo>
                  <a:pt x="1310" y="163"/>
                </a:lnTo>
                <a:lnTo>
                  <a:pt x="1310" y="163"/>
                </a:lnTo>
                <a:lnTo>
                  <a:pt x="1310" y="161"/>
                </a:lnTo>
                <a:lnTo>
                  <a:pt x="1310" y="161"/>
                </a:lnTo>
                <a:lnTo>
                  <a:pt x="1313" y="158"/>
                </a:lnTo>
                <a:lnTo>
                  <a:pt x="1313" y="158"/>
                </a:lnTo>
                <a:lnTo>
                  <a:pt x="1313" y="158"/>
                </a:lnTo>
                <a:lnTo>
                  <a:pt x="1310" y="155"/>
                </a:lnTo>
                <a:lnTo>
                  <a:pt x="1310" y="155"/>
                </a:lnTo>
                <a:lnTo>
                  <a:pt x="1310" y="153"/>
                </a:lnTo>
                <a:lnTo>
                  <a:pt x="1313" y="153"/>
                </a:lnTo>
                <a:lnTo>
                  <a:pt x="1313" y="150"/>
                </a:lnTo>
                <a:lnTo>
                  <a:pt x="1315" y="145"/>
                </a:lnTo>
                <a:lnTo>
                  <a:pt x="1315" y="142"/>
                </a:lnTo>
                <a:lnTo>
                  <a:pt x="1315" y="142"/>
                </a:lnTo>
                <a:lnTo>
                  <a:pt x="1315" y="139"/>
                </a:lnTo>
                <a:lnTo>
                  <a:pt x="1315" y="137"/>
                </a:lnTo>
                <a:lnTo>
                  <a:pt x="1315" y="137"/>
                </a:lnTo>
                <a:lnTo>
                  <a:pt x="1315" y="134"/>
                </a:lnTo>
                <a:lnTo>
                  <a:pt x="1315" y="131"/>
                </a:lnTo>
                <a:lnTo>
                  <a:pt x="1313" y="131"/>
                </a:lnTo>
                <a:lnTo>
                  <a:pt x="1313" y="126"/>
                </a:lnTo>
                <a:lnTo>
                  <a:pt x="1315" y="121"/>
                </a:lnTo>
                <a:lnTo>
                  <a:pt x="1315" y="118"/>
                </a:lnTo>
                <a:lnTo>
                  <a:pt x="1321" y="110"/>
                </a:lnTo>
                <a:lnTo>
                  <a:pt x="1321" y="110"/>
                </a:lnTo>
                <a:lnTo>
                  <a:pt x="1321" y="110"/>
                </a:lnTo>
                <a:lnTo>
                  <a:pt x="1324" y="107"/>
                </a:lnTo>
                <a:lnTo>
                  <a:pt x="1324" y="107"/>
                </a:lnTo>
                <a:lnTo>
                  <a:pt x="1324" y="107"/>
                </a:lnTo>
                <a:lnTo>
                  <a:pt x="1324" y="102"/>
                </a:lnTo>
                <a:lnTo>
                  <a:pt x="1324" y="102"/>
                </a:lnTo>
                <a:lnTo>
                  <a:pt x="1324" y="99"/>
                </a:lnTo>
                <a:lnTo>
                  <a:pt x="1326" y="96"/>
                </a:lnTo>
                <a:lnTo>
                  <a:pt x="1326" y="91"/>
                </a:lnTo>
                <a:lnTo>
                  <a:pt x="1332" y="86"/>
                </a:lnTo>
                <a:lnTo>
                  <a:pt x="1340" y="80"/>
                </a:lnTo>
                <a:lnTo>
                  <a:pt x="1342" y="78"/>
                </a:lnTo>
                <a:lnTo>
                  <a:pt x="1342" y="72"/>
                </a:lnTo>
                <a:lnTo>
                  <a:pt x="1340" y="70"/>
                </a:lnTo>
                <a:lnTo>
                  <a:pt x="1340" y="67"/>
                </a:lnTo>
                <a:lnTo>
                  <a:pt x="1342" y="64"/>
                </a:lnTo>
                <a:lnTo>
                  <a:pt x="1342" y="62"/>
                </a:lnTo>
                <a:lnTo>
                  <a:pt x="1342" y="62"/>
                </a:lnTo>
                <a:lnTo>
                  <a:pt x="1342" y="59"/>
                </a:lnTo>
                <a:lnTo>
                  <a:pt x="1342" y="59"/>
                </a:lnTo>
                <a:lnTo>
                  <a:pt x="1345" y="56"/>
                </a:lnTo>
                <a:lnTo>
                  <a:pt x="1345" y="56"/>
                </a:lnTo>
                <a:lnTo>
                  <a:pt x="1342" y="53"/>
                </a:lnTo>
                <a:close/>
                <a:moveTo>
                  <a:pt x="849" y="617"/>
                </a:moveTo>
                <a:lnTo>
                  <a:pt x="849" y="617"/>
                </a:lnTo>
                <a:lnTo>
                  <a:pt x="849" y="617"/>
                </a:lnTo>
                <a:lnTo>
                  <a:pt x="849" y="617"/>
                </a:lnTo>
                <a:lnTo>
                  <a:pt x="852" y="617"/>
                </a:lnTo>
                <a:lnTo>
                  <a:pt x="855" y="617"/>
                </a:lnTo>
                <a:lnTo>
                  <a:pt x="857" y="614"/>
                </a:lnTo>
                <a:lnTo>
                  <a:pt x="860" y="614"/>
                </a:lnTo>
                <a:lnTo>
                  <a:pt x="860" y="617"/>
                </a:lnTo>
                <a:lnTo>
                  <a:pt x="855" y="617"/>
                </a:lnTo>
                <a:lnTo>
                  <a:pt x="855" y="619"/>
                </a:lnTo>
                <a:lnTo>
                  <a:pt x="855" y="622"/>
                </a:lnTo>
                <a:lnTo>
                  <a:pt x="855" y="625"/>
                </a:lnTo>
                <a:lnTo>
                  <a:pt x="855" y="625"/>
                </a:lnTo>
                <a:lnTo>
                  <a:pt x="855" y="625"/>
                </a:lnTo>
                <a:lnTo>
                  <a:pt x="855" y="625"/>
                </a:lnTo>
                <a:lnTo>
                  <a:pt x="852" y="625"/>
                </a:lnTo>
                <a:lnTo>
                  <a:pt x="852" y="619"/>
                </a:lnTo>
                <a:lnTo>
                  <a:pt x="849" y="619"/>
                </a:lnTo>
                <a:lnTo>
                  <a:pt x="849" y="622"/>
                </a:lnTo>
                <a:lnTo>
                  <a:pt x="849" y="625"/>
                </a:lnTo>
                <a:lnTo>
                  <a:pt x="846" y="625"/>
                </a:lnTo>
                <a:lnTo>
                  <a:pt x="846" y="622"/>
                </a:lnTo>
                <a:lnTo>
                  <a:pt x="849" y="617"/>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90" name="Rectangle 17"/>
          <p:cNvSpPr>
            <a:spLocks noChangeArrowheads="1"/>
          </p:cNvSpPr>
          <p:nvPr/>
        </p:nvSpPr>
        <p:spPr bwMode="auto">
          <a:xfrm>
            <a:off x="10920258" y="4432369"/>
            <a:ext cx="59952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u="none" strike="noStrike" cap="none" normalizeH="0" baseline="0" dirty="0">
                <a:ln>
                  <a:noFill/>
                </a:ln>
                <a:effectLst/>
                <a:latin typeface="RBC Text" panose="02000000000000000000" pitchFamily="2" charset="77"/>
                <a:ea typeface="Open Sans" charset="0"/>
                <a:cs typeface="Open Sans" charset="0"/>
              </a:rPr>
              <a:t>Canberra</a:t>
            </a:r>
          </a:p>
        </p:txBody>
      </p:sp>
      <p:sp>
        <p:nvSpPr>
          <p:cNvPr id="91" name="Rectangle 18"/>
          <p:cNvSpPr>
            <a:spLocks noChangeArrowheads="1"/>
          </p:cNvSpPr>
          <p:nvPr/>
        </p:nvSpPr>
        <p:spPr bwMode="auto">
          <a:xfrm>
            <a:off x="10274145" y="4837181"/>
            <a:ext cx="69249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u="none" strike="noStrike" cap="none" normalizeH="0" baseline="0" dirty="0">
                <a:ln>
                  <a:noFill/>
                </a:ln>
                <a:effectLst/>
                <a:latin typeface="RBC Text" panose="02000000000000000000" pitchFamily="2" charset="77"/>
                <a:ea typeface="Open Sans" charset="0"/>
                <a:cs typeface="Open Sans" charset="0"/>
              </a:rPr>
              <a:t>Melbourne</a:t>
            </a:r>
          </a:p>
        </p:txBody>
      </p:sp>
      <p:sp>
        <p:nvSpPr>
          <p:cNvPr id="92" name="Rectangle 19"/>
          <p:cNvSpPr>
            <a:spLocks noChangeArrowheads="1"/>
          </p:cNvSpPr>
          <p:nvPr/>
        </p:nvSpPr>
        <p:spPr bwMode="auto">
          <a:xfrm>
            <a:off x="11299670" y="4110106"/>
            <a:ext cx="4584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u="none" strike="noStrike" cap="none" normalizeH="0" baseline="0" dirty="0">
                <a:ln>
                  <a:noFill/>
                </a:ln>
                <a:effectLst/>
                <a:latin typeface="RBC Text" panose="02000000000000000000" pitchFamily="2" charset="77"/>
                <a:ea typeface="Open Sans" charset="0"/>
                <a:cs typeface="Open Sans" charset="0"/>
              </a:rPr>
              <a:t>Sydney</a:t>
            </a:r>
          </a:p>
        </p:txBody>
      </p:sp>
      <p:sp>
        <p:nvSpPr>
          <p:cNvPr id="93" name="Rectangle 20"/>
          <p:cNvSpPr>
            <a:spLocks noChangeArrowheads="1"/>
          </p:cNvSpPr>
          <p:nvPr/>
        </p:nvSpPr>
        <p:spPr bwMode="auto">
          <a:xfrm>
            <a:off x="7772245" y="1989206"/>
            <a:ext cx="5770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u="none" strike="noStrike" cap="none" normalizeH="0" baseline="0" dirty="0">
                <a:ln>
                  <a:noFill/>
                </a:ln>
                <a:effectLst/>
                <a:latin typeface="RBC Text" panose="02000000000000000000" pitchFamily="2" charset="77"/>
                <a:ea typeface="Open Sans" charset="0"/>
                <a:cs typeface="Open Sans" charset="0"/>
              </a:rPr>
              <a:t>Northern</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000" b="1" dirty="0">
                <a:latin typeface="RBC Text" panose="02000000000000000000" pitchFamily="2" charset="77"/>
                <a:ea typeface="Open Sans" charset="0"/>
                <a:cs typeface="Open Sans" charset="0"/>
              </a:rPr>
              <a:t>Territory</a:t>
            </a:r>
            <a:endParaRPr kumimoji="0" lang="en-US" altLang="en-US" sz="1000" b="1" u="none" strike="noStrike" cap="none" normalizeH="0" baseline="0" dirty="0">
              <a:ln>
                <a:noFill/>
              </a:ln>
              <a:effectLst/>
              <a:latin typeface="RBC Text" panose="02000000000000000000" pitchFamily="2" charset="77"/>
              <a:ea typeface="Open Sans" charset="0"/>
              <a:cs typeface="Open Sans" charset="0"/>
            </a:endParaRPr>
          </a:p>
        </p:txBody>
      </p:sp>
      <p:sp>
        <p:nvSpPr>
          <p:cNvPr id="94" name="Rectangle 22"/>
          <p:cNvSpPr>
            <a:spLocks noChangeArrowheads="1"/>
          </p:cNvSpPr>
          <p:nvPr/>
        </p:nvSpPr>
        <p:spPr bwMode="auto">
          <a:xfrm>
            <a:off x="9559770" y="2662306"/>
            <a:ext cx="76302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u="none" strike="noStrike" cap="none" normalizeH="0" baseline="0" dirty="0">
                <a:ln>
                  <a:noFill/>
                </a:ln>
                <a:effectLst/>
                <a:latin typeface="RBC Text" panose="02000000000000000000" pitchFamily="2" charset="77"/>
                <a:ea typeface="Open Sans" charset="0"/>
                <a:cs typeface="Open Sans" charset="0"/>
              </a:rPr>
              <a:t>Queensland</a:t>
            </a:r>
          </a:p>
        </p:txBody>
      </p:sp>
      <p:sp>
        <p:nvSpPr>
          <p:cNvPr id="95" name="Rectangle 23"/>
          <p:cNvSpPr>
            <a:spLocks noChangeArrowheads="1"/>
          </p:cNvSpPr>
          <p:nvPr/>
        </p:nvSpPr>
        <p:spPr bwMode="auto">
          <a:xfrm>
            <a:off x="9281958" y="5105469"/>
            <a:ext cx="50815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u="none" strike="noStrike" cap="none" normalizeH="0" baseline="0" dirty="0" err="1">
                <a:ln>
                  <a:noFill/>
                </a:ln>
                <a:effectLst/>
                <a:latin typeface="RBC Text" panose="02000000000000000000" pitchFamily="2" charset="77"/>
                <a:ea typeface="Open Sans" charset="0"/>
                <a:cs typeface="Open Sans" charset="0"/>
              </a:rPr>
              <a:t>Viktoria</a:t>
            </a:r>
            <a:endParaRPr kumimoji="0" lang="en-US" altLang="en-US" sz="1000" b="1" u="none" strike="noStrike" cap="none" normalizeH="0" baseline="0" dirty="0">
              <a:ln>
                <a:noFill/>
              </a:ln>
              <a:effectLst/>
              <a:latin typeface="RBC Text" panose="02000000000000000000" pitchFamily="2" charset="77"/>
              <a:ea typeface="Open Sans" charset="0"/>
              <a:cs typeface="Open Sans" charset="0"/>
            </a:endParaRPr>
          </a:p>
        </p:txBody>
      </p:sp>
      <p:sp>
        <p:nvSpPr>
          <p:cNvPr id="96" name="Rectangle 24"/>
          <p:cNvSpPr>
            <a:spLocks noChangeArrowheads="1"/>
          </p:cNvSpPr>
          <p:nvPr/>
        </p:nvSpPr>
        <p:spPr bwMode="auto">
          <a:xfrm>
            <a:off x="10474170" y="5578544"/>
            <a:ext cx="6187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u="none" strike="noStrike" cap="none" normalizeH="0" baseline="0" dirty="0">
                <a:ln>
                  <a:noFill/>
                </a:ln>
                <a:effectLst/>
                <a:latin typeface="RBC Text" panose="02000000000000000000" pitchFamily="2" charset="77"/>
                <a:ea typeface="Open Sans" charset="0"/>
                <a:cs typeface="Open Sans" charset="0"/>
              </a:rPr>
              <a:t>Tasmania</a:t>
            </a:r>
          </a:p>
        </p:txBody>
      </p:sp>
      <p:sp>
        <p:nvSpPr>
          <p:cNvPr id="97" name="Rectangle 25"/>
          <p:cNvSpPr>
            <a:spLocks noChangeArrowheads="1"/>
          </p:cNvSpPr>
          <p:nvPr/>
        </p:nvSpPr>
        <p:spPr bwMode="auto">
          <a:xfrm>
            <a:off x="9977556" y="3918296"/>
            <a:ext cx="6668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u="none" strike="noStrike" cap="none" normalizeH="0" baseline="0" dirty="0">
                <a:ln>
                  <a:noFill/>
                </a:ln>
                <a:effectLst/>
                <a:latin typeface="RBC Text" panose="02000000000000000000" pitchFamily="2" charset="77"/>
                <a:ea typeface="Open Sans" charset="0"/>
                <a:cs typeface="Open Sans" charset="0"/>
              </a:rPr>
              <a:t>New south</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000" b="1" dirty="0">
                <a:latin typeface="RBC Text" panose="02000000000000000000" pitchFamily="2" charset="77"/>
                <a:ea typeface="Open Sans" charset="0"/>
                <a:cs typeface="Open Sans" charset="0"/>
              </a:rPr>
              <a:t>Wales</a:t>
            </a:r>
            <a:endParaRPr kumimoji="0" lang="en-US" altLang="en-US" sz="1000" b="1" u="none" strike="noStrike" cap="none" normalizeH="0" baseline="0" dirty="0">
              <a:ln>
                <a:noFill/>
              </a:ln>
              <a:effectLst/>
              <a:latin typeface="RBC Text" panose="02000000000000000000" pitchFamily="2" charset="77"/>
              <a:ea typeface="Open Sans" charset="0"/>
              <a:cs typeface="Open Sans" charset="0"/>
            </a:endParaRPr>
          </a:p>
        </p:txBody>
      </p:sp>
      <p:sp>
        <p:nvSpPr>
          <p:cNvPr id="99" name="Rectangle 27"/>
          <p:cNvSpPr>
            <a:spLocks noChangeArrowheads="1"/>
          </p:cNvSpPr>
          <p:nvPr/>
        </p:nvSpPr>
        <p:spPr bwMode="auto">
          <a:xfrm>
            <a:off x="7624608" y="3450589"/>
            <a:ext cx="16573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u="none" strike="noStrike" cap="none" normalizeH="0" baseline="0" dirty="0">
                <a:ln>
                  <a:noFill/>
                </a:ln>
                <a:effectLst/>
                <a:latin typeface="RBC Text" panose="02000000000000000000" pitchFamily="2" charset="77"/>
                <a:ea typeface="Open Sans" charset="0"/>
                <a:cs typeface="Open Sans" charset="0"/>
              </a:rPr>
              <a:t>South</a:t>
            </a:r>
            <a:r>
              <a:rPr kumimoji="0" lang="en-US" altLang="en-US" sz="1000" b="1" u="none" strike="noStrike" cap="none" normalizeH="0" dirty="0">
                <a:ln>
                  <a:noFill/>
                </a:ln>
                <a:effectLst/>
                <a:latin typeface="RBC Text" panose="02000000000000000000" pitchFamily="2" charset="77"/>
                <a:ea typeface="Open Sans" charset="0"/>
                <a:cs typeface="Open Sans" charset="0"/>
              </a:rPr>
              <a:t> </a:t>
            </a:r>
            <a:r>
              <a:rPr lang="en-US" altLang="en-US" sz="1000" b="1" dirty="0" err="1">
                <a:latin typeface="RBC Text" panose="02000000000000000000" pitchFamily="2" charset="77"/>
                <a:ea typeface="Open Sans" charset="0"/>
                <a:cs typeface="Open Sans" charset="0"/>
              </a:rPr>
              <a:t>australia</a:t>
            </a:r>
            <a:endParaRPr kumimoji="0" lang="en-US" altLang="en-US" sz="1000" b="1" u="none" strike="noStrike" cap="none" normalizeH="0" baseline="0" dirty="0">
              <a:ln>
                <a:noFill/>
              </a:ln>
              <a:effectLst/>
              <a:latin typeface="RBC Text" panose="02000000000000000000" pitchFamily="2" charset="77"/>
              <a:ea typeface="Open Sans" charset="0"/>
              <a:cs typeface="Open Sans" charset="0"/>
            </a:endParaRPr>
          </a:p>
        </p:txBody>
      </p:sp>
      <p:sp>
        <p:nvSpPr>
          <p:cNvPr id="100" name="Rectangle 30"/>
          <p:cNvSpPr>
            <a:spLocks noChangeArrowheads="1"/>
          </p:cNvSpPr>
          <p:nvPr/>
        </p:nvSpPr>
        <p:spPr bwMode="auto">
          <a:xfrm>
            <a:off x="5893799" y="2994649"/>
            <a:ext cx="5818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000" b="1" dirty="0">
                <a:latin typeface="RBC Text" panose="02000000000000000000" pitchFamily="2" charset="77"/>
                <a:ea typeface="Open Sans" charset="0"/>
                <a:cs typeface="Open Sans" charset="0"/>
              </a:rPr>
              <a:t>Wester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u="none" strike="noStrike" cap="none" normalizeH="0" baseline="0" dirty="0">
                <a:ln>
                  <a:noFill/>
                </a:ln>
                <a:effectLst/>
                <a:latin typeface="RBC Text" panose="02000000000000000000" pitchFamily="2" charset="77"/>
                <a:ea typeface="Open Sans" charset="0"/>
                <a:cs typeface="Open Sans" charset="0"/>
              </a:rPr>
              <a:t>Australia</a:t>
            </a:r>
          </a:p>
        </p:txBody>
      </p:sp>
      <p:sp>
        <p:nvSpPr>
          <p:cNvPr id="101" name="Oval 100"/>
          <p:cNvSpPr/>
          <p:nvPr/>
        </p:nvSpPr>
        <p:spPr>
          <a:xfrm>
            <a:off x="10080582" y="4854367"/>
            <a:ext cx="130546" cy="1305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102" name="Oval 101"/>
          <p:cNvSpPr/>
          <p:nvPr/>
        </p:nvSpPr>
        <p:spPr>
          <a:xfrm>
            <a:off x="11083332" y="4127560"/>
            <a:ext cx="130546" cy="130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103" name="Oval 102"/>
          <p:cNvSpPr/>
          <p:nvPr/>
        </p:nvSpPr>
        <p:spPr>
          <a:xfrm>
            <a:off x="9075775" y="5127750"/>
            <a:ext cx="130546" cy="1305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27" name="Text Placeholder 6">
            <a:extLst>
              <a:ext uri="{FF2B5EF4-FFF2-40B4-BE49-F238E27FC236}">
                <a16:creationId xmlns:a16="http://schemas.microsoft.com/office/drawing/2014/main" id="{6DBE581B-AF3B-3C41-84D6-69CE9FD26498}"/>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71986678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0"/>
          <p:cNvSpPr>
            <a:spLocks noEditPoints="1"/>
          </p:cNvSpPr>
          <p:nvPr/>
        </p:nvSpPr>
        <p:spPr bwMode="auto">
          <a:xfrm>
            <a:off x="8623910" y="369396"/>
            <a:ext cx="3271838" cy="4297363"/>
          </a:xfrm>
          <a:custGeom>
            <a:avLst/>
            <a:gdLst>
              <a:gd name="T0" fmla="*/ 1 w 846"/>
              <a:gd name="T1" fmla="*/ 718 h 1110"/>
              <a:gd name="T2" fmla="*/ 33 w 846"/>
              <a:gd name="T3" fmla="*/ 697 h 1110"/>
              <a:gd name="T4" fmla="*/ 265 w 846"/>
              <a:gd name="T5" fmla="*/ 185 h 1110"/>
              <a:gd name="T6" fmla="*/ 203 w 846"/>
              <a:gd name="T7" fmla="*/ 150 h 1110"/>
              <a:gd name="T8" fmla="*/ 833 w 846"/>
              <a:gd name="T9" fmla="*/ 626 h 1110"/>
              <a:gd name="T10" fmla="*/ 768 w 846"/>
              <a:gd name="T11" fmla="*/ 821 h 1110"/>
              <a:gd name="T12" fmla="*/ 716 w 846"/>
              <a:gd name="T13" fmla="*/ 945 h 1110"/>
              <a:gd name="T14" fmla="*/ 726 w 846"/>
              <a:gd name="T15" fmla="*/ 1085 h 1110"/>
              <a:gd name="T16" fmla="*/ 683 w 846"/>
              <a:gd name="T17" fmla="*/ 1087 h 1110"/>
              <a:gd name="T18" fmla="*/ 587 w 846"/>
              <a:gd name="T19" fmla="*/ 1053 h 1110"/>
              <a:gd name="T20" fmla="*/ 597 w 846"/>
              <a:gd name="T21" fmla="*/ 1013 h 1110"/>
              <a:gd name="T22" fmla="*/ 587 w 846"/>
              <a:gd name="T23" fmla="*/ 974 h 1110"/>
              <a:gd name="T24" fmla="*/ 597 w 846"/>
              <a:gd name="T25" fmla="*/ 945 h 1110"/>
              <a:gd name="T26" fmla="*/ 602 w 846"/>
              <a:gd name="T27" fmla="*/ 906 h 1110"/>
              <a:gd name="T28" fmla="*/ 606 w 846"/>
              <a:gd name="T29" fmla="*/ 848 h 1110"/>
              <a:gd name="T30" fmla="*/ 578 w 846"/>
              <a:gd name="T31" fmla="*/ 821 h 1110"/>
              <a:gd name="T32" fmla="*/ 502 w 846"/>
              <a:gd name="T33" fmla="*/ 828 h 1110"/>
              <a:gd name="T34" fmla="*/ 431 w 846"/>
              <a:gd name="T35" fmla="*/ 801 h 1110"/>
              <a:gd name="T36" fmla="*/ 369 w 846"/>
              <a:gd name="T37" fmla="*/ 773 h 1110"/>
              <a:gd name="T38" fmla="*/ 327 w 846"/>
              <a:gd name="T39" fmla="*/ 738 h 1110"/>
              <a:gd name="T40" fmla="*/ 291 w 846"/>
              <a:gd name="T41" fmla="*/ 678 h 1110"/>
              <a:gd name="T42" fmla="*/ 279 w 846"/>
              <a:gd name="T43" fmla="*/ 639 h 1110"/>
              <a:gd name="T44" fmla="*/ 197 w 846"/>
              <a:gd name="T45" fmla="*/ 612 h 1110"/>
              <a:gd name="T46" fmla="*/ 167 w 846"/>
              <a:gd name="T47" fmla="*/ 541 h 1110"/>
              <a:gd name="T48" fmla="*/ 154 w 846"/>
              <a:gd name="T49" fmla="*/ 506 h 1110"/>
              <a:gd name="T50" fmla="*/ 167 w 846"/>
              <a:gd name="T51" fmla="*/ 476 h 1110"/>
              <a:gd name="T52" fmla="*/ 204 w 846"/>
              <a:gd name="T53" fmla="*/ 448 h 1110"/>
              <a:gd name="T54" fmla="*/ 157 w 846"/>
              <a:gd name="T55" fmla="*/ 434 h 1110"/>
              <a:gd name="T56" fmla="*/ 160 w 846"/>
              <a:gd name="T57" fmla="*/ 417 h 1110"/>
              <a:gd name="T58" fmla="*/ 167 w 846"/>
              <a:gd name="T59" fmla="*/ 405 h 1110"/>
              <a:gd name="T60" fmla="*/ 175 w 846"/>
              <a:gd name="T61" fmla="*/ 393 h 1110"/>
              <a:gd name="T62" fmla="*/ 186 w 846"/>
              <a:gd name="T63" fmla="*/ 365 h 1110"/>
              <a:gd name="T64" fmla="*/ 196 w 846"/>
              <a:gd name="T65" fmla="*/ 304 h 1110"/>
              <a:gd name="T66" fmla="*/ 153 w 846"/>
              <a:gd name="T67" fmla="*/ 235 h 1110"/>
              <a:gd name="T68" fmla="*/ 113 w 846"/>
              <a:gd name="T69" fmla="*/ 158 h 1110"/>
              <a:gd name="T70" fmla="*/ 91 w 846"/>
              <a:gd name="T71" fmla="*/ 90 h 1110"/>
              <a:gd name="T72" fmla="*/ 116 w 846"/>
              <a:gd name="T73" fmla="*/ 17 h 1110"/>
              <a:gd name="T74" fmla="*/ 144 w 846"/>
              <a:gd name="T75" fmla="*/ 9 h 1110"/>
              <a:gd name="T76" fmla="*/ 157 w 846"/>
              <a:gd name="T77" fmla="*/ 23 h 1110"/>
              <a:gd name="T78" fmla="*/ 224 w 846"/>
              <a:gd name="T79" fmla="*/ 25 h 1110"/>
              <a:gd name="T80" fmla="*/ 276 w 846"/>
              <a:gd name="T81" fmla="*/ 39 h 1110"/>
              <a:gd name="T82" fmla="*/ 302 w 846"/>
              <a:gd name="T83" fmla="*/ 49 h 1110"/>
              <a:gd name="T84" fmla="*/ 318 w 846"/>
              <a:gd name="T85" fmla="*/ 94 h 1110"/>
              <a:gd name="T86" fmla="*/ 286 w 846"/>
              <a:gd name="T87" fmla="*/ 133 h 1110"/>
              <a:gd name="T88" fmla="*/ 185 w 846"/>
              <a:gd name="T89" fmla="*/ 131 h 1110"/>
              <a:gd name="T90" fmla="*/ 178 w 846"/>
              <a:gd name="T91" fmla="*/ 136 h 1110"/>
              <a:gd name="T92" fmla="*/ 202 w 846"/>
              <a:gd name="T93" fmla="*/ 150 h 1110"/>
              <a:gd name="T94" fmla="*/ 228 w 846"/>
              <a:gd name="T95" fmla="*/ 186 h 1110"/>
              <a:gd name="T96" fmla="*/ 247 w 846"/>
              <a:gd name="T97" fmla="*/ 220 h 1110"/>
              <a:gd name="T98" fmla="*/ 295 w 846"/>
              <a:gd name="T99" fmla="*/ 234 h 1110"/>
              <a:gd name="T100" fmla="*/ 270 w 846"/>
              <a:gd name="T101" fmla="*/ 193 h 1110"/>
              <a:gd name="T102" fmla="*/ 334 w 846"/>
              <a:gd name="T103" fmla="*/ 188 h 1110"/>
              <a:gd name="T104" fmla="*/ 347 w 846"/>
              <a:gd name="T105" fmla="*/ 175 h 1110"/>
              <a:gd name="T106" fmla="*/ 320 w 846"/>
              <a:gd name="T107" fmla="*/ 141 h 1110"/>
              <a:gd name="T108" fmla="*/ 367 w 846"/>
              <a:gd name="T109" fmla="*/ 85 h 1110"/>
              <a:gd name="T110" fmla="*/ 398 w 846"/>
              <a:gd name="T111" fmla="*/ 115 h 1110"/>
              <a:gd name="T112" fmla="*/ 572 w 846"/>
              <a:gd name="T113" fmla="*/ 211 h 1110"/>
              <a:gd name="T114" fmla="*/ 717 w 846"/>
              <a:gd name="T115" fmla="*/ 391 h 1110"/>
              <a:gd name="T116" fmla="*/ 687 w 846"/>
              <a:gd name="T117" fmla="*/ 475 h 1110"/>
              <a:gd name="T118" fmla="*/ 670 w 846"/>
              <a:gd name="T119" fmla="*/ 533 h 1110"/>
              <a:gd name="T120" fmla="*/ 716 w 846"/>
              <a:gd name="T121" fmla="*/ 610 h 1110"/>
              <a:gd name="T122" fmla="*/ 668 w 846"/>
              <a:gd name="T123" fmla="*/ 531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46" h="1110">
                <a:moveTo>
                  <a:pt x="80" y="711"/>
                </a:moveTo>
                <a:cubicBezTo>
                  <a:pt x="80" y="712"/>
                  <a:pt x="79" y="713"/>
                  <a:pt x="78" y="713"/>
                </a:cubicBezTo>
                <a:cubicBezTo>
                  <a:pt x="78" y="714"/>
                  <a:pt x="78" y="715"/>
                  <a:pt x="77" y="715"/>
                </a:cubicBezTo>
                <a:cubicBezTo>
                  <a:pt x="77" y="716"/>
                  <a:pt x="77" y="716"/>
                  <a:pt x="77" y="716"/>
                </a:cubicBezTo>
                <a:cubicBezTo>
                  <a:pt x="77" y="725"/>
                  <a:pt x="77" y="725"/>
                  <a:pt x="77" y="725"/>
                </a:cubicBezTo>
                <a:cubicBezTo>
                  <a:pt x="77" y="726"/>
                  <a:pt x="77" y="727"/>
                  <a:pt x="78" y="727"/>
                </a:cubicBezTo>
                <a:cubicBezTo>
                  <a:pt x="79" y="728"/>
                  <a:pt x="79" y="728"/>
                  <a:pt x="79" y="729"/>
                </a:cubicBezTo>
                <a:cubicBezTo>
                  <a:pt x="79" y="731"/>
                  <a:pt x="79" y="731"/>
                  <a:pt x="79" y="731"/>
                </a:cubicBezTo>
                <a:cubicBezTo>
                  <a:pt x="77" y="731"/>
                  <a:pt x="75" y="732"/>
                  <a:pt x="73" y="732"/>
                </a:cubicBezTo>
                <a:cubicBezTo>
                  <a:pt x="72" y="733"/>
                  <a:pt x="72" y="733"/>
                  <a:pt x="72" y="733"/>
                </a:cubicBezTo>
                <a:cubicBezTo>
                  <a:pt x="68" y="733"/>
                  <a:pt x="67" y="734"/>
                  <a:pt x="63" y="734"/>
                </a:cubicBezTo>
                <a:cubicBezTo>
                  <a:pt x="62" y="735"/>
                  <a:pt x="58" y="735"/>
                  <a:pt x="56" y="736"/>
                </a:cubicBezTo>
                <a:cubicBezTo>
                  <a:pt x="49" y="737"/>
                  <a:pt x="41" y="738"/>
                  <a:pt x="33" y="737"/>
                </a:cubicBezTo>
                <a:cubicBezTo>
                  <a:pt x="31" y="737"/>
                  <a:pt x="29" y="736"/>
                  <a:pt x="27" y="736"/>
                </a:cubicBezTo>
                <a:cubicBezTo>
                  <a:pt x="26" y="736"/>
                  <a:pt x="26" y="736"/>
                  <a:pt x="26" y="736"/>
                </a:cubicBezTo>
                <a:cubicBezTo>
                  <a:pt x="20" y="736"/>
                  <a:pt x="20" y="736"/>
                  <a:pt x="20" y="736"/>
                </a:cubicBezTo>
                <a:cubicBezTo>
                  <a:pt x="17" y="734"/>
                  <a:pt x="9" y="735"/>
                  <a:pt x="4" y="735"/>
                </a:cubicBezTo>
                <a:cubicBezTo>
                  <a:pt x="5" y="734"/>
                  <a:pt x="5" y="732"/>
                  <a:pt x="6" y="732"/>
                </a:cubicBezTo>
                <a:cubicBezTo>
                  <a:pt x="8" y="732"/>
                  <a:pt x="8" y="731"/>
                  <a:pt x="9" y="731"/>
                </a:cubicBezTo>
                <a:cubicBezTo>
                  <a:pt x="9" y="731"/>
                  <a:pt x="10" y="730"/>
                  <a:pt x="10" y="730"/>
                </a:cubicBezTo>
                <a:cubicBezTo>
                  <a:pt x="11" y="730"/>
                  <a:pt x="11" y="730"/>
                  <a:pt x="11" y="729"/>
                </a:cubicBezTo>
                <a:cubicBezTo>
                  <a:pt x="11" y="729"/>
                  <a:pt x="12" y="729"/>
                  <a:pt x="13" y="729"/>
                </a:cubicBezTo>
                <a:cubicBezTo>
                  <a:pt x="13" y="727"/>
                  <a:pt x="16" y="728"/>
                  <a:pt x="16" y="726"/>
                </a:cubicBezTo>
                <a:cubicBezTo>
                  <a:pt x="13" y="726"/>
                  <a:pt x="10" y="727"/>
                  <a:pt x="8" y="728"/>
                </a:cubicBezTo>
                <a:cubicBezTo>
                  <a:pt x="8" y="727"/>
                  <a:pt x="7" y="727"/>
                  <a:pt x="7" y="727"/>
                </a:cubicBezTo>
                <a:cubicBezTo>
                  <a:pt x="7" y="726"/>
                  <a:pt x="6" y="726"/>
                  <a:pt x="6" y="726"/>
                </a:cubicBezTo>
                <a:cubicBezTo>
                  <a:pt x="6" y="727"/>
                  <a:pt x="5" y="727"/>
                  <a:pt x="5" y="728"/>
                </a:cubicBezTo>
                <a:cubicBezTo>
                  <a:pt x="5" y="729"/>
                  <a:pt x="4" y="729"/>
                  <a:pt x="3" y="729"/>
                </a:cubicBezTo>
                <a:cubicBezTo>
                  <a:pt x="2" y="726"/>
                  <a:pt x="3" y="725"/>
                  <a:pt x="4" y="724"/>
                </a:cubicBezTo>
                <a:cubicBezTo>
                  <a:pt x="4" y="722"/>
                  <a:pt x="2" y="723"/>
                  <a:pt x="2" y="721"/>
                </a:cubicBezTo>
                <a:cubicBezTo>
                  <a:pt x="2" y="720"/>
                  <a:pt x="0" y="720"/>
                  <a:pt x="1" y="718"/>
                </a:cubicBezTo>
                <a:cubicBezTo>
                  <a:pt x="1" y="717"/>
                  <a:pt x="1" y="716"/>
                  <a:pt x="1" y="715"/>
                </a:cubicBezTo>
                <a:cubicBezTo>
                  <a:pt x="2" y="715"/>
                  <a:pt x="1" y="714"/>
                  <a:pt x="2" y="714"/>
                </a:cubicBezTo>
                <a:cubicBezTo>
                  <a:pt x="3" y="714"/>
                  <a:pt x="3" y="714"/>
                  <a:pt x="4" y="713"/>
                </a:cubicBezTo>
                <a:cubicBezTo>
                  <a:pt x="5" y="713"/>
                  <a:pt x="5" y="713"/>
                  <a:pt x="6" y="713"/>
                </a:cubicBezTo>
                <a:cubicBezTo>
                  <a:pt x="6" y="713"/>
                  <a:pt x="6" y="713"/>
                  <a:pt x="7" y="713"/>
                </a:cubicBezTo>
                <a:cubicBezTo>
                  <a:pt x="7" y="714"/>
                  <a:pt x="9" y="713"/>
                  <a:pt x="10" y="713"/>
                </a:cubicBezTo>
                <a:cubicBezTo>
                  <a:pt x="13" y="713"/>
                  <a:pt x="13" y="713"/>
                  <a:pt x="13" y="713"/>
                </a:cubicBezTo>
                <a:cubicBezTo>
                  <a:pt x="13" y="713"/>
                  <a:pt x="14" y="713"/>
                  <a:pt x="15" y="713"/>
                </a:cubicBezTo>
                <a:cubicBezTo>
                  <a:pt x="15" y="710"/>
                  <a:pt x="17" y="711"/>
                  <a:pt x="17" y="709"/>
                </a:cubicBezTo>
                <a:cubicBezTo>
                  <a:pt x="18" y="709"/>
                  <a:pt x="19" y="708"/>
                  <a:pt x="20" y="706"/>
                </a:cubicBezTo>
                <a:cubicBezTo>
                  <a:pt x="20" y="706"/>
                  <a:pt x="20" y="706"/>
                  <a:pt x="20" y="706"/>
                </a:cubicBezTo>
                <a:cubicBezTo>
                  <a:pt x="22" y="702"/>
                  <a:pt x="24" y="699"/>
                  <a:pt x="25" y="696"/>
                </a:cubicBezTo>
                <a:cubicBezTo>
                  <a:pt x="26" y="696"/>
                  <a:pt x="26" y="696"/>
                  <a:pt x="26" y="695"/>
                </a:cubicBezTo>
                <a:cubicBezTo>
                  <a:pt x="27" y="695"/>
                  <a:pt x="27" y="696"/>
                  <a:pt x="27" y="696"/>
                </a:cubicBezTo>
                <a:cubicBezTo>
                  <a:pt x="27" y="699"/>
                  <a:pt x="27" y="699"/>
                  <a:pt x="27" y="699"/>
                </a:cubicBezTo>
                <a:cubicBezTo>
                  <a:pt x="26" y="699"/>
                  <a:pt x="26" y="701"/>
                  <a:pt x="26" y="701"/>
                </a:cubicBezTo>
                <a:cubicBezTo>
                  <a:pt x="26" y="702"/>
                  <a:pt x="25" y="701"/>
                  <a:pt x="25" y="701"/>
                </a:cubicBezTo>
                <a:cubicBezTo>
                  <a:pt x="25" y="702"/>
                  <a:pt x="25" y="703"/>
                  <a:pt x="25" y="703"/>
                </a:cubicBezTo>
                <a:cubicBezTo>
                  <a:pt x="25" y="703"/>
                  <a:pt x="25" y="703"/>
                  <a:pt x="24" y="703"/>
                </a:cubicBezTo>
                <a:cubicBezTo>
                  <a:pt x="24" y="703"/>
                  <a:pt x="24" y="704"/>
                  <a:pt x="24" y="704"/>
                </a:cubicBezTo>
                <a:cubicBezTo>
                  <a:pt x="23" y="706"/>
                  <a:pt x="22" y="706"/>
                  <a:pt x="22" y="708"/>
                </a:cubicBezTo>
                <a:cubicBezTo>
                  <a:pt x="21" y="708"/>
                  <a:pt x="21" y="709"/>
                  <a:pt x="20" y="709"/>
                </a:cubicBezTo>
                <a:cubicBezTo>
                  <a:pt x="20" y="710"/>
                  <a:pt x="19" y="710"/>
                  <a:pt x="19" y="711"/>
                </a:cubicBezTo>
                <a:cubicBezTo>
                  <a:pt x="21" y="711"/>
                  <a:pt x="22" y="713"/>
                  <a:pt x="24" y="713"/>
                </a:cubicBezTo>
                <a:cubicBezTo>
                  <a:pt x="32" y="713"/>
                  <a:pt x="32" y="713"/>
                  <a:pt x="32" y="713"/>
                </a:cubicBezTo>
                <a:cubicBezTo>
                  <a:pt x="33" y="712"/>
                  <a:pt x="32" y="710"/>
                  <a:pt x="34" y="711"/>
                </a:cubicBezTo>
                <a:cubicBezTo>
                  <a:pt x="34" y="706"/>
                  <a:pt x="34" y="706"/>
                  <a:pt x="34" y="706"/>
                </a:cubicBezTo>
                <a:cubicBezTo>
                  <a:pt x="34" y="705"/>
                  <a:pt x="33" y="706"/>
                  <a:pt x="33" y="705"/>
                </a:cubicBezTo>
                <a:cubicBezTo>
                  <a:pt x="33" y="704"/>
                  <a:pt x="34" y="704"/>
                  <a:pt x="33" y="703"/>
                </a:cubicBezTo>
                <a:cubicBezTo>
                  <a:pt x="33" y="701"/>
                  <a:pt x="33" y="700"/>
                  <a:pt x="32" y="699"/>
                </a:cubicBezTo>
                <a:cubicBezTo>
                  <a:pt x="32" y="698"/>
                  <a:pt x="33" y="698"/>
                  <a:pt x="33" y="697"/>
                </a:cubicBezTo>
                <a:cubicBezTo>
                  <a:pt x="35" y="697"/>
                  <a:pt x="34" y="695"/>
                  <a:pt x="34" y="694"/>
                </a:cubicBezTo>
                <a:cubicBezTo>
                  <a:pt x="35" y="694"/>
                  <a:pt x="36" y="694"/>
                  <a:pt x="37" y="694"/>
                </a:cubicBezTo>
                <a:cubicBezTo>
                  <a:pt x="37" y="694"/>
                  <a:pt x="37" y="694"/>
                  <a:pt x="37" y="695"/>
                </a:cubicBezTo>
                <a:cubicBezTo>
                  <a:pt x="37" y="695"/>
                  <a:pt x="38" y="694"/>
                  <a:pt x="38" y="695"/>
                </a:cubicBezTo>
                <a:cubicBezTo>
                  <a:pt x="38" y="695"/>
                  <a:pt x="38" y="695"/>
                  <a:pt x="38" y="695"/>
                </a:cubicBezTo>
                <a:cubicBezTo>
                  <a:pt x="40" y="696"/>
                  <a:pt x="42" y="695"/>
                  <a:pt x="43" y="697"/>
                </a:cubicBezTo>
                <a:cubicBezTo>
                  <a:pt x="47" y="697"/>
                  <a:pt x="47" y="697"/>
                  <a:pt x="47" y="697"/>
                </a:cubicBezTo>
                <a:cubicBezTo>
                  <a:pt x="47" y="699"/>
                  <a:pt x="48" y="698"/>
                  <a:pt x="49" y="699"/>
                </a:cubicBezTo>
                <a:cubicBezTo>
                  <a:pt x="50" y="699"/>
                  <a:pt x="51" y="700"/>
                  <a:pt x="52" y="700"/>
                </a:cubicBezTo>
                <a:cubicBezTo>
                  <a:pt x="55" y="700"/>
                  <a:pt x="55" y="700"/>
                  <a:pt x="55" y="700"/>
                </a:cubicBezTo>
                <a:cubicBezTo>
                  <a:pt x="57" y="701"/>
                  <a:pt x="58" y="703"/>
                  <a:pt x="61" y="702"/>
                </a:cubicBezTo>
                <a:cubicBezTo>
                  <a:pt x="73" y="702"/>
                  <a:pt x="73" y="702"/>
                  <a:pt x="73" y="702"/>
                </a:cubicBezTo>
                <a:cubicBezTo>
                  <a:pt x="75" y="702"/>
                  <a:pt x="75" y="704"/>
                  <a:pt x="75" y="704"/>
                </a:cubicBezTo>
                <a:cubicBezTo>
                  <a:pt x="76" y="705"/>
                  <a:pt x="76" y="706"/>
                  <a:pt x="77" y="706"/>
                </a:cubicBezTo>
                <a:cubicBezTo>
                  <a:pt x="79" y="706"/>
                  <a:pt x="79" y="709"/>
                  <a:pt x="80" y="711"/>
                </a:cubicBezTo>
                <a:close/>
                <a:moveTo>
                  <a:pt x="254" y="195"/>
                </a:moveTo>
                <a:cubicBezTo>
                  <a:pt x="254" y="195"/>
                  <a:pt x="254" y="196"/>
                  <a:pt x="255" y="196"/>
                </a:cubicBezTo>
                <a:cubicBezTo>
                  <a:pt x="255" y="196"/>
                  <a:pt x="256" y="196"/>
                  <a:pt x="256" y="196"/>
                </a:cubicBezTo>
                <a:cubicBezTo>
                  <a:pt x="255" y="199"/>
                  <a:pt x="258" y="198"/>
                  <a:pt x="259" y="198"/>
                </a:cubicBezTo>
                <a:cubicBezTo>
                  <a:pt x="259" y="197"/>
                  <a:pt x="259" y="196"/>
                  <a:pt x="259" y="194"/>
                </a:cubicBezTo>
                <a:cubicBezTo>
                  <a:pt x="259" y="194"/>
                  <a:pt x="258" y="194"/>
                  <a:pt x="258" y="193"/>
                </a:cubicBezTo>
                <a:cubicBezTo>
                  <a:pt x="258" y="190"/>
                  <a:pt x="257" y="189"/>
                  <a:pt x="256" y="189"/>
                </a:cubicBezTo>
                <a:cubicBezTo>
                  <a:pt x="255" y="191"/>
                  <a:pt x="254" y="188"/>
                  <a:pt x="253" y="189"/>
                </a:cubicBezTo>
                <a:cubicBezTo>
                  <a:pt x="253" y="189"/>
                  <a:pt x="252" y="189"/>
                  <a:pt x="252" y="189"/>
                </a:cubicBezTo>
                <a:cubicBezTo>
                  <a:pt x="252" y="190"/>
                  <a:pt x="251" y="191"/>
                  <a:pt x="251" y="191"/>
                </a:cubicBezTo>
                <a:cubicBezTo>
                  <a:pt x="250" y="191"/>
                  <a:pt x="250" y="191"/>
                  <a:pt x="249" y="191"/>
                </a:cubicBezTo>
                <a:cubicBezTo>
                  <a:pt x="249" y="192"/>
                  <a:pt x="250" y="193"/>
                  <a:pt x="251" y="194"/>
                </a:cubicBezTo>
                <a:cubicBezTo>
                  <a:pt x="251" y="194"/>
                  <a:pt x="252" y="194"/>
                  <a:pt x="252" y="194"/>
                </a:cubicBezTo>
                <a:cubicBezTo>
                  <a:pt x="252" y="195"/>
                  <a:pt x="252" y="195"/>
                  <a:pt x="252" y="196"/>
                </a:cubicBezTo>
                <a:cubicBezTo>
                  <a:pt x="253" y="196"/>
                  <a:pt x="254" y="195"/>
                  <a:pt x="254" y="195"/>
                </a:cubicBezTo>
                <a:close/>
                <a:moveTo>
                  <a:pt x="265" y="185"/>
                </a:moveTo>
                <a:cubicBezTo>
                  <a:pt x="264" y="186"/>
                  <a:pt x="263" y="185"/>
                  <a:pt x="262" y="185"/>
                </a:cubicBezTo>
                <a:cubicBezTo>
                  <a:pt x="262" y="185"/>
                  <a:pt x="262" y="186"/>
                  <a:pt x="262" y="186"/>
                </a:cubicBezTo>
                <a:cubicBezTo>
                  <a:pt x="262" y="186"/>
                  <a:pt x="261" y="187"/>
                  <a:pt x="261" y="187"/>
                </a:cubicBezTo>
                <a:cubicBezTo>
                  <a:pt x="260" y="187"/>
                  <a:pt x="259" y="186"/>
                  <a:pt x="258" y="187"/>
                </a:cubicBezTo>
                <a:cubicBezTo>
                  <a:pt x="257" y="191"/>
                  <a:pt x="261" y="189"/>
                  <a:pt x="263" y="189"/>
                </a:cubicBezTo>
                <a:cubicBezTo>
                  <a:pt x="264" y="188"/>
                  <a:pt x="265" y="187"/>
                  <a:pt x="265" y="185"/>
                </a:cubicBezTo>
                <a:close/>
                <a:moveTo>
                  <a:pt x="260" y="212"/>
                </a:moveTo>
                <a:cubicBezTo>
                  <a:pt x="260" y="212"/>
                  <a:pt x="260" y="211"/>
                  <a:pt x="259" y="211"/>
                </a:cubicBezTo>
                <a:cubicBezTo>
                  <a:pt x="259" y="211"/>
                  <a:pt x="258" y="211"/>
                  <a:pt x="259" y="210"/>
                </a:cubicBezTo>
                <a:cubicBezTo>
                  <a:pt x="259" y="210"/>
                  <a:pt x="259" y="210"/>
                  <a:pt x="259" y="210"/>
                </a:cubicBezTo>
                <a:cubicBezTo>
                  <a:pt x="256" y="209"/>
                  <a:pt x="256" y="213"/>
                  <a:pt x="259" y="212"/>
                </a:cubicBezTo>
                <a:cubicBezTo>
                  <a:pt x="259" y="212"/>
                  <a:pt x="259" y="212"/>
                  <a:pt x="260" y="212"/>
                </a:cubicBezTo>
                <a:close/>
                <a:moveTo>
                  <a:pt x="187" y="143"/>
                </a:moveTo>
                <a:cubicBezTo>
                  <a:pt x="188" y="144"/>
                  <a:pt x="191" y="144"/>
                  <a:pt x="192" y="143"/>
                </a:cubicBezTo>
                <a:cubicBezTo>
                  <a:pt x="193" y="142"/>
                  <a:pt x="193" y="142"/>
                  <a:pt x="193" y="141"/>
                </a:cubicBezTo>
                <a:cubicBezTo>
                  <a:pt x="191" y="141"/>
                  <a:pt x="187" y="140"/>
                  <a:pt x="187" y="143"/>
                </a:cubicBezTo>
                <a:close/>
                <a:moveTo>
                  <a:pt x="168" y="122"/>
                </a:moveTo>
                <a:cubicBezTo>
                  <a:pt x="168" y="121"/>
                  <a:pt x="167" y="121"/>
                  <a:pt x="167" y="121"/>
                </a:cubicBezTo>
                <a:cubicBezTo>
                  <a:pt x="167" y="121"/>
                  <a:pt x="167" y="121"/>
                  <a:pt x="167" y="121"/>
                </a:cubicBezTo>
                <a:cubicBezTo>
                  <a:pt x="167" y="121"/>
                  <a:pt x="166" y="121"/>
                  <a:pt x="166" y="121"/>
                </a:cubicBezTo>
                <a:cubicBezTo>
                  <a:pt x="166" y="122"/>
                  <a:pt x="166" y="122"/>
                  <a:pt x="166" y="122"/>
                </a:cubicBezTo>
                <a:cubicBezTo>
                  <a:pt x="166" y="122"/>
                  <a:pt x="166" y="122"/>
                  <a:pt x="166" y="122"/>
                </a:cubicBezTo>
                <a:cubicBezTo>
                  <a:pt x="166" y="122"/>
                  <a:pt x="166" y="123"/>
                  <a:pt x="166" y="123"/>
                </a:cubicBezTo>
                <a:cubicBezTo>
                  <a:pt x="166" y="123"/>
                  <a:pt x="166" y="123"/>
                  <a:pt x="166" y="124"/>
                </a:cubicBezTo>
                <a:cubicBezTo>
                  <a:pt x="166" y="124"/>
                  <a:pt x="166" y="124"/>
                  <a:pt x="166" y="124"/>
                </a:cubicBezTo>
                <a:cubicBezTo>
                  <a:pt x="167" y="123"/>
                  <a:pt x="167" y="125"/>
                  <a:pt x="168" y="125"/>
                </a:cubicBezTo>
                <a:cubicBezTo>
                  <a:pt x="169" y="124"/>
                  <a:pt x="170" y="122"/>
                  <a:pt x="168" y="122"/>
                </a:cubicBezTo>
                <a:cubicBezTo>
                  <a:pt x="168" y="122"/>
                  <a:pt x="168" y="122"/>
                  <a:pt x="168" y="122"/>
                </a:cubicBezTo>
                <a:close/>
                <a:moveTo>
                  <a:pt x="203" y="150"/>
                </a:moveTo>
                <a:cubicBezTo>
                  <a:pt x="204" y="151"/>
                  <a:pt x="205" y="151"/>
                  <a:pt x="206" y="152"/>
                </a:cubicBezTo>
                <a:cubicBezTo>
                  <a:pt x="206" y="150"/>
                  <a:pt x="203" y="149"/>
                  <a:pt x="203" y="150"/>
                </a:cubicBezTo>
                <a:close/>
                <a:moveTo>
                  <a:pt x="258" y="224"/>
                </a:moveTo>
                <a:cubicBezTo>
                  <a:pt x="257" y="224"/>
                  <a:pt x="256" y="223"/>
                  <a:pt x="255" y="224"/>
                </a:cubicBezTo>
                <a:cubicBezTo>
                  <a:pt x="255" y="226"/>
                  <a:pt x="258" y="226"/>
                  <a:pt x="258" y="224"/>
                </a:cubicBezTo>
                <a:close/>
                <a:moveTo>
                  <a:pt x="268" y="224"/>
                </a:moveTo>
                <a:cubicBezTo>
                  <a:pt x="269" y="224"/>
                  <a:pt x="271" y="224"/>
                  <a:pt x="271" y="223"/>
                </a:cubicBezTo>
                <a:cubicBezTo>
                  <a:pt x="271" y="223"/>
                  <a:pt x="271" y="222"/>
                  <a:pt x="271" y="222"/>
                </a:cubicBezTo>
                <a:cubicBezTo>
                  <a:pt x="270" y="222"/>
                  <a:pt x="268" y="219"/>
                  <a:pt x="267" y="221"/>
                </a:cubicBezTo>
                <a:cubicBezTo>
                  <a:pt x="268" y="222"/>
                  <a:pt x="268" y="222"/>
                  <a:pt x="268" y="224"/>
                </a:cubicBezTo>
                <a:close/>
                <a:moveTo>
                  <a:pt x="169" y="430"/>
                </a:moveTo>
                <a:cubicBezTo>
                  <a:pt x="170" y="428"/>
                  <a:pt x="169" y="427"/>
                  <a:pt x="167" y="427"/>
                </a:cubicBezTo>
                <a:cubicBezTo>
                  <a:pt x="167" y="429"/>
                  <a:pt x="167" y="431"/>
                  <a:pt x="169" y="430"/>
                </a:cubicBezTo>
                <a:close/>
                <a:moveTo>
                  <a:pt x="171" y="442"/>
                </a:moveTo>
                <a:cubicBezTo>
                  <a:pt x="172" y="443"/>
                  <a:pt x="174" y="443"/>
                  <a:pt x="175" y="442"/>
                </a:cubicBezTo>
                <a:cubicBezTo>
                  <a:pt x="175" y="441"/>
                  <a:pt x="175" y="441"/>
                  <a:pt x="174" y="440"/>
                </a:cubicBezTo>
                <a:cubicBezTo>
                  <a:pt x="173" y="440"/>
                  <a:pt x="172" y="440"/>
                  <a:pt x="172" y="440"/>
                </a:cubicBezTo>
                <a:cubicBezTo>
                  <a:pt x="170" y="440"/>
                  <a:pt x="168" y="440"/>
                  <a:pt x="167" y="440"/>
                </a:cubicBezTo>
                <a:cubicBezTo>
                  <a:pt x="166" y="440"/>
                  <a:pt x="166" y="440"/>
                  <a:pt x="166" y="440"/>
                </a:cubicBezTo>
                <a:cubicBezTo>
                  <a:pt x="167" y="440"/>
                  <a:pt x="168" y="441"/>
                  <a:pt x="168" y="442"/>
                </a:cubicBezTo>
                <a:cubicBezTo>
                  <a:pt x="169" y="443"/>
                  <a:pt x="170" y="442"/>
                  <a:pt x="170" y="442"/>
                </a:cubicBezTo>
                <a:cubicBezTo>
                  <a:pt x="170" y="442"/>
                  <a:pt x="170" y="442"/>
                  <a:pt x="170" y="442"/>
                </a:cubicBezTo>
                <a:cubicBezTo>
                  <a:pt x="170" y="442"/>
                  <a:pt x="171" y="442"/>
                  <a:pt x="171" y="442"/>
                </a:cubicBezTo>
                <a:close/>
                <a:moveTo>
                  <a:pt x="166" y="435"/>
                </a:moveTo>
                <a:cubicBezTo>
                  <a:pt x="165" y="436"/>
                  <a:pt x="165" y="436"/>
                  <a:pt x="166" y="437"/>
                </a:cubicBezTo>
                <a:cubicBezTo>
                  <a:pt x="166" y="438"/>
                  <a:pt x="169" y="439"/>
                  <a:pt x="169" y="437"/>
                </a:cubicBezTo>
                <a:cubicBezTo>
                  <a:pt x="167" y="437"/>
                  <a:pt x="168" y="435"/>
                  <a:pt x="166" y="435"/>
                </a:cubicBezTo>
                <a:close/>
                <a:moveTo>
                  <a:pt x="711" y="329"/>
                </a:moveTo>
                <a:cubicBezTo>
                  <a:pt x="699" y="320"/>
                  <a:pt x="699" y="320"/>
                  <a:pt x="699" y="320"/>
                </a:cubicBezTo>
                <a:cubicBezTo>
                  <a:pt x="703" y="325"/>
                  <a:pt x="706" y="326"/>
                  <a:pt x="708" y="327"/>
                </a:cubicBezTo>
                <a:cubicBezTo>
                  <a:pt x="711" y="329"/>
                  <a:pt x="705" y="325"/>
                  <a:pt x="711" y="329"/>
                </a:cubicBezTo>
                <a:close/>
                <a:moveTo>
                  <a:pt x="840" y="611"/>
                </a:moveTo>
                <a:cubicBezTo>
                  <a:pt x="839" y="617"/>
                  <a:pt x="836" y="621"/>
                  <a:pt x="833" y="626"/>
                </a:cubicBezTo>
                <a:cubicBezTo>
                  <a:pt x="831" y="631"/>
                  <a:pt x="825" y="632"/>
                  <a:pt x="823" y="636"/>
                </a:cubicBezTo>
                <a:cubicBezTo>
                  <a:pt x="820" y="641"/>
                  <a:pt x="823" y="644"/>
                  <a:pt x="826" y="648"/>
                </a:cubicBezTo>
                <a:cubicBezTo>
                  <a:pt x="823" y="651"/>
                  <a:pt x="823" y="654"/>
                  <a:pt x="822" y="657"/>
                </a:cubicBezTo>
                <a:cubicBezTo>
                  <a:pt x="821" y="660"/>
                  <a:pt x="820" y="662"/>
                  <a:pt x="817" y="665"/>
                </a:cubicBezTo>
                <a:cubicBezTo>
                  <a:pt x="810" y="671"/>
                  <a:pt x="811" y="671"/>
                  <a:pt x="817" y="676"/>
                </a:cubicBezTo>
                <a:cubicBezTo>
                  <a:pt x="821" y="680"/>
                  <a:pt x="827" y="685"/>
                  <a:pt x="829" y="690"/>
                </a:cubicBezTo>
                <a:cubicBezTo>
                  <a:pt x="833" y="696"/>
                  <a:pt x="829" y="699"/>
                  <a:pt x="823" y="703"/>
                </a:cubicBezTo>
                <a:cubicBezTo>
                  <a:pt x="819" y="706"/>
                  <a:pt x="821" y="707"/>
                  <a:pt x="815" y="705"/>
                </a:cubicBezTo>
                <a:cubicBezTo>
                  <a:pt x="812" y="703"/>
                  <a:pt x="811" y="701"/>
                  <a:pt x="808" y="700"/>
                </a:cubicBezTo>
                <a:cubicBezTo>
                  <a:pt x="804" y="699"/>
                  <a:pt x="802" y="698"/>
                  <a:pt x="799" y="696"/>
                </a:cubicBezTo>
                <a:cubicBezTo>
                  <a:pt x="797" y="695"/>
                  <a:pt x="792" y="690"/>
                  <a:pt x="790" y="690"/>
                </a:cubicBezTo>
                <a:cubicBezTo>
                  <a:pt x="783" y="690"/>
                  <a:pt x="788" y="694"/>
                  <a:pt x="786" y="697"/>
                </a:cubicBezTo>
                <a:cubicBezTo>
                  <a:pt x="785" y="699"/>
                  <a:pt x="784" y="699"/>
                  <a:pt x="782" y="699"/>
                </a:cubicBezTo>
                <a:cubicBezTo>
                  <a:pt x="782" y="699"/>
                  <a:pt x="782" y="699"/>
                  <a:pt x="782" y="699"/>
                </a:cubicBezTo>
                <a:cubicBezTo>
                  <a:pt x="784" y="704"/>
                  <a:pt x="788" y="708"/>
                  <a:pt x="789" y="713"/>
                </a:cubicBezTo>
                <a:cubicBezTo>
                  <a:pt x="789" y="718"/>
                  <a:pt x="783" y="720"/>
                  <a:pt x="783" y="725"/>
                </a:cubicBezTo>
                <a:cubicBezTo>
                  <a:pt x="783" y="727"/>
                  <a:pt x="787" y="729"/>
                  <a:pt x="788" y="732"/>
                </a:cubicBezTo>
                <a:cubicBezTo>
                  <a:pt x="788" y="734"/>
                  <a:pt x="788" y="737"/>
                  <a:pt x="789" y="739"/>
                </a:cubicBezTo>
                <a:cubicBezTo>
                  <a:pt x="789" y="741"/>
                  <a:pt x="788" y="746"/>
                  <a:pt x="789" y="747"/>
                </a:cubicBezTo>
                <a:cubicBezTo>
                  <a:pt x="791" y="749"/>
                  <a:pt x="794" y="748"/>
                  <a:pt x="797" y="749"/>
                </a:cubicBezTo>
                <a:cubicBezTo>
                  <a:pt x="806" y="751"/>
                  <a:pt x="801" y="754"/>
                  <a:pt x="801" y="761"/>
                </a:cubicBezTo>
                <a:cubicBezTo>
                  <a:pt x="801" y="766"/>
                  <a:pt x="804" y="772"/>
                  <a:pt x="803" y="777"/>
                </a:cubicBezTo>
                <a:cubicBezTo>
                  <a:pt x="799" y="777"/>
                  <a:pt x="796" y="774"/>
                  <a:pt x="791" y="775"/>
                </a:cubicBezTo>
                <a:cubicBezTo>
                  <a:pt x="788" y="775"/>
                  <a:pt x="779" y="777"/>
                  <a:pt x="778" y="781"/>
                </a:cubicBezTo>
                <a:cubicBezTo>
                  <a:pt x="777" y="783"/>
                  <a:pt x="779" y="785"/>
                  <a:pt x="779" y="787"/>
                </a:cubicBezTo>
                <a:cubicBezTo>
                  <a:pt x="779" y="790"/>
                  <a:pt x="778" y="791"/>
                  <a:pt x="776" y="793"/>
                </a:cubicBezTo>
                <a:cubicBezTo>
                  <a:pt x="774" y="796"/>
                  <a:pt x="767" y="799"/>
                  <a:pt x="767" y="803"/>
                </a:cubicBezTo>
                <a:cubicBezTo>
                  <a:pt x="769" y="803"/>
                  <a:pt x="772" y="804"/>
                  <a:pt x="774" y="805"/>
                </a:cubicBezTo>
                <a:cubicBezTo>
                  <a:pt x="771" y="807"/>
                  <a:pt x="757" y="807"/>
                  <a:pt x="764" y="815"/>
                </a:cubicBezTo>
                <a:cubicBezTo>
                  <a:pt x="766" y="818"/>
                  <a:pt x="768" y="815"/>
                  <a:pt x="771" y="817"/>
                </a:cubicBezTo>
                <a:cubicBezTo>
                  <a:pt x="774" y="819"/>
                  <a:pt x="771" y="822"/>
                  <a:pt x="768" y="821"/>
                </a:cubicBezTo>
                <a:cubicBezTo>
                  <a:pt x="768" y="823"/>
                  <a:pt x="768" y="824"/>
                  <a:pt x="768" y="825"/>
                </a:cubicBezTo>
                <a:cubicBezTo>
                  <a:pt x="765" y="826"/>
                  <a:pt x="765" y="830"/>
                  <a:pt x="761" y="831"/>
                </a:cubicBezTo>
                <a:cubicBezTo>
                  <a:pt x="761" y="827"/>
                  <a:pt x="751" y="821"/>
                  <a:pt x="750" y="828"/>
                </a:cubicBezTo>
                <a:cubicBezTo>
                  <a:pt x="749" y="835"/>
                  <a:pt x="760" y="835"/>
                  <a:pt x="761" y="843"/>
                </a:cubicBezTo>
                <a:cubicBezTo>
                  <a:pt x="757" y="845"/>
                  <a:pt x="746" y="844"/>
                  <a:pt x="751" y="853"/>
                </a:cubicBezTo>
                <a:cubicBezTo>
                  <a:pt x="747" y="855"/>
                  <a:pt x="745" y="860"/>
                  <a:pt x="747" y="864"/>
                </a:cubicBezTo>
                <a:cubicBezTo>
                  <a:pt x="748" y="867"/>
                  <a:pt x="749" y="867"/>
                  <a:pt x="749" y="871"/>
                </a:cubicBezTo>
                <a:cubicBezTo>
                  <a:pt x="749" y="872"/>
                  <a:pt x="749" y="872"/>
                  <a:pt x="748" y="873"/>
                </a:cubicBezTo>
                <a:cubicBezTo>
                  <a:pt x="749" y="874"/>
                  <a:pt x="749" y="874"/>
                  <a:pt x="750" y="874"/>
                </a:cubicBezTo>
                <a:cubicBezTo>
                  <a:pt x="752" y="876"/>
                  <a:pt x="752" y="878"/>
                  <a:pt x="755" y="879"/>
                </a:cubicBezTo>
                <a:cubicBezTo>
                  <a:pt x="757" y="875"/>
                  <a:pt x="756" y="872"/>
                  <a:pt x="760" y="869"/>
                </a:cubicBezTo>
                <a:cubicBezTo>
                  <a:pt x="762" y="867"/>
                  <a:pt x="765" y="866"/>
                  <a:pt x="768" y="869"/>
                </a:cubicBezTo>
                <a:cubicBezTo>
                  <a:pt x="771" y="872"/>
                  <a:pt x="770" y="875"/>
                  <a:pt x="770" y="879"/>
                </a:cubicBezTo>
                <a:cubicBezTo>
                  <a:pt x="771" y="882"/>
                  <a:pt x="772" y="885"/>
                  <a:pt x="772" y="889"/>
                </a:cubicBezTo>
                <a:cubicBezTo>
                  <a:pt x="773" y="890"/>
                  <a:pt x="773" y="893"/>
                  <a:pt x="772" y="894"/>
                </a:cubicBezTo>
                <a:cubicBezTo>
                  <a:pt x="772" y="896"/>
                  <a:pt x="771" y="896"/>
                  <a:pt x="770" y="898"/>
                </a:cubicBezTo>
                <a:cubicBezTo>
                  <a:pt x="769" y="900"/>
                  <a:pt x="769" y="899"/>
                  <a:pt x="769" y="902"/>
                </a:cubicBezTo>
                <a:cubicBezTo>
                  <a:pt x="769" y="905"/>
                  <a:pt x="769" y="905"/>
                  <a:pt x="768" y="907"/>
                </a:cubicBezTo>
                <a:cubicBezTo>
                  <a:pt x="768" y="911"/>
                  <a:pt x="770" y="911"/>
                  <a:pt x="772" y="914"/>
                </a:cubicBezTo>
                <a:cubicBezTo>
                  <a:pt x="773" y="916"/>
                  <a:pt x="778" y="922"/>
                  <a:pt x="774" y="922"/>
                </a:cubicBezTo>
                <a:cubicBezTo>
                  <a:pt x="773" y="920"/>
                  <a:pt x="770" y="920"/>
                  <a:pt x="768" y="921"/>
                </a:cubicBezTo>
                <a:cubicBezTo>
                  <a:pt x="766" y="923"/>
                  <a:pt x="767" y="923"/>
                  <a:pt x="768" y="926"/>
                </a:cubicBezTo>
                <a:cubicBezTo>
                  <a:pt x="769" y="932"/>
                  <a:pt x="763" y="934"/>
                  <a:pt x="758" y="933"/>
                </a:cubicBezTo>
                <a:cubicBezTo>
                  <a:pt x="756" y="933"/>
                  <a:pt x="755" y="932"/>
                  <a:pt x="753" y="931"/>
                </a:cubicBezTo>
                <a:cubicBezTo>
                  <a:pt x="751" y="930"/>
                  <a:pt x="749" y="930"/>
                  <a:pt x="746" y="930"/>
                </a:cubicBezTo>
                <a:cubicBezTo>
                  <a:pt x="741" y="930"/>
                  <a:pt x="738" y="930"/>
                  <a:pt x="735" y="934"/>
                </a:cubicBezTo>
                <a:cubicBezTo>
                  <a:pt x="732" y="932"/>
                  <a:pt x="730" y="931"/>
                  <a:pt x="727" y="931"/>
                </a:cubicBezTo>
                <a:cubicBezTo>
                  <a:pt x="724" y="931"/>
                  <a:pt x="721" y="931"/>
                  <a:pt x="718" y="931"/>
                </a:cubicBezTo>
                <a:cubicBezTo>
                  <a:pt x="714" y="933"/>
                  <a:pt x="713" y="940"/>
                  <a:pt x="719" y="940"/>
                </a:cubicBezTo>
                <a:cubicBezTo>
                  <a:pt x="720" y="940"/>
                  <a:pt x="725" y="939"/>
                  <a:pt x="723" y="943"/>
                </a:cubicBezTo>
                <a:cubicBezTo>
                  <a:pt x="722" y="945"/>
                  <a:pt x="717" y="943"/>
                  <a:pt x="716" y="945"/>
                </a:cubicBezTo>
                <a:cubicBezTo>
                  <a:pt x="715" y="947"/>
                  <a:pt x="718" y="948"/>
                  <a:pt x="718" y="951"/>
                </a:cubicBezTo>
                <a:cubicBezTo>
                  <a:pt x="717" y="956"/>
                  <a:pt x="713" y="950"/>
                  <a:pt x="711" y="949"/>
                </a:cubicBezTo>
                <a:cubicBezTo>
                  <a:pt x="711" y="952"/>
                  <a:pt x="710" y="953"/>
                  <a:pt x="711" y="956"/>
                </a:cubicBezTo>
                <a:cubicBezTo>
                  <a:pt x="712" y="961"/>
                  <a:pt x="712" y="963"/>
                  <a:pt x="709" y="966"/>
                </a:cubicBezTo>
                <a:cubicBezTo>
                  <a:pt x="706" y="970"/>
                  <a:pt x="706" y="967"/>
                  <a:pt x="702" y="966"/>
                </a:cubicBezTo>
                <a:cubicBezTo>
                  <a:pt x="701" y="966"/>
                  <a:pt x="700" y="966"/>
                  <a:pt x="698" y="967"/>
                </a:cubicBezTo>
                <a:cubicBezTo>
                  <a:pt x="699" y="967"/>
                  <a:pt x="699" y="967"/>
                  <a:pt x="699" y="968"/>
                </a:cubicBezTo>
                <a:cubicBezTo>
                  <a:pt x="702" y="970"/>
                  <a:pt x="704" y="974"/>
                  <a:pt x="707" y="974"/>
                </a:cubicBezTo>
                <a:cubicBezTo>
                  <a:pt x="709" y="980"/>
                  <a:pt x="708" y="982"/>
                  <a:pt x="703" y="983"/>
                </a:cubicBezTo>
                <a:cubicBezTo>
                  <a:pt x="698" y="985"/>
                  <a:pt x="698" y="988"/>
                  <a:pt x="699" y="993"/>
                </a:cubicBezTo>
                <a:cubicBezTo>
                  <a:pt x="703" y="993"/>
                  <a:pt x="703" y="997"/>
                  <a:pt x="704" y="999"/>
                </a:cubicBezTo>
                <a:cubicBezTo>
                  <a:pt x="706" y="1003"/>
                  <a:pt x="705" y="1001"/>
                  <a:pt x="708" y="1003"/>
                </a:cubicBezTo>
                <a:cubicBezTo>
                  <a:pt x="710" y="1003"/>
                  <a:pt x="712" y="1003"/>
                  <a:pt x="713" y="1005"/>
                </a:cubicBezTo>
                <a:cubicBezTo>
                  <a:pt x="716" y="998"/>
                  <a:pt x="720" y="1001"/>
                  <a:pt x="723" y="1006"/>
                </a:cubicBezTo>
                <a:cubicBezTo>
                  <a:pt x="723" y="1007"/>
                  <a:pt x="724" y="1010"/>
                  <a:pt x="725" y="1011"/>
                </a:cubicBezTo>
                <a:cubicBezTo>
                  <a:pt x="728" y="1014"/>
                  <a:pt x="728" y="1010"/>
                  <a:pt x="731" y="1010"/>
                </a:cubicBezTo>
                <a:cubicBezTo>
                  <a:pt x="740" y="1012"/>
                  <a:pt x="731" y="1028"/>
                  <a:pt x="734" y="1031"/>
                </a:cubicBezTo>
                <a:cubicBezTo>
                  <a:pt x="735" y="1030"/>
                  <a:pt x="736" y="1028"/>
                  <a:pt x="736" y="1027"/>
                </a:cubicBezTo>
                <a:cubicBezTo>
                  <a:pt x="739" y="1027"/>
                  <a:pt x="737" y="1030"/>
                  <a:pt x="738" y="1030"/>
                </a:cubicBezTo>
                <a:cubicBezTo>
                  <a:pt x="740" y="1031"/>
                  <a:pt x="741" y="1029"/>
                  <a:pt x="744" y="1030"/>
                </a:cubicBezTo>
                <a:cubicBezTo>
                  <a:pt x="749" y="1032"/>
                  <a:pt x="743" y="1038"/>
                  <a:pt x="745" y="1042"/>
                </a:cubicBezTo>
                <a:cubicBezTo>
                  <a:pt x="745" y="1043"/>
                  <a:pt x="747" y="1042"/>
                  <a:pt x="747" y="1042"/>
                </a:cubicBezTo>
                <a:cubicBezTo>
                  <a:pt x="748" y="1043"/>
                  <a:pt x="747" y="1044"/>
                  <a:pt x="748" y="1045"/>
                </a:cubicBezTo>
                <a:cubicBezTo>
                  <a:pt x="749" y="1048"/>
                  <a:pt x="749" y="1050"/>
                  <a:pt x="747" y="1053"/>
                </a:cubicBezTo>
                <a:cubicBezTo>
                  <a:pt x="746" y="1055"/>
                  <a:pt x="740" y="1059"/>
                  <a:pt x="738" y="1060"/>
                </a:cubicBezTo>
                <a:cubicBezTo>
                  <a:pt x="737" y="1058"/>
                  <a:pt x="736" y="1057"/>
                  <a:pt x="737" y="1055"/>
                </a:cubicBezTo>
                <a:cubicBezTo>
                  <a:pt x="733" y="1054"/>
                  <a:pt x="730" y="1057"/>
                  <a:pt x="726" y="1057"/>
                </a:cubicBezTo>
                <a:cubicBezTo>
                  <a:pt x="725" y="1057"/>
                  <a:pt x="722" y="1054"/>
                  <a:pt x="722" y="1058"/>
                </a:cubicBezTo>
                <a:cubicBezTo>
                  <a:pt x="722" y="1061"/>
                  <a:pt x="723" y="1062"/>
                  <a:pt x="726" y="1062"/>
                </a:cubicBezTo>
                <a:cubicBezTo>
                  <a:pt x="727" y="1067"/>
                  <a:pt x="724" y="1069"/>
                  <a:pt x="723" y="1074"/>
                </a:cubicBezTo>
                <a:cubicBezTo>
                  <a:pt x="722" y="1078"/>
                  <a:pt x="725" y="1082"/>
                  <a:pt x="726" y="1085"/>
                </a:cubicBezTo>
                <a:cubicBezTo>
                  <a:pt x="726" y="1087"/>
                  <a:pt x="726" y="1088"/>
                  <a:pt x="727" y="1088"/>
                </a:cubicBezTo>
                <a:cubicBezTo>
                  <a:pt x="727" y="1088"/>
                  <a:pt x="727" y="1088"/>
                  <a:pt x="727" y="1088"/>
                </a:cubicBezTo>
                <a:cubicBezTo>
                  <a:pt x="726" y="1088"/>
                  <a:pt x="726" y="1088"/>
                  <a:pt x="726" y="1088"/>
                </a:cubicBezTo>
                <a:cubicBezTo>
                  <a:pt x="726" y="1088"/>
                  <a:pt x="726" y="1089"/>
                  <a:pt x="726" y="1089"/>
                </a:cubicBezTo>
                <a:cubicBezTo>
                  <a:pt x="725" y="1089"/>
                  <a:pt x="725" y="1089"/>
                  <a:pt x="725" y="1089"/>
                </a:cubicBezTo>
                <a:cubicBezTo>
                  <a:pt x="725" y="1089"/>
                  <a:pt x="725" y="1089"/>
                  <a:pt x="725" y="1089"/>
                </a:cubicBezTo>
                <a:cubicBezTo>
                  <a:pt x="725" y="1089"/>
                  <a:pt x="724" y="1089"/>
                  <a:pt x="724" y="1089"/>
                </a:cubicBezTo>
                <a:cubicBezTo>
                  <a:pt x="724" y="1089"/>
                  <a:pt x="724" y="1089"/>
                  <a:pt x="724" y="1089"/>
                </a:cubicBezTo>
                <a:cubicBezTo>
                  <a:pt x="724" y="1089"/>
                  <a:pt x="723" y="1089"/>
                  <a:pt x="723" y="1089"/>
                </a:cubicBezTo>
                <a:cubicBezTo>
                  <a:pt x="723" y="1089"/>
                  <a:pt x="723" y="1089"/>
                  <a:pt x="723" y="1089"/>
                </a:cubicBezTo>
                <a:cubicBezTo>
                  <a:pt x="723" y="1089"/>
                  <a:pt x="722" y="1089"/>
                  <a:pt x="722" y="1089"/>
                </a:cubicBezTo>
                <a:cubicBezTo>
                  <a:pt x="722" y="1089"/>
                  <a:pt x="722" y="1089"/>
                  <a:pt x="722" y="1089"/>
                </a:cubicBezTo>
                <a:cubicBezTo>
                  <a:pt x="722" y="1089"/>
                  <a:pt x="722" y="1089"/>
                  <a:pt x="721" y="1089"/>
                </a:cubicBezTo>
                <a:cubicBezTo>
                  <a:pt x="721" y="1089"/>
                  <a:pt x="721" y="1089"/>
                  <a:pt x="721" y="1089"/>
                </a:cubicBezTo>
                <a:cubicBezTo>
                  <a:pt x="721" y="1089"/>
                  <a:pt x="721" y="1089"/>
                  <a:pt x="720" y="1089"/>
                </a:cubicBezTo>
                <a:cubicBezTo>
                  <a:pt x="720" y="1090"/>
                  <a:pt x="720" y="1090"/>
                  <a:pt x="719" y="1090"/>
                </a:cubicBezTo>
                <a:cubicBezTo>
                  <a:pt x="714" y="1092"/>
                  <a:pt x="713" y="1092"/>
                  <a:pt x="707" y="1093"/>
                </a:cubicBezTo>
                <a:cubicBezTo>
                  <a:pt x="705" y="1092"/>
                  <a:pt x="705" y="1092"/>
                  <a:pt x="705" y="1092"/>
                </a:cubicBezTo>
                <a:cubicBezTo>
                  <a:pt x="705" y="1093"/>
                  <a:pt x="705" y="1093"/>
                  <a:pt x="704" y="1093"/>
                </a:cubicBezTo>
                <a:cubicBezTo>
                  <a:pt x="704" y="1096"/>
                  <a:pt x="706" y="1096"/>
                  <a:pt x="707" y="1098"/>
                </a:cubicBezTo>
                <a:cubicBezTo>
                  <a:pt x="707" y="1098"/>
                  <a:pt x="707" y="1098"/>
                  <a:pt x="707" y="1098"/>
                </a:cubicBezTo>
                <a:cubicBezTo>
                  <a:pt x="707" y="1098"/>
                  <a:pt x="707" y="1098"/>
                  <a:pt x="707" y="1098"/>
                </a:cubicBezTo>
                <a:cubicBezTo>
                  <a:pt x="707" y="1098"/>
                  <a:pt x="707" y="1098"/>
                  <a:pt x="707" y="1098"/>
                </a:cubicBezTo>
                <a:cubicBezTo>
                  <a:pt x="707" y="1098"/>
                  <a:pt x="707" y="1098"/>
                  <a:pt x="707" y="1098"/>
                </a:cubicBezTo>
                <a:cubicBezTo>
                  <a:pt x="707" y="1098"/>
                  <a:pt x="707" y="1098"/>
                  <a:pt x="707" y="1098"/>
                </a:cubicBezTo>
                <a:cubicBezTo>
                  <a:pt x="707" y="1099"/>
                  <a:pt x="707" y="1099"/>
                  <a:pt x="707" y="1099"/>
                </a:cubicBezTo>
                <a:cubicBezTo>
                  <a:pt x="708" y="1101"/>
                  <a:pt x="708" y="1102"/>
                  <a:pt x="709" y="1104"/>
                </a:cubicBezTo>
                <a:cubicBezTo>
                  <a:pt x="709" y="1104"/>
                  <a:pt x="709" y="1105"/>
                  <a:pt x="709" y="1105"/>
                </a:cubicBezTo>
                <a:cubicBezTo>
                  <a:pt x="710" y="1109"/>
                  <a:pt x="710" y="1110"/>
                  <a:pt x="710" y="1110"/>
                </a:cubicBezTo>
                <a:cubicBezTo>
                  <a:pt x="710" y="1110"/>
                  <a:pt x="710" y="1110"/>
                  <a:pt x="710" y="1110"/>
                </a:cubicBezTo>
                <a:cubicBezTo>
                  <a:pt x="705" y="1108"/>
                  <a:pt x="688" y="1088"/>
                  <a:pt x="683" y="1087"/>
                </a:cubicBezTo>
                <a:cubicBezTo>
                  <a:pt x="677" y="1085"/>
                  <a:pt x="678" y="1079"/>
                  <a:pt x="671" y="1079"/>
                </a:cubicBezTo>
                <a:cubicBezTo>
                  <a:pt x="669" y="1079"/>
                  <a:pt x="667" y="1079"/>
                  <a:pt x="667" y="1078"/>
                </a:cubicBezTo>
                <a:cubicBezTo>
                  <a:pt x="666" y="1077"/>
                  <a:pt x="664" y="1077"/>
                  <a:pt x="662" y="1077"/>
                </a:cubicBezTo>
                <a:cubicBezTo>
                  <a:pt x="662" y="1076"/>
                  <a:pt x="661" y="1076"/>
                  <a:pt x="660" y="1076"/>
                </a:cubicBezTo>
                <a:cubicBezTo>
                  <a:pt x="660" y="1075"/>
                  <a:pt x="659" y="1075"/>
                  <a:pt x="659" y="1074"/>
                </a:cubicBezTo>
                <a:cubicBezTo>
                  <a:pt x="659" y="1074"/>
                  <a:pt x="658" y="1074"/>
                  <a:pt x="658" y="1074"/>
                </a:cubicBezTo>
                <a:cubicBezTo>
                  <a:pt x="655" y="1074"/>
                  <a:pt x="654" y="1072"/>
                  <a:pt x="651" y="1072"/>
                </a:cubicBezTo>
                <a:cubicBezTo>
                  <a:pt x="652" y="1071"/>
                  <a:pt x="649" y="1071"/>
                  <a:pt x="649" y="1070"/>
                </a:cubicBezTo>
                <a:cubicBezTo>
                  <a:pt x="648" y="1070"/>
                  <a:pt x="648" y="1068"/>
                  <a:pt x="647" y="1069"/>
                </a:cubicBezTo>
                <a:cubicBezTo>
                  <a:pt x="643" y="1069"/>
                  <a:pt x="641" y="1069"/>
                  <a:pt x="638" y="1069"/>
                </a:cubicBezTo>
                <a:cubicBezTo>
                  <a:pt x="636" y="1069"/>
                  <a:pt x="635" y="1070"/>
                  <a:pt x="633" y="1070"/>
                </a:cubicBezTo>
                <a:cubicBezTo>
                  <a:pt x="630" y="1070"/>
                  <a:pt x="629" y="1069"/>
                  <a:pt x="626" y="1069"/>
                </a:cubicBezTo>
                <a:cubicBezTo>
                  <a:pt x="626" y="1068"/>
                  <a:pt x="626" y="1068"/>
                  <a:pt x="626" y="1068"/>
                </a:cubicBezTo>
                <a:cubicBezTo>
                  <a:pt x="625" y="1068"/>
                  <a:pt x="624" y="1068"/>
                  <a:pt x="624" y="1067"/>
                </a:cubicBezTo>
                <a:cubicBezTo>
                  <a:pt x="623" y="1067"/>
                  <a:pt x="623" y="1066"/>
                  <a:pt x="623" y="1065"/>
                </a:cubicBezTo>
                <a:cubicBezTo>
                  <a:pt x="621" y="1065"/>
                  <a:pt x="619" y="1064"/>
                  <a:pt x="617" y="1064"/>
                </a:cubicBezTo>
                <a:cubicBezTo>
                  <a:pt x="617" y="1063"/>
                  <a:pt x="617" y="1063"/>
                  <a:pt x="617" y="1063"/>
                </a:cubicBezTo>
                <a:cubicBezTo>
                  <a:pt x="616" y="1063"/>
                  <a:pt x="616" y="1062"/>
                  <a:pt x="615" y="1062"/>
                </a:cubicBezTo>
                <a:cubicBezTo>
                  <a:pt x="615" y="1061"/>
                  <a:pt x="615" y="1061"/>
                  <a:pt x="615" y="1061"/>
                </a:cubicBezTo>
                <a:cubicBezTo>
                  <a:pt x="614" y="1061"/>
                  <a:pt x="614" y="1060"/>
                  <a:pt x="612" y="1060"/>
                </a:cubicBezTo>
                <a:cubicBezTo>
                  <a:pt x="612" y="1062"/>
                  <a:pt x="615" y="1063"/>
                  <a:pt x="612" y="1063"/>
                </a:cubicBezTo>
                <a:cubicBezTo>
                  <a:pt x="611" y="1063"/>
                  <a:pt x="610" y="1063"/>
                  <a:pt x="610" y="1064"/>
                </a:cubicBezTo>
                <a:cubicBezTo>
                  <a:pt x="604" y="1064"/>
                  <a:pt x="604" y="1064"/>
                  <a:pt x="604" y="1064"/>
                </a:cubicBezTo>
                <a:cubicBezTo>
                  <a:pt x="603" y="1064"/>
                  <a:pt x="603" y="1063"/>
                  <a:pt x="603" y="1063"/>
                </a:cubicBezTo>
                <a:cubicBezTo>
                  <a:pt x="602" y="1063"/>
                  <a:pt x="602" y="1064"/>
                  <a:pt x="601" y="1064"/>
                </a:cubicBezTo>
                <a:cubicBezTo>
                  <a:pt x="602" y="1064"/>
                  <a:pt x="600" y="1063"/>
                  <a:pt x="601" y="1063"/>
                </a:cubicBezTo>
                <a:cubicBezTo>
                  <a:pt x="600" y="1063"/>
                  <a:pt x="601" y="1063"/>
                  <a:pt x="600" y="1062"/>
                </a:cubicBezTo>
                <a:cubicBezTo>
                  <a:pt x="599" y="1062"/>
                  <a:pt x="598" y="1063"/>
                  <a:pt x="597" y="1062"/>
                </a:cubicBezTo>
                <a:cubicBezTo>
                  <a:pt x="596" y="1060"/>
                  <a:pt x="594" y="1059"/>
                  <a:pt x="592" y="1058"/>
                </a:cubicBezTo>
                <a:cubicBezTo>
                  <a:pt x="592" y="1057"/>
                  <a:pt x="591" y="1056"/>
                  <a:pt x="591" y="1055"/>
                </a:cubicBezTo>
                <a:cubicBezTo>
                  <a:pt x="589" y="1054"/>
                  <a:pt x="588" y="1054"/>
                  <a:pt x="587" y="1053"/>
                </a:cubicBezTo>
                <a:cubicBezTo>
                  <a:pt x="584" y="1054"/>
                  <a:pt x="584" y="1052"/>
                  <a:pt x="582" y="1052"/>
                </a:cubicBezTo>
                <a:cubicBezTo>
                  <a:pt x="577" y="1052"/>
                  <a:pt x="577" y="1052"/>
                  <a:pt x="577" y="1052"/>
                </a:cubicBezTo>
                <a:cubicBezTo>
                  <a:pt x="576" y="1052"/>
                  <a:pt x="575" y="1053"/>
                  <a:pt x="573" y="1053"/>
                </a:cubicBezTo>
                <a:cubicBezTo>
                  <a:pt x="574" y="1052"/>
                  <a:pt x="571" y="1053"/>
                  <a:pt x="570" y="1053"/>
                </a:cubicBezTo>
                <a:cubicBezTo>
                  <a:pt x="570" y="1051"/>
                  <a:pt x="568" y="1051"/>
                  <a:pt x="569" y="1049"/>
                </a:cubicBezTo>
                <a:cubicBezTo>
                  <a:pt x="569" y="1048"/>
                  <a:pt x="570" y="1048"/>
                  <a:pt x="571" y="1048"/>
                </a:cubicBezTo>
                <a:cubicBezTo>
                  <a:pt x="570" y="1047"/>
                  <a:pt x="572" y="1047"/>
                  <a:pt x="572" y="1047"/>
                </a:cubicBezTo>
                <a:cubicBezTo>
                  <a:pt x="572" y="1047"/>
                  <a:pt x="572" y="1046"/>
                  <a:pt x="573" y="1046"/>
                </a:cubicBezTo>
                <a:cubicBezTo>
                  <a:pt x="575" y="1046"/>
                  <a:pt x="575" y="1046"/>
                  <a:pt x="575" y="1046"/>
                </a:cubicBezTo>
                <a:cubicBezTo>
                  <a:pt x="576" y="1044"/>
                  <a:pt x="578" y="1043"/>
                  <a:pt x="578" y="1041"/>
                </a:cubicBezTo>
                <a:cubicBezTo>
                  <a:pt x="576" y="1041"/>
                  <a:pt x="576" y="1044"/>
                  <a:pt x="573" y="1043"/>
                </a:cubicBezTo>
                <a:cubicBezTo>
                  <a:pt x="573" y="1043"/>
                  <a:pt x="573" y="1042"/>
                  <a:pt x="572" y="1042"/>
                </a:cubicBezTo>
                <a:cubicBezTo>
                  <a:pt x="572" y="1041"/>
                  <a:pt x="572" y="1040"/>
                  <a:pt x="571" y="1040"/>
                </a:cubicBezTo>
                <a:cubicBezTo>
                  <a:pt x="570" y="1042"/>
                  <a:pt x="570" y="1045"/>
                  <a:pt x="568" y="1046"/>
                </a:cubicBezTo>
                <a:cubicBezTo>
                  <a:pt x="568" y="1041"/>
                  <a:pt x="569" y="1037"/>
                  <a:pt x="573" y="1036"/>
                </a:cubicBezTo>
                <a:cubicBezTo>
                  <a:pt x="576" y="1036"/>
                  <a:pt x="576" y="1036"/>
                  <a:pt x="576" y="1036"/>
                </a:cubicBezTo>
                <a:cubicBezTo>
                  <a:pt x="578" y="1037"/>
                  <a:pt x="578" y="1038"/>
                  <a:pt x="580" y="1038"/>
                </a:cubicBezTo>
                <a:cubicBezTo>
                  <a:pt x="584" y="1038"/>
                  <a:pt x="584" y="1038"/>
                  <a:pt x="584" y="1038"/>
                </a:cubicBezTo>
                <a:cubicBezTo>
                  <a:pt x="585" y="1038"/>
                  <a:pt x="586" y="1036"/>
                  <a:pt x="588" y="1037"/>
                </a:cubicBezTo>
                <a:cubicBezTo>
                  <a:pt x="588" y="1035"/>
                  <a:pt x="589" y="1034"/>
                  <a:pt x="590" y="1034"/>
                </a:cubicBezTo>
                <a:cubicBezTo>
                  <a:pt x="591" y="1035"/>
                  <a:pt x="591" y="1034"/>
                  <a:pt x="591" y="1034"/>
                </a:cubicBezTo>
                <a:cubicBezTo>
                  <a:pt x="591" y="1034"/>
                  <a:pt x="591" y="1034"/>
                  <a:pt x="592" y="1033"/>
                </a:cubicBezTo>
                <a:cubicBezTo>
                  <a:pt x="592" y="1033"/>
                  <a:pt x="592" y="1033"/>
                  <a:pt x="592" y="1032"/>
                </a:cubicBezTo>
                <a:cubicBezTo>
                  <a:pt x="592" y="1032"/>
                  <a:pt x="593" y="1032"/>
                  <a:pt x="593" y="1032"/>
                </a:cubicBezTo>
                <a:cubicBezTo>
                  <a:pt x="593" y="1031"/>
                  <a:pt x="593" y="1030"/>
                  <a:pt x="594" y="1030"/>
                </a:cubicBezTo>
                <a:cubicBezTo>
                  <a:pt x="593" y="1026"/>
                  <a:pt x="591" y="1023"/>
                  <a:pt x="592" y="1018"/>
                </a:cubicBezTo>
                <a:cubicBezTo>
                  <a:pt x="592" y="1018"/>
                  <a:pt x="592" y="1017"/>
                  <a:pt x="592" y="1016"/>
                </a:cubicBezTo>
                <a:cubicBezTo>
                  <a:pt x="594" y="1016"/>
                  <a:pt x="594" y="1016"/>
                  <a:pt x="594" y="1016"/>
                </a:cubicBezTo>
                <a:cubicBezTo>
                  <a:pt x="594" y="1017"/>
                  <a:pt x="594" y="1016"/>
                  <a:pt x="594" y="1016"/>
                </a:cubicBezTo>
                <a:cubicBezTo>
                  <a:pt x="595" y="1016"/>
                  <a:pt x="595" y="1015"/>
                  <a:pt x="595" y="1015"/>
                </a:cubicBezTo>
                <a:cubicBezTo>
                  <a:pt x="596" y="1015"/>
                  <a:pt x="595" y="1013"/>
                  <a:pt x="597" y="1013"/>
                </a:cubicBezTo>
                <a:cubicBezTo>
                  <a:pt x="597" y="1011"/>
                  <a:pt x="597" y="1008"/>
                  <a:pt x="596" y="1007"/>
                </a:cubicBezTo>
                <a:cubicBezTo>
                  <a:pt x="596" y="1005"/>
                  <a:pt x="595" y="1004"/>
                  <a:pt x="595" y="1003"/>
                </a:cubicBezTo>
                <a:cubicBezTo>
                  <a:pt x="596" y="1002"/>
                  <a:pt x="596" y="1000"/>
                  <a:pt x="596" y="998"/>
                </a:cubicBezTo>
                <a:cubicBezTo>
                  <a:pt x="598" y="999"/>
                  <a:pt x="597" y="997"/>
                  <a:pt x="598" y="997"/>
                </a:cubicBezTo>
                <a:cubicBezTo>
                  <a:pt x="599" y="999"/>
                  <a:pt x="600" y="996"/>
                  <a:pt x="601" y="996"/>
                </a:cubicBezTo>
                <a:cubicBezTo>
                  <a:pt x="600" y="998"/>
                  <a:pt x="601" y="999"/>
                  <a:pt x="601" y="1001"/>
                </a:cubicBezTo>
                <a:cubicBezTo>
                  <a:pt x="601" y="1002"/>
                  <a:pt x="602" y="1002"/>
                  <a:pt x="602" y="1002"/>
                </a:cubicBezTo>
                <a:cubicBezTo>
                  <a:pt x="601" y="1003"/>
                  <a:pt x="603" y="1005"/>
                  <a:pt x="603" y="1003"/>
                </a:cubicBezTo>
                <a:cubicBezTo>
                  <a:pt x="602" y="1003"/>
                  <a:pt x="603" y="1000"/>
                  <a:pt x="603" y="999"/>
                </a:cubicBezTo>
                <a:cubicBezTo>
                  <a:pt x="602" y="999"/>
                  <a:pt x="602" y="998"/>
                  <a:pt x="602" y="998"/>
                </a:cubicBezTo>
                <a:cubicBezTo>
                  <a:pt x="602" y="997"/>
                  <a:pt x="602" y="997"/>
                  <a:pt x="601" y="996"/>
                </a:cubicBezTo>
                <a:cubicBezTo>
                  <a:pt x="602" y="993"/>
                  <a:pt x="600" y="992"/>
                  <a:pt x="601" y="989"/>
                </a:cubicBezTo>
                <a:cubicBezTo>
                  <a:pt x="601" y="989"/>
                  <a:pt x="601" y="988"/>
                  <a:pt x="601" y="988"/>
                </a:cubicBezTo>
                <a:cubicBezTo>
                  <a:pt x="601" y="987"/>
                  <a:pt x="601" y="987"/>
                  <a:pt x="601" y="987"/>
                </a:cubicBezTo>
                <a:cubicBezTo>
                  <a:pt x="601" y="987"/>
                  <a:pt x="601" y="987"/>
                  <a:pt x="601" y="986"/>
                </a:cubicBezTo>
                <a:cubicBezTo>
                  <a:pt x="600" y="986"/>
                  <a:pt x="600" y="987"/>
                  <a:pt x="600" y="986"/>
                </a:cubicBezTo>
                <a:cubicBezTo>
                  <a:pt x="600" y="986"/>
                  <a:pt x="600" y="986"/>
                  <a:pt x="600" y="986"/>
                </a:cubicBezTo>
                <a:cubicBezTo>
                  <a:pt x="599" y="985"/>
                  <a:pt x="598" y="986"/>
                  <a:pt x="598" y="985"/>
                </a:cubicBezTo>
                <a:cubicBezTo>
                  <a:pt x="596" y="985"/>
                  <a:pt x="596" y="983"/>
                  <a:pt x="594" y="983"/>
                </a:cubicBezTo>
                <a:cubicBezTo>
                  <a:pt x="593" y="983"/>
                  <a:pt x="593" y="983"/>
                  <a:pt x="592" y="984"/>
                </a:cubicBezTo>
                <a:cubicBezTo>
                  <a:pt x="589" y="984"/>
                  <a:pt x="589" y="984"/>
                  <a:pt x="589" y="984"/>
                </a:cubicBezTo>
                <a:cubicBezTo>
                  <a:pt x="588" y="984"/>
                  <a:pt x="588" y="983"/>
                  <a:pt x="587" y="983"/>
                </a:cubicBezTo>
                <a:cubicBezTo>
                  <a:pt x="587" y="981"/>
                  <a:pt x="585" y="982"/>
                  <a:pt x="585" y="980"/>
                </a:cubicBezTo>
                <a:cubicBezTo>
                  <a:pt x="585" y="980"/>
                  <a:pt x="585" y="979"/>
                  <a:pt x="585" y="979"/>
                </a:cubicBezTo>
                <a:cubicBezTo>
                  <a:pt x="585" y="979"/>
                  <a:pt x="584" y="979"/>
                  <a:pt x="584" y="979"/>
                </a:cubicBezTo>
                <a:cubicBezTo>
                  <a:pt x="584" y="978"/>
                  <a:pt x="583" y="978"/>
                  <a:pt x="583" y="977"/>
                </a:cubicBezTo>
                <a:cubicBezTo>
                  <a:pt x="583" y="977"/>
                  <a:pt x="583" y="977"/>
                  <a:pt x="582" y="977"/>
                </a:cubicBezTo>
                <a:cubicBezTo>
                  <a:pt x="583" y="976"/>
                  <a:pt x="582" y="976"/>
                  <a:pt x="582" y="976"/>
                </a:cubicBezTo>
                <a:cubicBezTo>
                  <a:pt x="582" y="975"/>
                  <a:pt x="581" y="975"/>
                  <a:pt x="581" y="975"/>
                </a:cubicBezTo>
                <a:cubicBezTo>
                  <a:pt x="584" y="975"/>
                  <a:pt x="584" y="974"/>
                  <a:pt x="586" y="975"/>
                </a:cubicBezTo>
                <a:cubicBezTo>
                  <a:pt x="587" y="975"/>
                  <a:pt x="587" y="974"/>
                  <a:pt x="587" y="974"/>
                </a:cubicBezTo>
                <a:cubicBezTo>
                  <a:pt x="588" y="974"/>
                  <a:pt x="588" y="974"/>
                  <a:pt x="588" y="973"/>
                </a:cubicBezTo>
                <a:cubicBezTo>
                  <a:pt x="590" y="973"/>
                  <a:pt x="590" y="970"/>
                  <a:pt x="592" y="970"/>
                </a:cubicBezTo>
                <a:cubicBezTo>
                  <a:pt x="592" y="969"/>
                  <a:pt x="592" y="968"/>
                  <a:pt x="594" y="968"/>
                </a:cubicBezTo>
                <a:cubicBezTo>
                  <a:pt x="594" y="968"/>
                  <a:pt x="594" y="967"/>
                  <a:pt x="594" y="967"/>
                </a:cubicBezTo>
                <a:cubicBezTo>
                  <a:pt x="595" y="966"/>
                  <a:pt x="595" y="964"/>
                  <a:pt x="596" y="965"/>
                </a:cubicBezTo>
                <a:cubicBezTo>
                  <a:pt x="598" y="965"/>
                  <a:pt x="597" y="968"/>
                  <a:pt x="599" y="967"/>
                </a:cubicBezTo>
                <a:cubicBezTo>
                  <a:pt x="601" y="967"/>
                  <a:pt x="601" y="966"/>
                  <a:pt x="603" y="966"/>
                </a:cubicBezTo>
                <a:cubicBezTo>
                  <a:pt x="603" y="965"/>
                  <a:pt x="605" y="966"/>
                  <a:pt x="605" y="965"/>
                </a:cubicBezTo>
                <a:cubicBezTo>
                  <a:pt x="606" y="965"/>
                  <a:pt x="606" y="964"/>
                  <a:pt x="605" y="963"/>
                </a:cubicBezTo>
                <a:cubicBezTo>
                  <a:pt x="604" y="963"/>
                  <a:pt x="602" y="963"/>
                  <a:pt x="601" y="963"/>
                </a:cubicBezTo>
                <a:cubicBezTo>
                  <a:pt x="600" y="964"/>
                  <a:pt x="600" y="965"/>
                  <a:pt x="598" y="965"/>
                </a:cubicBezTo>
                <a:cubicBezTo>
                  <a:pt x="598" y="959"/>
                  <a:pt x="598" y="959"/>
                  <a:pt x="598" y="959"/>
                </a:cubicBezTo>
                <a:cubicBezTo>
                  <a:pt x="599" y="959"/>
                  <a:pt x="600" y="957"/>
                  <a:pt x="601" y="956"/>
                </a:cubicBezTo>
                <a:cubicBezTo>
                  <a:pt x="603" y="956"/>
                  <a:pt x="604" y="955"/>
                  <a:pt x="606" y="954"/>
                </a:cubicBezTo>
                <a:cubicBezTo>
                  <a:pt x="606" y="952"/>
                  <a:pt x="608" y="953"/>
                  <a:pt x="608" y="951"/>
                </a:cubicBezTo>
                <a:cubicBezTo>
                  <a:pt x="610" y="951"/>
                  <a:pt x="610" y="949"/>
                  <a:pt x="611" y="949"/>
                </a:cubicBezTo>
                <a:cubicBezTo>
                  <a:pt x="611" y="947"/>
                  <a:pt x="612" y="946"/>
                  <a:pt x="612" y="944"/>
                </a:cubicBezTo>
                <a:cubicBezTo>
                  <a:pt x="615" y="944"/>
                  <a:pt x="616" y="943"/>
                  <a:pt x="619" y="943"/>
                </a:cubicBezTo>
                <a:cubicBezTo>
                  <a:pt x="619" y="942"/>
                  <a:pt x="619" y="941"/>
                  <a:pt x="618" y="941"/>
                </a:cubicBezTo>
                <a:cubicBezTo>
                  <a:pt x="617" y="941"/>
                  <a:pt x="617" y="941"/>
                  <a:pt x="617" y="940"/>
                </a:cubicBezTo>
                <a:cubicBezTo>
                  <a:pt x="617" y="939"/>
                  <a:pt x="617" y="938"/>
                  <a:pt x="617" y="938"/>
                </a:cubicBezTo>
                <a:cubicBezTo>
                  <a:pt x="617" y="936"/>
                  <a:pt x="616" y="935"/>
                  <a:pt x="616" y="933"/>
                </a:cubicBezTo>
                <a:cubicBezTo>
                  <a:pt x="613" y="933"/>
                  <a:pt x="612" y="935"/>
                  <a:pt x="610" y="936"/>
                </a:cubicBezTo>
                <a:cubicBezTo>
                  <a:pt x="610" y="936"/>
                  <a:pt x="609" y="937"/>
                  <a:pt x="609" y="938"/>
                </a:cubicBezTo>
                <a:cubicBezTo>
                  <a:pt x="609" y="938"/>
                  <a:pt x="608" y="938"/>
                  <a:pt x="608" y="938"/>
                </a:cubicBezTo>
                <a:cubicBezTo>
                  <a:pt x="608" y="940"/>
                  <a:pt x="608" y="940"/>
                  <a:pt x="608" y="940"/>
                </a:cubicBezTo>
                <a:cubicBezTo>
                  <a:pt x="606" y="939"/>
                  <a:pt x="606" y="941"/>
                  <a:pt x="605" y="941"/>
                </a:cubicBezTo>
                <a:cubicBezTo>
                  <a:pt x="605" y="942"/>
                  <a:pt x="604" y="942"/>
                  <a:pt x="603" y="942"/>
                </a:cubicBezTo>
                <a:cubicBezTo>
                  <a:pt x="603" y="942"/>
                  <a:pt x="603" y="943"/>
                  <a:pt x="603" y="943"/>
                </a:cubicBezTo>
                <a:cubicBezTo>
                  <a:pt x="602" y="942"/>
                  <a:pt x="602" y="943"/>
                  <a:pt x="602" y="943"/>
                </a:cubicBezTo>
                <a:cubicBezTo>
                  <a:pt x="600" y="944"/>
                  <a:pt x="600" y="946"/>
                  <a:pt x="597" y="945"/>
                </a:cubicBezTo>
                <a:cubicBezTo>
                  <a:pt x="597" y="941"/>
                  <a:pt x="597" y="941"/>
                  <a:pt x="597" y="941"/>
                </a:cubicBezTo>
                <a:cubicBezTo>
                  <a:pt x="598" y="941"/>
                  <a:pt x="598" y="941"/>
                  <a:pt x="598" y="940"/>
                </a:cubicBezTo>
                <a:cubicBezTo>
                  <a:pt x="599" y="939"/>
                  <a:pt x="600" y="939"/>
                  <a:pt x="600" y="938"/>
                </a:cubicBezTo>
                <a:cubicBezTo>
                  <a:pt x="601" y="938"/>
                  <a:pt x="601" y="938"/>
                  <a:pt x="601" y="938"/>
                </a:cubicBezTo>
                <a:cubicBezTo>
                  <a:pt x="601" y="937"/>
                  <a:pt x="600" y="938"/>
                  <a:pt x="600" y="938"/>
                </a:cubicBezTo>
                <a:cubicBezTo>
                  <a:pt x="598" y="938"/>
                  <a:pt x="598" y="940"/>
                  <a:pt x="597" y="941"/>
                </a:cubicBezTo>
                <a:cubicBezTo>
                  <a:pt x="597" y="941"/>
                  <a:pt x="596" y="942"/>
                  <a:pt x="596" y="942"/>
                </a:cubicBezTo>
                <a:cubicBezTo>
                  <a:pt x="595" y="944"/>
                  <a:pt x="597" y="943"/>
                  <a:pt x="596" y="945"/>
                </a:cubicBezTo>
                <a:cubicBezTo>
                  <a:pt x="595" y="946"/>
                  <a:pt x="594" y="947"/>
                  <a:pt x="593" y="949"/>
                </a:cubicBezTo>
                <a:cubicBezTo>
                  <a:pt x="592" y="949"/>
                  <a:pt x="593" y="950"/>
                  <a:pt x="592" y="950"/>
                </a:cubicBezTo>
                <a:cubicBezTo>
                  <a:pt x="592" y="950"/>
                  <a:pt x="591" y="950"/>
                  <a:pt x="591" y="950"/>
                </a:cubicBezTo>
                <a:cubicBezTo>
                  <a:pt x="591" y="951"/>
                  <a:pt x="590" y="951"/>
                  <a:pt x="589" y="952"/>
                </a:cubicBezTo>
                <a:cubicBezTo>
                  <a:pt x="589" y="952"/>
                  <a:pt x="589" y="952"/>
                  <a:pt x="589" y="952"/>
                </a:cubicBezTo>
                <a:cubicBezTo>
                  <a:pt x="589" y="949"/>
                  <a:pt x="588" y="948"/>
                  <a:pt x="588" y="946"/>
                </a:cubicBezTo>
                <a:cubicBezTo>
                  <a:pt x="588" y="944"/>
                  <a:pt x="586" y="943"/>
                  <a:pt x="585" y="942"/>
                </a:cubicBezTo>
                <a:cubicBezTo>
                  <a:pt x="585" y="934"/>
                  <a:pt x="585" y="934"/>
                  <a:pt x="585" y="934"/>
                </a:cubicBezTo>
                <a:cubicBezTo>
                  <a:pt x="585" y="933"/>
                  <a:pt x="585" y="933"/>
                  <a:pt x="586" y="933"/>
                </a:cubicBezTo>
                <a:cubicBezTo>
                  <a:pt x="586" y="931"/>
                  <a:pt x="585" y="930"/>
                  <a:pt x="585" y="928"/>
                </a:cubicBezTo>
                <a:cubicBezTo>
                  <a:pt x="586" y="928"/>
                  <a:pt x="586" y="927"/>
                  <a:pt x="586" y="926"/>
                </a:cubicBezTo>
                <a:cubicBezTo>
                  <a:pt x="587" y="926"/>
                  <a:pt x="586" y="925"/>
                  <a:pt x="587" y="924"/>
                </a:cubicBezTo>
                <a:cubicBezTo>
                  <a:pt x="588" y="924"/>
                  <a:pt x="589" y="924"/>
                  <a:pt x="589" y="923"/>
                </a:cubicBezTo>
                <a:cubicBezTo>
                  <a:pt x="592" y="923"/>
                  <a:pt x="592" y="920"/>
                  <a:pt x="594" y="920"/>
                </a:cubicBezTo>
                <a:cubicBezTo>
                  <a:pt x="594" y="919"/>
                  <a:pt x="595" y="918"/>
                  <a:pt x="596" y="918"/>
                </a:cubicBezTo>
                <a:cubicBezTo>
                  <a:pt x="596" y="915"/>
                  <a:pt x="594" y="914"/>
                  <a:pt x="594" y="910"/>
                </a:cubicBezTo>
                <a:cubicBezTo>
                  <a:pt x="595" y="910"/>
                  <a:pt x="595" y="909"/>
                  <a:pt x="596" y="909"/>
                </a:cubicBezTo>
                <a:cubicBezTo>
                  <a:pt x="596" y="909"/>
                  <a:pt x="596" y="908"/>
                  <a:pt x="596" y="908"/>
                </a:cubicBezTo>
                <a:cubicBezTo>
                  <a:pt x="598" y="908"/>
                  <a:pt x="598" y="907"/>
                  <a:pt x="598" y="907"/>
                </a:cubicBezTo>
                <a:cubicBezTo>
                  <a:pt x="599" y="907"/>
                  <a:pt x="600" y="907"/>
                  <a:pt x="600" y="906"/>
                </a:cubicBezTo>
                <a:cubicBezTo>
                  <a:pt x="600" y="906"/>
                  <a:pt x="600" y="906"/>
                  <a:pt x="601" y="906"/>
                </a:cubicBezTo>
                <a:cubicBezTo>
                  <a:pt x="601" y="906"/>
                  <a:pt x="601" y="906"/>
                  <a:pt x="601" y="906"/>
                </a:cubicBezTo>
                <a:cubicBezTo>
                  <a:pt x="601" y="906"/>
                  <a:pt x="601" y="906"/>
                  <a:pt x="602" y="906"/>
                </a:cubicBezTo>
                <a:cubicBezTo>
                  <a:pt x="602" y="906"/>
                  <a:pt x="602" y="906"/>
                  <a:pt x="602" y="906"/>
                </a:cubicBezTo>
                <a:cubicBezTo>
                  <a:pt x="602" y="906"/>
                  <a:pt x="602" y="906"/>
                  <a:pt x="602" y="906"/>
                </a:cubicBezTo>
                <a:cubicBezTo>
                  <a:pt x="602" y="906"/>
                  <a:pt x="603" y="906"/>
                  <a:pt x="603" y="906"/>
                </a:cubicBezTo>
                <a:cubicBezTo>
                  <a:pt x="604" y="906"/>
                  <a:pt x="605" y="905"/>
                  <a:pt x="605" y="905"/>
                </a:cubicBezTo>
                <a:cubicBezTo>
                  <a:pt x="606" y="905"/>
                  <a:pt x="606" y="904"/>
                  <a:pt x="606" y="904"/>
                </a:cubicBezTo>
                <a:cubicBezTo>
                  <a:pt x="607" y="904"/>
                  <a:pt x="609" y="905"/>
                  <a:pt x="609" y="904"/>
                </a:cubicBezTo>
                <a:cubicBezTo>
                  <a:pt x="609" y="904"/>
                  <a:pt x="609" y="904"/>
                  <a:pt x="609" y="904"/>
                </a:cubicBezTo>
                <a:cubicBezTo>
                  <a:pt x="610" y="903"/>
                  <a:pt x="611" y="904"/>
                  <a:pt x="612" y="904"/>
                </a:cubicBezTo>
                <a:cubicBezTo>
                  <a:pt x="612" y="903"/>
                  <a:pt x="612" y="903"/>
                  <a:pt x="613" y="903"/>
                </a:cubicBezTo>
                <a:cubicBezTo>
                  <a:pt x="616" y="902"/>
                  <a:pt x="619" y="902"/>
                  <a:pt x="621" y="901"/>
                </a:cubicBezTo>
                <a:cubicBezTo>
                  <a:pt x="621" y="901"/>
                  <a:pt x="622" y="899"/>
                  <a:pt x="621" y="899"/>
                </a:cubicBezTo>
                <a:cubicBezTo>
                  <a:pt x="621" y="898"/>
                  <a:pt x="620" y="898"/>
                  <a:pt x="620" y="898"/>
                </a:cubicBezTo>
                <a:cubicBezTo>
                  <a:pt x="620" y="897"/>
                  <a:pt x="619" y="896"/>
                  <a:pt x="619" y="895"/>
                </a:cubicBezTo>
                <a:cubicBezTo>
                  <a:pt x="618" y="893"/>
                  <a:pt x="620" y="892"/>
                  <a:pt x="620" y="890"/>
                </a:cubicBezTo>
                <a:cubicBezTo>
                  <a:pt x="620" y="888"/>
                  <a:pt x="618" y="886"/>
                  <a:pt x="617" y="884"/>
                </a:cubicBezTo>
                <a:cubicBezTo>
                  <a:pt x="618" y="881"/>
                  <a:pt x="617" y="879"/>
                  <a:pt x="617" y="876"/>
                </a:cubicBezTo>
                <a:cubicBezTo>
                  <a:pt x="616" y="875"/>
                  <a:pt x="615" y="874"/>
                  <a:pt x="614" y="872"/>
                </a:cubicBezTo>
                <a:cubicBezTo>
                  <a:pt x="612" y="872"/>
                  <a:pt x="612" y="871"/>
                  <a:pt x="610" y="871"/>
                </a:cubicBezTo>
                <a:cubicBezTo>
                  <a:pt x="609" y="872"/>
                  <a:pt x="608" y="871"/>
                  <a:pt x="608" y="871"/>
                </a:cubicBezTo>
                <a:cubicBezTo>
                  <a:pt x="607" y="869"/>
                  <a:pt x="607" y="868"/>
                  <a:pt x="607" y="865"/>
                </a:cubicBezTo>
                <a:cubicBezTo>
                  <a:pt x="607" y="864"/>
                  <a:pt x="607" y="864"/>
                  <a:pt x="606" y="864"/>
                </a:cubicBezTo>
                <a:cubicBezTo>
                  <a:pt x="606" y="863"/>
                  <a:pt x="606" y="863"/>
                  <a:pt x="605" y="862"/>
                </a:cubicBezTo>
                <a:cubicBezTo>
                  <a:pt x="605" y="861"/>
                  <a:pt x="607" y="861"/>
                  <a:pt x="606" y="859"/>
                </a:cubicBezTo>
                <a:cubicBezTo>
                  <a:pt x="607" y="859"/>
                  <a:pt x="609" y="859"/>
                  <a:pt x="609" y="858"/>
                </a:cubicBezTo>
                <a:cubicBezTo>
                  <a:pt x="610" y="858"/>
                  <a:pt x="612" y="859"/>
                  <a:pt x="612" y="858"/>
                </a:cubicBezTo>
                <a:cubicBezTo>
                  <a:pt x="612" y="856"/>
                  <a:pt x="611" y="856"/>
                  <a:pt x="610" y="856"/>
                </a:cubicBezTo>
                <a:cubicBezTo>
                  <a:pt x="606" y="856"/>
                  <a:pt x="606" y="856"/>
                  <a:pt x="606" y="856"/>
                </a:cubicBezTo>
                <a:cubicBezTo>
                  <a:pt x="606" y="855"/>
                  <a:pt x="605" y="856"/>
                  <a:pt x="604" y="855"/>
                </a:cubicBezTo>
                <a:cubicBezTo>
                  <a:pt x="604" y="855"/>
                  <a:pt x="603" y="855"/>
                  <a:pt x="602" y="855"/>
                </a:cubicBezTo>
                <a:cubicBezTo>
                  <a:pt x="602" y="848"/>
                  <a:pt x="602" y="848"/>
                  <a:pt x="602" y="848"/>
                </a:cubicBezTo>
                <a:cubicBezTo>
                  <a:pt x="604" y="849"/>
                  <a:pt x="605" y="848"/>
                  <a:pt x="606" y="848"/>
                </a:cubicBezTo>
                <a:cubicBezTo>
                  <a:pt x="607" y="846"/>
                  <a:pt x="604" y="845"/>
                  <a:pt x="606" y="844"/>
                </a:cubicBezTo>
                <a:cubicBezTo>
                  <a:pt x="607" y="845"/>
                  <a:pt x="607" y="844"/>
                  <a:pt x="606" y="844"/>
                </a:cubicBezTo>
                <a:cubicBezTo>
                  <a:pt x="606" y="843"/>
                  <a:pt x="606" y="843"/>
                  <a:pt x="606" y="843"/>
                </a:cubicBezTo>
                <a:cubicBezTo>
                  <a:pt x="606" y="842"/>
                  <a:pt x="607" y="841"/>
                  <a:pt x="608" y="841"/>
                </a:cubicBezTo>
                <a:cubicBezTo>
                  <a:pt x="608" y="841"/>
                  <a:pt x="608" y="840"/>
                  <a:pt x="608" y="839"/>
                </a:cubicBezTo>
                <a:cubicBezTo>
                  <a:pt x="609" y="840"/>
                  <a:pt x="609" y="839"/>
                  <a:pt x="609" y="839"/>
                </a:cubicBezTo>
                <a:cubicBezTo>
                  <a:pt x="609" y="838"/>
                  <a:pt x="609" y="838"/>
                  <a:pt x="609" y="837"/>
                </a:cubicBezTo>
                <a:cubicBezTo>
                  <a:pt x="609" y="837"/>
                  <a:pt x="608" y="836"/>
                  <a:pt x="608" y="836"/>
                </a:cubicBezTo>
                <a:cubicBezTo>
                  <a:pt x="608" y="836"/>
                  <a:pt x="608" y="836"/>
                  <a:pt x="608" y="836"/>
                </a:cubicBezTo>
                <a:cubicBezTo>
                  <a:pt x="607" y="836"/>
                  <a:pt x="608" y="835"/>
                  <a:pt x="608" y="835"/>
                </a:cubicBezTo>
                <a:cubicBezTo>
                  <a:pt x="607" y="835"/>
                  <a:pt x="607" y="835"/>
                  <a:pt x="607" y="835"/>
                </a:cubicBezTo>
                <a:cubicBezTo>
                  <a:pt x="607" y="835"/>
                  <a:pt x="607" y="834"/>
                  <a:pt x="607" y="834"/>
                </a:cubicBezTo>
                <a:cubicBezTo>
                  <a:pt x="607" y="834"/>
                  <a:pt x="606" y="834"/>
                  <a:pt x="606" y="834"/>
                </a:cubicBezTo>
                <a:cubicBezTo>
                  <a:pt x="606" y="834"/>
                  <a:pt x="606" y="833"/>
                  <a:pt x="606" y="833"/>
                </a:cubicBezTo>
                <a:cubicBezTo>
                  <a:pt x="606" y="833"/>
                  <a:pt x="606" y="833"/>
                  <a:pt x="605" y="832"/>
                </a:cubicBezTo>
                <a:cubicBezTo>
                  <a:pt x="605" y="832"/>
                  <a:pt x="605" y="832"/>
                  <a:pt x="605" y="832"/>
                </a:cubicBezTo>
                <a:cubicBezTo>
                  <a:pt x="605" y="831"/>
                  <a:pt x="604" y="831"/>
                  <a:pt x="604" y="830"/>
                </a:cubicBezTo>
                <a:cubicBezTo>
                  <a:pt x="604" y="828"/>
                  <a:pt x="604" y="826"/>
                  <a:pt x="605" y="824"/>
                </a:cubicBezTo>
                <a:cubicBezTo>
                  <a:pt x="605" y="824"/>
                  <a:pt x="605" y="824"/>
                  <a:pt x="605" y="823"/>
                </a:cubicBezTo>
                <a:cubicBezTo>
                  <a:pt x="605" y="822"/>
                  <a:pt x="603" y="823"/>
                  <a:pt x="601" y="822"/>
                </a:cubicBezTo>
                <a:cubicBezTo>
                  <a:pt x="598" y="823"/>
                  <a:pt x="600" y="825"/>
                  <a:pt x="599" y="827"/>
                </a:cubicBezTo>
                <a:cubicBezTo>
                  <a:pt x="595" y="827"/>
                  <a:pt x="593" y="826"/>
                  <a:pt x="590" y="825"/>
                </a:cubicBezTo>
                <a:cubicBezTo>
                  <a:pt x="589" y="826"/>
                  <a:pt x="589" y="825"/>
                  <a:pt x="588" y="825"/>
                </a:cubicBezTo>
                <a:cubicBezTo>
                  <a:pt x="588" y="825"/>
                  <a:pt x="587" y="825"/>
                  <a:pt x="587" y="824"/>
                </a:cubicBezTo>
                <a:cubicBezTo>
                  <a:pt x="586" y="824"/>
                  <a:pt x="586" y="823"/>
                  <a:pt x="585" y="823"/>
                </a:cubicBezTo>
                <a:cubicBezTo>
                  <a:pt x="584" y="823"/>
                  <a:pt x="584" y="824"/>
                  <a:pt x="583" y="824"/>
                </a:cubicBezTo>
                <a:cubicBezTo>
                  <a:pt x="583" y="825"/>
                  <a:pt x="583" y="825"/>
                  <a:pt x="582" y="825"/>
                </a:cubicBezTo>
                <a:cubicBezTo>
                  <a:pt x="580" y="825"/>
                  <a:pt x="580" y="825"/>
                  <a:pt x="580" y="825"/>
                </a:cubicBezTo>
                <a:cubicBezTo>
                  <a:pt x="580" y="824"/>
                  <a:pt x="580" y="824"/>
                  <a:pt x="579" y="824"/>
                </a:cubicBezTo>
                <a:cubicBezTo>
                  <a:pt x="579" y="823"/>
                  <a:pt x="579" y="823"/>
                  <a:pt x="579" y="823"/>
                </a:cubicBezTo>
                <a:cubicBezTo>
                  <a:pt x="578" y="822"/>
                  <a:pt x="578" y="822"/>
                  <a:pt x="578" y="821"/>
                </a:cubicBezTo>
                <a:cubicBezTo>
                  <a:pt x="577" y="821"/>
                  <a:pt x="577" y="821"/>
                  <a:pt x="577" y="821"/>
                </a:cubicBezTo>
                <a:cubicBezTo>
                  <a:pt x="576" y="821"/>
                  <a:pt x="576" y="821"/>
                  <a:pt x="576" y="820"/>
                </a:cubicBezTo>
                <a:cubicBezTo>
                  <a:pt x="575" y="820"/>
                  <a:pt x="575" y="820"/>
                  <a:pt x="575" y="819"/>
                </a:cubicBezTo>
                <a:cubicBezTo>
                  <a:pt x="575" y="819"/>
                  <a:pt x="575" y="818"/>
                  <a:pt x="574" y="819"/>
                </a:cubicBezTo>
                <a:cubicBezTo>
                  <a:pt x="573" y="819"/>
                  <a:pt x="573" y="819"/>
                  <a:pt x="573" y="819"/>
                </a:cubicBezTo>
                <a:cubicBezTo>
                  <a:pt x="572" y="818"/>
                  <a:pt x="573" y="821"/>
                  <a:pt x="573" y="822"/>
                </a:cubicBezTo>
                <a:cubicBezTo>
                  <a:pt x="569" y="823"/>
                  <a:pt x="567" y="822"/>
                  <a:pt x="562" y="822"/>
                </a:cubicBezTo>
                <a:cubicBezTo>
                  <a:pt x="561" y="822"/>
                  <a:pt x="561" y="821"/>
                  <a:pt x="561" y="821"/>
                </a:cubicBezTo>
                <a:cubicBezTo>
                  <a:pt x="560" y="821"/>
                  <a:pt x="560" y="820"/>
                  <a:pt x="559" y="820"/>
                </a:cubicBezTo>
                <a:cubicBezTo>
                  <a:pt x="558" y="820"/>
                  <a:pt x="556" y="820"/>
                  <a:pt x="555" y="820"/>
                </a:cubicBezTo>
                <a:cubicBezTo>
                  <a:pt x="554" y="820"/>
                  <a:pt x="551" y="819"/>
                  <a:pt x="551" y="821"/>
                </a:cubicBezTo>
                <a:cubicBezTo>
                  <a:pt x="550" y="820"/>
                  <a:pt x="551" y="819"/>
                  <a:pt x="550" y="819"/>
                </a:cubicBezTo>
                <a:cubicBezTo>
                  <a:pt x="550" y="819"/>
                  <a:pt x="549" y="819"/>
                  <a:pt x="548" y="819"/>
                </a:cubicBezTo>
                <a:cubicBezTo>
                  <a:pt x="546" y="819"/>
                  <a:pt x="545" y="820"/>
                  <a:pt x="543" y="821"/>
                </a:cubicBezTo>
                <a:cubicBezTo>
                  <a:pt x="544" y="822"/>
                  <a:pt x="545" y="823"/>
                  <a:pt x="545" y="825"/>
                </a:cubicBezTo>
                <a:cubicBezTo>
                  <a:pt x="544" y="826"/>
                  <a:pt x="543" y="826"/>
                  <a:pt x="543" y="828"/>
                </a:cubicBezTo>
                <a:cubicBezTo>
                  <a:pt x="543" y="827"/>
                  <a:pt x="542" y="828"/>
                  <a:pt x="542" y="828"/>
                </a:cubicBezTo>
                <a:cubicBezTo>
                  <a:pt x="538" y="828"/>
                  <a:pt x="537" y="826"/>
                  <a:pt x="533" y="826"/>
                </a:cubicBezTo>
                <a:cubicBezTo>
                  <a:pt x="533" y="824"/>
                  <a:pt x="530" y="825"/>
                  <a:pt x="530" y="823"/>
                </a:cubicBezTo>
                <a:cubicBezTo>
                  <a:pt x="527" y="824"/>
                  <a:pt x="527" y="822"/>
                  <a:pt x="525" y="822"/>
                </a:cubicBezTo>
                <a:cubicBezTo>
                  <a:pt x="524" y="820"/>
                  <a:pt x="523" y="819"/>
                  <a:pt x="520" y="818"/>
                </a:cubicBezTo>
                <a:cubicBezTo>
                  <a:pt x="520" y="817"/>
                  <a:pt x="519" y="816"/>
                  <a:pt x="519" y="815"/>
                </a:cubicBezTo>
                <a:cubicBezTo>
                  <a:pt x="518" y="815"/>
                  <a:pt x="517" y="814"/>
                  <a:pt x="518" y="812"/>
                </a:cubicBezTo>
                <a:cubicBezTo>
                  <a:pt x="517" y="813"/>
                  <a:pt x="516" y="813"/>
                  <a:pt x="516" y="814"/>
                </a:cubicBezTo>
                <a:cubicBezTo>
                  <a:pt x="515" y="815"/>
                  <a:pt x="514" y="815"/>
                  <a:pt x="514" y="816"/>
                </a:cubicBezTo>
                <a:cubicBezTo>
                  <a:pt x="513" y="816"/>
                  <a:pt x="514" y="817"/>
                  <a:pt x="513" y="818"/>
                </a:cubicBezTo>
                <a:cubicBezTo>
                  <a:pt x="513" y="818"/>
                  <a:pt x="512" y="818"/>
                  <a:pt x="513" y="819"/>
                </a:cubicBezTo>
                <a:cubicBezTo>
                  <a:pt x="512" y="819"/>
                  <a:pt x="512" y="819"/>
                  <a:pt x="512" y="820"/>
                </a:cubicBezTo>
                <a:cubicBezTo>
                  <a:pt x="512" y="820"/>
                  <a:pt x="511" y="820"/>
                  <a:pt x="511" y="821"/>
                </a:cubicBezTo>
                <a:cubicBezTo>
                  <a:pt x="509" y="821"/>
                  <a:pt x="507" y="822"/>
                  <a:pt x="505" y="823"/>
                </a:cubicBezTo>
                <a:cubicBezTo>
                  <a:pt x="503" y="823"/>
                  <a:pt x="503" y="826"/>
                  <a:pt x="502" y="828"/>
                </a:cubicBezTo>
                <a:cubicBezTo>
                  <a:pt x="501" y="828"/>
                  <a:pt x="500" y="827"/>
                  <a:pt x="500" y="828"/>
                </a:cubicBezTo>
                <a:cubicBezTo>
                  <a:pt x="498" y="828"/>
                  <a:pt x="495" y="828"/>
                  <a:pt x="494" y="829"/>
                </a:cubicBezTo>
                <a:cubicBezTo>
                  <a:pt x="492" y="829"/>
                  <a:pt x="489" y="829"/>
                  <a:pt x="488" y="830"/>
                </a:cubicBezTo>
                <a:cubicBezTo>
                  <a:pt x="487" y="830"/>
                  <a:pt x="486" y="829"/>
                  <a:pt x="485" y="828"/>
                </a:cubicBezTo>
                <a:cubicBezTo>
                  <a:pt x="484" y="828"/>
                  <a:pt x="484" y="828"/>
                  <a:pt x="484" y="827"/>
                </a:cubicBezTo>
                <a:cubicBezTo>
                  <a:pt x="483" y="827"/>
                  <a:pt x="482" y="827"/>
                  <a:pt x="482" y="826"/>
                </a:cubicBezTo>
                <a:cubicBezTo>
                  <a:pt x="482" y="826"/>
                  <a:pt x="481" y="827"/>
                  <a:pt x="481" y="827"/>
                </a:cubicBezTo>
                <a:cubicBezTo>
                  <a:pt x="480" y="827"/>
                  <a:pt x="479" y="827"/>
                  <a:pt x="479" y="827"/>
                </a:cubicBezTo>
                <a:cubicBezTo>
                  <a:pt x="477" y="827"/>
                  <a:pt x="476" y="828"/>
                  <a:pt x="475" y="828"/>
                </a:cubicBezTo>
                <a:cubicBezTo>
                  <a:pt x="475" y="829"/>
                  <a:pt x="474" y="829"/>
                  <a:pt x="473" y="829"/>
                </a:cubicBezTo>
                <a:cubicBezTo>
                  <a:pt x="472" y="829"/>
                  <a:pt x="473" y="830"/>
                  <a:pt x="472" y="830"/>
                </a:cubicBezTo>
                <a:cubicBezTo>
                  <a:pt x="472" y="830"/>
                  <a:pt x="472" y="830"/>
                  <a:pt x="472" y="830"/>
                </a:cubicBezTo>
                <a:cubicBezTo>
                  <a:pt x="472" y="830"/>
                  <a:pt x="472" y="830"/>
                  <a:pt x="472" y="830"/>
                </a:cubicBezTo>
                <a:cubicBezTo>
                  <a:pt x="470" y="829"/>
                  <a:pt x="469" y="829"/>
                  <a:pt x="467" y="829"/>
                </a:cubicBezTo>
                <a:cubicBezTo>
                  <a:pt x="466" y="828"/>
                  <a:pt x="465" y="827"/>
                  <a:pt x="464" y="826"/>
                </a:cubicBezTo>
                <a:cubicBezTo>
                  <a:pt x="462" y="826"/>
                  <a:pt x="462" y="824"/>
                  <a:pt x="461" y="823"/>
                </a:cubicBezTo>
                <a:cubicBezTo>
                  <a:pt x="461" y="821"/>
                  <a:pt x="463" y="821"/>
                  <a:pt x="463" y="819"/>
                </a:cubicBezTo>
                <a:cubicBezTo>
                  <a:pt x="462" y="818"/>
                  <a:pt x="461" y="817"/>
                  <a:pt x="461" y="815"/>
                </a:cubicBezTo>
                <a:cubicBezTo>
                  <a:pt x="460" y="814"/>
                  <a:pt x="459" y="814"/>
                  <a:pt x="459" y="812"/>
                </a:cubicBezTo>
                <a:cubicBezTo>
                  <a:pt x="458" y="811"/>
                  <a:pt x="457" y="810"/>
                  <a:pt x="456" y="809"/>
                </a:cubicBezTo>
                <a:cubicBezTo>
                  <a:pt x="457" y="809"/>
                  <a:pt x="457" y="809"/>
                  <a:pt x="457" y="808"/>
                </a:cubicBezTo>
                <a:cubicBezTo>
                  <a:pt x="457" y="807"/>
                  <a:pt x="457" y="806"/>
                  <a:pt x="457" y="805"/>
                </a:cubicBezTo>
                <a:cubicBezTo>
                  <a:pt x="456" y="806"/>
                  <a:pt x="456" y="804"/>
                  <a:pt x="456" y="803"/>
                </a:cubicBezTo>
                <a:cubicBezTo>
                  <a:pt x="453" y="803"/>
                  <a:pt x="451" y="803"/>
                  <a:pt x="449" y="803"/>
                </a:cubicBezTo>
                <a:cubicBezTo>
                  <a:pt x="448" y="801"/>
                  <a:pt x="447" y="800"/>
                  <a:pt x="447" y="798"/>
                </a:cubicBezTo>
                <a:cubicBezTo>
                  <a:pt x="445" y="798"/>
                  <a:pt x="444" y="798"/>
                  <a:pt x="444" y="797"/>
                </a:cubicBezTo>
                <a:cubicBezTo>
                  <a:pt x="443" y="797"/>
                  <a:pt x="442" y="797"/>
                  <a:pt x="441" y="798"/>
                </a:cubicBezTo>
                <a:cubicBezTo>
                  <a:pt x="440" y="798"/>
                  <a:pt x="439" y="799"/>
                  <a:pt x="439" y="800"/>
                </a:cubicBezTo>
                <a:cubicBezTo>
                  <a:pt x="437" y="799"/>
                  <a:pt x="438" y="801"/>
                  <a:pt x="437" y="802"/>
                </a:cubicBezTo>
                <a:cubicBezTo>
                  <a:pt x="436" y="802"/>
                  <a:pt x="435" y="802"/>
                  <a:pt x="435" y="803"/>
                </a:cubicBezTo>
                <a:cubicBezTo>
                  <a:pt x="432" y="804"/>
                  <a:pt x="434" y="800"/>
                  <a:pt x="431" y="801"/>
                </a:cubicBezTo>
                <a:cubicBezTo>
                  <a:pt x="430" y="801"/>
                  <a:pt x="429" y="802"/>
                  <a:pt x="429" y="802"/>
                </a:cubicBezTo>
                <a:cubicBezTo>
                  <a:pt x="428" y="803"/>
                  <a:pt x="427" y="802"/>
                  <a:pt x="427" y="803"/>
                </a:cubicBezTo>
                <a:cubicBezTo>
                  <a:pt x="424" y="803"/>
                  <a:pt x="424" y="805"/>
                  <a:pt x="422" y="805"/>
                </a:cubicBezTo>
                <a:cubicBezTo>
                  <a:pt x="422" y="803"/>
                  <a:pt x="422" y="802"/>
                  <a:pt x="422" y="800"/>
                </a:cubicBezTo>
                <a:cubicBezTo>
                  <a:pt x="421" y="800"/>
                  <a:pt x="421" y="799"/>
                  <a:pt x="419" y="799"/>
                </a:cubicBezTo>
                <a:cubicBezTo>
                  <a:pt x="420" y="796"/>
                  <a:pt x="418" y="796"/>
                  <a:pt x="418" y="793"/>
                </a:cubicBezTo>
                <a:cubicBezTo>
                  <a:pt x="418" y="792"/>
                  <a:pt x="417" y="792"/>
                  <a:pt x="417" y="791"/>
                </a:cubicBezTo>
                <a:cubicBezTo>
                  <a:pt x="416" y="789"/>
                  <a:pt x="413" y="790"/>
                  <a:pt x="413" y="789"/>
                </a:cubicBezTo>
                <a:cubicBezTo>
                  <a:pt x="413" y="788"/>
                  <a:pt x="413" y="787"/>
                  <a:pt x="414" y="787"/>
                </a:cubicBezTo>
                <a:cubicBezTo>
                  <a:pt x="414" y="787"/>
                  <a:pt x="415" y="787"/>
                  <a:pt x="415" y="786"/>
                </a:cubicBezTo>
                <a:cubicBezTo>
                  <a:pt x="416" y="787"/>
                  <a:pt x="417" y="787"/>
                  <a:pt x="417" y="786"/>
                </a:cubicBezTo>
                <a:cubicBezTo>
                  <a:pt x="417" y="784"/>
                  <a:pt x="420" y="785"/>
                  <a:pt x="420" y="783"/>
                </a:cubicBezTo>
                <a:cubicBezTo>
                  <a:pt x="420" y="780"/>
                  <a:pt x="420" y="778"/>
                  <a:pt x="417" y="778"/>
                </a:cubicBezTo>
                <a:cubicBezTo>
                  <a:pt x="417" y="778"/>
                  <a:pt x="417" y="778"/>
                  <a:pt x="417" y="777"/>
                </a:cubicBezTo>
                <a:cubicBezTo>
                  <a:pt x="415" y="777"/>
                  <a:pt x="414" y="776"/>
                  <a:pt x="413" y="775"/>
                </a:cubicBezTo>
                <a:cubicBezTo>
                  <a:pt x="411" y="774"/>
                  <a:pt x="410" y="773"/>
                  <a:pt x="408" y="773"/>
                </a:cubicBezTo>
                <a:cubicBezTo>
                  <a:pt x="408" y="771"/>
                  <a:pt x="407" y="770"/>
                  <a:pt x="407" y="769"/>
                </a:cubicBezTo>
                <a:cubicBezTo>
                  <a:pt x="406" y="768"/>
                  <a:pt x="406" y="766"/>
                  <a:pt x="406" y="766"/>
                </a:cubicBezTo>
                <a:cubicBezTo>
                  <a:pt x="406" y="765"/>
                  <a:pt x="405" y="765"/>
                  <a:pt x="405" y="765"/>
                </a:cubicBezTo>
                <a:cubicBezTo>
                  <a:pt x="404" y="763"/>
                  <a:pt x="402" y="762"/>
                  <a:pt x="401" y="761"/>
                </a:cubicBezTo>
                <a:cubicBezTo>
                  <a:pt x="400" y="760"/>
                  <a:pt x="400" y="760"/>
                  <a:pt x="399" y="759"/>
                </a:cubicBezTo>
                <a:cubicBezTo>
                  <a:pt x="398" y="759"/>
                  <a:pt x="397" y="759"/>
                  <a:pt x="396" y="758"/>
                </a:cubicBezTo>
                <a:cubicBezTo>
                  <a:pt x="392" y="758"/>
                  <a:pt x="392" y="758"/>
                  <a:pt x="392" y="758"/>
                </a:cubicBezTo>
                <a:cubicBezTo>
                  <a:pt x="390" y="758"/>
                  <a:pt x="390" y="758"/>
                  <a:pt x="389" y="759"/>
                </a:cubicBezTo>
                <a:cubicBezTo>
                  <a:pt x="389" y="760"/>
                  <a:pt x="388" y="760"/>
                  <a:pt x="387" y="761"/>
                </a:cubicBezTo>
                <a:cubicBezTo>
                  <a:pt x="383" y="761"/>
                  <a:pt x="383" y="761"/>
                  <a:pt x="383" y="761"/>
                </a:cubicBezTo>
                <a:cubicBezTo>
                  <a:pt x="382" y="761"/>
                  <a:pt x="382" y="762"/>
                  <a:pt x="382" y="763"/>
                </a:cubicBezTo>
                <a:cubicBezTo>
                  <a:pt x="380" y="763"/>
                  <a:pt x="380" y="764"/>
                  <a:pt x="378" y="764"/>
                </a:cubicBezTo>
                <a:cubicBezTo>
                  <a:pt x="377" y="765"/>
                  <a:pt x="375" y="767"/>
                  <a:pt x="375" y="769"/>
                </a:cubicBezTo>
                <a:cubicBezTo>
                  <a:pt x="373" y="769"/>
                  <a:pt x="373" y="770"/>
                  <a:pt x="372" y="771"/>
                </a:cubicBezTo>
                <a:cubicBezTo>
                  <a:pt x="370" y="771"/>
                  <a:pt x="370" y="772"/>
                  <a:pt x="369" y="773"/>
                </a:cubicBezTo>
                <a:cubicBezTo>
                  <a:pt x="364" y="773"/>
                  <a:pt x="364" y="773"/>
                  <a:pt x="364" y="773"/>
                </a:cubicBezTo>
                <a:cubicBezTo>
                  <a:pt x="364" y="772"/>
                  <a:pt x="362" y="772"/>
                  <a:pt x="362" y="771"/>
                </a:cubicBezTo>
                <a:cubicBezTo>
                  <a:pt x="362" y="772"/>
                  <a:pt x="361" y="772"/>
                  <a:pt x="360" y="772"/>
                </a:cubicBezTo>
                <a:cubicBezTo>
                  <a:pt x="359" y="772"/>
                  <a:pt x="359" y="772"/>
                  <a:pt x="359" y="773"/>
                </a:cubicBezTo>
                <a:cubicBezTo>
                  <a:pt x="359" y="773"/>
                  <a:pt x="358" y="774"/>
                  <a:pt x="357" y="774"/>
                </a:cubicBezTo>
                <a:cubicBezTo>
                  <a:pt x="358" y="775"/>
                  <a:pt x="358" y="777"/>
                  <a:pt x="358" y="779"/>
                </a:cubicBezTo>
                <a:cubicBezTo>
                  <a:pt x="358" y="780"/>
                  <a:pt x="357" y="780"/>
                  <a:pt x="357" y="782"/>
                </a:cubicBezTo>
                <a:cubicBezTo>
                  <a:pt x="357" y="782"/>
                  <a:pt x="357" y="783"/>
                  <a:pt x="356" y="783"/>
                </a:cubicBezTo>
                <a:cubicBezTo>
                  <a:pt x="356" y="785"/>
                  <a:pt x="354" y="785"/>
                  <a:pt x="354" y="787"/>
                </a:cubicBezTo>
                <a:cubicBezTo>
                  <a:pt x="347" y="787"/>
                  <a:pt x="347" y="787"/>
                  <a:pt x="347" y="787"/>
                </a:cubicBezTo>
                <a:cubicBezTo>
                  <a:pt x="346" y="787"/>
                  <a:pt x="345" y="786"/>
                  <a:pt x="344" y="786"/>
                </a:cubicBezTo>
                <a:cubicBezTo>
                  <a:pt x="343" y="785"/>
                  <a:pt x="342" y="784"/>
                  <a:pt x="341" y="782"/>
                </a:cubicBezTo>
                <a:cubicBezTo>
                  <a:pt x="340" y="782"/>
                  <a:pt x="338" y="781"/>
                  <a:pt x="338" y="780"/>
                </a:cubicBezTo>
                <a:cubicBezTo>
                  <a:pt x="336" y="780"/>
                  <a:pt x="336" y="778"/>
                  <a:pt x="334" y="777"/>
                </a:cubicBezTo>
                <a:cubicBezTo>
                  <a:pt x="335" y="774"/>
                  <a:pt x="332" y="771"/>
                  <a:pt x="334" y="768"/>
                </a:cubicBezTo>
                <a:cubicBezTo>
                  <a:pt x="334" y="766"/>
                  <a:pt x="333" y="765"/>
                  <a:pt x="332" y="765"/>
                </a:cubicBezTo>
                <a:cubicBezTo>
                  <a:pt x="331" y="764"/>
                  <a:pt x="331" y="763"/>
                  <a:pt x="330" y="763"/>
                </a:cubicBezTo>
                <a:cubicBezTo>
                  <a:pt x="330" y="762"/>
                  <a:pt x="329" y="762"/>
                  <a:pt x="329" y="761"/>
                </a:cubicBezTo>
                <a:cubicBezTo>
                  <a:pt x="329" y="761"/>
                  <a:pt x="329" y="760"/>
                  <a:pt x="328" y="760"/>
                </a:cubicBezTo>
                <a:cubicBezTo>
                  <a:pt x="328" y="760"/>
                  <a:pt x="328" y="759"/>
                  <a:pt x="328" y="759"/>
                </a:cubicBezTo>
                <a:cubicBezTo>
                  <a:pt x="328" y="759"/>
                  <a:pt x="327" y="759"/>
                  <a:pt x="327" y="759"/>
                </a:cubicBezTo>
                <a:cubicBezTo>
                  <a:pt x="327" y="758"/>
                  <a:pt x="328" y="758"/>
                  <a:pt x="328" y="757"/>
                </a:cubicBezTo>
                <a:cubicBezTo>
                  <a:pt x="328" y="756"/>
                  <a:pt x="326" y="755"/>
                  <a:pt x="326" y="753"/>
                </a:cubicBezTo>
                <a:cubicBezTo>
                  <a:pt x="326" y="752"/>
                  <a:pt x="323" y="752"/>
                  <a:pt x="323" y="750"/>
                </a:cubicBezTo>
                <a:cubicBezTo>
                  <a:pt x="321" y="750"/>
                  <a:pt x="321" y="748"/>
                  <a:pt x="319" y="747"/>
                </a:cubicBezTo>
                <a:cubicBezTo>
                  <a:pt x="320" y="747"/>
                  <a:pt x="320" y="746"/>
                  <a:pt x="320" y="745"/>
                </a:cubicBezTo>
                <a:cubicBezTo>
                  <a:pt x="321" y="744"/>
                  <a:pt x="320" y="742"/>
                  <a:pt x="323" y="743"/>
                </a:cubicBezTo>
                <a:cubicBezTo>
                  <a:pt x="323" y="740"/>
                  <a:pt x="323" y="740"/>
                  <a:pt x="323" y="740"/>
                </a:cubicBezTo>
                <a:cubicBezTo>
                  <a:pt x="324" y="739"/>
                  <a:pt x="325" y="739"/>
                  <a:pt x="326" y="739"/>
                </a:cubicBezTo>
                <a:cubicBezTo>
                  <a:pt x="326" y="739"/>
                  <a:pt x="326" y="738"/>
                  <a:pt x="326" y="738"/>
                </a:cubicBezTo>
                <a:cubicBezTo>
                  <a:pt x="326" y="738"/>
                  <a:pt x="327" y="739"/>
                  <a:pt x="327" y="738"/>
                </a:cubicBezTo>
                <a:cubicBezTo>
                  <a:pt x="328" y="738"/>
                  <a:pt x="327" y="738"/>
                  <a:pt x="328" y="738"/>
                </a:cubicBezTo>
                <a:cubicBezTo>
                  <a:pt x="329" y="738"/>
                  <a:pt x="329" y="738"/>
                  <a:pt x="330" y="738"/>
                </a:cubicBezTo>
                <a:cubicBezTo>
                  <a:pt x="330" y="738"/>
                  <a:pt x="331" y="738"/>
                  <a:pt x="331" y="739"/>
                </a:cubicBezTo>
                <a:cubicBezTo>
                  <a:pt x="331" y="740"/>
                  <a:pt x="331" y="741"/>
                  <a:pt x="332" y="741"/>
                </a:cubicBezTo>
                <a:cubicBezTo>
                  <a:pt x="335" y="741"/>
                  <a:pt x="336" y="742"/>
                  <a:pt x="339" y="742"/>
                </a:cubicBezTo>
                <a:cubicBezTo>
                  <a:pt x="341" y="741"/>
                  <a:pt x="341" y="740"/>
                  <a:pt x="344" y="740"/>
                </a:cubicBezTo>
                <a:cubicBezTo>
                  <a:pt x="346" y="740"/>
                  <a:pt x="345" y="737"/>
                  <a:pt x="348" y="738"/>
                </a:cubicBezTo>
                <a:cubicBezTo>
                  <a:pt x="348" y="736"/>
                  <a:pt x="347" y="735"/>
                  <a:pt x="347" y="734"/>
                </a:cubicBezTo>
                <a:cubicBezTo>
                  <a:pt x="349" y="734"/>
                  <a:pt x="346" y="730"/>
                  <a:pt x="348" y="731"/>
                </a:cubicBezTo>
                <a:cubicBezTo>
                  <a:pt x="349" y="730"/>
                  <a:pt x="348" y="728"/>
                  <a:pt x="348" y="728"/>
                </a:cubicBezTo>
                <a:cubicBezTo>
                  <a:pt x="348" y="728"/>
                  <a:pt x="349" y="728"/>
                  <a:pt x="348" y="727"/>
                </a:cubicBezTo>
                <a:cubicBezTo>
                  <a:pt x="351" y="727"/>
                  <a:pt x="351" y="727"/>
                  <a:pt x="351" y="727"/>
                </a:cubicBezTo>
                <a:cubicBezTo>
                  <a:pt x="351" y="725"/>
                  <a:pt x="353" y="726"/>
                  <a:pt x="353" y="725"/>
                </a:cubicBezTo>
                <a:cubicBezTo>
                  <a:pt x="353" y="723"/>
                  <a:pt x="354" y="722"/>
                  <a:pt x="354" y="720"/>
                </a:cubicBezTo>
                <a:cubicBezTo>
                  <a:pt x="352" y="719"/>
                  <a:pt x="351" y="719"/>
                  <a:pt x="350" y="718"/>
                </a:cubicBezTo>
                <a:cubicBezTo>
                  <a:pt x="348" y="718"/>
                  <a:pt x="348" y="716"/>
                  <a:pt x="346" y="717"/>
                </a:cubicBezTo>
                <a:cubicBezTo>
                  <a:pt x="346" y="716"/>
                  <a:pt x="345" y="716"/>
                  <a:pt x="345" y="715"/>
                </a:cubicBezTo>
                <a:cubicBezTo>
                  <a:pt x="343" y="716"/>
                  <a:pt x="343" y="714"/>
                  <a:pt x="341" y="713"/>
                </a:cubicBezTo>
                <a:cubicBezTo>
                  <a:pt x="341" y="711"/>
                  <a:pt x="343" y="710"/>
                  <a:pt x="342" y="708"/>
                </a:cubicBezTo>
                <a:cubicBezTo>
                  <a:pt x="341" y="707"/>
                  <a:pt x="338" y="707"/>
                  <a:pt x="335" y="707"/>
                </a:cubicBezTo>
                <a:cubicBezTo>
                  <a:pt x="333" y="707"/>
                  <a:pt x="333" y="706"/>
                  <a:pt x="330" y="706"/>
                </a:cubicBezTo>
                <a:cubicBezTo>
                  <a:pt x="329" y="706"/>
                  <a:pt x="328" y="707"/>
                  <a:pt x="327" y="708"/>
                </a:cubicBezTo>
                <a:cubicBezTo>
                  <a:pt x="328" y="710"/>
                  <a:pt x="325" y="709"/>
                  <a:pt x="324" y="709"/>
                </a:cubicBezTo>
                <a:cubicBezTo>
                  <a:pt x="323" y="707"/>
                  <a:pt x="324" y="703"/>
                  <a:pt x="323" y="700"/>
                </a:cubicBezTo>
                <a:cubicBezTo>
                  <a:pt x="323" y="698"/>
                  <a:pt x="319" y="698"/>
                  <a:pt x="318" y="697"/>
                </a:cubicBezTo>
                <a:cubicBezTo>
                  <a:pt x="315" y="697"/>
                  <a:pt x="314" y="696"/>
                  <a:pt x="311" y="696"/>
                </a:cubicBezTo>
                <a:cubicBezTo>
                  <a:pt x="311" y="694"/>
                  <a:pt x="308" y="695"/>
                  <a:pt x="307" y="693"/>
                </a:cubicBezTo>
                <a:cubicBezTo>
                  <a:pt x="305" y="693"/>
                  <a:pt x="305" y="692"/>
                  <a:pt x="303" y="691"/>
                </a:cubicBezTo>
                <a:cubicBezTo>
                  <a:pt x="302" y="688"/>
                  <a:pt x="300" y="686"/>
                  <a:pt x="300" y="683"/>
                </a:cubicBezTo>
                <a:cubicBezTo>
                  <a:pt x="299" y="682"/>
                  <a:pt x="298" y="681"/>
                  <a:pt x="296" y="680"/>
                </a:cubicBezTo>
                <a:cubicBezTo>
                  <a:pt x="295" y="679"/>
                  <a:pt x="293" y="678"/>
                  <a:pt x="291" y="678"/>
                </a:cubicBezTo>
                <a:cubicBezTo>
                  <a:pt x="291" y="678"/>
                  <a:pt x="291" y="678"/>
                  <a:pt x="291" y="678"/>
                </a:cubicBezTo>
                <a:cubicBezTo>
                  <a:pt x="291" y="678"/>
                  <a:pt x="291" y="678"/>
                  <a:pt x="291" y="678"/>
                </a:cubicBezTo>
                <a:cubicBezTo>
                  <a:pt x="291" y="678"/>
                  <a:pt x="291" y="678"/>
                  <a:pt x="291" y="678"/>
                </a:cubicBezTo>
                <a:cubicBezTo>
                  <a:pt x="291" y="678"/>
                  <a:pt x="291" y="678"/>
                  <a:pt x="291" y="678"/>
                </a:cubicBezTo>
                <a:cubicBezTo>
                  <a:pt x="291" y="678"/>
                  <a:pt x="291" y="678"/>
                  <a:pt x="291" y="678"/>
                </a:cubicBezTo>
                <a:cubicBezTo>
                  <a:pt x="291" y="678"/>
                  <a:pt x="291" y="678"/>
                  <a:pt x="291" y="678"/>
                </a:cubicBezTo>
                <a:cubicBezTo>
                  <a:pt x="291" y="678"/>
                  <a:pt x="291" y="678"/>
                  <a:pt x="291" y="678"/>
                </a:cubicBezTo>
                <a:cubicBezTo>
                  <a:pt x="291" y="678"/>
                  <a:pt x="291" y="678"/>
                  <a:pt x="291" y="678"/>
                </a:cubicBezTo>
                <a:cubicBezTo>
                  <a:pt x="291" y="678"/>
                  <a:pt x="290" y="678"/>
                  <a:pt x="290" y="678"/>
                </a:cubicBezTo>
                <a:cubicBezTo>
                  <a:pt x="290" y="677"/>
                  <a:pt x="290" y="677"/>
                  <a:pt x="289" y="677"/>
                </a:cubicBezTo>
                <a:cubicBezTo>
                  <a:pt x="289" y="677"/>
                  <a:pt x="288" y="676"/>
                  <a:pt x="287" y="676"/>
                </a:cubicBezTo>
                <a:cubicBezTo>
                  <a:pt x="287" y="676"/>
                  <a:pt x="287" y="676"/>
                  <a:pt x="287" y="676"/>
                </a:cubicBezTo>
                <a:cubicBezTo>
                  <a:pt x="287" y="676"/>
                  <a:pt x="287" y="676"/>
                  <a:pt x="286" y="676"/>
                </a:cubicBezTo>
                <a:cubicBezTo>
                  <a:pt x="286" y="676"/>
                  <a:pt x="286" y="676"/>
                  <a:pt x="286" y="676"/>
                </a:cubicBezTo>
                <a:cubicBezTo>
                  <a:pt x="286" y="676"/>
                  <a:pt x="286" y="676"/>
                  <a:pt x="286" y="675"/>
                </a:cubicBezTo>
                <a:cubicBezTo>
                  <a:pt x="286" y="675"/>
                  <a:pt x="285" y="675"/>
                  <a:pt x="285" y="675"/>
                </a:cubicBezTo>
                <a:cubicBezTo>
                  <a:pt x="285" y="675"/>
                  <a:pt x="285" y="675"/>
                  <a:pt x="285" y="675"/>
                </a:cubicBezTo>
                <a:cubicBezTo>
                  <a:pt x="285" y="675"/>
                  <a:pt x="285" y="675"/>
                  <a:pt x="285" y="675"/>
                </a:cubicBezTo>
                <a:cubicBezTo>
                  <a:pt x="285" y="675"/>
                  <a:pt x="285" y="675"/>
                  <a:pt x="285" y="675"/>
                </a:cubicBezTo>
                <a:cubicBezTo>
                  <a:pt x="285" y="675"/>
                  <a:pt x="285" y="675"/>
                  <a:pt x="285" y="675"/>
                </a:cubicBezTo>
                <a:cubicBezTo>
                  <a:pt x="285" y="675"/>
                  <a:pt x="285" y="674"/>
                  <a:pt x="285" y="674"/>
                </a:cubicBezTo>
                <a:cubicBezTo>
                  <a:pt x="284" y="674"/>
                  <a:pt x="283" y="674"/>
                  <a:pt x="282" y="674"/>
                </a:cubicBezTo>
                <a:cubicBezTo>
                  <a:pt x="282" y="674"/>
                  <a:pt x="282" y="674"/>
                  <a:pt x="282" y="674"/>
                </a:cubicBezTo>
                <a:cubicBezTo>
                  <a:pt x="281" y="671"/>
                  <a:pt x="282" y="668"/>
                  <a:pt x="283" y="666"/>
                </a:cubicBezTo>
                <a:cubicBezTo>
                  <a:pt x="284" y="665"/>
                  <a:pt x="284" y="663"/>
                  <a:pt x="285" y="663"/>
                </a:cubicBezTo>
                <a:cubicBezTo>
                  <a:pt x="285" y="661"/>
                  <a:pt x="286" y="661"/>
                  <a:pt x="286" y="660"/>
                </a:cubicBezTo>
                <a:cubicBezTo>
                  <a:pt x="287" y="657"/>
                  <a:pt x="285" y="657"/>
                  <a:pt x="286" y="654"/>
                </a:cubicBezTo>
                <a:cubicBezTo>
                  <a:pt x="286" y="653"/>
                  <a:pt x="284" y="653"/>
                  <a:pt x="284" y="651"/>
                </a:cubicBezTo>
                <a:cubicBezTo>
                  <a:pt x="283" y="650"/>
                  <a:pt x="281" y="649"/>
                  <a:pt x="280" y="647"/>
                </a:cubicBezTo>
                <a:cubicBezTo>
                  <a:pt x="280" y="646"/>
                  <a:pt x="278" y="646"/>
                  <a:pt x="278" y="645"/>
                </a:cubicBezTo>
                <a:cubicBezTo>
                  <a:pt x="278" y="643"/>
                  <a:pt x="279" y="641"/>
                  <a:pt x="279" y="639"/>
                </a:cubicBezTo>
                <a:cubicBezTo>
                  <a:pt x="279" y="639"/>
                  <a:pt x="279" y="637"/>
                  <a:pt x="278" y="636"/>
                </a:cubicBezTo>
                <a:cubicBezTo>
                  <a:pt x="278" y="635"/>
                  <a:pt x="277" y="635"/>
                  <a:pt x="277" y="634"/>
                </a:cubicBezTo>
                <a:cubicBezTo>
                  <a:pt x="277" y="633"/>
                  <a:pt x="277" y="633"/>
                  <a:pt x="277" y="633"/>
                </a:cubicBezTo>
                <a:cubicBezTo>
                  <a:pt x="277" y="632"/>
                  <a:pt x="277" y="632"/>
                  <a:pt x="277" y="632"/>
                </a:cubicBezTo>
                <a:cubicBezTo>
                  <a:pt x="276" y="631"/>
                  <a:pt x="275" y="632"/>
                  <a:pt x="275" y="630"/>
                </a:cubicBezTo>
                <a:cubicBezTo>
                  <a:pt x="273" y="631"/>
                  <a:pt x="273" y="630"/>
                  <a:pt x="272" y="630"/>
                </a:cubicBezTo>
                <a:cubicBezTo>
                  <a:pt x="272" y="628"/>
                  <a:pt x="268" y="629"/>
                  <a:pt x="268" y="627"/>
                </a:cubicBezTo>
                <a:cubicBezTo>
                  <a:pt x="265" y="627"/>
                  <a:pt x="263" y="626"/>
                  <a:pt x="261" y="626"/>
                </a:cubicBezTo>
                <a:cubicBezTo>
                  <a:pt x="252" y="626"/>
                  <a:pt x="252" y="626"/>
                  <a:pt x="252" y="626"/>
                </a:cubicBezTo>
                <a:cubicBezTo>
                  <a:pt x="251" y="626"/>
                  <a:pt x="250" y="627"/>
                  <a:pt x="249" y="627"/>
                </a:cubicBezTo>
                <a:cubicBezTo>
                  <a:pt x="248" y="628"/>
                  <a:pt x="246" y="630"/>
                  <a:pt x="245" y="632"/>
                </a:cubicBezTo>
                <a:cubicBezTo>
                  <a:pt x="243" y="632"/>
                  <a:pt x="243" y="634"/>
                  <a:pt x="242" y="634"/>
                </a:cubicBezTo>
                <a:cubicBezTo>
                  <a:pt x="242" y="635"/>
                  <a:pt x="240" y="634"/>
                  <a:pt x="240" y="635"/>
                </a:cubicBezTo>
                <a:cubicBezTo>
                  <a:pt x="239" y="635"/>
                  <a:pt x="240" y="635"/>
                  <a:pt x="239" y="635"/>
                </a:cubicBezTo>
                <a:cubicBezTo>
                  <a:pt x="239" y="635"/>
                  <a:pt x="239" y="635"/>
                  <a:pt x="238" y="635"/>
                </a:cubicBezTo>
                <a:cubicBezTo>
                  <a:pt x="238" y="635"/>
                  <a:pt x="237" y="635"/>
                  <a:pt x="237" y="635"/>
                </a:cubicBezTo>
                <a:cubicBezTo>
                  <a:pt x="236" y="633"/>
                  <a:pt x="236" y="631"/>
                  <a:pt x="236" y="628"/>
                </a:cubicBezTo>
                <a:cubicBezTo>
                  <a:pt x="236" y="627"/>
                  <a:pt x="235" y="627"/>
                  <a:pt x="233" y="627"/>
                </a:cubicBezTo>
                <a:cubicBezTo>
                  <a:pt x="233" y="626"/>
                  <a:pt x="231" y="627"/>
                  <a:pt x="231" y="626"/>
                </a:cubicBezTo>
                <a:cubicBezTo>
                  <a:pt x="228" y="626"/>
                  <a:pt x="227" y="625"/>
                  <a:pt x="224" y="625"/>
                </a:cubicBezTo>
                <a:cubicBezTo>
                  <a:pt x="224" y="625"/>
                  <a:pt x="224" y="626"/>
                  <a:pt x="224" y="627"/>
                </a:cubicBezTo>
                <a:cubicBezTo>
                  <a:pt x="223" y="628"/>
                  <a:pt x="223" y="628"/>
                  <a:pt x="222" y="628"/>
                </a:cubicBezTo>
                <a:cubicBezTo>
                  <a:pt x="223" y="631"/>
                  <a:pt x="220" y="629"/>
                  <a:pt x="220" y="631"/>
                </a:cubicBezTo>
                <a:cubicBezTo>
                  <a:pt x="218" y="631"/>
                  <a:pt x="218" y="629"/>
                  <a:pt x="217" y="629"/>
                </a:cubicBezTo>
                <a:cubicBezTo>
                  <a:pt x="217" y="627"/>
                  <a:pt x="215" y="628"/>
                  <a:pt x="215" y="626"/>
                </a:cubicBezTo>
                <a:cubicBezTo>
                  <a:pt x="211" y="625"/>
                  <a:pt x="208" y="626"/>
                  <a:pt x="204" y="627"/>
                </a:cubicBezTo>
                <a:cubicBezTo>
                  <a:pt x="203" y="626"/>
                  <a:pt x="204" y="624"/>
                  <a:pt x="202" y="625"/>
                </a:cubicBezTo>
                <a:cubicBezTo>
                  <a:pt x="202" y="624"/>
                  <a:pt x="202" y="623"/>
                  <a:pt x="201" y="623"/>
                </a:cubicBezTo>
                <a:cubicBezTo>
                  <a:pt x="201" y="621"/>
                  <a:pt x="202" y="620"/>
                  <a:pt x="202" y="619"/>
                </a:cubicBezTo>
                <a:cubicBezTo>
                  <a:pt x="202" y="617"/>
                  <a:pt x="200" y="616"/>
                  <a:pt x="199" y="615"/>
                </a:cubicBezTo>
                <a:cubicBezTo>
                  <a:pt x="199" y="613"/>
                  <a:pt x="198" y="613"/>
                  <a:pt x="197" y="612"/>
                </a:cubicBezTo>
                <a:cubicBezTo>
                  <a:pt x="196" y="610"/>
                  <a:pt x="197" y="610"/>
                  <a:pt x="197" y="610"/>
                </a:cubicBezTo>
                <a:cubicBezTo>
                  <a:pt x="196" y="607"/>
                  <a:pt x="194" y="607"/>
                  <a:pt x="192" y="605"/>
                </a:cubicBezTo>
                <a:cubicBezTo>
                  <a:pt x="192" y="605"/>
                  <a:pt x="192" y="604"/>
                  <a:pt x="192" y="604"/>
                </a:cubicBezTo>
                <a:cubicBezTo>
                  <a:pt x="191" y="602"/>
                  <a:pt x="191" y="601"/>
                  <a:pt x="191" y="599"/>
                </a:cubicBezTo>
                <a:cubicBezTo>
                  <a:pt x="189" y="600"/>
                  <a:pt x="188" y="597"/>
                  <a:pt x="187" y="599"/>
                </a:cubicBezTo>
                <a:cubicBezTo>
                  <a:pt x="187" y="600"/>
                  <a:pt x="186" y="600"/>
                  <a:pt x="184" y="600"/>
                </a:cubicBezTo>
                <a:cubicBezTo>
                  <a:pt x="184" y="598"/>
                  <a:pt x="183" y="598"/>
                  <a:pt x="183" y="596"/>
                </a:cubicBezTo>
                <a:cubicBezTo>
                  <a:pt x="183" y="594"/>
                  <a:pt x="185" y="594"/>
                  <a:pt x="184" y="592"/>
                </a:cubicBezTo>
                <a:cubicBezTo>
                  <a:pt x="184" y="590"/>
                  <a:pt x="182" y="590"/>
                  <a:pt x="183" y="587"/>
                </a:cubicBezTo>
                <a:cubicBezTo>
                  <a:pt x="183" y="586"/>
                  <a:pt x="182" y="585"/>
                  <a:pt x="183" y="584"/>
                </a:cubicBezTo>
                <a:cubicBezTo>
                  <a:pt x="184" y="584"/>
                  <a:pt x="184" y="583"/>
                  <a:pt x="184" y="582"/>
                </a:cubicBezTo>
                <a:cubicBezTo>
                  <a:pt x="184" y="581"/>
                  <a:pt x="183" y="581"/>
                  <a:pt x="183" y="580"/>
                </a:cubicBezTo>
                <a:cubicBezTo>
                  <a:pt x="183" y="579"/>
                  <a:pt x="182" y="578"/>
                  <a:pt x="182" y="577"/>
                </a:cubicBezTo>
                <a:cubicBezTo>
                  <a:pt x="182" y="576"/>
                  <a:pt x="180" y="577"/>
                  <a:pt x="180" y="575"/>
                </a:cubicBezTo>
                <a:cubicBezTo>
                  <a:pt x="180" y="574"/>
                  <a:pt x="179" y="574"/>
                  <a:pt x="179" y="573"/>
                </a:cubicBezTo>
                <a:cubicBezTo>
                  <a:pt x="179" y="573"/>
                  <a:pt x="178" y="573"/>
                  <a:pt x="178" y="573"/>
                </a:cubicBezTo>
                <a:cubicBezTo>
                  <a:pt x="178" y="570"/>
                  <a:pt x="178" y="570"/>
                  <a:pt x="178" y="570"/>
                </a:cubicBezTo>
                <a:cubicBezTo>
                  <a:pt x="176" y="569"/>
                  <a:pt x="174" y="569"/>
                  <a:pt x="172" y="568"/>
                </a:cubicBezTo>
                <a:cubicBezTo>
                  <a:pt x="172" y="566"/>
                  <a:pt x="173" y="566"/>
                  <a:pt x="173" y="564"/>
                </a:cubicBezTo>
                <a:cubicBezTo>
                  <a:pt x="173" y="563"/>
                  <a:pt x="175" y="563"/>
                  <a:pt x="175" y="561"/>
                </a:cubicBezTo>
                <a:cubicBezTo>
                  <a:pt x="174" y="560"/>
                  <a:pt x="174" y="558"/>
                  <a:pt x="174" y="556"/>
                </a:cubicBezTo>
                <a:cubicBezTo>
                  <a:pt x="174" y="555"/>
                  <a:pt x="173" y="555"/>
                  <a:pt x="172" y="555"/>
                </a:cubicBezTo>
                <a:cubicBezTo>
                  <a:pt x="172" y="554"/>
                  <a:pt x="174" y="555"/>
                  <a:pt x="174" y="554"/>
                </a:cubicBezTo>
                <a:cubicBezTo>
                  <a:pt x="176" y="554"/>
                  <a:pt x="176" y="554"/>
                  <a:pt x="176" y="554"/>
                </a:cubicBezTo>
                <a:cubicBezTo>
                  <a:pt x="177" y="551"/>
                  <a:pt x="174" y="552"/>
                  <a:pt x="175" y="550"/>
                </a:cubicBezTo>
                <a:cubicBezTo>
                  <a:pt x="174" y="551"/>
                  <a:pt x="174" y="550"/>
                  <a:pt x="174" y="550"/>
                </a:cubicBezTo>
                <a:cubicBezTo>
                  <a:pt x="174" y="549"/>
                  <a:pt x="173" y="550"/>
                  <a:pt x="173" y="550"/>
                </a:cubicBezTo>
                <a:cubicBezTo>
                  <a:pt x="172" y="549"/>
                  <a:pt x="172" y="549"/>
                  <a:pt x="172" y="548"/>
                </a:cubicBezTo>
                <a:cubicBezTo>
                  <a:pt x="172" y="547"/>
                  <a:pt x="171" y="546"/>
                  <a:pt x="171" y="545"/>
                </a:cubicBezTo>
                <a:cubicBezTo>
                  <a:pt x="170" y="544"/>
                  <a:pt x="169" y="543"/>
                  <a:pt x="167" y="543"/>
                </a:cubicBezTo>
                <a:cubicBezTo>
                  <a:pt x="167" y="542"/>
                  <a:pt x="167" y="541"/>
                  <a:pt x="167" y="541"/>
                </a:cubicBezTo>
                <a:cubicBezTo>
                  <a:pt x="167" y="541"/>
                  <a:pt x="167" y="541"/>
                  <a:pt x="167" y="541"/>
                </a:cubicBezTo>
                <a:cubicBezTo>
                  <a:pt x="167" y="540"/>
                  <a:pt x="167" y="540"/>
                  <a:pt x="168" y="540"/>
                </a:cubicBezTo>
                <a:cubicBezTo>
                  <a:pt x="168" y="540"/>
                  <a:pt x="169" y="540"/>
                  <a:pt x="170" y="540"/>
                </a:cubicBezTo>
                <a:cubicBezTo>
                  <a:pt x="169" y="540"/>
                  <a:pt x="169" y="539"/>
                  <a:pt x="169" y="538"/>
                </a:cubicBezTo>
                <a:cubicBezTo>
                  <a:pt x="168" y="537"/>
                  <a:pt x="168" y="536"/>
                  <a:pt x="167" y="536"/>
                </a:cubicBezTo>
                <a:cubicBezTo>
                  <a:pt x="167" y="535"/>
                  <a:pt x="167" y="534"/>
                  <a:pt x="167" y="533"/>
                </a:cubicBezTo>
                <a:cubicBezTo>
                  <a:pt x="167" y="532"/>
                  <a:pt x="167" y="532"/>
                  <a:pt x="166" y="531"/>
                </a:cubicBezTo>
                <a:cubicBezTo>
                  <a:pt x="166" y="530"/>
                  <a:pt x="165" y="529"/>
                  <a:pt x="165" y="528"/>
                </a:cubicBezTo>
                <a:cubicBezTo>
                  <a:pt x="165" y="527"/>
                  <a:pt x="164" y="526"/>
                  <a:pt x="164" y="526"/>
                </a:cubicBezTo>
                <a:cubicBezTo>
                  <a:pt x="164" y="524"/>
                  <a:pt x="164" y="523"/>
                  <a:pt x="163" y="522"/>
                </a:cubicBezTo>
                <a:cubicBezTo>
                  <a:pt x="162" y="521"/>
                  <a:pt x="162" y="520"/>
                  <a:pt x="161" y="519"/>
                </a:cubicBezTo>
                <a:cubicBezTo>
                  <a:pt x="160" y="518"/>
                  <a:pt x="160" y="517"/>
                  <a:pt x="159" y="516"/>
                </a:cubicBezTo>
                <a:cubicBezTo>
                  <a:pt x="158" y="515"/>
                  <a:pt x="157" y="515"/>
                  <a:pt x="157" y="514"/>
                </a:cubicBezTo>
                <a:cubicBezTo>
                  <a:pt x="156" y="514"/>
                  <a:pt x="156" y="514"/>
                  <a:pt x="156" y="514"/>
                </a:cubicBezTo>
                <a:cubicBezTo>
                  <a:pt x="156" y="514"/>
                  <a:pt x="156" y="514"/>
                  <a:pt x="156" y="514"/>
                </a:cubicBezTo>
                <a:cubicBezTo>
                  <a:pt x="156" y="513"/>
                  <a:pt x="155" y="513"/>
                  <a:pt x="155" y="513"/>
                </a:cubicBezTo>
                <a:cubicBezTo>
                  <a:pt x="155" y="513"/>
                  <a:pt x="155" y="513"/>
                  <a:pt x="155" y="513"/>
                </a:cubicBezTo>
                <a:cubicBezTo>
                  <a:pt x="155" y="513"/>
                  <a:pt x="155" y="513"/>
                  <a:pt x="155" y="513"/>
                </a:cubicBezTo>
                <a:cubicBezTo>
                  <a:pt x="155" y="513"/>
                  <a:pt x="155" y="512"/>
                  <a:pt x="155" y="512"/>
                </a:cubicBezTo>
                <a:cubicBezTo>
                  <a:pt x="154" y="512"/>
                  <a:pt x="154" y="512"/>
                  <a:pt x="153" y="512"/>
                </a:cubicBezTo>
                <a:cubicBezTo>
                  <a:pt x="153" y="512"/>
                  <a:pt x="153" y="512"/>
                  <a:pt x="153" y="512"/>
                </a:cubicBezTo>
                <a:cubicBezTo>
                  <a:pt x="152" y="513"/>
                  <a:pt x="151" y="511"/>
                  <a:pt x="150" y="511"/>
                </a:cubicBezTo>
                <a:cubicBezTo>
                  <a:pt x="150" y="511"/>
                  <a:pt x="150" y="511"/>
                  <a:pt x="150" y="511"/>
                </a:cubicBezTo>
                <a:cubicBezTo>
                  <a:pt x="150" y="511"/>
                  <a:pt x="150" y="511"/>
                  <a:pt x="150" y="511"/>
                </a:cubicBezTo>
                <a:cubicBezTo>
                  <a:pt x="150" y="511"/>
                  <a:pt x="150" y="511"/>
                  <a:pt x="150" y="511"/>
                </a:cubicBezTo>
                <a:cubicBezTo>
                  <a:pt x="150" y="510"/>
                  <a:pt x="150" y="509"/>
                  <a:pt x="150" y="509"/>
                </a:cubicBezTo>
                <a:cubicBezTo>
                  <a:pt x="150" y="508"/>
                  <a:pt x="150" y="508"/>
                  <a:pt x="150" y="508"/>
                </a:cubicBezTo>
                <a:cubicBezTo>
                  <a:pt x="150" y="508"/>
                  <a:pt x="151" y="508"/>
                  <a:pt x="151" y="508"/>
                </a:cubicBezTo>
                <a:cubicBezTo>
                  <a:pt x="151" y="508"/>
                  <a:pt x="151" y="508"/>
                  <a:pt x="151" y="508"/>
                </a:cubicBezTo>
                <a:cubicBezTo>
                  <a:pt x="152" y="507"/>
                  <a:pt x="152" y="506"/>
                  <a:pt x="153" y="506"/>
                </a:cubicBezTo>
                <a:cubicBezTo>
                  <a:pt x="153" y="506"/>
                  <a:pt x="153" y="506"/>
                  <a:pt x="154" y="506"/>
                </a:cubicBezTo>
                <a:cubicBezTo>
                  <a:pt x="154" y="505"/>
                  <a:pt x="154" y="505"/>
                  <a:pt x="154" y="505"/>
                </a:cubicBezTo>
                <a:cubicBezTo>
                  <a:pt x="154" y="505"/>
                  <a:pt x="154" y="505"/>
                  <a:pt x="155" y="505"/>
                </a:cubicBezTo>
                <a:cubicBezTo>
                  <a:pt x="155" y="505"/>
                  <a:pt x="155" y="505"/>
                  <a:pt x="155" y="505"/>
                </a:cubicBezTo>
                <a:cubicBezTo>
                  <a:pt x="155" y="505"/>
                  <a:pt x="155" y="505"/>
                  <a:pt x="156" y="505"/>
                </a:cubicBezTo>
                <a:cubicBezTo>
                  <a:pt x="156" y="505"/>
                  <a:pt x="156" y="504"/>
                  <a:pt x="156" y="504"/>
                </a:cubicBezTo>
                <a:cubicBezTo>
                  <a:pt x="156" y="504"/>
                  <a:pt x="157" y="504"/>
                  <a:pt x="157" y="504"/>
                </a:cubicBezTo>
                <a:cubicBezTo>
                  <a:pt x="157" y="504"/>
                  <a:pt x="157" y="504"/>
                  <a:pt x="157" y="504"/>
                </a:cubicBezTo>
                <a:cubicBezTo>
                  <a:pt x="157" y="504"/>
                  <a:pt x="158" y="504"/>
                  <a:pt x="158" y="504"/>
                </a:cubicBezTo>
                <a:cubicBezTo>
                  <a:pt x="158" y="504"/>
                  <a:pt x="158" y="504"/>
                  <a:pt x="158" y="504"/>
                </a:cubicBezTo>
                <a:cubicBezTo>
                  <a:pt x="159" y="504"/>
                  <a:pt x="159" y="504"/>
                  <a:pt x="159" y="504"/>
                </a:cubicBezTo>
                <a:cubicBezTo>
                  <a:pt x="159" y="503"/>
                  <a:pt x="159" y="503"/>
                  <a:pt x="160" y="503"/>
                </a:cubicBezTo>
                <a:cubicBezTo>
                  <a:pt x="160" y="503"/>
                  <a:pt x="160" y="503"/>
                  <a:pt x="160" y="503"/>
                </a:cubicBezTo>
                <a:cubicBezTo>
                  <a:pt x="161" y="503"/>
                  <a:pt x="161" y="503"/>
                  <a:pt x="162" y="503"/>
                </a:cubicBezTo>
                <a:cubicBezTo>
                  <a:pt x="162" y="503"/>
                  <a:pt x="162" y="503"/>
                  <a:pt x="163" y="503"/>
                </a:cubicBezTo>
                <a:cubicBezTo>
                  <a:pt x="163" y="503"/>
                  <a:pt x="163" y="503"/>
                  <a:pt x="163" y="503"/>
                </a:cubicBezTo>
                <a:cubicBezTo>
                  <a:pt x="163" y="503"/>
                  <a:pt x="163" y="503"/>
                  <a:pt x="163" y="503"/>
                </a:cubicBezTo>
                <a:cubicBezTo>
                  <a:pt x="163" y="502"/>
                  <a:pt x="163" y="502"/>
                  <a:pt x="164" y="502"/>
                </a:cubicBezTo>
                <a:cubicBezTo>
                  <a:pt x="164" y="502"/>
                  <a:pt x="164" y="502"/>
                  <a:pt x="164" y="502"/>
                </a:cubicBezTo>
                <a:cubicBezTo>
                  <a:pt x="164" y="502"/>
                  <a:pt x="164" y="501"/>
                  <a:pt x="164" y="500"/>
                </a:cubicBezTo>
                <a:cubicBezTo>
                  <a:pt x="164" y="500"/>
                  <a:pt x="164" y="500"/>
                  <a:pt x="164" y="500"/>
                </a:cubicBezTo>
                <a:cubicBezTo>
                  <a:pt x="164" y="500"/>
                  <a:pt x="164" y="499"/>
                  <a:pt x="164" y="498"/>
                </a:cubicBezTo>
                <a:cubicBezTo>
                  <a:pt x="165" y="498"/>
                  <a:pt x="165" y="498"/>
                  <a:pt x="165" y="497"/>
                </a:cubicBezTo>
                <a:cubicBezTo>
                  <a:pt x="165" y="496"/>
                  <a:pt x="165" y="495"/>
                  <a:pt x="166" y="494"/>
                </a:cubicBezTo>
                <a:cubicBezTo>
                  <a:pt x="165" y="494"/>
                  <a:pt x="165" y="492"/>
                  <a:pt x="165" y="491"/>
                </a:cubicBezTo>
                <a:cubicBezTo>
                  <a:pt x="166" y="491"/>
                  <a:pt x="166" y="490"/>
                  <a:pt x="166" y="490"/>
                </a:cubicBezTo>
                <a:cubicBezTo>
                  <a:pt x="167" y="490"/>
                  <a:pt x="166" y="489"/>
                  <a:pt x="167" y="488"/>
                </a:cubicBezTo>
                <a:cubicBezTo>
                  <a:pt x="168" y="488"/>
                  <a:pt x="167" y="486"/>
                  <a:pt x="169" y="487"/>
                </a:cubicBezTo>
                <a:cubicBezTo>
                  <a:pt x="170" y="486"/>
                  <a:pt x="171" y="486"/>
                  <a:pt x="171" y="486"/>
                </a:cubicBezTo>
                <a:cubicBezTo>
                  <a:pt x="172" y="484"/>
                  <a:pt x="171" y="483"/>
                  <a:pt x="169" y="483"/>
                </a:cubicBezTo>
                <a:cubicBezTo>
                  <a:pt x="169" y="482"/>
                  <a:pt x="168" y="481"/>
                  <a:pt x="167" y="481"/>
                </a:cubicBezTo>
                <a:cubicBezTo>
                  <a:pt x="167" y="476"/>
                  <a:pt x="167" y="476"/>
                  <a:pt x="167" y="476"/>
                </a:cubicBezTo>
                <a:cubicBezTo>
                  <a:pt x="167" y="475"/>
                  <a:pt x="167" y="475"/>
                  <a:pt x="166" y="474"/>
                </a:cubicBezTo>
                <a:cubicBezTo>
                  <a:pt x="166" y="474"/>
                  <a:pt x="166" y="474"/>
                  <a:pt x="166" y="474"/>
                </a:cubicBezTo>
                <a:cubicBezTo>
                  <a:pt x="165" y="474"/>
                  <a:pt x="164" y="473"/>
                  <a:pt x="164" y="472"/>
                </a:cubicBezTo>
                <a:cubicBezTo>
                  <a:pt x="164" y="471"/>
                  <a:pt x="164" y="471"/>
                  <a:pt x="164" y="471"/>
                </a:cubicBezTo>
                <a:cubicBezTo>
                  <a:pt x="164" y="470"/>
                  <a:pt x="164" y="469"/>
                  <a:pt x="164" y="468"/>
                </a:cubicBezTo>
                <a:cubicBezTo>
                  <a:pt x="164" y="466"/>
                  <a:pt x="164" y="465"/>
                  <a:pt x="166" y="465"/>
                </a:cubicBezTo>
                <a:cubicBezTo>
                  <a:pt x="170" y="464"/>
                  <a:pt x="169" y="469"/>
                  <a:pt x="173" y="468"/>
                </a:cubicBezTo>
                <a:cubicBezTo>
                  <a:pt x="172" y="466"/>
                  <a:pt x="172" y="465"/>
                  <a:pt x="172" y="463"/>
                </a:cubicBezTo>
                <a:cubicBezTo>
                  <a:pt x="173" y="462"/>
                  <a:pt x="173" y="460"/>
                  <a:pt x="174" y="460"/>
                </a:cubicBezTo>
                <a:cubicBezTo>
                  <a:pt x="176" y="460"/>
                  <a:pt x="177" y="462"/>
                  <a:pt x="178" y="463"/>
                </a:cubicBezTo>
                <a:cubicBezTo>
                  <a:pt x="179" y="463"/>
                  <a:pt x="179" y="463"/>
                  <a:pt x="179" y="463"/>
                </a:cubicBezTo>
                <a:cubicBezTo>
                  <a:pt x="182" y="462"/>
                  <a:pt x="184" y="461"/>
                  <a:pt x="185" y="459"/>
                </a:cubicBezTo>
                <a:cubicBezTo>
                  <a:pt x="185" y="459"/>
                  <a:pt x="185" y="458"/>
                  <a:pt x="185" y="457"/>
                </a:cubicBezTo>
                <a:cubicBezTo>
                  <a:pt x="184" y="457"/>
                  <a:pt x="184" y="456"/>
                  <a:pt x="184" y="456"/>
                </a:cubicBezTo>
                <a:cubicBezTo>
                  <a:pt x="184" y="456"/>
                  <a:pt x="184" y="456"/>
                  <a:pt x="184" y="456"/>
                </a:cubicBezTo>
                <a:cubicBezTo>
                  <a:pt x="185" y="455"/>
                  <a:pt x="183" y="453"/>
                  <a:pt x="186" y="453"/>
                </a:cubicBezTo>
                <a:cubicBezTo>
                  <a:pt x="186" y="453"/>
                  <a:pt x="186" y="453"/>
                  <a:pt x="186" y="453"/>
                </a:cubicBezTo>
                <a:cubicBezTo>
                  <a:pt x="187" y="452"/>
                  <a:pt x="187" y="452"/>
                  <a:pt x="188" y="451"/>
                </a:cubicBezTo>
                <a:cubicBezTo>
                  <a:pt x="191" y="452"/>
                  <a:pt x="190" y="450"/>
                  <a:pt x="192" y="450"/>
                </a:cubicBezTo>
                <a:cubicBezTo>
                  <a:pt x="195" y="450"/>
                  <a:pt x="198" y="449"/>
                  <a:pt x="199" y="451"/>
                </a:cubicBezTo>
                <a:cubicBezTo>
                  <a:pt x="199" y="450"/>
                  <a:pt x="199" y="449"/>
                  <a:pt x="199" y="449"/>
                </a:cubicBezTo>
                <a:cubicBezTo>
                  <a:pt x="200" y="449"/>
                  <a:pt x="200" y="449"/>
                  <a:pt x="201" y="449"/>
                </a:cubicBezTo>
                <a:cubicBezTo>
                  <a:pt x="202" y="449"/>
                  <a:pt x="203" y="449"/>
                  <a:pt x="203" y="450"/>
                </a:cubicBezTo>
                <a:cubicBezTo>
                  <a:pt x="202" y="451"/>
                  <a:pt x="202" y="451"/>
                  <a:pt x="201" y="451"/>
                </a:cubicBezTo>
                <a:cubicBezTo>
                  <a:pt x="200" y="450"/>
                  <a:pt x="200" y="451"/>
                  <a:pt x="201" y="451"/>
                </a:cubicBezTo>
                <a:cubicBezTo>
                  <a:pt x="201" y="452"/>
                  <a:pt x="201" y="452"/>
                  <a:pt x="201" y="452"/>
                </a:cubicBezTo>
                <a:cubicBezTo>
                  <a:pt x="203" y="452"/>
                  <a:pt x="205" y="452"/>
                  <a:pt x="206" y="453"/>
                </a:cubicBezTo>
                <a:cubicBezTo>
                  <a:pt x="206" y="452"/>
                  <a:pt x="207" y="452"/>
                  <a:pt x="208" y="452"/>
                </a:cubicBezTo>
                <a:cubicBezTo>
                  <a:pt x="208" y="452"/>
                  <a:pt x="209" y="452"/>
                  <a:pt x="209" y="451"/>
                </a:cubicBezTo>
                <a:cubicBezTo>
                  <a:pt x="210" y="451"/>
                  <a:pt x="212" y="451"/>
                  <a:pt x="211" y="449"/>
                </a:cubicBezTo>
                <a:cubicBezTo>
                  <a:pt x="209" y="449"/>
                  <a:pt x="207" y="448"/>
                  <a:pt x="204" y="448"/>
                </a:cubicBezTo>
                <a:cubicBezTo>
                  <a:pt x="205" y="445"/>
                  <a:pt x="202" y="446"/>
                  <a:pt x="202" y="443"/>
                </a:cubicBezTo>
                <a:cubicBezTo>
                  <a:pt x="201" y="443"/>
                  <a:pt x="201" y="442"/>
                  <a:pt x="201" y="442"/>
                </a:cubicBezTo>
                <a:cubicBezTo>
                  <a:pt x="199" y="442"/>
                  <a:pt x="199" y="441"/>
                  <a:pt x="197" y="441"/>
                </a:cubicBezTo>
                <a:cubicBezTo>
                  <a:pt x="195" y="441"/>
                  <a:pt x="195" y="443"/>
                  <a:pt x="192" y="442"/>
                </a:cubicBezTo>
                <a:cubicBezTo>
                  <a:pt x="192" y="443"/>
                  <a:pt x="192" y="443"/>
                  <a:pt x="191" y="443"/>
                </a:cubicBezTo>
                <a:cubicBezTo>
                  <a:pt x="191" y="443"/>
                  <a:pt x="191" y="443"/>
                  <a:pt x="191" y="443"/>
                </a:cubicBezTo>
                <a:cubicBezTo>
                  <a:pt x="190" y="444"/>
                  <a:pt x="190" y="446"/>
                  <a:pt x="188" y="445"/>
                </a:cubicBezTo>
                <a:cubicBezTo>
                  <a:pt x="183" y="445"/>
                  <a:pt x="183" y="445"/>
                  <a:pt x="183" y="445"/>
                </a:cubicBezTo>
                <a:cubicBezTo>
                  <a:pt x="183" y="444"/>
                  <a:pt x="183" y="443"/>
                  <a:pt x="182" y="442"/>
                </a:cubicBezTo>
                <a:cubicBezTo>
                  <a:pt x="181" y="441"/>
                  <a:pt x="178" y="442"/>
                  <a:pt x="179" y="440"/>
                </a:cubicBezTo>
                <a:cubicBezTo>
                  <a:pt x="177" y="441"/>
                  <a:pt x="176" y="439"/>
                  <a:pt x="174" y="439"/>
                </a:cubicBezTo>
                <a:cubicBezTo>
                  <a:pt x="174" y="439"/>
                  <a:pt x="174" y="440"/>
                  <a:pt x="174" y="439"/>
                </a:cubicBezTo>
                <a:cubicBezTo>
                  <a:pt x="171" y="439"/>
                  <a:pt x="171" y="439"/>
                  <a:pt x="171" y="439"/>
                </a:cubicBezTo>
                <a:cubicBezTo>
                  <a:pt x="171" y="438"/>
                  <a:pt x="171" y="438"/>
                  <a:pt x="170" y="438"/>
                </a:cubicBezTo>
                <a:cubicBezTo>
                  <a:pt x="170" y="435"/>
                  <a:pt x="167" y="436"/>
                  <a:pt x="167" y="433"/>
                </a:cubicBezTo>
                <a:cubicBezTo>
                  <a:pt x="166" y="433"/>
                  <a:pt x="165" y="433"/>
                  <a:pt x="164" y="432"/>
                </a:cubicBezTo>
                <a:cubicBezTo>
                  <a:pt x="166" y="431"/>
                  <a:pt x="169" y="431"/>
                  <a:pt x="169" y="433"/>
                </a:cubicBezTo>
                <a:cubicBezTo>
                  <a:pt x="169" y="433"/>
                  <a:pt x="169" y="434"/>
                  <a:pt x="170" y="434"/>
                </a:cubicBezTo>
                <a:cubicBezTo>
                  <a:pt x="172" y="434"/>
                  <a:pt x="172" y="437"/>
                  <a:pt x="173" y="434"/>
                </a:cubicBezTo>
                <a:cubicBezTo>
                  <a:pt x="172" y="433"/>
                  <a:pt x="172" y="432"/>
                  <a:pt x="171" y="430"/>
                </a:cubicBezTo>
                <a:cubicBezTo>
                  <a:pt x="171" y="429"/>
                  <a:pt x="170" y="428"/>
                  <a:pt x="170" y="426"/>
                </a:cubicBezTo>
                <a:cubicBezTo>
                  <a:pt x="170" y="425"/>
                  <a:pt x="171" y="424"/>
                  <a:pt x="171" y="423"/>
                </a:cubicBezTo>
                <a:cubicBezTo>
                  <a:pt x="171" y="422"/>
                  <a:pt x="171" y="421"/>
                  <a:pt x="169" y="420"/>
                </a:cubicBezTo>
                <a:cubicBezTo>
                  <a:pt x="170" y="422"/>
                  <a:pt x="169" y="423"/>
                  <a:pt x="169" y="425"/>
                </a:cubicBezTo>
                <a:cubicBezTo>
                  <a:pt x="168" y="426"/>
                  <a:pt x="166" y="426"/>
                  <a:pt x="165" y="426"/>
                </a:cubicBezTo>
                <a:cubicBezTo>
                  <a:pt x="165" y="427"/>
                  <a:pt x="164" y="427"/>
                  <a:pt x="164" y="428"/>
                </a:cubicBezTo>
                <a:cubicBezTo>
                  <a:pt x="164" y="428"/>
                  <a:pt x="164" y="428"/>
                  <a:pt x="164" y="429"/>
                </a:cubicBezTo>
                <a:cubicBezTo>
                  <a:pt x="164" y="430"/>
                  <a:pt x="163" y="430"/>
                  <a:pt x="162" y="430"/>
                </a:cubicBezTo>
                <a:cubicBezTo>
                  <a:pt x="162" y="431"/>
                  <a:pt x="163" y="433"/>
                  <a:pt x="162" y="433"/>
                </a:cubicBezTo>
                <a:cubicBezTo>
                  <a:pt x="161" y="433"/>
                  <a:pt x="160" y="433"/>
                  <a:pt x="160" y="434"/>
                </a:cubicBezTo>
                <a:cubicBezTo>
                  <a:pt x="157" y="434"/>
                  <a:pt x="157" y="434"/>
                  <a:pt x="157" y="434"/>
                </a:cubicBezTo>
                <a:cubicBezTo>
                  <a:pt x="156" y="434"/>
                  <a:pt x="155" y="433"/>
                  <a:pt x="153" y="433"/>
                </a:cubicBezTo>
                <a:cubicBezTo>
                  <a:pt x="153" y="430"/>
                  <a:pt x="155" y="429"/>
                  <a:pt x="155" y="427"/>
                </a:cubicBezTo>
                <a:cubicBezTo>
                  <a:pt x="156" y="427"/>
                  <a:pt x="156" y="427"/>
                  <a:pt x="156" y="427"/>
                </a:cubicBezTo>
                <a:cubicBezTo>
                  <a:pt x="156" y="427"/>
                  <a:pt x="156" y="427"/>
                  <a:pt x="156" y="427"/>
                </a:cubicBezTo>
                <a:cubicBezTo>
                  <a:pt x="156" y="427"/>
                  <a:pt x="156" y="426"/>
                  <a:pt x="156" y="426"/>
                </a:cubicBezTo>
                <a:cubicBezTo>
                  <a:pt x="156" y="426"/>
                  <a:pt x="156" y="426"/>
                  <a:pt x="156" y="426"/>
                </a:cubicBezTo>
                <a:cubicBezTo>
                  <a:pt x="156" y="426"/>
                  <a:pt x="156" y="426"/>
                  <a:pt x="156" y="426"/>
                </a:cubicBezTo>
                <a:cubicBezTo>
                  <a:pt x="156" y="426"/>
                  <a:pt x="156" y="426"/>
                  <a:pt x="156" y="426"/>
                </a:cubicBezTo>
                <a:cubicBezTo>
                  <a:pt x="157" y="426"/>
                  <a:pt x="157" y="426"/>
                  <a:pt x="157" y="425"/>
                </a:cubicBezTo>
                <a:cubicBezTo>
                  <a:pt x="157" y="425"/>
                  <a:pt x="157" y="425"/>
                  <a:pt x="157" y="425"/>
                </a:cubicBezTo>
                <a:cubicBezTo>
                  <a:pt x="157" y="425"/>
                  <a:pt x="157" y="425"/>
                  <a:pt x="157" y="425"/>
                </a:cubicBezTo>
                <a:cubicBezTo>
                  <a:pt x="157" y="425"/>
                  <a:pt x="157" y="425"/>
                  <a:pt x="157" y="425"/>
                </a:cubicBezTo>
                <a:cubicBezTo>
                  <a:pt x="157" y="425"/>
                  <a:pt x="157" y="425"/>
                  <a:pt x="157" y="425"/>
                </a:cubicBezTo>
                <a:cubicBezTo>
                  <a:pt x="157" y="425"/>
                  <a:pt x="157" y="425"/>
                  <a:pt x="157" y="425"/>
                </a:cubicBezTo>
                <a:cubicBezTo>
                  <a:pt x="157" y="425"/>
                  <a:pt x="157" y="425"/>
                  <a:pt x="157" y="425"/>
                </a:cubicBezTo>
                <a:cubicBezTo>
                  <a:pt x="157" y="425"/>
                  <a:pt x="157" y="424"/>
                  <a:pt x="157" y="424"/>
                </a:cubicBezTo>
                <a:cubicBezTo>
                  <a:pt x="157" y="424"/>
                  <a:pt x="157" y="424"/>
                  <a:pt x="157" y="424"/>
                </a:cubicBezTo>
                <a:cubicBezTo>
                  <a:pt x="157" y="424"/>
                  <a:pt x="157" y="424"/>
                  <a:pt x="157" y="424"/>
                </a:cubicBezTo>
                <a:cubicBezTo>
                  <a:pt x="157" y="424"/>
                  <a:pt x="157" y="424"/>
                  <a:pt x="157" y="424"/>
                </a:cubicBezTo>
                <a:cubicBezTo>
                  <a:pt x="157" y="424"/>
                  <a:pt x="157" y="424"/>
                  <a:pt x="157" y="423"/>
                </a:cubicBezTo>
                <a:cubicBezTo>
                  <a:pt x="157" y="423"/>
                  <a:pt x="157" y="423"/>
                  <a:pt x="157" y="423"/>
                </a:cubicBezTo>
                <a:cubicBezTo>
                  <a:pt x="157" y="423"/>
                  <a:pt x="158" y="422"/>
                  <a:pt x="158" y="422"/>
                </a:cubicBezTo>
                <a:cubicBezTo>
                  <a:pt x="158" y="422"/>
                  <a:pt x="158" y="422"/>
                  <a:pt x="158" y="421"/>
                </a:cubicBezTo>
                <a:cubicBezTo>
                  <a:pt x="159" y="421"/>
                  <a:pt x="159" y="421"/>
                  <a:pt x="159" y="421"/>
                </a:cubicBezTo>
                <a:cubicBezTo>
                  <a:pt x="159" y="421"/>
                  <a:pt x="159" y="420"/>
                  <a:pt x="159" y="420"/>
                </a:cubicBezTo>
                <a:cubicBezTo>
                  <a:pt x="159" y="420"/>
                  <a:pt x="159" y="420"/>
                  <a:pt x="159" y="420"/>
                </a:cubicBezTo>
                <a:cubicBezTo>
                  <a:pt x="159" y="420"/>
                  <a:pt x="159" y="420"/>
                  <a:pt x="159" y="420"/>
                </a:cubicBezTo>
                <a:cubicBezTo>
                  <a:pt x="159" y="420"/>
                  <a:pt x="159" y="419"/>
                  <a:pt x="160" y="419"/>
                </a:cubicBezTo>
                <a:cubicBezTo>
                  <a:pt x="160" y="419"/>
                  <a:pt x="160" y="419"/>
                  <a:pt x="160" y="419"/>
                </a:cubicBezTo>
                <a:cubicBezTo>
                  <a:pt x="160" y="418"/>
                  <a:pt x="160" y="418"/>
                  <a:pt x="160" y="418"/>
                </a:cubicBezTo>
                <a:cubicBezTo>
                  <a:pt x="160" y="418"/>
                  <a:pt x="160" y="418"/>
                  <a:pt x="160" y="417"/>
                </a:cubicBezTo>
                <a:cubicBezTo>
                  <a:pt x="160" y="417"/>
                  <a:pt x="160" y="417"/>
                  <a:pt x="160" y="417"/>
                </a:cubicBezTo>
                <a:cubicBezTo>
                  <a:pt x="160" y="417"/>
                  <a:pt x="160" y="417"/>
                  <a:pt x="160" y="417"/>
                </a:cubicBezTo>
                <a:cubicBezTo>
                  <a:pt x="160" y="417"/>
                  <a:pt x="160" y="417"/>
                  <a:pt x="160" y="417"/>
                </a:cubicBezTo>
                <a:cubicBezTo>
                  <a:pt x="160" y="417"/>
                  <a:pt x="160" y="417"/>
                  <a:pt x="160" y="417"/>
                </a:cubicBezTo>
                <a:cubicBezTo>
                  <a:pt x="160" y="417"/>
                  <a:pt x="160" y="417"/>
                  <a:pt x="161" y="417"/>
                </a:cubicBezTo>
                <a:cubicBezTo>
                  <a:pt x="161" y="416"/>
                  <a:pt x="161" y="416"/>
                  <a:pt x="161" y="416"/>
                </a:cubicBezTo>
                <a:cubicBezTo>
                  <a:pt x="161" y="416"/>
                  <a:pt x="161" y="416"/>
                  <a:pt x="161" y="416"/>
                </a:cubicBezTo>
                <a:cubicBezTo>
                  <a:pt x="161" y="416"/>
                  <a:pt x="161" y="416"/>
                  <a:pt x="161" y="416"/>
                </a:cubicBezTo>
                <a:cubicBezTo>
                  <a:pt x="161" y="416"/>
                  <a:pt x="161" y="416"/>
                  <a:pt x="161" y="416"/>
                </a:cubicBezTo>
                <a:cubicBezTo>
                  <a:pt x="161" y="416"/>
                  <a:pt x="162" y="416"/>
                  <a:pt x="162" y="416"/>
                </a:cubicBezTo>
                <a:cubicBezTo>
                  <a:pt x="162" y="416"/>
                  <a:pt x="162" y="416"/>
                  <a:pt x="162" y="416"/>
                </a:cubicBezTo>
                <a:cubicBezTo>
                  <a:pt x="162" y="416"/>
                  <a:pt x="162" y="416"/>
                  <a:pt x="162" y="416"/>
                </a:cubicBezTo>
                <a:cubicBezTo>
                  <a:pt x="162" y="415"/>
                  <a:pt x="162" y="415"/>
                  <a:pt x="162" y="415"/>
                </a:cubicBezTo>
                <a:cubicBezTo>
                  <a:pt x="162" y="415"/>
                  <a:pt x="162" y="415"/>
                  <a:pt x="162" y="415"/>
                </a:cubicBezTo>
                <a:cubicBezTo>
                  <a:pt x="162" y="415"/>
                  <a:pt x="162" y="415"/>
                  <a:pt x="162" y="415"/>
                </a:cubicBezTo>
                <a:cubicBezTo>
                  <a:pt x="162" y="415"/>
                  <a:pt x="162" y="415"/>
                  <a:pt x="162" y="415"/>
                </a:cubicBezTo>
                <a:cubicBezTo>
                  <a:pt x="162" y="415"/>
                  <a:pt x="162" y="415"/>
                  <a:pt x="162" y="415"/>
                </a:cubicBezTo>
                <a:cubicBezTo>
                  <a:pt x="162" y="415"/>
                  <a:pt x="162" y="415"/>
                  <a:pt x="162" y="415"/>
                </a:cubicBezTo>
                <a:cubicBezTo>
                  <a:pt x="162" y="415"/>
                  <a:pt x="162" y="415"/>
                  <a:pt x="162" y="415"/>
                </a:cubicBezTo>
                <a:cubicBezTo>
                  <a:pt x="162" y="415"/>
                  <a:pt x="162" y="415"/>
                  <a:pt x="162" y="414"/>
                </a:cubicBezTo>
                <a:cubicBezTo>
                  <a:pt x="162" y="414"/>
                  <a:pt x="163" y="413"/>
                  <a:pt x="163" y="413"/>
                </a:cubicBezTo>
                <a:cubicBezTo>
                  <a:pt x="163" y="412"/>
                  <a:pt x="164" y="412"/>
                  <a:pt x="164" y="412"/>
                </a:cubicBezTo>
                <a:cubicBezTo>
                  <a:pt x="164" y="412"/>
                  <a:pt x="164" y="412"/>
                  <a:pt x="164" y="412"/>
                </a:cubicBezTo>
                <a:cubicBezTo>
                  <a:pt x="164" y="412"/>
                  <a:pt x="164" y="411"/>
                  <a:pt x="165" y="411"/>
                </a:cubicBezTo>
                <a:cubicBezTo>
                  <a:pt x="165" y="411"/>
                  <a:pt x="165" y="411"/>
                  <a:pt x="165" y="411"/>
                </a:cubicBezTo>
                <a:cubicBezTo>
                  <a:pt x="165" y="411"/>
                  <a:pt x="165" y="411"/>
                  <a:pt x="165" y="411"/>
                </a:cubicBezTo>
                <a:cubicBezTo>
                  <a:pt x="165" y="411"/>
                  <a:pt x="166" y="411"/>
                  <a:pt x="166" y="411"/>
                </a:cubicBezTo>
                <a:cubicBezTo>
                  <a:pt x="166" y="410"/>
                  <a:pt x="166" y="410"/>
                  <a:pt x="166" y="410"/>
                </a:cubicBezTo>
                <a:cubicBezTo>
                  <a:pt x="167" y="409"/>
                  <a:pt x="167" y="408"/>
                  <a:pt x="167" y="407"/>
                </a:cubicBezTo>
                <a:cubicBezTo>
                  <a:pt x="167" y="407"/>
                  <a:pt x="167" y="407"/>
                  <a:pt x="167" y="407"/>
                </a:cubicBezTo>
                <a:cubicBezTo>
                  <a:pt x="167" y="405"/>
                  <a:pt x="167" y="405"/>
                  <a:pt x="167" y="405"/>
                </a:cubicBezTo>
                <a:cubicBezTo>
                  <a:pt x="167" y="405"/>
                  <a:pt x="167" y="405"/>
                  <a:pt x="168" y="405"/>
                </a:cubicBezTo>
                <a:cubicBezTo>
                  <a:pt x="168" y="405"/>
                  <a:pt x="168" y="405"/>
                  <a:pt x="168" y="404"/>
                </a:cubicBezTo>
                <a:cubicBezTo>
                  <a:pt x="168" y="404"/>
                  <a:pt x="168" y="404"/>
                  <a:pt x="168" y="404"/>
                </a:cubicBezTo>
                <a:cubicBezTo>
                  <a:pt x="168" y="404"/>
                  <a:pt x="168" y="404"/>
                  <a:pt x="168" y="404"/>
                </a:cubicBezTo>
                <a:cubicBezTo>
                  <a:pt x="168" y="404"/>
                  <a:pt x="168" y="404"/>
                  <a:pt x="168" y="404"/>
                </a:cubicBezTo>
                <a:cubicBezTo>
                  <a:pt x="168" y="404"/>
                  <a:pt x="168" y="404"/>
                  <a:pt x="168" y="404"/>
                </a:cubicBezTo>
                <a:cubicBezTo>
                  <a:pt x="168" y="404"/>
                  <a:pt x="168" y="404"/>
                  <a:pt x="168" y="404"/>
                </a:cubicBezTo>
                <a:cubicBezTo>
                  <a:pt x="168" y="404"/>
                  <a:pt x="168" y="404"/>
                  <a:pt x="168" y="404"/>
                </a:cubicBezTo>
                <a:cubicBezTo>
                  <a:pt x="168" y="404"/>
                  <a:pt x="168" y="404"/>
                  <a:pt x="168" y="404"/>
                </a:cubicBezTo>
                <a:cubicBezTo>
                  <a:pt x="168" y="403"/>
                  <a:pt x="168" y="403"/>
                  <a:pt x="168" y="403"/>
                </a:cubicBezTo>
                <a:cubicBezTo>
                  <a:pt x="168" y="403"/>
                  <a:pt x="168" y="403"/>
                  <a:pt x="168" y="403"/>
                </a:cubicBezTo>
                <a:cubicBezTo>
                  <a:pt x="168" y="403"/>
                  <a:pt x="168" y="403"/>
                  <a:pt x="169" y="403"/>
                </a:cubicBezTo>
                <a:cubicBezTo>
                  <a:pt x="169" y="403"/>
                  <a:pt x="169" y="403"/>
                  <a:pt x="169" y="403"/>
                </a:cubicBezTo>
                <a:cubicBezTo>
                  <a:pt x="169" y="403"/>
                  <a:pt x="169" y="403"/>
                  <a:pt x="169" y="402"/>
                </a:cubicBezTo>
                <a:cubicBezTo>
                  <a:pt x="169" y="402"/>
                  <a:pt x="169" y="402"/>
                  <a:pt x="169" y="402"/>
                </a:cubicBezTo>
                <a:cubicBezTo>
                  <a:pt x="169" y="402"/>
                  <a:pt x="169" y="402"/>
                  <a:pt x="169" y="402"/>
                </a:cubicBezTo>
                <a:cubicBezTo>
                  <a:pt x="169" y="402"/>
                  <a:pt x="169" y="402"/>
                  <a:pt x="169" y="402"/>
                </a:cubicBezTo>
                <a:cubicBezTo>
                  <a:pt x="169" y="402"/>
                  <a:pt x="169" y="402"/>
                  <a:pt x="169" y="402"/>
                </a:cubicBezTo>
                <a:cubicBezTo>
                  <a:pt x="170" y="401"/>
                  <a:pt x="170" y="400"/>
                  <a:pt x="171" y="399"/>
                </a:cubicBezTo>
                <a:cubicBezTo>
                  <a:pt x="171" y="399"/>
                  <a:pt x="171" y="399"/>
                  <a:pt x="171" y="399"/>
                </a:cubicBezTo>
                <a:cubicBezTo>
                  <a:pt x="171" y="399"/>
                  <a:pt x="171" y="399"/>
                  <a:pt x="171" y="398"/>
                </a:cubicBezTo>
                <a:cubicBezTo>
                  <a:pt x="171" y="398"/>
                  <a:pt x="171" y="398"/>
                  <a:pt x="171" y="397"/>
                </a:cubicBezTo>
                <a:cubicBezTo>
                  <a:pt x="171" y="397"/>
                  <a:pt x="172" y="397"/>
                  <a:pt x="172" y="397"/>
                </a:cubicBezTo>
                <a:cubicBezTo>
                  <a:pt x="172" y="396"/>
                  <a:pt x="172" y="396"/>
                  <a:pt x="173" y="396"/>
                </a:cubicBezTo>
                <a:cubicBezTo>
                  <a:pt x="173" y="396"/>
                  <a:pt x="173" y="396"/>
                  <a:pt x="173" y="396"/>
                </a:cubicBezTo>
                <a:cubicBezTo>
                  <a:pt x="173" y="396"/>
                  <a:pt x="173" y="396"/>
                  <a:pt x="173" y="396"/>
                </a:cubicBezTo>
                <a:cubicBezTo>
                  <a:pt x="173" y="396"/>
                  <a:pt x="173" y="396"/>
                  <a:pt x="173" y="396"/>
                </a:cubicBezTo>
                <a:cubicBezTo>
                  <a:pt x="173" y="396"/>
                  <a:pt x="173" y="395"/>
                  <a:pt x="174" y="395"/>
                </a:cubicBezTo>
                <a:cubicBezTo>
                  <a:pt x="174" y="395"/>
                  <a:pt x="174" y="394"/>
                  <a:pt x="174" y="394"/>
                </a:cubicBezTo>
                <a:cubicBezTo>
                  <a:pt x="174" y="394"/>
                  <a:pt x="174" y="394"/>
                  <a:pt x="174" y="394"/>
                </a:cubicBezTo>
                <a:cubicBezTo>
                  <a:pt x="174" y="393"/>
                  <a:pt x="175" y="393"/>
                  <a:pt x="175" y="393"/>
                </a:cubicBezTo>
                <a:cubicBezTo>
                  <a:pt x="175" y="393"/>
                  <a:pt x="175" y="393"/>
                  <a:pt x="175" y="393"/>
                </a:cubicBezTo>
                <a:cubicBezTo>
                  <a:pt x="176" y="393"/>
                  <a:pt x="176" y="393"/>
                  <a:pt x="176" y="393"/>
                </a:cubicBezTo>
                <a:cubicBezTo>
                  <a:pt x="176" y="393"/>
                  <a:pt x="176" y="393"/>
                  <a:pt x="176" y="393"/>
                </a:cubicBezTo>
                <a:cubicBezTo>
                  <a:pt x="176" y="393"/>
                  <a:pt x="176" y="392"/>
                  <a:pt x="176" y="392"/>
                </a:cubicBezTo>
                <a:cubicBezTo>
                  <a:pt x="176" y="392"/>
                  <a:pt x="176" y="392"/>
                  <a:pt x="176" y="392"/>
                </a:cubicBezTo>
                <a:cubicBezTo>
                  <a:pt x="176" y="392"/>
                  <a:pt x="176" y="392"/>
                  <a:pt x="176" y="392"/>
                </a:cubicBezTo>
                <a:cubicBezTo>
                  <a:pt x="176" y="392"/>
                  <a:pt x="176" y="392"/>
                  <a:pt x="176" y="392"/>
                </a:cubicBezTo>
                <a:cubicBezTo>
                  <a:pt x="176" y="392"/>
                  <a:pt x="176" y="392"/>
                  <a:pt x="176" y="391"/>
                </a:cubicBezTo>
                <a:cubicBezTo>
                  <a:pt x="176" y="391"/>
                  <a:pt x="176" y="391"/>
                  <a:pt x="176" y="391"/>
                </a:cubicBezTo>
                <a:cubicBezTo>
                  <a:pt x="177" y="391"/>
                  <a:pt x="177" y="391"/>
                  <a:pt x="177" y="391"/>
                </a:cubicBezTo>
                <a:cubicBezTo>
                  <a:pt x="177" y="391"/>
                  <a:pt x="177" y="390"/>
                  <a:pt x="177" y="390"/>
                </a:cubicBezTo>
                <a:cubicBezTo>
                  <a:pt x="178" y="390"/>
                  <a:pt x="178" y="390"/>
                  <a:pt x="178" y="390"/>
                </a:cubicBezTo>
                <a:cubicBezTo>
                  <a:pt x="177" y="386"/>
                  <a:pt x="180" y="385"/>
                  <a:pt x="179" y="381"/>
                </a:cubicBezTo>
                <a:cubicBezTo>
                  <a:pt x="180" y="381"/>
                  <a:pt x="180" y="380"/>
                  <a:pt x="180" y="380"/>
                </a:cubicBezTo>
                <a:cubicBezTo>
                  <a:pt x="181" y="379"/>
                  <a:pt x="181" y="379"/>
                  <a:pt x="182" y="379"/>
                </a:cubicBezTo>
                <a:cubicBezTo>
                  <a:pt x="181" y="377"/>
                  <a:pt x="183" y="377"/>
                  <a:pt x="183" y="375"/>
                </a:cubicBezTo>
                <a:cubicBezTo>
                  <a:pt x="183" y="375"/>
                  <a:pt x="183" y="375"/>
                  <a:pt x="183" y="375"/>
                </a:cubicBezTo>
                <a:cubicBezTo>
                  <a:pt x="183" y="375"/>
                  <a:pt x="183" y="375"/>
                  <a:pt x="183" y="375"/>
                </a:cubicBezTo>
                <a:cubicBezTo>
                  <a:pt x="183" y="375"/>
                  <a:pt x="183" y="375"/>
                  <a:pt x="183" y="375"/>
                </a:cubicBezTo>
                <a:cubicBezTo>
                  <a:pt x="183" y="375"/>
                  <a:pt x="183" y="375"/>
                  <a:pt x="183" y="375"/>
                </a:cubicBezTo>
                <a:cubicBezTo>
                  <a:pt x="183" y="375"/>
                  <a:pt x="183" y="374"/>
                  <a:pt x="183" y="374"/>
                </a:cubicBezTo>
                <a:cubicBezTo>
                  <a:pt x="183" y="374"/>
                  <a:pt x="183" y="374"/>
                  <a:pt x="183" y="374"/>
                </a:cubicBezTo>
                <a:cubicBezTo>
                  <a:pt x="184" y="374"/>
                  <a:pt x="184" y="374"/>
                  <a:pt x="184" y="374"/>
                </a:cubicBezTo>
                <a:cubicBezTo>
                  <a:pt x="184" y="374"/>
                  <a:pt x="184" y="374"/>
                  <a:pt x="184" y="374"/>
                </a:cubicBezTo>
                <a:cubicBezTo>
                  <a:pt x="184" y="374"/>
                  <a:pt x="184" y="374"/>
                  <a:pt x="184" y="374"/>
                </a:cubicBezTo>
                <a:cubicBezTo>
                  <a:pt x="184" y="373"/>
                  <a:pt x="184" y="371"/>
                  <a:pt x="185" y="371"/>
                </a:cubicBezTo>
                <a:cubicBezTo>
                  <a:pt x="185" y="369"/>
                  <a:pt x="187" y="369"/>
                  <a:pt x="186" y="367"/>
                </a:cubicBezTo>
                <a:cubicBezTo>
                  <a:pt x="184" y="367"/>
                  <a:pt x="185" y="369"/>
                  <a:pt x="183" y="368"/>
                </a:cubicBezTo>
                <a:cubicBezTo>
                  <a:pt x="183" y="368"/>
                  <a:pt x="183" y="368"/>
                  <a:pt x="183" y="368"/>
                </a:cubicBezTo>
                <a:cubicBezTo>
                  <a:pt x="183" y="368"/>
                  <a:pt x="183" y="368"/>
                  <a:pt x="183" y="368"/>
                </a:cubicBezTo>
                <a:cubicBezTo>
                  <a:pt x="184" y="367"/>
                  <a:pt x="185" y="366"/>
                  <a:pt x="186" y="365"/>
                </a:cubicBezTo>
                <a:cubicBezTo>
                  <a:pt x="187" y="363"/>
                  <a:pt x="187" y="362"/>
                  <a:pt x="187" y="360"/>
                </a:cubicBezTo>
                <a:cubicBezTo>
                  <a:pt x="188" y="361"/>
                  <a:pt x="188" y="362"/>
                  <a:pt x="189" y="362"/>
                </a:cubicBezTo>
                <a:cubicBezTo>
                  <a:pt x="189" y="362"/>
                  <a:pt x="189" y="361"/>
                  <a:pt x="190" y="361"/>
                </a:cubicBezTo>
                <a:cubicBezTo>
                  <a:pt x="190" y="360"/>
                  <a:pt x="189" y="360"/>
                  <a:pt x="190" y="359"/>
                </a:cubicBezTo>
                <a:cubicBezTo>
                  <a:pt x="190" y="359"/>
                  <a:pt x="190" y="359"/>
                  <a:pt x="190" y="359"/>
                </a:cubicBezTo>
                <a:cubicBezTo>
                  <a:pt x="190" y="359"/>
                  <a:pt x="190" y="359"/>
                  <a:pt x="190" y="359"/>
                </a:cubicBezTo>
                <a:cubicBezTo>
                  <a:pt x="190" y="359"/>
                  <a:pt x="190" y="359"/>
                  <a:pt x="190" y="359"/>
                </a:cubicBezTo>
                <a:cubicBezTo>
                  <a:pt x="190" y="359"/>
                  <a:pt x="190" y="359"/>
                  <a:pt x="190" y="359"/>
                </a:cubicBezTo>
                <a:cubicBezTo>
                  <a:pt x="190" y="359"/>
                  <a:pt x="190" y="359"/>
                  <a:pt x="190" y="359"/>
                </a:cubicBezTo>
                <a:cubicBezTo>
                  <a:pt x="190" y="359"/>
                  <a:pt x="190" y="359"/>
                  <a:pt x="190" y="359"/>
                </a:cubicBezTo>
                <a:cubicBezTo>
                  <a:pt x="190" y="358"/>
                  <a:pt x="190" y="357"/>
                  <a:pt x="191" y="357"/>
                </a:cubicBezTo>
                <a:cubicBezTo>
                  <a:pt x="192" y="356"/>
                  <a:pt x="192" y="354"/>
                  <a:pt x="193" y="353"/>
                </a:cubicBezTo>
                <a:cubicBezTo>
                  <a:pt x="193" y="350"/>
                  <a:pt x="194" y="348"/>
                  <a:pt x="194" y="345"/>
                </a:cubicBezTo>
                <a:cubicBezTo>
                  <a:pt x="196" y="344"/>
                  <a:pt x="196" y="343"/>
                  <a:pt x="198" y="343"/>
                </a:cubicBezTo>
                <a:cubicBezTo>
                  <a:pt x="198" y="341"/>
                  <a:pt x="199" y="340"/>
                  <a:pt x="201" y="339"/>
                </a:cubicBezTo>
                <a:cubicBezTo>
                  <a:pt x="200" y="337"/>
                  <a:pt x="202" y="337"/>
                  <a:pt x="201" y="335"/>
                </a:cubicBezTo>
                <a:cubicBezTo>
                  <a:pt x="202" y="335"/>
                  <a:pt x="203" y="334"/>
                  <a:pt x="203" y="333"/>
                </a:cubicBezTo>
                <a:cubicBezTo>
                  <a:pt x="204" y="330"/>
                  <a:pt x="203" y="329"/>
                  <a:pt x="203" y="327"/>
                </a:cubicBezTo>
                <a:cubicBezTo>
                  <a:pt x="203" y="325"/>
                  <a:pt x="201" y="325"/>
                  <a:pt x="201" y="324"/>
                </a:cubicBezTo>
                <a:cubicBezTo>
                  <a:pt x="202" y="321"/>
                  <a:pt x="203" y="319"/>
                  <a:pt x="203" y="316"/>
                </a:cubicBezTo>
                <a:cubicBezTo>
                  <a:pt x="204" y="316"/>
                  <a:pt x="204" y="315"/>
                  <a:pt x="204" y="315"/>
                </a:cubicBezTo>
                <a:cubicBezTo>
                  <a:pt x="205" y="315"/>
                  <a:pt x="205" y="315"/>
                  <a:pt x="205" y="314"/>
                </a:cubicBezTo>
                <a:cubicBezTo>
                  <a:pt x="205" y="314"/>
                  <a:pt x="206" y="313"/>
                  <a:pt x="206" y="311"/>
                </a:cubicBezTo>
                <a:cubicBezTo>
                  <a:pt x="205" y="311"/>
                  <a:pt x="205" y="310"/>
                  <a:pt x="205" y="309"/>
                </a:cubicBezTo>
                <a:cubicBezTo>
                  <a:pt x="205" y="309"/>
                  <a:pt x="204" y="309"/>
                  <a:pt x="203" y="309"/>
                </a:cubicBezTo>
                <a:cubicBezTo>
                  <a:pt x="203" y="308"/>
                  <a:pt x="202" y="308"/>
                  <a:pt x="202" y="308"/>
                </a:cubicBezTo>
                <a:cubicBezTo>
                  <a:pt x="202" y="308"/>
                  <a:pt x="202" y="307"/>
                  <a:pt x="201" y="306"/>
                </a:cubicBezTo>
                <a:cubicBezTo>
                  <a:pt x="201" y="306"/>
                  <a:pt x="200" y="307"/>
                  <a:pt x="200" y="306"/>
                </a:cubicBezTo>
                <a:cubicBezTo>
                  <a:pt x="200" y="306"/>
                  <a:pt x="200" y="306"/>
                  <a:pt x="200" y="306"/>
                </a:cubicBezTo>
                <a:cubicBezTo>
                  <a:pt x="200" y="305"/>
                  <a:pt x="199" y="305"/>
                  <a:pt x="199" y="305"/>
                </a:cubicBezTo>
                <a:cubicBezTo>
                  <a:pt x="198" y="305"/>
                  <a:pt x="197" y="303"/>
                  <a:pt x="196" y="304"/>
                </a:cubicBezTo>
                <a:cubicBezTo>
                  <a:pt x="195" y="303"/>
                  <a:pt x="195" y="303"/>
                  <a:pt x="195" y="302"/>
                </a:cubicBezTo>
                <a:cubicBezTo>
                  <a:pt x="195" y="301"/>
                  <a:pt x="194" y="301"/>
                  <a:pt x="194" y="301"/>
                </a:cubicBezTo>
                <a:cubicBezTo>
                  <a:pt x="193" y="301"/>
                  <a:pt x="193" y="300"/>
                  <a:pt x="193" y="300"/>
                </a:cubicBezTo>
                <a:cubicBezTo>
                  <a:pt x="192" y="299"/>
                  <a:pt x="191" y="299"/>
                  <a:pt x="191" y="297"/>
                </a:cubicBezTo>
                <a:cubicBezTo>
                  <a:pt x="188" y="297"/>
                  <a:pt x="186" y="295"/>
                  <a:pt x="185" y="293"/>
                </a:cubicBezTo>
                <a:cubicBezTo>
                  <a:pt x="181" y="293"/>
                  <a:pt x="179" y="291"/>
                  <a:pt x="175" y="291"/>
                </a:cubicBezTo>
                <a:cubicBezTo>
                  <a:pt x="175" y="290"/>
                  <a:pt x="174" y="289"/>
                  <a:pt x="174" y="288"/>
                </a:cubicBezTo>
                <a:cubicBezTo>
                  <a:pt x="171" y="288"/>
                  <a:pt x="170" y="287"/>
                  <a:pt x="169" y="285"/>
                </a:cubicBezTo>
                <a:cubicBezTo>
                  <a:pt x="168" y="285"/>
                  <a:pt x="167" y="285"/>
                  <a:pt x="167" y="286"/>
                </a:cubicBezTo>
                <a:cubicBezTo>
                  <a:pt x="165" y="286"/>
                  <a:pt x="165" y="285"/>
                  <a:pt x="164" y="285"/>
                </a:cubicBezTo>
                <a:cubicBezTo>
                  <a:pt x="165" y="283"/>
                  <a:pt x="163" y="283"/>
                  <a:pt x="164" y="281"/>
                </a:cubicBezTo>
                <a:cubicBezTo>
                  <a:pt x="165" y="281"/>
                  <a:pt x="164" y="280"/>
                  <a:pt x="164" y="279"/>
                </a:cubicBezTo>
                <a:cubicBezTo>
                  <a:pt x="166" y="279"/>
                  <a:pt x="165" y="277"/>
                  <a:pt x="167" y="277"/>
                </a:cubicBezTo>
                <a:cubicBezTo>
                  <a:pt x="166" y="274"/>
                  <a:pt x="168" y="273"/>
                  <a:pt x="167" y="270"/>
                </a:cubicBezTo>
                <a:cubicBezTo>
                  <a:pt x="168" y="270"/>
                  <a:pt x="168" y="269"/>
                  <a:pt x="168" y="269"/>
                </a:cubicBezTo>
                <a:cubicBezTo>
                  <a:pt x="169" y="269"/>
                  <a:pt x="169" y="269"/>
                  <a:pt x="169" y="268"/>
                </a:cubicBezTo>
                <a:cubicBezTo>
                  <a:pt x="169" y="268"/>
                  <a:pt x="169" y="267"/>
                  <a:pt x="170" y="267"/>
                </a:cubicBezTo>
                <a:cubicBezTo>
                  <a:pt x="169" y="265"/>
                  <a:pt x="168" y="263"/>
                  <a:pt x="168" y="259"/>
                </a:cubicBezTo>
                <a:cubicBezTo>
                  <a:pt x="168" y="258"/>
                  <a:pt x="167" y="259"/>
                  <a:pt x="167" y="258"/>
                </a:cubicBezTo>
                <a:cubicBezTo>
                  <a:pt x="166" y="258"/>
                  <a:pt x="166" y="257"/>
                  <a:pt x="165" y="257"/>
                </a:cubicBezTo>
                <a:cubicBezTo>
                  <a:pt x="164" y="257"/>
                  <a:pt x="163" y="256"/>
                  <a:pt x="162" y="256"/>
                </a:cubicBezTo>
                <a:cubicBezTo>
                  <a:pt x="162" y="255"/>
                  <a:pt x="160" y="255"/>
                  <a:pt x="160" y="254"/>
                </a:cubicBezTo>
                <a:cubicBezTo>
                  <a:pt x="160" y="254"/>
                  <a:pt x="160" y="254"/>
                  <a:pt x="159" y="254"/>
                </a:cubicBezTo>
                <a:cubicBezTo>
                  <a:pt x="159" y="253"/>
                  <a:pt x="158" y="253"/>
                  <a:pt x="157" y="253"/>
                </a:cubicBezTo>
                <a:cubicBezTo>
                  <a:pt x="157" y="253"/>
                  <a:pt x="158" y="252"/>
                  <a:pt x="157" y="252"/>
                </a:cubicBezTo>
                <a:cubicBezTo>
                  <a:pt x="157" y="252"/>
                  <a:pt x="156" y="252"/>
                  <a:pt x="155" y="252"/>
                </a:cubicBezTo>
                <a:cubicBezTo>
                  <a:pt x="155" y="249"/>
                  <a:pt x="154" y="247"/>
                  <a:pt x="153" y="244"/>
                </a:cubicBezTo>
                <a:cubicBezTo>
                  <a:pt x="154" y="242"/>
                  <a:pt x="154" y="240"/>
                  <a:pt x="153" y="238"/>
                </a:cubicBezTo>
                <a:cubicBezTo>
                  <a:pt x="153" y="238"/>
                  <a:pt x="152" y="237"/>
                  <a:pt x="153" y="237"/>
                </a:cubicBezTo>
                <a:cubicBezTo>
                  <a:pt x="153" y="237"/>
                  <a:pt x="153" y="237"/>
                  <a:pt x="153" y="237"/>
                </a:cubicBezTo>
                <a:cubicBezTo>
                  <a:pt x="153" y="236"/>
                  <a:pt x="152" y="236"/>
                  <a:pt x="153" y="235"/>
                </a:cubicBezTo>
                <a:cubicBezTo>
                  <a:pt x="150" y="235"/>
                  <a:pt x="149" y="236"/>
                  <a:pt x="147" y="236"/>
                </a:cubicBezTo>
                <a:cubicBezTo>
                  <a:pt x="146" y="234"/>
                  <a:pt x="146" y="232"/>
                  <a:pt x="144" y="231"/>
                </a:cubicBezTo>
                <a:cubicBezTo>
                  <a:pt x="144" y="228"/>
                  <a:pt x="142" y="228"/>
                  <a:pt x="143" y="226"/>
                </a:cubicBezTo>
                <a:cubicBezTo>
                  <a:pt x="143" y="223"/>
                  <a:pt x="146" y="223"/>
                  <a:pt x="146" y="219"/>
                </a:cubicBezTo>
                <a:cubicBezTo>
                  <a:pt x="145" y="218"/>
                  <a:pt x="142" y="218"/>
                  <a:pt x="140" y="217"/>
                </a:cubicBezTo>
                <a:cubicBezTo>
                  <a:pt x="140" y="214"/>
                  <a:pt x="140" y="211"/>
                  <a:pt x="141" y="208"/>
                </a:cubicBezTo>
                <a:cubicBezTo>
                  <a:pt x="140" y="205"/>
                  <a:pt x="140" y="202"/>
                  <a:pt x="140" y="198"/>
                </a:cubicBezTo>
                <a:cubicBezTo>
                  <a:pt x="140" y="196"/>
                  <a:pt x="142" y="196"/>
                  <a:pt x="142" y="194"/>
                </a:cubicBezTo>
                <a:cubicBezTo>
                  <a:pt x="142" y="191"/>
                  <a:pt x="139" y="189"/>
                  <a:pt x="139" y="185"/>
                </a:cubicBezTo>
                <a:cubicBezTo>
                  <a:pt x="139" y="184"/>
                  <a:pt x="137" y="184"/>
                  <a:pt x="137" y="182"/>
                </a:cubicBezTo>
                <a:cubicBezTo>
                  <a:pt x="136" y="183"/>
                  <a:pt x="137" y="180"/>
                  <a:pt x="135" y="180"/>
                </a:cubicBezTo>
                <a:cubicBezTo>
                  <a:pt x="135" y="180"/>
                  <a:pt x="135" y="179"/>
                  <a:pt x="134" y="178"/>
                </a:cubicBezTo>
                <a:cubicBezTo>
                  <a:pt x="134" y="178"/>
                  <a:pt x="134" y="178"/>
                  <a:pt x="134" y="178"/>
                </a:cubicBezTo>
                <a:cubicBezTo>
                  <a:pt x="135" y="177"/>
                  <a:pt x="135" y="176"/>
                  <a:pt x="134" y="175"/>
                </a:cubicBezTo>
                <a:cubicBezTo>
                  <a:pt x="134" y="175"/>
                  <a:pt x="134" y="175"/>
                  <a:pt x="133" y="175"/>
                </a:cubicBezTo>
                <a:cubicBezTo>
                  <a:pt x="133" y="175"/>
                  <a:pt x="132" y="174"/>
                  <a:pt x="132" y="174"/>
                </a:cubicBezTo>
                <a:cubicBezTo>
                  <a:pt x="132" y="174"/>
                  <a:pt x="132" y="174"/>
                  <a:pt x="132" y="173"/>
                </a:cubicBezTo>
                <a:cubicBezTo>
                  <a:pt x="132" y="173"/>
                  <a:pt x="132" y="173"/>
                  <a:pt x="132" y="173"/>
                </a:cubicBezTo>
                <a:cubicBezTo>
                  <a:pt x="132" y="173"/>
                  <a:pt x="132" y="173"/>
                  <a:pt x="132" y="173"/>
                </a:cubicBezTo>
                <a:cubicBezTo>
                  <a:pt x="131" y="173"/>
                  <a:pt x="131" y="173"/>
                  <a:pt x="131" y="173"/>
                </a:cubicBezTo>
                <a:cubicBezTo>
                  <a:pt x="131" y="172"/>
                  <a:pt x="131" y="172"/>
                  <a:pt x="131" y="172"/>
                </a:cubicBezTo>
                <a:cubicBezTo>
                  <a:pt x="131" y="172"/>
                  <a:pt x="130" y="172"/>
                  <a:pt x="130" y="171"/>
                </a:cubicBezTo>
                <a:cubicBezTo>
                  <a:pt x="130" y="171"/>
                  <a:pt x="129" y="170"/>
                  <a:pt x="130" y="169"/>
                </a:cubicBezTo>
                <a:cubicBezTo>
                  <a:pt x="127" y="169"/>
                  <a:pt x="128" y="165"/>
                  <a:pt x="126" y="164"/>
                </a:cubicBezTo>
                <a:cubicBezTo>
                  <a:pt x="126" y="163"/>
                  <a:pt x="126" y="163"/>
                  <a:pt x="125" y="162"/>
                </a:cubicBezTo>
                <a:cubicBezTo>
                  <a:pt x="125" y="162"/>
                  <a:pt x="124" y="162"/>
                  <a:pt x="124" y="162"/>
                </a:cubicBezTo>
                <a:cubicBezTo>
                  <a:pt x="124" y="162"/>
                  <a:pt x="123" y="162"/>
                  <a:pt x="123" y="161"/>
                </a:cubicBezTo>
                <a:cubicBezTo>
                  <a:pt x="123" y="160"/>
                  <a:pt x="122" y="158"/>
                  <a:pt x="121" y="158"/>
                </a:cubicBezTo>
                <a:cubicBezTo>
                  <a:pt x="119" y="156"/>
                  <a:pt x="118" y="155"/>
                  <a:pt x="116" y="154"/>
                </a:cubicBezTo>
                <a:cubicBezTo>
                  <a:pt x="114" y="154"/>
                  <a:pt x="117" y="159"/>
                  <a:pt x="115" y="159"/>
                </a:cubicBezTo>
                <a:cubicBezTo>
                  <a:pt x="114" y="160"/>
                  <a:pt x="113" y="159"/>
                  <a:pt x="113" y="158"/>
                </a:cubicBezTo>
                <a:cubicBezTo>
                  <a:pt x="113" y="157"/>
                  <a:pt x="113" y="157"/>
                  <a:pt x="112" y="157"/>
                </a:cubicBezTo>
                <a:cubicBezTo>
                  <a:pt x="112" y="157"/>
                  <a:pt x="112" y="156"/>
                  <a:pt x="112" y="156"/>
                </a:cubicBezTo>
                <a:cubicBezTo>
                  <a:pt x="112" y="154"/>
                  <a:pt x="112" y="151"/>
                  <a:pt x="112" y="149"/>
                </a:cubicBezTo>
                <a:cubicBezTo>
                  <a:pt x="112" y="148"/>
                  <a:pt x="111" y="148"/>
                  <a:pt x="111" y="148"/>
                </a:cubicBezTo>
                <a:cubicBezTo>
                  <a:pt x="110" y="148"/>
                  <a:pt x="110" y="147"/>
                  <a:pt x="110" y="147"/>
                </a:cubicBezTo>
                <a:cubicBezTo>
                  <a:pt x="110" y="146"/>
                  <a:pt x="110" y="145"/>
                  <a:pt x="110" y="143"/>
                </a:cubicBezTo>
                <a:cubicBezTo>
                  <a:pt x="111" y="143"/>
                  <a:pt x="111" y="143"/>
                  <a:pt x="112" y="142"/>
                </a:cubicBezTo>
                <a:cubicBezTo>
                  <a:pt x="111" y="141"/>
                  <a:pt x="112" y="141"/>
                  <a:pt x="112" y="140"/>
                </a:cubicBezTo>
                <a:cubicBezTo>
                  <a:pt x="113" y="135"/>
                  <a:pt x="114" y="130"/>
                  <a:pt x="116" y="125"/>
                </a:cubicBezTo>
                <a:cubicBezTo>
                  <a:pt x="117" y="121"/>
                  <a:pt x="118" y="116"/>
                  <a:pt x="119" y="111"/>
                </a:cubicBezTo>
                <a:cubicBezTo>
                  <a:pt x="119" y="110"/>
                  <a:pt x="118" y="110"/>
                  <a:pt x="118" y="109"/>
                </a:cubicBezTo>
                <a:cubicBezTo>
                  <a:pt x="118" y="109"/>
                  <a:pt x="117" y="109"/>
                  <a:pt x="117" y="108"/>
                </a:cubicBezTo>
                <a:cubicBezTo>
                  <a:pt x="116" y="108"/>
                  <a:pt x="116" y="106"/>
                  <a:pt x="114" y="106"/>
                </a:cubicBezTo>
                <a:cubicBezTo>
                  <a:pt x="112" y="105"/>
                  <a:pt x="111" y="103"/>
                  <a:pt x="109" y="102"/>
                </a:cubicBezTo>
                <a:cubicBezTo>
                  <a:pt x="110" y="101"/>
                  <a:pt x="109" y="100"/>
                  <a:pt x="109" y="100"/>
                </a:cubicBezTo>
                <a:cubicBezTo>
                  <a:pt x="109" y="99"/>
                  <a:pt x="109" y="98"/>
                  <a:pt x="108" y="98"/>
                </a:cubicBezTo>
                <a:cubicBezTo>
                  <a:pt x="108" y="97"/>
                  <a:pt x="107" y="96"/>
                  <a:pt x="107" y="95"/>
                </a:cubicBezTo>
                <a:cubicBezTo>
                  <a:pt x="106" y="95"/>
                  <a:pt x="106" y="95"/>
                  <a:pt x="105" y="95"/>
                </a:cubicBezTo>
                <a:cubicBezTo>
                  <a:pt x="105" y="95"/>
                  <a:pt x="105" y="95"/>
                  <a:pt x="105" y="95"/>
                </a:cubicBezTo>
                <a:cubicBezTo>
                  <a:pt x="105" y="95"/>
                  <a:pt x="104" y="95"/>
                  <a:pt x="104" y="95"/>
                </a:cubicBezTo>
                <a:cubicBezTo>
                  <a:pt x="104" y="95"/>
                  <a:pt x="104" y="95"/>
                  <a:pt x="104" y="95"/>
                </a:cubicBezTo>
                <a:cubicBezTo>
                  <a:pt x="103" y="95"/>
                  <a:pt x="103" y="95"/>
                  <a:pt x="103" y="95"/>
                </a:cubicBezTo>
                <a:cubicBezTo>
                  <a:pt x="103" y="95"/>
                  <a:pt x="102" y="94"/>
                  <a:pt x="102" y="94"/>
                </a:cubicBezTo>
                <a:cubicBezTo>
                  <a:pt x="102" y="94"/>
                  <a:pt x="101" y="94"/>
                  <a:pt x="101" y="94"/>
                </a:cubicBezTo>
                <a:cubicBezTo>
                  <a:pt x="101" y="92"/>
                  <a:pt x="99" y="93"/>
                  <a:pt x="98" y="93"/>
                </a:cubicBezTo>
                <a:cubicBezTo>
                  <a:pt x="98" y="93"/>
                  <a:pt x="98" y="93"/>
                  <a:pt x="98" y="93"/>
                </a:cubicBezTo>
                <a:cubicBezTo>
                  <a:pt x="98" y="93"/>
                  <a:pt x="97" y="93"/>
                  <a:pt x="97" y="93"/>
                </a:cubicBezTo>
                <a:cubicBezTo>
                  <a:pt x="97" y="93"/>
                  <a:pt x="96" y="92"/>
                  <a:pt x="95" y="92"/>
                </a:cubicBezTo>
                <a:cubicBezTo>
                  <a:pt x="95" y="92"/>
                  <a:pt x="95" y="92"/>
                  <a:pt x="94" y="92"/>
                </a:cubicBezTo>
                <a:cubicBezTo>
                  <a:pt x="94" y="92"/>
                  <a:pt x="93" y="92"/>
                  <a:pt x="93" y="92"/>
                </a:cubicBezTo>
                <a:cubicBezTo>
                  <a:pt x="92" y="91"/>
                  <a:pt x="92" y="90"/>
                  <a:pt x="91" y="90"/>
                </a:cubicBezTo>
                <a:cubicBezTo>
                  <a:pt x="91" y="89"/>
                  <a:pt x="91" y="89"/>
                  <a:pt x="91" y="88"/>
                </a:cubicBezTo>
                <a:cubicBezTo>
                  <a:pt x="89" y="87"/>
                  <a:pt x="89" y="85"/>
                  <a:pt x="89" y="84"/>
                </a:cubicBezTo>
                <a:cubicBezTo>
                  <a:pt x="87" y="84"/>
                  <a:pt x="87" y="82"/>
                  <a:pt x="86" y="81"/>
                </a:cubicBezTo>
                <a:cubicBezTo>
                  <a:pt x="86" y="80"/>
                  <a:pt x="85" y="79"/>
                  <a:pt x="84" y="77"/>
                </a:cubicBezTo>
                <a:cubicBezTo>
                  <a:pt x="85" y="75"/>
                  <a:pt x="85" y="72"/>
                  <a:pt x="86" y="70"/>
                </a:cubicBezTo>
                <a:cubicBezTo>
                  <a:pt x="86" y="67"/>
                  <a:pt x="86" y="65"/>
                  <a:pt x="86" y="63"/>
                </a:cubicBezTo>
                <a:cubicBezTo>
                  <a:pt x="86" y="62"/>
                  <a:pt x="86" y="61"/>
                  <a:pt x="85" y="61"/>
                </a:cubicBezTo>
                <a:cubicBezTo>
                  <a:pt x="84" y="61"/>
                  <a:pt x="83" y="61"/>
                  <a:pt x="83" y="61"/>
                </a:cubicBezTo>
                <a:cubicBezTo>
                  <a:pt x="82" y="61"/>
                  <a:pt x="82" y="60"/>
                  <a:pt x="81" y="60"/>
                </a:cubicBezTo>
                <a:cubicBezTo>
                  <a:pt x="81" y="59"/>
                  <a:pt x="81" y="59"/>
                  <a:pt x="80" y="58"/>
                </a:cubicBezTo>
                <a:cubicBezTo>
                  <a:pt x="80" y="57"/>
                  <a:pt x="81" y="57"/>
                  <a:pt x="82" y="56"/>
                </a:cubicBezTo>
                <a:cubicBezTo>
                  <a:pt x="82" y="56"/>
                  <a:pt x="83" y="55"/>
                  <a:pt x="84" y="55"/>
                </a:cubicBezTo>
                <a:cubicBezTo>
                  <a:pt x="84" y="53"/>
                  <a:pt x="86" y="53"/>
                  <a:pt x="86" y="51"/>
                </a:cubicBezTo>
                <a:cubicBezTo>
                  <a:pt x="88" y="51"/>
                  <a:pt x="87" y="53"/>
                  <a:pt x="89" y="53"/>
                </a:cubicBezTo>
                <a:cubicBezTo>
                  <a:pt x="91" y="53"/>
                  <a:pt x="92" y="52"/>
                  <a:pt x="93" y="51"/>
                </a:cubicBezTo>
                <a:cubicBezTo>
                  <a:pt x="94" y="49"/>
                  <a:pt x="92" y="49"/>
                  <a:pt x="93" y="47"/>
                </a:cubicBezTo>
                <a:cubicBezTo>
                  <a:pt x="94" y="46"/>
                  <a:pt x="93" y="44"/>
                  <a:pt x="93" y="42"/>
                </a:cubicBezTo>
                <a:cubicBezTo>
                  <a:pt x="95" y="42"/>
                  <a:pt x="93" y="42"/>
                  <a:pt x="93" y="40"/>
                </a:cubicBezTo>
                <a:cubicBezTo>
                  <a:pt x="94" y="40"/>
                  <a:pt x="94" y="40"/>
                  <a:pt x="94" y="39"/>
                </a:cubicBezTo>
                <a:cubicBezTo>
                  <a:pt x="96" y="39"/>
                  <a:pt x="96" y="37"/>
                  <a:pt x="98" y="37"/>
                </a:cubicBezTo>
                <a:cubicBezTo>
                  <a:pt x="98" y="36"/>
                  <a:pt x="99" y="35"/>
                  <a:pt x="99" y="33"/>
                </a:cubicBezTo>
                <a:cubicBezTo>
                  <a:pt x="102" y="34"/>
                  <a:pt x="101" y="30"/>
                  <a:pt x="103" y="30"/>
                </a:cubicBezTo>
                <a:cubicBezTo>
                  <a:pt x="103" y="29"/>
                  <a:pt x="103" y="27"/>
                  <a:pt x="103" y="26"/>
                </a:cubicBezTo>
                <a:cubicBezTo>
                  <a:pt x="103" y="25"/>
                  <a:pt x="103" y="24"/>
                  <a:pt x="103" y="24"/>
                </a:cubicBezTo>
                <a:cubicBezTo>
                  <a:pt x="103" y="24"/>
                  <a:pt x="102" y="23"/>
                  <a:pt x="103" y="23"/>
                </a:cubicBezTo>
                <a:cubicBezTo>
                  <a:pt x="104" y="23"/>
                  <a:pt x="105" y="24"/>
                  <a:pt x="105" y="25"/>
                </a:cubicBezTo>
                <a:cubicBezTo>
                  <a:pt x="105" y="26"/>
                  <a:pt x="106" y="26"/>
                  <a:pt x="107" y="26"/>
                </a:cubicBezTo>
                <a:cubicBezTo>
                  <a:pt x="108" y="25"/>
                  <a:pt x="109" y="25"/>
                  <a:pt x="110" y="25"/>
                </a:cubicBezTo>
                <a:cubicBezTo>
                  <a:pt x="112" y="25"/>
                  <a:pt x="113" y="24"/>
                  <a:pt x="114" y="24"/>
                </a:cubicBezTo>
                <a:cubicBezTo>
                  <a:pt x="115" y="23"/>
                  <a:pt x="116" y="22"/>
                  <a:pt x="116" y="19"/>
                </a:cubicBezTo>
                <a:cubicBezTo>
                  <a:pt x="116" y="19"/>
                  <a:pt x="115" y="18"/>
                  <a:pt x="116" y="17"/>
                </a:cubicBezTo>
                <a:cubicBezTo>
                  <a:pt x="115" y="16"/>
                  <a:pt x="113" y="16"/>
                  <a:pt x="114" y="14"/>
                </a:cubicBezTo>
                <a:cubicBezTo>
                  <a:pt x="113" y="13"/>
                  <a:pt x="111" y="13"/>
                  <a:pt x="112" y="11"/>
                </a:cubicBezTo>
                <a:cubicBezTo>
                  <a:pt x="114" y="11"/>
                  <a:pt x="114" y="13"/>
                  <a:pt x="116" y="12"/>
                </a:cubicBezTo>
                <a:cubicBezTo>
                  <a:pt x="118" y="13"/>
                  <a:pt x="119" y="14"/>
                  <a:pt x="121" y="14"/>
                </a:cubicBezTo>
                <a:cubicBezTo>
                  <a:pt x="121" y="13"/>
                  <a:pt x="122" y="12"/>
                  <a:pt x="122" y="11"/>
                </a:cubicBezTo>
                <a:cubicBezTo>
                  <a:pt x="122" y="10"/>
                  <a:pt x="122" y="10"/>
                  <a:pt x="121" y="10"/>
                </a:cubicBezTo>
                <a:cubicBezTo>
                  <a:pt x="121" y="9"/>
                  <a:pt x="120" y="9"/>
                  <a:pt x="121" y="8"/>
                </a:cubicBezTo>
                <a:cubicBezTo>
                  <a:pt x="121" y="8"/>
                  <a:pt x="122" y="7"/>
                  <a:pt x="123" y="7"/>
                </a:cubicBezTo>
                <a:cubicBezTo>
                  <a:pt x="123" y="7"/>
                  <a:pt x="123" y="7"/>
                  <a:pt x="123" y="7"/>
                </a:cubicBezTo>
                <a:cubicBezTo>
                  <a:pt x="123" y="7"/>
                  <a:pt x="123" y="7"/>
                  <a:pt x="123" y="7"/>
                </a:cubicBezTo>
                <a:cubicBezTo>
                  <a:pt x="124" y="8"/>
                  <a:pt x="125" y="7"/>
                  <a:pt x="126" y="8"/>
                </a:cubicBezTo>
                <a:cubicBezTo>
                  <a:pt x="126" y="8"/>
                  <a:pt x="126" y="8"/>
                  <a:pt x="126" y="8"/>
                </a:cubicBezTo>
                <a:cubicBezTo>
                  <a:pt x="126" y="8"/>
                  <a:pt x="126" y="8"/>
                  <a:pt x="126" y="8"/>
                </a:cubicBezTo>
                <a:cubicBezTo>
                  <a:pt x="125" y="7"/>
                  <a:pt x="125" y="6"/>
                  <a:pt x="124" y="6"/>
                </a:cubicBezTo>
                <a:cubicBezTo>
                  <a:pt x="124" y="5"/>
                  <a:pt x="124" y="5"/>
                  <a:pt x="124" y="5"/>
                </a:cubicBezTo>
                <a:cubicBezTo>
                  <a:pt x="122" y="4"/>
                  <a:pt x="122" y="3"/>
                  <a:pt x="122" y="1"/>
                </a:cubicBezTo>
                <a:cubicBezTo>
                  <a:pt x="122" y="1"/>
                  <a:pt x="122" y="1"/>
                  <a:pt x="122" y="1"/>
                </a:cubicBezTo>
                <a:cubicBezTo>
                  <a:pt x="124" y="1"/>
                  <a:pt x="126" y="1"/>
                  <a:pt x="128" y="1"/>
                </a:cubicBezTo>
                <a:cubicBezTo>
                  <a:pt x="129" y="1"/>
                  <a:pt x="129" y="1"/>
                  <a:pt x="129" y="1"/>
                </a:cubicBezTo>
                <a:cubicBezTo>
                  <a:pt x="130" y="0"/>
                  <a:pt x="130" y="2"/>
                  <a:pt x="132" y="2"/>
                </a:cubicBezTo>
                <a:cubicBezTo>
                  <a:pt x="132" y="2"/>
                  <a:pt x="132" y="2"/>
                  <a:pt x="132" y="2"/>
                </a:cubicBezTo>
                <a:cubicBezTo>
                  <a:pt x="133" y="3"/>
                  <a:pt x="134" y="3"/>
                  <a:pt x="135" y="3"/>
                </a:cubicBezTo>
                <a:cubicBezTo>
                  <a:pt x="135" y="3"/>
                  <a:pt x="135" y="3"/>
                  <a:pt x="135" y="3"/>
                </a:cubicBezTo>
                <a:cubicBezTo>
                  <a:pt x="136" y="4"/>
                  <a:pt x="137" y="3"/>
                  <a:pt x="137" y="3"/>
                </a:cubicBezTo>
                <a:cubicBezTo>
                  <a:pt x="137" y="3"/>
                  <a:pt x="137" y="3"/>
                  <a:pt x="138" y="3"/>
                </a:cubicBezTo>
                <a:cubicBezTo>
                  <a:pt x="139" y="3"/>
                  <a:pt x="140" y="2"/>
                  <a:pt x="142" y="3"/>
                </a:cubicBezTo>
                <a:cubicBezTo>
                  <a:pt x="142" y="3"/>
                  <a:pt x="142" y="3"/>
                  <a:pt x="142" y="4"/>
                </a:cubicBezTo>
                <a:cubicBezTo>
                  <a:pt x="143" y="4"/>
                  <a:pt x="143" y="5"/>
                  <a:pt x="144" y="6"/>
                </a:cubicBezTo>
                <a:cubicBezTo>
                  <a:pt x="144" y="6"/>
                  <a:pt x="144" y="6"/>
                  <a:pt x="144" y="6"/>
                </a:cubicBezTo>
                <a:cubicBezTo>
                  <a:pt x="144" y="7"/>
                  <a:pt x="144" y="7"/>
                  <a:pt x="144" y="8"/>
                </a:cubicBezTo>
                <a:cubicBezTo>
                  <a:pt x="144" y="9"/>
                  <a:pt x="144" y="9"/>
                  <a:pt x="144" y="9"/>
                </a:cubicBezTo>
                <a:cubicBezTo>
                  <a:pt x="144" y="9"/>
                  <a:pt x="144" y="9"/>
                  <a:pt x="144" y="10"/>
                </a:cubicBezTo>
                <a:cubicBezTo>
                  <a:pt x="144" y="10"/>
                  <a:pt x="143" y="11"/>
                  <a:pt x="144" y="12"/>
                </a:cubicBezTo>
                <a:cubicBezTo>
                  <a:pt x="144" y="12"/>
                  <a:pt x="144" y="13"/>
                  <a:pt x="144" y="13"/>
                </a:cubicBezTo>
                <a:cubicBezTo>
                  <a:pt x="143" y="13"/>
                  <a:pt x="143" y="14"/>
                  <a:pt x="142" y="14"/>
                </a:cubicBezTo>
                <a:cubicBezTo>
                  <a:pt x="138" y="14"/>
                  <a:pt x="135" y="14"/>
                  <a:pt x="131" y="14"/>
                </a:cubicBezTo>
                <a:cubicBezTo>
                  <a:pt x="131" y="13"/>
                  <a:pt x="130" y="13"/>
                  <a:pt x="130" y="12"/>
                </a:cubicBezTo>
                <a:cubicBezTo>
                  <a:pt x="130" y="12"/>
                  <a:pt x="130" y="11"/>
                  <a:pt x="130" y="11"/>
                </a:cubicBezTo>
                <a:cubicBezTo>
                  <a:pt x="130" y="13"/>
                  <a:pt x="130" y="14"/>
                  <a:pt x="129" y="15"/>
                </a:cubicBezTo>
                <a:cubicBezTo>
                  <a:pt x="130" y="15"/>
                  <a:pt x="130" y="16"/>
                  <a:pt x="130" y="16"/>
                </a:cubicBezTo>
                <a:cubicBezTo>
                  <a:pt x="130" y="15"/>
                  <a:pt x="131" y="15"/>
                  <a:pt x="132" y="15"/>
                </a:cubicBezTo>
                <a:cubicBezTo>
                  <a:pt x="132" y="16"/>
                  <a:pt x="133" y="16"/>
                  <a:pt x="133" y="16"/>
                </a:cubicBezTo>
                <a:cubicBezTo>
                  <a:pt x="136" y="16"/>
                  <a:pt x="135" y="18"/>
                  <a:pt x="137" y="18"/>
                </a:cubicBezTo>
                <a:cubicBezTo>
                  <a:pt x="138" y="18"/>
                  <a:pt x="139" y="18"/>
                  <a:pt x="139" y="18"/>
                </a:cubicBezTo>
                <a:cubicBezTo>
                  <a:pt x="140" y="18"/>
                  <a:pt x="140" y="18"/>
                  <a:pt x="140" y="17"/>
                </a:cubicBezTo>
                <a:cubicBezTo>
                  <a:pt x="143" y="18"/>
                  <a:pt x="144" y="18"/>
                  <a:pt x="146" y="17"/>
                </a:cubicBezTo>
                <a:cubicBezTo>
                  <a:pt x="147" y="19"/>
                  <a:pt x="144" y="21"/>
                  <a:pt x="146" y="22"/>
                </a:cubicBezTo>
                <a:cubicBezTo>
                  <a:pt x="147" y="21"/>
                  <a:pt x="147" y="20"/>
                  <a:pt x="148" y="19"/>
                </a:cubicBezTo>
                <a:cubicBezTo>
                  <a:pt x="148" y="19"/>
                  <a:pt x="148" y="19"/>
                  <a:pt x="148" y="19"/>
                </a:cubicBezTo>
                <a:cubicBezTo>
                  <a:pt x="149" y="19"/>
                  <a:pt x="149" y="16"/>
                  <a:pt x="151" y="17"/>
                </a:cubicBezTo>
                <a:cubicBezTo>
                  <a:pt x="151" y="17"/>
                  <a:pt x="151" y="17"/>
                  <a:pt x="151" y="17"/>
                </a:cubicBezTo>
                <a:cubicBezTo>
                  <a:pt x="152" y="16"/>
                  <a:pt x="152" y="16"/>
                  <a:pt x="153" y="16"/>
                </a:cubicBezTo>
                <a:cubicBezTo>
                  <a:pt x="154" y="18"/>
                  <a:pt x="155" y="20"/>
                  <a:pt x="155" y="22"/>
                </a:cubicBezTo>
                <a:cubicBezTo>
                  <a:pt x="155" y="24"/>
                  <a:pt x="156" y="26"/>
                  <a:pt x="156" y="29"/>
                </a:cubicBezTo>
                <a:cubicBezTo>
                  <a:pt x="155" y="30"/>
                  <a:pt x="155" y="31"/>
                  <a:pt x="154" y="33"/>
                </a:cubicBezTo>
                <a:cubicBezTo>
                  <a:pt x="153" y="33"/>
                  <a:pt x="153" y="33"/>
                  <a:pt x="153" y="34"/>
                </a:cubicBezTo>
                <a:cubicBezTo>
                  <a:pt x="153" y="35"/>
                  <a:pt x="151" y="36"/>
                  <a:pt x="153" y="36"/>
                </a:cubicBezTo>
                <a:cubicBezTo>
                  <a:pt x="153" y="35"/>
                  <a:pt x="154" y="34"/>
                  <a:pt x="155" y="33"/>
                </a:cubicBezTo>
                <a:cubicBezTo>
                  <a:pt x="156" y="32"/>
                  <a:pt x="157" y="31"/>
                  <a:pt x="157" y="29"/>
                </a:cubicBezTo>
                <a:cubicBezTo>
                  <a:pt x="158" y="27"/>
                  <a:pt x="157" y="26"/>
                  <a:pt x="157" y="24"/>
                </a:cubicBezTo>
                <a:cubicBezTo>
                  <a:pt x="157" y="23"/>
                  <a:pt x="157" y="23"/>
                  <a:pt x="157" y="23"/>
                </a:cubicBezTo>
                <a:cubicBezTo>
                  <a:pt x="157" y="23"/>
                  <a:pt x="157" y="23"/>
                  <a:pt x="157" y="23"/>
                </a:cubicBezTo>
                <a:cubicBezTo>
                  <a:pt x="158" y="21"/>
                  <a:pt x="160" y="21"/>
                  <a:pt x="161" y="21"/>
                </a:cubicBezTo>
                <a:cubicBezTo>
                  <a:pt x="161" y="20"/>
                  <a:pt x="161" y="20"/>
                  <a:pt x="161" y="20"/>
                </a:cubicBezTo>
                <a:cubicBezTo>
                  <a:pt x="161" y="20"/>
                  <a:pt x="161" y="20"/>
                  <a:pt x="162" y="19"/>
                </a:cubicBezTo>
                <a:cubicBezTo>
                  <a:pt x="163" y="20"/>
                  <a:pt x="163" y="20"/>
                  <a:pt x="164" y="20"/>
                </a:cubicBezTo>
                <a:cubicBezTo>
                  <a:pt x="166" y="20"/>
                  <a:pt x="167" y="18"/>
                  <a:pt x="169" y="18"/>
                </a:cubicBezTo>
                <a:cubicBezTo>
                  <a:pt x="169" y="18"/>
                  <a:pt x="169" y="17"/>
                  <a:pt x="170" y="17"/>
                </a:cubicBezTo>
                <a:cubicBezTo>
                  <a:pt x="171" y="19"/>
                  <a:pt x="175" y="18"/>
                  <a:pt x="177" y="18"/>
                </a:cubicBezTo>
                <a:cubicBezTo>
                  <a:pt x="178" y="18"/>
                  <a:pt x="178" y="19"/>
                  <a:pt x="179" y="19"/>
                </a:cubicBezTo>
                <a:cubicBezTo>
                  <a:pt x="180" y="19"/>
                  <a:pt x="181" y="19"/>
                  <a:pt x="182" y="19"/>
                </a:cubicBezTo>
                <a:cubicBezTo>
                  <a:pt x="183" y="19"/>
                  <a:pt x="184" y="18"/>
                  <a:pt x="183" y="18"/>
                </a:cubicBezTo>
                <a:cubicBezTo>
                  <a:pt x="182" y="18"/>
                  <a:pt x="179" y="19"/>
                  <a:pt x="179" y="17"/>
                </a:cubicBezTo>
                <a:cubicBezTo>
                  <a:pt x="179" y="14"/>
                  <a:pt x="183" y="15"/>
                  <a:pt x="187" y="15"/>
                </a:cubicBezTo>
                <a:cubicBezTo>
                  <a:pt x="188" y="16"/>
                  <a:pt x="192" y="15"/>
                  <a:pt x="194" y="15"/>
                </a:cubicBezTo>
                <a:cubicBezTo>
                  <a:pt x="195" y="15"/>
                  <a:pt x="195" y="16"/>
                  <a:pt x="196" y="16"/>
                </a:cubicBezTo>
                <a:cubicBezTo>
                  <a:pt x="198" y="16"/>
                  <a:pt x="200" y="16"/>
                  <a:pt x="203" y="16"/>
                </a:cubicBezTo>
                <a:cubicBezTo>
                  <a:pt x="203" y="16"/>
                  <a:pt x="203" y="16"/>
                  <a:pt x="203" y="16"/>
                </a:cubicBezTo>
                <a:cubicBezTo>
                  <a:pt x="205" y="15"/>
                  <a:pt x="206" y="17"/>
                  <a:pt x="206" y="18"/>
                </a:cubicBezTo>
                <a:cubicBezTo>
                  <a:pt x="206" y="18"/>
                  <a:pt x="207" y="18"/>
                  <a:pt x="207" y="18"/>
                </a:cubicBezTo>
                <a:cubicBezTo>
                  <a:pt x="208" y="18"/>
                  <a:pt x="209" y="18"/>
                  <a:pt x="211" y="18"/>
                </a:cubicBezTo>
                <a:cubicBezTo>
                  <a:pt x="211" y="18"/>
                  <a:pt x="211" y="18"/>
                  <a:pt x="211" y="18"/>
                </a:cubicBezTo>
                <a:cubicBezTo>
                  <a:pt x="212" y="19"/>
                  <a:pt x="213" y="19"/>
                  <a:pt x="214" y="19"/>
                </a:cubicBezTo>
                <a:cubicBezTo>
                  <a:pt x="214" y="20"/>
                  <a:pt x="214" y="20"/>
                  <a:pt x="214" y="20"/>
                </a:cubicBezTo>
                <a:cubicBezTo>
                  <a:pt x="215" y="20"/>
                  <a:pt x="215" y="20"/>
                  <a:pt x="216" y="20"/>
                </a:cubicBezTo>
                <a:cubicBezTo>
                  <a:pt x="216" y="20"/>
                  <a:pt x="216" y="20"/>
                  <a:pt x="216" y="20"/>
                </a:cubicBezTo>
                <a:cubicBezTo>
                  <a:pt x="218" y="21"/>
                  <a:pt x="219" y="21"/>
                  <a:pt x="219" y="22"/>
                </a:cubicBezTo>
                <a:cubicBezTo>
                  <a:pt x="219" y="22"/>
                  <a:pt x="220" y="22"/>
                  <a:pt x="220" y="22"/>
                </a:cubicBezTo>
                <a:cubicBezTo>
                  <a:pt x="220" y="23"/>
                  <a:pt x="221" y="23"/>
                  <a:pt x="221" y="24"/>
                </a:cubicBezTo>
                <a:cubicBezTo>
                  <a:pt x="221" y="24"/>
                  <a:pt x="221" y="24"/>
                  <a:pt x="221" y="24"/>
                </a:cubicBezTo>
                <a:cubicBezTo>
                  <a:pt x="222" y="24"/>
                  <a:pt x="223" y="24"/>
                  <a:pt x="224" y="24"/>
                </a:cubicBezTo>
                <a:cubicBezTo>
                  <a:pt x="224" y="24"/>
                  <a:pt x="224" y="24"/>
                  <a:pt x="224" y="24"/>
                </a:cubicBezTo>
                <a:cubicBezTo>
                  <a:pt x="224" y="25"/>
                  <a:pt x="224" y="25"/>
                  <a:pt x="224" y="25"/>
                </a:cubicBezTo>
                <a:cubicBezTo>
                  <a:pt x="226" y="25"/>
                  <a:pt x="228" y="24"/>
                  <a:pt x="230" y="24"/>
                </a:cubicBezTo>
                <a:cubicBezTo>
                  <a:pt x="232" y="25"/>
                  <a:pt x="234" y="27"/>
                  <a:pt x="236" y="28"/>
                </a:cubicBezTo>
                <a:cubicBezTo>
                  <a:pt x="236" y="28"/>
                  <a:pt x="236" y="28"/>
                  <a:pt x="237" y="28"/>
                </a:cubicBezTo>
                <a:cubicBezTo>
                  <a:pt x="238" y="28"/>
                  <a:pt x="238" y="29"/>
                  <a:pt x="240" y="30"/>
                </a:cubicBezTo>
                <a:cubicBezTo>
                  <a:pt x="240" y="30"/>
                  <a:pt x="240" y="30"/>
                  <a:pt x="240" y="30"/>
                </a:cubicBezTo>
                <a:cubicBezTo>
                  <a:pt x="241" y="30"/>
                  <a:pt x="242" y="31"/>
                  <a:pt x="242" y="31"/>
                </a:cubicBezTo>
                <a:cubicBezTo>
                  <a:pt x="243" y="31"/>
                  <a:pt x="243" y="31"/>
                  <a:pt x="243" y="31"/>
                </a:cubicBezTo>
                <a:cubicBezTo>
                  <a:pt x="243" y="32"/>
                  <a:pt x="244" y="32"/>
                  <a:pt x="245" y="32"/>
                </a:cubicBezTo>
                <a:cubicBezTo>
                  <a:pt x="245" y="33"/>
                  <a:pt x="246" y="34"/>
                  <a:pt x="247" y="34"/>
                </a:cubicBezTo>
                <a:cubicBezTo>
                  <a:pt x="247" y="36"/>
                  <a:pt x="248" y="36"/>
                  <a:pt x="249" y="37"/>
                </a:cubicBezTo>
                <a:cubicBezTo>
                  <a:pt x="249" y="36"/>
                  <a:pt x="249" y="36"/>
                  <a:pt x="250" y="36"/>
                </a:cubicBezTo>
                <a:cubicBezTo>
                  <a:pt x="252" y="36"/>
                  <a:pt x="252" y="34"/>
                  <a:pt x="254" y="35"/>
                </a:cubicBezTo>
                <a:cubicBezTo>
                  <a:pt x="254" y="35"/>
                  <a:pt x="254" y="35"/>
                  <a:pt x="254" y="35"/>
                </a:cubicBezTo>
                <a:cubicBezTo>
                  <a:pt x="254" y="35"/>
                  <a:pt x="254" y="35"/>
                  <a:pt x="254" y="35"/>
                </a:cubicBezTo>
                <a:cubicBezTo>
                  <a:pt x="254" y="36"/>
                  <a:pt x="257" y="33"/>
                  <a:pt x="258" y="36"/>
                </a:cubicBezTo>
                <a:cubicBezTo>
                  <a:pt x="258" y="36"/>
                  <a:pt x="258" y="36"/>
                  <a:pt x="258" y="36"/>
                </a:cubicBezTo>
                <a:cubicBezTo>
                  <a:pt x="258" y="36"/>
                  <a:pt x="258" y="36"/>
                  <a:pt x="259" y="36"/>
                </a:cubicBezTo>
                <a:cubicBezTo>
                  <a:pt x="259" y="36"/>
                  <a:pt x="259" y="36"/>
                  <a:pt x="259" y="36"/>
                </a:cubicBezTo>
                <a:cubicBezTo>
                  <a:pt x="259" y="36"/>
                  <a:pt x="259" y="36"/>
                  <a:pt x="259" y="37"/>
                </a:cubicBezTo>
                <a:cubicBezTo>
                  <a:pt x="259" y="37"/>
                  <a:pt x="260" y="37"/>
                  <a:pt x="260" y="37"/>
                </a:cubicBezTo>
                <a:cubicBezTo>
                  <a:pt x="261" y="37"/>
                  <a:pt x="261" y="38"/>
                  <a:pt x="263" y="37"/>
                </a:cubicBezTo>
                <a:cubicBezTo>
                  <a:pt x="263" y="37"/>
                  <a:pt x="263" y="38"/>
                  <a:pt x="263" y="38"/>
                </a:cubicBezTo>
                <a:cubicBezTo>
                  <a:pt x="263" y="38"/>
                  <a:pt x="264" y="38"/>
                  <a:pt x="263" y="38"/>
                </a:cubicBezTo>
                <a:cubicBezTo>
                  <a:pt x="264" y="38"/>
                  <a:pt x="265" y="38"/>
                  <a:pt x="265" y="39"/>
                </a:cubicBezTo>
                <a:cubicBezTo>
                  <a:pt x="266" y="39"/>
                  <a:pt x="266" y="39"/>
                  <a:pt x="266" y="39"/>
                </a:cubicBezTo>
                <a:cubicBezTo>
                  <a:pt x="267" y="38"/>
                  <a:pt x="268" y="40"/>
                  <a:pt x="269" y="40"/>
                </a:cubicBezTo>
                <a:cubicBezTo>
                  <a:pt x="269" y="40"/>
                  <a:pt x="270" y="40"/>
                  <a:pt x="270" y="40"/>
                </a:cubicBezTo>
                <a:cubicBezTo>
                  <a:pt x="270" y="40"/>
                  <a:pt x="270" y="40"/>
                  <a:pt x="270" y="40"/>
                </a:cubicBezTo>
                <a:cubicBezTo>
                  <a:pt x="272" y="41"/>
                  <a:pt x="271" y="39"/>
                  <a:pt x="273" y="40"/>
                </a:cubicBezTo>
                <a:cubicBezTo>
                  <a:pt x="273" y="40"/>
                  <a:pt x="274" y="40"/>
                  <a:pt x="275" y="40"/>
                </a:cubicBezTo>
                <a:cubicBezTo>
                  <a:pt x="275" y="40"/>
                  <a:pt x="276" y="40"/>
                  <a:pt x="276" y="39"/>
                </a:cubicBezTo>
                <a:cubicBezTo>
                  <a:pt x="276" y="38"/>
                  <a:pt x="275" y="39"/>
                  <a:pt x="275" y="39"/>
                </a:cubicBezTo>
                <a:cubicBezTo>
                  <a:pt x="274" y="39"/>
                  <a:pt x="274" y="38"/>
                  <a:pt x="274" y="38"/>
                </a:cubicBezTo>
                <a:cubicBezTo>
                  <a:pt x="274" y="38"/>
                  <a:pt x="274" y="38"/>
                  <a:pt x="274" y="38"/>
                </a:cubicBezTo>
                <a:cubicBezTo>
                  <a:pt x="273" y="38"/>
                  <a:pt x="273" y="37"/>
                  <a:pt x="273" y="37"/>
                </a:cubicBezTo>
                <a:cubicBezTo>
                  <a:pt x="272" y="37"/>
                  <a:pt x="272" y="37"/>
                  <a:pt x="272" y="37"/>
                </a:cubicBezTo>
                <a:cubicBezTo>
                  <a:pt x="272" y="36"/>
                  <a:pt x="270" y="36"/>
                  <a:pt x="271" y="35"/>
                </a:cubicBezTo>
                <a:cubicBezTo>
                  <a:pt x="271" y="34"/>
                  <a:pt x="273" y="36"/>
                  <a:pt x="274" y="35"/>
                </a:cubicBezTo>
                <a:cubicBezTo>
                  <a:pt x="274" y="35"/>
                  <a:pt x="274" y="35"/>
                  <a:pt x="274" y="35"/>
                </a:cubicBezTo>
                <a:cubicBezTo>
                  <a:pt x="275" y="36"/>
                  <a:pt x="275" y="36"/>
                  <a:pt x="275" y="37"/>
                </a:cubicBezTo>
                <a:cubicBezTo>
                  <a:pt x="275" y="37"/>
                  <a:pt x="276" y="37"/>
                  <a:pt x="276" y="37"/>
                </a:cubicBezTo>
                <a:cubicBezTo>
                  <a:pt x="276" y="37"/>
                  <a:pt x="276" y="37"/>
                  <a:pt x="277" y="37"/>
                </a:cubicBezTo>
                <a:cubicBezTo>
                  <a:pt x="276" y="39"/>
                  <a:pt x="279" y="39"/>
                  <a:pt x="279" y="40"/>
                </a:cubicBezTo>
                <a:cubicBezTo>
                  <a:pt x="279" y="40"/>
                  <a:pt x="279" y="40"/>
                  <a:pt x="279" y="40"/>
                </a:cubicBezTo>
                <a:cubicBezTo>
                  <a:pt x="279" y="40"/>
                  <a:pt x="279" y="40"/>
                  <a:pt x="279" y="40"/>
                </a:cubicBezTo>
                <a:cubicBezTo>
                  <a:pt x="280" y="40"/>
                  <a:pt x="281" y="40"/>
                  <a:pt x="281" y="41"/>
                </a:cubicBezTo>
                <a:cubicBezTo>
                  <a:pt x="281" y="41"/>
                  <a:pt x="281" y="41"/>
                  <a:pt x="282" y="41"/>
                </a:cubicBezTo>
                <a:cubicBezTo>
                  <a:pt x="282" y="41"/>
                  <a:pt x="283" y="41"/>
                  <a:pt x="284" y="41"/>
                </a:cubicBezTo>
                <a:cubicBezTo>
                  <a:pt x="284" y="41"/>
                  <a:pt x="284" y="41"/>
                  <a:pt x="285" y="41"/>
                </a:cubicBezTo>
                <a:cubicBezTo>
                  <a:pt x="286" y="42"/>
                  <a:pt x="287" y="42"/>
                  <a:pt x="288" y="42"/>
                </a:cubicBezTo>
                <a:cubicBezTo>
                  <a:pt x="288" y="43"/>
                  <a:pt x="288" y="43"/>
                  <a:pt x="288" y="43"/>
                </a:cubicBezTo>
                <a:cubicBezTo>
                  <a:pt x="290" y="43"/>
                  <a:pt x="289" y="46"/>
                  <a:pt x="291" y="46"/>
                </a:cubicBezTo>
                <a:cubicBezTo>
                  <a:pt x="290" y="45"/>
                  <a:pt x="291" y="44"/>
                  <a:pt x="293" y="45"/>
                </a:cubicBezTo>
                <a:cubicBezTo>
                  <a:pt x="293" y="45"/>
                  <a:pt x="292" y="46"/>
                  <a:pt x="292" y="46"/>
                </a:cubicBezTo>
                <a:cubicBezTo>
                  <a:pt x="292" y="46"/>
                  <a:pt x="292" y="47"/>
                  <a:pt x="293" y="47"/>
                </a:cubicBezTo>
                <a:cubicBezTo>
                  <a:pt x="294" y="44"/>
                  <a:pt x="296" y="47"/>
                  <a:pt x="297" y="46"/>
                </a:cubicBezTo>
                <a:cubicBezTo>
                  <a:pt x="297" y="46"/>
                  <a:pt x="297" y="46"/>
                  <a:pt x="297" y="46"/>
                </a:cubicBezTo>
                <a:cubicBezTo>
                  <a:pt x="297" y="46"/>
                  <a:pt x="298" y="46"/>
                  <a:pt x="298" y="47"/>
                </a:cubicBezTo>
                <a:cubicBezTo>
                  <a:pt x="298" y="46"/>
                  <a:pt x="299" y="46"/>
                  <a:pt x="300" y="46"/>
                </a:cubicBezTo>
                <a:cubicBezTo>
                  <a:pt x="300" y="46"/>
                  <a:pt x="300" y="46"/>
                  <a:pt x="300" y="46"/>
                </a:cubicBezTo>
                <a:cubicBezTo>
                  <a:pt x="301" y="45"/>
                  <a:pt x="301" y="47"/>
                  <a:pt x="303" y="47"/>
                </a:cubicBezTo>
                <a:cubicBezTo>
                  <a:pt x="303" y="48"/>
                  <a:pt x="303" y="49"/>
                  <a:pt x="302" y="49"/>
                </a:cubicBezTo>
                <a:cubicBezTo>
                  <a:pt x="302" y="49"/>
                  <a:pt x="302" y="49"/>
                  <a:pt x="302" y="49"/>
                </a:cubicBezTo>
                <a:cubicBezTo>
                  <a:pt x="302" y="49"/>
                  <a:pt x="302" y="50"/>
                  <a:pt x="302" y="50"/>
                </a:cubicBezTo>
                <a:cubicBezTo>
                  <a:pt x="303" y="50"/>
                  <a:pt x="304" y="50"/>
                  <a:pt x="304" y="51"/>
                </a:cubicBezTo>
                <a:cubicBezTo>
                  <a:pt x="305" y="53"/>
                  <a:pt x="306" y="54"/>
                  <a:pt x="306" y="56"/>
                </a:cubicBezTo>
                <a:cubicBezTo>
                  <a:pt x="306" y="56"/>
                  <a:pt x="306" y="56"/>
                  <a:pt x="306" y="56"/>
                </a:cubicBezTo>
                <a:cubicBezTo>
                  <a:pt x="306" y="57"/>
                  <a:pt x="306" y="57"/>
                  <a:pt x="306" y="57"/>
                </a:cubicBezTo>
                <a:cubicBezTo>
                  <a:pt x="307" y="57"/>
                  <a:pt x="307" y="57"/>
                  <a:pt x="307" y="57"/>
                </a:cubicBezTo>
                <a:cubicBezTo>
                  <a:pt x="307" y="57"/>
                  <a:pt x="307" y="57"/>
                  <a:pt x="307" y="57"/>
                </a:cubicBezTo>
                <a:cubicBezTo>
                  <a:pt x="310" y="56"/>
                  <a:pt x="311" y="58"/>
                  <a:pt x="311" y="60"/>
                </a:cubicBezTo>
                <a:cubicBezTo>
                  <a:pt x="311" y="60"/>
                  <a:pt x="311" y="60"/>
                  <a:pt x="311" y="60"/>
                </a:cubicBezTo>
                <a:cubicBezTo>
                  <a:pt x="311" y="60"/>
                  <a:pt x="311" y="60"/>
                  <a:pt x="311" y="61"/>
                </a:cubicBezTo>
                <a:cubicBezTo>
                  <a:pt x="312" y="61"/>
                  <a:pt x="312" y="62"/>
                  <a:pt x="313" y="62"/>
                </a:cubicBezTo>
                <a:cubicBezTo>
                  <a:pt x="313" y="63"/>
                  <a:pt x="313" y="64"/>
                  <a:pt x="314" y="65"/>
                </a:cubicBezTo>
                <a:cubicBezTo>
                  <a:pt x="315" y="65"/>
                  <a:pt x="316" y="65"/>
                  <a:pt x="317" y="65"/>
                </a:cubicBezTo>
                <a:cubicBezTo>
                  <a:pt x="317" y="65"/>
                  <a:pt x="317" y="65"/>
                  <a:pt x="317" y="66"/>
                </a:cubicBezTo>
                <a:cubicBezTo>
                  <a:pt x="318" y="66"/>
                  <a:pt x="319" y="67"/>
                  <a:pt x="319" y="68"/>
                </a:cubicBezTo>
                <a:cubicBezTo>
                  <a:pt x="319" y="68"/>
                  <a:pt x="319" y="68"/>
                  <a:pt x="320" y="68"/>
                </a:cubicBezTo>
                <a:cubicBezTo>
                  <a:pt x="320" y="69"/>
                  <a:pt x="320" y="70"/>
                  <a:pt x="321" y="70"/>
                </a:cubicBezTo>
                <a:cubicBezTo>
                  <a:pt x="321" y="70"/>
                  <a:pt x="321" y="70"/>
                  <a:pt x="321" y="70"/>
                </a:cubicBezTo>
                <a:cubicBezTo>
                  <a:pt x="321" y="71"/>
                  <a:pt x="321" y="72"/>
                  <a:pt x="321" y="72"/>
                </a:cubicBezTo>
                <a:cubicBezTo>
                  <a:pt x="321" y="73"/>
                  <a:pt x="322" y="73"/>
                  <a:pt x="322" y="74"/>
                </a:cubicBezTo>
                <a:cubicBezTo>
                  <a:pt x="322" y="77"/>
                  <a:pt x="322" y="80"/>
                  <a:pt x="322" y="81"/>
                </a:cubicBezTo>
                <a:cubicBezTo>
                  <a:pt x="322" y="82"/>
                  <a:pt x="321" y="82"/>
                  <a:pt x="321" y="84"/>
                </a:cubicBezTo>
                <a:cubicBezTo>
                  <a:pt x="321" y="84"/>
                  <a:pt x="321" y="85"/>
                  <a:pt x="321" y="86"/>
                </a:cubicBezTo>
                <a:cubicBezTo>
                  <a:pt x="321" y="86"/>
                  <a:pt x="321" y="86"/>
                  <a:pt x="321" y="86"/>
                </a:cubicBezTo>
                <a:cubicBezTo>
                  <a:pt x="321" y="88"/>
                  <a:pt x="321" y="89"/>
                  <a:pt x="320" y="90"/>
                </a:cubicBezTo>
                <a:cubicBezTo>
                  <a:pt x="320" y="90"/>
                  <a:pt x="320" y="90"/>
                  <a:pt x="320" y="90"/>
                </a:cubicBezTo>
                <a:cubicBezTo>
                  <a:pt x="320" y="91"/>
                  <a:pt x="319" y="92"/>
                  <a:pt x="319" y="93"/>
                </a:cubicBezTo>
                <a:cubicBezTo>
                  <a:pt x="319" y="93"/>
                  <a:pt x="319" y="93"/>
                  <a:pt x="319" y="93"/>
                </a:cubicBezTo>
                <a:cubicBezTo>
                  <a:pt x="318" y="94"/>
                  <a:pt x="318" y="94"/>
                  <a:pt x="318" y="94"/>
                </a:cubicBezTo>
                <a:cubicBezTo>
                  <a:pt x="318" y="94"/>
                  <a:pt x="318" y="94"/>
                  <a:pt x="318" y="94"/>
                </a:cubicBezTo>
                <a:cubicBezTo>
                  <a:pt x="318" y="95"/>
                  <a:pt x="318" y="95"/>
                  <a:pt x="318" y="95"/>
                </a:cubicBezTo>
                <a:cubicBezTo>
                  <a:pt x="318" y="95"/>
                  <a:pt x="318" y="96"/>
                  <a:pt x="318" y="96"/>
                </a:cubicBezTo>
                <a:cubicBezTo>
                  <a:pt x="317" y="97"/>
                  <a:pt x="317" y="97"/>
                  <a:pt x="316" y="99"/>
                </a:cubicBezTo>
                <a:cubicBezTo>
                  <a:pt x="316" y="99"/>
                  <a:pt x="316" y="99"/>
                  <a:pt x="316" y="99"/>
                </a:cubicBezTo>
                <a:cubicBezTo>
                  <a:pt x="316" y="101"/>
                  <a:pt x="316" y="103"/>
                  <a:pt x="316" y="104"/>
                </a:cubicBezTo>
                <a:cubicBezTo>
                  <a:pt x="316" y="105"/>
                  <a:pt x="316" y="105"/>
                  <a:pt x="316" y="105"/>
                </a:cubicBezTo>
                <a:cubicBezTo>
                  <a:pt x="316" y="106"/>
                  <a:pt x="315" y="107"/>
                  <a:pt x="315" y="108"/>
                </a:cubicBezTo>
                <a:cubicBezTo>
                  <a:pt x="315" y="108"/>
                  <a:pt x="314" y="108"/>
                  <a:pt x="314" y="108"/>
                </a:cubicBezTo>
                <a:cubicBezTo>
                  <a:pt x="315" y="108"/>
                  <a:pt x="314" y="109"/>
                  <a:pt x="314" y="110"/>
                </a:cubicBezTo>
                <a:cubicBezTo>
                  <a:pt x="314" y="110"/>
                  <a:pt x="314" y="110"/>
                  <a:pt x="314" y="110"/>
                </a:cubicBezTo>
                <a:cubicBezTo>
                  <a:pt x="313" y="111"/>
                  <a:pt x="312" y="112"/>
                  <a:pt x="311" y="113"/>
                </a:cubicBezTo>
                <a:cubicBezTo>
                  <a:pt x="311" y="113"/>
                  <a:pt x="311" y="113"/>
                  <a:pt x="311" y="113"/>
                </a:cubicBezTo>
                <a:cubicBezTo>
                  <a:pt x="311" y="114"/>
                  <a:pt x="310" y="114"/>
                  <a:pt x="309" y="116"/>
                </a:cubicBezTo>
                <a:cubicBezTo>
                  <a:pt x="307" y="116"/>
                  <a:pt x="308" y="119"/>
                  <a:pt x="307" y="119"/>
                </a:cubicBezTo>
                <a:cubicBezTo>
                  <a:pt x="306" y="119"/>
                  <a:pt x="306" y="120"/>
                  <a:pt x="305" y="120"/>
                </a:cubicBezTo>
                <a:cubicBezTo>
                  <a:pt x="305" y="120"/>
                  <a:pt x="305" y="120"/>
                  <a:pt x="305" y="120"/>
                </a:cubicBezTo>
                <a:cubicBezTo>
                  <a:pt x="303" y="121"/>
                  <a:pt x="303" y="122"/>
                  <a:pt x="302" y="123"/>
                </a:cubicBezTo>
                <a:cubicBezTo>
                  <a:pt x="302" y="123"/>
                  <a:pt x="302" y="123"/>
                  <a:pt x="302" y="123"/>
                </a:cubicBezTo>
                <a:cubicBezTo>
                  <a:pt x="302" y="123"/>
                  <a:pt x="302" y="123"/>
                  <a:pt x="302" y="123"/>
                </a:cubicBezTo>
                <a:cubicBezTo>
                  <a:pt x="301" y="123"/>
                  <a:pt x="301" y="123"/>
                  <a:pt x="301" y="123"/>
                </a:cubicBezTo>
                <a:cubicBezTo>
                  <a:pt x="301" y="124"/>
                  <a:pt x="301" y="124"/>
                  <a:pt x="301" y="124"/>
                </a:cubicBezTo>
                <a:cubicBezTo>
                  <a:pt x="300" y="125"/>
                  <a:pt x="300" y="127"/>
                  <a:pt x="298" y="126"/>
                </a:cubicBezTo>
                <a:cubicBezTo>
                  <a:pt x="298" y="126"/>
                  <a:pt x="298" y="127"/>
                  <a:pt x="298" y="127"/>
                </a:cubicBezTo>
                <a:cubicBezTo>
                  <a:pt x="297" y="127"/>
                  <a:pt x="296" y="127"/>
                  <a:pt x="296" y="128"/>
                </a:cubicBezTo>
                <a:cubicBezTo>
                  <a:pt x="296" y="128"/>
                  <a:pt x="296" y="128"/>
                  <a:pt x="296" y="128"/>
                </a:cubicBezTo>
                <a:cubicBezTo>
                  <a:pt x="295" y="128"/>
                  <a:pt x="294" y="129"/>
                  <a:pt x="293" y="130"/>
                </a:cubicBezTo>
                <a:cubicBezTo>
                  <a:pt x="293" y="130"/>
                  <a:pt x="293" y="130"/>
                  <a:pt x="293" y="130"/>
                </a:cubicBezTo>
                <a:cubicBezTo>
                  <a:pt x="292" y="130"/>
                  <a:pt x="291" y="131"/>
                  <a:pt x="290" y="131"/>
                </a:cubicBezTo>
                <a:cubicBezTo>
                  <a:pt x="290" y="131"/>
                  <a:pt x="290" y="131"/>
                  <a:pt x="290" y="131"/>
                </a:cubicBezTo>
                <a:cubicBezTo>
                  <a:pt x="289" y="133"/>
                  <a:pt x="287" y="132"/>
                  <a:pt x="286" y="133"/>
                </a:cubicBezTo>
                <a:cubicBezTo>
                  <a:pt x="286" y="133"/>
                  <a:pt x="286" y="133"/>
                  <a:pt x="286" y="133"/>
                </a:cubicBezTo>
                <a:cubicBezTo>
                  <a:pt x="286" y="133"/>
                  <a:pt x="285" y="133"/>
                  <a:pt x="284" y="134"/>
                </a:cubicBezTo>
                <a:cubicBezTo>
                  <a:pt x="279" y="133"/>
                  <a:pt x="277" y="135"/>
                  <a:pt x="272" y="136"/>
                </a:cubicBezTo>
                <a:cubicBezTo>
                  <a:pt x="268" y="135"/>
                  <a:pt x="264" y="135"/>
                  <a:pt x="260" y="135"/>
                </a:cubicBezTo>
                <a:cubicBezTo>
                  <a:pt x="260" y="135"/>
                  <a:pt x="260" y="135"/>
                  <a:pt x="260" y="135"/>
                </a:cubicBezTo>
                <a:cubicBezTo>
                  <a:pt x="259" y="134"/>
                  <a:pt x="258" y="134"/>
                  <a:pt x="257" y="135"/>
                </a:cubicBezTo>
                <a:cubicBezTo>
                  <a:pt x="257" y="135"/>
                  <a:pt x="257" y="135"/>
                  <a:pt x="256" y="135"/>
                </a:cubicBezTo>
                <a:cubicBezTo>
                  <a:pt x="256" y="135"/>
                  <a:pt x="256" y="136"/>
                  <a:pt x="255" y="136"/>
                </a:cubicBezTo>
                <a:cubicBezTo>
                  <a:pt x="252" y="135"/>
                  <a:pt x="251" y="137"/>
                  <a:pt x="248" y="137"/>
                </a:cubicBezTo>
                <a:cubicBezTo>
                  <a:pt x="244" y="136"/>
                  <a:pt x="237" y="137"/>
                  <a:pt x="231" y="137"/>
                </a:cubicBezTo>
                <a:cubicBezTo>
                  <a:pt x="231" y="137"/>
                  <a:pt x="231" y="137"/>
                  <a:pt x="231" y="137"/>
                </a:cubicBezTo>
                <a:cubicBezTo>
                  <a:pt x="229" y="137"/>
                  <a:pt x="228" y="137"/>
                  <a:pt x="227" y="137"/>
                </a:cubicBezTo>
                <a:cubicBezTo>
                  <a:pt x="227" y="137"/>
                  <a:pt x="227" y="137"/>
                  <a:pt x="227" y="137"/>
                </a:cubicBezTo>
                <a:cubicBezTo>
                  <a:pt x="226" y="136"/>
                  <a:pt x="225" y="136"/>
                  <a:pt x="223" y="136"/>
                </a:cubicBezTo>
                <a:cubicBezTo>
                  <a:pt x="223" y="136"/>
                  <a:pt x="223" y="136"/>
                  <a:pt x="223" y="135"/>
                </a:cubicBezTo>
                <a:cubicBezTo>
                  <a:pt x="222" y="135"/>
                  <a:pt x="220" y="135"/>
                  <a:pt x="220" y="134"/>
                </a:cubicBezTo>
                <a:cubicBezTo>
                  <a:pt x="219" y="134"/>
                  <a:pt x="219" y="134"/>
                  <a:pt x="219" y="134"/>
                </a:cubicBezTo>
                <a:cubicBezTo>
                  <a:pt x="219" y="134"/>
                  <a:pt x="219" y="133"/>
                  <a:pt x="219" y="133"/>
                </a:cubicBezTo>
                <a:cubicBezTo>
                  <a:pt x="219" y="134"/>
                  <a:pt x="219" y="133"/>
                  <a:pt x="219" y="133"/>
                </a:cubicBezTo>
                <a:cubicBezTo>
                  <a:pt x="218" y="132"/>
                  <a:pt x="217" y="133"/>
                  <a:pt x="216" y="133"/>
                </a:cubicBezTo>
                <a:cubicBezTo>
                  <a:pt x="216" y="134"/>
                  <a:pt x="216" y="134"/>
                  <a:pt x="216" y="134"/>
                </a:cubicBezTo>
                <a:cubicBezTo>
                  <a:pt x="216" y="134"/>
                  <a:pt x="216" y="134"/>
                  <a:pt x="215" y="134"/>
                </a:cubicBezTo>
                <a:cubicBezTo>
                  <a:pt x="215" y="134"/>
                  <a:pt x="215" y="135"/>
                  <a:pt x="215" y="135"/>
                </a:cubicBezTo>
                <a:cubicBezTo>
                  <a:pt x="215" y="137"/>
                  <a:pt x="213" y="137"/>
                  <a:pt x="211" y="136"/>
                </a:cubicBezTo>
                <a:cubicBezTo>
                  <a:pt x="210" y="136"/>
                  <a:pt x="211" y="135"/>
                  <a:pt x="210" y="135"/>
                </a:cubicBezTo>
                <a:cubicBezTo>
                  <a:pt x="210" y="134"/>
                  <a:pt x="210" y="133"/>
                  <a:pt x="210" y="132"/>
                </a:cubicBezTo>
                <a:cubicBezTo>
                  <a:pt x="207" y="132"/>
                  <a:pt x="205" y="131"/>
                  <a:pt x="201" y="132"/>
                </a:cubicBezTo>
                <a:cubicBezTo>
                  <a:pt x="200" y="132"/>
                  <a:pt x="200" y="134"/>
                  <a:pt x="198" y="133"/>
                </a:cubicBezTo>
                <a:cubicBezTo>
                  <a:pt x="197" y="133"/>
                  <a:pt x="197" y="132"/>
                  <a:pt x="197" y="132"/>
                </a:cubicBezTo>
                <a:cubicBezTo>
                  <a:pt x="196" y="131"/>
                  <a:pt x="196" y="130"/>
                  <a:pt x="194" y="130"/>
                </a:cubicBezTo>
                <a:cubicBezTo>
                  <a:pt x="191" y="130"/>
                  <a:pt x="192" y="133"/>
                  <a:pt x="189" y="132"/>
                </a:cubicBezTo>
                <a:cubicBezTo>
                  <a:pt x="186" y="133"/>
                  <a:pt x="187" y="131"/>
                  <a:pt x="185" y="131"/>
                </a:cubicBezTo>
                <a:cubicBezTo>
                  <a:pt x="183" y="131"/>
                  <a:pt x="182" y="130"/>
                  <a:pt x="179" y="130"/>
                </a:cubicBezTo>
                <a:cubicBezTo>
                  <a:pt x="179" y="130"/>
                  <a:pt x="179" y="130"/>
                  <a:pt x="179" y="130"/>
                </a:cubicBezTo>
                <a:cubicBezTo>
                  <a:pt x="179" y="129"/>
                  <a:pt x="177" y="129"/>
                  <a:pt x="177" y="128"/>
                </a:cubicBezTo>
                <a:cubicBezTo>
                  <a:pt x="176" y="128"/>
                  <a:pt x="176" y="128"/>
                  <a:pt x="176" y="128"/>
                </a:cubicBezTo>
                <a:cubicBezTo>
                  <a:pt x="176" y="128"/>
                  <a:pt x="176" y="128"/>
                  <a:pt x="176" y="128"/>
                </a:cubicBezTo>
                <a:cubicBezTo>
                  <a:pt x="176" y="128"/>
                  <a:pt x="176" y="128"/>
                  <a:pt x="176" y="128"/>
                </a:cubicBezTo>
                <a:cubicBezTo>
                  <a:pt x="176" y="126"/>
                  <a:pt x="174" y="127"/>
                  <a:pt x="174" y="125"/>
                </a:cubicBezTo>
                <a:cubicBezTo>
                  <a:pt x="174" y="125"/>
                  <a:pt x="174" y="125"/>
                  <a:pt x="174" y="125"/>
                </a:cubicBezTo>
                <a:cubicBezTo>
                  <a:pt x="173" y="124"/>
                  <a:pt x="172" y="123"/>
                  <a:pt x="172" y="122"/>
                </a:cubicBezTo>
                <a:cubicBezTo>
                  <a:pt x="172" y="122"/>
                  <a:pt x="172" y="122"/>
                  <a:pt x="172" y="122"/>
                </a:cubicBezTo>
                <a:cubicBezTo>
                  <a:pt x="172" y="122"/>
                  <a:pt x="172" y="121"/>
                  <a:pt x="171" y="120"/>
                </a:cubicBezTo>
                <a:cubicBezTo>
                  <a:pt x="169" y="120"/>
                  <a:pt x="167" y="120"/>
                  <a:pt x="165" y="120"/>
                </a:cubicBezTo>
                <a:cubicBezTo>
                  <a:pt x="165" y="120"/>
                  <a:pt x="165" y="120"/>
                  <a:pt x="165" y="120"/>
                </a:cubicBezTo>
                <a:cubicBezTo>
                  <a:pt x="164" y="121"/>
                  <a:pt x="163" y="122"/>
                  <a:pt x="162" y="123"/>
                </a:cubicBezTo>
                <a:cubicBezTo>
                  <a:pt x="162" y="123"/>
                  <a:pt x="161" y="122"/>
                  <a:pt x="161" y="122"/>
                </a:cubicBezTo>
                <a:cubicBezTo>
                  <a:pt x="161" y="122"/>
                  <a:pt x="161" y="122"/>
                  <a:pt x="161" y="122"/>
                </a:cubicBezTo>
                <a:cubicBezTo>
                  <a:pt x="160" y="122"/>
                  <a:pt x="160" y="123"/>
                  <a:pt x="160" y="123"/>
                </a:cubicBezTo>
                <a:cubicBezTo>
                  <a:pt x="160" y="123"/>
                  <a:pt x="158" y="122"/>
                  <a:pt x="158" y="124"/>
                </a:cubicBezTo>
                <a:cubicBezTo>
                  <a:pt x="158" y="124"/>
                  <a:pt x="158" y="125"/>
                  <a:pt x="158" y="125"/>
                </a:cubicBezTo>
                <a:cubicBezTo>
                  <a:pt x="157" y="124"/>
                  <a:pt x="156" y="126"/>
                  <a:pt x="157" y="126"/>
                </a:cubicBezTo>
                <a:cubicBezTo>
                  <a:pt x="158" y="125"/>
                  <a:pt x="158" y="125"/>
                  <a:pt x="159" y="125"/>
                </a:cubicBezTo>
                <a:cubicBezTo>
                  <a:pt x="160" y="125"/>
                  <a:pt x="160" y="125"/>
                  <a:pt x="160" y="125"/>
                </a:cubicBezTo>
                <a:cubicBezTo>
                  <a:pt x="162" y="125"/>
                  <a:pt x="163" y="125"/>
                  <a:pt x="164" y="124"/>
                </a:cubicBezTo>
                <a:cubicBezTo>
                  <a:pt x="165" y="124"/>
                  <a:pt x="165" y="125"/>
                  <a:pt x="166" y="125"/>
                </a:cubicBezTo>
                <a:cubicBezTo>
                  <a:pt x="167" y="125"/>
                  <a:pt x="168" y="125"/>
                  <a:pt x="169" y="125"/>
                </a:cubicBezTo>
                <a:cubicBezTo>
                  <a:pt x="169" y="128"/>
                  <a:pt x="171" y="127"/>
                  <a:pt x="171" y="129"/>
                </a:cubicBezTo>
                <a:cubicBezTo>
                  <a:pt x="171" y="129"/>
                  <a:pt x="170" y="130"/>
                  <a:pt x="170" y="131"/>
                </a:cubicBezTo>
                <a:cubicBezTo>
                  <a:pt x="171" y="131"/>
                  <a:pt x="171" y="132"/>
                  <a:pt x="171" y="132"/>
                </a:cubicBezTo>
                <a:cubicBezTo>
                  <a:pt x="171" y="133"/>
                  <a:pt x="173" y="133"/>
                  <a:pt x="174" y="134"/>
                </a:cubicBezTo>
                <a:cubicBezTo>
                  <a:pt x="174" y="134"/>
                  <a:pt x="174" y="135"/>
                  <a:pt x="174" y="135"/>
                </a:cubicBezTo>
                <a:cubicBezTo>
                  <a:pt x="175" y="135"/>
                  <a:pt x="177" y="136"/>
                  <a:pt x="178" y="136"/>
                </a:cubicBezTo>
                <a:cubicBezTo>
                  <a:pt x="178" y="136"/>
                  <a:pt x="178" y="136"/>
                  <a:pt x="178" y="136"/>
                </a:cubicBezTo>
                <a:cubicBezTo>
                  <a:pt x="179" y="136"/>
                  <a:pt x="179" y="137"/>
                  <a:pt x="181" y="136"/>
                </a:cubicBezTo>
                <a:cubicBezTo>
                  <a:pt x="181" y="137"/>
                  <a:pt x="179" y="138"/>
                  <a:pt x="180" y="138"/>
                </a:cubicBezTo>
                <a:cubicBezTo>
                  <a:pt x="180" y="138"/>
                  <a:pt x="181" y="138"/>
                  <a:pt x="181" y="138"/>
                </a:cubicBezTo>
                <a:cubicBezTo>
                  <a:pt x="181" y="138"/>
                  <a:pt x="181" y="138"/>
                  <a:pt x="181" y="138"/>
                </a:cubicBezTo>
                <a:cubicBezTo>
                  <a:pt x="184" y="138"/>
                  <a:pt x="188" y="137"/>
                  <a:pt x="189" y="139"/>
                </a:cubicBezTo>
                <a:cubicBezTo>
                  <a:pt x="189" y="140"/>
                  <a:pt x="188" y="140"/>
                  <a:pt x="187" y="140"/>
                </a:cubicBezTo>
                <a:cubicBezTo>
                  <a:pt x="187" y="141"/>
                  <a:pt x="187" y="141"/>
                  <a:pt x="186" y="141"/>
                </a:cubicBezTo>
                <a:cubicBezTo>
                  <a:pt x="186" y="143"/>
                  <a:pt x="183" y="142"/>
                  <a:pt x="183" y="143"/>
                </a:cubicBezTo>
                <a:cubicBezTo>
                  <a:pt x="187" y="143"/>
                  <a:pt x="187" y="143"/>
                  <a:pt x="187" y="143"/>
                </a:cubicBezTo>
                <a:cubicBezTo>
                  <a:pt x="187" y="145"/>
                  <a:pt x="188" y="145"/>
                  <a:pt x="190" y="145"/>
                </a:cubicBezTo>
                <a:cubicBezTo>
                  <a:pt x="192" y="145"/>
                  <a:pt x="192" y="145"/>
                  <a:pt x="192" y="145"/>
                </a:cubicBezTo>
                <a:cubicBezTo>
                  <a:pt x="194" y="146"/>
                  <a:pt x="194" y="143"/>
                  <a:pt x="196" y="143"/>
                </a:cubicBezTo>
                <a:cubicBezTo>
                  <a:pt x="197" y="145"/>
                  <a:pt x="197" y="145"/>
                  <a:pt x="198" y="146"/>
                </a:cubicBezTo>
                <a:cubicBezTo>
                  <a:pt x="198" y="147"/>
                  <a:pt x="197" y="147"/>
                  <a:pt x="197" y="147"/>
                </a:cubicBezTo>
                <a:cubicBezTo>
                  <a:pt x="197" y="148"/>
                  <a:pt x="199" y="148"/>
                  <a:pt x="199" y="150"/>
                </a:cubicBezTo>
                <a:cubicBezTo>
                  <a:pt x="197" y="150"/>
                  <a:pt x="197" y="150"/>
                  <a:pt x="197" y="151"/>
                </a:cubicBezTo>
                <a:cubicBezTo>
                  <a:pt x="196" y="151"/>
                  <a:pt x="196" y="151"/>
                  <a:pt x="196" y="151"/>
                </a:cubicBezTo>
                <a:cubicBezTo>
                  <a:pt x="196" y="151"/>
                  <a:pt x="196" y="151"/>
                  <a:pt x="195" y="151"/>
                </a:cubicBezTo>
                <a:cubicBezTo>
                  <a:pt x="195" y="152"/>
                  <a:pt x="195" y="152"/>
                  <a:pt x="194" y="153"/>
                </a:cubicBezTo>
                <a:cubicBezTo>
                  <a:pt x="194" y="153"/>
                  <a:pt x="194" y="153"/>
                  <a:pt x="194" y="153"/>
                </a:cubicBezTo>
                <a:cubicBezTo>
                  <a:pt x="192" y="152"/>
                  <a:pt x="192" y="155"/>
                  <a:pt x="191" y="155"/>
                </a:cubicBezTo>
                <a:cubicBezTo>
                  <a:pt x="191" y="155"/>
                  <a:pt x="191" y="155"/>
                  <a:pt x="191" y="155"/>
                </a:cubicBezTo>
                <a:cubicBezTo>
                  <a:pt x="191" y="155"/>
                  <a:pt x="191" y="156"/>
                  <a:pt x="192" y="156"/>
                </a:cubicBezTo>
                <a:cubicBezTo>
                  <a:pt x="192" y="155"/>
                  <a:pt x="192" y="155"/>
                  <a:pt x="193" y="155"/>
                </a:cubicBezTo>
                <a:cubicBezTo>
                  <a:pt x="194" y="155"/>
                  <a:pt x="194" y="154"/>
                  <a:pt x="194" y="154"/>
                </a:cubicBezTo>
                <a:cubicBezTo>
                  <a:pt x="196" y="154"/>
                  <a:pt x="196" y="152"/>
                  <a:pt x="198" y="153"/>
                </a:cubicBezTo>
                <a:cubicBezTo>
                  <a:pt x="198" y="151"/>
                  <a:pt x="200" y="152"/>
                  <a:pt x="199" y="150"/>
                </a:cubicBezTo>
                <a:cubicBezTo>
                  <a:pt x="200" y="150"/>
                  <a:pt x="200" y="149"/>
                  <a:pt x="200" y="149"/>
                </a:cubicBezTo>
                <a:cubicBezTo>
                  <a:pt x="201" y="149"/>
                  <a:pt x="201" y="149"/>
                  <a:pt x="201" y="149"/>
                </a:cubicBezTo>
                <a:cubicBezTo>
                  <a:pt x="201" y="149"/>
                  <a:pt x="201" y="149"/>
                  <a:pt x="202" y="150"/>
                </a:cubicBezTo>
                <a:cubicBezTo>
                  <a:pt x="202" y="150"/>
                  <a:pt x="202" y="150"/>
                  <a:pt x="202" y="150"/>
                </a:cubicBezTo>
                <a:cubicBezTo>
                  <a:pt x="202" y="152"/>
                  <a:pt x="203" y="151"/>
                  <a:pt x="204" y="152"/>
                </a:cubicBezTo>
                <a:cubicBezTo>
                  <a:pt x="204" y="152"/>
                  <a:pt x="204" y="152"/>
                  <a:pt x="204" y="152"/>
                </a:cubicBezTo>
                <a:cubicBezTo>
                  <a:pt x="204" y="152"/>
                  <a:pt x="204" y="152"/>
                  <a:pt x="204" y="153"/>
                </a:cubicBezTo>
                <a:cubicBezTo>
                  <a:pt x="207" y="153"/>
                  <a:pt x="206" y="150"/>
                  <a:pt x="209" y="151"/>
                </a:cubicBezTo>
                <a:cubicBezTo>
                  <a:pt x="210" y="152"/>
                  <a:pt x="211" y="153"/>
                  <a:pt x="213" y="153"/>
                </a:cubicBezTo>
                <a:cubicBezTo>
                  <a:pt x="213" y="153"/>
                  <a:pt x="213" y="153"/>
                  <a:pt x="213" y="153"/>
                </a:cubicBezTo>
                <a:cubicBezTo>
                  <a:pt x="215" y="152"/>
                  <a:pt x="215" y="155"/>
                  <a:pt x="216" y="155"/>
                </a:cubicBezTo>
                <a:cubicBezTo>
                  <a:pt x="216" y="155"/>
                  <a:pt x="216" y="155"/>
                  <a:pt x="216" y="155"/>
                </a:cubicBezTo>
                <a:cubicBezTo>
                  <a:pt x="218" y="156"/>
                  <a:pt x="219" y="156"/>
                  <a:pt x="220" y="156"/>
                </a:cubicBezTo>
                <a:cubicBezTo>
                  <a:pt x="220" y="157"/>
                  <a:pt x="220" y="157"/>
                  <a:pt x="220" y="157"/>
                </a:cubicBezTo>
                <a:cubicBezTo>
                  <a:pt x="222" y="157"/>
                  <a:pt x="222" y="158"/>
                  <a:pt x="223" y="159"/>
                </a:cubicBezTo>
                <a:cubicBezTo>
                  <a:pt x="223" y="159"/>
                  <a:pt x="223" y="159"/>
                  <a:pt x="223" y="159"/>
                </a:cubicBezTo>
                <a:cubicBezTo>
                  <a:pt x="224" y="160"/>
                  <a:pt x="225" y="161"/>
                  <a:pt x="225" y="163"/>
                </a:cubicBezTo>
                <a:cubicBezTo>
                  <a:pt x="226" y="163"/>
                  <a:pt x="227" y="163"/>
                  <a:pt x="228" y="164"/>
                </a:cubicBezTo>
                <a:cubicBezTo>
                  <a:pt x="228" y="165"/>
                  <a:pt x="229" y="166"/>
                  <a:pt x="230" y="167"/>
                </a:cubicBezTo>
                <a:cubicBezTo>
                  <a:pt x="230" y="169"/>
                  <a:pt x="233" y="169"/>
                  <a:pt x="232" y="171"/>
                </a:cubicBezTo>
                <a:cubicBezTo>
                  <a:pt x="231" y="171"/>
                  <a:pt x="230" y="171"/>
                  <a:pt x="229" y="171"/>
                </a:cubicBezTo>
                <a:cubicBezTo>
                  <a:pt x="229" y="171"/>
                  <a:pt x="229" y="171"/>
                  <a:pt x="229" y="170"/>
                </a:cubicBezTo>
                <a:cubicBezTo>
                  <a:pt x="229" y="169"/>
                  <a:pt x="227" y="171"/>
                  <a:pt x="227" y="169"/>
                </a:cubicBezTo>
                <a:cubicBezTo>
                  <a:pt x="226" y="171"/>
                  <a:pt x="228" y="171"/>
                  <a:pt x="228" y="172"/>
                </a:cubicBezTo>
                <a:cubicBezTo>
                  <a:pt x="228" y="172"/>
                  <a:pt x="228" y="172"/>
                  <a:pt x="229" y="172"/>
                </a:cubicBezTo>
                <a:cubicBezTo>
                  <a:pt x="229" y="172"/>
                  <a:pt x="229" y="172"/>
                  <a:pt x="229" y="172"/>
                </a:cubicBezTo>
                <a:cubicBezTo>
                  <a:pt x="229" y="173"/>
                  <a:pt x="229" y="173"/>
                  <a:pt x="229" y="173"/>
                </a:cubicBezTo>
                <a:cubicBezTo>
                  <a:pt x="230" y="174"/>
                  <a:pt x="232" y="175"/>
                  <a:pt x="231" y="176"/>
                </a:cubicBezTo>
                <a:cubicBezTo>
                  <a:pt x="231" y="176"/>
                  <a:pt x="231" y="176"/>
                  <a:pt x="231" y="176"/>
                </a:cubicBezTo>
                <a:cubicBezTo>
                  <a:pt x="231" y="178"/>
                  <a:pt x="231" y="178"/>
                  <a:pt x="231" y="180"/>
                </a:cubicBezTo>
                <a:cubicBezTo>
                  <a:pt x="230" y="183"/>
                  <a:pt x="233" y="182"/>
                  <a:pt x="232" y="184"/>
                </a:cubicBezTo>
                <a:cubicBezTo>
                  <a:pt x="232" y="184"/>
                  <a:pt x="231" y="184"/>
                  <a:pt x="231" y="184"/>
                </a:cubicBezTo>
                <a:cubicBezTo>
                  <a:pt x="231" y="184"/>
                  <a:pt x="231" y="184"/>
                  <a:pt x="231" y="184"/>
                </a:cubicBezTo>
                <a:cubicBezTo>
                  <a:pt x="229" y="184"/>
                  <a:pt x="229" y="187"/>
                  <a:pt x="228" y="186"/>
                </a:cubicBezTo>
                <a:cubicBezTo>
                  <a:pt x="228" y="186"/>
                  <a:pt x="228" y="187"/>
                  <a:pt x="228" y="187"/>
                </a:cubicBezTo>
                <a:cubicBezTo>
                  <a:pt x="227" y="187"/>
                  <a:pt x="227" y="187"/>
                  <a:pt x="226" y="188"/>
                </a:cubicBezTo>
                <a:cubicBezTo>
                  <a:pt x="227" y="188"/>
                  <a:pt x="227" y="188"/>
                  <a:pt x="227" y="189"/>
                </a:cubicBezTo>
                <a:cubicBezTo>
                  <a:pt x="228" y="189"/>
                  <a:pt x="228" y="189"/>
                  <a:pt x="228" y="189"/>
                </a:cubicBezTo>
                <a:cubicBezTo>
                  <a:pt x="228" y="189"/>
                  <a:pt x="228" y="189"/>
                  <a:pt x="228" y="189"/>
                </a:cubicBezTo>
                <a:cubicBezTo>
                  <a:pt x="229" y="190"/>
                  <a:pt x="229" y="190"/>
                  <a:pt x="230" y="190"/>
                </a:cubicBezTo>
                <a:cubicBezTo>
                  <a:pt x="230" y="191"/>
                  <a:pt x="230" y="191"/>
                  <a:pt x="230" y="191"/>
                </a:cubicBezTo>
                <a:cubicBezTo>
                  <a:pt x="230" y="192"/>
                  <a:pt x="232" y="193"/>
                  <a:pt x="232" y="194"/>
                </a:cubicBezTo>
                <a:cubicBezTo>
                  <a:pt x="232" y="194"/>
                  <a:pt x="232" y="194"/>
                  <a:pt x="233" y="194"/>
                </a:cubicBezTo>
                <a:cubicBezTo>
                  <a:pt x="233" y="195"/>
                  <a:pt x="234" y="195"/>
                  <a:pt x="234" y="195"/>
                </a:cubicBezTo>
                <a:cubicBezTo>
                  <a:pt x="234" y="195"/>
                  <a:pt x="234" y="196"/>
                  <a:pt x="234" y="196"/>
                </a:cubicBezTo>
                <a:cubicBezTo>
                  <a:pt x="234" y="197"/>
                  <a:pt x="236" y="198"/>
                  <a:pt x="236" y="199"/>
                </a:cubicBezTo>
                <a:cubicBezTo>
                  <a:pt x="236" y="199"/>
                  <a:pt x="236" y="199"/>
                  <a:pt x="236" y="199"/>
                </a:cubicBezTo>
                <a:cubicBezTo>
                  <a:pt x="237" y="199"/>
                  <a:pt x="237" y="200"/>
                  <a:pt x="238" y="200"/>
                </a:cubicBezTo>
                <a:cubicBezTo>
                  <a:pt x="238" y="200"/>
                  <a:pt x="238" y="200"/>
                  <a:pt x="238" y="200"/>
                </a:cubicBezTo>
                <a:cubicBezTo>
                  <a:pt x="238" y="201"/>
                  <a:pt x="239" y="201"/>
                  <a:pt x="239" y="202"/>
                </a:cubicBezTo>
                <a:cubicBezTo>
                  <a:pt x="238" y="202"/>
                  <a:pt x="238" y="204"/>
                  <a:pt x="238" y="205"/>
                </a:cubicBezTo>
                <a:cubicBezTo>
                  <a:pt x="239" y="205"/>
                  <a:pt x="239" y="205"/>
                  <a:pt x="240" y="205"/>
                </a:cubicBezTo>
                <a:cubicBezTo>
                  <a:pt x="240" y="205"/>
                  <a:pt x="240" y="205"/>
                  <a:pt x="240" y="205"/>
                </a:cubicBezTo>
                <a:cubicBezTo>
                  <a:pt x="241" y="205"/>
                  <a:pt x="242" y="206"/>
                  <a:pt x="243" y="207"/>
                </a:cubicBezTo>
                <a:cubicBezTo>
                  <a:pt x="243" y="207"/>
                  <a:pt x="243" y="207"/>
                  <a:pt x="243" y="207"/>
                </a:cubicBezTo>
                <a:cubicBezTo>
                  <a:pt x="244" y="208"/>
                  <a:pt x="245" y="209"/>
                  <a:pt x="244" y="210"/>
                </a:cubicBezTo>
                <a:cubicBezTo>
                  <a:pt x="244" y="211"/>
                  <a:pt x="244" y="211"/>
                  <a:pt x="244" y="211"/>
                </a:cubicBezTo>
                <a:cubicBezTo>
                  <a:pt x="243" y="211"/>
                  <a:pt x="243" y="211"/>
                  <a:pt x="242" y="211"/>
                </a:cubicBezTo>
                <a:cubicBezTo>
                  <a:pt x="243" y="212"/>
                  <a:pt x="242" y="213"/>
                  <a:pt x="242" y="213"/>
                </a:cubicBezTo>
                <a:cubicBezTo>
                  <a:pt x="243" y="213"/>
                  <a:pt x="244" y="213"/>
                  <a:pt x="244" y="212"/>
                </a:cubicBezTo>
                <a:cubicBezTo>
                  <a:pt x="245" y="212"/>
                  <a:pt x="245" y="210"/>
                  <a:pt x="246" y="212"/>
                </a:cubicBezTo>
                <a:cubicBezTo>
                  <a:pt x="246" y="213"/>
                  <a:pt x="245" y="214"/>
                  <a:pt x="245" y="216"/>
                </a:cubicBezTo>
                <a:cubicBezTo>
                  <a:pt x="245" y="217"/>
                  <a:pt x="246" y="217"/>
                  <a:pt x="247" y="217"/>
                </a:cubicBezTo>
                <a:cubicBezTo>
                  <a:pt x="247" y="217"/>
                  <a:pt x="248" y="218"/>
                  <a:pt x="248" y="219"/>
                </a:cubicBezTo>
                <a:cubicBezTo>
                  <a:pt x="248" y="220"/>
                  <a:pt x="247" y="219"/>
                  <a:pt x="247" y="220"/>
                </a:cubicBezTo>
                <a:cubicBezTo>
                  <a:pt x="247" y="221"/>
                  <a:pt x="246" y="221"/>
                  <a:pt x="246" y="222"/>
                </a:cubicBezTo>
                <a:cubicBezTo>
                  <a:pt x="247" y="222"/>
                  <a:pt x="247" y="222"/>
                  <a:pt x="248" y="222"/>
                </a:cubicBezTo>
                <a:cubicBezTo>
                  <a:pt x="248" y="222"/>
                  <a:pt x="248" y="222"/>
                  <a:pt x="248" y="222"/>
                </a:cubicBezTo>
                <a:cubicBezTo>
                  <a:pt x="249" y="221"/>
                  <a:pt x="250" y="221"/>
                  <a:pt x="252" y="221"/>
                </a:cubicBezTo>
                <a:cubicBezTo>
                  <a:pt x="252" y="221"/>
                  <a:pt x="252" y="222"/>
                  <a:pt x="252" y="222"/>
                </a:cubicBezTo>
                <a:cubicBezTo>
                  <a:pt x="252" y="222"/>
                  <a:pt x="252" y="222"/>
                  <a:pt x="252" y="222"/>
                </a:cubicBezTo>
                <a:cubicBezTo>
                  <a:pt x="252" y="223"/>
                  <a:pt x="254" y="223"/>
                  <a:pt x="254" y="224"/>
                </a:cubicBezTo>
                <a:cubicBezTo>
                  <a:pt x="254" y="224"/>
                  <a:pt x="254" y="225"/>
                  <a:pt x="254" y="225"/>
                </a:cubicBezTo>
                <a:cubicBezTo>
                  <a:pt x="254" y="225"/>
                  <a:pt x="255" y="226"/>
                  <a:pt x="255" y="226"/>
                </a:cubicBezTo>
                <a:cubicBezTo>
                  <a:pt x="257" y="226"/>
                  <a:pt x="258" y="228"/>
                  <a:pt x="260" y="228"/>
                </a:cubicBezTo>
                <a:cubicBezTo>
                  <a:pt x="260" y="227"/>
                  <a:pt x="261" y="227"/>
                  <a:pt x="262" y="227"/>
                </a:cubicBezTo>
                <a:cubicBezTo>
                  <a:pt x="262" y="226"/>
                  <a:pt x="263" y="226"/>
                  <a:pt x="263" y="224"/>
                </a:cubicBezTo>
                <a:cubicBezTo>
                  <a:pt x="262" y="224"/>
                  <a:pt x="263" y="223"/>
                  <a:pt x="263" y="223"/>
                </a:cubicBezTo>
                <a:cubicBezTo>
                  <a:pt x="265" y="223"/>
                  <a:pt x="265" y="223"/>
                  <a:pt x="266" y="224"/>
                </a:cubicBezTo>
                <a:cubicBezTo>
                  <a:pt x="267" y="224"/>
                  <a:pt x="267" y="224"/>
                  <a:pt x="267" y="224"/>
                </a:cubicBezTo>
                <a:cubicBezTo>
                  <a:pt x="268" y="224"/>
                  <a:pt x="269" y="225"/>
                  <a:pt x="270" y="226"/>
                </a:cubicBezTo>
                <a:cubicBezTo>
                  <a:pt x="270" y="226"/>
                  <a:pt x="270" y="226"/>
                  <a:pt x="270" y="227"/>
                </a:cubicBezTo>
                <a:cubicBezTo>
                  <a:pt x="271" y="227"/>
                  <a:pt x="272" y="227"/>
                  <a:pt x="272" y="227"/>
                </a:cubicBezTo>
                <a:cubicBezTo>
                  <a:pt x="272" y="227"/>
                  <a:pt x="272" y="227"/>
                  <a:pt x="272" y="228"/>
                </a:cubicBezTo>
                <a:cubicBezTo>
                  <a:pt x="272" y="228"/>
                  <a:pt x="272" y="228"/>
                  <a:pt x="272" y="228"/>
                </a:cubicBezTo>
                <a:cubicBezTo>
                  <a:pt x="273" y="229"/>
                  <a:pt x="273" y="228"/>
                  <a:pt x="273" y="228"/>
                </a:cubicBezTo>
                <a:cubicBezTo>
                  <a:pt x="273" y="227"/>
                  <a:pt x="273" y="226"/>
                  <a:pt x="275" y="226"/>
                </a:cubicBezTo>
                <a:cubicBezTo>
                  <a:pt x="276" y="227"/>
                  <a:pt x="277" y="228"/>
                  <a:pt x="278" y="228"/>
                </a:cubicBezTo>
                <a:cubicBezTo>
                  <a:pt x="278" y="229"/>
                  <a:pt x="278" y="229"/>
                  <a:pt x="279" y="229"/>
                </a:cubicBezTo>
                <a:cubicBezTo>
                  <a:pt x="279" y="231"/>
                  <a:pt x="281" y="231"/>
                  <a:pt x="282" y="232"/>
                </a:cubicBezTo>
                <a:cubicBezTo>
                  <a:pt x="282" y="232"/>
                  <a:pt x="282" y="232"/>
                  <a:pt x="282" y="232"/>
                </a:cubicBezTo>
                <a:cubicBezTo>
                  <a:pt x="283" y="233"/>
                  <a:pt x="282" y="235"/>
                  <a:pt x="284" y="235"/>
                </a:cubicBezTo>
                <a:cubicBezTo>
                  <a:pt x="284" y="235"/>
                  <a:pt x="284" y="235"/>
                  <a:pt x="285" y="235"/>
                </a:cubicBezTo>
                <a:cubicBezTo>
                  <a:pt x="285" y="235"/>
                  <a:pt x="286" y="235"/>
                  <a:pt x="286" y="235"/>
                </a:cubicBezTo>
                <a:cubicBezTo>
                  <a:pt x="290" y="235"/>
                  <a:pt x="292" y="237"/>
                  <a:pt x="295" y="235"/>
                </a:cubicBezTo>
                <a:cubicBezTo>
                  <a:pt x="295" y="235"/>
                  <a:pt x="295" y="234"/>
                  <a:pt x="295" y="234"/>
                </a:cubicBezTo>
                <a:cubicBezTo>
                  <a:pt x="298" y="235"/>
                  <a:pt x="298" y="233"/>
                  <a:pt x="300" y="233"/>
                </a:cubicBezTo>
                <a:cubicBezTo>
                  <a:pt x="302" y="234"/>
                  <a:pt x="303" y="236"/>
                  <a:pt x="306" y="236"/>
                </a:cubicBezTo>
                <a:cubicBezTo>
                  <a:pt x="306" y="236"/>
                  <a:pt x="306" y="235"/>
                  <a:pt x="307" y="235"/>
                </a:cubicBezTo>
                <a:cubicBezTo>
                  <a:pt x="307" y="235"/>
                  <a:pt x="308" y="235"/>
                  <a:pt x="309" y="235"/>
                </a:cubicBezTo>
                <a:cubicBezTo>
                  <a:pt x="308" y="232"/>
                  <a:pt x="309" y="230"/>
                  <a:pt x="309" y="228"/>
                </a:cubicBezTo>
                <a:cubicBezTo>
                  <a:pt x="311" y="227"/>
                  <a:pt x="314" y="228"/>
                  <a:pt x="314" y="225"/>
                </a:cubicBezTo>
                <a:cubicBezTo>
                  <a:pt x="315" y="225"/>
                  <a:pt x="315" y="224"/>
                  <a:pt x="314" y="224"/>
                </a:cubicBezTo>
                <a:cubicBezTo>
                  <a:pt x="314" y="224"/>
                  <a:pt x="314" y="223"/>
                  <a:pt x="314" y="223"/>
                </a:cubicBezTo>
                <a:cubicBezTo>
                  <a:pt x="314" y="221"/>
                  <a:pt x="313" y="221"/>
                  <a:pt x="313" y="219"/>
                </a:cubicBezTo>
                <a:cubicBezTo>
                  <a:pt x="309" y="219"/>
                  <a:pt x="308" y="216"/>
                  <a:pt x="309" y="212"/>
                </a:cubicBezTo>
                <a:cubicBezTo>
                  <a:pt x="309" y="211"/>
                  <a:pt x="308" y="211"/>
                  <a:pt x="308" y="211"/>
                </a:cubicBezTo>
                <a:cubicBezTo>
                  <a:pt x="306" y="211"/>
                  <a:pt x="305" y="211"/>
                  <a:pt x="305" y="210"/>
                </a:cubicBezTo>
                <a:cubicBezTo>
                  <a:pt x="305" y="209"/>
                  <a:pt x="305" y="209"/>
                  <a:pt x="304" y="209"/>
                </a:cubicBezTo>
                <a:cubicBezTo>
                  <a:pt x="304" y="208"/>
                  <a:pt x="304" y="208"/>
                  <a:pt x="304" y="207"/>
                </a:cubicBezTo>
                <a:cubicBezTo>
                  <a:pt x="303" y="207"/>
                  <a:pt x="302" y="207"/>
                  <a:pt x="302" y="208"/>
                </a:cubicBezTo>
                <a:cubicBezTo>
                  <a:pt x="300" y="208"/>
                  <a:pt x="304" y="208"/>
                  <a:pt x="302" y="210"/>
                </a:cubicBezTo>
                <a:cubicBezTo>
                  <a:pt x="301" y="210"/>
                  <a:pt x="298" y="211"/>
                  <a:pt x="298" y="210"/>
                </a:cubicBezTo>
                <a:cubicBezTo>
                  <a:pt x="296" y="210"/>
                  <a:pt x="295" y="210"/>
                  <a:pt x="295" y="211"/>
                </a:cubicBezTo>
                <a:cubicBezTo>
                  <a:pt x="296" y="211"/>
                  <a:pt x="297" y="211"/>
                  <a:pt x="297" y="212"/>
                </a:cubicBezTo>
                <a:cubicBezTo>
                  <a:pt x="297" y="212"/>
                  <a:pt x="296" y="212"/>
                  <a:pt x="296" y="212"/>
                </a:cubicBezTo>
                <a:cubicBezTo>
                  <a:pt x="296" y="212"/>
                  <a:pt x="295" y="212"/>
                  <a:pt x="295" y="212"/>
                </a:cubicBezTo>
                <a:cubicBezTo>
                  <a:pt x="294" y="213"/>
                  <a:pt x="294" y="212"/>
                  <a:pt x="293" y="212"/>
                </a:cubicBezTo>
                <a:cubicBezTo>
                  <a:pt x="292" y="211"/>
                  <a:pt x="292" y="210"/>
                  <a:pt x="290" y="210"/>
                </a:cubicBezTo>
                <a:cubicBezTo>
                  <a:pt x="290" y="209"/>
                  <a:pt x="287" y="210"/>
                  <a:pt x="287" y="208"/>
                </a:cubicBezTo>
                <a:cubicBezTo>
                  <a:pt x="286" y="208"/>
                  <a:pt x="285" y="207"/>
                  <a:pt x="284" y="207"/>
                </a:cubicBezTo>
                <a:cubicBezTo>
                  <a:pt x="283" y="206"/>
                  <a:pt x="283" y="205"/>
                  <a:pt x="282" y="205"/>
                </a:cubicBezTo>
                <a:cubicBezTo>
                  <a:pt x="282" y="203"/>
                  <a:pt x="280" y="203"/>
                  <a:pt x="280" y="202"/>
                </a:cubicBezTo>
                <a:cubicBezTo>
                  <a:pt x="278" y="202"/>
                  <a:pt x="277" y="203"/>
                  <a:pt x="275" y="203"/>
                </a:cubicBezTo>
                <a:cubicBezTo>
                  <a:pt x="275" y="201"/>
                  <a:pt x="275" y="201"/>
                  <a:pt x="274" y="201"/>
                </a:cubicBezTo>
                <a:cubicBezTo>
                  <a:pt x="274" y="199"/>
                  <a:pt x="273" y="199"/>
                  <a:pt x="272" y="198"/>
                </a:cubicBezTo>
                <a:cubicBezTo>
                  <a:pt x="272" y="196"/>
                  <a:pt x="270" y="196"/>
                  <a:pt x="270" y="193"/>
                </a:cubicBezTo>
                <a:cubicBezTo>
                  <a:pt x="271" y="193"/>
                  <a:pt x="273" y="193"/>
                  <a:pt x="273" y="194"/>
                </a:cubicBezTo>
                <a:cubicBezTo>
                  <a:pt x="274" y="193"/>
                  <a:pt x="275" y="193"/>
                  <a:pt x="276" y="192"/>
                </a:cubicBezTo>
                <a:cubicBezTo>
                  <a:pt x="276" y="190"/>
                  <a:pt x="275" y="189"/>
                  <a:pt x="275" y="187"/>
                </a:cubicBezTo>
                <a:cubicBezTo>
                  <a:pt x="275" y="185"/>
                  <a:pt x="273" y="185"/>
                  <a:pt x="273" y="183"/>
                </a:cubicBezTo>
                <a:cubicBezTo>
                  <a:pt x="274" y="181"/>
                  <a:pt x="276" y="181"/>
                  <a:pt x="277" y="180"/>
                </a:cubicBezTo>
                <a:cubicBezTo>
                  <a:pt x="281" y="181"/>
                  <a:pt x="282" y="179"/>
                  <a:pt x="285" y="179"/>
                </a:cubicBezTo>
                <a:cubicBezTo>
                  <a:pt x="287" y="179"/>
                  <a:pt x="289" y="181"/>
                  <a:pt x="292" y="181"/>
                </a:cubicBezTo>
                <a:cubicBezTo>
                  <a:pt x="292" y="181"/>
                  <a:pt x="292" y="181"/>
                  <a:pt x="292" y="181"/>
                </a:cubicBezTo>
                <a:cubicBezTo>
                  <a:pt x="293" y="182"/>
                  <a:pt x="294" y="183"/>
                  <a:pt x="294" y="184"/>
                </a:cubicBezTo>
                <a:cubicBezTo>
                  <a:pt x="294" y="184"/>
                  <a:pt x="294" y="184"/>
                  <a:pt x="294" y="184"/>
                </a:cubicBezTo>
                <a:cubicBezTo>
                  <a:pt x="294" y="184"/>
                  <a:pt x="294" y="184"/>
                  <a:pt x="294" y="185"/>
                </a:cubicBezTo>
                <a:cubicBezTo>
                  <a:pt x="295" y="184"/>
                  <a:pt x="296" y="185"/>
                  <a:pt x="297" y="185"/>
                </a:cubicBezTo>
                <a:cubicBezTo>
                  <a:pt x="298" y="185"/>
                  <a:pt x="298" y="187"/>
                  <a:pt x="300" y="187"/>
                </a:cubicBezTo>
                <a:cubicBezTo>
                  <a:pt x="304" y="187"/>
                  <a:pt x="304" y="187"/>
                  <a:pt x="304" y="187"/>
                </a:cubicBezTo>
                <a:cubicBezTo>
                  <a:pt x="303" y="186"/>
                  <a:pt x="307" y="186"/>
                  <a:pt x="307" y="187"/>
                </a:cubicBezTo>
                <a:cubicBezTo>
                  <a:pt x="307" y="189"/>
                  <a:pt x="305" y="188"/>
                  <a:pt x="305" y="189"/>
                </a:cubicBezTo>
                <a:cubicBezTo>
                  <a:pt x="305" y="190"/>
                  <a:pt x="304" y="190"/>
                  <a:pt x="304" y="191"/>
                </a:cubicBezTo>
                <a:cubicBezTo>
                  <a:pt x="304" y="191"/>
                  <a:pt x="303" y="192"/>
                  <a:pt x="303" y="192"/>
                </a:cubicBezTo>
                <a:cubicBezTo>
                  <a:pt x="303" y="193"/>
                  <a:pt x="303" y="193"/>
                  <a:pt x="304" y="193"/>
                </a:cubicBezTo>
                <a:cubicBezTo>
                  <a:pt x="305" y="193"/>
                  <a:pt x="304" y="192"/>
                  <a:pt x="304" y="192"/>
                </a:cubicBezTo>
                <a:cubicBezTo>
                  <a:pt x="305" y="191"/>
                  <a:pt x="305" y="191"/>
                  <a:pt x="305" y="191"/>
                </a:cubicBezTo>
                <a:cubicBezTo>
                  <a:pt x="306" y="191"/>
                  <a:pt x="306" y="189"/>
                  <a:pt x="308" y="189"/>
                </a:cubicBezTo>
                <a:cubicBezTo>
                  <a:pt x="308" y="189"/>
                  <a:pt x="308" y="189"/>
                  <a:pt x="308" y="189"/>
                </a:cubicBezTo>
                <a:cubicBezTo>
                  <a:pt x="309" y="189"/>
                  <a:pt x="310" y="190"/>
                  <a:pt x="311" y="190"/>
                </a:cubicBezTo>
                <a:cubicBezTo>
                  <a:pt x="311" y="189"/>
                  <a:pt x="311" y="189"/>
                  <a:pt x="311" y="189"/>
                </a:cubicBezTo>
                <a:cubicBezTo>
                  <a:pt x="310" y="189"/>
                  <a:pt x="309" y="189"/>
                  <a:pt x="309" y="188"/>
                </a:cubicBezTo>
                <a:cubicBezTo>
                  <a:pt x="309" y="188"/>
                  <a:pt x="307" y="186"/>
                  <a:pt x="309" y="186"/>
                </a:cubicBezTo>
                <a:cubicBezTo>
                  <a:pt x="309" y="186"/>
                  <a:pt x="310" y="185"/>
                  <a:pt x="310" y="186"/>
                </a:cubicBezTo>
                <a:cubicBezTo>
                  <a:pt x="311" y="186"/>
                  <a:pt x="311" y="187"/>
                  <a:pt x="313" y="187"/>
                </a:cubicBezTo>
                <a:cubicBezTo>
                  <a:pt x="318" y="184"/>
                  <a:pt x="323" y="185"/>
                  <a:pt x="329" y="185"/>
                </a:cubicBezTo>
                <a:cubicBezTo>
                  <a:pt x="331" y="186"/>
                  <a:pt x="332" y="188"/>
                  <a:pt x="334" y="188"/>
                </a:cubicBezTo>
                <a:cubicBezTo>
                  <a:pt x="335" y="187"/>
                  <a:pt x="335" y="187"/>
                  <a:pt x="336" y="187"/>
                </a:cubicBezTo>
                <a:cubicBezTo>
                  <a:pt x="336" y="187"/>
                  <a:pt x="336" y="186"/>
                  <a:pt x="336" y="186"/>
                </a:cubicBezTo>
                <a:cubicBezTo>
                  <a:pt x="337" y="186"/>
                  <a:pt x="337" y="186"/>
                  <a:pt x="337" y="186"/>
                </a:cubicBezTo>
                <a:cubicBezTo>
                  <a:pt x="337" y="184"/>
                  <a:pt x="337" y="183"/>
                  <a:pt x="337" y="182"/>
                </a:cubicBezTo>
                <a:cubicBezTo>
                  <a:pt x="337" y="182"/>
                  <a:pt x="337" y="182"/>
                  <a:pt x="337" y="182"/>
                </a:cubicBezTo>
                <a:cubicBezTo>
                  <a:pt x="337" y="181"/>
                  <a:pt x="338" y="181"/>
                  <a:pt x="338" y="181"/>
                </a:cubicBezTo>
                <a:cubicBezTo>
                  <a:pt x="338" y="182"/>
                  <a:pt x="339" y="181"/>
                  <a:pt x="339" y="182"/>
                </a:cubicBezTo>
                <a:cubicBezTo>
                  <a:pt x="339" y="182"/>
                  <a:pt x="339" y="182"/>
                  <a:pt x="339" y="182"/>
                </a:cubicBezTo>
                <a:cubicBezTo>
                  <a:pt x="340" y="183"/>
                  <a:pt x="342" y="182"/>
                  <a:pt x="343" y="182"/>
                </a:cubicBezTo>
                <a:cubicBezTo>
                  <a:pt x="343" y="184"/>
                  <a:pt x="345" y="184"/>
                  <a:pt x="346" y="185"/>
                </a:cubicBezTo>
                <a:cubicBezTo>
                  <a:pt x="346" y="185"/>
                  <a:pt x="346" y="185"/>
                  <a:pt x="346" y="185"/>
                </a:cubicBezTo>
                <a:cubicBezTo>
                  <a:pt x="346" y="184"/>
                  <a:pt x="346" y="184"/>
                  <a:pt x="346" y="184"/>
                </a:cubicBezTo>
                <a:cubicBezTo>
                  <a:pt x="346" y="184"/>
                  <a:pt x="346" y="184"/>
                  <a:pt x="346" y="184"/>
                </a:cubicBezTo>
                <a:cubicBezTo>
                  <a:pt x="346" y="184"/>
                  <a:pt x="346" y="184"/>
                  <a:pt x="346" y="184"/>
                </a:cubicBezTo>
                <a:cubicBezTo>
                  <a:pt x="345" y="183"/>
                  <a:pt x="345" y="183"/>
                  <a:pt x="345" y="183"/>
                </a:cubicBezTo>
                <a:cubicBezTo>
                  <a:pt x="344" y="183"/>
                  <a:pt x="344" y="181"/>
                  <a:pt x="342" y="182"/>
                </a:cubicBezTo>
                <a:cubicBezTo>
                  <a:pt x="343" y="180"/>
                  <a:pt x="340" y="180"/>
                  <a:pt x="341" y="178"/>
                </a:cubicBezTo>
                <a:cubicBezTo>
                  <a:pt x="341" y="178"/>
                  <a:pt x="342" y="178"/>
                  <a:pt x="342" y="178"/>
                </a:cubicBezTo>
                <a:cubicBezTo>
                  <a:pt x="342" y="178"/>
                  <a:pt x="342" y="179"/>
                  <a:pt x="342" y="179"/>
                </a:cubicBezTo>
                <a:cubicBezTo>
                  <a:pt x="342" y="179"/>
                  <a:pt x="343" y="180"/>
                  <a:pt x="343" y="180"/>
                </a:cubicBezTo>
                <a:cubicBezTo>
                  <a:pt x="343" y="180"/>
                  <a:pt x="344" y="180"/>
                  <a:pt x="344" y="180"/>
                </a:cubicBezTo>
                <a:cubicBezTo>
                  <a:pt x="345" y="180"/>
                  <a:pt x="345" y="180"/>
                  <a:pt x="346" y="179"/>
                </a:cubicBezTo>
                <a:cubicBezTo>
                  <a:pt x="346" y="179"/>
                  <a:pt x="346" y="179"/>
                  <a:pt x="346" y="179"/>
                </a:cubicBezTo>
                <a:cubicBezTo>
                  <a:pt x="345" y="179"/>
                  <a:pt x="344" y="178"/>
                  <a:pt x="344" y="178"/>
                </a:cubicBezTo>
                <a:cubicBezTo>
                  <a:pt x="342" y="178"/>
                  <a:pt x="340" y="176"/>
                  <a:pt x="342" y="176"/>
                </a:cubicBezTo>
                <a:cubicBezTo>
                  <a:pt x="343" y="176"/>
                  <a:pt x="343" y="176"/>
                  <a:pt x="343" y="175"/>
                </a:cubicBezTo>
                <a:cubicBezTo>
                  <a:pt x="343" y="175"/>
                  <a:pt x="344" y="175"/>
                  <a:pt x="344" y="175"/>
                </a:cubicBezTo>
                <a:cubicBezTo>
                  <a:pt x="344" y="175"/>
                  <a:pt x="345" y="175"/>
                  <a:pt x="345" y="174"/>
                </a:cubicBezTo>
                <a:cubicBezTo>
                  <a:pt x="344" y="174"/>
                  <a:pt x="344" y="173"/>
                  <a:pt x="345" y="173"/>
                </a:cubicBezTo>
                <a:cubicBezTo>
                  <a:pt x="345" y="173"/>
                  <a:pt x="346" y="174"/>
                  <a:pt x="346" y="174"/>
                </a:cubicBezTo>
                <a:cubicBezTo>
                  <a:pt x="346" y="175"/>
                  <a:pt x="346" y="175"/>
                  <a:pt x="347" y="175"/>
                </a:cubicBezTo>
                <a:cubicBezTo>
                  <a:pt x="347" y="175"/>
                  <a:pt x="347" y="174"/>
                  <a:pt x="347" y="174"/>
                </a:cubicBezTo>
                <a:cubicBezTo>
                  <a:pt x="347" y="174"/>
                  <a:pt x="347" y="174"/>
                  <a:pt x="347" y="174"/>
                </a:cubicBezTo>
                <a:cubicBezTo>
                  <a:pt x="347" y="174"/>
                  <a:pt x="347" y="173"/>
                  <a:pt x="346" y="173"/>
                </a:cubicBezTo>
                <a:cubicBezTo>
                  <a:pt x="346" y="173"/>
                  <a:pt x="345" y="173"/>
                  <a:pt x="345" y="173"/>
                </a:cubicBezTo>
                <a:cubicBezTo>
                  <a:pt x="345" y="172"/>
                  <a:pt x="345" y="171"/>
                  <a:pt x="344" y="171"/>
                </a:cubicBezTo>
                <a:cubicBezTo>
                  <a:pt x="344" y="171"/>
                  <a:pt x="344" y="170"/>
                  <a:pt x="344" y="170"/>
                </a:cubicBezTo>
                <a:cubicBezTo>
                  <a:pt x="343" y="170"/>
                  <a:pt x="343" y="170"/>
                  <a:pt x="343" y="170"/>
                </a:cubicBezTo>
                <a:cubicBezTo>
                  <a:pt x="343" y="168"/>
                  <a:pt x="342" y="168"/>
                  <a:pt x="341" y="167"/>
                </a:cubicBezTo>
                <a:cubicBezTo>
                  <a:pt x="341" y="167"/>
                  <a:pt x="341" y="167"/>
                  <a:pt x="341" y="167"/>
                </a:cubicBezTo>
                <a:cubicBezTo>
                  <a:pt x="341" y="166"/>
                  <a:pt x="340" y="166"/>
                  <a:pt x="340" y="166"/>
                </a:cubicBezTo>
                <a:cubicBezTo>
                  <a:pt x="340" y="166"/>
                  <a:pt x="339" y="166"/>
                  <a:pt x="339" y="166"/>
                </a:cubicBezTo>
                <a:cubicBezTo>
                  <a:pt x="339" y="166"/>
                  <a:pt x="339" y="166"/>
                  <a:pt x="339" y="166"/>
                </a:cubicBezTo>
                <a:cubicBezTo>
                  <a:pt x="339" y="167"/>
                  <a:pt x="339" y="167"/>
                  <a:pt x="339" y="167"/>
                </a:cubicBezTo>
                <a:cubicBezTo>
                  <a:pt x="339" y="167"/>
                  <a:pt x="340" y="167"/>
                  <a:pt x="340" y="167"/>
                </a:cubicBezTo>
                <a:cubicBezTo>
                  <a:pt x="340" y="168"/>
                  <a:pt x="340" y="168"/>
                  <a:pt x="341" y="168"/>
                </a:cubicBezTo>
                <a:cubicBezTo>
                  <a:pt x="342" y="168"/>
                  <a:pt x="343" y="168"/>
                  <a:pt x="342" y="170"/>
                </a:cubicBezTo>
                <a:cubicBezTo>
                  <a:pt x="343" y="170"/>
                  <a:pt x="343" y="170"/>
                  <a:pt x="343" y="170"/>
                </a:cubicBezTo>
                <a:cubicBezTo>
                  <a:pt x="343" y="171"/>
                  <a:pt x="343" y="171"/>
                  <a:pt x="342" y="171"/>
                </a:cubicBezTo>
                <a:cubicBezTo>
                  <a:pt x="340" y="171"/>
                  <a:pt x="340" y="170"/>
                  <a:pt x="339" y="170"/>
                </a:cubicBezTo>
                <a:cubicBezTo>
                  <a:pt x="338" y="169"/>
                  <a:pt x="336" y="169"/>
                  <a:pt x="336" y="168"/>
                </a:cubicBezTo>
                <a:cubicBezTo>
                  <a:pt x="335" y="166"/>
                  <a:pt x="338" y="166"/>
                  <a:pt x="338" y="165"/>
                </a:cubicBezTo>
                <a:cubicBezTo>
                  <a:pt x="337" y="165"/>
                  <a:pt x="337" y="164"/>
                  <a:pt x="337" y="164"/>
                </a:cubicBezTo>
                <a:cubicBezTo>
                  <a:pt x="336" y="164"/>
                  <a:pt x="335" y="164"/>
                  <a:pt x="334" y="164"/>
                </a:cubicBezTo>
                <a:cubicBezTo>
                  <a:pt x="333" y="163"/>
                  <a:pt x="332" y="162"/>
                  <a:pt x="330" y="162"/>
                </a:cubicBezTo>
                <a:cubicBezTo>
                  <a:pt x="329" y="160"/>
                  <a:pt x="327" y="159"/>
                  <a:pt x="326" y="157"/>
                </a:cubicBezTo>
                <a:cubicBezTo>
                  <a:pt x="324" y="157"/>
                  <a:pt x="323" y="157"/>
                  <a:pt x="322" y="156"/>
                </a:cubicBezTo>
                <a:cubicBezTo>
                  <a:pt x="321" y="155"/>
                  <a:pt x="320" y="153"/>
                  <a:pt x="320" y="152"/>
                </a:cubicBezTo>
                <a:cubicBezTo>
                  <a:pt x="320" y="151"/>
                  <a:pt x="320" y="150"/>
                  <a:pt x="320" y="150"/>
                </a:cubicBezTo>
                <a:cubicBezTo>
                  <a:pt x="320" y="149"/>
                  <a:pt x="319" y="149"/>
                  <a:pt x="319" y="149"/>
                </a:cubicBezTo>
                <a:cubicBezTo>
                  <a:pt x="318" y="147"/>
                  <a:pt x="320" y="145"/>
                  <a:pt x="319" y="143"/>
                </a:cubicBezTo>
                <a:cubicBezTo>
                  <a:pt x="320" y="143"/>
                  <a:pt x="320" y="142"/>
                  <a:pt x="320" y="141"/>
                </a:cubicBezTo>
                <a:cubicBezTo>
                  <a:pt x="320" y="141"/>
                  <a:pt x="321" y="141"/>
                  <a:pt x="321" y="140"/>
                </a:cubicBezTo>
                <a:cubicBezTo>
                  <a:pt x="321" y="139"/>
                  <a:pt x="322" y="140"/>
                  <a:pt x="322" y="139"/>
                </a:cubicBezTo>
                <a:cubicBezTo>
                  <a:pt x="322" y="138"/>
                  <a:pt x="323" y="137"/>
                  <a:pt x="323" y="136"/>
                </a:cubicBezTo>
                <a:cubicBezTo>
                  <a:pt x="324" y="136"/>
                  <a:pt x="324" y="136"/>
                  <a:pt x="324" y="135"/>
                </a:cubicBezTo>
                <a:cubicBezTo>
                  <a:pt x="325" y="135"/>
                  <a:pt x="326" y="133"/>
                  <a:pt x="326" y="132"/>
                </a:cubicBezTo>
                <a:cubicBezTo>
                  <a:pt x="327" y="132"/>
                  <a:pt x="327" y="130"/>
                  <a:pt x="327" y="130"/>
                </a:cubicBezTo>
                <a:cubicBezTo>
                  <a:pt x="328" y="126"/>
                  <a:pt x="329" y="123"/>
                  <a:pt x="329" y="119"/>
                </a:cubicBezTo>
                <a:cubicBezTo>
                  <a:pt x="330" y="118"/>
                  <a:pt x="331" y="118"/>
                  <a:pt x="332" y="116"/>
                </a:cubicBezTo>
                <a:cubicBezTo>
                  <a:pt x="333" y="116"/>
                  <a:pt x="332" y="115"/>
                  <a:pt x="333" y="115"/>
                </a:cubicBezTo>
                <a:cubicBezTo>
                  <a:pt x="333" y="114"/>
                  <a:pt x="333" y="114"/>
                  <a:pt x="334" y="114"/>
                </a:cubicBezTo>
                <a:cubicBezTo>
                  <a:pt x="334" y="114"/>
                  <a:pt x="334" y="113"/>
                  <a:pt x="334" y="113"/>
                </a:cubicBezTo>
                <a:cubicBezTo>
                  <a:pt x="335" y="112"/>
                  <a:pt x="336" y="112"/>
                  <a:pt x="337" y="111"/>
                </a:cubicBezTo>
                <a:cubicBezTo>
                  <a:pt x="337" y="111"/>
                  <a:pt x="337" y="111"/>
                  <a:pt x="337" y="111"/>
                </a:cubicBezTo>
                <a:cubicBezTo>
                  <a:pt x="337" y="111"/>
                  <a:pt x="339" y="111"/>
                  <a:pt x="339" y="108"/>
                </a:cubicBezTo>
                <a:cubicBezTo>
                  <a:pt x="339" y="108"/>
                  <a:pt x="339" y="108"/>
                  <a:pt x="339" y="108"/>
                </a:cubicBezTo>
                <a:cubicBezTo>
                  <a:pt x="339" y="106"/>
                  <a:pt x="340" y="104"/>
                  <a:pt x="341" y="102"/>
                </a:cubicBezTo>
                <a:cubicBezTo>
                  <a:pt x="341" y="99"/>
                  <a:pt x="341" y="96"/>
                  <a:pt x="342" y="93"/>
                </a:cubicBezTo>
                <a:cubicBezTo>
                  <a:pt x="342" y="88"/>
                  <a:pt x="342" y="88"/>
                  <a:pt x="342" y="88"/>
                </a:cubicBezTo>
                <a:cubicBezTo>
                  <a:pt x="343" y="88"/>
                  <a:pt x="343" y="87"/>
                  <a:pt x="343" y="86"/>
                </a:cubicBezTo>
                <a:cubicBezTo>
                  <a:pt x="344" y="86"/>
                  <a:pt x="343" y="85"/>
                  <a:pt x="344" y="85"/>
                </a:cubicBezTo>
                <a:cubicBezTo>
                  <a:pt x="346" y="85"/>
                  <a:pt x="347" y="86"/>
                  <a:pt x="350" y="86"/>
                </a:cubicBezTo>
                <a:cubicBezTo>
                  <a:pt x="349" y="88"/>
                  <a:pt x="353" y="85"/>
                  <a:pt x="353" y="87"/>
                </a:cubicBezTo>
                <a:cubicBezTo>
                  <a:pt x="352" y="87"/>
                  <a:pt x="352" y="88"/>
                  <a:pt x="353" y="88"/>
                </a:cubicBezTo>
                <a:cubicBezTo>
                  <a:pt x="353" y="88"/>
                  <a:pt x="353" y="88"/>
                  <a:pt x="353" y="88"/>
                </a:cubicBezTo>
                <a:cubicBezTo>
                  <a:pt x="354" y="86"/>
                  <a:pt x="357" y="85"/>
                  <a:pt x="360" y="85"/>
                </a:cubicBezTo>
                <a:cubicBezTo>
                  <a:pt x="360" y="85"/>
                  <a:pt x="360" y="85"/>
                  <a:pt x="360" y="84"/>
                </a:cubicBezTo>
                <a:cubicBezTo>
                  <a:pt x="362" y="83"/>
                  <a:pt x="362" y="83"/>
                  <a:pt x="363" y="83"/>
                </a:cubicBezTo>
                <a:cubicBezTo>
                  <a:pt x="363" y="83"/>
                  <a:pt x="363" y="84"/>
                  <a:pt x="363" y="84"/>
                </a:cubicBezTo>
                <a:cubicBezTo>
                  <a:pt x="363" y="84"/>
                  <a:pt x="365" y="83"/>
                  <a:pt x="365" y="84"/>
                </a:cubicBezTo>
                <a:cubicBezTo>
                  <a:pt x="366" y="84"/>
                  <a:pt x="366" y="84"/>
                  <a:pt x="367" y="85"/>
                </a:cubicBezTo>
                <a:cubicBezTo>
                  <a:pt x="367" y="86"/>
                  <a:pt x="367" y="85"/>
                  <a:pt x="367" y="85"/>
                </a:cubicBezTo>
                <a:cubicBezTo>
                  <a:pt x="371" y="85"/>
                  <a:pt x="371" y="85"/>
                  <a:pt x="371" y="85"/>
                </a:cubicBezTo>
                <a:cubicBezTo>
                  <a:pt x="371" y="86"/>
                  <a:pt x="372" y="86"/>
                  <a:pt x="372" y="86"/>
                </a:cubicBezTo>
                <a:cubicBezTo>
                  <a:pt x="372" y="86"/>
                  <a:pt x="373" y="86"/>
                  <a:pt x="373" y="87"/>
                </a:cubicBezTo>
                <a:cubicBezTo>
                  <a:pt x="373" y="87"/>
                  <a:pt x="374" y="87"/>
                  <a:pt x="374" y="88"/>
                </a:cubicBezTo>
                <a:cubicBezTo>
                  <a:pt x="374" y="89"/>
                  <a:pt x="373" y="89"/>
                  <a:pt x="373" y="91"/>
                </a:cubicBezTo>
                <a:cubicBezTo>
                  <a:pt x="373" y="91"/>
                  <a:pt x="372" y="91"/>
                  <a:pt x="372" y="93"/>
                </a:cubicBezTo>
                <a:cubicBezTo>
                  <a:pt x="372" y="96"/>
                  <a:pt x="372" y="96"/>
                  <a:pt x="372" y="96"/>
                </a:cubicBezTo>
                <a:cubicBezTo>
                  <a:pt x="370" y="96"/>
                  <a:pt x="372" y="98"/>
                  <a:pt x="373" y="97"/>
                </a:cubicBezTo>
                <a:cubicBezTo>
                  <a:pt x="374" y="97"/>
                  <a:pt x="374" y="97"/>
                  <a:pt x="373" y="97"/>
                </a:cubicBezTo>
                <a:cubicBezTo>
                  <a:pt x="374" y="95"/>
                  <a:pt x="373" y="95"/>
                  <a:pt x="373" y="94"/>
                </a:cubicBezTo>
                <a:cubicBezTo>
                  <a:pt x="374" y="94"/>
                  <a:pt x="374" y="92"/>
                  <a:pt x="374" y="91"/>
                </a:cubicBezTo>
                <a:cubicBezTo>
                  <a:pt x="374" y="91"/>
                  <a:pt x="375" y="91"/>
                  <a:pt x="375" y="91"/>
                </a:cubicBezTo>
                <a:cubicBezTo>
                  <a:pt x="375" y="91"/>
                  <a:pt x="375" y="90"/>
                  <a:pt x="375" y="90"/>
                </a:cubicBezTo>
                <a:cubicBezTo>
                  <a:pt x="375" y="89"/>
                  <a:pt x="376" y="90"/>
                  <a:pt x="376" y="89"/>
                </a:cubicBezTo>
                <a:cubicBezTo>
                  <a:pt x="378" y="89"/>
                  <a:pt x="379" y="89"/>
                  <a:pt x="380" y="89"/>
                </a:cubicBezTo>
                <a:cubicBezTo>
                  <a:pt x="380" y="89"/>
                  <a:pt x="380" y="89"/>
                  <a:pt x="380" y="89"/>
                </a:cubicBezTo>
                <a:cubicBezTo>
                  <a:pt x="372" y="79"/>
                  <a:pt x="372" y="79"/>
                  <a:pt x="372" y="79"/>
                </a:cubicBezTo>
                <a:cubicBezTo>
                  <a:pt x="380" y="85"/>
                  <a:pt x="380" y="85"/>
                  <a:pt x="380" y="85"/>
                </a:cubicBezTo>
                <a:cubicBezTo>
                  <a:pt x="380" y="87"/>
                  <a:pt x="382" y="88"/>
                  <a:pt x="383" y="90"/>
                </a:cubicBezTo>
                <a:cubicBezTo>
                  <a:pt x="384" y="90"/>
                  <a:pt x="385" y="92"/>
                  <a:pt x="385" y="94"/>
                </a:cubicBezTo>
                <a:cubicBezTo>
                  <a:pt x="385" y="94"/>
                  <a:pt x="385" y="94"/>
                  <a:pt x="385" y="94"/>
                </a:cubicBezTo>
                <a:cubicBezTo>
                  <a:pt x="384" y="94"/>
                  <a:pt x="384" y="94"/>
                  <a:pt x="384" y="93"/>
                </a:cubicBezTo>
                <a:cubicBezTo>
                  <a:pt x="383" y="93"/>
                  <a:pt x="383" y="93"/>
                  <a:pt x="383" y="93"/>
                </a:cubicBezTo>
                <a:cubicBezTo>
                  <a:pt x="384" y="100"/>
                  <a:pt x="384" y="100"/>
                  <a:pt x="384" y="100"/>
                </a:cubicBezTo>
                <a:cubicBezTo>
                  <a:pt x="387" y="100"/>
                  <a:pt x="387" y="100"/>
                  <a:pt x="387" y="100"/>
                </a:cubicBezTo>
                <a:cubicBezTo>
                  <a:pt x="392" y="100"/>
                  <a:pt x="392" y="100"/>
                  <a:pt x="392" y="100"/>
                </a:cubicBezTo>
                <a:cubicBezTo>
                  <a:pt x="392" y="100"/>
                  <a:pt x="392" y="102"/>
                  <a:pt x="393" y="103"/>
                </a:cubicBezTo>
                <a:cubicBezTo>
                  <a:pt x="393" y="104"/>
                  <a:pt x="394" y="107"/>
                  <a:pt x="394" y="107"/>
                </a:cubicBezTo>
                <a:cubicBezTo>
                  <a:pt x="393" y="110"/>
                  <a:pt x="393" y="110"/>
                  <a:pt x="393" y="110"/>
                </a:cubicBezTo>
                <a:cubicBezTo>
                  <a:pt x="395" y="113"/>
                  <a:pt x="392" y="111"/>
                  <a:pt x="395" y="113"/>
                </a:cubicBezTo>
                <a:cubicBezTo>
                  <a:pt x="398" y="115"/>
                  <a:pt x="398" y="115"/>
                  <a:pt x="398" y="115"/>
                </a:cubicBezTo>
                <a:cubicBezTo>
                  <a:pt x="398" y="115"/>
                  <a:pt x="400" y="116"/>
                  <a:pt x="400" y="117"/>
                </a:cubicBezTo>
                <a:cubicBezTo>
                  <a:pt x="401" y="118"/>
                  <a:pt x="399" y="116"/>
                  <a:pt x="401" y="118"/>
                </a:cubicBezTo>
                <a:cubicBezTo>
                  <a:pt x="403" y="120"/>
                  <a:pt x="400" y="118"/>
                  <a:pt x="403" y="120"/>
                </a:cubicBezTo>
                <a:cubicBezTo>
                  <a:pt x="405" y="122"/>
                  <a:pt x="405" y="120"/>
                  <a:pt x="405" y="122"/>
                </a:cubicBezTo>
                <a:cubicBezTo>
                  <a:pt x="406" y="125"/>
                  <a:pt x="406" y="125"/>
                  <a:pt x="406" y="125"/>
                </a:cubicBezTo>
                <a:cubicBezTo>
                  <a:pt x="414" y="127"/>
                  <a:pt x="414" y="127"/>
                  <a:pt x="414" y="127"/>
                </a:cubicBezTo>
                <a:cubicBezTo>
                  <a:pt x="414" y="127"/>
                  <a:pt x="417" y="126"/>
                  <a:pt x="420" y="127"/>
                </a:cubicBezTo>
                <a:cubicBezTo>
                  <a:pt x="424" y="128"/>
                  <a:pt x="424" y="128"/>
                  <a:pt x="424" y="128"/>
                </a:cubicBezTo>
                <a:cubicBezTo>
                  <a:pt x="430" y="131"/>
                  <a:pt x="430" y="131"/>
                  <a:pt x="430" y="131"/>
                </a:cubicBezTo>
                <a:cubicBezTo>
                  <a:pt x="430" y="131"/>
                  <a:pt x="433" y="136"/>
                  <a:pt x="434" y="139"/>
                </a:cubicBezTo>
                <a:cubicBezTo>
                  <a:pt x="435" y="141"/>
                  <a:pt x="435" y="141"/>
                  <a:pt x="435" y="141"/>
                </a:cubicBezTo>
                <a:cubicBezTo>
                  <a:pt x="435" y="141"/>
                  <a:pt x="437" y="146"/>
                  <a:pt x="441" y="147"/>
                </a:cubicBezTo>
                <a:cubicBezTo>
                  <a:pt x="445" y="148"/>
                  <a:pt x="445" y="148"/>
                  <a:pt x="445" y="148"/>
                </a:cubicBezTo>
                <a:cubicBezTo>
                  <a:pt x="452" y="150"/>
                  <a:pt x="452" y="150"/>
                  <a:pt x="452" y="150"/>
                </a:cubicBezTo>
                <a:cubicBezTo>
                  <a:pt x="458" y="153"/>
                  <a:pt x="458" y="153"/>
                  <a:pt x="458" y="153"/>
                </a:cubicBezTo>
                <a:cubicBezTo>
                  <a:pt x="463" y="160"/>
                  <a:pt x="458" y="154"/>
                  <a:pt x="463" y="160"/>
                </a:cubicBezTo>
                <a:cubicBezTo>
                  <a:pt x="467" y="165"/>
                  <a:pt x="467" y="165"/>
                  <a:pt x="467" y="165"/>
                </a:cubicBezTo>
                <a:cubicBezTo>
                  <a:pt x="467" y="165"/>
                  <a:pt x="464" y="170"/>
                  <a:pt x="475" y="171"/>
                </a:cubicBezTo>
                <a:cubicBezTo>
                  <a:pt x="485" y="172"/>
                  <a:pt x="493" y="173"/>
                  <a:pt x="493" y="173"/>
                </a:cubicBezTo>
                <a:cubicBezTo>
                  <a:pt x="493" y="173"/>
                  <a:pt x="498" y="178"/>
                  <a:pt x="501" y="180"/>
                </a:cubicBezTo>
                <a:cubicBezTo>
                  <a:pt x="504" y="181"/>
                  <a:pt x="504" y="181"/>
                  <a:pt x="504" y="181"/>
                </a:cubicBezTo>
                <a:cubicBezTo>
                  <a:pt x="504" y="181"/>
                  <a:pt x="515" y="188"/>
                  <a:pt x="520" y="189"/>
                </a:cubicBezTo>
                <a:cubicBezTo>
                  <a:pt x="521" y="190"/>
                  <a:pt x="522" y="190"/>
                  <a:pt x="523" y="191"/>
                </a:cubicBezTo>
                <a:cubicBezTo>
                  <a:pt x="527" y="191"/>
                  <a:pt x="531" y="191"/>
                  <a:pt x="531" y="191"/>
                </a:cubicBezTo>
                <a:cubicBezTo>
                  <a:pt x="535" y="194"/>
                  <a:pt x="529" y="192"/>
                  <a:pt x="535" y="194"/>
                </a:cubicBezTo>
                <a:cubicBezTo>
                  <a:pt x="542" y="196"/>
                  <a:pt x="542" y="196"/>
                  <a:pt x="542" y="196"/>
                </a:cubicBezTo>
                <a:cubicBezTo>
                  <a:pt x="542" y="196"/>
                  <a:pt x="549" y="197"/>
                  <a:pt x="552" y="199"/>
                </a:cubicBezTo>
                <a:cubicBezTo>
                  <a:pt x="554" y="202"/>
                  <a:pt x="553" y="198"/>
                  <a:pt x="554" y="202"/>
                </a:cubicBezTo>
                <a:cubicBezTo>
                  <a:pt x="556" y="207"/>
                  <a:pt x="549" y="204"/>
                  <a:pt x="556" y="207"/>
                </a:cubicBezTo>
                <a:cubicBezTo>
                  <a:pt x="563" y="209"/>
                  <a:pt x="555" y="208"/>
                  <a:pt x="563" y="209"/>
                </a:cubicBezTo>
                <a:cubicBezTo>
                  <a:pt x="572" y="211"/>
                  <a:pt x="572" y="211"/>
                  <a:pt x="572" y="211"/>
                </a:cubicBezTo>
                <a:cubicBezTo>
                  <a:pt x="572" y="211"/>
                  <a:pt x="581" y="208"/>
                  <a:pt x="585" y="210"/>
                </a:cubicBezTo>
                <a:cubicBezTo>
                  <a:pt x="590" y="213"/>
                  <a:pt x="588" y="207"/>
                  <a:pt x="590" y="213"/>
                </a:cubicBezTo>
                <a:cubicBezTo>
                  <a:pt x="592" y="219"/>
                  <a:pt x="586" y="209"/>
                  <a:pt x="592" y="219"/>
                </a:cubicBezTo>
                <a:cubicBezTo>
                  <a:pt x="597" y="229"/>
                  <a:pt x="590" y="228"/>
                  <a:pt x="597" y="229"/>
                </a:cubicBezTo>
                <a:cubicBezTo>
                  <a:pt x="604" y="231"/>
                  <a:pt x="616" y="233"/>
                  <a:pt x="616" y="233"/>
                </a:cubicBezTo>
                <a:cubicBezTo>
                  <a:pt x="616" y="233"/>
                  <a:pt x="622" y="235"/>
                  <a:pt x="626" y="238"/>
                </a:cubicBezTo>
                <a:cubicBezTo>
                  <a:pt x="630" y="240"/>
                  <a:pt x="635" y="235"/>
                  <a:pt x="636" y="241"/>
                </a:cubicBezTo>
                <a:cubicBezTo>
                  <a:pt x="637" y="248"/>
                  <a:pt x="632" y="238"/>
                  <a:pt x="637" y="248"/>
                </a:cubicBezTo>
                <a:cubicBezTo>
                  <a:pt x="641" y="257"/>
                  <a:pt x="648" y="257"/>
                  <a:pt x="650" y="259"/>
                </a:cubicBezTo>
                <a:cubicBezTo>
                  <a:pt x="653" y="262"/>
                  <a:pt x="646" y="251"/>
                  <a:pt x="653" y="262"/>
                </a:cubicBezTo>
                <a:cubicBezTo>
                  <a:pt x="660" y="273"/>
                  <a:pt x="665" y="269"/>
                  <a:pt x="667" y="277"/>
                </a:cubicBezTo>
                <a:cubicBezTo>
                  <a:pt x="669" y="284"/>
                  <a:pt x="660" y="272"/>
                  <a:pt x="669" y="284"/>
                </a:cubicBezTo>
                <a:cubicBezTo>
                  <a:pt x="678" y="296"/>
                  <a:pt x="686" y="289"/>
                  <a:pt x="685" y="296"/>
                </a:cubicBezTo>
                <a:cubicBezTo>
                  <a:pt x="684" y="304"/>
                  <a:pt x="677" y="296"/>
                  <a:pt x="684" y="304"/>
                </a:cubicBezTo>
                <a:cubicBezTo>
                  <a:pt x="691" y="311"/>
                  <a:pt x="685" y="304"/>
                  <a:pt x="691" y="311"/>
                </a:cubicBezTo>
                <a:cubicBezTo>
                  <a:pt x="697" y="318"/>
                  <a:pt x="697" y="318"/>
                  <a:pt x="697" y="318"/>
                </a:cubicBezTo>
                <a:cubicBezTo>
                  <a:pt x="697" y="318"/>
                  <a:pt x="697" y="318"/>
                  <a:pt x="697" y="318"/>
                </a:cubicBezTo>
                <a:cubicBezTo>
                  <a:pt x="698" y="319"/>
                  <a:pt x="698" y="319"/>
                  <a:pt x="699" y="320"/>
                </a:cubicBezTo>
                <a:cubicBezTo>
                  <a:pt x="697" y="319"/>
                  <a:pt x="697" y="319"/>
                  <a:pt x="697" y="319"/>
                </a:cubicBezTo>
                <a:cubicBezTo>
                  <a:pt x="697" y="318"/>
                  <a:pt x="697" y="318"/>
                  <a:pt x="697" y="318"/>
                </a:cubicBezTo>
                <a:cubicBezTo>
                  <a:pt x="697" y="318"/>
                  <a:pt x="697" y="318"/>
                  <a:pt x="697" y="319"/>
                </a:cubicBezTo>
                <a:cubicBezTo>
                  <a:pt x="695" y="322"/>
                  <a:pt x="697" y="328"/>
                  <a:pt x="699" y="330"/>
                </a:cubicBezTo>
                <a:cubicBezTo>
                  <a:pt x="700" y="332"/>
                  <a:pt x="702" y="333"/>
                  <a:pt x="703" y="335"/>
                </a:cubicBezTo>
                <a:cubicBezTo>
                  <a:pt x="705" y="337"/>
                  <a:pt x="705" y="340"/>
                  <a:pt x="707" y="342"/>
                </a:cubicBezTo>
                <a:cubicBezTo>
                  <a:pt x="709" y="346"/>
                  <a:pt x="710" y="349"/>
                  <a:pt x="711" y="354"/>
                </a:cubicBezTo>
                <a:cubicBezTo>
                  <a:pt x="712" y="357"/>
                  <a:pt x="713" y="357"/>
                  <a:pt x="712" y="360"/>
                </a:cubicBezTo>
                <a:cubicBezTo>
                  <a:pt x="712" y="362"/>
                  <a:pt x="708" y="362"/>
                  <a:pt x="710" y="366"/>
                </a:cubicBezTo>
                <a:cubicBezTo>
                  <a:pt x="701" y="369"/>
                  <a:pt x="701" y="374"/>
                  <a:pt x="707" y="382"/>
                </a:cubicBezTo>
                <a:cubicBezTo>
                  <a:pt x="709" y="385"/>
                  <a:pt x="713" y="386"/>
                  <a:pt x="715" y="389"/>
                </a:cubicBezTo>
                <a:cubicBezTo>
                  <a:pt x="716" y="390"/>
                  <a:pt x="716" y="390"/>
                  <a:pt x="716" y="391"/>
                </a:cubicBezTo>
                <a:cubicBezTo>
                  <a:pt x="716" y="391"/>
                  <a:pt x="717" y="391"/>
                  <a:pt x="717" y="391"/>
                </a:cubicBezTo>
                <a:cubicBezTo>
                  <a:pt x="719" y="392"/>
                  <a:pt x="720" y="394"/>
                  <a:pt x="720" y="397"/>
                </a:cubicBezTo>
                <a:cubicBezTo>
                  <a:pt x="720" y="397"/>
                  <a:pt x="720" y="397"/>
                  <a:pt x="720" y="397"/>
                </a:cubicBezTo>
                <a:cubicBezTo>
                  <a:pt x="721" y="399"/>
                  <a:pt x="721" y="400"/>
                  <a:pt x="719" y="402"/>
                </a:cubicBezTo>
                <a:cubicBezTo>
                  <a:pt x="719" y="402"/>
                  <a:pt x="719" y="402"/>
                  <a:pt x="719" y="402"/>
                </a:cubicBezTo>
                <a:cubicBezTo>
                  <a:pt x="718" y="403"/>
                  <a:pt x="718" y="405"/>
                  <a:pt x="718" y="406"/>
                </a:cubicBezTo>
                <a:cubicBezTo>
                  <a:pt x="719" y="410"/>
                  <a:pt x="720" y="416"/>
                  <a:pt x="724" y="411"/>
                </a:cubicBezTo>
                <a:cubicBezTo>
                  <a:pt x="724" y="414"/>
                  <a:pt x="724" y="416"/>
                  <a:pt x="726" y="418"/>
                </a:cubicBezTo>
                <a:cubicBezTo>
                  <a:pt x="727" y="419"/>
                  <a:pt x="727" y="419"/>
                  <a:pt x="728" y="420"/>
                </a:cubicBezTo>
                <a:cubicBezTo>
                  <a:pt x="728" y="420"/>
                  <a:pt x="729" y="420"/>
                  <a:pt x="729" y="420"/>
                </a:cubicBezTo>
                <a:cubicBezTo>
                  <a:pt x="731" y="422"/>
                  <a:pt x="733" y="423"/>
                  <a:pt x="733" y="426"/>
                </a:cubicBezTo>
                <a:cubicBezTo>
                  <a:pt x="733" y="428"/>
                  <a:pt x="731" y="426"/>
                  <a:pt x="731" y="428"/>
                </a:cubicBezTo>
                <a:cubicBezTo>
                  <a:pt x="730" y="428"/>
                  <a:pt x="730" y="428"/>
                  <a:pt x="730" y="428"/>
                </a:cubicBezTo>
                <a:cubicBezTo>
                  <a:pt x="730" y="428"/>
                  <a:pt x="730" y="428"/>
                  <a:pt x="729" y="428"/>
                </a:cubicBezTo>
                <a:cubicBezTo>
                  <a:pt x="729" y="428"/>
                  <a:pt x="729" y="428"/>
                  <a:pt x="729" y="428"/>
                </a:cubicBezTo>
                <a:cubicBezTo>
                  <a:pt x="722" y="429"/>
                  <a:pt x="715" y="420"/>
                  <a:pt x="708" y="423"/>
                </a:cubicBezTo>
                <a:cubicBezTo>
                  <a:pt x="707" y="423"/>
                  <a:pt x="707" y="422"/>
                  <a:pt x="707" y="422"/>
                </a:cubicBezTo>
                <a:cubicBezTo>
                  <a:pt x="707" y="428"/>
                  <a:pt x="700" y="432"/>
                  <a:pt x="693" y="431"/>
                </a:cubicBezTo>
                <a:cubicBezTo>
                  <a:pt x="692" y="432"/>
                  <a:pt x="692" y="434"/>
                  <a:pt x="691" y="435"/>
                </a:cubicBezTo>
                <a:cubicBezTo>
                  <a:pt x="690" y="436"/>
                  <a:pt x="689" y="437"/>
                  <a:pt x="688" y="438"/>
                </a:cubicBezTo>
                <a:cubicBezTo>
                  <a:pt x="687" y="440"/>
                  <a:pt x="685" y="443"/>
                  <a:pt x="685" y="446"/>
                </a:cubicBezTo>
                <a:cubicBezTo>
                  <a:pt x="685" y="447"/>
                  <a:pt x="687" y="448"/>
                  <a:pt x="687" y="449"/>
                </a:cubicBezTo>
                <a:cubicBezTo>
                  <a:pt x="687" y="451"/>
                  <a:pt x="686" y="453"/>
                  <a:pt x="686" y="455"/>
                </a:cubicBezTo>
                <a:cubicBezTo>
                  <a:pt x="685" y="456"/>
                  <a:pt x="684" y="461"/>
                  <a:pt x="682" y="461"/>
                </a:cubicBezTo>
                <a:cubicBezTo>
                  <a:pt x="683" y="462"/>
                  <a:pt x="684" y="464"/>
                  <a:pt x="685" y="464"/>
                </a:cubicBezTo>
                <a:cubicBezTo>
                  <a:pt x="685" y="464"/>
                  <a:pt x="685" y="464"/>
                  <a:pt x="685" y="465"/>
                </a:cubicBezTo>
                <a:cubicBezTo>
                  <a:pt x="686" y="464"/>
                  <a:pt x="688" y="464"/>
                  <a:pt x="689" y="464"/>
                </a:cubicBezTo>
                <a:cubicBezTo>
                  <a:pt x="690" y="463"/>
                  <a:pt x="690" y="462"/>
                  <a:pt x="691" y="463"/>
                </a:cubicBezTo>
                <a:cubicBezTo>
                  <a:pt x="691" y="463"/>
                  <a:pt x="694" y="465"/>
                  <a:pt x="694" y="465"/>
                </a:cubicBezTo>
                <a:cubicBezTo>
                  <a:pt x="694" y="466"/>
                  <a:pt x="690" y="469"/>
                  <a:pt x="689" y="470"/>
                </a:cubicBezTo>
                <a:cubicBezTo>
                  <a:pt x="689" y="470"/>
                  <a:pt x="690" y="471"/>
                  <a:pt x="691" y="471"/>
                </a:cubicBezTo>
                <a:cubicBezTo>
                  <a:pt x="689" y="473"/>
                  <a:pt x="688" y="474"/>
                  <a:pt x="687" y="475"/>
                </a:cubicBezTo>
                <a:cubicBezTo>
                  <a:pt x="686" y="476"/>
                  <a:pt x="685" y="476"/>
                  <a:pt x="686" y="477"/>
                </a:cubicBezTo>
                <a:cubicBezTo>
                  <a:pt x="686" y="478"/>
                  <a:pt x="688" y="477"/>
                  <a:pt x="689" y="476"/>
                </a:cubicBezTo>
                <a:cubicBezTo>
                  <a:pt x="689" y="478"/>
                  <a:pt x="690" y="479"/>
                  <a:pt x="688" y="480"/>
                </a:cubicBezTo>
                <a:cubicBezTo>
                  <a:pt x="687" y="482"/>
                  <a:pt x="686" y="481"/>
                  <a:pt x="686" y="484"/>
                </a:cubicBezTo>
                <a:cubicBezTo>
                  <a:pt x="687" y="485"/>
                  <a:pt x="687" y="487"/>
                  <a:pt x="686" y="489"/>
                </a:cubicBezTo>
                <a:cubicBezTo>
                  <a:pt x="686" y="490"/>
                  <a:pt x="684" y="492"/>
                  <a:pt x="687" y="493"/>
                </a:cubicBezTo>
                <a:cubicBezTo>
                  <a:pt x="685" y="493"/>
                  <a:pt x="685" y="495"/>
                  <a:pt x="686" y="497"/>
                </a:cubicBezTo>
                <a:cubicBezTo>
                  <a:pt x="686" y="495"/>
                  <a:pt x="688" y="495"/>
                  <a:pt x="689" y="494"/>
                </a:cubicBezTo>
                <a:cubicBezTo>
                  <a:pt x="690" y="493"/>
                  <a:pt x="690" y="491"/>
                  <a:pt x="692" y="492"/>
                </a:cubicBezTo>
                <a:cubicBezTo>
                  <a:pt x="692" y="493"/>
                  <a:pt x="692" y="493"/>
                  <a:pt x="692" y="494"/>
                </a:cubicBezTo>
                <a:cubicBezTo>
                  <a:pt x="693" y="494"/>
                  <a:pt x="693" y="494"/>
                  <a:pt x="694" y="495"/>
                </a:cubicBezTo>
                <a:cubicBezTo>
                  <a:pt x="695" y="495"/>
                  <a:pt x="697" y="496"/>
                  <a:pt x="698" y="496"/>
                </a:cubicBezTo>
                <a:cubicBezTo>
                  <a:pt x="698" y="498"/>
                  <a:pt x="697" y="498"/>
                  <a:pt x="696" y="499"/>
                </a:cubicBezTo>
                <a:cubicBezTo>
                  <a:pt x="696" y="500"/>
                  <a:pt x="694" y="502"/>
                  <a:pt x="697" y="502"/>
                </a:cubicBezTo>
                <a:cubicBezTo>
                  <a:pt x="698" y="503"/>
                  <a:pt x="698" y="500"/>
                  <a:pt x="700" y="501"/>
                </a:cubicBezTo>
                <a:cubicBezTo>
                  <a:pt x="701" y="502"/>
                  <a:pt x="702" y="504"/>
                  <a:pt x="701" y="505"/>
                </a:cubicBezTo>
                <a:cubicBezTo>
                  <a:pt x="701" y="506"/>
                  <a:pt x="699" y="506"/>
                  <a:pt x="698" y="507"/>
                </a:cubicBezTo>
                <a:cubicBezTo>
                  <a:pt x="697" y="508"/>
                  <a:pt x="698" y="510"/>
                  <a:pt x="697" y="511"/>
                </a:cubicBezTo>
                <a:cubicBezTo>
                  <a:pt x="697" y="512"/>
                  <a:pt x="695" y="513"/>
                  <a:pt x="694" y="514"/>
                </a:cubicBezTo>
                <a:cubicBezTo>
                  <a:pt x="694" y="514"/>
                  <a:pt x="693" y="514"/>
                  <a:pt x="693" y="514"/>
                </a:cubicBezTo>
                <a:cubicBezTo>
                  <a:pt x="692" y="514"/>
                  <a:pt x="693" y="515"/>
                  <a:pt x="693" y="515"/>
                </a:cubicBezTo>
                <a:cubicBezTo>
                  <a:pt x="692" y="516"/>
                  <a:pt x="693" y="517"/>
                  <a:pt x="692" y="517"/>
                </a:cubicBezTo>
                <a:cubicBezTo>
                  <a:pt x="691" y="518"/>
                  <a:pt x="690" y="515"/>
                  <a:pt x="688" y="517"/>
                </a:cubicBezTo>
                <a:cubicBezTo>
                  <a:pt x="686" y="518"/>
                  <a:pt x="687" y="518"/>
                  <a:pt x="688" y="519"/>
                </a:cubicBezTo>
                <a:cubicBezTo>
                  <a:pt x="689" y="520"/>
                  <a:pt x="690" y="520"/>
                  <a:pt x="690" y="522"/>
                </a:cubicBezTo>
                <a:cubicBezTo>
                  <a:pt x="690" y="523"/>
                  <a:pt x="690" y="525"/>
                  <a:pt x="690" y="526"/>
                </a:cubicBezTo>
                <a:cubicBezTo>
                  <a:pt x="690" y="529"/>
                  <a:pt x="687" y="529"/>
                  <a:pt x="684" y="531"/>
                </a:cubicBezTo>
                <a:cubicBezTo>
                  <a:pt x="683" y="532"/>
                  <a:pt x="682" y="533"/>
                  <a:pt x="680" y="533"/>
                </a:cubicBezTo>
                <a:cubicBezTo>
                  <a:pt x="677" y="532"/>
                  <a:pt x="677" y="532"/>
                  <a:pt x="675" y="533"/>
                </a:cubicBezTo>
                <a:cubicBezTo>
                  <a:pt x="673" y="534"/>
                  <a:pt x="673" y="534"/>
                  <a:pt x="671" y="533"/>
                </a:cubicBezTo>
                <a:cubicBezTo>
                  <a:pt x="670" y="533"/>
                  <a:pt x="670" y="533"/>
                  <a:pt x="670" y="533"/>
                </a:cubicBezTo>
                <a:cubicBezTo>
                  <a:pt x="670" y="534"/>
                  <a:pt x="669" y="535"/>
                  <a:pt x="670" y="535"/>
                </a:cubicBezTo>
                <a:cubicBezTo>
                  <a:pt x="670" y="536"/>
                  <a:pt x="669" y="536"/>
                  <a:pt x="669" y="537"/>
                </a:cubicBezTo>
                <a:cubicBezTo>
                  <a:pt x="669" y="538"/>
                  <a:pt x="669" y="538"/>
                  <a:pt x="669" y="538"/>
                </a:cubicBezTo>
                <a:cubicBezTo>
                  <a:pt x="670" y="539"/>
                  <a:pt x="672" y="538"/>
                  <a:pt x="673" y="539"/>
                </a:cubicBezTo>
                <a:cubicBezTo>
                  <a:pt x="673" y="540"/>
                  <a:pt x="672" y="541"/>
                  <a:pt x="672" y="541"/>
                </a:cubicBezTo>
                <a:cubicBezTo>
                  <a:pt x="673" y="542"/>
                  <a:pt x="674" y="541"/>
                  <a:pt x="674" y="541"/>
                </a:cubicBezTo>
                <a:cubicBezTo>
                  <a:pt x="675" y="542"/>
                  <a:pt x="675" y="542"/>
                  <a:pt x="675" y="543"/>
                </a:cubicBezTo>
                <a:cubicBezTo>
                  <a:pt x="676" y="544"/>
                  <a:pt x="676" y="544"/>
                  <a:pt x="678" y="543"/>
                </a:cubicBezTo>
                <a:cubicBezTo>
                  <a:pt x="679" y="543"/>
                  <a:pt x="679" y="543"/>
                  <a:pt x="681" y="543"/>
                </a:cubicBezTo>
                <a:cubicBezTo>
                  <a:pt x="681" y="545"/>
                  <a:pt x="681" y="545"/>
                  <a:pt x="680" y="546"/>
                </a:cubicBezTo>
                <a:cubicBezTo>
                  <a:pt x="679" y="547"/>
                  <a:pt x="678" y="548"/>
                  <a:pt x="677" y="549"/>
                </a:cubicBezTo>
                <a:cubicBezTo>
                  <a:pt x="677" y="550"/>
                  <a:pt x="677" y="551"/>
                  <a:pt x="677" y="552"/>
                </a:cubicBezTo>
                <a:cubicBezTo>
                  <a:pt x="676" y="553"/>
                  <a:pt x="675" y="553"/>
                  <a:pt x="674" y="554"/>
                </a:cubicBezTo>
                <a:cubicBezTo>
                  <a:pt x="673" y="555"/>
                  <a:pt x="673" y="556"/>
                  <a:pt x="673" y="557"/>
                </a:cubicBezTo>
                <a:cubicBezTo>
                  <a:pt x="672" y="558"/>
                  <a:pt x="672" y="558"/>
                  <a:pt x="671" y="559"/>
                </a:cubicBezTo>
                <a:cubicBezTo>
                  <a:pt x="669" y="559"/>
                  <a:pt x="669" y="559"/>
                  <a:pt x="669" y="560"/>
                </a:cubicBezTo>
                <a:cubicBezTo>
                  <a:pt x="669" y="564"/>
                  <a:pt x="669" y="564"/>
                  <a:pt x="669" y="564"/>
                </a:cubicBezTo>
                <a:cubicBezTo>
                  <a:pt x="670" y="565"/>
                  <a:pt x="672" y="565"/>
                  <a:pt x="671" y="566"/>
                </a:cubicBezTo>
                <a:cubicBezTo>
                  <a:pt x="670" y="567"/>
                  <a:pt x="670" y="567"/>
                  <a:pt x="669" y="567"/>
                </a:cubicBezTo>
                <a:cubicBezTo>
                  <a:pt x="669" y="567"/>
                  <a:pt x="669" y="567"/>
                  <a:pt x="669" y="568"/>
                </a:cubicBezTo>
                <a:cubicBezTo>
                  <a:pt x="669" y="568"/>
                  <a:pt x="669" y="568"/>
                  <a:pt x="669" y="568"/>
                </a:cubicBezTo>
                <a:cubicBezTo>
                  <a:pt x="673" y="568"/>
                  <a:pt x="679" y="570"/>
                  <a:pt x="677" y="573"/>
                </a:cubicBezTo>
                <a:cubicBezTo>
                  <a:pt x="679" y="575"/>
                  <a:pt x="681" y="573"/>
                  <a:pt x="682" y="571"/>
                </a:cubicBezTo>
                <a:cubicBezTo>
                  <a:pt x="682" y="572"/>
                  <a:pt x="683" y="574"/>
                  <a:pt x="683" y="575"/>
                </a:cubicBezTo>
                <a:cubicBezTo>
                  <a:pt x="685" y="576"/>
                  <a:pt x="687" y="575"/>
                  <a:pt x="689" y="576"/>
                </a:cubicBezTo>
                <a:cubicBezTo>
                  <a:pt x="689" y="577"/>
                  <a:pt x="692" y="586"/>
                  <a:pt x="695" y="579"/>
                </a:cubicBezTo>
                <a:cubicBezTo>
                  <a:pt x="697" y="582"/>
                  <a:pt x="700" y="580"/>
                  <a:pt x="702" y="582"/>
                </a:cubicBezTo>
                <a:cubicBezTo>
                  <a:pt x="704" y="583"/>
                  <a:pt x="704" y="587"/>
                  <a:pt x="705" y="589"/>
                </a:cubicBezTo>
                <a:cubicBezTo>
                  <a:pt x="706" y="588"/>
                  <a:pt x="706" y="588"/>
                  <a:pt x="707" y="587"/>
                </a:cubicBezTo>
                <a:cubicBezTo>
                  <a:pt x="710" y="591"/>
                  <a:pt x="711" y="597"/>
                  <a:pt x="714" y="602"/>
                </a:cubicBezTo>
                <a:cubicBezTo>
                  <a:pt x="715" y="603"/>
                  <a:pt x="716" y="607"/>
                  <a:pt x="716" y="610"/>
                </a:cubicBezTo>
                <a:cubicBezTo>
                  <a:pt x="717" y="610"/>
                  <a:pt x="717" y="610"/>
                  <a:pt x="717" y="610"/>
                </a:cubicBezTo>
                <a:cubicBezTo>
                  <a:pt x="718" y="605"/>
                  <a:pt x="726" y="607"/>
                  <a:pt x="730" y="606"/>
                </a:cubicBezTo>
                <a:cubicBezTo>
                  <a:pt x="733" y="605"/>
                  <a:pt x="735" y="604"/>
                  <a:pt x="737" y="602"/>
                </a:cubicBezTo>
                <a:cubicBezTo>
                  <a:pt x="739" y="601"/>
                  <a:pt x="739" y="598"/>
                  <a:pt x="743" y="599"/>
                </a:cubicBezTo>
                <a:cubicBezTo>
                  <a:pt x="746" y="596"/>
                  <a:pt x="738" y="589"/>
                  <a:pt x="748" y="591"/>
                </a:cubicBezTo>
                <a:cubicBezTo>
                  <a:pt x="748" y="587"/>
                  <a:pt x="747" y="579"/>
                  <a:pt x="754" y="580"/>
                </a:cubicBezTo>
                <a:cubicBezTo>
                  <a:pt x="756" y="580"/>
                  <a:pt x="758" y="583"/>
                  <a:pt x="759" y="584"/>
                </a:cubicBezTo>
                <a:cubicBezTo>
                  <a:pt x="762" y="584"/>
                  <a:pt x="764" y="583"/>
                  <a:pt x="767" y="583"/>
                </a:cubicBezTo>
                <a:cubicBezTo>
                  <a:pt x="772" y="584"/>
                  <a:pt x="775" y="588"/>
                  <a:pt x="780" y="584"/>
                </a:cubicBezTo>
                <a:cubicBezTo>
                  <a:pt x="782" y="583"/>
                  <a:pt x="781" y="580"/>
                  <a:pt x="784" y="580"/>
                </a:cubicBezTo>
                <a:cubicBezTo>
                  <a:pt x="787" y="579"/>
                  <a:pt x="789" y="581"/>
                  <a:pt x="790" y="584"/>
                </a:cubicBezTo>
                <a:cubicBezTo>
                  <a:pt x="793" y="579"/>
                  <a:pt x="801" y="583"/>
                  <a:pt x="805" y="583"/>
                </a:cubicBezTo>
                <a:cubicBezTo>
                  <a:pt x="809" y="582"/>
                  <a:pt x="808" y="580"/>
                  <a:pt x="812" y="581"/>
                </a:cubicBezTo>
                <a:cubicBezTo>
                  <a:pt x="815" y="581"/>
                  <a:pt x="815" y="584"/>
                  <a:pt x="819" y="584"/>
                </a:cubicBezTo>
                <a:cubicBezTo>
                  <a:pt x="822" y="585"/>
                  <a:pt x="824" y="582"/>
                  <a:pt x="828" y="582"/>
                </a:cubicBezTo>
                <a:cubicBezTo>
                  <a:pt x="832" y="582"/>
                  <a:pt x="832" y="584"/>
                  <a:pt x="834" y="586"/>
                </a:cubicBezTo>
                <a:cubicBezTo>
                  <a:pt x="836" y="587"/>
                  <a:pt x="839" y="588"/>
                  <a:pt x="841" y="590"/>
                </a:cubicBezTo>
                <a:cubicBezTo>
                  <a:pt x="843" y="592"/>
                  <a:pt x="844" y="595"/>
                  <a:pt x="846" y="597"/>
                </a:cubicBezTo>
                <a:cubicBezTo>
                  <a:pt x="845" y="598"/>
                  <a:pt x="842" y="598"/>
                  <a:pt x="840" y="598"/>
                </a:cubicBezTo>
                <a:cubicBezTo>
                  <a:pt x="839" y="603"/>
                  <a:pt x="841" y="607"/>
                  <a:pt x="840" y="611"/>
                </a:cubicBezTo>
                <a:close/>
                <a:moveTo>
                  <a:pt x="679" y="464"/>
                </a:moveTo>
                <a:cubicBezTo>
                  <a:pt x="679" y="464"/>
                  <a:pt x="679" y="464"/>
                  <a:pt x="679" y="464"/>
                </a:cubicBezTo>
                <a:cubicBezTo>
                  <a:pt x="679" y="464"/>
                  <a:pt x="679" y="464"/>
                  <a:pt x="679" y="464"/>
                </a:cubicBezTo>
                <a:cubicBezTo>
                  <a:pt x="679" y="464"/>
                  <a:pt x="679" y="464"/>
                  <a:pt x="679" y="464"/>
                </a:cubicBezTo>
                <a:close/>
                <a:moveTo>
                  <a:pt x="383" y="93"/>
                </a:moveTo>
                <a:cubicBezTo>
                  <a:pt x="383" y="92"/>
                  <a:pt x="383" y="92"/>
                  <a:pt x="383" y="92"/>
                </a:cubicBezTo>
                <a:cubicBezTo>
                  <a:pt x="381" y="90"/>
                  <a:pt x="381" y="90"/>
                  <a:pt x="381" y="90"/>
                </a:cubicBezTo>
                <a:cubicBezTo>
                  <a:pt x="383" y="92"/>
                  <a:pt x="383" y="92"/>
                  <a:pt x="383" y="92"/>
                </a:cubicBezTo>
                <a:cubicBezTo>
                  <a:pt x="382" y="92"/>
                  <a:pt x="383" y="93"/>
                  <a:pt x="383" y="93"/>
                </a:cubicBezTo>
                <a:close/>
                <a:moveTo>
                  <a:pt x="668" y="531"/>
                </a:moveTo>
                <a:cubicBezTo>
                  <a:pt x="668" y="531"/>
                  <a:pt x="668" y="531"/>
                  <a:pt x="668" y="531"/>
                </a:cubicBezTo>
                <a:cubicBezTo>
                  <a:pt x="668" y="531"/>
                  <a:pt x="668" y="531"/>
                  <a:pt x="668" y="531"/>
                </a:cubicBezTo>
                <a:cubicBezTo>
                  <a:pt x="668" y="531"/>
                  <a:pt x="668" y="531"/>
                  <a:pt x="668" y="531"/>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 name="Freeform 33"/>
          <p:cNvSpPr>
            <a:spLocks noEditPoints="1"/>
          </p:cNvSpPr>
          <p:nvPr/>
        </p:nvSpPr>
        <p:spPr bwMode="auto">
          <a:xfrm>
            <a:off x="9003004" y="3315003"/>
            <a:ext cx="2032000" cy="1385888"/>
          </a:xfrm>
          <a:custGeom>
            <a:avLst/>
            <a:gdLst>
              <a:gd name="T0" fmla="*/ 439 w 525"/>
              <a:gd name="T1" fmla="*/ 235 h 358"/>
              <a:gd name="T2" fmla="*/ 334 w 525"/>
              <a:gd name="T3" fmla="*/ 43 h 358"/>
              <a:gd name="T4" fmla="*/ 304 w 525"/>
              <a:gd name="T5" fmla="*/ 3 h 358"/>
              <a:gd name="T6" fmla="*/ 257 w 525"/>
              <a:gd name="T7" fmla="*/ 29 h 358"/>
              <a:gd name="T8" fmla="*/ 225 w 525"/>
              <a:gd name="T9" fmla="*/ 40 h 358"/>
              <a:gd name="T10" fmla="*/ 217 w 525"/>
              <a:gd name="T11" fmla="*/ 55 h 358"/>
              <a:gd name="T12" fmla="*/ 218 w 525"/>
              <a:gd name="T13" fmla="*/ 60 h 358"/>
              <a:gd name="T14" fmla="*/ 218 w 525"/>
              <a:gd name="T15" fmla="*/ 72 h 358"/>
              <a:gd name="T16" fmla="*/ 209 w 525"/>
              <a:gd name="T17" fmla="*/ 65 h 358"/>
              <a:gd name="T18" fmla="*/ 197 w 525"/>
              <a:gd name="T19" fmla="*/ 69 h 358"/>
              <a:gd name="T20" fmla="*/ 164 w 525"/>
              <a:gd name="T21" fmla="*/ 74 h 358"/>
              <a:gd name="T22" fmla="*/ 157 w 525"/>
              <a:gd name="T23" fmla="*/ 76 h 358"/>
              <a:gd name="T24" fmla="*/ 88 w 525"/>
              <a:gd name="T25" fmla="*/ 71 h 358"/>
              <a:gd name="T26" fmla="*/ 37 w 525"/>
              <a:gd name="T27" fmla="*/ 93 h 358"/>
              <a:gd name="T28" fmla="*/ 40 w 525"/>
              <a:gd name="T29" fmla="*/ 146 h 358"/>
              <a:gd name="T30" fmla="*/ 22 w 525"/>
              <a:gd name="T31" fmla="*/ 169 h 358"/>
              <a:gd name="T32" fmla="*/ 9 w 525"/>
              <a:gd name="T33" fmla="*/ 223 h 358"/>
              <a:gd name="T34" fmla="*/ 32 w 525"/>
              <a:gd name="T35" fmla="*/ 258 h 358"/>
              <a:gd name="T36" fmla="*/ 75 w 525"/>
              <a:gd name="T37" fmla="*/ 257 h 358"/>
              <a:gd name="T38" fmla="*/ 84 w 525"/>
              <a:gd name="T39" fmla="*/ 262 h 358"/>
              <a:gd name="T40" fmla="*/ 91 w 525"/>
              <a:gd name="T41" fmla="*/ 267 h 358"/>
              <a:gd name="T42" fmla="*/ 109 w 525"/>
              <a:gd name="T43" fmla="*/ 256 h 358"/>
              <a:gd name="T44" fmla="*/ 136 w 525"/>
              <a:gd name="T45" fmla="*/ 236 h 358"/>
              <a:gd name="T46" fmla="*/ 177 w 525"/>
              <a:gd name="T47" fmla="*/ 225 h 358"/>
              <a:gd name="T48" fmla="*/ 210 w 525"/>
              <a:gd name="T49" fmla="*/ 236 h 358"/>
              <a:gd name="T50" fmla="*/ 239 w 525"/>
              <a:gd name="T51" fmla="*/ 276 h 358"/>
              <a:gd name="T52" fmla="*/ 253 w 525"/>
              <a:gd name="T53" fmla="*/ 294 h 358"/>
              <a:gd name="T54" fmla="*/ 227 w 525"/>
              <a:gd name="T55" fmla="*/ 294 h 358"/>
              <a:gd name="T56" fmla="*/ 216 w 525"/>
              <a:gd name="T57" fmla="*/ 336 h 358"/>
              <a:gd name="T58" fmla="*/ 223 w 525"/>
              <a:gd name="T59" fmla="*/ 358 h 358"/>
              <a:gd name="T60" fmla="*/ 229 w 525"/>
              <a:gd name="T61" fmla="*/ 355 h 358"/>
              <a:gd name="T62" fmla="*/ 251 w 525"/>
              <a:gd name="T63" fmla="*/ 336 h 358"/>
              <a:gd name="T64" fmla="*/ 268 w 525"/>
              <a:gd name="T65" fmla="*/ 316 h 358"/>
              <a:gd name="T66" fmla="*/ 278 w 525"/>
              <a:gd name="T67" fmla="*/ 284 h 358"/>
              <a:gd name="T68" fmla="*/ 287 w 525"/>
              <a:gd name="T69" fmla="*/ 269 h 358"/>
              <a:gd name="T70" fmla="*/ 307 w 525"/>
              <a:gd name="T71" fmla="*/ 265 h 358"/>
              <a:gd name="T72" fmla="*/ 325 w 525"/>
              <a:gd name="T73" fmla="*/ 275 h 358"/>
              <a:gd name="T74" fmla="*/ 314 w 525"/>
              <a:gd name="T75" fmla="*/ 287 h 358"/>
              <a:gd name="T76" fmla="*/ 351 w 525"/>
              <a:gd name="T77" fmla="*/ 290 h 358"/>
              <a:gd name="T78" fmla="*/ 353 w 525"/>
              <a:gd name="T79" fmla="*/ 283 h 358"/>
              <a:gd name="T80" fmla="*/ 350 w 525"/>
              <a:gd name="T81" fmla="*/ 308 h 358"/>
              <a:gd name="T82" fmla="*/ 365 w 525"/>
              <a:gd name="T83" fmla="*/ 324 h 358"/>
              <a:gd name="T84" fmla="*/ 386 w 525"/>
              <a:gd name="T85" fmla="*/ 352 h 358"/>
              <a:gd name="T86" fmla="*/ 420 w 525"/>
              <a:gd name="T87" fmla="*/ 329 h 358"/>
              <a:gd name="T88" fmla="*/ 440 w 525"/>
              <a:gd name="T89" fmla="*/ 306 h 358"/>
              <a:gd name="T90" fmla="*/ 467 w 525"/>
              <a:gd name="T91" fmla="*/ 292 h 358"/>
              <a:gd name="T92" fmla="*/ 442 w 525"/>
              <a:gd name="T93" fmla="*/ 293 h 358"/>
              <a:gd name="T94" fmla="*/ 416 w 525"/>
              <a:gd name="T95" fmla="*/ 283 h 358"/>
              <a:gd name="T96" fmla="*/ 412 w 525"/>
              <a:gd name="T97" fmla="*/ 283 h 358"/>
              <a:gd name="T98" fmla="*/ 433 w 525"/>
              <a:gd name="T99" fmla="*/ 301 h 358"/>
              <a:gd name="T100" fmla="*/ 406 w 525"/>
              <a:gd name="T101" fmla="*/ 279 h 358"/>
              <a:gd name="T102" fmla="*/ 384 w 525"/>
              <a:gd name="T103" fmla="*/ 278 h 358"/>
              <a:gd name="T104" fmla="*/ 381 w 525"/>
              <a:gd name="T105" fmla="*/ 275 h 358"/>
              <a:gd name="T106" fmla="*/ 399 w 525"/>
              <a:gd name="T107" fmla="*/ 273 h 358"/>
              <a:gd name="T108" fmla="*/ 420 w 525"/>
              <a:gd name="T109" fmla="*/ 249 h 358"/>
              <a:gd name="T110" fmla="*/ 442 w 525"/>
              <a:gd name="T111" fmla="*/ 234 h 358"/>
              <a:gd name="T112" fmla="*/ 485 w 525"/>
              <a:gd name="T113" fmla="*/ 196 h 358"/>
              <a:gd name="T114" fmla="*/ 501 w 525"/>
              <a:gd name="T115" fmla="*/ 149 h 358"/>
              <a:gd name="T116" fmla="*/ 509 w 525"/>
              <a:gd name="T117" fmla="*/ 106 h 358"/>
              <a:gd name="T118" fmla="*/ 510 w 525"/>
              <a:gd name="T119" fmla="*/ 77 h 358"/>
              <a:gd name="T120" fmla="*/ 481 w 525"/>
              <a:gd name="T121" fmla="*/ 62 h 358"/>
              <a:gd name="T122" fmla="*/ 428 w 525"/>
              <a:gd name="T123" fmla="*/ 64 h 358"/>
              <a:gd name="T124" fmla="*/ 378 w 525"/>
              <a:gd name="T125" fmla="*/ 7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5" h="358">
                <a:moveTo>
                  <a:pt x="416" y="264"/>
                </a:moveTo>
                <a:cubicBezTo>
                  <a:pt x="416" y="262"/>
                  <a:pt x="417" y="261"/>
                  <a:pt x="417" y="258"/>
                </a:cubicBezTo>
                <a:cubicBezTo>
                  <a:pt x="415" y="258"/>
                  <a:pt x="414" y="259"/>
                  <a:pt x="414" y="262"/>
                </a:cubicBezTo>
                <a:cubicBezTo>
                  <a:pt x="413" y="263"/>
                  <a:pt x="411" y="263"/>
                  <a:pt x="411" y="264"/>
                </a:cubicBezTo>
                <a:cubicBezTo>
                  <a:pt x="411" y="264"/>
                  <a:pt x="411" y="265"/>
                  <a:pt x="410" y="264"/>
                </a:cubicBezTo>
                <a:cubicBezTo>
                  <a:pt x="410" y="266"/>
                  <a:pt x="409" y="266"/>
                  <a:pt x="409" y="268"/>
                </a:cubicBezTo>
                <a:cubicBezTo>
                  <a:pt x="409" y="268"/>
                  <a:pt x="409" y="268"/>
                  <a:pt x="409" y="269"/>
                </a:cubicBezTo>
                <a:cubicBezTo>
                  <a:pt x="410" y="269"/>
                  <a:pt x="410" y="269"/>
                  <a:pt x="411" y="269"/>
                </a:cubicBezTo>
                <a:cubicBezTo>
                  <a:pt x="413" y="269"/>
                  <a:pt x="413" y="267"/>
                  <a:pt x="415" y="267"/>
                </a:cubicBezTo>
                <a:cubicBezTo>
                  <a:pt x="415" y="266"/>
                  <a:pt x="416" y="266"/>
                  <a:pt x="416" y="265"/>
                </a:cubicBezTo>
                <a:cubicBezTo>
                  <a:pt x="415" y="265"/>
                  <a:pt x="415" y="265"/>
                  <a:pt x="416" y="264"/>
                </a:cubicBezTo>
                <a:close/>
                <a:moveTo>
                  <a:pt x="439" y="235"/>
                </a:moveTo>
                <a:cubicBezTo>
                  <a:pt x="439" y="236"/>
                  <a:pt x="439" y="237"/>
                  <a:pt x="439" y="237"/>
                </a:cubicBezTo>
                <a:cubicBezTo>
                  <a:pt x="438" y="237"/>
                  <a:pt x="438" y="238"/>
                  <a:pt x="437" y="238"/>
                </a:cubicBezTo>
                <a:cubicBezTo>
                  <a:pt x="437" y="239"/>
                  <a:pt x="437" y="240"/>
                  <a:pt x="437" y="241"/>
                </a:cubicBezTo>
                <a:cubicBezTo>
                  <a:pt x="438" y="242"/>
                  <a:pt x="439" y="241"/>
                  <a:pt x="439" y="240"/>
                </a:cubicBezTo>
                <a:cubicBezTo>
                  <a:pt x="439" y="240"/>
                  <a:pt x="440" y="239"/>
                  <a:pt x="440" y="239"/>
                </a:cubicBezTo>
                <a:cubicBezTo>
                  <a:pt x="441" y="240"/>
                  <a:pt x="441" y="239"/>
                  <a:pt x="442" y="239"/>
                </a:cubicBezTo>
                <a:cubicBezTo>
                  <a:pt x="442" y="237"/>
                  <a:pt x="442" y="235"/>
                  <a:pt x="440" y="235"/>
                </a:cubicBezTo>
                <a:cubicBezTo>
                  <a:pt x="440" y="235"/>
                  <a:pt x="440" y="235"/>
                  <a:pt x="439" y="235"/>
                </a:cubicBezTo>
                <a:close/>
                <a:moveTo>
                  <a:pt x="375" y="73"/>
                </a:moveTo>
                <a:cubicBezTo>
                  <a:pt x="375" y="72"/>
                  <a:pt x="375" y="72"/>
                  <a:pt x="375" y="72"/>
                </a:cubicBezTo>
                <a:cubicBezTo>
                  <a:pt x="373" y="71"/>
                  <a:pt x="372" y="70"/>
                  <a:pt x="370" y="71"/>
                </a:cubicBezTo>
                <a:cubicBezTo>
                  <a:pt x="369" y="70"/>
                  <a:pt x="368" y="69"/>
                  <a:pt x="367" y="68"/>
                </a:cubicBezTo>
                <a:cubicBezTo>
                  <a:pt x="365" y="68"/>
                  <a:pt x="365" y="66"/>
                  <a:pt x="364" y="65"/>
                </a:cubicBezTo>
                <a:cubicBezTo>
                  <a:pt x="364" y="62"/>
                  <a:pt x="366" y="63"/>
                  <a:pt x="366" y="61"/>
                </a:cubicBezTo>
                <a:cubicBezTo>
                  <a:pt x="365" y="60"/>
                  <a:pt x="364" y="59"/>
                  <a:pt x="364" y="57"/>
                </a:cubicBezTo>
                <a:cubicBezTo>
                  <a:pt x="363" y="56"/>
                  <a:pt x="362" y="56"/>
                  <a:pt x="362" y="53"/>
                </a:cubicBezTo>
                <a:cubicBezTo>
                  <a:pt x="361" y="53"/>
                  <a:pt x="360" y="52"/>
                  <a:pt x="359" y="51"/>
                </a:cubicBezTo>
                <a:cubicBezTo>
                  <a:pt x="360" y="51"/>
                  <a:pt x="360" y="50"/>
                  <a:pt x="360" y="50"/>
                </a:cubicBezTo>
                <a:cubicBezTo>
                  <a:pt x="360" y="47"/>
                  <a:pt x="360" y="47"/>
                  <a:pt x="360" y="47"/>
                </a:cubicBezTo>
                <a:cubicBezTo>
                  <a:pt x="359" y="47"/>
                  <a:pt x="359" y="46"/>
                  <a:pt x="359" y="45"/>
                </a:cubicBezTo>
                <a:cubicBezTo>
                  <a:pt x="356" y="45"/>
                  <a:pt x="353" y="45"/>
                  <a:pt x="352" y="44"/>
                </a:cubicBezTo>
                <a:cubicBezTo>
                  <a:pt x="351" y="43"/>
                  <a:pt x="350" y="42"/>
                  <a:pt x="350" y="40"/>
                </a:cubicBezTo>
                <a:cubicBezTo>
                  <a:pt x="348" y="40"/>
                  <a:pt x="347" y="40"/>
                  <a:pt x="347" y="39"/>
                </a:cubicBezTo>
                <a:cubicBezTo>
                  <a:pt x="345" y="39"/>
                  <a:pt x="344" y="39"/>
                  <a:pt x="344" y="40"/>
                </a:cubicBezTo>
                <a:cubicBezTo>
                  <a:pt x="343" y="40"/>
                  <a:pt x="342" y="41"/>
                  <a:pt x="342" y="42"/>
                </a:cubicBezTo>
                <a:cubicBezTo>
                  <a:pt x="340" y="41"/>
                  <a:pt x="341" y="43"/>
                  <a:pt x="340" y="44"/>
                </a:cubicBezTo>
                <a:cubicBezTo>
                  <a:pt x="339" y="44"/>
                  <a:pt x="338" y="44"/>
                  <a:pt x="338" y="45"/>
                </a:cubicBezTo>
                <a:cubicBezTo>
                  <a:pt x="335" y="46"/>
                  <a:pt x="337" y="42"/>
                  <a:pt x="334" y="43"/>
                </a:cubicBezTo>
                <a:cubicBezTo>
                  <a:pt x="333" y="43"/>
                  <a:pt x="332" y="43"/>
                  <a:pt x="331" y="44"/>
                </a:cubicBezTo>
                <a:cubicBezTo>
                  <a:pt x="331" y="44"/>
                  <a:pt x="330" y="44"/>
                  <a:pt x="330" y="45"/>
                </a:cubicBezTo>
                <a:cubicBezTo>
                  <a:pt x="327" y="44"/>
                  <a:pt x="327" y="46"/>
                  <a:pt x="324" y="46"/>
                </a:cubicBezTo>
                <a:cubicBezTo>
                  <a:pt x="324" y="42"/>
                  <a:pt x="324" y="42"/>
                  <a:pt x="324" y="42"/>
                </a:cubicBezTo>
                <a:cubicBezTo>
                  <a:pt x="324" y="41"/>
                  <a:pt x="324" y="41"/>
                  <a:pt x="322" y="41"/>
                </a:cubicBezTo>
                <a:cubicBezTo>
                  <a:pt x="323" y="38"/>
                  <a:pt x="321" y="37"/>
                  <a:pt x="321" y="35"/>
                </a:cubicBezTo>
                <a:cubicBezTo>
                  <a:pt x="321" y="34"/>
                  <a:pt x="320" y="33"/>
                  <a:pt x="320" y="32"/>
                </a:cubicBezTo>
                <a:cubicBezTo>
                  <a:pt x="319" y="31"/>
                  <a:pt x="316" y="32"/>
                  <a:pt x="316" y="30"/>
                </a:cubicBezTo>
                <a:cubicBezTo>
                  <a:pt x="316" y="30"/>
                  <a:pt x="316" y="29"/>
                  <a:pt x="317" y="29"/>
                </a:cubicBezTo>
                <a:cubicBezTo>
                  <a:pt x="317" y="29"/>
                  <a:pt x="317" y="29"/>
                  <a:pt x="317" y="28"/>
                </a:cubicBezTo>
                <a:cubicBezTo>
                  <a:pt x="318" y="28"/>
                  <a:pt x="319" y="28"/>
                  <a:pt x="320" y="28"/>
                </a:cubicBezTo>
                <a:cubicBezTo>
                  <a:pt x="320" y="26"/>
                  <a:pt x="323" y="27"/>
                  <a:pt x="323" y="25"/>
                </a:cubicBezTo>
                <a:cubicBezTo>
                  <a:pt x="323" y="22"/>
                  <a:pt x="323" y="20"/>
                  <a:pt x="320" y="20"/>
                </a:cubicBezTo>
                <a:cubicBezTo>
                  <a:pt x="320" y="19"/>
                  <a:pt x="320" y="19"/>
                  <a:pt x="320" y="19"/>
                </a:cubicBezTo>
                <a:cubicBezTo>
                  <a:pt x="318" y="19"/>
                  <a:pt x="317" y="18"/>
                  <a:pt x="316" y="16"/>
                </a:cubicBezTo>
                <a:cubicBezTo>
                  <a:pt x="314" y="16"/>
                  <a:pt x="313" y="15"/>
                  <a:pt x="311" y="14"/>
                </a:cubicBezTo>
                <a:cubicBezTo>
                  <a:pt x="311" y="13"/>
                  <a:pt x="310" y="12"/>
                  <a:pt x="310" y="11"/>
                </a:cubicBezTo>
                <a:cubicBezTo>
                  <a:pt x="309" y="10"/>
                  <a:pt x="309" y="8"/>
                  <a:pt x="308" y="7"/>
                </a:cubicBezTo>
                <a:cubicBezTo>
                  <a:pt x="309" y="7"/>
                  <a:pt x="308" y="7"/>
                  <a:pt x="308" y="7"/>
                </a:cubicBezTo>
                <a:cubicBezTo>
                  <a:pt x="307" y="5"/>
                  <a:pt x="305" y="4"/>
                  <a:pt x="304" y="3"/>
                </a:cubicBezTo>
                <a:cubicBezTo>
                  <a:pt x="303" y="2"/>
                  <a:pt x="302" y="2"/>
                  <a:pt x="301" y="1"/>
                </a:cubicBezTo>
                <a:cubicBezTo>
                  <a:pt x="301" y="1"/>
                  <a:pt x="300" y="1"/>
                  <a:pt x="299" y="0"/>
                </a:cubicBezTo>
                <a:cubicBezTo>
                  <a:pt x="295" y="0"/>
                  <a:pt x="295" y="0"/>
                  <a:pt x="295" y="0"/>
                </a:cubicBezTo>
                <a:cubicBezTo>
                  <a:pt x="293" y="0"/>
                  <a:pt x="293" y="0"/>
                  <a:pt x="292" y="1"/>
                </a:cubicBezTo>
                <a:cubicBezTo>
                  <a:pt x="292" y="2"/>
                  <a:pt x="291" y="2"/>
                  <a:pt x="290" y="3"/>
                </a:cubicBezTo>
                <a:cubicBezTo>
                  <a:pt x="286" y="3"/>
                  <a:pt x="286" y="3"/>
                  <a:pt x="286" y="3"/>
                </a:cubicBezTo>
                <a:cubicBezTo>
                  <a:pt x="285" y="3"/>
                  <a:pt x="285" y="4"/>
                  <a:pt x="285" y="5"/>
                </a:cubicBezTo>
                <a:cubicBezTo>
                  <a:pt x="283" y="5"/>
                  <a:pt x="283" y="6"/>
                  <a:pt x="281" y="6"/>
                </a:cubicBezTo>
                <a:cubicBezTo>
                  <a:pt x="280" y="7"/>
                  <a:pt x="278" y="8"/>
                  <a:pt x="278" y="11"/>
                </a:cubicBezTo>
                <a:cubicBezTo>
                  <a:pt x="276" y="11"/>
                  <a:pt x="276" y="12"/>
                  <a:pt x="275" y="13"/>
                </a:cubicBezTo>
                <a:cubicBezTo>
                  <a:pt x="273" y="13"/>
                  <a:pt x="273" y="14"/>
                  <a:pt x="272" y="14"/>
                </a:cubicBezTo>
                <a:cubicBezTo>
                  <a:pt x="267" y="14"/>
                  <a:pt x="267" y="14"/>
                  <a:pt x="267" y="14"/>
                </a:cubicBezTo>
                <a:cubicBezTo>
                  <a:pt x="267" y="13"/>
                  <a:pt x="265" y="14"/>
                  <a:pt x="265" y="13"/>
                </a:cubicBezTo>
                <a:cubicBezTo>
                  <a:pt x="265" y="14"/>
                  <a:pt x="264" y="14"/>
                  <a:pt x="262" y="14"/>
                </a:cubicBezTo>
                <a:cubicBezTo>
                  <a:pt x="262" y="14"/>
                  <a:pt x="262" y="14"/>
                  <a:pt x="262" y="14"/>
                </a:cubicBezTo>
                <a:cubicBezTo>
                  <a:pt x="261" y="15"/>
                  <a:pt x="261" y="16"/>
                  <a:pt x="260" y="16"/>
                </a:cubicBezTo>
                <a:cubicBezTo>
                  <a:pt x="261" y="17"/>
                  <a:pt x="261" y="19"/>
                  <a:pt x="261" y="21"/>
                </a:cubicBezTo>
                <a:cubicBezTo>
                  <a:pt x="261" y="22"/>
                  <a:pt x="260" y="22"/>
                  <a:pt x="260" y="23"/>
                </a:cubicBezTo>
                <a:cubicBezTo>
                  <a:pt x="260" y="24"/>
                  <a:pt x="260" y="25"/>
                  <a:pt x="259" y="25"/>
                </a:cubicBezTo>
                <a:cubicBezTo>
                  <a:pt x="259" y="27"/>
                  <a:pt x="257" y="27"/>
                  <a:pt x="257" y="29"/>
                </a:cubicBezTo>
                <a:cubicBezTo>
                  <a:pt x="250" y="29"/>
                  <a:pt x="250" y="29"/>
                  <a:pt x="250" y="29"/>
                </a:cubicBezTo>
                <a:cubicBezTo>
                  <a:pt x="249" y="31"/>
                  <a:pt x="246" y="29"/>
                  <a:pt x="244" y="30"/>
                </a:cubicBezTo>
                <a:cubicBezTo>
                  <a:pt x="237" y="30"/>
                  <a:pt x="237" y="30"/>
                  <a:pt x="237" y="30"/>
                </a:cubicBezTo>
                <a:cubicBezTo>
                  <a:pt x="236" y="30"/>
                  <a:pt x="236" y="31"/>
                  <a:pt x="236" y="32"/>
                </a:cubicBezTo>
                <a:cubicBezTo>
                  <a:pt x="236" y="34"/>
                  <a:pt x="236" y="34"/>
                  <a:pt x="235" y="35"/>
                </a:cubicBezTo>
                <a:cubicBezTo>
                  <a:pt x="233" y="35"/>
                  <a:pt x="231" y="34"/>
                  <a:pt x="229" y="34"/>
                </a:cubicBezTo>
                <a:cubicBezTo>
                  <a:pt x="229" y="34"/>
                  <a:pt x="229" y="34"/>
                  <a:pt x="229" y="34"/>
                </a:cubicBezTo>
                <a:cubicBezTo>
                  <a:pt x="229" y="34"/>
                  <a:pt x="229" y="34"/>
                  <a:pt x="229" y="34"/>
                </a:cubicBezTo>
                <a:cubicBezTo>
                  <a:pt x="229" y="34"/>
                  <a:pt x="229" y="34"/>
                  <a:pt x="229" y="34"/>
                </a:cubicBezTo>
                <a:cubicBezTo>
                  <a:pt x="229" y="34"/>
                  <a:pt x="229" y="34"/>
                  <a:pt x="229" y="34"/>
                </a:cubicBezTo>
                <a:cubicBezTo>
                  <a:pt x="228" y="35"/>
                  <a:pt x="227" y="36"/>
                  <a:pt x="226" y="37"/>
                </a:cubicBezTo>
                <a:cubicBezTo>
                  <a:pt x="226" y="37"/>
                  <a:pt x="226" y="37"/>
                  <a:pt x="226" y="37"/>
                </a:cubicBezTo>
                <a:cubicBezTo>
                  <a:pt x="226" y="38"/>
                  <a:pt x="226" y="38"/>
                  <a:pt x="226" y="38"/>
                </a:cubicBezTo>
                <a:cubicBezTo>
                  <a:pt x="226" y="38"/>
                  <a:pt x="226" y="38"/>
                  <a:pt x="226" y="38"/>
                </a:cubicBezTo>
                <a:cubicBezTo>
                  <a:pt x="226" y="38"/>
                  <a:pt x="226" y="38"/>
                  <a:pt x="226" y="38"/>
                </a:cubicBezTo>
                <a:cubicBezTo>
                  <a:pt x="226" y="38"/>
                  <a:pt x="226" y="38"/>
                  <a:pt x="226" y="38"/>
                </a:cubicBezTo>
                <a:cubicBezTo>
                  <a:pt x="226" y="38"/>
                  <a:pt x="226" y="38"/>
                  <a:pt x="226" y="38"/>
                </a:cubicBezTo>
                <a:cubicBezTo>
                  <a:pt x="226" y="38"/>
                  <a:pt x="226" y="38"/>
                  <a:pt x="226" y="38"/>
                </a:cubicBezTo>
                <a:cubicBezTo>
                  <a:pt x="226" y="38"/>
                  <a:pt x="226" y="38"/>
                  <a:pt x="226" y="38"/>
                </a:cubicBezTo>
                <a:cubicBezTo>
                  <a:pt x="226" y="39"/>
                  <a:pt x="225" y="39"/>
                  <a:pt x="225" y="40"/>
                </a:cubicBezTo>
                <a:cubicBezTo>
                  <a:pt x="225" y="40"/>
                  <a:pt x="224" y="40"/>
                  <a:pt x="224" y="40"/>
                </a:cubicBezTo>
                <a:cubicBezTo>
                  <a:pt x="224" y="40"/>
                  <a:pt x="224" y="41"/>
                  <a:pt x="224" y="41"/>
                </a:cubicBezTo>
                <a:cubicBezTo>
                  <a:pt x="224" y="41"/>
                  <a:pt x="224" y="41"/>
                  <a:pt x="224" y="41"/>
                </a:cubicBezTo>
                <a:cubicBezTo>
                  <a:pt x="223" y="42"/>
                  <a:pt x="222" y="43"/>
                  <a:pt x="221" y="44"/>
                </a:cubicBezTo>
                <a:cubicBezTo>
                  <a:pt x="221" y="44"/>
                  <a:pt x="221" y="45"/>
                  <a:pt x="220" y="45"/>
                </a:cubicBezTo>
                <a:cubicBezTo>
                  <a:pt x="220" y="45"/>
                  <a:pt x="220" y="45"/>
                  <a:pt x="220" y="45"/>
                </a:cubicBezTo>
                <a:cubicBezTo>
                  <a:pt x="220" y="45"/>
                  <a:pt x="220" y="45"/>
                  <a:pt x="220" y="46"/>
                </a:cubicBezTo>
                <a:cubicBezTo>
                  <a:pt x="220" y="46"/>
                  <a:pt x="220" y="46"/>
                  <a:pt x="220" y="46"/>
                </a:cubicBezTo>
                <a:cubicBezTo>
                  <a:pt x="220" y="46"/>
                  <a:pt x="220" y="46"/>
                  <a:pt x="220" y="47"/>
                </a:cubicBezTo>
                <a:cubicBezTo>
                  <a:pt x="220" y="47"/>
                  <a:pt x="220" y="47"/>
                  <a:pt x="220" y="47"/>
                </a:cubicBezTo>
                <a:cubicBezTo>
                  <a:pt x="220" y="48"/>
                  <a:pt x="220" y="48"/>
                  <a:pt x="220" y="49"/>
                </a:cubicBezTo>
                <a:cubicBezTo>
                  <a:pt x="220" y="49"/>
                  <a:pt x="220" y="49"/>
                  <a:pt x="220" y="49"/>
                </a:cubicBezTo>
                <a:cubicBezTo>
                  <a:pt x="219" y="50"/>
                  <a:pt x="219" y="52"/>
                  <a:pt x="218" y="52"/>
                </a:cubicBezTo>
                <a:cubicBezTo>
                  <a:pt x="218" y="52"/>
                  <a:pt x="218" y="52"/>
                  <a:pt x="218" y="53"/>
                </a:cubicBezTo>
                <a:cubicBezTo>
                  <a:pt x="218" y="53"/>
                  <a:pt x="218" y="53"/>
                  <a:pt x="218" y="53"/>
                </a:cubicBezTo>
                <a:cubicBezTo>
                  <a:pt x="218" y="53"/>
                  <a:pt x="218" y="54"/>
                  <a:pt x="218" y="54"/>
                </a:cubicBezTo>
                <a:cubicBezTo>
                  <a:pt x="218" y="54"/>
                  <a:pt x="218" y="54"/>
                  <a:pt x="218" y="54"/>
                </a:cubicBezTo>
                <a:cubicBezTo>
                  <a:pt x="218" y="54"/>
                  <a:pt x="218" y="54"/>
                  <a:pt x="217" y="54"/>
                </a:cubicBezTo>
                <a:cubicBezTo>
                  <a:pt x="217" y="55"/>
                  <a:pt x="217" y="55"/>
                  <a:pt x="217" y="55"/>
                </a:cubicBezTo>
                <a:cubicBezTo>
                  <a:pt x="217" y="55"/>
                  <a:pt x="217" y="55"/>
                  <a:pt x="217" y="55"/>
                </a:cubicBezTo>
                <a:cubicBezTo>
                  <a:pt x="217" y="55"/>
                  <a:pt x="217" y="56"/>
                  <a:pt x="217" y="56"/>
                </a:cubicBezTo>
                <a:cubicBezTo>
                  <a:pt x="217" y="56"/>
                  <a:pt x="217" y="56"/>
                  <a:pt x="217" y="56"/>
                </a:cubicBezTo>
                <a:cubicBezTo>
                  <a:pt x="217" y="56"/>
                  <a:pt x="217" y="56"/>
                  <a:pt x="217" y="57"/>
                </a:cubicBezTo>
                <a:cubicBezTo>
                  <a:pt x="217" y="57"/>
                  <a:pt x="217" y="57"/>
                  <a:pt x="217" y="57"/>
                </a:cubicBezTo>
                <a:cubicBezTo>
                  <a:pt x="217" y="57"/>
                  <a:pt x="217" y="57"/>
                  <a:pt x="217" y="58"/>
                </a:cubicBezTo>
                <a:cubicBezTo>
                  <a:pt x="217" y="58"/>
                  <a:pt x="217" y="58"/>
                  <a:pt x="217" y="58"/>
                </a:cubicBezTo>
                <a:cubicBezTo>
                  <a:pt x="217" y="58"/>
                  <a:pt x="217" y="58"/>
                  <a:pt x="217" y="58"/>
                </a:cubicBezTo>
                <a:cubicBezTo>
                  <a:pt x="217" y="59"/>
                  <a:pt x="217" y="59"/>
                  <a:pt x="217" y="59"/>
                </a:cubicBezTo>
                <a:cubicBezTo>
                  <a:pt x="217" y="59"/>
                  <a:pt x="217" y="59"/>
                  <a:pt x="217" y="60"/>
                </a:cubicBezTo>
                <a:cubicBezTo>
                  <a:pt x="217" y="60"/>
                  <a:pt x="217" y="60"/>
                  <a:pt x="217" y="60"/>
                </a:cubicBezTo>
                <a:cubicBezTo>
                  <a:pt x="217" y="60"/>
                  <a:pt x="217" y="60"/>
                  <a:pt x="217" y="60"/>
                </a:cubicBezTo>
                <a:cubicBezTo>
                  <a:pt x="217" y="60"/>
                  <a:pt x="217" y="60"/>
                  <a:pt x="217" y="60"/>
                </a:cubicBezTo>
                <a:cubicBezTo>
                  <a:pt x="217" y="60"/>
                  <a:pt x="217" y="60"/>
                  <a:pt x="217" y="60"/>
                </a:cubicBezTo>
                <a:cubicBezTo>
                  <a:pt x="217" y="60"/>
                  <a:pt x="217" y="60"/>
                  <a:pt x="217" y="60"/>
                </a:cubicBezTo>
                <a:cubicBezTo>
                  <a:pt x="217" y="60"/>
                  <a:pt x="217" y="60"/>
                  <a:pt x="217" y="60"/>
                </a:cubicBezTo>
                <a:cubicBezTo>
                  <a:pt x="217" y="60"/>
                  <a:pt x="217" y="60"/>
                  <a:pt x="217" y="60"/>
                </a:cubicBezTo>
                <a:cubicBezTo>
                  <a:pt x="217" y="60"/>
                  <a:pt x="217" y="60"/>
                  <a:pt x="217" y="60"/>
                </a:cubicBezTo>
                <a:cubicBezTo>
                  <a:pt x="217" y="60"/>
                  <a:pt x="217" y="60"/>
                  <a:pt x="217" y="60"/>
                </a:cubicBezTo>
                <a:cubicBezTo>
                  <a:pt x="217" y="60"/>
                  <a:pt x="217" y="60"/>
                  <a:pt x="217" y="60"/>
                </a:cubicBezTo>
                <a:cubicBezTo>
                  <a:pt x="218" y="60"/>
                  <a:pt x="218" y="60"/>
                  <a:pt x="218" y="60"/>
                </a:cubicBezTo>
                <a:cubicBezTo>
                  <a:pt x="218" y="60"/>
                  <a:pt x="218" y="60"/>
                  <a:pt x="218" y="60"/>
                </a:cubicBezTo>
                <a:cubicBezTo>
                  <a:pt x="218" y="60"/>
                  <a:pt x="218" y="60"/>
                  <a:pt x="218" y="60"/>
                </a:cubicBezTo>
                <a:cubicBezTo>
                  <a:pt x="218" y="60"/>
                  <a:pt x="218" y="60"/>
                  <a:pt x="218" y="60"/>
                </a:cubicBezTo>
                <a:cubicBezTo>
                  <a:pt x="218" y="61"/>
                  <a:pt x="218" y="61"/>
                  <a:pt x="218" y="61"/>
                </a:cubicBezTo>
                <a:cubicBezTo>
                  <a:pt x="219" y="61"/>
                  <a:pt x="219" y="61"/>
                  <a:pt x="219" y="62"/>
                </a:cubicBezTo>
                <a:cubicBezTo>
                  <a:pt x="219" y="62"/>
                  <a:pt x="219" y="62"/>
                  <a:pt x="220" y="62"/>
                </a:cubicBezTo>
                <a:cubicBezTo>
                  <a:pt x="220" y="62"/>
                  <a:pt x="220" y="63"/>
                  <a:pt x="220" y="63"/>
                </a:cubicBezTo>
                <a:cubicBezTo>
                  <a:pt x="220" y="63"/>
                  <a:pt x="220" y="63"/>
                  <a:pt x="220" y="64"/>
                </a:cubicBezTo>
                <a:cubicBezTo>
                  <a:pt x="221" y="64"/>
                  <a:pt x="221" y="64"/>
                  <a:pt x="221" y="64"/>
                </a:cubicBezTo>
                <a:cubicBezTo>
                  <a:pt x="221" y="64"/>
                  <a:pt x="221" y="64"/>
                  <a:pt x="221" y="64"/>
                </a:cubicBezTo>
                <a:cubicBezTo>
                  <a:pt x="222" y="64"/>
                  <a:pt x="222" y="65"/>
                  <a:pt x="222" y="66"/>
                </a:cubicBezTo>
                <a:cubicBezTo>
                  <a:pt x="222" y="66"/>
                  <a:pt x="222" y="66"/>
                  <a:pt x="222" y="66"/>
                </a:cubicBezTo>
                <a:cubicBezTo>
                  <a:pt x="223" y="66"/>
                  <a:pt x="223" y="67"/>
                  <a:pt x="223" y="68"/>
                </a:cubicBezTo>
                <a:cubicBezTo>
                  <a:pt x="223" y="68"/>
                  <a:pt x="223" y="68"/>
                  <a:pt x="223" y="68"/>
                </a:cubicBezTo>
                <a:cubicBezTo>
                  <a:pt x="223" y="68"/>
                  <a:pt x="223" y="69"/>
                  <a:pt x="223" y="69"/>
                </a:cubicBezTo>
                <a:cubicBezTo>
                  <a:pt x="222" y="69"/>
                  <a:pt x="223" y="71"/>
                  <a:pt x="221" y="71"/>
                </a:cubicBezTo>
                <a:cubicBezTo>
                  <a:pt x="221" y="70"/>
                  <a:pt x="220" y="69"/>
                  <a:pt x="220" y="70"/>
                </a:cubicBezTo>
                <a:cubicBezTo>
                  <a:pt x="220" y="71"/>
                  <a:pt x="220" y="71"/>
                  <a:pt x="219" y="71"/>
                </a:cubicBezTo>
                <a:cubicBezTo>
                  <a:pt x="220" y="72"/>
                  <a:pt x="219" y="72"/>
                  <a:pt x="218" y="72"/>
                </a:cubicBezTo>
                <a:cubicBezTo>
                  <a:pt x="218" y="72"/>
                  <a:pt x="218" y="72"/>
                  <a:pt x="218" y="72"/>
                </a:cubicBezTo>
                <a:cubicBezTo>
                  <a:pt x="218" y="72"/>
                  <a:pt x="218" y="72"/>
                  <a:pt x="218" y="72"/>
                </a:cubicBezTo>
                <a:cubicBezTo>
                  <a:pt x="217" y="72"/>
                  <a:pt x="217" y="72"/>
                  <a:pt x="217" y="72"/>
                </a:cubicBezTo>
                <a:cubicBezTo>
                  <a:pt x="217" y="72"/>
                  <a:pt x="217" y="72"/>
                  <a:pt x="217" y="72"/>
                </a:cubicBezTo>
                <a:cubicBezTo>
                  <a:pt x="217" y="72"/>
                  <a:pt x="217" y="72"/>
                  <a:pt x="217" y="72"/>
                </a:cubicBezTo>
                <a:cubicBezTo>
                  <a:pt x="217" y="72"/>
                  <a:pt x="217" y="72"/>
                  <a:pt x="217" y="72"/>
                </a:cubicBezTo>
                <a:cubicBezTo>
                  <a:pt x="217" y="72"/>
                  <a:pt x="217" y="72"/>
                  <a:pt x="217" y="72"/>
                </a:cubicBezTo>
                <a:cubicBezTo>
                  <a:pt x="217" y="72"/>
                  <a:pt x="217" y="72"/>
                  <a:pt x="217" y="72"/>
                </a:cubicBezTo>
                <a:cubicBezTo>
                  <a:pt x="217" y="72"/>
                  <a:pt x="217" y="72"/>
                  <a:pt x="217" y="72"/>
                </a:cubicBezTo>
                <a:cubicBezTo>
                  <a:pt x="217" y="72"/>
                  <a:pt x="217" y="72"/>
                  <a:pt x="217" y="72"/>
                </a:cubicBezTo>
                <a:cubicBezTo>
                  <a:pt x="216" y="72"/>
                  <a:pt x="216" y="72"/>
                  <a:pt x="216" y="72"/>
                </a:cubicBezTo>
                <a:cubicBezTo>
                  <a:pt x="215" y="72"/>
                  <a:pt x="214" y="72"/>
                  <a:pt x="214" y="70"/>
                </a:cubicBezTo>
                <a:cubicBezTo>
                  <a:pt x="214" y="70"/>
                  <a:pt x="214" y="70"/>
                  <a:pt x="214" y="70"/>
                </a:cubicBezTo>
                <a:cubicBezTo>
                  <a:pt x="214" y="70"/>
                  <a:pt x="214" y="70"/>
                  <a:pt x="214" y="70"/>
                </a:cubicBezTo>
                <a:cubicBezTo>
                  <a:pt x="214" y="69"/>
                  <a:pt x="214" y="69"/>
                  <a:pt x="214" y="69"/>
                </a:cubicBezTo>
                <a:cubicBezTo>
                  <a:pt x="213" y="69"/>
                  <a:pt x="213" y="69"/>
                  <a:pt x="213" y="68"/>
                </a:cubicBezTo>
                <a:cubicBezTo>
                  <a:pt x="213" y="68"/>
                  <a:pt x="213" y="68"/>
                  <a:pt x="213" y="68"/>
                </a:cubicBezTo>
                <a:cubicBezTo>
                  <a:pt x="212" y="68"/>
                  <a:pt x="212" y="67"/>
                  <a:pt x="212" y="67"/>
                </a:cubicBezTo>
                <a:cubicBezTo>
                  <a:pt x="212" y="67"/>
                  <a:pt x="212" y="67"/>
                  <a:pt x="211" y="67"/>
                </a:cubicBezTo>
                <a:cubicBezTo>
                  <a:pt x="211" y="66"/>
                  <a:pt x="210" y="66"/>
                  <a:pt x="210" y="65"/>
                </a:cubicBezTo>
                <a:cubicBezTo>
                  <a:pt x="209" y="65"/>
                  <a:pt x="209" y="65"/>
                  <a:pt x="209" y="65"/>
                </a:cubicBezTo>
                <a:cubicBezTo>
                  <a:pt x="206" y="65"/>
                  <a:pt x="206" y="65"/>
                  <a:pt x="206" y="65"/>
                </a:cubicBezTo>
                <a:cubicBezTo>
                  <a:pt x="206" y="65"/>
                  <a:pt x="206" y="66"/>
                  <a:pt x="206" y="66"/>
                </a:cubicBezTo>
                <a:cubicBezTo>
                  <a:pt x="206" y="66"/>
                  <a:pt x="206" y="66"/>
                  <a:pt x="206" y="66"/>
                </a:cubicBezTo>
                <a:cubicBezTo>
                  <a:pt x="206" y="66"/>
                  <a:pt x="206" y="66"/>
                  <a:pt x="206" y="66"/>
                </a:cubicBezTo>
                <a:cubicBezTo>
                  <a:pt x="206" y="66"/>
                  <a:pt x="206" y="66"/>
                  <a:pt x="206" y="66"/>
                </a:cubicBezTo>
                <a:cubicBezTo>
                  <a:pt x="205" y="66"/>
                  <a:pt x="205" y="66"/>
                  <a:pt x="205" y="66"/>
                </a:cubicBezTo>
                <a:cubicBezTo>
                  <a:pt x="205" y="66"/>
                  <a:pt x="205" y="66"/>
                  <a:pt x="205" y="66"/>
                </a:cubicBezTo>
                <a:cubicBezTo>
                  <a:pt x="203" y="67"/>
                  <a:pt x="203" y="67"/>
                  <a:pt x="201" y="67"/>
                </a:cubicBezTo>
                <a:cubicBezTo>
                  <a:pt x="201" y="67"/>
                  <a:pt x="201" y="68"/>
                  <a:pt x="201" y="68"/>
                </a:cubicBezTo>
                <a:cubicBezTo>
                  <a:pt x="201" y="68"/>
                  <a:pt x="201" y="68"/>
                  <a:pt x="201" y="68"/>
                </a:cubicBezTo>
                <a:cubicBezTo>
                  <a:pt x="201" y="68"/>
                  <a:pt x="201" y="68"/>
                  <a:pt x="201" y="68"/>
                </a:cubicBezTo>
                <a:cubicBezTo>
                  <a:pt x="201" y="68"/>
                  <a:pt x="201" y="68"/>
                  <a:pt x="201" y="68"/>
                </a:cubicBezTo>
                <a:cubicBezTo>
                  <a:pt x="201" y="68"/>
                  <a:pt x="201" y="68"/>
                  <a:pt x="201" y="68"/>
                </a:cubicBezTo>
                <a:cubicBezTo>
                  <a:pt x="201" y="68"/>
                  <a:pt x="201" y="68"/>
                  <a:pt x="201" y="68"/>
                </a:cubicBezTo>
                <a:cubicBezTo>
                  <a:pt x="201" y="68"/>
                  <a:pt x="201" y="68"/>
                  <a:pt x="201" y="68"/>
                </a:cubicBezTo>
                <a:cubicBezTo>
                  <a:pt x="201" y="68"/>
                  <a:pt x="201" y="68"/>
                  <a:pt x="201" y="68"/>
                </a:cubicBezTo>
                <a:cubicBezTo>
                  <a:pt x="201" y="68"/>
                  <a:pt x="201" y="68"/>
                  <a:pt x="201" y="68"/>
                </a:cubicBezTo>
                <a:cubicBezTo>
                  <a:pt x="201" y="68"/>
                  <a:pt x="201" y="68"/>
                  <a:pt x="200" y="68"/>
                </a:cubicBezTo>
                <a:cubicBezTo>
                  <a:pt x="199" y="68"/>
                  <a:pt x="199" y="69"/>
                  <a:pt x="198" y="69"/>
                </a:cubicBezTo>
                <a:cubicBezTo>
                  <a:pt x="197" y="69"/>
                  <a:pt x="197" y="69"/>
                  <a:pt x="197" y="69"/>
                </a:cubicBezTo>
                <a:cubicBezTo>
                  <a:pt x="196" y="69"/>
                  <a:pt x="196" y="68"/>
                  <a:pt x="195" y="68"/>
                </a:cubicBezTo>
                <a:cubicBezTo>
                  <a:pt x="193" y="68"/>
                  <a:pt x="194" y="70"/>
                  <a:pt x="191" y="69"/>
                </a:cubicBezTo>
                <a:cubicBezTo>
                  <a:pt x="191" y="69"/>
                  <a:pt x="191" y="70"/>
                  <a:pt x="191" y="71"/>
                </a:cubicBezTo>
                <a:cubicBezTo>
                  <a:pt x="190" y="71"/>
                  <a:pt x="189" y="71"/>
                  <a:pt x="189" y="72"/>
                </a:cubicBezTo>
                <a:cubicBezTo>
                  <a:pt x="189" y="74"/>
                  <a:pt x="189" y="74"/>
                  <a:pt x="187" y="74"/>
                </a:cubicBezTo>
                <a:cubicBezTo>
                  <a:pt x="187" y="77"/>
                  <a:pt x="187" y="77"/>
                  <a:pt x="187" y="77"/>
                </a:cubicBezTo>
                <a:cubicBezTo>
                  <a:pt x="187" y="77"/>
                  <a:pt x="187" y="78"/>
                  <a:pt x="186" y="78"/>
                </a:cubicBezTo>
                <a:cubicBezTo>
                  <a:pt x="184" y="78"/>
                  <a:pt x="184" y="76"/>
                  <a:pt x="184" y="76"/>
                </a:cubicBezTo>
                <a:cubicBezTo>
                  <a:pt x="184" y="74"/>
                  <a:pt x="182" y="75"/>
                  <a:pt x="182" y="73"/>
                </a:cubicBezTo>
                <a:cubicBezTo>
                  <a:pt x="181" y="73"/>
                  <a:pt x="181" y="72"/>
                  <a:pt x="181" y="72"/>
                </a:cubicBezTo>
                <a:cubicBezTo>
                  <a:pt x="181" y="71"/>
                  <a:pt x="180" y="72"/>
                  <a:pt x="180" y="72"/>
                </a:cubicBezTo>
                <a:cubicBezTo>
                  <a:pt x="180" y="71"/>
                  <a:pt x="181" y="69"/>
                  <a:pt x="180" y="69"/>
                </a:cubicBezTo>
                <a:cubicBezTo>
                  <a:pt x="179" y="70"/>
                  <a:pt x="179" y="69"/>
                  <a:pt x="179" y="69"/>
                </a:cubicBezTo>
                <a:cubicBezTo>
                  <a:pt x="178" y="69"/>
                  <a:pt x="178" y="70"/>
                  <a:pt x="177" y="70"/>
                </a:cubicBezTo>
                <a:cubicBezTo>
                  <a:pt x="177" y="70"/>
                  <a:pt x="176" y="71"/>
                  <a:pt x="176" y="72"/>
                </a:cubicBezTo>
                <a:cubicBezTo>
                  <a:pt x="174" y="71"/>
                  <a:pt x="174" y="73"/>
                  <a:pt x="173" y="74"/>
                </a:cubicBezTo>
                <a:cubicBezTo>
                  <a:pt x="173" y="76"/>
                  <a:pt x="172" y="78"/>
                  <a:pt x="172" y="80"/>
                </a:cubicBezTo>
                <a:cubicBezTo>
                  <a:pt x="170" y="80"/>
                  <a:pt x="168" y="79"/>
                  <a:pt x="166" y="78"/>
                </a:cubicBezTo>
                <a:cubicBezTo>
                  <a:pt x="165" y="77"/>
                  <a:pt x="164" y="76"/>
                  <a:pt x="164" y="74"/>
                </a:cubicBezTo>
                <a:cubicBezTo>
                  <a:pt x="164" y="74"/>
                  <a:pt x="164" y="74"/>
                  <a:pt x="164" y="74"/>
                </a:cubicBezTo>
                <a:cubicBezTo>
                  <a:pt x="163" y="74"/>
                  <a:pt x="163" y="74"/>
                  <a:pt x="163" y="74"/>
                </a:cubicBezTo>
                <a:cubicBezTo>
                  <a:pt x="163" y="74"/>
                  <a:pt x="163" y="74"/>
                  <a:pt x="163" y="74"/>
                </a:cubicBezTo>
                <a:cubicBezTo>
                  <a:pt x="163" y="74"/>
                  <a:pt x="163" y="74"/>
                  <a:pt x="163" y="74"/>
                </a:cubicBezTo>
                <a:cubicBezTo>
                  <a:pt x="162" y="74"/>
                  <a:pt x="162" y="74"/>
                  <a:pt x="162" y="74"/>
                </a:cubicBezTo>
                <a:cubicBezTo>
                  <a:pt x="162" y="74"/>
                  <a:pt x="162" y="74"/>
                  <a:pt x="162" y="74"/>
                </a:cubicBezTo>
                <a:cubicBezTo>
                  <a:pt x="162" y="74"/>
                  <a:pt x="162" y="74"/>
                  <a:pt x="162" y="74"/>
                </a:cubicBezTo>
                <a:cubicBezTo>
                  <a:pt x="161" y="74"/>
                  <a:pt x="161" y="74"/>
                  <a:pt x="161" y="74"/>
                </a:cubicBezTo>
                <a:cubicBezTo>
                  <a:pt x="161" y="74"/>
                  <a:pt x="161" y="74"/>
                  <a:pt x="161" y="74"/>
                </a:cubicBezTo>
                <a:cubicBezTo>
                  <a:pt x="161" y="74"/>
                  <a:pt x="160" y="75"/>
                  <a:pt x="160" y="75"/>
                </a:cubicBezTo>
                <a:cubicBezTo>
                  <a:pt x="160" y="75"/>
                  <a:pt x="160" y="75"/>
                  <a:pt x="160" y="75"/>
                </a:cubicBezTo>
                <a:cubicBezTo>
                  <a:pt x="160" y="75"/>
                  <a:pt x="160" y="75"/>
                  <a:pt x="160" y="75"/>
                </a:cubicBezTo>
                <a:cubicBezTo>
                  <a:pt x="159" y="76"/>
                  <a:pt x="159" y="76"/>
                  <a:pt x="158" y="76"/>
                </a:cubicBezTo>
                <a:cubicBezTo>
                  <a:pt x="158" y="76"/>
                  <a:pt x="158" y="76"/>
                  <a:pt x="158" y="76"/>
                </a:cubicBezTo>
                <a:cubicBezTo>
                  <a:pt x="158" y="76"/>
                  <a:pt x="158" y="76"/>
                  <a:pt x="158" y="76"/>
                </a:cubicBezTo>
                <a:cubicBezTo>
                  <a:pt x="158" y="76"/>
                  <a:pt x="158" y="76"/>
                  <a:pt x="158" y="76"/>
                </a:cubicBezTo>
                <a:cubicBezTo>
                  <a:pt x="158" y="76"/>
                  <a:pt x="158" y="76"/>
                  <a:pt x="158" y="76"/>
                </a:cubicBezTo>
                <a:cubicBezTo>
                  <a:pt x="158" y="76"/>
                  <a:pt x="158" y="76"/>
                  <a:pt x="158" y="76"/>
                </a:cubicBezTo>
                <a:cubicBezTo>
                  <a:pt x="157" y="76"/>
                  <a:pt x="157" y="76"/>
                  <a:pt x="157" y="76"/>
                </a:cubicBezTo>
                <a:cubicBezTo>
                  <a:pt x="157" y="76"/>
                  <a:pt x="157" y="76"/>
                  <a:pt x="157" y="76"/>
                </a:cubicBezTo>
                <a:cubicBezTo>
                  <a:pt x="157" y="76"/>
                  <a:pt x="157" y="76"/>
                  <a:pt x="157" y="76"/>
                </a:cubicBezTo>
                <a:cubicBezTo>
                  <a:pt x="157" y="76"/>
                  <a:pt x="157" y="76"/>
                  <a:pt x="157" y="76"/>
                </a:cubicBezTo>
                <a:cubicBezTo>
                  <a:pt x="157" y="76"/>
                  <a:pt x="157" y="76"/>
                  <a:pt x="157" y="76"/>
                </a:cubicBezTo>
                <a:cubicBezTo>
                  <a:pt x="155" y="75"/>
                  <a:pt x="153" y="75"/>
                  <a:pt x="153" y="73"/>
                </a:cubicBezTo>
                <a:cubicBezTo>
                  <a:pt x="152" y="74"/>
                  <a:pt x="150" y="75"/>
                  <a:pt x="150" y="76"/>
                </a:cubicBezTo>
                <a:cubicBezTo>
                  <a:pt x="147" y="76"/>
                  <a:pt x="147" y="77"/>
                  <a:pt x="145" y="77"/>
                </a:cubicBezTo>
                <a:cubicBezTo>
                  <a:pt x="145" y="77"/>
                  <a:pt x="145" y="78"/>
                  <a:pt x="144" y="78"/>
                </a:cubicBezTo>
                <a:cubicBezTo>
                  <a:pt x="144" y="79"/>
                  <a:pt x="143" y="79"/>
                  <a:pt x="143" y="80"/>
                </a:cubicBezTo>
                <a:cubicBezTo>
                  <a:pt x="144" y="82"/>
                  <a:pt x="142" y="81"/>
                  <a:pt x="142" y="83"/>
                </a:cubicBezTo>
                <a:cubicBezTo>
                  <a:pt x="142" y="83"/>
                  <a:pt x="141" y="83"/>
                  <a:pt x="141" y="83"/>
                </a:cubicBezTo>
                <a:cubicBezTo>
                  <a:pt x="140" y="83"/>
                  <a:pt x="139" y="83"/>
                  <a:pt x="138" y="82"/>
                </a:cubicBezTo>
                <a:cubicBezTo>
                  <a:pt x="138" y="82"/>
                  <a:pt x="138" y="81"/>
                  <a:pt x="138" y="81"/>
                </a:cubicBezTo>
                <a:cubicBezTo>
                  <a:pt x="137" y="79"/>
                  <a:pt x="140" y="80"/>
                  <a:pt x="139" y="78"/>
                </a:cubicBezTo>
                <a:cubicBezTo>
                  <a:pt x="138" y="76"/>
                  <a:pt x="135" y="76"/>
                  <a:pt x="132" y="75"/>
                </a:cubicBezTo>
                <a:cubicBezTo>
                  <a:pt x="132" y="78"/>
                  <a:pt x="132" y="78"/>
                  <a:pt x="132" y="78"/>
                </a:cubicBezTo>
                <a:cubicBezTo>
                  <a:pt x="131" y="79"/>
                  <a:pt x="130" y="80"/>
                  <a:pt x="130" y="81"/>
                </a:cubicBezTo>
                <a:cubicBezTo>
                  <a:pt x="125" y="81"/>
                  <a:pt x="125" y="81"/>
                  <a:pt x="125" y="81"/>
                </a:cubicBezTo>
                <a:cubicBezTo>
                  <a:pt x="124" y="79"/>
                  <a:pt x="122" y="78"/>
                  <a:pt x="122" y="75"/>
                </a:cubicBezTo>
                <a:cubicBezTo>
                  <a:pt x="111" y="76"/>
                  <a:pt x="101" y="73"/>
                  <a:pt x="91" y="74"/>
                </a:cubicBezTo>
                <a:cubicBezTo>
                  <a:pt x="90" y="75"/>
                  <a:pt x="90" y="73"/>
                  <a:pt x="90" y="72"/>
                </a:cubicBezTo>
                <a:cubicBezTo>
                  <a:pt x="89" y="72"/>
                  <a:pt x="88" y="72"/>
                  <a:pt x="88" y="71"/>
                </a:cubicBezTo>
                <a:cubicBezTo>
                  <a:pt x="86" y="72"/>
                  <a:pt x="83" y="72"/>
                  <a:pt x="81" y="73"/>
                </a:cubicBezTo>
                <a:cubicBezTo>
                  <a:pt x="79" y="73"/>
                  <a:pt x="79" y="73"/>
                  <a:pt x="78" y="74"/>
                </a:cubicBezTo>
                <a:cubicBezTo>
                  <a:pt x="75" y="74"/>
                  <a:pt x="71" y="73"/>
                  <a:pt x="67" y="74"/>
                </a:cubicBezTo>
                <a:cubicBezTo>
                  <a:pt x="65" y="73"/>
                  <a:pt x="66" y="76"/>
                  <a:pt x="63" y="76"/>
                </a:cubicBezTo>
                <a:cubicBezTo>
                  <a:pt x="62" y="77"/>
                  <a:pt x="60" y="76"/>
                  <a:pt x="60" y="77"/>
                </a:cubicBezTo>
                <a:cubicBezTo>
                  <a:pt x="59" y="77"/>
                  <a:pt x="59" y="77"/>
                  <a:pt x="58" y="77"/>
                </a:cubicBezTo>
                <a:cubicBezTo>
                  <a:pt x="57" y="77"/>
                  <a:pt x="57" y="78"/>
                  <a:pt x="56" y="78"/>
                </a:cubicBezTo>
                <a:cubicBezTo>
                  <a:pt x="55" y="78"/>
                  <a:pt x="55" y="78"/>
                  <a:pt x="54" y="78"/>
                </a:cubicBezTo>
                <a:cubicBezTo>
                  <a:pt x="54" y="79"/>
                  <a:pt x="53" y="79"/>
                  <a:pt x="53" y="80"/>
                </a:cubicBezTo>
                <a:cubicBezTo>
                  <a:pt x="52" y="80"/>
                  <a:pt x="50" y="79"/>
                  <a:pt x="50" y="80"/>
                </a:cubicBezTo>
                <a:cubicBezTo>
                  <a:pt x="50" y="80"/>
                  <a:pt x="50" y="81"/>
                  <a:pt x="50" y="81"/>
                </a:cubicBezTo>
                <a:cubicBezTo>
                  <a:pt x="49" y="81"/>
                  <a:pt x="47" y="80"/>
                  <a:pt x="46" y="81"/>
                </a:cubicBezTo>
                <a:cubicBezTo>
                  <a:pt x="46" y="81"/>
                  <a:pt x="47" y="81"/>
                  <a:pt x="46" y="81"/>
                </a:cubicBezTo>
                <a:cubicBezTo>
                  <a:pt x="45" y="81"/>
                  <a:pt x="44" y="81"/>
                  <a:pt x="43" y="81"/>
                </a:cubicBezTo>
                <a:cubicBezTo>
                  <a:pt x="42" y="81"/>
                  <a:pt x="42" y="82"/>
                  <a:pt x="42" y="83"/>
                </a:cubicBezTo>
                <a:cubicBezTo>
                  <a:pt x="42" y="85"/>
                  <a:pt x="43" y="85"/>
                  <a:pt x="43" y="86"/>
                </a:cubicBezTo>
                <a:cubicBezTo>
                  <a:pt x="42" y="86"/>
                  <a:pt x="42" y="87"/>
                  <a:pt x="42" y="88"/>
                </a:cubicBezTo>
                <a:cubicBezTo>
                  <a:pt x="42" y="88"/>
                  <a:pt x="42" y="89"/>
                  <a:pt x="42" y="90"/>
                </a:cubicBezTo>
                <a:cubicBezTo>
                  <a:pt x="40" y="89"/>
                  <a:pt x="41" y="92"/>
                  <a:pt x="39" y="91"/>
                </a:cubicBezTo>
                <a:cubicBezTo>
                  <a:pt x="39" y="93"/>
                  <a:pt x="37" y="92"/>
                  <a:pt x="37" y="93"/>
                </a:cubicBezTo>
                <a:cubicBezTo>
                  <a:pt x="35" y="93"/>
                  <a:pt x="35" y="94"/>
                  <a:pt x="33" y="94"/>
                </a:cubicBezTo>
                <a:cubicBezTo>
                  <a:pt x="33" y="95"/>
                  <a:pt x="33" y="95"/>
                  <a:pt x="33" y="96"/>
                </a:cubicBezTo>
                <a:cubicBezTo>
                  <a:pt x="32" y="96"/>
                  <a:pt x="31" y="96"/>
                  <a:pt x="31" y="97"/>
                </a:cubicBezTo>
                <a:cubicBezTo>
                  <a:pt x="27" y="96"/>
                  <a:pt x="25" y="99"/>
                  <a:pt x="22" y="100"/>
                </a:cubicBezTo>
                <a:cubicBezTo>
                  <a:pt x="22" y="101"/>
                  <a:pt x="23" y="101"/>
                  <a:pt x="24" y="101"/>
                </a:cubicBezTo>
                <a:cubicBezTo>
                  <a:pt x="24" y="103"/>
                  <a:pt x="24" y="104"/>
                  <a:pt x="26" y="104"/>
                </a:cubicBezTo>
                <a:cubicBezTo>
                  <a:pt x="26" y="106"/>
                  <a:pt x="26" y="108"/>
                  <a:pt x="26" y="110"/>
                </a:cubicBezTo>
                <a:cubicBezTo>
                  <a:pt x="26" y="113"/>
                  <a:pt x="28" y="113"/>
                  <a:pt x="29" y="115"/>
                </a:cubicBezTo>
                <a:cubicBezTo>
                  <a:pt x="31" y="115"/>
                  <a:pt x="30" y="118"/>
                  <a:pt x="33" y="118"/>
                </a:cubicBezTo>
                <a:cubicBezTo>
                  <a:pt x="33" y="120"/>
                  <a:pt x="35" y="121"/>
                  <a:pt x="35" y="123"/>
                </a:cubicBezTo>
                <a:cubicBezTo>
                  <a:pt x="36" y="125"/>
                  <a:pt x="38" y="125"/>
                  <a:pt x="38" y="127"/>
                </a:cubicBezTo>
                <a:cubicBezTo>
                  <a:pt x="39" y="127"/>
                  <a:pt x="41" y="127"/>
                  <a:pt x="42" y="128"/>
                </a:cubicBezTo>
                <a:cubicBezTo>
                  <a:pt x="41" y="129"/>
                  <a:pt x="40" y="128"/>
                  <a:pt x="40" y="129"/>
                </a:cubicBezTo>
                <a:cubicBezTo>
                  <a:pt x="39" y="129"/>
                  <a:pt x="39" y="131"/>
                  <a:pt x="38" y="131"/>
                </a:cubicBezTo>
                <a:cubicBezTo>
                  <a:pt x="39" y="134"/>
                  <a:pt x="40" y="137"/>
                  <a:pt x="43" y="137"/>
                </a:cubicBezTo>
                <a:cubicBezTo>
                  <a:pt x="43" y="140"/>
                  <a:pt x="43" y="142"/>
                  <a:pt x="42" y="145"/>
                </a:cubicBezTo>
                <a:cubicBezTo>
                  <a:pt x="42" y="145"/>
                  <a:pt x="42" y="145"/>
                  <a:pt x="41" y="145"/>
                </a:cubicBezTo>
                <a:cubicBezTo>
                  <a:pt x="41" y="145"/>
                  <a:pt x="41" y="145"/>
                  <a:pt x="41" y="145"/>
                </a:cubicBezTo>
                <a:cubicBezTo>
                  <a:pt x="41" y="145"/>
                  <a:pt x="41" y="145"/>
                  <a:pt x="40" y="145"/>
                </a:cubicBezTo>
                <a:cubicBezTo>
                  <a:pt x="40" y="145"/>
                  <a:pt x="40" y="146"/>
                  <a:pt x="40" y="146"/>
                </a:cubicBezTo>
                <a:cubicBezTo>
                  <a:pt x="40" y="146"/>
                  <a:pt x="39" y="146"/>
                  <a:pt x="39" y="146"/>
                </a:cubicBezTo>
                <a:cubicBezTo>
                  <a:pt x="39" y="146"/>
                  <a:pt x="39" y="146"/>
                  <a:pt x="38" y="146"/>
                </a:cubicBezTo>
                <a:cubicBezTo>
                  <a:pt x="38" y="146"/>
                  <a:pt x="38" y="146"/>
                  <a:pt x="38" y="146"/>
                </a:cubicBezTo>
                <a:cubicBezTo>
                  <a:pt x="38" y="146"/>
                  <a:pt x="38" y="146"/>
                  <a:pt x="38" y="146"/>
                </a:cubicBezTo>
                <a:cubicBezTo>
                  <a:pt x="38" y="146"/>
                  <a:pt x="38" y="146"/>
                  <a:pt x="38" y="146"/>
                </a:cubicBezTo>
                <a:cubicBezTo>
                  <a:pt x="37" y="147"/>
                  <a:pt x="36" y="146"/>
                  <a:pt x="34" y="148"/>
                </a:cubicBezTo>
                <a:cubicBezTo>
                  <a:pt x="34" y="148"/>
                  <a:pt x="34" y="148"/>
                  <a:pt x="34" y="148"/>
                </a:cubicBezTo>
                <a:cubicBezTo>
                  <a:pt x="34" y="148"/>
                  <a:pt x="34" y="149"/>
                  <a:pt x="33" y="149"/>
                </a:cubicBezTo>
                <a:cubicBezTo>
                  <a:pt x="33" y="149"/>
                  <a:pt x="33" y="150"/>
                  <a:pt x="33" y="150"/>
                </a:cubicBezTo>
                <a:cubicBezTo>
                  <a:pt x="33" y="150"/>
                  <a:pt x="33" y="150"/>
                  <a:pt x="33" y="150"/>
                </a:cubicBezTo>
                <a:cubicBezTo>
                  <a:pt x="33" y="150"/>
                  <a:pt x="33" y="150"/>
                  <a:pt x="33" y="150"/>
                </a:cubicBezTo>
                <a:cubicBezTo>
                  <a:pt x="33" y="150"/>
                  <a:pt x="33" y="151"/>
                  <a:pt x="33" y="152"/>
                </a:cubicBezTo>
                <a:cubicBezTo>
                  <a:pt x="33" y="152"/>
                  <a:pt x="32" y="152"/>
                  <a:pt x="32" y="152"/>
                </a:cubicBezTo>
                <a:cubicBezTo>
                  <a:pt x="32" y="153"/>
                  <a:pt x="31" y="154"/>
                  <a:pt x="31" y="155"/>
                </a:cubicBezTo>
                <a:cubicBezTo>
                  <a:pt x="31" y="155"/>
                  <a:pt x="31" y="155"/>
                  <a:pt x="31" y="155"/>
                </a:cubicBezTo>
                <a:cubicBezTo>
                  <a:pt x="31" y="157"/>
                  <a:pt x="30" y="157"/>
                  <a:pt x="29" y="159"/>
                </a:cubicBezTo>
                <a:cubicBezTo>
                  <a:pt x="29" y="160"/>
                  <a:pt x="28" y="160"/>
                  <a:pt x="28" y="161"/>
                </a:cubicBezTo>
                <a:cubicBezTo>
                  <a:pt x="26" y="161"/>
                  <a:pt x="27" y="164"/>
                  <a:pt x="26" y="163"/>
                </a:cubicBezTo>
                <a:cubicBezTo>
                  <a:pt x="25" y="164"/>
                  <a:pt x="25" y="165"/>
                  <a:pt x="23" y="166"/>
                </a:cubicBezTo>
                <a:cubicBezTo>
                  <a:pt x="24" y="167"/>
                  <a:pt x="22" y="168"/>
                  <a:pt x="22" y="169"/>
                </a:cubicBezTo>
                <a:cubicBezTo>
                  <a:pt x="21" y="170"/>
                  <a:pt x="21" y="172"/>
                  <a:pt x="20" y="172"/>
                </a:cubicBezTo>
                <a:cubicBezTo>
                  <a:pt x="21" y="174"/>
                  <a:pt x="19" y="174"/>
                  <a:pt x="19" y="175"/>
                </a:cubicBezTo>
                <a:cubicBezTo>
                  <a:pt x="19" y="177"/>
                  <a:pt x="18" y="177"/>
                  <a:pt x="17" y="179"/>
                </a:cubicBezTo>
                <a:cubicBezTo>
                  <a:pt x="15" y="179"/>
                  <a:pt x="16" y="183"/>
                  <a:pt x="14" y="183"/>
                </a:cubicBezTo>
                <a:cubicBezTo>
                  <a:pt x="14" y="184"/>
                  <a:pt x="14" y="184"/>
                  <a:pt x="13" y="184"/>
                </a:cubicBezTo>
                <a:cubicBezTo>
                  <a:pt x="13" y="187"/>
                  <a:pt x="11" y="188"/>
                  <a:pt x="10" y="191"/>
                </a:cubicBezTo>
                <a:cubicBezTo>
                  <a:pt x="10" y="194"/>
                  <a:pt x="10" y="197"/>
                  <a:pt x="12" y="198"/>
                </a:cubicBezTo>
                <a:cubicBezTo>
                  <a:pt x="12" y="202"/>
                  <a:pt x="12" y="202"/>
                  <a:pt x="12" y="202"/>
                </a:cubicBezTo>
                <a:cubicBezTo>
                  <a:pt x="12" y="204"/>
                  <a:pt x="12" y="204"/>
                  <a:pt x="12" y="206"/>
                </a:cubicBezTo>
                <a:cubicBezTo>
                  <a:pt x="12" y="206"/>
                  <a:pt x="13" y="206"/>
                  <a:pt x="13" y="207"/>
                </a:cubicBezTo>
                <a:cubicBezTo>
                  <a:pt x="13" y="208"/>
                  <a:pt x="13" y="209"/>
                  <a:pt x="13" y="209"/>
                </a:cubicBezTo>
                <a:cubicBezTo>
                  <a:pt x="13" y="210"/>
                  <a:pt x="14" y="210"/>
                  <a:pt x="14" y="210"/>
                </a:cubicBezTo>
                <a:cubicBezTo>
                  <a:pt x="14" y="211"/>
                  <a:pt x="14" y="211"/>
                  <a:pt x="14" y="212"/>
                </a:cubicBezTo>
                <a:cubicBezTo>
                  <a:pt x="15" y="214"/>
                  <a:pt x="17" y="214"/>
                  <a:pt x="18" y="215"/>
                </a:cubicBezTo>
                <a:cubicBezTo>
                  <a:pt x="18" y="216"/>
                  <a:pt x="18" y="216"/>
                  <a:pt x="18" y="216"/>
                </a:cubicBezTo>
                <a:cubicBezTo>
                  <a:pt x="15" y="216"/>
                  <a:pt x="15" y="215"/>
                  <a:pt x="12" y="215"/>
                </a:cubicBezTo>
                <a:cubicBezTo>
                  <a:pt x="12" y="215"/>
                  <a:pt x="12" y="215"/>
                  <a:pt x="12" y="215"/>
                </a:cubicBezTo>
                <a:cubicBezTo>
                  <a:pt x="10" y="216"/>
                  <a:pt x="10" y="218"/>
                  <a:pt x="10" y="220"/>
                </a:cubicBezTo>
                <a:cubicBezTo>
                  <a:pt x="9" y="220"/>
                  <a:pt x="9" y="221"/>
                  <a:pt x="9" y="221"/>
                </a:cubicBezTo>
                <a:cubicBezTo>
                  <a:pt x="9" y="222"/>
                  <a:pt x="9" y="222"/>
                  <a:pt x="9" y="223"/>
                </a:cubicBezTo>
                <a:cubicBezTo>
                  <a:pt x="9" y="223"/>
                  <a:pt x="8" y="223"/>
                  <a:pt x="8" y="223"/>
                </a:cubicBezTo>
                <a:cubicBezTo>
                  <a:pt x="8" y="224"/>
                  <a:pt x="7" y="224"/>
                  <a:pt x="7" y="225"/>
                </a:cubicBezTo>
                <a:cubicBezTo>
                  <a:pt x="6" y="225"/>
                  <a:pt x="7" y="227"/>
                  <a:pt x="5" y="227"/>
                </a:cubicBezTo>
                <a:cubicBezTo>
                  <a:pt x="5" y="227"/>
                  <a:pt x="5" y="227"/>
                  <a:pt x="5" y="228"/>
                </a:cubicBezTo>
                <a:cubicBezTo>
                  <a:pt x="7" y="228"/>
                  <a:pt x="7" y="230"/>
                  <a:pt x="7" y="232"/>
                </a:cubicBezTo>
                <a:cubicBezTo>
                  <a:pt x="6" y="234"/>
                  <a:pt x="5" y="234"/>
                  <a:pt x="5" y="236"/>
                </a:cubicBezTo>
                <a:cubicBezTo>
                  <a:pt x="4" y="236"/>
                  <a:pt x="4" y="238"/>
                  <a:pt x="3" y="238"/>
                </a:cubicBezTo>
                <a:cubicBezTo>
                  <a:pt x="2" y="240"/>
                  <a:pt x="0" y="239"/>
                  <a:pt x="1" y="241"/>
                </a:cubicBezTo>
                <a:cubicBezTo>
                  <a:pt x="1" y="244"/>
                  <a:pt x="0" y="248"/>
                  <a:pt x="1" y="249"/>
                </a:cubicBezTo>
                <a:cubicBezTo>
                  <a:pt x="1" y="249"/>
                  <a:pt x="2" y="249"/>
                  <a:pt x="2" y="249"/>
                </a:cubicBezTo>
                <a:cubicBezTo>
                  <a:pt x="4" y="249"/>
                  <a:pt x="5" y="251"/>
                  <a:pt x="5" y="253"/>
                </a:cubicBezTo>
                <a:cubicBezTo>
                  <a:pt x="8" y="254"/>
                  <a:pt x="9" y="255"/>
                  <a:pt x="12" y="256"/>
                </a:cubicBezTo>
                <a:cubicBezTo>
                  <a:pt x="12" y="258"/>
                  <a:pt x="13" y="260"/>
                  <a:pt x="14" y="261"/>
                </a:cubicBezTo>
                <a:cubicBezTo>
                  <a:pt x="17" y="261"/>
                  <a:pt x="17" y="262"/>
                  <a:pt x="20" y="262"/>
                </a:cubicBezTo>
                <a:cubicBezTo>
                  <a:pt x="20" y="263"/>
                  <a:pt x="22" y="263"/>
                  <a:pt x="22" y="264"/>
                </a:cubicBezTo>
                <a:cubicBezTo>
                  <a:pt x="22" y="266"/>
                  <a:pt x="25" y="265"/>
                  <a:pt x="26" y="265"/>
                </a:cubicBezTo>
                <a:cubicBezTo>
                  <a:pt x="27" y="265"/>
                  <a:pt x="26" y="262"/>
                  <a:pt x="29" y="262"/>
                </a:cubicBezTo>
                <a:cubicBezTo>
                  <a:pt x="29" y="262"/>
                  <a:pt x="29" y="262"/>
                  <a:pt x="30" y="262"/>
                </a:cubicBezTo>
                <a:cubicBezTo>
                  <a:pt x="30" y="260"/>
                  <a:pt x="32" y="261"/>
                  <a:pt x="31" y="259"/>
                </a:cubicBezTo>
                <a:cubicBezTo>
                  <a:pt x="31" y="258"/>
                  <a:pt x="31" y="258"/>
                  <a:pt x="32" y="258"/>
                </a:cubicBezTo>
                <a:cubicBezTo>
                  <a:pt x="33" y="258"/>
                  <a:pt x="35" y="258"/>
                  <a:pt x="35" y="258"/>
                </a:cubicBezTo>
                <a:cubicBezTo>
                  <a:pt x="35" y="259"/>
                  <a:pt x="38" y="258"/>
                  <a:pt x="37" y="260"/>
                </a:cubicBezTo>
                <a:cubicBezTo>
                  <a:pt x="38" y="260"/>
                  <a:pt x="38" y="260"/>
                  <a:pt x="39" y="260"/>
                </a:cubicBezTo>
                <a:cubicBezTo>
                  <a:pt x="39" y="260"/>
                  <a:pt x="40" y="260"/>
                  <a:pt x="40" y="261"/>
                </a:cubicBezTo>
                <a:cubicBezTo>
                  <a:pt x="41" y="261"/>
                  <a:pt x="41" y="261"/>
                  <a:pt x="42" y="261"/>
                </a:cubicBezTo>
                <a:cubicBezTo>
                  <a:pt x="42" y="260"/>
                  <a:pt x="43" y="260"/>
                  <a:pt x="44" y="260"/>
                </a:cubicBezTo>
                <a:cubicBezTo>
                  <a:pt x="47" y="260"/>
                  <a:pt x="48" y="258"/>
                  <a:pt x="51" y="258"/>
                </a:cubicBezTo>
                <a:cubicBezTo>
                  <a:pt x="53" y="259"/>
                  <a:pt x="56" y="259"/>
                  <a:pt x="58" y="259"/>
                </a:cubicBezTo>
                <a:cubicBezTo>
                  <a:pt x="60" y="260"/>
                  <a:pt x="62" y="261"/>
                  <a:pt x="65" y="260"/>
                </a:cubicBezTo>
                <a:cubicBezTo>
                  <a:pt x="66" y="261"/>
                  <a:pt x="66" y="260"/>
                  <a:pt x="66" y="260"/>
                </a:cubicBezTo>
                <a:cubicBezTo>
                  <a:pt x="66" y="259"/>
                  <a:pt x="67" y="260"/>
                  <a:pt x="67" y="260"/>
                </a:cubicBezTo>
                <a:cubicBezTo>
                  <a:pt x="67" y="260"/>
                  <a:pt x="67" y="259"/>
                  <a:pt x="67" y="259"/>
                </a:cubicBezTo>
                <a:cubicBezTo>
                  <a:pt x="68" y="259"/>
                  <a:pt x="69" y="259"/>
                  <a:pt x="69" y="259"/>
                </a:cubicBezTo>
                <a:cubicBezTo>
                  <a:pt x="70" y="259"/>
                  <a:pt x="69" y="258"/>
                  <a:pt x="69" y="258"/>
                </a:cubicBezTo>
                <a:cubicBezTo>
                  <a:pt x="70" y="258"/>
                  <a:pt x="70" y="258"/>
                  <a:pt x="71" y="258"/>
                </a:cubicBezTo>
                <a:cubicBezTo>
                  <a:pt x="71" y="258"/>
                  <a:pt x="71" y="258"/>
                  <a:pt x="71" y="258"/>
                </a:cubicBezTo>
                <a:cubicBezTo>
                  <a:pt x="72" y="257"/>
                  <a:pt x="74" y="258"/>
                  <a:pt x="74" y="257"/>
                </a:cubicBezTo>
                <a:cubicBezTo>
                  <a:pt x="74" y="257"/>
                  <a:pt x="75" y="257"/>
                  <a:pt x="75" y="257"/>
                </a:cubicBezTo>
                <a:cubicBezTo>
                  <a:pt x="75" y="257"/>
                  <a:pt x="75" y="257"/>
                  <a:pt x="75" y="257"/>
                </a:cubicBezTo>
                <a:cubicBezTo>
                  <a:pt x="75" y="257"/>
                  <a:pt x="75" y="257"/>
                  <a:pt x="75" y="257"/>
                </a:cubicBezTo>
                <a:cubicBezTo>
                  <a:pt x="75" y="257"/>
                  <a:pt x="75" y="257"/>
                  <a:pt x="75" y="257"/>
                </a:cubicBezTo>
                <a:cubicBezTo>
                  <a:pt x="77" y="257"/>
                  <a:pt x="76" y="259"/>
                  <a:pt x="77" y="259"/>
                </a:cubicBezTo>
                <a:cubicBezTo>
                  <a:pt x="77" y="259"/>
                  <a:pt x="77" y="260"/>
                  <a:pt x="77" y="260"/>
                </a:cubicBezTo>
                <a:cubicBezTo>
                  <a:pt x="78" y="260"/>
                  <a:pt x="79" y="260"/>
                  <a:pt x="79" y="260"/>
                </a:cubicBezTo>
                <a:cubicBezTo>
                  <a:pt x="79" y="260"/>
                  <a:pt x="79" y="260"/>
                  <a:pt x="79" y="261"/>
                </a:cubicBezTo>
                <a:cubicBezTo>
                  <a:pt x="80" y="261"/>
                  <a:pt x="80" y="261"/>
                  <a:pt x="81" y="262"/>
                </a:cubicBezTo>
                <a:cubicBezTo>
                  <a:pt x="81" y="262"/>
                  <a:pt x="81" y="262"/>
                  <a:pt x="81" y="262"/>
                </a:cubicBezTo>
                <a:cubicBezTo>
                  <a:pt x="81" y="262"/>
                  <a:pt x="81" y="262"/>
                  <a:pt x="81" y="262"/>
                </a:cubicBezTo>
                <a:cubicBezTo>
                  <a:pt x="81" y="262"/>
                  <a:pt x="81" y="262"/>
                  <a:pt x="81" y="262"/>
                </a:cubicBezTo>
                <a:cubicBezTo>
                  <a:pt x="82" y="262"/>
                  <a:pt x="82" y="262"/>
                  <a:pt x="82" y="262"/>
                </a:cubicBezTo>
                <a:cubicBezTo>
                  <a:pt x="82" y="262"/>
                  <a:pt x="82" y="262"/>
                  <a:pt x="82" y="262"/>
                </a:cubicBezTo>
                <a:cubicBezTo>
                  <a:pt x="82" y="262"/>
                  <a:pt x="82" y="262"/>
                  <a:pt x="82" y="262"/>
                </a:cubicBezTo>
                <a:cubicBezTo>
                  <a:pt x="82" y="262"/>
                  <a:pt x="82" y="262"/>
                  <a:pt x="82" y="262"/>
                </a:cubicBezTo>
                <a:cubicBezTo>
                  <a:pt x="83" y="262"/>
                  <a:pt x="83" y="262"/>
                  <a:pt x="83" y="262"/>
                </a:cubicBezTo>
                <a:cubicBezTo>
                  <a:pt x="83" y="262"/>
                  <a:pt x="83" y="262"/>
                  <a:pt x="83" y="262"/>
                </a:cubicBezTo>
                <a:cubicBezTo>
                  <a:pt x="83" y="262"/>
                  <a:pt x="83" y="262"/>
                  <a:pt x="83" y="262"/>
                </a:cubicBezTo>
                <a:cubicBezTo>
                  <a:pt x="83" y="262"/>
                  <a:pt x="83" y="262"/>
                  <a:pt x="83" y="262"/>
                </a:cubicBezTo>
                <a:cubicBezTo>
                  <a:pt x="83" y="262"/>
                  <a:pt x="83" y="262"/>
                  <a:pt x="83" y="262"/>
                </a:cubicBezTo>
                <a:cubicBezTo>
                  <a:pt x="83" y="262"/>
                  <a:pt x="84" y="262"/>
                  <a:pt x="84" y="262"/>
                </a:cubicBezTo>
                <a:cubicBezTo>
                  <a:pt x="84" y="262"/>
                  <a:pt x="84" y="262"/>
                  <a:pt x="84" y="262"/>
                </a:cubicBezTo>
                <a:cubicBezTo>
                  <a:pt x="84" y="262"/>
                  <a:pt x="84" y="262"/>
                  <a:pt x="84" y="262"/>
                </a:cubicBezTo>
                <a:cubicBezTo>
                  <a:pt x="84" y="263"/>
                  <a:pt x="84" y="263"/>
                  <a:pt x="84" y="263"/>
                </a:cubicBezTo>
                <a:cubicBezTo>
                  <a:pt x="84" y="263"/>
                  <a:pt x="84" y="263"/>
                  <a:pt x="84" y="263"/>
                </a:cubicBezTo>
                <a:cubicBezTo>
                  <a:pt x="84" y="263"/>
                  <a:pt x="84" y="263"/>
                  <a:pt x="84" y="263"/>
                </a:cubicBezTo>
                <a:cubicBezTo>
                  <a:pt x="84" y="263"/>
                  <a:pt x="84" y="263"/>
                  <a:pt x="85" y="263"/>
                </a:cubicBezTo>
                <a:cubicBezTo>
                  <a:pt x="85" y="263"/>
                  <a:pt x="85" y="263"/>
                  <a:pt x="85" y="263"/>
                </a:cubicBezTo>
                <a:cubicBezTo>
                  <a:pt x="85" y="263"/>
                  <a:pt x="85" y="263"/>
                  <a:pt x="85" y="264"/>
                </a:cubicBezTo>
                <a:cubicBezTo>
                  <a:pt x="85" y="264"/>
                  <a:pt x="85" y="264"/>
                  <a:pt x="85" y="264"/>
                </a:cubicBezTo>
                <a:cubicBezTo>
                  <a:pt x="85" y="264"/>
                  <a:pt x="85" y="264"/>
                  <a:pt x="85" y="264"/>
                </a:cubicBezTo>
                <a:cubicBezTo>
                  <a:pt x="85" y="264"/>
                  <a:pt x="85" y="264"/>
                  <a:pt x="85" y="264"/>
                </a:cubicBezTo>
                <a:cubicBezTo>
                  <a:pt x="85" y="264"/>
                  <a:pt x="85" y="264"/>
                  <a:pt x="85" y="264"/>
                </a:cubicBezTo>
                <a:cubicBezTo>
                  <a:pt x="85" y="264"/>
                  <a:pt x="86" y="264"/>
                  <a:pt x="86" y="264"/>
                </a:cubicBezTo>
                <a:cubicBezTo>
                  <a:pt x="86" y="264"/>
                  <a:pt x="86" y="264"/>
                  <a:pt x="86" y="264"/>
                </a:cubicBezTo>
                <a:cubicBezTo>
                  <a:pt x="86" y="264"/>
                  <a:pt x="86" y="264"/>
                  <a:pt x="86" y="264"/>
                </a:cubicBezTo>
                <a:cubicBezTo>
                  <a:pt x="86" y="264"/>
                  <a:pt x="86" y="264"/>
                  <a:pt x="86" y="264"/>
                </a:cubicBezTo>
                <a:cubicBezTo>
                  <a:pt x="86" y="264"/>
                  <a:pt x="86" y="264"/>
                  <a:pt x="86" y="264"/>
                </a:cubicBezTo>
                <a:cubicBezTo>
                  <a:pt x="87" y="264"/>
                  <a:pt x="87" y="264"/>
                  <a:pt x="87" y="264"/>
                </a:cubicBezTo>
                <a:cubicBezTo>
                  <a:pt x="86" y="267"/>
                  <a:pt x="89" y="265"/>
                  <a:pt x="89" y="267"/>
                </a:cubicBezTo>
                <a:cubicBezTo>
                  <a:pt x="90" y="267"/>
                  <a:pt x="90" y="267"/>
                  <a:pt x="91" y="267"/>
                </a:cubicBezTo>
                <a:cubicBezTo>
                  <a:pt x="91" y="267"/>
                  <a:pt x="91" y="267"/>
                  <a:pt x="91" y="267"/>
                </a:cubicBezTo>
                <a:cubicBezTo>
                  <a:pt x="91" y="266"/>
                  <a:pt x="91" y="266"/>
                  <a:pt x="92" y="266"/>
                </a:cubicBezTo>
                <a:cubicBezTo>
                  <a:pt x="92" y="266"/>
                  <a:pt x="94" y="266"/>
                  <a:pt x="94" y="265"/>
                </a:cubicBezTo>
                <a:cubicBezTo>
                  <a:pt x="94" y="265"/>
                  <a:pt x="94" y="265"/>
                  <a:pt x="94" y="264"/>
                </a:cubicBezTo>
                <a:cubicBezTo>
                  <a:pt x="95" y="264"/>
                  <a:pt x="95" y="264"/>
                  <a:pt x="95" y="264"/>
                </a:cubicBezTo>
                <a:cubicBezTo>
                  <a:pt x="95" y="264"/>
                  <a:pt x="95" y="264"/>
                  <a:pt x="95" y="264"/>
                </a:cubicBezTo>
                <a:cubicBezTo>
                  <a:pt x="95" y="262"/>
                  <a:pt x="98" y="263"/>
                  <a:pt x="97" y="261"/>
                </a:cubicBezTo>
                <a:cubicBezTo>
                  <a:pt x="97" y="261"/>
                  <a:pt x="97" y="261"/>
                  <a:pt x="97" y="261"/>
                </a:cubicBezTo>
                <a:cubicBezTo>
                  <a:pt x="98" y="260"/>
                  <a:pt x="100" y="260"/>
                  <a:pt x="100" y="259"/>
                </a:cubicBezTo>
                <a:cubicBezTo>
                  <a:pt x="100" y="259"/>
                  <a:pt x="100" y="259"/>
                  <a:pt x="100" y="259"/>
                </a:cubicBezTo>
                <a:cubicBezTo>
                  <a:pt x="100" y="259"/>
                  <a:pt x="100" y="259"/>
                  <a:pt x="100" y="259"/>
                </a:cubicBezTo>
                <a:cubicBezTo>
                  <a:pt x="100" y="259"/>
                  <a:pt x="100" y="259"/>
                  <a:pt x="100" y="259"/>
                </a:cubicBezTo>
                <a:cubicBezTo>
                  <a:pt x="101" y="259"/>
                  <a:pt x="101" y="259"/>
                  <a:pt x="101" y="259"/>
                </a:cubicBezTo>
                <a:cubicBezTo>
                  <a:pt x="101" y="258"/>
                  <a:pt x="102" y="258"/>
                  <a:pt x="102" y="258"/>
                </a:cubicBezTo>
                <a:cubicBezTo>
                  <a:pt x="102" y="258"/>
                  <a:pt x="102" y="258"/>
                  <a:pt x="103" y="258"/>
                </a:cubicBezTo>
                <a:cubicBezTo>
                  <a:pt x="103" y="258"/>
                  <a:pt x="103" y="257"/>
                  <a:pt x="104" y="257"/>
                </a:cubicBezTo>
                <a:cubicBezTo>
                  <a:pt x="104" y="257"/>
                  <a:pt x="104" y="257"/>
                  <a:pt x="104" y="257"/>
                </a:cubicBezTo>
                <a:cubicBezTo>
                  <a:pt x="105" y="257"/>
                  <a:pt x="105" y="257"/>
                  <a:pt x="106" y="257"/>
                </a:cubicBezTo>
                <a:cubicBezTo>
                  <a:pt x="106" y="257"/>
                  <a:pt x="106" y="257"/>
                  <a:pt x="106" y="257"/>
                </a:cubicBezTo>
                <a:cubicBezTo>
                  <a:pt x="107" y="256"/>
                  <a:pt x="107" y="256"/>
                  <a:pt x="108" y="256"/>
                </a:cubicBezTo>
                <a:cubicBezTo>
                  <a:pt x="108" y="256"/>
                  <a:pt x="108" y="256"/>
                  <a:pt x="109" y="256"/>
                </a:cubicBezTo>
                <a:cubicBezTo>
                  <a:pt x="109" y="256"/>
                  <a:pt x="110" y="256"/>
                  <a:pt x="110" y="256"/>
                </a:cubicBezTo>
                <a:cubicBezTo>
                  <a:pt x="110" y="255"/>
                  <a:pt x="110" y="255"/>
                  <a:pt x="111" y="255"/>
                </a:cubicBezTo>
                <a:cubicBezTo>
                  <a:pt x="111" y="255"/>
                  <a:pt x="112" y="255"/>
                  <a:pt x="112" y="255"/>
                </a:cubicBezTo>
                <a:cubicBezTo>
                  <a:pt x="112" y="255"/>
                  <a:pt x="113" y="255"/>
                  <a:pt x="113" y="255"/>
                </a:cubicBezTo>
                <a:cubicBezTo>
                  <a:pt x="113" y="255"/>
                  <a:pt x="113" y="255"/>
                  <a:pt x="113" y="255"/>
                </a:cubicBezTo>
                <a:cubicBezTo>
                  <a:pt x="113" y="255"/>
                  <a:pt x="113" y="255"/>
                  <a:pt x="113" y="255"/>
                </a:cubicBezTo>
                <a:cubicBezTo>
                  <a:pt x="113" y="255"/>
                  <a:pt x="113" y="255"/>
                  <a:pt x="113" y="255"/>
                </a:cubicBezTo>
                <a:cubicBezTo>
                  <a:pt x="114" y="255"/>
                  <a:pt x="115" y="255"/>
                  <a:pt x="115" y="255"/>
                </a:cubicBezTo>
                <a:cubicBezTo>
                  <a:pt x="115" y="255"/>
                  <a:pt x="115" y="255"/>
                  <a:pt x="115" y="255"/>
                </a:cubicBezTo>
                <a:cubicBezTo>
                  <a:pt x="116" y="255"/>
                  <a:pt x="118" y="254"/>
                  <a:pt x="118" y="253"/>
                </a:cubicBezTo>
                <a:cubicBezTo>
                  <a:pt x="119" y="253"/>
                  <a:pt x="119" y="253"/>
                  <a:pt x="119" y="253"/>
                </a:cubicBezTo>
                <a:cubicBezTo>
                  <a:pt x="119" y="253"/>
                  <a:pt x="120" y="252"/>
                  <a:pt x="120" y="252"/>
                </a:cubicBezTo>
                <a:cubicBezTo>
                  <a:pt x="120" y="252"/>
                  <a:pt x="121" y="252"/>
                  <a:pt x="121" y="252"/>
                </a:cubicBezTo>
                <a:cubicBezTo>
                  <a:pt x="121" y="252"/>
                  <a:pt x="121" y="252"/>
                  <a:pt x="121" y="252"/>
                </a:cubicBezTo>
                <a:cubicBezTo>
                  <a:pt x="121" y="250"/>
                  <a:pt x="123" y="251"/>
                  <a:pt x="123" y="250"/>
                </a:cubicBezTo>
                <a:cubicBezTo>
                  <a:pt x="125" y="250"/>
                  <a:pt x="125" y="248"/>
                  <a:pt x="126" y="248"/>
                </a:cubicBezTo>
                <a:cubicBezTo>
                  <a:pt x="126" y="245"/>
                  <a:pt x="127" y="244"/>
                  <a:pt x="127" y="241"/>
                </a:cubicBezTo>
                <a:cubicBezTo>
                  <a:pt x="128" y="240"/>
                  <a:pt x="128" y="238"/>
                  <a:pt x="130" y="238"/>
                </a:cubicBezTo>
                <a:cubicBezTo>
                  <a:pt x="131" y="238"/>
                  <a:pt x="131" y="237"/>
                  <a:pt x="133" y="237"/>
                </a:cubicBezTo>
                <a:cubicBezTo>
                  <a:pt x="133" y="236"/>
                  <a:pt x="134" y="236"/>
                  <a:pt x="136" y="236"/>
                </a:cubicBezTo>
                <a:cubicBezTo>
                  <a:pt x="136" y="235"/>
                  <a:pt x="137" y="235"/>
                  <a:pt x="137" y="235"/>
                </a:cubicBezTo>
                <a:cubicBezTo>
                  <a:pt x="137" y="234"/>
                  <a:pt x="139" y="234"/>
                  <a:pt x="139" y="233"/>
                </a:cubicBezTo>
                <a:cubicBezTo>
                  <a:pt x="140" y="232"/>
                  <a:pt x="141" y="232"/>
                  <a:pt x="142" y="232"/>
                </a:cubicBezTo>
                <a:cubicBezTo>
                  <a:pt x="142" y="231"/>
                  <a:pt x="142" y="230"/>
                  <a:pt x="141" y="230"/>
                </a:cubicBezTo>
                <a:cubicBezTo>
                  <a:pt x="141" y="229"/>
                  <a:pt x="140" y="228"/>
                  <a:pt x="141" y="228"/>
                </a:cubicBezTo>
                <a:cubicBezTo>
                  <a:pt x="143" y="227"/>
                  <a:pt x="144" y="228"/>
                  <a:pt x="145" y="228"/>
                </a:cubicBezTo>
                <a:cubicBezTo>
                  <a:pt x="147" y="228"/>
                  <a:pt x="147" y="226"/>
                  <a:pt x="149" y="227"/>
                </a:cubicBezTo>
                <a:cubicBezTo>
                  <a:pt x="150" y="227"/>
                  <a:pt x="150" y="226"/>
                  <a:pt x="150" y="226"/>
                </a:cubicBezTo>
                <a:cubicBezTo>
                  <a:pt x="151" y="226"/>
                  <a:pt x="151" y="227"/>
                  <a:pt x="152" y="227"/>
                </a:cubicBezTo>
                <a:cubicBezTo>
                  <a:pt x="154" y="226"/>
                  <a:pt x="154" y="225"/>
                  <a:pt x="156" y="224"/>
                </a:cubicBezTo>
                <a:cubicBezTo>
                  <a:pt x="156" y="224"/>
                  <a:pt x="156" y="224"/>
                  <a:pt x="156" y="224"/>
                </a:cubicBezTo>
                <a:cubicBezTo>
                  <a:pt x="157" y="224"/>
                  <a:pt x="157" y="223"/>
                  <a:pt x="159" y="223"/>
                </a:cubicBezTo>
                <a:cubicBezTo>
                  <a:pt x="159" y="223"/>
                  <a:pt x="159" y="223"/>
                  <a:pt x="159" y="223"/>
                </a:cubicBezTo>
                <a:cubicBezTo>
                  <a:pt x="160" y="223"/>
                  <a:pt x="160" y="222"/>
                  <a:pt x="160" y="221"/>
                </a:cubicBezTo>
                <a:cubicBezTo>
                  <a:pt x="160" y="220"/>
                  <a:pt x="160" y="220"/>
                  <a:pt x="160" y="220"/>
                </a:cubicBezTo>
                <a:cubicBezTo>
                  <a:pt x="164" y="219"/>
                  <a:pt x="165" y="221"/>
                  <a:pt x="169" y="221"/>
                </a:cubicBezTo>
                <a:cubicBezTo>
                  <a:pt x="169" y="221"/>
                  <a:pt x="170" y="222"/>
                  <a:pt x="171" y="222"/>
                </a:cubicBezTo>
                <a:cubicBezTo>
                  <a:pt x="172" y="223"/>
                  <a:pt x="173" y="223"/>
                  <a:pt x="174" y="223"/>
                </a:cubicBezTo>
                <a:cubicBezTo>
                  <a:pt x="174" y="224"/>
                  <a:pt x="175" y="224"/>
                  <a:pt x="175" y="224"/>
                </a:cubicBezTo>
                <a:cubicBezTo>
                  <a:pt x="176" y="224"/>
                  <a:pt x="176" y="225"/>
                  <a:pt x="177" y="225"/>
                </a:cubicBezTo>
                <a:cubicBezTo>
                  <a:pt x="177" y="226"/>
                  <a:pt x="179" y="225"/>
                  <a:pt x="179" y="227"/>
                </a:cubicBezTo>
                <a:cubicBezTo>
                  <a:pt x="182" y="226"/>
                  <a:pt x="183" y="228"/>
                  <a:pt x="186" y="228"/>
                </a:cubicBezTo>
                <a:cubicBezTo>
                  <a:pt x="186" y="229"/>
                  <a:pt x="186" y="230"/>
                  <a:pt x="187" y="230"/>
                </a:cubicBezTo>
                <a:cubicBezTo>
                  <a:pt x="187" y="229"/>
                  <a:pt x="190" y="230"/>
                  <a:pt x="190" y="230"/>
                </a:cubicBezTo>
                <a:cubicBezTo>
                  <a:pt x="191" y="231"/>
                  <a:pt x="191" y="232"/>
                  <a:pt x="193" y="232"/>
                </a:cubicBezTo>
                <a:cubicBezTo>
                  <a:pt x="193" y="232"/>
                  <a:pt x="193" y="232"/>
                  <a:pt x="193" y="232"/>
                </a:cubicBezTo>
                <a:cubicBezTo>
                  <a:pt x="193" y="231"/>
                  <a:pt x="193" y="231"/>
                  <a:pt x="194" y="231"/>
                </a:cubicBezTo>
                <a:cubicBezTo>
                  <a:pt x="194" y="230"/>
                  <a:pt x="194" y="230"/>
                  <a:pt x="195" y="230"/>
                </a:cubicBezTo>
                <a:cubicBezTo>
                  <a:pt x="194" y="230"/>
                  <a:pt x="194" y="230"/>
                  <a:pt x="194" y="230"/>
                </a:cubicBezTo>
                <a:cubicBezTo>
                  <a:pt x="194" y="229"/>
                  <a:pt x="195" y="229"/>
                  <a:pt x="196" y="229"/>
                </a:cubicBezTo>
                <a:cubicBezTo>
                  <a:pt x="198" y="230"/>
                  <a:pt x="202" y="230"/>
                  <a:pt x="203" y="232"/>
                </a:cubicBezTo>
                <a:cubicBezTo>
                  <a:pt x="203" y="232"/>
                  <a:pt x="203" y="232"/>
                  <a:pt x="203" y="232"/>
                </a:cubicBezTo>
                <a:cubicBezTo>
                  <a:pt x="203" y="232"/>
                  <a:pt x="203" y="232"/>
                  <a:pt x="203" y="232"/>
                </a:cubicBezTo>
                <a:cubicBezTo>
                  <a:pt x="203" y="233"/>
                  <a:pt x="203" y="233"/>
                  <a:pt x="203" y="233"/>
                </a:cubicBezTo>
                <a:cubicBezTo>
                  <a:pt x="203" y="233"/>
                  <a:pt x="203" y="233"/>
                  <a:pt x="203" y="233"/>
                </a:cubicBezTo>
                <a:cubicBezTo>
                  <a:pt x="203" y="233"/>
                  <a:pt x="204" y="234"/>
                  <a:pt x="204" y="234"/>
                </a:cubicBezTo>
                <a:cubicBezTo>
                  <a:pt x="204" y="234"/>
                  <a:pt x="204" y="234"/>
                  <a:pt x="204" y="235"/>
                </a:cubicBezTo>
                <a:cubicBezTo>
                  <a:pt x="204" y="235"/>
                  <a:pt x="204" y="235"/>
                  <a:pt x="204" y="235"/>
                </a:cubicBezTo>
                <a:cubicBezTo>
                  <a:pt x="205" y="235"/>
                  <a:pt x="205" y="235"/>
                  <a:pt x="206" y="235"/>
                </a:cubicBezTo>
                <a:cubicBezTo>
                  <a:pt x="208" y="235"/>
                  <a:pt x="209" y="235"/>
                  <a:pt x="210" y="236"/>
                </a:cubicBezTo>
                <a:cubicBezTo>
                  <a:pt x="211" y="235"/>
                  <a:pt x="211" y="234"/>
                  <a:pt x="213" y="234"/>
                </a:cubicBezTo>
                <a:cubicBezTo>
                  <a:pt x="214" y="235"/>
                  <a:pt x="215" y="236"/>
                  <a:pt x="215" y="237"/>
                </a:cubicBezTo>
                <a:cubicBezTo>
                  <a:pt x="214" y="240"/>
                  <a:pt x="217" y="239"/>
                  <a:pt x="216" y="241"/>
                </a:cubicBezTo>
                <a:cubicBezTo>
                  <a:pt x="216" y="248"/>
                  <a:pt x="216" y="248"/>
                  <a:pt x="216" y="248"/>
                </a:cubicBezTo>
                <a:cubicBezTo>
                  <a:pt x="216" y="249"/>
                  <a:pt x="215" y="250"/>
                  <a:pt x="215" y="251"/>
                </a:cubicBezTo>
                <a:cubicBezTo>
                  <a:pt x="216" y="253"/>
                  <a:pt x="217" y="254"/>
                  <a:pt x="218" y="256"/>
                </a:cubicBezTo>
                <a:cubicBezTo>
                  <a:pt x="223" y="256"/>
                  <a:pt x="223" y="256"/>
                  <a:pt x="223" y="256"/>
                </a:cubicBezTo>
                <a:cubicBezTo>
                  <a:pt x="223" y="257"/>
                  <a:pt x="223" y="257"/>
                  <a:pt x="223" y="258"/>
                </a:cubicBezTo>
                <a:cubicBezTo>
                  <a:pt x="224" y="258"/>
                  <a:pt x="224" y="259"/>
                  <a:pt x="225" y="259"/>
                </a:cubicBezTo>
                <a:cubicBezTo>
                  <a:pt x="226" y="259"/>
                  <a:pt x="226" y="261"/>
                  <a:pt x="227" y="262"/>
                </a:cubicBezTo>
                <a:cubicBezTo>
                  <a:pt x="230" y="262"/>
                  <a:pt x="228" y="259"/>
                  <a:pt x="230" y="259"/>
                </a:cubicBezTo>
                <a:cubicBezTo>
                  <a:pt x="231" y="261"/>
                  <a:pt x="231" y="263"/>
                  <a:pt x="232" y="265"/>
                </a:cubicBezTo>
                <a:cubicBezTo>
                  <a:pt x="231" y="265"/>
                  <a:pt x="231" y="266"/>
                  <a:pt x="230" y="267"/>
                </a:cubicBezTo>
                <a:cubicBezTo>
                  <a:pt x="230" y="269"/>
                  <a:pt x="230" y="269"/>
                  <a:pt x="230" y="269"/>
                </a:cubicBezTo>
                <a:cubicBezTo>
                  <a:pt x="231" y="269"/>
                  <a:pt x="231" y="269"/>
                  <a:pt x="231" y="269"/>
                </a:cubicBezTo>
                <a:cubicBezTo>
                  <a:pt x="232" y="269"/>
                  <a:pt x="232" y="270"/>
                  <a:pt x="232" y="270"/>
                </a:cubicBezTo>
                <a:cubicBezTo>
                  <a:pt x="233" y="270"/>
                  <a:pt x="234" y="270"/>
                  <a:pt x="234" y="271"/>
                </a:cubicBezTo>
                <a:cubicBezTo>
                  <a:pt x="234" y="276"/>
                  <a:pt x="234" y="276"/>
                  <a:pt x="234" y="276"/>
                </a:cubicBezTo>
                <a:cubicBezTo>
                  <a:pt x="235" y="276"/>
                  <a:pt x="236" y="276"/>
                  <a:pt x="236" y="277"/>
                </a:cubicBezTo>
                <a:cubicBezTo>
                  <a:pt x="237" y="277"/>
                  <a:pt x="238" y="276"/>
                  <a:pt x="239" y="276"/>
                </a:cubicBezTo>
                <a:cubicBezTo>
                  <a:pt x="238" y="278"/>
                  <a:pt x="242" y="276"/>
                  <a:pt x="242" y="278"/>
                </a:cubicBezTo>
                <a:cubicBezTo>
                  <a:pt x="243" y="278"/>
                  <a:pt x="244" y="277"/>
                  <a:pt x="246" y="277"/>
                </a:cubicBezTo>
                <a:cubicBezTo>
                  <a:pt x="245" y="279"/>
                  <a:pt x="248" y="279"/>
                  <a:pt x="248" y="281"/>
                </a:cubicBezTo>
                <a:cubicBezTo>
                  <a:pt x="248" y="283"/>
                  <a:pt x="249" y="284"/>
                  <a:pt x="249" y="285"/>
                </a:cubicBezTo>
                <a:cubicBezTo>
                  <a:pt x="249" y="286"/>
                  <a:pt x="249" y="286"/>
                  <a:pt x="249" y="286"/>
                </a:cubicBezTo>
                <a:cubicBezTo>
                  <a:pt x="249" y="286"/>
                  <a:pt x="249" y="286"/>
                  <a:pt x="249" y="286"/>
                </a:cubicBezTo>
                <a:cubicBezTo>
                  <a:pt x="249" y="288"/>
                  <a:pt x="250" y="289"/>
                  <a:pt x="250" y="290"/>
                </a:cubicBezTo>
                <a:cubicBezTo>
                  <a:pt x="250" y="290"/>
                  <a:pt x="250" y="290"/>
                  <a:pt x="250" y="290"/>
                </a:cubicBezTo>
                <a:cubicBezTo>
                  <a:pt x="250" y="290"/>
                  <a:pt x="250" y="290"/>
                  <a:pt x="250" y="290"/>
                </a:cubicBezTo>
                <a:cubicBezTo>
                  <a:pt x="250" y="290"/>
                  <a:pt x="251" y="290"/>
                  <a:pt x="251" y="290"/>
                </a:cubicBezTo>
                <a:cubicBezTo>
                  <a:pt x="251" y="290"/>
                  <a:pt x="251" y="291"/>
                  <a:pt x="251" y="291"/>
                </a:cubicBezTo>
                <a:cubicBezTo>
                  <a:pt x="251" y="291"/>
                  <a:pt x="251" y="291"/>
                  <a:pt x="251" y="291"/>
                </a:cubicBezTo>
                <a:cubicBezTo>
                  <a:pt x="251" y="291"/>
                  <a:pt x="251" y="292"/>
                  <a:pt x="251" y="292"/>
                </a:cubicBezTo>
                <a:cubicBezTo>
                  <a:pt x="251" y="292"/>
                  <a:pt x="251" y="292"/>
                  <a:pt x="251" y="292"/>
                </a:cubicBezTo>
                <a:cubicBezTo>
                  <a:pt x="251" y="292"/>
                  <a:pt x="251" y="292"/>
                  <a:pt x="252" y="292"/>
                </a:cubicBezTo>
                <a:cubicBezTo>
                  <a:pt x="252" y="292"/>
                  <a:pt x="252" y="293"/>
                  <a:pt x="253" y="293"/>
                </a:cubicBezTo>
                <a:cubicBezTo>
                  <a:pt x="253" y="293"/>
                  <a:pt x="253" y="293"/>
                  <a:pt x="253" y="293"/>
                </a:cubicBezTo>
                <a:cubicBezTo>
                  <a:pt x="253" y="293"/>
                  <a:pt x="253" y="293"/>
                  <a:pt x="253" y="293"/>
                </a:cubicBezTo>
                <a:cubicBezTo>
                  <a:pt x="253" y="293"/>
                  <a:pt x="253" y="293"/>
                  <a:pt x="253" y="294"/>
                </a:cubicBezTo>
                <a:cubicBezTo>
                  <a:pt x="253" y="294"/>
                  <a:pt x="253" y="294"/>
                  <a:pt x="253" y="294"/>
                </a:cubicBezTo>
                <a:cubicBezTo>
                  <a:pt x="253" y="294"/>
                  <a:pt x="253" y="294"/>
                  <a:pt x="253" y="294"/>
                </a:cubicBezTo>
                <a:cubicBezTo>
                  <a:pt x="253" y="294"/>
                  <a:pt x="253" y="294"/>
                  <a:pt x="253" y="294"/>
                </a:cubicBezTo>
                <a:cubicBezTo>
                  <a:pt x="253" y="294"/>
                  <a:pt x="253" y="295"/>
                  <a:pt x="252" y="295"/>
                </a:cubicBezTo>
                <a:cubicBezTo>
                  <a:pt x="252" y="295"/>
                  <a:pt x="252" y="295"/>
                  <a:pt x="252" y="295"/>
                </a:cubicBezTo>
                <a:cubicBezTo>
                  <a:pt x="252" y="295"/>
                  <a:pt x="252" y="295"/>
                  <a:pt x="252" y="295"/>
                </a:cubicBezTo>
                <a:cubicBezTo>
                  <a:pt x="252" y="295"/>
                  <a:pt x="252" y="295"/>
                  <a:pt x="252" y="295"/>
                </a:cubicBezTo>
                <a:cubicBezTo>
                  <a:pt x="252" y="295"/>
                  <a:pt x="252" y="295"/>
                  <a:pt x="252" y="295"/>
                </a:cubicBezTo>
                <a:cubicBezTo>
                  <a:pt x="251" y="295"/>
                  <a:pt x="251" y="295"/>
                  <a:pt x="251" y="295"/>
                </a:cubicBezTo>
                <a:cubicBezTo>
                  <a:pt x="251" y="295"/>
                  <a:pt x="251" y="296"/>
                  <a:pt x="250" y="296"/>
                </a:cubicBezTo>
                <a:cubicBezTo>
                  <a:pt x="248" y="296"/>
                  <a:pt x="248" y="294"/>
                  <a:pt x="246" y="294"/>
                </a:cubicBezTo>
                <a:cubicBezTo>
                  <a:pt x="245" y="293"/>
                  <a:pt x="245" y="295"/>
                  <a:pt x="244" y="295"/>
                </a:cubicBezTo>
                <a:cubicBezTo>
                  <a:pt x="242" y="295"/>
                  <a:pt x="242" y="297"/>
                  <a:pt x="242" y="299"/>
                </a:cubicBezTo>
                <a:cubicBezTo>
                  <a:pt x="241" y="298"/>
                  <a:pt x="241" y="297"/>
                  <a:pt x="239" y="297"/>
                </a:cubicBezTo>
                <a:cubicBezTo>
                  <a:pt x="239" y="295"/>
                  <a:pt x="237" y="296"/>
                  <a:pt x="237" y="294"/>
                </a:cubicBezTo>
                <a:cubicBezTo>
                  <a:pt x="236" y="294"/>
                  <a:pt x="236" y="295"/>
                  <a:pt x="235" y="296"/>
                </a:cubicBezTo>
                <a:cubicBezTo>
                  <a:pt x="234" y="295"/>
                  <a:pt x="234" y="295"/>
                  <a:pt x="233" y="294"/>
                </a:cubicBezTo>
                <a:cubicBezTo>
                  <a:pt x="231" y="295"/>
                  <a:pt x="231" y="296"/>
                  <a:pt x="231" y="297"/>
                </a:cubicBezTo>
                <a:cubicBezTo>
                  <a:pt x="230" y="297"/>
                  <a:pt x="231" y="296"/>
                  <a:pt x="230" y="295"/>
                </a:cubicBezTo>
                <a:cubicBezTo>
                  <a:pt x="230" y="295"/>
                  <a:pt x="230" y="294"/>
                  <a:pt x="230" y="293"/>
                </a:cubicBezTo>
                <a:cubicBezTo>
                  <a:pt x="228" y="293"/>
                  <a:pt x="228" y="294"/>
                  <a:pt x="227" y="294"/>
                </a:cubicBezTo>
                <a:cubicBezTo>
                  <a:pt x="227" y="294"/>
                  <a:pt x="226" y="294"/>
                  <a:pt x="226" y="295"/>
                </a:cubicBezTo>
                <a:cubicBezTo>
                  <a:pt x="223" y="296"/>
                  <a:pt x="222" y="297"/>
                  <a:pt x="221" y="299"/>
                </a:cubicBezTo>
                <a:cubicBezTo>
                  <a:pt x="221" y="299"/>
                  <a:pt x="221" y="301"/>
                  <a:pt x="220" y="301"/>
                </a:cubicBezTo>
                <a:cubicBezTo>
                  <a:pt x="221" y="302"/>
                  <a:pt x="221" y="304"/>
                  <a:pt x="221" y="306"/>
                </a:cubicBezTo>
                <a:cubicBezTo>
                  <a:pt x="223" y="305"/>
                  <a:pt x="223" y="307"/>
                  <a:pt x="225" y="306"/>
                </a:cubicBezTo>
                <a:cubicBezTo>
                  <a:pt x="225" y="309"/>
                  <a:pt x="228" y="308"/>
                  <a:pt x="228" y="310"/>
                </a:cubicBezTo>
                <a:cubicBezTo>
                  <a:pt x="229" y="312"/>
                  <a:pt x="227" y="312"/>
                  <a:pt x="228" y="314"/>
                </a:cubicBezTo>
                <a:cubicBezTo>
                  <a:pt x="228" y="314"/>
                  <a:pt x="228" y="315"/>
                  <a:pt x="227" y="315"/>
                </a:cubicBezTo>
                <a:cubicBezTo>
                  <a:pt x="227" y="315"/>
                  <a:pt x="227" y="315"/>
                  <a:pt x="227" y="315"/>
                </a:cubicBezTo>
                <a:cubicBezTo>
                  <a:pt x="228" y="315"/>
                  <a:pt x="228" y="317"/>
                  <a:pt x="228" y="317"/>
                </a:cubicBezTo>
                <a:cubicBezTo>
                  <a:pt x="228" y="318"/>
                  <a:pt x="229" y="318"/>
                  <a:pt x="229" y="319"/>
                </a:cubicBezTo>
                <a:cubicBezTo>
                  <a:pt x="228" y="319"/>
                  <a:pt x="228" y="319"/>
                  <a:pt x="228" y="320"/>
                </a:cubicBezTo>
                <a:cubicBezTo>
                  <a:pt x="228" y="321"/>
                  <a:pt x="228" y="321"/>
                  <a:pt x="227" y="322"/>
                </a:cubicBezTo>
                <a:cubicBezTo>
                  <a:pt x="227" y="323"/>
                  <a:pt x="225" y="323"/>
                  <a:pt x="224" y="324"/>
                </a:cubicBezTo>
                <a:cubicBezTo>
                  <a:pt x="225" y="327"/>
                  <a:pt x="223" y="328"/>
                  <a:pt x="223" y="331"/>
                </a:cubicBezTo>
                <a:cubicBezTo>
                  <a:pt x="223" y="331"/>
                  <a:pt x="223" y="331"/>
                  <a:pt x="223" y="331"/>
                </a:cubicBezTo>
                <a:cubicBezTo>
                  <a:pt x="223" y="331"/>
                  <a:pt x="223" y="331"/>
                  <a:pt x="222" y="331"/>
                </a:cubicBezTo>
                <a:cubicBezTo>
                  <a:pt x="222" y="332"/>
                  <a:pt x="222" y="333"/>
                  <a:pt x="221" y="333"/>
                </a:cubicBezTo>
                <a:cubicBezTo>
                  <a:pt x="220" y="333"/>
                  <a:pt x="220" y="333"/>
                  <a:pt x="220" y="333"/>
                </a:cubicBezTo>
                <a:cubicBezTo>
                  <a:pt x="219" y="334"/>
                  <a:pt x="219" y="336"/>
                  <a:pt x="216" y="336"/>
                </a:cubicBezTo>
                <a:cubicBezTo>
                  <a:pt x="217" y="336"/>
                  <a:pt x="217" y="337"/>
                  <a:pt x="218" y="337"/>
                </a:cubicBezTo>
                <a:cubicBezTo>
                  <a:pt x="218" y="338"/>
                  <a:pt x="218" y="338"/>
                  <a:pt x="219" y="339"/>
                </a:cubicBezTo>
                <a:cubicBezTo>
                  <a:pt x="219" y="343"/>
                  <a:pt x="218" y="345"/>
                  <a:pt x="216" y="346"/>
                </a:cubicBezTo>
                <a:cubicBezTo>
                  <a:pt x="212" y="346"/>
                  <a:pt x="212" y="346"/>
                  <a:pt x="212" y="346"/>
                </a:cubicBezTo>
                <a:cubicBezTo>
                  <a:pt x="211" y="346"/>
                  <a:pt x="211" y="347"/>
                  <a:pt x="210" y="347"/>
                </a:cubicBezTo>
                <a:cubicBezTo>
                  <a:pt x="210" y="349"/>
                  <a:pt x="210" y="349"/>
                  <a:pt x="210" y="349"/>
                </a:cubicBezTo>
                <a:cubicBezTo>
                  <a:pt x="210" y="349"/>
                  <a:pt x="210" y="349"/>
                  <a:pt x="210" y="349"/>
                </a:cubicBezTo>
                <a:cubicBezTo>
                  <a:pt x="210" y="349"/>
                  <a:pt x="210" y="349"/>
                  <a:pt x="210" y="349"/>
                </a:cubicBezTo>
                <a:cubicBezTo>
                  <a:pt x="210" y="349"/>
                  <a:pt x="210" y="349"/>
                  <a:pt x="210" y="349"/>
                </a:cubicBezTo>
                <a:cubicBezTo>
                  <a:pt x="210" y="350"/>
                  <a:pt x="210" y="350"/>
                  <a:pt x="209" y="350"/>
                </a:cubicBezTo>
                <a:cubicBezTo>
                  <a:pt x="209" y="350"/>
                  <a:pt x="209" y="350"/>
                  <a:pt x="209" y="351"/>
                </a:cubicBezTo>
                <a:cubicBezTo>
                  <a:pt x="209" y="351"/>
                  <a:pt x="209" y="351"/>
                  <a:pt x="209" y="351"/>
                </a:cubicBezTo>
                <a:cubicBezTo>
                  <a:pt x="209" y="351"/>
                  <a:pt x="210" y="351"/>
                  <a:pt x="210" y="352"/>
                </a:cubicBezTo>
                <a:cubicBezTo>
                  <a:pt x="210" y="352"/>
                  <a:pt x="211" y="352"/>
                  <a:pt x="211" y="353"/>
                </a:cubicBezTo>
                <a:cubicBezTo>
                  <a:pt x="211" y="353"/>
                  <a:pt x="211" y="353"/>
                  <a:pt x="211" y="354"/>
                </a:cubicBezTo>
                <a:cubicBezTo>
                  <a:pt x="211" y="354"/>
                  <a:pt x="211" y="354"/>
                  <a:pt x="212" y="354"/>
                </a:cubicBezTo>
                <a:cubicBezTo>
                  <a:pt x="213" y="355"/>
                  <a:pt x="214" y="355"/>
                  <a:pt x="216" y="355"/>
                </a:cubicBezTo>
                <a:cubicBezTo>
                  <a:pt x="217" y="356"/>
                  <a:pt x="218" y="356"/>
                  <a:pt x="219" y="356"/>
                </a:cubicBezTo>
                <a:cubicBezTo>
                  <a:pt x="220" y="357"/>
                  <a:pt x="221" y="358"/>
                  <a:pt x="222" y="358"/>
                </a:cubicBezTo>
                <a:cubicBezTo>
                  <a:pt x="222" y="358"/>
                  <a:pt x="223" y="358"/>
                  <a:pt x="223" y="358"/>
                </a:cubicBezTo>
                <a:cubicBezTo>
                  <a:pt x="223" y="358"/>
                  <a:pt x="224" y="358"/>
                  <a:pt x="224" y="358"/>
                </a:cubicBezTo>
                <a:cubicBezTo>
                  <a:pt x="224" y="358"/>
                  <a:pt x="224" y="358"/>
                  <a:pt x="225" y="358"/>
                </a:cubicBezTo>
                <a:cubicBezTo>
                  <a:pt x="225" y="358"/>
                  <a:pt x="225" y="358"/>
                  <a:pt x="225" y="358"/>
                </a:cubicBezTo>
                <a:cubicBezTo>
                  <a:pt x="225" y="358"/>
                  <a:pt x="226" y="358"/>
                  <a:pt x="226" y="358"/>
                </a:cubicBezTo>
                <a:cubicBezTo>
                  <a:pt x="226" y="358"/>
                  <a:pt x="226" y="358"/>
                  <a:pt x="226" y="358"/>
                </a:cubicBezTo>
                <a:cubicBezTo>
                  <a:pt x="227" y="358"/>
                  <a:pt x="227" y="358"/>
                  <a:pt x="227" y="358"/>
                </a:cubicBezTo>
                <a:cubicBezTo>
                  <a:pt x="227" y="358"/>
                  <a:pt x="227" y="358"/>
                  <a:pt x="227" y="358"/>
                </a:cubicBezTo>
                <a:cubicBezTo>
                  <a:pt x="228" y="358"/>
                  <a:pt x="228" y="357"/>
                  <a:pt x="229" y="357"/>
                </a:cubicBezTo>
                <a:cubicBezTo>
                  <a:pt x="229" y="357"/>
                  <a:pt x="229" y="357"/>
                  <a:pt x="229" y="357"/>
                </a:cubicBezTo>
                <a:cubicBezTo>
                  <a:pt x="229" y="357"/>
                  <a:pt x="229" y="357"/>
                  <a:pt x="228" y="357"/>
                </a:cubicBezTo>
                <a:cubicBezTo>
                  <a:pt x="229" y="357"/>
                  <a:pt x="229" y="357"/>
                  <a:pt x="229" y="356"/>
                </a:cubicBezTo>
                <a:cubicBezTo>
                  <a:pt x="229" y="356"/>
                  <a:pt x="229" y="356"/>
                  <a:pt x="229" y="356"/>
                </a:cubicBezTo>
                <a:cubicBezTo>
                  <a:pt x="229" y="356"/>
                  <a:pt x="229" y="356"/>
                  <a:pt x="229" y="356"/>
                </a:cubicBezTo>
                <a:cubicBezTo>
                  <a:pt x="229" y="356"/>
                  <a:pt x="229" y="356"/>
                  <a:pt x="229" y="356"/>
                </a:cubicBezTo>
                <a:cubicBezTo>
                  <a:pt x="229" y="356"/>
                  <a:pt x="229" y="355"/>
                  <a:pt x="229" y="355"/>
                </a:cubicBezTo>
                <a:cubicBezTo>
                  <a:pt x="229" y="355"/>
                  <a:pt x="229" y="355"/>
                  <a:pt x="229" y="355"/>
                </a:cubicBezTo>
                <a:cubicBezTo>
                  <a:pt x="229" y="355"/>
                  <a:pt x="229" y="355"/>
                  <a:pt x="229" y="355"/>
                </a:cubicBezTo>
                <a:cubicBezTo>
                  <a:pt x="229" y="355"/>
                  <a:pt x="229" y="355"/>
                  <a:pt x="229" y="355"/>
                </a:cubicBezTo>
                <a:cubicBezTo>
                  <a:pt x="229" y="355"/>
                  <a:pt x="229" y="355"/>
                  <a:pt x="229" y="355"/>
                </a:cubicBezTo>
                <a:cubicBezTo>
                  <a:pt x="229" y="355"/>
                  <a:pt x="229" y="355"/>
                  <a:pt x="229" y="355"/>
                </a:cubicBezTo>
                <a:cubicBezTo>
                  <a:pt x="228" y="355"/>
                  <a:pt x="228" y="355"/>
                  <a:pt x="228" y="355"/>
                </a:cubicBezTo>
                <a:cubicBezTo>
                  <a:pt x="228" y="354"/>
                  <a:pt x="229" y="354"/>
                  <a:pt x="229" y="354"/>
                </a:cubicBezTo>
                <a:cubicBezTo>
                  <a:pt x="230" y="354"/>
                  <a:pt x="231" y="355"/>
                  <a:pt x="233" y="354"/>
                </a:cubicBezTo>
                <a:cubicBezTo>
                  <a:pt x="233" y="352"/>
                  <a:pt x="234" y="352"/>
                  <a:pt x="235" y="350"/>
                </a:cubicBezTo>
                <a:cubicBezTo>
                  <a:pt x="237" y="350"/>
                  <a:pt x="237" y="349"/>
                  <a:pt x="238" y="348"/>
                </a:cubicBezTo>
                <a:cubicBezTo>
                  <a:pt x="240" y="348"/>
                  <a:pt x="240" y="346"/>
                  <a:pt x="242" y="346"/>
                </a:cubicBezTo>
                <a:cubicBezTo>
                  <a:pt x="243" y="346"/>
                  <a:pt x="243" y="346"/>
                  <a:pt x="244" y="345"/>
                </a:cubicBezTo>
                <a:cubicBezTo>
                  <a:pt x="248" y="345"/>
                  <a:pt x="248" y="345"/>
                  <a:pt x="248" y="345"/>
                </a:cubicBezTo>
                <a:cubicBezTo>
                  <a:pt x="248" y="346"/>
                  <a:pt x="249" y="346"/>
                  <a:pt x="250" y="346"/>
                </a:cubicBezTo>
                <a:cubicBezTo>
                  <a:pt x="250" y="347"/>
                  <a:pt x="251" y="347"/>
                  <a:pt x="252" y="347"/>
                </a:cubicBezTo>
                <a:cubicBezTo>
                  <a:pt x="252" y="349"/>
                  <a:pt x="254" y="348"/>
                  <a:pt x="253" y="350"/>
                </a:cubicBezTo>
                <a:cubicBezTo>
                  <a:pt x="254" y="351"/>
                  <a:pt x="255" y="351"/>
                  <a:pt x="257" y="351"/>
                </a:cubicBezTo>
                <a:cubicBezTo>
                  <a:pt x="258" y="350"/>
                  <a:pt x="257" y="350"/>
                  <a:pt x="257" y="349"/>
                </a:cubicBezTo>
                <a:cubicBezTo>
                  <a:pt x="257" y="347"/>
                  <a:pt x="258" y="347"/>
                  <a:pt x="258" y="345"/>
                </a:cubicBezTo>
                <a:cubicBezTo>
                  <a:pt x="258" y="343"/>
                  <a:pt x="257" y="342"/>
                  <a:pt x="257" y="340"/>
                </a:cubicBezTo>
                <a:cubicBezTo>
                  <a:pt x="256" y="341"/>
                  <a:pt x="257" y="339"/>
                  <a:pt x="256" y="339"/>
                </a:cubicBezTo>
                <a:cubicBezTo>
                  <a:pt x="256" y="339"/>
                  <a:pt x="256" y="339"/>
                  <a:pt x="255" y="339"/>
                </a:cubicBezTo>
                <a:cubicBezTo>
                  <a:pt x="255" y="338"/>
                  <a:pt x="255" y="338"/>
                  <a:pt x="255" y="337"/>
                </a:cubicBezTo>
                <a:cubicBezTo>
                  <a:pt x="254" y="336"/>
                  <a:pt x="254" y="336"/>
                  <a:pt x="253" y="336"/>
                </a:cubicBezTo>
                <a:cubicBezTo>
                  <a:pt x="252" y="335"/>
                  <a:pt x="252" y="336"/>
                  <a:pt x="251" y="336"/>
                </a:cubicBezTo>
                <a:cubicBezTo>
                  <a:pt x="251" y="335"/>
                  <a:pt x="251" y="334"/>
                  <a:pt x="251" y="335"/>
                </a:cubicBezTo>
                <a:cubicBezTo>
                  <a:pt x="251" y="332"/>
                  <a:pt x="249" y="331"/>
                  <a:pt x="250" y="327"/>
                </a:cubicBezTo>
                <a:cubicBezTo>
                  <a:pt x="252" y="328"/>
                  <a:pt x="251" y="330"/>
                  <a:pt x="253" y="331"/>
                </a:cubicBezTo>
                <a:cubicBezTo>
                  <a:pt x="254" y="331"/>
                  <a:pt x="254" y="333"/>
                  <a:pt x="255" y="333"/>
                </a:cubicBezTo>
                <a:cubicBezTo>
                  <a:pt x="256" y="333"/>
                  <a:pt x="255" y="335"/>
                  <a:pt x="257" y="335"/>
                </a:cubicBezTo>
                <a:cubicBezTo>
                  <a:pt x="257" y="334"/>
                  <a:pt x="257" y="333"/>
                  <a:pt x="258" y="333"/>
                </a:cubicBezTo>
                <a:cubicBezTo>
                  <a:pt x="258" y="332"/>
                  <a:pt x="258" y="331"/>
                  <a:pt x="259" y="331"/>
                </a:cubicBezTo>
                <a:cubicBezTo>
                  <a:pt x="259" y="330"/>
                  <a:pt x="258" y="329"/>
                  <a:pt x="258" y="328"/>
                </a:cubicBezTo>
                <a:cubicBezTo>
                  <a:pt x="258" y="328"/>
                  <a:pt x="257" y="327"/>
                  <a:pt x="258" y="326"/>
                </a:cubicBezTo>
                <a:cubicBezTo>
                  <a:pt x="258" y="326"/>
                  <a:pt x="259" y="327"/>
                  <a:pt x="259" y="326"/>
                </a:cubicBezTo>
                <a:cubicBezTo>
                  <a:pt x="259" y="326"/>
                  <a:pt x="258" y="324"/>
                  <a:pt x="260" y="324"/>
                </a:cubicBezTo>
                <a:cubicBezTo>
                  <a:pt x="259" y="322"/>
                  <a:pt x="261" y="322"/>
                  <a:pt x="261" y="321"/>
                </a:cubicBezTo>
                <a:cubicBezTo>
                  <a:pt x="263" y="321"/>
                  <a:pt x="261" y="324"/>
                  <a:pt x="261" y="324"/>
                </a:cubicBezTo>
                <a:cubicBezTo>
                  <a:pt x="261" y="325"/>
                  <a:pt x="261" y="325"/>
                  <a:pt x="260" y="325"/>
                </a:cubicBezTo>
                <a:cubicBezTo>
                  <a:pt x="260" y="326"/>
                  <a:pt x="260" y="326"/>
                  <a:pt x="260" y="326"/>
                </a:cubicBezTo>
                <a:cubicBezTo>
                  <a:pt x="261" y="327"/>
                  <a:pt x="262" y="326"/>
                  <a:pt x="262" y="325"/>
                </a:cubicBezTo>
                <a:cubicBezTo>
                  <a:pt x="262" y="325"/>
                  <a:pt x="263" y="324"/>
                  <a:pt x="263" y="324"/>
                </a:cubicBezTo>
                <a:cubicBezTo>
                  <a:pt x="265" y="323"/>
                  <a:pt x="265" y="321"/>
                  <a:pt x="267" y="321"/>
                </a:cubicBezTo>
                <a:cubicBezTo>
                  <a:pt x="267" y="319"/>
                  <a:pt x="267" y="319"/>
                  <a:pt x="268" y="317"/>
                </a:cubicBezTo>
                <a:cubicBezTo>
                  <a:pt x="268" y="317"/>
                  <a:pt x="268" y="316"/>
                  <a:pt x="268" y="316"/>
                </a:cubicBezTo>
                <a:cubicBezTo>
                  <a:pt x="268" y="316"/>
                  <a:pt x="269" y="316"/>
                  <a:pt x="269" y="316"/>
                </a:cubicBezTo>
                <a:cubicBezTo>
                  <a:pt x="269" y="316"/>
                  <a:pt x="269" y="315"/>
                  <a:pt x="269" y="315"/>
                </a:cubicBezTo>
                <a:cubicBezTo>
                  <a:pt x="269" y="315"/>
                  <a:pt x="269" y="315"/>
                  <a:pt x="269" y="314"/>
                </a:cubicBezTo>
                <a:cubicBezTo>
                  <a:pt x="270" y="312"/>
                  <a:pt x="272" y="310"/>
                  <a:pt x="272" y="308"/>
                </a:cubicBezTo>
                <a:cubicBezTo>
                  <a:pt x="272" y="308"/>
                  <a:pt x="272" y="308"/>
                  <a:pt x="272" y="307"/>
                </a:cubicBezTo>
                <a:cubicBezTo>
                  <a:pt x="272" y="306"/>
                  <a:pt x="273" y="305"/>
                  <a:pt x="273" y="304"/>
                </a:cubicBezTo>
                <a:cubicBezTo>
                  <a:pt x="273" y="305"/>
                  <a:pt x="273" y="305"/>
                  <a:pt x="274" y="305"/>
                </a:cubicBezTo>
                <a:cubicBezTo>
                  <a:pt x="275" y="305"/>
                  <a:pt x="274" y="303"/>
                  <a:pt x="274" y="302"/>
                </a:cubicBezTo>
                <a:cubicBezTo>
                  <a:pt x="274" y="302"/>
                  <a:pt x="275" y="302"/>
                  <a:pt x="275" y="301"/>
                </a:cubicBezTo>
                <a:cubicBezTo>
                  <a:pt x="275" y="301"/>
                  <a:pt x="275" y="301"/>
                  <a:pt x="275" y="301"/>
                </a:cubicBezTo>
                <a:cubicBezTo>
                  <a:pt x="275" y="301"/>
                  <a:pt x="275" y="300"/>
                  <a:pt x="275" y="300"/>
                </a:cubicBezTo>
                <a:cubicBezTo>
                  <a:pt x="275" y="300"/>
                  <a:pt x="275" y="299"/>
                  <a:pt x="276" y="299"/>
                </a:cubicBezTo>
                <a:cubicBezTo>
                  <a:pt x="276" y="299"/>
                  <a:pt x="276" y="299"/>
                  <a:pt x="276" y="299"/>
                </a:cubicBezTo>
                <a:cubicBezTo>
                  <a:pt x="276" y="297"/>
                  <a:pt x="277" y="297"/>
                  <a:pt x="277" y="296"/>
                </a:cubicBezTo>
                <a:cubicBezTo>
                  <a:pt x="277" y="295"/>
                  <a:pt x="277" y="295"/>
                  <a:pt x="277" y="295"/>
                </a:cubicBezTo>
                <a:cubicBezTo>
                  <a:pt x="277" y="295"/>
                  <a:pt x="277" y="295"/>
                  <a:pt x="277" y="294"/>
                </a:cubicBezTo>
                <a:cubicBezTo>
                  <a:pt x="278" y="294"/>
                  <a:pt x="278" y="294"/>
                  <a:pt x="278" y="293"/>
                </a:cubicBezTo>
                <a:cubicBezTo>
                  <a:pt x="279" y="293"/>
                  <a:pt x="280" y="293"/>
                  <a:pt x="280" y="292"/>
                </a:cubicBezTo>
                <a:cubicBezTo>
                  <a:pt x="279" y="291"/>
                  <a:pt x="281" y="288"/>
                  <a:pt x="279" y="288"/>
                </a:cubicBezTo>
                <a:cubicBezTo>
                  <a:pt x="278" y="287"/>
                  <a:pt x="278" y="286"/>
                  <a:pt x="278" y="284"/>
                </a:cubicBezTo>
                <a:cubicBezTo>
                  <a:pt x="279" y="284"/>
                  <a:pt x="279" y="283"/>
                  <a:pt x="279" y="283"/>
                </a:cubicBezTo>
                <a:cubicBezTo>
                  <a:pt x="281" y="282"/>
                  <a:pt x="280" y="281"/>
                  <a:pt x="283" y="281"/>
                </a:cubicBezTo>
                <a:cubicBezTo>
                  <a:pt x="285" y="281"/>
                  <a:pt x="284" y="278"/>
                  <a:pt x="287" y="278"/>
                </a:cubicBezTo>
                <a:cubicBezTo>
                  <a:pt x="287" y="278"/>
                  <a:pt x="287" y="278"/>
                  <a:pt x="287" y="278"/>
                </a:cubicBezTo>
                <a:cubicBezTo>
                  <a:pt x="287" y="278"/>
                  <a:pt x="287" y="277"/>
                  <a:pt x="287" y="277"/>
                </a:cubicBezTo>
                <a:cubicBezTo>
                  <a:pt x="287" y="277"/>
                  <a:pt x="287" y="277"/>
                  <a:pt x="287" y="276"/>
                </a:cubicBezTo>
                <a:cubicBezTo>
                  <a:pt x="287" y="276"/>
                  <a:pt x="287" y="276"/>
                  <a:pt x="287" y="276"/>
                </a:cubicBezTo>
                <a:cubicBezTo>
                  <a:pt x="286" y="275"/>
                  <a:pt x="286" y="273"/>
                  <a:pt x="285" y="273"/>
                </a:cubicBezTo>
                <a:cubicBezTo>
                  <a:pt x="285" y="273"/>
                  <a:pt x="285" y="273"/>
                  <a:pt x="285" y="272"/>
                </a:cubicBezTo>
                <a:cubicBezTo>
                  <a:pt x="285" y="271"/>
                  <a:pt x="285" y="270"/>
                  <a:pt x="284" y="269"/>
                </a:cubicBezTo>
                <a:cubicBezTo>
                  <a:pt x="284" y="268"/>
                  <a:pt x="283" y="268"/>
                  <a:pt x="283" y="267"/>
                </a:cubicBezTo>
                <a:cubicBezTo>
                  <a:pt x="283" y="267"/>
                  <a:pt x="283" y="267"/>
                  <a:pt x="283" y="267"/>
                </a:cubicBezTo>
                <a:cubicBezTo>
                  <a:pt x="283" y="265"/>
                  <a:pt x="281" y="266"/>
                  <a:pt x="280" y="265"/>
                </a:cubicBezTo>
                <a:cubicBezTo>
                  <a:pt x="280" y="265"/>
                  <a:pt x="280" y="265"/>
                  <a:pt x="280" y="265"/>
                </a:cubicBezTo>
                <a:cubicBezTo>
                  <a:pt x="280" y="264"/>
                  <a:pt x="279" y="264"/>
                  <a:pt x="279" y="264"/>
                </a:cubicBezTo>
                <a:cubicBezTo>
                  <a:pt x="279" y="262"/>
                  <a:pt x="277" y="261"/>
                  <a:pt x="277" y="258"/>
                </a:cubicBezTo>
                <a:cubicBezTo>
                  <a:pt x="279" y="259"/>
                  <a:pt x="278" y="261"/>
                  <a:pt x="280" y="262"/>
                </a:cubicBezTo>
                <a:cubicBezTo>
                  <a:pt x="280" y="262"/>
                  <a:pt x="280" y="262"/>
                  <a:pt x="281" y="262"/>
                </a:cubicBezTo>
                <a:cubicBezTo>
                  <a:pt x="283" y="263"/>
                  <a:pt x="283" y="266"/>
                  <a:pt x="285" y="267"/>
                </a:cubicBezTo>
                <a:cubicBezTo>
                  <a:pt x="285" y="268"/>
                  <a:pt x="286" y="268"/>
                  <a:pt x="287" y="269"/>
                </a:cubicBezTo>
                <a:cubicBezTo>
                  <a:pt x="287" y="269"/>
                  <a:pt x="287" y="270"/>
                  <a:pt x="288" y="270"/>
                </a:cubicBezTo>
                <a:cubicBezTo>
                  <a:pt x="287" y="272"/>
                  <a:pt x="288" y="273"/>
                  <a:pt x="288" y="274"/>
                </a:cubicBezTo>
                <a:cubicBezTo>
                  <a:pt x="289" y="275"/>
                  <a:pt x="290" y="277"/>
                  <a:pt x="292" y="277"/>
                </a:cubicBezTo>
                <a:cubicBezTo>
                  <a:pt x="293" y="277"/>
                  <a:pt x="294" y="275"/>
                  <a:pt x="292" y="274"/>
                </a:cubicBezTo>
                <a:cubicBezTo>
                  <a:pt x="291" y="274"/>
                  <a:pt x="292" y="272"/>
                  <a:pt x="292" y="271"/>
                </a:cubicBezTo>
                <a:cubicBezTo>
                  <a:pt x="294" y="271"/>
                  <a:pt x="294" y="271"/>
                  <a:pt x="294" y="271"/>
                </a:cubicBezTo>
                <a:cubicBezTo>
                  <a:pt x="294" y="269"/>
                  <a:pt x="292" y="269"/>
                  <a:pt x="292" y="267"/>
                </a:cubicBezTo>
                <a:cubicBezTo>
                  <a:pt x="295" y="267"/>
                  <a:pt x="295" y="268"/>
                  <a:pt x="297" y="269"/>
                </a:cubicBezTo>
                <a:cubicBezTo>
                  <a:pt x="297" y="269"/>
                  <a:pt x="297" y="267"/>
                  <a:pt x="297" y="267"/>
                </a:cubicBezTo>
                <a:cubicBezTo>
                  <a:pt x="298" y="267"/>
                  <a:pt x="298" y="266"/>
                  <a:pt x="298" y="266"/>
                </a:cubicBezTo>
                <a:cubicBezTo>
                  <a:pt x="300" y="266"/>
                  <a:pt x="297" y="268"/>
                  <a:pt x="298" y="269"/>
                </a:cubicBezTo>
                <a:cubicBezTo>
                  <a:pt x="298" y="271"/>
                  <a:pt x="297" y="272"/>
                  <a:pt x="297" y="274"/>
                </a:cubicBezTo>
                <a:cubicBezTo>
                  <a:pt x="297" y="274"/>
                  <a:pt x="298" y="274"/>
                  <a:pt x="298" y="274"/>
                </a:cubicBezTo>
                <a:cubicBezTo>
                  <a:pt x="299" y="274"/>
                  <a:pt x="299" y="273"/>
                  <a:pt x="299" y="273"/>
                </a:cubicBezTo>
                <a:cubicBezTo>
                  <a:pt x="301" y="273"/>
                  <a:pt x="301" y="271"/>
                  <a:pt x="302" y="271"/>
                </a:cubicBezTo>
                <a:cubicBezTo>
                  <a:pt x="304" y="271"/>
                  <a:pt x="306" y="271"/>
                  <a:pt x="307" y="272"/>
                </a:cubicBezTo>
                <a:cubicBezTo>
                  <a:pt x="309" y="272"/>
                  <a:pt x="309" y="270"/>
                  <a:pt x="308" y="268"/>
                </a:cubicBezTo>
                <a:cubicBezTo>
                  <a:pt x="308" y="267"/>
                  <a:pt x="308" y="268"/>
                  <a:pt x="308" y="267"/>
                </a:cubicBezTo>
                <a:cubicBezTo>
                  <a:pt x="308" y="267"/>
                  <a:pt x="308" y="266"/>
                  <a:pt x="308" y="266"/>
                </a:cubicBezTo>
                <a:cubicBezTo>
                  <a:pt x="308" y="266"/>
                  <a:pt x="307" y="266"/>
                  <a:pt x="307" y="265"/>
                </a:cubicBezTo>
                <a:cubicBezTo>
                  <a:pt x="307" y="265"/>
                  <a:pt x="307" y="265"/>
                  <a:pt x="307" y="264"/>
                </a:cubicBezTo>
                <a:cubicBezTo>
                  <a:pt x="307" y="263"/>
                  <a:pt x="307" y="263"/>
                  <a:pt x="308" y="262"/>
                </a:cubicBezTo>
                <a:cubicBezTo>
                  <a:pt x="308" y="262"/>
                  <a:pt x="308" y="261"/>
                  <a:pt x="308" y="261"/>
                </a:cubicBezTo>
                <a:cubicBezTo>
                  <a:pt x="309" y="259"/>
                  <a:pt x="307" y="260"/>
                  <a:pt x="307" y="258"/>
                </a:cubicBezTo>
                <a:cubicBezTo>
                  <a:pt x="306" y="258"/>
                  <a:pt x="306" y="256"/>
                  <a:pt x="306" y="255"/>
                </a:cubicBezTo>
                <a:cubicBezTo>
                  <a:pt x="309" y="255"/>
                  <a:pt x="309" y="256"/>
                  <a:pt x="309" y="258"/>
                </a:cubicBezTo>
                <a:cubicBezTo>
                  <a:pt x="309" y="259"/>
                  <a:pt x="311" y="259"/>
                  <a:pt x="311" y="260"/>
                </a:cubicBezTo>
                <a:cubicBezTo>
                  <a:pt x="310" y="262"/>
                  <a:pt x="309" y="265"/>
                  <a:pt x="311" y="267"/>
                </a:cubicBezTo>
                <a:cubicBezTo>
                  <a:pt x="310" y="269"/>
                  <a:pt x="312" y="268"/>
                  <a:pt x="311" y="270"/>
                </a:cubicBezTo>
                <a:cubicBezTo>
                  <a:pt x="311" y="271"/>
                  <a:pt x="312" y="271"/>
                  <a:pt x="313" y="271"/>
                </a:cubicBezTo>
                <a:cubicBezTo>
                  <a:pt x="314" y="271"/>
                  <a:pt x="314" y="271"/>
                  <a:pt x="314" y="271"/>
                </a:cubicBezTo>
                <a:cubicBezTo>
                  <a:pt x="315" y="271"/>
                  <a:pt x="315" y="272"/>
                  <a:pt x="316" y="272"/>
                </a:cubicBezTo>
                <a:cubicBezTo>
                  <a:pt x="316" y="273"/>
                  <a:pt x="317" y="273"/>
                  <a:pt x="317" y="274"/>
                </a:cubicBezTo>
                <a:cubicBezTo>
                  <a:pt x="319" y="274"/>
                  <a:pt x="319" y="272"/>
                  <a:pt x="320" y="272"/>
                </a:cubicBezTo>
                <a:cubicBezTo>
                  <a:pt x="323" y="272"/>
                  <a:pt x="324" y="272"/>
                  <a:pt x="326" y="271"/>
                </a:cubicBezTo>
                <a:cubicBezTo>
                  <a:pt x="326" y="271"/>
                  <a:pt x="326" y="271"/>
                  <a:pt x="326" y="271"/>
                </a:cubicBezTo>
                <a:cubicBezTo>
                  <a:pt x="326" y="272"/>
                  <a:pt x="326" y="272"/>
                  <a:pt x="326" y="272"/>
                </a:cubicBezTo>
                <a:cubicBezTo>
                  <a:pt x="326" y="273"/>
                  <a:pt x="326" y="273"/>
                  <a:pt x="326" y="274"/>
                </a:cubicBezTo>
                <a:cubicBezTo>
                  <a:pt x="326" y="274"/>
                  <a:pt x="326" y="275"/>
                  <a:pt x="326" y="275"/>
                </a:cubicBezTo>
                <a:cubicBezTo>
                  <a:pt x="326" y="275"/>
                  <a:pt x="325" y="275"/>
                  <a:pt x="325" y="275"/>
                </a:cubicBezTo>
                <a:cubicBezTo>
                  <a:pt x="321" y="275"/>
                  <a:pt x="317" y="276"/>
                  <a:pt x="314" y="276"/>
                </a:cubicBezTo>
                <a:cubicBezTo>
                  <a:pt x="312" y="277"/>
                  <a:pt x="312" y="275"/>
                  <a:pt x="309" y="276"/>
                </a:cubicBezTo>
                <a:cubicBezTo>
                  <a:pt x="308" y="275"/>
                  <a:pt x="308" y="276"/>
                  <a:pt x="307" y="276"/>
                </a:cubicBezTo>
                <a:cubicBezTo>
                  <a:pt x="306" y="276"/>
                  <a:pt x="307" y="277"/>
                  <a:pt x="306" y="278"/>
                </a:cubicBezTo>
                <a:cubicBezTo>
                  <a:pt x="305" y="276"/>
                  <a:pt x="302" y="277"/>
                  <a:pt x="299" y="277"/>
                </a:cubicBezTo>
                <a:cubicBezTo>
                  <a:pt x="299" y="279"/>
                  <a:pt x="301" y="278"/>
                  <a:pt x="301" y="279"/>
                </a:cubicBezTo>
                <a:cubicBezTo>
                  <a:pt x="302" y="279"/>
                  <a:pt x="302" y="280"/>
                  <a:pt x="303" y="280"/>
                </a:cubicBezTo>
                <a:cubicBezTo>
                  <a:pt x="304" y="280"/>
                  <a:pt x="304" y="280"/>
                  <a:pt x="304" y="281"/>
                </a:cubicBezTo>
                <a:cubicBezTo>
                  <a:pt x="307" y="279"/>
                  <a:pt x="312" y="279"/>
                  <a:pt x="317" y="279"/>
                </a:cubicBezTo>
                <a:cubicBezTo>
                  <a:pt x="317" y="281"/>
                  <a:pt x="315" y="282"/>
                  <a:pt x="314" y="283"/>
                </a:cubicBezTo>
                <a:cubicBezTo>
                  <a:pt x="314" y="283"/>
                  <a:pt x="314" y="283"/>
                  <a:pt x="314" y="283"/>
                </a:cubicBezTo>
                <a:cubicBezTo>
                  <a:pt x="314" y="284"/>
                  <a:pt x="313" y="284"/>
                  <a:pt x="312" y="284"/>
                </a:cubicBezTo>
                <a:cubicBezTo>
                  <a:pt x="312" y="285"/>
                  <a:pt x="311" y="285"/>
                  <a:pt x="311" y="285"/>
                </a:cubicBezTo>
                <a:cubicBezTo>
                  <a:pt x="310" y="286"/>
                  <a:pt x="308" y="286"/>
                  <a:pt x="308" y="287"/>
                </a:cubicBezTo>
                <a:cubicBezTo>
                  <a:pt x="309" y="288"/>
                  <a:pt x="309" y="288"/>
                  <a:pt x="309" y="288"/>
                </a:cubicBezTo>
                <a:cubicBezTo>
                  <a:pt x="309" y="289"/>
                  <a:pt x="311" y="289"/>
                  <a:pt x="311" y="289"/>
                </a:cubicBezTo>
                <a:cubicBezTo>
                  <a:pt x="311" y="289"/>
                  <a:pt x="311" y="288"/>
                  <a:pt x="311" y="288"/>
                </a:cubicBezTo>
                <a:cubicBezTo>
                  <a:pt x="312" y="288"/>
                  <a:pt x="313" y="289"/>
                  <a:pt x="313" y="287"/>
                </a:cubicBezTo>
                <a:cubicBezTo>
                  <a:pt x="313" y="287"/>
                  <a:pt x="313" y="287"/>
                  <a:pt x="313" y="287"/>
                </a:cubicBezTo>
                <a:cubicBezTo>
                  <a:pt x="314" y="287"/>
                  <a:pt x="314" y="287"/>
                  <a:pt x="314" y="287"/>
                </a:cubicBezTo>
                <a:cubicBezTo>
                  <a:pt x="316" y="286"/>
                  <a:pt x="316" y="288"/>
                  <a:pt x="317" y="287"/>
                </a:cubicBezTo>
                <a:cubicBezTo>
                  <a:pt x="319" y="287"/>
                  <a:pt x="319" y="289"/>
                  <a:pt x="320" y="289"/>
                </a:cubicBezTo>
                <a:cubicBezTo>
                  <a:pt x="322" y="289"/>
                  <a:pt x="322" y="288"/>
                  <a:pt x="324" y="288"/>
                </a:cubicBezTo>
                <a:cubicBezTo>
                  <a:pt x="324" y="289"/>
                  <a:pt x="322" y="289"/>
                  <a:pt x="322" y="290"/>
                </a:cubicBezTo>
                <a:cubicBezTo>
                  <a:pt x="322" y="290"/>
                  <a:pt x="321" y="290"/>
                  <a:pt x="320" y="290"/>
                </a:cubicBezTo>
                <a:cubicBezTo>
                  <a:pt x="320" y="289"/>
                  <a:pt x="319" y="290"/>
                  <a:pt x="318" y="290"/>
                </a:cubicBezTo>
                <a:cubicBezTo>
                  <a:pt x="306" y="290"/>
                  <a:pt x="306" y="290"/>
                  <a:pt x="306" y="290"/>
                </a:cubicBezTo>
                <a:cubicBezTo>
                  <a:pt x="303" y="290"/>
                  <a:pt x="303" y="286"/>
                  <a:pt x="300" y="286"/>
                </a:cubicBezTo>
                <a:cubicBezTo>
                  <a:pt x="299" y="289"/>
                  <a:pt x="302" y="288"/>
                  <a:pt x="302" y="288"/>
                </a:cubicBezTo>
                <a:cubicBezTo>
                  <a:pt x="302" y="288"/>
                  <a:pt x="302" y="289"/>
                  <a:pt x="302" y="290"/>
                </a:cubicBezTo>
                <a:cubicBezTo>
                  <a:pt x="303" y="290"/>
                  <a:pt x="303" y="290"/>
                  <a:pt x="304" y="291"/>
                </a:cubicBezTo>
                <a:cubicBezTo>
                  <a:pt x="309" y="292"/>
                  <a:pt x="315" y="292"/>
                  <a:pt x="320" y="292"/>
                </a:cubicBezTo>
                <a:cubicBezTo>
                  <a:pt x="322" y="292"/>
                  <a:pt x="322" y="291"/>
                  <a:pt x="323" y="291"/>
                </a:cubicBezTo>
                <a:cubicBezTo>
                  <a:pt x="324" y="291"/>
                  <a:pt x="324" y="291"/>
                  <a:pt x="325" y="291"/>
                </a:cubicBezTo>
                <a:cubicBezTo>
                  <a:pt x="327" y="291"/>
                  <a:pt x="328" y="292"/>
                  <a:pt x="331" y="292"/>
                </a:cubicBezTo>
                <a:cubicBezTo>
                  <a:pt x="333" y="292"/>
                  <a:pt x="334" y="291"/>
                  <a:pt x="336" y="291"/>
                </a:cubicBezTo>
                <a:cubicBezTo>
                  <a:pt x="338" y="291"/>
                  <a:pt x="341" y="292"/>
                  <a:pt x="344" y="292"/>
                </a:cubicBezTo>
                <a:cubicBezTo>
                  <a:pt x="345" y="292"/>
                  <a:pt x="345" y="291"/>
                  <a:pt x="346" y="291"/>
                </a:cubicBezTo>
                <a:cubicBezTo>
                  <a:pt x="346" y="290"/>
                  <a:pt x="347" y="290"/>
                  <a:pt x="347" y="290"/>
                </a:cubicBezTo>
                <a:cubicBezTo>
                  <a:pt x="351" y="290"/>
                  <a:pt x="351" y="290"/>
                  <a:pt x="351" y="290"/>
                </a:cubicBezTo>
                <a:cubicBezTo>
                  <a:pt x="351" y="288"/>
                  <a:pt x="348" y="288"/>
                  <a:pt x="346" y="288"/>
                </a:cubicBezTo>
                <a:cubicBezTo>
                  <a:pt x="346" y="288"/>
                  <a:pt x="345" y="288"/>
                  <a:pt x="345" y="288"/>
                </a:cubicBezTo>
                <a:cubicBezTo>
                  <a:pt x="345" y="288"/>
                  <a:pt x="345" y="288"/>
                  <a:pt x="345" y="288"/>
                </a:cubicBezTo>
                <a:cubicBezTo>
                  <a:pt x="344" y="288"/>
                  <a:pt x="343" y="289"/>
                  <a:pt x="343" y="289"/>
                </a:cubicBezTo>
                <a:cubicBezTo>
                  <a:pt x="343" y="289"/>
                  <a:pt x="343" y="290"/>
                  <a:pt x="343" y="290"/>
                </a:cubicBezTo>
                <a:cubicBezTo>
                  <a:pt x="342" y="290"/>
                  <a:pt x="342" y="290"/>
                  <a:pt x="342" y="290"/>
                </a:cubicBezTo>
                <a:cubicBezTo>
                  <a:pt x="341" y="289"/>
                  <a:pt x="340" y="289"/>
                  <a:pt x="339" y="290"/>
                </a:cubicBezTo>
                <a:cubicBezTo>
                  <a:pt x="339" y="290"/>
                  <a:pt x="339" y="290"/>
                  <a:pt x="339" y="290"/>
                </a:cubicBezTo>
                <a:cubicBezTo>
                  <a:pt x="336" y="290"/>
                  <a:pt x="336" y="290"/>
                  <a:pt x="336" y="290"/>
                </a:cubicBezTo>
                <a:cubicBezTo>
                  <a:pt x="336" y="289"/>
                  <a:pt x="337" y="289"/>
                  <a:pt x="338" y="289"/>
                </a:cubicBezTo>
                <a:cubicBezTo>
                  <a:pt x="338" y="289"/>
                  <a:pt x="339" y="289"/>
                  <a:pt x="339" y="289"/>
                </a:cubicBezTo>
                <a:cubicBezTo>
                  <a:pt x="340" y="289"/>
                  <a:pt x="341" y="288"/>
                  <a:pt x="342" y="288"/>
                </a:cubicBezTo>
                <a:cubicBezTo>
                  <a:pt x="342" y="288"/>
                  <a:pt x="342" y="288"/>
                  <a:pt x="342" y="288"/>
                </a:cubicBezTo>
                <a:cubicBezTo>
                  <a:pt x="343" y="287"/>
                  <a:pt x="343" y="287"/>
                  <a:pt x="344" y="287"/>
                </a:cubicBezTo>
                <a:cubicBezTo>
                  <a:pt x="344" y="287"/>
                  <a:pt x="344" y="287"/>
                  <a:pt x="344" y="287"/>
                </a:cubicBezTo>
                <a:cubicBezTo>
                  <a:pt x="345" y="286"/>
                  <a:pt x="346" y="287"/>
                  <a:pt x="348" y="286"/>
                </a:cubicBezTo>
                <a:cubicBezTo>
                  <a:pt x="348" y="286"/>
                  <a:pt x="348" y="286"/>
                  <a:pt x="348" y="286"/>
                </a:cubicBezTo>
                <a:cubicBezTo>
                  <a:pt x="348" y="286"/>
                  <a:pt x="349" y="285"/>
                  <a:pt x="349" y="285"/>
                </a:cubicBezTo>
                <a:cubicBezTo>
                  <a:pt x="349" y="285"/>
                  <a:pt x="350" y="284"/>
                  <a:pt x="350" y="284"/>
                </a:cubicBezTo>
                <a:cubicBezTo>
                  <a:pt x="350" y="283"/>
                  <a:pt x="352" y="284"/>
                  <a:pt x="353" y="283"/>
                </a:cubicBezTo>
                <a:cubicBezTo>
                  <a:pt x="353" y="283"/>
                  <a:pt x="353" y="282"/>
                  <a:pt x="353" y="282"/>
                </a:cubicBezTo>
                <a:cubicBezTo>
                  <a:pt x="353" y="282"/>
                  <a:pt x="353" y="282"/>
                  <a:pt x="353" y="281"/>
                </a:cubicBezTo>
                <a:cubicBezTo>
                  <a:pt x="355" y="281"/>
                  <a:pt x="355" y="283"/>
                  <a:pt x="357" y="283"/>
                </a:cubicBezTo>
                <a:cubicBezTo>
                  <a:pt x="357" y="283"/>
                  <a:pt x="358" y="283"/>
                  <a:pt x="359" y="283"/>
                </a:cubicBezTo>
                <a:cubicBezTo>
                  <a:pt x="360" y="283"/>
                  <a:pt x="361" y="284"/>
                  <a:pt x="364" y="284"/>
                </a:cubicBezTo>
                <a:cubicBezTo>
                  <a:pt x="365" y="284"/>
                  <a:pt x="365" y="282"/>
                  <a:pt x="365" y="281"/>
                </a:cubicBezTo>
                <a:cubicBezTo>
                  <a:pt x="365" y="281"/>
                  <a:pt x="365" y="280"/>
                  <a:pt x="366" y="280"/>
                </a:cubicBezTo>
                <a:cubicBezTo>
                  <a:pt x="366" y="280"/>
                  <a:pt x="367" y="280"/>
                  <a:pt x="367" y="280"/>
                </a:cubicBezTo>
                <a:cubicBezTo>
                  <a:pt x="368" y="281"/>
                  <a:pt x="368" y="283"/>
                  <a:pt x="368" y="285"/>
                </a:cubicBezTo>
                <a:cubicBezTo>
                  <a:pt x="369" y="287"/>
                  <a:pt x="371" y="286"/>
                  <a:pt x="372" y="287"/>
                </a:cubicBezTo>
                <a:cubicBezTo>
                  <a:pt x="372" y="291"/>
                  <a:pt x="370" y="291"/>
                  <a:pt x="367" y="291"/>
                </a:cubicBezTo>
                <a:cubicBezTo>
                  <a:pt x="366" y="292"/>
                  <a:pt x="366" y="293"/>
                  <a:pt x="365" y="294"/>
                </a:cubicBezTo>
                <a:cubicBezTo>
                  <a:pt x="363" y="294"/>
                  <a:pt x="363" y="296"/>
                  <a:pt x="362" y="296"/>
                </a:cubicBezTo>
                <a:cubicBezTo>
                  <a:pt x="362" y="296"/>
                  <a:pt x="362" y="296"/>
                  <a:pt x="362" y="296"/>
                </a:cubicBezTo>
                <a:cubicBezTo>
                  <a:pt x="362" y="296"/>
                  <a:pt x="362" y="296"/>
                  <a:pt x="362" y="297"/>
                </a:cubicBezTo>
                <a:cubicBezTo>
                  <a:pt x="361" y="296"/>
                  <a:pt x="360" y="299"/>
                  <a:pt x="358" y="297"/>
                </a:cubicBezTo>
                <a:cubicBezTo>
                  <a:pt x="358" y="297"/>
                  <a:pt x="358" y="297"/>
                  <a:pt x="358" y="297"/>
                </a:cubicBezTo>
                <a:cubicBezTo>
                  <a:pt x="358" y="297"/>
                  <a:pt x="358" y="297"/>
                  <a:pt x="358" y="297"/>
                </a:cubicBezTo>
                <a:cubicBezTo>
                  <a:pt x="357" y="297"/>
                  <a:pt x="357" y="299"/>
                  <a:pt x="357" y="300"/>
                </a:cubicBezTo>
                <a:cubicBezTo>
                  <a:pt x="354" y="302"/>
                  <a:pt x="354" y="306"/>
                  <a:pt x="350" y="308"/>
                </a:cubicBezTo>
                <a:cubicBezTo>
                  <a:pt x="350" y="309"/>
                  <a:pt x="350" y="310"/>
                  <a:pt x="349" y="310"/>
                </a:cubicBezTo>
                <a:cubicBezTo>
                  <a:pt x="349" y="310"/>
                  <a:pt x="349" y="310"/>
                  <a:pt x="349" y="311"/>
                </a:cubicBezTo>
                <a:cubicBezTo>
                  <a:pt x="349" y="312"/>
                  <a:pt x="348" y="312"/>
                  <a:pt x="347" y="313"/>
                </a:cubicBezTo>
                <a:cubicBezTo>
                  <a:pt x="347" y="313"/>
                  <a:pt x="347" y="314"/>
                  <a:pt x="347" y="314"/>
                </a:cubicBezTo>
                <a:cubicBezTo>
                  <a:pt x="346" y="314"/>
                  <a:pt x="346" y="315"/>
                  <a:pt x="345" y="316"/>
                </a:cubicBezTo>
                <a:cubicBezTo>
                  <a:pt x="345" y="316"/>
                  <a:pt x="345" y="316"/>
                  <a:pt x="345" y="316"/>
                </a:cubicBezTo>
                <a:cubicBezTo>
                  <a:pt x="345" y="316"/>
                  <a:pt x="344" y="317"/>
                  <a:pt x="344" y="316"/>
                </a:cubicBezTo>
                <a:cubicBezTo>
                  <a:pt x="343" y="316"/>
                  <a:pt x="343" y="317"/>
                  <a:pt x="343" y="317"/>
                </a:cubicBezTo>
                <a:cubicBezTo>
                  <a:pt x="342" y="317"/>
                  <a:pt x="342" y="318"/>
                  <a:pt x="341" y="318"/>
                </a:cubicBezTo>
                <a:cubicBezTo>
                  <a:pt x="341" y="319"/>
                  <a:pt x="341" y="319"/>
                  <a:pt x="341" y="319"/>
                </a:cubicBezTo>
                <a:cubicBezTo>
                  <a:pt x="341" y="320"/>
                  <a:pt x="342" y="321"/>
                  <a:pt x="342" y="322"/>
                </a:cubicBezTo>
                <a:cubicBezTo>
                  <a:pt x="342" y="323"/>
                  <a:pt x="344" y="322"/>
                  <a:pt x="344" y="323"/>
                </a:cubicBezTo>
                <a:cubicBezTo>
                  <a:pt x="344" y="323"/>
                  <a:pt x="344" y="323"/>
                  <a:pt x="345" y="323"/>
                </a:cubicBezTo>
                <a:cubicBezTo>
                  <a:pt x="349" y="323"/>
                  <a:pt x="350" y="319"/>
                  <a:pt x="355" y="320"/>
                </a:cubicBezTo>
                <a:cubicBezTo>
                  <a:pt x="357" y="320"/>
                  <a:pt x="358" y="320"/>
                  <a:pt x="359" y="321"/>
                </a:cubicBezTo>
                <a:cubicBezTo>
                  <a:pt x="359" y="321"/>
                  <a:pt x="360" y="321"/>
                  <a:pt x="360" y="322"/>
                </a:cubicBezTo>
                <a:cubicBezTo>
                  <a:pt x="361" y="322"/>
                  <a:pt x="362" y="323"/>
                  <a:pt x="363" y="324"/>
                </a:cubicBezTo>
                <a:cubicBezTo>
                  <a:pt x="363" y="324"/>
                  <a:pt x="363" y="324"/>
                  <a:pt x="363" y="324"/>
                </a:cubicBezTo>
                <a:cubicBezTo>
                  <a:pt x="363" y="324"/>
                  <a:pt x="364" y="325"/>
                  <a:pt x="365" y="324"/>
                </a:cubicBezTo>
                <a:cubicBezTo>
                  <a:pt x="365" y="324"/>
                  <a:pt x="365" y="324"/>
                  <a:pt x="365" y="324"/>
                </a:cubicBezTo>
                <a:cubicBezTo>
                  <a:pt x="366" y="324"/>
                  <a:pt x="368" y="324"/>
                  <a:pt x="368" y="325"/>
                </a:cubicBezTo>
                <a:cubicBezTo>
                  <a:pt x="370" y="326"/>
                  <a:pt x="370" y="324"/>
                  <a:pt x="372" y="324"/>
                </a:cubicBezTo>
                <a:cubicBezTo>
                  <a:pt x="373" y="324"/>
                  <a:pt x="373" y="325"/>
                  <a:pt x="374" y="325"/>
                </a:cubicBezTo>
                <a:cubicBezTo>
                  <a:pt x="374" y="325"/>
                  <a:pt x="374" y="325"/>
                  <a:pt x="374" y="325"/>
                </a:cubicBezTo>
                <a:cubicBezTo>
                  <a:pt x="375" y="326"/>
                  <a:pt x="376" y="326"/>
                  <a:pt x="377" y="327"/>
                </a:cubicBezTo>
                <a:cubicBezTo>
                  <a:pt x="378" y="327"/>
                  <a:pt x="378" y="327"/>
                  <a:pt x="378" y="327"/>
                </a:cubicBezTo>
                <a:cubicBezTo>
                  <a:pt x="379" y="327"/>
                  <a:pt x="379" y="329"/>
                  <a:pt x="380" y="329"/>
                </a:cubicBezTo>
                <a:cubicBezTo>
                  <a:pt x="380" y="329"/>
                  <a:pt x="380" y="329"/>
                  <a:pt x="380" y="329"/>
                </a:cubicBezTo>
                <a:cubicBezTo>
                  <a:pt x="380" y="329"/>
                  <a:pt x="380" y="329"/>
                  <a:pt x="380" y="329"/>
                </a:cubicBezTo>
                <a:cubicBezTo>
                  <a:pt x="380" y="330"/>
                  <a:pt x="380" y="331"/>
                  <a:pt x="381" y="331"/>
                </a:cubicBezTo>
                <a:cubicBezTo>
                  <a:pt x="381" y="333"/>
                  <a:pt x="380" y="337"/>
                  <a:pt x="382" y="338"/>
                </a:cubicBezTo>
                <a:cubicBezTo>
                  <a:pt x="382" y="340"/>
                  <a:pt x="381" y="341"/>
                  <a:pt x="381" y="342"/>
                </a:cubicBezTo>
                <a:cubicBezTo>
                  <a:pt x="381" y="342"/>
                  <a:pt x="381" y="343"/>
                  <a:pt x="381" y="343"/>
                </a:cubicBezTo>
                <a:cubicBezTo>
                  <a:pt x="381" y="343"/>
                  <a:pt x="381" y="343"/>
                  <a:pt x="381" y="343"/>
                </a:cubicBezTo>
                <a:cubicBezTo>
                  <a:pt x="384" y="344"/>
                  <a:pt x="381" y="345"/>
                  <a:pt x="381" y="346"/>
                </a:cubicBezTo>
                <a:cubicBezTo>
                  <a:pt x="381" y="346"/>
                  <a:pt x="381" y="346"/>
                  <a:pt x="381" y="346"/>
                </a:cubicBezTo>
                <a:cubicBezTo>
                  <a:pt x="380" y="347"/>
                  <a:pt x="379" y="348"/>
                  <a:pt x="379" y="349"/>
                </a:cubicBezTo>
                <a:cubicBezTo>
                  <a:pt x="379" y="350"/>
                  <a:pt x="380" y="351"/>
                  <a:pt x="380" y="352"/>
                </a:cubicBezTo>
                <a:cubicBezTo>
                  <a:pt x="381" y="352"/>
                  <a:pt x="382" y="351"/>
                  <a:pt x="382" y="352"/>
                </a:cubicBezTo>
                <a:cubicBezTo>
                  <a:pt x="383" y="352"/>
                  <a:pt x="385" y="352"/>
                  <a:pt x="386" y="352"/>
                </a:cubicBezTo>
                <a:cubicBezTo>
                  <a:pt x="388" y="352"/>
                  <a:pt x="388" y="353"/>
                  <a:pt x="389" y="354"/>
                </a:cubicBezTo>
                <a:cubicBezTo>
                  <a:pt x="391" y="354"/>
                  <a:pt x="391" y="356"/>
                  <a:pt x="393" y="355"/>
                </a:cubicBezTo>
                <a:cubicBezTo>
                  <a:pt x="393" y="355"/>
                  <a:pt x="394" y="355"/>
                  <a:pt x="394" y="355"/>
                </a:cubicBezTo>
                <a:cubicBezTo>
                  <a:pt x="394" y="355"/>
                  <a:pt x="394" y="355"/>
                  <a:pt x="394" y="355"/>
                </a:cubicBezTo>
                <a:cubicBezTo>
                  <a:pt x="395" y="355"/>
                  <a:pt x="397" y="355"/>
                  <a:pt x="397" y="355"/>
                </a:cubicBezTo>
                <a:cubicBezTo>
                  <a:pt x="397" y="354"/>
                  <a:pt x="398" y="354"/>
                  <a:pt x="398" y="354"/>
                </a:cubicBezTo>
                <a:cubicBezTo>
                  <a:pt x="398" y="354"/>
                  <a:pt x="400" y="353"/>
                  <a:pt x="401" y="353"/>
                </a:cubicBezTo>
                <a:cubicBezTo>
                  <a:pt x="401" y="353"/>
                  <a:pt x="401" y="353"/>
                  <a:pt x="402" y="353"/>
                </a:cubicBezTo>
                <a:cubicBezTo>
                  <a:pt x="402" y="353"/>
                  <a:pt x="402" y="352"/>
                  <a:pt x="402" y="352"/>
                </a:cubicBezTo>
                <a:cubicBezTo>
                  <a:pt x="404" y="352"/>
                  <a:pt x="404" y="351"/>
                  <a:pt x="405" y="350"/>
                </a:cubicBezTo>
                <a:cubicBezTo>
                  <a:pt x="405" y="350"/>
                  <a:pt x="406" y="350"/>
                  <a:pt x="406" y="349"/>
                </a:cubicBezTo>
                <a:cubicBezTo>
                  <a:pt x="406" y="349"/>
                  <a:pt x="406" y="348"/>
                  <a:pt x="407" y="348"/>
                </a:cubicBezTo>
                <a:cubicBezTo>
                  <a:pt x="407" y="347"/>
                  <a:pt x="408" y="346"/>
                  <a:pt x="409" y="346"/>
                </a:cubicBezTo>
                <a:cubicBezTo>
                  <a:pt x="409" y="345"/>
                  <a:pt x="409" y="344"/>
                  <a:pt x="410" y="344"/>
                </a:cubicBezTo>
                <a:cubicBezTo>
                  <a:pt x="410" y="341"/>
                  <a:pt x="411" y="340"/>
                  <a:pt x="412" y="338"/>
                </a:cubicBezTo>
                <a:cubicBezTo>
                  <a:pt x="411" y="337"/>
                  <a:pt x="412" y="337"/>
                  <a:pt x="412" y="336"/>
                </a:cubicBezTo>
                <a:cubicBezTo>
                  <a:pt x="413" y="335"/>
                  <a:pt x="414" y="335"/>
                  <a:pt x="414" y="333"/>
                </a:cubicBezTo>
                <a:cubicBezTo>
                  <a:pt x="415" y="333"/>
                  <a:pt x="415" y="332"/>
                  <a:pt x="416" y="332"/>
                </a:cubicBezTo>
                <a:cubicBezTo>
                  <a:pt x="416" y="331"/>
                  <a:pt x="416" y="331"/>
                  <a:pt x="416" y="331"/>
                </a:cubicBezTo>
                <a:cubicBezTo>
                  <a:pt x="417" y="331"/>
                  <a:pt x="419" y="331"/>
                  <a:pt x="420" y="329"/>
                </a:cubicBezTo>
                <a:cubicBezTo>
                  <a:pt x="420" y="329"/>
                  <a:pt x="420" y="329"/>
                  <a:pt x="420" y="329"/>
                </a:cubicBezTo>
                <a:cubicBezTo>
                  <a:pt x="421" y="329"/>
                  <a:pt x="421" y="328"/>
                  <a:pt x="421" y="327"/>
                </a:cubicBezTo>
                <a:cubicBezTo>
                  <a:pt x="421" y="327"/>
                  <a:pt x="421" y="327"/>
                  <a:pt x="422" y="327"/>
                </a:cubicBezTo>
                <a:cubicBezTo>
                  <a:pt x="422" y="327"/>
                  <a:pt x="423" y="326"/>
                  <a:pt x="424" y="326"/>
                </a:cubicBezTo>
                <a:cubicBezTo>
                  <a:pt x="424" y="326"/>
                  <a:pt x="424" y="326"/>
                  <a:pt x="424" y="326"/>
                </a:cubicBezTo>
                <a:cubicBezTo>
                  <a:pt x="425" y="326"/>
                  <a:pt x="425" y="326"/>
                  <a:pt x="425" y="325"/>
                </a:cubicBezTo>
                <a:cubicBezTo>
                  <a:pt x="427" y="325"/>
                  <a:pt x="429" y="325"/>
                  <a:pt x="430" y="325"/>
                </a:cubicBezTo>
                <a:cubicBezTo>
                  <a:pt x="431" y="324"/>
                  <a:pt x="431" y="323"/>
                  <a:pt x="431" y="321"/>
                </a:cubicBezTo>
                <a:cubicBezTo>
                  <a:pt x="431" y="321"/>
                  <a:pt x="432" y="321"/>
                  <a:pt x="432" y="320"/>
                </a:cubicBezTo>
                <a:cubicBezTo>
                  <a:pt x="432" y="320"/>
                  <a:pt x="432" y="320"/>
                  <a:pt x="432" y="320"/>
                </a:cubicBezTo>
                <a:cubicBezTo>
                  <a:pt x="433" y="319"/>
                  <a:pt x="434" y="319"/>
                  <a:pt x="434" y="317"/>
                </a:cubicBezTo>
                <a:cubicBezTo>
                  <a:pt x="434" y="317"/>
                  <a:pt x="434" y="317"/>
                  <a:pt x="434" y="317"/>
                </a:cubicBezTo>
                <a:cubicBezTo>
                  <a:pt x="434" y="317"/>
                  <a:pt x="435" y="316"/>
                  <a:pt x="435" y="316"/>
                </a:cubicBezTo>
                <a:cubicBezTo>
                  <a:pt x="435" y="316"/>
                  <a:pt x="435" y="316"/>
                  <a:pt x="436" y="316"/>
                </a:cubicBezTo>
                <a:cubicBezTo>
                  <a:pt x="436" y="316"/>
                  <a:pt x="437" y="316"/>
                  <a:pt x="438" y="316"/>
                </a:cubicBezTo>
                <a:cubicBezTo>
                  <a:pt x="438" y="315"/>
                  <a:pt x="439" y="314"/>
                  <a:pt x="439" y="313"/>
                </a:cubicBezTo>
                <a:cubicBezTo>
                  <a:pt x="439" y="313"/>
                  <a:pt x="438" y="312"/>
                  <a:pt x="438" y="312"/>
                </a:cubicBezTo>
                <a:cubicBezTo>
                  <a:pt x="438" y="311"/>
                  <a:pt x="438" y="310"/>
                  <a:pt x="438" y="309"/>
                </a:cubicBezTo>
                <a:cubicBezTo>
                  <a:pt x="438" y="309"/>
                  <a:pt x="438" y="308"/>
                  <a:pt x="439" y="308"/>
                </a:cubicBezTo>
                <a:cubicBezTo>
                  <a:pt x="439" y="307"/>
                  <a:pt x="440" y="307"/>
                  <a:pt x="440" y="306"/>
                </a:cubicBezTo>
                <a:cubicBezTo>
                  <a:pt x="443" y="306"/>
                  <a:pt x="445" y="306"/>
                  <a:pt x="448" y="306"/>
                </a:cubicBezTo>
                <a:cubicBezTo>
                  <a:pt x="448" y="306"/>
                  <a:pt x="449" y="306"/>
                  <a:pt x="448" y="307"/>
                </a:cubicBezTo>
                <a:cubicBezTo>
                  <a:pt x="450" y="308"/>
                  <a:pt x="450" y="308"/>
                  <a:pt x="451" y="308"/>
                </a:cubicBezTo>
                <a:cubicBezTo>
                  <a:pt x="453" y="308"/>
                  <a:pt x="453" y="308"/>
                  <a:pt x="454" y="307"/>
                </a:cubicBezTo>
                <a:cubicBezTo>
                  <a:pt x="455" y="307"/>
                  <a:pt x="455" y="306"/>
                  <a:pt x="456" y="306"/>
                </a:cubicBezTo>
                <a:cubicBezTo>
                  <a:pt x="456" y="305"/>
                  <a:pt x="456" y="305"/>
                  <a:pt x="457" y="305"/>
                </a:cubicBezTo>
                <a:cubicBezTo>
                  <a:pt x="458" y="305"/>
                  <a:pt x="459" y="305"/>
                  <a:pt x="460" y="305"/>
                </a:cubicBezTo>
                <a:cubicBezTo>
                  <a:pt x="460" y="305"/>
                  <a:pt x="460" y="305"/>
                  <a:pt x="460" y="305"/>
                </a:cubicBezTo>
                <a:cubicBezTo>
                  <a:pt x="461" y="305"/>
                  <a:pt x="462" y="306"/>
                  <a:pt x="464" y="305"/>
                </a:cubicBezTo>
                <a:cubicBezTo>
                  <a:pt x="464" y="305"/>
                  <a:pt x="464" y="305"/>
                  <a:pt x="464" y="305"/>
                </a:cubicBezTo>
                <a:cubicBezTo>
                  <a:pt x="464" y="304"/>
                  <a:pt x="464" y="303"/>
                  <a:pt x="464" y="303"/>
                </a:cubicBezTo>
                <a:cubicBezTo>
                  <a:pt x="464" y="303"/>
                  <a:pt x="464" y="302"/>
                  <a:pt x="464" y="302"/>
                </a:cubicBezTo>
                <a:cubicBezTo>
                  <a:pt x="464" y="302"/>
                  <a:pt x="464" y="302"/>
                  <a:pt x="464" y="301"/>
                </a:cubicBezTo>
                <a:cubicBezTo>
                  <a:pt x="466" y="302"/>
                  <a:pt x="467" y="301"/>
                  <a:pt x="468" y="301"/>
                </a:cubicBezTo>
                <a:cubicBezTo>
                  <a:pt x="469" y="300"/>
                  <a:pt x="468" y="299"/>
                  <a:pt x="469" y="299"/>
                </a:cubicBezTo>
                <a:cubicBezTo>
                  <a:pt x="469" y="298"/>
                  <a:pt x="469" y="297"/>
                  <a:pt x="469" y="297"/>
                </a:cubicBezTo>
                <a:cubicBezTo>
                  <a:pt x="468" y="297"/>
                  <a:pt x="468" y="297"/>
                  <a:pt x="468" y="297"/>
                </a:cubicBezTo>
                <a:cubicBezTo>
                  <a:pt x="467" y="296"/>
                  <a:pt x="467" y="295"/>
                  <a:pt x="467" y="294"/>
                </a:cubicBezTo>
                <a:cubicBezTo>
                  <a:pt x="467" y="294"/>
                  <a:pt x="467" y="294"/>
                  <a:pt x="467" y="294"/>
                </a:cubicBezTo>
                <a:cubicBezTo>
                  <a:pt x="467" y="294"/>
                  <a:pt x="467" y="293"/>
                  <a:pt x="467" y="292"/>
                </a:cubicBezTo>
                <a:cubicBezTo>
                  <a:pt x="466" y="292"/>
                  <a:pt x="466" y="292"/>
                  <a:pt x="466" y="291"/>
                </a:cubicBezTo>
                <a:cubicBezTo>
                  <a:pt x="466" y="290"/>
                  <a:pt x="467" y="289"/>
                  <a:pt x="467" y="287"/>
                </a:cubicBezTo>
                <a:cubicBezTo>
                  <a:pt x="467" y="287"/>
                  <a:pt x="468" y="287"/>
                  <a:pt x="469" y="287"/>
                </a:cubicBezTo>
                <a:cubicBezTo>
                  <a:pt x="468" y="286"/>
                  <a:pt x="469" y="286"/>
                  <a:pt x="469" y="285"/>
                </a:cubicBezTo>
                <a:cubicBezTo>
                  <a:pt x="469" y="285"/>
                  <a:pt x="470" y="284"/>
                  <a:pt x="470" y="284"/>
                </a:cubicBezTo>
                <a:cubicBezTo>
                  <a:pt x="470" y="283"/>
                  <a:pt x="469" y="282"/>
                  <a:pt x="469" y="281"/>
                </a:cubicBezTo>
                <a:cubicBezTo>
                  <a:pt x="468" y="281"/>
                  <a:pt x="467" y="281"/>
                  <a:pt x="467" y="281"/>
                </a:cubicBezTo>
                <a:cubicBezTo>
                  <a:pt x="467" y="282"/>
                  <a:pt x="466" y="282"/>
                  <a:pt x="466" y="282"/>
                </a:cubicBezTo>
                <a:cubicBezTo>
                  <a:pt x="465" y="282"/>
                  <a:pt x="462" y="281"/>
                  <a:pt x="460" y="282"/>
                </a:cubicBezTo>
                <a:cubicBezTo>
                  <a:pt x="460" y="282"/>
                  <a:pt x="460" y="282"/>
                  <a:pt x="460" y="283"/>
                </a:cubicBezTo>
                <a:cubicBezTo>
                  <a:pt x="459" y="283"/>
                  <a:pt x="458" y="282"/>
                  <a:pt x="457" y="283"/>
                </a:cubicBezTo>
                <a:cubicBezTo>
                  <a:pt x="455" y="283"/>
                  <a:pt x="454" y="284"/>
                  <a:pt x="452" y="285"/>
                </a:cubicBezTo>
                <a:cubicBezTo>
                  <a:pt x="452" y="286"/>
                  <a:pt x="452" y="287"/>
                  <a:pt x="452" y="288"/>
                </a:cubicBezTo>
                <a:cubicBezTo>
                  <a:pt x="452" y="289"/>
                  <a:pt x="452" y="289"/>
                  <a:pt x="451" y="289"/>
                </a:cubicBezTo>
                <a:cubicBezTo>
                  <a:pt x="451" y="289"/>
                  <a:pt x="451" y="289"/>
                  <a:pt x="451" y="290"/>
                </a:cubicBezTo>
                <a:cubicBezTo>
                  <a:pt x="447" y="290"/>
                  <a:pt x="447" y="288"/>
                  <a:pt x="445" y="287"/>
                </a:cubicBezTo>
                <a:cubicBezTo>
                  <a:pt x="444" y="287"/>
                  <a:pt x="444" y="287"/>
                  <a:pt x="444" y="287"/>
                </a:cubicBezTo>
                <a:cubicBezTo>
                  <a:pt x="444" y="288"/>
                  <a:pt x="444" y="288"/>
                  <a:pt x="444" y="288"/>
                </a:cubicBezTo>
                <a:cubicBezTo>
                  <a:pt x="443" y="289"/>
                  <a:pt x="443" y="289"/>
                  <a:pt x="442" y="290"/>
                </a:cubicBezTo>
                <a:cubicBezTo>
                  <a:pt x="442" y="291"/>
                  <a:pt x="442" y="292"/>
                  <a:pt x="442" y="293"/>
                </a:cubicBezTo>
                <a:cubicBezTo>
                  <a:pt x="441" y="293"/>
                  <a:pt x="441" y="295"/>
                  <a:pt x="439" y="295"/>
                </a:cubicBezTo>
                <a:cubicBezTo>
                  <a:pt x="439" y="296"/>
                  <a:pt x="439" y="296"/>
                  <a:pt x="439" y="296"/>
                </a:cubicBezTo>
                <a:cubicBezTo>
                  <a:pt x="438" y="296"/>
                  <a:pt x="437" y="296"/>
                  <a:pt x="437" y="297"/>
                </a:cubicBezTo>
                <a:cubicBezTo>
                  <a:pt x="437" y="297"/>
                  <a:pt x="436" y="296"/>
                  <a:pt x="435" y="297"/>
                </a:cubicBezTo>
                <a:cubicBezTo>
                  <a:pt x="434" y="297"/>
                  <a:pt x="434" y="296"/>
                  <a:pt x="434" y="296"/>
                </a:cubicBezTo>
                <a:cubicBezTo>
                  <a:pt x="432" y="296"/>
                  <a:pt x="432" y="295"/>
                  <a:pt x="430" y="295"/>
                </a:cubicBezTo>
                <a:cubicBezTo>
                  <a:pt x="429" y="294"/>
                  <a:pt x="428" y="293"/>
                  <a:pt x="427" y="293"/>
                </a:cubicBezTo>
                <a:cubicBezTo>
                  <a:pt x="427" y="293"/>
                  <a:pt x="427" y="293"/>
                  <a:pt x="427" y="293"/>
                </a:cubicBezTo>
                <a:cubicBezTo>
                  <a:pt x="427" y="292"/>
                  <a:pt x="427" y="292"/>
                  <a:pt x="426" y="292"/>
                </a:cubicBezTo>
                <a:cubicBezTo>
                  <a:pt x="426" y="292"/>
                  <a:pt x="426" y="292"/>
                  <a:pt x="426" y="292"/>
                </a:cubicBezTo>
                <a:cubicBezTo>
                  <a:pt x="425" y="292"/>
                  <a:pt x="424" y="291"/>
                  <a:pt x="424" y="290"/>
                </a:cubicBezTo>
                <a:cubicBezTo>
                  <a:pt x="424" y="290"/>
                  <a:pt x="424" y="289"/>
                  <a:pt x="424" y="289"/>
                </a:cubicBezTo>
                <a:cubicBezTo>
                  <a:pt x="423" y="289"/>
                  <a:pt x="423" y="289"/>
                  <a:pt x="423" y="289"/>
                </a:cubicBezTo>
                <a:cubicBezTo>
                  <a:pt x="423" y="289"/>
                  <a:pt x="423" y="289"/>
                  <a:pt x="423" y="289"/>
                </a:cubicBezTo>
                <a:cubicBezTo>
                  <a:pt x="422" y="289"/>
                  <a:pt x="421" y="288"/>
                  <a:pt x="421" y="287"/>
                </a:cubicBezTo>
                <a:cubicBezTo>
                  <a:pt x="420" y="287"/>
                  <a:pt x="420" y="287"/>
                  <a:pt x="420" y="287"/>
                </a:cubicBezTo>
                <a:cubicBezTo>
                  <a:pt x="419" y="287"/>
                  <a:pt x="419" y="286"/>
                  <a:pt x="419" y="285"/>
                </a:cubicBezTo>
                <a:cubicBezTo>
                  <a:pt x="419" y="285"/>
                  <a:pt x="419" y="285"/>
                  <a:pt x="419" y="285"/>
                </a:cubicBezTo>
                <a:cubicBezTo>
                  <a:pt x="418" y="285"/>
                  <a:pt x="417" y="285"/>
                  <a:pt x="416" y="283"/>
                </a:cubicBezTo>
                <a:cubicBezTo>
                  <a:pt x="416" y="283"/>
                  <a:pt x="416" y="283"/>
                  <a:pt x="416" y="283"/>
                </a:cubicBezTo>
                <a:cubicBezTo>
                  <a:pt x="416" y="283"/>
                  <a:pt x="416" y="283"/>
                  <a:pt x="416" y="283"/>
                </a:cubicBezTo>
                <a:cubicBezTo>
                  <a:pt x="415" y="282"/>
                  <a:pt x="414" y="281"/>
                  <a:pt x="414" y="281"/>
                </a:cubicBezTo>
                <a:cubicBezTo>
                  <a:pt x="413" y="280"/>
                  <a:pt x="412" y="278"/>
                  <a:pt x="411" y="278"/>
                </a:cubicBezTo>
                <a:cubicBezTo>
                  <a:pt x="411" y="277"/>
                  <a:pt x="410" y="276"/>
                  <a:pt x="409" y="276"/>
                </a:cubicBezTo>
                <a:cubicBezTo>
                  <a:pt x="409" y="274"/>
                  <a:pt x="409" y="274"/>
                  <a:pt x="408" y="274"/>
                </a:cubicBezTo>
                <a:cubicBezTo>
                  <a:pt x="407" y="273"/>
                  <a:pt x="407" y="271"/>
                  <a:pt x="406" y="271"/>
                </a:cubicBezTo>
                <a:cubicBezTo>
                  <a:pt x="406" y="269"/>
                  <a:pt x="406" y="268"/>
                  <a:pt x="405" y="268"/>
                </a:cubicBezTo>
                <a:cubicBezTo>
                  <a:pt x="402" y="267"/>
                  <a:pt x="404" y="270"/>
                  <a:pt x="402" y="269"/>
                </a:cubicBezTo>
                <a:cubicBezTo>
                  <a:pt x="401" y="270"/>
                  <a:pt x="401" y="271"/>
                  <a:pt x="400" y="271"/>
                </a:cubicBezTo>
                <a:cubicBezTo>
                  <a:pt x="400" y="272"/>
                  <a:pt x="401" y="272"/>
                  <a:pt x="401" y="273"/>
                </a:cubicBezTo>
                <a:cubicBezTo>
                  <a:pt x="402" y="273"/>
                  <a:pt x="402" y="274"/>
                  <a:pt x="402" y="274"/>
                </a:cubicBezTo>
                <a:cubicBezTo>
                  <a:pt x="403" y="274"/>
                  <a:pt x="401" y="274"/>
                  <a:pt x="401" y="274"/>
                </a:cubicBezTo>
                <a:cubicBezTo>
                  <a:pt x="401" y="275"/>
                  <a:pt x="401" y="275"/>
                  <a:pt x="402" y="275"/>
                </a:cubicBezTo>
                <a:cubicBezTo>
                  <a:pt x="402" y="276"/>
                  <a:pt x="402" y="276"/>
                  <a:pt x="403" y="276"/>
                </a:cubicBezTo>
                <a:cubicBezTo>
                  <a:pt x="405" y="277"/>
                  <a:pt x="404" y="275"/>
                  <a:pt x="405" y="274"/>
                </a:cubicBezTo>
                <a:cubicBezTo>
                  <a:pt x="406" y="274"/>
                  <a:pt x="405" y="277"/>
                  <a:pt x="407" y="276"/>
                </a:cubicBezTo>
                <a:cubicBezTo>
                  <a:pt x="407" y="279"/>
                  <a:pt x="408" y="279"/>
                  <a:pt x="408" y="281"/>
                </a:cubicBezTo>
                <a:cubicBezTo>
                  <a:pt x="408" y="282"/>
                  <a:pt x="409" y="281"/>
                  <a:pt x="410" y="281"/>
                </a:cubicBezTo>
                <a:cubicBezTo>
                  <a:pt x="410" y="282"/>
                  <a:pt x="411" y="282"/>
                  <a:pt x="411" y="282"/>
                </a:cubicBezTo>
                <a:cubicBezTo>
                  <a:pt x="411" y="282"/>
                  <a:pt x="411" y="283"/>
                  <a:pt x="412" y="283"/>
                </a:cubicBezTo>
                <a:cubicBezTo>
                  <a:pt x="412" y="284"/>
                  <a:pt x="414" y="283"/>
                  <a:pt x="414" y="285"/>
                </a:cubicBezTo>
                <a:cubicBezTo>
                  <a:pt x="414" y="285"/>
                  <a:pt x="414" y="285"/>
                  <a:pt x="414" y="285"/>
                </a:cubicBezTo>
                <a:cubicBezTo>
                  <a:pt x="414" y="285"/>
                  <a:pt x="414" y="285"/>
                  <a:pt x="414" y="285"/>
                </a:cubicBezTo>
                <a:cubicBezTo>
                  <a:pt x="415" y="286"/>
                  <a:pt x="416" y="287"/>
                  <a:pt x="417" y="287"/>
                </a:cubicBezTo>
                <a:cubicBezTo>
                  <a:pt x="417" y="287"/>
                  <a:pt x="417" y="287"/>
                  <a:pt x="417" y="287"/>
                </a:cubicBezTo>
                <a:cubicBezTo>
                  <a:pt x="417" y="287"/>
                  <a:pt x="418" y="287"/>
                  <a:pt x="418" y="288"/>
                </a:cubicBezTo>
                <a:cubicBezTo>
                  <a:pt x="418" y="288"/>
                  <a:pt x="418" y="288"/>
                  <a:pt x="418" y="288"/>
                </a:cubicBezTo>
                <a:cubicBezTo>
                  <a:pt x="419" y="289"/>
                  <a:pt x="420" y="289"/>
                  <a:pt x="421" y="290"/>
                </a:cubicBezTo>
                <a:cubicBezTo>
                  <a:pt x="421" y="290"/>
                  <a:pt x="421" y="291"/>
                  <a:pt x="421" y="291"/>
                </a:cubicBezTo>
                <a:cubicBezTo>
                  <a:pt x="422" y="290"/>
                  <a:pt x="422" y="291"/>
                  <a:pt x="422" y="291"/>
                </a:cubicBezTo>
                <a:cubicBezTo>
                  <a:pt x="422" y="291"/>
                  <a:pt x="423" y="292"/>
                  <a:pt x="423" y="292"/>
                </a:cubicBezTo>
                <a:cubicBezTo>
                  <a:pt x="424" y="292"/>
                  <a:pt x="425" y="292"/>
                  <a:pt x="425" y="293"/>
                </a:cubicBezTo>
                <a:cubicBezTo>
                  <a:pt x="425" y="293"/>
                  <a:pt x="425" y="294"/>
                  <a:pt x="425" y="294"/>
                </a:cubicBezTo>
                <a:cubicBezTo>
                  <a:pt x="425" y="294"/>
                  <a:pt x="425" y="294"/>
                  <a:pt x="425" y="294"/>
                </a:cubicBezTo>
                <a:cubicBezTo>
                  <a:pt x="426" y="294"/>
                  <a:pt x="426" y="294"/>
                  <a:pt x="426" y="294"/>
                </a:cubicBezTo>
                <a:cubicBezTo>
                  <a:pt x="427" y="294"/>
                  <a:pt x="428" y="295"/>
                  <a:pt x="429" y="296"/>
                </a:cubicBezTo>
                <a:cubicBezTo>
                  <a:pt x="429" y="296"/>
                  <a:pt x="429" y="296"/>
                  <a:pt x="429" y="296"/>
                </a:cubicBezTo>
                <a:cubicBezTo>
                  <a:pt x="429" y="296"/>
                  <a:pt x="430" y="296"/>
                  <a:pt x="430" y="297"/>
                </a:cubicBezTo>
                <a:cubicBezTo>
                  <a:pt x="431" y="297"/>
                  <a:pt x="431" y="298"/>
                  <a:pt x="432" y="298"/>
                </a:cubicBezTo>
                <a:cubicBezTo>
                  <a:pt x="433" y="299"/>
                  <a:pt x="433" y="299"/>
                  <a:pt x="433" y="301"/>
                </a:cubicBezTo>
                <a:cubicBezTo>
                  <a:pt x="431" y="301"/>
                  <a:pt x="430" y="300"/>
                  <a:pt x="428" y="299"/>
                </a:cubicBezTo>
                <a:cubicBezTo>
                  <a:pt x="425" y="299"/>
                  <a:pt x="422" y="299"/>
                  <a:pt x="419" y="300"/>
                </a:cubicBezTo>
                <a:cubicBezTo>
                  <a:pt x="419" y="299"/>
                  <a:pt x="420" y="298"/>
                  <a:pt x="420" y="297"/>
                </a:cubicBezTo>
                <a:cubicBezTo>
                  <a:pt x="420" y="297"/>
                  <a:pt x="421" y="297"/>
                  <a:pt x="421" y="297"/>
                </a:cubicBezTo>
                <a:cubicBezTo>
                  <a:pt x="421" y="296"/>
                  <a:pt x="421" y="296"/>
                  <a:pt x="421" y="295"/>
                </a:cubicBezTo>
                <a:cubicBezTo>
                  <a:pt x="421" y="294"/>
                  <a:pt x="421" y="294"/>
                  <a:pt x="421" y="293"/>
                </a:cubicBezTo>
                <a:cubicBezTo>
                  <a:pt x="421" y="293"/>
                  <a:pt x="421" y="293"/>
                  <a:pt x="421" y="293"/>
                </a:cubicBezTo>
                <a:cubicBezTo>
                  <a:pt x="421" y="293"/>
                  <a:pt x="421" y="293"/>
                  <a:pt x="421" y="293"/>
                </a:cubicBezTo>
                <a:cubicBezTo>
                  <a:pt x="420" y="292"/>
                  <a:pt x="419" y="291"/>
                  <a:pt x="419" y="290"/>
                </a:cubicBezTo>
                <a:cubicBezTo>
                  <a:pt x="419" y="290"/>
                  <a:pt x="419" y="290"/>
                  <a:pt x="419" y="290"/>
                </a:cubicBezTo>
                <a:cubicBezTo>
                  <a:pt x="418" y="289"/>
                  <a:pt x="417" y="288"/>
                  <a:pt x="416" y="288"/>
                </a:cubicBezTo>
                <a:cubicBezTo>
                  <a:pt x="415" y="288"/>
                  <a:pt x="415" y="288"/>
                  <a:pt x="415" y="288"/>
                </a:cubicBezTo>
                <a:cubicBezTo>
                  <a:pt x="415" y="287"/>
                  <a:pt x="414" y="287"/>
                  <a:pt x="414" y="287"/>
                </a:cubicBezTo>
                <a:cubicBezTo>
                  <a:pt x="412" y="287"/>
                  <a:pt x="412" y="285"/>
                  <a:pt x="410" y="285"/>
                </a:cubicBezTo>
                <a:cubicBezTo>
                  <a:pt x="409" y="285"/>
                  <a:pt x="407" y="285"/>
                  <a:pt x="407" y="287"/>
                </a:cubicBezTo>
                <a:cubicBezTo>
                  <a:pt x="405" y="286"/>
                  <a:pt x="407" y="286"/>
                  <a:pt x="407" y="285"/>
                </a:cubicBezTo>
                <a:cubicBezTo>
                  <a:pt x="407" y="284"/>
                  <a:pt x="407" y="283"/>
                  <a:pt x="407" y="282"/>
                </a:cubicBezTo>
                <a:cubicBezTo>
                  <a:pt x="405" y="281"/>
                  <a:pt x="405" y="284"/>
                  <a:pt x="403" y="283"/>
                </a:cubicBezTo>
                <a:cubicBezTo>
                  <a:pt x="404" y="283"/>
                  <a:pt x="404" y="281"/>
                  <a:pt x="405" y="281"/>
                </a:cubicBezTo>
                <a:cubicBezTo>
                  <a:pt x="405" y="281"/>
                  <a:pt x="406" y="280"/>
                  <a:pt x="406" y="279"/>
                </a:cubicBezTo>
                <a:cubicBezTo>
                  <a:pt x="404" y="279"/>
                  <a:pt x="403" y="279"/>
                  <a:pt x="402" y="280"/>
                </a:cubicBezTo>
                <a:cubicBezTo>
                  <a:pt x="402" y="280"/>
                  <a:pt x="402" y="281"/>
                  <a:pt x="402" y="281"/>
                </a:cubicBezTo>
                <a:cubicBezTo>
                  <a:pt x="401" y="284"/>
                  <a:pt x="400" y="286"/>
                  <a:pt x="398" y="287"/>
                </a:cubicBezTo>
                <a:cubicBezTo>
                  <a:pt x="397" y="287"/>
                  <a:pt x="398" y="285"/>
                  <a:pt x="399" y="285"/>
                </a:cubicBezTo>
                <a:cubicBezTo>
                  <a:pt x="399" y="284"/>
                  <a:pt x="400" y="284"/>
                  <a:pt x="400" y="283"/>
                </a:cubicBezTo>
                <a:cubicBezTo>
                  <a:pt x="401" y="282"/>
                  <a:pt x="401" y="281"/>
                  <a:pt x="401" y="280"/>
                </a:cubicBezTo>
                <a:cubicBezTo>
                  <a:pt x="401" y="279"/>
                  <a:pt x="401" y="278"/>
                  <a:pt x="400" y="278"/>
                </a:cubicBezTo>
                <a:cubicBezTo>
                  <a:pt x="397" y="277"/>
                  <a:pt x="399" y="280"/>
                  <a:pt x="397" y="281"/>
                </a:cubicBezTo>
                <a:cubicBezTo>
                  <a:pt x="395" y="281"/>
                  <a:pt x="394" y="281"/>
                  <a:pt x="393" y="280"/>
                </a:cubicBezTo>
                <a:cubicBezTo>
                  <a:pt x="392" y="279"/>
                  <a:pt x="392" y="278"/>
                  <a:pt x="391" y="278"/>
                </a:cubicBezTo>
                <a:cubicBezTo>
                  <a:pt x="389" y="278"/>
                  <a:pt x="387" y="277"/>
                  <a:pt x="386" y="278"/>
                </a:cubicBezTo>
                <a:cubicBezTo>
                  <a:pt x="386" y="278"/>
                  <a:pt x="386" y="278"/>
                  <a:pt x="386" y="278"/>
                </a:cubicBezTo>
                <a:cubicBezTo>
                  <a:pt x="386" y="278"/>
                  <a:pt x="385" y="278"/>
                  <a:pt x="385" y="278"/>
                </a:cubicBezTo>
                <a:cubicBezTo>
                  <a:pt x="385" y="279"/>
                  <a:pt x="387" y="280"/>
                  <a:pt x="386" y="280"/>
                </a:cubicBezTo>
                <a:cubicBezTo>
                  <a:pt x="386" y="280"/>
                  <a:pt x="387" y="280"/>
                  <a:pt x="387" y="281"/>
                </a:cubicBezTo>
                <a:cubicBezTo>
                  <a:pt x="387" y="281"/>
                  <a:pt x="387" y="282"/>
                  <a:pt x="386" y="282"/>
                </a:cubicBezTo>
                <a:cubicBezTo>
                  <a:pt x="386" y="282"/>
                  <a:pt x="386" y="282"/>
                  <a:pt x="386" y="282"/>
                </a:cubicBezTo>
                <a:cubicBezTo>
                  <a:pt x="386" y="281"/>
                  <a:pt x="386" y="281"/>
                  <a:pt x="386" y="281"/>
                </a:cubicBezTo>
                <a:cubicBezTo>
                  <a:pt x="385" y="280"/>
                  <a:pt x="385" y="279"/>
                  <a:pt x="384" y="278"/>
                </a:cubicBezTo>
                <a:cubicBezTo>
                  <a:pt x="384" y="278"/>
                  <a:pt x="384" y="278"/>
                  <a:pt x="384" y="278"/>
                </a:cubicBezTo>
                <a:cubicBezTo>
                  <a:pt x="383" y="277"/>
                  <a:pt x="382" y="276"/>
                  <a:pt x="380" y="276"/>
                </a:cubicBezTo>
                <a:cubicBezTo>
                  <a:pt x="380" y="277"/>
                  <a:pt x="380" y="277"/>
                  <a:pt x="379" y="277"/>
                </a:cubicBezTo>
                <a:cubicBezTo>
                  <a:pt x="378" y="277"/>
                  <a:pt x="378" y="278"/>
                  <a:pt x="378" y="278"/>
                </a:cubicBezTo>
                <a:cubicBezTo>
                  <a:pt x="378" y="278"/>
                  <a:pt x="378" y="278"/>
                  <a:pt x="378" y="278"/>
                </a:cubicBezTo>
                <a:cubicBezTo>
                  <a:pt x="376" y="278"/>
                  <a:pt x="375" y="278"/>
                  <a:pt x="375" y="277"/>
                </a:cubicBezTo>
                <a:cubicBezTo>
                  <a:pt x="375" y="277"/>
                  <a:pt x="375" y="276"/>
                  <a:pt x="375" y="276"/>
                </a:cubicBezTo>
                <a:cubicBezTo>
                  <a:pt x="375" y="276"/>
                  <a:pt x="375" y="276"/>
                  <a:pt x="375" y="276"/>
                </a:cubicBezTo>
                <a:cubicBezTo>
                  <a:pt x="375" y="275"/>
                  <a:pt x="375" y="275"/>
                  <a:pt x="374" y="275"/>
                </a:cubicBezTo>
                <a:cubicBezTo>
                  <a:pt x="373" y="275"/>
                  <a:pt x="373" y="275"/>
                  <a:pt x="373" y="275"/>
                </a:cubicBezTo>
                <a:cubicBezTo>
                  <a:pt x="373" y="275"/>
                  <a:pt x="373" y="275"/>
                  <a:pt x="373" y="275"/>
                </a:cubicBezTo>
                <a:cubicBezTo>
                  <a:pt x="373" y="276"/>
                  <a:pt x="373" y="276"/>
                  <a:pt x="373" y="276"/>
                </a:cubicBezTo>
                <a:cubicBezTo>
                  <a:pt x="373" y="276"/>
                  <a:pt x="373" y="276"/>
                  <a:pt x="372" y="276"/>
                </a:cubicBezTo>
                <a:cubicBezTo>
                  <a:pt x="371" y="276"/>
                  <a:pt x="371" y="276"/>
                  <a:pt x="371" y="274"/>
                </a:cubicBezTo>
                <a:cubicBezTo>
                  <a:pt x="371" y="274"/>
                  <a:pt x="371" y="274"/>
                  <a:pt x="371" y="274"/>
                </a:cubicBezTo>
                <a:cubicBezTo>
                  <a:pt x="372" y="273"/>
                  <a:pt x="374" y="273"/>
                  <a:pt x="377" y="274"/>
                </a:cubicBezTo>
                <a:cubicBezTo>
                  <a:pt x="377" y="274"/>
                  <a:pt x="376" y="275"/>
                  <a:pt x="377" y="275"/>
                </a:cubicBezTo>
                <a:cubicBezTo>
                  <a:pt x="377" y="275"/>
                  <a:pt x="377" y="275"/>
                  <a:pt x="377" y="275"/>
                </a:cubicBezTo>
                <a:cubicBezTo>
                  <a:pt x="377" y="275"/>
                  <a:pt x="377" y="275"/>
                  <a:pt x="378" y="275"/>
                </a:cubicBezTo>
                <a:cubicBezTo>
                  <a:pt x="379" y="276"/>
                  <a:pt x="380" y="276"/>
                  <a:pt x="381" y="275"/>
                </a:cubicBezTo>
                <a:cubicBezTo>
                  <a:pt x="381" y="275"/>
                  <a:pt x="381" y="275"/>
                  <a:pt x="381" y="275"/>
                </a:cubicBezTo>
                <a:cubicBezTo>
                  <a:pt x="382" y="275"/>
                  <a:pt x="382" y="276"/>
                  <a:pt x="382" y="276"/>
                </a:cubicBezTo>
                <a:cubicBezTo>
                  <a:pt x="383" y="275"/>
                  <a:pt x="384" y="275"/>
                  <a:pt x="384" y="274"/>
                </a:cubicBezTo>
                <a:cubicBezTo>
                  <a:pt x="384" y="271"/>
                  <a:pt x="383" y="269"/>
                  <a:pt x="381" y="269"/>
                </a:cubicBezTo>
                <a:cubicBezTo>
                  <a:pt x="381" y="268"/>
                  <a:pt x="383" y="268"/>
                  <a:pt x="383" y="269"/>
                </a:cubicBezTo>
                <a:cubicBezTo>
                  <a:pt x="385" y="269"/>
                  <a:pt x="384" y="271"/>
                  <a:pt x="386" y="271"/>
                </a:cubicBezTo>
                <a:cubicBezTo>
                  <a:pt x="386" y="272"/>
                  <a:pt x="385" y="273"/>
                  <a:pt x="385" y="274"/>
                </a:cubicBezTo>
                <a:cubicBezTo>
                  <a:pt x="384" y="274"/>
                  <a:pt x="385" y="274"/>
                  <a:pt x="384" y="275"/>
                </a:cubicBezTo>
                <a:cubicBezTo>
                  <a:pt x="384" y="275"/>
                  <a:pt x="384" y="275"/>
                  <a:pt x="384" y="276"/>
                </a:cubicBezTo>
                <a:cubicBezTo>
                  <a:pt x="388" y="276"/>
                  <a:pt x="388" y="276"/>
                  <a:pt x="388" y="276"/>
                </a:cubicBezTo>
                <a:cubicBezTo>
                  <a:pt x="388" y="275"/>
                  <a:pt x="388" y="275"/>
                  <a:pt x="389" y="275"/>
                </a:cubicBezTo>
                <a:cubicBezTo>
                  <a:pt x="390" y="274"/>
                  <a:pt x="389" y="272"/>
                  <a:pt x="389" y="270"/>
                </a:cubicBezTo>
                <a:cubicBezTo>
                  <a:pt x="391" y="271"/>
                  <a:pt x="394" y="271"/>
                  <a:pt x="396" y="271"/>
                </a:cubicBezTo>
                <a:cubicBezTo>
                  <a:pt x="396" y="272"/>
                  <a:pt x="395" y="271"/>
                  <a:pt x="395" y="271"/>
                </a:cubicBezTo>
                <a:cubicBezTo>
                  <a:pt x="395" y="272"/>
                  <a:pt x="395" y="272"/>
                  <a:pt x="394" y="272"/>
                </a:cubicBezTo>
                <a:cubicBezTo>
                  <a:pt x="394" y="274"/>
                  <a:pt x="392" y="274"/>
                  <a:pt x="393" y="276"/>
                </a:cubicBezTo>
                <a:cubicBezTo>
                  <a:pt x="393" y="277"/>
                  <a:pt x="394" y="278"/>
                  <a:pt x="395" y="278"/>
                </a:cubicBezTo>
                <a:cubicBezTo>
                  <a:pt x="397" y="279"/>
                  <a:pt x="396" y="277"/>
                  <a:pt x="398" y="277"/>
                </a:cubicBezTo>
                <a:cubicBezTo>
                  <a:pt x="398" y="276"/>
                  <a:pt x="398" y="276"/>
                  <a:pt x="399" y="276"/>
                </a:cubicBezTo>
                <a:cubicBezTo>
                  <a:pt x="399" y="274"/>
                  <a:pt x="399" y="274"/>
                  <a:pt x="399" y="274"/>
                </a:cubicBezTo>
                <a:cubicBezTo>
                  <a:pt x="399" y="274"/>
                  <a:pt x="399" y="273"/>
                  <a:pt x="399" y="273"/>
                </a:cubicBezTo>
                <a:cubicBezTo>
                  <a:pt x="399" y="272"/>
                  <a:pt x="399" y="271"/>
                  <a:pt x="399" y="270"/>
                </a:cubicBezTo>
                <a:cubicBezTo>
                  <a:pt x="399" y="270"/>
                  <a:pt x="399" y="270"/>
                  <a:pt x="399" y="269"/>
                </a:cubicBezTo>
                <a:cubicBezTo>
                  <a:pt x="399" y="269"/>
                  <a:pt x="399" y="269"/>
                  <a:pt x="400" y="269"/>
                </a:cubicBezTo>
                <a:cubicBezTo>
                  <a:pt x="400" y="269"/>
                  <a:pt x="400" y="269"/>
                  <a:pt x="401" y="269"/>
                </a:cubicBezTo>
                <a:cubicBezTo>
                  <a:pt x="401" y="268"/>
                  <a:pt x="402" y="268"/>
                  <a:pt x="402" y="268"/>
                </a:cubicBezTo>
                <a:cubicBezTo>
                  <a:pt x="403" y="266"/>
                  <a:pt x="405" y="266"/>
                  <a:pt x="405" y="264"/>
                </a:cubicBezTo>
                <a:cubicBezTo>
                  <a:pt x="407" y="263"/>
                  <a:pt x="408" y="262"/>
                  <a:pt x="409" y="261"/>
                </a:cubicBezTo>
                <a:cubicBezTo>
                  <a:pt x="409" y="259"/>
                  <a:pt x="411" y="259"/>
                  <a:pt x="410" y="257"/>
                </a:cubicBezTo>
                <a:cubicBezTo>
                  <a:pt x="411" y="257"/>
                  <a:pt x="411" y="257"/>
                  <a:pt x="411" y="257"/>
                </a:cubicBezTo>
                <a:cubicBezTo>
                  <a:pt x="411" y="255"/>
                  <a:pt x="413" y="255"/>
                  <a:pt x="412" y="253"/>
                </a:cubicBezTo>
                <a:cubicBezTo>
                  <a:pt x="412" y="252"/>
                  <a:pt x="412" y="252"/>
                  <a:pt x="413" y="252"/>
                </a:cubicBezTo>
                <a:cubicBezTo>
                  <a:pt x="413" y="252"/>
                  <a:pt x="413" y="252"/>
                  <a:pt x="414" y="252"/>
                </a:cubicBezTo>
                <a:cubicBezTo>
                  <a:pt x="414" y="255"/>
                  <a:pt x="414" y="255"/>
                  <a:pt x="414" y="255"/>
                </a:cubicBezTo>
                <a:cubicBezTo>
                  <a:pt x="414" y="255"/>
                  <a:pt x="415" y="255"/>
                  <a:pt x="415" y="256"/>
                </a:cubicBezTo>
                <a:cubicBezTo>
                  <a:pt x="415" y="256"/>
                  <a:pt x="416" y="256"/>
                  <a:pt x="416" y="257"/>
                </a:cubicBezTo>
                <a:cubicBezTo>
                  <a:pt x="416" y="257"/>
                  <a:pt x="416" y="258"/>
                  <a:pt x="417" y="258"/>
                </a:cubicBezTo>
                <a:cubicBezTo>
                  <a:pt x="417" y="256"/>
                  <a:pt x="417" y="256"/>
                  <a:pt x="417" y="256"/>
                </a:cubicBezTo>
                <a:cubicBezTo>
                  <a:pt x="417" y="256"/>
                  <a:pt x="417" y="255"/>
                  <a:pt x="418" y="255"/>
                </a:cubicBezTo>
                <a:cubicBezTo>
                  <a:pt x="418" y="254"/>
                  <a:pt x="418" y="253"/>
                  <a:pt x="419" y="253"/>
                </a:cubicBezTo>
                <a:cubicBezTo>
                  <a:pt x="419" y="251"/>
                  <a:pt x="420" y="251"/>
                  <a:pt x="420" y="249"/>
                </a:cubicBezTo>
                <a:cubicBezTo>
                  <a:pt x="417" y="248"/>
                  <a:pt x="419" y="252"/>
                  <a:pt x="416" y="252"/>
                </a:cubicBezTo>
                <a:cubicBezTo>
                  <a:pt x="417" y="251"/>
                  <a:pt x="417" y="251"/>
                  <a:pt x="416" y="250"/>
                </a:cubicBezTo>
                <a:cubicBezTo>
                  <a:pt x="416" y="250"/>
                  <a:pt x="416" y="250"/>
                  <a:pt x="416" y="249"/>
                </a:cubicBezTo>
                <a:cubicBezTo>
                  <a:pt x="416" y="248"/>
                  <a:pt x="415" y="248"/>
                  <a:pt x="415" y="248"/>
                </a:cubicBezTo>
                <a:cubicBezTo>
                  <a:pt x="415" y="248"/>
                  <a:pt x="414" y="248"/>
                  <a:pt x="414" y="247"/>
                </a:cubicBezTo>
                <a:cubicBezTo>
                  <a:pt x="414" y="246"/>
                  <a:pt x="413" y="246"/>
                  <a:pt x="414" y="244"/>
                </a:cubicBezTo>
                <a:cubicBezTo>
                  <a:pt x="415" y="244"/>
                  <a:pt x="415" y="246"/>
                  <a:pt x="416" y="247"/>
                </a:cubicBezTo>
                <a:cubicBezTo>
                  <a:pt x="416" y="247"/>
                  <a:pt x="417" y="247"/>
                  <a:pt x="417" y="248"/>
                </a:cubicBezTo>
                <a:cubicBezTo>
                  <a:pt x="422" y="248"/>
                  <a:pt x="422" y="248"/>
                  <a:pt x="422" y="248"/>
                </a:cubicBezTo>
                <a:cubicBezTo>
                  <a:pt x="422" y="247"/>
                  <a:pt x="423" y="247"/>
                  <a:pt x="423" y="246"/>
                </a:cubicBezTo>
                <a:cubicBezTo>
                  <a:pt x="423" y="246"/>
                  <a:pt x="423" y="246"/>
                  <a:pt x="424" y="246"/>
                </a:cubicBezTo>
                <a:cubicBezTo>
                  <a:pt x="425" y="245"/>
                  <a:pt x="425" y="243"/>
                  <a:pt x="425" y="241"/>
                </a:cubicBezTo>
                <a:cubicBezTo>
                  <a:pt x="426" y="241"/>
                  <a:pt x="426" y="241"/>
                  <a:pt x="426" y="240"/>
                </a:cubicBezTo>
                <a:cubicBezTo>
                  <a:pt x="427" y="240"/>
                  <a:pt x="427" y="240"/>
                  <a:pt x="427" y="239"/>
                </a:cubicBezTo>
                <a:cubicBezTo>
                  <a:pt x="427" y="239"/>
                  <a:pt x="428" y="239"/>
                  <a:pt x="428" y="239"/>
                </a:cubicBezTo>
                <a:cubicBezTo>
                  <a:pt x="429" y="239"/>
                  <a:pt x="429" y="238"/>
                  <a:pt x="430" y="237"/>
                </a:cubicBezTo>
                <a:cubicBezTo>
                  <a:pt x="431" y="236"/>
                  <a:pt x="432" y="236"/>
                  <a:pt x="432" y="235"/>
                </a:cubicBezTo>
                <a:cubicBezTo>
                  <a:pt x="434" y="236"/>
                  <a:pt x="433" y="234"/>
                  <a:pt x="435" y="234"/>
                </a:cubicBezTo>
                <a:cubicBezTo>
                  <a:pt x="436" y="234"/>
                  <a:pt x="436" y="233"/>
                  <a:pt x="437" y="233"/>
                </a:cubicBezTo>
                <a:cubicBezTo>
                  <a:pt x="440" y="233"/>
                  <a:pt x="440" y="234"/>
                  <a:pt x="442" y="234"/>
                </a:cubicBezTo>
                <a:cubicBezTo>
                  <a:pt x="443" y="232"/>
                  <a:pt x="444" y="230"/>
                  <a:pt x="444" y="228"/>
                </a:cubicBezTo>
                <a:cubicBezTo>
                  <a:pt x="445" y="228"/>
                  <a:pt x="445" y="227"/>
                  <a:pt x="446" y="227"/>
                </a:cubicBezTo>
                <a:cubicBezTo>
                  <a:pt x="446" y="226"/>
                  <a:pt x="446" y="226"/>
                  <a:pt x="447" y="226"/>
                </a:cubicBezTo>
                <a:cubicBezTo>
                  <a:pt x="449" y="225"/>
                  <a:pt x="451" y="224"/>
                  <a:pt x="454" y="224"/>
                </a:cubicBezTo>
                <a:cubicBezTo>
                  <a:pt x="455" y="225"/>
                  <a:pt x="454" y="229"/>
                  <a:pt x="457" y="228"/>
                </a:cubicBezTo>
                <a:cubicBezTo>
                  <a:pt x="457" y="227"/>
                  <a:pt x="457" y="226"/>
                  <a:pt x="458" y="225"/>
                </a:cubicBezTo>
                <a:cubicBezTo>
                  <a:pt x="458" y="224"/>
                  <a:pt x="457" y="221"/>
                  <a:pt x="458" y="221"/>
                </a:cubicBezTo>
                <a:cubicBezTo>
                  <a:pt x="458" y="220"/>
                  <a:pt x="457" y="220"/>
                  <a:pt x="458" y="219"/>
                </a:cubicBezTo>
                <a:cubicBezTo>
                  <a:pt x="458" y="218"/>
                  <a:pt x="459" y="218"/>
                  <a:pt x="459" y="217"/>
                </a:cubicBezTo>
                <a:cubicBezTo>
                  <a:pt x="459" y="216"/>
                  <a:pt x="459" y="216"/>
                  <a:pt x="459" y="216"/>
                </a:cubicBezTo>
                <a:cubicBezTo>
                  <a:pt x="459" y="216"/>
                  <a:pt x="459" y="216"/>
                  <a:pt x="459" y="216"/>
                </a:cubicBezTo>
                <a:cubicBezTo>
                  <a:pt x="465" y="210"/>
                  <a:pt x="465" y="210"/>
                  <a:pt x="465" y="210"/>
                </a:cubicBezTo>
                <a:cubicBezTo>
                  <a:pt x="466" y="210"/>
                  <a:pt x="466" y="210"/>
                  <a:pt x="466" y="210"/>
                </a:cubicBezTo>
                <a:cubicBezTo>
                  <a:pt x="468" y="212"/>
                  <a:pt x="468" y="212"/>
                  <a:pt x="468" y="212"/>
                </a:cubicBezTo>
                <a:cubicBezTo>
                  <a:pt x="470" y="207"/>
                  <a:pt x="470" y="207"/>
                  <a:pt x="470" y="207"/>
                </a:cubicBezTo>
                <a:cubicBezTo>
                  <a:pt x="472" y="202"/>
                  <a:pt x="472" y="202"/>
                  <a:pt x="472" y="202"/>
                </a:cubicBezTo>
                <a:cubicBezTo>
                  <a:pt x="476" y="200"/>
                  <a:pt x="476" y="200"/>
                  <a:pt x="476" y="200"/>
                </a:cubicBezTo>
                <a:cubicBezTo>
                  <a:pt x="479" y="199"/>
                  <a:pt x="479" y="199"/>
                  <a:pt x="479" y="199"/>
                </a:cubicBezTo>
                <a:cubicBezTo>
                  <a:pt x="481" y="197"/>
                  <a:pt x="481" y="197"/>
                  <a:pt x="481" y="197"/>
                </a:cubicBezTo>
                <a:cubicBezTo>
                  <a:pt x="485" y="196"/>
                  <a:pt x="485" y="196"/>
                  <a:pt x="485" y="196"/>
                </a:cubicBezTo>
                <a:cubicBezTo>
                  <a:pt x="488" y="195"/>
                  <a:pt x="488" y="195"/>
                  <a:pt x="488" y="195"/>
                </a:cubicBezTo>
                <a:cubicBezTo>
                  <a:pt x="489" y="196"/>
                  <a:pt x="489" y="196"/>
                  <a:pt x="489" y="196"/>
                </a:cubicBezTo>
                <a:cubicBezTo>
                  <a:pt x="491" y="196"/>
                  <a:pt x="491" y="196"/>
                  <a:pt x="491" y="196"/>
                </a:cubicBezTo>
                <a:cubicBezTo>
                  <a:pt x="492" y="193"/>
                  <a:pt x="492" y="193"/>
                  <a:pt x="492" y="193"/>
                </a:cubicBezTo>
                <a:cubicBezTo>
                  <a:pt x="492" y="193"/>
                  <a:pt x="492" y="193"/>
                  <a:pt x="492" y="193"/>
                </a:cubicBezTo>
                <a:cubicBezTo>
                  <a:pt x="492" y="191"/>
                  <a:pt x="491" y="190"/>
                  <a:pt x="491" y="188"/>
                </a:cubicBezTo>
                <a:cubicBezTo>
                  <a:pt x="491" y="186"/>
                  <a:pt x="489" y="185"/>
                  <a:pt x="488" y="184"/>
                </a:cubicBezTo>
                <a:cubicBezTo>
                  <a:pt x="488" y="182"/>
                  <a:pt x="488" y="180"/>
                  <a:pt x="488" y="179"/>
                </a:cubicBezTo>
                <a:cubicBezTo>
                  <a:pt x="488" y="178"/>
                  <a:pt x="488" y="177"/>
                  <a:pt x="488" y="176"/>
                </a:cubicBezTo>
                <a:cubicBezTo>
                  <a:pt x="488" y="175"/>
                  <a:pt x="488" y="175"/>
                  <a:pt x="489" y="175"/>
                </a:cubicBezTo>
                <a:cubicBezTo>
                  <a:pt x="489" y="173"/>
                  <a:pt x="488" y="172"/>
                  <a:pt x="488" y="170"/>
                </a:cubicBezTo>
                <a:cubicBezTo>
                  <a:pt x="489" y="170"/>
                  <a:pt x="489" y="168"/>
                  <a:pt x="489" y="168"/>
                </a:cubicBezTo>
                <a:cubicBezTo>
                  <a:pt x="490" y="168"/>
                  <a:pt x="489" y="167"/>
                  <a:pt x="490" y="166"/>
                </a:cubicBezTo>
                <a:cubicBezTo>
                  <a:pt x="491" y="166"/>
                  <a:pt x="492" y="166"/>
                  <a:pt x="492" y="165"/>
                </a:cubicBezTo>
                <a:cubicBezTo>
                  <a:pt x="495" y="165"/>
                  <a:pt x="494" y="162"/>
                  <a:pt x="497" y="162"/>
                </a:cubicBezTo>
                <a:cubicBezTo>
                  <a:pt x="497" y="161"/>
                  <a:pt x="498" y="160"/>
                  <a:pt x="499" y="160"/>
                </a:cubicBezTo>
                <a:cubicBezTo>
                  <a:pt x="499" y="157"/>
                  <a:pt x="497" y="156"/>
                  <a:pt x="497" y="152"/>
                </a:cubicBezTo>
                <a:cubicBezTo>
                  <a:pt x="498" y="152"/>
                  <a:pt x="498" y="151"/>
                  <a:pt x="499" y="151"/>
                </a:cubicBezTo>
                <a:cubicBezTo>
                  <a:pt x="499" y="150"/>
                  <a:pt x="499" y="150"/>
                  <a:pt x="499" y="150"/>
                </a:cubicBezTo>
                <a:cubicBezTo>
                  <a:pt x="500" y="150"/>
                  <a:pt x="501" y="149"/>
                  <a:pt x="501" y="149"/>
                </a:cubicBezTo>
                <a:cubicBezTo>
                  <a:pt x="502" y="149"/>
                  <a:pt x="503" y="149"/>
                  <a:pt x="503" y="148"/>
                </a:cubicBezTo>
                <a:cubicBezTo>
                  <a:pt x="504" y="148"/>
                  <a:pt x="505" y="148"/>
                  <a:pt x="506" y="148"/>
                </a:cubicBezTo>
                <a:cubicBezTo>
                  <a:pt x="507" y="147"/>
                  <a:pt x="508" y="147"/>
                  <a:pt x="508" y="147"/>
                </a:cubicBezTo>
                <a:cubicBezTo>
                  <a:pt x="509" y="147"/>
                  <a:pt x="509" y="146"/>
                  <a:pt x="509" y="146"/>
                </a:cubicBezTo>
                <a:cubicBezTo>
                  <a:pt x="510" y="146"/>
                  <a:pt x="512" y="146"/>
                  <a:pt x="512" y="146"/>
                </a:cubicBezTo>
                <a:cubicBezTo>
                  <a:pt x="512" y="146"/>
                  <a:pt x="512" y="145"/>
                  <a:pt x="512" y="145"/>
                </a:cubicBezTo>
                <a:cubicBezTo>
                  <a:pt x="513" y="145"/>
                  <a:pt x="514" y="146"/>
                  <a:pt x="515" y="145"/>
                </a:cubicBezTo>
                <a:cubicBezTo>
                  <a:pt x="515" y="145"/>
                  <a:pt x="515" y="145"/>
                  <a:pt x="516" y="145"/>
                </a:cubicBezTo>
                <a:cubicBezTo>
                  <a:pt x="519" y="144"/>
                  <a:pt x="522" y="144"/>
                  <a:pt x="524" y="143"/>
                </a:cubicBezTo>
                <a:cubicBezTo>
                  <a:pt x="524" y="142"/>
                  <a:pt x="525" y="141"/>
                  <a:pt x="524" y="140"/>
                </a:cubicBezTo>
                <a:cubicBezTo>
                  <a:pt x="524" y="140"/>
                  <a:pt x="523" y="140"/>
                  <a:pt x="523" y="140"/>
                </a:cubicBezTo>
                <a:cubicBezTo>
                  <a:pt x="522" y="139"/>
                  <a:pt x="522" y="138"/>
                  <a:pt x="522" y="137"/>
                </a:cubicBezTo>
                <a:cubicBezTo>
                  <a:pt x="521" y="134"/>
                  <a:pt x="523" y="134"/>
                  <a:pt x="523" y="132"/>
                </a:cubicBezTo>
                <a:cubicBezTo>
                  <a:pt x="523" y="130"/>
                  <a:pt x="521" y="128"/>
                  <a:pt x="520" y="126"/>
                </a:cubicBezTo>
                <a:cubicBezTo>
                  <a:pt x="521" y="123"/>
                  <a:pt x="520" y="121"/>
                  <a:pt x="520" y="118"/>
                </a:cubicBezTo>
                <a:cubicBezTo>
                  <a:pt x="519" y="117"/>
                  <a:pt x="518" y="115"/>
                  <a:pt x="517" y="114"/>
                </a:cubicBezTo>
                <a:cubicBezTo>
                  <a:pt x="515" y="114"/>
                  <a:pt x="515" y="113"/>
                  <a:pt x="513" y="113"/>
                </a:cubicBezTo>
                <a:cubicBezTo>
                  <a:pt x="512" y="114"/>
                  <a:pt x="511" y="113"/>
                  <a:pt x="510" y="113"/>
                </a:cubicBezTo>
                <a:cubicBezTo>
                  <a:pt x="510" y="111"/>
                  <a:pt x="509" y="109"/>
                  <a:pt x="510" y="107"/>
                </a:cubicBezTo>
                <a:cubicBezTo>
                  <a:pt x="510" y="106"/>
                  <a:pt x="510" y="106"/>
                  <a:pt x="509" y="106"/>
                </a:cubicBezTo>
                <a:cubicBezTo>
                  <a:pt x="509" y="105"/>
                  <a:pt x="509" y="104"/>
                  <a:pt x="508" y="104"/>
                </a:cubicBezTo>
                <a:cubicBezTo>
                  <a:pt x="508" y="103"/>
                  <a:pt x="510" y="103"/>
                  <a:pt x="509" y="101"/>
                </a:cubicBezTo>
                <a:cubicBezTo>
                  <a:pt x="510" y="101"/>
                  <a:pt x="512" y="101"/>
                  <a:pt x="512" y="100"/>
                </a:cubicBezTo>
                <a:cubicBezTo>
                  <a:pt x="513" y="100"/>
                  <a:pt x="515" y="100"/>
                  <a:pt x="515" y="99"/>
                </a:cubicBezTo>
                <a:cubicBezTo>
                  <a:pt x="515" y="98"/>
                  <a:pt x="514" y="98"/>
                  <a:pt x="513" y="98"/>
                </a:cubicBezTo>
                <a:cubicBezTo>
                  <a:pt x="509" y="98"/>
                  <a:pt x="509" y="98"/>
                  <a:pt x="509" y="98"/>
                </a:cubicBezTo>
                <a:cubicBezTo>
                  <a:pt x="509" y="97"/>
                  <a:pt x="508" y="97"/>
                  <a:pt x="507" y="97"/>
                </a:cubicBezTo>
                <a:cubicBezTo>
                  <a:pt x="507" y="96"/>
                  <a:pt x="506" y="97"/>
                  <a:pt x="505" y="97"/>
                </a:cubicBezTo>
                <a:cubicBezTo>
                  <a:pt x="505" y="90"/>
                  <a:pt x="505" y="90"/>
                  <a:pt x="505" y="90"/>
                </a:cubicBezTo>
                <a:cubicBezTo>
                  <a:pt x="507" y="91"/>
                  <a:pt x="507" y="90"/>
                  <a:pt x="509" y="90"/>
                </a:cubicBezTo>
                <a:cubicBezTo>
                  <a:pt x="510" y="88"/>
                  <a:pt x="507" y="87"/>
                  <a:pt x="509" y="86"/>
                </a:cubicBezTo>
                <a:cubicBezTo>
                  <a:pt x="509" y="85"/>
                  <a:pt x="509" y="85"/>
                  <a:pt x="509" y="85"/>
                </a:cubicBezTo>
                <a:cubicBezTo>
                  <a:pt x="509" y="84"/>
                  <a:pt x="510" y="83"/>
                  <a:pt x="510" y="83"/>
                </a:cubicBezTo>
                <a:cubicBezTo>
                  <a:pt x="511" y="83"/>
                  <a:pt x="511" y="82"/>
                  <a:pt x="511" y="81"/>
                </a:cubicBezTo>
                <a:cubicBezTo>
                  <a:pt x="512" y="81"/>
                  <a:pt x="512" y="81"/>
                  <a:pt x="512" y="81"/>
                </a:cubicBezTo>
                <a:cubicBezTo>
                  <a:pt x="512" y="80"/>
                  <a:pt x="512" y="80"/>
                  <a:pt x="512" y="79"/>
                </a:cubicBezTo>
                <a:cubicBezTo>
                  <a:pt x="512" y="79"/>
                  <a:pt x="511" y="78"/>
                  <a:pt x="511" y="78"/>
                </a:cubicBezTo>
                <a:cubicBezTo>
                  <a:pt x="511" y="78"/>
                  <a:pt x="511" y="78"/>
                  <a:pt x="510" y="78"/>
                </a:cubicBezTo>
                <a:cubicBezTo>
                  <a:pt x="510" y="78"/>
                  <a:pt x="511" y="77"/>
                  <a:pt x="510" y="77"/>
                </a:cubicBezTo>
                <a:cubicBezTo>
                  <a:pt x="510" y="77"/>
                  <a:pt x="510" y="77"/>
                  <a:pt x="510" y="77"/>
                </a:cubicBezTo>
                <a:cubicBezTo>
                  <a:pt x="510" y="77"/>
                  <a:pt x="510" y="76"/>
                  <a:pt x="510" y="76"/>
                </a:cubicBezTo>
                <a:cubicBezTo>
                  <a:pt x="510" y="76"/>
                  <a:pt x="509" y="76"/>
                  <a:pt x="509" y="76"/>
                </a:cubicBezTo>
                <a:cubicBezTo>
                  <a:pt x="509" y="76"/>
                  <a:pt x="509" y="75"/>
                  <a:pt x="509" y="75"/>
                </a:cubicBezTo>
                <a:cubicBezTo>
                  <a:pt x="509" y="75"/>
                  <a:pt x="508" y="75"/>
                  <a:pt x="508" y="74"/>
                </a:cubicBezTo>
                <a:cubicBezTo>
                  <a:pt x="508" y="74"/>
                  <a:pt x="508" y="74"/>
                  <a:pt x="508" y="74"/>
                </a:cubicBezTo>
                <a:cubicBezTo>
                  <a:pt x="508" y="73"/>
                  <a:pt x="507" y="73"/>
                  <a:pt x="507" y="72"/>
                </a:cubicBezTo>
                <a:cubicBezTo>
                  <a:pt x="507" y="70"/>
                  <a:pt x="507" y="68"/>
                  <a:pt x="508" y="66"/>
                </a:cubicBezTo>
                <a:cubicBezTo>
                  <a:pt x="508" y="66"/>
                  <a:pt x="508" y="66"/>
                  <a:pt x="508" y="65"/>
                </a:cubicBezTo>
                <a:cubicBezTo>
                  <a:pt x="508" y="64"/>
                  <a:pt x="506" y="65"/>
                  <a:pt x="504" y="64"/>
                </a:cubicBezTo>
                <a:cubicBezTo>
                  <a:pt x="501" y="65"/>
                  <a:pt x="503" y="67"/>
                  <a:pt x="502" y="69"/>
                </a:cubicBezTo>
                <a:cubicBezTo>
                  <a:pt x="498" y="69"/>
                  <a:pt x="496" y="67"/>
                  <a:pt x="493" y="67"/>
                </a:cubicBezTo>
                <a:cubicBezTo>
                  <a:pt x="492" y="68"/>
                  <a:pt x="492" y="67"/>
                  <a:pt x="491" y="67"/>
                </a:cubicBezTo>
                <a:cubicBezTo>
                  <a:pt x="491" y="67"/>
                  <a:pt x="490" y="67"/>
                  <a:pt x="490" y="66"/>
                </a:cubicBezTo>
                <a:cubicBezTo>
                  <a:pt x="489" y="66"/>
                  <a:pt x="489" y="65"/>
                  <a:pt x="488" y="65"/>
                </a:cubicBezTo>
                <a:cubicBezTo>
                  <a:pt x="487" y="65"/>
                  <a:pt x="487" y="66"/>
                  <a:pt x="486" y="66"/>
                </a:cubicBezTo>
                <a:cubicBezTo>
                  <a:pt x="486" y="66"/>
                  <a:pt x="486" y="67"/>
                  <a:pt x="485" y="67"/>
                </a:cubicBezTo>
                <a:cubicBezTo>
                  <a:pt x="483" y="67"/>
                  <a:pt x="483" y="67"/>
                  <a:pt x="483" y="67"/>
                </a:cubicBezTo>
                <a:cubicBezTo>
                  <a:pt x="483" y="66"/>
                  <a:pt x="482" y="66"/>
                  <a:pt x="482" y="66"/>
                </a:cubicBezTo>
                <a:cubicBezTo>
                  <a:pt x="482" y="65"/>
                  <a:pt x="482" y="65"/>
                  <a:pt x="482" y="65"/>
                </a:cubicBezTo>
                <a:cubicBezTo>
                  <a:pt x="481" y="64"/>
                  <a:pt x="480" y="64"/>
                  <a:pt x="481" y="62"/>
                </a:cubicBezTo>
                <a:cubicBezTo>
                  <a:pt x="480" y="62"/>
                  <a:pt x="480" y="62"/>
                  <a:pt x="480" y="62"/>
                </a:cubicBezTo>
                <a:cubicBezTo>
                  <a:pt x="479" y="62"/>
                  <a:pt x="479" y="62"/>
                  <a:pt x="479" y="62"/>
                </a:cubicBezTo>
                <a:cubicBezTo>
                  <a:pt x="478" y="62"/>
                  <a:pt x="478" y="61"/>
                  <a:pt x="478" y="61"/>
                </a:cubicBezTo>
                <a:cubicBezTo>
                  <a:pt x="477" y="61"/>
                  <a:pt x="478" y="60"/>
                  <a:pt x="477" y="60"/>
                </a:cubicBezTo>
                <a:cubicBezTo>
                  <a:pt x="476" y="60"/>
                  <a:pt x="476" y="60"/>
                  <a:pt x="476" y="60"/>
                </a:cubicBezTo>
                <a:cubicBezTo>
                  <a:pt x="475" y="60"/>
                  <a:pt x="476" y="63"/>
                  <a:pt x="476" y="64"/>
                </a:cubicBezTo>
                <a:cubicBezTo>
                  <a:pt x="472" y="65"/>
                  <a:pt x="470" y="63"/>
                  <a:pt x="465" y="64"/>
                </a:cubicBezTo>
                <a:cubicBezTo>
                  <a:pt x="464" y="64"/>
                  <a:pt x="464" y="63"/>
                  <a:pt x="464" y="62"/>
                </a:cubicBezTo>
                <a:cubicBezTo>
                  <a:pt x="463" y="63"/>
                  <a:pt x="463" y="62"/>
                  <a:pt x="462" y="62"/>
                </a:cubicBezTo>
                <a:cubicBezTo>
                  <a:pt x="458" y="62"/>
                  <a:pt x="458" y="62"/>
                  <a:pt x="458" y="62"/>
                </a:cubicBezTo>
                <a:cubicBezTo>
                  <a:pt x="457" y="62"/>
                  <a:pt x="454" y="61"/>
                  <a:pt x="454" y="62"/>
                </a:cubicBezTo>
                <a:cubicBezTo>
                  <a:pt x="453" y="62"/>
                  <a:pt x="454" y="61"/>
                  <a:pt x="453" y="61"/>
                </a:cubicBezTo>
                <a:cubicBezTo>
                  <a:pt x="453" y="60"/>
                  <a:pt x="452" y="61"/>
                  <a:pt x="451" y="60"/>
                </a:cubicBezTo>
                <a:cubicBezTo>
                  <a:pt x="449" y="61"/>
                  <a:pt x="448" y="62"/>
                  <a:pt x="446" y="62"/>
                </a:cubicBezTo>
                <a:cubicBezTo>
                  <a:pt x="447" y="64"/>
                  <a:pt x="448" y="65"/>
                  <a:pt x="448" y="67"/>
                </a:cubicBezTo>
                <a:cubicBezTo>
                  <a:pt x="447" y="68"/>
                  <a:pt x="446" y="68"/>
                  <a:pt x="446" y="69"/>
                </a:cubicBezTo>
                <a:cubicBezTo>
                  <a:pt x="446" y="69"/>
                  <a:pt x="445" y="70"/>
                  <a:pt x="445" y="70"/>
                </a:cubicBezTo>
                <a:cubicBezTo>
                  <a:pt x="441" y="70"/>
                  <a:pt x="440" y="68"/>
                  <a:pt x="436" y="68"/>
                </a:cubicBezTo>
                <a:cubicBezTo>
                  <a:pt x="436" y="66"/>
                  <a:pt x="433" y="67"/>
                  <a:pt x="433" y="65"/>
                </a:cubicBezTo>
                <a:cubicBezTo>
                  <a:pt x="431" y="65"/>
                  <a:pt x="430" y="64"/>
                  <a:pt x="428" y="64"/>
                </a:cubicBezTo>
                <a:cubicBezTo>
                  <a:pt x="427" y="62"/>
                  <a:pt x="426" y="60"/>
                  <a:pt x="423" y="60"/>
                </a:cubicBezTo>
                <a:cubicBezTo>
                  <a:pt x="423" y="59"/>
                  <a:pt x="422" y="58"/>
                  <a:pt x="422" y="57"/>
                </a:cubicBezTo>
                <a:cubicBezTo>
                  <a:pt x="421" y="57"/>
                  <a:pt x="421" y="56"/>
                  <a:pt x="421" y="54"/>
                </a:cubicBezTo>
                <a:cubicBezTo>
                  <a:pt x="420" y="54"/>
                  <a:pt x="419" y="55"/>
                  <a:pt x="419" y="56"/>
                </a:cubicBezTo>
                <a:cubicBezTo>
                  <a:pt x="418" y="57"/>
                  <a:pt x="417" y="57"/>
                  <a:pt x="417" y="58"/>
                </a:cubicBezTo>
                <a:cubicBezTo>
                  <a:pt x="416" y="58"/>
                  <a:pt x="417" y="59"/>
                  <a:pt x="417" y="60"/>
                </a:cubicBezTo>
                <a:cubicBezTo>
                  <a:pt x="416" y="60"/>
                  <a:pt x="415" y="60"/>
                  <a:pt x="416" y="60"/>
                </a:cubicBezTo>
                <a:cubicBezTo>
                  <a:pt x="415" y="60"/>
                  <a:pt x="415" y="61"/>
                  <a:pt x="415" y="62"/>
                </a:cubicBezTo>
                <a:cubicBezTo>
                  <a:pt x="415" y="62"/>
                  <a:pt x="414" y="62"/>
                  <a:pt x="414" y="62"/>
                </a:cubicBezTo>
                <a:cubicBezTo>
                  <a:pt x="412" y="63"/>
                  <a:pt x="410" y="63"/>
                  <a:pt x="408" y="65"/>
                </a:cubicBezTo>
                <a:cubicBezTo>
                  <a:pt x="406" y="65"/>
                  <a:pt x="406" y="67"/>
                  <a:pt x="405" y="69"/>
                </a:cubicBezTo>
                <a:cubicBezTo>
                  <a:pt x="404" y="69"/>
                  <a:pt x="403" y="69"/>
                  <a:pt x="403" y="70"/>
                </a:cubicBezTo>
                <a:cubicBezTo>
                  <a:pt x="401" y="70"/>
                  <a:pt x="398" y="70"/>
                  <a:pt x="397" y="71"/>
                </a:cubicBezTo>
                <a:cubicBezTo>
                  <a:pt x="395" y="71"/>
                  <a:pt x="392" y="70"/>
                  <a:pt x="391" y="71"/>
                </a:cubicBezTo>
                <a:cubicBezTo>
                  <a:pt x="390" y="72"/>
                  <a:pt x="389" y="70"/>
                  <a:pt x="388" y="70"/>
                </a:cubicBezTo>
                <a:cubicBezTo>
                  <a:pt x="387" y="70"/>
                  <a:pt x="387" y="69"/>
                  <a:pt x="387" y="69"/>
                </a:cubicBezTo>
                <a:cubicBezTo>
                  <a:pt x="386" y="69"/>
                  <a:pt x="385" y="69"/>
                  <a:pt x="385" y="68"/>
                </a:cubicBezTo>
                <a:cubicBezTo>
                  <a:pt x="385" y="68"/>
                  <a:pt x="384" y="69"/>
                  <a:pt x="384" y="69"/>
                </a:cubicBezTo>
                <a:cubicBezTo>
                  <a:pt x="383" y="69"/>
                  <a:pt x="382" y="69"/>
                  <a:pt x="382" y="69"/>
                </a:cubicBezTo>
                <a:cubicBezTo>
                  <a:pt x="380" y="69"/>
                  <a:pt x="379" y="70"/>
                  <a:pt x="378" y="70"/>
                </a:cubicBezTo>
                <a:cubicBezTo>
                  <a:pt x="378" y="70"/>
                  <a:pt x="377" y="71"/>
                  <a:pt x="376" y="71"/>
                </a:cubicBezTo>
                <a:cubicBezTo>
                  <a:pt x="375" y="71"/>
                  <a:pt x="376" y="72"/>
                  <a:pt x="375" y="72"/>
                </a:cubicBezTo>
                <a:cubicBezTo>
                  <a:pt x="375" y="73"/>
                  <a:pt x="375" y="73"/>
                  <a:pt x="375" y="73"/>
                </a:cubicBezTo>
                <a:moveTo>
                  <a:pt x="369" y="275"/>
                </a:moveTo>
                <a:cubicBezTo>
                  <a:pt x="369" y="275"/>
                  <a:pt x="369" y="275"/>
                  <a:pt x="369" y="275"/>
                </a:cubicBezTo>
                <a:cubicBezTo>
                  <a:pt x="369" y="275"/>
                  <a:pt x="370" y="275"/>
                  <a:pt x="370" y="275"/>
                </a:cubicBezTo>
                <a:cubicBezTo>
                  <a:pt x="370" y="275"/>
                  <a:pt x="370" y="275"/>
                  <a:pt x="369" y="275"/>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 name="Freeform 35"/>
          <p:cNvSpPr>
            <a:spLocks noEditPoints="1"/>
          </p:cNvSpPr>
          <p:nvPr/>
        </p:nvSpPr>
        <p:spPr bwMode="auto">
          <a:xfrm>
            <a:off x="9645942" y="4778678"/>
            <a:ext cx="2684463" cy="1482725"/>
          </a:xfrm>
          <a:custGeom>
            <a:avLst/>
            <a:gdLst>
              <a:gd name="T0" fmla="*/ 60 w 694"/>
              <a:gd name="T1" fmla="*/ 201 h 383"/>
              <a:gd name="T2" fmla="*/ 20 w 694"/>
              <a:gd name="T3" fmla="*/ 205 h 383"/>
              <a:gd name="T4" fmla="*/ 19 w 694"/>
              <a:gd name="T5" fmla="*/ 216 h 383"/>
              <a:gd name="T6" fmla="*/ 36 w 694"/>
              <a:gd name="T7" fmla="*/ 206 h 383"/>
              <a:gd name="T8" fmla="*/ 53 w 694"/>
              <a:gd name="T9" fmla="*/ 192 h 383"/>
              <a:gd name="T10" fmla="*/ 64 w 694"/>
              <a:gd name="T11" fmla="*/ 176 h 383"/>
              <a:gd name="T12" fmla="*/ 104 w 694"/>
              <a:gd name="T13" fmla="*/ 169 h 383"/>
              <a:gd name="T14" fmla="*/ 75 w 694"/>
              <a:gd name="T15" fmla="*/ 147 h 383"/>
              <a:gd name="T16" fmla="*/ 43 w 694"/>
              <a:gd name="T17" fmla="*/ 134 h 383"/>
              <a:gd name="T18" fmla="*/ 21 w 694"/>
              <a:gd name="T19" fmla="*/ 160 h 383"/>
              <a:gd name="T20" fmla="*/ 94 w 694"/>
              <a:gd name="T21" fmla="*/ 190 h 383"/>
              <a:gd name="T22" fmla="*/ 100 w 694"/>
              <a:gd name="T23" fmla="*/ 364 h 383"/>
              <a:gd name="T24" fmla="*/ 100 w 694"/>
              <a:gd name="T25" fmla="*/ 369 h 383"/>
              <a:gd name="T26" fmla="*/ 680 w 694"/>
              <a:gd name="T27" fmla="*/ 149 h 383"/>
              <a:gd name="T28" fmla="*/ 635 w 694"/>
              <a:gd name="T29" fmla="*/ 88 h 383"/>
              <a:gd name="T30" fmla="*/ 599 w 694"/>
              <a:gd name="T31" fmla="*/ 43 h 383"/>
              <a:gd name="T32" fmla="*/ 562 w 694"/>
              <a:gd name="T33" fmla="*/ 4 h 383"/>
              <a:gd name="T34" fmla="*/ 515 w 694"/>
              <a:gd name="T35" fmla="*/ 21 h 383"/>
              <a:gd name="T36" fmla="*/ 471 w 694"/>
              <a:gd name="T37" fmla="*/ 63 h 383"/>
              <a:gd name="T38" fmla="*/ 397 w 694"/>
              <a:gd name="T39" fmla="*/ 77 h 383"/>
              <a:gd name="T40" fmla="*/ 359 w 694"/>
              <a:gd name="T41" fmla="*/ 80 h 383"/>
              <a:gd name="T42" fmla="*/ 337 w 694"/>
              <a:gd name="T43" fmla="*/ 75 h 383"/>
              <a:gd name="T44" fmla="*/ 300 w 694"/>
              <a:gd name="T45" fmla="*/ 73 h 383"/>
              <a:gd name="T46" fmla="*/ 258 w 694"/>
              <a:gd name="T47" fmla="*/ 81 h 383"/>
              <a:gd name="T48" fmla="*/ 232 w 694"/>
              <a:gd name="T49" fmla="*/ 90 h 383"/>
              <a:gd name="T50" fmla="*/ 206 w 694"/>
              <a:gd name="T51" fmla="*/ 112 h 383"/>
              <a:gd name="T52" fmla="*/ 175 w 694"/>
              <a:gd name="T53" fmla="*/ 146 h 383"/>
              <a:gd name="T54" fmla="*/ 112 w 694"/>
              <a:gd name="T55" fmla="*/ 154 h 383"/>
              <a:gd name="T56" fmla="*/ 120 w 694"/>
              <a:gd name="T57" fmla="*/ 178 h 383"/>
              <a:gd name="T58" fmla="*/ 114 w 694"/>
              <a:gd name="T59" fmla="*/ 195 h 383"/>
              <a:gd name="T60" fmla="*/ 69 w 694"/>
              <a:gd name="T61" fmla="*/ 196 h 383"/>
              <a:gd name="T62" fmla="*/ 51 w 694"/>
              <a:gd name="T63" fmla="*/ 204 h 383"/>
              <a:gd name="T64" fmla="*/ 20 w 694"/>
              <a:gd name="T65" fmla="*/ 249 h 383"/>
              <a:gd name="T66" fmla="*/ 41 w 694"/>
              <a:gd name="T67" fmla="*/ 258 h 383"/>
              <a:gd name="T68" fmla="*/ 57 w 694"/>
              <a:gd name="T69" fmla="*/ 276 h 383"/>
              <a:gd name="T70" fmla="*/ 59 w 694"/>
              <a:gd name="T71" fmla="*/ 298 h 383"/>
              <a:gd name="T72" fmla="*/ 38 w 694"/>
              <a:gd name="T73" fmla="*/ 289 h 383"/>
              <a:gd name="T74" fmla="*/ 45 w 694"/>
              <a:gd name="T75" fmla="*/ 313 h 383"/>
              <a:gd name="T76" fmla="*/ 69 w 694"/>
              <a:gd name="T77" fmla="*/ 333 h 383"/>
              <a:gd name="T78" fmla="*/ 90 w 694"/>
              <a:gd name="T79" fmla="*/ 354 h 383"/>
              <a:gd name="T80" fmla="*/ 107 w 694"/>
              <a:gd name="T81" fmla="*/ 355 h 383"/>
              <a:gd name="T82" fmla="*/ 111 w 694"/>
              <a:gd name="T83" fmla="*/ 369 h 383"/>
              <a:gd name="T84" fmla="*/ 140 w 694"/>
              <a:gd name="T85" fmla="*/ 364 h 383"/>
              <a:gd name="T86" fmla="*/ 149 w 694"/>
              <a:gd name="T87" fmla="*/ 363 h 383"/>
              <a:gd name="T88" fmla="*/ 181 w 694"/>
              <a:gd name="T89" fmla="*/ 379 h 383"/>
              <a:gd name="T90" fmla="*/ 204 w 694"/>
              <a:gd name="T91" fmla="*/ 358 h 383"/>
              <a:gd name="T92" fmla="*/ 233 w 694"/>
              <a:gd name="T93" fmla="*/ 337 h 383"/>
              <a:gd name="T94" fmla="*/ 277 w 694"/>
              <a:gd name="T95" fmla="*/ 354 h 383"/>
              <a:gd name="T96" fmla="*/ 310 w 694"/>
              <a:gd name="T97" fmla="*/ 346 h 383"/>
              <a:gd name="T98" fmla="*/ 334 w 694"/>
              <a:gd name="T99" fmla="*/ 330 h 383"/>
              <a:gd name="T100" fmla="*/ 376 w 694"/>
              <a:gd name="T101" fmla="*/ 307 h 383"/>
              <a:gd name="T102" fmla="*/ 399 w 694"/>
              <a:gd name="T103" fmla="*/ 285 h 383"/>
              <a:gd name="T104" fmla="*/ 393 w 694"/>
              <a:gd name="T105" fmla="*/ 315 h 383"/>
              <a:gd name="T106" fmla="*/ 414 w 694"/>
              <a:gd name="T107" fmla="*/ 313 h 383"/>
              <a:gd name="T108" fmla="*/ 454 w 694"/>
              <a:gd name="T109" fmla="*/ 273 h 383"/>
              <a:gd name="T110" fmla="*/ 592 w 694"/>
              <a:gd name="T111" fmla="*/ 209 h 383"/>
              <a:gd name="T112" fmla="*/ 635 w 694"/>
              <a:gd name="T113" fmla="*/ 184 h 383"/>
              <a:gd name="T114" fmla="*/ 687 w 694"/>
              <a:gd name="T115" fmla="*/ 175 h 383"/>
              <a:gd name="T116" fmla="*/ 275 w 694"/>
              <a:gd name="T117" fmla="*/ 219 h 383"/>
              <a:gd name="T118" fmla="*/ 626 w 694"/>
              <a:gd name="T119" fmla="*/ 130 h 383"/>
              <a:gd name="T120" fmla="*/ 589 w 694"/>
              <a:gd name="T121" fmla="*/ 146 h 383"/>
              <a:gd name="T122" fmla="*/ 617 w 694"/>
              <a:gd name="T123" fmla="*/ 109 h 383"/>
              <a:gd name="T124" fmla="*/ 174 w 694"/>
              <a:gd name="T125" fmla="*/ 37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4" h="383">
                <a:moveTo>
                  <a:pt x="65" y="199"/>
                </a:moveTo>
                <a:cubicBezTo>
                  <a:pt x="64" y="199"/>
                  <a:pt x="64" y="199"/>
                  <a:pt x="64" y="199"/>
                </a:cubicBezTo>
                <a:cubicBezTo>
                  <a:pt x="63" y="201"/>
                  <a:pt x="65" y="201"/>
                  <a:pt x="66" y="201"/>
                </a:cubicBezTo>
                <a:cubicBezTo>
                  <a:pt x="66" y="200"/>
                  <a:pt x="68" y="201"/>
                  <a:pt x="68" y="200"/>
                </a:cubicBezTo>
                <a:cubicBezTo>
                  <a:pt x="66" y="200"/>
                  <a:pt x="67" y="198"/>
                  <a:pt x="65" y="199"/>
                </a:cubicBezTo>
                <a:close/>
                <a:moveTo>
                  <a:pt x="11" y="222"/>
                </a:moveTo>
                <a:cubicBezTo>
                  <a:pt x="10" y="222"/>
                  <a:pt x="8" y="222"/>
                  <a:pt x="7" y="222"/>
                </a:cubicBezTo>
                <a:cubicBezTo>
                  <a:pt x="7" y="224"/>
                  <a:pt x="6" y="224"/>
                  <a:pt x="4" y="224"/>
                </a:cubicBezTo>
                <a:cubicBezTo>
                  <a:pt x="4" y="225"/>
                  <a:pt x="3" y="225"/>
                  <a:pt x="2" y="226"/>
                </a:cubicBezTo>
                <a:cubicBezTo>
                  <a:pt x="2" y="226"/>
                  <a:pt x="2" y="227"/>
                  <a:pt x="2" y="227"/>
                </a:cubicBezTo>
                <a:cubicBezTo>
                  <a:pt x="0" y="227"/>
                  <a:pt x="0" y="228"/>
                  <a:pt x="0" y="229"/>
                </a:cubicBezTo>
                <a:cubicBezTo>
                  <a:pt x="3" y="231"/>
                  <a:pt x="5" y="229"/>
                  <a:pt x="9" y="229"/>
                </a:cubicBezTo>
                <a:cubicBezTo>
                  <a:pt x="10" y="228"/>
                  <a:pt x="10" y="226"/>
                  <a:pt x="13" y="227"/>
                </a:cubicBezTo>
                <a:cubicBezTo>
                  <a:pt x="13" y="224"/>
                  <a:pt x="11" y="225"/>
                  <a:pt x="11" y="222"/>
                </a:cubicBezTo>
                <a:close/>
                <a:moveTo>
                  <a:pt x="60" y="201"/>
                </a:moveTo>
                <a:cubicBezTo>
                  <a:pt x="63" y="202"/>
                  <a:pt x="63" y="200"/>
                  <a:pt x="63" y="198"/>
                </a:cubicBezTo>
                <a:cubicBezTo>
                  <a:pt x="61" y="198"/>
                  <a:pt x="60" y="199"/>
                  <a:pt x="60" y="201"/>
                </a:cubicBezTo>
                <a:close/>
                <a:moveTo>
                  <a:pt x="68" y="193"/>
                </a:moveTo>
                <a:cubicBezTo>
                  <a:pt x="68" y="193"/>
                  <a:pt x="68" y="192"/>
                  <a:pt x="68" y="192"/>
                </a:cubicBezTo>
                <a:cubicBezTo>
                  <a:pt x="66" y="192"/>
                  <a:pt x="66" y="190"/>
                  <a:pt x="64" y="190"/>
                </a:cubicBezTo>
                <a:cubicBezTo>
                  <a:pt x="62" y="190"/>
                  <a:pt x="61" y="192"/>
                  <a:pt x="61" y="195"/>
                </a:cubicBezTo>
                <a:cubicBezTo>
                  <a:pt x="61" y="195"/>
                  <a:pt x="62" y="195"/>
                  <a:pt x="62" y="196"/>
                </a:cubicBezTo>
                <a:cubicBezTo>
                  <a:pt x="63" y="196"/>
                  <a:pt x="64" y="196"/>
                  <a:pt x="64" y="196"/>
                </a:cubicBezTo>
                <a:cubicBezTo>
                  <a:pt x="64" y="195"/>
                  <a:pt x="66" y="195"/>
                  <a:pt x="66" y="194"/>
                </a:cubicBezTo>
                <a:cubicBezTo>
                  <a:pt x="66" y="194"/>
                  <a:pt x="66" y="194"/>
                  <a:pt x="66" y="194"/>
                </a:cubicBezTo>
                <a:cubicBezTo>
                  <a:pt x="67" y="194"/>
                  <a:pt x="66" y="193"/>
                  <a:pt x="66" y="193"/>
                </a:cubicBezTo>
                <a:cubicBezTo>
                  <a:pt x="67" y="193"/>
                  <a:pt x="68" y="193"/>
                  <a:pt x="68" y="193"/>
                </a:cubicBezTo>
                <a:close/>
                <a:moveTo>
                  <a:pt x="17" y="240"/>
                </a:moveTo>
                <a:cubicBezTo>
                  <a:pt x="17" y="239"/>
                  <a:pt x="13" y="239"/>
                  <a:pt x="13" y="240"/>
                </a:cubicBezTo>
                <a:cubicBezTo>
                  <a:pt x="14" y="240"/>
                  <a:pt x="14" y="241"/>
                  <a:pt x="14" y="241"/>
                </a:cubicBezTo>
                <a:cubicBezTo>
                  <a:pt x="15" y="241"/>
                  <a:pt x="18" y="242"/>
                  <a:pt x="18" y="240"/>
                </a:cubicBezTo>
                <a:cubicBezTo>
                  <a:pt x="17" y="240"/>
                  <a:pt x="17" y="240"/>
                  <a:pt x="17" y="240"/>
                </a:cubicBezTo>
                <a:close/>
                <a:moveTo>
                  <a:pt x="10" y="204"/>
                </a:moveTo>
                <a:cubicBezTo>
                  <a:pt x="12" y="205"/>
                  <a:pt x="17" y="207"/>
                  <a:pt x="20" y="205"/>
                </a:cubicBezTo>
                <a:cubicBezTo>
                  <a:pt x="21" y="205"/>
                  <a:pt x="21" y="205"/>
                  <a:pt x="21" y="204"/>
                </a:cubicBezTo>
                <a:cubicBezTo>
                  <a:pt x="22" y="204"/>
                  <a:pt x="23" y="204"/>
                  <a:pt x="24" y="203"/>
                </a:cubicBezTo>
                <a:cubicBezTo>
                  <a:pt x="26" y="203"/>
                  <a:pt x="26" y="202"/>
                  <a:pt x="28" y="202"/>
                </a:cubicBezTo>
                <a:cubicBezTo>
                  <a:pt x="28" y="202"/>
                  <a:pt x="28" y="202"/>
                  <a:pt x="28" y="202"/>
                </a:cubicBezTo>
                <a:cubicBezTo>
                  <a:pt x="29" y="202"/>
                  <a:pt x="29" y="202"/>
                  <a:pt x="30" y="201"/>
                </a:cubicBezTo>
                <a:cubicBezTo>
                  <a:pt x="30" y="201"/>
                  <a:pt x="30" y="201"/>
                  <a:pt x="30" y="201"/>
                </a:cubicBezTo>
                <a:cubicBezTo>
                  <a:pt x="31" y="201"/>
                  <a:pt x="31" y="199"/>
                  <a:pt x="32" y="200"/>
                </a:cubicBezTo>
                <a:cubicBezTo>
                  <a:pt x="33" y="200"/>
                  <a:pt x="33" y="200"/>
                  <a:pt x="33" y="200"/>
                </a:cubicBezTo>
                <a:cubicBezTo>
                  <a:pt x="33" y="199"/>
                  <a:pt x="34" y="199"/>
                  <a:pt x="34" y="199"/>
                </a:cubicBezTo>
                <a:cubicBezTo>
                  <a:pt x="36" y="199"/>
                  <a:pt x="36" y="199"/>
                  <a:pt x="36" y="199"/>
                </a:cubicBezTo>
                <a:cubicBezTo>
                  <a:pt x="37" y="201"/>
                  <a:pt x="35" y="201"/>
                  <a:pt x="34" y="203"/>
                </a:cubicBezTo>
                <a:cubicBezTo>
                  <a:pt x="33" y="203"/>
                  <a:pt x="32" y="205"/>
                  <a:pt x="32" y="206"/>
                </a:cubicBezTo>
                <a:cubicBezTo>
                  <a:pt x="30" y="206"/>
                  <a:pt x="29" y="207"/>
                  <a:pt x="28" y="208"/>
                </a:cubicBezTo>
                <a:cubicBezTo>
                  <a:pt x="26" y="208"/>
                  <a:pt x="27" y="210"/>
                  <a:pt x="25" y="210"/>
                </a:cubicBezTo>
                <a:cubicBezTo>
                  <a:pt x="24" y="211"/>
                  <a:pt x="23" y="211"/>
                  <a:pt x="23" y="212"/>
                </a:cubicBezTo>
                <a:cubicBezTo>
                  <a:pt x="23" y="213"/>
                  <a:pt x="23" y="213"/>
                  <a:pt x="22" y="213"/>
                </a:cubicBezTo>
                <a:cubicBezTo>
                  <a:pt x="22" y="215"/>
                  <a:pt x="20" y="215"/>
                  <a:pt x="19" y="216"/>
                </a:cubicBezTo>
                <a:cubicBezTo>
                  <a:pt x="19" y="217"/>
                  <a:pt x="19" y="218"/>
                  <a:pt x="19" y="219"/>
                </a:cubicBezTo>
                <a:cubicBezTo>
                  <a:pt x="20" y="219"/>
                  <a:pt x="20" y="219"/>
                  <a:pt x="20" y="220"/>
                </a:cubicBezTo>
                <a:cubicBezTo>
                  <a:pt x="21" y="222"/>
                  <a:pt x="20" y="223"/>
                  <a:pt x="19" y="225"/>
                </a:cubicBezTo>
                <a:cubicBezTo>
                  <a:pt x="19" y="227"/>
                  <a:pt x="22" y="226"/>
                  <a:pt x="22" y="227"/>
                </a:cubicBezTo>
                <a:cubicBezTo>
                  <a:pt x="22" y="227"/>
                  <a:pt x="23" y="227"/>
                  <a:pt x="23" y="227"/>
                </a:cubicBezTo>
                <a:cubicBezTo>
                  <a:pt x="23" y="226"/>
                  <a:pt x="23" y="225"/>
                  <a:pt x="23" y="225"/>
                </a:cubicBezTo>
                <a:cubicBezTo>
                  <a:pt x="23" y="225"/>
                  <a:pt x="25" y="224"/>
                  <a:pt x="25" y="222"/>
                </a:cubicBezTo>
                <a:cubicBezTo>
                  <a:pt x="25" y="222"/>
                  <a:pt x="25" y="221"/>
                  <a:pt x="25" y="221"/>
                </a:cubicBezTo>
                <a:cubicBezTo>
                  <a:pt x="26" y="221"/>
                  <a:pt x="26" y="221"/>
                  <a:pt x="26" y="221"/>
                </a:cubicBezTo>
                <a:cubicBezTo>
                  <a:pt x="26" y="220"/>
                  <a:pt x="26" y="221"/>
                  <a:pt x="27" y="220"/>
                </a:cubicBezTo>
                <a:cubicBezTo>
                  <a:pt x="28" y="218"/>
                  <a:pt x="29" y="217"/>
                  <a:pt x="31" y="216"/>
                </a:cubicBezTo>
                <a:cubicBezTo>
                  <a:pt x="31" y="215"/>
                  <a:pt x="31" y="215"/>
                  <a:pt x="31" y="215"/>
                </a:cubicBezTo>
                <a:cubicBezTo>
                  <a:pt x="31" y="215"/>
                  <a:pt x="31" y="215"/>
                  <a:pt x="31" y="215"/>
                </a:cubicBezTo>
                <a:cubicBezTo>
                  <a:pt x="32" y="214"/>
                  <a:pt x="32" y="213"/>
                  <a:pt x="32" y="212"/>
                </a:cubicBezTo>
                <a:cubicBezTo>
                  <a:pt x="32" y="211"/>
                  <a:pt x="33" y="211"/>
                  <a:pt x="33" y="211"/>
                </a:cubicBezTo>
                <a:cubicBezTo>
                  <a:pt x="33" y="210"/>
                  <a:pt x="34" y="210"/>
                  <a:pt x="34" y="208"/>
                </a:cubicBezTo>
                <a:cubicBezTo>
                  <a:pt x="36" y="209"/>
                  <a:pt x="36" y="207"/>
                  <a:pt x="36" y="206"/>
                </a:cubicBezTo>
                <a:cubicBezTo>
                  <a:pt x="37" y="206"/>
                  <a:pt x="38" y="206"/>
                  <a:pt x="38" y="206"/>
                </a:cubicBezTo>
                <a:cubicBezTo>
                  <a:pt x="38" y="206"/>
                  <a:pt x="38" y="206"/>
                  <a:pt x="39" y="206"/>
                </a:cubicBezTo>
                <a:cubicBezTo>
                  <a:pt x="39" y="206"/>
                  <a:pt x="40" y="205"/>
                  <a:pt x="40" y="205"/>
                </a:cubicBezTo>
                <a:cubicBezTo>
                  <a:pt x="40" y="205"/>
                  <a:pt x="40" y="205"/>
                  <a:pt x="40" y="205"/>
                </a:cubicBezTo>
                <a:cubicBezTo>
                  <a:pt x="41" y="205"/>
                  <a:pt x="41" y="202"/>
                  <a:pt x="43" y="202"/>
                </a:cubicBezTo>
                <a:cubicBezTo>
                  <a:pt x="43" y="202"/>
                  <a:pt x="43" y="202"/>
                  <a:pt x="43" y="202"/>
                </a:cubicBezTo>
                <a:cubicBezTo>
                  <a:pt x="43" y="202"/>
                  <a:pt x="43" y="202"/>
                  <a:pt x="43" y="201"/>
                </a:cubicBezTo>
                <a:cubicBezTo>
                  <a:pt x="44" y="201"/>
                  <a:pt x="44" y="201"/>
                  <a:pt x="44" y="201"/>
                </a:cubicBezTo>
                <a:cubicBezTo>
                  <a:pt x="44" y="201"/>
                  <a:pt x="44" y="201"/>
                  <a:pt x="44" y="201"/>
                </a:cubicBezTo>
                <a:cubicBezTo>
                  <a:pt x="44" y="200"/>
                  <a:pt x="44" y="200"/>
                  <a:pt x="44" y="200"/>
                </a:cubicBezTo>
                <a:cubicBezTo>
                  <a:pt x="45" y="200"/>
                  <a:pt x="46" y="200"/>
                  <a:pt x="46" y="198"/>
                </a:cubicBezTo>
                <a:cubicBezTo>
                  <a:pt x="46" y="198"/>
                  <a:pt x="46" y="198"/>
                  <a:pt x="46" y="198"/>
                </a:cubicBezTo>
                <a:cubicBezTo>
                  <a:pt x="47" y="198"/>
                  <a:pt x="48" y="198"/>
                  <a:pt x="48" y="197"/>
                </a:cubicBezTo>
                <a:cubicBezTo>
                  <a:pt x="48" y="197"/>
                  <a:pt x="48" y="197"/>
                  <a:pt x="48" y="197"/>
                </a:cubicBezTo>
                <a:cubicBezTo>
                  <a:pt x="49" y="196"/>
                  <a:pt x="51" y="196"/>
                  <a:pt x="51" y="195"/>
                </a:cubicBezTo>
                <a:cubicBezTo>
                  <a:pt x="51" y="195"/>
                  <a:pt x="51" y="195"/>
                  <a:pt x="51" y="195"/>
                </a:cubicBezTo>
                <a:cubicBezTo>
                  <a:pt x="51" y="194"/>
                  <a:pt x="52" y="193"/>
                  <a:pt x="53" y="192"/>
                </a:cubicBezTo>
                <a:cubicBezTo>
                  <a:pt x="53" y="192"/>
                  <a:pt x="53" y="192"/>
                  <a:pt x="53" y="192"/>
                </a:cubicBezTo>
                <a:cubicBezTo>
                  <a:pt x="53" y="191"/>
                  <a:pt x="54" y="191"/>
                  <a:pt x="54" y="190"/>
                </a:cubicBezTo>
                <a:cubicBezTo>
                  <a:pt x="54" y="190"/>
                  <a:pt x="54" y="190"/>
                  <a:pt x="54" y="190"/>
                </a:cubicBezTo>
                <a:cubicBezTo>
                  <a:pt x="54" y="189"/>
                  <a:pt x="57" y="188"/>
                  <a:pt x="56" y="187"/>
                </a:cubicBezTo>
                <a:cubicBezTo>
                  <a:pt x="56" y="187"/>
                  <a:pt x="56" y="187"/>
                  <a:pt x="57" y="186"/>
                </a:cubicBezTo>
                <a:cubicBezTo>
                  <a:pt x="57" y="186"/>
                  <a:pt x="57" y="186"/>
                  <a:pt x="57" y="185"/>
                </a:cubicBezTo>
                <a:cubicBezTo>
                  <a:pt x="58" y="185"/>
                  <a:pt x="58" y="185"/>
                  <a:pt x="58" y="185"/>
                </a:cubicBezTo>
                <a:cubicBezTo>
                  <a:pt x="58" y="184"/>
                  <a:pt x="57" y="183"/>
                  <a:pt x="57" y="182"/>
                </a:cubicBezTo>
                <a:cubicBezTo>
                  <a:pt x="57" y="182"/>
                  <a:pt x="57" y="182"/>
                  <a:pt x="57" y="182"/>
                </a:cubicBezTo>
                <a:cubicBezTo>
                  <a:pt x="57" y="180"/>
                  <a:pt x="58" y="180"/>
                  <a:pt x="59" y="179"/>
                </a:cubicBezTo>
                <a:cubicBezTo>
                  <a:pt x="59" y="179"/>
                  <a:pt x="59" y="179"/>
                  <a:pt x="59" y="178"/>
                </a:cubicBezTo>
                <a:cubicBezTo>
                  <a:pt x="60" y="178"/>
                  <a:pt x="60" y="178"/>
                  <a:pt x="60" y="178"/>
                </a:cubicBezTo>
                <a:cubicBezTo>
                  <a:pt x="60" y="178"/>
                  <a:pt x="60" y="178"/>
                  <a:pt x="61" y="178"/>
                </a:cubicBezTo>
                <a:cubicBezTo>
                  <a:pt x="61" y="178"/>
                  <a:pt x="62" y="178"/>
                  <a:pt x="62" y="178"/>
                </a:cubicBezTo>
                <a:cubicBezTo>
                  <a:pt x="62" y="177"/>
                  <a:pt x="62" y="177"/>
                  <a:pt x="62" y="177"/>
                </a:cubicBezTo>
                <a:cubicBezTo>
                  <a:pt x="63" y="177"/>
                  <a:pt x="63" y="176"/>
                  <a:pt x="64" y="176"/>
                </a:cubicBezTo>
                <a:cubicBezTo>
                  <a:pt x="64" y="176"/>
                  <a:pt x="64" y="176"/>
                  <a:pt x="64" y="176"/>
                </a:cubicBezTo>
                <a:cubicBezTo>
                  <a:pt x="65" y="176"/>
                  <a:pt x="67" y="174"/>
                  <a:pt x="67" y="175"/>
                </a:cubicBezTo>
                <a:cubicBezTo>
                  <a:pt x="68" y="175"/>
                  <a:pt x="68" y="176"/>
                  <a:pt x="68" y="176"/>
                </a:cubicBezTo>
                <a:cubicBezTo>
                  <a:pt x="68" y="176"/>
                  <a:pt x="69" y="176"/>
                  <a:pt x="70" y="177"/>
                </a:cubicBezTo>
                <a:cubicBezTo>
                  <a:pt x="70" y="177"/>
                  <a:pt x="70" y="177"/>
                  <a:pt x="70" y="177"/>
                </a:cubicBezTo>
                <a:cubicBezTo>
                  <a:pt x="71" y="177"/>
                  <a:pt x="71" y="177"/>
                  <a:pt x="72" y="177"/>
                </a:cubicBezTo>
                <a:cubicBezTo>
                  <a:pt x="72" y="176"/>
                  <a:pt x="72" y="176"/>
                  <a:pt x="72" y="176"/>
                </a:cubicBezTo>
                <a:cubicBezTo>
                  <a:pt x="74" y="176"/>
                  <a:pt x="74" y="176"/>
                  <a:pt x="74" y="174"/>
                </a:cubicBezTo>
                <a:cubicBezTo>
                  <a:pt x="74" y="174"/>
                  <a:pt x="74" y="174"/>
                  <a:pt x="74" y="174"/>
                </a:cubicBezTo>
                <a:cubicBezTo>
                  <a:pt x="75" y="173"/>
                  <a:pt x="75" y="172"/>
                  <a:pt x="75" y="171"/>
                </a:cubicBezTo>
                <a:cubicBezTo>
                  <a:pt x="78" y="171"/>
                  <a:pt x="80" y="170"/>
                  <a:pt x="82" y="169"/>
                </a:cubicBezTo>
                <a:cubicBezTo>
                  <a:pt x="85" y="170"/>
                  <a:pt x="85" y="169"/>
                  <a:pt x="87" y="169"/>
                </a:cubicBezTo>
                <a:cubicBezTo>
                  <a:pt x="88" y="170"/>
                  <a:pt x="91" y="170"/>
                  <a:pt x="93" y="170"/>
                </a:cubicBezTo>
                <a:cubicBezTo>
                  <a:pt x="93" y="170"/>
                  <a:pt x="93" y="169"/>
                  <a:pt x="93" y="169"/>
                </a:cubicBezTo>
                <a:cubicBezTo>
                  <a:pt x="93" y="168"/>
                  <a:pt x="93" y="168"/>
                  <a:pt x="94" y="169"/>
                </a:cubicBezTo>
                <a:cubicBezTo>
                  <a:pt x="94" y="170"/>
                  <a:pt x="95" y="170"/>
                  <a:pt x="97" y="170"/>
                </a:cubicBezTo>
                <a:cubicBezTo>
                  <a:pt x="98" y="170"/>
                  <a:pt x="98" y="167"/>
                  <a:pt x="99" y="167"/>
                </a:cubicBezTo>
                <a:cubicBezTo>
                  <a:pt x="99" y="169"/>
                  <a:pt x="102" y="169"/>
                  <a:pt x="104" y="169"/>
                </a:cubicBezTo>
                <a:cubicBezTo>
                  <a:pt x="104" y="167"/>
                  <a:pt x="106" y="167"/>
                  <a:pt x="107" y="167"/>
                </a:cubicBezTo>
                <a:cubicBezTo>
                  <a:pt x="106" y="163"/>
                  <a:pt x="108" y="162"/>
                  <a:pt x="107" y="158"/>
                </a:cubicBezTo>
                <a:cubicBezTo>
                  <a:pt x="108" y="158"/>
                  <a:pt x="108" y="158"/>
                  <a:pt x="108" y="158"/>
                </a:cubicBezTo>
                <a:cubicBezTo>
                  <a:pt x="108" y="158"/>
                  <a:pt x="108" y="158"/>
                  <a:pt x="108" y="158"/>
                </a:cubicBezTo>
                <a:cubicBezTo>
                  <a:pt x="108" y="157"/>
                  <a:pt x="110" y="157"/>
                  <a:pt x="109" y="155"/>
                </a:cubicBezTo>
                <a:cubicBezTo>
                  <a:pt x="109" y="155"/>
                  <a:pt x="109" y="155"/>
                  <a:pt x="109" y="155"/>
                </a:cubicBezTo>
                <a:cubicBezTo>
                  <a:pt x="110" y="155"/>
                  <a:pt x="110" y="154"/>
                  <a:pt x="110" y="153"/>
                </a:cubicBezTo>
                <a:cubicBezTo>
                  <a:pt x="107" y="153"/>
                  <a:pt x="107" y="154"/>
                  <a:pt x="105" y="154"/>
                </a:cubicBezTo>
                <a:cubicBezTo>
                  <a:pt x="103" y="154"/>
                  <a:pt x="103" y="154"/>
                  <a:pt x="102" y="153"/>
                </a:cubicBezTo>
                <a:cubicBezTo>
                  <a:pt x="98" y="154"/>
                  <a:pt x="96" y="152"/>
                  <a:pt x="92" y="153"/>
                </a:cubicBezTo>
                <a:cubicBezTo>
                  <a:pt x="92" y="152"/>
                  <a:pt x="90" y="152"/>
                  <a:pt x="89" y="152"/>
                </a:cubicBezTo>
                <a:cubicBezTo>
                  <a:pt x="89" y="151"/>
                  <a:pt x="88" y="151"/>
                  <a:pt x="88" y="151"/>
                </a:cubicBezTo>
                <a:cubicBezTo>
                  <a:pt x="85" y="151"/>
                  <a:pt x="84" y="150"/>
                  <a:pt x="82" y="150"/>
                </a:cubicBezTo>
                <a:cubicBezTo>
                  <a:pt x="82" y="149"/>
                  <a:pt x="81" y="149"/>
                  <a:pt x="80" y="149"/>
                </a:cubicBezTo>
                <a:cubicBezTo>
                  <a:pt x="80" y="149"/>
                  <a:pt x="80" y="148"/>
                  <a:pt x="80" y="148"/>
                </a:cubicBezTo>
                <a:cubicBezTo>
                  <a:pt x="78" y="149"/>
                  <a:pt x="78" y="148"/>
                  <a:pt x="77" y="148"/>
                </a:cubicBezTo>
                <a:cubicBezTo>
                  <a:pt x="77" y="147"/>
                  <a:pt x="76" y="147"/>
                  <a:pt x="75" y="147"/>
                </a:cubicBezTo>
                <a:cubicBezTo>
                  <a:pt x="75" y="146"/>
                  <a:pt x="74" y="144"/>
                  <a:pt x="73" y="143"/>
                </a:cubicBezTo>
                <a:cubicBezTo>
                  <a:pt x="72" y="143"/>
                  <a:pt x="72" y="143"/>
                  <a:pt x="72" y="142"/>
                </a:cubicBezTo>
                <a:cubicBezTo>
                  <a:pt x="72" y="142"/>
                  <a:pt x="71" y="142"/>
                  <a:pt x="71" y="141"/>
                </a:cubicBezTo>
                <a:cubicBezTo>
                  <a:pt x="71" y="141"/>
                  <a:pt x="70" y="141"/>
                  <a:pt x="71" y="140"/>
                </a:cubicBezTo>
                <a:cubicBezTo>
                  <a:pt x="70" y="140"/>
                  <a:pt x="70" y="138"/>
                  <a:pt x="69" y="138"/>
                </a:cubicBezTo>
                <a:cubicBezTo>
                  <a:pt x="69" y="137"/>
                  <a:pt x="69" y="136"/>
                  <a:pt x="68" y="136"/>
                </a:cubicBezTo>
                <a:cubicBezTo>
                  <a:pt x="68" y="134"/>
                  <a:pt x="71" y="136"/>
                  <a:pt x="70" y="134"/>
                </a:cubicBezTo>
                <a:cubicBezTo>
                  <a:pt x="69" y="134"/>
                  <a:pt x="69" y="134"/>
                  <a:pt x="69" y="133"/>
                </a:cubicBezTo>
                <a:cubicBezTo>
                  <a:pt x="69" y="131"/>
                  <a:pt x="69" y="130"/>
                  <a:pt x="68" y="130"/>
                </a:cubicBezTo>
                <a:cubicBezTo>
                  <a:pt x="67" y="130"/>
                  <a:pt x="66" y="130"/>
                  <a:pt x="66" y="131"/>
                </a:cubicBezTo>
                <a:cubicBezTo>
                  <a:pt x="65" y="132"/>
                  <a:pt x="64" y="131"/>
                  <a:pt x="64" y="132"/>
                </a:cubicBezTo>
                <a:cubicBezTo>
                  <a:pt x="63" y="132"/>
                  <a:pt x="62" y="132"/>
                  <a:pt x="62" y="133"/>
                </a:cubicBezTo>
                <a:cubicBezTo>
                  <a:pt x="60" y="133"/>
                  <a:pt x="59" y="133"/>
                  <a:pt x="58" y="133"/>
                </a:cubicBezTo>
                <a:cubicBezTo>
                  <a:pt x="57" y="134"/>
                  <a:pt x="56" y="134"/>
                  <a:pt x="55" y="135"/>
                </a:cubicBezTo>
                <a:cubicBezTo>
                  <a:pt x="55" y="136"/>
                  <a:pt x="54" y="136"/>
                  <a:pt x="53" y="137"/>
                </a:cubicBezTo>
                <a:cubicBezTo>
                  <a:pt x="50" y="137"/>
                  <a:pt x="48" y="135"/>
                  <a:pt x="45" y="135"/>
                </a:cubicBezTo>
                <a:cubicBezTo>
                  <a:pt x="45" y="134"/>
                  <a:pt x="44" y="134"/>
                  <a:pt x="43" y="134"/>
                </a:cubicBezTo>
                <a:cubicBezTo>
                  <a:pt x="44" y="131"/>
                  <a:pt x="41" y="132"/>
                  <a:pt x="41" y="130"/>
                </a:cubicBezTo>
                <a:cubicBezTo>
                  <a:pt x="39" y="131"/>
                  <a:pt x="36" y="131"/>
                  <a:pt x="35" y="132"/>
                </a:cubicBezTo>
                <a:cubicBezTo>
                  <a:pt x="35" y="135"/>
                  <a:pt x="31" y="135"/>
                  <a:pt x="31" y="138"/>
                </a:cubicBezTo>
                <a:cubicBezTo>
                  <a:pt x="27" y="137"/>
                  <a:pt x="26" y="140"/>
                  <a:pt x="23" y="140"/>
                </a:cubicBezTo>
                <a:cubicBezTo>
                  <a:pt x="23" y="139"/>
                  <a:pt x="23" y="139"/>
                  <a:pt x="23" y="139"/>
                </a:cubicBezTo>
                <a:cubicBezTo>
                  <a:pt x="22" y="139"/>
                  <a:pt x="22" y="140"/>
                  <a:pt x="22" y="140"/>
                </a:cubicBezTo>
                <a:cubicBezTo>
                  <a:pt x="22" y="141"/>
                  <a:pt x="21" y="141"/>
                  <a:pt x="20" y="141"/>
                </a:cubicBezTo>
                <a:cubicBezTo>
                  <a:pt x="21" y="142"/>
                  <a:pt x="20" y="142"/>
                  <a:pt x="20" y="142"/>
                </a:cubicBezTo>
                <a:cubicBezTo>
                  <a:pt x="19" y="144"/>
                  <a:pt x="21" y="147"/>
                  <a:pt x="19" y="147"/>
                </a:cubicBezTo>
                <a:cubicBezTo>
                  <a:pt x="18" y="147"/>
                  <a:pt x="18" y="147"/>
                  <a:pt x="18" y="148"/>
                </a:cubicBezTo>
                <a:cubicBezTo>
                  <a:pt x="18" y="148"/>
                  <a:pt x="18" y="148"/>
                  <a:pt x="18" y="148"/>
                </a:cubicBezTo>
                <a:cubicBezTo>
                  <a:pt x="16" y="149"/>
                  <a:pt x="15" y="150"/>
                  <a:pt x="16" y="153"/>
                </a:cubicBezTo>
                <a:cubicBezTo>
                  <a:pt x="18" y="153"/>
                  <a:pt x="18" y="153"/>
                  <a:pt x="18" y="153"/>
                </a:cubicBezTo>
                <a:cubicBezTo>
                  <a:pt x="19" y="153"/>
                  <a:pt x="19" y="153"/>
                  <a:pt x="19" y="153"/>
                </a:cubicBezTo>
                <a:cubicBezTo>
                  <a:pt x="20" y="154"/>
                  <a:pt x="20" y="156"/>
                  <a:pt x="21" y="157"/>
                </a:cubicBezTo>
                <a:cubicBezTo>
                  <a:pt x="21" y="157"/>
                  <a:pt x="21" y="158"/>
                  <a:pt x="22" y="158"/>
                </a:cubicBezTo>
                <a:cubicBezTo>
                  <a:pt x="22" y="159"/>
                  <a:pt x="21" y="160"/>
                  <a:pt x="21" y="160"/>
                </a:cubicBezTo>
                <a:cubicBezTo>
                  <a:pt x="22" y="160"/>
                  <a:pt x="23" y="162"/>
                  <a:pt x="23" y="163"/>
                </a:cubicBezTo>
                <a:cubicBezTo>
                  <a:pt x="23" y="163"/>
                  <a:pt x="24" y="165"/>
                  <a:pt x="24" y="165"/>
                </a:cubicBezTo>
                <a:cubicBezTo>
                  <a:pt x="24" y="166"/>
                  <a:pt x="24" y="166"/>
                  <a:pt x="24" y="167"/>
                </a:cubicBezTo>
                <a:cubicBezTo>
                  <a:pt x="24" y="167"/>
                  <a:pt x="24" y="167"/>
                  <a:pt x="23" y="167"/>
                </a:cubicBezTo>
                <a:cubicBezTo>
                  <a:pt x="23" y="169"/>
                  <a:pt x="21" y="168"/>
                  <a:pt x="22" y="170"/>
                </a:cubicBezTo>
                <a:cubicBezTo>
                  <a:pt x="20" y="170"/>
                  <a:pt x="20" y="172"/>
                  <a:pt x="18" y="171"/>
                </a:cubicBezTo>
                <a:cubicBezTo>
                  <a:pt x="18" y="172"/>
                  <a:pt x="17" y="172"/>
                  <a:pt x="17" y="173"/>
                </a:cubicBezTo>
                <a:cubicBezTo>
                  <a:pt x="16" y="173"/>
                  <a:pt x="16" y="174"/>
                  <a:pt x="16" y="174"/>
                </a:cubicBezTo>
                <a:cubicBezTo>
                  <a:pt x="15" y="178"/>
                  <a:pt x="17" y="179"/>
                  <a:pt x="17" y="182"/>
                </a:cubicBezTo>
                <a:cubicBezTo>
                  <a:pt x="17" y="182"/>
                  <a:pt x="18" y="182"/>
                  <a:pt x="17" y="183"/>
                </a:cubicBezTo>
                <a:cubicBezTo>
                  <a:pt x="17" y="188"/>
                  <a:pt x="17" y="188"/>
                  <a:pt x="17" y="188"/>
                </a:cubicBezTo>
                <a:cubicBezTo>
                  <a:pt x="17" y="190"/>
                  <a:pt x="15" y="190"/>
                  <a:pt x="15" y="191"/>
                </a:cubicBezTo>
                <a:cubicBezTo>
                  <a:pt x="13" y="192"/>
                  <a:pt x="13" y="194"/>
                  <a:pt x="12" y="195"/>
                </a:cubicBezTo>
                <a:cubicBezTo>
                  <a:pt x="11" y="195"/>
                  <a:pt x="11" y="197"/>
                  <a:pt x="11" y="197"/>
                </a:cubicBezTo>
                <a:cubicBezTo>
                  <a:pt x="10" y="198"/>
                  <a:pt x="10" y="199"/>
                  <a:pt x="9" y="199"/>
                </a:cubicBezTo>
                <a:cubicBezTo>
                  <a:pt x="9" y="201"/>
                  <a:pt x="10" y="202"/>
                  <a:pt x="10" y="204"/>
                </a:cubicBezTo>
                <a:close/>
                <a:moveTo>
                  <a:pt x="94" y="190"/>
                </a:moveTo>
                <a:cubicBezTo>
                  <a:pt x="96" y="189"/>
                  <a:pt x="96" y="191"/>
                  <a:pt x="97" y="192"/>
                </a:cubicBezTo>
                <a:cubicBezTo>
                  <a:pt x="97" y="191"/>
                  <a:pt x="98" y="191"/>
                  <a:pt x="98" y="190"/>
                </a:cubicBezTo>
                <a:cubicBezTo>
                  <a:pt x="98" y="189"/>
                  <a:pt x="97" y="189"/>
                  <a:pt x="97" y="188"/>
                </a:cubicBezTo>
                <a:cubicBezTo>
                  <a:pt x="95" y="188"/>
                  <a:pt x="94" y="188"/>
                  <a:pt x="94" y="190"/>
                </a:cubicBezTo>
                <a:close/>
                <a:moveTo>
                  <a:pt x="114" y="173"/>
                </a:moveTo>
                <a:cubicBezTo>
                  <a:pt x="115" y="171"/>
                  <a:pt x="113" y="171"/>
                  <a:pt x="112" y="171"/>
                </a:cubicBezTo>
                <a:cubicBezTo>
                  <a:pt x="111" y="173"/>
                  <a:pt x="113" y="173"/>
                  <a:pt x="114" y="173"/>
                </a:cubicBezTo>
                <a:close/>
                <a:moveTo>
                  <a:pt x="109" y="366"/>
                </a:moveTo>
                <a:cubicBezTo>
                  <a:pt x="110" y="366"/>
                  <a:pt x="110" y="366"/>
                  <a:pt x="110" y="366"/>
                </a:cubicBezTo>
                <a:cubicBezTo>
                  <a:pt x="110" y="365"/>
                  <a:pt x="110" y="365"/>
                  <a:pt x="110" y="365"/>
                </a:cubicBezTo>
                <a:cubicBezTo>
                  <a:pt x="111" y="364"/>
                  <a:pt x="111" y="363"/>
                  <a:pt x="110" y="363"/>
                </a:cubicBezTo>
                <a:cubicBezTo>
                  <a:pt x="109" y="364"/>
                  <a:pt x="110" y="364"/>
                  <a:pt x="109" y="364"/>
                </a:cubicBezTo>
                <a:cubicBezTo>
                  <a:pt x="109" y="363"/>
                  <a:pt x="108" y="363"/>
                  <a:pt x="106" y="363"/>
                </a:cubicBezTo>
                <a:cubicBezTo>
                  <a:pt x="106" y="365"/>
                  <a:pt x="104" y="363"/>
                  <a:pt x="103" y="364"/>
                </a:cubicBezTo>
                <a:cubicBezTo>
                  <a:pt x="103" y="364"/>
                  <a:pt x="102" y="364"/>
                  <a:pt x="102" y="364"/>
                </a:cubicBezTo>
                <a:cubicBezTo>
                  <a:pt x="102" y="364"/>
                  <a:pt x="102" y="364"/>
                  <a:pt x="102" y="364"/>
                </a:cubicBezTo>
                <a:cubicBezTo>
                  <a:pt x="101" y="364"/>
                  <a:pt x="101" y="364"/>
                  <a:pt x="100" y="364"/>
                </a:cubicBezTo>
                <a:cubicBezTo>
                  <a:pt x="100" y="365"/>
                  <a:pt x="100" y="365"/>
                  <a:pt x="100" y="365"/>
                </a:cubicBezTo>
                <a:cubicBezTo>
                  <a:pt x="100" y="366"/>
                  <a:pt x="97" y="364"/>
                  <a:pt x="97" y="366"/>
                </a:cubicBezTo>
                <a:cubicBezTo>
                  <a:pt x="97" y="366"/>
                  <a:pt x="97" y="366"/>
                  <a:pt x="97" y="366"/>
                </a:cubicBezTo>
                <a:cubicBezTo>
                  <a:pt x="96" y="366"/>
                  <a:pt x="96" y="366"/>
                  <a:pt x="95" y="366"/>
                </a:cubicBezTo>
                <a:cubicBezTo>
                  <a:pt x="95" y="366"/>
                  <a:pt x="95" y="367"/>
                  <a:pt x="95" y="367"/>
                </a:cubicBezTo>
                <a:cubicBezTo>
                  <a:pt x="94" y="367"/>
                  <a:pt x="94" y="368"/>
                  <a:pt x="93" y="368"/>
                </a:cubicBezTo>
                <a:cubicBezTo>
                  <a:pt x="93" y="368"/>
                  <a:pt x="92" y="369"/>
                  <a:pt x="92" y="369"/>
                </a:cubicBezTo>
                <a:cubicBezTo>
                  <a:pt x="91" y="368"/>
                  <a:pt x="90" y="370"/>
                  <a:pt x="89" y="369"/>
                </a:cubicBezTo>
                <a:cubicBezTo>
                  <a:pt x="89" y="369"/>
                  <a:pt x="89" y="369"/>
                  <a:pt x="88" y="369"/>
                </a:cubicBezTo>
                <a:cubicBezTo>
                  <a:pt x="88" y="369"/>
                  <a:pt x="88" y="369"/>
                  <a:pt x="88" y="370"/>
                </a:cubicBezTo>
                <a:cubicBezTo>
                  <a:pt x="89" y="370"/>
                  <a:pt x="88" y="371"/>
                  <a:pt x="87" y="371"/>
                </a:cubicBezTo>
                <a:cubicBezTo>
                  <a:pt x="87" y="372"/>
                  <a:pt x="87" y="372"/>
                  <a:pt x="87" y="373"/>
                </a:cubicBezTo>
                <a:cubicBezTo>
                  <a:pt x="87" y="373"/>
                  <a:pt x="86" y="373"/>
                  <a:pt x="86" y="374"/>
                </a:cubicBezTo>
                <a:cubicBezTo>
                  <a:pt x="88" y="374"/>
                  <a:pt x="90" y="375"/>
                  <a:pt x="92" y="375"/>
                </a:cubicBezTo>
                <a:cubicBezTo>
                  <a:pt x="94" y="374"/>
                  <a:pt x="95" y="373"/>
                  <a:pt x="97" y="372"/>
                </a:cubicBezTo>
                <a:cubicBezTo>
                  <a:pt x="98" y="372"/>
                  <a:pt x="98" y="372"/>
                  <a:pt x="98" y="372"/>
                </a:cubicBezTo>
                <a:cubicBezTo>
                  <a:pt x="101" y="373"/>
                  <a:pt x="100" y="371"/>
                  <a:pt x="100" y="369"/>
                </a:cubicBezTo>
                <a:cubicBezTo>
                  <a:pt x="100" y="369"/>
                  <a:pt x="100" y="369"/>
                  <a:pt x="100" y="369"/>
                </a:cubicBezTo>
                <a:cubicBezTo>
                  <a:pt x="101" y="369"/>
                  <a:pt x="101" y="368"/>
                  <a:pt x="102" y="368"/>
                </a:cubicBezTo>
                <a:cubicBezTo>
                  <a:pt x="102" y="368"/>
                  <a:pt x="102" y="368"/>
                  <a:pt x="102" y="368"/>
                </a:cubicBezTo>
                <a:cubicBezTo>
                  <a:pt x="103" y="367"/>
                  <a:pt x="105" y="367"/>
                  <a:pt x="106" y="367"/>
                </a:cubicBezTo>
                <a:cubicBezTo>
                  <a:pt x="106" y="367"/>
                  <a:pt x="106" y="367"/>
                  <a:pt x="106" y="367"/>
                </a:cubicBezTo>
                <a:cubicBezTo>
                  <a:pt x="108" y="366"/>
                  <a:pt x="108" y="365"/>
                  <a:pt x="109" y="366"/>
                </a:cubicBezTo>
                <a:close/>
                <a:moveTo>
                  <a:pt x="40" y="259"/>
                </a:moveTo>
                <a:cubicBezTo>
                  <a:pt x="40" y="258"/>
                  <a:pt x="40" y="257"/>
                  <a:pt x="40" y="256"/>
                </a:cubicBezTo>
                <a:cubicBezTo>
                  <a:pt x="39" y="256"/>
                  <a:pt x="39" y="256"/>
                  <a:pt x="38" y="256"/>
                </a:cubicBezTo>
                <a:cubicBezTo>
                  <a:pt x="38" y="258"/>
                  <a:pt x="38" y="259"/>
                  <a:pt x="40" y="259"/>
                </a:cubicBezTo>
                <a:close/>
                <a:moveTo>
                  <a:pt x="176" y="380"/>
                </a:moveTo>
                <a:cubicBezTo>
                  <a:pt x="176" y="382"/>
                  <a:pt x="174" y="382"/>
                  <a:pt x="176" y="383"/>
                </a:cubicBezTo>
                <a:cubicBezTo>
                  <a:pt x="177" y="382"/>
                  <a:pt x="178" y="379"/>
                  <a:pt x="176" y="380"/>
                </a:cubicBezTo>
                <a:close/>
                <a:moveTo>
                  <a:pt x="691" y="161"/>
                </a:moveTo>
                <a:cubicBezTo>
                  <a:pt x="690" y="161"/>
                  <a:pt x="688" y="160"/>
                  <a:pt x="686" y="160"/>
                </a:cubicBezTo>
                <a:cubicBezTo>
                  <a:pt x="684" y="159"/>
                  <a:pt x="683" y="159"/>
                  <a:pt x="682" y="156"/>
                </a:cubicBezTo>
                <a:cubicBezTo>
                  <a:pt x="681" y="154"/>
                  <a:pt x="681" y="152"/>
                  <a:pt x="680" y="149"/>
                </a:cubicBezTo>
                <a:cubicBezTo>
                  <a:pt x="679" y="146"/>
                  <a:pt x="679" y="148"/>
                  <a:pt x="676" y="148"/>
                </a:cubicBezTo>
                <a:cubicBezTo>
                  <a:pt x="673" y="148"/>
                  <a:pt x="674" y="146"/>
                  <a:pt x="671" y="145"/>
                </a:cubicBezTo>
                <a:cubicBezTo>
                  <a:pt x="670" y="145"/>
                  <a:pt x="669" y="146"/>
                  <a:pt x="667" y="145"/>
                </a:cubicBezTo>
                <a:cubicBezTo>
                  <a:pt x="665" y="144"/>
                  <a:pt x="664" y="142"/>
                  <a:pt x="663" y="141"/>
                </a:cubicBezTo>
                <a:cubicBezTo>
                  <a:pt x="663" y="141"/>
                  <a:pt x="663" y="141"/>
                  <a:pt x="663" y="140"/>
                </a:cubicBezTo>
                <a:cubicBezTo>
                  <a:pt x="663" y="139"/>
                  <a:pt x="662" y="139"/>
                  <a:pt x="663" y="137"/>
                </a:cubicBezTo>
                <a:cubicBezTo>
                  <a:pt x="663" y="136"/>
                  <a:pt x="664" y="135"/>
                  <a:pt x="664" y="134"/>
                </a:cubicBezTo>
                <a:cubicBezTo>
                  <a:pt x="665" y="132"/>
                  <a:pt x="663" y="130"/>
                  <a:pt x="664" y="128"/>
                </a:cubicBezTo>
                <a:cubicBezTo>
                  <a:pt x="665" y="126"/>
                  <a:pt x="667" y="123"/>
                  <a:pt x="664" y="123"/>
                </a:cubicBezTo>
                <a:cubicBezTo>
                  <a:pt x="662" y="122"/>
                  <a:pt x="660" y="124"/>
                  <a:pt x="659" y="122"/>
                </a:cubicBezTo>
                <a:cubicBezTo>
                  <a:pt x="658" y="121"/>
                  <a:pt x="658" y="120"/>
                  <a:pt x="657" y="119"/>
                </a:cubicBezTo>
                <a:cubicBezTo>
                  <a:pt x="657" y="117"/>
                  <a:pt x="657" y="115"/>
                  <a:pt x="655" y="114"/>
                </a:cubicBezTo>
                <a:cubicBezTo>
                  <a:pt x="653" y="112"/>
                  <a:pt x="652" y="111"/>
                  <a:pt x="651" y="108"/>
                </a:cubicBezTo>
                <a:cubicBezTo>
                  <a:pt x="651" y="106"/>
                  <a:pt x="650" y="105"/>
                  <a:pt x="648" y="104"/>
                </a:cubicBezTo>
                <a:cubicBezTo>
                  <a:pt x="644" y="102"/>
                  <a:pt x="644" y="98"/>
                  <a:pt x="643" y="94"/>
                </a:cubicBezTo>
                <a:cubicBezTo>
                  <a:pt x="642" y="92"/>
                  <a:pt x="642" y="92"/>
                  <a:pt x="639" y="91"/>
                </a:cubicBezTo>
                <a:cubicBezTo>
                  <a:pt x="637" y="91"/>
                  <a:pt x="636" y="90"/>
                  <a:pt x="635" y="88"/>
                </a:cubicBezTo>
                <a:cubicBezTo>
                  <a:pt x="634" y="86"/>
                  <a:pt x="634" y="83"/>
                  <a:pt x="633" y="82"/>
                </a:cubicBezTo>
                <a:cubicBezTo>
                  <a:pt x="632" y="81"/>
                  <a:pt x="632" y="81"/>
                  <a:pt x="631" y="81"/>
                </a:cubicBezTo>
                <a:cubicBezTo>
                  <a:pt x="631" y="81"/>
                  <a:pt x="632" y="80"/>
                  <a:pt x="633" y="79"/>
                </a:cubicBezTo>
                <a:cubicBezTo>
                  <a:pt x="635" y="77"/>
                  <a:pt x="638" y="77"/>
                  <a:pt x="640" y="75"/>
                </a:cubicBezTo>
                <a:cubicBezTo>
                  <a:pt x="643" y="73"/>
                  <a:pt x="642" y="68"/>
                  <a:pt x="641" y="64"/>
                </a:cubicBezTo>
                <a:cubicBezTo>
                  <a:pt x="641" y="63"/>
                  <a:pt x="642" y="62"/>
                  <a:pt x="642" y="61"/>
                </a:cubicBezTo>
                <a:cubicBezTo>
                  <a:pt x="643" y="58"/>
                  <a:pt x="642" y="57"/>
                  <a:pt x="645" y="56"/>
                </a:cubicBezTo>
                <a:cubicBezTo>
                  <a:pt x="645" y="54"/>
                  <a:pt x="637" y="52"/>
                  <a:pt x="634" y="51"/>
                </a:cubicBezTo>
                <a:cubicBezTo>
                  <a:pt x="630" y="50"/>
                  <a:pt x="627" y="55"/>
                  <a:pt x="622" y="56"/>
                </a:cubicBezTo>
                <a:cubicBezTo>
                  <a:pt x="619" y="57"/>
                  <a:pt x="614" y="58"/>
                  <a:pt x="610" y="57"/>
                </a:cubicBezTo>
                <a:cubicBezTo>
                  <a:pt x="609" y="57"/>
                  <a:pt x="607" y="57"/>
                  <a:pt x="606" y="56"/>
                </a:cubicBezTo>
                <a:cubicBezTo>
                  <a:pt x="606" y="56"/>
                  <a:pt x="606" y="56"/>
                  <a:pt x="607" y="55"/>
                </a:cubicBezTo>
                <a:cubicBezTo>
                  <a:pt x="607" y="55"/>
                  <a:pt x="606" y="53"/>
                  <a:pt x="606" y="52"/>
                </a:cubicBezTo>
                <a:cubicBezTo>
                  <a:pt x="604" y="52"/>
                  <a:pt x="602" y="49"/>
                  <a:pt x="602" y="47"/>
                </a:cubicBezTo>
                <a:cubicBezTo>
                  <a:pt x="602" y="47"/>
                  <a:pt x="602" y="46"/>
                  <a:pt x="602" y="46"/>
                </a:cubicBezTo>
                <a:cubicBezTo>
                  <a:pt x="601" y="46"/>
                  <a:pt x="601" y="45"/>
                  <a:pt x="601" y="45"/>
                </a:cubicBezTo>
                <a:cubicBezTo>
                  <a:pt x="601" y="43"/>
                  <a:pt x="601" y="44"/>
                  <a:pt x="599" y="43"/>
                </a:cubicBezTo>
                <a:cubicBezTo>
                  <a:pt x="598" y="42"/>
                  <a:pt x="596" y="40"/>
                  <a:pt x="597" y="38"/>
                </a:cubicBezTo>
                <a:cubicBezTo>
                  <a:pt x="597" y="35"/>
                  <a:pt x="600" y="34"/>
                  <a:pt x="600" y="32"/>
                </a:cubicBezTo>
                <a:cubicBezTo>
                  <a:pt x="601" y="30"/>
                  <a:pt x="600" y="27"/>
                  <a:pt x="599" y="26"/>
                </a:cubicBezTo>
                <a:cubicBezTo>
                  <a:pt x="599" y="25"/>
                  <a:pt x="598" y="25"/>
                  <a:pt x="597" y="24"/>
                </a:cubicBezTo>
                <a:cubicBezTo>
                  <a:pt x="595" y="23"/>
                  <a:pt x="595" y="22"/>
                  <a:pt x="595" y="21"/>
                </a:cubicBezTo>
                <a:cubicBezTo>
                  <a:pt x="593" y="19"/>
                  <a:pt x="590" y="19"/>
                  <a:pt x="587" y="19"/>
                </a:cubicBezTo>
                <a:cubicBezTo>
                  <a:pt x="587" y="17"/>
                  <a:pt x="585" y="16"/>
                  <a:pt x="584" y="13"/>
                </a:cubicBezTo>
                <a:cubicBezTo>
                  <a:pt x="584" y="13"/>
                  <a:pt x="585" y="12"/>
                  <a:pt x="585" y="11"/>
                </a:cubicBezTo>
                <a:cubicBezTo>
                  <a:pt x="585" y="10"/>
                  <a:pt x="583" y="11"/>
                  <a:pt x="582" y="11"/>
                </a:cubicBezTo>
                <a:cubicBezTo>
                  <a:pt x="581" y="12"/>
                  <a:pt x="580" y="13"/>
                  <a:pt x="579" y="13"/>
                </a:cubicBezTo>
                <a:cubicBezTo>
                  <a:pt x="578" y="13"/>
                  <a:pt x="577" y="11"/>
                  <a:pt x="575" y="11"/>
                </a:cubicBezTo>
                <a:cubicBezTo>
                  <a:pt x="574" y="11"/>
                  <a:pt x="574" y="12"/>
                  <a:pt x="573" y="11"/>
                </a:cubicBezTo>
                <a:cubicBezTo>
                  <a:pt x="573" y="11"/>
                  <a:pt x="572" y="10"/>
                  <a:pt x="572" y="9"/>
                </a:cubicBezTo>
                <a:cubicBezTo>
                  <a:pt x="571" y="8"/>
                  <a:pt x="571" y="7"/>
                  <a:pt x="569" y="8"/>
                </a:cubicBezTo>
                <a:cubicBezTo>
                  <a:pt x="569" y="8"/>
                  <a:pt x="568" y="8"/>
                  <a:pt x="568" y="8"/>
                </a:cubicBezTo>
                <a:cubicBezTo>
                  <a:pt x="566" y="8"/>
                  <a:pt x="566" y="8"/>
                  <a:pt x="566" y="6"/>
                </a:cubicBezTo>
                <a:cubicBezTo>
                  <a:pt x="565" y="5"/>
                  <a:pt x="563" y="4"/>
                  <a:pt x="562" y="4"/>
                </a:cubicBezTo>
                <a:cubicBezTo>
                  <a:pt x="561" y="4"/>
                  <a:pt x="559" y="4"/>
                  <a:pt x="558" y="4"/>
                </a:cubicBezTo>
                <a:cubicBezTo>
                  <a:pt x="556" y="3"/>
                  <a:pt x="555" y="1"/>
                  <a:pt x="554" y="0"/>
                </a:cubicBezTo>
                <a:cubicBezTo>
                  <a:pt x="553" y="1"/>
                  <a:pt x="552" y="1"/>
                  <a:pt x="552" y="2"/>
                </a:cubicBezTo>
                <a:cubicBezTo>
                  <a:pt x="552" y="2"/>
                  <a:pt x="552" y="2"/>
                  <a:pt x="552" y="2"/>
                </a:cubicBezTo>
                <a:cubicBezTo>
                  <a:pt x="551" y="4"/>
                  <a:pt x="552" y="6"/>
                  <a:pt x="551" y="8"/>
                </a:cubicBezTo>
                <a:cubicBezTo>
                  <a:pt x="550" y="9"/>
                  <a:pt x="550" y="10"/>
                  <a:pt x="550" y="11"/>
                </a:cubicBezTo>
                <a:cubicBezTo>
                  <a:pt x="550" y="12"/>
                  <a:pt x="549" y="12"/>
                  <a:pt x="549" y="12"/>
                </a:cubicBezTo>
                <a:cubicBezTo>
                  <a:pt x="548" y="12"/>
                  <a:pt x="546" y="12"/>
                  <a:pt x="545" y="12"/>
                </a:cubicBezTo>
                <a:cubicBezTo>
                  <a:pt x="543" y="12"/>
                  <a:pt x="542" y="12"/>
                  <a:pt x="541" y="12"/>
                </a:cubicBezTo>
                <a:cubicBezTo>
                  <a:pt x="540" y="12"/>
                  <a:pt x="540" y="12"/>
                  <a:pt x="539" y="12"/>
                </a:cubicBezTo>
                <a:cubicBezTo>
                  <a:pt x="538" y="13"/>
                  <a:pt x="537" y="13"/>
                  <a:pt x="537" y="13"/>
                </a:cubicBezTo>
                <a:cubicBezTo>
                  <a:pt x="535" y="13"/>
                  <a:pt x="534" y="14"/>
                  <a:pt x="533" y="15"/>
                </a:cubicBezTo>
                <a:cubicBezTo>
                  <a:pt x="532" y="15"/>
                  <a:pt x="531" y="15"/>
                  <a:pt x="530" y="16"/>
                </a:cubicBezTo>
                <a:cubicBezTo>
                  <a:pt x="528" y="17"/>
                  <a:pt x="528" y="19"/>
                  <a:pt x="527" y="20"/>
                </a:cubicBezTo>
                <a:cubicBezTo>
                  <a:pt x="526" y="21"/>
                  <a:pt x="524" y="21"/>
                  <a:pt x="523" y="21"/>
                </a:cubicBezTo>
                <a:cubicBezTo>
                  <a:pt x="521" y="21"/>
                  <a:pt x="518" y="20"/>
                  <a:pt x="516" y="21"/>
                </a:cubicBezTo>
                <a:cubicBezTo>
                  <a:pt x="515" y="21"/>
                  <a:pt x="515" y="21"/>
                  <a:pt x="515" y="21"/>
                </a:cubicBezTo>
                <a:cubicBezTo>
                  <a:pt x="515" y="21"/>
                  <a:pt x="515" y="21"/>
                  <a:pt x="515" y="21"/>
                </a:cubicBezTo>
                <a:cubicBezTo>
                  <a:pt x="513" y="22"/>
                  <a:pt x="513" y="25"/>
                  <a:pt x="512" y="26"/>
                </a:cubicBezTo>
                <a:cubicBezTo>
                  <a:pt x="511" y="28"/>
                  <a:pt x="510" y="29"/>
                  <a:pt x="509" y="30"/>
                </a:cubicBezTo>
                <a:cubicBezTo>
                  <a:pt x="508" y="32"/>
                  <a:pt x="508" y="33"/>
                  <a:pt x="508" y="34"/>
                </a:cubicBezTo>
                <a:cubicBezTo>
                  <a:pt x="507" y="34"/>
                  <a:pt x="507" y="35"/>
                  <a:pt x="506" y="36"/>
                </a:cubicBezTo>
                <a:cubicBezTo>
                  <a:pt x="505" y="37"/>
                  <a:pt x="504" y="38"/>
                  <a:pt x="503" y="39"/>
                </a:cubicBezTo>
                <a:cubicBezTo>
                  <a:pt x="503" y="40"/>
                  <a:pt x="503" y="40"/>
                  <a:pt x="502" y="40"/>
                </a:cubicBezTo>
                <a:cubicBezTo>
                  <a:pt x="502" y="41"/>
                  <a:pt x="501" y="41"/>
                  <a:pt x="500" y="41"/>
                </a:cubicBezTo>
                <a:cubicBezTo>
                  <a:pt x="500" y="42"/>
                  <a:pt x="499" y="42"/>
                  <a:pt x="499" y="43"/>
                </a:cubicBezTo>
                <a:cubicBezTo>
                  <a:pt x="498" y="44"/>
                  <a:pt x="498" y="44"/>
                  <a:pt x="497" y="45"/>
                </a:cubicBezTo>
                <a:cubicBezTo>
                  <a:pt x="496" y="46"/>
                  <a:pt x="496" y="47"/>
                  <a:pt x="496" y="48"/>
                </a:cubicBezTo>
                <a:cubicBezTo>
                  <a:pt x="495" y="50"/>
                  <a:pt x="493" y="50"/>
                  <a:pt x="492" y="51"/>
                </a:cubicBezTo>
                <a:cubicBezTo>
                  <a:pt x="491" y="52"/>
                  <a:pt x="490" y="52"/>
                  <a:pt x="489" y="53"/>
                </a:cubicBezTo>
                <a:cubicBezTo>
                  <a:pt x="488" y="54"/>
                  <a:pt x="487" y="55"/>
                  <a:pt x="486" y="57"/>
                </a:cubicBezTo>
                <a:cubicBezTo>
                  <a:pt x="486" y="57"/>
                  <a:pt x="486" y="57"/>
                  <a:pt x="486" y="58"/>
                </a:cubicBezTo>
                <a:cubicBezTo>
                  <a:pt x="485" y="57"/>
                  <a:pt x="484" y="59"/>
                  <a:pt x="482" y="60"/>
                </a:cubicBezTo>
                <a:cubicBezTo>
                  <a:pt x="479" y="63"/>
                  <a:pt x="475" y="62"/>
                  <a:pt x="471" y="63"/>
                </a:cubicBezTo>
                <a:cubicBezTo>
                  <a:pt x="469" y="63"/>
                  <a:pt x="467" y="63"/>
                  <a:pt x="465" y="63"/>
                </a:cubicBezTo>
                <a:cubicBezTo>
                  <a:pt x="463" y="64"/>
                  <a:pt x="461" y="65"/>
                  <a:pt x="459" y="64"/>
                </a:cubicBezTo>
                <a:cubicBezTo>
                  <a:pt x="459" y="62"/>
                  <a:pt x="457" y="59"/>
                  <a:pt x="454" y="60"/>
                </a:cubicBezTo>
                <a:cubicBezTo>
                  <a:pt x="453" y="61"/>
                  <a:pt x="452" y="64"/>
                  <a:pt x="450" y="65"/>
                </a:cubicBezTo>
                <a:cubicBezTo>
                  <a:pt x="449" y="66"/>
                  <a:pt x="446" y="66"/>
                  <a:pt x="445" y="67"/>
                </a:cubicBezTo>
                <a:cubicBezTo>
                  <a:pt x="444" y="67"/>
                  <a:pt x="443" y="68"/>
                  <a:pt x="442" y="69"/>
                </a:cubicBezTo>
                <a:cubicBezTo>
                  <a:pt x="439" y="71"/>
                  <a:pt x="437" y="71"/>
                  <a:pt x="435" y="74"/>
                </a:cubicBezTo>
                <a:cubicBezTo>
                  <a:pt x="434" y="75"/>
                  <a:pt x="433" y="76"/>
                  <a:pt x="432" y="77"/>
                </a:cubicBezTo>
                <a:cubicBezTo>
                  <a:pt x="430" y="77"/>
                  <a:pt x="429" y="76"/>
                  <a:pt x="428" y="77"/>
                </a:cubicBezTo>
                <a:cubicBezTo>
                  <a:pt x="427" y="77"/>
                  <a:pt x="426" y="79"/>
                  <a:pt x="425" y="79"/>
                </a:cubicBezTo>
                <a:cubicBezTo>
                  <a:pt x="424" y="79"/>
                  <a:pt x="422" y="79"/>
                  <a:pt x="421" y="79"/>
                </a:cubicBezTo>
                <a:cubicBezTo>
                  <a:pt x="419" y="79"/>
                  <a:pt x="416" y="80"/>
                  <a:pt x="414" y="82"/>
                </a:cubicBezTo>
                <a:cubicBezTo>
                  <a:pt x="414" y="82"/>
                  <a:pt x="414" y="82"/>
                  <a:pt x="414" y="82"/>
                </a:cubicBezTo>
                <a:cubicBezTo>
                  <a:pt x="412" y="83"/>
                  <a:pt x="409" y="84"/>
                  <a:pt x="410" y="81"/>
                </a:cubicBezTo>
                <a:cubicBezTo>
                  <a:pt x="407" y="80"/>
                  <a:pt x="404" y="82"/>
                  <a:pt x="401" y="82"/>
                </a:cubicBezTo>
                <a:cubicBezTo>
                  <a:pt x="401" y="82"/>
                  <a:pt x="400" y="82"/>
                  <a:pt x="399" y="82"/>
                </a:cubicBezTo>
                <a:cubicBezTo>
                  <a:pt x="399" y="80"/>
                  <a:pt x="397" y="80"/>
                  <a:pt x="397" y="77"/>
                </a:cubicBezTo>
                <a:cubicBezTo>
                  <a:pt x="396" y="77"/>
                  <a:pt x="395" y="79"/>
                  <a:pt x="393" y="78"/>
                </a:cubicBezTo>
                <a:cubicBezTo>
                  <a:pt x="391" y="78"/>
                  <a:pt x="392" y="81"/>
                  <a:pt x="391" y="81"/>
                </a:cubicBezTo>
                <a:cubicBezTo>
                  <a:pt x="392" y="83"/>
                  <a:pt x="389" y="84"/>
                  <a:pt x="391" y="84"/>
                </a:cubicBezTo>
                <a:cubicBezTo>
                  <a:pt x="391" y="85"/>
                  <a:pt x="389" y="85"/>
                  <a:pt x="388" y="85"/>
                </a:cubicBezTo>
                <a:cubicBezTo>
                  <a:pt x="387" y="85"/>
                  <a:pt x="386" y="85"/>
                  <a:pt x="386" y="84"/>
                </a:cubicBezTo>
                <a:cubicBezTo>
                  <a:pt x="384" y="85"/>
                  <a:pt x="383" y="83"/>
                  <a:pt x="381" y="84"/>
                </a:cubicBezTo>
                <a:cubicBezTo>
                  <a:pt x="380" y="84"/>
                  <a:pt x="380" y="84"/>
                  <a:pt x="380" y="84"/>
                </a:cubicBezTo>
                <a:cubicBezTo>
                  <a:pt x="380" y="83"/>
                  <a:pt x="380" y="83"/>
                  <a:pt x="380" y="83"/>
                </a:cubicBezTo>
                <a:cubicBezTo>
                  <a:pt x="380" y="82"/>
                  <a:pt x="380" y="82"/>
                  <a:pt x="379" y="82"/>
                </a:cubicBezTo>
                <a:cubicBezTo>
                  <a:pt x="379" y="82"/>
                  <a:pt x="379" y="83"/>
                  <a:pt x="378" y="83"/>
                </a:cubicBezTo>
                <a:cubicBezTo>
                  <a:pt x="377" y="83"/>
                  <a:pt x="377" y="83"/>
                  <a:pt x="376" y="84"/>
                </a:cubicBezTo>
                <a:cubicBezTo>
                  <a:pt x="375" y="83"/>
                  <a:pt x="375" y="85"/>
                  <a:pt x="373" y="84"/>
                </a:cubicBezTo>
                <a:cubicBezTo>
                  <a:pt x="373" y="84"/>
                  <a:pt x="372" y="84"/>
                  <a:pt x="372" y="84"/>
                </a:cubicBezTo>
                <a:cubicBezTo>
                  <a:pt x="372" y="83"/>
                  <a:pt x="371" y="83"/>
                  <a:pt x="371" y="83"/>
                </a:cubicBezTo>
                <a:cubicBezTo>
                  <a:pt x="371" y="82"/>
                  <a:pt x="370" y="82"/>
                  <a:pt x="370" y="81"/>
                </a:cubicBezTo>
                <a:cubicBezTo>
                  <a:pt x="367" y="81"/>
                  <a:pt x="362" y="79"/>
                  <a:pt x="359" y="80"/>
                </a:cubicBezTo>
                <a:cubicBezTo>
                  <a:pt x="359" y="80"/>
                  <a:pt x="359" y="80"/>
                  <a:pt x="359" y="80"/>
                </a:cubicBezTo>
                <a:cubicBezTo>
                  <a:pt x="358" y="81"/>
                  <a:pt x="356" y="82"/>
                  <a:pt x="356" y="82"/>
                </a:cubicBezTo>
                <a:cubicBezTo>
                  <a:pt x="355" y="82"/>
                  <a:pt x="355" y="82"/>
                  <a:pt x="355" y="82"/>
                </a:cubicBezTo>
                <a:cubicBezTo>
                  <a:pt x="355" y="82"/>
                  <a:pt x="355" y="83"/>
                  <a:pt x="355" y="83"/>
                </a:cubicBezTo>
                <a:cubicBezTo>
                  <a:pt x="355" y="84"/>
                  <a:pt x="355" y="84"/>
                  <a:pt x="355" y="84"/>
                </a:cubicBezTo>
                <a:cubicBezTo>
                  <a:pt x="355" y="85"/>
                  <a:pt x="355" y="85"/>
                  <a:pt x="355" y="86"/>
                </a:cubicBezTo>
                <a:cubicBezTo>
                  <a:pt x="355" y="86"/>
                  <a:pt x="355" y="86"/>
                  <a:pt x="355" y="86"/>
                </a:cubicBezTo>
                <a:cubicBezTo>
                  <a:pt x="354" y="87"/>
                  <a:pt x="353" y="88"/>
                  <a:pt x="352" y="88"/>
                </a:cubicBezTo>
                <a:cubicBezTo>
                  <a:pt x="351" y="87"/>
                  <a:pt x="351" y="87"/>
                  <a:pt x="351" y="87"/>
                </a:cubicBezTo>
                <a:cubicBezTo>
                  <a:pt x="351" y="87"/>
                  <a:pt x="350" y="87"/>
                  <a:pt x="349" y="87"/>
                </a:cubicBezTo>
                <a:cubicBezTo>
                  <a:pt x="349" y="87"/>
                  <a:pt x="348" y="87"/>
                  <a:pt x="349" y="86"/>
                </a:cubicBezTo>
                <a:cubicBezTo>
                  <a:pt x="347" y="87"/>
                  <a:pt x="346" y="85"/>
                  <a:pt x="345" y="85"/>
                </a:cubicBezTo>
                <a:cubicBezTo>
                  <a:pt x="345" y="85"/>
                  <a:pt x="344" y="85"/>
                  <a:pt x="344" y="84"/>
                </a:cubicBezTo>
                <a:cubicBezTo>
                  <a:pt x="343" y="84"/>
                  <a:pt x="341" y="83"/>
                  <a:pt x="339" y="82"/>
                </a:cubicBezTo>
                <a:cubicBezTo>
                  <a:pt x="338" y="81"/>
                  <a:pt x="336" y="80"/>
                  <a:pt x="336" y="78"/>
                </a:cubicBezTo>
                <a:cubicBezTo>
                  <a:pt x="335" y="77"/>
                  <a:pt x="333" y="77"/>
                  <a:pt x="333" y="75"/>
                </a:cubicBezTo>
                <a:cubicBezTo>
                  <a:pt x="336" y="74"/>
                  <a:pt x="335" y="77"/>
                  <a:pt x="337" y="77"/>
                </a:cubicBezTo>
                <a:cubicBezTo>
                  <a:pt x="337" y="77"/>
                  <a:pt x="338" y="76"/>
                  <a:pt x="337" y="75"/>
                </a:cubicBezTo>
                <a:cubicBezTo>
                  <a:pt x="337" y="75"/>
                  <a:pt x="335" y="75"/>
                  <a:pt x="335" y="74"/>
                </a:cubicBezTo>
                <a:cubicBezTo>
                  <a:pt x="334" y="73"/>
                  <a:pt x="333" y="72"/>
                  <a:pt x="331" y="72"/>
                </a:cubicBezTo>
                <a:cubicBezTo>
                  <a:pt x="331" y="72"/>
                  <a:pt x="331" y="72"/>
                  <a:pt x="331" y="72"/>
                </a:cubicBezTo>
                <a:cubicBezTo>
                  <a:pt x="330" y="72"/>
                  <a:pt x="330" y="72"/>
                  <a:pt x="329" y="73"/>
                </a:cubicBezTo>
                <a:cubicBezTo>
                  <a:pt x="329" y="73"/>
                  <a:pt x="329" y="73"/>
                  <a:pt x="329" y="73"/>
                </a:cubicBezTo>
                <a:cubicBezTo>
                  <a:pt x="329" y="75"/>
                  <a:pt x="327" y="75"/>
                  <a:pt x="326" y="75"/>
                </a:cubicBezTo>
                <a:cubicBezTo>
                  <a:pt x="326" y="75"/>
                  <a:pt x="326" y="75"/>
                  <a:pt x="326" y="75"/>
                </a:cubicBezTo>
                <a:cubicBezTo>
                  <a:pt x="325" y="76"/>
                  <a:pt x="325" y="76"/>
                  <a:pt x="324" y="77"/>
                </a:cubicBezTo>
                <a:cubicBezTo>
                  <a:pt x="323" y="77"/>
                  <a:pt x="323" y="77"/>
                  <a:pt x="323" y="77"/>
                </a:cubicBezTo>
                <a:cubicBezTo>
                  <a:pt x="322" y="78"/>
                  <a:pt x="320" y="77"/>
                  <a:pt x="320" y="78"/>
                </a:cubicBezTo>
                <a:cubicBezTo>
                  <a:pt x="320" y="78"/>
                  <a:pt x="320" y="79"/>
                  <a:pt x="320" y="79"/>
                </a:cubicBezTo>
                <a:cubicBezTo>
                  <a:pt x="319" y="80"/>
                  <a:pt x="317" y="81"/>
                  <a:pt x="314" y="80"/>
                </a:cubicBezTo>
                <a:cubicBezTo>
                  <a:pt x="314" y="80"/>
                  <a:pt x="313" y="79"/>
                  <a:pt x="312" y="80"/>
                </a:cubicBezTo>
                <a:cubicBezTo>
                  <a:pt x="312" y="79"/>
                  <a:pt x="311" y="79"/>
                  <a:pt x="311" y="78"/>
                </a:cubicBezTo>
                <a:cubicBezTo>
                  <a:pt x="308" y="78"/>
                  <a:pt x="306" y="77"/>
                  <a:pt x="303" y="76"/>
                </a:cubicBezTo>
                <a:cubicBezTo>
                  <a:pt x="303" y="75"/>
                  <a:pt x="302" y="75"/>
                  <a:pt x="302" y="74"/>
                </a:cubicBezTo>
                <a:cubicBezTo>
                  <a:pt x="301" y="74"/>
                  <a:pt x="301" y="73"/>
                  <a:pt x="300" y="73"/>
                </a:cubicBezTo>
                <a:cubicBezTo>
                  <a:pt x="301" y="71"/>
                  <a:pt x="299" y="70"/>
                  <a:pt x="299" y="68"/>
                </a:cubicBezTo>
                <a:cubicBezTo>
                  <a:pt x="299" y="68"/>
                  <a:pt x="298" y="68"/>
                  <a:pt x="298" y="68"/>
                </a:cubicBezTo>
                <a:cubicBezTo>
                  <a:pt x="298" y="68"/>
                  <a:pt x="297" y="68"/>
                  <a:pt x="296" y="68"/>
                </a:cubicBezTo>
                <a:cubicBezTo>
                  <a:pt x="296" y="67"/>
                  <a:pt x="294" y="67"/>
                  <a:pt x="293" y="66"/>
                </a:cubicBezTo>
                <a:cubicBezTo>
                  <a:pt x="292" y="66"/>
                  <a:pt x="291" y="68"/>
                  <a:pt x="291" y="68"/>
                </a:cubicBezTo>
                <a:cubicBezTo>
                  <a:pt x="290" y="69"/>
                  <a:pt x="291" y="71"/>
                  <a:pt x="289" y="71"/>
                </a:cubicBezTo>
                <a:cubicBezTo>
                  <a:pt x="290" y="72"/>
                  <a:pt x="289" y="72"/>
                  <a:pt x="289" y="73"/>
                </a:cubicBezTo>
                <a:cubicBezTo>
                  <a:pt x="287" y="73"/>
                  <a:pt x="286" y="74"/>
                  <a:pt x="286" y="75"/>
                </a:cubicBezTo>
                <a:cubicBezTo>
                  <a:pt x="284" y="74"/>
                  <a:pt x="283" y="75"/>
                  <a:pt x="282" y="75"/>
                </a:cubicBezTo>
                <a:cubicBezTo>
                  <a:pt x="281" y="75"/>
                  <a:pt x="280" y="76"/>
                  <a:pt x="280" y="75"/>
                </a:cubicBezTo>
                <a:cubicBezTo>
                  <a:pt x="278" y="76"/>
                  <a:pt x="276" y="76"/>
                  <a:pt x="275" y="77"/>
                </a:cubicBezTo>
                <a:cubicBezTo>
                  <a:pt x="272" y="77"/>
                  <a:pt x="271" y="79"/>
                  <a:pt x="268" y="78"/>
                </a:cubicBezTo>
                <a:cubicBezTo>
                  <a:pt x="268" y="78"/>
                  <a:pt x="267" y="78"/>
                  <a:pt x="267" y="79"/>
                </a:cubicBezTo>
                <a:cubicBezTo>
                  <a:pt x="264" y="79"/>
                  <a:pt x="264" y="79"/>
                  <a:pt x="264" y="79"/>
                </a:cubicBezTo>
                <a:cubicBezTo>
                  <a:pt x="262" y="79"/>
                  <a:pt x="261" y="79"/>
                  <a:pt x="260" y="80"/>
                </a:cubicBezTo>
                <a:cubicBezTo>
                  <a:pt x="260" y="80"/>
                  <a:pt x="260" y="80"/>
                  <a:pt x="260" y="80"/>
                </a:cubicBezTo>
                <a:cubicBezTo>
                  <a:pt x="259" y="80"/>
                  <a:pt x="258" y="81"/>
                  <a:pt x="258" y="81"/>
                </a:cubicBezTo>
                <a:cubicBezTo>
                  <a:pt x="257" y="81"/>
                  <a:pt x="257" y="81"/>
                  <a:pt x="257" y="81"/>
                </a:cubicBezTo>
                <a:cubicBezTo>
                  <a:pt x="257" y="81"/>
                  <a:pt x="257" y="81"/>
                  <a:pt x="257" y="81"/>
                </a:cubicBezTo>
                <a:cubicBezTo>
                  <a:pt x="257" y="81"/>
                  <a:pt x="257" y="81"/>
                  <a:pt x="257" y="81"/>
                </a:cubicBezTo>
                <a:cubicBezTo>
                  <a:pt x="255" y="81"/>
                  <a:pt x="255" y="82"/>
                  <a:pt x="253" y="82"/>
                </a:cubicBezTo>
                <a:cubicBezTo>
                  <a:pt x="253" y="82"/>
                  <a:pt x="253" y="82"/>
                  <a:pt x="253" y="82"/>
                </a:cubicBezTo>
                <a:cubicBezTo>
                  <a:pt x="252" y="83"/>
                  <a:pt x="252" y="82"/>
                  <a:pt x="251" y="83"/>
                </a:cubicBezTo>
                <a:cubicBezTo>
                  <a:pt x="249" y="83"/>
                  <a:pt x="248" y="82"/>
                  <a:pt x="246" y="82"/>
                </a:cubicBezTo>
                <a:cubicBezTo>
                  <a:pt x="244" y="82"/>
                  <a:pt x="243" y="83"/>
                  <a:pt x="241" y="83"/>
                </a:cubicBezTo>
                <a:cubicBezTo>
                  <a:pt x="241" y="83"/>
                  <a:pt x="240" y="84"/>
                  <a:pt x="240" y="84"/>
                </a:cubicBezTo>
                <a:cubicBezTo>
                  <a:pt x="240" y="84"/>
                  <a:pt x="240" y="84"/>
                  <a:pt x="240" y="84"/>
                </a:cubicBezTo>
                <a:cubicBezTo>
                  <a:pt x="239" y="83"/>
                  <a:pt x="239" y="84"/>
                  <a:pt x="238" y="85"/>
                </a:cubicBezTo>
                <a:cubicBezTo>
                  <a:pt x="238" y="85"/>
                  <a:pt x="237" y="85"/>
                  <a:pt x="237" y="85"/>
                </a:cubicBezTo>
                <a:cubicBezTo>
                  <a:pt x="237" y="85"/>
                  <a:pt x="237" y="86"/>
                  <a:pt x="236" y="86"/>
                </a:cubicBezTo>
                <a:cubicBezTo>
                  <a:pt x="236" y="86"/>
                  <a:pt x="236" y="86"/>
                  <a:pt x="236" y="86"/>
                </a:cubicBezTo>
                <a:cubicBezTo>
                  <a:pt x="236" y="87"/>
                  <a:pt x="235" y="87"/>
                  <a:pt x="235" y="88"/>
                </a:cubicBezTo>
                <a:cubicBezTo>
                  <a:pt x="235" y="88"/>
                  <a:pt x="235" y="88"/>
                  <a:pt x="235" y="88"/>
                </a:cubicBezTo>
                <a:cubicBezTo>
                  <a:pt x="234" y="88"/>
                  <a:pt x="233" y="89"/>
                  <a:pt x="232" y="90"/>
                </a:cubicBezTo>
                <a:cubicBezTo>
                  <a:pt x="232" y="90"/>
                  <a:pt x="232" y="90"/>
                  <a:pt x="232" y="90"/>
                </a:cubicBezTo>
                <a:cubicBezTo>
                  <a:pt x="232" y="90"/>
                  <a:pt x="232" y="90"/>
                  <a:pt x="232" y="91"/>
                </a:cubicBezTo>
                <a:cubicBezTo>
                  <a:pt x="230" y="91"/>
                  <a:pt x="230" y="92"/>
                  <a:pt x="229" y="93"/>
                </a:cubicBezTo>
                <a:cubicBezTo>
                  <a:pt x="228" y="93"/>
                  <a:pt x="228" y="93"/>
                  <a:pt x="227" y="94"/>
                </a:cubicBezTo>
                <a:cubicBezTo>
                  <a:pt x="226" y="94"/>
                  <a:pt x="226" y="94"/>
                  <a:pt x="225" y="95"/>
                </a:cubicBezTo>
                <a:cubicBezTo>
                  <a:pt x="224" y="95"/>
                  <a:pt x="223" y="96"/>
                  <a:pt x="222" y="96"/>
                </a:cubicBezTo>
                <a:cubicBezTo>
                  <a:pt x="220" y="96"/>
                  <a:pt x="220" y="98"/>
                  <a:pt x="218" y="98"/>
                </a:cubicBezTo>
                <a:cubicBezTo>
                  <a:pt x="218" y="99"/>
                  <a:pt x="218" y="99"/>
                  <a:pt x="218" y="99"/>
                </a:cubicBezTo>
                <a:cubicBezTo>
                  <a:pt x="216" y="99"/>
                  <a:pt x="216" y="101"/>
                  <a:pt x="214" y="102"/>
                </a:cubicBezTo>
                <a:cubicBezTo>
                  <a:pt x="213" y="103"/>
                  <a:pt x="213" y="105"/>
                  <a:pt x="211" y="105"/>
                </a:cubicBezTo>
                <a:cubicBezTo>
                  <a:pt x="211" y="105"/>
                  <a:pt x="210" y="105"/>
                  <a:pt x="210" y="105"/>
                </a:cubicBezTo>
                <a:cubicBezTo>
                  <a:pt x="210" y="105"/>
                  <a:pt x="210" y="105"/>
                  <a:pt x="210" y="105"/>
                </a:cubicBezTo>
                <a:cubicBezTo>
                  <a:pt x="210" y="107"/>
                  <a:pt x="209" y="107"/>
                  <a:pt x="209" y="108"/>
                </a:cubicBezTo>
                <a:cubicBezTo>
                  <a:pt x="209" y="108"/>
                  <a:pt x="209" y="108"/>
                  <a:pt x="209" y="108"/>
                </a:cubicBezTo>
                <a:cubicBezTo>
                  <a:pt x="208" y="108"/>
                  <a:pt x="208" y="108"/>
                  <a:pt x="208" y="108"/>
                </a:cubicBezTo>
                <a:cubicBezTo>
                  <a:pt x="208" y="108"/>
                  <a:pt x="208" y="109"/>
                  <a:pt x="208" y="109"/>
                </a:cubicBezTo>
                <a:cubicBezTo>
                  <a:pt x="207" y="109"/>
                  <a:pt x="206" y="110"/>
                  <a:pt x="206" y="112"/>
                </a:cubicBezTo>
                <a:cubicBezTo>
                  <a:pt x="206" y="112"/>
                  <a:pt x="206" y="112"/>
                  <a:pt x="206" y="112"/>
                </a:cubicBezTo>
                <a:cubicBezTo>
                  <a:pt x="206" y="112"/>
                  <a:pt x="206" y="112"/>
                  <a:pt x="206" y="112"/>
                </a:cubicBezTo>
                <a:cubicBezTo>
                  <a:pt x="204" y="113"/>
                  <a:pt x="203" y="113"/>
                  <a:pt x="202" y="115"/>
                </a:cubicBezTo>
                <a:cubicBezTo>
                  <a:pt x="201" y="115"/>
                  <a:pt x="201" y="116"/>
                  <a:pt x="200" y="116"/>
                </a:cubicBezTo>
                <a:cubicBezTo>
                  <a:pt x="198" y="117"/>
                  <a:pt x="197" y="120"/>
                  <a:pt x="195" y="121"/>
                </a:cubicBezTo>
                <a:cubicBezTo>
                  <a:pt x="195" y="122"/>
                  <a:pt x="194" y="123"/>
                  <a:pt x="193" y="125"/>
                </a:cubicBezTo>
                <a:cubicBezTo>
                  <a:pt x="192" y="125"/>
                  <a:pt x="191" y="126"/>
                  <a:pt x="190" y="126"/>
                </a:cubicBezTo>
                <a:cubicBezTo>
                  <a:pt x="190" y="127"/>
                  <a:pt x="189" y="128"/>
                  <a:pt x="188" y="128"/>
                </a:cubicBezTo>
                <a:cubicBezTo>
                  <a:pt x="188" y="129"/>
                  <a:pt x="188" y="129"/>
                  <a:pt x="188" y="129"/>
                </a:cubicBezTo>
                <a:cubicBezTo>
                  <a:pt x="186" y="129"/>
                  <a:pt x="187" y="131"/>
                  <a:pt x="185" y="130"/>
                </a:cubicBezTo>
                <a:cubicBezTo>
                  <a:pt x="185" y="131"/>
                  <a:pt x="184" y="131"/>
                  <a:pt x="183" y="132"/>
                </a:cubicBezTo>
                <a:cubicBezTo>
                  <a:pt x="183" y="133"/>
                  <a:pt x="183" y="133"/>
                  <a:pt x="183" y="133"/>
                </a:cubicBezTo>
                <a:cubicBezTo>
                  <a:pt x="183" y="135"/>
                  <a:pt x="185" y="134"/>
                  <a:pt x="185" y="137"/>
                </a:cubicBezTo>
                <a:cubicBezTo>
                  <a:pt x="185" y="139"/>
                  <a:pt x="183" y="140"/>
                  <a:pt x="182" y="142"/>
                </a:cubicBezTo>
                <a:cubicBezTo>
                  <a:pt x="182" y="142"/>
                  <a:pt x="182" y="142"/>
                  <a:pt x="181" y="142"/>
                </a:cubicBezTo>
                <a:cubicBezTo>
                  <a:pt x="181" y="143"/>
                  <a:pt x="181" y="143"/>
                  <a:pt x="181" y="143"/>
                </a:cubicBezTo>
                <a:cubicBezTo>
                  <a:pt x="179" y="144"/>
                  <a:pt x="176" y="144"/>
                  <a:pt x="175" y="146"/>
                </a:cubicBezTo>
                <a:cubicBezTo>
                  <a:pt x="175" y="146"/>
                  <a:pt x="174" y="146"/>
                  <a:pt x="174" y="146"/>
                </a:cubicBezTo>
                <a:cubicBezTo>
                  <a:pt x="174" y="147"/>
                  <a:pt x="174" y="147"/>
                  <a:pt x="173" y="147"/>
                </a:cubicBezTo>
                <a:cubicBezTo>
                  <a:pt x="171" y="147"/>
                  <a:pt x="169" y="147"/>
                  <a:pt x="168" y="148"/>
                </a:cubicBezTo>
                <a:cubicBezTo>
                  <a:pt x="164" y="147"/>
                  <a:pt x="159" y="147"/>
                  <a:pt x="154" y="147"/>
                </a:cubicBezTo>
                <a:cubicBezTo>
                  <a:pt x="154" y="146"/>
                  <a:pt x="153" y="146"/>
                  <a:pt x="153" y="146"/>
                </a:cubicBezTo>
                <a:cubicBezTo>
                  <a:pt x="153" y="146"/>
                  <a:pt x="153" y="146"/>
                  <a:pt x="152" y="146"/>
                </a:cubicBezTo>
                <a:cubicBezTo>
                  <a:pt x="152" y="145"/>
                  <a:pt x="150" y="146"/>
                  <a:pt x="149" y="145"/>
                </a:cubicBezTo>
                <a:cubicBezTo>
                  <a:pt x="149" y="145"/>
                  <a:pt x="149" y="145"/>
                  <a:pt x="149" y="145"/>
                </a:cubicBezTo>
                <a:cubicBezTo>
                  <a:pt x="148" y="145"/>
                  <a:pt x="148" y="145"/>
                  <a:pt x="147" y="145"/>
                </a:cubicBezTo>
                <a:cubicBezTo>
                  <a:pt x="146" y="146"/>
                  <a:pt x="146" y="148"/>
                  <a:pt x="144" y="149"/>
                </a:cubicBezTo>
                <a:cubicBezTo>
                  <a:pt x="144" y="150"/>
                  <a:pt x="144" y="150"/>
                  <a:pt x="144" y="150"/>
                </a:cubicBezTo>
                <a:cubicBezTo>
                  <a:pt x="142" y="150"/>
                  <a:pt x="141" y="150"/>
                  <a:pt x="141" y="151"/>
                </a:cubicBezTo>
                <a:cubicBezTo>
                  <a:pt x="139" y="151"/>
                  <a:pt x="138" y="152"/>
                  <a:pt x="136" y="152"/>
                </a:cubicBezTo>
                <a:cubicBezTo>
                  <a:pt x="134" y="152"/>
                  <a:pt x="132" y="153"/>
                  <a:pt x="130" y="153"/>
                </a:cubicBezTo>
                <a:cubicBezTo>
                  <a:pt x="121" y="153"/>
                  <a:pt x="121" y="153"/>
                  <a:pt x="121" y="153"/>
                </a:cubicBezTo>
                <a:cubicBezTo>
                  <a:pt x="121" y="153"/>
                  <a:pt x="121" y="153"/>
                  <a:pt x="121" y="153"/>
                </a:cubicBezTo>
                <a:cubicBezTo>
                  <a:pt x="117" y="152"/>
                  <a:pt x="114" y="153"/>
                  <a:pt x="112" y="154"/>
                </a:cubicBezTo>
                <a:cubicBezTo>
                  <a:pt x="112" y="154"/>
                  <a:pt x="112" y="155"/>
                  <a:pt x="111" y="155"/>
                </a:cubicBezTo>
                <a:cubicBezTo>
                  <a:pt x="111" y="155"/>
                  <a:pt x="111" y="155"/>
                  <a:pt x="111" y="155"/>
                </a:cubicBezTo>
                <a:cubicBezTo>
                  <a:pt x="111" y="155"/>
                  <a:pt x="111" y="156"/>
                  <a:pt x="111" y="156"/>
                </a:cubicBezTo>
                <a:cubicBezTo>
                  <a:pt x="110" y="157"/>
                  <a:pt x="108" y="157"/>
                  <a:pt x="109" y="159"/>
                </a:cubicBezTo>
                <a:cubicBezTo>
                  <a:pt x="109" y="159"/>
                  <a:pt x="109" y="159"/>
                  <a:pt x="109" y="159"/>
                </a:cubicBezTo>
                <a:cubicBezTo>
                  <a:pt x="109" y="162"/>
                  <a:pt x="108" y="163"/>
                  <a:pt x="108" y="167"/>
                </a:cubicBezTo>
                <a:cubicBezTo>
                  <a:pt x="110" y="167"/>
                  <a:pt x="110" y="170"/>
                  <a:pt x="112" y="169"/>
                </a:cubicBezTo>
                <a:cubicBezTo>
                  <a:pt x="112" y="171"/>
                  <a:pt x="114" y="170"/>
                  <a:pt x="114" y="171"/>
                </a:cubicBezTo>
                <a:cubicBezTo>
                  <a:pt x="117" y="171"/>
                  <a:pt x="117" y="171"/>
                  <a:pt x="117" y="171"/>
                </a:cubicBezTo>
                <a:cubicBezTo>
                  <a:pt x="117" y="171"/>
                  <a:pt x="117" y="172"/>
                  <a:pt x="117" y="172"/>
                </a:cubicBezTo>
                <a:cubicBezTo>
                  <a:pt x="117" y="173"/>
                  <a:pt x="119" y="173"/>
                  <a:pt x="120" y="173"/>
                </a:cubicBezTo>
                <a:cubicBezTo>
                  <a:pt x="120" y="173"/>
                  <a:pt x="121" y="173"/>
                  <a:pt x="121" y="174"/>
                </a:cubicBezTo>
                <a:cubicBezTo>
                  <a:pt x="121" y="174"/>
                  <a:pt x="121" y="174"/>
                  <a:pt x="122" y="174"/>
                </a:cubicBezTo>
                <a:cubicBezTo>
                  <a:pt x="122" y="175"/>
                  <a:pt x="123" y="175"/>
                  <a:pt x="124" y="175"/>
                </a:cubicBezTo>
                <a:cubicBezTo>
                  <a:pt x="124" y="176"/>
                  <a:pt x="123" y="175"/>
                  <a:pt x="123" y="176"/>
                </a:cubicBezTo>
                <a:cubicBezTo>
                  <a:pt x="123" y="176"/>
                  <a:pt x="123" y="176"/>
                  <a:pt x="122" y="176"/>
                </a:cubicBezTo>
                <a:cubicBezTo>
                  <a:pt x="121" y="177"/>
                  <a:pt x="121" y="178"/>
                  <a:pt x="120" y="178"/>
                </a:cubicBezTo>
                <a:cubicBezTo>
                  <a:pt x="120" y="178"/>
                  <a:pt x="120" y="179"/>
                  <a:pt x="119" y="178"/>
                </a:cubicBezTo>
                <a:cubicBezTo>
                  <a:pt x="119" y="178"/>
                  <a:pt x="118" y="178"/>
                  <a:pt x="118" y="178"/>
                </a:cubicBezTo>
                <a:cubicBezTo>
                  <a:pt x="118" y="179"/>
                  <a:pt x="118" y="179"/>
                  <a:pt x="117" y="179"/>
                </a:cubicBezTo>
                <a:cubicBezTo>
                  <a:pt x="115" y="179"/>
                  <a:pt x="114" y="180"/>
                  <a:pt x="112" y="181"/>
                </a:cubicBezTo>
                <a:cubicBezTo>
                  <a:pt x="112" y="181"/>
                  <a:pt x="112" y="181"/>
                  <a:pt x="111" y="181"/>
                </a:cubicBezTo>
                <a:cubicBezTo>
                  <a:pt x="108" y="181"/>
                  <a:pt x="110" y="185"/>
                  <a:pt x="106" y="184"/>
                </a:cubicBezTo>
                <a:cubicBezTo>
                  <a:pt x="106" y="184"/>
                  <a:pt x="106" y="185"/>
                  <a:pt x="106" y="185"/>
                </a:cubicBezTo>
                <a:cubicBezTo>
                  <a:pt x="105" y="186"/>
                  <a:pt x="104" y="187"/>
                  <a:pt x="104" y="189"/>
                </a:cubicBezTo>
                <a:cubicBezTo>
                  <a:pt x="104" y="190"/>
                  <a:pt x="105" y="190"/>
                  <a:pt x="105" y="190"/>
                </a:cubicBezTo>
                <a:cubicBezTo>
                  <a:pt x="106" y="190"/>
                  <a:pt x="107" y="190"/>
                  <a:pt x="107" y="191"/>
                </a:cubicBezTo>
                <a:cubicBezTo>
                  <a:pt x="110" y="191"/>
                  <a:pt x="112" y="190"/>
                  <a:pt x="114" y="190"/>
                </a:cubicBezTo>
                <a:cubicBezTo>
                  <a:pt x="116" y="189"/>
                  <a:pt x="116" y="190"/>
                  <a:pt x="117" y="190"/>
                </a:cubicBezTo>
                <a:cubicBezTo>
                  <a:pt x="118" y="189"/>
                  <a:pt x="118" y="191"/>
                  <a:pt x="119" y="190"/>
                </a:cubicBezTo>
                <a:cubicBezTo>
                  <a:pt x="119" y="191"/>
                  <a:pt x="118" y="191"/>
                  <a:pt x="117" y="191"/>
                </a:cubicBezTo>
                <a:cubicBezTo>
                  <a:pt x="116" y="191"/>
                  <a:pt x="117" y="192"/>
                  <a:pt x="116" y="192"/>
                </a:cubicBezTo>
                <a:cubicBezTo>
                  <a:pt x="116" y="194"/>
                  <a:pt x="116" y="194"/>
                  <a:pt x="116" y="194"/>
                </a:cubicBezTo>
                <a:cubicBezTo>
                  <a:pt x="115" y="194"/>
                  <a:pt x="115" y="195"/>
                  <a:pt x="114" y="195"/>
                </a:cubicBezTo>
                <a:cubicBezTo>
                  <a:pt x="114" y="195"/>
                  <a:pt x="113" y="195"/>
                  <a:pt x="113" y="196"/>
                </a:cubicBezTo>
                <a:cubicBezTo>
                  <a:pt x="111" y="196"/>
                  <a:pt x="111" y="195"/>
                  <a:pt x="108" y="195"/>
                </a:cubicBezTo>
                <a:cubicBezTo>
                  <a:pt x="106" y="195"/>
                  <a:pt x="105" y="195"/>
                  <a:pt x="104" y="194"/>
                </a:cubicBezTo>
                <a:cubicBezTo>
                  <a:pt x="102" y="194"/>
                  <a:pt x="103" y="196"/>
                  <a:pt x="101" y="196"/>
                </a:cubicBezTo>
                <a:cubicBezTo>
                  <a:pt x="99" y="196"/>
                  <a:pt x="96" y="195"/>
                  <a:pt x="94" y="196"/>
                </a:cubicBezTo>
                <a:cubicBezTo>
                  <a:pt x="94" y="196"/>
                  <a:pt x="94" y="196"/>
                  <a:pt x="94" y="197"/>
                </a:cubicBezTo>
                <a:cubicBezTo>
                  <a:pt x="93" y="197"/>
                  <a:pt x="92" y="196"/>
                  <a:pt x="91" y="197"/>
                </a:cubicBezTo>
                <a:cubicBezTo>
                  <a:pt x="90" y="197"/>
                  <a:pt x="90" y="197"/>
                  <a:pt x="90" y="197"/>
                </a:cubicBezTo>
                <a:cubicBezTo>
                  <a:pt x="89" y="198"/>
                  <a:pt x="88" y="197"/>
                  <a:pt x="87" y="198"/>
                </a:cubicBezTo>
                <a:cubicBezTo>
                  <a:pt x="87" y="198"/>
                  <a:pt x="86" y="198"/>
                  <a:pt x="86" y="198"/>
                </a:cubicBezTo>
                <a:cubicBezTo>
                  <a:pt x="85" y="198"/>
                  <a:pt x="84" y="199"/>
                  <a:pt x="84" y="200"/>
                </a:cubicBezTo>
                <a:cubicBezTo>
                  <a:pt x="81" y="200"/>
                  <a:pt x="80" y="202"/>
                  <a:pt x="78" y="201"/>
                </a:cubicBezTo>
                <a:cubicBezTo>
                  <a:pt x="77" y="200"/>
                  <a:pt x="78" y="200"/>
                  <a:pt x="78" y="199"/>
                </a:cubicBezTo>
                <a:cubicBezTo>
                  <a:pt x="78" y="198"/>
                  <a:pt x="80" y="198"/>
                  <a:pt x="80" y="197"/>
                </a:cubicBezTo>
                <a:cubicBezTo>
                  <a:pt x="80" y="195"/>
                  <a:pt x="78" y="196"/>
                  <a:pt x="76" y="196"/>
                </a:cubicBezTo>
                <a:cubicBezTo>
                  <a:pt x="75" y="196"/>
                  <a:pt x="72" y="195"/>
                  <a:pt x="72" y="197"/>
                </a:cubicBezTo>
                <a:cubicBezTo>
                  <a:pt x="71" y="197"/>
                  <a:pt x="70" y="196"/>
                  <a:pt x="69" y="196"/>
                </a:cubicBezTo>
                <a:cubicBezTo>
                  <a:pt x="68" y="196"/>
                  <a:pt x="68" y="197"/>
                  <a:pt x="67" y="197"/>
                </a:cubicBezTo>
                <a:cubicBezTo>
                  <a:pt x="66" y="199"/>
                  <a:pt x="68" y="199"/>
                  <a:pt x="68" y="200"/>
                </a:cubicBezTo>
                <a:cubicBezTo>
                  <a:pt x="69" y="201"/>
                  <a:pt x="70" y="201"/>
                  <a:pt x="71" y="201"/>
                </a:cubicBezTo>
                <a:cubicBezTo>
                  <a:pt x="71" y="202"/>
                  <a:pt x="72" y="202"/>
                  <a:pt x="73" y="202"/>
                </a:cubicBezTo>
                <a:cubicBezTo>
                  <a:pt x="73" y="202"/>
                  <a:pt x="73" y="203"/>
                  <a:pt x="74" y="203"/>
                </a:cubicBezTo>
                <a:cubicBezTo>
                  <a:pt x="73" y="206"/>
                  <a:pt x="69" y="206"/>
                  <a:pt x="65" y="206"/>
                </a:cubicBezTo>
                <a:cubicBezTo>
                  <a:pt x="65" y="207"/>
                  <a:pt x="63" y="207"/>
                  <a:pt x="63" y="208"/>
                </a:cubicBezTo>
                <a:cubicBezTo>
                  <a:pt x="61" y="207"/>
                  <a:pt x="60" y="206"/>
                  <a:pt x="58" y="206"/>
                </a:cubicBezTo>
                <a:cubicBezTo>
                  <a:pt x="58" y="206"/>
                  <a:pt x="57" y="206"/>
                  <a:pt x="57" y="206"/>
                </a:cubicBezTo>
                <a:cubicBezTo>
                  <a:pt x="57" y="205"/>
                  <a:pt x="57" y="205"/>
                  <a:pt x="57" y="205"/>
                </a:cubicBezTo>
                <a:cubicBezTo>
                  <a:pt x="57" y="205"/>
                  <a:pt x="57" y="204"/>
                  <a:pt x="57" y="204"/>
                </a:cubicBezTo>
                <a:cubicBezTo>
                  <a:pt x="56" y="204"/>
                  <a:pt x="56" y="203"/>
                  <a:pt x="55" y="202"/>
                </a:cubicBezTo>
                <a:cubicBezTo>
                  <a:pt x="55" y="202"/>
                  <a:pt x="55" y="202"/>
                  <a:pt x="55" y="202"/>
                </a:cubicBezTo>
                <a:cubicBezTo>
                  <a:pt x="54" y="202"/>
                  <a:pt x="54" y="202"/>
                  <a:pt x="54" y="202"/>
                </a:cubicBezTo>
                <a:cubicBezTo>
                  <a:pt x="53" y="201"/>
                  <a:pt x="53" y="203"/>
                  <a:pt x="52" y="203"/>
                </a:cubicBezTo>
                <a:cubicBezTo>
                  <a:pt x="51" y="203"/>
                  <a:pt x="51" y="203"/>
                  <a:pt x="51" y="203"/>
                </a:cubicBezTo>
                <a:cubicBezTo>
                  <a:pt x="51" y="203"/>
                  <a:pt x="51" y="203"/>
                  <a:pt x="51" y="204"/>
                </a:cubicBezTo>
                <a:cubicBezTo>
                  <a:pt x="49" y="203"/>
                  <a:pt x="48" y="204"/>
                  <a:pt x="48" y="204"/>
                </a:cubicBezTo>
                <a:cubicBezTo>
                  <a:pt x="47" y="204"/>
                  <a:pt x="47" y="205"/>
                  <a:pt x="47" y="205"/>
                </a:cubicBezTo>
                <a:cubicBezTo>
                  <a:pt x="47" y="205"/>
                  <a:pt x="47" y="205"/>
                  <a:pt x="47" y="205"/>
                </a:cubicBezTo>
                <a:cubicBezTo>
                  <a:pt x="46" y="206"/>
                  <a:pt x="46" y="208"/>
                  <a:pt x="44" y="208"/>
                </a:cubicBezTo>
                <a:cubicBezTo>
                  <a:pt x="44" y="208"/>
                  <a:pt x="44" y="208"/>
                  <a:pt x="44" y="208"/>
                </a:cubicBezTo>
                <a:cubicBezTo>
                  <a:pt x="41" y="207"/>
                  <a:pt x="40" y="209"/>
                  <a:pt x="36" y="208"/>
                </a:cubicBezTo>
                <a:cubicBezTo>
                  <a:pt x="35" y="209"/>
                  <a:pt x="34" y="210"/>
                  <a:pt x="34" y="212"/>
                </a:cubicBezTo>
                <a:cubicBezTo>
                  <a:pt x="33" y="214"/>
                  <a:pt x="32" y="215"/>
                  <a:pt x="31" y="216"/>
                </a:cubicBezTo>
                <a:cubicBezTo>
                  <a:pt x="31" y="217"/>
                  <a:pt x="30" y="218"/>
                  <a:pt x="29" y="218"/>
                </a:cubicBezTo>
                <a:cubicBezTo>
                  <a:pt x="29" y="219"/>
                  <a:pt x="29" y="218"/>
                  <a:pt x="27" y="221"/>
                </a:cubicBezTo>
                <a:cubicBezTo>
                  <a:pt x="27" y="221"/>
                  <a:pt x="27" y="221"/>
                  <a:pt x="26" y="222"/>
                </a:cubicBezTo>
                <a:cubicBezTo>
                  <a:pt x="25" y="225"/>
                  <a:pt x="25" y="224"/>
                  <a:pt x="25" y="226"/>
                </a:cubicBezTo>
                <a:cubicBezTo>
                  <a:pt x="24" y="227"/>
                  <a:pt x="22" y="228"/>
                  <a:pt x="23" y="230"/>
                </a:cubicBezTo>
                <a:cubicBezTo>
                  <a:pt x="20" y="229"/>
                  <a:pt x="21" y="233"/>
                  <a:pt x="19" y="233"/>
                </a:cubicBezTo>
                <a:cubicBezTo>
                  <a:pt x="19" y="234"/>
                  <a:pt x="19" y="235"/>
                  <a:pt x="18" y="235"/>
                </a:cubicBezTo>
                <a:cubicBezTo>
                  <a:pt x="18" y="240"/>
                  <a:pt x="18" y="240"/>
                  <a:pt x="18" y="240"/>
                </a:cubicBezTo>
                <a:cubicBezTo>
                  <a:pt x="19" y="243"/>
                  <a:pt x="21" y="245"/>
                  <a:pt x="20" y="249"/>
                </a:cubicBezTo>
                <a:cubicBezTo>
                  <a:pt x="20" y="250"/>
                  <a:pt x="20" y="250"/>
                  <a:pt x="20" y="251"/>
                </a:cubicBezTo>
                <a:cubicBezTo>
                  <a:pt x="19" y="252"/>
                  <a:pt x="20" y="252"/>
                  <a:pt x="19" y="252"/>
                </a:cubicBezTo>
                <a:cubicBezTo>
                  <a:pt x="19" y="254"/>
                  <a:pt x="18" y="254"/>
                  <a:pt x="18" y="256"/>
                </a:cubicBezTo>
                <a:cubicBezTo>
                  <a:pt x="19" y="259"/>
                  <a:pt x="23" y="256"/>
                  <a:pt x="26" y="256"/>
                </a:cubicBezTo>
                <a:cubicBezTo>
                  <a:pt x="27" y="256"/>
                  <a:pt x="29" y="255"/>
                  <a:pt x="30" y="254"/>
                </a:cubicBezTo>
                <a:cubicBezTo>
                  <a:pt x="30" y="254"/>
                  <a:pt x="30" y="254"/>
                  <a:pt x="31" y="254"/>
                </a:cubicBezTo>
                <a:cubicBezTo>
                  <a:pt x="32" y="253"/>
                  <a:pt x="33" y="252"/>
                  <a:pt x="34" y="252"/>
                </a:cubicBezTo>
                <a:cubicBezTo>
                  <a:pt x="35" y="251"/>
                  <a:pt x="35" y="251"/>
                  <a:pt x="36" y="251"/>
                </a:cubicBezTo>
                <a:cubicBezTo>
                  <a:pt x="37" y="250"/>
                  <a:pt x="38" y="250"/>
                  <a:pt x="38" y="250"/>
                </a:cubicBezTo>
                <a:cubicBezTo>
                  <a:pt x="39" y="250"/>
                  <a:pt x="39" y="249"/>
                  <a:pt x="39" y="249"/>
                </a:cubicBezTo>
                <a:cubicBezTo>
                  <a:pt x="40" y="249"/>
                  <a:pt x="41" y="249"/>
                  <a:pt x="41" y="250"/>
                </a:cubicBezTo>
                <a:cubicBezTo>
                  <a:pt x="42" y="249"/>
                  <a:pt x="42" y="249"/>
                  <a:pt x="43" y="249"/>
                </a:cubicBezTo>
                <a:cubicBezTo>
                  <a:pt x="46" y="249"/>
                  <a:pt x="46" y="245"/>
                  <a:pt x="49" y="246"/>
                </a:cubicBezTo>
                <a:cubicBezTo>
                  <a:pt x="49" y="247"/>
                  <a:pt x="50" y="250"/>
                  <a:pt x="48" y="250"/>
                </a:cubicBezTo>
                <a:cubicBezTo>
                  <a:pt x="47" y="251"/>
                  <a:pt x="46" y="251"/>
                  <a:pt x="45" y="252"/>
                </a:cubicBezTo>
                <a:cubicBezTo>
                  <a:pt x="46" y="254"/>
                  <a:pt x="44" y="254"/>
                  <a:pt x="44" y="256"/>
                </a:cubicBezTo>
                <a:cubicBezTo>
                  <a:pt x="43" y="256"/>
                  <a:pt x="43" y="258"/>
                  <a:pt x="41" y="258"/>
                </a:cubicBezTo>
                <a:cubicBezTo>
                  <a:pt x="41" y="258"/>
                  <a:pt x="41" y="259"/>
                  <a:pt x="41" y="259"/>
                </a:cubicBezTo>
                <a:cubicBezTo>
                  <a:pt x="41" y="259"/>
                  <a:pt x="39" y="260"/>
                  <a:pt x="39" y="260"/>
                </a:cubicBezTo>
                <a:cubicBezTo>
                  <a:pt x="39" y="260"/>
                  <a:pt x="41" y="263"/>
                  <a:pt x="42" y="263"/>
                </a:cubicBezTo>
                <a:cubicBezTo>
                  <a:pt x="43" y="263"/>
                  <a:pt x="43" y="263"/>
                  <a:pt x="44" y="263"/>
                </a:cubicBezTo>
                <a:cubicBezTo>
                  <a:pt x="44" y="263"/>
                  <a:pt x="45" y="264"/>
                  <a:pt x="45" y="264"/>
                </a:cubicBezTo>
                <a:cubicBezTo>
                  <a:pt x="45" y="264"/>
                  <a:pt x="45" y="264"/>
                  <a:pt x="45" y="264"/>
                </a:cubicBezTo>
                <a:cubicBezTo>
                  <a:pt x="46" y="265"/>
                  <a:pt x="47" y="265"/>
                  <a:pt x="48" y="266"/>
                </a:cubicBezTo>
                <a:cubicBezTo>
                  <a:pt x="48" y="266"/>
                  <a:pt x="48" y="266"/>
                  <a:pt x="48" y="266"/>
                </a:cubicBezTo>
                <a:cubicBezTo>
                  <a:pt x="48" y="266"/>
                  <a:pt x="48" y="267"/>
                  <a:pt x="48" y="267"/>
                </a:cubicBezTo>
                <a:cubicBezTo>
                  <a:pt x="49" y="267"/>
                  <a:pt x="49" y="267"/>
                  <a:pt x="49" y="268"/>
                </a:cubicBezTo>
                <a:cubicBezTo>
                  <a:pt x="49" y="268"/>
                  <a:pt x="49" y="268"/>
                  <a:pt x="50" y="268"/>
                </a:cubicBezTo>
                <a:cubicBezTo>
                  <a:pt x="50" y="269"/>
                  <a:pt x="49" y="269"/>
                  <a:pt x="49" y="270"/>
                </a:cubicBezTo>
                <a:cubicBezTo>
                  <a:pt x="49" y="270"/>
                  <a:pt x="49" y="271"/>
                  <a:pt x="48" y="270"/>
                </a:cubicBezTo>
                <a:cubicBezTo>
                  <a:pt x="48" y="273"/>
                  <a:pt x="49" y="272"/>
                  <a:pt x="49" y="275"/>
                </a:cubicBezTo>
                <a:cubicBezTo>
                  <a:pt x="49" y="275"/>
                  <a:pt x="50" y="275"/>
                  <a:pt x="50" y="275"/>
                </a:cubicBezTo>
                <a:cubicBezTo>
                  <a:pt x="50" y="276"/>
                  <a:pt x="50" y="276"/>
                  <a:pt x="50" y="277"/>
                </a:cubicBezTo>
                <a:cubicBezTo>
                  <a:pt x="53" y="277"/>
                  <a:pt x="54" y="276"/>
                  <a:pt x="57" y="276"/>
                </a:cubicBezTo>
                <a:cubicBezTo>
                  <a:pt x="57" y="277"/>
                  <a:pt x="56" y="278"/>
                  <a:pt x="55" y="278"/>
                </a:cubicBezTo>
                <a:cubicBezTo>
                  <a:pt x="55" y="279"/>
                  <a:pt x="55" y="280"/>
                  <a:pt x="54" y="280"/>
                </a:cubicBezTo>
                <a:cubicBezTo>
                  <a:pt x="54" y="281"/>
                  <a:pt x="54" y="282"/>
                  <a:pt x="54" y="284"/>
                </a:cubicBezTo>
                <a:cubicBezTo>
                  <a:pt x="51" y="283"/>
                  <a:pt x="51" y="285"/>
                  <a:pt x="49" y="284"/>
                </a:cubicBezTo>
                <a:cubicBezTo>
                  <a:pt x="49" y="285"/>
                  <a:pt x="49" y="285"/>
                  <a:pt x="49" y="286"/>
                </a:cubicBezTo>
                <a:cubicBezTo>
                  <a:pt x="49" y="286"/>
                  <a:pt x="48" y="286"/>
                  <a:pt x="48" y="287"/>
                </a:cubicBezTo>
                <a:cubicBezTo>
                  <a:pt x="48" y="288"/>
                  <a:pt x="49" y="288"/>
                  <a:pt x="49" y="289"/>
                </a:cubicBezTo>
                <a:cubicBezTo>
                  <a:pt x="49" y="290"/>
                  <a:pt x="50" y="290"/>
                  <a:pt x="51" y="290"/>
                </a:cubicBezTo>
                <a:cubicBezTo>
                  <a:pt x="51" y="290"/>
                  <a:pt x="51" y="291"/>
                  <a:pt x="52" y="291"/>
                </a:cubicBezTo>
                <a:cubicBezTo>
                  <a:pt x="52" y="291"/>
                  <a:pt x="52" y="291"/>
                  <a:pt x="52" y="291"/>
                </a:cubicBezTo>
                <a:cubicBezTo>
                  <a:pt x="53" y="292"/>
                  <a:pt x="54" y="293"/>
                  <a:pt x="55" y="294"/>
                </a:cubicBezTo>
                <a:cubicBezTo>
                  <a:pt x="56" y="294"/>
                  <a:pt x="56" y="297"/>
                  <a:pt x="57" y="298"/>
                </a:cubicBezTo>
                <a:cubicBezTo>
                  <a:pt x="58" y="298"/>
                  <a:pt x="59" y="298"/>
                  <a:pt x="60" y="298"/>
                </a:cubicBezTo>
                <a:cubicBezTo>
                  <a:pt x="60" y="297"/>
                  <a:pt x="62" y="297"/>
                  <a:pt x="63" y="297"/>
                </a:cubicBezTo>
                <a:cubicBezTo>
                  <a:pt x="63" y="296"/>
                  <a:pt x="65" y="296"/>
                  <a:pt x="65" y="297"/>
                </a:cubicBezTo>
                <a:cubicBezTo>
                  <a:pt x="64" y="298"/>
                  <a:pt x="62" y="298"/>
                  <a:pt x="60" y="298"/>
                </a:cubicBezTo>
                <a:cubicBezTo>
                  <a:pt x="60" y="298"/>
                  <a:pt x="59" y="298"/>
                  <a:pt x="59" y="298"/>
                </a:cubicBezTo>
                <a:cubicBezTo>
                  <a:pt x="58" y="299"/>
                  <a:pt x="57" y="299"/>
                  <a:pt x="56" y="299"/>
                </a:cubicBezTo>
                <a:cubicBezTo>
                  <a:pt x="56" y="299"/>
                  <a:pt x="56" y="300"/>
                  <a:pt x="55" y="300"/>
                </a:cubicBezTo>
                <a:cubicBezTo>
                  <a:pt x="55" y="300"/>
                  <a:pt x="55" y="300"/>
                  <a:pt x="55" y="300"/>
                </a:cubicBezTo>
                <a:cubicBezTo>
                  <a:pt x="54" y="300"/>
                  <a:pt x="54" y="300"/>
                  <a:pt x="54" y="300"/>
                </a:cubicBezTo>
                <a:cubicBezTo>
                  <a:pt x="53" y="300"/>
                  <a:pt x="53" y="300"/>
                  <a:pt x="52" y="300"/>
                </a:cubicBezTo>
                <a:cubicBezTo>
                  <a:pt x="51" y="300"/>
                  <a:pt x="51" y="300"/>
                  <a:pt x="51" y="299"/>
                </a:cubicBezTo>
                <a:cubicBezTo>
                  <a:pt x="51" y="299"/>
                  <a:pt x="51" y="299"/>
                  <a:pt x="50" y="299"/>
                </a:cubicBezTo>
                <a:cubicBezTo>
                  <a:pt x="50" y="299"/>
                  <a:pt x="50" y="300"/>
                  <a:pt x="50" y="300"/>
                </a:cubicBezTo>
                <a:cubicBezTo>
                  <a:pt x="50" y="301"/>
                  <a:pt x="50" y="302"/>
                  <a:pt x="50" y="304"/>
                </a:cubicBezTo>
                <a:cubicBezTo>
                  <a:pt x="47" y="304"/>
                  <a:pt x="49" y="300"/>
                  <a:pt x="47" y="300"/>
                </a:cubicBezTo>
                <a:cubicBezTo>
                  <a:pt x="47" y="299"/>
                  <a:pt x="48" y="298"/>
                  <a:pt x="48" y="297"/>
                </a:cubicBezTo>
                <a:cubicBezTo>
                  <a:pt x="47" y="296"/>
                  <a:pt x="47" y="296"/>
                  <a:pt x="47" y="295"/>
                </a:cubicBezTo>
                <a:cubicBezTo>
                  <a:pt x="46" y="295"/>
                  <a:pt x="46" y="295"/>
                  <a:pt x="46" y="295"/>
                </a:cubicBezTo>
                <a:cubicBezTo>
                  <a:pt x="46" y="294"/>
                  <a:pt x="45" y="294"/>
                  <a:pt x="45" y="293"/>
                </a:cubicBezTo>
                <a:cubicBezTo>
                  <a:pt x="44" y="293"/>
                  <a:pt x="44" y="293"/>
                  <a:pt x="44" y="292"/>
                </a:cubicBezTo>
                <a:cubicBezTo>
                  <a:pt x="44" y="292"/>
                  <a:pt x="43" y="292"/>
                  <a:pt x="43" y="291"/>
                </a:cubicBezTo>
                <a:cubicBezTo>
                  <a:pt x="42" y="290"/>
                  <a:pt x="41" y="289"/>
                  <a:pt x="38" y="289"/>
                </a:cubicBezTo>
                <a:cubicBezTo>
                  <a:pt x="37" y="289"/>
                  <a:pt x="37" y="290"/>
                  <a:pt x="36" y="290"/>
                </a:cubicBezTo>
                <a:cubicBezTo>
                  <a:pt x="36" y="291"/>
                  <a:pt x="36" y="292"/>
                  <a:pt x="36" y="293"/>
                </a:cubicBezTo>
                <a:cubicBezTo>
                  <a:pt x="37" y="294"/>
                  <a:pt x="37" y="295"/>
                  <a:pt x="38" y="295"/>
                </a:cubicBezTo>
                <a:cubicBezTo>
                  <a:pt x="37" y="298"/>
                  <a:pt x="39" y="299"/>
                  <a:pt x="39" y="302"/>
                </a:cubicBezTo>
                <a:cubicBezTo>
                  <a:pt x="40" y="302"/>
                  <a:pt x="41" y="301"/>
                  <a:pt x="41" y="300"/>
                </a:cubicBezTo>
                <a:cubicBezTo>
                  <a:pt x="42" y="301"/>
                  <a:pt x="42" y="302"/>
                  <a:pt x="42" y="303"/>
                </a:cubicBezTo>
                <a:cubicBezTo>
                  <a:pt x="42" y="304"/>
                  <a:pt x="42" y="304"/>
                  <a:pt x="41" y="304"/>
                </a:cubicBezTo>
                <a:cubicBezTo>
                  <a:pt x="41" y="304"/>
                  <a:pt x="41" y="305"/>
                  <a:pt x="41" y="305"/>
                </a:cubicBezTo>
                <a:cubicBezTo>
                  <a:pt x="40" y="305"/>
                  <a:pt x="40" y="305"/>
                  <a:pt x="40" y="306"/>
                </a:cubicBezTo>
                <a:cubicBezTo>
                  <a:pt x="38" y="305"/>
                  <a:pt x="38" y="304"/>
                  <a:pt x="36" y="303"/>
                </a:cubicBezTo>
                <a:cubicBezTo>
                  <a:pt x="35" y="303"/>
                  <a:pt x="36" y="305"/>
                  <a:pt x="36" y="306"/>
                </a:cubicBezTo>
                <a:cubicBezTo>
                  <a:pt x="36" y="306"/>
                  <a:pt x="37" y="306"/>
                  <a:pt x="36" y="307"/>
                </a:cubicBezTo>
                <a:cubicBezTo>
                  <a:pt x="36" y="307"/>
                  <a:pt x="36" y="308"/>
                  <a:pt x="36" y="309"/>
                </a:cubicBezTo>
                <a:cubicBezTo>
                  <a:pt x="36" y="310"/>
                  <a:pt x="37" y="310"/>
                  <a:pt x="37" y="310"/>
                </a:cubicBezTo>
                <a:cubicBezTo>
                  <a:pt x="37" y="310"/>
                  <a:pt x="37" y="311"/>
                  <a:pt x="38" y="311"/>
                </a:cubicBezTo>
                <a:cubicBezTo>
                  <a:pt x="39" y="311"/>
                  <a:pt x="40" y="311"/>
                  <a:pt x="41" y="311"/>
                </a:cubicBezTo>
                <a:cubicBezTo>
                  <a:pt x="43" y="310"/>
                  <a:pt x="43" y="313"/>
                  <a:pt x="45" y="313"/>
                </a:cubicBezTo>
                <a:cubicBezTo>
                  <a:pt x="46" y="313"/>
                  <a:pt x="46" y="314"/>
                  <a:pt x="47" y="314"/>
                </a:cubicBezTo>
                <a:cubicBezTo>
                  <a:pt x="47" y="314"/>
                  <a:pt x="48" y="314"/>
                  <a:pt x="48" y="315"/>
                </a:cubicBezTo>
                <a:cubicBezTo>
                  <a:pt x="50" y="314"/>
                  <a:pt x="50" y="312"/>
                  <a:pt x="51" y="310"/>
                </a:cubicBezTo>
                <a:cubicBezTo>
                  <a:pt x="52" y="310"/>
                  <a:pt x="53" y="310"/>
                  <a:pt x="53" y="309"/>
                </a:cubicBezTo>
                <a:cubicBezTo>
                  <a:pt x="54" y="310"/>
                  <a:pt x="56" y="310"/>
                  <a:pt x="56" y="312"/>
                </a:cubicBezTo>
                <a:cubicBezTo>
                  <a:pt x="58" y="312"/>
                  <a:pt x="58" y="314"/>
                  <a:pt x="59" y="315"/>
                </a:cubicBezTo>
                <a:cubicBezTo>
                  <a:pt x="60" y="315"/>
                  <a:pt x="61" y="314"/>
                  <a:pt x="64" y="314"/>
                </a:cubicBezTo>
                <a:cubicBezTo>
                  <a:pt x="65" y="314"/>
                  <a:pt x="65" y="315"/>
                  <a:pt x="66" y="315"/>
                </a:cubicBezTo>
                <a:cubicBezTo>
                  <a:pt x="67" y="316"/>
                  <a:pt x="68" y="315"/>
                  <a:pt x="68" y="316"/>
                </a:cubicBezTo>
                <a:cubicBezTo>
                  <a:pt x="71" y="316"/>
                  <a:pt x="71" y="318"/>
                  <a:pt x="74" y="317"/>
                </a:cubicBezTo>
                <a:cubicBezTo>
                  <a:pt x="74" y="317"/>
                  <a:pt x="74" y="317"/>
                  <a:pt x="74" y="317"/>
                </a:cubicBezTo>
                <a:cubicBezTo>
                  <a:pt x="74" y="319"/>
                  <a:pt x="73" y="319"/>
                  <a:pt x="73" y="321"/>
                </a:cubicBezTo>
                <a:cubicBezTo>
                  <a:pt x="73" y="324"/>
                  <a:pt x="75" y="323"/>
                  <a:pt x="75" y="326"/>
                </a:cubicBezTo>
                <a:cubicBezTo>
                  <a:pt x="74" y="327"/>
                  <a:pt x="73" y="328"/>
                  <a:pt x="71" y="328"/>
                </a:cubicBezTo>
                <a:cubicBezTo>
                  <a:pt x="71" y="328"/>
                  <a:pt x="71" y="328"/>
                  <a:pt x="71" y="328"/>
                </a:cubicBezTo>
                <a:cubicBezTo>
                  <a:pt x="70" y="330"/>
                  <a:pt x="67" y="329"/>
                  <a:pt x="67" y="332"/>
                </a:cubicBezTo>
                <a:cubicBezTo>
                  <a:pt x="67" y="333"/>
                  <a:pt x="69" y="332"/>
                  <a:pt x="69" y="333"/>
                </a:cubicBezTo>
                <a:cubicBezTo>
                  <a:pt x="69" y="334"/>
                  <a:pt x="70" y="333"/>
                  <a:pt x="71" y="333"/>
                </a:cubicBezTo>
                <a:cubicBezTo>
                  <a:pt x="71" y="333"/>
                  <a:pt x="72" y="334"/>
                  <a:pt x="73" y="334"/>
                </a:cubicBezTo>
                <a:cubicBezTo>
                  <a:pt x="73" y="335"/>
                  <a:pt x="74" y="336"/>
                  <a:pt x="74" y="338"/>
                </a:cubicBezTo>
                <a:cubicBezTo>
                  <a:pt x="74" y="338"/>
                  <a:pt x="75" y="338"/>
                  <a:pt x="75" y="339"/>
                </a:cubicBezTo>
                <a:cubicBezTo>
                  <a:pt x="75" y="339"/>
                  <a:pt x="76" y="339"/>
                  <a:pt x="76" y="340"/>
                </a:cubicBezTo>
                <a:cubicBezTo>
                  <a:pt x="77" y="340"/>
                  <a:pt x="77" y="341"/>
                  <a:pt x="76" y="341"/>
                </a:cubicBezTo>
                <a:cubicBezTo>
                  <a:pt x="76" y="342"/>
                  <a:pt x="76" y="343"/>
                  <a:pt x="76" y="344"/>
                </a:cubicBezTo>
                <a:cubicBezTo>
                  <a:pt x="78" y="344"/>
                  <a:pt x="79" y="344"/>
                  <a:pt x="81" y="344"/>
                </a:cubicBezTo>
                <a:cubicBezTo>
                  <a:pt x="81" y="344"/>
                  <a:pt x="81" y="343"/>
                  <a:pt x="82" y="344"/>
                </a:cubicBezTo>
                <a:cubicBezTo>
                  <a:pt x="82" y="343"/>
                  <a:pt x="82" y="342"/>
                  <a:pt x="83" y="342"/>
                </a:cubicBezTo>
                <a:cubicBezTo>
                  <a:pt x="82" y="344"/>
                  <a:pt x="86" y="345"/>
                  <a:pt x="86" y="344"/>
                </a:cubicBezTo>
                <a:cubicBezTo>
                  <a:pt x="88" y="344"/>
                  <a:pt x="86" y="346"/>
                  <a:pt x="86" y="346"/>
                </a:cubicBezTo>
                <a:cubicBezTo>
                  <a:pt x="86" y="347"/>
                  <a:pt x="90" y="347"/>
                  <a:pt x="89" y="346"/>
                </a:cubicBezTo>
                <a:cubicBezTo>
                  <a:pt x="91" y="346"/>
                  <a:pt x="89" y="350"/>
                  <a:pt x="91" y="350"/>
                </a:cubicBezTo>
                <a:cubicBezTo>
                  <a:pt x="91" y="351"/>
                  <a:pt x="90" y="350"/>
                  <a:pt x="89" y="351"/>
                </a:cubicBezTo>
                <a:cubicBezTo>
                  <a:pt x="89" y="352"/>
                  <a:pt x="90" y="352"/>
                  <a:pt x="91" y="352"/>
                </a:cubicBezTo>
                <a:cubicBezTo>
                  <a:pt x="91" y="353"/>
                  <a:pt x="90" y="353"/>
                  <a:pt x="90" y="354"/>
                </a:cubicBezTo>
                <a:cubicBezTo>
                  <a:pt x="90" y="354"/>
                  <a:pt x="89" y="355"/>
                  <a:pt x="89" y="355"/>
                </a:cubicBezTo>
                <a:cubicBezTo>
                  <a:pt x="89" y="355"/>
                  <a:pt x="88" y="354"/>
                  <a:pt x="88" y="354"/>
                </a:cubicBezTo>
                <a:cubicBezTo>
                  <a:pt x="88" y="354"/>
                  <a:pt x="88" y="354"/>
                  <a:pt x="87" y="354"/>
                </a:cubicBezTo>
                <a:cubicBezTo>
                  <a:pt x="87" y="352"/>
                  <a:pt x="87" y="352"/>
                  <a:pt x="85" y="352"/>
                </a:cubicBezTo>
                <a:cubicBezTo>
                  <a:pt x="83" y="351"/>
                  <a:pt x="83" y="353"/>
                  <a:pt x="82" y="353"/>
                </a:cubicBezTo>
                <a:cubicBezTo>
                  <a:pt x="80" y="354"/>
                  <a:pt x="80" y="355"/>
                  <a:pt x="80" y="356"/>
                </a:cubicBezTo>
                <a:cubicBezTo>
                  <a:pt x="79" y="358"/>
                  <a:pt x="81" y="359"/>
                  <a:pt x="80" y="359"/>
                </a:cubicBezTo>
                <a:cubicBezTo>
                  <a:pt x="80" y="360"/>
                  <a:pt x="81" y="359"/>
                  <a:pt x="81" y="360"/>
                </a:cubicBezTo>
                <a:cubicBezTo>
                  <a:pt x="81" y="361"/>
                  <a:pt x="82" y="361"/>
                  <a:pt x="82" y="362"/>
                </a:cubicBezTo>
                <a:cubicBezTo>
                  <a:pt x="86" y="362"/>
                  <a:pt x="86" y="362"/>
                  <a:pt x="86" y="362"/>
                </a:cubicBezTo>
                <a:cubicBezTo>
                  <a:pt x="85" y="362"/>
                  <a:pt x="85" y="361"/>
                  <a:pt x="85" y="360"/>
                </a:cubicBezTo>
                <a:cubicBezTo>
                  <a:pt x="85" y="360"/>
                  <a:pt x="85" y="359"/>
                  <a:pt x="86" y="359"/>
                </a:cubicBezTo>
                <a:cubicBezTo>
                  <a:pt x="86" y="359"/>
                  <a:pt x="87" y="358"/>
                  <a:pt x="87" y="358"/>
                </a:cubicBezTo>
                <a:cubicBezTo>
                  <a:pt x="89" y="358"/>
                  <a:pt x="89" y="359"/>
                  <a:pt x="91" y="359"/>
                </a:cubicBezTo>
                <a:cubicBezTo>
                  <a:pt x="93" y="358"/>
                  <a:pt x="95" y="357"/>
                  <a:pt x="98" y="357"/>
                </a:cubicBezTo>
                <a:cubicBezTo>
                  <a:pt x="100" y="357"/>
                  <a:pt x="102" y="355"/>
                  <a:pt x="105" y="355"/>
                </a:cubicBezTo>
                <a:cubicBezTo>
                  <a:pt x="105" y="355"/>
                  <a:pt x="106" y="355"/>
                  <a:pt x="107" y="355"/>
                </a:cubicBezTo>
                <a:cubicBezTo>
                  <a:pt x="107" y="354"/>
                  <a:pt x="108" y="354"/>
                  <a:pt x="108" y="353"/>
                </a:cubicBezTo>
                <a:cubicBezTo>
                  <a:pt x="111" y="353"/>
                  <a:pt x="111" y="353"/>
                  <a:pt x="111" y="353"/>
                </a:cubicBezTo>
                <a:cubicBezTo>
                  <a:pt x="113" y="352"/>
                  <a:pt x="116" y="350"/>
                  <a:pt x="119" y="350"/>
                </a:cubicBezTo>
                <a:cubicBezTo>
                  <a:pt x="119" y="350"/>
                  <a:pt x="119" y="351"/>
                  <a:pt x="119" y="351"/>
                </a:cubicBezTo>
                <a:cubicBezTo>
                  <a:pt x="118" y="352"/>
                  <a:pt x="117" y="352"/>
                  <a:pt x="116" y="353"/>
                </a:cubicBezTo>
                <a:cubicBezTo>
                  <a:pt x="116" y="353"/>
                  <a:pt x="116" y="354"/>
                  <a:pt x="115" y="354"/>
                </a:cubicBezTo>
                <a:cubicBezTo>
                  <a:pt x="115" y="354"/>
                  <a:pt x="115" y="354"/>
                  <a:pt x="115" y="355"/>
                </a:cubicBezTo>
                <a:cubicBezTo>
                  <a:pt x="115" y="356"/>
                  <a:pt x="113" y="355"/>
                  <a:pt x="112" y="356"/>
                </a:cubicBezTo>
                <a:cubicBezTo>
                  <a:pt x="112" y="356"/>
                  <a:pt x="112" y="357"/>
                  <a:pt x="112" y="357"/>
                </a:cubicBezTo>
                <a:cubicBezTo>
                  <a:pt x="112" y="357"/>
                  <a:pt x="111" y="358"/>
                  <a:pt x="110" y="357"/>
                </a:cubicBezTo>
                <a:cubicBezTo>
                  <a:pt x="110" y="358"/>
                  <a:pt x="109" y="358"/>
                  <a:pt x="109" y="358"/>
                </a:cubicBezTo>
                <a:cubicBezTo>
                  <a:pt x="109" y="359"/>
                  <a:pt x="108" y="359"/>
                  <a:pt x="108" y="360"/>
                </a:cubicBezTo>
                <a:cubicBezTo>
                  <a:pt x="108" y="360"/>
                  <a:pt x="108" y="361"/>
                  <a:pt x="107" y="361"/>
                </a:cubicBezTo>
                <a:cubicBezTo>
                  <a:pt x="109" y="363"/>
                  <a:pt x="113" y="362"/>
                  <a:pt x="114" y="364"/>
                </a:cubicBezTo>
                <a:cubicBezTo>
                  <a:pt x="114" y="367"/>
                  <a:pt x="112" y="366"/>
                  <a:pt x="112" y="367"/>
                </a:cubicBezTo>
                <a:cubicBezTo>
                  <a:pt x="111" y="367"/>
                  <a:pt x="110" y="367"/>
                  <a:pt x="110" y="369"/>
                </a:cubicBezTo>
                <a:cubicBezTo>
                  <a:pt x="109" y="369"/>
                  <a:pt x="111" y="369"/>
                  <a:pt x="111" y="369"/>
                </a:cubicBezTo>
                <a:cubicBezTo>
                  <a:pt x="111" y="369"/>
                  <a:pt x="111" y="370"/>
                  <a:pt x="111" y="370"/>
                </a:cubicBezTo>
                <a:cubicBezTo>
                  <a:pt x="112" y="370"/>
                  <a:pt x="112" y="370"/>
                  <a:pt x="113" y="370"/>
                </a:cubicBezTo>
                <a:cubicBezTo>
                  <a:pt x="113" y="371"/>
                  <a:pt x="113" y="372"/>
                  <a:pt x="114" y="372"/>
                </a:cubicBezTo>
                <a:cubicBezTo>
                  <a:pt x="116" y="372"/>
                  <a:pt x="115" y="369"/>
                  <a:pt x="117" y="369"/>
                </a:cubicBezTo>
                <a:cubicBezTo>
                  <a:pt x="118" y="367"/>
                  <a:pt x="119" y="366"/>
                  <a:pt x="121" y="365"/>
                </a:cubicBezTo>
                <a:cubicBezTo>
                  <a:pt x="121" y="364"/>
                  <a:pt x="120" y="364"/>
                  <a:pt x="120" y="363"/>
                </a:cubicBezTo>
                <a:cubicBezTo>
                  <a:pt x="120" y="363"/>
                  <a:pt x="119" y="363"/>
                  <a:pt x="119" y="362"/>
                </a:cubicBezTo>
                <a:cubicBezTo>
                  <a:pt x="119" y="361"/>
                  <a:pt x="122" y="362"/>
                  <a:pt x="123" y="362"/>
                </a:cubicBezTo>
                <a:cubicBezTo>
                  <a:pt x="124" y="362"/>
                  <a:pt x="125" y="361"/>
                  <a:pt x="126" y="361"/>
                </a:cubicBezTo>
                <a:cubicBezTo>
                  <a:pt x="126" y="360"/>
                  <a:pt x="125" y="360"/>
                  <a:pt x="124" y="360"/>
                </a:cubicBezTo>
                <a:cubicBezTo>
                  <a:pt x="125" y="356"/>
                  <a:pt x="126" y="361"/>
                  <a:pt x="128" y="360"/>
                </a:cubicBezTo>
                <a:cubicBezTo>
                  <a:pt x="129" y="360"/>
                  <a:pt x="129" y="360"/>
                  <a:pt x="129" y="360"/>
                </a:cubicBezTo>
                <a:cubicBezTo>
                  <a:pt x="130" y="360"/>
                  <a:pt x="130" y="360"/>
                  <a:pt x="131" y="360"/>
                </a:cubicBezTo>
                <a:cubicBezTo>
                  <a:pt x="132" y="360"/>
                  <a:pt x="132" y="361"/>
                  <a:pt x="132" y="362"/>
                </a:cubicBezTo>
                <a:cubicBezTo>
                  <a:pt x="132" y="363"/>
                  <a:pt x="133" y="363"/>
                  <a:pt x="133" y="364"/>
                </a:cubicBezTo>
                <a:cubicBezTo>
                  <a:pt x="135" y="364"/>
                  <a:pt x="135" y="363"/>
                  <a:pt x="137" y="363"/>
                </a:cubicBezTo>
                <a:cubicBezTo>
                  <a:pt x="138" y="364"/>
                  <a:pt x="139" y="365"/>
                  <a:pt x="140" y="364"/>
                </a:cubicBezTo>
                <a:cubicBezTo>
                  <a:pt x="140" y="366"/>
                  <a:pt x="141" y="366"/>
                  <a:pt x="141" y="367"/>
                </a:cubicBezTo>
                <a:cubicBezTo>
                  <a:pt x="141" y="367"/>
                  <a:pt x="141" y="368"/>
                  <a:pt x="142" y="368"/>
                </a:cubicBezTo>
                <a:cubicBezTo>
                  <a:pt x="142" y="368"/>
                  <a:pt x="143" y="368"/>
                  <a:pt x="143" y="368"/>
                </a:cubicBezTo>
                <a:cubicBezTo>
                  <a:pt x="143" y="368"/>
                  <a:pt x="143" y="368"/>
                  <a:pt x="143" y="368"/>
                </a:cubicBezTo>
                <a:cubicBezTo>
                  <a:pt x="144" y="366"/>
                  <a:pt x="145" y="366"/>
                  <a:pt x="145" y="364"/>
                </a:cubicBezTo>
                <a:cubicBezTo>
                  <a:pt x="145" y="364"/>
                  <a:pt x="145" y="364"/>
                  <a:pt x="145" y="364"/>
                </a:cubicBezTo>
                <a:cubicBezTo>
                  <a:pt x="145" y="364"/>
                  <a:pt x="145" y="364"/>
                  <a:pt x="144" y="364"/>
                </a:cubicBezTo>
                <a:cubicBezTo>
                  <a:pt x="144" y="364"/>
                  <a:pt x="144" y="363"/>
                  <a:pt x="144" y="363"/>
                </a:cubicBezTo>
                <a:cubicBezTo>
                  <a:pt x="144" y="360"/>
                  <a:pt x="144" y="360"/>
                  <a:pt x="144" y="360"/>
                </a:cubicBezTo>
                <a:cubicBezTo>
                  <a:pt x="144" y="360"/>
                  <a:pt x="144" y="360"/>
                  <a:pt x="145" y="360"/>
                </a:cubicBezTo>
                <a:cubicBezTo>
                  <a:pt x="145" y="359"/>
                  <a:pt x="146" y="359"/>
                  <a:pt x="146" y="360"/>
                </a:cubicBezTo>
                <a:cubicBezTo>
                  <a:pt x="146" y="360"/>
                  <a:pt x="147" y="360"/>
                  <a:pt x="149" y="360"/>
                </a:cubicBezTo>
                <a:cubicBezTo>
                  <a:pt x="149" y="360"/>
                  <a:pt x="149" y="359"/>
                  <a:pt x="149" y="360"/>
                </a:cubicBezTo>
                <a:cubicBezTo>
                  <a:pt x="150" y="360"/>
                  <a:pt x="150" y="360"/>
                  <a:pt x="150" y="360"/>
                </a:cubicBezTo>
                <a:cubicBezTo>
                  <a:pt x="150" y="361"/>
                  <a:pt x="150" y="361"/>
                  <a:pt x="149" y="361"/>
                </a:cubicBezTo>
                <a:cubicBezTo>
                  <a:pt x="149" y="362"/>
                  <a:pt x="149" y="362"/>
                  <a:pt x="149" y="362"/>
                </a:cubicBezTo>
                <a:cubicBezTo>
                  <a:pt x="149" y="363"/>
                  <a:pt x="149" y="363"/>
                  <a:pt x="149" y="363"/>
                </a:cubicBezTo>
                <a:cubicBezTo>
                  <a:pt x="149" y="364"/>
                  <a:pt x="149" y="364"/>
                  <a:pt x="149" y="364"/>
                </a:cubicBezTo>
                <a:cubicBezTo>
                  <a:pt x="149" y="365"/>
                  <a:pt x="151" y="366"/>
                  <a:pt x="152" y="367"/>
                </a:cubicBezTo>
                <a:cubicBezTo>
                  <a:pt x="152" y="369"/>
                  <a:pt x="153" y="371"/>
                  <a:pt x="153" y="373"/>
                </a:cubicBezTo>
                <a:cubicBezTo>
                  <a:pt x="154" y="374"/>
                  <a:pt x="155" y="373"/>
                  <a:pt x="156" y="374"/>
                </a:cubicBezTo>
                <a:cubicBezTo>
                  <a:pt x="156" y="374"/>
                  <a:pt x="156" y="374"/>
                  <a:pt x="156" y="374"/>
                </a:cubicBezTo>
                <a:cubicBezTo>
                  <a:pt x="156" y="374"/>
                  <a:pt x="157" y="374"/>
                  <a:pt x="157" y="374"/>
                </a:cubicBezTo>
                <a:cubicBezTo>
                  <a:pt x="157" y="375"/>
                  <a:pt x="158" y="376"/>
                  <a:pt x="160" y="376"/>
                </a:cubicBezTo>
                <a:cubicBezTo>
                  <a:pt x="160" y="376"/>
                  <a:pt x="161" y="376"/>
                  <a:pt x="161" y="377"/>
                </a:cubicBezTo>
                <a:cubicBezTo>
                  <a:pt x="161" y="377"/>
                  <a:pt x="161" y="377"/>
                  <a:pt x="161" y="377"/>
                </a:cubicBezTo>
                <a:cubicBezTo>
                  <a:pt x="163" y="378"/>
                  <a:pt x="163" y="378"/>
                  <a:pt x="165" y="378"/>
                </a:cubicBezTo>
                <a:cubicBezTo>
                  <a:pt x="165" y="378"/>
                  <a:pt x="165" y="378"/>
                  <a:pt x="165" y="378"/>
                </a:cubicBezTo>
                <a:cubicBezTo>
                  <a:pt x="166" y="378"/>
                  <a:pt x="167" y="378"/>
                  <a:pt x="168" y="378"/>
                </a:cubicBezTo>
                <a:cubicBezTo>
                  <a:pt x="168" y="378"/>
                  <a:pt x="168" y="378"/>
                  <a:pt x="168" y="378"/>
                </a:cubicBezTo>
                <a:cubicBezTo>
                  <a:pt x="172" y="378"/>
                  <a:pt x="175" y="378"/>
                  <a:pt x="179" y="378"/>
                </a:cubicBezTo>
                <a:cubicBezTo>
                  <a:pt x="179" y="379"/>
                  <a:pt x="179" y="380"/>
                  <a:pt x="179" y="381"/>
                </a:cubicBezTo>
                <a:cubicBezTo>
                  <a:pt x="179" y="381"/>
                  <a:pt x="180" y="380"/>
                  <a:pt x="180" y="379"/>
                </a:cubicBezTo>
                <a:cubicBezTo>
                  <a:pt x="181" y="379"/>
                  <a:pt x="181" y="379"/>
                  <a:pt x="181" y="379"/>
                </a:cubicBezTo>
                <a:cubicBezTo>
                  <a:pt x="181" y="378"/>
                  <a:pt x="181" y="378"/>
                  <a:pt x="181" y="378"/>
                </a:cubicBezTo>
                <a:cubicBezTo>
                  <a:pt x="181" y="377"/>
                  <a:pt x="182" y="377"/>
                  <a:pt x="183" y="376"/>
                </a:cubicBezTo>
                <a:cubicBezTo>
                  <a:pt x="183" y="376"/>
                  <a:pt x="183" y="376"/>
                  <a:pt x="183" y="376"/>
                </a:cubicBezTo>
                <a:cubicBezTo>
                  <a:pt x="185" y="376"/>
                  <a:pt x="185" y="374"/>
                  <a:pt x="186" y="374"/>
                </a:cubicBezTo>
                <a:cubicBezTo>
                  <a:pt x="186" y="374"/>
                  <a:pt x="186" y="374"/>
                  <a:pt x="186" y="374"/>
                </a:cubicBezTo>
                <a:cubicBezTo>
                  <a:pt x="187" y="373"/>
                  <a:pt x="188" y="373"/>
                  <a:pt x="189" y="372"/>
                </a:cubicBezTo>
                <a:cubicBezTo>
                  <a:pt x="190" y="372"/>
                  <a:pt x="191" y="371"/>
                  <a:pt x="192" y="371"/>
                </a:cubicBezTo>
                <a:cubicBezTo>
                  <a:pt x="193" y="370"/>
                  <a:pt x="193" y="370"/>
                  <a:pt x="193" y="370"/>
                </a:cubicBezTo>
                <a:cubicBezTo>
                  <a:pt x="194" y="369"/>
                  <a:pt x="194" y="369"/>
                  <a:pt x="194" y="368"/>
                </a:cubicBezTo>
                <a:cubicBezTo>
                  <a:pt x="195" y="368"/>
                  <a:pt x="195" y="368"/>
                  <a:pt x="195" y="367"/>
                </a:cubicBezTo>
                <a:cubicBezTo>
                  <a:pt x="197" y="368"/>
                  <a:pt x="200" y="366"/>
                  <a:pt x="201" y="368"/>
                </a:cubicBezTo>
                <a:cubicBezTo>
                  <a:pt x="201" y="368"/>
                  <a:pt x="202" y="368"/>
                  <a:pt x="202" y="369"/>
                </a:cubicBezTo>
                <a:cubicBezTo>
                  <a:pt x="202" y="369"/>
                  <a:pt x="202" y="370"/>
                  <a:pt x="202" y="371"/>
                </a:cubicBezTo>
                <a:cubicBezTo>
                  <a:pt x="203" y="370"/>
                  <a:pt x="203" y="370"/>
                  <a:pt x="204" y="369"/>
                </a:cubicBezTo>
                <a:cubicBezTo>
                  <a:pt x="204" y="368"/>
                  <a:pt x="205" y="368"/>
                  <a:pt x="205" y="367"/>
                </a:cubicBezTo>
                <a:cubicBezTo>
                  <a:pt x="205" y="364"/>
                  <a:pt x="204" y="362"/>
                  <a:pt x="204" y="361"/>
                </a:cubicBezTo>
                <a:cubicBezTo>
                  <a:pt x="204" y="360"/>
                  <a:pt x="204" y="359"/>
                  <a:pt x="204" y="358"/>
                </a:cubicBezTo>
                <a:cubicBezTo>
                  <a:pt x="204" y="358"/>
                  <a:pt x="204" y="358"/>
                  <a:pt x="204" y="357"/>
                </a:cubicBezTo>
                <a:cubicBezTo>
                  <a:pt x="204" y="356"/>
                  <a:pt x="204" y="355"/>
                  <a:pt x="205" y="354"/>
                </a:cubicBezTo>
                <a:cubicBezTo>
                  <a:pt x="205" y="354"/>
                  <a:pt x="206" y="354"/>
                  <a:pt x="206" y="354"/>
                </a:cubicBezTo>
                <a:cubicBezTo>
                  <a:pt x="206" y="353"/>
                  <a:pt x="206" y="352"/>
                  <a:pt x="206" y="351"/>
                </a:cubicBezTo>
                <a:cubicBezTo>
                  <a:pt x="206" y="350"/>
                  <a:pt x="206" y="350"/>
                  <a:pt x="206" y="350"/>
                </a:cubicBezTo>
                <a:cubicBezTo>
                  <a:pt x="205" y="350"/>
                  <a:pt x="205" y="349"/>
                  <a:pt x="205" y="349"/>
                </a:cubicBezTo>
                <a:cubicBezTo>
                  <a:pt x="204" y="349"/>
                  <a:pt x="205" y="347"/>
                  <a:pt x="204" y="347"/>
                </a:cubicBezTo>
                <a:cubicBezTo>
                  <a:pt x="204" y="345"/>
                  <a:pt x="204" y="342"/>
                  <a:pt x="204" y="340"/>
                </a:cubicBezTo>
                <a:cubicBezTo>
                  <a:pt x="204" y="340"/>
                  <a:pt x="205" y="339"/>
                  <a:pt x="206" y="339"/>
                </a:cubicBezTo>
                <a:cubicBezTo>
                  <a:pt x="206" y="340"/>
                  <a:pt x="206" y="339"/>
                  <a:pt x="206" y="339"/>
                </a:cubicBezTo>
                <a:cubicBezTo>
                  <a:pt x="208" y="339"/>
                  <a:pt x="209" y="339"/>
                  <a:pt x="211" y="339"/>
                </a:cubicBezTo>
                <a:cubicBezTo>
                  <a:pt x="215" y="338"/>
                  <a:pt x="219" y="337"/>
                  <a:pt x="222" y="336"/>
                </a:cubicBezTo>
                <a:cubicBezTo>
                  <a:pt x="224" y="336"/>
                  <a:pt x="225" y="336"/>
                  <a:pt x="227" y="336"/>
                </a:cubicBezTo>
                <a:cubicBezTo>
                  <a:pt x="227" y="336"/>
                  <a:pt x="227" y="336"/>
                  <a:pt x="227" y="336"/>
                </a:cubicBezTo>
                <a:cubicBezTo>
                  <a:pt x="228" y="336"/>
                  <a:pt x="229" y="336"/>
                  <a:pt x="230" y="335"/>
                </a:cubicBezTo>
                <a:cubicBezTo>
                  <a:pt x="230" y="335"/>
                  <a:pt x="231" y="335"/>
                  <a:pt x="231" y="335"/>
                </a:cubicBezTo>
                <a:cubicBezTo>
                  <a:pt x="232" y="336"/>
                  <a:pt x="232" y="337"/>
                  <a:pt x="233" y="337"/>
                </a:cubicBezTo>
                <a:cubicBezTo>
                  <a:pt x="235" y="337"/>
                  <a:pt x="236" y="339"/>
                  <a:pt x="238" y="338"/>
                </a:cubicBezTo>
                <a:cubicBezTo>
                  <a:pt x="240" y="338"/>
                  <a:pt x="241" y="339"/>
                  <a:pt x="242" y="339"/>
                </a:cubicBezTo>
                <a:cubicBezTo>
                  <a:pt x="243" y="339"/>
                  <a:pt x="244" y="339"/>
                  <a:pt x="245" y="339"/>
                </a:cubicBezTo>
                <a:cubicBezTo>
                  <a:pt x="247" y="339"/>
                  <a:pt x="248" y="340"/>
                  <a:pt x="249" y="341"/>
                </a:cubicBezTo>
                <a:cubicBezTo>
                  <a:pt x="253" y="340"/>
                  <a:pt x="255" y="342"/>
                  <a:pt x="259" y="342"/>
                </a:cubicBezTo>
                <a:cubicBezTo>
                  <a:pt x="260" y="343"/>
                  <a:pt x="260" y="343"/>
                  <a:pt x="260" y="343"/>
                </a:cubicBezTo>
                <a:cubicBezTo>
                  <a:pt x="260" y="343"/>
                  <a:pt x="261" y="343"/>
                  <a:pt x="261" y="343"/>
                </a:cubicBezTo>
                <a:cubicBezTo>
                  <a:pt x="262" y="343"/>
                  <a:pt x="262" y="346"/>
                  <a:pt x="264" y="345"/>
                </a:cubicBezTo>
                <a:cubicBezTo>
                  <a:pt x="264" y="345"/>
                  <a:pt x="264" y="345"/>
                  <a:pt x="264" y="345"/>
                </a:cubicBezTo>
                <a:cubicBezTo>
                  <a:pt x="265" y="345"/>
                  <a:pt x="265" y="346"/>
                  <a:pt x="266" y="347"/>
                </a:cubicBezTo>
                <a:cubicBezTo>
                  <a:pt x="266" y="347"/>
                  <a:pt x="266" y="347"/>
                  <a:pt x="266" y="347"/>
                </a:cubicBezTo>
                <a:cubicBezTo>
                  <a:pt x="267" y="348"/>
                  <a:pt x="267" y="349"/>
                  <a:pt x="268" y="350"/>
                </a:cubicBezTo>
                <a:cubicBezTo>
                  <a:pt x="268" y="350"/>
                  <a:pt x="268" y="350"/>
                  <a:pt x="268" y="350"/>
                </a:cubicBezTo>
                <a:cubicBezTo>
                  <a:pt x="268" y="352"/>
                  <a:pt x="270" y="351"/>
                  <a:pt x="270" y="353"/>
                </a:cubicBezTo>
                <a:cubicBezTo>
                  <a:pt x="271" y="353"/>
                  <a:pt x="272" y="352"/>
                  <a:pt x="272" y="353"/>
                </a:cubicBezTo>
                <a:cubicBezTo>
                  <a:pt x="272" y="354"/>
                  <a:pt x="273" y="354"/>
                  <a:pt x="273" y="355"/>
                </a:cubicBezTo>
                <a:cubicBezTo>
                  <a:pt x="275" y="355"/>
                  <a:pt x="276" y="354"/>
                  <a:pt x="277" y="354"/>
                </a:cubicBezTo>
                <a:cubicBezTo>
                  <a:pt x="278" y="355"/>
                  <a:pt x="279" y="355"/>
                  <a:pt x="280" y="355"/>
                </a:cubicBezTo>
                <a:cubicBezTo>
                  <a:pt x="280" y="355"/>
                  <a:pt x="280" y="355"/>
                  <a:pt x="280" y="356"/>
                </a:cubicBezTo>
                <a:cubicBezTo>
                  <a:pt x="281" y="356"/>
                  <a:pt x="281" y="355"/>
                  <a:pt x="282" y="355"/>
                </a:cubicBezTo>
                <a:cubicBezTo>
                  <a:pt x="286" y="355"/>
                  <a:pt x="286" y="355"/>
                  <a:pt x="286" y="355"/>
                </a:cubicBezTo>
                <a:cubicBezTo>
                  <a:pt x="288" y="355"/>
                  <a:pt x="288" y="356"/>
                  <a:pt x="289" y="356"/>
                </a:cubicBezTo>
                <a:cubicBezTo>
                  <a:pt x="291" y="356"/>
                  <a:pt x="292" y="355"/>
                  <a:pt x="293" y="354"/>
                </a:cubicBezTo>
                <a:cubicBezTo>
                  <a:pt x="294" y="353"/>
                  <a:pt x="296" y="353"/>
                  <a:pt x="296" y="352"/>
                </a:cubicBezTo>
                <a:cubicBezTo>
                  <a:pt x="300" y="352"/>
                  <a:pt x="300" y="352"/>
                  <a:pt x="300" y="352"/>
                </a:cubicBezTo>
                <a:cubicBezTo>
                  <a:pt x="300" y="352"/>
                  <a:pt x="301" y="351"/>
                  <a:pt x="301" y="351"/>
                </a:cubicBezTo>
                <a:cubicBezTo>
                  <a:pt x="301" y="351"/>
                  <a:pt x="301" y="351"/>
                  <a:pt x="301" y="351"/>
                </a:cubicBezTo>
                <a:cubicBezTo>
                  <a:pt x="303" y="350"/>
                  <a:pt x="303" y="349"/>
                  <a:pt x="304" y="348"/>
                </a:cubicBezTo>
                <a:cubicBezTo>
                  <a:pt x="304" y="348"/>
                  <a:pt x="304" y="348"/>
                  <a:pt x="304" y="348"/>
                </a:cubicBezTo>
                <a:cubicBezTo>
                  <a:pt x="305" y="348"/>
                  <a:pt x="305" y="348"/>
                  <a:pt x="306" y="348"/>
                </a:cubicBezTo>
                <a:cubicBezTo>
                  <a:pt x="306" y="348"/>
                  <a:pt x="306" y="348"/>
                  <a:pt x="306" y="348"/>
                </a:cubicBezTo>
                <a:cubicBezTo>
                  <a:pt x="308" y="348"/>
                  <a:pt x="308" y="347"/>
                  <a:pt x="309" y="346"/>
                </a:cubicBezTo>
                <a:cubicBezTo>
                  <a:pt x="309" y="346"/>
                  <a:pt x="309" y="346"/>
                  <a:pt x="310" y="346"/>
                </a:cubicBezTo>
                <a:cubicBezTo>
                  <a:pt x="310" y="346"/>
                  <a:pt x="310" y="346"/>
                  <a:pt x="310" y="346"/>
                </a:cubicBezTo>
                <a:cubicBezTo>
                  <a:pt x="311" y="347"/>
                  <a:pt x="312" y="346"/>
                  <a:pt x="312" y="346"/>
                </a:cubicBezTo>
                <a:cubicBezTo>
                  <a:pt x="312" y="346"/>
                  <a:pt x="313" y="345"/>
                  <a:pt x="313" y="345"/>
                </a:cubicBezTo>
                <a:cubicBezTo>
                  <a:pt x="313" y="344"/>
                  <a:pt x="315" y="344"/>
                  <a:pt x="316" y="344"/>
                </a:cubicBezTo>
                <a:cubicBezTo>
                  <a:pt x="316" y="344"/>
                  <a:pt x="316" y="344"/>
                  <a:pt x="316" y="344"/>
                </a:cubicBezTo>
                <a:cubicBezTo>
                  <a:pt x="317" y="344"/>
                  <a:pt x="317" y="344"/>
                  <a:pt x="317" y="344"/>
                </a:cubicBezTo>
                <a:cubicBezTo>
                  <a:pt x="318" y="344"/>
                  <a:pt x="318" y="343"/>
                  <a:pt x="318" y="343"/>
                </a:cubicBezTo>
                <a:cubicBezTo>
                  <a:pt x="318" y="343"/>
                  <a:pt x="319" y="343"/>
                  <a:pt x="319" y="342"/>
                </a:cubicBezTo>
                <a:cubicBezTo>
                  <a:pt x="321" y="342"/>
                  <a:pt x="321" y="342"/>
                  <a:pt x="321" y="342"/>
                </a:cubicBezTo>
                <a:cubicBezTo>
                  <a:pt x="323" y="341"/>
                  <a:pt x="324" y="338"/>
                  <a:pt x="326" y="337"/>
                </a:cubicBezTo>
                <a:cubicBezTo>
                  <a:pt x="327" y="336"/>
                  <a:pt x="325" y="336"/>
                  <a:pt x="326" y="334"/>
                </a:cubicBezTo>
                <a:cubicBezTo>
                  <a:pt x="328" y="334"/>
                  <a:pt x="328" y="335"/>
                  <a:pt x="329" y="337"/>
                </a:cubicBezTo>
                <a:cubicBezTo>
                  <a:pt x="330" y="336"/>
                  <a:pt x="330" y="336"/>
                  <a:pt x="330" y="335"/>
                </a:cubicBezTo>
                <a:cubicBezTo>
                  <a:pt x="330" y="335"/>
                  <a:pt x="330" y="335"/>
                  <a:pt x="330" y="335"/>
                </a:cubicBezTo>
                <a:cubicBezTo>
                  <a:pt x="330" y="335"/>
                  <a:pt x="331" y="335"/>
                  <a:pt x="331" y="335"/>
                </a:cubicBezTo>
                <a:cubicBezTo>
                  <a:pt x="331" y="334"/>
                  <a:pt x="332" y="333"/>
                  <a:pt x="333" y="332"/>
                </a:cubicBezTo>
                <a:cubicBezTo>
                  <a:pt x="333" y="332"/>
                  <a:pt x="333" y="332"/>
                  <a:pt x="333" y="332"/>
                </a:cubicBezTo>
                <a:cubicBezTo>
                  <a:pt x="333" y="331"/>
                  <a:pt x="334" y="331"/>
                  <a:pt x="334" y="330"/>
                </a:cubicBezTo>
                <a:cubicBezTo>
                  <a:pt x="334" y="329"/>
                  <a:pt x="334" y="328"/>
                  <a:pt x="333" y="327"/>
                </a:cubicBezTo>
                <a:cubicBezTo>
                  <a:pt x="333" y="325"/>
                  <a:pt x="335" y="325"/>
                  <a:pt x="335" y="324"/>
                </a:cubicBezTo>
                <a:cubicBezTo>
                  <a:pt x="335" y="324"/>
                  <a:pt x="335" y="324"/>
                  <a:pt x="335" y="324"/>
                </a:cubicBezTo>
                <a:cubicBezTo>
                  <a:pt x="335" y="324"/>
                  <a:pt x="335" y="324"/>
                  <a:pt x="335" y="324"/>
                </a:cubicBezTo>
                <a:cubicBezTo>
                  <a:pt x="335" y="323"/>
                  <a:pt x="337" y="322"/>
                  <a:pt x="337" y="320"/>
                </a:cubicBezTo>
                <a:cubicBezTo>
                  <a:pt x="337" y="320"/>
                  <a:pt x="337" y="320"/>
                  <a:pt x="337" y="320"/>
                </a:cubicBezTo>
                <a:cubicBezTo>
                  <a:pt x="337" y="320"/>
                  <a:pt x="337" y="320"/>
                  <a:pt x="337" y="320"/>
                </a:cubicBezTo>
                <a:cubicBezTo>
                  <a:pt x="338" y="319"/>
                  <a:pt x="338" y="318"/>
                  <a:pt x="339" y="318"/>
                </a:cubicBezTo>
                <a:cubicBezTo>
                  <a:pt x="341" y="315"/>
                  <a:pt x="343" y="312"/>
                  <a:pt x="344" y="309"/>
                </a:cubicBezTo>
                <a:cubicBezTo>
                  <a:pt x="346" y="307"/>
                  <a:pt x="347" y="305"/>
                  <a:pt x="350" y="303"/>
                </a:cubicBezTo>
                <a:cubicBezTo>
                  <a:pt x="352" y="302"/>
                  <a:pt x="354" y="304"/>
                  <a:pt x="357" y="304"/>
                </a:cubicBezTo>
                <a:cubicBezTo>
                  <a:pt x="360" y="303"/>
                  <a:pt x="362" y="304"/>
                  <a:pt x="365" y="305"/>
                </a:cubicBezTo>
                <a:cubicBezTo>
                  <a:pt x="365" y="305"/>
                  <a:pt x="367" y="305"/>
                  <a:pt x="367" y="306"/>
                </a:cubicBezTo>
                <a:cubicBezTo>
                  <a:pt x="367" y="306"/>
                  <a:pt x="368" y="306"/>
                  <a:pt x="369" y="306"/>
                </a:cubicBezTo>
                <a:cubicBezTo>
                  <a:pt x="369" y="306"/>
                  <a:pt x="370" y="306"/>
                  <a:pt x="369" y="307"/>
                </a:cubicBezTo>
                <a:cubicBezTo>
                  <a:pt x="371" y="307"/>
                  <a:pt x="374" y="306"/>
                  <a:pt x="375" y="307"/>
                </a:cubicBezTo>
                <a:cubicBezTo>
                  <a:pt x="376" y="307"/>
                  <a:pt x="376" y="307"/>
                  <a:pt x="376" y="307"/>
                </a:cubicBezTo>
                <a:cubicBezTo>
                  <a:pt x="376" y="306"/>
                  <a:pt x="376" y="306"/>
                  <a:pt x="376" y="306"/>
                </a:cubicBezTo>
                <a:cubicBezTo>
                  <a:pt x="376" y="306"/>
                  <a:pt x="377" y="305"/>
                  <a:pt x="377" y="305"/>
                </a:cubicBezTo>
                <a:cubicBezTo>
                  <a:pt x="379" y="304"/>
                  <a:pt x="381" y="303"/>
                  <a:pt x="383" y="303"/>
                </a:cubicBezTo>
                <a:cubicBezTo>
                  <a:pt x="384" y="303"/>
                  <a:pt x="383" y="302"/>
                  <a:pt x="383" y="301"/>
                </a:cubicBezTo>
                <a:cubicBezTo>
                  <a:pt x="384" y="301"/>
                  <a:pt x="384" y="301"/>
                  <a:pt x="384" y="300"/>
                </a:cubicBezTo>
                <a:cubicBezTo>
                  <a:pt x="384" y="300"/>
                  <a:pt x="383" y="299"/>
                  <a:pt x="383" y="298"/>
                </a:cubicBezTo>
                <a:cubicBezTo>
                  <a:pt x="384" y="298"/>
                  <a:pt x="385" y="297"/>
                  <a:pt x="385" y="296"/>
                </a:cubicBezTo>
                <a:cubicBezTo>
                  <a:pt x="385" y="294"/>
                  <a:pt x="382" y="296"/>
                  <a:pt x="382" y="296"/>
                </a:cubicBezTo>
                <a:cubicBezTo>
                  <a:pt x="382" y="297"/>
                  <a:pt x="381" y="297"/>
                  <a:pt x="381" y="296"/>
                </a:cubicBezTo>
                <a:cubicBezTo>
                  <a:pt x="381" y="293"/>
                  <a:pt x="385" y="294"/>
                  <a:pt x="387" y="293"/>
                </a:cubicBezTo>
                <a:cubicBezTo>
                  <a:pt x="388" y="292"/>
                  <a:pt x="389" y="291"/>
                  <a:pt x="390" y="289"/>
                </a:cubicBezTo>
                <a:cubicBezTo>
                  <a:pt x="390" y="289"/>
                  <a:pt x="390" y="288"/>
                  <a:pt x="391" y="289"/>
                </a:cubicBezTo>
                <a:cubicBezTo>
                  <a:pt x="391" y="287"/>
                  <a:pt x="393" y="287"/>
                  <a:pt x="392" y="284"/>
                </a:cubicBezTo>
                <a:cubicBezTo>
                  <a:pt x="394" y="285"/>
                  <a:pt x="396" y="284"/>
                  <a:pt x="397" y="284"/>
                </a:cubicBezTo>
                <a:cubicBezTo>
                  <a:pt x="397" y="284"/>
                  <a:pt x="397" y="284"/>
                  <a:pt x="397" y="285"/>
                </a:cubicBezTo>
                <a:cubicBezTo>
                  <a:pt x="397" y="285"/>
                  <a:pt x="398" y="285"/>
                  <a:pt x="399" y="285"/>
                </a:cubicBezTo>
                <a:cubicBezTo>
                  <a:pt x="399" y="285"/>
                  <a:pt x="399" y="285"/>
                  <a:pt x="399" y="285"/>
                </a:cubicBezTo>
                <a:cubicBezTo>
                  <a:pt x="399" y="286"/>
                  <a:pt x="400" y="286"/>
                  <a:pt x="400" y="286"/>
                </a:cubicBezTo>
                <a:cubicBezTo>
                  <a:pt x="400" y="287"/>
                  <a:pt x="400" y="287"/>
                  <a:pt x="400" y="288"/>
                </a:cubicBezTo>
                <a:cubicBezTo>
                  <a:pt x="400" y="289"/>
                  <a:pt x="401" y="291"/>
                  <a:pt x="401" y="293"/>
                </a:cubicBezTo>
                <a:cubicBezTo>
                  <a:pt x="401" y="294"/>
                  <a:pt x="401" y="294"/>
                  <a:pt x="400" y="295"/>
                </a:cubicBezTo>
                <a:cubicBezTo>
                  <a:pt x="400" y="295"/>
                  <a:pt x="400" y="295"/>
                  <a:pt x="400" y="295"/>
                </a:cubicBezTo>
                <a:cubicBezTo>
                  <a:pt x="400" y="296"/>
                  <a:pt x="399" y="297"/>
                  <a:pt x="398" y="298"/>
                </a:cubicBezTo>
                <a:cubicBezTo>
                  <a:pt x="398" y="298"/>
                  <a:pt x="398" y="298"/>
                  <a:pt x="398" y="298"/>
                </a:cubicBezTo>
                <a:cubicBezTo>
                  <a:pt x="397" y="299"/>
                  <a:pt x="396" y="300"/>
                  <a:pt x="396" y="301"/>
                </a:cubicBezTo>
                <a:cubicBezTo>
                  <a:pt x="396" y="301"/>
                  <a:pt x="396" y="301"/>
                  <a:pt x="396" y="301"/>
                </a:cubicBezTo>
                <a:cubicBezTo>
                  <a:pt x="395" y="302"/>
                  <a:pt x="395" y="303"/>
                  <a:pt x="394" y="304"/>
                </a:cubicBezTo>
                <a:cubicBezTo>
                  <a:pt x="394" y="304"/>
                  <a:pt x="394" y="304"/>
                  <a:pt x="394" y="304"/>
                </a:cubicBezTo>
                <a:cubicBezTo>
                  <a:pt x="394" y="304"/>
                  <a:pt x="394" y="304"/>
                  <a:pt x="395" y="305"/>
                </a:cubicBezTo>
                <a:cubicBezTo>
                  <a:pt x="394" y="305"/>
                  <a:pt x="394" y="306"/>
                  <a:pt x="393" y="306"/>
                </a:cubicBezTo>
                <a:cubicBezTo>
                  <a:pt x="393" y="308"/>
                  <a:pt x="391" y="309"/>
                  <a:pt x="391" y="311"/>
                </a:cubicBezTo>
                <a:cubicBezTo>
                  <a:pt x="391" y="311"/>
                  <a:pt x="391" y="311"/>
                  <a:pt x="391" y="311"/>
                </a:cubicBezTo>
                <a:cubicBezTo>
                  <a:pt x="391" y="311"/>
                  <a:pt x="391" y="311"/>
                  <a:pt x="391" y="311"/>
                </a:cubicBezTo>
                <a:cubicBezTo>
                  <a:pt x="391" y="313"/>
                  <a:pt x="392" y="314"/>
                  <a:pt x="393" y="315"/>
                </a:cubicBezTo>
                <a:cubicBezTo>
                  <a:pt x="393" y="315"/>
                  <a:pt x="393" y="315"/>
                  <a:pt x="393" y="315"/>
                </a:cubicBezTo>
                <a:cubicBezTo>
                  <a:pt x="394" y="315"/>
                  <a:pt x="394" y="316"/>
                  <a:pt x="395" y="316"/>
                </a:cubicBezTo>
                <a:cubicBezTo>
                  <a:pt x="395" y="316"/>
                  <a:pt x="395" y="316"/>
                  <a:pt x="395" y="316"/>
                </a:cubicBezTo>
                <a:cubicBezTo>
                  <a:pt x="395" y="317"/>
                  <a:pt x="395" y="317"/>
                  <a:pt x="396" y="317"/>
                </a:cubicBezTo>
                <a:cubicBezTo>
                  <a:pt x="397" y="318"/>
                  <a:pt x="398" y="318"/>
                  <a:pt x="399" y="320"/>
                </a:cubicBezTo>
                <a:cubicBezTo>
                  <a:pt x="400" y="320"/>
                  <a:pt x="400" y="320"/>
                  <a:pt x="401" y="321"/>
                </a:cubicBezTo>
                <a:cubicBezTo>
                  <a:pt x="401" y="321"/>
                  <a:pt x="401" y="321"/>
                  <a:pt x="401" y="321"/>
                </a:cubicBezTo>
                <a:cubicBezTo>
                  <a:pt x="401" y="323"/>
                  <a:pt x="403" y="323"/>
                  <a:pt x="402" y="324"/>
                </a:cubicBezTo>
                <a:cubicBezTo>
                  <a:pt x="402" y="324"/>
                  <a:pt x="402" y="324"/>
                  <a:pt x="402" y="325"/>
                </a:cubicBezTo>
                <a:cubicBezTo>
                  <a:pt x="401" y="326"/>
                  <a:pt x="400" y="327"/>
                  <a:pt x="401" y="329"/>
                </a:cubicBezTo>
                <a:cubicBezTo>
                  <a:pt x="401" y="329"/>
                  <a:pt x="401" y="329"/>
                  <a:pt x="401" y="329"/>
                </a:cubicBezTo>
                <a:cubicBezTo>
                  <a:pt x="402" y="329"/>
                  <a:pt x="403" y="328"/>
                  <a:pt x="403" y="328"/>
                </a:cubicBezTo>
                <a:cubicBezTo>
                  <a:pt x="403" y="329"/>
                  <a:pt x="404" y="329"/>
                  <a:pt x="405" y="330"/>
                </a:cubicBezTo>
                <a:cubicBezTo>
                  <a:pt x="406" y="330"/>
                  <a:pt x="410" y="330"/>
                  <a:pt x="411" y="329"/>
                </a:cubicBezTo>
                <a:cubicBezTo>
                  <a:pt x="414" y="327"/>
                  <a:pt x="412" y="326"/>
                  <a:pt x="412" y="323"/>
                </a:cubicBezTo>
                <a:cubicBezTo>
                  <a:pt x="417" y="322"/>
                  <a:pt x="415" y="319"/>
                  <a:pt x="414" y="316"/>
                </a:cubicBezTo>
                <a:cubicBezTo>
                  <a:pt x="414" y="315"/>
                  <a:pt x="414" y="314"/>
                  <a:pt x="414" y="313"/>
                </a:cubicBezTo>
                <a:cubicBezTo>
                  <a:pt x="414" y="313"/>
                  <a:pt x="414" y="313"/>
                  <a:pt x="414" y="313"/>
                </a:cubicBezTo>
                <a:cubicBezTo>
                  <a:pt x="414" y="312"/>
                  <a:pt x="415" y="311"/>
                  <a:pt x="416" y="310"/>
                </a:cubicBezTo>
                <a:cubicBezTo>
                  <a:pt x="419" y="309"/>
                  <a:pt x="421" y="309"/>
                  <a:pt x="419" y="305"/>
                </a:cubicBezTo>
                <a:cubicBezTo>
                  <a:pt x="418" y="303"/>
                  <a:pt x="416" y="301"/>
                  <a:pt x="415" y="299"/>
                </a:cubicBezTo>
                <a:cubicBezTo>
                  <a:pt x="413" y="293"/>
                  <a:pt x="414" y="287"/>
                  <a:pt x="414" y="281"/>
                </a:cubicBezTo>
                <a:cubicBezTo>
                  <a:pt x="414" y="281"/>
                  <a:pt x="415" y="281"/>
                  <a:pt x="415" y="281"/>
                </a:cubicBezTo>
                <a:cubicBezTo>
                  <a:pt x="417" y="280"/>
                  <a:pt x="419" y="279"/>
                  <a:pt x="421" y="279"/>
                </a:cubicBezTo>
                <a:cubicBezTo>
                  <a:pt x="423" y="278"/>
                  <a:pt x="425" y="279"/>
                  <a:pt x="427" y="280"/>
                </a:cubicBezTo>
                <a:cubicBezTo>
                  <a:pt x="429" y="280"/>
                  <a:pt x="431" y="280"/>
                  <a:pt x="433" y="280"/>
                </a:cubicBezTo>
                <a:cubicBezTo>
                  <a:pt x="435" y="281"/>
                  <a:pt x="436" y="283"/>
                  <a:pt x="438" y="283"/>
                </a:cubicBezTo>
                <a:cubicBezTo>
                  <a:pt x="440" y="282"/>
                  <a:pt x="442" y="282"/>
                  <a:pt x="444" y="281"/>
                </a:cubicBezTo>
                <a:cubicBezTo>
                  <a:pt x="445" y="281"/>
                  <a:pt x="446" y="281"/>
                  <a:pt x="447" y="280"/>
                </a:cubicBezTo>
                <a:cubicBezTo>
                  <a:pt x="448" y="280"/>
                  <a:pt x="447" y="280"/>
                  <a:pt x="448" y="279"/>
                </a:cubicBezTo>
                <a:cubicBezTo>
                  <a:pt x="449" y="278"/>
                  <a:pt x="450" y="278"/>
                  <a:pt x="451" y="277"/>
                </a:cubicBezTo>
                <a:cubicBezTo>
                  <a:pt x="452" y="277"/>
                  <a:pt x="453" y="275"/>
                  <a:pt x="453" y="274"/>
                </a:cubicBezTo>
                <a:cubicBezTo>
                  <a:pt x="453" y="274"/>
                  <a:pt x="454" y="274"/>
                  <a:pt x="454" y="273"/>
                </a:cubicBezTo>
                <a:cubicBezTo>
                  <a:pt x="454" y="273"/>
                  <a:pt x="454" y="273"/>
                  <a:pt x="454" y="273"/>
                </a:cubicBezTo>
                <a:cubicBezTo>
                  <a:pt x="458" y="272"/>
                  <a:pt x="460" y="270"/>
                  <a:pt x="463" y="268"/>
                </a:cubicBezTo>
                <a:cubicBezTo>
                  <a:pt x="464" y="267"/>
                  <a:pt x="466" y="267"/>
                  <a:pt x="467" y="265"/>
                </a:cubicBezTo>
                <a:cubicBezTo>
                  <a:pt x="467" y="265"/>
                  <a:pt x="467" y="265"/>
                  <a:pt x="467" y="265"/>
                </a:cubicBezTo>
                <a:cubicBezTo>
                  <a:pt x="468" y="264"/>
                  <a:pt x="469" y="264"/>
                  <a:pt x="470" y="263"/>
                </a:cubicBezTo>
                <a:cubicBezTo>
                  <a:pt x="472" y="262"/>
                  <a:pt x="472" y="261"/>
                  <a:pt x="474" y="261"/>
                </a:cubicBezTo>
                <a:cubicBezTo>
                  <a:pt x="476" y="260"/>
                  <a:pt x="482" y="260"/>
                  <a:pt x="484" y="260"/>
                </a:cubicBezTo>
                <a:cubicBezTo>
                  <a:pt x="487" y="261"/>
                  <a:pt x="490" y="262"/>
                  <a:pt x="493" y="263"/>
                </a:cubicBezTo>
                <a:cubicBezTo>
                  <a:pt x="495" y="263"/>
                  <a:pt x="496" y="262"/>
                  <a:pt x="498" y="262"/>
                </a:cubicBezTo>
                <a:cubicBezTo>
                  <a:pt x="500" y="261"/>
                  <a:pt x="502" y="262"/>
                  <a:pt x="504" y="262"/>
                </a:cubicBezTo>
                <a:cubicBezTo>
                  <a:pt x="510" y="261"/>
                  <a:pt x="516" y="257"/>
                  <a:pt x="520" y="254"/>
                </a:cubicBezTo>
                <a:cubicBezTo>
                  <a:pt x="526" y="251"/>
                  <a:pt x="531" y="248"/>
                  <a:pt x="536" y="243"/>
                </a:cubicBezTo>
                <a:cubicBezTo>
                  <a:pt x="538" y="240"/>
                  <a:pt x="543" y="237"/>
                  <a:pt x="544" y="235"/>
                </a:cubicBezTo>
                <a:cubicBezTo>
                  <a:pt x="544" y="235"/>
                  <a:pt x="544" y="235"/>
                  <a:pt x="544" y="234"/>
                </a:cubicBezTo>
                <a:cubicBezTo>
                  <a:pt x="544" y="234"/>
                  <a:pt x="545" y="233"/>
                  <a:pt x="545" y="233"/>
                </a:cubicBezTo>
                <a:cubicBezTo>
                  <a:pt x="549" y="229"/>
                  <a:pt x="556" y="224"/>
                  <a:pt x="561" y="223"/>
                </a:cubicBezTo>
                <a:cubicBezTo>
                  <a:pt x="569" y="220"/>
                  <a:pt x="577" y="217"/>
                  <a:pt x="585" y="213"/>
                </a:cubicBezTo>
                <a:cubicBezTo>
                  <a:pt x="588" y="212"/>
                  <a:pt x="590" y="211"/>
                  <a:pt x="592" y="209"/>
                </a:cubicBezTo>
                <a:cubicBezTo>
                  <a:pt x="594" y="208"/>
                  <a:pt x="596" y="207"/>
                  <a:pt x="596" y="206"/>
                </a:cubicBezTo>
                <a:cubicBezTo>
                  <a:pt x="598" y="205"/>
                  <a:pt x="600" y="204"/>
                  <a:pt x="601" y="202"/>
                </a:cubicBezTo>
                <a:cubicBezTo>
                  <a:pt x="602" y="201"/>
                  <a:pt x="602" y="199"/>
                  <a:pt x="603" y="198"/>
                </a:cubicBezTo>
                <a:cubicBezTo>
                  <a:pt x="603" y="197"/>
                  <a:pt x="604" y="196"/>
                  <a:pt x="605" y="196"/>
                </a:cubicBezTo>
                <a:cubicBezTo>
                  <a:pt x="606" y="195"/>
                  <a:pt x="606" y="195"/>
                  <a:pt x="607" y="195"/>
                </a:cubicBezTo>
                <a:cubicBezTo>
                  <a:pt x="609" y="195"/>
                  <a:pt x="610" y="195"/>
                  <a:pt x="612" y="196"/>
                </a:cubicBezTo>
                <a:cubicBezTo>
                  <a:pt x="613" y="196"/>
                  <a:pt x="614" y="197"/>
                  <a:pt x="614" y="199"/>
                </a:cubicBezTo>
                <a:cubicBezTo>
                  <a:pt x="614" y="199"/>
                  <a:pt x="615" y="200"/>
                  <a:pt x="615" y="201"/>
                </a:cubicBezTo>
                <a:cubicBezTo>
                  <a:pt x="615" y="201"/>
                  <a:pt x="615" y="201"/>
                  <a:pt x="615" y="201"/>
                </a:cubicBezTo>
                <a:cubicBezTo>
                  <a:pt x="616" y="202"/>
                  <a:pt x="615" y="201"/>
                  <a:pt x="616" y="201"/>
                </a:cubicBezTo>
                <a:cubicBezTo>
                  <a:pt x="617" y="201"/>
                  <a:pt x="617" y="200"/>
                  <a:pt x="618" y="200"/>
                </a:cubicBezTo>
                <a:cubicBezTo>
                  <a:pt x="619" y="199"/>
                  <a:pt x="620" y="197"/>
                  <a:pt x="621" y="195"/>
                </a:cubicBezTo>
                <a:cubicBezTo>
                  <a:pt x="622" y="194"/>
                  <a:pt x="624" y="192"/>
                  <a:pt x="624" y="189"/>
                </a:cubicBezTo>
                <a:cubicBezTo>
                  <a:pt x="624" y="188"/>
                  <a:pt x="625" y="186"/>
                  <a:pt x="626" y="185"/>
                </a:cubicBezTo>
                <a:cubicBezTo>
                  <a:pt x="627" y="184"/>
                  <a:pt x="628" y="183"/>
                  <a:pt x="629" y="184"/>
                </a:cubicBezTo>
                <a:cubicBezTo>
                  <a:pt x="630" y="184"/>
                  <a:pt x="630" y="185"/>
                  <a:pt x="631" y="185"/>
                </a:cubicBezTo>
                <a:cubicBezTo>
                  <a:pt x="632" y="185"/>
                  <a:pt x="633" y="184"/>
                  <a:pt x="635" y="184"/>
                </a:cubicBezTo>
                <a:cubicBezTo>
                  <a:pt x="636" y="183"/>
                  <a:pt x="638" y="183"/>
                  <a:pt x="639" y="182"/>
                </a:cubicBezTo>
                <a:cubicBezTo>
                  <a:pt x="640" y="181"/>
                  <a:pt x="641" y="180"/>
                  <a:pt x="641" y="180"/>
                </a:cubicBezTo>
                <a:cubicBezTo>
                  <a:pt x="642" y="180"/>
                  <a:pt x="643" y="180"/>
                  <a:pt x="643" y="179"/>
                </a:cubicBezTo>
                <a:cubicBezTo>
                  <a:pt x="644" y="179"/>
                  <a:pt x="644" y="179"/>
                  <a:pt x="644" y="178"/>
                </a:cubicBezTo>
                <a:cubicBezTo>
                  <a:pt x="645" y="178"/>
                  <a:pt x="646" y="179"/>
                  <a:pt x="647" y="179"/>
                </a:cubicBezTo>
                <a:cubicBezTo>
                  <a:pt x="648" y="179"/>
                  <a:pt x="650" y="180"/>
                  <a:pt x="651" y="181"/>
                </a:cubicBezTo>
                <a:cubicBezTo>
                  <a:pt x="652" y="181"/>
                  <a:pt x="654" y="180"/>
                  <a:pt x="655" y="179"/>
                </a:cubicBezTo>
                <a:cubicBezTo>
                  <a:pt x="658" y="179"/>
                  <a:pt x="660" y="178"/>
                  <a:pt x="662" y="177"/>
                </a:cubicBezTo>
                <a:cubicBezTo>
                  <a:pt x="664" y="176"/>
                  <a:pt x="665" y="176"/>
                  <a:pt x="666" y="175"/>
                </a:cubicBezTo>
                <a:cubicBezTo>
                  <a:pt x="667" y="174"/>
                  <a:pt x="666" y="172"/>
                  <a:pt x="667" y="171"/>
                </a:cubicBezTo>
                <a:cubicBezTo>
                  <a:pt x="669" y="170"/>
                  <a:pt x="672" y="170"/>
                  <a:pt x="674" y="170"/>
                </a:cubicBezTo>
                <a:cubicBezTo>
                  <a:pt x="677" y="169"/>
                  <a:pt x="679" y="170"/>
                  <a:pt x="681" y="173"/>
                </a:cubicBezTo>
                <a:cubicBezTo>
                  <a:pt x="681" y="174"/>
                  <a:pt x="682" y="175"/>
                  <a:pt x="681" y="176"/>
                </a:cubicBezTo>
                <a:cubicBezTo>
                  <a:pt x="681" y="178"/>
                  <a:pt x="680" y="177"/>
                  <a:pt x="679" y="178"/>
                </a:cubicBezTo>
                <a:cubicBezTo>
                  <a:pt x="680" y="180"/>
                  <a:pt x="682" y="182"/>
                  <a:pt x="684" y="180"/>
                </a:cubicBezTo>
                <a:cubicBezTo>
                  <a:pt x="685" y="180"/>
                  <a:pt x="685" y="179"/>
                  <a:pt x="685" y="178"/>
                </a:cubicBezTo>
                <a:cubicBezTo>
                  <a:pt x="685" y="177"/>
                  <a:pt x="686" y="176"/>
                  <a:pt x="687" y="175"/>
                </a:cubicBezTo>
                <a:cubicBezTo>
                  <a:pt x="687" y="174"/>
                  <a:pt x="688" y="174"/>
                  <a:pt x="689" y="173"/>
                </a:cubicBezTo>
                <a:cubicBezTo>
                  <a:pt x="689" y="172"/>
                  <a:pt x="688" y="171"/>
                  <a:pt x="689" y="170"/>
                </a:cubicBezTo>
                <a:cubicBezTo>
                  <a:pt x="690" y="168"/>
                  <a:pt x="693" y="168"/>
                  <a:pt x="694" y="167"/>
                </a:cubicBezTo>
                <a:cubicBezTo>
                  <a:pt x="693" y="165"/>
                  <a:pt x="694" y="163"/>
                  <a:pt x="691" y="161"/>
                </a:cubicBezTo>
                <a:close/>
                <a:moveTo>
                  <a:pt x="289" y="235"/>
                </a:moveTo>
                <a:cubicBezTo>
                  <a:pt x="289" y="237"/>
                  <a:pt x="290" y="237"/>
                  <a:pt x="290" y="238"/>
                </a:cubicBezTo>
                <a:cubicBezTo>
                  <a:pt x="290" y="240"/>
                  <a:pt x="289" y="240"/>
                  <a:pt x="289" y="241"/>
                </a:cubicBezTo>
                <a:cubicBezTo>
                  <a:pt x="288" y="241"/>
                  <a:pt x="287" y="241"/>
                  <a:pt x="287" y="240"/>
                </a:cubicBezTo>
                <a:cubicBezTo>
                  <a:pt x="286" y="240"/>
                  <a:pt x="286" y="240"/>
                  <a:pt x="285" y="240"/>
                </a:cubicBezTo>
                <a:cubicBezTo>
                  <a:pt x="284" y="240"/>
                  <a:pt x="284" y="240"/>
                  <a:pt x="284" y="239"/>
                </a:cubicBezTo>
                <a:cubicBezTo>
                  <a:pt x="284" y="239"/>
                  <a:pt x="283" y="239"/>
                  <a:pt x="283" y="239"/>
                </a:cubicBezTo>
                <a:cubicBezTo>
                  <a:pt x="282" y="237"/>
                  <a:pt x="280" y="237"/>
                  <a:pt x="278" y="236"/>
                </a:cubicBezTo>
                <a:cubicBezTo>
                  <a:pt x="277" y="234"/>
                  <a:pt x="275" y="234"/>
                  <a:pt x="275" y="232"/>
                </a:cubicBezTo>
                <a:cubicBezTo>
                  <a:pt x="274" y="232"/>
                  <a:pt x="272" y="232"/>
                  <a:pt x="272" y="231"/>
                </a:cubicBezTo>
                <a:cubicBezTo>
                  <a:pt x="272" y="224"/>
                  <a:pt x="272" y="224"/>
                  <a:pt x="272" y="224"/>
                </a:cubicBezTo>
                <a:cubicBezTo>
                  <a:pt x="272" y="223"/>
                  <a:pt x="275" y="224"/>
                  <a:pt x="274" y="222"/>
                </a:cubicBezTo>
                <a:cubicBezTo>
                  <a:pt x="274" y="220"/>
                  <a:pt x="275" y="220"/>
                  <a:pt x="275" y="219"/>
                </a:cubicBezTo>
                <a:cubicBezTo>
                  <a:pt x="274" y="216"/>
                  <a:pt x="271" y="215"/>
                  <a:pt x="272" y="211"/>
                </a:cubicBezTo>
                <a:cubicBezTo>
                  <a:pt x="273" y="211"/>
                  <a:pt x="273" y="211"/>
                  <a:pt x="273" y="211"/>
                </a:cubicBezTo>
                <a:cubicBezTo>
                  <a:pt x="274" y="211"/>
                  <a:pt x="274" y="212"/>
                  <a:pt x="275" y="213"/>
                </a:cubicBezTo>
                <a:cubicBezTo>
                  <a:pt x="275" y="214"/>
                  <a:pt x="276" y="214"/>
                  <a:pt x="276" y="215"/>
                </a:cubicBezTo>
                <a:cubicBezTo>
                  <a:pt x="278" y="215"/>
                  <a:pt x="279" y="216"/>
                  <a:pt x="280" y="218"/>
                </a:cubicBezTo>
                <a:cubicBezTo>
                  <a:pt x="280" y="220"/>
                  <a:pt x="279" y="221"/>
                  <a:pt x="279" y="222"/>
                </a:cubicBezTo>
                <a:cubicBezTo>
                  <a:pt x="279" y="223"/>
                  <a:pt x="280" y="224"/>
                  <a:pt x="280" y="224"/>
                </a:cubicBezTo>
                <a:cubicBezTo>
                  <a:pt x="282" y="225"/>
                  <a:pt x="282" y="227"/>
                  <a:pt x="284" y="227"/>
                </a:cubicBezTo>
                <a:cubicBezTo>
                  <a:pt x="285" y="225"/>
                  <a:pt x="284" y="223"/>
                  <a:pt x="285" y="223"/>
                </a:cubicBezTo>
                <a:cubicBezTo>
                  <a:pt x="288" y="223"/>
                  <a:pt x="288" y="226"/>
                  <a:pt x="289" y="227"/>
                </a:cubicBezTo>
                <a:cubicBezTo>
                  <a:pt x="289" y="227"/>
                  <a:pt x="289" y="227"/>
                  <a:pt x="289" y="227"/>
                </a:cubicBezTo>
                <a:cubicBezTo>
                  <a:pt x="290" y="228"/>
                  <a:pt x="290" y="228"/>
                  <a:pt x="290" y="229"/>
                </a:cubicBezTo>
                <a:cubicBezTo>
                  <a:pt x="291" y="229"/>
                  <a:pt x="291" y="229"/>
                  <a:pt x="291" y="230"/>
                </a:cubicBezTo>
                <a:cubicBezTo>
                  <a:pt x="292" y="233"/>
                  <a:pt x="290" y="233"/>
                  <a:pt x="289" y="235"/>
                </a:cubicBezTo>
                <a:close/>
                <a:moveTo>
                  <a:pt x="619" y="124"/>
                </a:moveTo>
                <a:cubicBezTo>
                  <a:pt x="619" y="126"/>
                  <a:pt x="618" y="131"/>
                  <a:pt x="622" y="130"/>
                </a:cubicBezTo>
                <a:cubicBezTo>
                  <a:pt x="624" y="130"/>
                  <a:pt x="625" y="129"/>
                  <a:pt x="626" y="130"/>
                </a:cubicBezTo>
                <a:cubicBezTo>
                  <a:pt x="628" y="132"/>
                  <a:pt x="627" y="132"/>
                  <a:pt x="626" y="134"/>
                </a:cubicBezTo>
                <a:cubicBezTo>
                  <a:pt x="625" y="135"/>
                  <a:pt x="625" y="137"/>
                  <a:pt x="625" y="138"/>
                </a:cubicBezTo>
                <a:cubicBezTo>
                  <a:pt x="624" y="140"/>
                  <a:pt x="624" y="141"/>
                  <a:pt x="622" y="142"/>
                </a:cubicBezTo>
                <a:cubicBezTo>
                  <a:pt x="622" y="143"/>
                  <a:pt x="621" y="143"/>
                  <a:pt x="620" y="144"/>
                </a:cubicBezTo>
                <a:cubicBezTo>
                  <a:pt x="619" y="144"/>
                  <a:pt x="618" y="144"/>
                  <a:pt x="618" y="145"/>
                </a:cubicBezTo>
                <a:cubicBezTo>
                  <a:pt x="616" y="145"/>
                  <a:pt x="615" y="145"/>
                  <a:pt x="614" y="145"/>
                </a:cubicBezTo>
                <a:cubicBezTo>
                  <a:pt x="614" y="145"/>
                  <a:pt x="613" y="145"/>
                  <a:pt x="613" y="145"/>
                </a:cubicBezTo>
                <a:cubicBezTo>
                  <a:pt x="611" y="146"/>
                  <a:pt x="610" y="147"/>
                  <a:pt x="608" y="148"/>
                </a:cubicBezTo>
                <a:cubicBezTo>
                  <a:pt x="608" y="148"/>
                  <a:pt x="608" y="148"/>
                  <a:pt x="607" y="148"/>
                </a:cubicBezTo>
                <a:cubicBezTo>
                  <a:pt x="607" y="148"/>
                  <a:pt x="607" y="148"/>
                  <a:pt x="607" y="148"/>
                </a:cubicBezTo>
                <a:cubicBezTo>
                  <a:pt x="606" y="148"/>
                  <a:pt x="605" y="147"/>
                  <a:pt x="605" y="147"/>
                </a:cubicBezTo>
                <a:cubicBezTo>
                  <a:pt x="604" y="147"/>
                  <a:pt x="603" y="147"/>
                  <a:pt x="602" y="147"/>
                </a:cubicBezTo>
                <a:cubicBezTo>
                  <a:pt x="602" y="147"/>
                  <a:pt x="602" y="147"/>
                  <a:pt x="601" y="146"/>
                </a:cubicBezTo>
                <a:cubicBezTo>
                  <a:pt x="601" y="146"/>
                  <a:pt x="601" y="146"/>
                  <a:pt x="600" y="146"/>
                </a:cubicBezTo>
                <a:cubicBezTo>
                  <a:pt x="599" y="146"/>
                  <a:pt x="598" y="146"/>
                  <a:pt x="597" y="146"/>
                </a:cubicBezTo>
                <a:cubicBezTo>
                  <a:pt x="595" y="146"/>
                  <a:pt x="593" y="145"/>
                  <a:pt x="591" y="146"/>
                </a:cubicBezTo>
                <a:cubicBezTo>
                  <a:pt x="590" y="147"/>
                  <a:pt x="590" y="147"/>
                  <a:pt x="589" y="146"/>
                </a:cubicBezTo>
                <a:cubicBezTo>
                  <a:pt x="589" y="146"/>
                  <a:pt x="588" y="145"/>
                  <a:pt x="588" y="144"/>
                </a:cubicBezTo>
                <a:cubicBezTo>
                  <a:pt x="588" y="143"/>
                  <a:pt x="589" y="140"/>
                  <a:pt x="590" y="139"/>
                </a:cubicBezTo>
                <a:cubicBezTo>
                  <a:pt x="590" y="137"/>
                  <a:pt x="590" y="136"/>
                  <a:pt x="590" y="134"/>
                </a:cubicBezTo>
                <a:cubicBezTo>
                  <a:pt x="590" y="134"/>
                  <a:pt x="590" y="132"/>
                  <a:pt x="590" y="132"/>
                </a:cubicBezTo>
                <a:cubicBezTo>
                  <a:pt x="590" y="131"/>
                  <a:pt x="591" y="131"/>
                  <a:pt x="591" y="130"/>
                </a:cubicBezTo>
                <a:cubicBezTo>
                  <a:pt x="592" y="129"/>
                  <a:pt x="592" y="128"/>
                  <a:pt x="593" y="128"/>
                </a:cubicBezTo>
                <a:cubicBezTo>
                  <a:pt x="594" y="127"/>
                  <a:pt x="596" y="127"/>
                  <a:pt x="597" y="126"/>
                </a:cubicBezTo>
                <a:cubicBezTo>
                  <a:pt x="599" y="126"/>
                  <a:pt x="601" y="125"/>
                  <a:pt x="603" y="125"/>
                </a:cubicBezTo>
                <a:cubicBezTo>
                  <a:pt x="606" y="125"/>
                  <a:pt x="612" y="124"/>
                  <a:pt x="611" y="120"/>
                </a:cubicBezTo>
                <a:cubicBezTo>
                  <a:pt x="611" y="120"/>
                  <a:pt x="611" y="119"/>
                  <a:pt x="611" y="119"/>
                </a:cubicBezTo>
                <a:cubicBezTo>
                  <a:pt x="610" y="119"/>
                  <a:pt x="608" y="118"/>
                  <a:pt x="607" y="117"/>
                </a:cubicBezTo>
                <a:cubicBezTo>
                  <a:pt x="606" y="117"/>
                  <a:pt x="605" y="117"/>
                  <a:pt x="606" y="116"/>
                </a:cubicBezTo>
                <a:cubicBezTo>
                  <a:pt x="606" y="115"/>
                  <a:pt x="606" y="114"/>
                  <a:pt x="607" y="114"/>
                </a:cubicBezTo>
                <a:cubicBezTo>
                  <a:pt x="607" y="114"/>
                  <a:pt x="607" y="114"/>
                  <a:pt x="607" y="114"/>
                </a:cubicBezTo>
                <a:cubicBezTo>
                  <a:pt x="609" y="113"/>
                  <a:pt x="611" y="113"/>
                  <a:pt x="613" y="112"/>
                </a:cubicBezTo>
                <a:cubicBezTo>
                  <a:pt x="613" y="112"/>
                  <a:pt x="615" y="111"/>
                  <a:pt x="615" y="111"/>
                </a:cubicBezTo>
                <a:cubicBezTo>
                  <a:pt x="616" y="110"/>
                  <a:pt x="616" y="110"/>
                  <a:pt x="617" y="109"/>
                </a:cubicBezTo>
                <a:cubicBezTo>
                  <a:pt x="616" y="109"/>
                  <a:pt x="616" y="109"/>
                  <a:pt x="616" y="109"/>
                </a:cubicBezTo>
                <a:cubicBezTo>
                  <a:pt x="617" y="108"/>
                  <a:pt x="617" y="108"/>
                  <a:pt x="618" y="108"/>
                </a:cubicBezTo>
                <a:cubicBezTo>
                  <a:pt x="618" y="108"/>
                  <a:pt x="619" y="107"/>
                  <a:pt x="620" y="107"/>
                </a:cubicBezTo>
                <a:cubicBezTo>
                  <a:pt x="620" y="107"/>
                  <a:pt x="620" y="107"/>
                  <a:pt x="620" y="107"/>
                </a:cubicBezTo>
                <a:cubicBezTo>
                  <a:pt x="621" y="107"/>
                  <a:pt x="622" y="107"/>
                  <a:pt x="623" y="107"/>
                </a:cubicBezTo>
                <a:cubicBezTo>
                  <a:pt x="624" y="107"/>
                  <a:pt x="626" y="107"/>
                  <a:pt x="627" y="107"/>
                </a:cubicBezTo>
                <a:cubicBezTo>
                  <a:pt x="627" y="107"/>
                  <a:pt x="627" y="108"/>
                  <a:pt x="627" y="108"/>
                </a:cubicBezTo>
                <a:cubicBezTo>
                  <a:pt x="625" y="111"/>
                  <a:pt x="624" y="114"/>
                  <a:pt x="621" y="116"/>
                </a:cubicBezTo>
                <a:cubicBezTo>
                  <a:pt x="620" y="118"/>
                  <a:pt x="618" y="118"/>
                  <a:pt x="618" y="120"/>
                </a:cubicBezTo>
                <a:cubicBezTo>
                  <a:pt x="618" y="122"/>
                  <a:pt x="619" y="122"/>
                  <a:pt x="619" y="124"/>
                </a:cubicBezTo>
                <a:close/>
                <a:moveTo>
                  <a:pt x="109" y="374"/>
                </a:moveTo>
                <a:cubicBezTo>
                  <a:pt x="109" y="374"/>
                  <a:pt x="109" y="375"/>
                  <a:pt x="109" y="376"/>
                </a:cubicBezTo>
                <a:cubicBezTo>
                  <a:pt x="110" y="377"/>
                  <a:pt x="111" y="377"/>
                  <a:pt x="111" y="375"/>
                </a:cubicBezTo>
                <a:cubicBezTo>
                  <a:pt x="112" y="375"/>
                  <a:pt x="114" y="375"/>
                  <a:pt x="114" y="373"/>
                </a:cubicBezTo>
                <a:cubicBezTo>
                  <a:pt x="112" y="373"/>
                  <a:pt x="111" y="374"/>
                  <a:pt x="109" y="374"/>
                </a:cubicBezTo>
                <a:close/>
                <a:moveTo>
                  <a:pt x="174" y="380"/>
                </a:moveTo>
                <a:cubicBezTo>
                  <a:pt x="174" y="380"/>
                  <a:pt x="174" y="379"/>
                  <a:pt x="174" y="379"/>
                </a:cubicBezTo>
                <a:cubicBezTo>
                  <a:pt x="173" y="379"/>
                  <a:pt x="172" y="379"/>
                  <a:pt x="172" y="379"/>
                </a:cubicBezTo>
                <a:cubicBezTo>
                  <a:pt x="172" y="379"/>
                  <a:pt x="172" y="379"/>
                  <a:pt x="172" y="379"/>
                </a:cubicBezTo>
                <a:cubicBezTo>
                  <a:pt x="172" y="380"/>
                  <a:pt x="170" y="381"/>
                  <a:pt x="172" y="382"/>
                </a:cubicBezTo>
                <a:cubicBezTo>
                  <a:pt x="172" y="382"/>
                  <a:pt x="175" y="382"/>
                  <a:pt x="174" y="380"/>
                </a:cubicBezTo>
                <a:cubicBezTo>
                  <a:pt x="174" y="380"/>
                  <a:pt x="174" y="380"/>
                  <a:pt x="174" y="380"/>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0" name="Freeform 37"/>
          <p:cNvSpPr>
            <a:spLocks/>
          </p:cNvSpPr>
          <p:nvPr/>
        </p:nvSpPr>
        <p:spPr bwMode="auto">
          <a:xfrm>
            <a:off x="7080542" y="4434190"/>
            <a:ext cx="538163" cy="347663"/>
          </a:xfrm>
          <a:custGeom>
            <a:avLst/>
            <a:gdLst>
              <a:gd name="T0" fmla="*/ 128 w 139"/>
              <a:gd name="T1" fmla="*/ 46 h 90"/>
              <a:gd name="T2" fmla="*/ 120 w 139"/>
              <a:gd name="T3" fmla="*/ 38 h 90"/>
              <a:gd name="T4" fmla="*/ 112 w 139"/>
              <a:gd name="T5" fmla="*/ 27 h 90"/>
              <a:gd name="T6" fmla="*/ 111 w 139"/>
              <a:gd name="T7" fmla="*/ 15 h 90"/>
              <a:gd name="T8" fmla="*/ 108 w 139"/>
              <a:gd name="T9" fmla="*/ 12 h 90"/>
              <a:gd name="T10" fmla="*/ 106 w 139"/>
              <a:gd name="T11" fmla="*/ 10 h 90"/>
              <a:gd name="T12" fmla="*/ 106 w 139"/>
              <a:gd name="T13" fmla="*/ 9 h 90"/>
              <a:gd name="T14" fmla="*/ 102 w 139"/>
              <a:gd name="T15" fmla="*/ 8 h 90"/>
              <a:gd name="T16" fmla="*/ 90 w 139"/>
              <a:gd name="T17" fmla="*/ 3 h 90"/>
              <a:gd name="T18" fmla="*/ 87 w 139"/>
              <a:gd name="T19" fmla="*/ 2 h 90"/>
              <a:gd name="T20" fmla="*/ 87 w 139"/>
              <a:gd name="T21" fmla="*/ 1 h 90"/>
              <a:gd name="T22" fmla="*/ 86 w 139"/>
              <a:gd name="T23" fmla="*/ 1 h 90"/>
              <a:gd name="T24" fmla="*/ 85 w 139"/>
              <a:gd name="T25" fmla="*/ 0 h 90"/>
              <a:gd name="T26" fmla="*/ 84 w 139"/>
              <a:gd name="T27" fmla="*/ 0 h 90"/>
              <a:gd name="T28" fmla="*/ 82 w 139"/>
              <a:gd name="T29" fmla="*/ 3 h 90"/>
              <a:gd name="T30" fmla="*/ 82 w 139"/>
              <a:gd name="T31" fmla="*/ 3 h 90"/>
              <a:gd name="T32" fmla="*/ 85 w 139"/>
              <a:gd name="T33" fmla="*/ 3 h 90"/>
              <a:gd name="T34" fmla="*/ 84 w 139"/>
              <a:gd name="T35" fmla="*/ 6 h 90"/>
              <a:gd name="T36" fmla="*/ 62 w 139"/>
              <a:gd name="T37" fmla="*/ 9 h 90"/>
              <a:gd name="T38" fmla="*/ 47 w 139"/>
              <a:gd name="T39" fmla="*/ 14 h 90"/>
              <a:gd name="T40" fmla="*/ 34 w 139"/>
              <a:gd name="T41" fmla="*/ 13 h 90"/>
              <a:gd name="T42" fmla="*/ 35 w 139"/>
              <a:gd name="T43" fmla="*/ 20 h 90"/>
              <a:gd name="T44" fmla="*/ 27 w 139"/>
              <a:gd name="T45" fmla="*/ 27 h 90"/>
              <a:gd name="T46" fmla="*/ 18 w 139"/>
              <a:gd name="T47" fmla="*/ 42 h 90"/>
              <a:gd name="T48" fmla="*/ 6 w 139"/>
              <a:gd name="T49" fmla="*/ 58 h 90"/>
              <a:gd name="T50" fmla="*/ 1 w 139"/>
              <a:gd name="T51" fmla="*/ 69 h 90"/>
              <a:gd name="T52" fmla="*/ 14 w 139"/>
              <a:gd name="T53" fmla="*/ 62 h 90"/>
              <a:gd name="T54" fmla="*/ 28 w 139"/>
              <a:gd name="T55" fmla="*/ 72 h 90"/>
              <a:gd name="T56" fmla="*/ 33 w 139"/>
              <a:gd name="T57" fmla="*/ 79 h 90"/>
              <a:gd name="T58" fmla="*/ 34 w 139"/>
              <a:gd name="T59" fmla="*/ 81 h 90"/>
              <a:gd name="T60" fmla="*/ 34 w 139"/>
              <a:gd name="T61" fmla="*/ 83 h 90"/>
              <a:gd name="T62" fmla="*/ 50 w 139"/>
              <a:gd name="T63" fmla="*/ 79 h 90"/>
              <a:gd name="T64" fmla="*/ 61 w 139"/>
              <a:gd name="T65" fmla="*/ 76 h 90"/>
              <a:gd name="T66" fmla="*/ 64 w 139"/>
              <a:gd name="T67" fmla="*/ 73 h 90"/>
              <a:gd name="T68" fmla="*/ 66 w 139"/>
              <a:gd name="T69" fmla="*/ 67 h 90"/>
              <a:gd name="T70" fmla="*/ 79 w 139"/>
              <a:gd name="T71" fmla="*/ 67 h 90"/>
              <a:gd name="T72" fmla="*/ 79 w 139"/>
              <a:gd name="T73" fmla="*/ 68 h 90"/>
              <a:gd name="T74" fmla="*/ 89 w 139"/>
              <a:gd name="T75" fmla="*/ 79 h 90"/>
              <a:gd name="T76" fmla="*/ 98 w 139"/>
              <a:gd name="T77" fmla="*/ 74 h 90"/>
              <a:gd name="T78" fmla="*/ 99 w 139"/>
              <a:gd name="T79" fmla="*/ 73 h 90"/>
              <a:gd name="T80" fmla="*/ 102 w 139"/>
              <a:gd name="T81" fmla="*/ 67 h 90"/>
              <a:gd name="T82" fmla="*/ 102 w 139"/>
              <a:gd name="T83" fmla="*/ 60 h 90"/>
              <a:gd name="T84" fmla="*/ 106 w 139"/>
              <a:gd name="T85" fmla="*/ 58 h 90"/>
              <a:gd name="T86" fmla="*/ 108 w 139"/>
              <a:gd name="T87" fmla="*/ 59 h 90"/>
              <a:gd name="T88" fmla="*/ 111 w 139"/>
              <a:gd name="T89" fmla="*/ 65 h 90"/>
              <a:gd name="T90" fmla="*/ 113 w 139"/>
              <a:gd name="T91" fmla="*/ 66 h 90"/>
              <a:gd name="T92" fmla="*/ 118 w 139"/>
              <a:gd name="T93" fmla="*/ 67 h 90"/>
              <a:gd name="T94" fmla="*/ 121 w 139"/>
              <a:gd name="T95" fmla="*/ 66 h 90"/>
              <a:gd name="T96" fmla="*/ 127 w 139"/>
              <a:gd name="T97" fmla="*/ 71 h 90"/>
              <a:gd name="T98" fmla="*/ 127 w 139"/>
              <a:gd name="T99" fmla="*/ 65 h 90"/>
              <a:gd name="T100" fmla="*/ 125 w 139"/>
              <a:gd name="T101" fmla="*/ 63 h 90"/>
              <a:gd name="T102" fmla="*/ 125 w 139"/>
              <a:gd name="T103" fmla="*/ 60 h 90"/>
              <a:gd name="T104" fmla="*/ 126 w 139"/>
              <a:gd name="T105" fmla="*/ 57 h 90"/>
              <a:gd name="T106" fmla="*/ 127 w 139"/>
              <a:gd name="T107" fmla="*/ 56 h 90"/>
              <a:gd name="T108" fmla="*/ 137 w 139"/>
              <a:gd name="T109" fmla="*/ 57 h 90"/>
              <a:gd name="T110" fmla="*/ 137 w 139"/>
              <a:gd name="T111"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90">
                <a:moveTo>
                  <a:pt x="139" y="43"/>
                </a:moveTo>
                <a:cubicBezTo>
                  <a:pt x="139" y="42"/>
                  <a:pt x="138" y="41"/>
                  <a:pt x="138" y="40"/>
                </a:cubicBezTo>
                <a:cubicBezTo>
                  <a:pt x="137" y="41"/>
                  <a:pt x="136" y="41"/>
                  <a:pt x="136" y="42"/>
                </a:cubicBezTo>
                <a:cubicBezTo>
                  <a:pt x="137" y="45"/>
                  <a:pt x="134" y="43"/>
                  <a:pt x="135" y="45"/>
                </a:cubicBezTo>
                <a:cubicBezTo>
                  <a:pt x="132" y="45"/>
                  <a:pt x="132" y="47"/>
                  <a:pt x="129" y="47"/>
                </a:cubicBezTo>
                <a:cubicBezTo>
                  <a:pt x="129" y="47"/>
                  <a:pt x="128" y="46"/>
                  <a:pt x="128" y="46"/>
                </a:cubicBezTo>
                <a:cubicBezTo>
                  <a:pt x="128" y="45"/>
                  <a:pt x="127" y="45"/>
                  <a:pt x="126" y="45"/>
                </a:cubicBezTo>
                <a:cubicBezTo>
                  <a:pt x="126" y="44"/>
                  <a:pt x="125" y="45"/>
                  <a:pt x="125" y="44"/>
                </a:cubicBezTo>
                <a:cubicBezTo>
                  <a:pt x="123" y="43"/>
                  <a:pt x="123" y="42"/>
                  <a:pt x="121" y="42"/>
                </a:cubicBezTo>
                <a:cubicBezTo>
                  <a:pt x="121" y="39"/>
                  <a:pt x="121" y="39"/>
                  <a:pt x="121" y="39"/>
                </a:cubicBezTo>
                <a:cubicBezTo>
                  <a:pt x="121" y="39"/>
                  <a:pt x="121" y="38"/>
                  <a:pt x="120" y="38"/>
                </a:cubicBezTo>
                <a:cubicBezTo>
                  <a:pt x="120" y="38"/>
                  <a:pt x="120" y="38"/>
                  <a:pt x="120" y="38"/>
                </a:cubicBezTo>
                <a:cubicBezTo>
                  <a:pt x="120" y="38"/>
                  <a:pt x="119" y="38"/>
                  <a:pt x="119" y="38"/>
                </a:cubicBezTo>
                <a:cubicBezTo>
                  <a:pt x="117" y="37"/>
                  <a:pt x="115" y="37"/>
                  <a:pt x="113" y="37"/>
                </a:cubicBezTo>
                <a:cubicBezTo>
                  <a:pt x="112" y="37"/>
                  <a:pt x="112" y="36"/>
                  <a:pt x="112" y="35"/>
                </a:cubicBezTo>
                <a:cubicBezTo>
                  <a:pt x="112" y="35"/>
                  <a:pt x="111" y="34"/>
                  <a:pt x="112" y="33"/>
                </a:cubicBezTo>
                <a:cubicBezTo>
                  <a:pt x="112" y="28"/>
                  <a:pt x="112" y="28"/>
                  <a:pt x="112" y="28"/>
                </a:cubicBezTo>
                <a:cubicBezTo>
                  <a:pt x="111" y="28"/>
                  <a:pt x="112" y="28"/>
                  <a:pt x="112" y="27"/>
                </a:cubicBezTo>
                <a:cubicBezTo>
                  <a:pt x="112" y="26"/>
                  <a:pt x="114" y="26"/>
                  <a:pt x="114" y="24"/>
                </a:cubicBezTo>
                <a:cubicBezTo>
                  <a:pt x="116" y="23"/>
                  <a:pt x="115" y="21"/>
                  <a:pt x="117" y="20"/>
                </a:cubicBezTo>
                <a:cubicBezTo>
                  <a:pt x="117" y="16"/>
                  <a:pt x="117" y="16"/>
                  <a:pt x="117" y="16"/>
                </a:cubicBezTo>
                <a:cubicBezTo>
                  <a:pt x="116" y="16"/>
                  <a:pt x="115" y="16"/>
                  <a:pt x="114" y="16"/>
                </a:cubicBezTo>
                <a:cubicBezTo>
                  <a:pt x="114" y="16"/>
                  <a:pt x="114" y="16"/>
                  <a:pt x="114" y="16"/>
                </a:cubicBezTo>
                <a:cubicBezTo>
                  <a:pt x="113" y="16"/>
                  <a:pt x="113" y="15"/>
                  <a:pt x="111" y="15"/>
                </a:cubicBezTo>
                <a:cubicBezTo>
                  <a:pt x="111" y="15"/>
                  <a:pt x="111" y="15"/>
                  <a:pt x="110" y="14"/>
                </a:cubicBezTo>
                <a:cubicBezTo>
                  <a:pt x="110" y="14"/>
                  <a:pt x="110" y="14"/>
                  <a:pt x="109" y="14"/>
                </a:cubicBezTo>
                <a:cubicBezTo>
                  <a:pt x="110" y="13"/>
                  <a:pt x="109" y="13"/>
                  <a:pt x="109" y="13"/>
                </a:cubicBezTo>
                <a:cubicBezTo>
                  <a:pt x="109" y="13"/>
                  <a:pt x="109" y="13"/>
                  <a:pt x="108" y="12"/>
                </a:cubicBezTo>
                <a:cubicBezTo>
                  <a:pt x="108" y="12"/>
                  <a:pt x="108" y="12"/>
                  <a:pt x="108" y="12"/>
                </a:cubicBezTo>
                <a:cubicBezTo>
                  <a:pt x="108" y="12"/>
                  <a:pt x="108" y="12"/>
                  <a:pt x="108" y="12"/>
                </a:cubicBezTo>
                <a:cubicBezTo>
                  <a:pt x="108" y="12"/>
                  <a:pt x="108" y="12"/>
                  <a:pt x="108" y="12"/>
                </a:cubicBezTo>
                <a:cubicBezTo>
                  <a:pt x="108" y="12"/>
                  <a:pt x="108" y="12"/>
                  <a:pt x="108" y="12"/>
                </a:cubicBezTo>
                <a:cubicBezTo>
                  <a:pt x="108" y="12"/>
                  <a:pt x="108" y="12"/>
                  <a:pt x="108" y="12"/>
                </a:cubicBezTo>
                <a:cubicBezTo>
                  <a:pt x="108" y="12"/>
                  <a:pt x="108" y="12"/>
                  <a:pt x="108" y="12"/>
                </a:cubicBezTo>
                <a:cubicBezTo>
                  <a:pt x="107" y="11"/>
                  <a:pt x="107" y="11"/>
                  <a:pt x="106" y="10"/>
                </a:cubicBezTo>
                <a:cubicBezTo>
                  <a:pt x="106" y="10"/>
                  <a:pt x="106" y="10"/>
                  <a:pt x="106" y="10"/>
                </a:cubicBezTo>
                <a:cubicBezTo>
                  <a:pt x="106" y="10"/>
                  <a:pt x="106" y="10"/>
                  <a:pt x="106" y="10"/>
                </a:cubicBezTo>
                <a:cubicBezTo>
                  <a:pt x="106" y="10"/>
                  <a:pt x="106" y="10"/>
                  <a:pt x="106" y="10"/>
                </a:cubicBezTo>
                <a:cubicBezTo>
                  <a:pt x="106" y="10"/>
                  <a:pt x="106" y="10"/>
                  <a:pt x="106" y="10"/>
                </a:cubicBezTo>
                <a:cubicBezTo>
                  <a:pt x="106" y="10"/>
                  <a:pt x="106" y="10"/>
                  <a:pt x="106" y="10"/>
                </a:cubicBezTo>
                <a:cubicBezTo>
                  <a:pt x="106" y="10"/>
                  <a:pt x="106" y="10"/>
                  <a:pt x="106" y="10"/>
                </a:cubicBezTo>
                <a:cubicBezTo>
                  <a:pt x="106" y="10"/>
                  <a:pt x="106" y="9"/>
                  <a:pt x="106" y="9"/>
                </a:cubicBezTo>
                <a:cubicBezTo>
                  <a:pt x="106" y="9"/>
                  <a:pt x="105" y="9"/>
                  <a:pt x="105" y="9"/>
                </a:cubicBezTo>
                <a:cubicBezTo>
                  <a:pt x="105" y="9"/>
                  <a:pt x="105" y="9"/>
                  <a:pt x="105" y="9"/>
                </a:cubicBezTo>
                <a:cubicBezTo>
                  <a:pt x="105" y="9"/>
                  <a:pt x="105" y="9"/>
                  <a:pt x="105" y="9"/>
                </a:cubicBezTo>
                <a:cubicBezTo>
                  <a:pt x="105" y="9"/>
                  <a:pt x="105" y="9"/>
                  <a:pt x="105" y="9"/>
                </a:cubicBezTo>
                <a:cubicBezTo>
                  <a:pt x="105" y="9"/>
                  <a:pt x="105" y="8"/>
                  <a:pt x="105" y="8"/>
                </a:cubicBezTo>
                <a:cubicBezTo>
                  <a:pt x="104" y="8"/>
                  <a:pt x="103" y="8"/>
                  <a:pt x="102" y="8"/>
                </a:cubicBezTo>
                <a:cubicBezTo>
                  <a:pt x="102" y="7"/>
                  <a:pt x="102" y="7"/>
                  <a:pt x="101" y="7"/>
                </a:cubicBezTo>
                <a:cubicBezTo>
                  <a:pt x="100" y="7"/>
                  <a:pt x="100" y="7"/>
                  <a:pt x="100" y="6"/>
                </a:cubicBezTo>
                <a:cubicBezTo>
                  <a:pt x="98" y="7"/>
                  <a:pt x="95" y="5"/>
                  <a:pt x="95" y="7"/>
                </a:cubicBezTo>
                <a:cubicBezTo>
                  <a:pt x="94" y="6"/>
                  <a:pt x="92" y="7"/>
                  <a:pt x="93" y="5"/>
                </a:cubicBezTo>
                <a:cubicBezTo>
                  <a:pt x="92" y="4"/>
                  <a:pt x="92" y="4"/>
                  <a:pt x="91" y="3"/>
                </a:cubicBezTo>
                <a:cubicBezTo>
                  <a:pt x="90" y="3"/>
                  <a:pt x="90" y="3"/>
                  <a:pt x="90" y="3"/>
                </a:cubicBezTo>
                <a:cubicBezTo>
                  <a:pt x="90" y="3"/>
                  <a:pt x="90" y="3"/>
                  <a:pt x="90" y="3"/>
                </a:cubicBezTo>
                <a:cubicBezTo>
                  <a:pt x="89" y="3"/>
                  <a:pt x="89" y="3"/>
                  <a:pt x="89" y="3"/>
                </a:cubicBezTo>
                <a:cubicBezTo>
                  <a:pt x="88" y="3"/>
                  <a:pt x="88" y="3"/>
                  <a:pt x="88" y="3"/>
                </a:cubicBezTo>
                <a:cubicBezTo>
                  <a:pt x="88" y="2"/>
                  <a:pt x="88" y="2"/>
                  <a:pt x="88" y="2"/>
                </a:cubicBezTo>
                <a:cubicBezTo>
                  <a:pt x="88" y="2"/>
                  <a:pt x="88" y="2"/>
                  <a:pt x="88" y="2"/>
                </a:cubicBezTo>
                <a:cubicBezTo>
                  <a:pt x="87" y="2"/>
                  <a:pt x="87" y="2"/>
                  <a:pt x="87" y="2"/>
                </a:cubicBezTo>
                <a:cubicBezTo>
                  <a:pt x="87" y="2"/>
                  <a:pt x="87" y="2"/>
                  <a:pt x="87" y="2"/>
                </a:cubicBezTo>
                <a:cubicBezTo>
                  <a:pt x="87" y="2"/>
                  <a:pt x="87" y="2"/>
                  <a:pt x="87" y="2"/>
                </a:cubicBezTo>
                <a:cubicBezTo>
                  <a:pt x="87" y="2"/>
                  <a:pt x="87" y="2"/>
                  <a:pt x="87" y="1"/>
                </a:cubicBezTo>
                <a:cubicBezTo>
                  <a:pt x="87" y="1"/>
                  <a:pt x="87" y="1"/>
                  <a:pt x="87" y="1"/>
                </a:cubicBezTo>
                <a:cubicBezTo>
                  <a:pt x="87" y="1"/>
                  <a:pt x="87" y="1"/>
                  <a:pt x="87" y="1"/>
                </a:cubicBezTo>
                <a:cubicBezTo>
                  <a:pt x="87" y="1"/>
                  <a:pt x="87" y="1"/>
                  <a:pt x="87" y="1"/>
                </a:cubicBezTo>
                <a:cubicBezTo>
                  <a:pt x="87" y="1"/>
                  <a:pt x="87" y="1"/>
                  <a:pt x="87" y="1"/>
                </a:cubicBezTo>
                <a:cubicBezTo>
                  <a:pt x="87" y="1"/>
                  <a:pt x="87" y="1"/>
                  <a:pt x="87" y="1"/>
                </a:cubicBezTo>
                <a:cubicBezTo>
                  <a:pt x="86" y="1"/>
                  <a:pt x="86" y="1"/>
                  <a:pt x="86" y="1"/>
                </a:cubicBezTo>
                <a:cubicBezTo>
                  <a:pt x="86" y="1"/>
                  <a:pt x="86" y="1"/>
                  <a:pt x="86" y="1"/>
                </a:cubicBezTo>
                <a:cubicBezTo>
                  <a:pt x="86" y="1"/>
                  <a:pt x="86" y="1"/>
                  <a:pt x="86" y="1"/>
                </a:cubicBezTo>
                <a:cubicBezTo>
                  <a:pt x="86" y="1"/>
                  <a:pt x="86" y="1"/>
                  <a:pt x="86" y="1"/>
                </a:cubicBezTo>
                <a:cubicBezTo>
                  <a:pt x="86" y="1"/>
                  <a:pt x="86" y="1"/>
                  <a:pt x="86" y="0"/>
                </a:cubicBezTo>
                <a:cubicBezTo>
                  <a:pt x="86" y="0"/>
                  <a:pt x="86"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3" y="0"/>
                  <a:pt x="83" y="0"/>
                  <a:pt x="83" y="0"/>
                </a:cubicBezTo>
                <a:cubicBezTo>
                  <a:pt x="83" y="0"/>
                  <a:pt x="83" y="1"/>
                  <a:pt x="83" y="1"/>
                </a:cubicBezTo>
                <a:cubicBezTo>
                  <a:pt x="83" y="1"/>
                  <a:pt x="83" y="1"/>
                  <a:pt x="83" y="1"/>
                </a:cubicBezTo>
                <a:cubicBezTo>
                  <a:pt x="83" y="1"/>
                  <a:pt x="82" y="1"/>
                  <a:pt x="82" y="1"/>
                </a:cubicBezTo>
                <a:cubicBezTo>
                  <a:pt x="82" y="2"/>
                  <a:pt x="83" y="3"/>
                  <a:pt x="82" y="3"/>
                </a:cubicBezTo>
                <a:cubicBezTo>
                  <a:pt x="82" y="3"/>
                  <a:pt x="82" y="3"/>
                  <a:pt x="82" y="3"/>
                </a:cubicBezTo>
                <a:cubicBezTo>
                  <a:pt x="82" y="3"/>
                  <a:pt x="82" y="3"/>
                  <a:pt x="82" y="3"/>
                </a:cubicBezTo>
                <a:cubicBezTo>
                  <a:pt x="82" y="3"/>
                  <a:pt x="82" y="3"/>
                  <a:pt x="82" y="3"/>
                </a:cubicBezTo>
                <a:cubicBezTo>
                  <a:pt x="82" y="3"/>
                  <a:pt x="82" y="3"/>
                  <a:pt x="82" y="3"/>
                </a:cubicBezTo>
                <a:cubicBezTo>
                  <a:pt x="82" y="3"/>
                  <a:pt x="82" y="3"/>
                  <a:pt x="82" y="3"/>
                </a:cubicBezTo>
                <a:cubicBezTo>
                  <a:pt x="82" y="3"/>
                  <a:pt x="82" y="3"/>
                  <a:pt x="82" y="3"/>
                </a:cubicBezTo>
                <a:cubicBezTo>
                  <a:pt x="82" y="3"/>
                  <a:pt x="82" y="3"/>
                  <a:pt x="82" y="3"/>
                </a:cubicBezTo>
                <a:cubicBezTo>
                  <a:pt x="82" y="3"/>
                  <a:pt x="82" y="3"/>
                  <a:pt x="82" y="3"/>
                </a:cubicBezTo>
                <a:cubicBezTo>
                  <a:pt x="83" y="3"/>
                  <a:pt x="83" y="3"/>
                  <a:pt x="83" y="3"/>
                </a:cubicBezTo>
                <a:cubicBezTo>
                  <a:pt x="83" y="3"/>
                  <a:pt x="83" y="3"/>
                  <a:pt x="83" y="3"/>
                </a:cubicBezTo>
                <a:cubicBezTo>
                  <a:pt x="83" y="3"/>
                  <a:pt x="83" y="3"/>
                  <a:pt x="83" y="3"/>
                </a:cubicBezTo>
                <a:cubicBezTo>
                  <a:pt x="84" y="3"/>
                  <a:pt x="84" y="3"/>
                  <a:pt x="84" y="3"/>
                </a:cubicBezTo>
                <a:cubicBezTo>
                  <a:pt x="85" y="3"/>
                  <a:pt x="85" y="3"/>
                  <a:pt x="85" y="3"/>
                </a:cubicBezTo>
                <a:cubicBezTo>
                  <a:pt x="85" y="4"/>
                  <a:pt x="85" y="4"/>
                  <a:pt x="85" y="4"/>
                </a:cubicBezTo>
                <a:cubicBezTo>
                  <a:pt x="85" y="4"/>
                  <a:pt x="85" y="5"/>
                  <a:pt x="85" y="5"/>
                </a:cubicBezTo>
                <a:cubicBezTo>
                  <a:pt x="85" y="5"/>
                  <a:pt x="85" y="5"/>
                  <a:pt x="85" y="5"/>
                </a:cubicBezTo>
                <a:cubicBezTo>
                  <a:pt x="85" y="5"/>
                  <a:pt x="85" y="6"/>
                  <a:pt x="85" y="6"/>
                </a:cubicBezTo>
                <a:cubicBezTo>
                  <a:pt x="85" y="6"/>
                  <a:pt x="85" y="6"/>
                  <a:pt x="85" y="6"/>
                </a:cubicBezTo>
                <a:cubicBezTo>
                  <a:pt x="85" y="6"/>
                  <a:pt x="84" y="6"/>
                  <a:pt x="84" y="6"/>
                </a:cubicBezTo>
                <a:cubicBezTo>
                  <a:pt x="83" y="7"/>
                  <a:pt x="83" y="7"/>
                  <a:pt x="82" y="8"/>
                </a:cubicBezTo>
                <a:cubicBezTo>
                  <a:pt x="82" y="8"/>
                  <a:pt x="82" y="8"/>
                  <a:pt x="81" y="8"/>
                </a:cubicBezTo>
                <a:cubicBezTo>
                  <a:pt x="80" y="8"/>
                  <a:pt x="80" y="8"/>
                  <a:pt x="80" y="9"/>
                </a:cubicBezTo>
                <a:cubicBezTo>
                  <a:pt x="77" y="10"/>
                  <a:pt x="77" y="7"/>
                  <a:pt x="75" y="8"/>
                </a:cubicBezTo>
                <a:cubicBezTo>
                  <a:pt x="72" y="8"/>
                  <a:pt x="68" y="8"/>
                  <a:pt x="64" y="8"/>
                </a:cubicBezTo>
                <a:cubicBezTo>
                  <a:pt x="63" y="8"/>
                  <a:pt x="62" y="8"/>
                  <a:pt x="62" y="9"/>
                </a:cubicBezTo>
                <a:cubicBezTo>
                  <a:pt x="60" y="9"/>
                  <a:pt x="58" y="9"/>
                  <a:pt x="57" y="8"/>
                </a:cubicBezTo>
                <a:cubicBezTo>
                  <a:pt x="55" y="8"/>
                  <a:pt x="55" y="8"/>
                  <a:pt x="54" y="8"/>
                </a:cubicBezTo>
                <a:cubicBezTo>
                  <a:pt x="53" y="8"/>
                  <a:pt x="53" y="8"/>
                  <a:pt x="53" y="8"/>
                </a:cubicBezTo>
                <a:cubicBezTo>
                  <a:pt x="52" y="9"/>
                  <a:pt x="51" y="10"/>
                  <a:pt x="51" y="12"/>
                </a:cubicBezTo>
                <a:cubicBezTo>
                  <a:pt x="50" y="12"/>
                  <a:pt x="50" y="12"/>
                  <a:pt x="49" y="12"/>
                </a:cubicBezTo>
                <a:cubicBezTo>
                  <a:pt x="49" y="13"/>
                  <a:pt x="47" y="13"/>
                  <a:pt x="47" y="14"/>
                </a:cubicBezTo>
                <a:cubicBezTo>
                  <a:pt x="45" y="13"/>
                  <a:pt x="45" y="16"/>
                  <a:pt x="43" y="15"/>
                </a:cubicBezTo>
                <a:cubicBezTo>
                  <a:pt x="42" y="15"/>
                  <a:pt x="40" y="14"/>
                  <a:pt x="40" y="13"/>
                </a:cubicBezTo>
                <a:cubicBezTo>
                  <a:pt x="38" y="13"/>
                  <a:pt x="38" y="12"/>
                  <a:pt x="36" y="11"/>
                </a:cubicBezTo>
                <a:cubicBezTo>
                  <a:pt x="36" y="11"/>
                  <a:pt x="36" y="12"/>
                  <a:pt x="36" y="12"/>
                </a:cubicBezTo>
                <a:cubicBezTo>
                  <a:pt x="35" y="12"/>
                  <a:pt x="35" y="12"/>
                  <a:pt x="35" y="12"/>
                </a:cubicBezTo>
                <a:cubicBezTo>
                  <a:pt x="35" y="13"/>
                  <a:pt x="35" y="13"/>
                  <a:pt x="34" y="13"/>
                </a:cubicBezTo>
                <a:cubicBezTo>
                  <a:pt x="34" y="13"/>
                  <a:pt x="34" y="13"/>
                  <a:pt x="34" y="13"/>
                </a:cubicBezTo>
                <a:cubicBezTo>
                  <a:pt x="34" y="15"/>
                  <a:pt x="37" y="14"/>
                  <a:pt x="37" y="16"/>
                </a:cubicBezTo>
                <a:cubicBezTo>
                  <a:pt x="37" y="17"/>
                  <a:pt x="37" y="17"/>
                  <a:pt x="37" y="18"/>
                </a:cubicBezTo>
                <a:cubicBezTo>
                  <a:pt x="37" y="18"/>
                  <a:pt x="37" y="19"/>
                  <a:pt x="36" y="19"/>
                </a:cubicBezTo>
                <a:cubicBezTo>
                  <a:pt x="36" y="19"/>
                  <a:pt x="36" y="19"/>
                  <a:pt x="36" y="19"/>
                </a:cubicBezTo>
                <a:cubicBezTo>
                  <a:pt x="35" y="20"/>
                  <a:pt x="35" y="20"/>
                  <a:pt x="35" y="20"/>
                </a:cubicBezTo>
                <a:cubicBezTo>
                  <a:pt x="34" y="20"/>
                  <a:pt x="34" y="20"/>
                  <a:pt x="34" y="20"/>
                </a:cubicBezTo>
                <a:cubicBezTo>
                  <a:pt x="34" y="21"/>
                  <a:pt x="34" y="21"/>
                  <a:pt x="34" y="21"/>
                </a:cubicBezTo>
                <a:cubicBezTo>
                  <a:pt x="34" y="21"/>
                  <a:pt x="33" y="21"/>
                  <a:pt x="33" y="21"/>
                </a:cubicBezTo>
                <a:cubicBezTo>
                  <a:pt x="33" y="22"/>
                  <a:pt x="33" y="22"/>
                  <a:pt x="33" y="22"/>
                </a:cubicBezTo>
                <a:cubicBezTo>
                  <a:pt x="33" y="22"/>
                  <a:pt x="33" y="22"/>
                  <a:pt x="33" y="22"/>
                </a:cubicBezTo>
                <a:cubicBezTo>
                  <a:pt x="31" y="24"/>
                  <a:pt x="29" y="26"/>
                  <a:pt x="27" y="27"/>
                </a:cubicBezTo>
                <a:cubicBezTo>
                  <a:pt x="27" y="28"/>
                  <a:pt x="27" y="29"/>
                  <a:pt x="26" y="29"/>
                </a:cubicBezTo>
                <a:cubicBezTo>
                  <a:pt x="26" y="30"/>
                  <a:pt x="25" y="30"/>
                  <a:pt x="25" y="31"/>
                </a:cubicBezTo>
                <a:cubicBezTo>
                  <a:pt x="23" y="30"/>
                  <a:pt x="23" y="33"/>
                  <a:pt x="21" y="33"/>
                </a:cubicBezTo>
                <a:cubicBezTo>
                  <a:pt x="21" y="33"/>
                  <a:pt x="20" y="33"/>
                  <a:pt x="20" y="34"/>
                </a:cubicBezTo>
                <a:cubicBezTo>
                  <a:pt x="19" y="34"/>
                  <a:pt x="19" y="35"/>
                  <a:pt x="18" y="35"/>
                </a:cubicBezTo>
                <a:cubicBezTo>
                  <a:pt x="18" y="42"/>
                  <a:pt x="18" y="42"/>
                  <a:pt x="18" y="42"/>
                </a:cubicBezTo>
                <a:cubicBezTo>
                  <a:pt x="17" y="43"/>
                  <a:pt x="15" y="44"/>
                  <a:pt x="14" y="44"/>
                </a:cubicBezTo>
                <a:cubicBezTo>
                  <a:pt x="11" y="46"/>
                  <a:pt x="10" y="49"/>
                  <a:pt x="7" y="51"/>
                </a:cubicBezTo>
                <a:cubicBezTo>
                  <a:pt x="7" y="55"/>
                  <a:pt x="7" y="55"/>
                  <a:pt x="7" y="55"/>
                </a:cubicBezTo>
                <a:cubicBezTo>
                  <a:pt x="6" y="55"/>
                  <a:pt x="7" y="56"/>
                  <a:pt x="6" y="56"/>
                </a:cubicBezTo>
                <a:cubicBezTo>
                  <a:pt x="6" y="56"/>
                  <a:pt x="6" y="56"/>
                  <a:pt x="6" y="56"/>
                </a:cubicBezTo>
                <a:cubicBezTo>
                  <a:pt x="5" y="57"/>
                  <a:pt x="6" y="58"/>
                  <a:pt x="6" y="58"/>
                </a:cubicBezTo>
                <a:cubicBezTo>
                  <a:pt x="5" y="60"/>
                  <a:pt x="4" y="62"/>
                  <a:pt x="4" y="64"/>
                </a:cubicBezTo>
                <a:cubicBezTo>
                  <a:pt x="3" y="64"/>
                  <a:pt x="3" y="66"/>
                  <a:pt x="1" y="65"/>
                </a:cubicBezTo>
                <a:cubicBezTo>
                  <a:pt x="1" y="67"/>
                  <a:pt x="0" y="66"/>
                  <a:pt x="0" y="68"/>
                </a:cubicBezTo>
                <a:cubicBezTo>
                  <a:pt x="0" y="68"/>
                  <a:pt x="0" y="68"/>
                  <a:pt x="0" y="68"/>
                </a:cubicBezTo>
                <a:cubicBezTo>
                  <a:pt x="0" y="68"/>
                  <a:pt x="0" y="68"/>
                  <a:pt x="0" y="69"/>
                </a:cubicBezTo>
                <a:cubicBezTo>
                  <a:pt x="1" y="69"/>
                  <a:pt x="1" y="69"/>
                  <a:pt x="1" y="69"/>
                </a:cubicBezTo>
                <a:cubicBezTo>
                  <a:pt x="3" y="69"/>
                  <a:pt x="3" y="69"/>
                  <a:pt x="3" y="69"/>
                </a:cubicBezTo>
                <a:cubicBezTo>
                  <a:pt x="3" y="70"/>
                  <a:pt x="3" y="69"/>
                  <a:pt x="4" y="69"/>
                </a:cubicBezTo>
                <a:cubicBezTo>
                  <a:pt x="5" y="68"/>
                  <a:pt x="7" y="68"/>
                  <a:pt x="8" y="67"/>
                </a:cubicBezTo>
                <a:cubicBezTo>
                  <a:pt x="8" y="67"/>
                  <a:pt x="8" y="67"/>
                  <a:pt x="8" y="67"/>
                </a:cubicBezTo>
                <a:cubicBezTo>
                  <a:pt x="8" y="64"/>
                  <a:pt x="8" y="62"/>
                  <a:pt x="11" y="61"/>
                </a:cubicBezTo>
                <a:cubicBezTo>
                  <a:pt x="12" y="61"/>
                  <a:pt x="12" y="62"/>
                  <a:pt x="14" y="62"/>
                </a:cubicBezTo>
                <a:cubicBezTo>
                  <a:pt x="14" y="61"/>
                  <a:pt x="15" y="61"/>
                  <a:pt x="15" y="60"/>
                </a:cubicBezTo>
                <a:cubicBezTo>
                  <a:pt x="16" y="60"/>
                  <a:pt x="16" y="60"/>
                  <a:pt x="18" y="60"/>
                </a:cubicBezTo>
                <a:cubicBezTo>
                  <a:pt x="25" y="60"/>
                  <a:pt x="25" y="60"/>
                  <a:pt x="25" y="60"/>
                </a:cubicBezTo>
                <a:cubicBezTo>
                  <a:pt x="25" y="61"/>
                  <a:pt x="25" y="61"/>
                  <a:pt x="27" y="61"/>
                </a:cubicBezTo>
                <a:cubicBezTo>
                  <a:pt x="26" y="64"/>
                  <a:pt x="28" y="68"/>
                  <a:pt x="27" y="70"/>
                </a:cubicBezTo>
                <a:cubicBezTo>
                  <a:pt x="27" y="71"/>
                  <a:pt x="27" y="71"/>
                  <a:pt x="28" y="72"/>
                </a:cubicBezTo>
                <a:cubicBezTo>
                  <a:pt x="29" y="72"/>
                  <a:pt x="28" y="73"/>
                  <a:pt x="29" y="73"/>
                </a:cubicBezTo>
                <a:cubicBezTo>
                  <a:pt x="30" y="74"/>
                  <a:pt x="30" y="74"/>
                  <a:pt x="31" y="74"/>
                </a:cubicBezTo>
                <a:cubicBezTo>
                  <a:pt x="31" y="75"/>
                  <a:pt x="31" y="76"/>
                  <a:pt x="31" y="76"/>
                </a:cubicBezTo>
                <a:cubicBezTo>
                  <a:pt x="32" y="77"/>
                  <a:pt x="32" y="78"/>
                  <a:pt x="33" y="79"/>
                </a:cubicBezTo>
                <a:cubicBezTo>
                  <a:pt x="33" y="79"/>
                  <a:pt x="33" y="79"/>
                  <a:pt x="33" y="79"/>
                </a:cubicBezTo>
                <a:cubicBezTo>
                  <a:pt x="33" y="79"/>
                  <a:pt x="33" y="79"/>
                  <a:pt x="33" y="79"/>
                </a:cubicBezTo>
                <a:cubicBezTo>
                  <a:pt x="33" y="79"/>
                  <a:pt x="33" y="79"/>
                  <a:pt x="33" y="79"/>
                </a:cubicBezTo>
                <a:cubicBezTo>
                  <a:pt x="33" y="80"/>
                  <a:pt x="33" y="80"/>
                  <a:pt x="33" y="80"/>
                </a:cubicBezTo>
                <a:cubicBezTo>
                  <a:pt x="33" y="80"/>
                  <a:pt x="33" y="80"/>
                  <a:pt x="33" y="80"/>
                </a:cubicBezTo>
                <a:cubicBezTo>
                  <a:pt x="33" y="80"/>
                  <a:pt x="33" y="80"/>
                  <a:pt x="33" y="80"/>
                </a:cubicBezTo>
                <a:cubicBezTo>
                  <a:pt x="33" y="81"/>
                  <a:pt x="34" y="81"/>
                  <a:pt x="34" y="81"/>
                </a:cubicBezTo>
                <a:cubicBezTo>
                  <a:pt x="34" y="81"/>
                  <a:pt x="34" y="81"/>
                  <a:pt x="34" y="81"/>
                </a:cubicBezTo>
                <a:cubicBezTo>
                  <a:pt x="34" y="81"/>
                  <a:pt x="34" y="81"/>
                  <a:pt x="34" y="81"/>
                </a:cubicBezTo>
                <a:cubicBezTo>
                  <a:pt x="34" y="81"/>
                  <a:pt x="34" y="82"/>
                  <a:pt x="34" y="82"/>
                </a:cubicBezTo>
                <a:cubicBezTo>
                  <a:pt x="34" y="82"/>
                  <a:pt x="34" y="82"/>
                  <a:pt x="34" y="82"/>
                </a:cubicBezTo>
                <a:cubicBezTo>
                  <a:pt x="34" y="82"/>
                  <a:pt x="34" y="82"/>
                  <a:pt x="34" y="82"/>
                </a:cubicBezTo>
                <a:cubicBezTo>
                  <a:pt x="34" y="83"/>
                  <a:pt x="34" y="83"/>
                  <a:pt x="34" y="83"/>
                </a:cubicBezTo>
                <a:cubicBezTo>
                  <a:pt x="34" y="83"/>
                  <a:pt x="34" y="83"/>
                  <a:pt x="34" y="83"/>
                </a:cubicBezTo>
                <a:cubicBezTo>
                  <a:pt x="34" y="83"/>
                  <a:pt x="34" y="83"/>
                  <a:pt x="36" y="83"/>
                </a:cubicBezTo>
                <a:cubicBezTo>
                  <a:pt x="37" y="82"/>
                  <a:pt x="38" y="81"/>
                  <a:pt x="40" y="81"/>
                </a:cubicBezTo>
                <a:cubicBezTo>
                  <a:pt x="40" y="80"/>
                  <a:pt x="42" y="81"/>
                  <a:pt x="42" y="80"/>
                </a:cubicBezTo>
                <a:cubicBezTo>
                  <a:pt x="43" y="80"/>
                  <a:pt x="43" y="79"/>
                  <a:pt x="44" y="79"/>
                </a:cubicBezTo>
                <a:cubicBezTo>
                  <a:pt x="45" y="79"/>
                  <a:pt x="46" y="79"/>
                  <a:pt x="46" y="79"/>
                </a:cubicBezTo>
                <a:cubicBezTo>
                  <a:pt x="47" y="79"/>
                  <a:pt x="49" y="79"/>
                  <a:pt x="50" y="79"/>
                </a:cubicBezTo>
                <a:cubicBezTo>
                  <a:pt x="51" y="79"/>
                  <a:pt x="51" y="80"/>
                  <a:pt x="52" y="81"/>
                </a:cubicBezTo>
                <a:cubicBezTo>
                  <a:pt x="53" y="81"/>
                  <a:pt x="53" y="81"/>
                  <a:pt x="54" y="82"/>
                </a:cubicBezTo>
                <a:cubicBezTo>
                  <a:pt x="56" y="83"/>
                  <a:pt x="55" y="81"/>
                  <a:pt x="57" y="81"/>
                </a:cubicBezTo>
                <a:cubicBezTo>
                  <a:pt x="57" y="80"/>
                  <a:pt x="58" y="80"/>
                  <a:pt x="59" y="80"/>
                </a:cubicBezTo>
                <a:cubicBezTo>
                  <a:pt x="60" y="79"/>
                  <a:pt x="60" y="79"/>
                  <a:pt x="60" y="78"/>
                </a:cubicBezTo>
                <a:cubicBezTo>
                  <a:pt x="61" y="78"/>
                  <a:pt x="60" y="77"/>
                  <a:pt x="61" y="76"/>
                </a:cubicBezTo>
                <a:cubicBezTo>
                  <a:pt x="63" y="76"/>
                  <a:pt x="62" y="74"/>
                  <a:pt x="64" y="74"/>
                </a:cubicBezTo>
                <a:cubicBezTo>
                  <a:pt x="64" y="74"/>
                  <a:pt x="64" y="74"/>
                  <a:pt x="64" y="74"/>
                </a:cubicBezTo>
                <a:cubicBezTo>
                  <a:pt x="64" y="74"/>
                  <a:pt x="64" y="74"/>
                  <a:pt x="64" y="74"/>
                </a:cubicBezTo>
                <a:cubicBezTo>
                  <a:pt x="64" y="74"/>
                  <a:pt x="64" y="74"/>
                  <a:pt x="64" y="73"/>
                </a:cubicBezTo>
                <a:cubicBezTo>
                  <a:pt x="64" y="73"/>
                  <a:pt x="64" y="73"/>
                  <a:pt x="64" y="73"/>
                </a:cubicBezTo>
                <a:cubicBezTo>
                  <a:pt x="64" y="73"/>
                  <a:pt x="64" y="73"/>
                  <a:pt x="64" y="73"/>
                </a:cubicBezTo>
                <a:cubicBezTo>
                  <a:pt x="64" y="73"/>
                  <a:pt x="64" y="73"/>
                  <a:pt x="64" y="73"/>
                </a:cubicBezTo>
                <a:cubicBezTo>
                  <a:pt x="64" y="73"/>
                  <a:pt x="64" y="73"/>
                  <a:pt x="64" y="73"/>
                </a:cubicBezTo>
                <a:cubicBezTo>
                  <a:pt x="64" y="73"/>
                  <a:pt x="64" y="73"/>
                  <a:pt x="64" y="73"/>
                </a:cubicBezTo>
                <a:cubicBezTo>
                  <a:pt x="63" y="72"/>
                  <a:pt x="62" y="71"/>
                  <a:pt x="63" y="70"/>
                </a:cubicBezTo>
                <a:cubicBezTo>
                  <a:pt x="64" y="69"/>
                  <a:pt x="63" y="68"/>
                  <a:pt x="64" y="68"/>
                </a:cubicBezTo>
                <a:cubicBezTo>
                  <a:pt x="64" y="67"/>
                  <a:pt x="66" y="68"/>
                  <a:pt x="66" y="67"/>
                </a:cubicBezTo>
                <a:cubicBezTo>
                  <a:pt x="67" y="66"/>
                  <a:pt x="67" y="65"/>
                  <a:pt x="69" y="65"/>
                </a:cubicBezTo>
                <a:cubicBezTo>
                  <a:pt x="69" y="64"/>
                  <a:pt x="72" y="64"/>
                  <a:pt x="71" y="61"/>
                </a:cubicBezTo>
                <a:cubicBezTo>
                  <a:pt x="72" y="61"/>
                  <a:pt x="72" y="61"/>
                  <a:pt x="72" y="60"/>
                </a:cubicBezTo>
                <a:cubicBezTo>
                  <a:pt x="75" y="61"/>
                  <a:pt x="75" y="59"/>
                  <a:pt x="78" y="60"/>
                </a:cubicBezTo>
                <a:cubicBezTo>
                  <a:pt x="78" y="61"/>
                  <a:pt x="79" y="62"/>
                  <a:pt x="80" y="63"/>
                </a:cubicBezTo>
                <a:cubicBezTo>
                  <a:pt x="80" y="64"/>
                  <a:pt x="79" y="65"/>
                  <a:pt x="79" y="67"/>
                </a:cubicBezTo>
                <a:cubicBezTo>
                  <a:pt x="79" y="67"/>
                  <a:pt x="79" y="67"/>
                  <a:pt x="79" y="67"/>
                </a:cubicBezTo>
                <a:cubicBezTo>
                  <a:pt x="79" y="67"/>
                  <a:pt x="79" y="67"/>
                  <a:pt x="79" y="67"/>
                </a:cubicBezTo>
                <a:cubicBezTo>
                  <a:pt x="79" y="67"/>
                  <a:pt x="79" y="67"/>
                  <a:pt x="79" y="67"/>
                </a:cubicBezTo>
                <a:cubicBezTo>
                  <a:pt x="79" y="67"/>
                  <a:pt x="79" y="67"/>
                  <a:pt x="79" y="67"/>
                </a:cubicBezTo>
                <a:cubicBezTo>
                  <a:pt x="79" y="67"/>
                  <a:pt x="79" y="68"/>
                  <a:pt x="79" y="68"/>
                </a:cubicBezTo>
                <a:cubicBezTo>
                  <a:pt x="79" y="68"/>
                  <a:pt x="79" y="68"/>
                  <a:pt x="79" y="68"/>
                </a:cubicBezTo>
                <a:cubicBezTo>
                  <a:pt x="79" y="68"/>
                  <a:pt x="79" y="68"/>
                  <a:pt x="79" y="68"/>
                </a:cubicBezTo>
                <a:cubicBezTo>
                  <a:pt x="79" y="69"/>
                  <a:pt x="80" y="70"/>
                  <a:pt x="80" y="72"/>
                </a:cubicBezTo>
                <a:cubicBezTo>
                  <a:pt x="80" y="72"/>
                  <a:pt x="80" y="72"/>
                  <a:pt x="80" y="73"/>
                </a:cubicBezTo>
                <a:cubicBezTo>
                  <a:pt x="82" y="74"/>
                  <a:pt x="84" y="76"/>
                  <a:pt x="85" y="78"/>
                </a:cubicBezTo>
                <a:cubicBezTo>
                  <a:pt x="86" y="78"/>
                  <a:pt x="86" y="78"/>
                  <a:pt x="86" y="79"/>
                </a:cubicBezTo>
                <a:cubicBezTo>
                  <a:pt x="88" y="79"/>
                  <a:pt x="89" y="78"/>
                  <a:pt x="89" y="79"/>
                </a:cubicBezTo>
                <a:cubicBezTo>
                  <a:pt x="89" y="80"/>
                  <a:pt x="90" y="80"/>
                  <a:pt x="90" y="81"/>
                </a:cubicBezTo>
                <a:cubicBezTo>
                  <a:pt x="90" y="83"/>
                  <a:pt x="89" y="83"/>
                  <a:pt x="89" y="84"/>
                </a:cubicBezTo>
                <a:cubicBezTo>
                  <a:pt x="89" y="86"/>
                  <a:pt x="91" y="86"/>
                  <a:pt x="91" y="87"/>
                </a:cubicBezTo>
                <a:cubicBezTo>
                  <a:pt x="91" y="89"/>
                  <a:pt x="92" y="90"/>
                  <a:pt x="94" y="90"/>
                </a:cubicBezTo>
                <a:cubicBezTo>
                  <a:pt x="93" y="85"/>
                  <a:pt x="94" y="81"/>
                  <a:pt x="95" y="76"/>
                </a:cubicBezTo>
                <a:cubicBezTo>
                  <a:pt x="96" y="75"/>
                  <a:pt x="97" y="75"/>
                  <a:pt x="98" y="74"/>
                </a:cubicBezTo>
                <a:cubicBezTo>
                  <a:pt x="98" y="74"/>
                  <a:pt x="98" y="74"/>
                  <a:pt x="98" y="74"/>
                </a:cubicBezTo>
                <a:cubicBezTo>
                  <a:pt x="98" y="74"/>
                  <a:pt x="98" y="74"/>
                  <a:pt x="98" y="74"/>
                </a:cubicBezTo>
                <a:cubicBezTo>
                  <a:pt x="98" y="73"/>
                  <a:pt x="98" y="73"/>
                  <a:pt x="98" y="73"/>
                </a:cubicBezTo>
                <a:cubicBezTo>
                  <a:pt x="98" y="73"/>
                  <a:pt x="98" y="73"/>
                  <a:pt x="98" y="73"/>
                </a:cubicBezTo>
                <a:cubicBezTo>
                  <a:pt x="99" y="73"/>
                  <a:pt x="99" y="73"/>
                  <a:pt x="99" y="73"/>
                </a:cubicBezTo>
                <a:cubicBezTo>
                  <a:pt x="99" y="73"/>
                  <a:pt x="99" y="73"/>
                  <a:pt x="99" y="73"/>
                </a:cubicBezTo>
                <a:cubicBezTo>
                  <a:pt x="99" y="71"/>
                  <a:pt x="99" y="71"/>
                  <a:pt x="100" y="70"/>
                </a:cubicBezTo>
                <a:cubicBezTo>
                  <a:pt x="100" y="70"/>
                  <a:pt x="100" y="70"/>
                  <a:pt x="100" y="70"/>
                </a:cubicBezTo>
                <a:cubicBezTo>
                  <a:pt x="101" y="70"/>
                  <a:pt x="101" y="69"/>
                  <a:pt x="101" y="69"/>
                </a:cubicBezTo>
                <a:cubicBezTo>
                  <a:pt x="101" y="69"/>
                  <a:pt x="101" y="69"/>
                  <a:pt x="101" y="69"/>
                </a:cubicBezTo>
                <a:cubicBezTo>
                  <a:pt x="101" y="69"/>
                  <a:pt x="101" y="69"/>
                  <a:pt x="101" y="68"/>
                </a:cubicBezTo>
                <a:cubicBezTo>
                  <a:pt x="102" y="68"/>
                  <a:pt x="102" y="67"/>
                  <a:pt x="102" y="67"/>
                </a:cubicBezTo>
                <a:cubicBezTo>
                  <a:pt x="102" y="67"/>
                  <a:pt x="102" y="67"/>
                  <a:pt x="102" y="66"/>
                </a:cubicBezTo>
                <a:cubicBezTo>
                  <a:pt x="102" y="66"/>
                  <a:pt x="102" y="66"/>
                  <a:pt x="102" y="66"/>
                </a:cubicBezTo>
                <a:cubicBezTo>
                  <a:pt x="102" y="66"/>
                  <a:pt x="102" y="66"/>
                  <a:pt x="102" y="66"/>
                </a:cubicBezTo>
                <a:cubicBezTo>
                  <a:pt x="102" y="66"/>
                  <a:pt x="102" y="66"/>
                  <a:pt x="102" y="65"/>
                </a:cubicBezTo>
                <a:cubicBezTo>
                  <a:pt x="102" y="64"/>
                  <a:pt x="101" y="63"/>
                  <a:pt x="102" y="60"/>
                </a:cubicBezTo>
                <a:cubicBezTo>
                  <a:pt x="102" y="60"/>
                  <a:pt x="102" y="60"/>
                  <a:pt x="102" y="60"/>
                </a:cubicBezTo>
                <a:cubicBezTo>
                  <a:pt x="102" y="60"/>
                  <a:pt x="102" y="60"/>
                  <a:pt x="102" y="60"/>
                </a:cubicBezTo>
                <a:cubicBezTo>
                  <a:pt x="103" y="59"/>
                  <a:pt x="104" y="59"/>
                  <a:pt x="105" y="59"/>
                </a:cubicBezTo>
                <a:cubicBezTo>
                  <a:pt x="105" y="59"/>
                  <a:pt x="105" y="59"/>
                  <a:pt x="105" y="59"/>
                </a:cubicBezTo>
                <a:cubicBezTo>
                  <a:pt x="105" y="59"/>
                  <a:pt x="106" y="59"/>
                  <a:pt x="106" y="59"/>
                </a:cubicBezTo>
                <a:cubicBezTo>
                  <a:pt x="106" y="59"/>
                  <a:pt x="106" y="58"/>
                  <a:pt x="106" y="58"/>
                </a:cubicBezTo>
                <a:cubicBezTo>
                  <a:pt x="106" y="58"/>
                  <a:pt x="106" y="58"/>
                  <a:pt x="106" y="58"/>
                </a:cubicBezTo>
                <a:cubicBezTo>
                  <a:pt x="106" y="58"/>
                  <a:pt x="106" y="58"/>
                  <a:pt x="106" y="58"/>
                </a:cubicBezTo>
                <a:cubicBezTo>
                  <a:pt x="106" y="58"/>
                  <a:pt x="107" y="58"/>
                  <a:pt x="107" y="58"/>
                </a:cubicBezTo>
                <a:cubicBezTo>
                  <a:pt x="107" y="58"/>
                  <a:pt x="107" y="58"/>
                  <a:pt x="107" y="58"/>
                </a:cubicBezTo>
                <a:cubicBezTo>
                  <a:pt x="107" y="59"/>
                  <a:pt x="107" y="59"/>
                  <a:pt x="108" y="59"/>
                </a:cubicBezTo>
                <a:cubicBezTo>
                  <a:pt x="108" y="59"/>
                  <a:pt x="108" y="59"/>
                  <a:pt x="108" y="59"/>
                </a:cubicBezTo>
                <a:cubicBezTo>
                  <a:pt x="108" y="59"/>
                  <a:pt x="108" y="59"/>
                  <a:pt x="108" y="59"/>
                </a:cubicBezTo>
                <a:cubicBezTo>
                  <a:pt x="108" y="59"/>
                  <a:pt x="108" y="59"/>
                  <a:pt x="108" y="59"/>
                </a:cubicBezTo>
                <a:cubicBezTo>
                  <a:pt x="108" y="59"/>
                  <a:pt x="108" y="59"/>
                  <a:pt x="108" y="59"/>
                </a:cubicBezTo>
                <a:cubicBezTo>
                  <a:pt x="109" y="59"/>
                  <a:pt x="110" y="60"/>
                  <a:pt x="110" y="60"/>
                </a:cubicBezTo>
                <a:cubicBezTo>
                  <a:pt x="110" y="65"/>
                  <a:pt x="110" y="65"/>
                  <a:pt x="110" y="65"/>
                </a:cubicBezTo>
                <a:cubicBezTo>
                  <a:pt x="110" y="65"/>
                  <a:pt x="111" y="65"/>
                  <a:pt x="111" y="65"/>
                </a:cubicBezTo>
                <a:cubicBezTo>
                  <a:pt x="111" y="65"/>
                  <a:pt x="111" y="65"/>
                  <a:pt x="111" y="65"/>
                </a:cubicBezTo>
                <a:cubicBezTo>
                  <a:pt x="111" y="65"/>
                  <a:pt x="111" y="65"/>
                  <a:pt x="111" y="65"/>
                </a:cubicBezTo>
                <a:cubicBezTo>
                  <a:pt x="111" y="65"/>
                  <a:pt x="111" y="65"/>
                  <a:pt x="111" y="66"/>
                </a:cubicBezTo>
                <a:cubicBezTo>
                  <a:pt x="112" y="66"/>
                  <a:pt x="112" y="66"/>
                  <a:pt x="112" y="66"/>
                </a:cubicBezTo>
                <a:cubicBezTo>
                  <a:pt x="112" y="66"/>
                  <a:pt x="112" y="66"/>
                  <a:pt x="112" y="66"/>
                </a:cubicBezTo>
                <a:cubicBezTo>
                  <a:pt x="112" y="66"/>
                  <a:pt x="113" y="66"/>
                  <a:pt x="113" y="66"/>
                </a:cubicBezTo>
                <a:cubicBezTo>
                  <a:pt x="113" y="66"/>
                  <a:pt x="113" y="66"/>
                  <a:pt x="113" y="66"/>
                </a:cubicBezTo>
                <a:cubicBezTo>
                  <a:pt x="114" y="68"/>
                  <a:pt x="115" y="67"/>
                  <a:pt x="116" y="67"/>
                </a:cubicBezTo>
                <a:cubicBezTo>
                  <a:pt x="116" y="67"/>
                  <a:pt x="116" y="67"/>
                  <a:pt x="116" y="67"/>
                </a:cubicBezTo>
                <a:cubicBezTo>
                  <a:pt x="116" y="67"/>
                  <a:pt x="116" y="67"/>
                  <a:pt x="117" y="67"/>
                </a:cubicBezTo>
                <a:cubicBezTo>
                  <a:pt x="117" y="67"/>
                  <a:pt x="117" y="67"/>
                  <a:pt x="117" y="67"/>
                </a:cubicBezTo>
                <a:cubicBezTo>
                  <a:pt x="117" y="67"/>
                  <a:pt x="117" y="67"/>
                  <a:pt x="118" y="67"/>
                </a:cubicBezTo>
                <a:cubicBezTo>
                  <a:pt x="118" y="67"/>
                  <a:pt x="118" y="67"/>
                  <a:pt x="118" y="67"/>
                </a:cubicBezTo>
                <a:cubicBezTo>
                  <a:pt x="118" y="67"/>
                  <a:pt x="118" y="66"/>
                  <a:pt x="119" y="66"/>
                </a:cubicBezTo>
                <a:cubicBezTo>
                  <a:pt x="119" y="66"/>
                  <a:pt x="119" y="66"/>
                  <a:pt x="119" y="66"/>
                </a:cubicBezTo>
                <a:cubicBezTo>
                  <a:pt x="119" y="66"/>
                  <a:pt x="120" y="66"/>
                  <a:pt x="120" y="66"/>
                </a:cubicBezTo>
                <a:cubicBezTo>
                  <a:pt x="120" y="66"/>
                  <a:pt x="120" y="66"/>
                  <a:pt x="120" y="66"/>
                </a:cubicBezTo>
                <a:cubicBezTo>
                  <a:pt x="120" y="66"/>
                  <a:pt x="121" y="66"/>
                  <a:pt x="121" y="66"/>
                </a:cubicBezTo>
                <a:cubicBezTo>
                  <a:pt x="121" y="66"/>
                  <a:pt x="121" y="66"/>
                  <a:pt x="121" y="66"/>
                </a:cubicBezTo>
                <a:cubicBezTo>
                  <a:pt x="122" y="66"/>
                  <a:pt x="122" y="66"/>
                  <a:pt x="122" y="66"/>
                </a:cubicBezTo>
                <a:cubicBezTo>
                  <a:pt x="123" y="65"/>
                  <a:pt x="123" y="65"/>
                  <a:pt x="123" y="65"/>
                </a:cubicBezTo>
                <a:cubicBezTo>
                  <a:pt x="123" y="65"/>
                  <a:pt x="124" y="65"/>
                  <a:pt x="124" y="65"/>
                </a:cubicBezTo>
                <a:cubicBezTo>
                  <a:pt x="124" y="66"/>
                  <a:pt x="125" y="67"/>
                  <a:pt x="125" y="68"/>
                </a:cubicBezTo>
                <a:cubicBezTo>
                  <a:pt x="125" y="70"/>
                  <a:pt x="125" y="70"/>
                  <a:pt x="125" y="70"/>
                </a:cubicBezTo>
                <a:cubicBezTo>
                  <a:pt x="125" y="70"/>
                  <a:pt x="126" y="71"/>
                  <a:pt x="127" y="71"/>
                </a:cubicBezTo>
                <a:cubicBezTo>
                  <a:pt x="127" y="72"/>
                  <a:pt x="128" y="72"/>
                  <a:pt x="129" y="72"/>
                </a:cubicBezTo>
                <a:cubicBezTo>
                  <a:pt x="130" y="70"/>
                  <a:pt x="128" y="71"/>
                  <a:pt x="128" y="69"/>
                </a:cubicBezTo>
                <a:cubicBezTo>
                  <a:pt x="128" y="66"/>
                  <a:pt x="128" y="66"/>
                  <a:pt x="128" y="66"/>
                </a:cubicBezTo>
                <a:cubicBezTo>
                  <a:pt x="128" y="66"/>
                  <a:pt x="128" y="66"/>
                  <a:pt x="128" y="66"/>
                </a:cubicBezTo>
                <a:cubicBezTo>
                  <a:pt x="127" y="66"/>
                  <a:pt x="127" y="65"/>
                  <a:pt x="127" y="65"/>
                </a:cubicBezTo>
                <a:cubicBezTo>
                  <a:pt x="127" y="65"/>
                  <a:pt x="127" y="65"/>
                  <a:pt x="127" y="65"/>
                </a:cubicBezTo>
                <a:cubicBezTo>
                  <a:pt x="127" y="65"/>
                  <a:pt x="127" y="65"/>
                  <a:pt x="127" y="65"/>
                </a:cubicBezTo>
                <a:cubicBezTo>
                  <a:pt x="126" y="65"/>
                  <a:pt x="126" y="65"/>
                  <a:pt x="126" y="64"/>
                </a:cubicBezTo>
                <a:cubicBezTo>
                  <a:pt x="126" y="64"/>
                  <a:pt x="126" y="64"/>
                  <a:pt x="126" y="64"/>
                </a:cubicBezTo>
                <a:cubicBezTo>
                  <a:pt x="126" y="64"/>
                  <a:pt x="126" y="64"/>
                  <a:pt x="126" y="64"/>
                </a:cubicBezTo>
                <a:cubicBezTo>
                  <a:pt x="126" y="64"/>
                  <a:pt x="126" y="63"/>
                  <a:pt x="126" y="63"/>
                </a:cubicBezTo>
                <a:cubicBezTo>
                  <a:pt x="126" y="63"/>
                  <a:pt x="125" y="63"/>
                  <a:pt x="125" y="63"/>
                </a:cubicBezTo>
                <a:cubicBezTo>
                  <a:pt x="125" y="63"/>
                  <a:pt x="125" y="63"/>
                  <a:pt x="125" y="63"/>
                </a:cubicBezTo>
                <a:cubicBezTo>
                  <a:pt x="125" y="62"/>
                  <a:pt x="125" y="62"/>
                  <a:pt x="125" y="62"/>
                </a:cubicBezTo>
                <a:cubicBezTo>
                  <a:pt x="125" y="62"/>
                  <a:pt x="125" y="62"/>
                  <a:pt x="125" y="62"/>
                </a:cubicBezTo>
                <a:cubicBezTo>
                  <a:pt x="125" y="61"/>
                  <a:pt x="125" y="61"/>
                  <a:pt x="125" y="61"/>
                </a:cubicBezTo>
                <a:cubicBezTo>
                  <a:pt x="125" y="61"/>
                  <a:pt x="125" y="61"/>
                  <a:pt x="125" y="61"/>
                </a:cubicBezTo>
                <a:cubicBezTo>
                  <a:pt x="125" y="60"/>
                  <a:pt x="125" y="60"/>
                  <a:pt x="125" y="60"/>
                </a:cubicBezTo>
                <a:cubicBezTo>
                  <a:pt x="125" y="60"/>
                  <a:pt x="125" y="60"/>
                  <a:pt x="125" y="60"/>
                </a:cubicBezTo>
                <a:cubicBezTo>
                  <a:pt x="125" y="60"/>
                  <a:pt x="125" y="60"/>
                  <a:pt x="125" y="59"/>
                </a:cubicBezTo>
                <a:cubicBezTo>
                  <a:pt x="125" y="59"/>
                  <a:pt x="125" y="59"/>
                  <a:pt x="125" y="59"/>
                </a:cubicBezTo>
                <a:cubicBezTo>
                  <a:pt x="125" y="59"/>
                  <a:pt x="125" y="59"/>
                  <a:pt x="125" y="59"/>
                </a:cubicBezTo>
                <a:cubicBezTo>
                  <a:pt x="125" y="59"/>
                  <a:pt x="125" y="59"/>
                  <a:pt x="125" y="59"/>
                </a:cubicBezTo>
                <a:cubicBezTo>
                  <a:pt x="124" y="58"/>
                  <a:pt x="125" y="57"/>
                  <a:pt x="126" y="57"/>
                </a:cubicBezTo>
                <a:cubicBezTo>
                  <a:pt x="126" y="57"/>
                  <a:pt x="126" y="57"/>
                  <a:pt x="126" y="57"/>
                </a:cubicBezTo>
                <a:cubicBezTo>
                  <a:pt x="126" y="57"/>
                  <a:pt x="126" y="57"/>
                  <a:pt x="126" y="57"/>
                </a:cubicBezTo>
                <a:cubicBezTo>
                  <a:pt x="127" y="57"/>
                  <a:pt x="127" y="57"/>
                  <a:pt x="127" y="56"/>
                </a:cubicBezTo>
                <a:cubicBezTo>
                  <a:pt x="127" y="56"/>
                  <a:pt x="127" y="56"/>
                  <a:pt x="127" y="56"/>
                </a:cubicBezTo>
                <a:cubicBezTo>
                  <a:pt x="127" y="56"/>
                  <a:pt x="127" y="56"/>
                  <a:pt x="127" y="56"/>
                </a:cubicBezTo>
                <a:cubicBezTo>
                  <a:pt x="127" y="56"/>
                  <a:pt x="127" y="56"/>
                  <a:pt x="127" y="56"/>
                </a:cubicBezTo>
                <a:cubicBezTo>
                  <a:pt x="127" y="56"/>
                  <a:pt x="127" y="56"/>
                  <a:pt x="127" y="56"/>
                </a:cubicBezTo>
                <a:cubicBezTo>
                  <a:pt x="127" y="56"/>
                  <a:pt x="127" y="56"/>
                  <a:pt x="128" y="56"/>
                </a:cubicBezTo>
                <a:cubicBezTo>
                  <a:pt x="128" y="55"/>
                  <a:pt x="129" y="55"/>
                  <a:pt x="130" y="55"/>
                </a:cubicBezTo>
                <a:cubicBezTo>
                  <a:pt x="131" y="55"/>
                  <a:pt x="133" y="54"/>
                  <a:pt x="133" y="56"/>
                </a:cubicBezTo>
                <a:cubicBezTo>
                  <a:pt x="134" y="56"/>
                  <a:pt x="134" y="58"/>
                  <a:pt x="137" y="57"/>
                </a:cubicBezTo>
                <a:cubicBezTo>
                  <a:pt x="137" y="57"/>
                  <a:pt x="137" y="57"/>
                  <a:pt x="137" y="57"/>
                </a:cubicBezTo>
                <a:cubicBezTo>
                  <a:pt x="137" y="56"/>
                  <a:pt x="137" y="56"/>
                  <a:pt x="137" y="56"/>
                </a:cubicBezTo>
                <a:cubicBezTo>
                  <a:pt x="137" y="56"/>
                  <a:pt x="136" y="56"/>
                  <a:pt x="136" y="56"/>
                </a:cubicBezTo>
                <a:cubicBezTo>
                  <a:pt x="136" y="55"/>
                  <a:pt x="136" y="55"/>
                  <a:pt x="136" y="55"/>
                </a:cubicBezTo>
                <a:cubicBezTo>
                  <a:pt x="137" y="55"/>
                  <a:pt x="137" y="55"/>
                  <a:pt x="137" y="54"/>
                </a:cubicBezTo>
                <a:cubicBezTo>
                  <a:pt x="137" y="53"/>
                  <a:pt x="137" y="53"/>
                  <a:pt x="137" y="53"/>
                </a:cubicBezTo>
                <a:cubicBezTo>
                  <a:pt x="137" y="53"/>
                  <a:pt x="137" y="53"/>
                  <a:pt x="137" y="52"/>
                </a:cubicBezTo>
                <a:cubicBezTo>
                  <a:pt x="137" y="47"/>
                  <a:pt x="137" y="47"/>
                  <a:pt x="137" y="47"/>
                </a:cubicBezTo>
                <a:cubicBezTo>
                  <a:pt x="138" y="47"/>
                  <a:pt x="138" y="47"/>
                  <a:pt x="138" y="47"/>
                </a:cubicBezTo>
                <a:cubicBezTo>
                  <a:pt x="137" y="45"/>
                  <a:pt x="139" y="45"/>
                  <a:pt x="139" y="43"/>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2" name="Freeform 39"/>
          <p:cNvSpPr>
            <a:spLocks/>
          </p:cNvSpPr>
          <p:nvPr/>
        </p:nvSpPr>
        <p:spPr bwMode="auto">
          <a:xfrm>
            <a:off x="7966367" y="4607228"/>
            <a:ext cx="398463" cy="268288"/>
          </a:xfrm>
          <a:custGeom>
            <a:avLst/>
            <a:gdLst>
              <a:gd name="T0" fmla="*/ 98 w 103"/>
              <a:gd name="T1" fmla="*/ 5 h 69"/>
              <a:gd name="T2" fmla="*/ 95 w 103"/>
              <a:gd name="T3" fmla="*/ 2 h 69"/>
              <a:gd name="T4" fmla="*/ 93 w 103"/>
              <a:gd name="T5" fmla="*/ 1 h 69"/>
              <a:gd name="T6" fmla="*/ 86 w 103"/>
              <a:gd name="T7" fmla="*/ 2 h 69"/>
              <a:gd name="T8" fmla="*/ 80 w 103"/>
              <a:gd name="T9" fmla="*/ 5 h 69"/>
              <a:gd name="T10" fmla="*/ 69 w 103"/>
              <a:gd name="T11" fmla="*/ 9 h 69"/>
              <a:gd name="T12" fmla="*/ 52 w 103"/>
              <a:gd name="T13" fmla="*/ 10 h 69"/>
              <a:gd name="T14" fmla="*/ 49 w 103"/>
              <a:gd name="T15" fmla="*/ 13 h 69"/>
              <a:gd name="T16" fmla="*/ 46 w 103"/>
              <a:gd name="T17" fmla="*/ 15 h 69"/>
              <a:gd name="T18" fmla="*/ 41 w 103"/>
              <a:gd name="T19" fmla="*/ 20 h 69"/>
              <a:gd name="T20" fmla="*/ 27 w 103"/>
              <a:gd name="T21" fmla="*/ 18 h 69"/>
              <a:gd name="T22" fmla="*/ 16 w 103"/>
              <a:gd name="T23" fmla="*/ 15 h 69"/>
              <a:gd name="T24" fmla="*/ 11 w 103"/>
              <a:gd name="T25" fmla="*/ 18 h 69"/>
              <a:gd name="T26" fmla="*/ 10 w 103"/>
              <a:gd name="T27" fmla="*/ 19 h 69"/>
              <a:gd name="T28" fmla="*/ 6 w 103"/>
              <a:gd name="T29" fmla="*/ 22 h 69"/>
              <a:gd name="T30" fmla="*/ 5 w 103"/>
              <a:gd name="T31" fmla="*/ 22 h 69"/>
              <a:gd name="T32" fmla="*/ 4 w 103"/>
              <a:gd name="T33" fmla="*/ 22 h 69"/>
              <a:gd name="T34" fmla="*/ 0 w 103"/>
              <a:gd name="T35" fmla="*/ 31 h 69"/>
              <a:gd name="T36" fmla="*/ 3 w 103"/>
              <a:gd name="T37" fmla="*/ 31 h 69"/>
              <a:gd name="T38" fmla="*/ 8 w 103"/>
              <a:gd name="T39" fmla="*/ 37 h 69"/>
              <a:gd name="T40" fmla="*/ 11 w 103"/>
              <a:gd name="T41" fmla="*/ 43 h 69"/>
              <a:gd name="T42" fmla="*/ 14 w 103"/>
              <a:gd name="T43" fmla="*/ 54 h 69"/>
              <a:gd name="T44" fmla="*/ 13 w 103"/>
              <a:gd name="T45" fmla="*/ 61 h 69"/>
              <a:gd name="T46" fmla="*/ 10 w 103"/>
              <a:gd name="T47" fmla="*/ 65 h 69"/>
              <a:gd name="T48" fmla="*/ 16 w 103"/>
              <a:gd name="T49" fmla="*/ 67 h 69"/>
              <a:gd name="T50" fmla="*/ 22 w 103"/>
              <a:gd name="T51" fmla="*/ 68 h 69"/>
              <a:gd name="T52" fmla="*/ 31 w 103"/>
              <a:gd name="T53" fmla="*/ 66 h 69"/>
              <a:gd name="T54" fmla="*/ 35 w 103"/>
              <a:gd name="T55" fmla="*/ 64 h 69"/>
              <a:gd name="T56" fmla="*/ 39 w 103"/>
              <a:gd name="T57" fmla="*/ 57 h 69"/>
              <a:gd name="T58" fmla="*/ 45 w 103"/>
              <a:gd name="T59" fmla="*/ 58 h 69"/>
              <a:gd name="T60" fmla="*/ 47 w 103"/>
              <a:gd name="T61" fmla="*/ 60 h 69"/>
              <a:gd name="T62" fmla="*/ 53 w 103"/>
              <a:gd name="T63" fmla="*/ 61 h 69"/>
              <a:gd name="T64" fmla="*/ 62 w 103"/>
              <a:gd name="T65" fmla="*/ 65 h 69"/>
              <a:gd name="T66" fmla="*/ 69 w 103"/>
              <a:gd name="T67" fmla="*/ 64 h 69"/>
              <a:gd name="T68" fmla="*/ 67 w 103"/>
              <a:gd name="T69" fmla="*/ 58 h 69"/>
              <a:gd name="T70" fmla="*/ 70 w 103"/>
              <a:gd name="T71" fmla="*/ 51 h 69"/>
              <a:gd name="T72" fmla="*/ 76 w 103"/>
              <a:gd name="T73" fmla="*/ 48 h 69"/>
              <a:gd name="T74" fmla="*/ 78 w 103"/>
              <a:gd name="T75" fmla="*/ 45 h 69"/>
              <a:gd name="T76" fmla="*/ 78 w 103"/>
              <a:gd name="T77" fmla="*/ 44 h 69"/>
              <a:gd name="T78" fmla="*/ 79 w 103"/>
              <a:gd name="T79" fmla="*/ 42 h 69"/>
              <a:gd name="T80" fmla="*/ 79 w 103"/>
              <a:gd name="T81" fmla="*/ 42 h 69"/>
              <a:gd name="T82" fmla="*/ 78 w 103"/>
              <a:gd name="T83" fmla="*/ 34 h 69"/>
              <a:gd name="T84" fmla="*/ 80 w 103"/>
              <a:gd name="T85" fmla="*/ 28 h 69"/>
              <a:gd name="T86" fmla="*/ 87 w 103"/>
              <a:gd name="T87" fmla="*/ 25 h 69"/>
              <a:gd name="T88" fmla="*/ 89 w 103"/>
              <a:gd name="T89" fmla="*/ 21 h 69"/>
              <a:gd name="T90" fmla="*/ 95 w 103"/>
              <a:gd name="T91" fmla="*/ 20 h 69"/>
              <a:gd name="T92" fmla="*/ 103 w 103"/>
              <a:gd name="T93" fmla="*/ 1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69">
                <a:moveTo>
                  <a:pt x="101" y="10"/>
                </a:moveTo>
                <a:cubicBezTo>
                  <a:pt x="101" y="9"/>
                  <a:pt x="101" y="9"/>
                  <a:pt x="101" y="8"/>
                </a:cubicBezTo>
                <a:cubicBezTo>
                  <a:pt x="99" y="8"/>
                  <a:pt x="99" y="6"/>
                  <a:pt x="98" y="5"/>
                </a:cubicBezTo>
                <a:cubicBezTo>
                  <a:pt x="98" y="4"/>
                  <a:pt x="98" y="4"/>
                  <a:pt x="98" y="4"/>
                </a:cubicBezTo>
                <a:cubicBezTo>
                  <a:pt x="97" y="3"/>
                  <a:pt x="97" y="3"/>
                  <a:pt x="96" y="2"/>
                </a:cubicBezTo>
                <a:cubicBezTo>
                  <a:pt x="96" y="2"/>
                  <a:pt x="95" y="2"/>
                  <a:pt x="95" y="2"/>
                </a:cubicBezTo>
                <a:cubicBezTo>
                  <a:pt x="95" y="2"/>
                  <a:pt x="95" y="1"/>
                  <a:pt x="94" y="1"/>
                </a:cubicBezTo>
                <a:cubicBezTo>
                  <a:pt x="94" y="1"/>
                  <a:pt x="94" y="1"/>
                  <a:pt x="94" y="0"/>
                </a:cubicBezTo>
                <a:cubicBezTo>
                  <a:pt x="93" y="0"/>
                  <a:pt x="93" y="0"/>
                  <a:pt x="93" y="1"/>
                </a:cubicBezTo>
                <a:cubicBezTo>
                  <a:pt x="90" y="1"/>
                  <a:pt x="90" y="1"/>
                  <a:pt x="90" y="1"/>
                </a:cubicBezTo>
                <a:cubicBezTo>
                  <a:pt x="89" y="1"/>
                  <a:pt x="88" y="1"/>
                  <a:pt x="87" y="2"/>
                </a:cubicBezTo>
                <a:cubicBezTo>
                  <a:pt x="86" y="2"/>
                  <a:pt x="86" y="2"/>
                  <a:pt x="86" y="2"/>
                </a:cubicBezTo>
                <a:cubicBezTo>
                  <a:pt x="86" y="4"/>
                  <a:pt x="86" y="4"/>
                  <a:pt x="86" y="4"/>
                </a:cubicBezTo>
                <a:cubicBezTo>
                  <a:pt x="85" y="4"/>
                  <a:pt x="85" y="5"/>
                  <a:pt x="84" y="5"/>
                </a:cubicBezTo>
                <a:cubicBezTo>
                  <a:pt x="83" y="5"/>
                  <a:pt x="82" y="5"/>
                  <a:pt x="80" y="5"/>
                </a:cubicBezTo>
                <a:cubicBezTo>
                  <a:pt x="80" y="6"/>
                  <a:pt x="79" y="6"/>
                  <a:pt x="77" y="6"/>
                </a:cubicBezTo>
                <a:cubicBezTo>
                  <a:pt x="77" y="7"/>
                  <a:pt x="75" y="6"/>
                  <a:pt x="75" y="7"/>
                </a:cubicBezTo>
                <a:cubicBezTo>
                  <a:pt x="72" y="7"/>
                  <a:pt x="71" y="9"/>
                  <a:pt x="69" y="9"/>
                </a:cubicBezTo>
                <a:cubicBezTo>
                  <a:pt x="65" y="8"/>
                  <a:pt x="58" y="8"/>
                  <a:pt x="54" y="9"/>
                </a:cubicBezTo>
                <a:cubicBezTo>
                  <a:pt x="54" y="10"/>
                  <a:pt x="53" y="10"/>
                  <a:pt x="53" y="10"/>
                </a:cubicBezTo>
                <a:cubicBezTo>
                  <a:pt x="52" y="10"/>
                  <a:pt x="52" y="10"/>
                  <a:pt x="52" y="10"/>
                </a:cubicBezTo>
                <a:cubicBezTo>
                  <a:pt x="52" y="10"/>
                  <a:pt x="52" y="11"/>
                  <a:pt x="52" y="11"/>
                </a:cubicBezTo>
                <a:cubicBezTo>
                  <a:pt x="51" y="11"/>
                  <a:pt x="50" y="11"/>
                  <a:pt x="50" y="12"/>
                </a:cubicBezTo>
                <a:cubicBezTo>
                  <a:pt x="50" y="12"/>
                  <a:pt x="49" y="13"/>
                  <a:pt x="49" y="13"/>
                </a:cubicBezTo>
                <a:cubicBezTo>
                  <a:pt x="49" y="14"/>
                  <a:pt x="48" y="13"/>
                  <a:pt x="48" y="13"/>
                </a:cubicBezTo>
                <a:cubicBezTo>
                  <a:pt x="47" y="14"/>
                  <a:pt x="47" y="15"/>
                  <a:pt x="47" y="15"/>
                </a:cubicBezTo>
                <a:cubicBezTo>
                  <a:pt x="47" y="15"/>
                  <a:pt x="46" y="15"/>
                  <a:pt x="46" y="15"/>
                </a:cubicBezTo>
                <a:cubicBezTo>
                  <a:pt x="46" y="15"/>
                  <a:pt x="45" y="15"/>
                  <a:pt x="45" y="15"/>
                </a:cubicBezTo>
                <a:cubicBezTo>
                  <a:pt x="44" y="16"/>
                  <a:pt x="43" y="18"/>
                  <a:pt x="42" y="18"/>
                </a:cubicBezTo>
                <a:cubicBezTo>
                  <a:pt x="41" y="18"/>
                  <a:pt x="41" y="19"/>
                  <a:pt x="41" y="20"/>
                </a:cubicBezTo>
                <a:cubicBezTo>
                  <a:pt x="39" y="20"/>
                  <a:pt x="39" y="18"/>
                  <a:pt x="37" y="18"/>
                </a:cubicBezTo>
                <a:cubicBezTo>
                  <a:pt x="30" y="18"/>
                  <a:pt x="30" y="18"/>
                  <a:pt x="30" y="18"/>
                </a:cubicBezTo>
                <a:cubicBezTo>
                  <a:pt x="28" y="18"/>
                  <a:pt x="28" y="17"/>
                  <a:pt x="27" y="18"/>
                </a:cubicBezTo>
                <a:cubicBezTo>
                  <a:pt x="26" y="17"/>
                  <a:pt x="25" y="17"/>
                  <a:pt x="25" y="16"/>
                </a:cubicBezTo>
                <a:cubicBezTo>
                  <a:pt x="23" y="16"/>
                  <a:pt x="22" y="16"/>
                  <a:pt x="21" y="15"/>
                </a:cubicBezTo>
                <a:cubicBezTo>
                  <a:pt x="19" y="16"/>
                  <a:pt x="17" y="15"/>
                  <a:pt x="16" y="15"/>
                </a:cubicBezTo>
                <a:cubicBezTo>
                  <a:pt x="14" y="16"/>
                  <a:pt x="12" y="17"/>
                  <a:pt x="11" y="18"/>
                </a:cubicBezTo>
                <a:cubicBezTo>
                  <a:pt x="11" y="18"/>
                  <a:pt x="11" y="18"/>
                  <a:pt x="11" y="18"/>
                </a:cubicBezTo>
                <a:cubicBezTo>
                  <a:pt x="11" y="18"/>
                  <a:pt x="11" y="18"/>
                  <a:pt x="11" y="18"/>
                </a:cubicBezTo>
                <a:cubicBezTo>
                  <a:pt x="11" y="18"/>
                  <a:pt x="11" y="18"/>
                  <a:pt x="11" y="18"/>
                </a:cubicBezTo>
                <a:cubicBezTo>
                  <a:pt x="11" y="18"/>
                  <a:pt x="11" y="18"/>
                  <a:pt x="11" y="18"/>
                </a:cubicBezTo>
                <a:cubicBezTo>
                  <a:pt x="10" y="18"/>
                  <a:pt x="10" y="19"/>
                  <a:pt x="10" y="19"/>
                </a:cubicBezTo>
                <a:cubicBezTo>
                  <a:pt x="9" y="19"/>
                  <a:pt x="9" y="19"/>
                  <a:pt x="9" y="20"/>
                </a:cubicBezTo>
                <a:cubicBezTo>
                  <a:pt x="7" y="20"/>
                  <a:pt x="7" y="22"/>
                  <a:pt x="6" y="22"/>
                </a:cubicBezTo>
                <a:cubicBezTo>
                  <a:pt x="6" y="22"/>
                  <a:pt x="6" y="22"/>
                  <a:pt x="6" y="22"/>
                </a:cubicBezTo>
                <a:cubicBezTo>
                  <a:pt x="6" y="22"/>
                  <a:pt x="5" y="22"/>
                  <a:pt x="5" y="22"/>
                </a:cubicBezTo>
                <a:cubicBezTo>
                  <a:pt x="5" y="22"/>
                  <a:pt x="5" y="22"/>
                  <a:pt x="5" y="22"/>
                </a:cubicBezTo>
                <a:cubicBezTo>
                  <a:pt x="5" y="22"/>
                  <a:pt x="5" y="22"/>
                  <a:pt x="5" y="22"/>
                </a:cubicBezTo>
                <a:cubicBezTo>
                  <a:pt x="5" y="22"/>
                  <a:pt x="5" y="22"/>
                  <a:pt x="5" y="22"/>
                </a:cubicBezTo>
                <a:cubicBezTo>
                  <a:pt x="5" y="22"/>
                  <a:pt x="5" y="22"/>
                  <a:pt x="5" y="22"/>
                </a:cubicBezTo>
                <a:cubicBezTo>
                  <a:pt x="5" y="22"/>
                  <a:pt x="5" y="22"/>
                  <a:pt x="4" y="22"/>
                </a:cubicBezTo>
                <a:cubicBezTo>
                  <a:pt x="4" y="22"/>
                  <a:pt x="4" y="22"/>
                  <a:pt x="4" y="22"/>
                </a:cubicBezTo>
                <a:cubicBezTo>
                  <a:pt x="4" y="22"/>
                  <a:pt x="4" y="22"/>
                  <a:pt x="4" y="22"/>
                </a:cubicBezTo>
                <a:cubicBezTo>
                  <a:pt x="1" y="24"/>
                  <a:pt x="1" y="27"/>
                  <a:pt x="0" y="31"/>
                </a:cubicBezTo>
                <a:cubicBezTo>
                  <a:pt x="1" y="31"/>
                  <a:pt x="1" y="32"/>
                  <a:pt x="2" y="31"/>
                </a:cubicBezTo>
                <a:cubicBezTo>
                  <a:pt x="2" y="32"/>
                  <a:pt x="2" y="31"/>
                  <a:pt x="2" y="31"/>
                </a:cubicBezTo>
                <a:cubicBezTo>
                  <a:pt x="3" y="31"/>
                  <a:pt x="3" y="31"/>
                  <a:pt x="3" y="31"/>
                </a:cubicBezTo>
                <a:cubicBezTo>
                  <a:pt x="4" y="31"/>
                  <a:pt x="7" y="30"/>
                  <a:pt x="7" y="31"/>
                </a:cubicBezTo>
                <a:cubicBezTo>
                  <a:pt x="8" y="31"/>
                  <a:pt x="8" y="33"/>
                  <a:pt x="9" y="33"/>
                </a:cubicBezTo>
                <a:cubicBezTo>
                  <a:pt x="9" y="35"/>
                  <a:pt x="9" y="36"/>
                  <a:pt x="8" y="37"/>
                </a:cubicBezTo>
                <a:cubicBezTo>
                  <a:pt x="7" y="38"/>
                  <a:pt x="6" y="38"/>
                  <a:pt x="6" y="40"/>
                </a:cubicBezTo>
                <a:cubicBezTo>
                  <a:pt x="6" y="41"/>
                  <a:pt x="7" y="41"/>
                  <a:pt x="7" y="43"/>
                </a:cubicBezTo>
                <a:cubicBezTo>
                  <a:pt x="11" y="43"/>
                  <a:pt x="11" y="43"/>
                  <a:pt x="11" y="43"/>
                </a:cubicBezTo>
                <a:cubicBezTo>
                  <a:pt x="10" y="44"/>
                  <a:pt x="10" y="45"/>
                  <a:pt x="9" y="46"/>
                </a:cubicBezTo>
                <a:cubicBezTo>
                  <a:pt x="9" y="48"/>
                  <a:pt x="11" y="48"/>
                  <a:pt x="11" y="51"/>
                </a:cubicBezTo>
                <a:cubicBezTo>
                  <a:pt x="13" y="51"/>
                  <a:pt x="13" y="53"/>
                  <a:pt x="14" y="54"/>
                </a:cubicBezTo>
                <a:cubicBezTo>
                  <a:pt x="14" y="56"/>
                  <a:pt x="16" y="56"/>
                  <a:pt x="16" y="58"/>
                </a:cubicBezTo>
                <a:cubicBezTo>
                  <a:pt x="15" y="58"/>
                  <a:pt x="15" y="60"/>
                  <a:pt x="15" y="61"/>
                </a:cubicBezTo>
                <a:cubicBezTo>
                  <a:pt x="14" y="61"/>
                  <a:pt x="14" y="61"/>
                  <a:pt x="13" y="61"/>
                </a:cubicBezTo>
                <a:cubicBezTo>
                  <a:pt x="12" y="61"/>
                  <a:pt x="12" y="62"/>
                  <a:pt x="12" y="63"/>
                </a:cubicBezTo>
                <a:cubicBezTo>
                  <a:pt x="11" y="63"/>
                  <a:pt x="9" y="63"/>
                  <a:pt x="9" y="64"/>
                </a:cubicBezTo>
                <a:cubicBezTo>
                  <a:pt x="10" y="64"/>
                  <a:pt x="10" y="64"/>
                  <a:pt x="10" y="65"/>
                </a:cubicBezTo>
                <a:cubicBezTo>
                  <a:pt x="10" y="66"/>
                  <a:pt x="11" y="66"/>
                  <a:pt x="11" y="66"/>
                </a:cubicBezTo>
                <a:cubicBezTo>
                  <a:pt x="11" y="66"/>
                  <a:pt x="12" y="66"/>
                  <a:pt x="11" y="67"/>
                </a:cubicBezTo>
                <a:cubicBezTo>
                  <a:pt x="16" y="67"/>
                  <a:pt x="16" y="67"/>
                  <a:pt x="16" y="67"/>
                </a:cubicBezTo>
                <a:cubicBezTo>
                  <a:pt x="16" y="68"/>
                  <a:pt x="18" y="68"/>
                  <a:pt x="18" y="68"/>
                </a:cubicBezTo>
                <a:cubicBezTo>
                  <a:pt x="19" y="68"/>
                  <a:pt x="19" y="69"/>
                  <a:pt x="20" y="69"/>
                </a:cubicBezTo>
                <a:cubicBezTo>
                  <a:pt x="20" y="68"/>
                  <a:pt x="21" y="68"/>
                  <a:pt x="22" y="68"/>
                </a:cubicBezTo>
                <a:cubicBezTo>
                  <a:pt x="22" y="68"/>
                  <a:pt x="23" y="68"/>
                  <a:pt x="24" y="68"/>
                </a:cubicBezTo>
                <a:cubicBezTo>
                  <a:pt x="25" y="67"/>
                  <a:pt x="25" y="66"/>
                  <a:pt x="27" y="66"/>
                </a:cubicBezTo>
                <a:cubicBezTo>
                  <a:pt x="31" y="66"/>
                  <a:pt x="31" y="66"/>
                  <a:pt x="31" y="66"/>
                </a:cubicBezTo>
                <a:cubicBezTo>
                  <a:pt x="31" y="65"/>
                  <a:pt x="32" y="65"/>
                  <a:pt x="32" y="64"/>
                </a:cubicBezTo>
                <a:cubicBezTo>
                  <a:pt x="32" y="64"/>
                  <a:pt x="32" y="63"/>
                  <a:pt x="32" y="63"/>
                </a:cubicBezTo>
                <a:cubicBezTo>
                  <a:pt x="34" y="63"/>
                  <a:pt x="34" y="64"/>
                  <a:pt x="35" y="64"/>
                </a:cubicBezTo>
                <a:cubicBezTo>
                  <a:pt x="36" y="63"/>
                  <a:pt x="36" y="61"/>
                  <a:pt x="38" y="61"/>
                </a:cubicBezTo>
                <a:cubicBezTo>
                  <a:pt x="38" y="57"/>
                  <a:pt x="38" y="57"/>
                  <a:pt x="38" y="57"/>
                </a:cubicBezTo>
                <a:cubicBezTo>
                  <a:pt x="39" y="57"/>
                  <a:pt x="39" y="57"/>
                  <a:pt x="39" y="57"/>
                </a:cubicBezTo>
                <a:cubicBezTo>
                  <a:pt x="39" y="56"/>
                  <a:pt x="41" y="56"/>
                  <a:pt x="41" y="55"/>
                </a:cubicBezTo>
                <a:cubicBezTo>
                  <a:pt x="42" y="55"/>
                  <a:pt x="42" y="54"/>
                  <a:pt x="43" y="54"/>
                </a:cubicBezTo>
                <a:cubicBezTo>
                  <a:pt x="43" y="56"/>
                  <a:pt x="44" y="57"/>
                  <a:pt x="45" y="58"/>
                </a:cubicBezTo>
                <a:cubicBezTo>
                  <a:pt x="46" y="58"/>
                  <a:pt x="45" y="59"/>
                  <a:pt x="46" y="59"/>
                </a:cubicBezTo>
                <a:cubicBezTo>
                  <a:pt x="46" y="60"/>
                  <a:pt x="47" y="59"/>
                  <a:pt x="47" y="59"/>
                </a:cubicBezTo>
                <a:cubicBezTo>
                  <a:pt x="47" y="59"/>
                  <a:pt x="47" y="60"/>
                  <a:pt x="47" y="60"/>
                </a:cubicBezTo>
                <a:cubicBezTo>
                  <a:pt x="47" y="61"/>
                  <a:pt x="47" y="61"/>
                  <a:pt x="48" y="61"/>
                </a:cubicBezTo>
                <a:cubicBezTo>
                  <a:pt x="50" y="61"/>
                  <a:pt x="49" y="63"/>
                  <a:pt x="51" y="63"/>
                </a:cubicBezTo>
                <a:cubicBezTo>
                  <a:pt x="52" y="63"/>
                  <a:pt x="52" y="62"/>
                  <a:pt x="53" y="61"/>
                </a:cubicBezTo>
                <a:cubicBezTo>
                  <a:pt x="57" y="61"/>
                  <a:pt x="57" y="61"/>
                  <a:pt x="57" y="61"/>
                </a:cubicBezTo>
                <a:cubicBezTo>
                  <a:pt x="58" y="62"/>
                  <a:pt x="58" y="62"/>
                  <a:pt x="60" y="63"/>
                </a:cubicBezTo>
                <a:cubicBezTo>
                  <a:pt x="60" y="64"/>
                  <a:pt x="61" y="65"/>
                  <a:pt x="62" y="65"/>
                </a:cubicBezTo>
                <a:cubicBezTo>
                  <a:pt x="63" y="65"/>
                  <a:pt x="63" y="63"/>
                  <a:pt x="64" y="63"/>
                </a:cubicBezTo>
                <a:cubicBezTo>
                  <a:pt x="65" y="63"/>
                  <a:pt x="65" y="64"/>
                  <a:pt x="66" y="63"/>
                </a:cubicBezTo>
                <a:cubicBezTo>
                  <a:pt x="67" y="63"/>
                  <a:pt x="68" y="63"/>
                  <a:pt x="69" y="64"/>
                </a:cubicBezTo>
                <a:cubicBezTo>
                  <a:pt x="70" y="64"/>
                  <a:pt x="70" y="64"/>
                  <a:pt x="70" y="64"/>
                </a:cubicBezTo>
                <a:cubicBezTo>
                  <a:pt x="70" y="63"/>
                  <a:pt x="70" y="63"/>
                  <a:pt x="69" y="63"/>
                </a:cubicBezTo>
                <a:cubicBezTo>
                  <a:pt x="69" y="61"/>
                  <a:pt x="66" y="61"/>
                  <a:pt x="67" y="58"/>
                </a:cubicBezTo>
                <a:cubicBezTo>
                  <a:pt x="69" y="58"/>
                  <a:pt x="69" y="57"/>
                  <a:pt x="71" y="57"/>
                </a:cubicBezTo>
                <a:cubicBezTo>
                  <a:pt x="71" y="54"/>
                  <a:pt x="68" y="55"/>
                  <a:pt x="69" y="52"/>
                </a:cubicBezTo>
                <a:cubicBezTo>
                  <a:pt x="69" y="52"/>
                  <a:pt x="69" y="51"/>
                  <a:pt x="70" y="51"/>
                </a:cubicBezTo>
                <a:cubicBezTo>
                  <a:pt x="70" y="50"/>
                  <a:pt x="70" y="49"/>
                  <a:pt x="71" y="49"/>
                </a:cubicBezTo>
                <a:cubicBezTo>
                  <a:pt x="72" y="48"/>
                  <a:pt x="73" y="48"/>
                  <a:pt x="74" y="48"/>
                </a:cubicBezTo>
                <a:cubicBezTo>
                  <a:pt x="76" y="48"/>
                  <a:pt x="76" y="48"/>
                  <a:pt x="76" y="48"/>
                </a:cubicBezTo>
                <a:cubicBezTo>
                  <a:pt x="76" y="47"/>
                  <a:pt x="77" y="47"/>
                  <a:pt x="78" y="46"/>
                </a:cubicBezTo>
                <a:cubicBezTo>
                  <a:pt x="78" y="46"/>
                  <a:pt x="78" y="46"/>
                  <a:pt x="78" y="46"/>
                </a:cubicBezTo>
                <a:cubicBezTo>
                  <a:pt x="78" y="46"/>
                  <a:pt x="78" y="46"/>
                  <a:pt x="78" y="45"/>
                </a:cubicBezTo>
                <a:cubicBezTo>
                  <a:pt x="78" y="45"/>
                  <a:pt x="78" y="45"/>
                  <a:pt x="78" y="45"/>
                </a:cubicBezTo>
                <a:cubicBezTo>
                  <a:pt x="78" y="45"/>
                  <a:pt x="78" y="45"/>
                  <a:pt x="78" y="44"/>
                </a:cubicBezTo>
                <a:cubicBezTo>
                  <a:pt x="78" y="44"/>
                  <a:pt x="78" y="44"/>
                  <a:pt x="78" y="44"/>
                </a:cubicBezTo>
                <a:cubicBezTo>
                  <a:pt x="78" y="44"/>
                  <a:pt x="78" y="44"/>
                  <a:pt x="78" y="43"/>
                </a:cubicBezTo>
                <a:cubicBezTo>
                  <a:pt x="78" y="43"/>
                  <a:pt x="78" y="43"/>
                  <a:pt x="78" y="43"/>
                </a:cubicBezTo>
                <a:cubicBezTo>
                  <a:pt x="78" y="43"/>
                  <a:pt x="78" y="43"/>
                  <a:pt x="79" y="42"/>
                </a:cubicBezTo>
                <a:cubicBezTo>
                  <a:pt x="79" y="42"/>
                  <a:pt x="79" y="42"/>
                  <a:pt x="79" y="42"/>
                </a:cubicBezTo>
                <a:cubicBezTo>
                  <a:pt x="79" y="42"/>
                  <a:pt x="79" y="42"/>
                  <a:pt x="79" y="42"/>
                </a:cubicBezTo>
                <a:cubicBezTo>
                  <a:pt x="79" y="42"/>
                  <a:pt x="79" y="42"/>
                  <a:pt x="79" y="42"/>
                </a:cubicBezTo>
                <a:cubicBezTo>
                  <a:pt x="79" y="42"/>
                  <a:pt x="79" y="41"/>
                  <a:pt x="79" y="41"/>
                </a:cubicBezTo>
                <a:cubicBezTo>
                  <a:pt x="79" y="36"/>
                  <a:pt x="79" y="36"/>
                  <a:pt x="79" y="36"/>
                </a:cubicBezTo>
                <a:cubicBezTo>
                  <a:pt x="78" y="36"/>
                  <a:pt x="78" y="35"/>
                  <a:pt x="78" y="34"/>
                </a:cubicBezTo>
                <a:cubicBezTo>
                  <a:pt x="76" y="34"/>
                  <a:pt x="75" y="34"/>
                  <a:pt x="76" y="32"/>
                </a:cubicBezTo>
                <a:cubicBezTo>
                  <a:pt x="76" y="31"/>
                  <a:pt x="77" y="30"/>
                  <a:pt x="78" y="30"/>
                </a:cubicBezTo>
                <a:cubicBezTo>
                  <a:pt x="77" y="28"/>
                  <a:pt x="80" y="29"/>
                  <a:pt x="80" y="28"/>
                </a:cubicBezTo>
                <a:cubicBezTo>
                  <a:pt x="81" y="28"/>
                  <a:pt x="82" y="28"/>
                  <a:pt x="82" y="27"/>
                </a:cubicBezTo>
                <a:cubicBezTo>
                  <a:pt x="84" y="26"/>
                  <a:pt x="84" y="25"/>
                  <a:pt x="86" y="25"/>
                </a:cubicBezTo>
                <a:cubicBezTo>
                  <a:pt x="86" y="25"/>
                  <a:pt x="86" y="24"/>
                  <a:pt x="87" y="25"/>
                </a:cubicBezTo>
                <a:cubicBezTo>
                  <a:pt x="87" y="24"/>
                  <a:pt x="87" y="23"/>
                  <a:pt x="87" y="23"/>
                </a:cubicBezTo>
                <a:cubicBezTo>
                  <a:pt x="88" y="23"/>
                  <a:pt x="88" y="22"/>
                  <a:pt x="89" y="22"/>
                </a:cubicBezTo>
                <a:cubicBezTo>
                  <a:pt x="89" y="22"/>
                  <a:pt x="89" y="21"/>
                  <a:pt x="89" y="21"/>
                </a:cubicBezTo>
                <a:cubicBezTo>
                  <a:pt x="91" y="21"/>
                  <a:pt x="92" y="21"/>
                  <a:pt x="92" y="22"/>
                </a:cubicBezTo>
                <a:cubicBezTo>
                  <a:pt x="92" y="23"/>
                  <a:pt x="95" y="22"/>
                  <a:pt x="96" y="22"/>
                </a:cubicBezTo>
                <a:cubicBezTo>
                  <a:pt x="97" y="21"/>
                  <a:pt x="96" y="20"/>
                  <a:pt x="95" y="20"/>
                </a:cubicBezTo>
                <a:cubicBezTo>
                  <a:pt x="96" y="18"/>
                  <a:pt x="94" y="17"/>
                  <a:pt x="94" y="15"/>
                </a:cubicBezTo>
                <a:cubicBezTo>
                  <a:pt x="97" y="16"/>
                  <a:pt x="96" y="14"/>
                  <a:pt x="98" y="14"/>
                </a:cubicBezTo>
                <a:cubicBezTo>
                  <a:pt x="100" y="14"/>
                  <a:pt x="100" y="15"/>
                  <a:pt x="103" y="15"/>
                </a:cubicBezTo>
                <a:cubicBezTo>
                  <a:pt x="103" y="11"/>
                  <a:pt x="103" y="11"/>
                  <a:pt x="103" y="11"/>
                </a:cubicBezTo>
                <a:cubicBezTo>
                  <a:pt x="103" y="11"/>
                  <a:pt x="101" y="11"/>
                  <a:pt x="101" y="10"/>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4" name="Freeform 41"/>
          <p:cNvSpPr>
            <a:spLocks/>
          </p:cNvSpPr>
          <p:nvPr/>
        </p:nvSpPr>
        <p:spPr bwMode="auto">
          <a:xfrm>
            <a:off x="8372767" y="4092878"/>
            <a:ext cx="676275" cy="344488"/>
          </a:xfrm>
          <a:custGeom>
            <a:avLst/>
            <a:gdLst>
              <a:gd name="T0" fmla="*/ 83 w 175"/>
              <a:gd name="T1" fmla="*/ 5 h 89"/>
              <a:gd name="T2" fmla="*/ 78 w 175"/>
              <a:gd name="T3" fmla="*/ 4 h 89"/>
              <a:gd name="T4" fmla="*/ 73 w 175"/>
              <a:gd name="T5" fmla="*/ 6 h 89"/>
              <a:gd name="T6" fmla="*/ 62 w 175"/>
              <a:gd name="T7" fmla="*/ 13 h 89"/>
              <a:gd name="T8" fmla="*/ 54 w 175"/>
              <a:gd name="T9" fmla="*/ 9 h 89"/>
              <a:gd name="T10" fmla="*/ 46 w 175"/>
              <a:gd name="T11" fmla="*/ 15 h 89"/>
              <a:gd name="T12" fmla="*/ 41 w 175"/>
              <a:gd name="T13" fmla="*/ 19 h 89"/>
              <a:gd name="T14" fmla="*/ 34 w 175"/>
              <a:gd name="T15" fmla="*/ 36 h 89"/>
              <a:gd name="T16" fmla="*/ 26 w 175"/>
              <a:gd name="T17" fmla="*/ 40 h 89"/>
              <a:gd name="T18" fmla="*/ 9 w 175"/>
              <a:gd name="T19" fmla="*/ 45 h 89"/>
              <a:gd name="T20" fmla="*/ 5 w 175"/>
              <a:gd name="T21" fmla="*/ 47 h 89"/>
              <a:gd name="T22" fmla="*/ 3 w 175"/>
              <a:gd name="T23" fmla="*/ 54 h 89"/>
              <a:gd name="T24" fmla="*/ 5 w 175"/>
              <a:gd name="T25" fmla="*/ 70 h 89"/>
              <a:gd name="T26" fmla="*/ 7 w 175"/>
              <a:gd name="T27" fmla="*/ 71 h 89"/>
              <a:gd name="T28" fmla="*/ 8 w 175"/>
              <a:gd name="T29" fmla="*/ 72 h 89"/>
              <a:gd name="T30" fmla="*/ 12 w 175"/>
              <a:gd name="T31" fmla="*/ 75 h 89"/>
              <a:gd name="T32" fmla="*/ 19 w 175"/>
              <a:gd name="T33" fmla="*/ 83 h 89"/>
              <a:gd name="T34" fmla="*/ 26 w 175"/>
              <a:gd name="T35" fmla="*/ 86 h 89"/>
              <a:gd name="T36" fmla="*/ 30 w 175"/>
              <a:gd name="T37" fmla="*/ 88 h 89"/>
              <a:gd name="T38" fmla="*/ 50 w 175"/>
              <a:gd name="T39" fmla="*/ 88 h 89"/>
              <a:gd name="T40" fmla="*/ 56 w 175"/>
              <a:gd name="T41" fmla="*/ 86 h 89"/>
              <a:gd name="T42" fmla="*/ 63 w 175"/>
              <a:gd name="T43" fmla="*/ 84 h 89"/>
              <a:gd name="T44" fmla="*/ 63 w 175"/>
              <a:gd name="T45" fmla="*/ 82 h 89"/>
              <a:gd name="T46" fmla="*/ 67 w 175"/>
              <a:gd name="T47" fmla="*/ 73 h 89"/>
              <a:gd name="T48" fmla="*/ 77 w 175"/>
              <a:gd name="T49" fmla="*/ 71 h 89"/>
              <a:gd name="T50" fmla="*/ 86 w 175"/>
              <a:gd name="T51" fmla="*/ 66 h 89"/>
              <a:gd name="T52" fmla="*/ 93 w 175"/>
              <a:gd name="T53" fmla="*/ 66 h 89"/>
              <a:gd name="T54" fmla="*/ 99 w 175"/>
              <a:gd name="T55" fmla="*/ 67 h 89"/>
              <a:gd name="T56" fmla="*/ 105 w 175"/>
              <a:gd name="T57" fmla="*/ 61 h 89"/>
              <a:gd name="T58" fmla="*/ 114 w 175"/>
              <a:gd name="T59" fmla="*/ 48 h 89"/>
              <a:gd name="T60" fmla="*/ 133 w 175"/>
              <a:gd name="T61" fmla="*/ 47 h 89"/>
              <a:gd name="T62" fmla="*/ 147 w 175"/>
              <a:gd name="T63" fmla="*/ 50 h 89"/>
              <a:gd name="T64" fmla="*/ 162 w 175"/>
              <a:gd name="T65" fmla="*/ 50 h 89"/>
              <a:gd name="T66" fmla="*/ 164 w 175"/>
              <a:gd name="T67" fmla="*/ 40 h 89"/>
              <a:gd name="T68" fmla="*/ 168 w 175"/>
              <a:gd name="T69" fmla="*/ 27 h 89"/>
              <a:gd name="T70" fmla="*/ 172 w 175"/>
              <a:gd name="T71" fmla="*/ 22 h 89"/>
              <a:gd name="T72" fmla="*/ 175 w 175"/>
              <a:gd name="T73" fmla="*/ 13 h 89"/>
              <a:gd name="T74" fmla="*/ 166 w 175"/>
              <a:gd name="T75" fmla="*/ 11 h 89"/>
              <a:gd name="T76" fmla="*/ 162 w 175"/>
              <a:gd name="T77" fmla="*/ 9 h 89"/>
              <a:gd name="T78" fmla="*/ 158 w 175"/>
              <a:gd name="T79" fmla="*/ 7 h 89"/>
              <a:gd name="T80" fmla="*/ 155 w 175"/>
              <a:gd name="T81" fmla="*/ 5 h 89"/>
              <a:gd name="T82" fmla="*/ 152 w 175"/>
              <a:gd name="T83" fmla="*/ 3 h 89"/>
              <a:gd name="T84" fmla="*/ 151 w 175"/>
              <a:gd name="T85" fmla="*/ 3 h 89"/>
              <a:gd name="T86" fmla="*/ 147 w 175"/>
              <a:gd name="T87" fmla="*/ 1 h 89"/>
              <a:gd name="T88" fmla="*/ 131 w 175"/>
              <a:gd name="T89" fmla="*/ 2 h 89"/>
              <a:gd name="T90" fmla="*/ 126 w 175"/>
              <a:gd name="T91" fmla="*/ 4 h 89"/>
              <a:gd name="T92" fmla="*/ 118 w 175"/>
              <a:gd name="T93" fmla="*/ 8 h 89"/>
              <a:gd name="T94" fmla="*/ 100 w 175"/>
              <a:gd name="T95" fmla="*/ 1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5" h="89">
                <a:moveTo>
                  <a:pt x="90" y="17"/>
                </a:moveTo>
                <a:cubicBezTo>
                  <a:pt x="89" y="15"/>
                  <a:pt x="91" y="15"/>
                  <a:pt x="90" y="13"/>
                </a:cubicBezTo>
                <a:cubicBezTo>
                  <a:pt x="89" y="10"/>
                  <a:pt x="88" y="8"/>
                  <a:pt x="84" y="8"/>
                </a:cubicBezTo>
                <a:cubicBezTo>
                  <a:pt x="84" y="7"/>
                  <a:pt x="82" y="7"/>
                  <a:pt x="83" y="5"/>
                </a:cubicBezTo>
                <a:cubicBezTo>
                  <a:pt x="81" y="5"/>
                  <a:pt x="81" y="3"/>
                  <a:pt x="81" y="2"/>
                </a:cubicBezTo>
                <a:cubicBezTo>
                  <a:pt x="80" y="1"/>
                  <a:pt x="80" y="1"/>
                  <a:pt x="79" y="1"/>
                </a:cubicBezTo>
                <a:cubicBezTo>
                  <a:pt x="79" y="2"/>
                  <a:pt x="79" y="2"/>
                  <a:pt x="79" y="2"/>
                </a:cubicBezTo>
                <a:cubicBezTo>
                  <a:pt x="78" y="2"/>
                  <a:pt x="78" y="3"/>
                  <a:pt x="78" y="4"/>
                </a:cubicBezTo>
                <a:cubicBezTo>
                  <a:pt x="76" y="3"/>
                  <a:pt x="76" y="4"/>
                  <a:pt x="75" y="4"/>
                </a:cubicBezTo>
                <a:cubicBezTo>
                  <a:pt x="75" y="5"/>
                  <a:pt x="74" y="5"/>
                  <a:pt x="74" y="5"/>
                </a:cubicBezTo>
                <a:cubicBezTo>
                  <a:pt x="73" y="5"/>
                  <a:pt x="74" y="6"/>
                  <a:pt x="74" y="6"/>
                </a:cubicBezTo>
                <a:cubicBezTo>
                  <a:pt x="74" y="6"/>
                  <a:pt x="73" y="6"/>
                  <a:pt x="73" y="6"/>
                </a:cubicBezTo>
                <a:cubicBezTo>
                  <a:pt x="73" y="7"/>
                  <a:pt x="72" y="7"/>
                  <a:pt x="72" y="7"/>
                </a:cubicBezTo>
                <a:cubicBezTo>
                  <a:pt x="71" y="7"/>
                  <a:pt x="72" y="8"/>
                  <a:pt x="71" y="8"/>
                </a:cubicBezTo>
                <a:cubicBezTo>
                  <a:pt x="70" y="10"/>
                  <a:pt x="70" y="12"/>
                  <a:pt x="69" y="13"/>
                </a:cubicBezTo>
                <a:cubicBezTo>
                  <a:pt x="66" y="14"/>
                  <a:pt x="65" y="14"/>
                  <a:pt x="62" y="13"/>
                </a:cubicBezTo>
                <a:cubicBezTo>
                  <a:pt x="62" y="11"/>
                  <a:pt x="61" y="9"/>
                  <a:pt x="60" y="7"/>
                </a:cubicBezTo>
                <a:cubicBezTo>
                  <a:pt x="57" y="7"/>
                  <a:pt x="57" y="7"/>
                  <a:pt x="57" y="7"/>
                </a:cubicBezTo>
                <a:cubicBezTo>
                  <a:pt x="57" y="7"/>
                  <a:pt x="57" y="8"/>
                  <a:pt x="56" y="8"/>
                </a:cubicBezTo>
                <a:cubicBezTo>
                  <a:pt x="55" y="8"/>
                  <a:pt x="54" y="8"/>
                  <a:pt x="54" y="9"/>
                </a:cubicBezTo>
                <a:cubicBezTo>
                  <a:pt x="53" y="9"/>
                  <a:pt x="52" y="9"/>
                  <a:pt x="52" y="8"/>
                </a:cubicBezTo>
                <a:cubicBezTo>
                  <a:pt x="50" y="9"/>
                  <a:pt x="51" y="11"/>
                  <a:pt x="49" y="11"/>
                </a:cubicBezTo>
                <a:cubicBezTo>
                  <a:pt x="50" y="13"/>
                  <a:pt x="48" y="14"/>
                  <a:pt x="47" y="15"/>
                </a:cubicBezTo>
                <a:cubicBezTo>
                  <a:pt x="47" y="15"/>
                  <a:pt x="47" y="16"/>
                  <a:pt x="46" y="15"/>
                </a:cubicBezTo>
                <a:cubicBezTo>
                  <a:pt x="46" y="16"/>
                  <a:pt x="46" y="16"/>
                  <a:pt x="45" y="16"/>
                </a:cubicBezTo>
                <a:cubicBezTo>
                  <a:pt x="44" y="16"/>
                  <a:pt x="44" y="17"/>
                  <a:pt x="44" y="17"/>
                </a:cubicBezTo>
                <a:cubicBezTo>
                  <a:pt x="43" y="17"/>
                  <a:pt x="42" y="17"/>
                  <a:pt x="42" y="18"/>
                </a:cubicBezTo>
                <a:cubicBezTo>
                  <a:pt x="42" y="18"/>
                  <a:pt x="41" y="19"/>
                  <a:pt x="41" y="19"/>
                </a:cubicBezTo>
                <a:cubicBezTo>
                  <a:pt x="41" y="23"/>
                  <a:pt x="40" y="26"/>
                  <a:pt x="40" y="29"/>
                </a:cubicBezTo>
                <a:cubicBezTo>
                  <a:pt x="38" y="29"/>
                  <a:pt x="39" y="31"/>
                  <a:pt x="37" y="31"/>
                </a:cubicBezTo>
                <a:cubicBezTo>
                  <a:pt x="35" y="30"/>
                  <a:pt x="35" y="32"/>
                  <a:pt x="34" y="32"/>
                </a:cubicBezTo>
                <a:cubicBezTo>
                  <a:pt x="34" y="36"/>
                  <a:pt x="34" y="36"/>
                  <a:pt x="34" y="36"/>
                </a:cubicBezTo>
                <a:cubicBezTo>
                  <a:pt x="32" y="35"/>
                  <a:pt x="31" y="37"/>
                  <a:pt x="30" y="37"/>
                </a:cubicBezTo>
                <a:cubicBezTo>
                  <a:pt x="29" y="37"/>
                  <a:pt x="29" y="38"/>
                  <a:pt x="28" y="38"/>
                </a:cubicBezTo>
                <a:cubicBezTo>
                  <a:pt x="28" y="39"/>
                  <a:pt x="27" y="39"/>
                  <a:pt x="27" y="40"/>
                </a:cubicBezTo>
                <a:cubicBezTo>
                  <a:pt x="26" y="40"/>
                  <a:pt x="26" y="40"/>
                  <a:pt x="26" y="40"/>
                </a:cubicBezTo>
                <a:cubicBezTo>
                  <a:pt x="23" y="41"/>
                  <a:pt x="20" y="41"/>
                  <a:pt x="17" y="42"/>
                </a:cubicBezTo>
                <a:cubicBezTo>
                  <a:pt x="17" y="42"/>
                  <a:pt x="16" y="42"/>
                  <a:pt x="16" y="42"/>
                </a:cubicBezTo>
                <a:cubicBezTo>
                  <a:pt x="16" y="40"/>
                  <a:pt x="14" y="40"/>
                  <a:pt x="13" y="40"/>
                </a:cubicBezTo>
                <a:cubicBezTo>
                  <a:pt x="11" y="41"/>
                  <a:pt x="9" y="42"/>
                  <a:pt x="9" y="45"/>
                </a:cubicBezTo>
                <a:cubicBezTo>
                  <a:pt x="8" y="45"/>
                  <a:pt x="8" y="45"/>
                  <a:pt x="8" y="45"/>
                </a:cubicBezTo>
                <a:cubicBezTo>
                  <a:pt x="8" y="46"/>
                  <a:pt x="7" y="46"/>
                  <a:pt x="7" y="47"/>
                </a:cubicBezTo>
                <a:cubicBezTo>
                  <a:pt x="7" y="47"/>
                  <a:pt x="6" y="47"/>
                  <a:pt x="6" y="47"/>
                </a:cubicBezTo>
                <a:cubicBezTo>
                  <a:pt x="6" y="47"/>
                  <a:pt x="5" y="47"/>
                  <a:pt x="5" y="47"/>
                </a:cubicBezTo>
                <a:cubicBezTo>
                  <a:pt x="5" y="48"/>
                  <a:pt x="5" y="48"/>
                  <a:pt x="5" y="48"/>
                </a:cubicBezTo>
                <a:cubicBezTo>
                  <a:pt x="4" y="48"/>
                  <a:pt x="3" y="47"/>
                  <a:pt x="3" y="48"/>
                </a:cubicBezTo>
                <a:cubicBezTo>
                  <a:pt x="2" y="49"/>
                  <a:pt x="3" y="49"/>
                  <a:pt x="3" y="50"/>
                </a:cubicBezTo>
                <a:cubicBezTo>
                  <a:pt x="4" y="52"/>
                  <a:pt x="3" y="53"/>
                  <a:pt x="3" y="54"/>
                </a:cubicBezTo>
                <a:cubicBezTo>
                  <a:pt x="2" y="56"/>
                  <a:pt x="1" y="58"/>
                  <a:pt x="0" y="60"/>
                </a:cubicBezTo>
                <a:cubicBezTo>
                  <a:pt x="0" y="62"/>
                  <a:pt x="2" y="62"/>
                  <a:pt x="1" y="64"/>
                </a:cubicBezTo>
                <a:cubicBezTo>
                  <a:pt x="2" y="65"/>
                  <a:pt x="3" y="67"/>
                  <a:pt x="5" y="67"/>
                </a:cubicBezTo>
                <a:cubicBezTo>
                  <a:pt x="5" y="70"/>
                  <a:pt x="5" y="70"/>
                  <a:pt x="5" y="70"/>
                </a:cubicBezTo>
                <a:cubicBezTo>
                  <a:pt x="5" y="70"/>
                  <a:pt x="6" y="70"/>
                  <a:pt x="6" y="70"/>
                </a:cubicBezTo>
                <a:cubicBezTo>
                  <a:pt x="6" y="70"/>
                  <a:pt x="6" y="70"/>
                  <a:pt x="6" y="70"/>
                </a:cubicBezTo>
                <a:cubicBezTo>
                  <a:pt x="6" y="70"/>
                  <a:pt x="7" y="71"/>
                  <a:pt x="7" y="71"/>
                </a:cubicBezTo>
                <a:cubicBezTo>
                  <a:pt x="7" y="71"/>
                  <a:pt x="7" y="71"/>
                  <a:pt x="7" y="71"/>
                </a:cubicBezTo>
                <a:cubicBezTo>
                  <a:pt x="7" y="71"/>
                  <a:pt x="7" y="71"/>
                  <a:pt x="7" y="71"/>
                </a:cubicBezTo>
                <a:cubicBezTo>
                  <a:pt x="7" y="71"/>
                  <a:pt x="7" y="71"/>
                  <a:pt x="7" y="71"/>
                </a:cubicBezTo>
                <a:cubicBezTo>
                  <a:pt x="7" y="71"/>
                  <a:pt x="7" y="71"/>
                  <a:pt x="7" y="71"/>
                </a:cubicBezTo>
                <a:cubicBezTo>
                  <a:pt x="7" y="72"/>
                  <a:pt x="8" y="72"/>
                  <a:pt x="8" y="72"/>
                </a:cubicBezTo>
                <a:cubicBezTo>
                  <a:pt x="8" y="72"/>
                  <a:pt x="8" y="72"/>
                  <a:pt x="9" y="72"/>
                </a:cubicBezTo>
                <a:cubicBezTo>
                  <a:pt x="9" y="73"/>
                  <a:pt x="9" y="73"/>
                  <a:pt x="9" y="73"/>
                </a:cubicBezTo>
                <a:cubicBezTo>
                  <a:pt x="9" y="73"/>
                  <a:pt x="9" y="73"/>
                  <a:pt x="9" y="73"/>
                </a:cubicBezTo>
                <a:cubicBezTo>
                  <a:pt x="10" y="73"/>
                  <a:pt x="10" y="75"/>
                  <a:pt x="12" y="75"/>
                </a:cubicBezTo>
                <a:cubicBezTo>
                  <a:pt x="13" y="76"/>
                  <a:pt x="13" y="76"/>
                  <a:pt x="14" y="77"/>
                </a:cubicBezTo>
                <a:cubicBezTo>
                  <a:pt x="14" y="78"/>
                  <a:pt x="14" y="78"/>
                  <a:pt x="14" y="78"/>
                </a:cubicBezTo>
                <a:cubicBezTo>
                  <a:pt x="14" y="78"/>
                  <a:pt x="14" y="78"/>
                  <a:pt x="14" y="78"/>
                </a:cubicBezTo>
                <a:cubicBezTo>
                  <a:pt x="16" y="79"/>
                  <a:pt x="18" y="81"/>
                  <a:pt x="19" y="83"/>
                </a:cubicBezTo>
                <a:cubicBezTo>
                  <a:pt x="21" y="82"/>
                  <a:pt x="21" y="84"/>
                  <a:pt x="22" y="84"/>
                </a:cubicBezTo>
                <a:cubicBezTo>
                  <a:pt x="23" y="84"/>
                  <a:pt x="23" y="84"/>
                  <a:pt x="23" y="85"/>
                </a:cubicBezTo>
                <a:cubicBezTo>
                  <a:pt x="23" y="86"/>
                  <a:pt x="23" y="86"/>
                  <a:pt x="24" y="86"/>
                </a:cubicBezTo>
                <a:cubicBezTo>
                  <a:pt x="25" y="86"/>
                  <a:pt x="25" y="86"/>
                  <a:pt x="26" y="86"/>
                </a:cubicBezTo>
                <a:cubicBezTo>
                  <a:pt x="26" y="87"/>
                  <a:pt x="26" y="87"/>
                  <a:pt x="26" y="87"/>
                </a:cubicBezTo>
                <a:cubicBezTo>
                  <a:pt x="28" y="87"/>
                  <a:pt x="28" y="87"/>
                  <a:pt x="28" y="87"/>
                </a:cubicBezTo>
                <a:cubicBezTo>
                  <a:pt x="28" y="88"/>
                  <a:pt x="29" y="88"/>
                  <a:pt x="29" y="88"/>
                </a:cubicBezTo>
                <a:cubicBezTo>
                  <a:pt x="30" y="88"/>
                  <a:pt x="30" y="88"/>
                  <a:pt x="30" y="88"/>
                </a:cubicBezTo>
                <a:cubicBezTo>
                  <a:pt x="32" y="88"/>
                  <a:pt x="34" y="89"/>
                  <a:pt x="37" y="89"/>
                </a:cubicBezTo>
                <a:cubicBezTo>
                  <a:pt x="37" y="89"/>
                  <a:pt x="37" y="89"/>
                  <a:pt x="37" y="89"/>
                </a:cubicBezTo>
                <a:cubicBezTo>
                  <a:pt x="41" y="88"/>
                  <a:pt x="44" y="89"/>
                  <a:pt x="47" y="89"/>
                </a:cubicBezTo>
                <a:cubicBezTo>
                  <a:pt x="48" y="88"/>
                  <a:pt x="49" y="88"/>
                  <a:pt x="50" y="88"/>
                </a:cubicBezTo>
                <a:cubicBezTo>
                  <a:pt x="51" y="88"/>
                  <a:pt x="52" y="88"/>
                  <a:pt x="53" y="88"/>
                </a:cubicBezTo>
                <a:cubicBezTo>
                  <a:pt x="53" y="88"/>
                  <a:pt x="53" y="87"/>
                  <a:pt x="53" y="87"/>
                </a:cubicBezTo>
                <a:cubicBezTo>
                  <a:pt x="54" y="87"/>
                  <a:pt x="56" y="87"/>
                  <a:pt x="56" y="87"/>
                </a:cubicBezTo>
                <a:cubicBezTo>
                  <a:pt x="56" y="87"/>
                  <a:pt x="56" y="87"/>
                  <a:pt x="56" y="86"/>
                </a:cubicBezTo>
                <a:cubicBezTo>
                  <a:pt x="57" y="86"/>
                  <a:pt x="58" y="87"/>
                  <a:pt x="59" y="86"/>
                </a:cubicBezTo>
                <a:cubicBezTo>
                  <a:pt x="59" y="85"/>
                  <a:pt x="61" y="86"/>
                  <a:pt x="61" y="84"/>
                </a:cubicBezTo>
                <a:cubicBezTo>
                  <a:pt x="62" y="85"/>
                  <a:pt x="62" y="84"/>
                  <a:pt x="63" y="84"/>
                </a:cubicBezTo>
                <a:cubicBezTo>
                  <a:pt x="63" y="84"/>
                  <a:pt x="63" y="84"/>
                  <a:pt x="63" y="84"/>
                </a:cubicBezTo>
                <a:cubicBezTo>
                  <a:pt x="63" y="84"/>
                  <a:pt x="63" y="84"/>
                  <a:pt x="63" y="84"/>
                </a:cubicBezTo>
                <a:cubicBezTo>
                  <a:pt x="63" y="84"/>
                  <a:pt x="63" y="84"/>
                  <a:pt x="63" y="84"/>
                </a:cubicBezTo>
                <a:cubicBezTo>
                  <a:pt x="63" y="84"/>
                  <a:pt x="63" y="83"/>
                  <a:pt x="63" y="83"/>
                </a:cubicBezTo>
                <a:cubicBezTo>
                  <a:pt x="63" y="83"/>
                  <a:pt x="63" y="83"/>
                  <a:pt x="63" y="82"/>
                </a:cubicBezTo>
                <a:cubicBezTo>
                  <a:pt x="63" y="82"/>
                  <a:pt x="63" y="82"/>
                  <a:pt x="63" y="82"/>
                </a:cubicBezTo>
                <a:cubicBezTo>
                  <a:pt x="63" y="82"/>
                  <a:pt x="63" y="82"/>
                  <a:pt x="63" y="82"/>
                </a:cubicBezTo>
                <a:cubicBezTo>
                  <a:pt x="63" y="76"/>
                  <a:pt x="63" y="76"/>
                  <a:pt x="63" y="76"/>
                </a:cubicBezTo>
                <a:cubicBezTo>
                  <a:pt x="65" y="76"/>
                  <a:pt x="65" y="74"/>
                  <a:pt x="67" y="73"/>
                </a:cubicBezTo>
                <a:cubicBezTo>
                  <a:pt x="68" y="74"/>
                  <a:pt x="68" y="72"/>
                  <a:pt x="70" y="73"/>
                </a:cubicBezTo>
                <a:cubicBezTo>
                  <a:pt x="72" y="73"/>
                  <a:pt x="72" y="73"/>
                  <a:pt x="72" y="73"/>
                </a:cubicBezTo>
                <a:cubicBezTo>
                  <a:pt x="74" y="73"/>
                  <a:pt x="74" y="73"/>
                  <a:pt x="74" y="73"/>
                </a:cubicBezTo>
                <a:cubicBezTo>
                  <a:pt x="76" y="73"/>
                  <a:pt x="75" y="71"/>
                  <a:pt x="77" y="71"/>
                </a:cubicBezTo>
                <a:cubicBezTo>
                  <a:pt x="79" y="71"/>
                  <a:pt x="80" y="70"/>
                  <a:pt x="83" y="70"/>
                </a:cubicBezTo>
                <a:cubicBezTo>
                  <a:pt x="83" y="70"/>
                  <a:pt x="83" y="70"/>
                  <a:pt x="83" y="69"/>
                </a:cubicBezTo>
                <a:cubicBezTo>
                  <a:pt x="85" y="69"/>
                  <a:pt x="84" y="67"/>
                  <a:pt x="85" y="66"/>
                </a:cubicBezTo>
                <a:cubicBezTo>
                  <a:pt x="85" y="66"/>
                  <a:pt x="86" y="66"/>
                  <a:pt x="86" y="66"/>
                </a:cubicBezTo>
                <a:cubicBezTo>
                  <a:pt x="86" y="66"/>
                  <a:pt x="86" y="65"/>
                  <a:pt x="86" y="65"/>
                </a:cubicBezTo>
                <a:cubicBezTo>
                  <a:pt x="86" y="65"/>
                  <a:pt x="87" y="65"/>
                  <a:pt x="88" y="65"/>
                </a:cubicBezTo>
                <a:cubicBezTo>
                  <a:pt x="89" y="64"/>
                  <a:pt x="91" y="66"/>
                  <a:pt x="92" y="66"/>
                </a:cubicBezTo>
                <a:cubicBezTo>
                  <a:pt x="92" y="66"/>
                  <a:pt x="93" y="66"/>
                  <a:pt x="93" y="66"/>
                </a:cubicBezTo>
                <a:cubicBezTo>
                  <a:pt x="93" y="66"/>
                  <a:pt x="93" y="67"/>
                  <a:pt x="93" y="67"/>
                </a:cubicBezTo>
                <a:cubicBezTo>
                  <a:pt x="93" y="67"/>
                  <a:pt x="95" y="67"/>
                  <a:pt x="95" y="67"/>
                </a:cubicBezTo>
                <a:cubicBezTo>
                  <a:pt x="95" y="67"/>
                  <a:pt x="95" y="68"/>
                  <a:pt x="95" y="68"/>
                </a:cubicBezTo>
                <a:cubicBezTo>
                  <a:pt x="96" y="69"/>
                  <a:pt x="98" y="66"/>
                  <a:pt x="99" y="67"/>
                </a:cubicBezTo>
                <a:cubicBezTo>
                  <a:pt x="99" y="66"/>
                  <a:pt x="101" y="66"/>
                  <a:pt x="102" y="65"/>
                </a:cubicBezTo>
                <a:cubicBezTo>
                  <a:pt x="102" y="64"/>
                  <a:pt x="102" y="64"/>
                  <a:pt x="102" y="64"/>
                </a:cubicBezTo>
                <a:cubicBezTo>
                  <a:pt x="102" y="64"/>
                  <a:pt x="102" y="63"/>
                  <a:pt x="103" y="63"/>
                </a:cubicBezTo>
                <a:cubicBezTo>
                  <a:pt x="104" y="63"/>
                  <a:pt x="104" y="62"/>
                  <a:pt x="105" y="61"/>
                </a:cubicBezTo>
                <a:cubicBezTo>
                  <a:pt x="106" y="61"/>
                  <a:pt x="108" y="60"/>
                  <a:pt x="109" y="60"/>
                </a:cubicBezTo>
                <a:cubicBezTo>
                  <a:pt x="109" y="58"/>
                  <a:pt x="111" y="58"/>
                  <a:pt x="111" y="56"/>
                </a:cubicBezTo>
                <a:cubicBezTo>
                  <a:pt x="110" y="54"/>
                  <a:pt x="112" y="53"/>
                  <a:pt x="112" y="51"/>
                </a:cubicBezTo>
                <a:cubicBezTo>
                  <a:pt x="113" y="50"/>
                  <a:pt x="113" y="48"/>
                  <a:pt x="114" y="48"/>
                </a:cubicBezTo>
                <a:cubicBezTo>
                  <a:pt x="116" y="48"/>
                  <a:pt x="116" y="47"/>
                  <a:pt x="118" y="47"/>
                </a:cubicBezTo>
                <a:cubicBezTo>
                  <a:pt x="120" y="46"/>
                  <a:pt x="122" y="46"/>
                  <a:pt x="123" y="45"/>
                </a:cubicBezTo>
                <a:cubicBezTo>
                  <a:pt x="124" y="46"/>
                  <a:pt x="125" y="47"/>
                  <a:pt x="127" y="47"/>
                </a:cubicBezTo>
                <a:cubicBezTo>
                  <a:pt x="129" y="47"/>
                  <a:pt x="131" y="47"/>
                  <a:pt x="133" y="47"/>
                </a:cubicBezTo>
                <a:cubicBezTo>
                  <a:pt x="136" y="45"/>
                  <a:pt x="139" y="45"/>
                  <a:pt x="143" y="44"/>
                </a:cubicBezTo>
                <a:cubicBezTo>
                  <a:pt x="143" y="45"/>
                  <a:pt x="144" y="45"/>
                  <a:pt x="145" y="45"/>
                </a:cubicBezTo>
                <a:cubicBezTo>
                  <a:pt x="145" y="47"/>
                  <a:pt x="145" y="47"/>
                  <a:pt x="145" y="48"/>
                </a:cubicBezTo>
                <a:cubicBezTo>
                  <a:pt x="146" y="48"/>
                  <a:pt x="147" y="49"/>
                  <a:pt x="147" y="50"/>
                </a:cubicBezTo>
                <a:cubicBezTo>
                  <a:pt x="150" y="51"/>
                  <a:pt x="151" y="52"/>
                  <a:pt x="154" y="52"/>
                </a:cubicBezTo>
                <a:cubicBezTo>
                  <a:pt x="156" y="52"/>
                  <a:pt x="157" y="51"/>
                  <a:pt x="159" y="51"/>
                </a:cubicBezTo>
                <a:cubicBezTo>
                  <a:pt x="160" y="51"/>
                  <a:pt x="160" y="51"/>
                  <a:pt x="160" y="50"/>
                </a:cubicBezTo>
                <a:cubicBezTo>
                  <a:pt x="162" y="50"/>
                  <a:pt x="162" y="50"/>
                  <a:pt x="162" y="50"/>
                </a:cubicBezTo>
                <a:cubicBezTo>
                  <a:pt x="162" y="49"/>
                  <a:pt x="164" y="49"/>
                  <a:pt x="164" y="49"/>
                </a:cubicBezTo>
                <a:cubicBezTo>
                  <a:pt x="165" y="49"/>
                  <a:pt x="165" y="49"/>
                  <a:pt x="165" y="48"/>
                </a:cubicBezTo>
                <a:cubicBezTo>
                  <a:pt x="164" y="48"/>
                  <a:pt x="164" y="48"/>
                  <a:pt x="164" y="48"/>
                </a:cubicBezTo>
                <a:cubicBezTo>
                  <a:pt x="163" y="47"/>
                  <a:pt x="164" y="43"/>
                  <a:pt x="164" y="40"/>
                </a:cubicBezTo>
                <a:cubicBezTo>
                  <a:pt x="163" y="38"/>
                  <a:pt x="165" y="39"/>
                  <a:pt x="166" y="37"/>
                </a:cubicBezTo>
                <a:cubicBezTo>
                  <a:pt x="167" y="37"/>
                  <a:pt x="167" y="35"/>
                  <a:pt x="168" y="35"/>
                </a:cubicBezTo>
                <a:cubicBezTo>
                  <a:pt x="168" y="33"/>
                  <a:pt x="169" y="33"/>
                  <a:pt x="170" y="31"/>
                </a:cubicBezTo>
                <a:cubicBezTo>
                  <a:pt x="170" y="29"/>
                  <a:pt x="170" y="27"/>
                  <a:pt x="168" y="27"/>
                </a:cubicBezTo>
                <a:cubicBezTo>
                  <a:pt x="168" y="26"/>
                  <a:pt x="168" y="26"/>
                  <a:pt x="168" y="26"/>
                </a:cubicBezTo>
                <a:cubicBezTo>
                  <a:pt x="170" y="26"/>
                  <a:pt x="169" y="24"/>
                  <a:pt x="170" y="24"/>
                </a:cubicBezTo>
                <a:cubicBezTo>
                  <a:pt x="170" y="23"/>
                  <a:pt x="171" y="23"/>
                  <a:pt x="171" y="22"/>
                </a:cubicBezTo>
                <a:cubicBezTo>
                  <a:pt x="171" y="22"/>
                  <a:pt x="172" y="22"/>
                  <a:pt x="172" y="22"/>
                </a:cubicBezTo>
                <a:cubicBezTo>
                  <a:pt x="172" y="21"/>
                  <a:pt x="172" y="21"/>
                  <a:pt x="172" y="20"/>
                </a:cubicBezTo>
                <a:cubicBezTo>
                  <a:pt x="172" y="20"/>
                  <a:pt x="172" y="19"/>
                  <a:pt x="173" y="19"/>
                </a:cubicBezTo>
                <a:cubicBezTo>
                  <a:pt x="173" y="17"/>
                  <a:pt x="173" y="15"/>
                  <a:pt x="175" y="14"/>
                </a:cubicBezTo>
                <a:cubicBezTo>
                  <a:pt x="175" y="13"/>
                  <a:pt x="175" y="13"/>
                  <a:pt x="175" y="13"/>
                </a:cubicBezTo>
                <a:cubicBezTo>
                  <a:pt x="173" y="14"/>
                  <a:pt x="173" y="12"/>
                  <a:pt x="171" y="13"/>
                </a:cubicBezTo>
                <a:cubicBezTo>
                  <a:pt x="170" y="12"/>
                  <a:pt x="170" y="11"/>
                  <a:pt x="169" y="11"/>
                </a:cubicBezTo>
                <a:cubicBezTo>
                  <a:pt x="166" y="11"/>
                  <a:pt x="166" y="11"/>
                  <a:pt x="166" y="11"/>
                </a:cubicBezTo>
                <a:cubicBezTo>
                  <a:pt x="166" y="11"/>
                  <a:pt x="166" y="11"/>
                  <a:pt x="166" y="11"/>
                </a:cubicBezTo>
                <a:cubicBezTo>
                  <a:pt x="165" y="10"/>
                  <a:pt x="164" y="10"/>
                  <a:pt x="163" y="10"/>
                </a:cubicBezTo>
                <a:cubicBezTo>
                  <a:pt x="163" y="10"/>
                  <a:pt x="163" y="9"/>
                  <a:pt x="163" y="9"/>
                </a:cubicBezTo>
                <a:cubicBezTo>
                  <a:pt x="162" y="9"/>
                  <a:pt x="162" y="9"/>
                  <a:pt x="162" y="9"/>
                </a:cubicBezTo>
                <a:cubicBezTo>
                  <a:pt x="162" y="9"/>
                  <a:pt x="162" y="9"/>
                  <a:pt x="162" y="9"/>
                </a:cubicBezTo>
                <a:cubicBezTo>
                  <a:pt x="161" y="9"/>
                  <a:pt x="161" y="9"/>
                  <a:pt x="160" y="9"/>
                </a:cubicBezTo>
                <a:cubicBezTo>
                  <a:pt x="160" y="9"/>
                  <a:pt x="160" y="9"/>
                  <a:pt x="160" y="9"/>
                </a:cubicBezTo>
                <a:cubicBezTo>
                  <a:pt x="159" y="9"/>
                  <a:pt x="159" y="8"/>
                  <a:pt x="158" y="7"/>
                </a:cubicBezTo>
                <a:cubicBezTo>
                  <a:pt x="158" y="7"/>
                  <a:pt x="158" y="7"/>
                  <a:pt x="158" y="7"/>
                </a:cubicBezTo>
                <a:cubicBezTo>
                  <a:pt x="157" y="6"/>
                  <a:pt x="157" y="6"/>
                  <a:pt x="156" y="6"/>
                </a:cubicBezTo>
                <a:cubicBezTo>
                  <a:pt x="156" y="6"/>
                  <a:pt x="156" y="6"/>
                  <a:pt x="156" y="6"/>
                </a:cubicBezTo>
                <a:cubicBezTo>
                  <a:pt x="156" y="5"/>
                  <a:pt x="156" y="5"/>
                  <a:pt x="156" y="5"/>
                </a:cubicBezTo>
                <a:cubicBezTo>
                  <a:pt x="155" y="5"/>
                  <a:pt x="155" y="5"/>
                  <a:pt x="155" y="5"/>
                </a:cubicBezTo>
                <a:cubicBezTo>
                  <a:pt x="155" y="3"/>
                  <a:pt x="153" y="3"/>
                  <a:pt x="152" y="3"/>
                </a:cubicBezTo>
                <a:cubicBezTo>
                  <a:pt x="152" y="3"/>
                  <a:pt x="152" y="3"/>
                  <a:pt x="152" y="3"/>
                </a:cubicBezTo>
                <a:cubicBezTo>
                  <a:pt x="152" y="3"/>
                  <a:pt x="152" y="3"/>
                  <a:pt x="152" y="3"/>
                </a:cubicBezTo>
                <a:cubicBezTo>
                  <a:pt x="152" y="3"/>
                  <a:pt x="152" y="3"/>
                  <a:pt x="152" y="3"/>
                </a:cubicBezTo>
                <a:cubicBezTo>
                  <a:pt x="152" y="3"/>
                  <a:pt x="151" y="3"/>
                  <a:pt x="151" y="3"/>
                </a:cubicBezTo>
                <a:cubicBezTo>
                  <a:pt x="151" y="3"/>
                  <a:pt x="151" y="3"/>
                  <a:pt x="151" y="3"/>
                </a:cubicBezTo>
                <a:cubicBezTo>
                  <a:pt x="151" y="3"/>
                  <a:pt x="151" y="3"/>
                  <a:pt x="151" y="3"/>
                </a:cubicBezTo>
                <a:cubicBezTo>
                  <a:pt x="151" y="3"/>
                  <a:pt x="151" y="3"/>
                  <a:pt x="151" y="3"/>
                </a:cubicBezTo>
                <a:cubicBezTo>
                  <a:pt x="151" y="3"/>
                  <a:pt x="151" y="3"/>
                  <a:pt x="151" y="3"/>
                </a:cubicBezTo>
                <a:cubicBezTo>
                  <a:pt x="151" y="2"/>
                  <a:pt x="151" y="2"/>
                  <a:pt x="151" y="2"/>
                </a:cubicBezTo>
                <a:cubicBezTo>
                  <a:pt x="150" y="2"/>
                  <a:pt x="150" y="2"/>
                  <a:pt x="149" y="2"/>
                </a:cubicBezTo>
                <a:cubicBezTo>
                  <a:pt x="148" y="2"/>
                  <a:pt x="148" y="2"/>
                  <a:pt x="147" y="1"/>
                </a:cubicBezTo>
                <a:cubicBezTo>
                  <a:pt x="146" y="1"/>
                  <a:pt x="145" y="2"/>
                  <a:pt x="144" y="1"/>
                </a:cubicBezTo>
                <a:cubicBezTo>
                  <a:pt x="141" y="0"/>
                  <a:pt x="137" y="2"/>
                  <a:pt x="136" y="1"/>
                </a:cubicBezTo>
                <a:cubicBezTo>
                  <a:pt x="134" y="0"/>
                  <a:pt x="134" y="2"/>
                  <a:pt x="132" y="1"/>
                </a:cubicBezTo>
                <a:cubicBezTo>
                  <a:pt x="131" y="1"/>
                  <a:pt x="132" y="2"/>
                  <a:pt x="131" y="2"/>
                </a:cubicBezTo>
                <a:cubicBezTo>
                  <a:pt x="131" y="2"/>
                  <a:pt x="130" y="2"/>
                  <a:pt x="130" y="2"/>
                </a:cubicBezTo>
                <a:cubicBezTo>
                  <a:pt x="130" y="2"/>
                  <a:pt x="130" y="3"/>
                  <a:pt x="130" y="4"/>
                </a:cubicBezTo>
                <a:cubicBezTo>
                  <a:pt x="130" y="4"/>
                  <a:pt x="129" y="4"/>
                  <a:pt x="129" y="4"/>
                </a:cubicBezTo>
                <a:cubicBezTo>
                  <a:pt x="128" y="4"/>
                  <a:pt x="127" y="4"/>
                  <a:pt x="126" y="4"/>
                </a:cubicBezTo>
                <a:cubicBezTo>
                  <a:pt x="125" y="4"/>
                  <a:pt x="124" y="5"/>
                  <a:pt x="124" y="6"/>
                </a:cubicBezTo>
                <a:cubicBezTo>
                  <a:pt x="124" y="6"/>
                  <a:pt x="124" y="7"/>
                  <a:pt x="124" y="8"/>
                </a:cubicBezTo>
                <a:cubicBezTo>
                  <a:pt x="123" y="8"/>
                  <a:pt x="123" y="8"/>
                  <a:pt x="123" y="8"/>
                </a:cubicBezTo>
                <a:cubicBezTo>
                  <a:pt x="121" y="8"/>
                  <a:pt x="119" y="9"/>
                  <a:pt x="118" y="8"/>
                </a:cubicBezTo>
                <a:cubicBezTo>
                  <a:pt x="118" y="7"/>
                  <a:pt x="116" y="6"/>
                  <a:pt x="115" y="6"/>
                </a:cubicBezTo>
                <a:cubicBezTo>
                  <a:pt x="111" y="5"/>
                  <a:pt x="111" y="8"/>
                  <a:pt x="108" y="7"/>
                </a:cubicBezTo>
                <a:cubicBezTo>
                  <a:pt x="106" y="8"/>
                  <a:pt x="105" y="9"/>
                  <a:pt x="103" y="9"/>
                </a:cubicBezTo>
                <a:cubicBezTo>
                  <a:pt x="102" y="10"/>
                  <a:pt x="101" y="10"/>
                  <a:pt x="100" y="10"/>
                </a:cubicBezTo>
                <a:cubicBezTo>
                  <a:pt x="100" y="11"/>
                  <a:pt x="99" y="11"/>
                  <a:pt x="98" y="11"/>
                </a:cubicBezTo>
                <a:cubicBezTo>
                  <a:pt x="98" y="14"/>
                  <a:pt x="97" y="15"/>
                  <a:pt x="97" y="17"/>
                </a:cubicBezTo>
                <a:cubicBezTo>
                  <a:pt x="93" y="17"/>
                  <a:pt x="93" y="16"/>
                  <a:pt x="90" y="17"/>
                </a:cubicBezTo>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6" name="Freeform 43"/>
          <p:cNvSpPr>
            <a:spLocks noEditPoints="1"/>
          </p:cNvSpPr>
          <p:nvPr/>
        </p:nvSpPr>
        <p:spPr bwMode="auto">
          <a:xfrm>
            <a:off x="8650579" y="4689778"/>
            <a:ext cx="577850" cy="665163"/>
          </a:xfrm>
          <a:custGeom>
            <a:avLst/>
            <a:gdLst>
              <a:gd name="T0" fmla="*/ 131 w 149"/>
              <a:gd name="T1" fmla="*/ 114 h 172"/>
              <a:gd name="T2" fmla="*/ 127 w 149"/>
              <a:gd name="T3" fmla="*/ 89 h 172"/>
              <a:gd name="T4" fmla="*/ 131 w 149"/>
              <a:gd name="T5" fmla="*/ 83 h 172"/>
              <a:gd name="T6" fmla="*/ 125 w 149"/>
              <a:gd name="T7" fmla="*/ 68 h 172"/>
              <a:gd name="T8" fmla="*/ 119 w 149"/>
              <a:gd name="T9" fmla="*/ 63 h 172"/>
              <a:gd name="T10" fmla="*/ 111 w 149"/>
              <a:gd name="T11" fmla="*/ 68 h 172"/>
              <a:gd name="T12" fmla="*/ 108 w 149"/>
              <a:gd name="T13" fmla="*/ 65 h 172"/>
              <a:gd name="T14" fmla="*/ 90 w 149"/>
              <a:gd name="T15" fmla="*/ 61 h 172"/>
              <a:gd name="T16" fmla="*/ 89 w 149"/>
              <a:gd name="T17" fmla="*/ 50 h 172"/>
              <a:gd name="T18" fmla="*/ 75 w 149"/>
              <a:gd name="T19" fmla="*/ 38 h 172"/>
              <a:gd name="T20" fmla="*/ 62 w 149"/>
              <a:gd name="T21" fmla="*/ 20 h 172"/>
              <a:gd name="T22" fmla="*/ 46 w 149"/>
              <a:gd name="T23" fmla="*/ 6 h 172"/>
              <a:gd name="T24" fmla="*/ 29 w 149"/>
              <a:gd name="T25" fmla="*/ 2 h 172"/>
              <a:gd name="T26" fmla="*/ 7 w 149"/>
              <a:gd name="T27" fmla="*/ 10 h 172"/>
              <a:gd name="T28" fmla="*/ 2 w 149"/>
              <a:gd name="T29" fmla="*/ 17 h 172"/>
              <a:gd name="T30" fmla="*/ 12 w 149"/>
              <a:gd name="T31" fmla="*/ 36 h 172"/>
              <a:gd name="T32" fmla="*/ 9 w 149"/>
              <a:gd name="T33" fmla="*/ 40 h 172"/>
              <a:gd name="T34" fmla="*/ 18 w 149"/>
              <a:gd name="T35" fmla="*/ 46 h 172"/>
              <a:gd name="T36" fmla="*/ 17 w 149"/>
              <a:gd name="T37" fmla="*/ 52 h 172"/>
              <a:gd name="T38" fmla="*/ 23 w 149"/>
              <a:gd name="T39" fmla="*/ 63 h 172"/>
              <a:gd name="T40" fmla="*/ 18 w 149"/>
              <a:gd name="T41" fmla="*/ 86 h 172"/>
              <a:gd name="T42" fmla="*/ 28 w 149"/>
              <a:gd name="T43" fmla="*/ 96 h 172"/>
              <a:gd name="T44" fmla="*/ 25 w 149"/>
              <a:gd name="T45" fmla="*/ 106 h 172"/>
              <a:gd name="T46" fmla="*/ 33 w 149"/>
              <a:gd name="T47" fmla="*/ 122 h 172"/>
              <a:gd name="T48" fmla="*/ 30 w 149"/>
              <a:gd name="T49" fmla="*/ 128 h 172"/>
              <a:gd name="T50" fmla="*/ 42 w 149"/>
              <a:gd name="T51" fmla="*/ 137 h 172"/>
              <a:gd name="T52" fmla="*/ 55 w 149"/>
              <a:gd name="T53" fmla="*/ 146 h 172"/>
              <a:gd name="T54" fmla="*/ 65 w 149"/>
              <a:gd name="T55" fmla="*/ 149 h 172"/>
              <a:gd name="T56" fmla="*/ 66 w 149"/>
              <a:gd name="T57" fmla="*/ 144 h 172"/>
              <a:gd name="T58" fmla="*/ 69 w 149"/>
              <a:gd name="T59" fmla="*/ 142 h 172"/>
              <a:gd name="T60" fmla="*/ 70 w 149"/>
              <a:gd name="T61" fmla="*/ 142 h 172"/>
              <a:gd name="T62" fmla="*/ 69 w 149"/>
              <a:gd name="T63" fmla="*/ 137 h 172"/>
              <a:gd name="T64" fmla="*/ 69 w 149"/>
              <a:gd name="T65" fmla="*/ 137 h 172"/>
              <a:gd name="T66" fmla="*/ 68 w 149"/>
              <a:gd name="T67" fmla="*/ 136 h 172"/>
              <a:gd name="T68" fmla="*/ 68 w 149"/>
              <a:gd name="T69" fmla="*/ 136 h 172"/>
              <a:gd name="T70" fmla="*/ 69 w 149"/>
              <a:gd name="T71" fmla="*/ 134 h 172"/>
              <a:gd name="T72" fmla="*/ 73 w 149"/>
              <a:gd name="T73" fmla="*/ 132 h 172"/>
              <a:gd name="T74" fmla="*/ 75 w 149"/>
              <a:gd name="T75" fmla="*/ 131 h 172"/>
              <a:gd name="T76" fmla="*/ 76 w 149"/>
              <a:gd name="T77" fmla="*/ 131 h 172"/>
              <a:gd name="T78" fmla="*/ 83 w 149"/>
              <a:gd name="T79" fmla="*/ 136 h 172"/>
              <a:gd name="T80" fmla="*/ 89 w 149"/>
              <a:gd name="T81" fmla="*/ 137 h 172"/>
              <a:gd name="T82" fmla="*/ 90 w 149"/>
              <a:gd name="T83" fmla="*/ 140 h 172"/>
              <a:gd name="T84" fmla="*/ 91 w 149"/>
              <a:gd name="T85" fmla="*/ 141 h 172"/>
              <a:gd name="T86" fmla="*/ 93 w 149"/>
              <a:gd name="T87" fmla="*/ 141 h 172"/>
              <a:gd name="T88" fmla="*/ 103 w 149"/>
              <a:gd name="T89" fmla="*/ 152 h 172"/>
              <a:gd name="T90" fmla="*/ 109 w 149"/>
              <a:gd name="T91" fmla="*/ 160 h 172"/>
              <a:gd name="T92" fmla="*/ 107 w 149"/>
              <a:gd name="T93" fmla="*/ 172 h 172"/>
              <a:gd name="T94" fmla="*/ 114 w 149"/>
              <a:gd name="T95" fmla="*/ 167 h 172"/>
              <a:gd name="T96" fmla="*/ 134 w 149"/>
              <a:gd name="T97" fmla="*/ 165 h 172"/>
              <a:gd name="T98" fmla="*/ 135 w 149"/>
              <a:gd name="T99" fmla="*/ 156 h 172"/>
              <a:gd name="T100" fmla="*/ 140 w 149"/>
              <a:gd name="T101" fmla="*/ 139 h 172"/>
              <a:gd name="T102" fmla="*/ 147 w 149"/>
              <a:gd name="T103" fmla="*/ 128 h 172"/>
              <a:gd name="T104" fmla="*/ 85 w 149"/>
              <a:gd name="T105" fmla="*/ 61 h 172"/>
              <a:gd name="T106" fmla="*/ 85 w 149"/>
              <a:gd name="T107" fmla="*/ 6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9" h="172">
                <a:moveTo>
                  <a:pt x="145" y="125"/>
                </a:moveTo>
                <a:cubicBezTo>
                  <a:pt x="143" y="123"/>
                  <a:pt x="141" y="121"/>
                  <a:pt x="139" y="118"/>
                </a:cubicBezTo>
                <a:cubicBezTo>
                  <a:pt x="138" y="118"/>
                  <a:pt x="138" y="118"/>
                  <a:pt x="137" y="118"/>
                </a:cubicBezTo>
                <a:cubicBezTo>
                  <a:pt x="135" y="118"/>
                  <a:pt x="135" y="118"/>
                  <a:pt x="135" y="118"/>
                </a:cubicBezTo>
                <a:cubicBezTo>
                  <a:pt x="136" y="116"/>
                  <a:pt x="134" y="116"/>
                  <a:pt x="133" y="116"/>
                </a:cubicBezTo>
                <a:cubicBezTo>
                  <a:pt x="133" y="114"/>
                  <a:pt x="130" y="116"/>
                  <a:pt x="131" y="114"/>
                </a:cubicBezTo>
                <a:cubicBezTo>
                  <a:pt x="130" y="111"/>
                  <a:pt x="129" y="111"/>
                  <a:pt x="129" y="108"/>
                </a:cubicBezTo>
                <a:cubicBezTo>
                  <a:pt x="128" y="108"/>
                  <a:pt x="129" y="108"/>
                  <a:pt x="128" y="107"/>
                </a:cubicBezTo>
                <a:cubicBezTo>
                  <a:pt x="127" y="106"/>
                  <a:pt x="125" y="106"/>
                  <a:pt x="125" y="105"/>
                </a:cubicBezTo>
                <a:cubicBezTo>
                  <a:pt x="125" y="104"/>
                  <a:pt x="124" y="103"/>
                  <a:pt x="124" y="102"/>
                </a:cubicBezTo>
                <a:cubicBezTo>
                  <a:pt x="123" y="97"/>
                  <a:pt x="125" y="94"/>
                  <a:pt x="124" y="90"/>
                </a:cubicBezTo>
                <a:cubicBezTo>
                  <a:pt x="124" y="89"/>
                  <a:pt x="125" y="89"/>
                  <a:pt x="127" y="89"/>
                </a:cubicBezTo>
                <a:cubicBezTo>
                  <a:pt x="127" y="89"/>
                  <a:pt x="128" y="88"/>
                  <a:pt x="128" y="88"/>
                </a:cubicBezTo>
                <a:cubicBezTo>
                  <a:pt x="129" y="88"/>
                  <a:pt x="128" y="87"/>
                  <a:pt x="128" y="86"/>
                </a:cubicBezTo>
                <a:cubicBezTo>
                  <a:pt x="129" y="86"/>
                  <a:pt x="130" y="86"/>
                  <a:pt x="130" y="86"/>
                </a:cubicBezTo>
                <a:cubicBezTo>
                  <a:pt x="130" y="85"/>
                  <a:pt x="130" y="85"/>
                  <a:pt x="131" y="84"/>
                </a:cubicBezTo>
                <a:cubicBezTo>
                  <a:pt x="131" y="84"/>
                  <a:pt x="131" y="84"/>
                  <a:pt x="131" y="84"/>
                </a:cubicBezTo>
                <a:cubicBezTo>
                  <a:pt x="131" y="84"/>
                  <a:pt x="131" y="83"/>
                  <a:pt x="131" y="83"/>
                </a:cubicBezTo>
                <a:cubicBezTo>
                  <a:pt x="131" y="79"/>
                  <a:pt x="131" y="79"/>
                  <a:pt x="131" y="79"/>
                </a:cubicBezTo>
                <a:cubicBezTo>
                  <a:pt x="131" y="79"/>
                  <a:pt x="131" y="79"/>
                  <a:pt x="131" y="79"/>
                </a:cubicBezTo>
                <a:cubicBezTo>
                  <a:pt x="131" y="79"/>
                  <a:pt x="131" y="79"/>
                  <a:pt x="131" y="79"/>
                </a:cubicBezTo>
                <a:cubicBezTo>
                  <a:pt x="130" y="78"/>
                  <a:pt x="129" y="78"/>
                  <a:pt x="128" y="77"/>
                </a:cubicBezTo>
                <a:cubicBezTo>
                  <a:pt x="128" y="76"/>
                  <a:pt x="128" y="74"/>
                  <a:pt x="126" y="73"/>
                </a:cubicBezTo>
                <a:cubicBezTo>
                  <a:pt x="126" y="72"/>
                  <a:pt x="125" y="70"/>
                  <a:pt x="125" y="68"/>
                </a:cubicBezTo>
                <a:cubicBezTo>
                  <a:pt x="126" y="68"/>
                  <a:pt x="126" y="67"/>
                  <a:pt x="126" y="66"/>
                </a:cubicBezTo>
                <a:cubicBezTo>
                  <a:pt x="129" y="67"/>
                  <a:pt x="130" y="65"/>
                  <a:pt x="133" y="66"/>
                </a:cubicBezTo>
                <a:cubicBezTo>
                  <a:pt x="133" y="62"/>
                  <a:pt x="129" y="64"/>
                  <a:pt x="128" y="63"/>
                </a:cubicBezTo>
                <a:cubicBezTo>
                  <a:pt x="125" y="63"/>
                  <a:pt x="125" y="60"/>
                  <a:pt x="124" y="60"/>
                </a:cubicBezTo>
                <a:cubicBezTo>
                  <a:pt x="123" y="61"/>
                  <a:pt x="121" y="60"/>
                  <a:pt x="121" y="62"/>
                </a:cubicBezTo>
                <a:cubicBezTo>
                  <a:pt x="120" y="62"/>
                  <a:pt x="120" y="63"/>
                  <a:pt x="119" y="63"/>
                </a:cubicBezTo>
                <a:cubicBezTo>
                  <a:pt x="118" y="65"/>
                  <a:pt x="117" y="66"/>
                  <a:pt x="117" y="67"/>
                </a:cubicBezTo>
                <a:cubicBezTo>
                  <a:pt x="116" y="68"/>
                  <a:pt x="115" y="69"/>
                  <a:pt x="114" y="70"/>
                </a:cubicBezTo>
                <a:cubicBezTo>
                  <a:pt x="113" y="70"/>
                  <a:pt x="112" y="69"/>
                  <a:pt x="112" y="69"/>
                </a:cubicBezTo>
                <a:cubicBezTo>
                  <a:pt x="112" y="69"/>
                  <a:pt x="112" y="69"/>
                  <a:pt x="112" y="69"/>
                </a:cubicBezTo>
                <a:cubicBezTo>
                  <a:pt x="112" y="69"/>
                  <a:pt x="112" y="68"/>
                  <a:pt x="112" y="68"/>
                </a:cubicBezTo>
                <a:cubicBezTo>
                  <a:pt x="112" y="68"/>
                  <a:pt x="111" y="68"/>
                  <a:pt x="111" y="68"/>
                </a:cubicBezTo>
                <a:cubicBezTo>
                  <a:pt x="111" y="68"/>
                  <a:pt x="111" y="68"/>
                  <a:pt x="111" y="68"/>
                </a:cubicBezTo>
                <a:cubicBezTo>
                  <a:pt x="111" y="68"/>
                  <a:pt x="110" y="68"/>
                  <a:pt x="110" y="68"/>
                </a:cubicBezTo>
                <a:cubicBezTo>
                  <a:pt x="110" y="68"/>
                  <a:pt x="110" y="67"/>
                  <a:pt x="110" y="67"/>
                </a:cubicBezTo>
                <a:cubicBezTo>
                  <a:pt x="110" y="67"/>
                  <a:pt x="110" y="67"/>
                  <a:pt x="110" y="67"/>
                </a:cubicBezTo>
                <a:cubicBezTo>
                  <a:pt x="110" y="67"/>
                  <a:pt x="110" y="66"/>
                  <a:pt x="110" y="66"/>
                </a:cubicBezTo>
                <a:cubicBezTo>
                  <a:pt x="109" y="66"/>
                  <a:pt x="108" y="66"/>
                  <a:pt x="108" y="65"/>
                </a:cubicBezTo>
                <a:cubicBezTo>
                  <a:pt x="107" y="65"/>
                  <a:pt x="107" y="65"/>
                  <a:pt x="106" y="65"/>
                </a:cubicBezTo>
                <a:cubicBezTo>
                  <a:pt x="104" y="64"/>
                  <a:pt x="102" y="64"/>
                  <a:pt x="99" y="64"/>
                </a:cubicBezTo>
                <a:cubicBezTo>
                  <a:pt x="99" y="63"/>
                  <a:pt x="98" y="64"/>
                  <a:pt x="98" y="63"/>
                </a:cubicBezTo>
                <a:cubicBezTo>
                  <a:pt x="97" y="63"/>
                  <a:pt x="97" y="62"/>
                  <a:pt x="96" y="62"/>
                </a:cubicBezTo>
                <a:cubicBezTo>
                  <a:pt x="96" y="61"/>
                  <a:pt x="94" y="61"/>
                  <a:pt x="94" y="60"/>
                </a:cubicBezTo>
                <a:cubicBezTo>
                  <a:pt x="92" y="59"/>
                  <a:pt x="92" y="61"/>
                  <a:pt x="90" y="61"/>
                </a:cubicBezTo>
                <a:cubicBezTo>
                  <a:pt x="89" y="61"/>
                  <a:pt x="88" y="60"/>
                  <a:pt x="87" y="59"/>
                </a:cubicBezTo>
                <a:cubicBezTo>
                  <a:pt x="88" y="59"/>
                  <a:pt x="88" y="58"/>
                  <a:pt x="89" y="58"/>
                </a:cubicBezTo>
                <a:cubicBezTo>
                  <a:pt x="89" y="57"/>
                  <a:pt x="91" y="57"/>
                  <a:pt x="92" y="56"/>
                </a:cubicBezTo>
                <a:cubicBezTo>
                  <a:pt x="92" y="52"/>
                  <a:pt x="92" y="52"/>
                  <a:pt x="92" y="52"/>
                </a:cubicBezTo>
                <a:cubicBezTo>
                  <a:pt x="92" y="51"/>
                  <a:pt x="91" y="51"/>
                  <a:pt x="90" y="50"/>
                </a:cubicBezTo>
                <a:cubicBezTo>
                  <a:pt x="90" y="50"/>
                  <a:pt x="90" y="49"/>
                  <a:pt x="89" y="50"/>
                </a:cubicBezTo>
                <a:cubicBezTo>
                  <a:pt x="89" y="49"/>
                  <a:pt x="89" y="49"/>
                  <a:pt x="89" y="48"/>
                </a:cubicBezTo>
                <a:cubicBezTo>
                  <a:pt x="89" y="45"/>
                  <a:pt x="90" y="44"/>
                  <a:pt x="90" y="42"/>
                </a:cubicBezTo>
                <a:cubicBezTo>
                  <a:pt x="90" y="42"/>
                  <a:pt x="89" y="42"/>
                  <a:pt x="89" y="41"/>
                </a:cubicBezTo>
                <a:cubicBezTo>
                  <a:pt x="86" y="41"/>
                  <a:pt x="85" y="39"/>
                  <a:pt x="82" y="40"/>
                </a:cubicBezTo>
                <a:cubicBezTo>
                  <a:pt x="82" y="39"/>
                  <a:pt x="80" y="40"/>
                  <a:pt x="80" y="38"/>
                </a:cubicBezTo>
                <a:cubicBezTo>
                  <a:pt x="75" y="38"/>
                  <a:pt x="75" y="38"/>
                  <a:pt x="75" y="38"/>
                </a:cubicBezTo>
                <a:cubicBezTo>
                  <a:pt x="74" y="38"/>
                  <a:pt x="73" y="37"/>
                  <a:pt x="73" y="36"/>
                </a:cubicBezTo>
                <a:cubicBezTo>
                  <a:pt x="71" y="37"/>
                  <a:pt x="71" y="35"/>
                  <a:pt x="69" y="36"/>
                </a:cubicBezTo>
                <a:cubicBezTo>
                  <a:pt x="69" y="33"/>
                  <a:pt x="66" y="33"/>
                  <a:pt x="66" y="30"/>
                </a:cubicBezTo>
                <a:cubicBezTo>
                  <a:pt x="65" y="30"/>
                  <a:pt x="64" y="29"/>
                  <a:pt x="64" y="28"/>
                </a:cubicBezTo>
                <a:cubicBezTo>
                  <a:pt x="62" y="28"/>
                  <a:pt x="63" y="26"/>
                  <a:pt x="62" y="26"/>
                </a:cubicBezTo>
                <a:cubicBezTo>
                  <a:pt x="62" y="20"/>
                  <a:pt x="62" y="20"/>
                  <a:pt x="62" y="20"/>
                </a:cubicBezTo>
                <a:cubicBezTo>
                  <a:pt x="61" y="19"/>
                  <a:pt x="60" y="19"/>
                  <a:pt x="60" y="18"/>
                </a:cubicBezTo>
                <a:cubicBezTo>
                  <a:pt x="59" y="18"/>
                  <a:pt x="59" y="18"/>
                  <a:pt x="58" y="17"/>
                </a:cubicBezTo>
                <a:cubicBezTo>
                  <a:pt x="57" y="16"/>
                  <a:pt x="56" y="14"/>
                  <a:pt x="54" y="13"/>
                </a:cubicBezTo>
                <a:cubicBezTo>
                  <a:pt x="53" y="12"/>
                  <a:pt x="52" y="11"/>
                  <a:pt x="50" y="10"/>
                </a:cubicBezTo>
                <a:cubicBezTo>
                  <a:pt x="50" y="8"/>
                  <a:pt x="48" y="9"/>
                  <a:pt x="48" y="7"/>
                </a:cubicBezTo>
                <a:cubicBezTo>
                  <a:pt x="48" y="6"/>
                  <a:pt x="47" y="6"/>
                  <a:pt x="46" y="6"/>
                </a:cubicBezTo>
                <a:cubicBezTo>
                  <a:pt x="46" y="4"/>
                  <a:pt x="45" y="3"/>
                  <a:pt x="45" y="1"/>
                </a:cubicBezTo>
                <a:cubicBezTo>
                  <a:pt x="43" y="0"/>
                  <a:pt x="39" y="0"/>
                  <a:pt x="36" y="0"/>
                </a:cubicBezTo>
                <a:cubicBezTo>
                  <a:pt x="34" y="0"/>
                  <a:pt x="33" y="1"/>
                  <a:pt x="32" y="1"/>
                </a:cubicBezTo>
                <a:cubicBezTo>
                  <a:pt x="32" y="2"/>
                  <a:pt x="31" y="1"/>
                  <a:pt x="31" y="1"/>
                </a:cubicBezTo>
                <a:cubicBezTo>
                  <a:pt x="31" y="2"/>
                  <a:pt x="31" y="2"/>
                  <a:pt x="31" y="2"/>
                </a:cubicBezTo>
                <a:cubicBezTo>
                  <a:pt x="30" y="2"/>
                  <a:pt x="29" y="2"/>
                  <a:pt x="29" y="2"/>
                </a:cubicBezTo>
                <a:cubicBezTo>
                  <a:pt x="27" y="2"/>
                  <a:pt x="27" y="1"/>
                  <a:pt x="25" y="1"/>
                </a:cubicBezTo>
                <a:cubicBezTo>
                  <a:pt x="22" y="1"/>
                  <a:pt x="21" y="2"/>
                  <a:pt x="20" y="3"/>
                </a:cubicBezTo>
                <a:cubicBezTo>
                  <a:pt x="17" y="4"/>
                  <a:pt x="16" y="7"/>
                  <a:pt x="14" y="8"/>
                </a:cubicBezTo>
                <a:cubicBezTo>
                  <a:pt x="14" y="8"/>
                  <a:pt x="13" y="8"/>
                  <a:pt x="13" y="9"/>
                </a:cubicBezTo>
                <a:cubicBezTo>
                  <a:pt x="8" y="9"/>
                  <a:pt x="8" y="9"/>
                  <a:pt x="8" y="9"/>
                </a:cubicBezTo>
                <a:cubicBezTo>
                  <a:pt x="7" y="9"/>
                  <a:pt x="7" y="10"/>
                  <a:pt x="7" y="10"/>
                </a:cubicBezTo>
                <a:cubicBezTo>
                  <a:pt x="7" y="10"/>
                  <a:pt x="7" y="11"/>
                  <a:pt x="7" y="11"/>
                </a:cubicBezTo>
                <a:cubicBezTo>
                  <a:pt x="6" y="12"/>
                  <a:pt x="5" y="12"/>
                  <a:pt x="5" y="13"/>
                </a:cubicBezTo>
                <a:cubicBezTo>
                  <a:pt x="4" y="13"/>
                  <a:pt x="3" y="14"/>
                  <a:pt x="1" y="14"/>
                </a:cubicBezTo>
                <a:cubicBezTo>
                  <a:pt x="1" y="14"/>
                  <a:pt x="0" y="14"/>
                  <a:pt x="0" y="14"/>
                </a:cubicBezTo>
                <a:cubicBezTo>
                  <a:pt x="0" y="15"/>
                  <a:pt x="0" y="15"/>
                  <a:pt x="0" y="15"/>
                </a:cubicBezTo>
                <a:cubicBezTo>
                  <a:pt x="0" y="16"/>
                  <a:pt x="1" y="16"/>
                  <a:pt x="2" y="17"/>
                </a:cubicBezTo>
                <a:cubicBezTo>
                  <a:pt x="1" y="19"/>
                  <a:pt x="3" y="19"/>
                  <a:pt x="3" y="21"/>
                </a:cubicBezTo>
                <a:cubicBezTo>
                  <a:pt x="3" y="23"/>
                  <a:pt x="5" y="22"/>
                  <a:pt x="5" y="24"/>
                </a:cubicBezTo>
                <a:cubicBezTo>
                  <a:pt x="7" y="24"/>
                  <a:pt x="6" y="27"/>
                  <a:pt x="8" y="27"/>
                </a:cubicBezTo>
                <a:cubicBezTo>
                  <a:pt x="8" y="29"/>
                  <a:pt x="6" y="30"/>
                  <a:pt x="7" y="32"/>
                </a:cubicBezTo>
                <a:cubicBezTo>
                  <a:pt x="7" y="33"/>
                  <a:pt x="8" y="34"/>
                  <a:pt x="9" y="34"/>
                </a:cubicBezTo>
                <a:cubicBezTo>
                  <a:pt x="11" y="34"/>
                  <a:pt x="12" y="34"/>
                  <a:pt x="12" y="36"/>
                </a:cubicBezTo>
                <a:cubicBezTo>
                  <a:pt x="12" y="36"/>
                  <a:pt x="12" y="36"/>
                  <a:pt x="12" y="36"/>
                </a:cubicBezTo>
                <a:cubicBezTo>
                  <a:pt x="13" y="37"/>
                  <a:pt x="12" y="38"/>
                  <a:pt x="11" y="38"/>
                </a:cubicBezTo>
                <a:cubicBezTo>
                  <a:pt x="10" y="38"/>
                  <a:pt x="10" y="38"/>
                  <a:pt x="10" y="38"/>
                </a:cubicBezTo>
                <a:cubicBezTo>
                  <a:pt x="10" y="37"/>
                  <a:pt x="10" y="37"/>
                  <a:pt x="10" y="37"/>
                </a:cubicBezTo>
                <a:cubicBezTo>
                  <a:pt x="10" y="37"/>
                  <a:pt x="9" y="37"/>
                  <a:pt x="9" y="37"/>
                </a:cubicBezTo>
                <a:cubicBezTo>
                  <a:pt x="9" y="38"/>
                  <a:pt x="8" y="39"/>
                  <a:pt x="9" y="40"/>
                </a:cubicBezTo>
                <a:cubicBezTo>
                  <a:pt x="9" y="41"/>
                  <a:pt x="9" y="41"/>
                  <a:pt x="9" y="43"/>
                </a:cubicBezTo>
                <a:cubicBezTo>
                  <a:pt x="10" y="43"/>
                  <a:pt x="10" y="43"/>
                  <a:pt x="10" y="43"/>
                </a:cubicBezTo>
                <a:cubicBezTo>
                  <a:pt x="11" y="43"/>
                  <a:pt x="11" y="43"/>
                  <a:pt x="11" y="44"/>
                </a:cubicBezTo>
                <a:cubicBezTo>
                  <a:pt x="12" y="44"/>
                  <a:pt x="12" y="44"/>
                  <a:pt x="12" y="45"/>
                </a:cubicBezTo>
                <a:cubicBezTo>
                  <a:pt x="16" y="45"/>
                  <a:pt x="16" y="45"/>
                  <a:pt x="16" y="45"/>
                </a:cubicBezTo>
                <a:cubicBezTo>
                  <a:pt x="16" y="46"/>
                  <a:pt x="18" y="45"/>
                  <a:pt x="18" y="46"/>
                </a:cubicBezTo>
                <a:cubicBezTo>
                  <a:pt x="19" y="47"/>
                  <a:pt x="19" y="47"/>
                  <a:pt x="20" y="47"/>
                </a:cubicBezTo>
                <a:cubicBezTo>
                  <a:pt x="22" y="47"/>
                  <a:pt x="22" y="47"/>
                  <a:pt x="22" y="47"/>
                </a:cubicBezTo>
                <a:cubicBezTo>
                  <a:pt x="22" y="49"/>
                  <a:pt x="22" y="50"/>
                  <a:pt x="23" y="50"/>
                </a:cubicBezTo>
                <a:cubicBezTo>
                  <a:pt x="23" y="51"/>
                  <a:pt x="22" y="51"/>
                  <a:pt x="21" y="51"/>
                </a:cubicBezTo>
                <a:cubicBezTo>
                  <a:pt x="21" y="51"/>
                  <a:pt x="21" y="52"/>
                  <a:pt x="20" y="52"/>
                </a:cubicBezTo>
                <a:cubicBezTo>
                  <a:pt x="17" y="52"/>
                  <a:pt x="17" y="52"/>
                  <a:pt x="17" y="52"/>
                </a:cubicBezTo>
                <a:cubicBezTo>
                  <a:pt x="17" y="51"/>
                  <a:pt x="16" y="52"/>
                  <a:pt x="15" y="52"/>
                </a:cubicBezTo>
                <a:cubicBezTo>
                  <a:pt x="14" y="52"/>
                  <a:pt x="14" y="53"/>
                  <a:pt x="13" y="53"/>
                </a:cubicBezTo>
                <a:cubicBezTo>
                  <a:pt x="12" y="55"/>
                  <a:pt x="15" y="55"/>
                  <a:pt x="15" y="57"/>
                </a:cubicBezTo>
                <a:cubicBezTo>
                  <a:pt x="16" y="58"/>
                  <a:pt x="16" y="62"/>
                  <a:pt x="15" y="63"/>
                </a:cubicBezTo>
                <a:cubicBezTo>
                  <a:pt x="14" y="66"/>
                  <a:pt x="19" y="63"/>
                  <a:pt x="20" y="63"/>
                </a:cubicBezTo>
                <a:cubicBezTo>
                  <a:pt x="23" y="63"/>
                  <a:pt x="23" y="63"/>
                  <a:pt x="23" y="63"/>
                </a:cubicBezTo>
                <a:cubicBezTo>
                  <a:pt x="23" y="64"/>
                  <a:pt x="23" y="65"/>
                  <a:pt x="23" y="66"/>
                </a:cubicBezTo>
                <a:cubicBezTo>
                  <a:pt x="23" y="69"/>
                  <a:pt x="22" y="72"/>
                  <a:pt x="23" y="75"/>
                </a:cubicBezTo>
                <a:cubicBezTo>
                  <a:pt x="22" y="76"/>
                  <a:pt x="21" y="77"/>
                  <a:pt x="21" y="78"/>
                </a:cubicBezTo>
                <a:cubicBezTo>
                  <a:pt x="20" y="78"/>
                  <a:pt x="20" y="80"/>
                  <a:pt x="20" y="81"/>
                </a:cubicBezTo>
                <a:cubicBezTo>
                  <a:pt x="19" y="82"/>
                  <a:pt x="19" y="83"/>
                  <a:pt x="19" y="84"/>
                </a:cubicBezTo>
                <a:cubicBezTo>
                  <a:pt x="19" y="84"/>
                  <a:pt x="18" y="85"/>
                  <a:pt x="18" y="86"/>
                </a:cubicBezTo>
                <a:cubicBezTo>
                  <a:pt x="18" y="86"/>
                  <a:pt x="18" y="87"/>
                  <a:pt x="18" y="88"/>
                </a:cubicBezTo>
                <a:cubicBezTo>
                  <a:pt x="19" y="88"/>
                  <a:pt x="19" y="89"/>
                  <a:pt x="20" y="90"/>
                </a:cubicBezTo>
                <a:cubicBezTo>
                  <a:pt x="22" y="89"/>
                  <a:pt x="22" y="91"/>
                  <a:pt x="24" y="91"/>
                </a:cubicBezTo>
                <a:cubicBezTo>
                  <a:pt x="24" y="91"/>
                  <a:pt x="25" y="92"/>
                  <a:pt x="26" y="92"/>
                </a:cubicBezTo>
                <a:cubicBezTo>
                  <a:pt x="26" y="93"/>
                  <a:pt x="26" y="94"/>
                  <a:pt x="27" y="94"/>
                </a:cubicBezTo>
                <a:cubicBezTo>
                  <a:pt x="28" y="94"/>
                  <a:pt x="28" y="96"/>
                  <a:pt x="28" y="96"/>
                </a:cubicBezTo>
                <a:cubicBezTo>
                  <a:pt x="30" y="96"/>
                  <a:pt x="31" y="97"/>
                  <a:pt x="32" y="98"/>
                </a:cubicBezTo>
                <a:cubicBezTo>
                  <a:pt x="33" y="99"/>
                  <a:pt x="35" y="99"/>
                  <a:pt x="35" y="101"/>
                </a:cubicBezTo>
                <a:cubicBezTo>
                  <a:pt x="36" y="103"/>
                  <a:pt x="34" y="102"/>
                  <a:pt x="34" y="104"/>
                </a:cubicBezTo>
                <a:cubicBezTo>
                  <a:pt x="32" y="104"/>
                  <a:pt x="33" y="106"/>
                  <a:pt x="32" y="106"/>
                </a:cubicBezTo>
                <a:cubicBezTo>
                  <a:pt x="27" y="106"/>
                  <a:pt x="27" y="106"/>
                  <a:pt x="27" y="106"/>
                </a:cubicBezTo>
                <a:cubicBezTo>
                  <a:pt x="26" y="107"/>
                  <a:pt x="25" y="104"/>
                  <a:pt x="25" y="106"/>
                </a:cubicBezTo>
                <a:cubicBezTo>
                  <a:pt x="26" y="106"/>
                  <a:pt x="25" y="107"/>
                  <a:pt x="26" y="107"/>
                </a:cubicBezTo>
                <a:cubicBezTo>
                  <a:pt x="26" y="108"/>
                  <a:pt x="27" y="108"/>
                  <a:pt x="27" y="109"/>
                </a:cubicBezTo>
                <a:cubicBezTo>
                  <a:pt x="27" y="111"/>
                  <a:pt x="30" y="110"/>
                  <a:pt x="30" y="112"/>
                </a:cubicBezTo>
                <a:cubicBezTo>
                  <a:pt x="31" y="113"/>
                  <a:pt x="32" y="113"/>
                  <a:pt x="32" y="115"/>
                </a:cubicBezTo>
                <a:cubicBezTo>
                  <a:pt x="33" y="116"/>
                  <a:pt x="32" y="117"/>
                  <a:pt x="32" y="118"/>
                </a:cubicBezTo>
                <a:cubicBezTo>
                  <a:pt x="32" y="120"/>
                  <a:pt x="33" y="121"/>
                  <a:pt x="33" y="122"/>
                </a:cubicBezTo>
                <a:cubicBezTo>
                  <a:pt x="31" y="123"/>
                  <a:pt x="29" y="123"/>
                  <a:pt x="28" y="124"/>
                </a:cubicBezTo>
                <a:cubicBezTo>
                  <a:pt x="25" y="124"/>
                  <a:pt x="25" y="124"/>
                  <a:pt x="25" y="124"/>
                </a:cubicBezTo>
                <a:cubicBezTo>
                  <a:pt x="25" y="125"/>
                  <a:pt x="24" y="125"/>
                  <a:pt x="24" y="125"/>
                </a:cubicBezTo>
                <a:cubicBezTo>
                  <a:pt x="25" y="126"/>
                  <a:pt x="26" y="126"/>
                  <a:pt x="27" y="127"/>
                </a:cubicBezTo>
                <a:cubicBezTo>
                  <a:pt x="27" y="128"/>
                  <a:pt x="27" y="127"/>
                  <a:pt x="28" y="128"/>
                </a:cubicBezTo>
                <a:cubicBezTo>
                  <a:pt x="29" y="128"/>
                  <a:pt x="29" y="128"/>
                  <a:pt x="30" y="128"/>
                </a:cubicBezTo>
                <a:cubicBezTo>
                  <a:pt x="31" y="130"/>
                  <a:pt x="32" y="131"/>
                  <a:pt x="34" y="132"/>
                </a:cubicBezTo>
                <a:cubicBezTo>
                  <a:pt x="34" y="133"/>
                  <a:pt x="34" y="134"/>
                  <a:pt x="34" y="135"/>
                </a:cubicBezTo>
                <a:cubicBezTo>
                  <a:pt x="36" y="134"/>
                  <a:pt x="37" y="136"/>
                  <a:pt x="37" y="136"/>
                </a:cubicBezTo>
                <a:cubicBezTo>
                  <a:pt x="37" y="136"/>
                  <a:pt x="38" y="136"/>
                  <a:pt x="38" y="136"/>
                </a:cubicBezTo>
                <a:cubicBezTo>
                  <a:pt x="38" y="136"/>
                  <a:pt x="39" y="136"/>
                  <a:pt x="39" y="137"/>
                </a:cubicBezTo>
                <a:cubicBezTo>
                  <a:pt x="41" y="136"/>
                  <a:pt x="41" y="137"/>
                  <a:pt x="42" y="137"/>
                </a:cubicBezTo>
                <a:cubicBezTo>
                  <a:pt x="42" y="139"/>
                  <a:pt x="44" y="138"/>
                  <a:pt x="44" y="139"/>
                </a:cubicBezTo>
                <a:cubicBezTo>
                  <a:pt x="47" y="139"/>
                  <a:pt x="47" y="140"/>
                  <a:pt x="49" y="140"/>
                </a:cubicBezTo>
                <a:cubicBezTo>
                  <a:pt x="49" y="141"/>
                  <a:pt x="51" y="142"/>
                  <a:pt x="50" y="144"/>
                </a:cubicBezTo>
                <a:cubicBezTo>
                  <a:pt x="51" y="144"/>
                  <a:pt x="52" y="143"/>
                  <a:pt x="52" y="144"/>
                </a:cubicBezTo>
                <a:cubicBezTo>
                  <a:pt x="53" y="144"/>
                  <a:pt x="53" y="144"/>
                  <a:pt x="53" y="145"/>
                </a:cubicBezTo>
                <a:cubicBezTo>
                  <a:pt x="54" y="145"/>
                  <a:pt x="55" y="145"/>
                  <a:pt x="55" y="146"/>
                </a:cubicBezTo>
                <a:cubicBezTo>
                  <a:pt x="58" y="146"/>
                  <a:pt x="59" y="147"/>
                  <a:pt x="62" y="147"/>
                </a:cubicBezTo>
                <a:cubicBezTo>
                  <a:pt x="62" y="148"/>
                  <a:pt x="63" y="148"/>
                  <a:pt x="63" y="150"/>
                </a:cubicBezTo>
                <a:cubicBezTo>
                  <a:pt x="63" y="150"/>
                  <a:pt x="63" y="150"/>
                  <a:pt x="64" y="150"/>
                </a:cubicBezTo>
                <a:cubicBezTo>
                  <a:pt x="64" y="150"/>
                  <a:pt x="64" y="150"/>
                  <a:pt x="64" y="150"/>
                </a:cubicBezTo>
                <a:cubicBezTo>
                  <a:pt x="64" y="149"/>
                  <a:pt x="64" y="149"/>
                  <a:pt x="64" y="149"/>
                </a:cubicBezTo>
                <a:cubicBezTo>
                  <a:pt x="65" y="149"/>
                  <a:pt x="65" y="149"/>
                  <a:pt x="65" y="149"/>
                </a:cubicBezTo>
                <a:cubicBezTo>
                  <a:pt x="65" y="149"/>
                  <a:pt x="65" y="149"/>
                  <a:pt x="65" y="149"/>
                </a:cubicBezTo>
                <a:cubicBezTo>
                  <a:pt x="65" y="149"/>
                  <a:pt x="65" y="149"/>
                  <a:pt x="65" y="149"/>
                </a:cubicBezTo>
                <a:cubicBezTo>
                  <a:pt x="65" y="149"/>
                  <a:pt x="65" y="149"/>
                  <a:pt x="65" y="148"/>
                </a:cubicBezTo>
                <a:cubicBezTo>
                  <a:pt x="65" y="148"/>
                  <a:pt x="65" y="148"/>
                  <a:pt x="66" y="148"/>
                </a:cubicBezTo>
                <a:cubicBezTo>
                  <a:pt x="66" y="148"/>
                  <a:pt x="66" y="148"/>
                  <a:pt x="66" y="148"/>
                </a:cubicBezTo>
                <a:cubicBezTo>
                  <a:pt x="66" y="146"/>
                  <a:pt x="65" y="145"/>
                  <a:pt x="66" y="144"/>
                </a:cubicBezTo>
                <a:cubicBezTo>
                  <a:pt x="66" y="144"/>
                  <a:pt x="67" y="144"/>
                  <a:pt x="67" y="144"/>
                </a:cubicBezTo>
                <a:cubicBezTo>
                  <a:pt x="67" y="144"/>
                  <a:pt x="67" y="144"/>
                  <a:pt x="67" y="143"/>
                </a:cubicBezTo>
                <a:cubicBezTo>
                  <a:pt x="67" y="143"/>
                  <a:pt x="67" y="143"/>
                  <a:pt x="67" y="143"/>
                </a:cubicBezTo>
                <a:cubicBezTo>
                  <a:pt x="68" y="143"/>
                  <a:pt x="68" y="143"/>
                  <a:pt x="69" y="143"/>
                </a:cubicBezTo>
                <a:cubicBezTo>
                  <a:pt x="69" y="143"/>
                  <a:pt x="69" y="143"/>
                  <a:pt x="69" y="143"/>
                </a:cubicBezTo>
                <a:cubicBezTo>
                  <a:pt x="69" y="142"/>
                  <a:pt x="69" y="142"/>
                  <a:pt x="69" y="142"/>
                </a:cubicBezTo>
                <a:cubicBezTo>
                  <a:pt x="69" y="142"/>
                  <a:pt x="70" y="142"/>
                  <a:pt x="70" y="142"/>
                </a:cubicBezTo>
                <a:cubicBezTo>
                  <a:pt x="70" y="142"/>
                  <a:pt x="70" y="142"/>
                  <a:pt x="70" y="142"/>
                </a:cubicBezTo>
                <a:cubicBezTo>
                  <a:pt x="70" y="142"/>
                  <a:pt x="70" y="142"/>
                  <a:pt x="70" y="142"/>
                </a:cubicBezTo>
                <a:cubicBezTo>
                  <a:pt x="70" y="142"/>
                  <a:pt x="70" y="142"/>
                  <a:pt x="70" y="142"/>
                </a:cubicBezTo>
                <a:cubicBezTo>
                  <a:pt x="70" y="142"/>
                  <a:pt x="70" y="142"/>
                  <a:pt x="70" y="142"/>
                </a:cubicBezTo>
                <a:cubicBezTo>
                  <a:pt x="70" y="142"/>
                  <a:pt x="70" y="142"/>
                  <a:pt x="70" y="142"/>
                </a:cubicBezTo>
                <a:cubicBezTo>
                  <a:pt x="70" y="141"/>
                  <a:pt x="70" y="141"/>
                  <a:pt x="70" y="141"/>
                </a:cubicBezTo>
                <a:cubicBezTo>
                  <a:pt x="70" y="141"/>
                  <a:pt x="70" y="141"/>
                  <a:pt x="70" y="141"/>
                </a:cubicBezTo>
                <a:cubicBezTo>
                  <a:pt x="71" y="141"/>
                  <a:pt x="71" y="141"/>
                  <a:pt x="71" y="141"/>
                </a:cubicBezTo>
                <a:cubicBezTo>
                  <a:pt x="71" y="141"/>
                  <a:pt x="71" y="141"/>
                  <a:pt x="71" y="141"/>
                </a:cubicBezTo>
                <a:cubicBezTo>
                  <a:pt x="71" y="140"/>
                  <a:pt x="71" y="140"/>
                  <a:pt x="71" y="140"/>
                </a:cubicBezTo>
                <a:cubicBezTo>
                  <a:pt x="71" y="138"/>
                  <a:pt x="69" y="139"/>
                  <a:pt x="69" y="137"/>
                </a:cubicBezTo>
                <a:cubicBezTo>
                  <a:pt x="69" y="137"/>
                  <a:pt x="69" y="137"/>
                  <a:pt x="69" y="137"/>
                </a:cubicBezTo>
                <a:cubicBezTo>
                  <a:pt x="69" y="137"/>
                  <a:pt x="69" y="137"/>
                  <a:pt x="69" y="137"/>
                </a:cubicBezTo>
                <a:cubicBezTo>
                  <a:pt x="69" y="137"/>
                  <a:pt x="69" y="137"/>
                  <a:pt x="69" y="137"/>
                </a:cubicBezTo>
                <a:cubicBezTo>
                  <a:pt x="69" y="137"/>
                  <a:pt x="69" y="137"/>
                  <a:pt x="69" y="137"/>
                </a:cubicBezTo>
                <a:cubicBezTo>
                  <a:pt x="69" y="137"/>
                  <a:pt x="69" y="137"/>
                  <a:pt x="69" y="137"/>
                </a:cubicBezTo>
                <a:cubicBezTo>
                  <a:pt x="69" y="137"/>
                  <a:pt x="69" y="137"/>
                  <a:pt x="69" y="137"/>
                </a:cubicBezTo>
                <a:cubicBezTo>
                  <a:pt x="69" y="137"/>
                  <a:pt x="69" y="137"/>
                  <a:pt x="69" y="137"/>
                </a:cubicBezTo>
                <a:cubicBezTo>
                  <a:pt x="69" y="137"/>
                  <a:pt x="69" y="137"/>
                  <a:pt x="69" y="137"/>
                </a:cubicBezTo>
                <a:cubicBezTo>
                  <a:pt x="68" y="137"/>
                  <a:pt x="68" y="137"/>
                  <a:pt x="68" y="137"/>
                </a:cubicBezTo>
                <a:cubicBezTo>
                  <a:pt x="68" y="137"/>
                  <a:pt x="68" y="137"/>
                  <a:pt x="68" y="137"/>
                </a:cubicBezTo>
                <a:cubicBezTo>
                  <a:pt x="68" y="137"/>
                  <a:pt x="68" y="137"/>
                  <a:pt x="68" y="137"/>
                </a:cubicBezTo>
                <a:cubicBezTo>
                  <a:pt x="68" y="137"/>
                  <a:pt x="68" y="136"/>
                  <a:pt x="68" y="136"/>
                </a:cubicBezTo>
                <a:cubicBezTo>
                  <a:pt x="68" y="136"/>
                  <a:pt x="68" y="136"/>
                  <a:pt x="68" y="136"/>
                </a:cubicBezTo>
                <a:cubicBezTo>
                  <a:pt x="68" y="136"/>
                  <a:pt x="68" y="136"/>
                  <a:pt x="68" y="136"/>
                </a:cubicBezTo>
                <a:cubicBezTo>
                  <a:pt x="68" y="136"/>
                  <a:pt x="68" y="136"/>
                  <a:pt x="68" y="136"/>
                </a:cubicBezTo>
                <a:cubicBezTo>
                  <a:pt x="68" y="136"/>
                  <a:pt x="68" y="136"/>
                  <a:pt x="68" y="136"/>
                </a:cubicBezTo>
                <a:cubicBezTo>
                  <a:pt x="68" y="136"/>
                  <a:pt x="68" y="136"/>
                  <a:pt x="68" y="136"/>
                </a:cubicBezTo>
                <a:cubicBezTo>
                  <a:pt x="68" y="136"/>
                  <a:pt x="68" y="136"/>
                  <a:pt x="68" y="136"/>
                </a:cubicBezTo>
                <a:cubicBezTo>
                  <a:pt x="68" y="135"/>
                  <a:pt x="69" y="135"/>
                  <a:pt x="69" y="135"/>
                </a:cubicBezTo>
                <a:cubicBezTo>
                  <a:pt x="69" y="135"/>
                  <a:pt x="69" y="135"/>
                  <a:pt x="69" y="135"/>
                </a:cubicBezTo>
                <a:cubicBezTo>
                  <a:pt x="69" y="135"/>
                  <a:pt x="69" y="135"/>
                  <a:pt x="69" y="135"/>
                </a:cubicBezTo>
                <a:cubicBezTo>
                  <a:pt x="69" y="135"/>
                  <a:pt x="69" y="135"/>
                  <a:pt x="69" y="135"/>
                </a:cubicBezTo>
                <a:cubicBezTo>
                  <a:pt x="69" y="135"/>
                  <a:pt x="69" y="134"/>
                  <a:pt x="69" y="134"/>
                </a:cubicBezTo>
                <a:cubicBezTo>
                  <a:pt x="69" y="134"/>
                  <a:pt x="69" y="134"/>
                  <a:pt x="69" y="134"/>
                </a:cubicBezTo>
                <a:cubicBezTo>
                  <a:pt x="69" y="134"/>
                  <a:pt x="69" y="134"/>
                  <a:pt x="69" y="134"/>
                </a:cubicBezTo>
                <a:cubicBezTo>
                  <a:pt x="69" y="134"/>
                  <a:pt x="69" y="134"/>
                  <a:pt x="69" y="134"/>
                </a:cubicBezTo>
                <a:cubicBezTo>
                  <a:pt x="69" y="134"/>
                  <a:pt x="69" y="134"/>
                  <a:pt x="69" y="134"/>
                </a:cubicBezTo>
                <a:cubicBezTo>
                  <a:pt x="69" y="134"/>
                  <a:pt x="69" y="134"/>
                  <a:pt x="69" y="134"/>
                </a:cubicBezTo>
                <a:cubicBezTo>
                  <a:pt x="69" y="133"/>
                  <a:pt x="69" y="133"/>
                  <a:pt x="69" y="133"/>
                </a:cubicBezTo>
                <a:cubicBezTo>
                  <a:pt x="70" y="132"/>
                  <a:pt x="71" y="133"/>
                  <a:pt x="73" y="132"/>
                </a:cubicBezTo>
                <a:cubicBezTo>
                  <a:pt x="73" y="132"/>
                  <a:pt x="73" y="132"/>
                  <a:pt x="73" y="132"/>
                </a:cubicBezTo>
                <a:cubicBezTo>
                  <a:pt x="73" y="132"/>
                  <a:pt x="74" y="131"/>
                  <a:pt x="74" y="131"/>
                </a:cubicBezTo>
                <a:cubicBezTo>
                  <a:pt x="74" y="131"/>
                  <a:pt x="74" y="131"/>
                  <a:pt x="75" y="131"/>
                </a:cubicBezTo>
                <a:cubicBezTo>
                  <a:pt x="75" y="131"/>
                  <a:pt x="75" y="131"/>
                  <a:pt x="75" y="131"/>
                </a:cubicBezTo>
                <a:cubicBezTo>
                  <a:pt x="75" y="131"/>
                  <a:pt x="75" y="131"/>
                  <a:pt x="75" y="131"/>
                </a:cubicBezTo>
                <a:cubicBezTo>
                  <a:pt x="75" y="131"/>
                  <a:pt x="75" y="131"/>
                  <a:pt x="75" y="131"/>
                </a:cubicBezTo>
                <a:cubicBezTo>
                  <a:pt x="75" y="131"/>
                  <a:pt x="75" y="131"/>
                  <a:pt x="75" y="131"/>
                </a:cubicBezTo>
                <a:cubicBezTo>
                  <a:pt x="75" y="131"/>
                  <a:pt x="75" y="131"/>
                  <a:pt x="75" y="131"/>
                </a:cubicBezTo>
                <a:cubicBezTo>
                  <a:pt x="75" y="131"/>
                  <a:pt x="75" y="131"/>
                  <a:pt x="75" y="131"/>
                </a:cubicBezTo>
                <a:cubicBezTo>
                  <a:pt x="75" y="131"/>
                  <a:pt x="75" y="131"/>
                  <a:pt x="76" y="131"/>
                </a:cubicBezTo>
                <a:cubicBezTo>
                  <a:pt x="76" y="131"/>
                  <a:pt x="76" y="131"/>
                  <a:pt x="76" y="131"/>
                </a:cubicBezTo>
                <a:cubicBezTo>
                  <a:pt x="76" y="131"/>
                  <a:pt x="76" y="131"/>
                  <a:pt x="76" y="131"/>
                </a:cubicBezTo>
                <a:cubicBezTo>
                  <a:pt x="76" y="132"/>
                  <a:pt x="76" y="132"/>
                  <a:pt x="76" y="132"/>
                </a:cubicBezTo>
                <a:cubicBezTo>
                  <a:pt x="78" y="131"/>
                  <a:pt x="78" y="133"/>
                  <a:pt x="78" y="135"/>
                </a:cubicBezTo>
                <a:cubicBezTo>
                  <a:pt x="80" y="135"/>
                  <a:pt x="80" y="135"/>
                  <a:pt x="80" y="135"/>
                </a:cubicBezTo>
                <a:cubicBezTo>
                  <a:pt x="80" y="135"/>
                  <a:pt x="80" y="135"/>
                  <a:pt x="80" y="136"/>
                </a:cubicBezTo>
                <a:cubicBezTo>
                  <a:pt x="83" y="136"/>
                  <a:pt x="83" y="136"/>
                  <a:pt x="83" y="136"/>
                </a:cubicBezTo>
                <a:cubicBezTo>
                  <a:pt x="83" y="136"/>
                  <a:pt x="83" y="136"/>
                  <a:pt x="83" y="136"/>
                </a:cubicBezTo>
                <a:cubicBezTo>
                  <a:pt x="85" y="136"/>
                  <a:pt x="85" y="136"/>
                  <a:pt x="87" y="136"/>
                </a:cubicBezTo>
                <a:cubicBezTo>
                  <a:pt x="87" y="136"/>
                  <a:pt x="87" y="136"/>
                  <a:pt x="87" y="136"/>
                </a:cubicBezTo>
                <a:cubicBezTo>
                  <a:pt x="88" y="136"/>
                  <a:pt x="88" y="136"/>
                  <a:pt x="89" y="137"/>
                </a:cubicBezTo>
                <a:cubicBezTo>
                  <a:pt x="89" y="137"/>
                  <a:pt x="89" y="137"/>
                  <a:pt x="89" y="137"/>
                </a:cubicBezTo>
                <a:cubicBezTo>
                  <a:pt x="89" y="137"/>
                  <a:pt x="89" y="137"/>
                  <a:pt x="89" y="137"/>
                </a:cubicBezTo>
                <a:cubicBezTo>
                  <a:pt x="89" y="137"/>
                  <a:pt x="89" y="137"/>
                  <a:pt x="89" y="137"/>
                </a:cubicBezTo>
                <a:cubicBezTo>
                  <a:pt x="89" y="137"/>
                  <a:pt x="89" y="137"/>
                  <a:pt x="89" y="137"/>
                </a:cubicBezTo>
                <a:cubicBezTo>
                  <a:pt x="90" y="137"/>
                  <a:pt x="88" y="139"/>
                  <a:pt x="90" y="140"/>
                </a:cubicBezTo>
                <a:cubicBezTo>
                  <a:pt x="90" y="140"/>
                  <a:pt x="90" y="140"/>
                  <a:pt x="90" y="140"/>
                </a:cubicBezTo>
                <a:cubicBezTo>
                  <a:pt x="90" y="140"/>
                  <a:pt x="90" y="140"/>
                  <a:pt x="90" y="140"/>
                </a:cubicBezTo>
                <a:cubicBezTo>
                  <a:pt x="90" y="140"/>
                  <a:pt x="90" y="140"/>
                  <a:pt x="90" y="140"/>
                </a:cubicBezTo>
                <a:cubicBezTo>
                  <a:pt x="90" y="140"/>
                  <a:pt x="90" y="140"/>
                  <a:pt x="90" y="140"/>
                </a:cubicBezTo>
                <a:cubicBezTo>
                  <a:pt x="90" y="140"/>
                  <a:pt x="91" y="140"/>
                  <a:pt x="91" y="140"/>
                </a:cubicBezTo>
                <a:cubicBezTo>
                  <a:pt x="91" y="140"/>
                  <a:pt x="91" y="140"/>
                  <a:pt x="91" y="140"/>
                </a:cubicBezTo>
                <a:cubicBezTo>
                  <a:pt x="91" y="141"/>
                  <a:pt x="91" y="141"/>
                  <a:pt x="91" y="141"/>
                </a:cubicBezTo>
                <a:cubicBezTo>
                  <a:pt x="91" y="141"/>
                  <a:pt x="91" y="141"/>
                  <a:pt x="91" y="141"/>
                </a:cubicBezTo>
                <a:cubicBezTo>
                  <a:pt x="91" y="141"/>
                  <a:pt x="91" y="141"/>
                  <a:pt x="91" y="141"/>
                </a:cubicBezTo>
                <a:cubicBezTo>
                  <a:pt x="91" y="141"/>
                  <a:pt x="91" y="141"/>
                  <a:pt x="91" y="141"/>
                </a:cubicBezTo>
                <a:cubicBezTo>
                  <a:pt x="91" y="141"/>
                  <a:pt x="91" y="141"/>
                  <a:pt x="92" y="141"/>
                </a:cubicBezTo>
                <a:cubicBezTo>
                  <a:pt x="92" y="141"/>
                  <a:pt x="92" y="141"/>
                  <a:pt x="92" y="141"/>
                </a:cubicBezTo>
                <a:cubicBezTo>
                  <a:pt x="92" y="141"/>
                  <a:pt x="92" y="141"/>
                  <a:pt x="92" y="141"/>
                </a:cubicBezTo>
                <a:cubicBezTo>
                  <a:pt x="92" y="141"/>
                  <a:pt x="92" y="141"/>
                  <a:pt x="92" y="141"/>
                </a:cubicBezTo>
                <a:cubicBezTo>
                  <a:pt x="92" y="141"/>
                  <a:pt x="92" y="141"/>
                  <a:pt x="92" y="141"/>
                </a:cubicBezTo>
                <a:cubicBezTo>
                  <a:pt x="93" y="142"/>
                  <a:pt x="93" y="142"/>
                  <a:pt x="93" y="141"/>
                </a:cubicBezTo>
                <a:cubicBezTo>
                  <a:pt x="93" y="143"/>
                  <a:pt x="95" y="143"/>
                  <a:pt x="96" y="145"/>
                </a:cubicBezTo>
                <a:cubicBezTo>
                  <a:pt x="97" y="145"/>
                  <a:pt x="98" y="145"/>
                  <a:pt x="98" y="146"/>
                </a:cubicBezTo>
                <a:cubicBezTo>
                  <a:pt x="98" y="146"/>
                  <a:pt x="98" y="146"/>
                  <a:pt x="98" y="146"/>
                </a:cubicBezTo>
                <a:cubicBezTo>
                  <a:pt x="99" y="146"/>
                  <a:pt x="99" y="148"/>
                  <a:pt x="98" y="148"/>
                </a:cubicBezTo>
                <a:cubicBezTo>
                  <a:pt x="99" y="149"/>
                  <a:pt x="99" y="149"/>
                  <a:pt x="99" y="150"/>
                </a:cubicBezTo>
                <a:cubicBezTo>
                  <a:pt x="100" y="150"/>
                  <a:pt x="101" y="152"/>
                  <a:pt x="103" y="152"/>
                </a:cubicBezTo>
                <a:cubicBezTo>
                  <a:pt x="103" y="152"/>
                  <a:pt x="104" y="152"/>
                  <a:pt x="104" y="153"/>
                </a:cubicBezTo>
                <a:cubicBezTo>
                  <a:pt x="110" y="153"/>
                  <a:pt x="110" y="153"/>
                  <a:pt x="110" y="153"/>
                </a:cubicBezTo>
                <a:cubicBezTo>
                  <a:pt x="110" y="154"/>
                  <a:pt x="112" y="153"/>
                  <a:pt x="112" y="154"/>
                </a:cubicBezTo>
                <a:cubicBezTo>
                  <a:pt x="111" y="155"/>
                  <a:pt x="113" y="158"/>
                  <a:pt x="111" y="157"/>
                </a:cubicBezTo>
                <a:cubicBezTo>
                  <a:pt x="111" y="158"/>
                  <a:pt x="110" y="158"/>
                  <a:pt x="110" y="159"/>
                </a:cubicBezTo>
                <a:cubicBezTo>
                  <a:pt x="109" y="159"/>
                  <a:pt x="110" y="160"/>
                  <a:pt x="109" y="160"/>
                </a:cubicBezTo>
                <a:cubicBezTo>
                  <a:pt x="109" y="163"/>
                  <a:pt x="108" y="164"/>
                  <a:pt x="108" y="166"/>
                </a:cubicBezTo>
                <a:cubicBezTo>
                  <a:pt x="107" y="166"/>
                  <a:pt x="108" y="167"/>
                  <a:pt x="107" y="167"/>
                </a:cubicBezTo>
                <a:cubicBezTo>
                  <a:pt x="107" y="168"/>
                  <a:pt x="106" y="168"/>
                  <a:pt x="105" y="169"/>
                </a:cubicBezTo>
                <a:cubicBezTo>
                  <a:pt x="106" y="169"/>
                  <a:pt x="106" y="170"/>
                  <a:pt x="106" y="171"/>
                </a:cubicBezTo>
                <a:cubicBezTo>
                  <a:pt x="107" y="171"/>
                  <a:pt x="107" y="171"/>
                  <a:pt x="107" y="171"/>
                </a:cubicBezTo>
                <a:cubicBezTo>
                  <a:pt x="107" y="172"/>
                  <a:pt x="107" y="172"/>
                  <a:pt x="107" y="172"/>
                </a:cubicBezTo>
                <a:cubicBezTo>
                  <a:pt x="108" y="172"/>
                  <a:pt x="108" y="172"/>
                  <a:pt x="108" y="172"/>
                </a:cubicBezTo>
                <a:cubicBezTo>
                  <a:pt x="108" y="172"/>
                  <a:pt x="108" y="171"/>
                  <a:pt x="109" y="171"/>
                </a:cubicBezTo>
                <a:cubicBezTo>
                  <a:pt x="109" y="171"/>
                  <a:pt x="110" y="170"/>
                  <a:pt x="110" y="170"/>
                </a:cubicBezTo>
                <a:cubicBezTo>
                  <a:pt x="110" y="169"/>
                  <a:pt x="111" y="169"/>
                  <a:pt x="112" y="169"/>
                </a:cubicBezTo>
                <a:cubicBezTo>
                  <a:pt x="112" y="169"/>
                  <a:pt x="112" y="168"/>
                  <a:pt x="113" y="168"/>
                </a:cubicBezTo>
                <a:cubicBezTo>
                  <a:pt x="114" y="168"/>
                  <a:pt x="114" y="168"/>
                  <a:pt x="114" y="167"/>
                </a:cubicBezTo>
                <a:cubicBezTo>
                  <a:pt x="115" y="167"/>
                  <a:pt x="115" y="167"/>
                  <a:pt x="116" y="167"/>
                </a:cubicBezTo>
                <a:cubicBezTo>
                  <a:pt x="118" y="166"/>
                  <a:pt x="118" y="168"/>
                  <a:pt x="120" y="168"/>
                </a:cubicBezTo>
                <a:cubicBezTo>
                  <a:pt x="120" y="167"/>
                  <a:pt x="122" y="167"/>
                  <a:pt x="122" y="167"/>
                </a:cubicBezTo>
                <a:cubicBezTo>
                  <a:pt x="124" y="166"/>
                  <a:pt x="125" y="165"/>
                  <a:pt x="127" y="164"/>
                </a:cubicBezTo>
                <a:cubicBezTo>
                  <a:pt x="128" y="164"/>
                  <a:pt x="128" y="163"/>
                  <a:pt x="130" y="164"/>
                </a:cubicBezTo>
                <a:cubicBezTo>
                  <a:pt x="132" y="163"/>
                  <a:pt x="131" y="166"/>
                  <a:pt x="134" y="165"/>
                </a:cubicBezTo>
                <a:cubicBezTo>
                  <a:pt x="135" y="165"/>
                  <a:pt x="135" y="165"/>
                  <a:pt x="135" y="165"/>
                </a:cubicBezTo>
                <a:cubicBezTo>
                  <a:pt x="134" y="163"/>
                  <a:pt x="136" y="164"/>
                  <a:pt x="136" y="162"/>
                </a:cubicBezTo>
                <a:cubicBezTo>
                  <a:pt x="137" y="162"/>
                  <a:pt x="137" y="161"/>
                  <a:pt x="137" y="160"/>
                </a:cubicBezTo>
                <a:cubicBezTo>
                  <a:pt x="137" y="160"/>
                  <a:pt x="137" y="159"/>
                  <a:pt x="137" y="158"/>
                </a:cubicBezTo>
                <a:cubicBezTo>
                  <a:pt x="137" y="158"/>
                  <a:pt x="136" y="158"/>
                  <a:pt x="135" y="157"/>
                </a:cubicBezTo>
                <a:cubicBezTo>
                  <a:pt x="135" y="157"/>
                  <a:pt x="135" y="157"/>
                  <a:pt x="135" y="156"/>
                </a:cubicBezTo>
                <a:cubicBezTo>
                  <a:pt x="135" y="156"/>
                  <a:pt x="134" y="156"/>
                  <a:pt x="134" y="156"/>
                </a:cubicBezTo>
                <a:cubicBezTo>
                  <a:pt x="134" y="156"/>
                  <a:pt x="134" y="155"/>
                  <a:pt x="134" y="155"/>
                </a:cubicBezTo>
                <a:cubicBezTo>
                  <a:pt x="134" y="152"/>
                  <a:pt x="134" y="152"/>
                  <a:pt x="134" y="152"/>
                </a:cubicBezTo>
                <a:cubicBezTo>
                  <a:pt x="134" y="148"/>
                  <a:pt x="133" y="146"/>
                  <a:pt x="133" y="141"/>
                </a:cubicBezTo>
                <a:cubicBezTo>
                  <a:pt x="135" y="141"/>
                  <a:pt x="136" y="139"/>
                  <a:pt x="140" y="139"/>
                </a:cubicBezTo>
                <a:cubicBezTo>
                  <a:pt x="140" y="139"/>
                  <a:pt x="140" y="139"/>
                  <a:pt x="140" y="139"/>
                </a:cubicBezTo>
                <a:cubicBezTo>
                  <a:pt x="140" y="137"/>
                  <a:pt x="140" y="137"/>
                  <a:pt x="140" y="137"/>
                </a:cubicBezTo>
                <a:cubicBezTo>
                  <a:pt x="140" y="135"/>
                  <a:pt x="142" y="135"/>
                  <a:pt x="141" y="133"/>
                </a:cubicBezTo>
                <a:cubicBezTo>
                  <a:pt x="142" y="133"/>
                  <a:pt x="142" y="132"/>
                  <a:pt x="142" y="132"/>
                </a:cubicBezTo>
                <a:cubicBezTo>
                  <a:pt x="142" y="132"/>
                  <a:pt x="143" y="132"/>
                  <a:pt x="143" y="132"/>
                </a:cubicBezTo>
                <a:cubicBezTo>
                  <a:pt x="143" y="131"/>
                  <a:pt x="144" y="131"/>
                  <a:pt x="144" y="130"/>
                </a:cubicBezTo>
                <a:cubicBezTo>
                  <a:pt x="145" y="129"/>
                  <a:pt x="146" y="128"/>
                  <a:pt x="147" y="128"/>
                </a:cubicBezTo>
                <a:cubicBezTo>
                  <a:pt x="148" y="128"/>
                  <a:pt x="148" y="127"/>
                  <a:pt x="149" y="126"/>
                </a:cubicBezTo>
                <a:cubicBezTo>
                  <a:pt x="148" y="126"/>
                  <a:pt x="147" y="125"/>
                  <a:pt x="145" y="125"/>
                </a:cubicBezTo>
                <a:close/>
                <a:moveTo>
                  <a:pt x="85" y="61"/>
                </a:moveTo>
                <a:cubicBezTo>
                  <a:pt x="85" y="61"/>
                  <a:pt x="85" y="61"/>
                  <a:pt x="85" y="61"/>
                </a:cubicBezTo>
                <a:cubicBezTo>
                  <a:pt x="85" y="61"/>
                  <a:pt x="85" y="61"/>
                  <a:pt x="85" y="61"/>
                </a:cubicBezTo>
                <a:close/>
                <a:moveTo>
                  <a:pt x="85" y="61"/>
                </a:moveTo>
                <a:cubicBezTo>
                  <a:pt x="85" y="61"/>
                  <a:pt x="85" y="61"/>
                  <a:pt x="85" y="61"/>
                </a:cubicBezTo>
                <a:cubicBezTo>
                  <a:pt x="85" y="61"/>
                  <a:pt x="85" y="61"/>
                  <a:pt x="85" y="61"/>
                </a:cubicBezTo>
                <a:cubicBezTo>
                  <a:pt x="85" y="61"/>
                  <a:pt x="85" y="61"/>
                  <a:pt x="85" y="61"/>
                </a:cubicBezTo>
                <a:cubicBezTo>
                  <a:pt x="85" y="61"/>
                  <a:pt x="85" y="61"/>
                  <a:pt x="85" y="61"/>
                </a:cubicBezTo>
                <a:close/>
                <a:moveTo>
                  <a:pt x="85" y="61"/>
                </a:moveTo>
                <a:cubicBezTo>
                  <a:pt x="85" y="61"/>
                  <a:pt x="85" y="61"/>
                  <a:pt x="85" y="61"/>
                </a:cubicBezTo>
                <a:cubicBezTo>
                  <a:pt x="85" y="61"/>
                  <a:pt x="85" y="61"/>
                  <a:pt x="85" y="61"/>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8" name="Freeform 45"/>
          <p:cNvSpPr>
            <a:spLocks noEditPoints="1"/>
          </p:cNvSpPr>
          <p:nvPr/>
        </p:nvSpPr>
        <p:spPr bwMode="auto">
          <a:xfrm>
            <a:off x="8825204" y="4216703"/>
            <a:ext cx="1176338" cy="852488"/>
          </a:xfrm>
          <a:custGeom>
            <a:avLst/>
            <a:gdLst>
              <a:gd name="T0" fmla="*/ 298 w 304"/>
              <a:gd name="T1" fmla="*/ 114 h 220"/>
              <a:gd name="T2" fmla="*/ 275 w 304"/>
              <a:gd name="T3" fmla="*/ 121 h 220"/>
              <a:gd name="T4" fmla="*/ 275 w 304"/>
              <a:gd name="T5" fmla="*/ 123 h 220"/>
              <a:gd name="T6" fmla="*/ 273 w 304"/>
              <a:gd name="T7" fmla="*/ 125 h 220"/>
              <a:gd name="T8" fmla="*/ 265 w 304"/>
              <a:gd name="T9" fmla="*/ 123 h 220"/>
              <a:gd name="T10" fmla="*/ 255 w 304"/>
              <a:gd name="T11" fmla="*/ 117 h 220"/>
              <a:gd name="T12" fmla="*/ 247 w 304"/>
              <a:gd name="T13" fmla="*/ 110 h 220"/>
              <a:gd name="T14" fmla="*/ 243 w 304"/>
              <a:gd name="T15" fmla="*/ 91 h 220"/>
              <a:gd name="T16" fmla="*/ 245 w 304"/>
              <a:gd name="T17" fmla="*/ 68 h 220"/>
              <a:gd name="T18" fmla="*/ 245 w 304"/>
              <a:gd name="T19" fmla="*/ 66 h 220"/>
              <a:gd name="T20" fmla="*/ 245 w 304"/>
              <a:gd name="T21" fmla="*/ 64 h 220"/>
              <a:gd name="T22" fmla="*/ 240 w 304"/>
              <a:gd name="T23" fmla="*/ 57 h 220"/>
              <a:gd name="T24" fmla="*/ 227 w 304"/>
              <a:gd name="T25" fmla="*/ 44 h 220"/>
              <a:gd name="T26" fmla="*/ 226 w 304"/>
              <a:gd name="T27" fmla="*/ 42 h 220"/>
              <a:gd name="T28" fmla="*/ 224 w 304"/>
              <a:gd name="T29" fmla="*/ 40 h 220"/>
              <a:gd name="T30" fmla="*/ 220 w 304"/>
              <a:gd name="T31" fmla="*/ 37 h 220"/>
              <a:gd name="T32" fmla="*/ 216 w 304"/>
              <a:gd name="T33" fmla="*/ 33 h 220"/>
              <a:gd name="T34" fmla="*/ 200 w 304"/>
              <a:gd name="T35" fmla="*/ 12 h 220"/>
              <a:gd name="T36" fmla="*/ 194 w 304"/>
              <a:gd name="T37" fmla="*/ 6 h 220"/>
              <a:gd name="T38" fmla="*/ 187 w 304"/>
              <a:gd name="T39" fmla="*/ 1 h 220"/>
              <a:gd name="T40" fmla="*/ 182 w 304"/>
              <a:gd name="T41" fmla="*/ 3 h 220"/>
              <a:gd name="T42" fmla="*/ 166 w 304"/>
              <a:gd name="T43" fmla="*/ 19 h 220"/>
              <a:gd name="T44" fmla="*/ 157 w 304"/>
              <a:gd name="T45" fmla="*/ 22 h 220"/>
              <a:gd name="T46" fmla="*/ 149 w 304"/>
              <a:gd name="T47" fmla="*/ 25 h 220"/>
              <a:gd name="T48" fmla="*/ 141 w 304"/>
              <a:gd name="T49" fmla="*/ 31 h 220"/>
              <a:gd name="T50" fmla="*/ 132 w 304"/>
              <a:gd name="T51" fmla="*/ 31 h 220"/>
              <a:gd name="T52" fmla="*/ 131 w 304"/>
              <a:gd name="T53" fmla="*/ 31 h 220"/>
              <a:gd name="T54" fmla="*/ 130 w 304"/>
              <a:gd name="T55" fmla="*/ 29 h 220"/>
              <a:gd name="T56" fmla="*/ 128 w 304"/>
              <a:gd name="T57" fmla="*/ 29 h 220"/>
              <a:gd name="T58" fmla="*/ 123 w 304"/>
              <a:gd name="T59" fmla="*/ 26 h 220"/>
              <a:gd name="T60" fmla="*/ 115 w 304"/>
              <a:gd name="T61" fmla="*/ 25 h 220"/>
              <a:gd name="T62" fmla="*/ 90 w 304"/>
              <a:gd name="T63" fmla="*/ 27 h 220"/>
              <a:gd name="T64" fmla="*/ 76 w 304"/>
              <a:gd name="T65" fmla="*/ 29 h 220"/>
              <a:gd name="T66" fmla="*/ 53 w 304"/>
              <a:gd name="T67" fmla="*/ 44 h 220"/>
              <a:gd name="T68" fmla="*/ 44 w 304"/>
              <a:gd name="T69" fmla="*/ 65 h 220"/>
              <a:gd name="T70" fmla="*/ 39 w 304"/>
              <a:gd name="T71" fmla="*/ 86 h 220"/>
              <a:gd name="T72" fmla="*/ 31 w 304"/>
              <a:gd name="T73" fmla="*/ 100 h 220"/>
              <a:gd name="T74" fmla="*/ 22 w 304"/>
              <a:gd name="T75" fmla="*/ 117 h 220"/>
              <a:gd name="T76" fmla="*/ 1 w 304"/>
              <a:gd name="T77" fmla="*/ 128 h 220"/>
              <a:gd name="T78" fmla="*/ 19 w 304"/>
              <a:gd name="T79" fmla="*/ 150 h 220"/>
              <a:gd name="T80" fmla="*/ 45 w 304"/>
              <a:gd name="T81" fmla="*/ 164 h 220"/>
              <a:gd name="T82" fmla="*/ 45 w 304"/>
              <a:gd name="T83" fmla="*/ 183 h 220"/>
              <a:gd name="T84" fmla="*/ 63 w 304"/>
              <a:gd name="T85" fmla="*/ 187 h 220"/>
              <a:gd name="T86" fmla="*/ 67 w 304"/>
              <a:gd name="T87" fmla="*/ 191 h 220"/>
              <a:gd name="T88" fmla="*/ 88 w 304"/>
              <a:gd name="T89" fmla="*/ 188 h 220"/>
              <a:gd name="T90" fmla="*/ 87 w 304"/>
              <a:gd name="T91" fmla="*/ 199 h 220"/>
              <a:gd name="T92" fmla="*/ 97 w 304"/>
              <a:gd name="T93" fmla="*/ 217 h 220"/>
              <a:gd name="T94" fmla="*/ 124 w 304"/>
              <a:gd name="T95" fmla="*/ 217 h 220"/>
              <a:gd name="T96" fmla="*/ 157 w 304"/>
              <a:gd name="T97" fmla="*/ 215 h 220"/>
              <a:gd name="T98" fmla="*/ 177 w 304"/>
              <a:gd name="T99" fmla="*/ 215 h 220"/>
              <a:gd name="T100" fmla="*/ 187 w 304"/>
              <a:gd name="T101" fmla="*/ 210 h 220"/>
              <a:gd name="T102" fmla="*/ 197 w 304"/>
              <a:gd name="T103" fmla="*/ 198 h 220"/>
              <a:gd name="T104" fmla="*/ 205 w 304"/>
              <a:gd name="T105" fmla="*/ 193 h 220"/>
              <a:gd name="T106" fmla="*/ 235 w 304"/>
              <a:gd name="T107" fmla="*/ 183 h 220"/>
              <a:gd name="T108" fmla="*/ 258 w 304"/>
              <a:gd name="T109" fmla="*/ 185 h 220"/>
              <a:gd name="T110" fmla="*/ 281 w 304"/>
              <a:gd name="T111" fmla="*/ 191 h 220"/>
              <a:gd name="T112" fmla="*/ 279 w 304"/>
              <a:gd name="T113" fmla="*/ 168 h 220"/>
              <a:gd name="T114" fmla="*/ 286 w 304"/>
              <a:gd name="T115" fmla="*/ 146 h 220"/>
              <a:gd name="T116" fmla="*/ 296 w 304"/>
              <a:gd name="T117" fmla="*/ 139 h 220"/>
              <a:gd name="T118" fmla="*/ 303 w 304"/>
              <a:gd name="T119" fmla="*/ 131 h 220"/>
              <a:gd name="T120" fmla="*/ 205 w 304"/>
              <a:gd name="T121" fmla="*/ 180 h 220"/>
              <a:gd name="T122" fmla="*/ 280 w 304"/>
              <a:gd name="T123" fmla="*/ 153 h 220"/>
              <a:gd name="T124" fmla="*/ 283 w 304"/>
              <a:gd name="T125" fmla="*/ 14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4" h="220">
                <a:moveTo>
                  <a:pt x="304" y="123"/>
                </a:moveTo>
                <a:cubicBezTo>
                  <a:pt x="304" y="122"/>
                  <a:pt x="303" y="122"/>
                  <a:pt x="303" y="121"/>
                </a:cubicBezTo>
                <a:cubicBezTo>
                  <a:pt x="303" y="121"/>
                  <a:pt x="303" y="121"/>
                  <a:pt x="303" y="121"/>
                </a:cubicBezTo>
                <a:cubicBezTo>
                  <a:pt x="303" y="121"/>
                  <a:pt x="303" y="121"/>
                  <a:pt x="303" y="121"/>
                </a:cubicBezTo>
                <a:cubicBezTo>
                  <a:pt x="303" y="120"/>
                  <a:pt x="303" y="120"/>
                  <a:pt x="303" y="120"/>
                </a:cubicBezTo>
                <a:cubicBezTo>
                  <a:pt x="303" y="119"/>
                  <a:pt x="303" y="119"/>
                  <a:pt x="303" y="118"/>
                </a:cubicBezTo>
                <a:cubicBezTo>
                  <a:pt x="301" y="118"/>
                  <a:pt x="300" y="118"/>
                  <a:pt x="299" y="117"/>
                </a:cubicBezTo>
                <a:cubicBezTo>
                  <a:pt x="300" y="115"/>
                  <a:pt x="298" y="116"/>
                  <a:pt x="298" y="114"/>
                </a:cubicBezTo>
                <a:cubicBezTo>
                  <a:pt x="297" y="114"/>
                  <a:pt x="296" y="114"/>
                  <a:pt x="296" y="113"/>
                </a:cubicBezTo>
                <a:cubicBezTo>
                  <a:pt x="295" y="113"/>
                  <a:pt x="294" y="113"/>
                  <a:pt x="294" y="112"/>
                </a:cubicBezTo>
                <a:cubicBezTo>
                  <a:pt x="290" y="112"/>
                  <a:pt x="290" y="112"/>
                  <a:pt x="290" y="112"/>
                </a:cubicBezTo>
                <a:cubicBezTo>
                  <a:pt x="289" y="113"/>
                  <a:pt x="289" y="113"/>
                  <a:pt x="288" y="113"/>
                </a:cubicBezTo>
                <a:cubicBezTo>
                  <a:pt x="286" y="113"/>
                  <a:pt x="286" y="115"/>
                  <a:pt x="284" y="115"/>
                </a:cubicBezTo>
                <a:cubicBezTo>
                  <a:pt x="283" y="116"/>
                  <a:pt x="283" y="117"/>
                  <a:pt x="281" y="117"/>
                </a:cubicBezTo>
                <a:cubicBezTo>
                  <a:pt x="280" y="119"/>
                  <a:pt x="279" y="119"/>
                  <a:pt x="279" y="121"/>
                </a:cubicBezTo>
                <a:cubicBezTo>
                  <a:pt x="277" y="122"/>
                  <a:pt x="276" y="121"/>
                  <a:pt x="275" y="121"/>
                </a:cubicBezTo>
                <a:cubicBezTo>
                  <a:pt x="275" y="121"/>
                  <a:pt x="274" y="121"/>
                  <a:pt x="274" y="122"/>
                </a:cubicBezTo>
                <a:cubicBezTo>
                  <a:pt x="274" y="122"/>
                  <a:pt x="274" y="122"/>
                  <a:pt x="275" y="122"/>
                </a:cubicBezTo>
                <a:cubicBezTo>
                  <a:pt x="275" y="122"/>
                  <a:pt x="275" y="122"/>
                  <a:pt x="275" y="122"/>
                </a:cubicBezTo>
                <a:cubicBezTo>
                  <a:pt x="275" y="122"/>
                  <a:pt x="275" y="122"/>
                  <a:pt x="275" y="122"/>
                </a:cubicBezTo>
                <a:cubicBezTo>
                  <a:pt x="275" y="122"/>
                  <a:pt x="275" y="122"/>
                  <a:pt x="275" y="122"/>
                </a:cubicBezTo>
                <a:cubicBezTo>
                  <a:pt x="275" y="122"/>
                  <a:pt x="275" y="122"/>
                  <a:pt x="275" y="122"/>
                </a:cubicBezTo>
                <a:cubicBezTo>
                  <a:pt x="275" y="122"/>
                  <a:pt x="275" y="122"/>
                  <a:pt x="275" y="122"/>
                </a:cubicBezTo>
                <a:cubicBezTo>
                  <a:pt x="275" y="122"/>
                  <a:pt x="275" y="123"/>
                  <a:pt x="275" y="123"/>
                </a:cubicBezTo>
                <a:cubicBezTo>
                  <a:pt x="275" y="123"/>
                  <a:pt x="275" y="123"/>
                  <a:pt x="275" y="123"/>
                </a:cubicBezTo>
                <a:cubicBezTo>
                  <a:pt x="275" y="123"/>
                  <a:pt x="275" y="123"/>
                  <a:pt x="275" y="123"/>
                </a:cubicBezTo>
                <a:cubicBezTo>
                  <a:pt x="275" y="123"/>
                  <a:pt x="275" y="123"/>
                  <a:pt x="275" y="123"/>
                </a:cubicBezTo>
                <a:cubicBezTo>
                  <a:pt x="275" y="124"/>
                  <a:pt x="275" y="124"/>
                  <a:pt x="274" y="124"/>
                </a:cubicBezTo>
                <a:cubicBezTo>
                  <a:pt x="275" y="124"/>
                  <a:pt x="275" y="124"/>
                  <a:pt x="275" y="124"/>
                </a:cubicBezTo>
                <a:cubicBezTo>
                  <a:pt x="275" y="124"/>
                  <a:pt x="275" y="124"/>
                  <a:pt x="275" y="124"/>
                </a:cubicBezTo>
                <a:cubicBezTo>
                  <a:pt x="274" y="124"/>
                  <a:pt x="274" y="125"/>
                  <a:pt x="273" y="125"/>
                </a:cubicBezTo>
                <a:cubicBezTo>
                  <a:pt x="273" y="125"/>
                  <a:pt x="273" y="125"/>
                  <a:pt x="273" y="125"/>
                </a:cubicBezTo>
                <a:cubicBezTo>
                  <a:pt x="273" y="125"/>
                  <a:pt x="273" y="125"/>
                  <a:pt x="272" y="125"/>
                </a:cubicBezTo>
                <a:cubicBezTo>
                  <a:pt x="272" y="125"/>
                  <a:pt x="272" y="125"/>
                  <a:pt x="272" y="125"/>
                </a:cubicBezTo>
                <a:cubicBezTo>
                  <a:pt x="272" y="125"/>
                  <a:pt x="271" y="125"/>
                  <a:pt x="271" y="125"/>
                </a:cubicBezTo>
                <a:cubicBezTo>
                  <a:pt x="271" y="125"/>
                  <a:pt x="271" y="125"/>
                  <a:pt x="271" y="125"/>
                </a:cubicBezTo>
                <a:cubicBezTo>
                  <a:pt x="270" y="125"/>
                  <a:pt x="270" y="125"/>
                  <a:pt x="270" y="125"/>
                </a:cubicBezTo>
                <a:cubicBezTo>
                  <a:pt x="270" y="125"/>
                  <a:pt x="269" y="125"/>
                  <a:pt x="269" y="125"/>
                </a:cubicBezTo>
                <a:cubicBezTo>
                  <a:pt x="269" y="125"/>
                  <a:pt x="268" y="125"/>
                  <a:pt x="268" y="125"/>
                </a:cubicBezTo>
                <a:cubicBezTo>
                  <a:pt x="267" y="125"/>
                  <a:pt x="266" y="124"/>
                  <a:pt x="265" y="123"/>
                </a:cubicBezTo>
                <a:cubicBezTo>
                  <a:pt x="264" y="123"/>
                  <a:pt x="263" y="123"/>
                  <a:pt x="262" y="122"/>
                </a:cubicBezTo>
                <a:cubicBezTo>
                  <a:pt x="260" y="122"/>
                  <a:pt x="259" y="122"/>
                  <a:pt x="258" y="121"/>
                </a:cubicBezTo>
                <a:cubicBezTo>
                  <a:pt x="257" y="121"/>
                  <a:pt x="257" y="121"/>
                  <a:pt x="257" y="121"/>
                </a:cubicBezTo>
                <a:cubicBezTo>
                  <a:pt x="257" y="120"/>
                  <a:pt x="257" y="120"/>
                  <a:pt x="257" y="120"/>
                </a:cubicBezTo>
                <a:cubicBezTo>
                  <a:pt x="257" y="119"/>
                  <a:pt x="256" y="119"/>
                  <a:pt x="256" y="119"/>
                </a:cubicBezTo>
                <a:cubicBezTo>
                  <a:pt x="256" y="118"/>
                  <a:pt x="255" y="118"/>
                  <a:pt x="255" y="118"/>
                </a:cubicBezTo>
                <a:cubicBezTo>
                  <a:pt x="255" y="118"/>
                  <a:pt x="255" y="118"/>
                  <a:pt x="255" y="118"/>
                </a:cubicBezTo>
                <a:cubicBezTo>
                  <a:pt x="255" y="117"/>
                  <a:pt x="255" y="117"/>
                  <a:pt x="255" y="117"/>
                </a:cubicBezTo>
                <a:cubicBezTo>
                  <a:pt x="256" y="117"/>
                  <a:pt x="256" y="117"/>
                  <a:pt x="256" y="116"/>
                </a:cubicBezTo>
                <a:cubicBezTo>
                  <a:pt x="255" y="116"/>
                  <a:pt x="254" y="116"/>
                  <a:pt x="253" y="116"/>
                </a:cubicBezTo>
                <a:cubicBezTo>
                  <a:pt x="252" y="116"/>
                  <a:pt x="252" y="117"/>
                  <a:pt x="251" y="117"/>
                </a:cubicBezTo>
                <a:cubicBezTo>
                  <a:pt x="251" y="117"/>
                  <a:pt x="251" y="117"/>
                  <a:pt x="251" y="116"/>
                </a:cubicBezTo>
                <a:cubicBezTo>
                  <a:pt x="251" y="116"/>
                  <a:pt x="251" y="115"/>
                  <a:pt x="251" y="114"/>
                </a:cubicBezTo>
                <a:cubicBezTo>
                  <a:pt x="250" y="114"/>
                  <a:pt x="249" y="113"/>
                  <a:pt x="249" y="112"/>
                </a:cubicBezTo>
                <a:cubicBezTo>
                  <a:pt x="247" y="112"/>
                  <a:pt x="247" y="112"/>
                  <a:pt x="246" y="111"/>
                </a:cubicBezTo>
                <a:cubicBezTo>
                  <a:pt x="246" y="110"/>
                  <a:pt x="247" y="110"/>
                  <a:pt x="247" y="110"/>
                </a:cubicBezTo>
                <a:cubicBezTo>
                  <a:pt x="247" y="109"/>
                  <a:pt x="247" y="109"/>
                  <a:pt x="248" y="109"/>
                </a:cubicBezTo>
                <a:cubicBezTo>
                  <a:pt x="248" y="109"/>
                  <a:pt x="249" y="109"/>
                  <a:pt x="249" y="108"/>
                </a:cubicBezTo>
                <a:cubicBezTo>
                  <a:pt x="249" y="106"/>
                  <a:pt x="247" y="107"/>
                  <a:pt x="248" y="105"/>
                </a:cubicBezTo>
                <a:cubicBezTo>
                  <a:pt x="246" y="105"/>
                  <a:pt x="247" y="103"/>
                  <a:pt x="246" y="103"/>
                </a:cubicBezTo>
                <a:cubicBezTo>
                  <a:pt x="246" y="98"/>
                  <a:pt x="246" y="98"/>
                  <a:pt x="246" y="98"/>
                </a:cubicBezTo>
                <a:cubicBezTo>
                  <a:pt x="245" y="98"/>
                  <a:pt x="245" y="98"/>
                  <a:pt x="245" y="97"/>
                </a:cubicBezTo>
                <a:cubicBezTo>
                  <a:pt x="245" y="96"/>
                  <a:pt x="245" y="95"/>
                  <a:pt x="244" y="94"/>
                </a:cubicBezTo>
                <a:cubicBezTo>
                  <a:pt x="244" y="93"/>
                  <a:pt x="244" y="92"/>
                  <a:pt x="243" y="91"/>
                </a:cubicBezTo>
                <a:cubicBezTo>
                  <a:pt x="243" y="89"/>
                  <a:pt x="243" y="89"/>
                  <a:pt x="243" y="89"/>
                </a:cubicBezTo>
                <a:cubicBezTo>
                  <a:pt x="244" y="89"/>
                  <a:pt x="245" y="89"/>
                  <a:pt x="245" y="88"/>
                </a:cubicBezTo>
                <a:cubicBezTo>
                  <a:pt x="245" y="86"/>
                  <a:pt x="245" y="85"/>
                  <a:pt x="244" y="83"/>
                </a:cubicBezTo>
                <a:cubicBezTo>
                  <a:pt x="245" y="79"/>
                  <a:pt x="247" y="76"/>
                  <a:pt x="246" y="71"/>
                </a:cubicBezTo>
                <a:cubicBezTo>
                  <a:pt x="246" y="70"/>
                  <a:pt x="246" y="69"/>
                  <a:pt x="245" y="69"/>
                </a:cubicBezTo>
                <a:cubicBezTo>
                  <a:pt x="245" y="69"/>
                  <a:pt x="245" y="69"/>
                  <a:pt x="245" y="69"/>
                </a:cubicBezTo>
                <a:cubicBezTo>
                  <a:pt x="245" y="68"/>
                  <a:pt x="245" y="68"/>
                  <a:pt x="245" y="68"/>
                </a:cubicBezTo>
                <a:cubicBezTo>
                  <a:pt x="245" y="68"/>
                  <a:pt x="245" y="68"/>
                  <a:pt x="245" y="68"/>
                </a:cubicBezTo>
                <a:cubicBezTo>
                  <a:pt x="245" y="68"/>
                  <a:pt x="245" y="68"/>
                  <a:pt x="245" y="68"/>
                </a:cubicBezTo>
                <a:cubicBezTo>
                  <a:pt x="245" y="68"/>
                  <a:pt x="245" y="68"/>
                  <a:pt x="245" y="68"/>
                </a:cubicBezTo>
                <a:cubicBezTo>
                  <a:pt x="245" y="68"/>
                  <a:pt x="245" y="68"/>
                  <a:pt x="245" y="68"/>
                </a:cubicBezTo>
                <a:cubicBezTo>
                  <a:pt x="246" y="67"/>
                  <a:pt x="246" y="67"/>
                  <a:pt x="246" y="67"/>
                </a:cubicBezTo>
                <a:cubicBezTo>
                  <a:pt x="246" y="67"/>
                  <a:pt x="246" y="67"/>
                  <a:pt x="246" y="67"/>
                </a:cubicBezTo>
                <a:cubicBezTo>
                  <a:pt x="246" y="67"/>
                  <a:pt x="246" y="67"/>
                  <a:pt x="246" y="67"/>
                </a:cubicBezTo>
                <a:cubicBezTo>
                  <a:pt x="246" y="67"/>
                  <a:pt x="246" y="67"/>
                  <a:pt x="246" y="67"/>
                </a:cubicBezTo>
                <a:cubicBezTo>
                  <a:pt x="246" y="67"/>
                  <a:pt x="245" y="67"/>
                  <a:pt x="245" y="66"/>
                </a:cubicBezTo>
                <a:cubicBezTo>
                  <a:pt x="245" y="66"/>
                  <a:pt x="245" y="66"/>
                  <a:pt x="245" y="66"/>
                </a:cubicBezTo>
                <a:cubicBezTo>
                  <a:pt x="245" y="66"/>
                  <a:pt x="245" y="66"/>
                  <a:pt x="245" y="66"/>
                </a:cubicBezTo>
                <a:cubicBezTo>
                  <a:pt x="245" y="66"/>
                  <a:pt x="245" y="66"/>
                  <a:pt x="245" y="66"/>
                </a:cubicBezTo>
                <a:cubicBezTo>
                  <a:pt x="245" y="66"/>
                  <a:pt x="245" y="66"/>
                  <a:pt x="245" y="65"/>
                </a:cubicBezTo>
                <a:cubicBezTo>
                  <a:pt x="245" y="65"/>
                  <a:pt x="245" y="65"/>
                  <a:pt x="245" y="65"/>
                </a:cubicBezTo>
                <a:cubicBezTo>
                  <a:pt x="245" y="65"/>
                  <a:pt x="245" y="65"/>
                  <a:pt x="245" y="65"/>
                </a:cubicBezTo>
                <a:cubicBezTo>
                  <a:pt x="245" y="65"/>
                  <a:pt x="245" y="65"/>
                  <a:pt x="245" y="64"/>
                </a:cubicBezTo>
                <a:cubicBezTo>
                  <a:pt x="245" y="64"/>
                  <a:pt x="245" y="64"/>
                  <a:pt x="245" y="64"/>
                </a:cubicBezTo>
                <a:cubicBezTo>
                  <a:pt x="245" y="63"/>
                  <a:pt x="245" y="62"/>
                  <a:pt x="243" y="61"/>
                </a:cubicBezTo>
                <a:cubicBezTo>
                  <a:pt x="243" y="61"/>
                  <a:pt x="243" y="61"/>
                  <a:pt x="243" y="61"/>
                </a:cubicBezTo>
                <a:cubicBezTo>
                  <a:pt x="243" y="61"/>
                  <a:pt x="243" y="61"/>
                  <a:pt x="243" y="61"/>
                </a:cubicBezTo>
                <a:cubicBezTo>
                  <a:pt x="243" y="61"/>
                  <a:pt x="243" y="60"/>
                  <a:pt x="243" y="60"/>
                </a:cubicBezTo>
                <a:cubicBezTo>
                  <a:pt x="243" y="60"/>
                  <a:pt x="243" y="60"/>
                  <a:pt x="243" y="60"/>
                </a:cubicBezTo>
                <a:cubicBezTo>
                  <a:pt x="242" y="60"/>
                  <a:pt x="242" y="60"/>
                  <a:pt x="242" y="59"/>
                </a:cubicBezTo>
                <a:cubicBezTo>
                  <a:pt x="242" y="59"/>
                  <a:pt x="241" y="57"/>
                  <a:pt x="240" y="57"/>
                </a:cubicBezTo>
                <a:cubicBezTo>
                  <a:pt x="240" y="57"/>
                  <a:pt x="240" y="57"/>
                  <a:pt x="240" y="57"/>
                </a:cubicBezTo>
                <a:cubicBezTo>
                  <a:pt x="240" y="56"/>
                  <a:pt x="240" y="56"/>
                  <a:pt x="239" y="56"/>
                </a:cubicBezTo>
                <a:cubicBezTo>
                  <a:pt x="239" y="56"/>
                  <a:pt x="239" y="56"/>
                  <a:pt x="239" y="56"/>
                </a:cubicBezTo>
                <a:cubicBezTo>
                  <a:pt x="239" y="56"/>
                  <a:pt x="238" y="55"/>
                  <a:pt x="238" y="55"/>
                </a:cubicBezTo>
                <a:cubicBezTo>
                  <a:pt x="238" y="53"/>
                  <a:pt x="238" y="52"/>
                  <a:pt x="237" y="51"/>
                </a:cubicBezTo>
                <a:cubicBezTo>
                  <a:pt x="237" y="49"/>
                  <a:pt x="235" y="49"/>
                  <a:pt x="234" y="47"/>
                </a:cubicBezTo>
                <a:cubicBezTo>
                  <a:pt x="231" y="46"/>
                  <a:pt x="230" y="45"/>
                  <a:pt x="227" y="45"/>
                </a:cubicBezTo>
                <a:cubicBezTo>
                  <a:pt x="227" y="44"/>
                  <a:pt x="227" y="44"/>
                  <a:pt x="227" y="44"/>
                </a:cubicBezTo>
                <a:cubicBezTo>
                  <a:pt x="227" y="44"/>
                  <a:pt x="227" y="44"/>
                  <a:pt x="227" y="44"/>
                </a:cubicBezTo>
                <a:cubicBezTo>
                  <a:pt x="227" y="44"/>
                  <a:pt x="227" y="44"/>
                  <a:pt x="227" y="43"/>
                </a:cubicBezTo>
                <a:cubicBezTo>
                  <a:pt x="227" y="43"/>
                  <a:pt x="227" y="43"/>
                  <a:pt x="227" y="43"/>
                </a:cubicBezTo>
                <a:cubicBezTo>
                  <a:pt x="227" y="43"/>
                  <a:pt x="227" y="43"/>
                  <a:pt x="227" y="43"/>
                </a:cubicBezTo>
                <a:cubicBezTo>
                  <a:pt x="227" y="43"/>
                  <a:pt x="227" y="43"/>
                  <a:pt x="227" y="43"/>
                </a:cubicBezTo>
                <a:cubicBezTo>
                  <a:pt x="227" y="43"/>
                  <a:pt x="226" y="43"/>
                  <a:pt x="226" y="42"/>
                </a:cubicBezTo>
                <a:cubicBezTo>
                  <a:pt x="226" y="42"/>
                  <a:pt x="226" y="42"/>
                  <a:pt x="226" y="42"/>
                </a:cubicBezTo>
                <a:cubicBezTo>
                  <a:pt x="226" y="42"/>
                  <a:pt x="226" y="42"/>
                  <a:pt x="226" y="42"/>
                </a:cubicBezTo>
                <a:cubicBezTo>
                  <a:pt x="226" y="42"/>
                  <a:pt x="226" y="42"/>
                  <a:pt x="226" y="42"/>
                </a:cubicBezTo>
                <a:cubicBezTo>
                  <a:pt x="226" y="42"/>
                  <a:pt x="226" y="42"/>
                  <a:pt x="226" y="42"/>
                </a:cubicBezTo>
                <a:cubicBezTo>
                  <a:pt x="226" y="42"/>
                  <a:pt x="226" y="41"/>
                  <a:pt x="226" y="41"/>
                </a:cubicBezTo>
                <a:cubicBezTo>
                  <a:pt x="226" y="41"/>
                  <a:pt x="225" y="41"/>
                  <a:pt x="225" y="41"/>
                </a:cubicBezTo>
                <a:cubicBezTo>
                  <a:pt x="225" y="41"/>
                  <a:pt x="225" y="41"/>
                  <a:pt x="225" y="41"/>
                </a:cubicBezTo>
                <a:cubicBezTo>
                  <a:pt x="225" y="41"/>
                  <a:pt x="225" y="41"/>
                  <a:pt x="225" y="41"/>
                </a:cubicBezTo>
                <a:cubicBezTo>
                  <a:pt x="225" y="41"/>
                  <a:pt x="225" y="41"/>
                  <a:pt x="225" y="41"/>
                </a:cubicBezTo>
                <a:cubicBezTo>
                  <a:pt x="225" y="41"/>
                  <a:pt x="225" y="41"/>
                  <a:pt x="225" y="41"/>
                </a:cubicBezTo>
                <a:cubicBezTo>
                  <a:pt x="224" y="40"/>
                  <a:pt x="224" y="40"/>
                  <a:pt x="224" y="40"/>
                </a:cubicBezTo>
                <a:cubicBezTo>
                  <a:pt x="224" y="40"/>
                  <a:pt x="224" y="40"/>
                  <a:pt x="224" y="40"/>
                </a:cubicBezTo>
                <a:cubicBezTo>
                  <a:pt x="224" y="40"/>
                  <a:pt x="224" y="40"/>
                  <a:pt x="224" y="40"/>
                </a:cubicBezTo>
                <a:cubicBezTo>
                  <a:pt x="224" y="40"/>
                  <a:pt x="224" y="40"/>
                  <a:pt x="224" y="40"/>
                </a:cubicBezTo>
                <a:cubicBezTo>
                  <a:pt x="224" y="40"/>
                  <a:pt x="224" y="40"/>
                  <a:pt x="223" y="40"/>
                </a:cubicBezTo>
                <a:cubicBezTo>
                  <a:pt x="223" y="40"/>
                  <a:pt x="223" y="40"/>
                  <a:pt x="223" y="40"/>
                </a:cubicBezTo>
                <a:cubicBezTo>
                  <a:pt x="223" y="39"/>
                  <a:pt x="223" y="39"/>
                  <a:pt x="223" y="39"/>
                </a:cubicBezTo>
                <a:cubicBezTo>
                  <a:pt x="224" y="37"/>
                  <a:pt x="222" y="38"/>
                  <a:pt x="221" y="37"/>
                </a:cubicBezTo>
                <a:cubicBezTo>
                  <a:pt x="221" y="37"/>
                  <a:pt x="221" y="37"/>
                  <a:pt x="220" y="37"/>
                </a:cubicBezTo>
                <a:cubicBezTo>
                  <a:pt x="220" y="36"/>
                  <a:pt x="220" y="36"/>
                  <a:pt x="219" y="36"/>
                </a:cubicBezTo>
                <a:cubicBezTo>
                  <a:pt x="219" y="36"/>
                  <a:pt x="219" y="36"/>
                  <a:pt x="219" y="36"/>
                </a:cubicBezTo>
                <a:cubicBezTo>
                  <a:pt x="219" y="35"/>
                  <a:pt x="217" y="35"/>
                  <a:pt x="217" y="34"/>
                </a:cubicBezTo>
                <a:cubicBezTo>
                  <a:pt x="217" y="34"/>
                  <a:pt x="217" y="33"/>
                  <a:pt x="217" y="33"/>
                </a:cubicBezTo>
                <a:cubicBezTo>
                  <a:pt x="217" y="33"/>
                  <a:pt x="217" y="33"/>
                  <a:pt x="217" y="33"/>
                </a:cubicBezTo>
                <a:cubicBezTo>
                  <a:pt x="217" y="33"/>
                  <a:pt x="217" y="33"/>
                  <a:pt x="217" y="33"/>
                </a:cubicBezTo>
                <a:cubicBezTo>
                  <a:pt x="217" y="33"/>
                  <a:pt x="217" y="33"/>
                  <a:pt x="217" y="33"/>
                </a:cubicBezTo>
                <a:cubicBezTo>
                  <a:pt x="217" y="33"/>
                  <a:pt x="217" y="33"/>
                  <a:pt x="216" y="33"/>
                </a:cubicBezTo>
                <a:cubicBezTo>
                  <a:pt x="216" y="33"/>
                  <a:pt x="216" y="33"/>
                  <a:pt x="216" y="33"/>
                </a:cubicBezTo>
                <a:cubicBezTo>
                  <a:pt x="216" y="32"/>
                  <a:pt x="216" y="32"/>
                  <a:pt x="216" y="32"/>
                </a:cubicBezTo>
                <a:cubicBezTo>
                  <a:pt x="216" y="31"/>
                  <a:pt x="215" y="30"/>
                  <a:pt x="213" y="30"/>
                </a:cubicBezTo>
                <a:cubicBezTo>
                  <a:pt x="212" y="29"/>
                  <a:pt x="212" y="27"/>
                  <a:pt x="210" y="27"/>
                </a:cubicBezTo>
                <a:cubicBezTo>
                  <a:pt x="209" y="25"/>
                  <a:pt x="208" y="24"/>
                  <a:pt x="206" y="22"/>
                </a:cubicBezTo>
                <a:cubicBezTo>
                  <a:pt x="207" y="21"/>
                  <a:pt x="205" y="21"/>
                  <a:pt x="205" y="20"/>
                </a:cubicBezTo>
                <a:cubicBezTo>
                  <a:pt x="204" y="19"/>
                  <a:pt x="204" y="18"/>
                  <a:pt x="203" y="18"/>
                </a:cubicBezTo>
                <a:cubicBezTo>
                  <a:pt x="202" y="15"/>
                  <a:pt x="200" y="14"/>
                  <a:pt x="200" y="12"/>
                </a:cubicBezTo>
                <a:cubicBezTo>
                  <a:pt x="199" y="10"/>
                  <a:pt x="197" y="10"/>
                  <a:pt x="197" y="8"/>
                </a:cubicBezTo>
                <a:cubicBezTo>
                  <a:pt x="197" y="8"/>
                  <a:pt x="196" y="7"/>
                  <a:pt x="196" y="7"/>
                </a:cubicBezTo>
                <a:cubicBezTo>
                  <a:pt x="196" y="7"/>
                  <a:pt x="196" y="7"/>
                  <a:pt x="196" y="7"/>
                </a:cubicBezTo>
                <a:cubicBezTo>
                  <a:pt x="195" y="7"/>
                  <a:pt x="195" y="6"/>
                  <a:pt x="195" y="6"/>
                </a:cubicBezTo>
                <a:cubicBezTo>
                  <a:pt x="195" y="6"/>
                  <a:pt x="195" y="6"/>
                  <a:pt x="195" y="6"/>
                </a:cubicBezTo>
                <a:cubicBezTo>
                  <a:pt x="195" y="6"/>
                  <a:pt x="195" y="6"/>
                  <a:pt x="195" y="6"/>
                </a:cubicBezTo>
                <a:cubicBezTo>
                  <a:pt x="194" y="6"/>
                  <a:pt x="194" y="6"/>
                  <a:pt x="194" y="6"/>
                </a:cubicBezTo>
                <a:cubicBezTo>
                  <a:pt x="194" y="6"/>
                  <a:pt x="194" y="6"/>
                  <a:pt x="194" y="6"/>
                </a:cubicBezTo>
                <a:cubicBezTo>
                  <a:pt x="193" y="6"/>
                  <a:pt x="193" y="5"/>
                  <a:pt x="192" y="4"/>
                </a:cubicBezTo>
                <a:cubicBezTo>
                  <a:pt x="192" y="4"/>
                  <a:pt x="192" y="4"/>
                  <a:pt x="192" y="4"/>
                </a:cubicBezTo>
                <a:cubicBezTo>
                  <a:pt x="191" y="4"/>
                  <a:pt x="191" y="4"/>
                  <a:pt x="190" y="4"/>
                </a:cubicBezTo>
                <a:cubicBezTo>
                  <a:pt x="190" y="4"/>
                  <a:pt x="190" y="4"/>
                  <a:pt x="190" y="4"/>
                </a:cubicBezTo>
                <a:cubicBezTo>
                  <a:pt x="189" y="4"/>
                  <a:pt x="189" y="2"/>
                  <a:pt x="188" y="1"/>
                </a:cubicBezTo>
                <a:cubicBezTo>
                  <a:pt x="188" y="1"/>
                  <a:pt x="188" y="1"/>
                  <a:pt x="188" y="1"/>
                </a:cubicBezTo>
                <a:cubicBezTo>
                  <a:pt x="187" y="1"/>
                  <a:pt x="187" y="1"/>
                  <a:pt x="187" y="1"/>
                </a:cubicBezTo>
                <a:cubicBezTo>
                  <a:pt x="187" y="1"/>
                  <a:pt x="187" y="1"/>
                  <a:pt x="187" y="1"/>
                </a:cubicBezTo>
                <a:cubicBezTo>
                  <a:pt x="187" y="1"/>
                  <a:pt x="187" y="1"/>
                  <a:pt x="187" y="1"/>
                </a:cubicBezTo>
                <a:cubicBezTo>
                  <a:pt x="187" y="1"/>
                  <a:pt x="187" y="0"/>
                  <a:pt x="187" y="0"/>
                </a:cubicBezTo>
                <a:cubicBezTo>
                  <a:pt x="186" y="0"/>
                  <a:pt x="186" y="0"/>
                  <a:pt x="186" y="0"/>
                </a:cubicBezTo>
                <a:cubicBezTo>
                  <a:pt x="186" y="0"/>
                  <a:pt x="186" y="0"/>
                  <a:pt x="186" y="0"/>
                </a:cubicBezTo>
                <a:cubicBezTo>
                  <a:pt x="186" y="0"/>
                  <a:pt x="186" y="0"/>
                  <a:pt x="186" y="0"/>
                </a:cubicBezTo>
                <a:cubicBezTo>
                  <a:pt x="186" y="0"/>
                  <a:pt x="185" y="0"/>
                  <a:pt x="185" y="0"/>
                </a:cubicBezTo>
                <a:cubicBezTo>
                  <a:pt x="185" y="1"/>
                  <a:pt x="183" y="1"/>
                  <a:pt x="183" y="2"/>
                </a:cubicBezTo>
                <a:cubicBezTo>
                  <a:pt x="183" y="2"/>
                  <a:pt x="182" y="2"/>
                  <a:pt x="182" y="3"/>
                </a:cubicBezTo>
                <a:cubicBezTo>
                  <a:pt x="180" y="3"/>
                  <a:pt x="179" y="3"/>
                  <a:pt x="179" y="4"/>
                </a:cubicBezTo>
                <a:cubicBezTo>
                  <a:pt x="177" y="4"/>
                  <a:pt x="177" y="5"/>
                  <a:pt x="176" y="5"/>
                </a:cubicBezTo>
                <a:cubicBezTo>
                  <a:pt x="174" y="5"/>
                  <a:pt x="174" y="7"/>
                  <a:pt x="173" y="8"/>
                </a:cubicBezTo>
                <a:cubicBezTo>
                  <a:pt x="173" y="11"/>
                  <a:pt x="172" y="12"/>
                  <a:pt x="172" y="15"/>
                </a:cubicBezTo>
                <a:cubicBezTo>
                  <a:pt x="171" y="15"/>
                  <a:pt x="171" y="17"/>
                  <a:pt x="169" y="17"/>
                </a:cubicBezTo>
                <a:cubicBezTo>
                  <a:pt x="169" y="18"/>
                  <a:pt x="167" y="17"/>
                  <a:pt x="167" y="19"/>
                </a:cubicBezTo>
                <a:cubicBezTo>
                  <a:pt x="167" y="19"/>
                  <a:pt x="167" y="19"/>
                  <a:pt x="167" y="19"/>
                </a:cubicBezTo>
                <a:cubicBezTo>
                  <a:pt x="167" y="19"/>
                  <a:pt x="166" y="19"/>
                  <a:pt x="166" y="19"/>
                </a:cubicBezTo>
                <a:cubicBezTo>
                  <a:pt x="166" y="19"/>
                  <a:pt x="165" y="20"/>
                  <a:pt x="165" y="20"/>
                </a:cubicBezTo>
                <a:cubicBezTo>
                  <a:pt x="165" y="20"/>
                  <a:pt x="165" y="20"/>
                  <a:pt x="164" y="20"/>
                </a:cubicBezTo>
                <a:cubicBezTo>
                  <a:pt x="164" y="21"/>
                  <a:pt x="162" y="22"/>
                  <a:pt x="161" y="22"/>
                </a:cubicBezTo>
                <a:cubicBezTo>
                  <a:pt x="161" y="22"/>
                  <a:pt x="161" y="22"/>
                  <a:pt x="161" y="22"/>
                </a:cubicBezTo>
                <a:cubicBezTo>
                  <a:pt x="161" y="22"/>
                  <a:pt x="160" y="22"/>
                  <a:pt x="159" y="22"/>
                </a:cubicBezTo>
                <a:cubicBezTo>
                  <a:pt x="159" y="22"/>
                  <a:pt x="159" y="22"/>
                  <a:pt x="159" y="22"/>
                </a:cubicBezTo>
                <a:cubicBezTo>
                  <a:pt x="159" y="22"/>
                  <a:pt x="158" y="22"/>
                  <a:pt x="158" y="22"/>
                </a:cubicBezTo>
                <a:cubicBezTo>
                  <a:pt x="158" y="22"/>
                  <a:pt x="157" y="22"/>
                  <a:pt x="157" y="22"/>
                </a:cubicBezTo>
                <a:cubicBezTo>
                  <a:pt x="156" y="22"/>
                  <a:pt x="156" y="22"/>
                  <a:pt x="156" y="23"/>
                </a:cubicBezTo>
                <a:cubicBezTo>
                  <a:pt x="156" y="23"/>
                  <a:pt x="155" y="23"/>
                  <a:pt x="155" y="23"/>
                </a:cubicBezTo>
                <a:cubicBezTo>
                  <a:pt x="154" y="23"/>
                  <a:pt x="154" y="23"/>
                  <a:pt x="154" y="23"/>
                </a:cubicBezTo>
                <a:cubicBezTo>
                  <a:pt x="153" y="23"/>
                  <a:pt x="153" y="23"/>
                  <a:pt x="152" y="24"/>
                </a:cubicBezTo>
                <a:cubicBezTo>
                  <a:pt x="152" y="24"/>
                  <a:pt x="152" y="24"/>
                  <a:pt x="152" y="24"/>
                </a:cubicBezTo>
                <a:cubicBezTo>
                  <a:pt x="151" y="24"/>
                  <a:pt x="151" y="24"/>
                  <a:pt x="150" y="24"/>
                </a:cubicBezTo>
                <a:cubicBezTo>
                  <a:pt x="150" y="24"/>
                  <a:pt x="150" y="24"/>
                  <a:pt x="150" y="24"/>
                </a:cubicBezTo>
                <a:cubicBezTo>
                  <a:pt x="149" y="24"/>
                  <a:pt x="149" y="25"/>
                  <a:pt x="149" y="25"/>
                </a:cubicBezTo>
                <a:cubicBezTo>
                  <a:pt x="148" y="25"/>
                  <a:pt x="148" y="25"/>
                  <a:pt x="148" y="25"/>
                </a:cubicBezTo>
                <a:cubicBezTo>
                  <a:pt x="148" y="25"/>
                  <a:pt x="147" y="25"/>
                  <a:pt x="147" y="26"/>
                </a:cubicBezTo>
                <a:cubicBezTo>
                  <a:pt x="147" y="26"/>
                  <a:pt x="147" y="26"/>
                  <a:pt x="146" y="26"/>
                </a:cubicBezTo>
                <a:cubicBezTo>
                  <a:pt x="146" y="26"/>
                  <a:pt x="146" y="26"/>
                  <a:pt x="146" y="26"/>
                </a:cubicBezTo>
                <a:cubicBezTo>
                  <a:pt x="146" y="27"/>
                  <a:pt x="144" y="27"/>
                  <a:pt x="143" y="28"/>
                </a:cubicBezTo>
                <a:cubicBezTo>
                  <a:pt x="143" y="28"/>
                  <a:pt x="143" y="28"/>
                  <a:pt x="143" y="28"/>
                </a:cubicBezTo>
                <a:cubicBezTo>
                  <a:pt x="144" y="30"/>
                  <a:pt x="141" y="29"/>
                  <a:pt x="141" y="31"/>
                </a:cubicBezTo>
                <a:cubicBezTo>
                  <a:pt x="141" y="31"/>
                  <a:pt x="141" y="31"/>
                  <a:pt x="141" y="31"/>
                </a:cubicBezTo>
                <a:cubicBezTo>
                  <a:pt x="141" y="31"/>
                  <a:pt x="141" y="31"/>
                  <a:pt x="140" y="31"/>
                </a:cubicBezTo>
                <a:cubicBezTo>
                  <a:pt x="140" y="32"/>
                  <a:pt x="140" y="32"/>
                  <a:pt x="140" y="32"/>
                </a:cubicBezTo>
                <a:cubicBezTo>
                  <a:pt x="140" y="33"/>
                  <a:pt x="138" y="33"/>
                  <a:pt x="138" y="33"/>
                </a:cubicBezTo>
                <a:cubicBezTo>
                  <a:pt x="137" y="33"/>
                  <a:pt x="137" y="33"/>
                  <a:pt x="137" y="34"/>
                </a:cubicBezTo>
                <a:cubicBezTo>
                  <a:pt x="137" y="34"/>
                  <a:pt x="136" y="34"/>
                  <a:pt x="135" y="34"/>
                </a:cubicBezTo>
                <a:cubicBezTo>
                  <a:pt x="135" y="32"/>
                  <a:pt x="132" y="34"/>
                  <a:pt x="133" y="31"/>
                </a:cubicBezTo>
                <a:cubicBezTo>
                  <a:pt x="133" y="31"/>
                  <a:pt x="133" y="31"/>
                  <a:pt x="132" y="31"/>
                </a:cubicBezTo>
                <a:cubicBezTo>
                  <a:pt x="132" y="31"/>
                  <a:pt x="132" y="31"/>
                  <a:pt x="132" y="31"/>
                </a:cubicBezTo>
                <a:cubicBezTo>
                  <a:pt x="132" y="31"/>
                  <a:pt x="132" y="31"/>
                  <a:pt x="132" y="31"/>
                </a:cubicBezTo>
                <a:cubicBezTo>
                  <a:pt x="132" y="31"/>
                  <a:pt x="132" y="31"/>
                  <a:pt x="132" y="31"/>
                </a:cubicBezTo>
                <a:cubicBezTo>
                  <a:pt x="132" y="31"/>
                  <a:pt x="132" y="31"/>
                  <a:pt x="132" y="31"/>
                </a:cubicBezTo>
                <a:cubicBezTo>
                  <a:pt x="132" y="31"/>
                  <a:pt x="131" y="31"/>
                  <a:pt x="131" y="31"/>
                </a:cubicBezTo>
                <a:cubicBezTo>
                  <a:pt x="131" y="31"/>
                  <a:pt x="131" y="31"/>
                  <a:pt x="131" y="31"/>
                </a:cubicBezTo>
                <a:cubicBezTo>
                  <a:pt x="131" y="31"/>
                  <a:pt x="131" y="31"/>
                  <a:pt x="131" y="31"/>
                </a:cubicBezTo>
                <a:cubicBezTo>
                  <a:pt x="131" y="31"/>
                  <a:pt x="131" y="31"/>
                  <a:pt x="131" y="31"/>
                </a:cubicBezTo>
                <a:cubicBezTo>
                  <a:pt x="131" y="31"/>
                  <a:pt x="131" y="31"/>
                  <a:pt x="131" y="31"/>
                </a:cubicBezTo>
                <a:cubicBezTo>
                  <a:pt x="131" y="30"/>
                  <a:pt x="131" y="30"/>
                  <a:pt x="131" y="30"/>
                </a:cubicBezTo>
                <a:cubicBezTo>
                  <a:pt x="131" y="30"/>
                  <a:pt x="131" y="30"/>
                  <a:pt x="131" y="30"/>
                </a:cubicBezTo>
                <a:cubicBezTo>
                  <a:pt x="130" y="30"/>
                  <a:pt x="130" y="30"/>
                  <a:pt x="130" y="30"/>
                </a:cubicBezTo>
                <a:cubicBezTo>
                  <a:pt x="130" y="30"/>
                  <a:pt x="130" y="30"/>
                  <a:pt x="130" y="30"/>
                </a:cubicBezTo>
                <a:cubicBezTo>
                  <a:pt x="130" y="30"/>
                  <a:pt x="130" y="30"/>
                  <a:pt x="130" y="30"/>
                </a:cubicBezTo>
                <a:cubicBezTo>
                  <a:pt x="130" y="30"/>
                  <a:pt x="130" y="30"/>
                  <a:pt x="130" y="29"/>
                </a:cubicBezTo>
                <a:cubicBezTo>
                  <a:pt x="130" y="29"/>
                  <a:pt x="130" y="29"/>
                  <a:pt x="130" y="29"/>
                </a:cubicBezTo>
                <a:cubicBezTo>
                  <a:pt x="130" y="29"/>
                  <a:pt x="130" y="29"/>
                  <a:pt x="130" y="29"/>
                </a:cubicBezTo>
                <a:cubicBezTo>
                  <a:pt x="130" y="29"/>
                  <a:pt x="129" y="29"/>
                  <a:pt x="129" y="29"/>
                </a:cubicBezTo>
                <a:cubicBezTo>
                  <a:pt x="129" y="29"/>
                  <a:pt x="129" y="29"/>
                  <a:pt x="129" y="29"/>
                </a:cubicBezTo>
                <a:cubicBezTo>
                  <a:pt x="129" y="29"/>
                  <a:pt x="129" y="29"/>
                  <a:pt x="129" y="29"/>
                </a:cubicBezTo>
                <a:cubicBezTo>
                  <a:pt x="129" y="29"/>
                  <a:pt x="129" y="29"/>
                  <a:pt x="129" y="29"/>
                </a:cubicBezTo>
                <a:cubicBezTo>
                  <a:pt x="129" y="29"/>
                  <a:pt x="129" y="29"/>
                  <a:pt x="129" y="29"/>
                </a:cubicBezTo>
                <a:cubicBezTo>
                  <a:pt x="129" y="29"/>
                  <a:pt x="129" y="29"/>
                  <a:pt x="128" y="29"/>
                </a:cubicBezTo>
                <a:cubicBezTo>
                  <a:pt x="128" y="29"/>
                  <a:pt x="128" y="29"/>
                  <a:pt x="128" y="29"/>
                </a:cubicBezTo>
                <a:cubicBezTo>
                  <a:pt x="128" y="29"/>
                  <a:pt x="128" y="29"/>
                  <a:pt x="128" y="29"/>
                </a:cubicBezTo>
                <a:cubicBezTo>
                  <a:pt x="128" y="29"/>
                  <a:pt x="128" y="29"/>
                  <a:pt x="128" y="29"/>
                </a:cubicBezTo>
                <a:cubicBezTo>
                  <a:pt x="128" y="29"/>
                  <a:pt x="128" y="29"/>
                  <a:pt x="127" y="29"/>
                </a:cubicBezTo>
                <a:cubicBezTo>
                  <a:pt x="127" y="29"/>
                  <a:pt x="127" y="29"/>
                  <a:pt x="127" y="29"/>
                </a:cubicBezTo>
                <a:cubicBezTo>
                  <a:pt x="127" y="29"/>
                  <a:pt x="127" y="29"/>
                  <a:pt x="127" y="29"/>
                </a:cubicBezTo>
                <a:cubicBezTo>
                  <a:pt x="126" y="28"/>
                  <a:pt x="126" y="28"/>
                  <a:pt x="125" y="28"/>
                </a:cubicBezTo>
                <a:cubicBezTo>
                  <a:pt x="125" y="27"/>
                  <a:pt x="125" y="27"/>
                  <a:pt x="125" y="27"/>
                </a:cubicBezTo>
                <a:cubicBezTo>
                  <a:pt x="125" y="27"/>
                  <a:pt x="124" y="27"/>
                  <a:pt x="123" y="27"/>
                </a:cubicBezTo>
                <a:cubicBezTo>
                  <a:pt x="123" y="27"/>
                  <a:pt x="123" y="26"/>
                  <a:pt x="123" y="26"/>
                </a:cubicBezTo>
                <a:cubicBezTo>
                  <a:pt x="122" y="26"/>
                  <a:pt x="123" y="24"/>
                  <a:pt x="121" y="24"/>
                </a:cubicBezTo>
                <a:cubicBezTo>
                  <a:pt x="121" y="24"/>
                  <a:pt x="121" y="24"/>
                  <a:pt x="121" y="24"/>
                </a:cubicBezTo>
                <a:cubicBezTo>
                  <a:pt x="121" y="24"/>
                  <a:pt x="121" y="24"/>
                  <a:pt x="121" y="24"/>
                </a:cubicBezTo>
                <a:cubicBezTo>
                  <a:pt x="121" y="24"/>
                  <a:pt x="121" y="24"/>
                  <a:pt x="121" y="24"/>
                </a:cubicBezTo>
                <a:cubicBezTo>
                  <a:pt x="121" y="24"/>
                  <a:pt x="120" y="24"/>
                  <a:pt x="120" y="24"/>
                </a:cubicBezTo>
                <a:cubicBezTo>
                  <a:pt x="120" y="25"/>
                  <a:pt x="118" y="24"/>
                  <a:pt x="117" y="25"/>
                </a:cubicBezTo>
                <a:cubicBezTo>
                  <a:pt x="117" y="25"/>
                  <a:pt x="117" y="25"/>
                  <a:pt x="117" y="25"/>
                </a:cubicBezTo>
                <a:cubicBezTo>
                  <a:pt x="116" y="25"/>
                  <a:pt x="116" y="25"/>
                  <a:pt x="115" y="25"/>
                </a:cubicBezTo>
                <a:cubicBezTo>
                  <a:pt x="115" y="25"/>
                  <a:pt x="116" y="26"/>
                  <a:pt x="115" y="26"/>
                </a:cubicBezTo>
                <a:cubicBezTo>
                  <a:pt x="115" y="26"/>
                  <a:pt x="114" y="26"/>
                  <a:pt x="113" y="26"/>
                </a:cubicBezTo>
                <a:cubicBezTo>
                  <a:pt x="113" y="26"/>
                  <a:pt x="113" y="27"/>
                  <a:pt x="113" y="27"/>
                </a:cubicBezTo>
                <a:cubicBezTo>
                  <a:pt x="113" y="27"/>
                  <a:pt x="112" y="26"/>
                  <a:pt x="112" y="27"/>
                </a:cubicBezTo>
                <a:cubicBezTo>
                  <a:pt x="112" y="27"/>
                  <a:pt x="112" y="28"/>
                  <a:pt x="111" y="27"/>
                </a:cubicBezTo>
                <a:cubicBezTo>
                  <a:pt x="108" y="28"/>
                  <a:pt x="106" y="27"/>
                  <a:pt x="104" y="26"/>
                </a:cubicBezTo>
                <a:cubicBezTo>
                  <a:pt x="102" y="26"/>
                  <a:pt x="99" y="26"/>
                  <a:pt x="97" y="25"/>
                </a:cubicBezTo>
                <a:cubicBezTo>
                  <a:pt x="94" y="25"/>
                  <a:pt x="93" y="27"/>
                  <a:pt x="90" y="27"/>
                </a:cubicBezTo>
                <a:cubicBezTo>
                  <a:pt x="89" y="27"/>
                  <a:pt x="88" y="27"/>
                  <a:pt x="88" y="28"/>
                </a:cubicBezTo>
                <a:cubicBezTo>
                  <a:pt x="86" y="28"/>
                  <a:pt x="86" y="28"/>
                  <a:pt x="86" y="28"/>
                </a:cubicBezTo>
                <a:cubicBezTo>
                  <a:pt x="86" y="27"/>
                  <a:pt x="85" y="27"/>
                  <a:pt x="85" y="27"/>
                </a:cubicBezTo>
                <a:cubicBezTo>
                  <a:pt x="84" y="27"/>
                  <a:pt x="84" y="27"/>
                  <a:pt x="83" y="27"/>
                </a:cubicBezTo>
                <a:cubicBezTo>
                  <a:pt x="84" y="25"/>
                  <a:pt x="81" y="26"/>
                  <a:pt x="81" y="25"/>
                </a:cubicBezTo>
                <a:cubicBezTo>
                  <a:pt x="81" y="25"/>
                  <a:pt x="79" y="25"/>
                  <a:pt x="78" y="25"/>
                </a:cubicBezTo>
                <a:cubicBezTo>
                  <a:pt x="77" y="25"/>
                  <a:pt x="77" y="25"/>
                  <a:pt x="77" y="26"/>
                </a:cubicBezTo>
                <a:cubicBezTo>
                  <a:pt x="78" y="28"/>
                  <a:pt x="76" y="27"/>
                  <a:pt x="76" y="29"/>
                </a:cubicBezTo>
                <a:cubicBezTo>
                  <a:pt x="75" y="29"/>
                  <a:pt x="75" y="29"/>
                  <a:pt x="75" y="29"/>
                </a:cubicBezTo>
                <a:cubicBezTo>
                  <a:pt x="72" y="29"/>
                  <a:pt x="73" y="32"/>
                  <a:pt x="72" y="32"/>
                </a:cubicBezTo>
                <a:cubicBezTo>
                  <a:pt x="71" y="32"/>
                  <a:pt x="68" y="33"/>
                  <a:pt x="68" y="31"/>
                </a:cubicBezTo>
                <a:cubicBezTo>
                  <a:pt x="67" y="32"/>
                  <a:pt x="68" y="35"/>
                  <a:pt x="67" y="36"/>
                </a:cubicBezTo>
                <a:cubicBezTo>
                  <a:pt x="66" y="37"/>
                  <a:pt x="66" y="38"/>
                  <a:pt x="65" y="38"/>
                </a:cubicBezTo>
                <a:cubicBezTo>
                  <a:pt x="65" y="38"/>
                  <a:pt x="63" y="38"/>
                  <a:pt x="63" y="39"/>
                </a:cubicBezTo>
                <a:cubicBezTo>
                  <a:pt x="60" y="39"/>
                  <a:pt x="59" y="41"/>
                  <a:pt x="57" y="41"/>
                </a:cubicBezTo>
                <a:cubicBezTo>
                  <a:pt x="55" y="42"/>
                  <a:pt x="55" y="44"/>
                  <a:pt x="53" y="44"/>
                </a:cubicBezTo>
                <a:cubicBezTo>
                  <a:pt x="53" y="45"/>
                  <a:pt x="52" y="46"/>
                  <a:pt x="52" y="48"/>
                </a:cubicBezTo>
                <a:cubicBezTo>
                  <a:pt x="51" y="48"/>
                  <a:pt x="50" y="49"/>
                  <a:pt x="50" y="50"/>
                </a:cubicBezTo>
                <a:cubicBezTo>
                  <a:pt x="50" y="51"/>
                  <a:pt x="50" y="51"/>
                  <a:pt x="51" y="51"/>
                </a:cubicBezTo>
                <a:cubicBezTo>
                  <a:pt x="51" y="51"/>
                  <a:pt x="51" y="52"/>
                  <a:pt x="51" y="52"/>
                </a:cubicBezTo>
                <a:cubicBezTo>
                  <a:pt x="49" y="53"/>
                  <a:pt x="49" y="55"/>
                  <a:pt x="47" y="54"/>
                </a:cubicBezTo>
                <a:cubicBezTo>
                  <a:pt x="48" y="55"/>
                  <a:pt x="47" y="58"/>
                  <a:pt x="47" y="60"/>
                </a:cubicBezTo>
                <a:cubicBezTo>
                  <a:pt x="46" y="61"/>
                  <a:pt x="46" y="62"/>
                  <a:pt x="46" y="63"/>
                </a:cubicBezTo>
                <a:cubicBezTo>
                  <a:pt x="44" y="63"/>
                  <a:pt x="45" y="65"/>
                  <a:pt x="44" y="65"/>
                </a:cubicBezTo>
                <a:cubicBezTo>
                  <a:pt x="44" y="67"/>
                  <a:pt x="42" y="68"/>
                  <a:pt x="42" y="70"/>
                </a:cubicBezTo>
                <a:cubicBezTo>
                  <a:pt x="42" y="71"/>
                  <a:pt x="42" y="71"/>
                  <a:pt x="41" y="71"/>
                </a:cubicBezTo>
                <a:cubicBezTo>
                  <a:pt x="41" y="74"/>
                  <a:pt x="39" y="74"/>
                  <a:pt x="40" y="77"/>
                </a:cubicBezTo>
                <a:cubicBezTo>
                  <a:pt x="39" y="77"/>
                  <a:pt x="39" y="78"/>
                  <a:pt x="39" y="78"/>
                </a:cubicBezTo>
                <a:cubicBezTo>
                  <a:pt x="40" y="78"/>
                  <a:pt x="40" y="79"/>
                  <a:pt x="40" y="80"/>
                </a:cubicBezTo>
                <a:cubicBezTo>
                  <a:pt x="40" y="81"/>
                  <a:pt x="40" y="83"/>
                  <a:pt x="40" y="84"/>
                </a:cubicBezTo>
                <a:cubicBezTo>
                  <a:pt x="39" y="84"/>
                  <a:pt x="39" y="85"/>
                  <a:pt x="39" y="85"/>
                </a:cubicBezTo>
                <a:cubicBezTo>
                  <a:pt x="39" y="85"/>
                  <a:pt x="39" y="86"/>
                  <a:pt x="39" y="86"/>
                </a:cubicBezTo>
                <a:cubicBezTo>
                  <a:pt x="39" y="86"/>
                  <a:pt x="38" y="86"/>
                  <a:pt x="38" y="86"/>
                </a:cubicBezTo>
                <a:cubicBezTo>
                  <a:pt x="38" y="87"/>
                  <a:pt x="38" y="88"/>
                  <a:pt x="38" y="89"/>
                </a:cubicBezTo>
                <a:cubicBezTo>
                  <a:pt x="38" y="89"/>
                  <a:pt x="38" y="89"/>
                  <a:pt x="37" y="89"/>
                </a:cubicBezTo>
                <a:cubicBezTo>
                  <a:pt x="37" y="89"/>
                  <a:pt x="38" y="89"/>
                  <a:pt x="37" y="89"/>
                </a:cubicBezTo>
                <a:cubicBezTo>
                  <a:pt x="37" y="90"/>
                  <a:pt x="37" y="90"/>
                  <a:pt x="37" y="91"/>
                </a:cubicBezTo>
                <a:cubicBezTo>
                  <a:pt x="37" y="93"/>
                  <a:pt x="37" y="94"/>
                  <a:pt x="37" y="95"/>
                </a:cubicBezTo>
                <a:cubicBezTo>
                  <a:pt x="36" y="96"/>
                  <a:pt x="34" y="95"/>
                  <a:pt x="34" y="98"/>
                </a:cubicBezTo>
                <a:cubicBezTo>
                  <a:pt x="33" y="98"/>
                  <a:pt x="33" y="100"/>
                  <a:pt x="31" y="100"/>
                </a:cubicBezTo>
                <a:cubicBezTo>
                  <a:pt x="31" y="101"/>
                  <a:pt x="31" y="102"/>
                  <a:pt x="30" y="102"/>
                </a:cubicBezTo>
                <a:cubicBezTo>
                  <a:pt x="30" y="104"/>
                  <a:pt x="30" y="106"/>
                  <a:pt x="30" y="109"/>
                </a:cubicBezTo>
                <a:cubicBezTo>
                  <a:pt x="30" y="109"/>
                  <a:pt x="30" y="110"/>
                  <a:pt x="30" y="110"/>
                </a:cubicBezTo>
                <a:cubicBezTo>
                  <a:pt x="29" y="111"/>
                  <a:pt x="28" y="112"/>
                  <a:pt x="28" y="113"/>
                </a:cubicBezTo>
                <a:cubicBezTo>
                  <a:pt x="27" y="113"/>
                  <a:pt x="27" y="114"/>
                  <a:pt x="26" y="115"/>
                </a:cubicBezTo>
                <a:cubicBezTo>
                  <a:pt x="25" y="115"/>
                  <a:pt x="25" y="116"/>
                  <a:pt x="24" y="116"/>
                </a:cubicBezTo>
                <a:cubicBezTo>
                  <a:pt x="24" y="116"/>
                  <a:pt x="23" y="116"/>
                  <a:pt x="23" y="116"/>
                </a:cubicBezTo>
                <a:cubicBezTo>
                  <a:pt x="23" y="117"/>
                  <a:pt x="23" y="117"/>
                  <a:pt x="22" y="117"/>
                </a:cubicBezTo>
                <a:cubicBezTo>
                  <a:pt x="21" y="117"/>
                  <a:pt x="21" y="117"/>
                  <a:pt x="21" y="118"/>
                </a:cubicBezTo>
                <a:cubicBezTo>
                  <a:pt x="20" y="118"/>
                  <a:pt x="20" y="117"/>
                  <a:pt x="19" y="117"/>
                </a:cubicBezTo>
                <a:cubicBezTo>
                  <a:pt x="17" y="118"/>
                  <a:pt x="14" y="119"/>
                  <a:pt x="13" y="118"/>
                </a:cubicBezTo>
                <a:cubicBezTo>
                  <a:pt x="12" y="118"/>
                  <a:pt x="12" y="119"/>
                  <a:pt x="12" y="120"/>
                </a:cubicBezTo>
                <a:cubicBezTo>
                  <a:pt x="10" y="120"/>
                  <a:pt x="9" y="119"/>
                  <a:pt x="6" y="119"/>
                </a:cubicBezTo>
                <a:cubicBezTo>
                  <a:pt x="4" y="119"/>
                  <a:pt x="5" y="121"/>
                  <a:pt x="3" y="121"/>
                </a:cubicBezTo>
                <a:cubicBezTo>
                  <a:pt x="2" y="122"/>
                  <a:pt x="0" y="121"/>
                  <a:pt x="0" y="123"/>
                </a:cubicBezTo>
                <a:cubicBezTo>
                  <a:pt x="0" y="125"/>
                  <a:pt x="1" y="126"/>
                  <a:pt x="1" y="128"/>
                </a:cubicBezTo>
                <a:cubicBezTo>
                  <a:pt x="2" y="128"/>
                  <a:pt x="3" y="128"/>
                  <a:pt x="3" y="129"/>
                </a:cubicBezTo>
                <a:cubicBezTo>
                  <a:pt x="3" y="131"/>
                  <a:pt x="5" y="130"/>
                  <a:pt x="5" y="132"/>
                </a:cubicBezTo>
                <a:cubicBezTo>
                  <a:pt x="7" y="133"/>
                  <a:pt x="8" y="134"/>
                  <a:pt x="9" y="135"/>
                </a:cubicBezTo>
                <a:cubicBezTo>
                  <a:pt x="11" y="136"/>
                  <a:pt x="12" y="138"/>
                  <a:pt x="13" y="139"/>
                </a:cubicBezTo>
                <a:cubicBezTo>
                  <a:pt x="14" y="140"/>
                  <a:pt x="14" y="140"/>
                  <a:pt x="15" y="140"/>
                </a:cubicBezTo>
                <a:cubicBezTo>
                  <a:pt x="15" y="141"/>
                  <a:pt x="16" y="141"/>
                  <a:pt x="17" y="142"/>
                </a:cubicBezTo>
                <a:cubicBezTo>
                  <a:pt x="17" y="148"/>
                  <a:pt x="17" y="148"/>
                  <a:pt x="17" y="148"/>
                </a:cubicBezTo>
                <a:cubicBezTo>
                  <a:pt x="18" y="148"/>
                  <a:pt x="17" y="150"/>
                  <a:pt x="19" y="150"/>
                </a:cubicBezTo>
                <a:cubicBezTo>
                  <a:pt x="19" y="151"/>
                  <a:pt x="20" y="152"/>
                  <a:pt x="21" y="152"/>
                </a:cubicBezTo>
                <a:cubicBezTo>
                  <a:pt x="21" y="155"/>
                  <a:pt x="24" y="155"/>
                  <a:pt x="24" y="158"/>
                </a:cubicBezTo>
                <a:cubicBezTo>
                  <a:pt x="26" y="157"/>
                  <a:pt x="26" y="159"/>
                  <a:pt x="28" y="158"/>
                </a:cubicBezTo>
                <a:cubicBezTo>
                  <a:pt x="28" y="159"/>
                  <a:pt x="29" y="160"/>
                  <a:pt x="30" y="160"/>
                </a:cubicBezTo>
                <a:cubicBezTo>
                  <a:pt x="35" y="160"/>
                  <a:pt x="35" y="160"/>
                  <a:pt x="35" y="160"/>
                </a:cubicBezTo>
                <a:cubicBezTo>
                  <a:pt x="35" y="162"/>
                  <a:pt x="37" y="161"/>
                  <a:pt x="37" y="162"/>
                </a:cubicBezTo>
                <a:cubicBezTo>
                  <a:pt x="40" y="161"/>
                  <a:pt x="41" y="163"/>
                  <a:pt x="44" y="163"/>
                </a:cubicBezTo>
                <a:cubicBezTo>
                  <a:pt x="44" y="164"/>
                  <a:pt x="45" y="164"/>
                  <a:pt x="45" y="164"/>
                </a:cubicBezTo>
                <a:cubicBezTo>
                  <a:pt x="45" y="166"/>
                  <a:pt x="44" y="167"/>
                  <a:pt x="44" y="170"/>
                </a:cubicBezTo>
                <a:cubicBezTo>
                  <a:pt x="44" y="171"/>
                  <a:pt x="44" y="171"/>
                  <a:pt x="44" y="172"/>
                </a:cubicBezTo>
                <a:cubicBezTo>
                  <a:pt x="45" y="171"/>
                  <a:pt x="45" y="172"/>
                  <a:pt x="45" y="172"/>
                </a:cubicBezTo>
                <a:cubicBezTo>
                  <a:pt x="46" y="173"/>
                  <a:pt x="47" y="173"/>
                  <a:pt x="47" y="174"/>
                </a:cubicBezTo>
                <a:cubicBezTo>
                  <a:pt x="47" y="178"/>
                  <a:pt x="47" y="178"/>
                  <a:pt x="47" y="178"/>
                </a:cubicBezTo>
                <a:cubicBezTo>
                  <a:pt x="46" y="179"/>
                  <a:pt x="44" y="179"/>
                  <a:pt x="44" y="180"/>
                </a:cubicBezTo>
                <a:cubicBezTo>
                  <a:pt x="43" y="180"/>
                  <a:pt x="43" y="181"/>
                  <a:pt x="42" y="181"/>
                </a:cubicBezTo>
                <a:cubicBezTo>
                  <a:pt x="43" y="182"/>
                  <a:pt x="44" y="183"/>
                  <a:pt x="45" y="183"/>
                </a:cubicBezTo>
                <a:cubicBezTo>
                  <a:pt x="47" y="183"/>
                  <a:pt x="47" y="181"/>
                  <a:pt x="49" y="182"/>
                </a:cubicBezTo>
                <a:cubicBezTo>
                  <a:pt x="49" y="183"/>
                  <a:pt x="51" y="183"/>
                  <a:pt x="51" y="184"/>
                </a:cubicBezTo>
                <a:cubicBezTo>
                  <a:pt x="52" y="184"/>
                  <a:pt x="52" y="185"/>
                  <a:pt x="53" y="185"/>
                </a:cubicBezTo>
                <a:cubicBezTo>
                  <a:pt x="53" y="186"/>
                  <a:pt x="54" y="185"/>
                  <a:pt x="54" y="186"/>
                </a:cubicBezTo>
                <a:cubicBezTo>
                  <a:pt x="57" y="186"/>
                  <a:pt x="59" y="186"/>
                  <a:pt x="61" y="187"/>
                </a:cubicBezTo>
                <a:cubicBezTo>
                  <a:pt x="61" y="187"/>
                  <a:pt x="61" y="187"/>
                  <a:pt x="61" y="187"/>
                </a:cubicBezTo>
                <a:cubicBezTo>
                  <a:pt x="61" y="187"/>
                  <a:pt x="62" y="187"/>
                  <a:pt x="62" y="187"/>
                </a:cubicBezTo>
                <a:cubicBezTo>
                  <a:pt x="62" y="187"/>
                  <a:pt x="63" y="187"/>
                  <a:pt x="63" y="187"/>
                </a:cubicBezTo>
                <a:cubicBezTo>
                  <a:pt x="63" y="188"/>
                  <a:pt x="64" y="188"/>
                  <a:pt x="65" y="188"/>
                </a:cubicBezTo>
                <a:cubicBezTo>
                  <a:pt x="65" y="188"/>
                  <a:pt x="65" y="189"/>
                  <a:pt x="65" y="189"/>
                </a:cubicBezTo>
                <a:cubicBezTo>
                  <a:pt x="65" y="189"/>
                  <a:pt x="65" y="189"/>
                  <a:pt x="65" y="189"/>
                </a:cubicBezTo>
                <a:cubicBezTo>
                  <a:pt x="65" y="189"/>
                  <a:pt x="65" y="190"/>
                  <a:pt x="65" y="190"/>
                </a:cubicBezTo>
                <a:cubicBezTo>
                  <a:pt x="65" y="190"/>
                  <a:pt x="66" y="190"/>
                  <a:pt x="66" y="190"/>
                </a:cubicBezTo>
                <a:cubicBezTo>
                  <a:pt x="66" y="190"/>
                  <a:pt x="66" y="190"/>
                  <a:pt x="66" y="190"/>
                </a:cubicBezTo>
                <a:cubicBezTo>
                  <a:pt x="66" y="190"/>
                  <a:pt x="67" y="190"/>
                  <a:pt x="67" y="190"/>
                </a:cubicBezTo>
                <a:cubicBezTo>
                  <a:pt x="67" y="190"/>
                  <a:pt x="67" y="191"/>
                  <a:pt x="67" y="191"/>
                </a:cubicBezTo>
                <a:cubicBezTo>
                  <a:pt x="67" y="191"/>
                  <a:pt x="67" y="191"/>
                  <a:pt x="67" y="191"/>
                </a:cubicBezTo>
                <a:cubicBezTo>
                  <a:pt x="67" y="191"/>
                  <a:pt x="68" y="192"/>
                  <a:pt x="69" y="192"/>
                </a:cubicBezTo>
                <a:cubicBezTo>
                  <a:pt x="70" y="191"/>
                  <a:pt x="71" y="190"/>
                  <a:pt x="72" y="189"/>
                </a:cubicBezTo>
                <a:cubicBezTo>
                  <a:pt x="72" y="188"/>
                  <a:pt x="73" y="187"/>
                  <a:pt x="74" y="185"/>
                </a:cubicBezTo>
                <a:cubicBezTo>
                  <a:pt x="75" y="185"/>
                  <a:pt x="75" y="184"/>
                  <a:pt x="76" y="184"/>
                </a:cubicBezTo>
                <a:cubicBezTo>
                  <a:pt x="76" y="182"/>
                  <a:pt x="78" y="183"/>
                  <a:pt x="79" y="182"/>
                </a:cubicBezTo>
                <a:cubicBezTo>
                  <a:pt x="80" y="182"/>
                  <a:pt x="80" y="185"/>
                  <a:pt x="83" y="185"/>
                </a:cubicBezTo>
                <a:cubicBezTo>
                  <a:pt x="84" y="186"/>
                  <a:pt x="88" y="184"/>
                  <a:pt x="88" y="188"/>
                </a:cubicBezTo>
                <a:cubicBezTo>
                  <a:pt x="85" y="187"/>
                  <a:pt x="84" y="189"/>
                  <a:pt x="81" y="188"/>
                </a:cubicBezTo>
                <a:cubicBezTo>
                  <a:pt x="81" y="189"/>
                  <a:pt x="81" y="190"/>
                  <a:pt x="80" y="190"/>
                </a:cubicBezTo>
                <a:cubicBezTo>
                  <a:pt x="80" y="192"/>
                  <a:pt x="81" y="194"/>
                  <a:pt x="81" y="195"/>
                </a:cubicBezTo>
                <a:cubicBezTo>
                  <a:pt x="83" y="196"/>
                  <a:pt x="83" y="198"/>
                  <a:pt x="83" y="199"/>
                </a:cubicBezTo>
                <a:cubicBezTo>
                  <a:pt x="84" y="200"/>
                  <a:pt x="85" y="200"/>
                  <a:pt x="86" y="201"/>
                </a:cubicBezTo>
                <a:cubicBezTo>
                  <a:pt x="86" y="201"/>
                  <a:pt x="86" y="201"/>
                  <a:pt x="86" y="201"/>
                </a:cubicBezTo>
                <a:cubicBezTo>
                  <a:pt x="86" y="200"/>
                  <a:pt x="87" y="200"/>
                  <a:pt x="87" y="200"/>
                </a:cubicBezTo>
                <a:cubicBezTo>
                  <a:pt x="87" y="199"/>
                  <a:pt x="87" y="199"/>
                  <a:pt x="87" y="199"/>
                </a:cubicBezTo>
                <a:cubicBezTo>
                  <a:pt x="88" y="199"/>
                  <a:pt x="88" y="199"/>
                  <a:pt x="89" y="199"/>
                </a:cubicBezTo>
                <a:cubicBezTo>
                  <a:pt x="89" y="201"/>
                  <a:pt x="89" y="201"/>
                  <a:pt x="88" y="202"/>
                </a:cubicBezTo>
                <a:cubicBezTo>
                  <a:pt x="89" y="203"/>
                  <a:pt x="90" y="203"/>
                  <a:pt x="91" y="204"/>
                </a:cubicBezTo>
                <a:cubicBezTo>
                  <a:pt x="91" y="205"/>
                  <a:pt x="93" y="204"/>
                  <a:pt x="94" y="204"/>
                </a:cubicBezTo>
                <a:cubicBezTo>
                  <a:pt x="95" y="205"/>
                  <a:pt x="98" y="205"/>
                  <a:pt x="99" y="206"/>
                </a:cubicBezTo>
                <a:cubicBezTo>
                  <a:pt x="100" y="211"/>
                  <a:pt x="95" y="211"/>
                  <a:pt x="95" y="215"/>
                </a:cubicBezTo>
                <a:cubicBezTo>
                  <a:pt x="95" y="215"/>
                  <a:pt x="95" y="217"/>
                  <a:pt x="96" y="217"/>
                </a:cubicBezTo>
                <a:cubicBezTo>
                  <a:pt x="96" y="217"/>
                  <a:pt x="97" y="217"/>
                  <a:pt x="97" y="217"/>
                </a:cubicBezTo>
                <a:cubicBezTo>
                  <a:pt x="97" y="218"/>
                  <a:pt x="97" y="218"/>
                  <a:pt x="97" y="218"/>
                </a:cubicBezTo>
                <a:cubicBezTo>
                  <a:pt x="97" y="219"/>
                  <a:pt x="97" y="219"/>
                  <a:pt x="97" y="219"/>
                </a:cubicBezTo>
                <a:cubicBezTo>
                  <a:pt x="97" y="219"/>
                  <a:pt x="97" y="219"/>
                  <a:pt x="97" y="219"/>
                </a:cubicBezTo>
                <a:cubicBezTo>
                  <a:pt x="98" y="219"/>
                  <a:pt x="99" y="219"/>
                  <a:pt x="99" y="220"/>
                </a:cubicBezTo>
                <a:cubicBezTo>
                  <a:pt x="100" y="219"/>
                  <a:pt x="101" y="219"/>
                  <a:pt x="102" y="219"/>
                </a:cubicBezTo>
                <a:cubicBezTo>
                  <a:pt x="104" y="218"/>
                  <a:pt x="104" y="217"/>
                  <a:pt x="106" y="217"/>
                </a:cubicBezTo>
                <a:cubicBezTo>
                  <a:pt x="111" y="218"/>
                  <a:pt x="116" y="214"/>
                  <a:pt x="120" y="217"/>
                </a:cubicBezTo>
                <a:cubicBezTo>
                  <a:pt x="122" y="218"/>
                  <a:pt x="122" y="216"/>
                  <a:pt x="124" y="217"/>
                </a:cubicBezTo>
                <a:cubicBezTo>
                  <a:pt x="125" y="217"/>
                  <a:pt x="126" y="218"/>
                  <a:pt x="128" y="218"/>
                </a:cubicBezTo>
                <a:cubicBezTo>
                  <a:pt x="132" y="218"/>
                  <a:pt x="134" y="219"/>
                  <a:pt x="137" y="220"/>
                </a:cubicBezTo>
                <a:cubicBezTo>
                  <a:pt x="139" y="220"/>
                  <a:pt x="139" y="220"/>
                  <a:pt x="139" y="220"/>
                </a:cubicBezTo>
                <a:cubicBezTo>
                  <a:pt x="139" y="219"/>
                  <a:pt x="138" y="218"/>
                  <a:pt x="138" y="218"/>
                </a:cubicBezTo>
                <a:cubicBezTo>
                  <a:pt x="138" y="218"/>
                  <a:pt x="138" y="218"/>
                  <a:pt x="138" y="218"/>
                </a:cubicBezTo>
                <a:cubicBezTo>
                  <a:pt x="144" y="218"/>
                  <a:pt x="144" y="218"/>
                  <a:pt x="144" y="218"/>
                </a:cubicBezTo>
                <a:cubicBezTo>
                  <a:pt x="147" y="217"/>
                  <a:pt x="148" y="214"/>
                  <a:pt x="151" y="213"/>
                </a:cubicBezTo>
                <a:cubicBezTo>
                  <a:pt x="153" y="213"/>
                  <a:pt x="155" y="214"/>
                  <a:pt x="157" y="215"/>
                </a:cubicBezTo>
                <a:cubicBezTo>
                  <a:pt x="157" y="215"/>
                  <a:pt x="157" y="214"/>
                  <a:pt x="157" y="214"/>
                </a:cubicBezTo>
                <a:cubicBezTo>
                  <a:pt x="159" y="214"/>
                  <a:pt x="159" y="214"/>
                  <a:pt x="159" y="214"/>
                </a:cubicBezTo>
                <a:cubicBezTo>
                  <a:pt x="159" y="214"/>
                  <a:pt x="159" y="213"/>
                  <a:pt x="159" y="213"/>
                </a:cubicBezTo>
                <a:cubicBezTo>
                  <a:pt x="161" y="214"/>
                  <a:pt x="161" y="213"/>
                  <a:pt x="162" y="213"/>
                </a:cubicBezTo>
                <a:cubicBezTo>
                  <a:pt x="165" y="212"/>
                  <a:pt x="168" y="213"/>
                  <a:pt x="171" y="213"/>
                </a:cubicBezTo>
                <a:cubicBezTo>
                  <a:pt x="172" y="213"/>
                  <a:pt x="172" y="213"/>
                  <a:pt x="172" y="213"/>
                </a:cubicBezTo>
                <a:cubicBezTo>
                  <a:pt x="173" y="213"/>
                  <a:pt x="174" y="213"/>
                  <a:pt x="174" y="214"/>
                </a:cubicBezTo>
                <a:cubicBezTo>
                  <a:pt x="175" y="214"/>
                  <a:pt x="176" y="214"/>
                  <a:pt x="177" y="215"/>
                </a:cubicBezTo>
                <a:cubicBezTo>
                  <a:pt x="178" y="214"/>
                  <a:pt x="179" y="214"/>
                  <a:pt x="180" y="213"/>
                </a:cubicBezTo>
                <a:cubicBezTo>
                  <a:pt x="180" y="213"/>
                  <a:pt x="181" y="213"/>
                  <a:pt x="181" y="213"/>
                </a:cubicBezTo>
                <a:cubicBezTo>
                  <a:pt x="181" y="213"/>
                  <a:pt x="182" y="213"/>
                  <a:pt x="182" y="213"/>
                </a:cubicBezTo>
                <a:cubicBezTo>
                  <a:pt x="182" y="213"/>
                  <a:pt x="182" y="213"/>
                  <a:pt x="182" y="213"/>
                </a:cubicBezTo>
                <a:cubicBezTo>
                  <a:pt x="182" y="213"/>
                  <a:pt x="182" y="213"/>
                  <a:pt x="182" y="213"/>
                </a:cubicBezTo>
                <a:cubicBezTo>
                  <a:pt x="182" y="213"/>
                  <a:pt x="183" y="213"/>
                  <a:pt x="183" y="213"/>
                </a:cubicBezTo>
                <a:cubicBezTo>
                  <a:pt x="183" y="212"/>
                  <a:pt x="183" y="211"/>
                  <a:pt x="184" y="211"/>
                </a:cubicBezTo>
                <a:cubicBezTo>
                  <a:pt x="185" y="211"/>
                  <a:pt x="187" y="211"/>
                  <a:pt x="187" y="210"/>
                </a:cubicBezTo>
                <a:cubicBezTo>
                  <a:pt x="188" y="209"/>
                  <a:pt x="188" y="209"/>
                  <a:pt x="189" y="209"/>
                </a:cubicBezTo>
                <a:cubicBezTo>
                  <a:pt x="189" y="209"/>
                  <a:pt x="189" y="209"/>
                  <a:pt x="189" y="209"/>
                </a:cubicBezTo>
                <a:cubicBezTo>
                  <a:pt x="189" y="209"/>
                  <a:pt x="189" y="208"/>
                  <a:pt x="189" y="208"/>
                </a:cubicBezTo>
                <a:cubicBezTo>
                  <a:pt x="190" y="208"/>
                  <a:pt x="190" y="208"/>
                  <a:pt x="191" y="208"/>
                </a:cubicBezTo>
                <a:cubicBezTo>
                  <a:pt x="191" y="206"/>
                  <a:pt x="192" y="206"/>
                  <a:pt x="193" y="206"/>
                </a:cubicBezTo>
                <a:cubicBezTo>
                  <a:pt x="193" y="203"/>
                  <a:pt x="195" y="202"/>
                  <a:pt x="195" y="199"/>
                </a:cubicBezTo>
                <a:cubicBezTo>
                  <a:pt x="196" y="199"/>
                  <a:pt x="196" y="198"/>
                  <a:pt x="196" y="198"/>
                </a:cubicBezTo>
                <a:cubicBezTo>
                  <a:pt x="196" y="198"/>
                  <a:pt x="197" y="198"/>
                  <a:pt x="197" y="198"/>
                </a:cubicBezTo>
                <a:cubicBezTo>
                  <a:pt x="197" y="198"/>
                  <a:pt x="197" y="197"/>
                  <a:pt x="197" y="197"/>
                </a:cubicBezTo>
                <a:cubicBezTo>
                  <a:pt x="197" y="197"/>
                  <a:pt x="198" y="197"/>
                  <a:pt x="198" y="197"/>
                </a:cubicBezTo>
                <a:cubicBezTo>
                  <a:pt x="198" y="197"/>
                  <a:pt x="198" y="197"/>
                  <a:pt x="198" y="197"/>
                </a:cubicBezTo>
                <a:cubicBezTo>
                  <a:pt x="199" y="196"/>
                  <a:pt x="200" y="196"/>
                  <a:pt x="200" y="195"/>
                </a:cubicBezTo>
                <a:cubicBezTo>
                  <a:pt x="202" y="193"/>
                  <a:pt x="204" y="192"/>
                  <a:pt x="207" y="191"/>
                </a:cubicBezTo>
                <a:cubicBezTo>
                  <a:pt x="207" y="191"/>
                  <a:pt x="207" y="191"/>
                  <a:pt x="207" y="191"/>
                </a:cubicBezTo>
                <a:cubicBezTo>
                  <a:pt x="206" y="192"/>
                  <a:pt x="206" y="192"/>
                  <a:pt x="205" y="193"/>
                </a:cubicBezTo>
                <a:cubicBezTo>
                  <a:pt x="205" y="193"/>
                  <a:pt x="205" y="193"/>
                  <a:pt x="205" y="193"/>
                </a:cubicBezTo>
                <a:cubicBezTo>
                  <a:pt x="206" y="193"/>
                  <a:pt x="207" y="192"/>
                  <a:pt x="208" y="192"/>
                </a:cubicBezTo>
                <a:cubicBezTo>
                  <a:pt x="209" y="192"/>
                  <a:pt x="210" y="191"/>
                  <a:pt x="211" y="191"/>
                </a:cubicBezTo>
                <a:cubicBezTo>
                  <a:pt x="211" y="191"/>
                  <a:pt x="212" y="191"/>
                  <a:pt x="212" y="191"/>
                </a:cubicBezTo>
                <a:cubicBezTo>
                  <a:pt x="216" y="189"/>
                  <a:pt x="220" y="186"/>
                  <a:pt x="225" y="184"/>
                </a:cubicBezTo>
                <a:cubicBezTo>
                  <a:pt x="225" y="184"/>
                  <a:pt x="226" y="184"/>
                  <a:pt x="226" y="184"/>
                </a:cubicBezTo>
                <a:cubicBezTo>
                  <a:pt x="226" y="184"/>
                  <a:pt x="227" y="184"/>
                  <a:pt x="227" y="183"/>
                </a:cubicBezTo>
                <a:cubicBezTo>
                  <a:pt x="228" y="184"/>
                  <a:pt x="228" y="183"/>
                  <a:pt x="230" y="183"/>
                </a:cubicBezTo>
                <a:cubicBezTo>
                  <a:pt x="235" y="183"/>
                  <a:pt x="235" y="183"/>
                  <a:pt x="235" y="183"/>
                </a:cubicBezTo>
                <a:cubicBezTo>
                  <a:pt x="235" y="184"/>
                  <a:pt x="236" y="183"/>
                  <a:pt x="237" y="183"/>
                </a:cubicBezTo>
                <a:cubicBezTo>
                  <a:pt x="237" y="184"/>
                  <a:pt x="238" y="184"/>
                  <a:pt x="239" y="184"/>
                </a:cubicBezTo>
                <a:cubicBezTo>
                  <a:pt x="240" y="184"/>
                  <a:pt x="241" y="184"/>
                  <a:pt x="242" y="184"/>
                </a:cubicBezTo>
                <a:cubicBezTo>
                  <a:pt x="243" y="184"/>
                  <a:pt x="245" y="183"/>
                  <a:pt x="246" y="183"/>
                </a:cubicBezTo>
                <a:cubicBezTo>
                  <a:pt x="248" y="184"/>
                  <a:pt x="248" y="184"/>
                  <a:pt x="249" y="185"/>
                </a:cubicBezTo>
                <a:cubicBezTo>
                  <a:pt x="250" y="185"/>
                  <a:pt x="251" y="185"/>
                  <a:pt x="252" y="185"/>
                </a:cubicBezTo>
                <a:cubicBezTo>
                  <a:pt x="252" y="185"/>
                  <a:pt x="253" y="185"/>
                  <a:pt x="254" y="185"/>
                </a:cubicBezTo>
                <a:cubicBezTo>
                  <a:pt x="258" y="185"/>
                  <a:pt x="258" y="185"/>
                  <a:pt x="258" y="185"/>
                </a:cubicBezTo>
                <a:cubicBezTo>
                  <a:pt x="259" y="187"/>
                  <a:pt x="259" y="188"/>
                  <a:pt x="260" y="190"/>
                </a:cubicBezTo>
                <a:cubicBezTo>
                  <a:pt x="261" y="190"/>
                  <a:pt x="262" y="190"/>
                  <a:pt x="262" y="191"/>
                </a:cubicBezTo>
                <a:cubicBezTo>
                  <a:pt x="262" y="191"/>
                  <a:pt x="263" y="191"/>
                  <a:pt x="263" y="192"/>
                </a:cubicBezTo>
                <a:cubicBezTo>
                  <a:pt x="266" y="192"/>
                  <a:pt x="268" y="192"/>
                  <a:pt x="269" y="191"/>
                </a:cubicBezTo>
                <a:cubicBezTo>
                  <a:pt x="273" y="191"/>
                  <a:pt x="277" y="191"/>
                  <a:pt x="279" y="191"/>
                </a:cubicBezTo>
                <a:cubicBezTo>
                  <a:pt x="280" y="191"/>
                  <a:pt x="280" y="192"/>
                  <a:pt x="281" y="192"/>
                </a:cubicBezTo>
                <a:cubicBezTo>
                  <a:pt x="281" y="192"/>
                  <a:pt x="281" y="191"/>
                  <a:pt x="281" y="191"/>
                </a:cubicBezTo>
                <a:cubicBezTo>
                  <a:pt x="281" y="191"/>
                  <a:pt x="281" y="191"/>
                  <a:pt x="281" y="191"/>
                </a:cubicBezTo>
                <a:cubicBezTo>
                  <a:pt x="281" y="190"/>
                  <a:pt x="281" y="190"/>
                  <a:pt x="281" y="190"/>
                </a:cubicBezTo>
                <a:cubicBezTo>
                  <a:pt x="281" y="188"/>
                  <a:pt x="282" y="188"/>
                  <a:pt x="283" y="186"/>
                </a:cubicBezTo>
                <a:cubicBezTo>
                  <a:pt x="283" y="184"/>
                  <a:pt x="282" y="184"/>
                  <a:pt x="282" y="183"/>
                </a:cubicBezTo>
                <a:cubicBezTo>
                  <a:pt x="281" y="180"/>
                  <a:pt x="283" y="181"/>
                  <a:pt x="283" y="179"/>
                </a:cubicBezTo>
                <a:cubicBezTo>
                  <a:pt x="283" y="178"/>
                  <a:pt x="281" y="178"/>
                  <a:pt x="282" y="176"/>
                </a:cubicBezTo>
                <a:cubicBezTo>
                  <a:pt x="281" y="176"/>
                  <a:pt x="282" y="174"/>
                  <a:pt x="281" y="174"/>
                </a:cubicBezTo>
                <a:cubicBezTo>
                  <a:pt x="281" y="169"/>
                  <a:pt x="281" y="169"/>
                  <a:pt x="281" y="169"/>
                </a:cubicBezTo>
                <a:cubicBezTo>
                  <a:pt x="280" y="169"/>
                  <a:pt x="279" y="169"/>
                  <a:pt x="279" y="168"/>
                </a:cubicBezTo>
                <a:cubicBezTo>
                  <a:pt x="279" y="168"/>
                  <a:pt x="279" y="167"/>
                  <a:pt x="279" y="167"/>
                </a:cubicBezTo>
                <a:cubicBezTo>
                  <a:pt x="279" y="166"/>
                  <a:pt x="278" y="167"/>
                  <a:pt x="278" y="166"/>
                </a:cubicBezTo>
                <a:cubicBezTo>
                  <a:pt x="278" y="166"/>
                  <a:pt x="278" y="165"/>
                  <a:pt x="279" y="165"/>
                </a:cubicBezTo>
                <a:cubicBezTo>
                  <a:pt x="279" y="164"/>
                  <a:pt x="280" y="162"/>
                  <a:pt x="281" y="161"/>
                </a:cubicBezTo>
                <a:cubicBezTo>
                  <a:pt x="281" y="159"/>
                  <a:pt x="281" y="158"/>
                  <a:pt x="283" y="158"/>
                </a:cubicBezTo>
                <a:cubicBezTo>
                  <a:pt x="283" y="154"/>
                  <a:pt x="284" y="152"/>
                  <a:pt x="285" y="149"/>
                </a:cubicBezTo>
                <a:cubicBezTo>
                  <a:pt x="285" y="149"/>
                  <a:pt x="285" y="148"/>
                  <a:pt x="285" y="149"/>
                </a:cubicBezTo>
                <a:cubicBezTo>
                  <a:pt x="285" y="147"/>
                  <a:pt x="286" y="147"/>
                  <a:pt x="286" y="146"/>
                </a:cubicBezTo>
                <a:cubicBezTo>
                  <a:pt x="286" y="145"/>
                  <a:pt x="286" y="145"/>
                  <a:pt x="287" y="145"/>
                </a:cubicBezTo>
                <a:cubicBezTo>
                  <a:pt x="287" y="144"/>
                  <a:pt x="288" y="144"/>
                  <a:pt x="288" y="143"/>
                </a:cubicBezTo>
                <a:cubicBezTo>
                  <a:pt x="288" y="143"/>
                  <a:pt x="288" y="142"/>
                  <a:pt x="289" y="142"/>
                </a:cubicBezTo>
                <a:cubicBezTo>
                  <a:pt x="289" y="142"/>
                  <a:pt x="289" y="142"/>
                  <a:pt x="289" y="142"/>
                </a:cubicBezTo>
                <a:cubicBezTo>
                  <a:pt x="290" y="142"/>
                  <a:pt x="291" y="141"/>
                  <a:pt x="292" y="140"/>
                </a:cubicBezTo>
                <a:cubicBezTo>
                  <a:pt x="293" y="140"/>
                  <a:pt x="294" y="140"/>
                  <a:pt x="294" y="140"/>
                </a:cubicBezTo>
                <a:cubicBezTo>
                  <a:pt x="294" y="140"/>
                  <a:pt x="294" y="139"/>
                  <a:pt x="294" y="139"/>
                </a:cubicBezTo>
                <a:cubicBezTo>
                  <a:pt x="294" y="139"/>
                  <a:pt x="295" y="140"/>
                  <a:pt x="296" y="139"/>
                </a:cubicBezTo>
                <a:cubicBezTo>
                  <a:pt x="296" y="139"/>
                  <a:pt x="297" y="139"/>
                  <a:pt x="297" y="139"/>
                </a:cubicBezTo>
                <a:cubicBezTo>
                  <a:pt x="298" y="139"/>
                  <a:pt x="298" y="138"/>
                  <a:pt x="299" y="138"/>
                </a:cubicBezTo>
                <a:cubicBezTo>
                  <a:pt x="300" y="138"/>
                  <a:pt x="300" y="137"/>
                  <a:pt x="301" y="137"/>
                </a:cubicBezTo>
                <a:cubicBezTo>
                  <a:pt x="301" y="136"/>
                  <a:pt x="302" y="134"/>
                  <a:pt x="301" y="134"/>
                </a:cubicBezTo>
                <a:cubicBezTo>
                  <a:pt x="301" y="133"/>
                  <a:pt x="303" y="134"/>
                  <a:pt x="303" y="132"/>
                </a:cubicBezTo>
                <a:cubicBezTo>
                  <a:pt x="303" y="132"/>
                  <a:pt x="303" y="132"/>
                  <a:pt x="303" y="132"/>
                </a:cubicBezTo>
                <a:cubicBezTo>
                  <a:pt x="303" y="132"/>
                  <a:pt x="303" y="132"/>
                  <a:pt x="303" y="132"/>
                </a:cubicBezTo>
                <a:cubicBezTo>
                  <a:pt x="303" y="132"/>
                  <a:pt x="303" y="132"/>
                  <a:pt x="303" y="131"/>
                </a:cubicBezTo>
                <a:cubicBezTo>
                  <a:pt x="303" y="131"/>
                  <a:pt x="304" y="130"/>
                  <a:pt x="304" y="130"/>
                </a:cubicBezTo>
                <a:cubicBezTo>
                  <a:pt x="304" y="128"/>
                  <a:pt x="303" y="126"/>
                  <a:pt x="304" y="123"/>
                </a:cubicBezTo>
                <a:close/>
                <a:moveTo>
                  <a:pt x="100" y="206"/>
                </a:moveTo>
                <a:cubicBezTo>
                  <a:pt x="100" y="206"/>
                  <a:pt x="100" y="206"/>
                  <a:pt x="100" y="206"/>
                </a:cubicBezTo>
                <a:cubicBezTo>
                  <a:pt x="100" y="206"/>
                  <a:pt x="100" y="206"/>
                  <a:pt x="100" y="206"/>
                </a:cubicBezTo>
                <a:cubicBezTo>
                  <a:pt x="100" y="206"/>
                  <a:pt x="100" y="206"/>
                  <a:pt x="100" y="206"/>
                </a:cubicBezTo>
                <a:close/>
                <a:moveTo>
                  <a:pt x="205" y="180"/>
                </a:moveTo>
                <a:cubicBezTo>
                  <a:pt x="205" y="180"/>
                  <a:pt x="205" y="180"/>
                  <a:pt x="205" y="180"/>
                </a:cubicBezTo>
                <a:cubicBezTo>
                  <a:pt x="205" y="180"/>
                  <a:pt x="205" y="180"/>
                  <a:pt x="205" y="180"/>
                </a:cubicBezTo>
                <a:cubicBezTo>
                  <a:pt x="205" y="180"/>
                  <a:pt x="205" y="180"/>
                  <a:pt x="205" y="180"/>
                </a:cubicBezTo>
                <a:close/>
                <a:moveTo>
                  <a:pt x="285" y="146"/>
                </a:moveTo>
                <a:cubicBezTo>
                  <a:pt x="285" y="146"/>
                  <a:pt x="284" y="146"/>
                  <a:pt x="284" y="147"/>
                </a:cubicBezTo>
                <a:cubicBezTo>
                  <a:pt x="285" y="149"/>
                  <a:pt x="282" y="148"/>
                  <a:pt x="283" y="151"/>
                </a:cubicBezTo>
                <a:cubicBezTo>
                  <a:pt x="283" y="151"/>
                  <a:pt x="283" y="151"/>
                  <a:pt x="282" y="151"/>
                </a:cubicBezTo>
                <a:cubicBezTo>
                  <a:pt x="282" y="152"/>
                  <a:pt x="281" y="152"/>
                  <a:pt x="281" y="153"/>
                </a:cubicBezTo>
                <a:cubicBezTo>
                  <a:pt x="281" y="153"/>
                  <a:pt x="281" y="154"/>
                  <a:pt x="280" y="153"/>
                </a:cubicBezTo>
                <a:cubicBezTo>
                  <a:pt x="280" y="153"/>
                  <a:pt x="280" y="153"/>
                  <a:pt x="280" y="153"/>
                </a:cubicBezTo>
                <a:cubicBezTo>
                  <a:pt x="279" y="153"/>
                  <a:pt x="279" y="152"/>
                  <a:pt x="280" y="151"/>
                </a:cubicBezTo>
                <a:cubicBezTo>
                  <a:pt x="280" y="151"/>
                  <a:pt x="280" y="151"/>
                  <a:pt x="280" y="151"/>
                </a:cubicBezTo>
                <a:cubicBezTo>
                  <a:pt x="280" y="150"/>
                  <a:pt x="279" y="149"/>
                  <a:pt x="279" y="149"/>
                </a:cubicBezTo>
                <a:cubicBezTo>
                  <a:pt x="279" y="148"/>
                  <a:pt x="279" y="148"/>
                  <a:pt x="279" y="148"/>
                </a:cubicBezTo>
                <a:cubicBezTo>
                  <a:pt x="279" y="148"/>
                  <a:pt x="279" y="148"/>
                  <a:pt x="279" y="148"/>
                </a:cubicBezTo>
                <a:cubicBezTo>
                  <a:pt x="278" y="147"/>
                  <a:pt x="279" y="146"/>
                  <a:pt x="280" y="146"/>
                </a:cubicBezTo>
                <a:cubicBezTo>
                  <a:pt x="280" y="145"/>
                  <a:pt x="281" y="144"/>
                  <a:pt x="283" y="144"/>
                </a:cubicBezTo>
                <a:cubicBezTo>
                  <a:pt x="283" y="144"/>
                  <a:pt x="283" y="144"/>
                  <a:pt x="283" y="144"/>
                </a:cubicBezTo>
                <a:cubicBezTo>
                  <a:pt x="283" y="144"/>
                  <a:pt x="284" y="144"/>
                  <a:pt x="284" y="145"/>
                </a:cubicBezTo>
                <a:cubicBezTo>
                  <a:pt x="284" y="145"/>
                  <a:pt x="284" y="145"/>
                  <a:pt x="284" y="145"/>
                </a:cubicBezTo>
                <a:cubicBezTo>
                  <a:pt x="284" y="145"/>
                  <a:pt x="285" y="145"/>
                  <a:pt x="285" y="14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1" name="Freeform 49"/>
          <p:cNvSpPr>
            <a:spLocks noEditPoints="1"/>
          </p:cNvSpPr>
          <p:nvPr/>
        </p:nvSpPr>
        <p:spPr bwMode="auto">
          <a:xfrm>
            <a:off x="8047329" y="3175303"/>
            <a:ext cx="1122363" cy="982663"/>
          </a:xfrm>
          <a:custGeom>
            <a:avLst/>
            <a:gdLst>
              <a:gd name="T0" fmla="*/ 276 w 290"/>
              <a:gd name="T1" fmla="*/ 151 h 254"/>
              <a:gd name="T2" fmla="*/ 267 w 290"/>
              <a:gd name="T3" fmla="*/ 129 h 254"/>
              <a:gd name="T4" fmla="*/ 262 w 290"/>
              <a:gd name="T5" fmla="*/ 110 h 254"/>
              <a:gd name="T6" fmla="*/ 254 w 290"/>
              <a:gd name="T7" fmla="*/ 103 h 254"/>
              <a:gd name="T8" fmla="*/ 268 w 290"/>
              <a:gd name="T9" fmla="*/ 87 h 254"/>
              <a:gd name="T10" fmla="*/ 271 w 290"/>
              <a:gd name="T11" fmla="*/ 67 h 254"/>
              <a:gd name="T12" fmla="*/ 259 w 290"/>
              <a:gd name="T13" fmla="*/ 39 h 254"/>
              <a:gd name="T14" fmla="*/ 245 w 290"/>
              <a:gd name="T15" fmla="*/ 12 h 254"/>
              <a:gd name="T16" fmla="*/ 229 w 290"/>
              <a:gd name="T17" fmla="*/ 6 h 254"/>
              <a:gd name="T18" fmla="*/ 176 w 290"/>
              <a:gd name="T19" fmla="*/ 13 h 254"/>
              <a:gd name="T20" fmla="*/ 139 w 290"/>
              <a:gd name="T21" fmla="*/ 25 h 254"/>
              <a:gd name="T22" fmla="*/ 149 w 290"/>
              <a:gd name="T23" fmla="*/ 15 h 254"/>
              <a:gd name="T24" fmla="*/ 147 w 290"/>
              <a:gd name="T25" fmla="*/ 16 h 254"/>
              <a:gd name="T26" fmla="*/ 128 w 290"/>
              <a:gd name="T27" fmla="*/ 20 h 254"/>
              <a:gd name="T28" fmla="*/ 116 w 290"/>
              <a:gd name="T29" fmla="*/ 8 h 254"/>
              <a:gd name="T30" fmla="*/ 124 w 290"/>
              <a:gd name="T31" fmla="*/ 6 h 254"/>
              <a:gd name="T32" fmla="*/ 84 w 290"/>
              <a:gd name="T33" fmla="*/ 6 h 254"/>
              <a:gd name="T34" fmla="*/ 75 w 290"/>
              <a:gd name="T35" fmla="*/ 13 h 254"/>
              <a:gd name="T36" fmla="*/ 52 w 290"/>
              <a:gd name="T37" fmla="*/ 29 h 254"/>
              <a:gd name="T38" fmla="*/ 20 w 290"/>
              <a:gd name="T39" fmla="*/ 40 h 254"/>
              <a:gd name="T40" fmla="*/ 7 w 290"/>
              <a:gd name="T41" fmla="*/ 51 h 254"/>
              <a:gd name="T42" fmla="*/ 17 w 290"/>
              <a:gd name="T43" fmla="*/ 48 h 254"/>
              <a:gd name="T44" fmla="*/ 16 w 290"/>
              <a:gd name="T45" fmla="*/ 65 h 254"/>
              <a:gd name="T46" fmla="*/ 5 w 290"/>
              <a:gd name="T47" fmla="*/ 58 h 254"/>
              <a:gd name="T48" fmla="*/ 8 w 290"/>
              <a:gd name="T49" fmla="*/ 74 h 254"/>
              <a:gd name="T50" fmla="*/ 0 w 290"/>
              <a:gd name="T51" fmla="*/ 91 h 254"/>
              <a:gd name="T52" fmla="*/ 10 w 290"/>
              <a:gd name="T53" fmla="*/ 105 h 254"/>
              <a:gd name="T54" fmla="*/ 16 w 290"/>
              <a:gd name="T55" fmla="*/ 131 h 254"/>
              <a:gd name="T56" fmla="*/ 16 w 290"/>
              <a:gd name="T57" fmla="*/ 149 h 254"/>
              <a:gd name="T58" fmla="*/ 16 w 290"/>
              <a:gd name="T59" fmla="*/ 151 h 254"/>
              <a:gd name="T60" fmla="*/ 17 w 290"/>
              <a:gd name="T61" fmla="*/ 152 h 254"/>
              <a:gd name="T62" fmla="*/ 17 w 290"/>
              <a:gd name="T63" fmla="*/ 154 h 254"/>
              <a:gd name="T64" fmla="*/ 19 w 290"/>
              <a:gd name="T65" fmla="*/ 158 h 254"/>
              <a:gd name="T66" fmla="*/ 27 w 290"/>
              <a:gd name="T67" fmla="*/ 179 h 254"/>
              <a:gd name="T68" fmla="*/ 48 w 290"/>
              <a:gd name="T69" fmla="*/ 189 h 254"/>
              <a:gd name="T70" fmla="*/ 56 w 290"/>
              <a:gd name="T71" fmla="*/ 194 h 254"/>
              <a:gd name="T72" fmla="*/ 67 w 290"/>
              <a:gd name="T73" fmla="*/ 193 h 254"/>
              <a:gd name="T74" fmla="*/ 74 w 290"/>
              <a:gd name="T75" fmla="*/ 216 h 254"/>
              <a:gd name="T76" fmla="*/ 85 w 290"/>
              <a:gd name="T77" fmla="*/ 206 h 254"/>
              <a:gd name="T78" fmla="*/ 104 w 290"/>
              <a:gd name="T79" fmla="*/ 210 h 254"/>
              <a:gd name="T80" fmla="*/ 114 w 290"/>
              <a:gd name="T81" fmla="*/ 222 h 254"/>
              <a:gd name="T82" fmla="*/ 135 w 290"/>
              <a:gd name="T83" fmla="*/ 226 h 254"/>
              <a:gd name="T84" fmla="*/ 142 w 290"/>
              <a:gd name="T85" fmla="*/ 240 h 254"/>
              <a:gd name="T86" fmla="*/ 158 w 290"/>
              <a:gd name="T87" fmla="*/ 243 h 254"/>
              <a:gd name="T88" fmla="*/ 168 w 290"/>
              <a:gd name="T89" fmla="*/ 245 h 254"/>
              <a:gd name="T90" fmla="*/ 199 w 290"/>
              <a:gd name="T91" fmla="*/ 243 h 254"/>
              <a:gd name="T92" fmla="*/ 214 w 290"/>
              <a:gd name="T93" fmla="*/ 239 h 254"/>
              <a:gd name="T94" fmla="*/ 235 w 290"/>
              <a:gd name="T95" fmla="*/ 240 h 254"/>
              <a:gd name="T96" fmla="*/ 239 w 290"/>
              <a:gd name="T97" fmla="*/ 242 h 254"/>
              <a:gd name="T98" fmla="*/ 246 w 290"/>
              <a:gd name="T99" fmla="*/ 246 h 254"/>
              <a:gd name="T100" fmla="*/ 255 w 290"/>
              <a:gd name="T101" fmla="*/ 250 h 254"/>
              <a:gd name="T102" fmla="*/ 260 w 290"/>
              <a:gd name="T103" fmla="*/ 245 h 254"/>
              <a:gd name="T104" fmla="*/ 264 w 290"/>
              <a:gd name="T105" fmla="*/ 215 h 254"/>
              <a:gd name="T106" fmla="*/ 278 w 290"/>
              <a:gd name="T107" fmla="*/ 191 h 254"/>
              <a:gd name="T108" fmla="*/ 281 w 290"/>
              <a:gd name="T109" fmla="*/ 184 h 254"/>
              <a:gd name="T110" fmla="*/ 287 w 290"/>
              <a:gd name="T111" fmla="*/ 181 h 254"/>
              <a:gd name="T112" fmla="*/ 137 w 290"/>
              <a:gd name="T113" fmla="*/ 2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 h="254">
                <a:moveTo>
                  <a:pt x="290" y="173"/>
                </a:moveTo>
                <a:cubicBezTo>
                  <a:pt x="287" y="173"/>
                  <a:pt x="286" y="170"/>
                  <a:pt x="285" y="167"/>
                </a:cubicBezTo>
                <a:cubicBezTo>
                  <a:pt x="286" y="167"/>
                  <a:pt x="286" y="165"/>
                  <a:pt x="287" y="165"/>
                </a:cubicBezTo>
                <a:cubicBezTo>
                  <a:pt x="287" y="164"/>
                  <a:pt x="288" y="165"/>
                  <a:pt x="289" y="164"/>
                </a:cubicBezTo>
                <a:cubicBezTo>
                  <a:pt x="288" y="163"/>
                  <a:pt x="286" y="163"/>
                  <a:pt x="285" y="163"/>
                </a:cubicBezTo>
                <a:cubicBezTo>
                  <a:pt x="285" y="161"/>
                  <a:pt x="283" y="161"/>
                  <a:pt x="282" y="159"/>
                </a:cubicBezTo>
                <a:cubicBezTo>
                  <a:pt x="282" y="157"/>
                  <a:pt x="280" y="156"/>
                  <a:pt x="280" y="154"/>
                </a:cubicBezTo>
                <a:cubicBezTo>
                  <a:pt x="277" y="154"/>
                  <a:pt x="278" y="151"/>
                  <a:pt x="276" y="151"/>
                </a:cubicBezTo>
                <a:cubicBezTo>
                  <a:pt x="275" y="149"/>
                  <a:pt x="273" y="149"/>
                  <a:pt x="273" y="146"/>
                </a:cubicBezTo>
                <a:cubicBezTo>
                  <a:pt x="273" y="140"/>
                  <a:pt x="273" y="140"/>
                  <a:pt x="273" y="140"/>
                </a:cubicBezTo>
                <a:cubicBezTo>
                  <a:pt x="271" y="140"/>
                  <a:pt x="271" y="139"/>
                  <a:pt x="271" y="137"/>
                </a:cubicBezTo>
                <a:cubicBezTo>
                  <a:pt x="270" y="137"/>
                  <a:pt x="269" y="137"/>
                  <a:pt x="269" y="136"/>
                </a:cubicBezTo>
                <a:cubicBezTo>
                  <a:pt x="268" y="136"/>
                  <a:pt x="268" y="136"/>
                  <a:pt x="268" y="136"/>
                </a:cubicBezTo>
                <a:cubicBezTo>
                  <a:pt x="268" y="135"/>
                  <a:pt x="268" y="134"/>
                  <a:pt x="268" y="133"/>
                </a:cubicBezTo>
                <a:cubicBezTo>
                  <a:pt x="268" y="132"/>
                  <a:pt x="267" y="132"/>
                  <a:pt x="267" y="132"/>
                </a:cubicBezTo>
                <a:cubicBezTo>
                  <a:pt x="267" y="131"/>
                  <a:pt x="267" y="130"/>
                  <a:pt x="267" y="129"/>
                </a:cubicBezTo>
                <a:cubicBezTo>
                  <a:pt x="267" y="129"/>
                  <a:pt x="266" y="129"/>
                  <a:pt x="266" y="128"/>
                </a:cubicBezTo>
                <a:cubicBezTo>
                  <a:pt x="266" y="127"/>
                  <a:pt x="266" y="125"/>
                  <a:pt x="267" y="123"/>
                </a:cubicBezTo>
                <a:cubicBezTo>
                  <a:pt x="267" y="121"/>
                  <a:pt x="267" y="120"/>
                  <a:pt x="266" y="119"/>
                </a:cubicBezTo>
                <a:cubicBezTo>
                  <a:pt x="267" y="118"/>
                  <a:pt x="267" y="116"/>
                  <a:pt x="267" y="114"/>
                </a:cubicBezTo>
                <a:cubicBezTo>
                  <a:pt x="267" y="113"/>
                  <a:pt x="266" y="113"/>
                  <a:pt x="266" y="112"/>
                </a:cubicBezTo>
                <a:cubicBezTo>
                  <a:pt x="266" y="112"/>
                  <a:pt x="265" y="112"/>
                  <a:pt x="265" y="111"/>
                </a:cubicBezTo>
                <a:cubicBezTo>
                  <a:pt x="264" y="111"/>
                  <a:pt x="264" y="110"/>
                  <a:pt x="263" y="110"/>
                </a:cubicBezTo>
                <a:cubicBezTo>
                  <a:pt x="262" y="111"/>
                  <a:pt x="262" y="110"/>
                  <a:pt x="262" y="110"/>
                </a:cubicBezTo>
                <a:cubicBezTo>
                  <a:pt x="262" y="109"/>
                  <a:pt x="262" y="109"/>
                  <a:pt x="261" y="109"/>
                </a:cubicBezTo>
                <a:cubicBezTo>
                  <a:pt x="261" y="109"/>
                  <a:pt x="260" y="108"/>
                  <a:pt x="259" y="108"/>
                </a:cubicBezTo>
                <a:cubicBezTo>
                  <a:pt x="259" y="107"/>
                  <a:pt x="258" y="108"/>
                  <a:pt x="258" y="107"/>
                </a:cubicBezTo>
                <a:cubicBezTo>
                  <a:pt x="257" y="107"/>
                  <a:pt x="256" y="107"/>
                  <a:pt x="256" y="106"/>
                </a:cubicBezTo>
                <a:cubicBezTo>
                  <a:pt x="254" y="107"/>
                  <a:pt x="254" y="105"/>
                  <a:pt x="252" y="105"/>
                </a:cubicBezTo>
                <a:cubicBezTo>
                  <a:pt x="252" y="104"/>
                  <a:pt x="252" y="104"/>
                  <a:pt x="252" y="103"/>
                </a:cubicBezTo>
                <a:cubicBezTo>
                  <a:pt x="254" y="103"/>
                  <a:pt x="254" y="103"/>
                  <a:pt x="254" y="103"/>
                </a:cubicBezTo>
                <a:cubicBezTo>
                  <a:pt x="254" y="103"/>
                  <a:pt x="254" y="102"/>
                  <a:pt x="254" y="103"/>
                </a:cubicBezTo>
                <a:cubicBezTo>
                  <a:pt x="255" y="102"/>
                  <a:pt x="255" y="102"/>
                  <a:pt x="255" y="101"/>
                </a:cubicBezTo>
                <a:cubicBezTo>
                  <a:pt x="256" y="101"/>
                  <a:pt x="256" y="101"/>
                  <a:pt x="256" y="101"/>
                </a:cubicBezTo>
                <a:cubicBezTo>
                  <a:pt x="256" y="100"/>
                  <a:pt x="256" y="100"/>
                  <a:pt x="257" y="100"/>
                </a:cubicBezTo>
                <a:cubicBezTo>
                  <a:pt x="257" y="97"/>
                  <a:pt x="258" y="96"/>
                  <a:pt x="259" y="94"/>
                </a:cubicBezTo>
                <a:cubicBezTo>
                  <a:pt x="259" y="93"/>
                  <a:pt x="259" y="93"/>
                  <a:pt x="259" y="93"/>
                </a:cubicBezTo>
                <a:cubicBezTo>
                  <a:pt x="259" y="91"/>
                  <a:pt x="259" y="91"/>
                  <a:pt x="259" y="91"/>
                </a:cubicBezTo>
                <a:cubicBezTo>
                  <a:pt x="262" y="91"/>
                  <a:pt x="262" y="89"/>
                  <a:pt x="264" y="88"/>
                </a:cubicBezTo>
                <a:cubicBezTo>
                  <a:pt x="266" y="89"/>
                  <a:pt x="266" y="86"/>
                  <a:pt x="268" y="87"/>
                </a:cubicBezTo>
                <a:cubicBezTo>
                  <a:pt x="268" y="85"/>
                  <a:pt x="269" y="85"/>
                  <a:pt x="271" y="85"/>
                </a:cubicBezTo>
                <a:cubicBezTo>
                  <a:pt x="271" y="85"/>
                  <a:pt x="271" y="85"/>
                  <a:pt x="271" y="85"/>
                </a:cubicBezTo>
                <a:cubicBezTo>
                  <a:pt x="271" y="84"/>
                  <a:pt x="271" y="84"/>
                  <a:pt x="272" y="84"/>
                </a:cubicBezTo>
                <a:cubicBezTo>
                  <a:pt x="272" y="83"/>
                  <a:pt x="272" y="82"/>
                  <a:pt x="273" y="82"/>
                </a:cubicBezTo>
                <a:cubicBezTo>
                  <a:pt x="272" y="81"/>
                  <a:pt x="273" y="81"/>
                  <a:pt x="273" y="80"/>
                </a:cubicBezTo>
                <a:cubicBezTo>
                  <a:pt x="273" y="79"/>
                  <a:pt x="273" y="78"/>
                  <a:pt x="273" y="78"/>
                </a:cubicBezTo>
                <a:cubicBezTo>
                  <a:pt x="271" y="78"/>
                  <a:pt x="272" y="75"/>
                  <a:pt x="272" y="74"/>
                </a:cubicBezTo>
                <a:cubicBezTo>
                  <a:pt x="271" y="72"/>
                  <a:pt x="271" y="70"/>
                  <a:pt x="271" y="67"/>
                </a:cubicBezTo>
                <a:cubicBezTo>
                  <a:pt x="271" y="65"/>
                  <a:pt x="269" y="64"/>
                  <a:pt x="268" y="63"/>
                </a:cubicBezTo>
                <a:cubicBezTo>
                  <a:pt x="268" y="61"/>
                  <a:pt x="269" y="61"/>
                  <a:pt x="269" y="60"/>
                </a:cubicBezTo>
                <a:cubicBezTo>
                  <a:pt x="268" y="60"/>
                  <a:pt x="269" y="59"/>
                  <a:pt x="268" y="58"/>
                </a:cubicBezTo>
                <a:cubicBezTo>
                  <a:pt x="269" y="56"/>
                  <a:pt x="266" y="57"/>
                  <a:pt x="266" y="56"/>
                </a:cubicBezTo>
                <a:cubicBezTo>
                  <a:pt x="265" y="56"/>
                  <a:pt x="265" y="55"/>
                  <a:pt x="264" y="55"/>
                </a:cubicBezTo>
                <a:cubicBezTo>
                  <a:pt x="264" y="51"/>
                  <a:pt x="261" y="50"/>
                  <a:pt x="262" y="46"/>
                </a:cubicBezTo>
                <a:cubicBezTo>
                  <a:pt x="262" y="45"/>
                  <a:pt x="260" y="45"/>
                  <a:pt x="260" y="44"/>
                </a:cubicBezTo>
                <a:cubicBezTo>
                  <a:pt x="260" y="42"/>
                  <a:pt x="258" y="42"/>
                  <a:pt x="259" y="39"/>
                </a:cubicBezTo>
                <a:cubicBezTo>
                  <a:pt x="258" y="38"/>
                  <a:pt x="257" y="38"/>
                  <a:pt x="257" y="36"/>
                </a:cubicBezTo>
                <a:cubicBezTo>
                  <a:pt x="256" y="36"/>
                  <a:pt x="256" y="34"/>
                  <a:pt x="255" y="34"/>
                </a:cubicBezTo>
                <a:cubicBezTo>
                  <a:pt x="256" y="31"/>
                  <a:pt x="254" y="31"/>
                  <a:pt x="254" y="28"/>
                </a:cubicBezTo>
                <a:cubicBezTo>
                  <a:pt x="255" y="26"/>
                  <a:pt x="253" y="27"/>
                  <a:pt x="253" y="25"/>
                </a:cubicBezTo>
                <a:cubicBezTo>
                  <a:pt x="252" y="25"/>
                  <a:pt x="252" y="25"/>
                  <a:pt x="252" y="25"/>
                </a:cubicBezTo>
                <a:cubicBezTo>
                  <a:pt x="252" y="19"/>
                  <a:pt x="252" y="19"/>
                  <a:pt x="252" y="19"/>
                </a:cubicBezTo>
                <a:cubicBezTo>
                  <a:pt x="252" y="16"/>
                  <a:pt x="249" y="16"/>
                  <a:pt x="248" y="13"/>
                </a:cubicBezTo>
                <a:cubicBezTo>
                  <a:pt x="247" y="13"/>
                  <a:pt x="245" y="13"/>
                  <a:pt x="245" y="12"/>
                </a:cubicBezTo>
                <a:cubicBezTo>
                  <a:pt x="242" y="12"/>
                  <a:pt x="241" y="10"/>
                  <a:pt x="239" y="9"/>
                </a:cubicBezTo>
                <a:cubicBezTo>
                  <a:pt x="238" y="9"/>
                  <a:pt x="237" y="9"/>
                  <a:pt x="236" y="9"/>
                </a:cubicBezTo>
                <a:cubicBezTo>
                  <a:pt x="236" y="9"/>
                  <a:pt x="236" y="8"/>
                  <a:pt x="236" y="8"/>
                </a:cubicBezTo>
                <a:cubicBezTo>
                  <a:pt x="235" y="8"/>
                  <a:pt x="235" y="8"/>
                  <a:pt x="234" y="8"/>
                </a:cubicBezTo>
                <a:cubicBezTo>
                  <a:pt x="234" y="8"/>
                  <a:pt x="234" y="7"/>
                  <a:pt x="234" y="7"/>
                </a:cubicBezTo>
                <a:cubicBezTo>
                  <a:pt x="233" y="7"/>
                  <a:pt x="232" y="7"/>
                  <a:pt x="231" y="7"/>
                </a:cubicBezTo>
                <a:cubicBezTo>
                  <a:pt x="231" y="7"/>
                  <a:pt x="231" y="7"/>
                  <a:pt x="231" y="6"/>
                </a:cubicBezTo>
                <a:cubicBezTo>
                  <a:pt x="230" y="6"/>
                  <a:pt x="230" y="7"/>
                  <a:pt x="229" y="6"/>
                </a:cubicBezTo>
                <a:cubicBezTo>
                  <a:pt x="229" y="9"/>
                  <a:pt x="229" y="9"/>
                  <a:pt x="229" y="9"/>
                </a:cubicBezTo>
                <a:cubicBezTo>
                  <a:pt x="227" y="9"/>
                  <a:pt x="225" y="10"/>
                  <a:pt x="222" y="10"/>
                </a:cubicBezTo>
                <a:cubicBezTo>
                  <a:pt x="222" y="10"/>
                  <a:pt x="222" y="11"/>
                  <a:pt x="222" y="11"/>
                </a:cubicBezTo>
                <a:cubicBezTo>
                  <a:pt x="218" y="10"/>
                  <a:pt x="217" y="12"/>
                  <a:pt x="213" y="12"/>
                </a:cubicBezTo>
                <a:cubicBezTo>
                  <a:pt x="211" y="13"/>
                  <a:pt x="208" y="13"/>
                  <a:pt x="206" y="14"/>
                </a:cubicBezTo>
                <a:cubicBezTo>
                  <a:pt x="199" y="14"/>
                  <a:pt x="191" y="15"/>
                  <a:pt x="183" y="15"/>
                </a:cubicBezTo>
                <a:cubicBezTo>
                  <a:pt x="181" y="15"/>
                  <a:pt x="179" y="14"/>
                  <a:pt x="176" y="14"/>
                </a:cubicBezTo>
                <a:cubicBezTo>
                  <a:pt x="176" y="14"/>
                  <a:pt x="176" y="14"/>
                  <a:pt x="176" y="13"/>
                </a:cubicBezTo>
                <a:cubicBezTo>
                  <a:pt x="169" y="13"/>
                  <a:pt x="169" y="13"/>
                  <a:pt x="169" y="13"/>
                </a:cubicBezTo>
                <a:cubicBezTo>
                  <a:pt x="167" y="12"/>
                  <a:pt x="159" y="13"/>
                  <a:pt x="154" y="13"/>
                </a:cubicBezTo>
                <a:cubicBezTo>
                  <a:pt x="153" y="13"/>
                  <a:pt x="153" y="14"/>
                  <a:pt x="151" y="13"/>
                </a:cubicBezTo>
                <a:cubicBezTo>
                  <a:pt x="151" y="15"/>
                  <a:pt x="150" y="17"/>
                  <a:pt x="149" y="18"/>
                </a:cubicBezTo>
                <a:cubicBezTo>
                  <a:pt x="145" y="20"/>
                  <a:pt x="143" y="21"/>
                  <a:pt x="142" y="25"/>
                </a:cubicBezTo>
                <a:cubicBezTo>
                  <a:pt x="140" y="25"/>
                  <a:pt x="140" y="25"/>
                  <a:pt x="140" y="25"/>
                </a:cubicBezTo>
                <a:cubicBezTo>
                  <a:pt x="140" y="25"/>
                  <a:pt x="139" y="25"/>
                  <a:pt x="139" y="25"/>
                </a:cubicBezTo>
                <a:cubicBezTo>
                  <a:pt x="139" y="25"/>
                  <a:pt x="139" y="25"/>
                  <a:pt x="139" y="25"/>
                </a:cubicBezTo>
                <a:cubicBezTo>
                  <a:pt x="139" y="25"/>
                  <a:pt x="139" y="25"/>
                  <a:pt x="139" y="25"/>
                </a:cubicBezTo>
                <a:cubicBezTo>
                  <a:pt x="137" y="25"/>
                  <a:pt x="137" y="25"/>
                  <a:pt x="137" y="25"/>
                </a:cubicBezTo>
                <a:cubicBezTo>
                  <a:pt x="137" y="23"/>
                  <a:pt x="137" y="22"/>
                  <a:pt x="138" y="23"/>
                </a:cubicBezTo>
                <a:cubicBezTo>
                  <a:pt x="138" y="22"/>
                  <a:pt x="139" y="22"/>
                  <a:pt x="140" y="22"/>
                </a:cubicBezTo>
                <a:cubicBezTo>
                  <a:pt x="139" y="20"/>
                  <a:pt x="142" y="21"/>
                  <a:pt x="142" y="20"/>
                </a:cubicBezTo>
                <a:cubicBezTo>
                  <a:pt x="144" y="20"/>
                  <a:pt x="143" y="18"/>
                  <a:pt x="144" y="18"/>
                </a:cubicBezTo>
                <a:cubicBezTo>
                  <a:pt x="145" y="17"/>
                  <a:pt x="146" y="17"/>
                  <a:pt x="147" y="17"/>
                </a:cubicBezTo>
                <a:cubicBezTo>
                  <a:pt x="148" y="16"/>
                  <a:pt x="147" y="14"/>
                  <a:pt x="149" y="15"/>
                </a:cubicBezTo>
                <a:cubicBezTo>
                  <a:pt x="149" y="13"/>
                  <a:pt x="151" y="14"/>
                  <a:pt x="151" y="12"/>
                </a:cubicBezTo>
                <a:cubicBezTo>
                  <a:pt x="151" y="11"/>
                  <a:pt x="151" y="11"/>
                  <a:pt x="151" y="11"/>
                </a:cubicBezTo>
                <a:cubicBezTo>
                  <a:pt x="151" y="10"/>
                  <a:pt x="152" y="10"/>
                  <a:pt x="152" y="9"/>
                </a:cubicBezTo>
                <a:cubicBezTo>
                  <a:pt x="151" y="9"/>
                  <a:pt x="150" y="9"/>
                  <a:pt x="150" y="11"/>
                </a:cubicBezTo>
                <a:cubicBezTo>
                  <a:pt x="150" y="11"/>
                  <a:pt x="150" y="11"/>
                  <a:pt x="150" y="11"/>
                </a:cubicBezTo>
                <a:cubicBezTo>
                  <a:pt x="150" y="12"/>
                  <a:pt x="149" y="12"/>
                  <a:pt x="149" y="12"/>
                </a:cubicBezTo>
                <a:cubicBezTo>
                  <a:pt x="148" y="13"/>
                  <a:pt x="149" y="14"/>
                  <a:pt x="148" y="13"/>
                </a:cubicBezTo>
                <a:cubicBezTo>
                  <a:pt x="148" y="14"/>
                  <a:pt x="147" y="15"/>
                  <a:pt x="147" y="16"/>
                </a:cubicBezTo>
                <a:cubicBezTo>
                  <a:pt x="146" y="15"/>
                  <a:pt x="146" y="16"/>
                  <a:pt x="144" y="16"/>
                </a:cubicBezTo>
                <a:cubicBezTo>
                  <a:pt x="144" y="17"/>
                  <a:pt x="144" y="17"/>
                  <a:pt x="144" y="17"/>
                </a:cubicBezTo>
                <a:cubicBezTo>
                  <a:pt x="143" y="17"/>
                  <a:pt x="143" y="18"/>
                  <a:pt x="142" y="18"/>
                </a:cubicBezTo>
                <a:cubicBezTo>
                  <a:pt x="141" y="19"/>
                  <a:pt x="140" y="19"/>
                  <a:pt x="139" y="19"/>
                </a:cubicBezTo>
                <a:cubicBezTo>
                  <a:pt x="138" y="19"/>
                  <a:pt x="138" y="19"/>
                  <a:pt x="137" y="20"/>
                </a:cubicBezTo>
                <a:cubicBezTo>
                  <a:pt x="137" y="20"/>
                  <a:pt x="136" y="20"/>
                  <a:pt x="136" y="20"/>
                </a:cubicBezTo>
                <a:cubicBezTo>
                  <a:pt x="134" y="20"/>
                  <a:pt x="132" y="20"/>
                  <a:pt x="130" y="21"/>
                </a:cubicBezTo>
                <a:cubicBezTo>
                  <a:pt x="130" y="21"/>
                  <a:pt x="129" y="20"/>
                  <a:pt x="128" y="20"/>
                </a:cubicBezTo>
                <a:cubicBezTo>
                  <a:pt x="128" y="20"/>
                  <a:pt x="128" y="20"/>
                  <a:pt x="128" y="20"/>
                </a:cubicBezTo>
                <a:cubicBezTo>
                  <a:pt x="127" y="20"/>
                  <a:pt x="126" y="21"/>
                  <a:pt x="125" y="20"/>
                </a:cubicBezTo>
                <a:cubicBezTo>
                  <a:pt x="125" y="20"/>
                  <a:pt x="124" y="19"/>
                  <a:pt x="123" y="19"/>
                </a:cubicBezTo>
                <a:cubicBezTo>
                  <a:pt x="122" y="19"/>
                  <a:pt x="122" y="19"/>
                  <a:pt x="122" y="18"/>
                </a:cubicBezTo>
                <a:cubicBezTo>
                  <a:pt x="120" y="19"/>
                  <a:pt x="121" y="17"/>
                  <a:pt x="119" y="17"/>
                </a:cubicBezTo>
                <a:cubicBezTo>
                  <a:pt x="120" y="15"/>
                  <a:pt x="118" y="14"/>
                  <a:pt x="119" y="12"/>
                </a:cubicBezTo>
                <a:cubicBezTo>
                  <a:pt x="118" y="11"/>
                  <a:pt x="118" y="11"/>
                  <a:pt x="118" y="11"/>
                </a:cubicBezTo>
                <a:cubicBezTo>
                  <a:pt x="118" y="9"/>
                  <a:pt x="117" y="8"/>
                  <a:pt x="116" y="8"/>
                </a:cubicBezTo>
                <a:cubicBezTo>
                  <a:pt x="115" y="6"/>
                  <a:pt x="117" y="6"/>
                  <a:pt x="117" y="4"/>
                </a:cubicBezTo>
                <a:cubicBezTo>
                  <a:pt x="118" y="5"/>
                  <a:pt x="118" y="6"/>
                  <a:pt x="120" y="6"/>
                </a:cubicBezTo>
                <a:cubicBezTo>
                  <a:pt x="120" y="7"/>
                  <a:pt x="121" y="7"/>
                  <a:pt x="123" y="7"/>
                </a:cubicBezTo>
                <a:cubicBezTo>
                  <a:pt x="123" y="9"/>
                  <a:pt x="125" y="8"/>
                  <a:pt x="124" y="11"/>
                </a:cubicBezTo>
                <a:cubicBezTo>
                  <a:pt x="125" y="11"/>
                  <a:pt x="125" y="10"/>
                  <a:pt x="125" y="10"/>
                </a:cubicBezTo>
                <a:cubicBezTo>
                  <a:pt x="125" y="10"/>
                  <a:pt x="126" y="10"/>
                  <a:pt x="126" y="10"/>
                </a:cubicBezTo>
                <a:cubicBezTo>
                  <a:pt x="126" y="10"/>
                  <a:pt x="126" y="9"/>
                  <a:pt x="126" y="9"/>
                </a:cubicBezTo>
                <a:cubicBezTo>
                  <a:pt x="125" y="8"/>
                  <a:pt x="124" y="8"/>
                  <a:pt x="124" y="6"/>
                </a:cubicBezTo>
                <a:cubicBezTo>
                  <a:pt x="121" y="6"/>
                  <a:pt x="121" y="4"/>
                  <a:pt x="119" y="4"/>
                </a:cubicBezTo>
                <a:cubicBezTo>
                  <a:pt x="118" y="4"/>
                  <a:pt x="117" y="4"/>
                  <a:pt x="117" y="3"/>
                </a:cubicBezTo>
                <a:cubicBezTo>
                  <a:pt x="117" y="2"/>
                  <a:pt x="117" y="2"/>
                  <a:pt x="117" y="2"/>
                </a:cubicBezTo>
                <a:cubicBezTo>
                  <a:pt x="113" y="1"/>
                  <a:pt x="111" y="0"/>
                  <a:pt x="107" y="0"/>
                </a:cubicBezTo>
                <a:cubicBezTo>
                  <a:pt x="105" y="0"/>
                  <a:pt x="105" y="2"/>
                  <a:pt x="102" y="2"/>
                </a:cubicBezTo>
                <a:cubicBezTo>
                  <a:pt x="101" y="2"/>
                  <a:pt x="100" y="3"/>
                  <a:pt x="99" y="3"/>
                </a:cubicBezTo>
                <a:cubicBezTo>
                  <a:pt x="98" y="3"/>
                  <a:pt x="97" y="4"/>
                  <a:pt x="97" y="4"/>
                </a:cubicBezTo>
                <a:cubicBezTo>
                  <a:pt x="92" y="4"/>
                  <a:pt x="89" y="5"/>
                  <a:pt x="84" y="6"/>
                </a:cubicBezTo>
                <a:cubicBezTo>
                  <a:pt x="83" y="7"/>
                  <a:pt x="82" y="7"/>
                  <a:pt x="80" y="8"/>
                </a:cubicBezTo>
                <a:cubicBezTo>
                  <a:pt x="80" y="8"/>
                  <a:pt x="80" y="8"/>
                  <a:pt x="80" y="9"/>
                </a:cubicBezTo>
                <a:cubicBezTo>
                  <a:pt x="80" y="9"/>
                  <a:pt x="80" y="8"/>
                  <a:pt x="80" y="9"/>
                </a:cubicBezTo>
                <a:cubicBezTo>
                  <a:pt x="79" y="9"/>
                  <a:pt x="77" y="10"/>
                  <a:pt x="77" y="12"/>
                </a:cubicBezTo>
                <a:cubicBezTo>
                  <a:pt x="76" y="12"/>
                  <a:pt x="76" y="12"/>
                  <a:pt x="76" y="12"/>
                </a:cubicBezTo>
                <a:cubicBezTo>
                  <a:pt x="76" y="12"/>
                  <a:pt x="76" y="13"/>
                  <a:pt x="75" y="13"/>
                </a:cubicBezTo>
                <a:cubicBezTo>
                  <a:pt x="75" y="13"/>
                  <a:pt x="75" y="13"/>
                  <a:pt x="75" y="13"/>
                </a:cubicBezTo>
                <a:cubicBezTo>
                  <a:pt x="75" y="13"/>
                  <a:pt x="75" y="13"/>
                  <a:pt x="75" y="13"/>
                </a:cubicBezTo>
                <a:cubicBezTo>
                  <a:pt x="73" y="14"/>
                  <a:pt x="71" y="13"/>
                  <a:pt x="71" y="15"/>
                </a:cubicBezTo>
                <a:cubicBezTo>
                  <a:pt x="70" y="15"/>
                  <a:pt x="69" y="15"/>
                  <a:pt x="68" y="16"/>
                </a:cubicBezTo>
                <a:cubicBezTo>
                  <a:pt x="65" y="16"/>
                  <a:pt x="64" y="18"/>
                  <a:pt x="62" y="18"/>
                </a:cubicBezTo>
                <a:cubicBezTo>
                  <a:pt x="62" y="20"/>
                  <a:pt x="61" y="20"/>
                  <a:pt x="61" y="22"/>
                </a:cubicBezTo>
                <a:cubicBezTo>
                  <a:pt x="59" y="22"/>
                  <a:pt x="60" y="24"/>
                  <a:pt x="59" y="24"/>
                </a:cubicBezTo>
                <a:cubicBezTo>
                  <a:pt x="59" y="25"/>
                  <a:pt x="57" y="25"/>
                  <a:pt x="57" y="27"/>
                </a:cubicBezTo>
                <a:cubicBezTo>
                  <a:pt x="56" y="27"/>
                  <a:pt x="56" y="28"/>
                  <a:pt x="55" y="29"/>
                </a:cubicBezTo>
                <a:cubicBezTo>
                  <a:pt x="53" y="28"/>
                  <a:pt x="53" y="30"/>
                  <a:pt x="52" y="29"/>
                </a:cubicBezTo>
                <a:cubicBezTo>
                  <a:pt x="51" y="30"/>
                  <a:pt x="50" y="30"/>
                  <a:pt x="50" y="31"/>
                </a:cubicBezTo>
                <a:cubicBezTo>
                  <a:pt x="48" y="31"/>
                  <a:pt x="48" y="32"/>
                  <a:pt x="46" y="32"/>
                </a:cubicBezTo>
                <a:cubicBezTo>
                  <a:pt x="46" y="33"/>
                  <a:pt x="44" y="32"/>
                  <a:pt x="44" y="33"/>
                </a:cubicBezTo>
                <a:cubicBezTo>
                  <a:pt x="41" y="33"/>
                  <a:pt x="41" y="33"/>
                  <a:pt x="41" y="33"/>
                </a:cubicBezTo>
                <a:cubicBezTo>
                  <a:pt x="38" y="34"/>
                  <a:pt x="35" y="35"/>
                  <a:pt x="32" y="36"/>
                </a:cubicBezTo>
                <a:cubicBezTo>
                  <a:pt x="30" y="37"/>
                  <a:pt x="27" y="38"/>
                  <a:pt x="24" y="38"/>
                </a:cubicBezTo>
                <a:cubicBezTo>
                  <a:pt x="23" y="38"/>
                  <a:pt x="23" y="39"/>
                  <a:pt x="22" y="39"/>
                </a:cubicBezTo>
                <a:cubicBezTo>
                  <a:pt x="22" y="39"/>
                  <a:pt x="20" y="39"/>
                  <a:pt x="20" y="40"/>
                </a:cubicBezTo>
                <a:cubicBezTo>
                  <a:pt x="18" y="40"/>
                  <a:pt x="18" y="40"/>
                  <a:pt x="18" y="40"/>
                </a:cubicBezTo>
                <a:cubicBezTo>
                  <a:pt x="17" y="40"/>
                  <a:pt x="17" y="41"/>
                  <a:pt x="17" y="41"/>
                </a:cubicBezTo>
                <a:cubicBezTo>
                  <a:pt x="16" y="41"/>
                  <a:pt x="16" y="41"/>
                  <a:pt x="16" y="41"/>
                </a:cubicBezTo>
                <a:cubicBezTo>
                  <a:pt x="15" y="42"/>
                  <a:pt x="14" y="43"/>
                  <a:pt x="13" y="43"/>
                </a:cubicBezTo>
                <a:cubicBezTo>
                  <a:pt x="13" y="43"/>
                  <a:pt x="13" y="44"/>
                  <a:pt x="13" y="43"/>
                </a:cubicBezTo>
                <a:cubicBezTo>
                  <a:pt x="12" y="44"/>
                  <a:pt x="11" y="44"/>
                  <a:pt x="11" y="45"/>
                </a:cubicBezTo>
                <a:cubicBezTo>
                  <a:pt x="10" y="45"/>
                  <a:pt x="8" y="45"/>
                  <a:pt x="6" y="46"/>
                </a:cubicBezTo>
                <a:cubicBezTo>
                  <a:pt x="7" y="48"/>
                  <a:pt x="8" y="49"/>
                  <a:pt x="7" y="51"/>
                </a:cubicBezTo>
                <a:cubicBezTo>
                  <a:pt x="9" y="51"/>
                  <a:pt x="9" y="49"/>
                  <a:pt x="11" y="49"/>
                </a:cubicBezTo>
                <a:cubicBezTo>
                  <a:pt x="13" y="48"/>
                  <a:pt x="12" y="51"/>
                  <a:pt x="14" y="50"/>
                </a:cubicBezTo>
                <a:cubicBezTo>
                  <a:pt x="16" y="50"/>
                  <a:pt x="16" y="47"/>
                  <a:pt x="16" y="45"/>
                </a:cubicBezTo>
                <a:cubicBezTo>
                  <a:pt x="18" y="44"/>
                  <a:pt x="19" y="43"/>
                  <a:pt x="20" y="41"/>
                </a:cubicBezTo>
                <a:cubicBezTo>
                  <a:pt x="21" y="42"/>
                  <a:pt x="20" y="43"/>
                  <a:pt x="20" y="43"/>
                </a:cubicBezTo>
                <a:cubicBezTo>
                  <a:pt x="19" y="43"/>
                  <a:pt x="19" y="44"/>
                  <a:pt x="19" y="45"/>
                </a:cubicBezTo>
                <a:cubicBezTo>
                  <a:pt x="18" y="45"/>
                  <a:pt x="18" y="45"/>
                  <a:pt x="18" y="45"/>
                </a:cubicBezTo>
                <a:cubicBezTo>
                  <a:pt x="18" y="46"/>
                  <a:pt x="17" y="46"/>
                  <a:pt x="17" y="48"/>
                </a:cubicBezTo>
                <a:cubicBezTo>
                  <a:pt x="17" y="48"/>
                  <a:pt x="17" y="48"/>
                  <a:pt x="16" y="48"/>
                </a:cubicBezTo>
                <a:cubicBezTo>
                  <a:pt x="16" y="52"/>
                  <a:pt x="14" y="52"/>
                  <a:pt x="13" y="55"/>
                </a:cubicBezTo>
                <a:cubicBezTo>
                  <a:pt x="13" y="57"/>
                  <a:pt x="14" y="58"/>
                  <a:pt x="16" y="59"/>
                </a:cubicBezTo>
                <a:cubicBezTo>
                  <a:pt x="15" y="60"/>
                  <a:pt x="16" y="61"/>
                  <a:pt x="16" y="62"/>
                </a:cubicBezTo>
                <a:cubicBezTo>
                  <a:pt x="17" y="63"/>
                  <a:pt x="17" y="64"/>
                  <a:pt x="18" y="64"/>
                </a:cubicBezTo>
                <a:cubicBezTo>
                  <a:pt x="19" y="65"/>
                  <a:pt x="19" y="70"/>
                  <a:pt x="16" y="69"/>
                </a:cubicBezTo>
                <a:cubicBezTo>
                  <a:pt x="16" y="69"/>
                  <a:pt x="15" y="68"/>
                  <a:pt x="16" y="67"/>
                </a:cubicBezTo>
                <a:cubicBezTo>
                  <a:pt x="16" y="67"/>
                  <a:pt x="16" y="66"/>
                  <a:pt x="16" y="65"/>
                </a:cubicBezTo>
                <a:cubicBezTo>
                  <a:pt x="16" y="63"/>
                  <a:pt x="14" y="64"/>
                  <a:pt x="14" y="61"/>
                </a:cubicBezTo>
                <a:cubicBezTo>
                  <a:pt x="13" y="61"/>
                  <a:pt x="14" y="59"/>
                  <a:pt x="13" y="59"/>
                </a:cubicBezTo>
                <a:cubicBezTo>
                  <a:pt x="13" y="59"/>
                  <a:pt x="13" y="59"/>
                  <a:pt x="13" y="59"/>
                </a:cubicBezTo>
                <a:cubicBezTo>
                  <a:pt x="13" y="58"/>
                  <a:pt x="13" y="58"/>
                  <a:pt x="13" y="57"/>
                </a:cubicBezTo>
                <a:cubicBezTo>
                  <a:pt x="13" y="57"/>
                  <a:pt x="12" y="57"/>
                  <a:pt x="12" y="57"/>
                </a:cubicBezTo>
                <a:cubicBezTo>
                  <a:pt x="12" y="55"/>
                  <a:pt x="9" y="55"/>
                  <a:pt x="8" y="54"/>
                </a:cubicBezTo>
                <a:cubicBezTo>
                  <a:pt x="7" y="54"/>
                  <a:pt x="5" y="52"/>
                  <a:pt x="4" y="55"/>
                </a:cubicBezTo>
                <a:cubicBezTo>
                  <a:pt x="4" y="57"/>
                  <a:pt x="5" y="56"/>
                  <a:pt x="5" y="58"/>
                </a:cubicBezTo>
                <a:cubicBezTo>
                  <a:pt x="7" y="58"/>
                  <a:pt x="6" y="59"/>
                  <a:pt x="7" y="60"/>
                </a:cubicBezTo>
                <a:cubicBezTo>
                  <a:pt x="7" y="61"/>
                  <a:pt x="8" y="62"/>
                  <a:pt x="9" y="64"/>
                </a:cubicBezTo>
                <a:cubicBezTo>
                  <a:pt x="9" y="64"/>
                  <a:pt x="8" y="66"/>
                  <a:pt x="9" y="66"/>
                </a:cubicBezTo>
                <a:cubicBezTo>
                  <a:pt x="9" y="66"/>
                  <a:pt x="9" y="66"/>
                  <a:pt x="9" y="66"/>
                </a:cubicBezTo>
                <a:cubicBezTo>
                  <a:pt x="9" y="67"/>
                  <a:pt x="9" y="70"/>
                  <a:pt x="9" y="71"/>
                </a:cubicBezTo>
                <a:cubicBezTo>
                  <a:pt x="9" y="71"/>
                  <a:pt x="9" y="71"/>
                  <a:pt x="9" y="71"/>
                </a:cubicBezTo>
                <a:cubicBezTo>
                  <a:pt x="8" y="71"/>
                  <a:pt x="9" y="72"/>
                  <a:pt x="9" y="73"/>
                </a:cubicBezTo>
                <a:cubicBezTo>
                  <a:pt x="9" y="73"/>
                  <a:pt x="8" y="73"/>
                  <a:pt x="8" y="74"/>
                </a:cubicBezTo>
                <a:cubicBezTo>
                  <a:pt x="8" y="75"/>
                  <a:pt x="7" y="75"/>
                  <a:pt x="7" y="75"/>
                </a:cubicBezTo>
                <a:cubicBezTo>
                  <a:pt x="7" y="78"/>
                  <a:pt x="7" y="78"/>
                  <a:pt x="7" y="78"/>
                </a:cubicBezTo>
                <a:cubicBezTo>
                  <a:pt x="7" y="77"/>
                  <a:pt x="6" y="78"/>
                  <a:pt x="6" y="78"/>
                </a:cubicBezTo>
                <a:cubicBezTo>
                  <a:pt x="6" y="80"/>
                  <a:pt x="5" y="80"/>
                  <a:pt x="6" y="82"/>
                </a:cubicBezTo>
                <a:cubicBezTo>
                  <a:pt x="5" y="82"/>
                  <a:pt x="5" y="83"/>
                  <a:pt x="5" y="83"/>
                </a:cubicBezTo>
                <a:cubicBezTo>
                  <a:pt x="5" y="84"/>
                  <a:pt x="5" y="85"/>
                  <a:pt x="4" y="85"/>
                </a:cubicBezTo>
                <a:cubicBezTo>
                  <a:pt x="3" y="85"/>
                  <a:pt x="4" y="87"/>
                  <a:pt x="3" y="87"/>
                </a:cubicBezTo>
                <a:cubicBezTo>
                  <a:pt x="1" y="88"/>
                  <a:pt x="0" y="89"/>
                  <a:pt x="0" y="91"/>
                </a:cubicBezTo>
                <a:cubicBezTo>
                  <a:pt x="1" y="93"/>
                  <a:pt x="1" y="96"/>
                  <a:pt x="1" y="98"/>
                </a:cubicBezTo>
                <a:cubicBezTo>
                  <a:pt x="1" y="98"/>
                  <a:pt x="2" y="99"/>
                  <a:pt x="2" y="99"/>
                </a:cubicBezTo>
                <a:cubicBezTo>
                  <a:pt x="2" y="99"/>
                  <a:pt x="3" y="99"/>
                  <a:pt x="3" y="100"/>
                </a:cubicBezTo>
                <a:cubicBezTo>
                  <a:pt x="4" y="100"/>
                  <a:pt x="5" y="100"/>
                  <a:pt x="6" y="101"/>
                </a:cubicBezTo>
                <a:cubicBezTo>
                  <a:pt x="6" y="101"/>
                  <a:pt x="7" y="101"/>
                  <a:pt x="6" y="102"/>
                </a:cubicBezTo>
                <a:cubicBezTo>
                  <a:pt x="7" y="102"/>
                  <a:pt x="8" y="102"/>
                  <a:pt x="8" y="103"/>
                </a:cubicBezTo>
                <a:cubicBezTo>
                  <a:pt x="8" y="103"/>
                  <a:pt x="9" y="103"/>
                  <a:pt x="9" y="104"/>
                </a:cubicBezTo>
                <a:cubicBezTo>
                  <a:pt x="9" y="104"/>
                  <a:pt x="10" y="104"/>
                  <a:pt x="10" y="105"/>
                </a:cubicBezTo>
                <a:cubicBezTo>
                  <a:pt x="11" y="105"/>
                  <a:pt x="11" y="105"/>
                  <a:pt x="11" y="105"/>
                </a:cubicBezTo>
                <a:cubicBezTo>
                  <a:pt x="11" y="105"/>
                  <a:pt x="11" y="105"/>
                  <a:pt x="11" y="105"/>
                </a:cubicBezTo>
                <a:cubicBezTo>
                  <a:pt x="11" y="108"/>
                  <a:pt x="13" y="107"/>
                  <a:pt x="13" y="109"/>
                </a:cubicBezTo>
                <a:cubicBezTo>
                  <a:pt x="14" y="112"/>
                  <a:pt x="13" y="113"/>
                  <a:pt x="12" y="115"/>
                </a:cubicBezTo>
                <a:cubicBezTo>
                  <a:pt x="12" y="120"/>
                  <a:pt x="12" y="120"/>
                  <a:pt x="12" y="120"/>
                </a:cubicBezTo>
                <a:cubicBezTo>
                  <a:pt x="12" y="122"/>
                  <a:pt x="14" y="122"/>
                  <a:pt x="14" y="124"/>
                </a:cubicBezTo>
                <a:cubicBezTo>
                  <a:pt x="14" y="127"/>
                  <a:pt x="14" y="127"/>
                  <a:pt x="14" y="127"/>
                </a:cubicBezTo>
                <a:cubicBezTo>
                  <a:pt x="14" y="129"/>
                  <a:pt x="16" y="129"/>
                  <a:pt x="16" y="131"/>
                </a:cubicBezTo>
                <a:cubicBezTo>
                  <a:pt x="15" y="134"/>
                  <a:pt x="14" y="135"/>
                  <a:pt x="15" y="138"/>
                </a:cubicBezTo>
                <a:cubicBezTo>
                  <a:pt x="15" y="140"/>
                  <a:pt x="13" y="141"/>
                  <a:pt x="13" y="144"/>
                </a:cubicBezTo>
                <a:cubicBezTo>
                  <a:pt x="14" y="144"/>
                  <a:pt x="13" y="145"/>
                  <a:pt x="13" y="145"/>
                </a:cubicBezTo>
                <a:cubicBezTo>
                  <a:pt x="14" y="145"/>
                  <a:pt x="14" y="145"/>
                  <a:pt x="14" y="145"/>
                </a:cubicBezTo>
                <a:cubicBezTo>
                  <a:pt x="14" y="145"/>
                  <a:pt x="14" y="146"/>
                  <a:pt x="14" y="147"/>
                </a:cubicBezTo>
                <a:cubicBezTo>
                  <a:pt x="14" y="147"/>
                  <a:pt x="15" y="146"/>
                  <a:pt x="15" y="147"/>
                </a:cubicBezTo>
                <a:cubicBezTo>
                  <a:pt x="15" y="147"/>
                  <a:pt x="15" y="148"/>
                  <a:pt x="16" y="149"/>
                </a:cubicBezTo>
                <a:cubicBezTo>
                  <a:pt x="16" y="149"/>
                  <a:pt x="16" y="149"/>
                  <a:pt x="16" y="149"/>
                </a:cubicBezTo>
                <a:cubicBezTo>
                  <a:pt x="16" y="149"/>
                  <a:pt x="16" y="149"/>
                  <a:pt x="16" y="149"/>
                </a:cubicBezTo>
                <a:cubicBezTo>
                  <a:pt x="16" y="149"/>
                  <a:pt x="16" y="149"/>
                  <a:pt x="16" y="149"/>
                </a:cubicBezTo>
                <a:cubicBezTo>
                  <a:pt x="16" y="149"/>
                  <a:pt x="16" y="150"/>
                  <a:pt x="16" y="150"/>
                </a:cubicBezTo>
                <a:cubicBezTo>
                  <a:pt x="16" y="150"/>
                  <a:pt x="16" y="150"/>
                  <a:pt x="16" y="150"/>
                </a:cubicBezTo>
                <a:cubicBezTo>
                  <a:pt x="16" y="150"/>
                  <a:pt x="16" y="150"/>
                  <a:pt x="16" y="150"/>
                </a:cubicBezTo>
                <a:cubicBezTo>
                  <a:pt x="16" y="150"/>
                  <a:pt x="16" y="150"/>
                  <a:pt x="16" y="150"/>
                </a:cubicBezTo>
                <a:cubicBezTo>
                  <a:pt x="16" y="150"/>
                  <a:pt x="16" y="150"/>
                  <a:pt x="16" y="151"/>
                </a:cubicBezTo>
                <a:cubicBezTo>
                  <a:pt x="16" y="151"/>
                  <a:pt x="16" y="151"/>
                  <a:pt x="16" y="151"/>
                </a:cubicBezTo>
                <a:cubicBezTo>
                  <a:pt x="16" y="151"/>
                  <a:pt x="16" y="151"/>
                  <a:pt x="16" y="151"/>
                </a:cubicBezTo>
                <a:cubicBezTo>
                  <a:pt x="16" y="151"/>
                  <a:pt x="16" y="151"/>
                  <a:pt x="16" y="151"/>
                </a:cubicBezTo>
                <a:cubicBezTo>
                  <a:pt x="16" y="151"/>
                  <a:pt x="16" y="151"/>
                  <a:pt x="16" y="151"/>
                </a:cubicBezTo>
                <a:cubicBezTo>
                  <a:pt x="16" y="151"/>
                  <a:pt x="16" y="151"/>
                  <a:pt x="16" y="151"/>
                </a:cubicBezTo>
                <a:cubicBezTo>
                  <a:pt x="16" y="152"/>
                  <a:pt x="16" y="152"/>
                  <a:pt x="16" y="152"/>
                </a:cubicBezTo>
                <a:cubicBezTo>
                  <a:pt x="16" y="152"/>
                  <a:pt x="16" y="152"/>
                  <a:pt x="17" y="152"/>
                </a:cubicBezTo>
                <a:cubicBezTo>
                  <a:pt x="17" y="152"/>
                  <a:pt x="17" y="152"/>
                  <a:pt x="17" y="152"/>
                </a:cubicBezTo>
                <a:cubicBezTo>
                  <a:pt x="17" y="152"/>
                  <a:pt x="17" y="152"/>
                  <a:pt x="17" y="152"/>
                </a:cubicBezTo>
                <a:cubicBezTo>
                  <a:pt x="17" y="152"/>
                  <a:pt x="17" y="152"/>
                  <a:pt x="17" y="152"/>
                </a:cubicBezTo>
                <a:cubicBezTo>
                  <a:pt x="17" y="153"/>
                  <a:pt x="17" y="153"/>
                  <a:pt x="17" y="153"/>
                </a:cubicBezTo>
                <a:cubicBezTo>
                  <a:pt x="17" y="153"/>
                  <a:pt x="17" y="153"/>
                  <a:pt x="17" y="153"/>
                </a:cubicBezTo>
                <a:cubicBezTo>
                  <a:pt x="17" y="153"/>
                  <a:pt x="17" y="153"/>
                  <a:pt x="17" y="153"/>
                </a:cubicBezTo>
                <a:cubicBezTo>
                  <a:pt x="17" y="153"/>
                  <a:pt x="17" y="153"/>
                  <a:pt x="17" y="153"/>
                </a:cubicBezTo>
                <a:cubicBezTo>
                  <a:pt x="17" y="153"/>
                  <a:pt x="17" y="153"/>
                  <a:pt x="17" y="154"/>
                </a:cubicBezTo>
                <a:cubicBezTo>
                  <a:pt x="17" y="154"/>
                  <a:pt x="17" y="154"/>
                  <a:pt x="17" y="154"/>
                </a:cubicBezTo>
                <a:cubicBezTo>
                  <a:pt x="17" y="154"/>
                  <a:pt x="17" y="154"/>
                  <a:pt x="17" y="154"/>
                </a:cubicBezTo>
                <a:cubicBezTo>
                  <a:pt x="17" y="154"/>
                  <a:pt x="17" y="154"/>
                  <a:pt x="17" y="154"/>
                </a:cubicBezTo>
                <a:cubicBezTo>
                  <a:pt x="17" y="154"/>
                  <a:pt x="17" y="154"/>
                  <a:pt x="17" y="154"/>
                </a:cubicBezTo>
                <a:cubicBezTo>
                  <a:pt x="17" y="154"/>
                  <a:pt x="17" y="154"/>
                  <a:pt x="17" y="155"/>
                </a:cubicBezTo>
                <a:cubicBezTo>
                  <a:pt x="17" y="155"/>
                  <a:pt x="17" y="155"/>
                  <a:pt x="17" y="155"/>
                </a:cubicBezTo>
                <a:cubicBezTo>
                  <a:pt x="17" y="155"/>
                  <a:pt x="17" y="155"/>
                  <a:pt x="17" y="155"/>
                </a:cubicBezTo>
                <a:cubicBezTo>
                  <a:pt x="17" y="155"/>
                  <a:pt x="17" y="155"/>
                  <a:pt x="17" y="156"/>
                </a:cubicBezTo>
                <a:cubicBezTo>
                  <a:pt x="17" y="156"/>
                  <a:pt x="17" y="157"/>
                  <a:pt x="18" y="157"/>
                </a:cubicBezTo>
                <a:cubicBezTo>
                  <a:pt x="18" y="157"/>
                  <a:pt x="18" y="158"/>
                  <a:pt x="19" y="158"/>
                </a:cubicBezTo>
                <a:cubicBezTo>
                  <a:pt x="20" y="158"/>
                  <a:pt x="20" y="158"/>
                  <a:pt x="20" y="158"/>
                </a:cubicBezTo>
                <a:cubicBezTo>
                  <a:pt x="21" y="158"/>
                  <a:pt x="22" y="160"/>
                  <a:pt x="22" y="160"/>
                </a:cubicBezTo>
                <a:cubicBezTo>
                  <a:pt x="22" y="162"/>
                  <a:pt x="23" y="163"/>
                  <a:pt x="24" y="164"/>
                </a:cubicBezTo>
                <a:cubicBezTo>
                  <a:pt x="24" y="166"/>
                  <a:pt x="25" y="167"/>
                  <a:pt x="25" y="170"/>
                </a:cubicBezTo>
                <a:cubicBezTo>
                  <a:pt x="24" y="174"/>
                  <a:pt x="22" y="179"/>
                  <a:pt x="22" y="184"/>
                </a:cubicBezTo>
                <a:cubicBezTo>
                  <a:pt x="23" y="184"/>
                  <a:pt x="23" y="185"/>
                  <a:pt x="25" y="185"/>
                </a:cubicBezTo>
                <a:cubicBezTo>
                  <a:pt x="26" y="184"/>
                  <a:pt x="26" y="183"/>
                  <a:pt x="26" y="182"/>
                </a:cubicBezTo>
                <a:cubicBezTo>
                  <a:pt x="26" y="180"/>
                  <a:pt x="26" y="179"/>
                  <a:pt x="27" y="179"/>
                </a:cubicBezTo>
                <a:cubicBezTo>
                  <a:pt x="31" y="179"/>
                  <a:pt x="34" y="180"/>
                  <a:pt x="37" y="181"/>
                </a:cubicBezTo>
                <a:cubicBezTo>
                  <a:pt x="37" y="183"/>
                  <a:pt x="37" y="183"/>
                  <a:pt x="37" y="183"/>
                </a:cubicBezTo>
                <a:cubicBezTo>
                  <a:pt x="38" y="183"/>
                  <a:pt x="38" y="185"/>
                  <a:pt x="39" y="185"/>
                </a:cubicBezTo>
                <a:cubicBezTo>
                  <a:pt x="38" y="187"/>
                  <a:pt x="41" y="186"/>
                  <a:pt x="40" y="189"/>
                </a:cubicBezTo>
                <a:cubicBezTo>
                  <a:pt x="41" y="189"/>
                  <a:pt x="43" y="189"/>
                  <a:pt x="43" y="189"/>
                </a:cubicBezTo>
                <a:cubicBezTo>
                  <a:pt x="43" y="189"/>
                  <a:pt x="43" y="189"/>
                  <a:pt x="43" y="190"/>
                </a:cubicBezTo>
                <a:cubicBezTo>
                  <a:pt x="46" y="190"/>
                  <a:pt x="46" y="190"/>
                  <a:pt x="46" y="190"/>
                </a:cubicBezTo>
                <a:cubicBezTo>
                  <a:pt x="46" y="189"/>
                  <a:pt x="47" y="189"/>
                  <a:pt x="48" y="189"/>
                </a:cubicBezTo>
                <a:cubicBezTo>
                  <a:pt x="47" y="191"/>
                  <a:pt x="50" y="190"/>
                  <a:pt x="50" y="191"/>
                </a:cubicBezTo>
                <a:cubicBezTo>
                  <a:pt x="51" y="191"/>
                  <a:pt x="52" y="192"/>
                  <a:pt x="52" y="192"/>
                </a:cubicBezTo>
                <a:cubicBezTo>
                  <a:pt x="54" y="192"/>
                  <a:pt x="54" y="193"/>
                  <a:pt x="56" y="193"/>
                </a:cubicBezTo>
                <a:cubicBezTo>
                  <a:pt x="56" y="193"/>
                  <a:pt x="56" y="193"/>
                  <a:pt x="56" y="193"/>
                </a:cubicBezTo>
                <a:cubicBezTo>
                  <a:pt x="56" y="193"/>
                  <a:pt x="56" y="193"/>
                  <a:pt x="56" y="193"/>
                </a:cubicBezTo>
                <a:cubicBezTo>
                  <a:pt x="56" y="193"/>
                  <a:pt x="56" y="193"/>
                  <a:pt x="56" y="194"/>
                </a:cubicBezTo>
                <a:cubicBezTo>
                  <a:pt x="56" y="194"/>
                  <a:pt x="56" y="194"/>
                  <a:pt x="56" y="194"/>
                </a:cubicBezTo>
                <a:cubicBezTo>
                  <a:pt x="56" y="194"/>
                  <a:pt x="56" y="194"/>
                  <a:pt x="56" y="194"/>
                </a:cubicBezTo>
                <a:cubicBezTo>
                  <a:pt x="56" y="194"/>
                  <a:pt x="56" y="194"/>
                  <a:pt x="56" y="194"/>
                </a:cubicBezTo>
                <a:cubicBezTo>
                  <a:pt x="56" y="194"/>
                  <a:pt x="56" y="195"/>
                  <a:pt x="57" y="195"/>
                </a:cubicBezTo>
                <a:cubicBezTo>
                  <a:pt x="57" y="195"/>
                  <a:pt x="57" y="195"/>
                  <a:pt x="57" y="195"/>
                </a:cubicBezTo>
                <a:cubicBezTo>
                  <a:pt x="57" y="195"/>
                  <a:pt x="57" y="195"/>
                  <a:pt x="57" y="195"/>
                </a:cubicBezTo>
                <a:cubicBezTo>
                  <a:pt x="57" y="195"/>
                  <a:pt x="57" y="195"/>
                  <a:pt x="57" y="195"/>
                </a:cubicBezTo>
                <a:cubicBezTo>
                  <a:pt x="57" y="195"/>
                  <a:pt x="57" y="195"/>
                  <a:pt x="57" y="195"/>
                </a:cubicBezTo>
                <a:cubicBezTo>
                  <a:pt x="57" y="195"/>
                  <a:pt x="58" y="195"/>
                  <a:pt x="58" y="195"/>
                </a:cubicBezTo>
                <a:cubicBezTo>
                  <a:pt x="61" y="195"/>
                  <a:pt x="64" y="194"/>
                  <a:pt x="67" y="193"/>
                </a:cubicBezTo>
                <a:cubicBezTo>
                  <a:pt x="67" y="194"/>
                  <a:pt x="68" y="194"/>
                  <a:pt x="68" y="195"/>
                </a:cubicBezTo>
                <a:cubicBezTo>
                  <a:pt x="69" y="195"/>
                  <a:pt x="69" y="196"/>
                  <a:pt x="70" y="196"/>
                </a:cubicBezTo>
                <a:cubicBezTo>
                  <a:pt x="71" y="197"/>
                  <a:pt x="72" y="198"/>
                  <a:pt x="73" y="199"/>
                </a:cubicBezTo>
                <a:cubicBezTo>
                  <a:pt x="71" y="202"/>
                  <a:pt x="67" y="202"/>
                  <a:pt x="67" y="207"/>
                </a:cubicBezTo>
                <a:cubicBezTo>
                  <a:pt x="67" y="208"/>
                  <a:pt x="68" y="208"/>
                  <a:pt x="68" y="209"/>
                </a:cubicBezTo>
                <a:cubicBezTo>
                  <a:pt x="70" y="209"/>
                  <a:pt x="71" y="210"/>
                  <a:pt x="71" y="211"/>
                </a:cubicBezTo>
                <a:cubicBezTo>
                  <a:pt x="72" y="212"/>
                  <a:pt x="72" y="213"/>
                  <a:pt x="73" y="214"/>
                </a:cubicBezTo>
                <a:cubicBezTo>
                  <a:pt x="73" y="214"/>
                  <a:pt x="74" y="216"/>
                  <a:pt x="74" y="216"/>
                </a:cubicBezTo>
                <a:cubicBezTo>
                  <a:pt x="74" y="216"/>
                  <a:pt x="74" y="217"/>
                  <a:pt x="74" y="217"/>
                </a:cubicBezTo>
                <a:cubicBezTo>
                  <a:pt x="81" y="220"/>
                  <a:pt x="81" y="220"/>
                  <a:pt x="81" y="220"/>
                </a:cubicBezTo>
                <a:cubicBezTo>
                  <a:pt x="81" y="219"/>
                  <a:pt x="82" y="218"/>
                  <a:pt x="83" y="218"/>
                </a:cubicBezTo>
                <a:cubicBezTo>
                  <a:pt x="84" y="217"/>
                  <a:pt x="85" y="216"/>
                  <a:pt x="87" y="216"/>
                </a:cubicBezTo>
                <a:cubicBezTo>
                  <a:pt x="86" y="213"/>
                  <a:pt x="88" y="213"/>
                  <a:pt x="89" y="211"/>
                </a:cubicBezTo>
                <a:cubicBezTo>
                  <a:pt x="88" y="211"/>
                  <a:pt x="88" y="209"/>
                  <a:pt x="87" y="209"/>
                </a:cubicBezTo>
                <a:cubicBezTo>
                  <a:pt x="87" y="208"/>
                  <a:pt x="87" y="208"/>
                  <a:pt x="87" y="207"/>
                </a:cubicBezTo>
                <a:cubicBezTo>
                  <a:pt x="86" y="207"/>
                  <a:pt x="85" y="206"/>
                  <a:pt x="85" y="206"/>
                </a:cubicBezTo>
                <a:cubicBezTo>
                  <a:pt x="84" y="206"/>
                  <a:pt x="84" y="206"/>
                  <a:pt x="84" y="204"/>
                </a:cubicBezTo>
                <a:cubicBezTo>
                  <a:pt x="88" y="204"/>
                  <a:pt x="90" y="206"/>
                  <a:pt x="92" y="208"/>
                </a:cubicBezTo>
                <a:cubicBezTo>
                  <a:pt x="93" y="208"/>
                  <a:pt x="93" y="208"/>
                  <a:pt x="93" y="209"/>
                </a:cubicBezTo>
                <a:cubicBezTo>
                  <a:pt x="93" y="209"/>
                  <a:pt x="94" y="209"/>
                  <a:pt x="94" y="209"/>
                </a:cubicBezTo>
                <a:cubicBezTo>
                  <a:pt x="94" y="210"/>
                  <a:pt x="94" y="210"/>
                  <a:pt x="94" y="211"/>
                </a:cubicBezTo>
                <a:cubicBezTo>
                  <a:pt x="95" y="211"/>
                  <a:pt x="95" y="211"/>
                  <a:pt x="95" y="211"/>
                </a:cubicBezTo>
                <a:cubicBezTo>
                  <a:pt x="96" y="211"/>
                  <a:pt x="96" y="211"/>
                  <a:pt x="96" y="211"/>
                </a:cubicBezTo>
                <a:cubicBezTo>
                  <a:pt x="98" y="210"/>
                  <a:pt x="101" y="210"/>
                  <a:pt x="104" y="210"/>
                </a:cubicBezTo>
                <a:cubicBezTo>
                  <a:pt x="104" y="209"/>
                  <a:pt x="105" y="209"/>
                  <a:pt x="105" y="209"/>
                </a:cubicBezTo>
                <a:cubicBezTo>
                  <a:pt x="107" y="209"/>
                  <a:pt x="107" y="208"/>
                  <a:pt x="108" y="208"/>
                </a:cubicBezTo>
                <a:cubicBezTo>
                  <a:pt x="110" y="209"/>
                  <a:pt x="111" y="211"/>
                  <a:pt x="112" y="213"/>
                </a:cubicBezTo>
                <a:cubicBezTo>
                  <a:pt x="111" y="213"/>
                  <a:pt x="111" y="214"/>
                  <a:pt x="111" y="214"/>
                </a:cubicBezTo>
                <a:cubicBezTo>
                  <a:pt x="111" y="215"/>
                  <a:pt x="110" y="215"/>
                  <a:pt x="110" y="215"/>
                </a:cubicBezTo>
                <a:cubicBezTo>
                  <a:pt x="109" y="215"/>
                  <a:pt x="108" y="216"/>
                  <a:pt x="107" y="217"/>
                </a:cubicBezTo>
                <a:cubicBezTo>
                  <a:pt x="109" y="217"/>
                  <a:pt x="109" y="219"/>
                  <a:pt x="111" y="220"/>
                </a:cubicBezTo>
                <a:cubicBezTo>
                  <a:pt x="112" y="221"/>
                  <a:pt x="112" y="222"/>
                  <a:pt x="114" y="222"/>
                </a:cubicBezTo>
                <a:cubicBezTo>
                  <a:pt x="115" y="222"/>
                  <a:pt x="115" y="222"/>
                  <a:pt x="117" y="222"/>
                </a:cubicBezTo>
                <a:cubicBezTo>
                  <a:pt x="117" y="221"/>
                  <a:pt x="117" y="221"/>
                  <a:pt x="117" y="221"/>
                </a:cubicBezTo>
                <a:cubicBezTo>
                  <a:pt x="118" y="221"/>
                  <a:pt x="118" y="221"/>
                  <a:pt x="118" y="220"/>
                </a:cubicBezTo>
                <a:cubicBezTo>
                  <a:pt x="121" y="220"/>
                  <a:pt x="122" y="222"/>
                  <a:pt x="124" y="222"/>
                </a:cubicBezTo>
                <a:cubicBezTo>
                  <a:pt x="129" y="222"/>
                  <a:pt x="129" y="222"/>
                  <a:pt x="129" y="222"/>
                </a:cubicBezTo>
                <a:cubicBezTo>
                  <a:pt x="130" y="223"/>
                  <a:pt x="132" y="224"/>
                  <a:pt x="134" y="225"/>
                </a:cubicBezTo>
                <a:cubicBezTo>
                  <a:pt x="134" y="225"/>
                  <a:pt x="135" y="225"/>
                  <a:pt x="135" y="225"/>
                </a:cubicBezTo>
                <a:cubicBezTo>
                  <a:pt x="135" y="225"/>
                  <a:pt x="135" y="225"/>
                  <a:pt x="135" y="226"/>
                </a:cubicBezTo>
                <a:cubicBezTo>
                  <a:pt x="135" y="228"/>
                  <a:pt x="135" y="229"/>
                  <a:pt x="135" y="230"/>
                </a:cubicBezTo>
                <a:cubicBezTo>
                  <a:pt x="135" y="230"/>
                  <a:pt x="135" y="231"/>
                  <a:pt x="135" y="232"/>
                </a:cubicBezTo>
                <a:cubicBezTo>
                  <a:pt x="135" y="232"/>
                  <a:pt x="135" y="233"/>
                  <a:pt x="136" y="233"/>
                </a:cubicBezTo>
                <a:cubicBezTo>
                  <a:pt x="136" y="233"/>
                  <a:pt x="137" y="233"/>
                  <a:pt x="137" y="234"/>
                </a:cubicBezTo>
                <a:cubicBezTo>
                  <a:pt x="137" y="234"/>
                  <a:pt x="138" y="234"/>
                  <a:pt x="138" y="234"/>
                </a:cubicBezTo>
                <a:cubicBezTo>
                  <a:pt x="139" y="234"/>
                  <a:pt x="139" y="234"/>
                  <a:pt x="139" y="235"/>
                </a:cubicBezTo>
                <a:cubicBezTo>
                  <a:pt x="140" y="236"/>
                  <a:pt x="141" y="237"/>
                  <a:pt x="142" y="238"/>
                </a:cubicBezTo>
                <a:cubicBezTo>
                  <a:pt x="142" y="239"/>
                  <a:pt x="142" y="239"/>
                  <a:pt x="142" y="240"/>
                </a:cubicBezTo>
                <a:cubicBezTo>
                  <a:pt x="143" y="240"/>
                  <a:pt x="144" y="241"/>
                  <a:pt x="144" y="243"/>
                </a:cubicBezTo>
                <a:cubicBezTo>
                  <a:pt x="144" y="243"/>
                  <a:pt x="144" y="243"/>
                  <a:pt x="144" y="244"/>
                </a:cubicBezTo>
                <a:cubicBezTo>
                  <a:pt x="145" y="246"/>
                  <a:pt x="146" y="248"/>
                  <a:pt x="146" y="250"/>
                </a:cubicBezTo>
                <a:cubicBezTo>
                  <a:pt x="149" y="251"/>
                  <a:pt x="150" y="251"/>
                  <a:pt x="153" y="250"/>
                </a:cubicBezTo>
                <a:cubicBezTo>
                  <a:pt x="154" y="249"/>
                  <a:pt x="154" y="247"/>
                  <a:pt x="155" y="245"/>
                </a:cubicBezTo>
                <a:cubicBezTo>
                  <a:pt x="156" y="245"/>
                  <a:pt x="155" y="244"/>
                  <a:pt x="156" y="244"/>
                </a:cubicBezTo>
                <a:cubicBezTo>
                  <a:pt x="156" y="244"/>
                  <a:pt x="157" y="244"/>
                  <a:pt x="157" y="243"/>
                </a:cubicBezTo>
                <a:cubicBezTo>
                  <a:pt x="157" y="243"/>
                  <a:pt x="158" y="243"/>
                  <a:pt x="158" y="243"/>
                </a:cubicBezTo>
                <a:cubicBezTo>
                  <a:pt x="158" y="243"/>
                  <a:pt x="157" y="242"/>
                  <a:pt x="158" y="242"/>
                </a:cubicBezTo>
                <a:cubicBezTo>
                  <a:pt x="158" y="242"/>
                  <a:pt x="159" y="242"/>
                  <a:pt x="159" y="241"/>
                </a:cubicBezTo>
                <a:cubicBezTo>
                  <a:pt x="160" y="241"/>
                  <a:pt x="160" y="240"/>
                  <a:pt x="162" y="241"/>
                </a:cubicBezTo>
                <a:cubicBezTo>
                  <a:pt x="162" y="240"/>
                  <a:pt x="162" y="239"/>
                  <a:pt x="163" y="239"/>
                </a:cubicBezTo>
                <a:cubicBezTo>
                  <a:pt x="163" y="238"/>
                  <a:pt x="163" y="238"/>
                  <a:pt x="163" y="238"/>
                </a:cubicBezTo>
                <a:cubicBezTo>
                  <a:pt x="164" y="238"/>
                  <a:pt x="164" y="238"/>
                  <a:pt x="165" y="239"/>
                </a:cubicBezTo>
                <a:cubicBezTo>
                  <a:pt x="165" y="240"/>
                  <a:pt x="165" y="242"/>
                  <a:pt x="167" y="242"/>
                </a:cubicBezTo>
                <a:cubicBezTo>
                  <a:pt x="166" y="244"/>
                  <a:pt x="168" y="244"/>
                  <a:pt x="168" y="245"/>
                </a:cubicBezTo>
                <a:cubicBezTo>
                  <a:pt x="172" y="245"/>
                  <a:pt x="173" y="247"/>
                  <a:pt x="174" y="250"/>
                </a:cubicBezTo>
                <a:cubicBezTo>
                  <a:pt x="175" y="252"/>
                  <a:pt x="173" y="252"/>
                  <a:pt x="174" y="254"/>
                </a:cubicBezTo>
                <a:cubicBezTo>
                  <a:pt x="177" y="253"/>
                  <a:pt x="177" y="254"/>
                  <a:pt x="181" y="254"/>
                </a:cubicBezTo>
                <a:cubicBezTo>
                  <a:pt x="181" y="252"/>
                  <a:pt x="182" y="251"/>
                  <a:pt x="182" y="248"/>
                </a:cubicBezTo>
                <a:cubicBezTo>
                  <a:pt x="183" y="248"/>
                  <a:pt x="184" y="248"/>
                  <a:pt x="184" y="247"/>
                </a:cubicBezTo>
                <a:cubicBezTo>
                  <a:pt x="185" y="247"/>
                  <a:pt x="186" y="247"/>
                  <a:pt x="187" y="246"/>
                </a:cubicBezTo>
                <a:cubicBezTo>
                  <a:pt x="189" y="246"/>
                  <a:pt x="190" y="245"/>
                  <a:pt x="192" y="244"/>
                </a:cubicBezTo>
                <a:cubicBezTo>
                  <a:pt x="195" y="245"/>
                  <a:pt x="195" y="242"/>
                  <a:pt x="199" y="243"/>
                </a:cubicBezTo>
                <a:cubicBezTo>
                  <a:pt x="200" y="243"/>
                  <a:pt x="202" y="244"/>
                  <a:pt x="202" y="245"/>
                </a:cubicBezTo>
                <a:cubicBezTo>
                  <a:pt x="203" y="246"/>
                  <a:pt x="205" y="245"/>
                  <a:pt x="207" y="245"/>
                </a:cubicBezTo>
                <a:cubicBezTo>
                  <a:pt x="207" y="245"/>
                  <a:pt x="207" y="245"/>
                  <a:pt x="208" y="245"/>
                </a:cubicBezTo>
                <a:cubicBezTo>
                  <a:pt x="208" y="244"/>
                  <a:pt x="208" y="243"/>
                  <a:pt x="208" y="243"/>
                </a:cubicBezTo>
                <a:cubicBezTo>
                  <a:pt x="208" y="242"/>
                  <a:pt x="209" y="241"/>
                  <a:pt x="210" y="241"/>
                </a:cubicBezTo>
                <a:cubicBezTo>
                  <a:pt x="211" y="241"/>
                  <a:pt x="212" y="241"/>
                  <a:pt x="213" y="241"/>
                </a:cubicBezTo>
                <a:cubicBezTo>
                  <a:pt x="213" y="241"/>
                  <a:pt x="214" y="241"/>
                  <a:pt x="214" y="241"/>
                </a:cubicBezTo>
                <a:cubicBezTo>
                  <a:pt x="214" y="240"/>
                  <a:pt x="214" y="239"/>
                  <a:pt x="214" y="239"/>
                </a:cubicBezTo>
                <a:cubicBezTo>
                  <a:pt x="214" y="239"/>
                  <a:pt x="215" y="239"/>
                  <a:pt x="215" y="239"/>
                </a:cubicBezTo>
                <a:cubicBezTo>
                  <a:pt x="216" y="239"/>
                  <a:pt x="215" y="238"/>
                  <a:pt x="216" y="238"/>
                </a:cubicBezTo>
                <a:cubicBezTo>
                  <a:pt x="218" y="239"/>
                  <a:pt x="218" y="237"/>
                  <a:pt x="220" y="238"/>
                </a:cubicBezTo>
                <a:cubicBezTo>
                  <a:pt x="221" y="239"/>
                  <a:pt x="225" y="237"/>
                  <a:pt x="228" y="238"/>
                </a:cubicBezTo>
                <a:cubicBezTo>
                  <a:pt x="229" y="239"/>
                  <a:pt x="230" y="238"/>
                  <a:pt x="231" y="238"/>
                </a:cubicBezTo>
                <a:cubicBezTo>
                  <a:pt x="232" y="239"/>
                  <a:pt x="232" y="239"/>
                  <a:pt x="233" y="239"/>
                </a:cubicBezTo>
                <a:cubicBezTo>
                  <a:pt x="234" y="239"/>
                  <a:pt x="234" y="239"/>
                  <a:pt x="235" y="239"/>
                </a:cubicBezTo>
                <a:cubicBezTo>
                  <a:pt x="235" y="239"/>
                  <a:pt x="235" y="239"/>
                  <a:pt x="235" y="240"/>
                </a:cubicBezTo>
                <a:cubicBezTo>
                  <a:pt x="235" y="240"/>
                  <a:pt x="235" y="240"/>
                  <a:pt x="235" y="240"/>
                </a:cubicBezTo>
                <a:cubicBezTo>
                  <a:pt x="235" y="240"/>
                  <a:pt x="235" y="240"/>
                  <a:pt x="235" y="240"/>
                </a:cubicBezTo>
                <a:cubicBezTo>
                  <a:pt x="235" y="240"/>
                  <a:pt x="235" y="240"/>
                  <a:pt x="235" y="240"/>
                </a:cubicBezTo>
                <a:cubicBezTo>
                  <a:pt x="235" y="240"/>
                  <a:pt x="235" y="240"/>
                  <a:pt x="235" y="240"/>
                </a:cubicBezTo>
                <a:cubicBezTo>
                  <a:pt x="235" y="240"/>
                  <a:pt x="236" y="240"/>
                  <a:pt x="236" y="240"/>
                </a:cubicBezTo>
                <a:cubicBezTo>
                  <a:pt x="236" y="240"/>
                  <a:pt x="236" y="240"/>
                  <a:pt x="236" y="240"/>
                </a:cubicBezTo>
                <a:cubicBezTo>
                  <a:pt x="236" y="240"/>
                  <a:pt x="236" y="240"/>
                  <a:pt x="236" y="240"/>
                </a:cubicBezTo>
                <a:cubicBezTo>
                  <a:pt x="237" y="240"/>
                  <a:pt x="239" y="240"/>
                  <a:pt x="239" y="242"/>
                </a:cubicBezTo>
                <a:cubicBezTo>
                  <a:pt x="239" y="242"/>
                  <a:pt x="239" y="242"/>
                  <a:pt x="240" y="242"/>
                </a:cubicBezTo>
                <a:cubicBezTo>
                  <a:pt x="240" y="242"/>
                  <a:pt x="240" y="242"/>
                  <a:pt x="240" y="243"/>
                </a:cubicBezTo>
                <a:cubicBezTo>
                  <a:pt x="240" y="243"/>
                  <a:pt x="240" y="243"/>
                  <a:pt x="240" y="243"/>
                </a:cubicBezTo>
                <a:cubicBezTo>
                  <a:pt x="241" y="243"/>
                  <a:pt x="241" y="243"/>
                  <a:pt x="242" y="244"/>
                </a:cubicBezTo>
                <a:cubicBezTo>
                  <a:pt x="242" y="244"/>
                  <a:pt x="242" y="244"/>
                  <a:pt x="242" y="244"/>
                </a:cubicBezTo>
                <a:cubicBezTo>
                  <a:pt x="243" y="245"/>
                  <a:pt x="243" y="246"/>
                  <a:pt x="244" y="246"/>
                </a:cubicBezTo>
                <a:cubicBezTo>
                  <a:pt x="244" y="246"/>
                  <a:pt x="244" y="246"/>
                  <a:pt x="244" y="246"/>
                </a:cubicBezTo>
                <a:cubicBezTo>
                  <a:pt x="245" y="246"/>
                  <a:pt x="245" y="246"/>
                  <a:pt x="246" y="246"/>
                </a:cubicBezTo>
                <a:cubicBezTo>
                  <a:pt x="246" y="246"/>
                  <a:pt x="246" y="246"/>
                  <a:pt x="246" y="246"/>
                </a:cubicBezTo>
                <a:cubicBezTo>
                  <a:pt x="246" y="246"/>
                  <a:pt x="246" y="246"/>
                  <a:pt x="246" y="246"/>
                </a:cubicBezTo>
                <a:cubicBezTo>
                  <a:pt x="246" y="246"/>
                  <a:pt x="246" y="246"/>
                  <a:pt x="247" y="246"/>
                </a:cubicBezTo>
                <a:cubicBezTo>
                  <a:pt x="247" y="246"/>
                  <a:pt x="247" y="247"/>
                  <a:pt x="247" y="247"/>
                </a:cubicBezTo>
                <a:cubicBezTo>
                  <a:pt x="248" y="247"/>
                  <a:pt x="249" y="247"/>
                  <a:pt x="250" y="248"/>
                </a:cubicBezTo>
                <a:cubicBezTo>
                  <a:pt x="250" y="248"/>
                  <a:pt x="250" y="248"/>
                  <a:pt x="250" y="248"/>
                </a:cubicBezTo>
                <a:cubicBezTo>
                  <a:pt x="253" y="248"/>
                  <a:pt x="253" y="248"/>
                  <a:pt x="253" y="248"/>
                </a:cubicBezTo>
                <a:cubicBezTo>
                  <a:pt x="254" y="248"/>
                  <a:pt x="254" y="249"/>
                  <a:pt x="255" y="250"/>
                </a:cubicBezTo>
                <a:cubicBezTo>
                  <a:pt x="257" y="249"/>
                  <a:pt x="257" y="251"/>
                  <a:pt x="259" y="250"/>
                </a:cubicBezTo>
                <a:cubicBezTo>
                  <a:pt x="259" y="251"/>
                  <a:pt x="259" y="251"/>
                  <a:pt x="259" y="251"/>
                </a:cubicBezTo>
                <a:cubicBezTo>
                  <a:pt x="259" y="251"/>
                  <a:pt x="259" y="251"/>
                  <a:pt x="259" y="251"/>
                </a:cubicBezTo>
                <a:cubicBezTo>
                  <a:pt x="262" y="251"/>
                  <a:pt x="262" y="252"/>
                  <a:pt x="265" y="252"/>
                </a:cubicBezTo>
                <a:cubicBezTo>
                  <a:pt x="265" y="251"/>
                  <a:pt x="265" y="251"/>
                  <a:pt x="265" y="251"/>
                </a:cubicBezTo>
                <a:cubicBezTo>
                  <a:pt x="264" y="250"/>
                  <a:pt x="262" y="250"/>
                  <a:pt x="261" y="248"/>
                </a:cubicBezTo>
                <a:cubicBezTo>
                  <a:pt x="261" y="247"/>
                  <a:pt x="261" y="247"/>
                  <a:pt x="261" y="246"/>
                </a:cubicBezTo>
                <a:cubicBezTo>
                  <a:pt x="261" y="246"/>
                  <a:pt x="260" y="246"/>
                  <a:pt x="260" y="245"/>
                </a:cubicBezTo>
                <a:cubicBezTo>
                  <a:pt x="260" y="245"/>
                  <a:pt x="260" y="244"/>
                  <a:pt x="260" y="243"/>
                </a:cubicBezTo>
                <a:cubicBezTo>
                  <a:pt x="260" y="242"/>
                  <a:pt x="259" y="242"/>
                  <a:pt x="259" y="242"/>
                </a:cubicBezTo>
                <a:cubicBezTo>
                  <a:pt x="259" y="240"/>
                  <a:pt x="259" y="240"/>
                  <a:pt x="259" y="238"/>
                </a:cubicBezTo>
                <a:cubicBezTo>
                  <a:pt x="259" y="234"/>
                  <a:pt x="259" y="234"/>
                  <a:pt x="259" y="234"/>
                </a:cubicBezTo>
                <a:cubicBezTo>
                  <a:pt x="257" y="233"/>
                  <a:pt x="257" y="230"/>
                  <a:pt x="257" y="227"/>
                </a:cubicBezTo>
                <a:cubicBezTo>
                  <a:pt x="258" y="224"/>
                  <a:pt x="260" y="223"/>
                  <a:pt x="260" y="220"/>
                </a:cubicBezTo>
                <a:cubicBezTo>
                  <a:pt x="261" y="220"/>
                  <a:pt x="261" y="220"/>
                  <a:pt x="261" y="219"/>
                </a:cubicBezTo>
                <a:cubicBezTo>
                  <a:pt x="263" y="219"/>
                  <a:pt x="262" y="215"/>
                  <a:pt x="264" y="215"/>
                </a:cubicBezTo>
                <a:cubicBezTo>
                  <a:pt x="265" y="213"/>
                  <a:pt x="266" y="213"/>
                  <a:pt x="266" y="211"/>
                </a:cubicBezTo>
                <a:cubicBezTo>
                  <a:pt x="266" y="210"/>
                  <a:pt x="268" y="210"/>
                  <a:pt x="267" y="208"/>
                </a:cubicBezTo>
                <a:cubicBezTo>
                  <a:pt x="268" y="208"/>
                  <a:pt x="268" y="206"/>
                  <a:pt x="269" y="205"/>
                </a:cubicBezTo>
                <a:cubicBezTo>
                  <a:pt x="269" y="204"/>
                  <a:pt x="271" y="203"/>
                  <a:pt x="270" y="202"/>
                </a:cubicBezTo>
                <a:cubicBezTo>
                  <a:pt x="272" y="201"/>
                  <a:pt x="272" y="200"/>
                  <a:pt x="273" y="199"/>
                </a:cubicBezTo>
                <a:cubicBezTo>
                  <a:pt x="274" y="200"/>
                  <a:pt x="273" y="197"/>
                  <a:pt x="275" y="197"/>
                </a:cubicBezTo>
                <a:cubicBezTo>
                  <a:pt x="275" y="196"/>
                  <a:pt x="276" y="196"/>
                  <a:pt x="276" y="195"/>
                </a:cubicBezTo>
                <a:cubicBezTo>
                  <a:pt x="277" y="193"/>
                  <a:pt x="278" y="193"/>
                  <a:pt x="278" y="191"/>
                </a:cubicBezTo>
                <a:cubicBezTo>
                  <a:pt x="278" y="190"/>
                  <a:pt x="279" y="189"/>
                  <a:pt x="279" y="188"/>
                </a:cubicBezTo>
                <a:cubicBezTo>
                  <a:pt x="279" y="188"/>
                  <a:pt x="280" y="188"/>
                  <a:pt x="280" y="188"/>
                </a:cubicBezTo>
                <a:cubicBezTo>
                  <a:pt x="280" y="187"/>
                  <a:pt x="280" y="186"/>
                  <a:pt x="280" y="186"/>
                </a:cubicBezTo>
                <a:cubicBezTo>
                  <a:pt x="280" y="186"/>
                  <a:pt x="280" y="186"/>
                  <a:pt x="280" y="186"/>
                </a:cubicBezTo>
                <a:cubicBezTo>
                  <a:pt x="280" y="186"/>
                  <a:pt x="280" y="186"/>
                  <a:pt x="280" y="186"/>
                </a:cubicBezTo>
                <a:cubicBezTo>
                  <a:pt x="280" y="186"/>
                  <a:pt x="280" y="185"/>
                  <a:pt x="280" y="185"/>
                </a:cubicBezTo>
                <a:cubicBezTo>
                  <a:pt x="281" y="185"/>
                  <a:pt x="281" y="184"/>
                  <a:pt x="281" y="184"/>
                </a:cubicBezTo>
                <a:cubicBezTo>
                  <a:pt x="281" y="184"/>
                  <a:pt x="281" y="184"/>
                  <a:pt x="281" y="184"/>
                </a:cubicBezTo>
                <a:cubicBezTo>
                  <a:pt x="283" y="182"/>
                  <a:pt x="284" y="183"/>
                  <a:pt x="285" y="182"/>
                </a:cubicBezTo>
                <a:cubicBezTo>
                  <a:pt x="285" y="182"/>
                  <a:pt x="285" y="182"/>
                  <a:pt x="285" y="182"/>
                </a:cubicBezTo>
                <a:cubicBezTo>
                  <a:pt x="285" y="182"/>
                  <a:pt x="285" y="182"/>
                  <a:pt x="285" y="182"/>
                </a:cubicBezTo>
                <a:cubicBezTo>
                  <a:pt x="285" y="182"/>
                  <a:pt x="285" y="182"/>
                  <a:pt x="285" y="182"/>
                </a:cubicBezTo>
                <a:cubicBezTo>
                  <a:pt x="285" y="182"/>
                  <a:pt x="285" y="182"/>
                  <a:pt x="285" y="182"/>
                </a:cubicBezTo>
                <a:cubicBezTo>
                  <a:pt x="286" y="182"/>
                  <a:pt x="286" y="182"/>
                  <a:pt x="286" y="182"/>
                </a:cubicBezTo>
                <a:cubicBezTo>
                  <a:pt x="286" y="182"/>
                  <a:pt x="287" y="182"/>
                  <a:pt x="287" y="182"/>
                </a:cubicBezTo>
                <a:cubicBezTo>
                  <a:pt x="287" y="182"/>
                  <a:pt x="287" y="181"/>
                  <a:pt x="287" y="181"/>
                </a:cubicBezTo>
                <a:cubicBezTo>
                  <a:pt x="288" y="181"/>
                  <a:pt x="288" y="181"/>
                  <a:pt x="288" y="181"/>
                </a:cubicBezTo>
                <a:cubicBezTo>
                  <a:pt x="288" y="181"/>
                  <a:pt x="288" y="181"/>
                  <a:pt x="288" y="181"/>
                </a:cubicBezTo>
                <a:cubicBezTo>
                  <a:pt x="289" y="181"/>
                  <a:pt x="289" y="181"/>
                  <a:pt x="289" y="181"/>
                </a:cubicBezTo>
                <a:cubicBezTo>
                  <a:pt x="290" y="178"/>
                  <a:pt x="290" y="176"/>
                  <a:pt x="290" y="173"/>
                </a:cubicBezTo>
                <a:close/>
                <a:moveTo>
                  <a:pt x="25" y="164"/>
                </a:moveTo>
                <a:cubicBezTo>
                  <a:pt x="25" y="164"/>
                  <a:pt x="24" y="164"/>
                  <a:pt x="24" y="164"/>
                </a:cubicBezTo>
                <a:cubicBezTo>
                  <a:pt x="24" y="164"/>
                  <a:pt x="25" y="164"/>
                  <a:pt x="25" y="164"/>
                </a:cubicBezTo>
                <a:close/>
                <a:moveTo>
                  <a:pt x="137" y="25"/>
                </a:moveTo>
                <a:cubicBezTo>
                  <a:pt x="137" y="25"/>
                  <a:pt x="137" y="25"/>
                  <a:pt x="137" y="25"/>
                </a:cubicBezTo>
                <a:cubicBezTo>
                  <a:pt x="137" y="25"/>
                  <a:pt x="137" y="25"/>
                  <a:pt x="137" y="2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3" name="Freeform 51"/>
          <p:cNvSpPr>
            <a:spLocks/>
          </p:cNvSpPr>
          <p:nvPr/>
        </p:nvSpPr>
        <p:spPr bwMode="auto">
          <a:xfrm>
            <a:off x="9541167" y="4162728"/>
            <a:ext cx="441325" cy="506413"/>
          </a:xfrm>
          <a:custGeom>
            <a:avLst/>
            <a:gdLst>
              <a:gd name="T0" fmla="*/ 113 w 114"/>
              <a:gd name="T1" fmla="*/ 73 h 131"/>
              <a:gd name="T2" fmla="*/ 112 w 114"/>
              <a:gd name="T3" fmla="*/ 72 h 131"/>
              <a:gd name="T4" fmla="*/ 111 w 114"/>
              <a:gd name="T5" fmla="*/ 71 h 131"/>
              <a:gd name="T6" fmla="*/ 110 w 114"/>
              <a:gd name="T7" fmla="*/ 66 h 131"/>
              <a:gd name="T8" fmla="*/ 100 w 114"/>
              <a:gd name="T9" fmla="*/ 57 h 131"/>
              <a:gd name="T10" fmla="*/ 93 w 114"/>
              <a:gd name="T11" fmla="*/ 51 h 131"/>
              <a:gd name="T12" fmla="*/ 93 w 114"/>
              <a:gd name="T13" fmla="*/ 46 h 131"/>
              <a:gd name="T14" fmla="*/ 84 w 114"/>
              <a:gd name="T15" fmla="*/ 39 h 131"/>
              <a:gd name="T16" fmla="*/ 77 w 114"/>
              <a:gd name="T17" fmla="*/ 29 h 131"/>
              <a:gd name="T18" fmla="*/ 71 w 114"/>
              <a:gd name="T19" fmla="*/ 17 h 131"/>
              <a:gd name="T20" fmla="*/ 65 w 114"/>
              <a:gd name="T21" fmla="*/ 15 h 131"/>
              <a:gd name="T22" fmla="*/ 64 w 114"/>
              <a:gd name="T23" fmla="*/ 13 h 131"/>
              <a:gd name="T24" fmla="*/ 56 w 114"/>
              <a:gd name="T25" fmla="*/ 11 h 131"/>
              <a:gd name="T26" fmla="*/ 51 w 114"/>
              <a:gd name="T27" fmla="*/ 11 h 131"/>
              <a:gd name="T28" fmla="*/ 38 w 114"/>
              <a:gd name="T29" fmla="*/ 6 h 131"/>
              <a:gd name="T30" fmla="*/ 30 w 114"/>
              <a:gd name="T31" fmla="*/ 2 h 131"/>
              <a:gd name="T32" fmla="*/ 20 w 114"/>
              <a:gd name="T33" fmla="*/ 4 h 131"/>
              <a:gd name="T34" fmla="*/ 11 w 114"/>
              <a:gd name="T35" fmla="*/ 7 h 131"/>
              <a:gd name="T36" fmla="*/ 2 w 114"/>
              <a:gd name="T37" fmla="*/ 11 h 131"/>
              <a:gd name="T38" fmla="*/ 1 w 114"/>
              <a:gd name="T39" fmla="*/ 14 h 131"/>
              <a:gd name="T40" fmla="*/ 2 w 114"/>
              <a:gd name="T41" fmla="*/ 15 h 131"/>
              <a:gd name="T42" fmla="*/ 3 w 114"/>
              <a:gd name="T43" fmla="*/ 15 h 131"/>
              <a:gd name="T44" fmla="*/ 7 w 114"/>
              <a:gd name="T45" fmla="*/ 18 h 131"/>
              <a:gd name="T46" fmla="*/ 10 w 114"/>
              <a:gd name="T47" fmla="*/ 20 h 131"/>
              <a:gd name="T48" fmla="*/ 11 w 114"/>
              <a:gd name="T49" fmla="*/ 21 h 131"/>
              <a:gd name="T50" fmla="*/ 20 w 114"/>
              <a:gd name="T51" fmla="*/ 34 h 131"/>
              <a:gd name="T52" fmla="*/ 31 w 114"/>
              <a:gd name="T53" fmla="*/ 46 h 131"/>
              <a:gd name="T54" fmla="*/ 32 w 114"/>
              <a:gd name="T55" fmla="*/ 47 h 131"/>
              <a:gd name="T56" fmla="*/ 34 w 114"/>
              <a:gd name="T57" fmla="*/ 50 h 131"/>
              <a:gd name="T58" fmla="*/ 38 w 114"/>
              <a:gd name="T59" fmla="*/ 54 h 131"/>
              <a:gd name="T60" fmla="*/ 39 w 114"/>
              <a:gd name="T61" fmla="*/ 54 h 131"/>
              <a:gd name="T62" fmla="*/ 40 w 114"/>
              <a:gd name="T63" fmla="*/ 55 h 131"/>
              <a:gd name="T64" fmla="*/ 41 w 114"/>
              <a:gd name="T65" fmla="*/ 56 h 131"/>
              <a:gd name="T66" fmla="*/ 42 w 114"/>
              <a:gd name="T67" fmla="*/ 57 h 131"/>
              <a:gd name="T68" fmla="*/ 42 w 114"/>
              <a:gd name="T69" fmla="*/ 58 h 131"/>
              <a:gd name="T70" fmla="*/ 52 w 114"/>
              <a:gd name="T71" fmla="*/ 65 h 131"/>
              <a:gd name="T72" fmla="*/ 55 w 114"/>
              <a:gd name="T73" fmla="*/ 71 h 131"/>
              <a:gd name="T74" fmla="*/ 58 w 114"/>
              <a:gd name="T75" fmla="*/ 74 h 131"/>
              <a:gd name="T76" fmla="*/ 60 w 114"/>
              <a:gd name="T77" fmla="*/ 78 h 131"/>
              <a:gd name="T78" fmla="*/ 60 w 114"/>
              <a:gd name="T79" fmla="*/ 79 h 131"/>
              <a:gd name="T80" fmla="*/ 60 w 114"/>
              <a:gd name="T81" fmla="*/ 80 h 131"/>
              <a:gd name="T82" fmla="*/ 61 w 114"/>
              <a:gd name="T83" fmla="*/ 81 h 131"/>
              <a:gd name="T84" fmla="*/ 60 w 114"/>
              <a:gd name="T85" fmla="*/ 82 h 131"/>
              <a:gd name="T86" fmla="*/ 61 w 114"/>
              <a:gd name="T87" fmla="*/ 85 h 131"/>
              <a:gd name="T88" fmla="*/ 58 w 114"/>
              <a:gd name="T89" fmla="*/ 105 h 131"/>
              <a:gd name="T90" fmla="*/ 61 w 114"/>
              <a:gd name="T91" fmla="*/ 117 h 131"/>
              <a:gd name="T92" fmla="*/ 62 w 114"/>
              <a:gd name="T93" fmla="*/ 124 h 131"/>
              <a:gd name="T94" fmla="*/ 66 w 114"/>
              <a:gd name="T95" fmla="*/ 130 h 131"/>
              <a:gd name="T96" fmla="*/ 71 w 114"/>
              <a:gd name="T97" fmla="*/ 130 h 131"/>
              <a:gd name="T98" fmla="*/ 77 w 114"/>
              <a:gd name="T99" fmla="*/ 127 h 131"/>
              <a:gd name="T100" fmla="*/ 81 w 114"/>
              <a:gd name="T101" fmla="*/ 114 h 131"/>
              <a:gd name="T102" fmla="*/ 84 w 114"/>
              <a:gd name="T103" fmla="*/ 112 h 131"/>
              <a:gd name="T104" fmla="*/ 90 w 114"/>
              <a:gd name="T105" fmla="*/ 100 h 131"/>
              <a:gd name="T106" fmla="*/ 89 w 114"/>
              <a:gd name="T107" fmla="*/ 95 h 131"/>
              <a:gd name="T108" fmla="*/ 81 w 114"/>
              <a:gd name="T109" fmla="*/ 82 h 131"/>
              <a:gd name="T110" fmla="*/ 91 w 114"/>
              <a:gd name="T111" fmla="*/ 74 h 131"/>
              <a:gd name="T112" fmla="*/ 96 w 114"/>
              <a:gd name="T113" fmla="*/ 77 h 131"/>
              <a:gd name="T114" fmla="*/ 105 w 114"/>
              <a:gd name="T115" fmla="*/ 76 h 131"/>
              <a:gd name="T116" fmla="*/ 113 w 114"/>
              <a:gd name="T117" fmla="*/ 76 h 131"/>
              <a:gd name="T118" fmla="*/ 113 w 114"/>
              <a:gd name="T119" fmla="*/ 76 h 131"/>
              <a:gd name="T120" fmla="*/ 114 w 114"/>
              <a:gd name="T121" fmla="*/ 7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4" h="131">
                <a:moveTo>
                  <a:pt x="114" y="74"/>
                </a:moveTo>
                <a:cubicBezTo>
                  <a:pt x="114" y="74"/>
                  <a:pt x="114" y="74"/>
                  <a:pt x="114" y="74"/>
                </a:cubicBezTo>
                <a:cubicBezTo>
                  <a:pt x="114" y="74"/>
                  <a:pt x="114" y="74"/>
                  <a:pt x="114" y="74"/>
                </a:cubicBezTo>
                <a:cubicBezTo>
                  <a:pt x="113" y="74"/>
                  <a:pt x="113" y="73"/>
                  <a:pt x="113" y="73"/>
                </a:cubicBezTo>
                <a:cubicBezTo>
                  <a:pt x="112" y="73"/>
                  <a:pt x="112" y="73"/>
                  <a:pt x="112" y="73"/>
                </a:cubicBezTo>
                <a:cubicBezTo>
                  <a:pt x="112" y="73"/>
                  <a:pt x="112" y="73"/>
                  <a:pt x="112" y="73"/>
                </a:cubicBezTo>
                <a:cubicBezTo>
                  <a:pt x="112" y="73"/>
                  <a:pt x="112" y="72"/>
                  <a:pt x="112" y="72"/>
                </a:cubicBezTo>
                <a:cubicBezTo>
                  <a:pt x="112" y="72"/>
                  <a:pt x="112" y="72"/>
                  <a:pt x="112" y="72"/>
                </a:cubicBezTo>
                <a:cubicBezTo>
                  <a:pt x="112" y="72"/>
                  <a:pt x="112" y="71"/>
                  <a:pt x="112" y="71"/>
                </a:cubicBezTo>
                <a:cubicBezTo>
                  <a:pt x="112" y="71"/>
                  <a:pt x="111" y="71"/>
                  <a:pt x="111" y="71"/>
                </a:cubicBezTo>
                <a:cubicBezTo>
                  <a:pt x="111" y="71"/>
                  <a:pt x="111" y="71"/>
                  <a:pt x="111" y="71"/>
                </a:cubicBezTo>
                <a:cubicBezTo>
                  <a:pt x="111" y="71"/>
                  <a:pt x="111" y="71"/>
                  <a:pt x="111" y="71"/>
                </a:cubicBezTo>
                <a:cubicBezTo>
                  <a:pt x="111" y="70"/>
                  <a:pt x="110" y="69"/>
                  <a:pt x="110" y="67"/>
                </a:cubicBezTo>
                <a:cubicBezTo>
                  <a:pt x="110" y="67"/>
                  <a:pt x="110" y="67"/>
                  <a:pt x="110" y="67"/>
                </a:cubicBezTo>
                <a:cubicBezTo>
                  <a:pt x="110" y="67"/>
                  <a:pt x="110" y="67"/>
                  <a:pt x="110" y="67"/>
                </a:cubicBezTo>
                <a:cubicBezTo>
                  <a:pt x="110" y="67"/>
                  <a:pt x="110" y="67"/>
                  <a:pt x="110" y="66"/>
                </a:cubicBezTo>
                <a:cubicBezTo>
                  <a:pt x="110" y="65"/>
                  <a:pt x="109" y="64"/>
                  <a:pt x="109" y="62"/>
                </a:cubicBezTo>
                <a:cubicBezTo>
                  <a:pt x="109" y="60"/>
                  <a:pt x="106" y="60"/>
                  <a:pt x="107" y="58"/>
                </a:cubicBezTo>
                <a:cubicBezTo>
                  <a:pt x="105" y="58"/>
                  <a:pt x="104" y="59"/>
                  <a:pt x="103" y="59"/>
                </a:cubicBezTo>
                <a:cubicBezTo>
                  <a:pt x="103" y="57"/>
                  <a:pt x="99" y="59"/>
                  <a:pt x="100" y="57"/>
                </a:cubicBezTo>
                <a:cubicBezTo>
                  <a:pt x="99" y="57"/>
                  <a:pt x="98" y="58"/>
                  <a:pt x="97" y="58"/>
                </a:cubicBezTo>
                <a:cubicBezTo>
                  <a:pt x="97" y="57"/>
                  <a:pt x="96" y="57"/>
                  <a:pt x="95" y="57"/>
                </a:cubicBezTo>
                <a:cubicBezTo>
                  <a:pt x="95" y="52"/>
                  <a:pt x="95" y="52"/>
                  <a:pt x="95" y="52"/>
                </a:cubicBezTo>
                <a:cubicBezTo>
                  <a:pt x="95" y="51"/>
                  <a:pt x="94" y="51"/>
                  <a:pt x="93" y="51"/>
                </a:cubicBezTo>
                <a:cubicBezTo>
                  <a:pt x="93" y="51"/>
                  <a:pt x="93" y="50"/>
                  <a:pt x="92" y="50"/>
                </a:cubicBezTo>
                <a:cubicBezTo>
                  <a:pt x="92" y="50"/>
                  <a:pt x="92" y="50"/>
                  <a:pt x="91" y="50"/>
                </a:cubicBezTo>
                <a:cubicBezTo>
                  <a:pt x="91" y="48"/>
                  <a:pt x="91" y="48"/>
                  <a:pt x="91" y="48"/>
                </a:cubicBezTo>
                <a:cubicBezTo>
                  <a:pt x="92" y="47"/>
                  <a:pt x="92" y="46"/>
                  <a:pt x="93" y="46"/>
                </a:cubicBezTo>
                <a:cubicBezTo>
                  <a:pt x="92" y="44"/>
                  <a:pt x="92" y="42"/>
                  <a:pt x="91" y="40"/>
                </a:cubicBezTo>
                <a:cubicBezTo>
                  <a:pt x="89" y="40"/>
                  <a:pt x="91" y="43"/>
                  <a:pt x="88" y="43"/>
                </a:cubicBezTo>
                <a:cubicBezTo>
                  <a:pt x="87" y="42"/>
                  <a:pt x="87" y="40"/>
                  <a:pt x="86" y="40"/>
                </a:cubicBezTo>
                <a:cubicBezTo>
                  <a:pt x="85" y="40"/>
                  <a:pt x="85" y="39"/>
                  <a:pt x="84" y="39"/>
                </a:cubicBezTo>
                <a:cubicBezTo>
                  <a:pt x="84" y="38"/>
                  <a:pt x="84" y="38"/>
                  <a:pt x="84" y="37"/>
                </a:cubicBezTo>
                <a:cubicBezTo>
                  <a:pt x="79" y="37"/>
                  <a:pt x="79" y="37"/>
                  <a:pt x="79" y="37"/>
                </a:cubicBezTo>
                <a:cubicBezTo>
                  <a:pt x="78" y="35"/>
                  <a:pt x="77" y="34"/>
                  <a:pt x="76" y="32"/>
                </a:cubicBezTo>
                <a:cubicBezTo>
                  <a:pt x="76" y="31"/>
                  <a:pt x="77" y="30"/>
                  <a:pt x="77" y="29"/>
                </a:cubicBezTo>
                <a:cubicBezTo>
                  <a:pt x="77" y="22"/>
                  <a:pt x="77" y="22"/>
                  <a:pt x="77" y="22"/>
                </a:cubicBezTo>
                <a:cubicBezTo>
                  <a:pt x="78" y="20"/>
                  <a:pt x="75" y="21"/>
                  <a:pt x="76" y="18"/>
                </a:cubicBezTo>
                <a:cubicBezTo>
                  <a:pt x="76" y="17"/>
                  <a:pt x="75" y="16"/>
                  <a:pt x="74" y="15"/>
                </a:cubicBezTo>
                <a:cubicBezTo>
                  <a:pt x="72" y="15"/>
                  <a:pt x="72" y="16"/>
                  <a:pt x="71" y="17"/>
                </a:cubicBezTo>
                <a:cubicBezTo>
                  <a:pt x="70" y="16"/>
                  <a:pt x="69" y="16"/>
                  <a:pt x="67" y="16"/>
                </a:cubicBezTo>
                <a:cubicBezTo>
                  <a:pt x="66" y="16"/>
                  <a:pt x="66" y="16"/>
                  <a:pt x="65" y="16"/>
                </a:cubicBezTo>
                <a:cubicBezTo>
                  <a:pt x="65" y="16"/>
                  <a:pt x="65" y="16"/>
                  <a:pt x="65" y="16"/>
                </a:cubicBezTo>
                <a:cubicBezTo>
                  <a:pt x="65" y="16"/>
                  <a:pt x="65" y="15"/>
                  <a:pt x="65" y="15"/>
                </a:cubicBezTo>
                <a:cubicBezTo>
                  <a:pt x="65" y="15"/>
                  <a:pt x="64" y="14"/>
                  <a:pt x="64" y="14"/>
                </a:cubicBezTo>
                <a:cubicBezTo>
                  <a:pt x="64" y="14"/>
                  <a:pt x="64" y="14"/>
                  <a:pt x="64" y="14"/>
                </a:cubicBezTo>
                <a:cubicBezTo>
                  <a:pt x="64" y="14"/>
                  <a:pt x="64" y="14"/>
                  <a:pt x="64" y="13"/>
                </a:cubicBezTo>
                <a:cubicBezTo>
                  <a:pt x="64" y="13"/>
                  <a:pt x="64" y="13"/>
                  <a:pt x="64" y="13"/>
                </a:cubicBezTo>
                <a:cubicBezTo>
                  <a:pt x="64" y="13"/>
                  <a:pt x="64" y="13"/>
                  <a:pt x="64" y="13"/>
                </a:cubicBezTo>
                <a:cubicBezTo>
                  <a:pt x="63" y="11"/>
                  <a:pt x="59" y="11"/>
                  <a:pt x="57" y="10"/>
                </a:cubicBezTo>
                <a:cubicBezTo>
                  <a:pt x="56" y="10"/>
                  <a:pt x="55" y="10"/>
                  <a:pt x="55" y="11"/>
                </a:cubicBezTo>
                <a:cubicBezTo>
                  <a:pt x="56" y="11"/>
                  <a:pt x="56" y="11"/>
                  <a:pt x="56" y="11"/>
                </a:cubicBezTo>
                <a:cubicBezTo>
                  <a:pt x="55" y="11"/>
                  <a:pt x="55" y="11"/>
                  <a:pt x="55" y="12"/>
                </a:cubicBezTo>
                <a:cubicBezTo>
                  <a:pt x="54" y="12"/>
                  <a:pt x="54" y="12"/>
                  <a:pt x="54" y="13"/>
                </a:cubicBezTo>
                <a:cubicBezTo>
                  <a:pt x="54" y="13"/>
                  <a:pt x="54" y="13"/>
                  <a:pt x="54" y="13"/>
                </a:cubicBezTo>
                <a:cubicBezTo>
                  <a:pt x="52" y="13"/>
                  <a:pt x="52" y="12"/>
                  <a:pt x="51" y="11"/>
                </a:cubicBezTo>
                <a:cubicBezTo>
                  <a:pt x="51" y="11"/>
                  <a:pt x="48" y="10"/>
                  <a:pt x="48" y="11"/>
                </a:cubicBezTo>
                <a:cubicBezTo>
                  <a:pt x="47" y="11"/>
                  <a:pt x="47" y="10"/>
                  <a:pt x="47" y="9"/>
                </a:cubicBezTo>
                <a:cubicBezTo>
                  <a:pt x="44" y="9"/>
                  <a:pt x="43" y="7"/>
                  <a:pt x="40" y="8"/>
                </a:cubicBezTo>
                <a:cubicBezTo>
                  <a:pt x="40" y="6"/>
                  <a:pt x="38" y="7"/>
                  <a:pt x="38" y="6"/>
                </a:cubicBezTo>
                <a:cubicBezTo>
                  <a:pt x="37" y="6"/>
                  <a:pt x="37" y="5"/>
                  <a:pt x="36" y="5"/>
                </a:cubicBezTo>
                <a:cubicBezTo>
                  <a:pt x="36" y="5"/>
                  <a:pt x="35" y="5"/>
                  <a:pt x="35" y="4"/>
                </a:cubicBezTo>
                <a:cubicBezTo>
                  <a:pt x="34" y="4"/>
                  <a:pt x="33" y="4"/>
                  <a:pt x="32" y="3"/>
                </a:cubicBezTo>
                <a:cubicBezTo>
                  <a:pt x="31" y="3"/>
                  <a:pt x="30" y="2"/>
                  <a:pt x="30" y="2"/>
                </a:cubicBezTo>
                <a:cubicBezTo>
                  <a:pt x="26" y="2"/>
                  <a:pt x="25" y="0"/>
                  <a:pt x="21" y="1"/>
                </a:cubicBezTo>
                <a:cubicBezTo>
                  <a:pt x="21" y="2"/>
                  <a:pt x="21" y="2"/>
                  <a:pt x="21" y="2"/>
                </a:cubicBezTo>
                <a:cubicBezTo>
                  <a:pt x="21" y="3"/>
                  <a:pt x="21" y="4"/>
                  <a:pt x="20" y="4"/>
                </a:cubicBezTo>
                <a:cubicBezTo>
                  <a:pt x="20" y="4"/>
                  <a:pt x="20" y="4"/>
                  <a:pt x="20" y="4"/>
                </a:cubicBezTo>
                <a:cubicBezTo>
                  <a:pt x="18" y="4"/>
                  <a:pt x="18" y="5"/>
                  <a:pt x="17" y="5"/>
                </a:cubicBezTo>
                <a:cubicBezTo>
                  <a:pt x="17" y="5"/>
                  <a:pt x="17" y="5"/>
                  <a:pt x="17" y="5"/>
                </a:cubicBezTo>
                <a:cubicBezTo>
                  <a:pt x="15" y="6"/>
                  <a:pt x="15" y="7"/>
                  <a:pt x="13" y="8"/>
                </a:cubicBezTo>
                <a:cubicBezTo>
                  <a:pt x="12" y="8"/>
                  <a:pt x="12" y="7"/>
                  <a:pt x="11" y="7"/>
                </a:cubicBezTo>
                <a:cubicBezTo>
                  <a:pt x="11" y="7"/>
                  <a:pt x="11" y="8"/>
                  <a:pt x="10" y="8"/>
                </a:cubicBezTo>
                <a:cubicBezTo>
                  <a:pt x="8" y="7"/>
                  <a:pt x="8" y="9"/>
                  <a:pt x="6" y="9"/>
                </a:cubicBezTo>
                <a:cubicBezTo>
                  <a:pt x="5" y="9"/>
                  <a:pt x="4" y="8"/>
                  <a:pt x="2" y="9"/>
                </a:cubicBezTo>
                <a:cubicBezTo>
                  <a:pt x="1" y="9"/>
                  <a:pt x="2" y="10"/>
                  <a:pt x="2" y="11"/>
                </a:cubicBezTo>
                <a:cubicBezTo>
                  <a:pt x="3" y="11"/>
                  <a:pt x="3" y="12"/>
                  <a:pt x="3" y="13"/>
                </a:cubicBezTo>
                <a:cubicBezTo>
                  <a:pt x="2" y="13"/>
                  <a:pt x="1" y="13"/>
                  <a:pt x="0" y="14"/>
                </a:cubicBezTo>
                <a:cubicBezTo>
                  <a:pt x="0" y="14"/>
                  <a:pt x="1" y="14"/>
                  <a:pt x="1" y="14"/>
                </a:cubicBezTo>
                <a:cubicBezTo>
                  <a:pt x="1" y="14"/>
                  <a:pt x="1" y="14"/>
                  <a:pt x="1" y="14"/>
                </a:cubicBezTo>
                <a:cubicBezTo>
                  <a:pt x="1" y="14"/>
                  <a:pt x="1" y="14"/>
                  <a:pt x="1" y="14"/>
                </a:cubicBezTo>
                <a:cubicBezTo>
                  <a:pt x="1" y="14"/>
                  <a:pt x="1" y="14"/>
                  <a:pt x="2" y="14"/>
                </a:cubicBezTo>
                <a:cubicBezTo>
                  <a:pt x="2" y="14"/>
                  <a:pt x="2" y="15"/>
                  <a:pt x="2" y="15"/>
                </a:cubicBezTo>
                <a:cubicBezTo>
                  <a:pt x="2" y="15"/>
                  <a:pt x="2" y="15"/>
                  <a:pt x="2" y="15"/>
                </a:cubicBezTo>
                <a:cubicBezTo>
                  <a:pt x="2" y="15"/>
                  <a:pt x="2" y="15"/>
                  <a:pt x="2" y="15"/>
                </a:cubicBezTo>
                <a:cubicBezTo>
                  <a:pt x="2" y="15"/>
                  <a:pt x="2" y="15"/>
                  <a:pt x="3" y="15"/>
                </a:cubicBezTo>
                <a:cubicBezTo>
                  <a:pt x="3" y="15"/>
                  <a:pt x="3" y="15"/>
                  <a:pt x="3" y="15"/>
                </a:cubicBezTo>
                <a:cubicBezTo>
                  <a:pt x="3" y="15"/>
                  <a:pt x="3" y="15"/>
                  <a:pt x="3" y="15"/>
                </a:cubicBezTo>
                <a:cubicBezTo>
                  <a:pt x="3" y="15"/>
                  <a:pt x="3" y="15"/>
                  <a:pt x="3" y="15"/>
                </a:cubicBezTo>
                <a:cubicBezTo>
                  <a:pt x="4" y="16"/>
                  <a:pt x="4" y="18"/>
                  <a:pt x="5" y="18"/>
                </a:cubicBezTo>
                <a:cubicBezTo>
                  <a:pt x="5" y="18"/>
                  <a:pt x="5" y="18"/>
                  <a:pt x="5" y="18"/>
                </a:cubicBezTo>
                <a:cubicBezTo>
                  <a:pt x="6" y="18"/>
                  <a:pt x="6" y="18"/>
                  <a:pt x="7" y="18"/>
                </a:cubicBezTo>
                <a:cubicBezTo>
                  <a:pt x="7" y="18"/>
                  <a:pt x="7" y="18"/>
                  <a:pt x="7" y="18"/>
                </a:cubicBezTo>
                <a:cubicBezTo>
                  <a:pt x="8" y="19"/>
                  <a:pt x="8" y="20"/>
                  <a:pt x="9" y="20"/>
                </a:cubicBezTo>
                <a:cubicBezTo>
                  <a:pt x="9" y="20"/>
                  <a:pt x="9" y="20"/>
                  <a:pt x="9" y="20"/>
                </a:cubicBezTo>
                <a:cubicBezTo>
                  <a:pt x="9" y="20"/>
                  <a:pt x="9" y="20"/>
                  <a:pt x="10" y="20"/>
                </a:cubicBezTo>
                <a:cubicBezTo>
                  <a:pt x="10" y="20"/>
                  <a:pt x="10" y="20"/>
                  <a:pt x="10" y="20"/>
                </a:cubicBezTo>
                <a:cubicBezTo>
                  <a:pt x="10" y="20"/>
                  <a:pt x="10" y="20"/>
                  <a:pt x="10" y="20"/>
                </a:cubicBezTo>
                <a:cubicBezTo>
                  <a:pt x="10" y="20"/>
                  <a:pt x="10" y="21"/>
                  <a:pt x="11" y="21"/>
                </a:cubicBezTo>
                <a:cubicBezTo>
                  <a:pt x="11" y="21"/>
                  <a:pt x="11" y="21"/>
                  <a:pt x="11" y="21"/>
                </a:cubicBezTo>
                <a:cubicBezTo>
                  <a:pt x="11" y="21"/>
                  <a:pt x="12" y="22"/>
                  <a:pt x="12" y="22"/>
                </a:cubicBezTo>
                <a:cubicBezTo>
                  <a:pt x="12" y="24"/>
                  <a:pt x="14" y="24"/>
                  <a:pt x="15" y="26"/>
                </a:cubicBezTo>
                <a:cubicBezTo>
                  <a:pt x="15" y="28"/>
                  <a:pt x="17" y="29"/>
                  <a:pt x="18" y="32"/>
                </a:cubicBezTo>
                <a:cubicBezTo>
                  <a:pt x="19" y="32"/>
                  <a:pt x="19" y="33"/>
                  <a:pt x="20" y="34"/>
                </a:cubicBezTo>
                <a:cubicBezTo>
                  <a:pt x="20" y="35"/>
                  <a:pt x="22" y="35"/>
                  <a:pt x="21" y="36"/>
                </a:cubicBezTo>
                <a:cubicBezTo>
                  <a:pt x="23" y="38"/>
                  <a:pt x="24" y="39"/>
                  <a:pt x="25" y="41"/>
                </a:cubicBezTo>
                <a:cubicBezTo>
                  <a:pt x="27" y="41"/>
                  <a:pt x="27" y="43"/>
                  <a:pt x="28" y="44"/>
                </a:cubicBezTo>
                <a:cubicBezTo>
                  <a:pt x="30" y="44"/>
                  <a:pt x="31" y="45"/>
                  <a:pt x="31" y="46"/>
                </a:cubicBezTo>
                <a:cubicBezTo>
                  <a:pt x="31" y="46"/>
                  <a:pt x="31" y="46"/>
                  <a:pt x="31" y="47"/>
                </a:cubicBezTo>
                <a:cubicBezTo>
                  <a:pt x="31" y="47"/>
                  <a:pt x="31" y="47"/>
                  <a:pt x="31" y="47"/>
                </a:cubicBezTo>
                <a:cubicBezTo>
                  <a:pt x="32" y="47"/>
                  <a:pt x="32" y="47"/>
                  <a:pt x="32" y="47"/>
                </a:cubicBezTo>
                <a:cubicBezTo>
                  <a:pt x="32" y="47"/>
                  <a:pt x="32" y="47"/>
                  <a:pt x="32" y="47"/>
                </a:cubicBezTo>
                <a:cubicBezTo>
                  <a:pt x="32" y="47"/>
                  <a:pt x="32" y="47"/>
                  <a:pt x="32" y="47"/>
                </a:cubicBezTo>
                <a:cubicBezTo>
                  <a:pt x="32" y="47"/>
                  <a:pt x="32" y="48"/>
                  <a:pt x="32" y="48"/>
                </a:cubicBezTo>
                <a:cubicBezTo>
                  <a:pt x="32" y="49"/>
                  <a:pt x="34" y="49"/>
                  <a:pt x="34" y="50"/>
                </a:cubicBezTo>
                <a:cubicBezTo>
                  <a:pt x="34" y="50"/>
                  <a:pt x="34" y="50"/>
                  <a:pt x="34" y="50"/>
                </a:cubicBezTo>
                <a:cubicBezTo>
                  <a:pt x="35" y="50"/>
                  <a:pt x="35" y="50"/>
                  <a:pt x="35" y="51"/>
                </a:cubicBezTo>
                <a:cubicBezTo>
                  <a:pt x="36" y="51"/>
                  <a:pt x="36" y="51"/>
                  <a:pt x="36" y="51"/>
                </a:cubicBezTo>
                <a:cubicBezTo>
                  <a:pt x="37" y="52"/>
                  <a:pt x="39" y="51"/>
                  <a:pt x="38" y="53"/>
                </a:cubicBezTo>
                <a:cubicBezTo>
                  <a:pt x="38" y="53"/>
                  <a:pt x="38" y="53"/>
                  <a:pt x="38" y="54"/>
                </a:cubicBezTo>
                <a:cubicBezTo>
                  <a:pt x="38" y="54"/>
                  <a:pt x="39" y="54"/>
                  <a:pt x="39" y="54"/>
                </a:cubicBezTo>
                <a:cubicBezTo>
                  <a:pt x="39" y="54"/>
                  <a:pt x="39" y="54"/>
                  <a:pt x="39" y="54"/>
                </a:cubicBezTo>
                <a:cubicBezTo>
                  <a:pt x="39" y="54"/>
                  <a:pt x="39" y="54"/>
                  <a:pt x="39" y="54"/>
                </a:cubicBezTo>
                <a:cubicBezTo>
                  <a:pt x="39" y="54"/>
                  <a:pt x="39" y="54"/>
                  <a:pt x="39" y="54"/>
                </a:cubicBezTo>
                <a:cubicBezTo>
                  <a:pt x="39" y="54"/>
                  <a:pt x="39" y="54"/>
                  <a:pt x="40" y="55"/>
                </a:cubicBezTo>
                <a:cubicBezTo>
                  <a:pt x="40" y="55"/>
                  <a:pt x="40" y="55"/>
                  <a:pt x="40" y="55"/>
                </a:cubicBezTo>
                <a:cubicBezTo>
                  <a:pt x="40" y="55"/>
                  <a:pt x="40" y="55"/>
                  <a:pt x="40" y="55"/>
                </a:cubicBezTo>
                <a:cubicBezTo>
                  <a:pt x="40" y="55"/>
                  <a:pt x="40" y="55"/>
                  <a:pt x="40" y="55"/>
                </a:cubicBezTo>
                <a:cubicBezTo>
                  <a:pt x="40" y="55"/>
                  <a:pt x="40" y="55"/>
                  <a:pt x="40" y="55"/>
                </a:cubicBezTo>
                <a:cubicBezTo>
                  <a:pt x="40" y="55"/>
                  <a:pt x="41" y="55"/>
                  <a:pt x="41" y="55"/>
                </a:cubicBezTo>
                <a:cubicBezTo>
                  <a:pt x="41" y="55"/>
                  <a:pt x="41" y="56"/>
                  <a:pt x="41" y="56"/>
                </a:cubicBezTo>
                <a:cubicBezTo>
                  <a:pt x="41" y="56"/>
                  <a:pt x="41" y="56"/>
                  <a:pt x="41" y="56"/>
                </a:cubicBezTo>
                <a:cubicBezTo>
                  <a:pt x="41" y="56"/>
                  <a:pt x="41" y="56"/>
                  <a:pt x="41" y="56"/>
                </a:cubicBezTo>
                <a:cubicBezTo>
                  <a:pt x="41" y="56"/>
                  <a:pt x="41" y="56"/>
                  <a:pt x="41" y="56"/>
                </a:cubicBezTo>
                <a:cubicBezTo>
                  <a:pt x="41" y="56"/>
                  <a:pt x="41" y="56"/>
                  <a:pt x="41" y="56"/>
                </a:cubicBezTo>
                <a:cubicBezTo>
                  <a:pt x="41" y="57"/>
                  <a:pt x="42" y="57"/>
                  <a:pt x="42" y="57"/>
                </a:cubicBezTo>
                <a:cubicBezTo>
                  <a:pt x="42" y="57"/>
                  <a:pt x="42" y="57"/>
                  <a:pt x="42" y="57"/>
                </a:cubicBezTo>
                <a:cubicBezTo>
                  <a:pt x="42" y="57"/>
                  <a:pt x="42" y="57"/>
                  <a:pt x="42" y="57"/>
                </a:cubicBezTo>
                <a:cubicBezTo>
                  <a:pt x="42" y="57"/>
                  <a:pt x="42" y="57"/>
                  <a:pt x="42" y="57"/>
                </a:cubicBezTo>
                <a:cubicBezTo>
                  <a:pt x="42" y="58"/>
                  <a:pt x="42" y="58"/>
                  <a:pt x="42" y="58"/>
                </a:cubicBezTo>
                <a:cubicBezTo>
                  <a:pt x="42" y="58"/>
                  <a:pt x="42" y="58"/>
                  <a:pt x="42" y="58"/>
                </a:cubicBezTo>
                <a:cubicBezTo>
                  <a:pt x="42" y="58"/>
                  <a:pt x="42" y="58"/>
                  <a:pt x="42" y="59"/>
                </a:cubicBezTo>
                <a:cubicBezTo>
                  <a:pt x="45" y="59"/>
                  <a:pt x="46" y="60"/>
                  <a:pt x="49" y="61"/>
                </a:cubicBezTo>
                <a:cubicBezTo>
                  <a:pt x="50" y="63"/>
                  <a:pt x="52" y="63"/>
                  <a:pt x="52" y="65"/>
                </a:cubicBezTo>
                <a:cubicBezTo>
                  <a:pt x="53" y="66"/>
                  <a:pt x="53" y="67"/>
                  <a:pt x="53" y="69"/>
                </a:cubicBezTo>
                <a:cubicBezTo>
                  <a:pt x="53" y="69"/>
                  <a:pt x="54" y="70"/>
                  <a:pt x="54" y="70"/>
                </a:cubicBezTo>
                <a:cubicBezTo>
                  <a:pt x="54" y="70"/>
                  <a:pt x="54" y="70"/>
                  <a:pt x="54" y="70"/>
                </a:cubicBezTo>
                <a:cubicBezTo>
                  <a:pt x="55" y="70"/>
                  <a:pt x="55" y="70"/>
                  <a:pt x="55" y="71"/>
                </a:cubicBezTo>
                <a:cubicBezTo>
                  <a:pt x="55" y="71"/>
                  <a:pt x="55" y="71"/>
                  <a:pt x="55" y="71"/>
                </a:cubicBezTo>
                <a:cubicBezTo>
                  <a:pt x="56" y="71"/>
                  <a:pt x="57" y="73"/>
                  <a:pt x="57" y="73"/>
                </a:cubicBezTo>
                <a:cubicBezTo>
                  <a:pt x="57" y="74"/>
                  <a:pt x="57" y="74"/>
                  <a:pt x="58" y="74"/>
                </a:cubicBezTo>
                <a:cubicBezTo>
                  <a:pt x="58" y="74"/>
                  <a:pt x="58" y="74"/>
                  <a:pt x="58" y="74"/>
                </a:cubicBezTo>
                <a:cubicBezTo>
                  <a:pt x="58" y="74"/>
                  <a:pt x="58" y="75"/>
                  <a:pt x="58" y="75"/>
                </a:cubicBezTo>
                <a:cubicBezTo>
                  <a:pt x="58" y="75"/>
                  <a:pt x="58" y="75"/>
                  <a:pt x="58" y="75"/>
                </a:cubicBezTo>
                <a:cubicBezTo>
                  <a:pt x="58" y="75"/>
                  <a:pt x="58" y="75"/>
                  <a:pt x="58" y="75"/>
                </a:cubicBezTo>
                <a:cubicBezTo>
                  <a:pt x="60" y="76"/>
                  <a:pt x="60" y="77"/>
                  <a:pt x="60" y="78"/>
                </a:cubicBezTo>
                <a:cubicBezTo>
                  <a:pt x="60" y="78"/>
                  <a:pt x="60" y="78"/>
                  <a:pt x="60" y="78"/>
                </a:cubicBezTo>
                <a:cubicBezTo>
                  <a:pt x="60" y="79"/>
                  <a:pt x="60" y="79"/>
                  <a:pt x="60" y="79"/>
                </a:cubicBezTo>
                <a:cubicBezTo>
                  <a:pt x="60" y="79"/>
                  <a:pt x="60" y="79"/>
                  <a:pt x="60" y="79"/>
                </a:cubicBezTo>
                <a:cubicBezTo>
                  <a:pt x="60" y="79"/>
                  <a:pt x="60" y="79"/>
                  <a:pt x="60" y="79"/>
                </a:cubicBezTo>
                <a:cubicBezTo>
                  <a:pt x="60" y="80"/>
                  <a:pt x="60" y="80"/>
                  <a:pt x="60" y="80"/>
                </a:cubicBezTo>
                <a:cubicBezTo>
                  <a:pt x="60" y="80"/>
                  <a:pt x="60" y="80"/>
                  <a:pt x="60" y="80"/>
                </a:cubicBezTo>
                <a:cubicBezTo>
                  <a:pt x="60" y="80"/>
                  <a:pt x="60" y="80"/>
                  <a:pt x="60" y="80"/>
                </a:cubicBezTo>
                <a:cubicBezTo>
                  <a:pt x="60" y="80"/>
                  <a:pt x="60" y="80"/>
                  <a:pt x="60" y="80"/>
                </a:cubicBezTo>
                <a:cubicBezTo>
                  <a:pt x="60" y="81"/>
                  <a:pt x="61" y="81"/>
                  <a:pt x="61" y="81"/>
                </a:cubicBezTo>
                <a:cubicBezTo>
                  <a:pt x="61" y="81"/>
                  <a:pt x="61" y="81"/>
                  <a:pt x="61" y="81"/>
                </a:cubicBezTo>
                <a:cubicBezTo>
                  <a:pt x="61" y="81"/>
                  <a:pt x="61" y="81"/>
                  <a:pt x="61" y="81"/>
                </a:cubicBezTo>
                <a:cubicBezTo>
                  <a:pt x="61" y="81"/>
                  <a:pt x="61" y="81"/>
                  <a:pt x="61" y="81"/>
                </a:cubicBezTo>
                <a:cubicBezTo>
                  <a:pt x="61" y="81"/>
                  <a:pt x="61" y="81"/>
                  <a:pt x="60" y="82"/>
                </a:cubicBezTo>
                <a:cubicBezTo>
                  <a:pt x="60" y="82"/>
                  <a:pt x="60" y="82"/>
                  <a:pt x="60" y="82"/>
                </a:cubicBezTo>
                <a:cubicBezTo>
                  <a:pt x="60" y="82"/>
                  <a:pt x="60" y="82"/>
                  <a:pt x="60" y="82"/>
                </a:cubicBezTo>
                <a:cubicBezTo>
                  <a:pt x="60" y="82"/>
                  <a:pt x="60" y="82"/>
                  <a:pt x="60" y="82"/>
                </a:cubicBezTo>
                <a:cubicBezTo>
                  <a:pt x="60" y="82"/>
                  <a:pt x="60" y="82"/>
                  <a:pt x="60" y="82"/>
                </a:cubicBezTo>
                <a:cubicBezTo>
                  <a:pt x="60" y="82"/>
                  <a:pt x="60" y="82"/>
                  <a:pt x="60" y="83"/>
                </a:cubicBezTo>
                <a:cubicBezTo>
                  <a:pt x="60" y="83"/>
                  <a:pt x="60" y="83"/>
                  <a:pt x="60" y="83"/>
                </a:cubicBezTo>
                <a:cubicBezTo>
                  <a:pt x="61" y="83"/>
                  <a:pt x="61" y="84"/>
                  <a:pt x="61" y="85"/>
                </a:cubicBezTo>
                <a:cubicBezTo>
                  <a:pt x="62" y="90"/>
                  <a:pt x="60" y="93"/>
                  <a:pt x="59" y="97"/>
                </a:cubicBezTo>
                <a:cubicBezTo>
                  <a:pt x="60" y="99"/>
                  <a:pt x="60" y="100"/>
                  <a:pt x="60" y="102"/>
                </a:cubicBezTo>
                <a:cubicBezTo>
                  <a:pt x="60" y="103"/>
                  <a:pt x="59" y="103"/>
                  <a:pt x="58" y="103"/>
                </a:cubicBezTo>
                <a:cubicBezTo>
                  <a:pt x="58" y="105"/>
                  <a:pt x="58" y="105"/>
                  <a:pt x="58" y="105"/>
                </a:cubicBezTo>
                <a:cubicBezTo>
                  <a:pt x="59" y="106"/>
                  <a:pt x="59" y="107"/>
                  <a:pt x="59" y="108"/>
                </a:cubicBezTo>
                <a:cubicBezTo>
                  <a:pt x="60" y="109"/>
                  <a:pt x="60" y="110"/>
                  <a:pt x="60" y="111"/>
                </a:cubicBezTo>
                <a:cubicBezTo>
                  <a:pt x="60" y="112"/>
                  <a:pt x="60" y="112"/>
                  <a:pt x="61" y="112"/>
                </a:cubicBezTo>
                <a:cubicBezTo>
                  <a:pt x="61" y="117"/>
                  <a:pt x="61" y="117"/>
                  <a:pt x="61" y="117"/>
                </a:cubicBezTo>
                <a:cubicBezTo>
                  <a:pt x="62" y="117"/>
                  <a:pt x="61" y="119"/>
                  <a:pt x="63" y="119"/>
                </a:cubicBezTo>
                <a:cubicBezTo>
                  <a:pt x="62" y="121"/>
                  <a:pt x="64" y="120"/>
                  <a:pt x="64" y="122"/>
                </a:cubicBezTo>
                <a:cubicBezTo>
                  <a:pt x="64" y="123"/>
                  <a:pt x="63" y="123"/>
                  <a:pt x="63" y="123"/>
                </a:cubicBezTo>
                <a:cubicBezTo>
                  <a:pt x="62" y="123"/>
                  <a:pt x="62" y="123"/>
                  <a:pt x="62" y="124"/>
                </a:cubicBezTo>
                <a:cubicBezTo>
                  <a:pt x="62" y="124"/>
                  <a:pt x="61" y="124"/>
                  <a:pt x="61" y="125"/>
                </a:cubicBezTo>
                <a:cubicBezTo>
                  <a:pt x="62" y="126"/>
                  <a:pt x="62" y="126"/>
                  <a:pt x="64" y="126"/>
                </a:cubicBezTo>
                <a:cubicBezTo>
                  <a:pt x="64" y="127"/>
                  <a:pt x="65" y="128"/>
                  <a:pt x="66" y="128"/>
                </a:cubicBezTo>
                <a:cubicBezTo>
                  <a:pt x="66" y="129"/>
                  <a:pt x="66" y="130"/>
                  <a:pt x="66" y="130"/>
                </a:cubicBezTo>
                <a:cubicBezTo>
                  <a:pt x="66" y="131"/>
                  <a:pt x="66" y="131"/>
                  <a:pt x="66" y="131"/>
                </a:cubicBezTo>
                <a:cubicBezTo>
                  <a:pt x="67" y="131"/>
                  <a:pt x="67" y="130"/>
                  <a:pt x="68" y="130"/>
                </a:cubicBezTo>
                <a:cubicBezTo>
                  <a:pt x="69" y="130"/>
                  <a:pt x="70" y="130"/>
                  <a:pt x="71" y="130"/>
                </a:cubicBezTo>
                <a:cubicBezTo>
                  <a:pt x="71" y="130"/>
                  <a:pt x="71" y="130"/>
                  <a:pt x="71" y="130"/>
                </a:cubicBezTo>
                <a:cubicBezTo>
                  <a:pt x="71" y="130"/>
                  <a:pt x="71" y="130"/>
                  <a:pt x="71" y="130"/>
                </a:cubicBezTo>
                <a:cubicBezTo>
                  <a:pt x="71" y="128"/>
                  <a:pt x="71" y="128"/>
                  <a:pt x="71" y="128"/>
                </a:cubicBezTo>
                <a:cubicBezTo>
                  <a:pt x="72" y="128"/>
                  <a:pt x="72" y="127"/>
                  <a:pt x="73" y="127"/>
                </a:cubicBezTo>
                <a:cubicBezTo>
                  <a:pt x="77" y="127"/>
                  <a:pt x="77" y="127"/>
                  <a:pt x="77" y="127"/>
                </a:cubicBezTo>
                <a:cubicBezTo>
                  <a:pt x="79" y="126"/>
                  <a:pt x="80" y="124"/>
                  <a:pt x="80" y="120"/>
                </a:cubicBezTo>
                <a:cubicBezTo>
                  <a:pt x="79" y="119"/>
                  <a:pt x="79" y="119"/>
                  <a:pt x="79" y="118"/>
                </a:cubicBezTo>
                <a:cubicBezTo>
                  <a:pt x="78" y="118"/>
                  <a:pt x="78" y="117"/>
                  <a:pt x="77" y="117"/>
                </a:cubicBezTo>
                <a:cubicBezTo>
                  <a:pt x="80" y="117"/>
                  <a:pt x="80" y="115"/>
                  <a:pt x="81" y="114"/>
                </a:cubicBezTo>
                <a:cubicBezTo>
                  <a:pt x="82" y="114"/>
                  <a:pt x="82" y="114"/>
                  <a:pt x="82" y="114"/>
                </a:cubicBezTo>
                <a:cubicBezTo>
                  <a:pt x="83" y="114"/>
                  <a:pt x="83" y="113"/>
                  <a:pt x="83" y="112"/>
                </a:cubicBezTo>
                <a:cubicBezTo>
                  <a:pt x="84" y="112"/>
                  <a:pt x="84" y="112"/>
                  <a:pt x="84" y="112"/>
                </a:cubicBezTo>
                <a:cubicBezTo>
                  <a:pt x="84" y="112"/>
                  <a:pt x="84" y="112"/>
                  <a:pt x="84" y="112"/>
                </a:cubicBezTo>
                <a:cubicBezTo>
                  <a:pt x="84" y="109"/>
                  <a:pt x="86" y="108"/>
                  <a:pt x="85" y="105"/>
                </a:cubicBezTo>
                <a:cubicBezTo>
                  <a:pt x="86" y="104"/>
                  <a:pt x="88" y="104"/>
                  <a:pt x="88" y="103"/>
                </a:cubicBezTo>
                <a:cubicBezTo>
                  <a:pt x="89" y="102"/>
                  <a:pt x="89" y="102"/>
                  <a:pt x="89" y="101"/>
                </a:cubicBezTo>
                <a:cubicBezTo>
                  <a:pt x="89" y="100"/>
                  <a:pt x="89" y="100"/>
                  <a:pt x="90" y="100"/>
                </a:cubicBezTo>
                <a:cubicBezTo>
                  <a:pt x="90" y="99"/>
                  <a:pt x="89" y="99"/>
                  <a:pt x="89" y="98"/>
                </a:cubicBezTo>
                <a:cubicBezTo>
                  <a:pt x="89" y="98"/>
                  <a:pt x="89" y="96"/>
                  <a:pt x="88" y="96"/>
                </a:cubicBezTo>
                <a:cubicBezTo>
                  <a:pt x="88" y="96"/>
                  <a:pt x="88" y="96"/>
                  <a:pt x="88" y="96"/>
                </a:cubicBezTo>
                <a:cubicBezTo>
                  <a:pt x="89" y="96"/>
                  <a:pt x="89" y="95"/>
                  <a:pt x="89" y="95"/>
                </a:cubicBezTo>
                <a:cubicBezTo>
                  <a:pt x="88" y="93"/>
                  <a:pt x="90" y="93"/>
                  <a:pt x="89" y="91"/>
                </a:cubicBezTo>
                <a:cubicBezTo>
                  <a:pt x="89" y="89"/>
                  <a:pt x="86" y="90"/>
                  <a:pt x="86" y="87"/>
                </a:cubicBezTo>
                <a:cubicBezTo>
                  <a:pt x="84" y="88"/>
                  <a:pt x="84" y="86"/>
                  <a:pt x="82" y="87"/>
                </a:cubicBezTo>
                <a:cubicBezTo>
                  <a:pt x="82" y="85"/>
                  <a:pt x="82" y="83"/>
                  <a:pt x="81" y="82"/>
                </a:cubicBezTo>
                <a:cubicBezTo>
                  <a:pt x="82" y="82"/>
                  <a:pt x="82" y="80"/>
                  <a:pt x="82" y="80"/>
                </a:cubicBezTo>
                <a:cubicBezTo>
                  <a:pt x="83" y="78"/>
                  <a:pt x="84" y="77"/>
                  <a:pt x="87" y="76"/>
                </a:cubicBezTo>
                <a:cubicBezTo>
                  <a:pt x="87" y="75"/>
                  <a:pt x="88" y="75"/>
                  <a:pt x="88" y="75"/>
                </a:cubicBezTo>
                <a:cubicBezTo>
                  <a:pt x="89" y="75"/>
                  <a:pt x="89" y="74"/>
                  <a:pt x="91" y="74"/>
                </a:cubicBezTo>
                <a:cubicBezTo>
                  <a:pt x="91" y="75"/>
                  <a:pt x="91" y="76"/>
                  <a:pt x="91" y="76"/>
                </a:cubicBezTo>
                <a:cubicBezTo>
                  <a:pt x="92" y="77"/>
                  <a:pt x="91" y="78"/>
                  <a:pt x="92" y="78"/>
                </a:cubicBezTo>
                <a:cubicBezTo>
                  <a:pt x="92" y="77"/>
                  <a:pt x="92" y="76"/>
                  <a:pt x="94" y="75"/>
                </a:cubicBezTo>
                <a:cubicBezTo>
                  <a:pt x="95" y="76"/>
                  <a:pt x="95" y="76"/>
                  <a:pt x="96" y="77"/>
                </a:cubicBezTo>
                <a:cubicBezTo>
                  <a:pt x="97" y="76"/>
                  <a:pt x="97" y="75"/>
                  <a:pt x="98" y="75"/>
                </a:cubicBezTo>
                <a:cubicBezTo>
                  <a:pt x="98" y="77"/>
                  <a:pt x="100" y="76"/>
                  <a:pt x="100" y="78"/>
                </a:cubicBezTo>
                <a:cubicBezTo>
                  <a:pt x="102" y="78"/>
                  <a:pt x="102" y="79"/>
                  <a:pt x="103" y="80"/>
                </a:cubicBezTo>
                <a:cubicBezTo>
                  <a:pt x="103" y="78"/>
                  <a:pt x="103" y="76"/>
                  <a:pt x="105" y="76"/>
                </a:cubicBezTo>
                <a:cubicBezTo>
                  <a:pt x="106" y="76"/>
                  <a:pt x="106" y="74"/>
                  <a:pt x="107" y="75"/>
                </a:cubicBezTo>
                <a:cubicBezTo>
                  <a:pt x="109" y="75"/>
                  <a:pt x="109" y="77"/>
                  <a:pt x="111" y="77"/>
                </a:cubicBezTo>
                <a:cubicBezTo>
                  <a:pt x="112" y="77"/>
                  <a:pt x="112" y="76"/>
                  <a:pt x="112" y="76"/>
                </a:cubicBezTo>
                <a:cubicBezTo>
                  <a:pt x="112" y="76"/>
                  <a:pt x="112" y="76"/>
                  <a:pt x="113" y="76"/>
                </a:cubicBezTo>
                <a:cubicBezTo>
                  <a:pt x="113" y="76"/>
                  <a:pt x="113" y="76"/>
                  <a:pt x="113" y="76"/>
                </a:cubicBezTo>
                <a:cubicBezTo>
                  <a:pt x="113" y="76"/>
                  <a:pt x="113" y="76"/>
                  <a:pt x="113" y="76"/>
                </a:cubicBezTo>
                <a:cubicBezTo>
                  <a:pt x="113" y="76"/>
                  <a:pt x="113" y="76"/>
                  <a:pt x="113" y="76"/>
                </a:cubicBezTo>
                <a:cubicBezTo>
                  <a:pt x="113" y="76"/>
                  <a:pt x="113" y="76"/>
                  <a:pt x="113" y="76"/>
                </a:cubicBezTo>
                <a:cubicBezTo>
                  <a:pt x="114" y="76"/>
                  <a:pt x="114" y="75"/>
                  <a:pt x="114" y="75"/>
                </a:cubicBezTo>
                <a:cubicBezTo>
                  <a:pt x="114" y="75"/>
                  <a:pt x="114" y="75"/>
                  <a:pt x="114" y="75"/>
                </a:cubicBezTo>
                <a:cubicBezTo>
                  <a:pt x="114" y="75"/>
                  <a:pt x="114" y="75"/>
                  <a:pt x="114" y="75"/>
                </a:cubicBezTo>
                <a:cubicBezTo>
                  <a:pt x="114" y="75"/>
                  <a:pt x="114" y="75"/>
                  <a:pt x="114" y="75"/>
                </a:cubicBezTo>
                <a:cubicBezTo>
                  <a:pt x="114" y="74"/>
                  <a:pt x="114" y="74"/>
                  <a:pt x="114" y="74"/>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5" name="Freeform 53"/>
          <p:cNvSpPr>
            <a:spLocks/>
          </p:cNvSpPr>
          <p:nvPr/>
        </p:nvSpPr>
        <p:spPr bwMode="auto">
          <a:xfrm>
            <a:off x="8128292" y="6520165"/>
            <a:ext cx="31750" cy="15875"/>
          </a:xfrm>
          <a:custGeom>
            <a:avLst/>
            <a:gdLst>
              <a:gd name="T0" fmla="*/ 0 w 8"/>
              <a:gd name="T1" fmla="*/ 0 h 4"/>
              <a:gd name="T2" fmla="*/ 4 w 8"/>
              <a:gd name="T3" fmla="*/ 0 h 4"/>
              <a:gd name="T4" fmla="*/ 6 w 8"/>
              <a:gd name="T5" fmla="*/ 1 h 4"/>
              <a:gd name="T6" fmla="*/ 7 w 8"/>
              <a:gd name="T7" fmla="*/ 4 h 4"/>
              <a:gd name="T8" fmla="*/ 5 w 8"/>
              <a:gd name="T9" fmla="*/ 4 h 4"/>
              <a:gd name="T10" fmla="*/ 5 w 8"/>
              <a:gd name="T11" fmla="*/ 3 h 4"/>
              <a:gd name="T12" fmla="*/ 2 w 8"/>
              <a:gd name="T13" fmla="*/ 4 h 4"/>
              <a:gd name="T14" fmla="*/ 1 w 8"/>
              <a:gd name="T15" fmla="*/ 3 h 4"/>
              <a:gd name="T16" fmla="*/ 0 w 8"/>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0" y="0"/>
                </a:moveTo>
                <a:cubicBezTo>
                  <a:pt x="1" y="0"/>
                  <a:pt x="3" y="0"/>
                  <a:pt x="4" y="0"/>
                </a:cubicBezTo>
                <a:cubicBezTo>
                  <a:pt x="4" y="1"/>
                  <a:pt x="5" y="1"/>
                  <a:pt x="6" y="1"/>
                </a:cubicBezTo>
                <a:cubicBezTo>
                  <a:pt x="5" y="3"/>
                  <a:pt x="8" y="2"/>
                  <a:pt x="7" y="4"/>
                </a:cubicBezTo>
                <a:cubicBezTo>
                  <a:pt x="6" y="4"/>
                  <a:pt x="6" y="4"/>
                  <a:pt x="5" y="4"/>
                </a:cubicBezTo>
                <a:cubicBezTo>
                  <a:pt x="5" y="4"/>
                  <a:pt x="5" y="3"/>
                  <a:pt x="5" y="3"/>
                </a:cubicBezTo>
                <a:cubicBezTo>
                  <a:pt x="4" y="3"/>
                  <a:pt x="3" y="4"/>
                  <a:pt x="2" y="4"/>
                </a:cubicBezTo>
                <a:cubicBezTo>
                  <a:pt x="2" y="3"/>
                  <a:pt x="1" y="3"/>
                  <a:pt x="1" y="3"/>
                </a:cubicBezTo>
                <a:cubicBezTo>
                  <a:pt x="0" y="2"/>
                  <a:pt x="0" y="1"/>
                  <a:pt x="0" y="0"/>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6" name="Freeform 54"/>
          <p:cNvSpPr>
            <a:spLocks/>
          </p:cNvSpPr>
          <p:nvPr/>
        </p:nvSpPr>
        <p:spPr bwMode="auto">
          <a:xfrm>
            <a:off x="8152104" y="6539215"/>
            <a:ext cx="34925" cy="31750"/>
          </a:xfrm>
          <a:custGeom>
            <a:avLst/>
            <a:gdLst>
              <a:gd name="T0" fmla="*/ 0 w 9"/>
              <a:gd name="T1" fmla="*/ 0 h 8"/>
              <a:gd name="T2" fmla="*/ 7 w 9"/>
              <a:gd name="T3" fmla="*/ 1 h 8"/>
              <a:gd name="T4" fmla="*/ 9 w 9"/>
              <a:gd name="T5" fmla="*/ 3 h 8"/>
              <a:gd name="T6" fmla="*/ 9 w 9"/>
              <a:gd name="T7" fmla="*/ 7 h 8"/>
              <a:gd name="T8" fmla="*/ 7 w 9"/>
              <a:gd name="T9" fmla="*/ 7 h 8"/>
              <a:gd name="T10" fmla="*/ 7 w 9"/>
              <a:gd name="T11" fmla="*/ 8 h 8"/>
              <a:gd name="T12" fmla="*/ 6 w 9"/>
              <a:gd name="T13" fmla="*/ 8 h 8"/>
              <a:gd name="T14" fmla="*/ 6 w 9"/>
              <a:gd name="T15" fmla="*/ 7 h 8"/>
              <a:gd name="T16" fmla="*/ 2 w 9"/>
              <a:gd name="T17" fmla="*/ 7 h 8"/>
              <a:gd name="T18" fmla="*/ 0 w 9"/>
              <a:gd name="T19" fmla="*/ 4 h 8"/>
              <a:gd name="T20" fmla="*/ 0 w 9"/>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8">
                <a:moveTo>
                  <a:pt x="0" y="0"/>
                </a:moveTo>
                <a:cubicBezTo>
                  <a:pt x="3" y="0"/>
                  <a:pt x="4" y="1"/>
                  <a:pt x="7" y="1"/>
                </a:cubicBezTo>
                <a:cubicBezTo>
                  <a:pt x="7" y="2"/>
                  <a:pt x="7" y="3"/>
                  <a:pt x="9" y="3"/>
                </a:cubicBezTo>
                <a:cubicBezTo>
                  <a:pt x="9" y="5"/>
                  <a:pt x="9" y="6"/>
                  <a:pt x="9" y="7"/>
                </a:cubicBezTo>
                <a:cubicBezTo>
                  <a:pt x="8" y="7"/>
                  <a:pt x="8" y="7"/>
                  <a:pt x="7" y="7"/>
                </a:cubicBezTo>
                <a:cubicBezTo>
                  <a:pt x="7" y="7"/>
                  <a:pt x="7" y="8"/>
                  <a:pt x="7" y="8"/>
                </a:cubicBezTo>
                <a:cubicBezTo>
                  <a:pt x="7" y="8"/>
                  <a:pt x="6" y="8"/>
                  <a:pt x="6" y="8"/>
                </a:cubicBezTo>
                <a:cubicBezTo>
                  <a:pt x="6" y="8"/>
                  <a:pt x="6" y="7"/>
                  <a:pt x="6" y="7"/>
                </a:cubicBezTo>
                <a:cubicBezTo>
                  <a:pt x="5" y="7"/>
                  <a:pt x="4" y="7"/>
                  <a:pt x="2" y="7"/>
                </a:cubicBezTo>
                <a:cubicBezTo>
                  <a:pt x="2" y="6"/>
                  <a:pt x="1" y="5"/>
                  <a:pt x="0" y="4"/>
                </a:cubicBezTo>
                <a:cubicBezTo>
                  <a:pt x="0" y="3"/>
                  <a:pt x="0" y="1"/>
                  <a:pt x="0" y="0"/>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8" name="Freeform 56"/>
          <p:cNvSpPr>
            <a:spLocks/>
          </p:cNvSpPr>
          <p:nvPr/>
        </p:nvSpPr>
        <p:spPr bwMode="auto">
          <a:xfrm>
            <a:off x="8918867" y="5320015"/>
            <a:ext cx="350838" cy="317500"/>
          </a:xfrm>
          <a:custGeom>
            <a:avLst/>
            <a:gdLst>
              <a:gd name="T0" fmla="*/ 91 w 91"/>
              <a:gd name="T1" fmla="*/ 27 h 82"/>
              <a:gd name="T2" fmla="*/ 85 w 91"/>
              <a:gd name="T3" fmla="*/ 15 h 82"/>
              <a:gd name="T4" fmla="*/ 79 w 91"/>
              <a:gd name="T5" fmla="*/ 13 h 82"/>
              <a:gd name="T6" fmla="*/ 73 w 91"/>
              <a:gd name="T7" fmla="*/ 12 h 82"/>
              <a:gd name="T8" fmla="*/ 69 w 91"/>
              <a:gd name="T9" fmla="*/ 8 h 82"/>
              <a:gd name="T10" fmla="*/ 68 w 91"/>
              <a:gd name="T11" fmla="*/ 4 h 82"/>
              <a:gd name="T12" fmla="*/ 61 w 91"/>
              <a:gd name="T13" fmla="*/ 1 h 82"/>
              <a:gd name="T14" fmla="*/ 51 w 91"/>
              <a:gd name="T15" fmla="*/ 5 h 82"/>
              <a:gd name="T16" fmla="*/ 44 w 91"/>
              <a:gd name="T17" fmla="*/ 5 h 82"/>
              <a:gd name="T18" fmla="*/ 40 w 91"/>
              <a:gd name="T19" fmla="*/ 8 h 82"/>
              <a:gd name="T20" fmla="*/ 32 w 91"/>
              <a:gd name="T21" fmla="*/ 11 h 82"/>
              <a:gd name="T22" fmla="*/ 27 w 91"/>
              <a:gd name="T23" fmla="*/ 16 h 82"/>
              <a:gd name="T24" fmla="*/ 24 w 91"/>
              <a:gd name="T25" fmla="*/ 15 h 82"/>
              <a:gd name="T26" fmla="*/ 24 w 91"/>
              <a:gd name="T27" fmla="*/ 14 h 82"/>
              <a:gd name="T28" fmla="*/ 23 w 91"/>
              <a:gd name="T29" fmla="*/ 14 h 82"/>
              <a:gd name="T30" fmla="*/ 23 w 91"/>
              <a:gd name="T31" fmla="*/ 14 h 82"/>
              <a:gd name="T32" fmla="*/ 19 w 91"/>
              <a:gd name="T33" fmla="*/ 16 h 82"/>
              <a:gd name="T34" fmla="*/ 18 w 91"/>
              <a:gd name="T35" fmla="*/ 17 h 82"/>
              <a:gd name="T36" fmla="*/ 15 w 91"/>
              <a:gd name="T37" fmla="*/ 19 h 82"/>
              <a:gd name="T38" fmla="*/ 14 w 91"/>
              <a:gd name="T39" fmla="*/ 19 h 82"/>
              <a:gd name="T40" fmla="*/ 14 w 91"/>
              <a:gd name="T41" fmla="*/ 19 h 82"/>
              <a:gd name="T42" fmla="*/ 10 w 91"/>
              <a:gd name="T43" fmla="*/ 22 h 82"/>
              <a:gd name="T44" fmla="*/ 10 w 91"/>
              <a:gd name="T45" fmla="*/ 23 h 82"/>
              <a:gd name="T46" fmla="*/ 9 w 91"/>
              <a:gd name="T47" fmla="*/ 23 h 82"/>
              <a:gd name="T48" fmla="*/ 9 w 91"/>
              <a:gd name="T49" fmla="*/ 23 h 82"/>
              <a:gd name="T50" fmla="*/ 9 w 91"/>
              <a:gd name="T51" fmla="*/ 24 h 82"/>
              <a:gd name="T52" fmla="*/ 4 w 91"/>
              <a:gd name="T53" fmla="*/ 29 h 82"/>
              <a:gd name="T54" fmla="*/ 2 w 91"/>
              <a:gd name="T55" fmla="*/ 40 h 82"/>
              <a:gd name="T56" fmla="*/ 0 w 91"/>
              <a:gd name="T57" fmla="*/ 47 h 82"/>
              <a:gd name="T58" fmla="*/ 2 w 91"/>
              <a:gd name="T59" fmla="*/ 58 h 82"/>
              <a:gd name="T60" fmla="*/ 2 w 91"/>
              <a:gd name="T61" fmla="*/ 61 h 82"/>
              <a:gd name="T62" fmla="*/ 8 w 91"/>
              <a:gd name="T63" fmla="*/ 69 h 82"/>
              <a:gd name="T64" fmla="*/ 8 w 91"/>
              <a:gd name="T65" fmla="*/ 69 h 82"/>
              <a:gd name="T66" fmla="*/ 8 w 91"/>
              <a:gd name="T67" fmla="*/ 69 h 82"/>
              <a:gd name="T68" fmla="*/ 9 w 91"/>
              <a:gd name="T69" fmla="*/ 69 h 82"/>
              <a:gd name="T70" fmla="*/ 11 w 91"/>
              <a:gd name="T71" fmla="*/ 70 h 82"/>
              <a:gd name="T72" fmla="*/ 16 w 91"/>
              <a:gd name="T73" fmla="*/ 73 h 82"/>
              <a:gd name="T74" fmla="*/ 20 w 91"/>
              <a:gd name="T75" fmla="*/ 75 h 82"/>
              <a:gd name="T76" fmla="*/ 24 w 91"/>
              <a:gd name="T77" fmla="*/ 80 h 82"/>
              <a:gd name="T78" fmla="*/ 26 w 91"/>
              <a:gd name="T79" fmla="*/ 79 h 82"/>
              <a:gd name="T80" fmla="*/ 33 w 91"/>
              <a:gd name="T81" fmla="*/ 78 h 82"/>
              <a:gd name="T82" fmla="*/ 33 w 91"/>
              <a:gd name="T83" fmla="*/ 77 h 82"/>
              <a:gd name="T84" fmla="*/ 34 w 91"/>
              <a:gd name="T85" fmla="*/ 77 h 82"/>
              <a:gd name="T86" fmla="*/ 35 w 91"/>
              <a:gd name="T87" fmla="*/ 77 h 82"/>
              <a:gd name="T88" fmla="*/ 36 w 91"/>
              <a:gd name="T89" fmla="*/ 77 h 82"/>
              <a:gd name="T90" fmla="*/ 39 w 91"/>
              <a:gd name="T91" fmla="*/ 76 h 82"/>
              <a:gd name="T92" fmla="*/ 43 w 91"/>
              <a:gd name="T93" fmla="*/ 75 h 82"/>
              <a:gd name="T94" fmla="*/ 50 w 91"/>
              <a:gd name="T95" fmla="*/ 73 h 82"/>
              <a:gd name="T96" fmla="*/ 54 w 91"/>
              <a:gd name="T97" fmla="*/ 71 h 82"/>
              <a:gd name="T98" fmla="*/ 57 w 91"/>
              <a:gd name="T99" fmla="*/ 66 h 82"/>
              <a:gd name="T100" fmla="*/ 64 w 91"/>
              <a:gd name="T101" fmla="*/ 61 h 82"/>
              <a:gd name="T102" fmla="*/ 73 w 91"/>
              <a:gd name="T103" fmla="*/ 61 h 82"/>
              <a:gd name="T104" fmla="*/ 78 w 91"/>
              <a:gd name="T105" fmla="*/ 60 h 82"/>
              <a:gd name="T106" fmla="*/ 81 w 91"/>
              <a:gd name="T107" fmla="*/ 57 h 82"/>
              <a:gd name="T108" fmla="*/ 85 w 91"/>
              <a:gd name="T109" fmla="*/ 49 h 82"/>
              <a:gd name="T110" fmla="*/ 91 w 91"/>
              <a:gd name="T111"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 h="82">
                <a:moveTo>
                  <a:pt x="91" y="36"/>
                </a:moveTo>
                <a:cubicBezTo>
                  <a:pt x="90" y="36"/>
                  <a:pt x="89" y="35"/>
                  <a:pt x="89" y="34"/>
                </a:cubicBezTo>
                <a:cubicBezTo>
                  <a:pt x="90" y="31"/>
                  <a:pt x="91" y="30"/>
                  <a:pt x="91" y="27"/>
                </a:cubicBezTo>
                <a:cubicBezTo>
                  <a:pt x="90" y="26"/>
                  <a:pt x="89" y="25"/>
                  <a:pt x="89" y="24"/>
                </a:cubicBezTo>
                <a:cubicBezTo>
                  <a:pt x="88" y="23"/>
                  <a:pt x="86" y="22"/>
                  <a:pt x="85" y="20"/>
                </a:cubicBezTo>
                <a:cubicBezTo>
                  <a:pt x="85" y="19"/>
                  <a:pt x="84" y="18"/>
                  <a:pt x="85" y="15"/>
                </a:cubicBezTo>
                <a:cubicBezTo>
                  <a:pt x="84" y="15"/>
                  <a:pt x="83" y="14"/>
                  <a:pt x="82" y="13"/>
                </a:cubicBezTo>
                <a:cubicBezTo>
                  <a:pt x="82" y="13"/>
                  <a:pt x="81" y="13"/>
                  <a:pt x="80" y="13"/>
                </a:cubicBezTo>
                <a:cubicBezTo>
                  <a:pt x="80" y="13"/>
                  <a:pt x="79" y="13"/>
                  <a:pt x="79" y="13"/>
                </a:cubicBezTo>
                <a:cubicBezTo>
                  <a:pt x="78" y="12"/>
                  <a:pt x="77" y="13"/>
                  <a:pt x="76" y="13"/>
                </a:cubicBezTo>
                <a:cubicBezTo>
                  <a:pt x="76" y="12"/>
                  <a:pt x="76" y="12"/>
                  <a:pt x="75" y="12"/>
                </a:cubicBezTo>
                <a:cubicBezTo>
                  <a:pt x="75" y="12"/>
                  <a:pt x="74" y="12"/>
                  <a:pt x="73" y="12"/>
                </a:cubicBezTo>
                <a:cubicBezTo>
                  <a:pt x="73" y="12"/>
                  <a:pt x="73" y="11"/>
                  <a:pt x="73" y="11"/>
                </a:cubicBezTo>
                <a:cubicBezTo>
                  <a:pt x="72" y="11"/>
                  <a:pt x="72" y="10"/>
                  <a:pt x="71" y="11"/>
                </a:cubicBezTo>
                <a:cubicBezTo>
                  <a:pt x="70" y="10"/>
                  <a:pt x="69" y="9"/>
                  <a:pt x="69" y="8"/>
                </a:cubicBezTo>
                <a:cubicBezTo>
                  <a:pt x="69" y="8"/>
                  <a:pt x="68" y="7"/>
                  <a:pt x="68" y="7"/>
                </a:cubicBezTo>
                <a:cubicBezTo>
                  <a:pt x="68" y="7"/>
                  <a:pt x="68" y="6"/>
                  <a:pt x="67" y="6"/>
                </a:cubicBezTo>
                <a:cubicBezTo>
                  <a:pt x="67" y="5"/>
                  <a:pt x="67" y="4"/>
                  <a:pt x="68" y="4"/>
                </a:cubicBezTo>
                <a:cubicBezTo>
                  <a:pt x="67" y="3"/>
                  <a:pt x="67" y="2"/>
                  <a:pt x="66" y="2"/>
                </a:cubicBezTo>
                <a:cubicBezTo>
                  <a:pt x="65" y="2"/>
                  <a:pt x="65" y="2"/>
                  <a:pt x="65" y="2"/>
                </a:cubicBezTo>
                <a:cubicBezTo>
                  <a:pt x="62" y="3"/>
                  <a:pt x="63" y="0"/>
                  <a:pt x="61" y="1"/>
                </a:cubicBezTo>
                <a:cubicBezTo>
                  <a:pt x="59" y="0"/>
                  <a:pt x="59" y="1"/>
                  <a:pt x="58" y="1"/>
                </a:cubicBezTo>
                <a:cubicBezTo>
                  <a:pt x="56" y="2"/>
                  <a:pt x="55" y="3"/>
                  <a:pt x="53" y="4"/>
                </a:cubicBezTo>
                <a:cubicBezTo>
                  <a:pt x="53" y="4"/>
                  <a:pt x="51" y="4"/>
                  <a:pt x="51" y="5"/>
                </a:cubicBezTo>
                <a:cubicBezTo>
                  <a:pt x="49" y="5"/>
                  <a:pt x="49" y="3"/>
                  <a:pt x="47" y="4"/>
                </a:cubicBezTo>
                <a:cubicBezTo>
                  <a:pt x="46" y="4"/>
                  <a:pt x="46" y="4"/>
                  <a:pt x="45" y="4"/>
                </a:cubicBezTo>
                <a:cubicBezTo>
                  <a:pt x="45" y="5"/>
                  <a:pt x="45" y="5"/>
                  <a:pt x="44" y="5"/>
                </a:cubicBezTo>
                <a:cubicBezTo>
                  <a:pt x="43" y="5"/>
                  <a:pt x="43" y="6"/>
                  <a:pt x="43" y="6"/>
                </a:cubicBezTo>
                <a:cubicBezTo>
                  <a:pt x="42" y="6"/>
                  <a:pt x="41" y="6"/>
                  <a:pt x="41" y="7"/>
                </a:cubicBezTo>
                <a:cubicBezTo>
                  <a:pt x="41" y="7"/>
                  <a:pt x="40" y="8"/>
                  <a:pt x="40" y="8"/>
                </a:cubicBezTo>
                <a:cubicBezTo>
                  <a:pt x="39" y="8"/>
                  <a:pt x="39" y="9"/>
                  <a:pt x="39" y="9"/>
                </a:cubicBezTo>
                <a:cubicBezTo>
                  <a:pt x="37" y="9"/>
                  <a:pt x="37" y="9"/>
                  <a:pt x="37" y="9"/>
                </a:cubicBezTo>
                <a:cubicBezTo>
                  <a:pt x="36" y="10"/>
                  <a:pt x="33" y="10"/>
                  <a:pt x="32" y="11"/>
                </a:cubicBezTo>
                <a:cubicBezTo>
                  <a:pt x="31" y="11"/>
                  <a:pt x="30" y="12"/>
                  <a:pt x="29" y="12"/>
                </a:cubicBezTo>
                <a:cubicBezTo>
                  <a:pt x="29" y="12"/>
                  <a:pt x="28" y="13"/>
                  <a:pt x="28" y="14"/>
                </a:cubicBezTo>
                <a:cubicBezTo>
                  <a:pt x="28" y="15"/>
                  <a:pt x="27" y="15"/>
                  <a:pt x="27" y="16"/>
                </a:cubicBezTo>
                <a:cubicBezTo>
                  <a:pt x="25" y="16"/>
                  <a:pt x="25"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4"/>
                  <a:pt x="24" y="14"/>
                  <a:pt x="24" y="14"/>
                </a:cubicBezTo>
                <a:cubicBezTo>
                  <a:pt x="24" y="14"/>
                  <a:pt x="24" y="14"/>
                  <a:pt x="24" y="14"/>
                </a:cubicBezTo>
                <a:cubicBezTo>
                  <a:pt x="24" y="14"/>
                  <a:pt x="24"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3" y="14"/>
                  <a:pt x="22" y="14"/>
                  <a:pt x="22" y="14"/>
                </a:cubicBezTo>
                <a:cubicBezTo>
                  <a:pt x="21" y="14"/>
                  <a:pt x="19" y="15"/>
                  <a:pt x="19" y="16"/>
                </a:cubicBezTo>
                <a:cubicBezTo>
                  <a:pt x="19" y="16"/>
                  <a:pt x="19" y="16"/>
                  <a:pt x="19" y="16"/>
                </a:cubicBezTo>
                <a:cubicBezTo>
                  <a:pt x="19" y="16"/>
                  <a:pt x="19" y="17"/>
                  <a:pt x="19" y="17"/>
                </a:cubicBezTo>
                <a:cubicBezTo>
                  <a:pt x="19" y="17"/>
                  <a:pt x="19" y="17"/>
                  <a:pt x="18" y="17"/>
                </a:cubicBezTo>
                <a:cubicBezTo>
                  <a:pt x="18" y="17"/>
                  <a:pt x="18" y="17"/>
                  <a:pt x="18" y="17"/>
                </a:cubicBezTo>
                <a:cubicBezTo>
                  <a:pt x="18" y="17"/>
                  <a:pt x="18" y="17"/>
                  <a:pt x="18" y="17"/>
                </a:cubicBezTo>
                <a:cubicBezTo>
                  <a:pt x="16" y="17"/>
                  <a:pt x="16" y="18"/>
                  <a:pt x="15" y="19"/>
                </a:cubicBezTo>
                <a:cubicBezTo>
                  <a:pt x="15" y="19"/>
                  <a:pt x="15" y="19"/>
                  <a:pt x="15"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3" y="21"/>
                  <a:pt x="12" y="21"/>
                  <a:pt x="10" y="22"/>
                </a:cubicBezTo>
                <a:cubicBezTo>
                  <a:pt x="10" y="22"/>
                  <a:pt x="10" y="22"/>
                  <a:pt x="10" y="22"/>
                </a:cubicBezTo>
                <a:cubicBezTo>
                  <a:pt x="10" y="22"/>
                  <a:pt x="10" y="22"/>
                  <a:pt x="10" y="22"/>
                </a:cubicBezTo>
                <a:cubicBezTo>
                  <a:pt x="10" y="22"/>
                  <a:pt x="10" y="22"/>
                  <a:pt x="10" y="23"/>
                </a:cubicBezTo>
                <a:cubicBezTo>
                  <a:pt x="10" y="23"/>
                  <a:pt x="10" y="23"/>
                  <a:pt x="10" y="23"/>
                </a:cubicBezTo>
                <a:cubicBezTo>
                  <a:pt x="9" y="23"/>
                  <a:pt x="9" y="23"/>
                  <a:pt x="9" y="23"/>
                </a:cubicBezTo>
                <a:cubicBezTo>
                  <a:pt x="9" y="23"/>
                  <a:pt x="9" y="23"/>
                  <a:pt x="9" y="23"/>
                </a:cubicBezTo>
                <a:cubicBezTo>
                  <a:pt x="9" y="23"/>
                  <a:pt x="9" y="23"/>
                  <a:pt x="9" y="23"/>
                </a:cubicBezTo>
                <a:cubicBezTo>
                  <a:pt x="9" y="23"/>
                  <a:pt x="9" y="23"/>
                  <a:pt x="9" y="23"/>
                </a:cubicBezTo>
                <a:cubicBezTo>
                  <a:pt x="9" y="23"/>
                  <a:pt x="9" y="23"/>
                  <a:pt x="9" y="23"/>
                </a:cubicBezTo>
                <a:cubicBezTo>
                  <a:pt x="9" y="23"/>
                  <a:pt x="9" y="23"/>
                  <a:pt x="9" y="23"/>
                </a:cubicBezTo>
                <a:cubicBezTo>
                  <a:pt x="9" y="24"/>
                  <a:pt x="9" y="24"/>
                  <a:pt x="9" y="24"/>
                </a:cubicBezTo>
                <a:cubicBezTo>
                  <a:pt x="9" y="24"/>
                  <a:pt x="9" y="24"/>
                  <a:pt x="9" y="24"/>
                </a:cubicBezTo>
                <a:cubicBezTo>
                  <a:pt x="9" y="24"/>
                  <a:pt x="9" y="24"/>
                  <a:pt x="9" y="24"/>
                </a:cubicBezTo>
                <a:cubicBezTo>
                  <a:pt x="8" y="26"/>
                  <a:pt x="9" y="29"/>
                  <a:pt x="8" y="30"/>
                </a:cubicBezTo>
                <a:cubicBezTo>
                  <a:pt x="7" y="30"/>
                  <a:pt x="7" y="28"/>
                  <a:pt x="4" y="29"/>
                </a:cubicBezTo>
                <a:cubicBezTo>
                  <a:pt x="3" y="30"/>
                  <a:pt x="4" y="32"/>
                  <a:pt x="4" y="34"/>
                </a:cubicBezTo>
                <a:cubicBezTo>
                  <a:pt x="3" y="34"/>
                  <a:pt x="3" y="34"/>
                  <a:pt x="3" y="35"/>
                </a:cubicBezTo>
                <a:cubicBezTo>
                  <a:pt x="2" y="36"/>
                  <a:pt x="2" y="38"/>
                  <a:pt x="2" y="40"/>
                </a:cubicBezTo>
                <a:cubicBezTo>
                  <a:pt x="3" y="41"/>
                  <a:pt x="2" y="43"/>
                  <a:pt x="3" y="44"/>
                </a:cubicBezTo>
                <a:cubicBezTo>
                  <a:pt x="3" y="45"/>
                  <a:pt x="3" y="45"/>
                  <a:pt x="3" y="45"/>
                </a:cubicBezTo>
                <a:cubicBezTo>
                  <a:pt x="3" y="46"/>
                  <a:pt x="0" y="45"/>
                  <a:pt x="0" y="47"/>
                </a:cubicBezTo>
                <a:cubicBezTo>
                  <a:pt x="0" y="51"/>
                  <a:pt x="3" y="51"/>
                  <a:pt x="4" y="54"/>
                </a:cubicBezTo>
                <a:cubicBezTo>
                  <a:pt x="3" y="54"/>
                  <a:pt x="3" y="55"/>
                  <a:pt x="3" y="56"/>
                </a:cubicBezTo>
                <a:cubicBezTo>
                  <a:pt x="3" y="57"/>
                  <a:pt x="2" y="57"/>
                  <a:pt x="2" y="58"/>
                </a:cubicBezTo>
                <a:cubicBezTo>
                  <a:pt x="2" y="59"/>
                  <a:pt x="3" y="59"/>
                  <a:pt x="3" y="59"/>
                </a:cubicBezTo>
                <a:cubicBezTo>
                  <a:pt x="3" y="59"/>
                  <a:pt x="2" y="59"/>
                  <a:pt x="2" y="59"/>
                </a:cubicBezTo>
                <a:cubicBezTo>
                  <a:pt x="2" y="59"/>
                  <a:pt x="2" y="60"/>
                  <a:pt x="2" y="61"/>
                </a:cubicBezTo>
                <a:cubicBezTo>
                  <a:pt x="3" y="62"/>
                  <a:pt x="5" y="64"/>
                  <a:pt x="5" y="66"/>
                </a:cubicBezTo>
                <a:cubicBezTo>
                  <a:pt x="7" y="66"/>
                  <a:pt x="6" y="69"/>
                  <a:pt x="8" y="68"/>
                </a:cubicBezTo>
                <a:cubicBezTo>
                  <a:pt x="8" y="68"/>
                  <a:pt x="8" y="69"/>
                  <a:pt x="8" y="69"/>
                </a:cubicBezTo>
                <a:cubicBezTo>
                  <a:pt x="8" y="69"/>
                  <a:pt x="8" y="69"/>
                  <a:pt x="8" y="69"/>
                </a:cubicBezTo>
                <a:cubicBezTo>
                  <a:pt x="8" y="69"/>
                  <a:pt x="8" y="69"/>
                  <a:pt x="8" y="69"/>
                </a:cubicBezTo>
                <a:cubicBezTo>
                  <a:pt x="8" y="69"/>
                  <a:pt x="8" y="69"/>
                  <a:pt x="8" y="69"/>
                </a:cubicBezTo>
                <a:cubicBezTo>
                  <a:pt x="8" y="69"/>
                  <a:pt x="8" y="69"/>
                  <a:pt x="8" y="69"/>
                </a:cubicBezTo>
                <a:cubicBezTo>
                  <a:pt x="8" y="69"/>
                  <a:pt x="8" y="69"/>
                  <a:pt x="8" y="69"/>
                </a:cubicBezTo>
                <a:cubicBezTo>
                  <a:pt x="8" y="69"/>
                  <a:pt x="8" y="69"/>
                  <a:pt x="8" y="69"/>
                </a:cubicBezTo>
                <a:cubicBezTo>
                  <a:pt x="8" y="69"/>
                  <a:pt x="8" y="69"/>
                  <a:pt x="8" y="69"/>
                </a:cubicBezTo>
                <a:cubicBezTo>
                  <a:pt x="8" y="69"/>
                  <a:pt x="8" y="69"/>
                  <a:pt x="9" y="69"/>
                </a:cubicBezTo>
                <a:cubicBezTo>
                  <a:pt x="9" y="69"/>
                  <a:pt x="9" y="69"/>
                  <a:pt x="9" y="69"/>
                </a:cubicBezTo>
                <a:cubicBezTo>
                  <a:pt x="9" y="69"/>
                  <a:pt x="9" y="69"/>
                  <a:pt x="9" y="69"/>
                </a:cubicBezTo>
                <a:cubicBezTo>
                  <a:pt x="9" y="69"/>
                  <a:pt x="9" y="69"/>
                  <a:pt x="9" y="69"/>
                </a:cubicBezTo>
                <a:cubicBezTo>
                  <a:pt x="10" y="69"/>
                  <a:pt x="10" y="70"/>
                  <a:pt x="11" y="70"/>
                </a:cubicBezTo>
                <a:cubicBezTo>
                  <a:pt x="11" y="70"/>
                  <a:pt x="11" y="70"/>
                  <a:pt x="11" y="70"/>
                </a:cubicBezTo>
                <a:cubicBezTo>
                  <a:pt x="12" y="70"/>
                  <a:pt x="13" y="71"/>
                  <a:pt x="14" y="71"/>
                </a:cubicBezTo>
                <a:cubicBezTo>
                  <a:pt x="14" y="72"/>
                  <a:pt x="15" y="72"/>
                  <a:pt x="16" y="73"/>
                </a:cubicBezTo>
                <a:cubicBezTo>
                  <a:pt x="16" y="73"/>
                  <a:pt x="17" y="73"/>
                  <a:pt x="17" y="73"/>
                </a:cubicBezTo>
                <a:cubicBezTo>
                  <a:pt x="17" y="73"/>
                  <a:pt x="17" y="74"/>
                  <a:pt x="18" y="74"/>
                </a:cubicBezTo>
                <a:cubicBezTo>
                  <a:pt x="19" y="74"/>
                  <a:pt x="19" y="75"/>
                  <a:pt x="20" y="75"/>
                </a:cubicBezTo>
                <a:cubicBezTo>
                  <a:pt x="21" y="75"/>
                  <a:pt x="21" y="75"/>
                  <a:pt x="21" y="76"/>
                </a:cubicBezTo>
                <a:cubicBezTo>
                  <a:pt x="22" y="76"/>
                  <a:pt x="24" y="77"/>
                  <a:pt x="24" y="78"/>
                </a:cubicBezTo>
                <a:cubicBezTo>
                  <a:pt x="24" y="78"/>
                  <a:pt x="24" y="79"/>
                  <a:pt x="24" y="80"/>
                </a:cubicBezTo>
                <a:cubicBezTo>
                  <a:pt x="24" y="80"/>
                  <a:pt x="25" y="81"/>
                  <a:pt x="25" y="81"/>
                </a:cubicBezTo>
                <a:cubicBezTo>
                  <a:pt x="25" y="81"/>
                  <a:pt x="25" y="82"/>
                  <a:pt x="25" y="82"/>
                </a:cubicBezTo>
                <a:cubicBezTo>
                  <a:pt x="26" y="81"/>
                  <a:pt x="25" y="80"/>
                  <a:pt x="26" y="79"/>
                </a:cubicBezTo>
                <a:cubicBezTo>
                  <a:pt x="27" y="82"/>
                  <a:pt x="29" y="79"/>
                  <a:pt x="29" y="79"/>
                </a:cubicBezTo>
                <a:cubicBezTo>
                  <a:pt x="29" y="78"/>
                  <a:pt x="29" y="78"/>
                  <a:pt x="29" y="78"/>
                </a:cubicBezTo>
                <a:cubicBezTo>
                  <a:pt x="31" y="78"/>
                  <a:pt x="32" y="78"/>
                  <a:pt x="33" y="78"/>
                </a:cubicBezTo>
                <a:cubicBezTo>
                  <a:pt x="33" y="78"/>
                  <a:pt x="33" y="78"/>
                  <a:pt x="33" y="78"/>
                </a:cubicBezTo>
                <a:cubicBezTo>
                  <a:pt x="33" y="78"/>
                  <a:pt x="33" y="78"/>
                  <a:pt x="33" y="78"/>
                </a:cubicBezTo>
                <a:cubicBezTo>
                  <a:pt x="33" y="78"/>
                  <a:pt x="33" y="77"/>
                  <a:pt x="33" y="77"/>
                </a:cubicBezTo>
                <a:cubicBezTo>
                  <a:pt x="34" y="77"/>
                  <a:pt x="34" y="77"/>
                  <a:pt x="34" y="77"/>
                </a:cubicBezTo>
                <a:cubicBezTo>
                  <a:pt x="34" y="77"/>
                  <a:pt x="34" y="77"/>
                  <a:pt x="34" y="77"/>
                </a:cubicBezTo>
                <a:cubicBezTo>
                  <a:pt x="34" y="77"/>
                  <a:pt x="34" y="77"/>
                  <a:pt x="34" y="77"/>
                </a:cubicBezTo>
                <a:cubicBezTo>
                  <a:pt x="34" y="77"/>
                  <a:pt x="34" y="77"/>
                  <a:pt x="34" y="77"/>
                </a:cubicBezTo>
                <a:cubicBezTo>
                  <a:pt x="34" y="77"/>
                  <a:pt x="35" y="77"/>
                  <a:pt x="35" y="77"/>
                </a:cubicBezTo>
                <a:cubicBezTo>
                  <a:pt x="35" y="77"/>
                  <a:pt x="35" y="77"/>
                  <a:pt x="35" y="77"/>
                </a:cubicBezTo>
                <a:cubicBezTo>
                  <a:pt x="35" y="77"/>
                  <a:pt x="35" y="77"/>
                  <a:pt x="35" y="77"/>
                </a:cubicBezTo>
                <a:cubicBezTo>
                  <a:pt x="35" y="77"/>
                  <a:pt x="35" y="77"/>
                  <a:pt x="35" y="77"/>
                </a:cubicBezTo>
                <a:cubicBezTo>
                  <a:pt x="35" y="77"/>
                  <a:pt x="36" y="77"/>
                  <a:pt x="36" y="77"/>
                </a:cubicBezTo>
                <a:cubicBezTo>
                  <a:pt x="36" y="77"/>
                  <a:pt x="36" y="77"/>
                  <a:pt x="36" y="77"/>
                </a:cubicBezTo>
                <a:cubicBezTo>
                  <a:pt x="36" y="77"/>
                  <a:pt x="36" y="77"/>
                  <a:pt x="36" y="77"/>
                </a:cubicBezTo>
                <a:cubicBezTo>
                  <a:pt x="37" y="76"/>
                  <a:pt x="38" y="76"/>
                  <a:pt x="39" y="76"/>
                </a:cubicBezTo>
                <a:cubicBezTo>
                  <a:pt x="39" y="75"/>
                  <a:pt x="40" y="75"/>
                  <a:pt x="41" y="75"/>
                </a:cubicBezTo>
                <a:cubicBezTo>
                  <a:pt x="41" y="74"/>
                  <a:pt x="42" y="75"/>
                  <a:pt x="43" y="75"/>
                </a:cubicBezTo>
                <a:cubicBezTo>
                  <a:pt x="43" y="75"/>
                  <a:pt x="44" y="75"/>
                  <a:pt x="43" y="75"/>
                </a:cubicBezTo>
                <a:cubicBezTo>
                  <a:pt x="44" y="76"/>
                  <a:pt x="44" y="76"/>
                  <a:pt x="45" y="76"/>
                </a:cubicBezTo>
                <a:cubicBezTo>
                  <a:pt x="47" y="77"/>
                  <a:pt x="46" y="75"/>
                  <a:pt x="48" y="75"/>
                </a:cubicBezTo>
                <a:cubicBezTo>
                  <a:pt x="49" y="74"/>
                  <a:pt x="49" y="73"/>
                  <a:pt x="50" y="73"/>
                </a:cubicBezTo>
                <a:cubicBezTo>
                  <a:pt x="52" y="73"/>
                  <a:pt x="52" y="73"/>
                  <a:pt x="52" y="73"/>
                </a:cubicBezTo>
                <a:cubicBezTo>
                  <a:pt x="53" y="72"/>
                  <a:pt x="54" y="73"/>
                  <a:pt x="54" y="73"/>
                </a:cubicBezTo>
                <a:cubicBezTo>
                  <a:pt x="54" y="72"/>
                  <a:pt x="54" y="71"/>
                  <a:pt x="54" y="71"/>
                </a:cubicBezTo>
                <a:cubicBezTo>
                  <a:pt x="54" y="70"/>
                  <a:pt x="54" y="70"/>
                  <a:pt x="55" y="70"/>
                </a:cubicBezTo>
                <a:cubicBezTo>
                  <a:pt x="55" y="69"/>
                  <a:pt x="56" y="68"/>
                  <a:pt x="56" y="67"/>
                </a:cubicBezTo>
                <a:cubicBezTo>
                  <a:pt x="57" y="67"/>
                  <a:pt x="56" y="66"/>
                  <a:pt x="57" y="66"/>
                </a:cubicBezTo>
                <a:cubicBezTo>
                  <a:pt x="57" y="65"/>
                  <a:pt x="57" y="65"/>
                  <a:pt x="57" y="64"/>
                </a:cubicBezTo>
                <a:cubicBezTo>
                  <a:pt x="58" y="63"/>
                  <a:pt x="58" y="62"/>
                  <a:pt x="59" y="62"/>
                </a:cubicBezTo>
                <a:cubicBezTo>
                  <a:pt x="60" y="61"/>
                  <a:pt x="62" y="61"/>
                  <a:pt x="64" y="61"/>
                </a:cubicBezTo>
                <a:cubicBezTo>
                  <a:pt x="65" y="62"/>
                  <a:pt x="64" y="59"/>
                  <a:pt x="66" y="59"/>
                </a:cubicBezTo>
                <a:cubicBezTo>
                  <a:pt x="66" y="61"/>
                  <a:pt x="67" y="61"/>
                  <a:pt x="68" y="61"/>
                </a:cubicBezTo>
                <a:cubicBezTo>
                  <a:pt x="70" y="60"/>
                  <a:pt x="72" y="61"/>
                  <a:pt x="73" y="61"/>
                </a:cubicBezTo>
                <a:cubicBezTo>
                  <a:pt x="73" y="61"/>
                  <a:pt x="72" y="60"/>
                  <a:pt x="73" y="60"/>
                </a:cubicBezTo>
                <a:cubicBezTo>
                  <a:pt x="74" y="60"/>
                  <a:pt x="74" y="61"/>
                  <a:pt x="75" y="61"/>
                </a:cubicBezTo>
                <a:cubicBezTo>
                  <a:pt x="76" y="60"/>
                  <a:pt x="77" y="60"/>
                  <a:pt x="78" y="60"/>
                </a:cubicBezTo>
                <a:cubicBezTo>
                  <a:pt x="78" y="59"/>
                  <a:pt x="79" y="59"/>
                  <a:pt x="80" y="59"/>
                </a:cubicBezTo>
                <a:cubicBezTo>
                  <a:pt x="80" y="58"/>
                  <a:pt x="80" y="58"/>
                  <a:pt x="80" y="58"/>
                </a:cubicBezTo>
                <a:cubicBezTo>
                  <a:pt x="80" y="57"/>
                  <a:pt x="80" y="57"/>
                  <a:pt x="81" y="57"/>
                </a:cubicBezTo>
                <a:cubicBezTo>
                  <a:pt x="81" y="57"/>
                  <a:pt x="83" y="58"/>
                  <a:pt x="84" y="58"/>
                </a:cubicBezTo>
                <a:cubicBezTo>
                  <a:pt x="85" y="56"/>
                  <a:pt x="85" y="53"/>
                  <a:pt x="85" y="50"/>
                </a:cubicBezTo>
                <a:cubicBezTo>
                  <a:pt x="85" y="50"/>
                  <a:pt x="85" y="50"/>
                  <a:pt x="85" y="49"/>
                </a:cubicBezTo>
                <a:cubicBezTo>
                  <a:pt x="87" y="49"/>
                  <a:pt x="87" y="47"/>
                  <a:pt x="88" y="47"/>
                </a:cubicBezTo>
                <a:cubicBezTo>
                  <a:pt x="90" y="48"/>
                  <a:pt x="89" y="46"/>
                  <a:pt x="91" y="46"/>
                </a:cubicBezTo>
                <a:cubicBezTo>
                  <a:pt x="91" y="40"/>
                  <a:pt x="91" y="40"/>
                  <a:pt x="91" y="40"/>
                </a:cubicBezTo>
                <a:cubicBezTo>
                  <a:pt x="91" y="39"/>
                  <a:pt x="91" y="38"/>
                  <a:pt x="91" y="36"/>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0" name="Freeform 58"/>
          <p:cNvSpPr>
            <a:spLocks/>
          </p:cNvSpPr>
          <p:nvPr/>
        </p:nvSpPr>
        <p:spPr bwMode="auto">
          <a:xfrm>
            <a:off x="8720429" y="2811765"/>
            <a:ext cx="600075" cy="460375"/>
          </a:xfrm>
          <a:custGeom>
            <a:avLst/>
            <a:gdLst>
              <a:gd name="T0" fmla="*/ 152 w 155"/>
              <a:gd name="T1" fmla="*/ 41 h 119"/>
              <a:gd name="T2" fmla="*/ 147 w 155"/>
              <a:gd name="T3" fmla="*/ 38 h 119"/>
              <a:gd name="T4" fmla="*/ 147 w 155"/>
              <a:gd name="T5" fmla="*/ 31 h 119"/>
              <a:gd name="T6" fmla="*/ 140 w 155"/>
              <a:gd name="T7" fmla="*/ 25 h 119"/>
              <a:gd name="T8" fmla="*/ 133 w 155"/>
              <a:gd name="T9" fmla="*/ 20 h 119"/>
              <a:gd name="T10" fmla="*/ 122 w 155"/>
              <a:gd name="T11" fmla="*/ 14 h 119"/>
              <a:gd name="T12" fmla="*/ 110 w 155"/>
              <a:gd name="T13" fmla="*/ 11 h 119"/>
              <a:gd name="T14" fmla="*/ 101 w 155"/>
              <a:gd name="T15" fmla="*/ 7 h 119"/>
              <a:gd name="T16" fmla="*/ 93 w 155"/>
              <a:gd name="T17" fmla="*/ 1 h 119"/>
              <a:gd name="T18" fmla="*/ 90 w 155"/>
              <a:gd name="T19" fmla="*/ 2 h 119"/>
              <a:gd name="T20" fmla="*/ 85 w 155"/>
              <a:gd name="T21" fmla="*/ 9 h 119"/>
              <a:gd name="T22" fmla="*/ 77 w 155"/>
              <a:gd name="T23" fmla="*/ 11 h 119"/>
              <a:gd name="T24" fmla="*/ 72 w 155"/>
              <a:gd name="T25" fmla="*/ 8 h 119"/>
              <a:gd name="T26" fmla="*/ 63 w 155"/>
              <a:gd name="T27" fmla="*/ 9 h 119"/>
              <a:gd name="T28" fmla="*/ 53 w 155"/>
              <a:gd name="T29" fmla="*/ 9 h 119"/>
              <a:gd name="T30" fmla="*/ 49 w 155"/>
              <a:gd name="T31" fmla="*/ 10 h 119"/>
              <a:gd name="T32" fmla="*/ 36 w 155"/>
              <a:gd name="T33" fmla="*/ 13 h 119"/>
              <a:gd name="T34" fmla="*/ 30 w 155"/>
              <a:gd name="T35" fmla="*/ 13 h 119"/>
              <a:gd name="T36" fmla="*/ 18 w 155"/>
              <a:gd name="T37" fmla="*/ 18 h 119"/>
              <a:gd name="T38" fmla="*/ 7 w 155"/>
              <a:gd name="T39" fmla="*/ 26 h 119"/>
              <a:gd name="T40" fmla="*/ 0 w 155"/>
              <a:gd name="T41" fmla="*/ 36 h 119"/>
              <a:gd name="T42" fmla="*/ 0 w 155"/>
              <a:gd name="T43" fmla="*/ 38 h 119"/>
              <a:gd name="T44" fmla="*/ 6 w 155"/>
              <a:gd name="T45" fmla="*/ 52 h 119"/>
              <a:gd name="T46" fmla="*/ 3 w 155"/>
              <a:gd name="T47" fmla="*/ 61 h 119"/>
              <a:gd name="T48" fmla="*/ 5 w 155"/>
              <a:gd name="T49" fmla="*/ 66 h 119"/>
              <a:gd name="T50" fmla="*/ 6 w 155"/>
              <a:gd name="T51" fmla="*/ 53 h 119"/>
              <a:gd name="T52" fmla="*/ 9 w 155"/>
              <a:gd name="T53" fmla="*/ 64 h 119"/>
              <a:gd name="T54" fmla="*/ 13 w 155"/>
              <a:gd name="T55" fmla="*/ 66 h 119"/>
              <a:gd name="T56" fmla="*/ 18 w 155"/>
              <a:gd name="T57" fmla="*/ 69 h 119"/>
              <a:gd name="T58" fmla="*/ 28 w 155"/>
              <a:gd name="T59" fmla="*/ 72 h 119"/>
              <a:gd name="T60" fmla="*/ 48 w 155"/>
              <a:gd name="T61" fmla="*/ 74 h 119"/>
              <a:gd name="T62" fmla="*/ 53 w 155"/>
              <a:gd name="T63" fmla="*/ 77 h 119"/>
              <a:gd name="T64" fmla="*/ 53 w 155"/>
              <a:gd name="T65" fmla="*/ 87 h 119"/>
              <a:gd name="T66" fmla="*/ 54 w 155"/>
              <a:gd name="T67" fmla="*/ 99 h 119"/>
              <a:gd name="T68" fmla="*/ 57 w 155"/>
              <a:gd name="T69" fmla="*/ 101 h 119"/>
              <a:gd name="T70" fmla="*/ 62 w 155"/>
              <a:gd name="T71" fmla="*/ 102 h 119"/>
              <a:gd name="T72" fmla="*/ 71 w 155"/>
              <a:gd name="T73" fmla="*/ 106 h 119"/>
              <a:gd name="T74" fmla="*/ 78 w 155"/>
              <a:gd name="T75" fmla="*/ 119 h 119"/>
              <a:gd name="T76" fmla="*/ 84 w 155"/>
              <a:gd name="T77" fmla="*/ 117 h 119"/>
              <a:gd name="T78" fmla="*/ 92 w 155"/>
              <a:gd name="T79" fmla="*/ 117 h 119"/>
              <a:gd name="T80" fmla="*/ 101 w 155"/>
              <a:gd name="T81" fmla="*/ 116 h 119"/>
              <a:gd name="T82" fmla="*/ 106 w 155"/>
              <a:gd name="T83" fmla="*/ 111 h 119"/>
              <a:gd name="T84" fmla="*/ 110 w 155"/>
              <a:gd name="T85" fmla="*/ 104 h 119"/>
              <a:gd name="T86" fmla="*/ 121 w 155"/>
              <a:gd name="T87" fmla="*/ 103 h 119"/>
              <a:gd name="T88" fmla="*/ 129 w 155"/>
              <a:gd name="T89" fmla="*/ 99 h 119"/>
              <a:gd name="T90" fmla="*/ 136 w 155"/>
              <a:gd name="T91" fmla="*/ 99 h 119"/>
              <a:gd name="T92" fmla="*/ 135 w 155"/>
              <a:gd name="T93" fmla="*/ 94 h 119"/>
              <a:gd name="T94" fmla="*/ 133 w 155"/>
              <a:gd name="T95" fmla="*/ 91 h 119"/>
              <a:gd name="T96" fmla="*/ 133 w 155"/>
              <a:gd name="T97" fmla="*/ 78 h 119"/>
              <a:gd name="T98" fmla="*/ 141 w 155"/>
              <a:gd name="T99" fmla="*/ 61 h 119"/>
              <a:gd name="T100" fmla="*/ 149 w 155"/>
              <a:gd name="T101" fmla="*/ 52 h 119"/>
              <a:gd name="T102" fmla="*/ 154 w 155"/>
              <a:gd name="T103" fmla="*/ 4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5" h="119">
                <a:moveTo>
                  <a:pt x="154" y="43"/>
                </a:moveTo>
                <a:cubicBezTo>
                  <a:pt x="154" y="42"/>
                  <a:pt x="153" y="42"/>
                  <a:pt x="153" y="42"/>
                </a:cubicBezTo>
                <a:cubicBezTo>
                  <a:pt x="153" y="41"/>
                  <a:pt x="153" y="41"/>
                  <a:pt x="152" y="41"/>
                </a:cubicBezTo>
                <a:cubicBezTo>
                  <a:pt x="151" y="41"/>
                  <a:pt x="150" y="41"/>
                  <a:pt x="149" y="41"/>
                </a:cubicBezTo>
                <a:cubicBezTo>
                  <a:pt x="149" y="41"/>
                  <a:pt x="149" y="41"/>
                  <a:pt x="148" y="41"/>
                </a:cubicBezTo>
                <a:cubicBezTo>
                  <a:pt x="148" y="39"/>
                  <a:pt x="146" y="40"/>
                  <a:pt x="147" y="38"/>
                </a:cubicBezTo>
                <a:cubicBezTo>
                  <a:pt x="146" y="37"/>
                  <a:pt x="145" y="37"/>
                  <a:pt x="145" y="36"/>
                </a:cubicBezTo>
                <a:cubicBezTo>
                  <a:pt x="145" y="32"/>
                  <a:pt x="145" y="32"/>
                  <a:pt x="145" y="32"/>
                </a:cubicBezTo>
                <a:cubicBezTo>
                  <a:pt x="146" y="32"/>
                  <a:pt x="146" y="31"/>
                  <a:pt x="147" y="31"/>
                </a:cubicBezTo>
                <a:cubicBezTo>
                  <a:pt x="147" y="29"/>
                  <a:pt x="145" y="29"/>
                  <a:pt x="145" y="27"/>
                </a:cubicBezTo>
                <a:cubicBezTo>
                  <a:pt x="144" y="28"/>
                  <a:pt x="143" y="27"/>
                  <a:pt x="142" y="27"/>
                </a:cubicBezTo>
                <a:cubicBezTo>
                  <a:pt x="142" y="26"/>
                  <a:pt x="141" y="26"/>
                  <a:pt x="140" y="25"/>
                </a:cubicBezTo>
                <a:cubicBezTo>
                  <a:pt x="138" y="25"/>
                  <a:pt x="138" y="23"/>
                  <a:pt x="136" y="24"/>
                </a:cubicBezTo>
                <a:cubicBezTo>
                  <a:pt x="135" y="23"/>
                  <a:pt x="135" y="22"/>
                  <a:pt x="135" y="21"/>
                </a:cubicBezTo>
                <a:cubicBezTo>
                  <a:pt x="134" y="21"/>
                  <a:pt x="134" y="20"/>
                  <a:pt x="133" y="20"/>
                </a:cubicBezTo>
                <a:cubicBezTo>
                  <a:pt x="132" y="20"/>
                  <a:pt x="131" y="18"/>
                  <a:pt x="129" y="19"/>
                </a:cubicBezTo>
                <a:cubicBezTo>
                  <a:pt x="130" y="16"/>
                  <a:pt x="127" y="16"/>
                  <a:pt x="125" y="15"/>
                </a:cubicBezTo>
                <a:cubicBezTo>
                  <a:pt x="124" y="15"/>
                  <a:pt x="122" y="15"/>
                  <a:pt x="122" y="14"/>
                </a:cubicBezTo>
                <a:cubicBezTo>
                  <a:pt x="122" y="13"/>
                  <a:pt x="122" y="13"/>
                  <a:pt x="122" y="13"/>
                </a:cubicBezTo>
                <a:cubicBezTo>
                  <a:pt x="120" y="14"/>
                  <a:pt x="118" y="12"/>
                  <a:pt x="118" y="9"/>
                </a:cubicBezTo>
                <a:cubicBezTo>
                  <a:pt x="115" y="9"/>
                  <a:pt x="113" y="10"/>
                  <a:pt x="110" y="11"/>
                </a:cubicBezTo>
                <a:cubicBezTo>
                  <a:pt x="108" y="11"/>
                  <a:pt x="108" y="10"/>
                  <a:pt x="106" y="9"/>
                </a:cubicBezTo>
                <a:cubicBezTo>
                  <a:pt x="105" y="9"/>
                  <a:pt x="104" y="10"/>
                  <a:pt x="102" y="10"/>
                </a:cubicBezTo>
                <a:cubicBezTo>
                  <a:pt x="103" y="8"/>
                  <a:pt x="101" y="9"/>
                  <a:pt x="101" y="7"/>
                </a:cubicBezTo>
                <a:cubicBezTo>
                  <a:pt x="100" y="6"/>
                  <a:pt x="100" y="5"/>
                  <a:pt x="99" y="4"/>
                </a:cubicBezTo>
                <a:cubicBezTo>
                  <a:pt x="98" y="3"/>
                  <a:pt x="97" y="1"/>
                  <a:pt x="95" y="0"/>
                </a:cubicBezTo>
                <a:cubicBezTo>
                  <a:pt x="94" y="0"/>
                  <a:pt x="94" y="1"/>
                  <a:pt x="93" y="1"/>
                </a:cubicBezTo>
                <a:cubicBezTo>
                  <a:pt x="93" y="1"/>
                  <a:pt x="93" y="1"/>
                  <a:pt x="92" y="2"/>
                </a:cubicBezTo>
                <a:cubicBezTo>
                  <a:pt x="92" y="2"/>
                  <a:pt x="91" y="1"/>
                  <a:pt x="91" y="2"/>
                </a:cubicBezTo>
                <a:cubicBezTo>
                  <a:pt x="90" y="2"/>
                  <a:pt x="91" y="2"/>
                  <a:pt x="90" y="2"/>
                </a:cubicBezTo>
                <a:cubicBezTo>
                  <a:pt x="90" y="3"/>
                  <a:pt x="90" y="3"/>
                  <a:pt x="90" y="3"/>
                </a:cubicBezTo>
                <a:cubicBezTo>
                  <a:pt x="89" y="4"/>
                  <a:pt x="88" y="4"/>
                  <a:pt x="87" y="4"/>
                </a:cubicBezTo>
                <a:cubicBezTo>
                  <a:pt x="87" y="6"/>
                  <a:pt x="85" y="7"/>
                  <a:pt x="85" y="9"/>
                </a:cubicBezTo>
                <a:cubicBezTo>
                  <a:pt x="83" y="10"/>
                  <a:pt x="83" y="8"/>
                  <a:pt x="81" y="9"/>
                </a:cubicBezTo>
                <a:cubicBezTo>
                  <a:pt x="79" y="8"/>
                  <a:pt x="80" y="10"/>
                  <a:pt x="78" y="10"/>
                </a:cubicBezTo>
                <a:cubicBezTo>
                  <a:pt x="78" y="10"/>
                  <a:pt x="77" y="10"/>
                  <a:pt x="77" y="11"/>
                </a:cubicBezTo>
                <a:cubicBezTo>
                  <a:pt x="76" y="10"/>
                  <a:pt x="76" y="10"/>
                  <a:pt x="76" y="10"/>
                </a:cubicBezTo>
                <a:cubicBezTo>
                  <a:pt x="74" y="10"/>
                  <a:pt x="74" y="9"/>
                  <a:pt x="74" y="9"/>
                </a:cubicBezTo>
                <a:cubicBezTo>
                  <a:pt x="73" y="9"/>
                  <a:pt x="72" y="9"/>
                  <a:pt x="72" y="8"/>
                </a:cubicBezTo>
                <a:cubicBezTo>
                  <a:pt x="71" y="8"/>
                  <a:pt x="71" y="8"/>
                  <a:pt x="71" y="7"/>
                </a:cubicBezTo>
                <a:cubicBezTo>
                  <a:pt x="69" y="7"/>
                  <a:pt x="67" y="7"/>
                  <a:pt x="65" y="7"/>
                </a:cubicBezTo>
                <a:cubicBezTo>
                  <a:pt x="64" y="7"/>
                  <a:pt x="63" y="8"/>
                  <a:pt x="63" y="9"/>
                </a:cubicBezTo>
                <a:cubicBezTo>
                  <a:pt x="62" y="8"/>
                  <a:pt x="61" y="9"/>
                  <a:pt x="61" y="10"/>
                </a:cubicBezTo>
                <a:cubicBezTo>
                  <a:pt x="59" y="9"/>
                  <a:pt x="57" y="9"/>
                  <a:pt x="55" y="9"/>
                </a:cubicBezTo>
                <a:cubicBezTo>
                  <a:pt x="55" y="9"/>
                  <a:pt x="54" y="9"/>
                  <a:pt x="53" y="9"/>
                </a:cubicBezTo>
                <a:cubicBezTo>
                  <a:pt x="52" y="9"/>
                  <a:pt x="52" y="10"/>
                  <a:pt x="51" y="10"/>
                </a:cubicBezTo>
                <a:cubicBezTo>
                  <a:pt x="51" y="11"/>
                  <a:pt x="50" y="10"/>
                  <a:pt x="50" y="11"/>
                </a:cubicBezTo>
                <a:cubicBezTo>
                  <a:pt x="49" y="11"/>
                  <a:pt x="49" y="10"/>
                  <a:pt x="49" y="10"/>
                </a:cubicBezTo>
                <a:cubicBezTo>
                  <a:pt x="49" y="10"/>
                  <a:pt x="48" y="10"/>
                  <a:pt x="48" y="10"/>
                </a:cubicBezTo>
                <a:cubicBezTo>
                  <a:pt x="46" y="13"/>
                  <a:pt x="42" y="14"/>
                  <a:pt x="37" y="14"/>
                </a:cubicBezTo>
                <a:cubicBezTo>
                  <a:pt x="36" y="14"/>
                  <a:pt x="36" y="14"/>
                  <a:pt x="36" y="13"/>
                </a:cubicBezTo>
                <a:cubicBezTo>
                  <a:pt x="36" y="13"/>
                  <a:pt x="36" y="13"/>
                  <a:pt x="35" y="13"/>
                </a:cubicBezTo>
                <a:cubicBezTo>
                  <a:pt x="34" y="13"/>
                  <a:pt x="32" y="13"/>
                  <a:pt x="30" y="13"/>
                </a:cubicBezTo>
                <a:cubicBezTo>
                  <a:pt x="29" y="13"/>
                  <a:pt x="30" y="13"/>
                  <a:pt x="30" y="13"/>
                </a:cubicBezTo>
                <a:cubicBezTo>
                  <a:pt x="29" y="14"/>
                  <a:pt x="27" y="13"/>
                  <a:pt x="26" y="13"/>
                </a:cubicBezTo>
                <a:cubicBezTo>
                  <a:pt x="25" y="14"/>
                  <a:pt x="23" y="15"/>
                  <a:pt x="23" y="16"/>
                </a:cubicBezTo>
                <a:cubicBezTo>
                  <a:pt x="20" y="16"/>
                  <a:pt x="19" y="17"/>
                  <a:pt x="18" y="18"/>
                </a:cubicBezTo>
                <a:cubicBezTo>
                  <a:pt x="16" y="18"/>
                  <a:pt x="16" y="19"/>
                  <a:pt x="14" y="19"/>
                </a:cubicBezTo>
                <a:cubicBezTo>
                  <a:pt x="11" y="19"/>
                  <a:pt x="13" y="23"/>
                  <a:pt x="10" y="22"/>
                </a:cubicBezTo>
                <a:cubicBezTo>
                  <a:pt x="9" y="24"/>
                  <a:pt x="8" y="25"/>
                  <a:pt x="7" y="26"/>
                </a:cubicBezTo>
                <a:cubicBezTo>
                  <a:pt x="7" y="28"/>
                  <a:pt x="6" y="30"/>
                  <a:pt x="6" y="32"/>
                </a:cubicBezTo>
                <a:cubicBezTo>
                  <a:pt x="4" y="32"/>
                  <a:pt x="3" y="32"/>
                  <a:pt x="1" y="32"/>
                </a:cubicBezTo>
                <a:cubicBezTo>
                  <a:pt x="1" y="33"/>
                  <a:pt x="1" y="35"/>
                  <a:pt x="0" y="36"/>
                </a:cubicBezTo>
                <a:cubicBezTo>
                  <a:pt x="0" y="36"/>
                  <a:pt x="1" y="36"/>
                  <a:pt x="1" y="37"/>
                </a:cubicBezTo>
                <a:cubicBezTo>
                  <a:pt x="1" y="37"/>
                  <a:pt x="0" y="37"/>
                  <a:pt x="0" y="38"/>
                </a:cubicBezTo>
                <a:cubicBezTo>
                  <a:pt x="0" y="38"/>
                  <a:pt x="0" y="38"/>
                  <a:pt x="0" y="38"/>
                </a:cubicBezTo>
                <a:cubicBezTo>
                  <a:pt x="1" y="41"/>
                  <a:pt x="2" y="42"/>
                  <a:pt x="2" y="45"/>
                </a:cubicBezTo>
                <a:cubicBezTo>
                  <a:pt x="2" y="46"/>
                  <a:pt x="3" y="48"/>
                  <a:pt x="4" y="49"/>
                </a:cubicBezTo>
                <a:cubicBezTo>
                  <a:pt x="5" y="49"/>
                  <a:pt x="6" y="51"/>
                  <a:pt x="6" y="52"/>
                </a:cubicBezTo>
                <a:cubicBezTo>
                  <a:pt x="4" y="52"/>
                  <a:pt x="5" y="50"/>
                  <a:pt x="3" y="50"/>
                </a:cubicBezTo>
                <a:cubicBezTo>
                  <a:pt x="3" y="52"/>
                  <a:pt x="4" y="53"/>
                  <a:pt x="4" y="55"/>
                </a:cubicBezTo>
                <a:cubicBezTo>
                  <a:pt x="3" y="57"/>
                  <a:pt x="3" y="59"/>
                  <a:pt x="3" y="61"/>
                </a:cubicBezTo>
                <a:cubicBezTo>
                  <a:pt x="3" y="63"/>
                  <a:pt x="2" y="65"/>
                  <a:pt x="2" y="67"/>
                </a:cubicBezTo>
                <a:cubicBezTo>
                  <a:pt x="2" y="67"/>
                  <a:pt x="3" y="68"/>
                  <a:pt x="3" y="68"/>
                </a:cubicBezTo>
                <a:cubicBezTo>
                  <a:pt x="3" y="67"/>
                  <a:pt x="4" y="67"/>
                  <a:pt x="5" y="66"/>
                </a:cubicBezTo>
                <a:cubicBezTo>
                  <a:pt x="6" y="66"/>
                  <a:pt x="5" y="64"/>
                  <a:pt x="6" y="64"/>
                </a:cubicBezTo>
                <a:cubicBezTo>
                  <a:pt x="6" y="60"/>
                  <a:pt x="6" y="57"/>
                  <a:pt x="6" y="54"/>
                </a:cubicBezTo>
                <a:cubicBezTo>
                  <a:pt x="6" y="54"/>
                  <a:pt x="5" y="53"/>
                  <a:pt x="6" y="53"/>
                </a:cubicBezTo>
                <a:cubicBezTo>
                  <a:pt x="6" y="53"/>
                  <a:pt x="7" y="53"/>
                  <a:pt x="7" y="54"/>
                </a:cubicBezTo>
                <a:cubicBezTo>
                  <a:pt x="7" y="57"/>
                  <a:pt x="8" y="60"/>
                  <a:pt x="8" y="64"/>
                </a:cubicBezTo>
                <a:cubicBezTo>
                  <a:pt x="9" y="64"/>
                  <a:pt x="9" y="64"/>
                  <a:pt x="9" y="64"/>
                </a:cubicBezTo>
                <a:cubicBezTo>
                  <a:pt x="9" y="65"/>
                  <a:pt x="10" y="65"/>
                  <a:pt x="10" y="66"/>
                </a:cubicBezTo>
                <a:cubicBezTo>
                  <a:pt x="11" y="66"/>
                  <a:pt x="12" y="65"/>
                  <a:pt x="13" y="66"/>
                </a:cubicBezTo>
                <a:cubicBezTo>
                  <a:pt x="13" y="66"/>
                  <a:pt x="13" y="66"/>
                  <a:pt x="13" y="66"/>
                </a:cubicBezTo>
                <a:cubicBezTo>
                  <a:pt x="13" y="67"/>
                  <a:pt x="14" y="66"/>
                  <a:pt x="14" y="66"/>
                </a:cubicBezTo>
                <a:cubicBezTo>
                  <a:pt x="14" y="66"/>
                  <a:pt x="14" y="67"/>
                  <a:pt x="14" y="67"/>
                </a:cubicBezTo>
                <a:cubicBezTo>
                  <a:pt x="16" y="68"/>
                  <a:pt x="18" y="67"/>
                  <a:pt x="18" y="69"/>
                </a:cubicBezTo>
                <a:cubicBezTo>
                  <a:pt x="20" y="69"/>
                  <a:pt x="21" y="69"/>
                  <a:pt x="23" y="69"/>
                </a:cubicBezTo>
                <a:cubicBezTo>
                  <a:pt x="23" y="70"/>
                  <a:pt x="24" y="70"/>
                  <a:pt x="25" y="71"/>
                </a:cubicBezTo>
                <a:cubicBezTo>
                  <a:pt x="26" y="71"/>
                  <a:pt x="27" y="72"/>
                  <a:pt x="28" y="72"/>
                </a:cubicBezTo>
                <a:cubicBezTo>
                  <a:pt x="29" y="72"/>
                  <a:pt x="30" y="72"/>
                  <a:pt x="31" y="72"/>
                </a:cubicBezTo>
                <a:cubicBezTo>
                  <a:pt x="33" y="72"/>
                  <a:pt x="33" y="75"/>
                  <a:pt x="37" y="74"/>
                </a:cubicBezTo>
                <a:cubicBezTo>
                  <a:pt x="48" y="74"/>
                  <a:pt x="48" y="74"/>
                  <a:pt x="48" y="74"/>
                </a:cubicBezTo>
                <a:cubicBezTo>
                  <a:pt x="49" y="74"/>
                  <a:pt x="49" y="74"/>
                  <a:pt x="49" y="74"/>
                </a:cubicBezTo>
                <a:cubicBezTo>
                  <a:pt x="51" y="74"/>
                  <a:pt x="50" y="75"/>
                  <a:pt x="51" y="76"/>
                </a:cubicBezTo>
                <a:cubicBezTo>
                  <a:pt x="52" y="76"/>
                  <a:pt x="52" y="77"/>
                  <a:pt x="53" y="77"/>
                </a:cubicBezTo>
                <a:cubicBezTo>
                  <a:pt x="55" y="78"/>
                  <a:pt x="55" y="81"/>
                  <a:pt x="56" y="82"/>
                </a:cubicBezTo>
                <a:cubicBezTo>
                  <a:pt x="56" y="84"/>
                  <a:pt x="55" y="85"/>
                  <a:pt x="54" y="85"/>
                </a:cubicBezTo>
                <a:cubicBezTo>
                  <a:pt x="54" y="86"/>
                  <a:pt x="54" y="86"/>
                  <a:pt x="53" y="87"/>
                </a:cubicBezTo>
                <a:cubicBezTo>
                  <a:pt x="53" y="87"/>
                  <a:pt x="53" y="88"/>
                  <a:pt x="53" y="88"/>
                </a:cubicBezTo>
                <a:cubicBezTo>
                  <a:pt x="53" y="91"/>
                  <a:pt x="53" y="94"/>
                  <a:pt x="53" y="97"/>
                </a:cubicBezTo>
                <a:cubicBezTo>
                  <a:pt x="53" y="98"/>
                  <a:pt x="53" y="99"/>
                  <a:pt x="54" y="99"/>
                </a:cubicBezTo>
                <a:cubicBezTo>
                  <a:pt x="55" y="99"/>
                  <a:pt x="55" y="100"/>
                  <a:pt x="55" y="100"/>
                </a:cubicBezTo>
                <a:cubicBezTo>
                  <a:pt x="56" y="101"/>
                  <a:pt x="56" y="100"/>
                  <a:pt x="57" y="100"/>
                </a:cubicBezTo>
                <a:cubicBezTo>
                  <a:pt x="57" y="101"/>
                  <a:pt x="57" y="101"/>
                  <a:pt x="57" y="101"/>
                </a:cubicBezTo>
                <a:cubicBezTo>
                  <a:pt x="58" y="101"/>
                  <a:pt x="59" y="101"/>
                  <a:pt x="60" y="101"/>
                </a:cubicBezTo>
                <a:cubicBezTo>
                  <a:pt x="60" y="101"/>
                  <a:pt x="60" y="102"/>
                  <a:pt x="60" y="102"/>
                </a:cubicBezTo>
                <a:cubicBezTo>
                  <a:pt x="61" y="102"/>
                  <a:pt x="61" y="102"/>
                  <a:pt x="62" y="102"/>
                </a:cubicBezTo>
                <a:cubicBezTo>
                  <a:pt x="62" y="102"/>
                  <a:pt x="62" y="103"/>
                  <a:pt x="62" y="103"/>
                </a:cubicBezTo>
                <a:cubicBezTo>
                  <a:pt x="63" y="103"/>
                  <a:pt x="64" y="103"/>
                  <a:pt x="65" y="103"/>
                </a:cubicBezTo>
                <a:cubicBezTo>
                  <a:pt x="67" y="104"/>
                  <a:pt x="68" y="106"/>
                  <a:pt x="71" y="106"/>
                </a:cubicBezTo>
                <a:cubicBezTo>
                  <a:pt x="71" y="107"/>
                  <a:pt x="73" y="107"/>
                  <a:pt x="74" y="107"/>
                </a:cubicBezTo>
                <a:cubicBezTo>
                  <a:pt x="75" y="110"/>
                  <a:pt x="78" y="110"/>
                  <a:pt x="78" y="113"/>
                </a:cubicBezTo>
                <a:cubicBezTo>
                  <a:pt x="78" y="115"/>
                  <a:pt x="78" y="117"/>
                  <a:pt x="78" y="119"/>
                </a:cubicBezTo>
                <a:cubicBezTo>
                  <a:pt x="79" y="119"/>
                  <a:pt x="79" y="119"/>
                  <a:pt x="79" y="119"/>
                </a:cubicBezTo>
                <a:cubicBezTo>
                  <a:pt x="80" y="119"/>
                  <a:pt x="82" y="119"/>
                  <a:pt x="82" y="118"/>
                </a:cubicBezTo>
                <a:cubicBezTo>
                  <a:pt x="83" y="118"/>
                  <a:pt x="84" y="118"/>
                  <a:pt x="84" y="117"/>
                </a:cubicBezTo>
                <a:cubicBezTo>
                  <a:pt x="87" y="118"/>
                  <a:pt x="86" y="116"/>
                  <a:pt x="88" y="115"/>
                </a:cubicBezTo>
                <a:cubicBezTo>
                  <a:pt x="89" y="115"/>
                  <a:pt x="89" y="116"/>
                  <a:pt x="90" y="116"/>
                </a:cubicBezTo>
                <a:cubicBezTo>
                  <a:pt x="91" y="116"/>
                  <a:pt x="91" y="116"/>
                  <a:pt x="92" y="117"/>
                </a:cubicBezTo>
                <a:cubicBezTo>
                  <a:pt x="93" y="116"/>
                  <a:pt x="94" y="115"/>
                  <a:pt x="95" y="114"/>
                </a:cubicBezTo>
                <a:cubicBezTo>
                  <a:pt x="96" y="114"/>
                  <a:pt x="97" y="115"/>
                  <a:pt x="97" y="116"/>
                </a:cubicBezTo>
                <a:cubicBezTo>
                  <a:pt x="98" y="116"/>
                  <a:pt x="100" y="116"/>
                  <a:pt x="101" y="116"/>
                </a:cubicBezTo>
                <a:cubicBezTo>
                  <a:pt x="102" y="116"/>
                  <a:pt x="103" y="115"/>
                  <a:pt x="103" y="114"/>
                </a:cubicBezTo>
                <a:cubicBezTo>
                  <a:pt x="104" y="114"/>
                  <a:pt x="104" y="112"/>
                  <a:pt x="105" y="112"/>
                </a:cubicBezTo>
                <a:cubicBezTo>
                  <a:pt x="105" y="112"/>
                  <a:pt x="106" y="112"/>
                  <a:pt x="106" y="111"/>
                </a:cubicBezTo>
                <a:cubicBezTo>
                  <a:pt x="108" y="111"/>
                  <a:pt x="108" y="109"/>
                  <a:pt x="110" y="110"/>
                </a:cubicBezTo>
                <a:cubicBezTo>
                  <a:pt x="111" y="108"/>
                  <a:pt x="110" y="108"/>
                  <a:pt x="110" y="107"/>
                </a:cubicBezTo>
                <a:cubicBezTo>
                  <a:pt x="109" y="105"/>
                  <a:pt x="110" y="105"/>
                  <a:pt x="110" y="104"/>
                </a:cubicBezTo>
                <a:cubicBezTo>
                  <a:pt x="111" y="104"/>
                  <a:pt x="111" y="104"/>
                  <a:pt x="111" y="104"/>
                </a:cubicBezTo>
                <a:cubicBezTo>
                  <a:pt x="112" y="105"/>
                  <a:pt x="114" y="105"/>
                  <a:pt x="115" y="105"/>
                </a:cubicBezTo>
                <a:cubicBezTo>
                  <a:pt x="117" y="104"/>
                  <a:pt x="119" y="103"/>
                  <a:pt x="121" y="103"/>
                </a:cubicBezTo>
                <a:cubicBezTo>
                  <a:pt x="122" y="102"/>
                  <a:pt x="121" y="99"/>
                  <a:pt x="122" y="98"/>
                </a:cubicBezTo>
                <a:cubicBezTo>
                  <a:pt x="125" y="98"/>
                  <a:pt x="125" y="96"/>
                  <a:pt x="128" y="96"/>
                </a:cubicBezTo>
                <a:cubicBezTo>
                  <a:pt x="128" y="98"/>
                  <a:pt x="129" y="98"/>
                  <a:pt x="129" y="99"/>
                </a:cubicBezTo>
                <a:cubicBezTo>
                  <a:pt x="128" y="99"/>
                  <a:pt x="128" y="101"/>
                  <a:pt x="128" y="102"/>
                </a:cubicBezTo>
                <a:cubicBezTo>
                  <a:pt x="130" y="102"/>
                  <a:pt x="132" y="102"/>
                  <a:pt x="134" y="102"/>
                </a:cubicBezTo>
                <a:cubicBezTo>
                  <a:pt x="134" y="100"/>
                  <a:pt x="136" y="101"/>
                  <a:pt x="136" y="99"/>
                </a:cubicBezTo>
                <a:cubicBezTo>
                  <a:pt x="136" y="99"/>
                  <a:pt x="137" y="98"/>
                  <a:pt x="137" y="97"/>
                </a:cubicBezTo>
                <a:cubicBezTo>
                  <a:pt x="137" y="96"/>
                  <a:pt x="136" y="96"/>
                  <a:pt x="136" y="95"/>
                </a:cubicBezTo>
                <a:cubicBezTo>
                  <a:pt x="135" y="94"/>
                  <a:pt x="135" y="94"/>
                  <a:pt x="135" y="94"/>
                </a:cubicBezTo>
                <a:cubicBezTo>
                  <a:pt x="135" y="93"/>
                  <a:pt x="134" y="94"/>
                  <a:pt x="134" y="94"/>
                </a:cubicBezTo>
                <a:cubicBezTo>
                  <a:pt x="134" y="93"/>
                  <a:pt x="134" y="92"/>
                  <a:pt x="134" y="92"/>
                </a:cubicBezTo>
                <a:cubicBezTo>
                  <a:pt x="133" y="92"/>
                  <a:pt x="133" y="91"/>
                  <a:pt x="133" y="91"/>
                </a:cubicBezTo>
                <a:cubicBezTo>
                  <a:pt x="132" y="91"/>
                  <a:pt x="131" y="91"/>
                  <a:pt x="131" y="90"/>
                </a:cubicBezTo>
                <a:cubicBezTo>
                  <a:pt x="131" y="86"/>
                  <a:pt x="132" y="84"/>
                  <a:pt x="132" y="80"/>
                </a:cubicBezTo>
                <a:cubicBezTo>
                  <a:pt x="133" y="80"/>
                  <a:pt x="133" y="79"/>
                  <a:pt x="133" y="78"/>
                </a:cubicBezTo>
                <a:cubicBezTo>
                  <a:pt x="131" y="76"/>
                  <a:pt x="131" y="72"/>
                  <a:pt x="131" y="68"/>
                </a:cubicBezTo>
                <a:cubicBezTo>
                  <a:pt x="132" y="67"/>
                  <a:pt x="134" y="65"/>
                  <a:pt x="136" y="64"/>
                </a:cubicBezTo>
                <a:cubicBezTo>
                  <a:pt x="137" y="63"/>
                  <a:pt x="139" y="62"/>
                  <a:pt x="141" y="61"/>
                </a:cubicBezTo>
                <a:cubicBezTo>
                  <a:pt x="141" y="61"/>
                  <a:pt x="141" y="61"/>
                  <a:pt x="141" y="60"/>
                </a:cubicBezTo>
                <a:cubicBezTo>
                  <a:pt x="141" y="58"/>
                  <a:pt x="141" y="56"/>
                  <a:pt x="141" y="55"/>
                </a:cubicBezTo>
                <a:cubicBezTo>
                  <a:pt x="144" y="53"/>
                  <a:pt x="146" y="52"/>
                  <a:pt x="149" y="52"/>
                </a:cubicBezTo>
                <a:cubicBezTo>
                  <a:pt x="150" y="51"/>
                  <a:pt x="151" y="50"/>
                  <a:pt x="152" y="50"/>
                </a:cubicBezTo>
                <a:cubicBezTo>
                  <a:pt x="152" y="50"/>
                  <a:pt x="152" y="48"/>
                  <a:pt x="153" y="48"/>
                </a:cubicBezTo>
                <a:cubicBezTo>
                  <a:pt x="153" y="46"/>
                  <a:pt x="155" y="46"/>
                  <a:pt x="154" y="43"/>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2" name="Freeform 60"/>
          <p:cNvSpPr>
            <a:spLocks noEditPoints="1"/>
          </p:cNvSpPr>
          <p:nvPr/>
        </p:nvSpPr>
        <p:spPr bwMode="auto">
          <a:xfrm>
            <a:off x="8706142" y="2521253"/>
            <a:ext cx="625475" cy="414338"/>
          </a:xfrm>
          <a:custGeom>
            <a:avLst/>
            <a:gdLst>
              <a:gd name="T0" fmla="*/ 50 w 162"/>
              <a:gd name="T1" fmla="*/ 20 h 107"/>
              <a:gd name="T2" fmla="*/ 160 w 162"/>
              <a:gd name="T3" fmla="*/ 22 h 107"/>
              <a:gd name="T4" fmla="*/ 152 w 162"/>
              <a:gd name="T5" fmla="*/ 15 h 107"/>
              <a:gd name="T6" fmla="*/ 135 w 162"/>
              <a:gd name="T7" fmla="*/ 17 h 107"/>
              <a:gd name="T8" fmla="*/ 128 w 162"/>
              <a:gd name="T9" fmla="*/ 19 h 107"/>
              <a:gd name="T10" fmla="*/ 123 w 162"/>
              <a:gd name="T11" fmla="*/ 17 h 107"/>
              <a:gd name="T12" fmla="*/ 123 w 162"/>
              <a:gd name="T13" fmla="*/ 16 h 107"/>
              <a:gd name="T14" fmla="*/ 122 w 162"/>
              <a:gd name="T15" fmla="*/ 14 h 107"/>
              <a:gd name="T16" fmla="*/ 118 w 162"/>
              <a:gd name="T17" fmla="*/ 10 h 107"/>
              <a:gd name="T18" fmla="*/ 112 w 162"/>
              <a:gd name="T19" fmla="*/ 8 h 107"/>
              <a:gd name="T20" fmla="*/ 100 w 162"/>
              <a:gd name="T21" fmla="*/ 1 h 107"/>
              <a:gd name="T22" fmla="*/ 88 w 162"/>
              <a:gd name="T23" fmla="*/ 2 h 107"/>
              <a:gd name="T24" fmla="*/ 77 w 162"/>
              <a:gd name="T25" fmla="*/ 10 h 107"/>
              <a:gd name="T26" fmla="*/ 75 w 162"/>
              <a:gd name="T27" fmla="*/ 19 h 107"/>
              <a:gd name="T28" fmla="*/ 80 w 162"/>
              <a:gd name="T29" fmla="*/ 36 h 107"/>
              <a:gd name="T30" fmla="*/ 79 w 162"/>
              <a:gd name="T31" fmla="*/ 41 h 107"/>
              <a:gd name="T32" fmla="*/ 77 w 162"/>
              <a:gd name="T33" fmla="*/ 46 h 107"/>
              <a:gd name="T34" fmla="*/ 70 w 162"/>
              <a:gd name="T35" fmla="*/ 52 h 107"/>
              <a:gd name="T36" fmla="*/ 51 w 162"/>
              <a:gd name="T37" fmla="*/ 43 h 107"/>
              <a:gd name="T38" fmla="*/ 45 w 162"/>
              <a:gd name="T39" fmla="*/ 38 h 107"/>
              <a:gd name="T40" fmla="*/ 34 w 162"/>
              <a:gd name="T41" fmla="*/ 28 h 107"/>
              <a:gd name="T42" fmla="*/ 22 w 162"/>
              <a:gd name="T43" fmla="*/ 30 h 107"/>
              <a:gd name="T44" fmla="*/ 8 w 162"/>
              <a:gd name="T45" fmla="*/ 45 h 107"/>
              <a:gd name="T46" fmla="*/ 6 w 162"/>
              <a:gd name="T47" fmla="*/ 48 h 107"/>
              <a:gd name="T48" fmla="*/ 6 w 162"/>
              <a:gd name="T49" fmla="*/ 63 h 107"/>
              <a:gd name="T50" fmla="*/ 1 w 162"/>
              <a:gd name="T51" fmla="*/ 79 h 107"/>
              <a:gd name="T52" fmla="*/ 1 w 162"/>
              <a:gd name="T53" fmla="*/ 85 h 107"/>
              <a:gd name="T54" fmla="*/ 2 w 162"/>
              <a:gd name="T55" fmla="*/ 95 h 107"/>
              <a:gd name="T56" fmla="*/ 4 w 162"/>
              <a:gd name="T57" fmla="*/ 103 h 107"/>
              <a:gd name="T58" fmla="*/ 5 w 162"/>
              <a:gd name="T59" fmla="*/ 107 h 107"/>
              <a:gd name="T60" fmla="*/ 18 w 162"/>
              <a:gd name="T61" fmla="*/ 94 h 107"/>
              <a:gd name="T62" fmla="*/ 34 w 162"/>
              <a:gd name="T63" fmla="*/ 88 h 107"/>
              <a:gd name="T64" fmla="*/ 41 w 162"/>
              <a:gd name="T65" fmla="*/ 89 h 107"/>
              <a:gd name="T66" fmla="*/ 55 w 162"/>
              <a:gd name="T67" fmla="*/ 85 h 107"/>
              <a:gd name="T68" fmla="*/ 67 w 162"/>
              <a:gd name="T69" fmla="*/ 84 h 107"/>
              <a:gd name="T70" fmla="*/ 78 w 162"/>
              <a:gd name="T71" fmla="*/ 84 h 107"/>
              <a:gd name="T72" fmla="*/ 85 w 162"/>
              <a:gd name="T73" fmla="*/ 84 h 107"/>
              <a:gd name="T74" fmla="*/ 94 w 162"/>
              <a:gd name="T75" fmla="*/ 77 h 107"/>
              <a:gd name="T76" fmla="*/ 99 w 162"/>
              <a:gd name="T77" fmla="*/ 75 h 107"/>
              <a:gd name="T78" fmla="*/ 110 w 162"/>
              <a:gd name="T79" fmla="*/ 84 h 107"/>
              <a:gd name="T80" fmla="*/ 131 w 162"/>
              <a:gd name="T81" fmla="*/ 87 h 107"/>
              <a:gd name="T82" fmla="*/ 135 w 162"/>
              <a:gd name="T83" fmla="*/ 82 h 107"/>
              <a:gd name="T84" fmla="*/ 137 w 162"/>
              <a:gd name="T85" fmla="*/ 84 h 107"/>
              <a:gd name="T86" fmla="*/ 137 w 162"/>
              <a:gd name="T87" fmla="*/ 85 h 107"/>
              <a:gd name="T88" fmla="*/ 138 w 162"/>
              <a:gd name="T89" fmla="*/ 85 h 107"/>
              <a:gd name="T90" fmla="*/ 139 w 162"/>
              <a:gd name="T91" fmla="*/ 85 h 107"/>
              <a:gd name="T92" fmla="*/ 139 w 162"/>
              <a:gd name="T93" fmla="*/ 84 h 107"/>
              <a:gd name="T94" fmla="*/ 139 w 162"/>
              <a:gd name="T95" fmla="*/ 83 h 107"/>
              <a:gd name="T96" fmla="*/ 137 w 162"/>
              <a:gd name="T97" fmla="*/ 80 h 107"/>
              <a:gd name="T98" fmla="*/ 134 w 162"/>
              <a:gd name="T99" fmla="*/ 74 h 107"/>
              <a:gd name="T100" fmla="*/ 133 w 162"/>
              <a:gd name="T101" fmla="*/ 74 h 107"/>
              <a:gd name="T102" fmla="*/ 133 w 162"/>
              <a:gd name="T103" fmla="*/ 73 h 107"/>
              <a:gd name="T104" fmla="*/ 132 w 162"/>
              <a:gd name="T105" fmla="*/ 72 h 107"/>
              <a:gd name="T106" fmla="*/ 132 w 162"/>
              <a:gd name="T107" fmla="*/ 68 h 107"/>
              <a:gd name="T108" fmla="*/ 138 w 162"/>
              <a:gd name="T109" fmla="*/ 67 h 107"/>
              <a:gd name="T110" fmla="*/ 145 w 162"/>
              <a:gd name="T111" fmla="*/ 63 h 107"/>
              <a:gd name="T112" fmla="*/ 146 w 162"/>
              <a:gd name="T113" fmla="*/ 53 h 107"/>
              <a:gd name="T114" fmla="*/ 144 w 162"/>
              <a:gd name="T115" fmla="*/ 43 h 107"/>
              <a:gd name="T116" fmla="*/ 147 w 162"/>
              <a:gd name="T117" fmla="*/ 35 h 107"/>
              <a:gd name="T118" fmla="*/ 157 w 162"/>
              <a:gd name="T119" fmla="*/ 2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2" h="107">
                <a:moveTo>
                  <a:pt x="50" y="22"/>
                </a:moveTo>
                <a:cubicBezTo>
                  <a:pt x="50" y="22"/>
                  <a:pt x="50" y="21"/>
                  <a:pt x="50" y="22"/>
                </a:cubicBezTo>
                <a:cubicBezTo>
                  <a:pt x="50" y="21"/>
                  <a:pt x="50" y="21"/>
                  <a:pt x="50" y="21"/>
                </a:cubicBezTo>
                <a:cubicBezTo>
                  <a:pt x="50" y="21"/>
                  <a:pt x="50" y="21"/>
                  <a:pt x="50" y="20"/>
                </a:cubicBezTo>
                <a:cubicBezTo>
                  <a:pt x="49" y="21"/>
                  <a:pt x="49" y="20"/>
                  <a:pt x="49" y="19"/>
                </a:cubicBezTo>
                <a:cubicBezTo>
                  <a:pt x="48" y="19"/>
                  <a:pt x="47" y="20"/>
                  <a:pt x="46" y="20"/>
                </a:cubicBezTo>
                <a:cubicBezTo>
                  <a:pt x="46" y="22"/>
                  <a:pt x="48" y="22"/>
                  <a:pt x="50" y="22"/>
                </a:cubicBezTo>
                <a:close/>
                <a:moveTo>
                  <a:pt x="160" y="22"/>
                </a:moveTo>
                <a:cubicBezTo>
                  <a:pt x="160" y="21"/>
                  <a:pt x="159" y="21"/>
                  <a:pt x="159" y="20"/>
                </a:cubicBezTo>
                <a:cubicBezTo>
                  <a:pt x="158" y="20"/>
                  <a:pt x="158" y="19"/>
                  <a:pt x="158" y="19"/>
                </a:cubicBezTo>
                <a:cubicBezTo>
                  <a:pt x="158" y="17"/>
                  <a:pt x="158" y="17"/>
                  <a:pt x="158" y="17"/>
                </a:cubicBezTo>
                <a:cubicBezTo>
                  <a:pt x="156" y="16"/>
                  <a:pt x="154" y="16"/>
                  <a:pt x="152" y="15"/>
                </a:cubicBezTo>
                <a:cubicBezTo>
                  <a:pt x="144" y="15"/>
                  <a:pt x="144" y="15"/>
                  <a:pt x="144" y="15"/>
                </a:cubicBezTo>
                <a:cubicBezTo>
                  <a:pt x="143" y="15"/>
                  <a:pt x="143" y="15"/>
                  <a:pt x="142" y="14"/>
                </a:cubicBezTo>
                <a:cubicBezTo>
                  <a:pt x="141" y="14"/>
                  <a:pt x="141" y="13"/>
                  <a:pt x="140" y="13"/>
                </a:cubicBezTo>
                <a:cubicBezTo>
                  <a:pt x="138" y="14"/>
                  <a:pt x="136" y="15"/>
                  <a:pt x="135" y="17"/>
                </a:cubicBezTo>
                <a:cubicBezTo>
                  <a:pt x="134" y="17"/>
                  <a:pt x="133" y="17"/>
                  <a:pt x="132" y="18"/>
                </a:cubicBezTo>
                <a:cubicBezTo>
                  <a:pt x="132" y="18"/>
                  <a:pt x="131" y="19"/>
                  <a:pt x="131" y="19"/>
                </a:cubicBezTo>
                <a:cubicBezTo>
                  <a:pt x="131" y="20"/>
                  <a:pt x="130" y="19"/>
                  <a:pt x="129" y="19"/>
                </a:cubicBezTo>
                <a:cubicBezTo>
                  <a:pt x="129" y="19"/>
                  <a:pt x="128" y="19"/>
                  <a:pt x="128" y="19"/>
                </a:cubicBezTo>
                <a:cubicBezTo>
                  <a:pt x="128" y="18"/>
                  <a:pt x="127" y="18"/>
                  <a:pt x="127" y="18"/>
                </a:cubicBezTo>
                <a:cubicBezTo>
                  <a:pt x="126" y="18"/>
                  <a:pt x="126" y="18"/>
                  <a:pt x="126" y="18"/>
                </a:cubicBezTo>
                <a:cubicBezTo>
                  <a:pt x="126" y="17"/>
                  <a:pt x="125" y="17"/>
                  <a:pt x="125" y="17"/>
                </a:cubicBezTo>
                <a:cubicBezTo>
                  <a:pt x="125" y="17"/>
                  <a:pt x="124" y="17"/>
                  <a:pt x="123" y="17"/>
                </a:cubicBezTo>
                <a:cubicBezTo>
                  <a:pt x="123" y="17"/>
                  <a:pt x="124" y="16"/>
                  <a:pt x="123" y="16"/>
                </a:cubicBezTo>
                <a:cubicBezTo>
                  <a:pt x="123" y="16"/>
                  <a:pt x="123" y="16"/>
                  <a:pt x="123" y="16"/>
                </a:cubicBezTo>
                <a:cubicBezTo>
                  <a:pt x="123" y="16"/>
                  <a:pt x="123" y="16"/>
                  <a:pt x="123" y="16"/>
                </a:cubicBezTo>
                <a:cubicBezTo>
                  <a:pt x="123" y="16"/>
                  <a:pt x="123" y="16"/>
                  <a:pt x="123" y="16"/>
                </a:cubicBezTo>
                <a:cubicBezTo>
                  <a:pt x="122" y="15"/>
                  <a:pt x="122" y="15"/>
                  <a:pt x="122" y="14"/>
                </a:cubicBezTo>
                <a:cubicBezTo>
                  <a:pt x="122" y="14"/>
                  <a:pt x="122" y="14"/>
                  <a:pt x="122" y="14"/>
                </a:cubicBezTo>
                <a:cubicBezTo>
                  <a:pt x="122" y="14"/>
                  <a:pt x="122" y="14"/>
                  <a:pt x="122" y="14"/>
                </a:cubicBezTo>
                <a:cubicBezTo>
                  <a:pt x="122" y="14"/>
                  <a:pt x="122" y="14"/>
                  <a:pt x="122" y="14"/>
                </a:cubicBezTo>
                <a:cubicBezTo>
                  <a:pt x="122" y="13"/>
                  <a:pt x="121" y="12"/>
                  <a:pt x="120" y="11"/>
                </a:cubicBezTo>
                <a:cubicBezTo>
                  <a:pt x="120" y="11"/>
                  <a:pt x="119" y="11"/>
                  <a:pt x="119" y="11"/>
                </a:cubicBezTo>
                <a:cubicBezTo>
                  <a:pt x="119" y="11"/>
                  <a:pt x="119" y="11"/>
                  <a:pt x="118" y="10"/>
                </a:cubicBezTo>
                <a:cubicBezTo>
                  <a:pt x="118" y="10"/>
                  <a:pt x="118" y="10"/>
                  <a:pt x="118" y="10"/>
                </a:cubicBezTo>
                <a:cubicBezTo>
                  <a:pt x="118" y="10"/>
                  <a:pt x="118" y="9"/>
                  <a:pt x="118" y="9"/>
                </a:cubicBezTo>
                <a:cubicBezTo>
                  <a:pt x="117" y="9"/>
                  <a:pt x="117" y="9"/>
                  <a:pt x="117" y="9"/>
                </a:cubicBezTo>
                <a:cubicBezTo>
                  <a:pt x="117" y="7"/>
                  <a:pt x="115" y="7"/>
                  <a:pt x="113" y="8"/>
                </a:cubicBezTo>
                <a:cubicBezTo>
                  <a:pt x="112" y="8"/>
                  <a:pt x="112" y="8"/>
                  <a:pt x="112" y="8"/>
                </a:cubicBezTo>
                <a:cubicBezTo>
                  <a:pt x="111" y="6"/>
                  <a:pt x="109" y="7"/>
                  <a:pt x="109" y="5"/>
                </a:cubicBezTo>
                <a:cubicBezTo>
                  <a:pt x="108" y="5"/>
                  <a:pt x="105" y="6"/>
                  <a:pt x="105" y="5"/>
                </a:cubicBezTo>
                <a:cubicBezTo>
                  <a:pt x="105" y="4"/>
                  <a:pt x="104" y="4"/>
                  <a:pt x="104" y="3"/>
                </a:cubicBezTo>
                <a:cubicBezTo>
                  <a:pt x="102" y="4"/>
                  <a:pt x="102" y="2"/>
                  <a:pt x="100" y="1"/>
                </a:cubicBezTo>
                <a:cubicBezTo>
                  <a:pt x="99" y="2"/>
                  <a:pt x="99" y="1"/>
                  <a:pt x="98" y="1"/>
                </a:cubicBezTo>
                <a:cubicBezTo>
                  <a:pt x="95" y="0"/>
                  <a:pt x="93" y="1"/>
                  <a:pt x="91" y="1"/>
                </a:cubicBezTo>
                <a:cubicBezTo>
                  <a:pt x="90" y="1"/>
                  <a:pt x="90" y="2"/>
                  <a:pt x="90" y="3"/>
                </a:cubicBezTo>
                <a:cubicBezTo>
                  <a:pt x="89" y="3"/>
                  <a:pt x="89" y="2"/>
                  <a:pt x="88" y="2"/>
                </a:cubicBezTo>
                <a:cubicBezTo>
                  <a:pt x="87" y="2"/>
                  <a:pt x="87" y="3"/>
                  <a:pt x="86" y="3"/>
                </a:cubicBezTo>
                <a:cubicBezTo>
                  <a:pt x="85" y="4"/>
                  <a:pt x="84" y="4"/>
                  <a:pt x="84" y="5"/>
                </a:cubicBezTo>
                <a:cubicBezTo>
                  <a:pt x="83" y="6"/>
                  <a:pt x="82" y="6"/>
                  <a:pt x="82" y="7"/>
                </a:cubicBezTo>
                <a:cubicBezTo>
                  <a:pt x="80" y="8"/>
                  <a:pt x="79" y="9"/>
                  <a:pt x="77" y="10"/>
                </a:cubicBezTo>
                <a:cubicBezTo>
                  <a:pt x="76" y="10"/>
                  <a:pt x="76" y="11"/>
                  <a:pt x="75" y="11"/>
                </a:cubicBezTo>
                <a:cubicBezTo>
                  <a:pt x="75" y="12"/>
                  <a:pt x="75" y="12"/>
                  <a:pt x="74" y="12"/>
                </a:cubicBezTo>
                <a:cubicBezTo>
                  <a:pt x="74" y="14"/>
                  <a:pt x="74" y="14"/>
                  <a:pt x="73" y="15"/>
                </a:cubicBezTo>
                <a:cubicBezTo>
                  <a:pt x="74" y="17"/>
                  <a:pt x="74" y="18"/>
                  <a:pt x="75" y="19"/>
                </a:cubicBezTo>
                <a:cubicBezTo>
                  <a:pt x="75" y="20"/>
                  <a:pt x="75" y="21"/>
                  <a:pt x="75" y="22"/>
                </a:cubicBezTo>
                <a:cubicBezTo>
                  <a:pt x="75" y="23"/>
                  <a:pt x="75" y="23"/>
                  <a:pt x="76" y="24"/>
                </a:cubicBezTo>
                <a:cubicBezTo>
                  <a:pt x="76" y="27"/>
                  <a:pt x="76" y="27"/>
                  <a:pt x="76" y="27"/>
                </a:cubicBezTo>
                <a:cubicBezTo>
                  <a:pt x="77" y="30"/>
                  <a:pt x="78" y="34"/>
                  <a:pt x="80" y="36"/>
                </a:cubicBezTo>
                <a:cubicBezTo>
                  <a:pt x="80" y="36"/>
                  <a:pt x="80" y="38"/>
                  <a:pt x="80" y="40"/>
                </a:cubicBezTo>
                <a:cubicBezTo>
                  <a:pt x="80" y="40"/>
                  <a:pt x="80" y="40"/>
                  <a:pt x="80" y="40"/>
                </a:cubicBezTo>
                <a:cubicBezTo>
                  <a:pt x="80" y="40"/>
                  <a:pt x="80" y="41"/>
                  <a:pt x="80" y="41"/>
                </a:cubicBezTo>
                <a:cubicBezTo>
                  <a:pt x="80" y="41"/>
                  <a:pt x="80" y="41"/>
                  <a:pt x="79" y="41"/>
                </a:cubicBezTo>
                <a:cubicBezTo>
                  <a:pt x="79" y="42"/>
                  <a:pt x="78" y="43"/>
                  <a:pt x="78" y="44"/>
                </a:cubicBezTo>
                <a:cubicBezTo>
                  <a:pt x="78" y="44"/>
                  <a:pt x="78" y="45"/>
                  <a:pt x="78" y="45"/>
                </a:cubicBezTo>
                <a:cubicBezTo>
                  <a:pt x="78" y="45"/>
                  <a:pt x="77" y="46"/>
                  <a:pt x="77" y="46"/>
                </a:cubicBezTo>
                <a:cubicBezTo>
                  <a:pt x="77" y="46"/>
                  <a:pt x="77" y="46"/>
                  <a:pt x="77" y="46"/>
                </a:cubicBezTo>
                <a:cubicBezTo>
                  <a:pt x="77" y="46"/>
                  <a:pt x="77" y="46"/>
                  <a:pt x="77" y="47"/>
                </a:cubicBezTo>
                <a:cubicBezTo>
                  <a:pt x="76" y="47"/>
                  <a:pt x="75" y="48"/>
                  <a:pt x="75" y="49"/>
                </a:cubicBezTo>
                <a:cubicBezTo>
                  <a:pt x="74" y="50"/>
                  <a:pt x="73" y="50"/>
                  <a:pt x="73" y="51"/>
                </a:cubicBezTo>
                <a:cubicBezTo>
                  <a:pt x="72" y="51"/>
                  <a:pt x="72" y="52"/>
                  <a:pt x="70" y="52"/>
                </a:cubicBezTo>
                <a:cubicBezTo>
                  <a:pt x="69" y="53"/>
                  <a:pt x="69" y="54"/>
                  <a:pt x="68" y="54"/>
                </a:cubicBezTo>
                <a:cubicBezTo>
                  <a:pt x="64" y="55"/>
                  <a:pt x="63" y="53"/>
                  <a:pt x="60" y="54"/>
                </a:cubicBezTo>
                <a:cubicBezTo>
                  <a:pt x="58" y="54"/>
                  <a:pt x="57" y="52"/>
                  <a:pt x="55" y="52"/>
                </a:cubicBezTo>
                <a:cubicBezTo>
                  <a:pt x="54" y="49"/>
                  <a:pt x="52" y="47"/>
                  <a:pt x="51" y="43"/>
                </a:cubicBezTo>
                <a:cubicBezTo>
                  <a:pt x="51" y="43"/>
                  <a:pt x="50" y="43"/>
                  <a:pt x="50" y="42"/>
                </a:cubicBezTo>
                <a:cubicBezTo>
                  <a:pt x="50" y="42"/>
                  <a:pt x="50" y="42"/>
                  <a:pt x="50" y="42"/>
                </a:cubicBezTo>
                <a:cubicBezTo>
                  <a:pt x="50" y="41"/>
                  <a:pt x="49" y="40"/>
                  <a:pt x="48" y="40"/>
                </a:cubicBezTo>
                <a:cubicBezTo>
                  <a:pt x="47" y="38"/>
                  <a:pt x="46" y="38"/>
                  <a:pt x="45" y="38"/>
                </a:cubicBezTo>
                <a:cubicBezTo>
                  <a:pt x="45" y="37"/>
                  <a:pt x="43" y="37"/>
                  <a:pt x="43" y="35"/>
                </a:cubicBezTo>
                <a:cubicBezTo>
                  <a:pt x="40" y="36"/>
                  <a:pt x="40" y="34"/>
                  <a:pt x="38" y="34"/>
                </a:cubicBezTo>
                <a:cubicBezTo>
                  <a:pt x="37" y="33"/>
                  <a:pt x="37" y="31"/>
                  <a:pt x="36" y="31"/>
                </a:cubicBezTo>
                <a:cubicBezTo>
                  <a:pt x="36" y="30"/>
                  <a:pt x="35" y="29"/>
                  <a:pt x="34" y="28"/>
                </a:cubicBezTo>
                <a:cubicBezTo>
                  <a:pt x="34" y="27"/>
                  <a:pt x="35" y="24"/>
                  <a:pt x="33" y="24"/>
                </a:cubicBezTo>
                <a:cubicBezTo>
                  <a:pt x="30" y="23"/>
                  <a:pt x="30" y="25"/>
                  <a:pt x="29" y="27"/>
                </a:cubicBezTo>
                <a:cubicBezTo>
                  <a:pt x="28" y="27"/>
                  <a:pt x="27" y="28"/>
                  <a:pt x="26" y="28"/>
                </a:cubicBezTo>
                <a:cubicBezTo>
                  <a:pt x="24" y="28"/>
                  <a:pt x="24" y="30"/>
                  <a:pt x="22" y="30"/>
                </a:cubicBezTo>
                <a:cubicBezTo>
                  <a:pt x="21" y="31"/>
                  <a:pt x="18" y="32"/>
                  <a:pt x="16" y="33"/>
                </a:cubicBezTo>
                <a:cubicBezTo>
                  <a:pt x="14" y="34"/>
                  <a:pt x="12" y="37"/>
                  <a:pt x="10" y="38"/>
                </a:cubicBezTo>
                <a:cubicBezTo>
                  <a:pt x="10" y="41"/>
                  <a:pt x="8" y="42"/>
                  <a:pt x="9" y="45"/>
                </a:cubicBezTo>
                <a:cubicBezTo>
                  <a:pt x="8" y="45"/>
                  <a:pt x="8" y="45"/>
                  <a:pt x="8" y="45"/>
                </a:cubicBezTo>
                <a:cubicBezTo>
                  <a:pt x="8" y="46"/>
                  <a:pt x="8" y="46"/>
                  <a:pt x="8" y="46"/>
                </a:cubicBezTo>
                <a:cubicBezTo>
                  <a:pt x="8" y="46"/>
                  <a:pt x="8" y="47"/>
                  <a:pt x="7" y="47"/>
                </a:cubicBezTo>
                <a:cubicBezTo>
                  <a:pt x="7" y="47"/>
                  <a:pt x="7" y="47"/>
                  <a:pt x="7" y="47"/>
                </a:cubicBezTo>
                <a:cubicBezTo>
                  <a:pt x="7" y="48"/>
                  <a:pt x="7" y="48"/>
                  <a:pt x="6" y="48"/>
                </a:cubicBezTo>
                <a:cubicBezTo>
                  <a:pt x="7" y="51"/>
                  <a:pt x="7" y="55"/>
                  <a:pt x="8" y="58"/>
                </a:cubicBezTo>
                <a:cubicBezTo>
                  <a:pt x="8" y="59"/>
                  <a:pt x="8" y="59"/>
                  <a:pt x="7" y="59"/>
                </a:cubicBezTo>
                <a:cubicBezTo>
                  <a:pt x="7" y="61"/>
                  <a:pt x="7" y="61"/>
                  <a:pt x="7" y="61"/>
                </a:cubicBezTo>
                <a:cubicBezTo>
                  <a:pt x="6" y="61"/>
                  <a:pt x="7" y="62"/>
                  <a:pt x="6" y="63"/>
                </a:cubicBezTo>
                <a:cubicBezTo>
                  <a:pt x="6" y="62"/>
                  <a:pt x="6" y="63"/>
                  <a:pt x="6" y="63"/>
                </a:cubicBezTo>
                <a:cubicBezTo>
                  <a:pt x="5" y="64"/>
                  <a:pt x="5" y="65"/>
                  <a:pt x="4" y="65"/>
                </a:cubicBezTo>
                <a:cubicBezTo>
                  <a:pt x="4" y="67"/>
                  <a:pt x="1" y="67"/>
                  <a:pt x="1" y="69"/>
                </a:cubicBezTo>
                <a:cubicBezTo>
                  <a:pt x="2" y="73"/>
                  <a:pt x="0" y="76"/>
                  <a:pt x="1" y="79"/>
                </a:cubicBezTo>
                <a:cubicBezTo>
                  <a:pt x="1" y="80"/>
                  <a:pt x="2" y="79"/>
                  <a:pt x="2" y="80"/>
                </a:cubicBezTo>
                <a:cubicBezTo>
                  <a:pt x="2" y="81"/>
                  <a:pt x="2" y="82"/>
                  <a:pt x="2" y="83"/>
                </a:cubicBezTo>
                <a:cubicBezTo>
                  <a:pt x="1" y="83"/>
                  <a:pt x="1" y="83"/>
                  <a:pt x="1" y="84"/>
                </a:cubicBezTo>
                <a:cubicBezTo>
                  <a:pt x="1" y="84"/>
                  <a:pt x="1" y="84"/>
                  <a:pt x="1" y="85"/>
                </a:cubicBezTo>
                <a:cubicBezTo>
                  <a:pt x="1" y="85"/>
                  <a:pt x="1" y="85"/>
                  <a:pt x="1" y="85"/>
                </a:cubicBezTo>
                <a:cubicBezTo>
                  <a:pt x="1" y="86"/>
                  <a:pt x="0" y="88"/>
                  <a:pt x="1" y="89"/>
                </a:cubicBezTo>
                <a:cubicBezTo>
                  <a:pt x="1" y="89"/>
                  <a:pt x="1" y="89"/>
                  <a:pt x="1" y="89"/>
                </a:cubicBezTo>
                <a:cubicBezTo>
                  <a:pt x="1" y="91"/>
                  <a:pt x="2" y="93"/>
                  <a:pt x="2" y="95"/>
                </a:cubicBezTo>
                <a:cubicBezTo>
                  <a:pt x="2" y="96"/>
                  <a:pt x="2" y="97"/>
                  <a:pt x="3" y="98"/>
                </a:cubicBezTo>
                <a:cubicBezTo>
                  <a:pt x="3" y="98"/>
                  <a:pt x="3" y="99"/>
                  <a:pt x="3" y="99"/>
                </a:cubicBezTo>
                <a:cubicBezTo>
                  <a:pt x="2" y="100"/>
                  <a:pt x="4" y="102"/>
                  <a:pt x="3" y="103"/>
                </a:cubicBezTo>
                <a:cubicBezTo>
                  <a:pt x="3" y="103"/>
                  <a:pt x="4" y="103"/>
                  <a:pt x="4" y="103"/>
                </a:cubicBezTo>
                <a:cubicBezTo>
                  <a:pt x="4" y="104"/>
                  <a:pt x="4" y="104"/>
                  <a:pt x="4" y="105"/>
                </a:cubicBezTo>
                <a:cubicBezTo>
                  <a:pt x="4" y="105"/>
                  <a:pt x="5" y="105"/>
                  <a:pt x="5" y="105"/>
                </a:cubicBezTo>
                <a:cubicBezTo>
                  <a:pt x="5" y="105"/>
                  <a:pt x="5" y="105"/>
                  <a:pt x="5" y="105"/>
                </a:cubicBezTo>
                <a:cubicBezTo>
                  <a:pt x="5" y="105"/>
                  <a:pt x="5" y="106"/>
                  <a:pt x="5" y="107"/>
                </a:cubicBezTo>
                <a:cubicBezTo>
                  <a:pt x="10" y="107"/>
                  <a:pt x="10" y="107"/>
                  <a:pt x="10" y="107"/>
                </a:cubicBezTo>
                <a:cubicBezTo>
                  <a:pt x="10" y="105"/>
                  <a:pt x="11" y="103"/>
                  <a:pt x="11" y="101"/>
                </a:cubicBezTo>
                <a:cubicBezTo>
                  <a:pt x="12" y="100"/>
                  <a:pt x="13" y="99"/>
                  <a:pt x="14" y="97"/>
                </a:cubicBezTo>
                <a:cubicBezTo>
                  <a:pt x="17" y="98"/>
                  <a:pt x="15" y="94"/>
                  <a:pt x="18" y="94"/>
                </a:cubicBezTo>
                <a:cubicBezTo>
                  <a:pt x="20" y="94"/>
                  <a:pt x="20" y="93"/>
                  <a:pt x="22" y="93"/>
                </a:cubicBezTo>
                <a:cubicBezTo>
                  <a:pt x="23" y="92"/>
                  <a:pt x="24" y="91"/>
                  <a:pt x="27" y="91"/>
                </a:cubicBezTo>
                <a:cubicBezTo>
                  <a:pt x="27" y="90"/>
                  <a:pt x="29" y="89"/>
                  <a:pt x="30" y="88"/>
                </a:cubicBezTo>
                <a:cubicBezTo>
                  <a:pt x="31" y="88"/>
                  <a:pt x="33" y="89"/>
                  <a:pt x="34" y="88"/>
                </a:cubicBezTo>
                <a:cubicBezTo>
                  <a:pt x="34" y="88"/>
                  <a:pt x="33" y="88"/>
                  <a:pt x="34" y="88"/>
                </a:cubicBezTo>
                <a:cubicBezTo>
                  <a:pt x="36" y="88"/>
                  <a:pt x="38" y="88"/>
                  <a:pt x="39" y="88"/>
                </a:cubicBezTo>
                <a:cubicBezTo>
                  <a:pt x="40" y="88"/>
                  <a:pt x="40" y="88"/>
                  <a:pt x="40" y="88"/>
                </a:cubicBezTo>
                <a:cubicBezTo>
                  <a:pt x="40" y="89"/>
                  <a:pt x="40" y="89"/>
                  <a:pt x="41" y="89"/>
                </a:cubicBezTo>
                <a:cubicBezTo>
                  <a:pt x="46" y="89"/>
                  <a:pt x="50" y="88"/>
                  <a:pt x="52" y="85"/>
                </a:cubicBezTo>
                <a:cubicBezTo>
                  <a:pt x="53" y="85"/>
                  <a:pt x="53" y="85"/>
                  <a:pt x="53" y="85"/>
                </a:cubicBezTo>
                <a:cubicBezTo>
                  <a:pt x="53" y="85"/>
                  <a:pt x="53" y="86"/>
                  <a:pt x="54" y="86"/>
                </a:cubicBezTo>
                <a:cubicBezTo>
                  <a:pt x="54" y="85"/>
                  <a:pt x="55" y="86"/>
                  <a:pt x="55" y="85"/>
                </a:cubicBezTo>
                <a:cubicBezTo>
                  <a:pt x="56" y="85"/>
                  <a:pt x="56" y="84"/>
                  <a:pt x="57" y="84"/>
                </a:cubicBezTo>
                <a:cubicBezTo>
                  <a:pt x="58" y="84"/>
                  <a:pt x="59" y="84"/>
                  <a:pt x="59" y="84"/>
                </a:cubicBezTo>
                <a:cubicBezTo>
                  <a:pt x="61" y="84"/>
                  <a:pt x="63" y="84"/>
                  <a:pt x="65" y="85"/>
                </a:cubicBezTo>
                <a:cubicBezTo>
                  <a:pt x="65" y="84"/>
                  <a:pt x="66" y="83"/>
                  <a:pt x="67" y="84"/>
                </a:cubicBezTo>
                <a:cubicBezTo>
                  <a:pt x="67" y="83"/>
                  <a:pt x="68" y="82"/>
                  <a:pt x="69" y="82"/>
                </a:cubicBezTo>
                <a:cubicBezTo>
                  <a:pt x="75" y="82"/>
                  <a:pt x="75" y="82"/>
                  <a:pt x="75" y="82"/>
                </a:cubicBezTo>
                <a:cubicBezTo>
                  <a:pt x="75" y="83"/>
                  <a:pt x="75" y="83"/>
                  <a:pt x="76" y="83"/>
                </a:cubicBezTo>
                <a:cubicBezTo>
                  <a:pt x="76" y="84"/>
                  <a:pt x="77" y="84"/>
                  <a:pt x="78" y="84"/>
                </a:cubicBezTo>
                <a:cubicBezTo>
                  <a:pt x="78" y="84"/>
                  <a:pt x="78" y="85"/>
                  <a:pt x="80" y="85"/>
                </a:cubicBezTo>
                <a:cubicBezTo>
                  <a:pt x="80" y="85"/>
                  <a:pt x="80" y="85"/>
                  <a:pt x="81" y="86"/>
                </a:cubicBezTo>
                <a:cubicBezTo>
                  <a:pt x="81" y="85"/>
                  <a:pt x="82" y="85"/>
                  <a:pt x="82" y="85"/>
                </a:cubicBezTo>
                <a:cubicBezTo>
                  <a:pt x="84" y="85"/>
                  <a:pt x="83" y="83"/>
                  <a:pt x="85" y="84"/>
                </a:cubicBezTo>
                <a:cubicBezTo>
                  <a:pt x="87" y="83"/>
                  <a:pt x="87" y="85"/>
                  <a:pt x="89" y="84"/>
                </a:cubicBezTo>
                <a:cubicBezTo>
                  <a:pt x="89" y="82"/>
                  <a:pt x="91" y="81"/>
                  <a:pt x="91" y="79"/>
                </a:cubicBezTo>
                <a:cubicBezTo>
                  <a:pt x="92" y="79"/>
                  <a:pt x="93" y="79"/>
                  <a:pt x="94" y="78"/>
                </a:cubicBezTo>
                <a:cubicBezTo>
                  <a:pt x="94" y="78"/>
                  <a:pt x="94" y="78"/>
                  <a:pt x="94" y="77"/>
                </a:cubicBezTo>
                <a:cubicBezTo>
                  <a:pt x="95" y="77"/>
                  <a:pt x="94" y="77"/>
                  <a:pt x="95" y="77"/>
                </a:cubicBezTo>
                <a:cubicBezTo>
                  <a:pt x="95" y="76"/>
                  <a:pt x="96" y="77"/>
                  <a:pt x="96" y="77"/>
                </a:cubicBezTo>
                <a:cubicBezTo>
                  <a:pt x="97" y="76"/>
                  <a:pt x="97" y="76"/>
                  <a:pt x="97" y="76"/>
                </a:cubicBezTo>
                <a:cubicBezTo>
                  <a:pt x="98" y="76"/>
                  <a:pt x="98" y="75"/>
                  <a:pt x="99" y="75"/>
                </a:cubicBezTo>
                <a:cubicBezTo>
                  <a:pt x="101" y="76"/>
                  <a:pt x="102" y="78"/>
                  <a:pt x="103" y="79"/>
                </a:cubicBezTo>
                <a:cubicBezTo>
                  <a:pt x="104" y="80"/>
                  <a:pt x="104" y="81"/>
                  <a:pt x="105" y="82"/>
                </a:cubicBezTo>
                <a:cubicBezTo>
                  <a:pt x="105" y="84"/>
                  <a:pt x="107" y="83"/>
                  <a:pt x="106" y="85"/>
                </a:cubicBezTo>
                <a:cubicBezTo>
                  <a:pt x="108" y="85"/>
                  <a:pt x="109" y="84"/>
                  <a:pt x="110" y="84"/>
                </a:cubicBezTo>
                <a:cubicBezTo>
                  <a:pt x="112" y="85"/>
                  <a:pt x="112" y="86"/>
                  <a:pt x="114" y="86"/>
                </a:cubicBezTo>
                <a:cubicBezTo>
                  <a:pt x="117" y="85"/>
                  <a:pt x="119" y="84"/>
                  <a:pt x="122" y="84"/>
                </a:cubicBezTo>
                <a:cubicBezTo>
                  <a:pt x="122" y="87"/>
                  <a:pt x="124" y="89"/>
                  <a:pt x="126" y="88"/>
                </a:cubicBezTo>
                <a:cubicBezTo>
                  <a:pt x="127" y="85"/>
                  <a:pt x="129" y="88"/>
                  <a:pt x="131" y="87"/>
                </a:cubicBezTo>
                <a:cubicBezTo>
                  <a:pt x="132" y="87"/>
                  <a:pt x="133" y="86"/>
                  <a:pt x="133" y="85"/>
                </a:cubicBezTo>
                <a:cubicBezTo>
                  <a:pt x="133" y="83"/>
                  <a:pt x="135" y="84"/>
                  <a:pt x="135" y="82"/>
                </a:cubicBezTo>
                <a:cubicBezTo>
                  <a:pt x="135" y="82"/>
                  <a:pt x="135" y="82"/>
                  <a:pt x="135" y="82"/>
                </a:cubicBezTo>
                <a:cubicBezTo>
                  <a:pt x="135" y="82"/>
                  <a:pt x="135" y="82"/>
                  <a:pt x="135" y="82"/>
                </a:cubicBezTo>
                <a:cubicBezTo>
                  <a:pt x="135" y="82"/>
                  <a:pt x="135" y="83"/>
                  <a:pt x="135" y="83"/>
                </a:cubicBezTo>
                <a:cubicBezTo>
                  <a:pt x="136" y="83"/>
                  <a:pt x="136" y="83"/>
                  <a:pt x="136" y="83"/>
                </a:cubicBezTo>
                <a:cubicBezTo>
                  <a:pt x="136" y="82"/>
                  <a:pt x="136" y="83"/>
                  <a:pt x="136" y="83"/>
                </a:cubicBezTo>
                <a:cubicBezTo>
                  <a:pt x="136" y="83"/>
                  <a:pt x="137" y="83"/>
                  <a:pt x="137" y="84"/>
                </a:cubicBezTo>
                <a:cubicBezTo>
                  <a:pt x="137" y="84"/>
                  <a:pt x="137" y="84"/>
                  <a:pt x="137" y="84"/>
                </a:cubicBezTo>
                <a:cubicBezTo>
                  <a:pt x="137" y="84"/>
                  <a:pt x="137" y="84"/>
                  <a:pt x="137" y="84"/>
                </a:cubicBezTo>
                <a:cubicBezTo>
                  <a:pt x="137" y="85"/>
                  <a:pt x="137" y="85"/>
                  <a:pt x="137" y="85"/>
                </a:cubicBezTo>
                <a:cubicBezTo>
                  <a:pt x="137" y="85"/>
                  <a:pt x="137" y="85"/>
                  <a:pt x="137" y="85"/>
                </a:cubicBezTo>
                <a:cubicBezTo>
                  <a:pt x="137" y="85"/>
                  <a:pt x="137" y="85"/>
                  <a:pt x="137" y="85"/>
                </a:cubicBezTo>
                <a:cubicBezTo>
                  <a:pt x="138" y="85"/>
                  <a:pt x="138" y="85"/>
                  <a:pt x="138" y="85"/>
                </a:cubicBezTo>
                <a:cubicBezTo>
                  <a:pt x="138" y="85"/>
                  <a:pt x="138" y="85"/>
                  <a:pt x="138" y="85"/>
                </a:cubicBezTo>
                <a:cubicBezTo>
                  <a:pt x="138" y="85"/>
                  <a:pt x="138" y="85"/>
                  <a:pt x="138" y="85"/>
                </a:cubicBezTo>
                <a:cubicBezTo>
                  <a:pt x="138" y="85"/>
                  <a:pt x="138" y="85"/>
                  <a:pt x="138" y="85"/>
                </a:cubicBezTo>
                <a:cubicBezTo>
                  <a:pt x="138" y="85"/>
                  <a:pt x="138" y="85"/>
                  <a:pt x="138" y="85"/>
                </a:cubicBezTo>
                <a:cubicBezTo>
                  <a:pt x="138" y="85"/>
                  <a:pt x="138" y="85"/>
                  <a:pt x="138" y="85"/>
                </a:cubicBezTo>
                <a:cubicBezTo>
                  <a:pt x="139" y="85"/>
                  <a:pt x="139" y="85"/>
                  <a:pt x="139" y="85"/>
                </a:cubicBezTo>
                <a:cubicBezTo>
                  <a:pt x="139" y="85"/>
                  <a:pt x="139" y="85"/>
                  <a:pt x="139" y="85"/>
                </a:cubicBezTo>
                <a:cubicBezTo>
                  <a:pt x="139" y="84"/>
                  <a:pt x="139" y="84"/>
                  <a:pt x="139" y="84"/>
                </a:cubicBezTo>
                <a:cubicBezTo>
                  <a:pt x="139" y="84"/>
                  <a:pt x="139" y="84"/>
                  <a:pt x="139" y="84"/>
                </a:cubicBezTo>
                <a:cubicBezTo>
                  <a:pt x="139" y="84"/>
                  <a:pt x="139" y="84"/>
                  <a:pt x="139" y="84"/>
                </a:cubicBezTo>
                <a:cubicBezTo>
                  <a:pt x="139" y="84"/>
                  <a:pt x="139" y="84"/>
                  <a:pt x="139" y="84"/>
                </a:cubicBezTo>
                <a:cubicBezTo>
                  <a:pt x="139" y="84"/>
                  <a:pt x="139" y="84"/>
                  <a:pt x="139" y="83"/>
                </a:cubicBezTo>
                <a:cubicBezTo>
                  <a:pt x="139" y="83"/>
                  <a:pt x="139" y="83"/>
                  <a:pt x="139" y="83"/>
                </a:cubicBezTo>
                <a:cubicBezTo>
                  <a:pt x="139" y="83"/>
                  <a:pt x="139" y="83"/>
                  <a:pt x="139" y="83"/>
                </a:cubicBezTo>
                <a:cubicBezTo>
                  <a:pt x="139" y="83"/>
                  <a:pt x="139" y="83"/>
                  <a:pt x="139" y="83"/>
                </a:cubicBezTo>
                <a:cubicBezTo>
                  <a:pt x="139" y="83"/>
                  <a:pt x="139" y="83"/>
                  <a:pt x="139" y="83"/>
                </a:cubicBezTo>
                <a:cubicBezTo>
                  <a:pt x="139" y="82"/>
                  <a:pt x="139" y="82"/>
                  <a:pt x="139" y="82"/>
                </a:cubicBezTo>
                <a:cubicBezTo>
                  <a:pt x="139" y="81"/>
                  <a:pt x="137" y="81"/>
                  <a:pt x="137" y="80"/>
                </a:cubicBezTo>
                <a:cubicBezTo>
                  <a:pt x="137" y="79"/>
                  <a:pt x="137" y="79"/>
                  <a:pt x="137" y="79"/>
                </a:cubicBezTo>
                <a:cubicBezTo>
                  <a:pt x="137" y="78"/>
                  <a:pt x="137" y="78"/>
                  <a:pt x="136" y="77"/>
                </a:cubicBezTo>
                <a:cubicBezTo>
                  <a:pt x="136" y="77"/>
                  <a:pt x="136" y="77"/>
                  <a:pt x="136" y="77"/>
                </a:cubicBezTo>
                <a:cubicBezTo>
                  <a:pt x="135" y="76"/>
                  <a:pt x="134" y="76"/>
                  <a:pt x="134" y="74"/>
                </a:cubicBezTo>
                <a:cubicBezTo>
                  <a:pt x="134" y="74"/>
                  <a:pt x="134" y="74"/>
                  <a:pt x="134" y="74"/>
                </a:cubicBezTo>
                <a:cubicBezTo>
                  <a:pt x="134" y="74"/>
                  <a:pt x="134" y="74"/>
                  <a:pt x="134" y="74"/>
                </a:cubicBezTo>
                <a:cubicBezTo>
                  <a:pt x="134" y="74"/>
                  <a:pt x="134" y="74"/>
                  <a:pt x="134" y="74"/>
                </a:cubicBezTo>
                <a:cubicBezTo>
                  <a:pt x="134" y="74"/>
                  <a:pt x="133" y="74"/>
                  <a:pt x="133" y="74"/>
                </a:cubicBezTo>
                <a:cubicBezTo>
                  <a:pt x="133" y="73"/>
                  <a:pt x="133" y="73"/>
                  <a:pt x="133" y="73"/>
                </a:cubicBezTo>
                <a:cubicBezTo>
                  <a:pt x="133" y="73"/>
                  <a:pt x="133" y="73"/>
                  <a:pt x="133" y="73"/>
                </a:cubicBezTo>
                <a:cubicBezTo>
                  <a:pt x="133" y="73"/>
                  <a:pt x="133" y="73"/>
                  <a:pt x="133" y="73"/>
                </a:cubicBezTo>
                <a:cubicBezTo>
                  <a:pt x="133" y="73"/>
                  <a:pt x="133" y="73"/>
                  <a:pt x="133" y="73"/>
                </a:cubicBezTo>
                <a:cubicBezTo>
                  <a:pt x="133" y="73"/>
                  <a:pt x="133" y="73"/>
                  <a:pt x="132" y="73"/>
                </a:cubicBezTo>
                <a:cubicBezTo>
                  <a:pt x="132" y="73"/>
                  <a:pt x="132" y="73"/>
                  <a:pt x="132" y="73"/>
                </a:cubicBezTo>
                <a:cubicBezTo>
                  <a:pt x="132" y="72"/>
                  <a:pt x="132" y="72"/>
                  <a:pt x="132" y="72"/>
                </a:cubicBezTo>
                <a:cubicBezTo>
                  <a:pt x="132" y="72"/>
                  <a:pt x="132" y="72"/>
                  <a:pt x="132" y="72"/>
                </a:cubicBezTo>
                <a:cubicBezTo>
                  <a:pt x="132" y="72"/>
                  <a:pt x="132" y="72"/>
                  <a:pt x="131" y="72"/>
                </a:cubicBezTo>
                <a:cubicBezTo>
                  <a:pt x="131" y="72"/>
                  <a:pt x="131" y="72"/>
                  <a:pt x="131" y="72"/>
                </a:cubicBezTo>
                <a:cubicBezTo>
                  <a:pt x="131" y="72"/>
                  <a:pt x="131" y="72"/>
                  <a:pt x="130" y="72"/>
                </a:cubicBezTo>
                <a:cubicBezTo>
                  <a:pt x="130" y="70"/>
                  <a:pt x="132" y="70"/>
                  <a:pt x="132" y="68"/>
                </a:cubicBezTo>
                <a:cubicBezTo>
                  <a:pt x="133" y="68"/>
                  <a:pt x="133" y="67"/>
                  <a:pt x="133" y="66"/>
                </a:cubicBezTo>
                <a:cubicBezTo>
                  <a:pt x="135" y="66"/>
                  <a:pt x="134" y="68"/>
                  <a:pt x="135" y="68"/>
                </a:cubicBezTo>
                <a:cubicBezTo>
                  <a:pt x="136" y="68"/>
                  <a:pt x="137" y="68"/>
                  <a:pt x="137" y="68"/>
                </a:cubicBezTo>
                <a:cubicBezTo>
                  <a:pt x="138" y="68"/>
                  <a:pt x="138" y="67"/>
                  <a:pt x="138" y="67"/>
                </a:cubicBezTo>
                <a:cubicBezTo>
                  <a:pt x="139" y="66"/>
                  <a:pt x="139" y="66"/>
                  <a:pt x="140" y="67"/>
                </a:cubicBezTo>
                <a:cubicBezTo>
                  <a:pt x="141" y="67"/>
                  <a:pt x="141" y="67"/>
                  <a:pt x="141" y="66"/>
                </a:cubicBezTo>
                <a:cubicBezTo>
                  <a:pt x="141" y="65"/>
                  <a:pt x="141" y="64"/>
                  <a:pt x="142" y="64"/>
                </a:cubicBezTo>
                <a:cubicBezTo>
                  <a:pt x="143" y="64"/>
                  <a:pt x="144" y="63"/>
                  <a:pt x="145" y="63"/>
                </a:cubicBezTo>
                <a:cubicBezTo>
                  <a:pt x="145" y="60"/>
                  <a:pt x="144" y="59"/>
                  <a:pt x="144" y="56"/>
                </a:cubicBezTo>
                <a:cubicBezTo>
                  <a:pt x="145" y="56"/>
                  <a:pt x="145" y="55"/>
                  <a:pt x="145" y="55"/>
                </a:cubicBezTo>
                <a:cubicBezTo>
                  <a:pt x="145" y="55"/>
                  <a:pt x="145" y="54"/>
                  <a:pt x="145" y="54"/>
                </a:cubicBezTo>
                <a:cubicBezTo>
                  <a:pt x="146" y="54"/>
                  <a:pt x="146" y="54"/>
                  <a:pt x="146" y="53"/>
                </a:cubicBezTo>
                <a:cubicBezTo>
                  <a:pt x="147" y="51"/>
                  <a:pt x="148" y="52"/>
                  <a:pt x="148" y="50"/>
                </a:cubicBezTo>
                <a:cubicBezTo>
                  <a:pt x="148" y="49"/>
                  <a:pt x="147" y="49"/>
                  <a:pt x="147" y="49"/>
                </a:cubicBezTo>
                <a:cubicBezTo>
                  <a:pt x="146" y="49"/>
                  <a:pt x="147" y="47"/>
                  <a:pt x="146" y="47"/>
                </a:cubicBezTo>
                <a:cubicBezTo>
                  <a:pt x="146" y="45"/>
                  <a:pt x="144" y="45"/>
                  <a:pt x="144" y="43"/>
                </a:cubicBezTo>
                <a:cubicBezTo>
                  <a:pt x="145" y="41"/>
                  <a:pt x="145" y="39"/>
                  <a:pt x="146" y="38"/>
                </a:cubicBezTo>
                <a:cubicBezTo>
                  <a:pt x="146" y="37"/>
                  <a:pt x="147" y="36"/>
                  <a:pt x="147" y="35"/>
                </a:cubicBezTo>
                <a:cubicBezTo>
                  <a:pt x="147" y="35"/>
                  <a:pt x="147" y="35"/>
                  <a:pt x="146" y="35"/>
                </a:cubicBezTo>
                <a:cubicBezTo>
                  <a:pt x="146" y="35"/>
                  <a:pt x="147" y="35"/>
                  <a:pt x="147" y="35"/>
                </a:cubicBezTo>
                <a:cubicBezTo>
                  <a:pt x="147" y="35"/>
                  <a:pt x="147" y="34"/>
                  <a:pt x="147" y="33"/>
                </a:cubicBezTo>
                <a:cubicBezTo>
                  <a:pt x="148" y="33"/>
                  <a:pt x="148" y="33"/>
                  <a:pt x="148" y="32"/>
                </a:cubicBezTo>
                <a:cubicBezTo>
                  <a:pt x="150" y="31"/>
                  <a:pt x="151" y="28"/>
                  <a:pt x="153" y="28"/>
                </a:cubicBezTo>
                <a:cubicBezTo>
                  <a:pt x="154" y="29"/>
                  <a:pt x="155" y="27"/>
                  <a:pt x="157" y="28"/>
                </a:cubicBezTo>
                <a:cubicBezTo>
                  <a:pt x="157" y="27"/>
                  <a:pt x="158" y="26"/>
                  <a:pt x="160" y="26"/>
                </a:cubicBezTo>
                <a:cubicBezTo>
                  <a:pt x="159" y="25"/>
                  <a:pt x="160" y="24"/>
                  <a:pt x="162" y="24"/>
                </a:cubicBezTo>
                <a:cubicBezTo>
                  <a:pt x="162" y="23"/>
                  <a:pt x="160" y="23"/>
                  <a:pt x="160" y="22"/>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4" name="Freeform 62"/>
          <p:cNvSpPr>
            <a:spLocks/>
          </p:cNvSpPr>
          <p:nvPr/>
        </p:nvSpPr>
        <p:spPr bwMode="auto">
          <a:xfrm>
            <a:off x="9193504" y="2613328"/>
            <a:ext cx="215900" cy="306388"/>
          </a:xfrm>
          <a:custGeom>
            <a:avLst/>
            <a:gdLst>
              <a:gd name="T0" fmla="*/ 56 w 56"/>
              <a:gd name="T1" fmla="*/ 41 h 79"/>
              <a:gd name="T2" fmla="*/ 50 w 56"/>
              <a:gd name="T3" fmla="*/ 34 h 79"/>
              <a:gd name="T4" fmla="*/ 46 w 56"/>
              <a:gd name="T5" fmla="*/ 28 h 79"/>
              <a:gd name="T6" fmla="*/ 45 w 56"/>
              <a:gd name="T7" fmla="*/ 22 h 79"/>
              <a:gd name="T8" fmla="*/ 38 w 56"/>
              <a:gd name="T9" fmla="*/ 23 h 79"/>
              <a:gd name="T10" fmla="*/ 38 w 56"/>
              <a:gd name="T11" fmla="*/ 15 h 79"/>
              <a:gd name="T12" fmla="*/ 37 w 56"/>
              <a:gd name="T13" fmla="*/ 7 h 79"/>
              <a:gd name="T14" fmla="*/ 37 w 56"/>
              <a:gd name="T15" fmla="*/ 2 h 79"/>
              <a:gd name="T16" fmla="*/ 34 w 56"/>
              <a:gd name="T17" fmla="*/ 2 h 79"/>
              <a:gd name="T18" fmla="*/ 27 w 56"/>
              <a:gd name="T19" fmla="*/ 4 h 79"/>
              <a:gd name="T20" fmla="*/ 21 w 56"/>
              <a:gd name="T21" fmla="*/ 9 h 79"/>
              <a:gd name="T22" fmla="*/ 20 w 56"/>
              <a:gd name="T23" fmla="*/ 11 h 79"/>
              <a:gd name="T24" fmla="*/ 20 w 56"/>
              <a:gd name="T25" fmla="*/ 14 h 79"/>
              <a:gd name="T26" fmla="*/ 20 w 56"/>
              <a:gd name="T27" fmla="*/ 23 h 79"/>
              <a:gd name="T28" fmla="*/ 22 w 56"/>
              <a:gd name="T29" fmla="*/ 26 h 79"/>
              <a:gd name="T30" fmla="*/ 19 w 56"/>
              <a:gd name="T31" fmla="*/ 30 h 79"/>
              <a:gd name="T32" fmla="*/ 18 w 56"/>
              <a:gd name="T33" fmla="*/ 32 h 79"/>
              <a:gd name="T34" fmla="*/ 16 w 56"/>
              <a:gd name="T35" fmla="*/ 40 h 79"/>
              <a:gd name="T36" fmla="*/ 14 w 56"/>
              <a:gd name="T37" fmla="*/ 43 h 79"/>
              <a:gd name="T38" fmla="*/ 11 w 56"/>
              <a:gd name="T39" fmla="*/ 44 h 79"/>
              <a:gd name="T40" fmla="*/ 7 w 56"/>
              <a:gd name="T41" fmla="*/ 42 h 79"/>
              <a:gd name="T42" fmla="*/ 4 w 56"/>
              <a:gd name="T43" fmla="*/ 48 h 79"/>
              <a:gd name="T44" fmla="*/ 5 w 56"/>
              <a:gd name="T45" fmla="*/ 48 h 79"/>
              <a:gd name="T46" fmla="*/ 6 w 56"/>
              <a:gd name="T47" fmla="*/ 48 h 79"/>
              <a:gd name="T48" fmla="*/ 6 w 56"/>
              <a:gd name="T49" fmla="*/ 49 h 79"/>
              <a:gd name="T50" fmla="*/ 7 w 56"/>
              <a:gd name="T51" fmla="*/ 49 h 79"/>
              <a:gd name="T52" fmla="*/ 7 w 56"/>
              <a:gd name="T53" fmla="*/ 49 h 79"/>
              <a:gd name="T54" fmla="*/ 8 w 56"/>
              <a:gd name="T55" fmla="*/ 50 h 79"/>
              <a:gd name="T56" fmla="*/ 8 w 56"/>
              <a:gd name="T57" fmla="*/ 50 h 79"/>
              <a:gd name="T58" fmla="*/ 10 w 56"/>
              <a:gd name="T59" fmla="*/ 53 h 79"/>
              <a:gd name="T60" fmla="*/ 11 w 56"/>
              <a:gd name="T61" fmla="*/ 55 h 79"/>
              <a:gd name="T62" fmla="*/ 13 w 56"/>
              <a:gd name="T63" fmla="*/ 58 h 79"/>
              <a:gd name="T64" fmla="*/ 13 w 56"/>
              <a:gd name="T65" fmla="*/ 59 h 79"/>
              <a:gd name="T66" fmla="*/ 13 w 56"/>
              <a:gd name="T67" fmla="*/ 59 h 79"/>
              <a:gd name="T68" fmla="*/ 13 w 56"/>
              <a:gd name="T69" fmla="*/ 60 h 79"/>
              <a:gd name="T70" fmla="*/ 13 w 56"/>
              <a:gd name="T71" fmla="*/ 60 h 79"/>
              <a:gd name="T72" fmla="*/ 13 w 56"/>
              <a:gd name="T73" fmla="*/ 61 h 79"/>
              <a:gd name="T74" fmla="*/ 12 w 56"/>
              <a:gd name="T75" fmla="*/ 61 h 79"/>
              <a:gd name="T76" fmla="*/ 12 w 56"/>
              <a:gd name="T77" fmla="*/ 61 h 79"/>
              <a:gd name="T78" fmla="*/ 12 w 56"/>
              <a:gd name="T79" fmla="*/ 61 h 79"/>
              <a:gd name="T80" fmla="*/ 11 w 56"/>
              <a:gd name="T81" fmla="*/ 61 h 79"/>
              <a:gd name="T82" fmla="*/ 11 w 56"/>
              <a:gd name="T83" fmla="*/ 60 h 79"/>
              <a:gd name="T84" fmla="*/ 11 w 56"/>
              <a:gd name="T85" fmla="*/ 60 h 79"/>
              <a:gd name="T86" fmla="*/ 10 w 56"/>
              <a:gd name="T87" fmla="*/ 59 h 79"/>
              <a:gd name="T88" fmla="*/ 9 w 56"/>
              <a:gd name="T89" fmla="*/ 59 h 79"/>
              <a:gd name="T90" fmla="*/ 9 w 56"/>
              <a:gd name="T91" fmla="*/ 58 h 79"/>
              <a:gd name="T92" fmla="*/ 7 w 56"/>
              <a:gd name="T93" fmla="*/ 61 h 79"/>
              <a:gd name="T94" fmla="*/ 0 w 56"/>
              <a:gd name="T95" fmla="*/ 64 h 79"/>
              <a:gd name="T96" fmla="*/ 3 w 56"/>
              <a:gd name="T97" fmla="*/ 66 h 79"/>
              <a:gd name="T98" fmla="*/ 11 w 56"/>
              <a:gd name="T99" fmla="*/ 71 h 79"/>
              <a:gd name="T100" fmla="*/ 14 w 56"/>
              <a:gd name="T101" fmla="*/ 75 h 79"/>
              <a:gd name="T102" fmla="*/ 20 w 56"/>
              <a:gd name="T103" fmla="*/ 78 h 79"/>
              <a:gd name="T104" fmla="*/ 24 w 56"/>
              <a:gd name="T105" fmla="*/ 77 h 79"/>
              <a:gd name="T106" fmla="*/ 27 w 56"/>
              <a:gd name="T107" fmla="*/ 74 h 79"/>
              <a:gd name="T108" fmla="*/ 34 w 56"/>
              <a:gd name="T109" fmla="*/ 66 h 79"/>
              <a:gd name="T110" fmla="*/ 44 w 56"/>
              <a:gd name="T111" fmla="*/ 69 h 79"/>
              <a:gd name="T112" fmla="*/ 47 w 56"/>
              <a:gd name="T113" fmla="*/ 64 h 79"/>
              <a:gd name="T114" fmla="*/ 48 w 56"/>
              <a:gd name="T115" fmla="*/ 57 h 79"/>
              <a:gd name="T116" fmla="*/ 52 w 56"/>
              <a:gd name="T117" fmla="*/ 50 h 79"/>
              <a:gd name="T118" fmla="*/ 56 w 56"/>
              <a:gd name="T119" fmla="*/ 48 h 79"/>
              <a:gd name="T120" fmla="*/ 55 w 56"/>
              <a:gd name="T121" fmla="*/ 4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 h="79">
                <a:moveTo>
                  <a:pt x="55" y="46"/>
                </a:moveTo>
                <a:cubicBezTo>
                  <a:pt x="55" y="43"/>
                  <a:pt x="56" y="43"/>
                  <a:pt x="56" y="41"/>
                </a:cubicBezTo>
                <a:cubicBezTo>
                  <a:pt x="56" y="39"/>
                  <a:pt x="54" y="39"/>
                  <a:pt x="53" y="38"/>
                </a:cubicBezTo>
                <a:cubicBezTo>
                  <a:pt x="53" y="36"/>
                  <a:pt x="52" y="35"/>
                  <a:pt x="50" y="34"/>
                </a:cubicBezTo>
                <a:cubicBezTo>
                  <a:pt x="50" y="33"/>
                  <a:pt x="51" y="33"/>
                  <a:pt x="51" y="32"/>
                </a:cubicBezTo>
                <a:cubicBezTo>
                  <a:pt x="50" y="30"/>
                  <a:pt x="48" y="29"/>
                  <a:pt x="46" y="28"/>
                </a:cubicBezTo>
                <a:cubicBezTo>
                  <a:pt x="46" y="27"/>
                  <a:pt x="46" y="27"/>
                  <a:pt x="46" y="27"/>
                </a:cubicBezTo>
                <a:cubicBezTo>
                  <a:pt x="45" y="25"/>
                  <a:pt x="44" y="24"/>
                  <a:pt x="45" y="22"/>
                </a:cubicBezTo>
                <a:cubicBezTo>
                  <a:pt x="43" y="23"/>
                  <a:pt x="42" y="20"/>
                  <a:pt x="41" y="22"/>
                </a:cubicBezTo>
                <a:cubicBezTo>
                  <a:pt x="41" y="22"/>
                  <a:pt x="40" y="23"/>
                  <a:pt x="38" y="23"/>
                </a:cubicBezTo>
                <a:cubicBezTo>
                  <a:pt x="38" y="21"/>
                  <a:pt x="37" y="21"/>
                  <a:pt x="37" y="18"/>
                </a:cubicBezTo>
                <a:cubicBezTo>
                  <a:pt x="37" y="17"/>
                  <a:pt x="38" y="17"/>
                  <a:pt x="38" y="15"/>
                </a:cubicBezTo>
                <a:cubicBezTo>
                  <a:pt x="38" y="13"/>
                  <a:pt x="36" y="13"/>
                  <a:pt x="37" y="10"/>
                </a:cubicBezTo>
                <a:cubicBezTo>
                  <a:pt x="37" y="9"/>
                  <a:pt x="36" y="7"/>
                  <a:pt x="37" y="7"/>
                </a:cubicBezTo>
                <a:cubicBezTo>
                  <a:pt x="38" y="7"/>
                  <a:pt x="38" y="6"/>
                  <a:pt x="38" y="5"/>
                </a:cubicBezTo>
                <a:cubicBezTo>
                  <a:pt x="38" y="4"/>
                  <a:pt x="37" y="4"/>
                  <a:pt x="37" y="2"/>
                </a:cubicBezTo>
                <a:cubicBezTo>
                  <a:pt x="37" y="1"/>
                  <a:pt x="36" y="1"/>
                  <a:pt x="36" y="0"/>
                </a:cubicBezTo>
                <a:cubicBezTo>
                  <a:pt x="34" y="0"/>
                  <a:pt x="33" y="1"/>
                  <a:pt x="34" y="2"/>
                </a:cubicBezTo>
                <a:cubicBezTo>
                  <a:pt x="32" y="2"/>
                  <a:pt x="31" y="3"/>
                  <a:pt x="31" y="4"/>
                </a:cubicBezTo>
                <a:cubicBezTo>
                  <a:pt x="29" y="3"/>
                  <a:pt x="28" y="5"/>
                  <a:pt x="27" y="4"/>
                </a:cubicBezTo>
                <a:cubicBezTo>
                  <a:pt x="25" y="4"/>
                  <a:pt x="24" y="7"/>
                  <a:pt x="22" y="8"/>
                </a:cubicBezTo>
                <a:cubicBezTo>
                  <a:pt x="22" y="9"/>
                  <a:pt x="22" y="9"/>
                  <a:pt x="21" y="9"/>
                </a:cubicBezTo>
                <a:cubicBezTo>
                  <a:pt x="21" y="10"/>
                  <a:pt x="21" y="11"/>
                  <a:pt x="21" y="11"/>
                </a:cubicBezTo>
                <a:cubicBezTo>
                  <a:pt x="21" y="11"/>
                  <a:pt x="20" y="11"/>
                  <a:pt x="20" y="11"/>
                </a:cubicBezTo>
                <a:cubicBezTo>
                  <a:pt x="21" y="11"/>
                  <a:pt x="21" y="11"/>
                  <a:pt x="21" y="11"/>
                </a:cubicBezTo>
                <a:cubicBezTo>
                  <a:pt x="21" y="12"/>
                  <a:pt x="20" y="13"/>
                  <a:pt x="20" y="14"/>
                </a:cubicBezTo>
                <a:cubicBezTo>
                  <a:pt x="19" y="15"/>
                  <a:pt x="19" y="17"/>
                  <a:pt x="18" y="19"/>
                </a:cubicBezTo>
                <a:cubicBezTo>
                  <a:pt x="18" y="21"/>
                  <a:pt x="20" y="21"/>
                  <a:pt x="20" y="23"/>
                </a:cubicBezTo>
                <a:cubicBezTo>
                  <a:pt x="21" y="23"/>
                  <a:pt x="20" y="25"/>
                  <a:pt x="21" y="25"/>
                </a:cubicBezTo>
                <a:cubicBezTo>
                  <a:pt x="21" y="25"/>
                  <a:pt x="22" y="25"/>
                  <a:pt x="22" y="26"/>
                </a:cubicBezTo>
                <a:cubicBezTo>
                  <a:pt x="22" y="28"/>
                  <a:pt x="21" y="27"/>
                  <a:pt x="20" y="29"/>
                </a:cubicBezTo>
                <a:cubicBezTo>
                  <a:pt x="20" y="30"/>
                  <a:pt x="20" y="30"/>
                  <a:pt x="19" y="30"/>
                </a:cubicBezTo>
                <a:cubicBezTo>
                  <a:pt x="19" y="30"/>
                  <a:pt x="19" y="31"/>
                  <a:pt x="19" y="31"/>
                </a:cubicBezTo>
                <a:cubicBezTo>
                  <a:pt x="19" y="31"/>
                  <a:pt x="19" y="32"/>
                  <a:pt x="18" y="32"/>
                </a:cubicBezTo>
                <a:cubicBezTo>
                  <a:pt x="18" y="35"/>
                  <a:pt x="19" y="36"/>
                  <a:pt x="19" y="39"/>
                </a:cubicBezTo>
                <a:cubicBezTo>
                  <a:pt x="18" y="39"/>
                  <a:pt x="17" y="40"/>
                  <a:pt x="16" y="40"/>
                </a:cubicBezTo>
                <a:cubicBezTo>
                  <a:pt x="15" y="40"/>
                  <a:pt x="15" y="41"/>
                  <a:pt x="15" y="42"/>
                </a:cubicBezTo>
                <a:cubicBezTo>
                  <a:pt x="15" y="43"/>
                  <a:pt x="15" y="43"/>
                  <a:pt x="14" y="43"/>
                </a:cubicBezTo>
                <a:cubicBezTo>
                  <a:pt x="13" y="42"/>
                  <a:pt x="13" y="42"/>
                  <a:pt x="12" y="43"/>
                </a:cubicBezTo>
                <a:cubicBezTo>
                  <a:pt x="12" y="43"/>
                  <a:pt x="12" y="44"/>
                  <a:pt x="11" y="44"/>
                </a:cubicBezTo>
                <a:cubicBezTo>
                  <a:pt x="11" y="44"/>
                  <a:pt x="10" y="44"/>
                  <a:pt x="9" y="44"/>
                </a:cubicBezTo>
                <a:cubicBezTo>
                  <a:pt x="8" y="44"/>
                  <a:pt x="9" y="42"/>
                  <a:pt x="7" y="42"/>
                </a:cubicBezTo>
                <a:cubicBezTo>
                  <a:pt x="7" y="43"/>
                  <a:pt x="7" y="44"/>
                  <a:pt x="6" y="44"/>
                </a:cubicBezTo>
                <a:cubicBezTo>
                  <a:pt x="6" y="46"/>
                  <a:pt x="4" y="46"/>
                  <a:pt x="4" y="48"/>
                </a:cubicBezTo>
                <a:cubicBezTo>
                  <a:pt x="5" y="48"/>
                  <a:pt x="5" y="48"/>
                  <a:pt x="5" y="48"/>
                </a:cubicBezTo>
                <a:cubicBezTo>
                  <a:pt x="5" y="48"/>
                  <a:pt x="5" y="48"/>
                  <a:pt x="5" y="48"/>
                </a:cubicBezTo>
                <a:cubicBezTo>
                  <a:pt x="6" y="48"/>
                  <a:pt x="6" y="48"/>
                  <a:pt x="6" y="48"/>
                </a:cubicBezTo>
                <a:cubicBezTo>
                  <a:pt x="6" y="48"/>
                  <a:pt x="6" y="48"/>
                  <a:pt x="6" y="48"/>
                </a:cubicBezTo>
                <a:cubicBezTo>
                  <a:pt x="6" y="48"/>
                  <a:pt x="6" y="48"/>
                  <a:pt x="6" y="49"/>
                </a:cubicBezTo>
                <a:cubicBezTo>
                  <a:pt x="6" y="49"/>
                  <a:pt x="6" y="49"/>
                  <a:pt x="6"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50"/>
                </a:cubicBezTo>
                <a:cubicBezTo>
                  <a:pt x="7" y="50"/>
                  <a:pt x="8" y="50"/>
                  <a:pt x="8" y="50"/>
                </a:cubicBezTo>
                <a:cubicBezTo>
                  <a:pt x="8" y="50"/>
                  <a:pt x="8" y="50"/>
                  <a:pt x="8" y="50"/>
                </a:cubicBezTo>
                <a:cubicBezTo>
                  <a:pt x="8" y="50"/>
                  <a:pt x="8" y="50"/>
                  <a:pt x="8" y="50"/>
                </a:cubicBezTo>
                <a:cubicBezTo>
                  <a:pt x="8" y="50"/>
                  <a:pt x="8" y="50"/>
                  <a:pt x="8" y="50"/>
                </a:cubicBezTo>
                <a:cubicBezTo>
                  <a:pt x="8" y="52"/>
                  <a:pt x="9" y="52"/>
                  <a:pt x="10" y="53"/>
                </a:cubicBezTo>
                <a:cubicBezTo>
                  <a:pt x="10" y="53"/>
                  <a:pt x="10" y="53"/>
                  <a:pt x="10" y="53"/>
                </a:cubicBezTo>
                <a:cubicBezTo>
                  <a:pt x="11" y="54"/>
                  <a:pt x="11" y="54"/>
                  <a:pt x="11" y="55"/>
                </a:cubicBezTo>
                <a:cubicBezTo>
                  <a:pt x="11" y="55"/>
                  <a:pt x="11" y="55"/>
                  <a:pt x="11" y="56"/>
                </a:cubicBezTo>
                <a:cubicBezTo>
                  <a:pt x="11" y="57"/>
                  <a:pt x="13" y="57"/>
                  <a:pt x="13" y="58"/>
                </a:cubicBezTo>
                <a:cubicBezTo>
                  <a:pt x="13" y="58"/>
                  <a:pt x="13" y="58"/>
                  <a:pt x="13" y="58"/>
                </a:cubicBezTo>
                <a:cubicBezTo>
                  <a:pt x="13" y="58"/>
                  <a:pt x="13" y="59"/>
                  <a:pt x="13" y="59"/>
                </a:cubicBezTo>
                <a:cubicBezTo>
                  <a:pt x="13" y="59"/>
                  <a:pt x="13" y="59"/>
                  <a:pt x="13" y="59"/>
                </a:cubicBezTo>
                <a:cubicBezTo>
                  <a:pt x="13" y="59"/>
                  <a:pt x="13" y="59"/>
                  <a:pt x="13" y="59"/>
                </a:cubicBezTo>
                <a:cubicBezTo>
                  <a:pt x="13" y="60"/>
                  <a:pt x="13" y="60"/>
                  <a:pt x="13" y="60"/>
                </a:cubicBezTo>
                <a:cubicBezTo>
                  <a:pt x="13" y="60"/>
                  <a:pt x="13" y="60"/>
                  <a:pt x="13" y="60"/>
                </a:cubicBezTo>
                <a:cubicBezTo>
                  <a:pt x="13" y="60"/>
                  <a:pt x="13" y="60"/>
                  <a:pt x="13" y="60"/>
                </a:cubicBezTo>
                <a:cubicBezTo>
                  <a:pt x="13" y="60"/>
                  <a:pt x="13" y="60"/>
                  <a:pt x="13" y="60"/>
                </a:cubicBezTo>
                <a:cubicBezTo>
                  <a:pt x="13" y="60"/>
                  <a:pt x="13" y="60"/>
                  <a:pt x="13" y="61"/>
                </a:cubicBezTo>
                <a:cubicBezTo>
                  <a:pt x="13" y="61"/>
                  <a:pt x="13" y="61"/>
                  <a:pt x="13" y="61"/>
                </a:cubicBezTo>
                <a:cubicBezTo>
                  <a:pt x="13" y="61"/>
                  <a:pt x="13" y="61"/>
                  <a:pt x="12" y="61"/>
                </a:cubicBezTo>
                <a:cubicBezTo>
                  <a:pt x="12" y="61"/>
                  <a:pt x="12" y="61"/>
                  <a:pt x="12" y="61"/>
                </a:cubicBezTo>
                <a:cubicBezTo>
                  <a:pt x="12" y="61"/>
                  <a:pt x="12" y="61"/>
                  <a:pt x="12" y="61"/>
                </a:cubicBezTo>
                <a:cubicBezTo>
                  <a:pt x="12" y="61"/>
                  <a:pt x="12" y="61"/>
                  <a:pt x="12" y="61"/>
                </a:cubicBezTo>
                <a:cubicBezTo>
                  <a:pt x="12" y="61"/>
                  <a:pt x="12" y="61"/>
                  <a:pt x="12" y="61"/>
                </a:cubicBezTo>
                <a:cubicBezTo>
                  <a:pt x="12" y="61"/>
                  <a:pt x="12" y="61"/>
                  <a:pt x="12" y="61"/>
                </a:cubicBezTo>
                <a:cubicBezTo>
                  <a:pt x="12" y="61"/>
                  <a:pt x="12" y="61"/>
                  <a:pt x="11" y="61"/>
                </a:cubicBezTo>
                <a:cubicBezTo>
                  <a:pt x="11" y="61"/>
                  <a:pt x="11" y="61"/>
                  <a:pt x="11" y="61"/>
                </a:cubicBezTo>
                <a:cubicBezTo>
                  <a:pt x="11" y="61"/>
                  <a:pt x="11" y="61"/>
                  <a:pt x="11" y="61"/>
                </a:cubicBezTo>
                <a:cubicBezTo>
                  <a:pt x="11" y="61"/>
                  <a:pt x="11" y="61"/>
                  <a:pt x="11" y="60"/>
                </a:cubicBezTo>
                <a:cubicBezTo>
                  <a:pt x="11" y="60"/>
                  <a:pt x="11" y="60"/>
                  <a:pt x="11" y="60"/>
                </a:cubicBezTo>
                <a:cubicBezTo>
                  <a:pt x="11" y="60"/>
                  <a:pt x="11" y="60"/>
                  <a:pt x="11" y="60"/>
                </a:cubicBezTo>
                <a:cubicBezTo>
                  <a:pt x="11" y="60"/>
                  <a:pt x="11" y="60"/>
                  <a:pt x="11" y="60"/>
                </a:cubicBezTo>
                <a:cubicBezTo>
                  <a:pt x="11" y="60"/>
                  <a:pt x="10" y="60"/>
                  <a:pt x="10" y="59"/>
                </a:cubicBezTo>
                <a:cubicBezTo>
                  <a:pt x="10" y="59"/>
                  <a:pt x="10" y="59"/>
                  <a:pt x="9" y="59"/>
                </a:cubicBezTo>
                <a:cubicBezTo>
                  <a:pt x="9" y="59"/>
                  <a:pt x="9" y="59"/>
                  <a:pt x="9" y="59"/>
                </a:cubicBezTo>
                <a:cubicBezTo>
                  <a:pt x="9" y="59"/>
                  <a:pt x="9" y="58"/>
                  <a:pt x="9" y="58"/>
                </a:cubicBezTo>
                <a:cubicBezTo>
                  <a:pt x="9" y="58"/>
                  <a:pt x="9" y="58"/>
                  <a:pt x="9" y="58"/>
                </a:cubicBezTo>
                <a:cubicBezTo>
                  <a:pt x="9" y="58"/>
                  <a:pt x="9" y="58"/>
                  <a:pt x="9" y="58"/>
                </a:cubicBezTo>
                <a:cubicBezTo>
                  <a:pt x="9" y="60"/>
                  <a:pt x="7" y="59"/>
                  <a:pt x="7" y="61"/>
                </a:cubicBezTo>
                <a:cubicBezTo>
                  <a:pt x="7" y="62"/>
                  <a:pt x="6" y="63"/>
                  <a:pt x="5" y="63"/>
                </a:cubicBezTo>
                <a:cubicBezTo>
                  <a:pt x="3" y="64"/>
                  <a:pt x="1" y="61"/>
                  <a:pt x="0" y="64"/>
                </a:cubicBezTo>
                <a:cubicBezTo>
                  <a:pt x="0" y="64"/>
                  <a:pt x="0" y="65"/>
                  <a:pt x="0" y="65"/>
                </a:cubicBezTo>
                <a:cubicBezTo>
                  <a:pt x="0" y="66"/>
                  <a:pt x="2" y="66"/>
                  <a:pt x="3" y="66"/>
                </a:cubicBezTo>
                <a:cubicBezTo>
                  <a:pt x="5" y="67"/>
                  <a:pt x="8" y="67"/>
                  <a:pt x="7" y="70"/>
                </a:cubicBezTo>
                <a:cubicBezTo>
                  <a:pt x="9" y="69"/>
                  <a:pt x="10" y="71"/>
                  <a:pt x="11" y="71"/>
                </a:cubicBezTo>
                <a:cubicBezTo>
                  <a:pt x="12" y="71"/>
                  <a:pt x="12" y="72"/>
                  <a:pt x="13" y="72"/>
                </a:cubicBezTo>
                <a:cubicBezTo>
                  <a:pt x="13" y="73"/>
                  <a:pt x="13" y="74"/>
                  <a:pt x="14" y="75"/>
                </a:cubicBezTo>
                <a:cubicBezTo>
                  <a:pt x="16" y="74"/>
                  <a:pt x="16" y="76"/>
                  <a:pt x="18" y="76"/>
                </a:cubicBezTo>
                <a:cubicBezTo>
                  <a:pt x="19" y="77"/>
                  <a:pt x="20" y="77"/>
                  <a:pt x="20" y="78"/>
                </a:cubicBezTo>
                <a:cubicBezTo>
                  <a:pt x="21" y="78"/>
                  <a:pt x="22" y="79"/>
                  <a:pt x="23" y="78"/>
                </a:cubicBezTo>
                <a:cubicBezTo>
                  <a:pt x="24" y="78"/>
                  <a:pt x="24" y="78"/>
                  <a:pt x="24" y="77"/>
                </a:cubicBezTo>
                <a:cubicBezTo>
                  <a:pt x="25" y="77"/>
                  <a:pt x="25" y="77"/>
                  <a:pt x="25" y="76"/>
                </a:cubicBezTo>
                <a:cubicBezTo>
                  <a:pt x="26" y="75"/>
                  <a:pt x="26" y="75"/>
                  <a:pt x="27" y="74"/>
                </a:cubicBezTo>
                <a:cubicBezTo>
                  <a:pt x="27" y="72"/>
                  <a:pt x="28" y="71"/>
                  <a:pt x="28" y="69"/>
                </a:cubicBezTo>
                <a:cubicBezTo>
                  <a:pt x="30" y="69"/>
                  <a:pt x="31" y="67"/>
                  <a:pt x="34" y="66"/>
                </a:cubicBezTo>
                <a:cubicBezTo>
                  <a:pt x="36" y="67"/>
                  <a:pt x="37" y="68"/>
                  <a:pt x="40" y="67"/>
                </a:cubicBezTo>
                <a:cubicBezTo>
                  <a:pt x="41" y="68"/>
                  <a:pt x="43" y="68"/>
                  <a:pt x="44" y="69"/>
                </a:cubicBezTo>
                <a:cubicBezTo>
                  <a:pt x="44" y="68"/>
                  <a:pt x="45" y="68"/>
                  <a:pt x="46" y="68"/>
                </a:cubicBezTo>
                <a:cubicBezTo>
                  <a:pt x="46" y="66"/>
                  <a:pt x="48" y="66"/>
                  <a:pt x="47" y="64"/>
                </a:cubicBezTo>
                <a:cubicBezTo>
                  <a:pt x="47" y="63"/>
                  <a:pt x="46" y="62"/>
                  <a:pt x="46" y="60"/>
                </a:cubicBezTo>
                <a:cubicBezTo>
                  <a:pt x="47" y="59"/>
                  <a:pt x="48" y="58"/>
                  <a:pt x="48" y="57"/>
                </a:cubicBezTo>
                <a:cubicBezTo>
                  <a:pt x="50" y="56"/>
                  <a:pt x="50" y="54"/>
                  <a:pt x="52" y="54"/>
                </a:cubicBezTo>
                <a:cubicBezTo>
                  <a:pt x="52" y="53"/>
                  <a:pt x="52" y="52"/>
                  <a:pt x="52" y="50"/>
                </a:cubicBezTo>
                <a:cubicBezTo>
                  <a:pt x="53" y="50"/>
                  <a:pt x="53" y="50"/>
                  <a:pt x="54" y="50"/>
                </a:cubicBezTo>
                <a:cubicBezTo>
                  <a:pt x="54" y="49"/>
                  <a:pt x="55" y="48"/>
                  <a:pt x="56" y="48"/>
                </a:cubicBezTo>
                <a:cubicBezTo>
                  <a:pt x="56" y="48"/>
                  <a:pt x="56" y="48"/>
                  <a:pt x="56" y="48"/>
                </a:cubicBezTo>
                <a:cubicBezTo>
                  <a:pt x="56" y="47"/>
                  <a:pt x="56" y="46"/>
                  <a:pt x="55" y="46"/>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6" name="Freeform 64"/>
          <p:cNvSpPr>
            <a:spLocks/>
          </p:cNvSpPr>
          <p:nvPr/>
        </p:nvSpPr>
        <p:spPr bwMode="auto">
          <a:xfrm>
            <a:off x="8852192" y="5196190"/>
            <a:ext cx="236538" cy="239713"/>
          </a:xfrm>
          <a:custGeom>
            <a:avLst/>
            <a:gdLst>
              <a:gd name="T0" fmla="*/ 51 w 61"/>
              <a:gd name="T1" fmla="*/ 21 h 62"/>
              <a:gd name="T2" fmla="*/ 46 w 61"/>
              <a:gd name="T3" fmla="*/ 15 h 62"/>
              <a:gd name="T4" fmla="*/ 40 w 61"/>
              <a:gd name="T5" fmla="*/ 10 h 62"/>
              <a:gd name="T6" fmla="*/ 39 w 61"/>
              <a:gd name="T7" fmla="*/ 10 h 62"/>
              <a:gd name="T8" fmla="*/ 39 w 61"/>
              <a:gd name="T9" fmla="*/ 9 h 62"/>
              <a:gd name="T10" fmla="*/ 38 w 61"/>
              <a:gd name="T11" fmla="*/ 9 h 62"/>
              <a:gd name="T12" fmla="*/ 37 w 61"/>
              <a:gd name="T13" fmla="*/ 6 h 62"/>
              <a:gd name="T14" fmla="*/ 31 w 61"/>
              <a:gd name="T15" fmla="*/ 5 h 62"/>
              <a:gd name="T16" fmla="*/ 26 w 61"/>
              <a:gd name="T17" fmla="*/ 4 h 62"/>
              <a:gd name="T18" fmla="*/ 24 w 61"/>
              <a:gd name="T19" fmla="*/ 0 h 62"/>
              <a:gd name="T20" fmla="*/ 23 w 61"/>
              <a:gd name="T21" fmla="*/ 0 h 62"/>
              <a:gd name="T22" fmla="*/ 21 w 61"/>
              <a:gd name="T23" fmla="*/ 1 h 62"/>
              <a:gd name="T24" fmla="*/ 17 w 61"/>
              <a:gd name="T25" fmla="*/ 3 h 62"/>
              <a:gd name="T26" fmla="*/ 17 w 61"/>
              <a:gd name="T27" fmla="*/ 3 h 62"/>
              <a:gd name="T28" fmla="*/ 17 w 61"/>
              <a:gd name="T29" fmla="*/ 4 h 62"/>
              <a:gd name="T30" fmla="*/ 16 w 61"/>
              <a:gd name="T31" fmla="*/ 5 h 62"/>
              <a:gd name="T32" fmla="*/ 16 w 61"/>
              <a:gd name="T33" fmla="*/ 5 h 62"/>
              <a:gd name="T34" fmla="*/ 17 w 61"/>
              <a:gd name="T35" fmla="*/ 6 h 62"/>
              <a:gd name="T36" fmla="*/ 17 w 61"/>
              <a:gd name="T37" fmla="*/ 6 h 62"/>
              <a:gd name="T38" fmla="*/ 17 w 61"/>
              <a:gd name="T39" fmla="*/ 6 h 62"/>
              <a:gd name="T40" fmla="*/ 18 w 61"/>
              <a:gd name="T41" fmla="*/ 10 h 62"/>
              <a:gd name="T42" fmla="*/ 18 w 61"/>
              <a:gd name="T43" fmla="*/ 11 h 62"/>
              <a:gd name="T44" fmla="*/ 17 w 61"/>
              <a:gd name="T45" fmla="*/ 11 h 62"/>
              <a:gd name="T46" fmla="*/ 17 w 61"/>
              <a:gd name="T47" fmla="*/ 12 h 62"/>
              <a:gd name="T48" fmla="*/ 14 w 61"/>
              <a:gd name="T49" fmla="*/ 13 h 62"/>
              <a:gd name="T50" fmla="*/ 14 w 61"/>
              <a:gd name="T51" fmla="*/ 17 h 62"/>
              <a:gd name="T52" fmla="*/ 13 w 61"/>
              <a:gd name="T53" fmla="*/ 18 h 62"/>
              <a:gd name="T54" fmla="*/ 12 w 61"/>
              <a:gd name="T55" fmla="*/ 22 h 62"/>
              <a:gd name="T56" fmla="*/ 3 w 61"/>
              <a:gd name="T57" fmla="*/ 29 h 62"/>
              <a:gd name="T58" fmla="*/ 6 w 61"/>
              <a:gd name="T59" fmla="*/ 43 h 62"/>
              <a:gd name="T60" fmla="*/ 16 w 61"/>
              <a:gd name="T61" fmla="*/ 48 h 62"/>
              <a:gd name="T62" fmla="*/ 17 w 61"/>
              <a:gd name="T63" fmla="*/ 50 h 62"/>
              <a:gd name="T64" fmla="*/ 17 w 61"/>
              <a:gd name="T65" fmla="*/ 50 h 62"/>
              <a:gd name="T66" fmla="*/ 18 w 61"/>
              <a:gd name="T67" fmla="*/ 52 h 62"/>
              <a:gd name="T68" fmla="*/ 20 w 61"/>
              <a:gd name="T69" fmla="*/ 55 h 62"/>
              <a:gd name="T70" fmla="*/ 20 w 61"/>
              <a:gd name="T71" fmla="*/ 56 h 62"/>
              <a:gd name="T72" fmla="*/ 26 w 61"/>
              <a:gd name="T73" fmla="*/ 56 h 62"/>
              <a:gd name="T74" fmla="*/ 26 w 61"/>
              <a:gd name="T75" fmla="*/ 55 h 62"/>
              <a:gd name="T76" fmla="*/ 26 w 61"/>
              <a:gd name="T77" fmla="*/ 55 h 62"/>
              <a:gd name="T78" fmla="*/ 27 w 61"/>
              <a:gd name="T79" fmla="*/ 54 h 62"/>
              <a:gd name="T80" fmla="*/ 31 w 61"/>
              <a:gd name="T81" fmla="*/ 51 h 62"/>
              <a:gd name="T82" fmla="*/ 31 w 61"/>
              <a:gd name="T83" fmla="*/ 51 h 62"/>
              <a:gd name="T84" fmla="*/ 31 w 61"/>
              <a:gd name="T85" fmla="*/ 51 h 62"/>
              <a:gd name="T86" fmla="*/ 35 w 61"/>
              <a:gd name="T87" fmla="*/ 49 h 62"/>
              <a:gd name="T88" fmla="*/ 36 w 61"/>
              <a:gd name="T89" fmla="*/ 48 h 62"/>
              <a:gd name="T90" fmla="*/ 40 w 61"/>
              <a:gd name="T91" fmla="*/ 46 h 62"/>
              <a:gd name="T92" fmla="*/ 40 w 61"/>
              <a:gd name="T93" fmla="*/ 46 h 62"/>
              <a:gd name="T94" fmla="*/ 41 w 61"/>
              <a:gd name="T95" fmla="*/ 47 h 62"/>
              <a:gd name="T96" fmla="*/ 44 w 61"/>
              <a:gd name="T97" fmla="*/ 48 h 62"/>
              <a:gd name="T98" fmla="*/ 54 w 61"/>
              <a:gd name="T99" fmla="*/ 41 h 62"/>
              <a:gd name="T100" fmla="*/ 53 w 61"/>
              <a:gd name="T101" fmla="*/ 38 h 62"/>
              <a:gd name="T102" fmla="*/ 58 w 61"/>
              <a:gd name="T103" fmla="*/ 2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1" h="62">
                <a:moveTo>
                  <a:pt x="60" y="23"/>
                </a:moveTo>
                <a:cubicBezTo>
                  <a:pt x="60" y="22"/>
                  <a:pt x="58" y="23"/>
                  <a:pt x="58" y="22"/>
                </a:cubicBezTo>
                <a:cubicBezTo>
                  <a:pt x="52" y="22"/>
                  <a:pt x="52" y="22"/>
                  <a:pt x="52" y="22"/>
                </a:cubicBezTo>
                <a:cubicBezTo>
                  <a:pt x="52" y="21"/>
                  <a:pt x="51" y="21"/>
                  <a:pt x="51" y="21"/>
                </a:cubicBezTo>
                <a:cubicBezTo>
                  <a:pt x="49" y="21"/>
                  <a:pt x="48" y="19"/>
                  <a:pt x="47" y="19"/>
                </a:cubicBezTo>
                <a:cubicBezTo>
                  <a:pt x="47" y="18"/>
                  <a:pt x="47" y="18"/>
                  <a:pt x="46" y="17"/>
                </a:cubicBezTo>
                <a:cubicBezTo>
                  <a:pt x="47" y="17"/>
                  <a:pt x="47" y="15"/>
                  <a:pt x="46" y="15"/>
                </a:cubicBezTo>
                <a:cubicBezTo>
                  <a:pt x="46" y="15"/>
                  <a:pt x="46" y="15"/>
                  <a:pt x="46" y="15"/>
                </a:cubicBezTo>
                <a:cubicBezTo>
                  <a:pt x="46" y="14"/>
                  <a:pt x="45" y="14"/>
                  <a:pt x="44" y="14"/>
                </a:cubicBezTo>
                <a:cubicBezTo>
                  <a:pt x="43" y="12"/>
                  <a:pt x="41" y="12"/>
                  <a:pt x="41" y="10"/>
                </a:cubicBezTo>
                <a:cubicBezTo>
                  <a:pt x="41" y="11"/>
                  <a:pt x="41" y="11"/>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39" y="10"/>
                  <a:pt x="39" y="10"/>
                  <a:pt x="39" y="10"/>
                </a:cubicBezTo>
                <a:cubicBezTo>
                  <a:pt x="39" y="10"/>
                  <a:pt x="39" y="10"/>
                  <a:pt x="39" y="10"/>
                </a:cubicBezTo>
                <a:cubicBezTo>
                  <a:pt x="39" y="10"/>
                  <a:pt x="39" y="10"/>
                  <a:pt x="39" y="10"/>
                </a:cubicBezTo>
                <a:cubicBezTo>
                  <a:pt x="39" y="10"/>
                  <a:pt x="39" y="10"/>
                  <a:pt x="39" y="10"/>
                </a:cubicBezTo>
                <a:cubicBezTo>
                  <a:pt x="39" y="10"/>
                  <a:pt x="39" y="10"/>
                  <a:pt x="39" y="9"/>
                </a:cubicBezTo>
                <a:cubicBezTo>
                  <a:pt x="39" y="9"/>
                  <a:pt x="39" y="9"/>
                  <a:pt x="39" y="9"/>
                </a:cubicBezTo>
                <a:cubicBezTo>
                  <a:pt x="39" y="9"/>
                  <a:pt x="38" y="9"/>
                  <a:pt x="38" y="9"/>
                </a:cubicBezTo>
                <a:cubicBezTo>
                  <a:pt x="38" y="9"/>
                  <a:pt x="38" y="9"/>
                  <a:pt x="38" y="9"/>
                </a:cubicBezTo>
                <a:cubicBezTo>
                  <a:pt x="38" y="9"/>
                  <a:pt x="38" y="9"/>
                  <a:pt x="38" y="9"/>
                </a:cubicBezTo>
                <a:cubicBezTo>
                  <a:pt x="38" y="9"/>
                  <a:pt x="38" y="9"/>
                  <a:pt x="38" y="9"/>
                </a:cubicBezTo>
                <a:cubicBezTo>
                  <a:pt x="36" y="8"/>
                  <a:pt x="38" y="6"/>
                  <a:pt x="37" y="6"/>
                </a:cubicBezTo>
                <a:cubicBezTo>
                  <a:pt x="37" y="6"/>
                  <a:pt x="37" y="6"/>
                  <a:pt x="37" y="6"/>
                </a:cubicBezTo>
                <a:cubicBezTo>
                  <a:pt x="37" y="6"/>
                  <a:pt x="37" y="6"/>
                  <a:pt x="37" y="6"/>
                </a:cubicBezTo>
                <a:cubicBezTo>
                  <a:pt x="37" y="6"/>
                  <a:pt x="37" y="6"/>
                  <a:pt x="37" y="6"/>
                </a:cubicBezTo>
                <a:cubicBezTo>
                  <a:pt x="36" y="5"/>
                  <a:pt x="36" y="5"/>
                  <a:pt x="35" y="5"/>
                </a:cubicBezTo>
                <a:cubicBezTo>
                  <a:pt x="35" y="5"/>
                  <a:pt x="35" y="5"/>
                  <a:pt x="35" y="5"/>
                </a:cubicBezTo>
                <a:cubicBezTo>
                  <a:pt x="33" y="5"/>
                  <a:pt x="33" y="5"/>
                  <a:pt x="31" y="5"/>
                </a:cubicBezTo>
                <a:cubicBezTo>
                  <a:pt x="31" y="5"/>
                  <a:pt x="31" y="5"/>
                  <a:pt x="31" y="5"/>
                </a:cubicBezTo>
                <a:cubicBezTo>
                  <a:pt x="28" y="5"/>
                  <a:pt x="28" y="5"/>
                  <a:pt x="28" y="5"/>
                </a:cubicBezTo>
                <a:cubicBezTo>
                  <a:pt x="28" y="4"/>
                  <a:pt x="28" y="4"/>
                  <a:pt x="28" y="4"/>
                </a:cubicBezTo>
                <a:cubicBezTo>
                  <a:pt x="26" y="4"/>
                  <a:pt x="26" y="4"/>
                  <a:pt x="26" y="4"/>
                </a:cubicBezTo>
                <a:cubicBezTo>
                  <a:pt x="26" y="2"/>
                  <a:pt x="26" y="0"/>
                  <a:pt x="24" y="1"/>
                </a:cubicBezTo>
                <a:cubicBezTo>
                  <a:pt x="24" y="0"/>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3" y="0"/>
                  <a:pt x="23" y="0"/>
                  <a:pt x="23" y="0"/>
                </a:cubicBezTo>
                <a:cubicBezTo>
                  <a:pt x="23" y="0"/>
                  <a:pt x="23" y="0"/>
                  <a:pt x="23" y="0"/>
                </a:cubicBezTo>
                <a:cubicBezTo>
                  <a:pt x="23" y="0"/>
                  <a:pt x="23" y="0"/>
                  <a:pt x="23" y="0"/>
                </a:cubicBezTo>
                <a:cubicBezTo>
                  <a:pt x="23" y="0"/>
                  <a:pt x="23" y="0"/>
                  <a:pt x="23" y="0"/>
                </a:cubicBezTo>
                <a:cubicBezTo>
                  <a:pt x="22" y="0"/>
                  <a:pt x="22" y="0"/>
                  <a:pt x="22" y="0"/>
                </a:cubicBezTo>
                <a:cubicBezTo>
                  <a:pt x="22" y="0"/>
                  <a:pt x="21" y="1"/>
                  <a:pt x="21" y="1"/>
                </a:cubicBezTo>
                <a:cubicBezTo>
                  <a:pt x="21" y="1"/>
                  <a:pt x="21" y="1"/>
                  <a:pt x="21" y="1"/>
                </a:cubicBezTo>
                <a:cubicBezTo>
                  <a:pt x="19" y="2"/>
                  <a:pt x="18" y="1"/>
                  <a:pt x="17" y="2"/>
                </a:cubicBezTo>
                <a:cubicBezTo>
                  <a:pt x="17" y="2"/>
                  <a:pt x="17" y="2"/>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4"/>
                  <a:pt x="17" y="4"/>
                </a:cubicBezTo>
                <a:cubicBezTo>
                  <a:pt x="17" y="4"/>
                  <a:pt x="17" y="4"/>
                  <a:pt x="17" y="4"/>
                </a:cubicBezTo>
                <a:cubicBezTo>
                  <a:pt x="17" y="4"/>
                  <a:pt x="17" y="4"/>
                  <a:pt x="17" y="4"/>
                </a:cubicBezTo>
                <a:cubicBezTo>
                  <a:pt x="17" y="4"/>
                  <a:pt x="17" y="4"/>
                  <a:pt x="17" y="4"/>
                </a:cubicBezTo>
                <a:cubicBezTo>
                  <a:pt x="17" y="4"/>
                  <a:pt x="16" y="4"/>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6"/>
                  <a:pt x="16" y="6"/>
                </a:cubicBezTo>
                <a:cubicBezTo>
                  <a:pt x="16" y="6"/>
                  <a:pt x="16" y="6"/>
                  <a:pt x="16" y="6"/>
                </a:cubicBezTo>
                <a:cubicBezTo>
                  <a:pt x="16" y="6"/>
                  <a:pt x="16" y="6"/>
                  <a:pt x="16" y="6"/>
                </a:cubicBezTo>
                <a:cubicBezTo>
                  <a:pt x="16" y="6"/>
                  <a:pt x="16" y="6"/>
                  <a:pt x="17" y="6"/>
                </a:cubicBezTo>
                <a:cubicBezTo>
                  <a:pt x="17" y="6"/>
                  <a:pt x="17" y="6"/>
                  <a:pt x="17" y="6"/>
                </a:cubicBezTo>
                <a:cubicBezTo>
                  <a:pt x="17" y="6"/>
                  <a:pt x="17" y="6"/>
                  <a:pt x="17" y="6"/>
                </a:cubicBezTo>
                <a:cubicBezTo>
                  <a:pt x="17" y="6"/>
                  <a:pt x="17" y="6"/>
                  <a:pt x="17" y="6"/>
                </a:cubicBezTo>
                <a:cubicBezTo>
                  <a:pt x="17" y="6"/>
                  <a:pt x="17" y="6"/>
                  <a:pt x="17" y="6"/>
                </a:cubicBezTo>
                <a:cubicBezTo>
                  <a:pt x="17" y="6"/>
                  <a:pt x="17" y="6"/>
                  <a:pt x="17" y="6"/>
                </a:cubicBezTo>
                <a:cubicBezTo>
                  <a:pt x="17" y="6"/>
                  <a:pt x="17" y="6"/>
                  <a:pt x="17" y="6"/>
                </a:cubicBezTo>
                <a:cubicBezTo>
                  <a:pt x="17" y="6"/>
                  <a:pt x="17" y="6"/>
                  <a:pt x="17" y="6"/>
                </a:cubicBezTo>
                <a:cubicBezTo>
                  <a:pt x="17" y="6"/>
                  <a:pt x="17" y="6"/>
                  <a:pt x="17" y="6"/>
                </a:cubicBezTo>
                <a:cubicBezTo>
                  <a:pt x="17" y="8"/>
                  <a:pt x="19" y="7"/>
                  <a:pt x="19" y="9"/>
                </a:cubicBezTo>
                <a:cubicBezTo>
                  <a:pt x="19" y="9"/>
                  <a:pt x="19" y="9"/>
                  <a:pt x="19" y="10"/>
                </a:cubicBezTo>
                <a:cubicBezTo>
                  <a:pt x="19" y="10"/>
                  <a:pt x="19" y="10"/>
                  <a:pt x="19" y="10"/>
                </a:cubicBezTo>
                <a:cubicBezTo>
                  <a:pt x="19" y="10"/>
                  <a:pt x="19" y="10"/>
                  <a:pt x="18" y="10"/>
                </a:cubicBezTo>
                <a:cubicBezTo>
                  <a:pt x="18" y="10"/>
                  <a:pt x="18" y="10"/>
                  <a:pt x="18" y="10"/>
                </a:cubicBezTo>
                <a:cubicBezTo>
                  <a:pt x="18" y="10"/>
                  <a:pt x="18" y="10"/>
                  <a:pt x="18" y="11"/>
                </a:cubicBezTo>
                <a:cubicBezTo>
                  <a:pt x="18" y="11"/>
                  <a:pt x="18" y="11"/>
                  <a:pt x="18" y="11"/>
                </a:cubicBezTo>
                <a:cubicBezTo>
                  <a:pt x="18" y="11"/>
                  <a:pt x="18" y="11"/>
                  <a:pt x="18" y="11"/>
                </a:cubicBezTo>
                <a:cubicBezTo>
                  <a:pt x="18" y="11"/>
                  <a:pt x="18" y="11"/>
                  <a:pt x="18" y="11"/>
                </a:cubicBezTo>
                <a:cubicBezTo>
                  <a:pt x="18" y="11"/>
                  <a:pt x="18" y="11"/>
                  <a:pt x="18" y="11"/>
                </a:cubicBezTo>
                <a:cubicBezTo>
                  <a:pt x="18" y="11"/>
                  <a:pt x="18" y="11"/>
                  <a:pt x="18" y="11"/>
                </a:cubicBezTo>
                <a:cubicBezTo>
                  <a:pt x="18" y="11"/>
                  <a:pt x="18" y="11"/>
                  <a:pt x="17" y="11"/>
                </a:cubicBezTo>
                <a:cubicBezTo>
                  <a:pt x="17" y="11"/>
                  <a:pt x="17" y="11"/>
                  <a:pt x="17" y="11"/>
                </a:cubicBezTo>
                <a:cubicBezTo>
                  <a:pt x="17" y="11"/>
                  <a:pt x="17" y="11"/>
                  <a:pt x="17" y="11"/>
                </a:cubicBezTo>
                <a:cubicBezTo>
                  <a:pt x="17" y="11"/>
                  <a:pt x="17" y="12"/>
                  <a:pt x="17" y="12"/>
                </a:cubicBezTo>
                <a:cubicBezTo>
                  <a:pt x="17" y="12"/>
                  <a:pt x="17" y="12"/>
                  <a:pt x="17" y="12"/>
                </a:cubicBezTo>
                <a:cubicBezTo>
                  <a:pt x="16" y="12"/>
                  <a:pt x="16" y="12"/>
                  <a:pt x="15" y="12"/>
                </a:cubicBezTo>
                <a:cubicBezTo>
                  <a:pt x="15" y="12"/>
                  <a:pt x="15" y="12"/>
                  <a:pt x="15" y="12"/>
                </a:cubicBezTo>
                <a:cubicBezTo>
                  <a:pt x="15" y="13"/>
                  <a:pt x="15" y="13"/>
                  <a:pt x="15" y="13"/>
                </a:cubicBezTo>
                <a:cubicBezTo>
                  <a:pt x="15" y="13"/>
                  <a:pt x="14" y="13"/>
                  <a:pt x="14" y="13"/>
                </a:cubicBezTo>
                <a:cubicBezTo>
                  <a:pt x="13" y="14"/>
                  <a:pt x="14" y="15"/>
                  <a:pt x="14" y="17"/>
                </a:cubicBezTo>
                <a:cubicBezTo>
                  <a:pt x="14" y="17"/>
                  <a:pt x="14" y="17"/>
                  <a:pt x="14" y="17"/>
                </a:cubicBezTo>
                <a:cubicBezTo>
                  <a:pt x="14" y="17"/>
                  <a:pt x="14" y="17"/>
                  <a:pt x="14" y="17"/>
                </a:cubicBezTo>
                <a:cubicBezTo>
                  <a:pt x="14" y="17"/>
                  <a:pt x="14" y="17"/>
                  <a:pt x="14" y="17"/>
                </a:cubicBezTo>
                <a:cubicBezTo>
                  <a:pt x="13" y="17"/>
                  <a:pt x="13" y="17"/>
                  <a:pt x="13" y="17"/>
                </a:cubicBezTo>
                <a:cubicBezTo>
                  <a:pt x="13" y="18"/>
                  <a:pt x="13" y="18"/>
                  <a:pt x="13" y="18"/>
                </a:cubicBezTo>
                <a:cubicBezTo>
                  <a:pt x="13" y="18"/>
                  <a:pt x="13" y="18"/>
                  <a:pt x="13" y="18"/>
                </a:cubicBezTo>
                <a:cubicBezTo>
                  <a:pt x="13" y="18"/>
                  <a:pt x="13" y="18"/>
                  <a:pt x="13" y="18"/>
                </a:cubicBezTo>
                <a:cubicBezTo>
                  <a:pt x="13" y="18"/>
                  <a:pt x="13" y="18"/>
                  <a:pt x="12" y="18"/>
                </a:cubicBezTo>
                <a:cubicBezTo>
                  <a:pt x="12" y="18"/>
                  <a:pt x="12" y="18"/>
                  <a:pt x="12" y="19"/>
                </a:cubicBezTo>
                <a:cubicBezTo>
                  <a:pt x="12" y="19"/>
                  <a:pt x="12" y="19"/>
                  <a:pt x="12" y="19"/>
                </a:cubicBezTo>
                <a:cubicBezTo>
                  <a:pt x="12" y="22"/>
                  <a:pt x="12" y="22"/>
                  <a:pt x="12" y="22"/>
                </a:cubicBezTo>
                <a:cubicBezTo>
                  <a:pt x="9" y="22"/>
                  <a:pt x="8" y="23"/>
                  <a:pt x="7" y="25"/>
                </a:cubicBezTo>
                <a:cubicBezTo>
                  <a:pt x="0" y="25"/>
                  <a:pt x="0" y="25"/>
                  <a:pt x="0" y="25"/>
                </a:cubicBezTo>
                <a:cubicBezTo>
                  <a:pt x="0" y="27"/>
                  <a:pt x="1" y="27"/>
                  <a:pt x="1" y="29"/>
                </a:cubicBezTo>
                <a:cubicBezTo>
                  <a:pt x="2" y="28"/>
                  <a:pt x="2" y="29"/>
                  <a:pt x="3" y="29"/>
                </a:cubicBezTo>
                <a:cubicBezTo>
                  <a:pt x="2" y="30"/>
                  <a:pt x="3" y="30"/>
                  <a:pt x="3" y="30"/>
                </a:cubicBezTo>
                <a:cubicBezTo>
                  <a:pt x="4" y="33"/>
                  <a:pt x="2" y="34"/>
                  <a:pt x="3" y="36"/>
                </a:cubicBezTo>
                <a:cubicBezTo>
                  <a:pt x="3" y="38"/>
                  <a:pt x="5" y="39"/>
                  <a:pt x="5" y="41"/>
                </a:cubicBezTo>
                <a:cubicBezTo>
                  <a:pt x="6" y="42"/>
                  <a:pt x="6" y="42"/>
                  <a:pt x="6" y="43"/>
                </a:cubicBezTo>
                <a:cubicBezTo>
                  <a:pt x="6" y="44"/>
                  <a:pt x="6" y="44"/>
                  <a:pt x="6" y="45"/>
                </a:cubicBezTo>
                <a:cubicBezTo>
                  <a:pt x="6" y="45"/>
                  <a:pt x="7" y="45"/>
                  <a:pt x="7" y="46"/>
                </a:cubicBezTo>
                <a:cubicBezTo>
                  <a:pt x="11" y="45"/>
                  <a:pt x="12" y="47"/>
                  <a:pt x="15" y="47"/>
                </a:cubicBezTo>
                <a:cubicBezTo>
                  <a:pt x="15" y="48"/>
                  <a:pt x="15" y="48"/>
                  <a:pt x="16" y="48"/>
                </a:cubicBezTo>
                <a:cubicBezTo>
                  <a:pt x="16" y="48"/>
                  <a:pt x="16" y="48"/>
                  <a:pt x="16" y="48"/>
                </a:cubicBezTo>
                <a:cubicBezTo>
                  <a:pt x="16" y="48"/>
                  <a:pt x="16" y="49"/>
                  <a:pt x="16" y="49"/>
                </a:cubicBezTo>
                <a:cubicBezTo>
                  <a:pt x="16" y="49"/>
                  <a:pt x="17" y="49"/>
                  <a:pt x="17" y="49"/>
                </a:cubicBezTo>
                <a:cubicBezTo>
                  <a:pt x="17" y="49"/>
                  <a:pt x="17" y="50"/>
                  <a:pt x="17" y="50"/>
                </a:cubicBezTo>
                <a:cubicBezTo>
                  <a:pt x="17" y="50"/>
                  <a:pt x="17" y="50"/>
                  <a:pt x="17" y="50"/>
                </a:cubicBezTo>
                <a:cubicBezTo>
                  <a:pt x="17" y="50"/>
                  <a:pt x="17" y="50"/>
                  <a:pt x="17" y="50"/>
                </a:cubicBezTo>
                <a:cubicBezTo>
                  <a:pt x="17" y="50"/>
                  <a:pt x="17" y="50"/>
                  <a:pt x="17" y="50"/>
                </a:cubicBezTo>
                <a:cubicBezTo>
                  <a:pt x="17" y="50"/>
                  <a:pt x="17" y="50"/>
                  <a:pt x="17" y="50"/>
                </a:cubicBezTo>
                <a:cubicBezTo>
                  <a:pt x="17" y="50"/>
                  <a:pt x="17" y="50"/>
                  <a:pt x="17" y="51"/>
                </a:cubicBezTo>
                <a:cubicBezTo>
                  <a:pt x="17" y="51"/>
                  <a:pt x="18" y="51"/>
                  <a:pt x="18" y="51"/>
                </a:cubicBezTo>
                <a:cubicBezTo>
                  <a:pt x="18" y="51"/>
                  <a:pt x="18" y="51"/>
                  <a:pt x="18" y="51"/>
                </a:cubicBezTo>
                <a:cubicBezTo>
                  <a:pt x="18" y="51"/>
                  <a:pt x="18" y="52"/>
                  <a:pt x="18" y="52"/>
                </a:cubicBezTo>
                <a:cubicBezTo>
                  <a:pt x="18" y="53"/>
                  <a:pt x="19" y="53"/>
                  <a:pt x="19" y="54"/>
                </a:cubicBezTo>
                <a:cubicBezTo>
                  <a:pt x="19" y="54"/>
                  <a:pt x="19" y="54"/>
                  <a:pt x="19" y="54"/>
                </a:cubicBezTo>
                <a:cubicBezTo>
                  <a:pt x="19" y="55"/>
                  <a:pt x="19" y="55"/>
                  <a:pt x="20" y="55"/>
                </a:cubicBezTo>
                <a:cubicBezTo>
                  <a:pt x="20" y="55"/>
                  <a:pt x="20" y="55"/>
                  <a:pt x="20" y="55"/>
                </a:cubicBezTo>
                <a:cubicBezTo>
                  <a:pt x="20" y="55"/>
                  <a:pt x="20" y="55"/>
                  <a:pt x="20" y="55"/>
                </a:cubicBezTo>
                <a:cubicBezTo>
                  <a:pt x="20" y="55"/>
                  <a:pt x="20" y="55"/>
                  <a:pt x="20" y="55"/>
                </a:cubicBezTo>
                <a:cubicBezTo>
                  <a:pt x="20" y="55"/>
                  <a:pt x="20" y="55"/>
                  <a:pt x="20" y="55"/>
                </a:cubicBezTo>
                <a:cubicBezTo>
                  <a:pt x="20" y="55"/>
                  <a:pt x="20" y="56"/>
                  <a:pt x="20" y="56"/>
                </a:cubicBezTo>
                <a:cubicBezTo>
                  <a:pt x="20" y="56"/>
                  <a:pt x="20" y="56"/>
                  <a:pt x="20" y="56"/>
                </a:cubicBezTo>
                <a:cubicBezTo>
                  <a:pt x="21" y="57"/>
                  <a:pt x="22" y="59"/>
                  <a:pt x="21" y="61"/>
                </a:cubicBezTo>
                <a:cubicBezTo>
                  <a:pt x="24" y="60"/>
                  <a:pt x="24" y="62"/>
                  <a:pt x="25" y="62"/>
                </a:cubicBezTo>
                <a:cubicBezTo>
                  <a:pt x="26" y="61"/>
                  <a:pt x="25" y="58"/>
                  <a:pt x="26" y="56"/>
                </a:cubicBezTo>
                <a:cubicBezTo>
                  <a:pt x="26" y="56"/>
                  <a:pt x="26" y="56"/>
                  <a:pt x="26" y="56"/>
                </a:cubicBezTo>
                <a:cubicBezTo>
                  <a:pt x="26" y="56"/>
                  <a:pt x="26" y="56"/>
                  <a:pt x="26" y="56"/>
                </a:cubicBezTo>
                <a:cubicBezTo>
                  <a:pt x="26" y="56"/>
                  <a:pt x="26" y="56"/>
                  <a:pt x="26" y="55"/>
                </a:cubicBezTo>
                <a:cubicBezTo>
                  <a:pt x="26" y="55"/>
                  <a:pt x="26" y="55"/>
                  <a:pt x="26" y="55"/>
                </a:cubicBezTo>
                <a:cubicBezTo>
                  <a:pt x="26" y="55"/>
                  <a:pt x="26" y="55"/>
                  <a:pt x="26" y="55"/>
                </a:cubicBezTo>
                <a:cubicBezTo>
                  <a:pt x="26" y="55"/>
                  <a:pt x="26" y="55"/>
                  <a:pt x="26" y="55"/>
                </a:cubicBezTo>
                <a:cubicBezTo>
                  <a:pt x="26" y="55"/>
                  <a:pt x="26" y="55"/>
                  <a:pt x="26" y="55"/>
                </a:cubicBezTo>
                <a:cubicBezTo>
                  <a:pt x="26" y="55"/>
                  <a:pt x="26" y="55"/>
                  <a:pt x="26" y="55"/>
                </a:cubicBezTo>
                <a:cubicBezTo>
                  <a:pt x="26" y="55"/>
                  <a:pt x="26" y="55"/>
                  <a:pt x="27" y="55"/>
                </a:cubicBezTo>
                <a:cubicBezTo>
                  <a:pt x="27" y="55"/>
                  <a:pt x="27" y="55"/>
                  <a:pt x="27" y="55"/>
                </a:cubicBezTo>
                <a:cubicBezTo>
                  <a:pt x="27" y="55"/>
                  <a:pt x="27" y="55"/>
                  <a:pt x="27" y="55"/>
                </a:cubicBezTo>
                <a:cubicBezTo>
                  <a:pt x="27" y="54"/>
                  <a:pt x="27" y="54"/>
                  <a:pt x="27" y="54"/>
                </a:cubicBezTo>
                <a:cubicBezTo>
                  <a:pt x="27" y="54"/>
                  <a:pt x="27" y="54"/>
                  <a:pt x="27" y="54"/>
                </a:cubicBezTo>
                <a:cubicBezTo>
                  <a:pt x="27" y="54"/>
                  <a:pt x="27" y="54"/>
                  <a:pt x="27" y="54"/>
                </a:cubicBezTo>
                <a:cubicBezTo>
                  <a:pt x="27" y="54"/>
                  <a:pt x="27" y="54"/>
                  <a:pt x="27" y="54"/>
                </a:cubicBezTo>
                <a:cubicBezTo>
                  <a:pt x="29" y="53"/>
                  <a:pt x="30" y="53"/>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2" y="51"/>
                </a:cubicBezTo>
                <a:cubicBezTo>
                  <a:pt x="32" y="51"/>
                  <a:pt x="32" y="51"/>
                  <a:pt x="32" y="51"/>
                </a:cubicBezTo>
                <a:cubicBezTo>
                  <a:pt x="32" y="51"/>
                  <a:pt x="32" y="51"/>
                  <a:pt x="32" y="51"/>
                </a:cubicBezTo>
                <a:cubicBezTo>
                  <a:pt x="33" y="50"/>
                  <a:pt x="33" y="49"/>
                  <a:pt x="35" y="49"/>
                </a:cubicBezTo>
                <a:cubicBezTo>
                  <a:pt x="35" y="49"/>
                  <a:pt x="35" y="49"/>
                  <a:pt x="35" y="49"/>
                </a:cubicBezTo>
                <a:cubicBezTo>
                  <a:pt x="35" y="49"/>
                  <a:pt x="35" y="49"/>
                  <a:pt x="35" y="49"/>
                </a:cubicBezTo>
                <a:cubicBezTo>
                  <a:pt x="36" y="49"/>
                  <a:pt x="36" y="49"/>
                  <a:pt x="36" y="49"/>
                </a:cubicBezTo>
                <a:cubicBezTo>
                  <a:pt x="36" y="49"/>
                  <a:pt x="36" y="48"/>
                  <a:pt x="36" y="48"/>
                </a:cubicBezTo>
                <a:cubicBezTo>
                  <a:pt x="36" y="48"/>
                  <a:pt x="36" y="48"/>
                  <a:pt x="36" y="48"/>
                </a:cubicBezTo>
                <a:cubicBezTo>
                  <a:pt x="36" y="47"/>
                  <a:pt x="38" y="46"/>
                  <a:pt x="39" y="46"/>
                </a:cubicBezTo>
                <a:cubicBezTo>
                  <a:pt x="39" y="46"/>
                  <a:pt x="39" y="46"/>
                  <a:pt x="40" y="46"/>
                </a:cubicBezTo>
                <a:cubicBezTo>
                  <a:pt x="40" y="46"/>
                  <a:pt x="40" y="46"/>
                  <a:pt x="40" y="46"/>
                </a:cubicBezTo>
                <a:cubicBezTo>
                  <a:pt x="40" y="46"/>
                  <a:pt x="40" y="46"/>
                  <a:pt x="40" y="46"/>
                </a:cubicBezTo>
                <a:cubicBezTo>
                  <a:pt x="40" y="46"/>
                  <a:pt x="40" y="46"/>
                  <a:pt x="40" y="46"/>
                </a:cubicBezTo>
                <a:cubicBezTo>
                  <a:pt x="40" y="46"/>
                  <a:pt x="40" y="46"/>
                  <a:pt x="40" y="46"/>
                </a:cubicBezTo>
                <a:cubicBezTo>
                  <a:pt x="40" y="46"/>
                  <a:pt x="40" y="46"/>
                  <a:pt x="40" y="46"/>
                </a:cubicBezTo>
                <a:cubicBezTo>
                  <a:pt x="41" y="46"/>
                  <a:pt x="41" y="46"/>
                  <a:pt x="41" y="46"/>
                </a:cubicBezTo>
                <a:cubicBezTo>
                  <a:pt x="41" y="46"/>
                  <a:pt x="41" y="46"/>
                  <a:pt x="41" y="46"/>
                </a:cubicBezTo>
                <a:cubicBezTo>
                  <a:pt x="41" y="46"/>
                  <a:pt x="41" y="46"/>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2" y="47"/>
                  <a:pt x="42" y="48"/>
                  <a:pt x="44" y="48"/>
                </a:cubicBezTo>
                <a:cubicBezTo>
                  <a:pt x="44" y="47"/>
                  <a:pt x="45" y="47"/>
                  <a:pt x="45" y="46"/>
                </a:cubicBezTo>
                <a:cubicBezTo>
                  <a:pt x="45" y="45"/>
                  <a:pt x="46" y="44"/>
                  <a:pt x="46" y="44"/>
                </a:cubicBezTo>
                <a:cubicBezTo>
                  <a:pt x="47" y="44"/>
                  <a:pt x="48" y="43"/>
                  <a:pt x="49" y="43"/>
                </a:cubicBezTo>
                <a:cubicBezTo>
                  <a:pt x="50" y="42"/>
                  <a:pt x="53" y="42"/>
                  <a:pt x="54" y="41"/>
                </a:cubicBezTo>
                <a:cubicBezTo>
                  <a:pt x="55" y="41"/>
                  <a:pt x="55" y="41"/>
                  <a:pt x="55" y="41"/>
                </a:cubicBezTo>
                <a:cubicBezTo>
                  <a:pt x="55" y="40"/>
                  <a:pt x="55" y="40"/>
                  <a:pt x="55" y="40"/>
                </a:cubicBezTo>
                <a:cubicBezTo>
                  <a:pt x="55" y="40"/>
                  <a:pt x="55" y="40"/>
                  <a:pt x="54" y="40"/>
                </a:cubicBezTo>
                <a:cubicBezTo>
                  <a:pt x="54" y="39"/>
                  <a:pt x="54" y="38"/>
                  <a:pt x="53" y="38"/>
                </a:cubicBezTo>
                <a:cubicBezTo>
                  <a:pt x="54" y="37"/>
                  <a:pt x="55" y="37"/>
                  <a:pt x="55" y="36"/>
                </a:cubicBezTo>
                <a:cubicBezTo>
                  <a:pt x="56" y="36"/>
                  <a:pt x="55" y="35"/>
                  <a:pt x="56" y="35"/>
                </a:cubicBezTo>
                <a:cubicBezTo>
                  <a:pt x="56" y="33"/>
                  <a:pt x="57" y="32"/>
                  <a:pt x="57" y="29"/>
                </a:cubicBezTo>
                <a:cubicBezTo>
                  <a:pt x="58" y="29"/>
                  <a:pt x="57" y="28"/>
                  <a:pt x="58" y="28"/>
                </a:cubicBezTo>
                <a:cubicBezTo>
                  <a:pt x="58" y="27"/>
                  <a:pt x="59" y="27"/>
                  <a:pt x="59" y="26"/>
                </a:cubicBezTo>
                <a:cubicBezTo>
                  <a:pt x="61" y="27"/>
                  <a:pt x="59" y="24"/>
                  <a:pt x="60" y="23"/>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8" name="Freeform 66"/>
          <p:cNvSpPr>
            <a:spLocks noEditPoints="1"/>
          </p:cNvSpPr>
          <p:nvPr/>
        </p:nvSpPr>
        <p:spPr bwMode="auto">
          <a:xfrm>
            <a:off x="5421604" y="2799065"/>
            <a:ext cx="638175" cy="642938"/>
          </a:xfrm>
          <a:custGeom>
            <a:avLst/>
            <a:gdLst>
              <a:gd name="T0" fmla="*/ 12 w 165"/>
              <a:gd name="T1" fmla="*/ 119 h 166"/>
              <a:gd name="T2" fmla="*/ 22 w 165"/>
              <a:gd name="T3" fmla="*/ 162 h 166"/>
              <a:gd name="T4" fmla="*/ 107 w 165"/>
              <a:gd name="T5" fmla="*/ 2 h 166"/>
              <a:gd name="T6" fmla="*/ 93 w 165"/>
              <a:gd name="T7" fmla="*/ 14 h 166"/>
              <a:gd name="T8" fmla="*/ 158 w 165"/>
              <a:gd name="T9" fmla="*/ 47 h 166"/>
              <a:gd name="T10" fmla="*/ 158 w 165"/>
              <a:gd name="T11" fmla="*/ 21 h 166"/>
              <a:gd name="T12" fmla="*/ 127 w 165"/>
              <a:gd name="T13" fmla="*/ 21 h 166"/>
              <a:gd name="T14" fmla="*/ 128 w 165"/>
              <a:gd name="T15" fmla="*/ 9 h 166"/>
              <a:gd name="T16" fmla="*/ 117 w 165"/>
              <a:gd name="T17" fmla="*/ 21 h 166"/>
              <a:gd name="T18" fmla="*/ 120 w 165"/>
              <a:gd name="T19" fmla="*/ 7 h 166"/>
              <a:gd name="T20" fmla="*/ 112 w 165"/>
              <a:gd name="T21" fmla="*/ 9 h 166"/>
              <a:gd name="T22" fmla="*/ 107 w 165"/>
              <a:gd name="T23" fmla="*/ 8 h 166"/>
              <a:gd name="T24" fmla="*/ 100 w 165"/>
              <a:gd name="T25" fmla="*/ 9 h 166"/>
              <a:gd name="T26" fmla="*/ 90 w 165"/>
              <a:gd name="T27" fmla="*/ 23 h 166"/>
              <a:gd name="T28" fmla="*/ 90 w 165"/>
              <a:gd name="T29" fmla="*/ 35 h 166"/>
              <a:gd name="T30" fmla="*/ 86 w 165"/>
              <a:gd name="T31" fmla="*/ 45 h 166"/>
              <a:gd name="T32" fmla="*/ 68 w 165"/>
              <a:gd name="T33" fmla="*/ 39 h 166"/>
              <a:gd name="T34" fmla="*/ 51 w 165"/>
              <a:gd name="T35" fmla="*/ 33 h 166"/>
              <a:gd name="T36" fmla="*/ 48 w 165"/>
              <a:gd name="T37" fmla="*/ 48 h 166"/>
              <a:gd name="T38" fmla="*/ 51 w 165"/>
              <a:gd name="T39" fmla="*/ 56 h 166"/>
              <a:gd name="T40" fmla="*/ 42 w 165"/>
              <a:gd name="T41" fmla="*/ 65 h 166"/>
              <a:gd name="T42" fmla="*/ 35 w 165"/>
              <a:gd name="T43" fmla="*/ 67 h 166"/>
              <a:gd name="T44" fmla="*/ 40 w 165"/>
              <a:gd name="T45" fmla="*/ 74 h 166"/>
              <a:gd name="T46" fmla="*/ 42 w 165"/>
              <a:gd name="T47" fmla="*/ 80 h 166"/>
              <a:gd name="T48" fmla="*/ 52 w 165"/>
              <a:gd name="T49" fmla="*/ 87 h 166"/>
              <a:gd name="T50" fmla="*/ 45 w 165"/>
              <a:gd name="T51" fmla="*/ 92 h 166"/>
              <a:gd name="T52" fmla="*/ 34 w 165"/>
              <a:gd name="T53" fmla="*/ 105 h 166"/>
              <a:gd name="T54" fmla="*/ 36 w 165"/>
              <a:gd name="T55" fmla="*/ 108 h 166"/>
              <a:gd name="T56" fmla="*/ 51 w 165"/>
              <a:gd name="T57" fmla="*/ 110 h 166"/>
              <a:gd name="T58" fmla="*/ 37 w 165"/>
              <a:gd name="T59" fmla="*/ 115 h 166"/>
              <a:gd name="T60" fmla="*/ 20 w 165"/>
              <a:gd name="T61" fmla="*/ 126 h 166"/>
              <a:gd name="T62" fmla="*/ 6 w 165"/>
              <a:gd name="T63" fmla="*/ 134 h 166"/>
              <a:gd name="T64" fmla="*/ 8 w 165"/>
              <a:gd name="T65" fmla="*/ 142 h 166"/>
              <a:gd name="T66" fmla="*/ 12 w 165"/>
              <a:gd name="T67" fmla="*/ 146 h 166"/>
              <a:gd name="T68" fmla="*/ 3 w 165"/>
              <a:gd name="T69" fmla="*/ 151 h 166"/>
              <a:gd name="T70" fmla="*/ 23 w 165"/>
              <a:gd name="T71" fmla="*/ 149 h 166"/>
              <a:gd name="T72" fmla="*/ 15 w 165"/>
              <a:gd name="T73" fmla="*/ 157 h 166"/>
              <a:gd name="T74" fmla="*/ 24 w 165"/>
              <a:gd name="T75" fmla="*/ 162 h 166"/>
              <a:gd name="T76" fmla="*/ 42 w 165"/>
              <a:gd name="T77" fmla="*/ 165 h 166"/>
              <a:gd name="T78" fmla="*/ 55 w 165"/>
              <a:gd name="T79" fmla="*/ 153 h 166"/>
              <a:gd name="T80" fmla="*/ 63 w 165"/>
              <a:gd name="T81" fmla="*/ 159 h 166"/>
              <a:gd name="T82" fmla="*/ 79 w 165"/>
              <a:gd name="T83" fmla="*/ 153 h 166"/>
              <a:gd name="T84" fmla="*/ 97 w 165"/>
              <a:gd name="T85" fmla="*/ 150 h 166"/>
              <a:gd name="T86" fmla="*/ 107 w 165"/>
              <a:gd name="T87" fmla="*/ 153 h 166"/>
              <a:gd name="T88" fmla="*/ 120 w 165"/>
              <a:gd name="T89" fmla="*/ 141 h 166"/>
              <a:gd name="T90" fmla="*/ 123 w 165"/>
              <a:gd name="T91" fmla="*/ 135 h 166"/>
              <a:gd name="T92" fmla="*/ 129 w 165"/>
              <a:gd name="T93" fmla="*/ 127 h 166"/>
              <a:gd name="T94" fmla="*/ 134 w 165"/>
              <a:gd name="T95" fmla="*/ 106 h 166"/>
              <a:gd name="T96" fmla="*/ 138 w 165"/>
              <a:gd name="T97" fmla="*/ 95 h 166"/>
              <a:gd name="T98" fmla="*/ 137 w 165"/>
              <a:gd name="T99" fmla="*/ 83 h 166"/>
              <a:gd name="T100" fmla="*/ 148 w 165"/>
              <a:gd name="T101" fmla="*/ 72 h 166"/>
              <a:gd name="T102" fmla="*/ 157 w 165"/>
              <a:gd name="T103" fmla="*/ 62 h 166"/>
              <a:gd name="T104" fmla="*/ 164 w 165"/>
              <a:gd name="T105" fmla="*/ 51 h 166"/>
              <a:gd name="T106" fmla="*/ 44 w 165"/>
              <a:gd name="T107" fmla="*/ 40 h 166"/>
              <a:gd name="T108" fmla="*/ 42 w 165"/>
              <a:gd name="T109" fmla="*/ 41 h 166"/>
              <a:gd name="T110" fmla="*/ 34 w 165"/>
              <a:gd name="T111" fmla="*/ 60 h 166"/>
              <a:gd name="T112" fmla="*/ 38 w 165"/>
              <a:gd name="T113" fmla="*/ 58 h 166"/>
              <a:gd name="T114" fmla="*/ 44 w 165"/>
              <a:gd name="T115" fmla="*/ 5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66">
                <a:moveTo>
                  <a:pt x="10" y="126"/>
                </a:moveTo>
                <a:cubicBezTo>
                  <a:pt x="11" y="126"/>
                  <a:pt x="12" y="125"/>
                  <a:pt x="14" y="126"/>
                </a:cubicBezTo>
                <a:cubicBezTo>
                  <a:pt x="15" y="126"/>
                  <a:pt x="14" y="127"/>
                  <a:pt x="15" y="127"/>
                </a:cubicBezTo>
                <a:cubicBezTo>
                  <a:pt x="15" y="127"/>
                  <a:pt x="15" y="127"/>
                  <a:pt x="15" y="128"/>
                </a:cubicBezTo>
                <a:cubicBezTo>
                  <a:pt x="16" y="128"/>
                  <a:pt x="16" y="129"/>
                  <a:pt x="17" y="129"/>
                </a:cubicBezTo>
                <a:cubicBezTo>
                  <a:pt x="18" y="127"/>
                  <a:pt x="19" y="127"/>
                  <a:pt x="19" y="124"/>
                </a:cubicBezTo>
                <a:cubicBezTo>
                  <a:pt x="20" y="123"/>
                  <a:pt x="18" y="123"/>
                  <a:pt x="18" y="122"/>
                </a:cubicBezTo>
                <a:cubicBezTo>
                  <a:pt x="18" y="121"/>
                  <a:pt x="17" y="121"/>
                  <a:pt x="17" y="120"/>
                </a:cubicBezTo>
                <a:cubicBezTo>
                  <a:pt x="16" y="120"/>
                  <a:pt x="11" y="123"/>
                  <a:pt x="12" y="119"/>
                </a:cubicBezTo>
                <a:cubicBezTo>
                  <a:pt x="9" y="119"/>
                  <a:pt x="7" y="120"/>
                  <a:pt x="5" y="121"/>
                </a:cubicBezTo>
                <a:cubicBezTo>
                  <a:pt x="5" y="121"/>
                  <a:pt x="5" y="122"/>
                  <a:pt x="4" y="122"/>
                </a:cubicBezTo>
                <a:cubicBezTo>
                  <a:pt x="5" y="125"/>
                  <a:pt x="0" y="122"/>
                  <a:pt x="1" y="125"/>
                </a:cubicBezTo>
                <a:cubicBezTo>
                  <a:pt x="3" y="125"/>
                  <a:pt x="5" y="125"/>
                  <a:pt x="8" y="125"/>
                </a:cubicBezTo>
                <a:cubicBezTo>
                  <a:pt x="8" y="126"/>
                  <a:pt x="10" y="125"/>
                  <a:pt x="10" y="126"/>
                </a:cubicBezTo>
                <a:close/>
                <a:moveTo>
                  <a:pt x="17" y="166"/>
                </a:moveTo>
                <a:cubicBezTo>
                  <a:pt x="19" y="166"/>
                  <a:pt x="20" y="166"/>
                  <a:pt x="20" y="164"/>
                </a:cubicBezTo>
                <a:cubicBezTo>
                  <a:pt x="18" y="164"/>
                  <a:pt x="17" y="164"/>
                  <a:pt x="17" y="166"/>
                </a:cubicBezTo>
                <a:close/>
                <a:moveTo>
                  <a:pt x="22" y="162"/>
                </a:moveTo>
                <a:cubicBezTo>
                  <a:pt x="21" y="162"/>
                  <a:pt x="21" y="163"/>
                  <a:pt x="21" y="163"/>
                </a:cubicBezTo>
                <a:cubicBezTo>
                  <a:pt x="21" y="163"/>
                  <a:pt x="21" y="164"/>
                  <a:pt x="21" y="164"/>
                </a:cubicBezTo>
                <a:cubicBezTo>
                  <a:pt x="23" y="165"/>
                  <a:pt x="23" y="162"/>
                  <a:pt x="22" y="162"/>
                </a:cubicBezTo>
                <a:close/>
                <a:moveTo>
                  <a:pt x="139" y="100"/>
                </a:moveTo>
                <a:cubicBezTo>
                  <a:pt x="139" y="100"/>
                  <a:pt x="139" y="99"/>
                  <a:pt x="139" y="99"/>
                </a:cubicBezTo>
                <a:cubicBezTo>
                  <a:pt x="140" y="98"/>
                  <a:pt x="138" y="98"/>
                  <a:pt x="137" y="98"/>
                </a:cubicBezTo>
                <a:cubicBezTo>
                  <a:pt x="137" y="99"/>
                  <a:pt x="137" y="100"/>
                  <a:pt x="139" y="100"/>
                </a:cubicBezTo>
                <a:close/>
                <a:moveTo>
                  <a:pt x="104" y="2"/>
                </a:moveTo>
                <a:cubicBezTo>
                  <a:pt x="105" y="2"/>
                  <a:pt x="106" y="3"/>
                  <a:pt x="107" y="2"/>
                </a:cubicBezTo>
                <a:cubicBezTo>
                  <a:pt x="105" y="1"/>
                  <a:pt x="105" y="1"/>
                  <a:pt x="104" y="0"/>
                </a:cubicBezTo>
                <a:cubicBezTo>
                  <a:pt x="104" y="1"/>
                  <a:pt x="103" y="1"/>
                  <a:pt x="103" y="1"/>
                </a:cubicBezTo>
                <a:cubicBezTo>
                  <a:pt x="103" y="1"/>
                  <a:pt x="103" y="2"/>
                  <a:pt x="103" y="2"/>
                </a:cubicBezTo>
                <a:cubicBezTo>
                  <a:pt x="103" y="2"/>
                  <a:pt x="104" y="2"/>
                  <a:pt x="104" y="2"/>
                </a:cubicBezTo>
                <a:close/>
                <a:moveTo>
                  <a:pt x="95" y="14"/>
                </a:moveTo>
                <a:cubicBezTo>
                  <a:pt x="95" y="13"/>
                  <a:pt x="95" y="13"/>
                  <a:pt x="95" y="12"/>
                </a:cubicBezTo>
                <a:cubicBezTo>
                  <a:pt x="94" y="12"/>
                  <a:pt x="94" y="12"/>
                  <a:pt x="93" y="12"/>
                </a:cubicBezTo>
                <a:cubicBezTo>
                  <a:pt x="93" y="12"/>
                  <a:pt x="93" y="12"/>
                  <a:pt x="93" y="12"/>
                </a:cubicBezTo>
                <a:cubicBezTo>
                  <a:pt x="93" y="13"/>
                  <a:pt x="93" y="14"/>
                  <a:pt x="93" y="14"/>
                </a:cubicBezTo>
                <a:cubicBezTo>
                  <a:pt x="94" y="14"/>
                  <a:pt x="94" y="14"/>
                  <a:pt x="95" y="14"/>
                </a:cubicBezTo>
                <a:close/>
                <a:moveTo>
                  <a:pt x="164" y="51"/>
                </a:moveTo>
                <a:cubicBezTo>
                  <a:pt x="163" y="50"/>
                  <a:pt x="162" y="50"/>
                  <a:pt x="162" y="49"/>
                </a:cubicBezTo>
                <a:cubicBezTo>
                  <a:pt x="161" y="49"/>
                  <a:pt x="160" y="49"/>
                  <a:pt x="160" y="48"/>
                </a:cubicBezTo>
                <a:cubicBezTo>
                  <a:pt x="159" y="48"/>
                  <a:pt x="158" y="49"/>
                  <a:pt x="157" y="50"/>
                </a:cubicBezTo>
                <a:cubicBezTo>
                  <a:pt x="156" y="50"/>
                  <a:pt x="155" y="50"/>
                  <a:pt x="155" y="49"/>
                </a:cubicBezTo>
                <a:cubicBezTo>
                  <a:pt x="154" y="48"/>
                  <a:pt x="155" y="48"/>
                  <a:pt x="155" y="48"/>
                </a:cubicBezTo>
                <a:cubicBezTo>
                  <a:pt x="156" y="48"/>
                  <a:pt x="156" y="47"/>
                  <a:pt x="156" y="47"/>
                </a:cubicBezTo>
                <a:cubicBezTo>
                  <a:pt x="157" y="47"/>
                  <a:pt x="158" y="47"/>
                  <a:pt x="158" y="47"/>
                </a:cubicBezTo>
                <a:cubicBezTo>
                  <a:pt x="158" y="47"/>
                  <a:pt x="158" y="46"/>
                  <a:pt x="159" y="46"/>
                </a:cubicBezTo>
                <a:cubicBezTo>
                  <a:pt x="160" y="45"/>
                  <a:pt x="161" y="45"/>
                  <a:pt x="162" y="44"/>
                </a:cubicBezTo>
                <a:cubicBezTo>
                  <a:pt x="162" y="42"/>
                  <a:pt x="159" y="44"/>
                  <a:pt x="160" y="41"/>
                </a:cubicBezTo>
                <a:cubicBezTo>
                  <a:pt x="159" y="41"/>
                  <a:pt x="160" y="41"/>
                  <a:pt x="159" y="40"/>
                </a:cubicBezTo>
                <a:cubicBezTo>
                  <a:pt x="159" y="40"/>
                  <a:pt x="159" y="40"/>
                  <a:pt x="159" y="39"/>
                </a:cubicBezTo>
                <a:cubicBezTo>
                  <a:pt x="159" y="38"/>
                  <a:pt x="158" y="38"/>
                  <a:pt x="158" y="37"/>
                </a:cubicBezTo>
                <a:cubicBezTo>
                  <a:pt x="158" y="34"/>
                  <a:pt x="158" y="30"/>
                  <a:pt x="158" y="27"/>
                </a:cubicBezTo>
                <a:cubicBezTo>
                  <a:pt x="158" y="26"/>
                  <a:pt x="158" y="26"/>
                  <a:pt x="159" y="26"/>
                </a:cubicBezTo>
                <a:cubicBezTo>
                  <a:pt x="159" y="24"/>
                  <a:pt x="158" y="22"/>
                  <a:pt x="158" y="21"/>
                </a:cubicBezTo>
                <a:cubicBezTo>
                  <a:pt x="157" y="20"/>
                  <a:pt x="155" y="20"/>
                  <a:pt x="153" y="20"/>
                </a:cubicBezTo>
                <a:cubicBezTo>
                  <a:pt x="153" y="19"/>
                  <a:pt x="153" y="19"/>
                  <a:pt x="153" y="18"/>
                </a:cubicBezTo>
                <a:cubicBezTo>
                  <a:pt x="152" y="18"/>
                  <a:pt x="152" y="18"/>
                  <a:pt x="152" y="18"/>
                </a:cubicBezTo>
                <a:cubicBezTo>
                  <a:pt x="151" y="17"/>
                  <a:pt x="149" y="17"/>
                  <a:pt x="148" y="16"/>
                </a:cubicBezTo>
                <a:cubicBezTo>
                  <a:pt x="146" y="18"/>
                  <a:pt x="142" y="17"/>
                  <a:pt x="139" y="18"/>
                </a:cubicBezTo>
                <a:cubicBezTo>
                  <a:pt x="138" y="18"/>
                  <a:pt x="138" y="16"/>
                  <a:pt x="136" y="16"/>
                </a:cubicBezTo>
                <a:cubicBezTo>
                  <a:pt x="135" y="17"/>
                  <a:pt x="135" y="19"/>
                  <a:pt x="133" y="19"/>
                </a:cubicBezTo>
                <a:cubicBezTo>
                  <a:pt x="132" y="20"/>
                  <a:pt x="132" y="21"/>
                  <a:pt x="130" y="21"/>
                </a:cubicBezTo>
                <a:cubicBezTo>
                  <a:pt x="129" y="21"/>
                  <a:pt x="128" y="21"/>
                  <a:pt x="127" y="21"/>
                </a:cubicBezTo>
                <a:cubicBezTo>
                  <a:pt x="127" y="21"/>
                  <a:pt x="127" y="21"/>
                  <a:pt x="127" y="21"/>
                </a:cubicBezTo>
                <a:cubicBezTo>
                  <a:pt x="127" y="21"/>
                  <a:pt x="127" y="20"/>
                  <a:pt x="127" y="20"/>
                </a:cubicBezTo>
                <a:cubicBezTo>
                  <a:pt x="129" y="20"/>
                  <a:pt x="128" y="18"/>
                  <a:pt x="131" y="18"/>
                </a:cubicBezTo>
                <a:cubicBezTo>
                  <a:pt x="131" y="17"/>
                  <a:pt x="132" y="17"/>
                  <a:pt x="133" y="16"/>
                </a:cubicBezTo>
                <a:cubicBezTo>
                  <a:pt x="134" y="16"/>
                  <a:pt x="136" y="16"/>
                  <a:pt x="136" y="15"/>
                </a:cubicBezTo>
                <a:cubicBezTo>
                  <a:pt x="136" y="12"/>
                  <a:pt x="134" y="12"/>
                  <a:pt x="133" y="10"/>
                </a:cubicBezTo>
                <a:cubicBezTo>
                  <a:pt x="132" y="9"/>
                  <a:pt x="132" y="7"/>
                  <a:pt x="131" y="6"/>
                </a:cubicBezTo>
                <a:cubicBezTo>
                  <a:pt x="129" y="6"/>
                  <a:pt x="129" y="5"/>
                  <a:pt x="127" y="5"/>
                </a:cubicBezTo>
                <a:cubicBezTo>
                  <a:pt x="127" y="7"/>
                  <a:pt x="128" y="7"/>
                  <a:pt x="128" y="9"/>
                </a:cubicBezTo>
                <a:cubicBezTo>
                  <a:pt x="130" y="8"/>
                  <a:pt x="130" y="11"/>
                  <a:pt x="129" y="11"/>
                </a:cubicBezTo>
                <a:cubicBezTo>
                  <a:pt x="130" y="9"/>
                  <a:pt x="127" y="10"/>
                  <a:pt x="127" y="8"/>
                </a:cubicBezTo>
                <a:cubicBezTo>
                  <a:pt x="125" y="9"/>
                  <a:pt x="126" y="7"/>
                  <a:pt x="124" y="7"/>
                </a:cubicBezTo>
                <a:cubicBezTo>
                  <a:pt x="123" y="8"/>
                  <a:pt x="123" y="9"/>
                  <a:pt x="121" y="9"/>
                </a:cubicBezTo>
                <a:cubicBezTo>
                  <a:pt x="121" y="12"/>
                  <a:pt x="122" y="13"/>
                  <a:pt x="122" y="16"/>
                </a:cubicBezTo>
                <a:cubicBezTo>
                  <a:pt x="121" y="17"/>
                  <a:pt x="121" y="17"/>
                  <a:pt x="120" y="18"/>
                </a:cubicBezTo>
                <a:cubicBezTo>
                  <a:pt x="120" y="19"/>
                  <a:pt x="120" y="19"/>
                  <a:pt x="119" y="20"/>
                </a:cubicBezTo>
                <a:cubicBezTo>
                  <a:pt x="119" y="20"/>
                  <a:pt x="119" y="20"/>
                  <a:pt x="119" y="20"/>
                </a:cubicBezTo>
                <a:cubicBezTo>
                  <a:pt x="118" y="21"/>
                  <a:pt x="118" y="19"/>
                  <a:pt x="117" y="21"/>
                </a:cubicBezTo>
                <a:cubicBezTo>
                  <a:pt x="117" y="21"/>
                  <a:pt x="117" y="21"/>
                  <a:pt x="117" y="21"/>
                </a:cubicBezTo>
                <a:cubicBezTo>
                  <a:pt x="117" y="21"/>
                  <a:pt x="117" y="21"/>
                  <a:pt x="117" y="20"/>
                </a:cubicBezTo>
                <a:cubicBezTo>
                  <a:pt x="117" y="20"/>
                  <a:pt x="117" y="20"/>
                  <a:pt x="117" y="20"/>
                </a:cubicBezTo>
                <a:cubicBezTo>
                  <a:pt x="117" y="19"/>
                  <a:pt x="118" y="20"/>
                  <a:pt x="118" y="19"/>
                </a:cubicBezTo>
                <a:cubicBezTo>
                  <a:pt x="118" y="19"/>
                  <a:pt x="118" y="19"/>
                  <a:pt x="118" y="19"/>
                </a:cubicBezTo>
                <a:cubicBezTo>
                  <a:pt x="119" y="19"/>
                  <a:pt x="119" y="18"/>
                  <a:pt x="119" y="17"/>
                </a:cubicBezTo>
                <a:cubicBezTo>
                  <a:pt x="120" y="17"/>
                  <a:pt x="120" y="16"/>
                  <a:pt x="121" y="16"/>
                </a:cubicBezTo>
                <a:cubicBezTo>
                  <a:pt x="121" y="14"/>
                  <a:pt x="120" y="14"/>
                  <a:pt x="120" y="12"/>
                </a:cubicBezTo>
                <a:cubicBezTo>
                  <a:pt x="120" y="10"/>
                  <a:pt x="122" y="9"/>
                  <a:pt x="120" y="7"/>
                </a:cubicBezTo>
                <a:cubicBezTo>
                  <a:pt x="118" y="7"/>
                  <a:pt x="116" y="8"/>
                  <a:pt x="116" y="10"/>
                </a:cubicBezTo>
                <a:cubicBezTo>
                  <a:pt x="116" y="13"/>
                  <a:pt x="119" y="11"/>
                  <a:pt x="118" y="14"/>
                </a:cubicBezTo>
                <a:cubicBezTo>
                  <a:pt x="118" y="15"/>
                  <a:pt x="117" y="15"/>
                  <a:pt x="116" y="16"/>
                </a:cubicBezTo>
                <a:cubicBezTo>
                  <a:pt x="117" y="13"/>
                  <a:pt x="116" y="13"/>
                  <a:pt x="115" y="12"/>
                </a:cubicBezTo>
                <a:cubicBezTo>
                  <a:pt x="116" y="11"/>
                  <a:pt x="115" y="10"/>
                  <a:pt x="116" y="9"/>
                </a:cubicBezTo>
                <a:cubicBezTo>
                  <a:pt x="116" y="8"/>
                  <a:pt x="116" y="7"/>
                  <a:pt x="115" y="7"/>
                </a:cubicBezTo>
                <a:cubicBezTo>
                  <a:pt x="114" y="9"/>
                  <a:pt x="114" y="9"/>
                  <a:pt x="113" y="10"/>
                </a:cubicBezTo>
                <a:cubicBezTo>
                  <a:pt x="113" y="11"/>
                  <a:pt x="115" y="12"/>
                  <a:pt x="113" y="12"/>
                </a:cubicBezTo>
                <a:cubicBezTo>
                  <a:pt x="113" y="11"/>
                  <a:pt x="113" y="10"/>
                  <a:pt x="112" y="9"/>
                </a:cubicBezTo>
                <a:cubicBezTo>
                  <a:pt x="111" y="8"/>
                  <a:pt x="111" y="7"/>
                  <a:pt x="111" y="6"/>
                </a:cubicBezTo>
                <a:cubicBezTo>
                  <a:pt x="111" y="6"/>
                  <a:pt x="111" y="6"/>
                  <a:pt x="111" y="6"/>
                </a:cubicBezTo>
                <a:cubicBezTo>
                  <a:pt x="110" y="6"/>
                  <a:pt x="110" y="6"/>
                  <a:pt x="109" y="6"/>
                </a:cubicBezTo>
                <a:cubicBezTo>
                  <a:pt x="109" y="6"/>
                  <a:pt x="109" y="6"/>
                  <a:pt x="109" y="6"/>
                </a:cubicBezTo>
                <a:cubicBezTo>
                  <a:pt x="109" y="6"/>
                  <a:pt x="109" y="7"/>
                  <a:pt x="109" y="7"/>
                </a:cubicBezTo>
                <a:cubicBezTo>
                  <a:pt x="109" y="7"/>
                  <a:pt x="109" y="7"/>
                  <a:pt x="109" y="7"/>
                </a:cubicBezTo>
                <a:cubicBezTo>
                  <a:pt x="109" y="8"/>
                  <a:pt x="109" y="7"/>
                  <a:pt x="108" y="8"/>
                </a:cubicBezTo>
                <a:cubicBezTo>
                  <a:pt x="108" y="8"/>
                  <a:pt x="108" y="8"/>
                  <a:pt x="108" y="8"/>
                </a:cubicBezTo>
                <a:cubicBezTo>
                  <a:pt x="108" y="8"/>
                  <a:pt x="108" y="8"/>
                  <a:pt x="107" y="8"/>
                </a:cubicBezTo>
                <a:cubicBezTo>
                  <a:pt x="107" y="8"/>
                  <a:pt x="107" y="8"/>
                  <a:pt x="107" y="8"/>
                </a:cubicBezTo>
                <a:cubicBezTo>
                  <a:pt x="106" y="8"/>
                  <a:pt x="107" y="10"/>
                  <a:pt x="106" y="9"/>
                </a:cubicBezTo>
                <a:cubicBezTo>
                  <a:pt x="106" y="9"/>
                  <a:pt x="106" y="9"/>
                  <a:pt x="106" y="9"/>
                </a:cubicBezTo>
                <a:cubicBezTo>
                  <a:pt x="106" y="9"/>
                  <a:pt x="106" y="9"/>
                  <a:pt x="106" y="9"/>
                </a:cubicBezTo>
                <a:cubicBezTo>
                  <a:pt x="106" y="9"/>
                  <a:pt x="106" y="9"/>
                  <a:pt x="106" y="9"/>
                </a:cubicBezTo>
                <a:cubicBezTo>
                  <a:pt x="106" y="8"/>
                  <a:pt x="105" y="9"/>
                  <a:pt x="105" y="8"/>
                </a:cubicBezTo>
                <a:cubicBezTo>
                  <a:pt x="105" y="8"/>
                  <a:pt x="104" y="8"/>
                  <a:pt x="104" y="8"/>
                </a:cubicBezTo>
                <a:cubicBezTo>
                  <a:pt x="104" y="8"/>
                  <a:pt x="103" y="8"/>
                  <a:pt x="102" y="8"/>
                </a:cubicBezTo>
                <a:cubicBezTo>
                  <a:pt x="101" y="9"/>
                  <a:pt x="101" y="9"/>
                  <a:pt x="100" y="9"/>
                </a:cubicBezTo>
                <a:cubicBezTo>
                  <a:pt x="100" y="10"/>
                  <a:pt x="100" y="11"/>
                  <a:pt x="100" y="11"/>
                </a:cubicBezTo>
                <a:cubicBezTo>
                  <a:pt x="99" y="11"/>
                  <a:pt x="98" y="12"/>
                  <a:pt x="97" y="12"/>
                </a:cubicBezTo>
                <a:cubicBezTo>
                  <a:pt x="97" y="13"/>
                  <a:pt x="97" y="13"/>
                  <a:pt x="97" y="13"/>
                </a:cubicBezTo>
                <a:cubicBezTo>
                  <a:pt x="96" y="14"/>
                  <a:pt x="95" y="15"/>
                  <a:pt x="95" y="16"/>
                </a:cubicBezTo>
                <a:cubicBezTo>
                  <a:pt x="94" y="18"/>
                  <a:pt x="95" y="19"/>
                  <a:pt x="95" y="21"/>
                </a:cubicBezTo>
                <a:cubicBezTo>
                  <a:pt x="95" y="21"/>
                  <a:pt x="95" y="21"/>
                  <a:pt x="95" y="21"/>
                </a:cubicBezTo>
                <a:cubicBezTo>
                  <a:pt x="94" y="21"/>
                  <a:pt x="94" y="20"/>
                  <a:pt x="94" y="20"/>
                </a:cubicBezTo>
                <a:cubicBezTo>
                  <a:pt x="91" y="20"/>
                  <a:pt x="91" y="20"/>
                  <a:pt x="91" y="20"/>
                </a:cubicBezTo>
                <a:cubicBezTo>
                  <a:pt x="90" y="21"/>
                  <a:pt x="91" y="23"/>
                  <a:pt x="90" y="23"/>
                </a:cubicBezTo>
                <a:cubicBezTo>
                  <a:pt x="88" y="23"/>
                  <a:pt x="87" y="22"/>
                  <a:pt x="86" y="23"/>
                </a:cubicBezTo>
                <a:cubicBezTo>
                  <a:pt x="86" y="23"/>
                  <a:pt x="86" y="23"/>
                  <a:pt x="85" y="23"/>
                </a:cubicBezTo>
                <a:cubicBezTo>
                  <a:pt x="84" y="23"/>
                  <a:pt x="83" y="24"/>
                  <a:pt x="83" y="25"/>
                </a:cubicBezTo>
                <a:cubicBezTo>
                  <a:pt x="83" y="25"/>
                  <a:pt x="83" y="25"/>
                  <a:pt x="83" y="25"/>
                </a:cubicBezTo>
                <a:cubicBezTo>
                  <a:pt x="82" y="28"/>
                  <a:pt x="85" y="27"/>
                  <a:pt x="84" y="30"/>
                </a:cubicBezTo>
                <a:cubicBezTo>
                  <a:pt x="85" y="29"/>
                  <a:pt x="86" y="30"/>
                  <a:pt x="86" y="31"/>
                </a:cubicBezTo>
                <a:cubicBezTo>
                  <a:pt x="89" y="31"/>
                  <a:pt x="89" y="31"/>
                  <a:pt x="89" y="31"/>
                </a:cubicBezTo>
                <a:cubicBezTo>
                  <a:pt x="89" y="32"/>
                  <a:pt x="90" y="32"/>
                  <a:pt x="91" y="32"/>
                </a:cubicBezTo>
                <a:cubicBezTo>
                  <a:pt x="90" y="33"/>
                  <a:pt x="90" y="34"/>
                  <a:pt x="90" y="35"/>
                </a:cubicBezTo>
                <a:cubicBezTo>
                  <a:pt x="91" y="35"/>
                  <a:pt x="91" y="35"/>
                  <a:pt x="91" y="34"/>
                </a:cubicBezTo>
                <a:cubicBezTo>
                  <a:pt x="92" y="34"/>
                  <a:pt x="92" y="34"/>
                  <a:pt x="93" y="33"/>
                </a:cubicBezTo>
                <a:cubicBezTo>
                  <a:pt x="94" y="34"/>
                  <a:pt x="96" y="32"/>
                  <a:pt x="96" y="34"/>
                </a:cubicBezTo>
                <a:cubicBezTo>
                  <a:pt x="95" y="35"/>
                  <a:pt x="95" y="37"/>
                  <a:pt x="94" y="37"/>
                </a:cubicBezTo>
                <a:cubicBezTo>
                  <a:pt x="91" y="37"/>
                  <a:pt x="91" y="37"/>
                  <a:pt x="91" y="37"/>
                </a:cubicBezTo>
                <a:cubicBezTo>
                  <a:pt x="90" y="37"/>
                  <a:pt x="89" y="39"/>
                  <a:pt x="87" y="38"/>
                </a:cubicBezTo>
                <a:cubicBezTo>
                  <a:pt x="87" y="39"/>
                  <a:pt x="86" y="38"/>
                  <a:pt x="86" y="39"/>
                </a:cubicBezTo>
                <a:cubicBezTo>
                  <a:pt x="83" y="40"/>
                  <a:pt x="81" y="40"/>
                  <a:pt x="81" y="42"/>
                </a:cubicBezTo>
                <a:cubicBezTo>
                  <a:pt x="81" y="45"/>
                  <a:pt x="86" y="42"/>
                  <a:pt x="86" y="45"/>
                </a:cubicBezTo>
                <a:cubicBezTo>
                  <a:pt x="84" y="45"/>
                  <a:pt x="83" y="45"/>
                  <a:pt x="82" y="46"/>
                </a:cubicBezTo>
                <a:cubicBezTo>
                  <a:pt x="81" y="47"/>
                  <a:pt x="84" y="49"/>
                  <a:pt x="82" y="49"/>
                </a:cubicBezTo>
                <a:cubicBezTo>
                  <a:pt x="81" y="49"/>
                  <a:pt x="81" y="49"/>
                  <a:pt x="81" y="48"/>
                </a:cubicBezTo>
                <a:cubicBezTo>
                  <a:pt x="80" y="48"/>
                  <a:pt x="80" y="46"/>
                  <a:pt x="80" y="46"/>
                </a:cubicBezTo>
                <a:cubicBezTo>
                  <a:pt x="79" y="45"/>
                  <a:pt x="78" y="45"/>
                  <a:pt x="77" y="45"/>
                </a:cubicBezTo>
                <a:cubicBezTo>
                  <a:pt x="76" y="43"/>
                  <a:pt x="75" y="41"/>
                  <a:pt x="72" y="41"/>
                </a:cubicBezTo>
                <a:cubicBezTo>
                  <a:pt x="71" y="42"/>
                  <a:pt x="69" y="42"/>
                  <a:pt x="70" y="44"/>
                </a:cubicBezTo>
                <a:cubicBezTo>
                  <a:pt x="69" y="43"/>
                  <a:pt x="68" y="46"/>
                  <a:pt x="68" y="44"/>
                </a:cubicBezTo>
                <a:cubicBezTo>
                  <a:pt x="68" y="42"/>
                  <a:pt x="68" y="41"/>
                  <a:pt x="68" y="39"/>
                </a:cubicBezTo>
                <a:cubicBezTo>
                  <a:pt x="67" y="38"/>
                  <a:pt x="66" y="38"/>
                  <a:pt x="65" y="37"/>
                </a:cubicBezTo>
                <a:cubicBezTo>
                  <a:pt x="63" y="37"/>
                  <a:pt x="62" y="36"/>
                  <a:pt x="61" y="36"/>
                </a:cubicBezTo>
                <a:cubicBezTo>
                  <a:pt x="61" y="36"/>
                  <a:pt x="61" y="36"/>
                  <a:pt x="61" y="36"/>
                </a:cubicBezTo>
                <a:cubicBezTo>
                  <a:pt x="61" y="35"/>
                  <a:pt x="60" y="35"/>
                  <a:pt x="60" y="35"/>
                </a:cubicBezTo>
                <a:cubicBezTo>
                  <a:pt x="60" y="35"/>
                  <a:pt x="60" y="35"/>
                  <a:pt x="60" y="35"/>
                </a:cubicBezTo>
                <a:cubicBezTo>
                  <a:pt x="58" y="34"/>
                  <a:pt x="57" y="34"/>
                  <a:pt x="56" y="34"/>
                </a:cubicBezTo>
                <a:cubicBezTo>
                  <a:pt x="56" y="34"/>
                  <a:pt x="56" y="34"/>
                  <a:pt x="56" y="34"/>
                </a:cubicBezTo>
                <a:cubicBezTo>
                  <a:pt x="56" y="33"/>
                  <a:pt x="55" y="33"/>
                  <a:pt x="54" y="33"/>
                </a:cubicBezTo>
                <a:cubicBezTo>
                  <a:pt x="53" y="33"/>
                  <a:pt x="52" y="33"/>
                  <a:pt x="51" y="33"/>
                </a:cubicBezTo>
                <a:cubicBezTo>
                  <a:pt x="51" y="33"/>
                  <a:pt x="51" y="34"/>
                  <a:pt x="51" y="34"/>
                </a:cubicBezTo>
                <a:cubicBezTo>
                  <a:pt x="51" y="34"/>
                  <a:pt x="51" y="35"/>
                  <a:pt x="51" y="35"/>
                </a:cubicBezTo>
                <a:cubicBezTo>
                  <a:pt x="50" y="36"/>
                  <a:pt x="49" y="37"/>
                  <a:pt x="48" y="38"/>
                </a:cubicBezTo>
                <a:cubicBezTo>
                  <a:pt x="48" y="39"/>
                  <a:pt x="47" y="39"/>
                  <a:pt x="47" y="40"/>
                </a:cubicBezTo>
                <a:cubicBezTo>
                  <a:pt x="46" y="40"/>
                  <a:pt x="46" y="41"/>
                  <a:pt x="45" y="41"/>
                </a:cubicBezTo>
                <a:cubicBezTo>
                  <a:pt x="45" y="43"/>
                  <a:pt x="48" y="42"/>
                  <a:pt x="47" y="45"/>
                </a:cubicBezTo>
                <a:cubicBezTo>
                  <a:pt x="46" y="45"/>
                  <a:pt x="46" y="46"/>
                  <a:pt x="46" y="46"/>
                </a:cubicBezTo>
                <a:cubicBezTo>
                  <a:pt x="47" y="46"/>
                  <a:pt x="46" y="47"/>
                  <a:pt x="47" y="48"/>
                </a:cubicBezTo>
                <a:cubicBezTo>
                  <a:pt x="47" y="48"/>
                  <a:pt x="48" y="48"/>
                  <a:pt x="48" y="48"/>
                </a:cubicBezTo>
                <a:cubicBezTo>
                  <a:pt x="49" y="49"/>
                  <a:pt x="50" y="50"/>
                  <a:pt x="49" y="50"/>
                </a:cubicBezTo>
                <a:cubicBezTo>
                  <a:pt x="48" y="49"/>
                  <a:pt x="48" y="49"/>
                  <a:pt x="47" y="49"/>
                </a:cubicBezTo>
                <a:cubicBezTo>
                  <a:pt x="46" y="48"/>
                  <a:pt x="46" y="49"/>
                  <a:pt x="45" y="49"/>
                </a:cubicBezTo>
                <a:cubicBezTo>
                  <a:pt x="45" y="51"/>
                  <a:pt x="45" y="52"/>
                  <a:pt x="46" y="52"/>
                </a:cubicBezTo>
                <a:cubicBezTo>
                  <a:pt x="46" y="52"/>
                  <a:pt x="46" y="53"/>
                  <a:pt x="46" y="53"/>
                </a:cubicBezTo>
                <a:cubicBezTo>
                  <a:pt x="47" y="53"/>
                  <a:pt x="49" y="54"/>
                  <a:pt x="50" y="53"/>
                </a:cubicBezTo>
                <a:cubicBezTo>
                  <a:pt x="50" y="53"/>
                  <a:pt x="50" y="54"/>
                  <a:pt x="50" y="54"/>
                </a:cubicBezTo>
                <a:cubicBezTo>
                  <a:pt x="51" y="55"/>
                  <a:pt x="52" y="55"/>
                  <a:pt x="52" y="56"/>
                </a:cubicBezTo>
                <a:cubicBezTo>
                  <a:pt x="52" y="56"/>
                  <a:pt x="51" y="56"/>
                  <a:pt x="51" y="56"/>
                </a:cubicBezTo>
                <a:cubicBezTo>
                  <a:pt x="51" y="57"/>
                  <a:pt x="51" y="57"/>
                  <a:pt x="50" y="58"/>
                </a:cubicBezTo>
                <a:cubicBezTo>
                  <a:pt x="50" y="56"/>
                  <a:pt x="49" y="58"/>
                  <a:pt x="48" y="58"/>
                </a:cubicBezTo>
                <a:cubicBezTo>
                  <a:pt x="47" y="57"/>
                  <a:pt x="46" y="56"/>
                  <a:pt x="45" y="56"/>
                </a:cubicBezTo>
                <a:cubicBezTo>
                  <a:pt x="44" y="57"/>
                  <a:pt x="41" y="56"/>
                  <a:pt x="41" y="58"/>
                </a:cubicBezTo>
                <a:cubicBezTo>
                  <a:pt x="41" y="59"/>
                  <a:pt x="41" y="59"/>
                  <a:pt x="40" y="59"/>
                </a:cubicBezTo>
                <a:cubicBezTo>
                  <a:pt x="40" y="61"/>
                  <a:pt x="41" y="61"/>
                  <a:pt x="41" y="62"/>
                </a:cubicBezTo>
                <a:cubicBezTo>
                  <a:pt x="42" y="62"/>
                  <a:pt x="42" y="62"/>
                  <a:pt x="42" y="62"/>
                </a:cubicBezTo>
                <a:cubicBezTo>
                  <a:pt x="42" y="63"/>
                  <a:pt x="43" y="64"/>
                  <a:pt x="42" y="65"/>
                </a:cubicBezTo>
                <a:cubicBezTo>
                  <a:pt x="42" y="65"/>
                  <a:pt x="42" y="65"/>
                  <a:pt x="42" y="65"/>
                </a:cubicBezTo>
                <a:cubicBezTo>
                  <a:pt x="42" y="64"/>
                  <a:pt x="40" y="65"/>
                  <a:pt x="40" y="63"/>
                </a:cubicBezTo>
                <a:cubicBezTo>
                  <a:pt x="38" y="63"/>
                  <a:pt x="39" y="61"/>
                  <a:pt x="37" y="62"/>
                </a:cubicBezTo>
                <a:cubicBezTo>
                  <a:pt x="37" y="63"/>
                  <a:pt x="37" y="64"/>
                  <a:pt x="36" y="64"/>
                </a:cubicBezTo>
                <a:cubicBezTo>
                  <a:pt x="36" y="63"/>
                  <a:pt x="34" y="63"/>
                  <a:pt x="34" y="64"/>
                </a:cubicBezTo>
                <a:cubicBezTo>
                  <a:pt x="35" y="64"/>
                  <a:pt x="34" y="64"/>
                  <a:pt x="34" y="64"/>
                </a:cubicBezTo>
                <a:cubicBezTo>
                  <a:pt x="33" y="64"/>
                  <a:pt x="34" y="63"/>
                  <a:pt x="33" y="63"/>
                </a:cubicBezTo>
                <a:cubicBezTo>
                  <a:pt x="32" y="63"/>
                  <a:pt x="31" y="63"/>
                  <a:pt x="31" y="64"/>
                </a:cubicBezTo>
                <a:cubicBezTo>
                  <a:pt x="32" y="64"/>
                  <a:pt x="33" y="65"/>
                  <a:pt x="33" y="67"/>
                </a:cubicBezTo>
                <a:cubicBezTo>
                  <a:pt x="33" y="67"/>
                  <a:pt x="34" y="67"/>
                  <a:pt x="35" y="67"/>
                </a:cubicBezTo>
                <a:cubicBezTo>
                  <a:pt x="35" y="67"/>
                  <a:pt x="35" y="68"/>
                  <a:pt x="35" y="69"/>
                </a:cubicBezTo>
                <a:cubicBezTo>
                  <a:pt x="34" y="68"/>
                  <a:pt x="34" y="69"/>
                  <a:pt x="33" y="69"/>
                </a:cubicBezTo>
                <a:cubicBezTo>
                  <a:pt x="32" y="69"/>
                  <a:pt x="31" y="70"/>
                  <a:pt x="31" y="70"/>
                </a:cubicBezTo>
                <a:cubicBezTo>
                  <a:pt x="31" y="70"/>
                  <a:pt x="31" y="70"/>
                  <a:pt x="31" y="69"/>
                </a:cubicBezTo>
                <a:cubicBezTo>
                  <a:pt x="29" y="69"/>
                  <a:pt x="29" y="70"/>
                  <a:pt x="29" y="71"/>
                </a:cubicBezTo>
                <a:cubicBezTo>
                  <a:pt x="29" y="72"/>
                  <a:pt x="31" y="71"/>
                  <a:pt x="32" y="71"/>
                </a:cubicBezTo>
                <a:cubicBezTo>
                  <a:pt x="32" y="72"/>
                  <a:pt x="33" y="73"/>
                  <a:pt x="33" y="74"/>
                </a:cubicBezTo>
                <a:cubicBezTo>
                  <a:pt x="35" y="75"/>
                  <a:pt x="35" y="73"/>
                  <a:pt x="37" y="74"/>
                </a:cubicBezTo>
                <a:cubicBezTo>
                  <a:pt x="38" y="74"/>
                  <a:pt x="40" y="73"/>
                  <a:pt x="40" y="74"/>
                </a:cubicBezTo>
                <a:cubicBezTo>
                  <a:pt x="38" y="74"/>
                  <a:pt x="37" y="75"/>
                  <a:pt x="37" y="76"/>
                </a:cubicBezTo>
                <a:cubicBezTo>
                  <a:pt x="36" y="76"/>
                  <a:pt x="35" y="76"/>
                  <a:pt x="35" y="77"/>
                </a:cubicBezTo>
                <a:cubicBezTo>
                  <a:pt x="36" y="77"/>
                  <a:pt x="35" y="78"/>
                  <a:pt x="35" y="79"/>
                </a:cubicBezTo>
                <a:cubicBezTo>
                  <a:pt x="36" y="79"/>
                  <a:pt x="37" y="79"/>
                  <a:pt x="38" y="79"/>
                </a:cubicBezTo>
                <a:cubicBezTo>
                  <a:pt x="38" y="79"/>
                  <a:pt x="38" y="79"/>
                  <a:pt x="38" y="79"/>
                </a:cubicBezTo>
                <a:cubicBezTo>
                  <a:pt x="40" y="79"/>
                  <a:pt x="40" y="78"/>
                  <a:pt x="42" y="78"/>
                </a:cubicBezTo>
                <a:cubicBezTo>
                  <a:pt x="43" y="78"/>
                  <a:pt x="43" y="78"/>
                  <a:pt x="44" y="78"/>
                </a:cubicBezTo>
                <a:cubicBezTo>
                  <a:pt x="44" y="79"/>
                  <a:pt x="42" y="79"/>
                  <a:pt x="41" y="79"/>
                </a:cubicBezTo>
                <a:cubicBezTo>
                  <a:pt x="41" y="80"/>
                  <a:pt x="42" y="80"/>
                  <a:pt x="42" y="80"/>
                </a:cubicBezTo>
                <a:cubicBezTo>
                  <a:pt x="42" y="82"/>
                  <a:pt x="43" y="82"/>
                  <a:pt x="43" y="83"/>
                </a:cubicBezTo>
                <a:cubicBezTo>
                  <a:pt x="43" y="83"/>
                  <a:pt x="44" y="82"/>
                  <a:pt x="45" y="83"/>
                </a:cubicBezTo>
                <a:cubicBezTo>
                  <a:pt x="45" y="83"/>
                  <a:pt x="45" y="83"/>
                  <a:pt x="45" y="83"/>
                </a:cubicBezTo>
                <a:cubicBezTo>
                  <a:pt x="45" y="83"/>
                  <a:pt x="45" y="83"/>
                  <a:pt x="45" y="83"/>
                </a:cubicBezTo>
                <a:cubicBezTo>
                  <a:pt x="45" y="84"/>
                  <a:pt x="45" y="84"/>
                  <a:pt x="45" y="84"/>
                </a:cubicBezTo>
                <a:cubicBezTo>
                  <a:pt x="45" y="84"/>
                  <a:pt x="45" y="84"/>
                  <a:pt x="45" y="85"/>
                </a:cubicBezTo>
                <a:cubicBezTo>
                  <a:pt x="45" y="87"/>
                  <a:pt x="48" y="85"/>
                  <a:pt x="49" y="86"/>
                </a:cubicBezTo>
                <a:cubicBezTo>
                  <a:pt x="49" y="86"/>
                  <a:pt x="49" y="86"/>
                  <a:pt x="49" y="86"/>
                </a:cubicBezTo>
                <a:cubicBezTo>
                  <a:pt x="50" y="86"/>
                  <a:pt x="51" y="87"/>
                  <a:pt x="52" y="87"/>
                </a:cubicBezTo>
                <a:cubicBezTo>
                  <a:pt x="53" y="87"/>
                  <a:pt x="55" y="87"/>
                  <a:pt x="56" y="87"/>
                </a:cubicBezTo>
                <a:cubicBezTo>
                  <a:pt x="57" y="87"/>
                  <a:pt x="58" y="86"/>
                  <a:pt x="58" y="87"/>
                </a:cubicBezTo>
                <a:cubicBezTo>
                  <a:pt x="58" y="88"/>
                  <a:pt x="58" y="89"/>
                  <a:pt x="58" y="91"/>
                </a:cubicBezTo>
                <a:cubicBezTo>
                  <a:pt x="57" y="91"/>
                  <a:pt x="57" y="90"/>
                  <a:pt x="56" y="90"/>
                </a:cubicBezTo>
                <a:cubicBezTo>
                  <a:pt x="56" y="91"/>
                  <a:pt x="54" y="91"/>
                  <a:pt x="54" y="91"/>
                </a:cubicBezTo>
                <a:cubicBezTo>
                  <a:pt x="53" y="91"/>
                  <a:pt x="53" y="91"/>
                  <a:pt x="53" y="90"/>
                </a:cubicBezTo>
                <a:cubicBezTo>
                  <a:pt x="51" y="90"/>
                  <a:pt x="50" y="89"/>
                  <a:pt x="48" y="89"/>
                </a:cubicBezTo>
                <a:cubicBezTo>
                  <a:pt x="48" y="89"/>
                  <a:pt x="47" y="90"/>
                  <a:pt x="47" y="91"/>
                </a:cubicBezTo>
                <a:cubicBezTo>
                  <a:pt x="46" y="91"/>
                  <a:pt x="46" y="92"/>
                  <a:pt x="45" y="92"/>
                </a:cubicBezTo>
                <a:cubicBezTo>
                  <a:pt x="46" y="93"/>
                  <a:pt x="44" y="93"/>
                  <a:pt x="45" y="95"/>
                </a:cubicBezTo>
                <a:cubicBezTo>
                  <a:pt x="43" y="96"/>
                  <a:pt x="42" y="97"/>
                  <a:pt x="42" y="98"/>
                </a:cubicBezTo>
                <a:cubicBezTo>
                  <a:pt x="42" y="98"/>
                  <a:pt x="43" y="98"/>
                  <a:pt x="44" y="99"/>
                </a:cubicBezTo>
                <a:cubicBezTo>
                  <a:pt x="44" y="99"/>
                  <a:pt x="44" y="99"/>
                  <a:pt x="44" y="99"/>
                </a:cubicBezTo>
                <a:cubicBezTo>
                  <a:pt x="43" y="99"/>
                  <a:pt x="43" y="101"/>
                  <a:pt x="41" y="101"/>
                </a:cubicBezTo>
                <a:cubicBezTo>
                  <a:pt x="41" y="101"/>
                  <a:pt x="41" y="101"/>
                  <a:pt x="41" y="101"/>
                </a:cubicBezTo>
                <a:cubicBezTo>
                  <a:pt x="41" y="101"/>
                  <a:pt x="41" y="101"/>
                  <a:pt x="41" y="101"/>
                </a:cubicBezTo>
                <a:cubicBezTo>
                  <a:pt x="40" y="102"/>
                  <a:pt x="40" y="103"/>
                  <a:pt x="38" y="103"/>
                </a:cubicBezTo>
                <a:cubicBezTo>
                  <a:pt x="37" y="104"/>
                  <a:pt x="36" y="105"/>
                  <a:pt x="34" y="105"/>
                </a:cubicBezTo>
                <a:cubicBezTo>
                  <a:pt x="34" y="105"/>
                  <a:pt x="34" y="106"/>
                  <a:pt x="33" y="106"/>
                </a:cubicBezTo>
                <a:cubicBezTo>
                  <a:pt x="30" y="107"/>
                  <a:pt x="27" y="110"/>
                  <a:pt x="22" y="110"/>
                </a:cubicBezTo>
                <a:cubicBezTo>
                  <a:pt x="22" y="111"/>
                  <a:pt x="23" y="111"/>
                  <a:pt x="24" y="111"/>
                </a:cubicBezTo>
                <a:cubicBezTo>
                  <a:pt x="24" y="112"/>
                  <a:pt x="25" y="112"/>
                  <a:pt x="26" y="112"/>
                </a:cubicBezTo>
                <a:cubicBezTo>
                  <a:pt x="27" y="112"/>
                  <a:pt x="29" y="112"/>
                  <a:pt x="31" y="112"/>
                </a:cubicBezTo>
                <a:cubicBezTo>
                  <a:pt x="31" y="111"/>
                  <a:pt x="31" y="111"/>
                  <a:pt x="32" y="111"/>
                </a:cubicBezTo>
                <a:cubicBezTo>
                  <a:pt x="32" y="110"/>
                  <a:pt x="34" y="110"/>
                  <a:pt x="34" y="109"/>
                </a:cubicBezTo>
                <a:cubicBezTo>
                  <a:pt x="35" y="109"/>
                  <a:pt x="35" y="108"/>
                  <a:pt x="35" y="108"/>
                </a:cubicBezTo>
                <a:cubicBezTo>
                  <a:pt x="35" y="108"/>
                  <a:pt x="36" y="108"/>
                  <a:pt x="36" y="108"/>
                </a:cubicBezTo>
                <a:cubicBezTo>
                  <a:pt x="36" y="109"/>
                  <a:pt x="36" y="110"/>
                  <a:pt x="36" y="111"/>
                </a:cubicBezTo>
                <a:cubicBezTo>
                  <a:pt x="37" y="111"/>
                  <a:pt x="38" y="112"/>
                  <a:pt x="39" y="113"/>
                </a:cubicBezTo>
                <a:cubicBezTo>
                  <a:pt x="41" y="113"/>
                  <a:pt x="41" y="112"/>
                  <a:pt x="42" y="112"/>
                </a:cubicBezTo>
                <a:cubicBezTo>
                  <a:pt x="43" y="113"/>
                  <a:pt x="40" y="113"/>
                  <a:pt x="40" y="114"/>
                </a:cubicBezTo>
                <a:cubicBezTo>
                  <a:pt x="43" y="114"/>
                  <a:pt x="44" y="113"/>
                  <a:pt x="47" y="113"/>
                </a:cubicBezTo>
                <a:cubicBezTo>
                  <a:pt x="47" y="112"/>
                  <a:pt x="48" y="112"/>
                  <a:pt x="48" y="111"/>
                </a:cubicBezTo>
                <a:cubicBezTo>
                  <a:pt x="48" y="110"/>
                  <a:pt x="49" y="110"/>
                  <a:pt x="49" y="109"/>
                </a:cubicBezTo>
                <a:cubicBezTo>
                  <a:pt x="50" y="108"/>
                  <a:pt x="53" y="108"/>
                  <a:pt x="53" y="110"/>
                </a:cubicBezTo>
                <a:cubicBezTo>
                  <a:pt x="53" y="110"/>
                  <a:pt x="52" y="110"/>
                  <a:pt x="51" y="110"/>
                </a:cubicBezTo>
                <a:cubicBezTo>
                  <a:pt x="51" y="111"/>
                  <a:pt x="51" y="111"/>
                  <a:pt x="51" y="112"/>
                </a:cubicBezTo>
                <a:cubicBezTo>
                  <a:pt x="53" y="112"/>
                  <a:pt x="54" y="112"/>
                  <a:pt x="54" y="114"/>
                </a:cubicBezTo>
                <a:cubicBezTo>
                  <a:pt x="55" y="114"/>
                  <a:pt x="56" y="114"/>
                  <a:pt x="56" y="115"/>
                </a:cubicBezTo>
                <a:cubicBezTo>
                  <a:pt x="57" y="115"/>
                  <a:pt x="58" y="115"/>
                  <a:pt x="58" y="115"/>
                </a:cubicBezTo>
                <a:cubicBezTo>
                  <a:pt x="58" y="115"/>
                  <a:pt x="59" y="116"/>
                  <a:pt x="58" y="117"/>
                </a:cubicBezTo>
                <a:cubicBezTo>
                  <a:pt x="58" y="117"/>
                  <a:pt x="58" y="116"/>
                  <a:pt x="58" y="115"/>
                </a:cubicBezTo>
                <a:cubicBezTo>
                  <a:pt x="57" y="115"/>
                  <a:pt x="56" y="115"/>
                  <a:pt x="56" y="115"/>
                </a:cubicBezTo>
                <a:cubicBezTo>
                  <a:pt x="50" y="114"/>
                  <a:pt x="46" y="116"/>
                  <a:pt x="40" y="115"/>
                </a:cubicBezTo>
                <a:cubicBezTo>
                  <a:pt x="40" y="115"/>
                  <a:pt x="38" y="114"/>
                  <a:pt x="37" y="115"/>
                </a:cubicBezTo>
                <a:cubicBezTo>
                  <a:pt x="36" y="114"/>
                  <a:pt x="37" y="112"/>
                  <a:pt x="35" y="113"/>
                </a:cubicBezTo>
                <a:cubicBezTo>
                  <a:pt x="32" y="112"/>
                  <a:pt x="32" y="113"/>
                  <a:pt x="31" y="114"/>
                </a:cubicBezTo>
                <a:cubicBezTo>
                  <a:pt x="31" y="114"/>
                  <a:pt x="30" y="115"/>
                  <a:pt x="30" y="115"/>
                </a:cubicBezTo>
                <a:cubicBezTo>
                  <a:pt x="29" y="115"/>
                  <a:pt x="28" y="116"/>
                  <a:pt x="27" y="116"/>
                </a:cubicBezTo>
                <a:cubicBezTo>
                  <a:pt x="25" y="117"/>
                  <a:pt x="23" y="115"/>
                  <a:pt x="22" y="116"/>
                </a:cubicBezTo>
                <a:cubicBezTo>
                  <a:pt x="22" y="117"/>
                  <a:pt x="23" y="118"/>
                  <a:pt x="24" y="118"/>
                </a:cubicBezTo>
                <a:cubicBezTo>
                  <a:pt x="24" y="119"/>
                  <a:pt x="24" y="120"/>
                  <a:pt x="24" y="121"/>
                </a:cubicBezTo>
                <a:cubicBezTo>
                  <a:pt x="23" y="122"/>
                  <a:pt x="22" y="122"/>
                  <a:pt x="22" y="124"/>
                </a:cubicBezTo>
                <a:cubicBezTo>
                  <a:pt x="21" y="124"/>
                  <a:pt x="20" y="125"/>
                  <a:pt x="20" y="126"/>
                </a:cubicBezTo>
                <a:cubicBezTo>
                  <a:pt x="20" y="127"/>
                  <a:pt x="20" y="128"/>
                  <a:pt x="20" y="129"/>
                </a:cubicBezTo>
                <a:cubicBezTo>
                  <a:pt x="21" y="128"/>
                  <a:pt x="21" y="129"/>
                  <a:pt x="22" y="129"/>
                </a:cubicBezTo>
                <a:cubicBezTo>
                  <a:pt x="19" y="130"/>
                  <a:pt x="18" y="131"/>
                  <a:pt x="15" y="131"/>
                </a:cubicBezTo>
                <a:cubicBezTo>
                  <a:pt x="15" y="131"/>
                  <a:pt x="15" y="131"/>
                  <a:pt x="15" y="131"/>
                </a:cubicBezTo>
                <a:cubicBezTo>
                  <a:pt x="13" y="131"/>
                  <a:pt x="13" y="132"/>
                  <a:pt x="11" y="132"/>
                </a:cubicBezTo>
                <a:cubicBezTo>
                  <a:pt x="11" y="132"/>
                  <a:pt x="11" y="132"/>
                  <a:pt x="11" y="132"/>
                </a:cubicBezTo>
                <a:cubicBezTo>
                  <a:pt x="10" y="132"/>
                  <a:pt x="8" y="132"/>
                  <a:pt x="7" y="132"/>
                </a:cubicBezTo>
                <a:cubicBezTo>
                  <a:pt x="7" y="133"/>
                  <a:pt x="6" y="133"/>
                  <a:pt x="6" y="133"/>
                </a:cubicBezTo>
                <a:cubicBezTo>
                  <a:pt x="6" y="134"/>
                  <a:pt x="6" y="134"/>
                  <a:pt x="6" y="134"/>
                </a:cubicBezTo>
                <a:cubicBezTo>
                  <a:pt x="3" y="134"/>
                  <a:pt x="4" y="137"/>
                  <a:pt x="1" y="136"/>
                </a:cubicBezTo>
                <a:cubicBezTo>
                  <a:pt x="1" y="136"/>
                  <a:pt x="1" y="137"/>
                  <a:pt x="1" y="137"/>
                </a:cubicBezTo>
                <a:cubicBezTo>
                  <a:pt x="1" y="137"/>
                  <a:pt x="1" y="137"/>
                  <a:pt x="2" y="137"/>
                </a:cubicBezTo>
                <a:cubicBezTo>
                  <a:pt x="3" y="138"/>
                  <a:pt x="2" y="140"/>
                  <a:pt x="4" y="139"/>
                </a:cubicBezTo>
                <a:cubicBezTo>
                  <a:pt x="4" y="139"/>
                  <a:pt x="4" y="139"/>
                  <a:pt x="4" y="140"/>
                </a:cubicBezTo>
                <a:cubicBezTo>
                  <a:pt x="5" y="140"/>
                  <a:pt x="6" y="140"/>
                  <a:pt x="5" y="141"/>
                </a:cubicBezTo>
                <a:cubicBezTo>
                  <a:pt x="6" y="141"/>
                  <a:pt x="6" y="141"/>
                  <a:pt x="6" y="141"/>
                </a:cubicBezTo>
                <a:cubicBezTo>
                  <a:pt x="6" y="142"/>
                  <a:pt x="6" y="142"/>
                  <a:pt x="7" y="142"/>
                </a:cubicBezTo>
                <a:cubicBezTo>
                  <a:pt x="7" y="142"/>
                  <a:pt x="7" y="142"/>
                  <a:pt x="8" y="142"/>
                </a:cubicBezTo>
                <a:cubicBezTo>
                  <a:pt x="8" y="142"/>
                  <a:pt x="8" y="143"/>
                  <a:pt x="8" y="143"/>
                </a:cubicBezTo>
                <a:cubicBezTo>
                  <a:pt x="12" y="143"/>
                  <a:pt x="15" y="143"/>
                  <a:pt x="19" y="143"/>
                </a:cubicBezTo>
                <a:cubicBezTo>
                  <a:pt x="20" y="144"/>
                  <a:pt x="22" y="141"/>
                  <a:pt x="22" y="143"/>
                </a:cubicBezTo>
                <a:cubicBezTo>
                  <a:pt x="21" y="144"/>
                  <a:pt x="19" y="144"/>
                  <a:pt x="17" y="144"/>
                </a:cubicBezTo>
                <a:cubicBezTo>
                  <a:pt x="17" y="144"/>
                  <a:pt x="17" y="144"/>
                  <a:pt x="17" y="144"/>
                </a:cubicBezTo>
                <a:cubicBezTo>
                  <a:pt x="17" y="144"/>
                  <a:pt x="17" y="144"/>
                  <a:pt x="16" y="144"/>
                </a:cubicBezTo>
                <a:cubicBezTo>
                  <a:pt x="15" y="144"/>
                  <a:pt x="15" y="145"/>
                  <a:pt x="15" y="145"/>
                </a:cubicBezTo>
                <a:cubicBezTo>
                  <a:pt x="14" y="145"/>
                  <a:pt x="14" y="145"/>
                  <a:pt x="14" y="145"/>
                </a:cubicBezTo>
                <a:cubicBezTo>
                  <a:pt x="13" y="145"/>
                  <a:pt x="13" y="147"/>
                  <a:pt x="12" y="146"/>
                </a:cubicBezTo>
                <a:cubicBezTo>
                  <a:pt x="11" y="146"/>
                  <a:pt x="11" y="146"/>
                  <a:pt x="11" y="146"/>
                </a:cubicBezTo>
                <a:cubicBezTo>
                  <a:pt x="10" y="146"/>
                  <a:pt x="10" y="147"/>
                  <a:pt x="9" y="147"/>
                </a:cubicBezTo>
                <a:cubicBezTo>
                  <a:pt x="9" y="147"/>
                  <a:pt x="9" y="147"/>
                  <a:pt x="9" y="147"/>
                </a:cubicBezTo>
                <a:cubicBezTo>
                  <a:pt x="7" y="147"/>
                  <a:pt x="7" y="149"/>
                  <a:pt x="6" y="150"/>
                </a:cubicBezTo>
                <a:cubicBezTo>
                  <a:pt x="6" y="150"/>
                  <a:pt x="6" y="150"/>
                  <a:pt x="6" y="150"/>
                </a:cubicBezTo>
                <a:cubicBezTo>
                  <a:pt x="6" y="150"/>
                  <a:pt x="6" y="150"/>
                  <a:pt x="5" y="150"/>
                </a:cubicBezTo>
                <a:cubicBezTo>
                  <a:pt x="5" y="150"/>
                  <a:pt x="5" y="150"/>
                  <a:pt x="5" y="150"/>
                </a:cubicBezTo>
                <a:cubicBezTo>
                  <a:pt x="5" y="150"/>
                  <a:pt x="5" y="150"/>
                  <a:pt x="5" y="150"/>
                </a:cubicBezTo>
                <a:cubicBezTo>
                  <a:pt x="4" y="150"/>
                  <a:pt x="4" y="150"/>
                  <a:pt x="3" y="151"/>
                </a:cubicBezTo>
                <a:cubicBezTo>
                  <a:pt x="4" y="151"/>
                  <a:pt x="4" y="151"/>
                  <a:pt x="4" y="151"/>
                </a:cubicBezTo>
                <a:cubicBezTo>
                  <a:pt x="4" y="151"/>
                  <a:pt x="4" y="151"/>
                  <a:pt x="4" y="151"/>
                </a:cubicBezTo>
                <a:cubicBezTo>
                  <a:pt x="6" y="152"/>
                  <a:pt x="7" y="151"/>
                  <a:pt x="8" y="152"/>
                </a:cubicBezTo>
                <a:cubicBezTo>
                  <a:pt x="8" y="152"/>
                  <a:pt x="9" y="152"/>
                  <a:pt x="9" y="151"/>
                </a:cubicBezTo>
                <a:cubicBezTo>
                  <a:pt x="10" y="151"/>
                  <a:pt x="11" y="151"/>
                  <a:pt x="12" y="151"/>
                </a:cubicBezTo>
                <a:cubicBezTo>
                  <a:pt x="13" y="151"/>
                  <a:pt x="14" y="152"/>
                  <a:pt x="15" y="152"/>
                </a:cubicBezTo>
                <a:cubicBezTo>
                  <a:pt x="16" y="152"/>
                  <a:pt x="16" y="151"/>
                  <a:pt x="16" y="151"/>
                </a:cubicBezTo>
                <a:cubicBezTo>
                  <a:pt x="17" y="150"/>
                  <a:pt x="20" y="151"/>
                  <a:pt x="22" y="151"/>
                </a:cubicBezTo>
                <a:cubicBezTo>
                  <a:pt x="22" y="150"/>
                  <a:pt x="23" y="150"/>
                  <a:pt x="23" y="149"/>
                </a:cubicBezTo>
                <a:cubicBezTo>
                  <a:pt x="23" y="149"/>
                  <a:pt x="24" y="149"/>
                  <a:pt x="24" y="149"/>
                </a:cubicBezTo>
                <a:cubicBezTo>
                  <a:pt x="25" y="154"/>
                  <a:pt x="20" y="152"/>
                  <a:pt x="17" y="154"/>
                </a:cubicBezTo>
                <a:cubicBezTo>
                  <a:pt x="17" y="154"/>
                  <a:pt x="16" y="154"/>
                  <a:pt x="16" y="154"/>
                </a:cubicBezTo>
                <a:cubicBezTo>
                  <a:pt x="14" y="154"/>
                  <a:pt x="14" y="155"/>
                  <a:pt x="14" y="156"/>
                </a:cubicBezTo>
                <a:cubicBezTo>
                  <a:pt x="16" y="157"/>
                  <a:pt x="16" y="155"/>
                  <a:pt x="18" y="156"/>
                </a:cubicBezTo>
                <a:cubicBezTo>
                  <a:pt x="20" y="157"/>
                  <a:pt x="21" y="154"/>
                  <a:pt x="21" y="156"/>
                </a:cubicBezTo>
                <a:cubicBezTo>
                  <a:pt x="21" y="156"/>
                  <a:pt x="20" y="156"/>
                  <a:pt x="19" y="156"/>
                </a:cubicBezTo>
                <a:cubicBezTo>
                  <a:pt x="20" y="157"/>
                  <a:pt x="19" y="157"/>
                  <a:pt x="19" y="157"/>
                </a:cubicBezTo>
                <a:cubicBezTo>
                  <a:pt x="18" y="157"/>
                  <a:pt x="16" y="157"/>
                  <a:pt x="15" y="157"/>
                </a:cubicBezTo>
                <a:cubicBezTo>
                  <a:pt x="14" y="158"/>
                  <a:pt x="13" y="158"/>
                  <a:pt x="11" y="158"/>
                </a:cubicBezTo>
                <a:cubicBezTo>
                  <a:pt x="11" y="159"/>
                  <a:pt x="11" y="159"/>
                  <a:pt x="10" y="159"/>
                </a:cubicBezTo>
                <a:cubicBezTo>
                  <a:pt x="10" y="161"/>
                  <a:pt x="12" y="161"/>
                  <a:pt x="12" y="162"/>
                </a:cubicBezTo>
                <a:cubicBezTo>
                  <a:pt x="13" y="162"/>
                  <a:pt x="14" y="162"/>
                  <a:pt x="15" y="161"/>
                </a:cubicBezTo>
                <a:cubicBezTo>
                  <a:pt x="15" y="161"/>
                  <a:pt x="15" y="160"/>
                  <a:pt x="15" y="161"/>
                </a:cubicBezTo>
                <a:cubicBezTo>
                  <a:pt x="18" y="161"/>
                  <a:pt x="19" y="159"/>
                  <a:pt x="22" y="160"/>
                </a:cubicBezTo>
                <a:cubicBezTo>
                  <a:pt x="22" y="160"/>
                  <a:pt x="22" y="160"/>
                  <a:pt x="22" y="160"/>
                </a:cubicBezTo>
                <a:cubicBezTo>
                  <a:pt x="22" y="160"/>
                  <a:pt x="22" y="160"/>
                  <a:pt x="22" y="160"/>
                </a:cubicBezTo>
                <a:cubicBezTo>
                  <a:pt x="22" y="161"/>
                  <a:pt x="24" y="161"/>
                  <a:pt x="24" y="162"/>
                </a:cubicBezTo>
                <a:cubicBezTo>
                  <a:pt x="24" y="162"/>
                  <a:pt x="24" y="162"/>
                  <a:pt x="24" y="162"/>
                </a:cubicBezTo>
                <a:cubicBezTo>
                  <a:pt x="24" y="163"/>
                  <a:pt x="24" y="164"/>
                  <a:pt x="24" y="164"/>
                </a:cubicBezTo>
                <a:cubicBezTo>
                  <a:pt x="26" y="164"/>
                  <a:pt x="27" y="163"/>
                  <a:pt x="29" y="163"/>
                </a:cubicBezTo>
                <a:cubicBezTo>
                  <a:pt x="31" y="163"/>
                  <a:pt x="32" y="163"/>
                  <a:pt x="33" y="163"/>
                </a:cubicBezTo>
                <a:cubicBezTo>
                  <a:pt x="35" y="163"/>
                  <a:pt x="35" y="165"/>
                  <a:pt x="37" y="165"/>
                </a:cubicBezTo>
                <a:cubicBezTo>
                  <a:pt x="37" y="164"/>
                  <a:pt x="38" y="164"/>
                  <a:pt x="38" y="164"/>
                </a:cubicBezTo>
                <a:cubicBezTo>
                  <a:pt x="38" y="164"/>
                  <a:pt x="38" y="163"/>
                  <a:pt x="38" y="163"/>
                </a:cubicBezTo>
                <a:cubicBezTo>
                  <a:pt x="38" y="162"/>
                  <a:pt x="39" y="162"/>
                  <a:pt x="39" y="163"/>
                </a:cubicBezTo>
                <a:cubicBezTo>
                  <a:pt x="40" y="164"/>
                  <a:pt x="40" y="165"/>
                  <a:pt x="42" y="165"/>
                </a:cubicBezTo>
                <a:cubicBezTo>
                  <a:pt x="43" y="165"/>
                  <a:pt x="43" y="163"/>
                  <a:pt x="45" y="162"/>
                </a:cubicBezTo>
                <a:cubicBezTo>
                  <a:pt x="45" y="164"/>
                  <a:pt x="47" y="164"/>
                  <a:pt x="48" y="165"/>
                </a:cubicBezTo>
                <a:cubicBezTo>
                  <a:pt x="48" y="164"/>
                  <a:pt x="49" y="164"/>
                  <a:pt x="49" y="163"/>
                </a:cubicBezTo>
                <a:cubicBezTo>
                  <a:pt x="49" y="162"/>
                  <a:pt x="49" y="161"/>
                  <a:pt x="49" y="161"/>
                </a:cubicBezTo>
                <a:cubicBezTo>
                  <a:pt x="52" y="161"/>
                  <a:pt x="53" y="160"/>
                  <a:pt x="56" y="160"/>
                </a:cubicBezTo>
                <a:cubicBezTo>
                  <a:pt x="56" y="159"/>
                  <a:pt x="56" y="159"/>
                  <a:pt x="56" y="159"/>
                </a:cubicBezTo>
                <a:cubicBezTo>
                  <a:pt x="57" y="157"/>
                  <a:pt x="56" y="156"/>
                  <a:pt x="56" y="155"/>
                </a:cubicBezTo>
                <a:cubicBezTo>
                  <a:pt x="56" y="155"/>
                  <a:pt x="56" y="155"/>
                  <a:pt x="56" y="155"/>
                </a:cubicBezTo>
                <a:cubicBezTo>
                  <a:pt x="56" y="154"/>
                  <a:pt x="54" y="154"/>
                  <a:pt x="55" y="153"/>
                </a:cubicBezTo>
                <a:cubicBezTo>
                  <a:pt x="55" y="153"/>
                  <a:pt x="55" y="153"/>
                  <a:pt x="55" y="153"/>
                </a:cubicBezTo>
                <a:cubicBezTo>
                  <a:pt x="55" y="152"/>
                  <a:pt x="55" y="152"/>
                  <a:pt x="55" y="152"/>
                </a:cubicBezTo>
                <a:cubicBezTo>
                  <a:pt x="55" y="152"/>
                  <a:pt x="55" y="152"/>
                  <a:pt x="55" y="152"/>
                </a:cubicBezTo>
                <a:cubicBezTo>
                  <a:pt x="56" y="152"/>
                  <a:pt x="57" y="153"/>
                  <a:pt x="58" y="154"/>
                </a:cubicBezTo>
                <a:cubicBezTo>
                  <a:pt x="59" y="154"/>
                  <a:pt x="60" y="154"/>
                  <a:pt x="61" y="155"/>
                </a:cubicBezTo>
                <a:cubicBezTo>
                  <a:pt x="60" y="157"/>
                  <a:pt x="56" y="155"/>
                  <a:pt x="58" y="158"/>
                </a:cubicBezTo>
                <a:cubicBezTo>
                  <a:pt x="57" y="160"/>
                  <a:pt x="61" y="157"/>
                  <a:pt x="61" y="159"/>
                </a:cubicBezTo>
                <a:cubicBezTo>
                  <a:pt x="61" y="159"/>
                  <a:pt x="61" y="159"/>
                  <a:pt x="62" y="159"/>
                </a:cubicBezTo>
                <a:cubicBezTo>
                  <a:pt x="62" y="159"/>
                  <a:pt x="62" y="158"/>
                  <a:pt x="63" y="159"/>
                </a:cubicBezTo>
                <a:cubicBezTo>
                  <a:pt x="65" y="159"/>
                  <a:pt x="66" y="157"/>
                  <a:pt x="69" y="157"/>
                </a:cubicBezTo>
                <a:cubicBezTo>
                  <a:pt x="69" y="156"/>
                  <a:pt x="70" y="155"/>
                  <a:pt x="70" y="154"/>
                </a:cubicBezTo>
                <a:cubicBezTo>
                  <a:pt x="71" y="154"/>
                  <a:pt x="71" y="152"/>
                  <a:pt x="72" y="152"/>
                </a:cubicBezTo>
                <a:cubicBezTo>
                  <a:pt x="72" y="152"/>
                  <a:pt x="72" y="153"/>
                  <a:pt x="72" y="154"/>
                </a:cubicBezTo>
                <a:cubicBezTo>
                  <a:pt x="73" y="154"/>
                  <a:pt x="73" y="154"/>
                  <a:pt x="73" y="154"/>
                </a:cubicBezTo>
                <a:cubicBezTo>
                  <a:pt x="74" y="155"/>
                  <a:pt x="75" y="155"/>
                  <a:pt x="76" y="155"/>
                </a:cubicBezTo>
                <a:cubicBezTo>
                  <a:pt x="77" y="155"/>
                  <a:pt x="76" y="154"/>
                  <a:pt x="77" y="154"/>
                </a:cubicBezTo>
                <a:cubicBezTo>
                  <a:pt x="78" y="153"/>
                  <a:pt x="78" y="153"/>
                  <a:pt x="78" y="153"/>
                </a:cubicBezTo>
                <a:cubicBezTo>
                  <a:pt x="78" y="153"/>
                  <a:pt x="78" y="153"/>
                  <a:pt x="79" y="153"/>
                </a:cubicBezTo>
                <a:cubicBezTo>
                  <a:pt x="80" y="152"/>
                  <a:pt x="80" y="151"/>
                  <a:pt x="81" y="150"/>
                </a:cubicBezTo>
                <a:cubicBezTo>
                  <a:pt x="82" y="150"/>
                  <a:pt x="82" y="150"/>
                  <a:pt x="82" y="150"/>
                </a:cubicBezTo>
                <a:cubicBezTo>
                  <a:pt x="83" y="150"/>
                  <a:pt x="83" y="150"/>
                  <a:pt x="84" y="150"/>
                </a:cubicBezTo>
                <a:cubicBezTo>
                  <a:pt x="84" y="149"/>
                  <a:pt x="84" y="148"/>
                  <a:pt x="85" y="148"/>
                </a:cubicBezTo>
                <a:cubicBezTo>
                  <a:pt x="85" y="149"/>
                  <a:pt x="86" y="149"/>
                  <a:pt x="86" y="149"/>
                </a:cubicBezTo>
                <a:cubicBezTo>
                  <a:pt x="86" y="149"/>
                  <a:pt x="87" y="149"/>
                  <a:pt x="87" y="149"/>
                </a:cubicBezTo>
                <a:cubicBezTo>
                  <a:pt x="87" y="150"/>
                  <a:pt x="88" y="150"/>
                  <a:pt x="88" y="151"/>
                </a:cubicBezTo>
                <a:cubicBezTo>
                  <a:pt x="92" y="150"/>
                  <a:pt x="93" y="152"/>
                  <a:pt x="95" y="152"/>
                </a:cubicBezTo>
                <a:cubicBezTo>
                  <a:pt x="96" y="152"/>
                  <a:pt x="96" y="150"/>
                  <a:pt x="97" y="150"/>
                </a:cubicBezTo>
                <a:cubicBezTo>
                  <a:pt x="97" y="149"/>
                  <a:pt x="97" y="148"/>
                  <a:pt x="97" y="148"/>
                </a:cubicBezTo>
                <a:cubicBezTo>
                  <a:pt x="98" y="148"/>
                  <a:pt x="99" y="148"/>
                  <a:pt x="99" y="149"/>
                </a:cubicBezTo>
                <a:cubicBezTo>
                  <a:pt x="99" y="150"/>
                  <a:pt x="99" y="151"/>
                  <a:pt x="98" y="151"/>
                </a:cubicBezTo>
                <a:cubicBezTo>
                  <a:pt x="98" y="151"/>
                  <a:pt x="98" y="152"/>
                  <a:pt x="97" y="152"/>
                </a:cubicBezTo>
                <a:cubicBezTo>
                  <a:pt x="97" y="154"/>
                  <a:pt x="100" y="152"/>
                  <a:pt x="101" y="152"/>
                </a:cubicBezTo>
                <a:cubicBezTo>
                  <a:pt x="102" y="152"/>
                  <a:pt x="101" y="150"/>
                  <a:pt x="102" y="150"/>
                </a:cubicBezTo>
                <a:cubicBezTo>
                  <a:pt x="103" y="150"/>
                  <a:pt x="103" y="150"/>
                  <a:pt x="103" y="151"/>
                </a:cubicBezTo>
                <a:cubicBezTo>
                  <a:pt x="104" y="151"/>
                  <a:pt x="105" y="151"/>
                  <a:pt x="106" y="151"/>
                </a:cubicBezTo>
                <a:cubicBezTo>
                  <a:pt x="106" y="152"/>
                  <a:pt x="106" y="152"/>
                  <a:pt x="107" y="153"/>
                </a:cubicBezTo>
                <a:cubicBezTo>
                  <a:pt x="107" y="154"/>
                  <a:pt x="108" y="153"/>
                  <a:pt x="108" y="154"/>
                </a:cubicBezTo>
                <a:cubicBezTo>
                  <a:pt x="110" y="155"/>
                  <a:pt x="109" y="153"/>
                  <a:pt x="111" y="154"/>
                </a:cubicBezTo>
                <a:cubicBezTo>
                  <a:pt x="112" y="154"/>
                  <a:pt x="112" y="154"/>
                  <a:pt x="112" y="154"/>
                </a:cubicBezTo>
                <a:cubicBezTo>
                  <a:pt x="114" y="155"/>
                  <a:pt x="114" y="154"/>
                  <a:pt x="115" y="154"/>
                </a:cubicBezTo>
                <a:cubicBezTo>
                  <a:pt x="115" y="151"/>
                  <a:pt x="114" y="150"/>
                  <a:pt x="114" y="149"/>
                </a:cubicBezTo>
                <a:cubicBezTo>
                  <a:pt x="112" y="149"/>
                  <a:pt x="112" y="147"/>
                  <a:pt x="112" y="146"/>
                </a:cubicBezTo>
                <a:cubicBezTo>
                  <a:pt x="113" y="146"/>
                  <a:pt x="114" y="147"/>
                  <a:pt x="115" y="147"/>
                </a:cubicBezTo>
                <a:cubicBezTo>
                  <a:pt x="115" y="146"/>
                  <a:pt x="116" y="144"/>
                  <a:pt x="118" y="145"/>
                </a:cubicBezTo>
                <a:cubicBezTo>
                  <a:pt x="118" y="143"/>
                  <a:pt x="119" y="142"/>
                  <a:pt x="120" y="141"/>
                </a:cubicBezTo>
                <a:cubicBezTo>
                  <a:pt x="120" y="141"/>
                  <a:pt x="120" y="141"/>
                  <a:pt x="120" y="141"/>
                </a:cubicBezTo>
                <a:cubicBezTo>
                  <a:pt x="120" y="141"/>
                  <a:pt x="121" y="142"/>
                  <a:pt x="121" y="140"/>
                </a:cubicBezTo>
                <a:cubicBezTo>
                  <a:pt x="121" y="140"/>
                  <a:pt x="121" y="140"/>
                  <a:pt x="121" y="140"/>
                </a:cubicBezTo>
                <a:cubicBezTo>
                  <a:pt x="121" y="140"/>
                  <a:pt x="122" y="140"/>
                  <a:pt x="122" y="139"/>
                </a:cubicBezTo>
                <a:cubicBezTo>
                  <a:pt x="122" y="139"/>
                  <a:pt x="122" y="139"/>
                  <a:pt x="122" y="139"/>
                </a:cubicBezTo>
                <a:cubicBezTo>
                  <a:pt x="123" y="138"/>
                  <a:pt x="123" y="138"/>
                  <a:pt x="123" y="136"/>
                </a:cubicBezTo>
                <a:cubicBezTo>
                  <a:pt x="123" y="136"/>
                  <a:pt x="123" y="136"/>
                  <a:pt x="123" y="136"/>
                </a:cubicBezTo>
                <a:cubicBezTo>
                  <a:pt x="123" y="135"/>
                  <a:pt x="123" y="135"/>
                  <a:pt x="123" y="135"/>
                </a:cubicBezTo>
                <a:cubicBezTo>
                  <a:pt x="123" y="135"/>
                  <a:pt x="123" y="135"/>
                  <a:pt x="123" y="135"/>
                </a:cubicBezTo>
                <a:cubicBezTo>
                  <a:pt x="124" y="134"/>
                  <a:pt x="124" y="133"/>
                  <a:pt x="124" y="133"/>
                </a:cubicBezTo>
                <a:cubicBezTo>
                  <a:pt x="125" y="133"/>
                  <a:pt x="125" y="133"/>
                  <a:pt x="125" y="133"/>
                </a:cubicBezTo>
                <a:cubicBezTo>
                  <a:pt x="125" y="133"/>
                  <a:pt x="125" y="133"/>
                  <a:pt x="125" y="133"/>
                </a:cubicBezTo>
                <a:cubicBezTo>
                  <a:pt x="125" y="133"/>
                  <a:pt x="125" y="133"/>
                  <a:pt x="125" y="133"/>
                </a:cubicBezTo>
                <a:cubicBezTo>
                  <a:pt x="126" y="132"/>
                  <a:pt x="129" y="132"/>
                  <a:pt x="128" y="130"/>
                </a:cubicBezTo>
                <a:cubicBezTo>
                  <a:pt x="128" y="130"/>
                  <a:pt x="128" y="130"/>
                  <a:pt x="128" y="129"/>
                </a:cubicBezTo>
                <a:cubicBezTo>
                  <a:pt x="128" y="129"/>
                  <a:pt x="128" y="129"/>
                  <a:pt x="128" y="129"/>
                </a:cubicBezTo>
                <a:cubicBezTo>
                  <a:pt x="128" y="129"/>
                  <a:pt x="128" y="129"/>
                  <a:pt x="128" y="129"/>
                </a:cubicBezTo>
                <a:cubicBezTo>
                  <a:pt x="129" y="128"/>
                  <a:pt x="129" y="128"/>
                  <a:pt x="129" y="127"/>
                </a:cubicBezTo>
                <a:cubicBezTo>
                  <a:pt x="130" y="127"/>
                  <a:pt x="131" y="126"/>
                  <a:pt x="131" y="125"/>
                </a:cubicBezTo>
                <a:cubicBezTo>
                  <a:pt x="132" y="125"/>
                  <a:pt x="132" y="124"/>
                  <a:pt x="132" y="123"/>
                </a:cubicBezTo>
                <a:cubicBezTo>
                  <a:pt x="132" y="122"/>
                  <a:pt x="132" y="120"/>
                  <a:pt x="132" y="119"/>
                </a:cubicBezTo>
                <a:cubicBezTo>
                  <a:pt x="133" y="118"/>
                  <a:pt x="133" y="117"/>
                  <a:pt x="133" y="116"/>
                </a:cubicBezTo>
                <a:cubicBezTo>
                  <a:pt x="133" y="116"/>
                  <a:pt x="133" y="116"/>
                  <a:pt x="133" y="116"/>
                </a:cubicBezTo>
                <a:cubicBezTo>
                  <a:pt x="133" y="116"/>
                  <a:pt x="133" y="116"/>
                  <a:pt x="133" y="116"/>
                </a:cubicBezTo>
                <a:cubicBezTo>
                  <a:pt x="133" y="114"/>
                  <a:pt x="136" y="113"/>
                  <a:pt x="134" y="112"/>
                </a:cubicBezTo>
                <a:cubicBezTo>
                  <a:pt x="134" y="112"/>
                  <a:pt x="134" y="112"/>
                  <a:pt x="134" y="112"/>
                </a:cubicBezTo>
                <a:cubicBezTo>
                  <a:pt x="134" y="110"/>
                  <a:pt x="134" y="108"/>
                  <a:pt x="134" y="106"/>
                </a:cubicBezTo>
                <a:cubicBezTo>
                  <a:pt x="133" y="106"/>
                  <a:pt x="133" y="106"/>
                  <a:pt x="133" y="106"/>
                </a:cubicBezTo>
                <a:cubicBezTo>
                  <a:pt x="133" y="105"/>
                  <a:pt x="133" y="105"/>
                  <a:pt x="133" y="104"/>
                </a:cubicBezTo>
                <a:cubicBezTo>
                  <a:pt x="135" y="104"/>
                  <a:pt x="137" y="106"/>
                  <a:pt x="137" y="103"/>
                </a:cubicBezTo>
                <a:cubicBezTo>
                  <a:pt x="137" y="103"/>
                  <a:pt x="136" y="103"/>
                  <a:pt x="136" y="103"/>
                </a:cubicBezTo>
                <a:cubicBezTo>
                  <a:pt x="137" y="101"/>
                  <a:pt x="136" y="101"/>
                  <a:pt x="136" y="100"/>
                </a:cubicBezTo>
                <a:cubicBezTo>
                  <a:pt x="135" y="100"/>
                  <a:pt x="135" y="99"/>
                  <a:pt x="136" y="99"/>
                </a:cubicBezTo>
                <a:cubicBezTo>
                  <a:pt x="137" y="99"/>
                  <a:pt x="136" y="98"/>
                  <a:pt x="137" y="98"/>
                </a:cubicBezTo>
                <a:cubicBezTo>
                  <a:pt x="138" y="97"/>
                  <a:pt x="138" y="97"/>
                  <a:pt x="138" y="96"/>
                </a:cubicBezTo>
                <a:cubicBezTo>
                  <a:pt x="138" y="96"/>
                  <a:pt x="138" y="95"/>
                  <a:pt x="138" y="95"/>
                </a:cubicBezTo>
                <a:cubicBezTo>
                  <a:pt x="138" y="95"/>
                  <a:pt x="137" y="94"/>
                  <a:pt x="137" y="94"/>
                </a:cubicBezTo>
                <a:cubicBezTo>
                  <a:pt x="137" y="94"/>
                  <a:pt x="136" y="94"/>
                  <a:pt x="136" y="93"/>
                </a:cubicBezTo>
                <a:cubicBezTo>
                  <a:pt x="136" y="91"/>
                  <a:pt x="136" y="89"/>
                  <a:pt x="136" y="87"/>
                </a:cubicBezTo>
                <a:cubicBezTo>
                  <a:pt x="136" y="86"/>
                  <a:pt x="136" y="86"/>
                  <a:pt x="136" y="86"/>
                </a:cubicBezTo>
                <a:cubicBezTo>
                  <a:pt x="137" y="86"/>
                  <a:pt x="136" y="85"/>
                  <a:pt x="136" y="85"/>
                </a:cubicBezTo>
                <a:cubicBezTo>
                  <a:pt x="137" y="85"/>
                  <a:pt x="137" y="85"/>
                  <a:pt x="137" y="85"/>
                </a:cubicBezTo>
                <a:cubicBezTo>
                  <a:pt x="137" y="85"/>
                  <a:pt x="137" y="84"/>
                  <a:pt x="137" y="84"/>
                </a:cubicBezTo>
                <a:cubicBezTo>
                  <a:pt x="137" y="84"/>
                  <a:pt x="136" y="84"/>
                  <a:pt x="136" y="83"/>
                </a:cubicBezTo>
                <a:cubicBezTo>
                  <a:pt x="137" y="83"/>
                  <a:pt x="137" y="83"/>
                  <a:pt x="137" y="83"/>
                </a:cubicBezTo>
                <a:cubicBezTo>
                  <a:pt x="137" y="82"/>
                  <a:pt x="137" y="82"/>
                  <a:pt x="138" y="81"/>
                </a:cubicBezTo>
                <a:cubicBezTo>
                  <a:pt x="137" y="81"/>
                  <a:pt x="137" y="80"/>
                  <a:pt x="136" y="80"/>
                </a:cubicBezTo>
                <a:cubicBezTo>
                  <a:pt x="136" y="80"/>
                  <a:pt x="136" y="80"/>
                  <a:pt x="136" y="79"/>
                </a:cubicBezTo>
                <a:cubicBezTo>
                  <a:pt x="135" y="79"/>
                  <a:pt x="135" y="77"/>
                  <a:pt x="135" y="76"/>
                </a:cubicBezTo>
                <a:cubicBezTo>
                  <a:pt x="136" y="76"/>
                  <a:pt x="136" y="75"/>
                  <a:pt x="136" y="75"/>
                </a:cubicBezTo>
                <a:cubicBezTo>
                  <a:pt x="137" y="75"/>
                  <a:pt x="137" y="75"/>
                  <a:pt x="137" y="76"/>
                </a:cubicBezTo>
                <a:cubicBezTo>
                  <a:pt x="139" y="76"/>
                  <a:pt x="140" y="77"/>
                  <a:pt x="142" y="77"/>
                </a:cubicBezTo>
                <a:cubicBezTo>
                  <a:pt x="143" y="76"/>
                  <a:pt x="143" y="75"/>
                  <a:pt x="143" y="74"/>
                </a:cubicBezTo>
                <a:cubicBezTo>
                  <a:pt x="145" y="75"/>
                  <a:pt x="146" y="73"/>
                  <a:pt x="148" y="72"/>
                </a:cubicBezTo>
                <a:cubicBezTo>
                  <a:pt x="148" y="72"/>
                  <a:pt x="149" y="71"/>
                  <a:pt x="149" y="71"/>
                </a:cubicBezTo>
                <a:cubicBezTo>
                  <a:pt x="149" y="70"/>
                  <a:pt x="149" y="70"/>
                  <a:pt x="150" y="69"/>
                </a:cubicBezTo>
                <a:cubicBezTo>
                  <a:pt x="150" y="69"/>
                  <a:pt x="150" y="68"/>
                  <a:pt x="150" y="68"/>
                </a:cubicBezTo>
                <a:cubicBezTo>
                  <a:pt x="150" y="67"/>
                  <a:pt x="151" y="67"/>
                  <a:pt x="151" y="67"/>
                </a:cubicBezTo>
                <a:cubicBezTo>
                  <a:pt x="153" y="67"/>
                  <a:pt x="155" y="68"/>
                  <a:pt x="157" y="68"/>
                </a:cubicBezTo>
                <a:cubicBezTo>
                  <a:pt x="158" y="68"/>
                  <a:pt x="158" y="67"/>
                  <a:pt x="159" y="67"/>
                </a:cubicBezTo>
                <a:cubicBezTo>
                  <a:pt x="159" y="65"/>
                  <a:pt x="161" y="66"/>
                  <a:pt x="160" y="64"/>
                </a:cubicBezTo>
                <a:cubicBezTo>
                  <a:pt x="160" y="64"/>
                  <a:pt x="159" y="63"/>
                  <a:pt x="159" y="63"/>
                </a:cubicBezTo>
                <a:cubicBezTo>
                  <a:pt x="158" y="63"/>
                  <a:pt x="158" y="63"/>
                  <a:pt x="157" y="62"/>
                </a:cubicBezTo>
                <a:cubicBezTo>
                  <a:pt x="158" y="61"/>
                  <a:pt x="159" y="61"/>
                  <a:pt x="159" y="59"/>
                </a:cubicBezTo>
                <a:cubicBezTo>
                  <a:pt x="159" y="57"/>
                  <a:pt x="158" y="54"/>
                  <a:pt x="159" y="53"/>
                </a:cubicBezTo>
                <a:cubicBezTo>
                  <a:pt x="162" y="53"/>
                  <a:pt x="161" y="55"/>
                  <a:pt x="162" y="55"/>
                </a:cubicBezTo>
                <a:cubicBezTo>
                  <a:pt x="162" y="56"/>
                  <a:pt x="163" y="56"/>
                  <a:pt x="163" y="57"/>
                </a:cubicBezTo>
                <a:cubicBezTo>
                  <a:pt x="162" y="59"/>
                  <a:pt x="161" y="60"/>
                  <a:pt x="162" y="63"/>
                </a:cubicBezTo>
                <a:cubicBezTo>
                  <a:pt x="162" y="63"/>
                  <a:pt x="163" y="63"/>
                  <a:pt x="163" y="62"/>
                </a:cubicBezTo>
                <a:cubicBezTo>
                  <a:pt x="163" y="62"/>
                  <a:pt x="163" y="62"/>
                  <a:pt x="164" y="62"/>
                </a:cubicBezTo>
                <a:cubicBezTo>
                  <a:pt x="164" y="61"/>
                  <a:pt x="164" y="60"/>
                  <a:pt x="164" y="60"/>
                </a:cubicBezTo>
                <a:cubicBezTo>
                  <a:pt x="165" y="56"/>
                  <a:pt x="164" y="54"/>
                  <a:pt x="164" y="51"/>
                </a:cubicBezTo>
                <a:close/>
                <a:moveTo>
                  <a:pt x="36" y="85"/>
                </a:moveTo>
                <a:cubicBezTo>
                  <a:pt x="36" y="86"/>
                  <a:pt x="36" y="87"/>
                  <a:pt x="36" y="87"/>
                </a:cubicBezTo>
                <a:cubicBezTo>
                  <a:pt x="37" y="88"/>
                  <a:pt x="38" y="89"/>
                  <a:pt x="39" y="90"/>
                </a:cubicBezTo>
                <a:cubicBezTo>
                  <a:pt x="40" y="90"/>
                  <a:pt x="41" y="90"/>
                  <a:pt x="40" y="92"/>
                </a:cubicBezTo>
                <a:cubicBezTo>
                  <a:pt x="41" y="92"/>
                  <a:pt x="42" y="92"/>
                  <a:pt x="42" y="92"/>
                </a:cubicBezTo>
                <a:cubicBezTo>
                  <a:pt x="43" y="91"/>
                  <a:pt x="42" y="90"/>
                  <a:pt x="41" y="90"/>
                </a:cubicBezTo>
                <a:cubicBezTo>
                  <a:pt x="42" y="87"/>
                  <a:pt x="39" y="88"/>
                  <a:pt x="40" y="86"/>
                </a:cubicBezTo>
                <a:cubicBezTo>
                  <a:pt x="37" y="87"/>
                  <a:pt x="38" y="84"/>
                  <a:pt x="36" y="85"/>
                </a:cubicBezTo>
                <a:close/>
                <a:moveTo>
                  <a:pt x="44" y="40"/>
                </a:moveTo>
                <a:cubicBezTo>
                  <a:pt x="44" y="40"/>
                  <a:pt x="44" y="39"/>
                  <a:pt x="45" y="39"/>
                </a:cubicBezTo>
                <a:cubicBezTo>
                  <a:pt x="45" y="39"/>
                  <a:pt x="45" y="38"/>
                  <a:pt x="46" y="38"/>
                </a:cubicBezTo>
                <a:cubicBezTo>
                  <a:pt x="46" y="38"/>
                  <a:pt x="46" y="38"/>
                  <a:pt x="47" y="38"/>
                </a:cubicBezTo>
                <a:cubicBezTo>
                  <a:pt x="48" y="37"/>
                  <a:pt x="49" y="36"/>
                  <a:pt x="49" y="34"/>
                </a:cubicBezTo>
                <a:cubicBezTo>
                  <a:pt x="48" y="34"/>
                  <a:pt x="48" y="33"/>
                  <a:pt x="48" y="32"/>
                </a:cubicBezTo>
                <a:cubicBezTo>
                  <a:pt x="47" y="32"/>
                  <a:pt x="46" y="32"/>
                  <a:pt x="45" y="32"/>
                </a:cubicBezTo>
                <a:cubicBezTo>
                  <a:pt x="44" y="34"/>
                  <a:pt x="44" y="36"/>
                  <a:pt x="42" y="37"/>
                </a:cubicBezTo>
                <a:cubicBezTo>
                  <a:pt x="42" y="38"/>
                  <a:pt x="43" y="39"/>
                  <a:pt x="42" y="39"/>
                </a:cubicBezTo>
                <a:cubicBezTo>
                  <a:pt x="41" y="40"/>
                  <a:pt x="41" y="40"/>
                  <a:pt x="42" y="41"/>
                </a:cubicBezTo>
                <a:cubicBezTo>
                  <a:pt x="43" y="42"/>
                  <a:pt x="44" y="41"/>
                  <a:pt x="44" y="40"/>
                </a:cubicBezTo>
                <a:close/>
                <a:moveTo>
                  <a:pt x="38" y="81"/>
                </a:moveTo>
                <a:cubicBezTo>
                  <a:pt x="38" y="84"/>
                  <a:pt x="41" y="82"/>
                  <a:pt x="41" y="84"/>
                </a:cubicBezTo>
                <a:cubicBezTo>
                  <a:pt x="42" y="84"/>
                  <a:pt x="44" y="84"/>
                  <a:pt x="44" y="83"/>
                </a:cubicBezTo>
                <a:cubicBezTo>
                  <a:pt x="41" y="84"/>
                  <a:pt x="42" y="81"/>
                  <a:pt x="40" y="81"/>
                </a:cubicBezTo>
                <a:cubicBezTo>
                  <a:pt x="40" y="81"/>
                  <a:pt x="40" y="81"/>
                  <a:pt x="40" y="80"/>
                </a:cubicBezTo>
                <a:cubicBezTo>
                  <a:pt x="39" y="81"/>
                  <a:pt x="39" y="81"/>
                  <a:pt x="38" y="81"/>
                </a:cubicBezTo>
                <a:close/>
                <a:moveTo>
                  <a:pt x="33" y="60"/>
                </a:moveTo>
                <a:cubicBezTo>
                  <a:pt x="33" y="60"/>
                  <a:pt x="33" y="59"/>
                  <a:pt x="34" y="60"/>
                </a:cubicBezTo>
                <a:cubicBezTo>
                  <a:pt x="34" y="59"/>
                  <a:pt x="34" y="59"/>
                  <a:pt x="34" y="59"/>
                </a:cubicBezTo>
                <a:cubicBezTo>
                  <a:pt x="33" y="59"/>
                  <a:pt x="32" y="59"/>
                  <a:pt x="31" y="59"/>
                </a:cubicBezTo>
                <a:cubicBezTo>
                  <a:pt x="31" y="59"/>
                  <a:pt x="30" y="60"/>
                  <a:pt x="30" y="60"/>
                </a:cubicBezTo>
                <a:cubicBezTo>
                  <a:pt x="29" y="60"/>
                  <a:pt x="28" y="60"/>
                  <a:pt x="28" y="62"/>
                </a:cubicBezTo>
                <a:cubicBezTo>
                  <a:pt x="31" y="62"/>
                  <a:pt x="31" y="60"/>
                  <a:pt x="33" y="60"/>
                </a:cubicBezTo>
                <a:close/>
                <a:moveTo>
                  <a:pt x="38" y="58"/>
                </a:moveTo>
                <a:cubicBezTo>
                  <a:pt x="37" y="57"/>
                  <a:pt x="37" y="57"/>
                  <a:pt x="35" y="57"/>
                </a:cubicBezTo>
                <a:cubicBezTo>
                  <a:pt x="35" y="58"/>
                  <a:pt x="35" y="58"/>
                  <a:pt x="35" y="59"/>
                </a:cubicBezTo>
                <a:cubicBezTo>
                  <a:pt x="37" y="59"/>
                  <a:pt x="38" y="58"/>
                  <a:pt x="38" y="58"/>
                </a:cubicBezTo>
                <a:close/>
                <a:moveTo>
                  <a:pt x="40" y="46"/>
                </a:moveTo>
                <a:cubicBezTo>
                  <a:pt x="40" y="47"/>
                  <a:pt x="40" y="48"/>
                  <a:pt x="40" y="48"/>
                </a:cubicBezTo>
                <a:cubicBezTo>
                  <a:pt x="42" y="49"/>
                  <a:pt x="41" y="50"/>
                  <a:pt x="42" y="51"/>
                </a:cubicBezTo>
                <a:cubicBezTo>
                  <a:pt x="42" y="51"/>
                  <a:pt x="43" y="52"/>
                  <a:pt x="43" y="53"/>
                </a:cubicBezTo>
                <a:cubicBezTo>
                  <a:pt x="42" y="53"/>
                  <a:pt x="38" y="51"/>
                  <a:pt x="38" y="54"/>
                </a:cubicBezTo>
                <a:cubicBezTo>
                  <a:pt x="39" y="54"/>
                  <a:pt x="39" y="54"/>
                  <a:pt x="40" y="54"/>
                </a:cubicBezTo>
                <a:cubicBezTo>
                  <a:pt x="40" y="54"/>
                  <a:pt x="40" y="55"/>
                  <a:pt x="40" y="55"/>
                </a:cubicBezTo>
                <a:cubicBezTo>
                  <a:pt x="40" y="55"/>
                  <a:pt x="40" y="54"/>
                  <a:pt x="41" y="54"/>
                </a:cubicBezTo>
                <a:cubicBezTo>
                  <a:pt x="41" y="53"/>
                  <a:pt x="43" y="53"/>
                  <a:pt x="44" y="53"/>
                </a:cubicBezTo>
                <a:cubicBezTo>
                  <a:pt x="44" y="50"/>
                  <a:pt x="46" y="48"/>
                  <a:pt x="45" y="44"/>
                </a:cubicBezTo>
                <a:cubicBezTo>
                  <a:pt x="45" y="44"/>
                  <a:pt x="44" y="44"/>
                  <a:pt x="44" y="43"/>
                </a:cubicBezTo>
                <a:cubicBezTo>
                  <a:pt x="41" y="43"/>
                  <a:pt x="39" y="43"/>
                  <a:pt x="37" y="44"/>
                </a:cubicBezTo>
                <a:cubicBezTo>
                  <a:pt x="37" y="44"/>
                  <a:pt x="37" y="44"/>
                  <a:pt x="37" y="44"/>
                </a:cubicBezTo>
                <a:cubicBezTo>
                  <a:pt x="37" y="45"/>
                  <a:pt x="38" y="45"/>
                  <a:pt x="39" y="45"/>
                </a:cubicBezTo>
                <a:cubicBezTo>
                  <a:pt x="39" y="46"/>
                  <a:pt x="40" y="45"/>
                  <a:pt x="40" y="46"/>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0" name="Freeform 68"/>
          <p:cNvSpPr>
            <a:spLocks/>
          </p:cNvSpPr>
          <p:nvPr/>
        </p:nvSpPr>
        <p:spPr bwMode="auto">
          <a:xfrm>
            <a:off x="11350917" y="4588178"/>
            <a:ext cx="1030288" cy="368300"/>
          </a:xfrm>
          <a:custGeom>
            <a:avLst/>
            <a:gdLst>
              <a:gd name="T0" fmla="*/ 253 w 266"/>
              <a:gd name="T1" fmla="*/ 48 h 95"/>
              <a:gd name="T2" fmla="*/ 250 w 266"/>
              <a:gd name="T3" fmla="*/ 31 h 95"/>
              <a:gd name="T4" fmla="*/ 234 w 266"/>
              <a:gd name="T5" fmla="*/ 22 h 95"/>
              <a:gd name="T6" fmla="*/ 214 w 266"/>
              <a:gd name="T7" fmla="*/ 18 h 95"/>
              <a:gd name="T8" fmla="*/ 185 w 266"/>
              <a:gd name="T9" fmla="*/ 4 h 95"/>
              <a:gd name="T10" fmla="*/ 147 w 266"/>
              <a:gd name="T11" fmla="*/ 17 h 95"/>
              <a:gd name="T12" fmla="*/ 121 w 266"/>
              <a:gd name="T13" fmla="*/ 9 h 95"/>
              <a:gd name="T14" fmla="*/ 101 w 266"/>
              <a:gd name="T15" fmla="*/ 0 h 95"/>
              <a:gd name="T16" fmla="*/ 72 w 266"/>
              <a:gd name="T17" fmla="*/ 7 h 95"/>
              <a:gd name="T18" fmla="*/ 62 w 266"/>
              <a:gd name="T19" fmla="*/ 7 h 95"/>
              <a:gd name="T20" fmla="*/ 22 w 266"/>
              <a:gd name="T21" fmla="*/ 1 h 95"/>
              <a:gd name="T22" fmla="*/ 22 w 266"/>
              <a:gd name="T23" fmla="*/ 1 h 95"/>
              <a:gd name="T24" fmla="*/ 21 w 266"/>
              <a:gd name="T25" fmla="*/ 1 h 95"/>
              <a:gd name="T26" fmla="*/ 20 w 266"/>
              <a:gd name="T27" fmla="*/ 2 h 95"/>
              <a:gd name="T28" fmla="*/ 19 w 266"/>
              <a:gd name="T29" fmla="*/ 2 h 95"/>
              <a:gd name="T30" fmla="*/ 18 w 266"/>
              <a:gd name="T31" fmla="*/ 2 h 95"/>
              <a:gd name="T32" fmla="*/ 17 w 266"/>
              <a:gd name="T33" fmla="*/ 2 h 95"/>
              <a:gd name="T34" fmla="*/ 15 w 266"/>
              <a:gd name="T35" fmla="*/ 3 h 95"/>
              <a:gd name="T36" fmla="*/ 0 w 266"/>
              <a:gd name="T37" fmla="*/ 5 h 95"/>
              <a:gd name="T38" fmla="*/ 0 w 266"/>
              <a:gd name="T39" fmla="*/ 6 h 95"/>
              <a:gd name="T40" fmla="*/ 3 w 266"/>
              <a:gd name="T41" fmla="*/ 11 h 95"/>
              <a:gd name="T42" fmla="*/ 3 w 266"/>
              <a:gd name="T43" fmla="*/ 11 h 95"/>
              <a:gd name="T44" fmla="*/ 3 w 266"/>
              <a:gd name="T45" fmla="*/ 11 h 95"/>
              <a:gd name="T46" fmla="*/ 5 w 266"/>
              <a:gd name="T47" fmla="*/ 16 h 95"/>
              <a:gd name="T48" fmla="*/ 6 w 266"/>
              <a:gd name="T49" fmla="*/ 23 h 95"/>
              <a:gd name="T50" fmla="*/ 20 w 266"/>
              <a:gd name="T51" fmla="*/ 26 h 95"/>
              <a:gd name="T52" fmla="*/ 60 w 266"/>
              <a:gd name="T53" fmla="*/ 32 h 95"/>
              <a:gd name="T54" fmla="*/ 71 w 266"/>
              <a:gd name="T55" fmla="*/ 50 h 95"/>
              <a:gd name="T56" fmla="*/ 74 w 266"/>
              <a:gd name="T57" fmla="*/ 70 h 95"/>
              <a:gd name="T58" fmla="*/ 75 w 266"/>
              <a:gd name="T59" fmla="*/ 70 h 95"/>
              <a:gd name="T60" fmla="*/ 86 w 266"/>
              <a:gd name="T61" fmla="*/ 69 h 95"/>
              <a:gd name="T62" fmla="*/ 92 w 266"/>
              <a:gd name="T63" fmla="*/ 64 h 95"/>
              <a:gd name="T64" fmla="*/ 98 w 266"/>
              <a:gd name="T65" fmla="*/ 61 h 95"/>
              <a:gd name="T66" fmla="*/ 104 w 266"/>
              <a:gd name="T67" fmla="*/ 61 h 95"/>
              <a:gd name="T68" fmla="*/ 109 w 266"/>
              <a:gd name="T69" fmla="*/ 60 h 95"/>
              <a:gd name="T70" fmla="*/ 111 w 266"/>
              <a:gd name="T71" fmla="*/ 51 h 95"/>
              <a:gd name="T72" fmla="*/ 113 w 266"/>
              <a:gd name="T73" fmla="*/ 49 h 95"/>
              <a:gd name="T74" fmla="*/ 121 w 266"/>
              <a:gd name="T75" fmla="*/ 53 h 95"/>
              <a:gd name="T76" fmla="*/ 127 w 266"/>
              <a:gd name="T77" fmla="*/ 57 h 95"/>
              <a:gd name="T78" fmla="*/ 131 w 266"/>
              <a:gd name="T79" fmla="*/ 58 h 95"/>
              <a:gd name="T80" fmla="*/ 134 w 266"/>
              <a:gd name="T81" fmla="*/ 60 h 95"/>
              <a:gd name="T82" fmla="*/ 141 w 266"/>
              <a:gd name="T83" fmla="*/ 60 h 95"/>
              <a:gd name="T84" fmla="*/ 143 w 266"/>
              <a:gd name="T85" fmla="*/ 62 h 95"/>
              <a:gd name="T86" fmla="*/ 154 w 266"/>
              <a:gd name="T87" fmla="*/ 70 h 95"/>
              <a:gd name="T88" fmla="*/ 158 w 266"/>
              <a:gd name="T89" fmla="*/ 75 h 95"/>
              <a:gd name="T90" fmla="*/ 156 w 266"/>
              <a:gd name="T91" fmla="*/ 87 h 95"/>
              <a:gd name="T92" fmla="*/ 160 w 266"/>
              <a:gd name="T93" fmla="*/ 94 h 95"/>
              <a:gd name="T94" fmla="*/ 181 w 266"/>
              <a:gd name="T95" fmla="*/ 82 h 95"/>
              <a:gd name="T96" fmla="*/ 206 w 266"/>
              <a:gd name="T97" fmla="*/ 73 h 95"/>
              <a:gd name="T98" fmla="*/ 219 w 266"/>
              <a:gd name="T99" fmla="*/ 57 h 95"/>
              <a:gd name="T100" fmla="*/ 253 w 266"/>
              <a:gd name="T101" fmla="*/ 6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95">
                <a:moveTo>
                  <a:pt x="266" y="57"/>
                </a:moveTo>
                <a:cubicBezTo>
                  <a:pt x="266" y="46"/>
                  <a:pt x="260" y="52"/>
                  <a:pt x="253" y="48"/>
                </a:cubicBezTo>
                <a:cubicBezTo>
                  <a:pt x="252" y="47"/>
                  <a:pt x="247" y="41"/>
                  <a:pt x="246" y="39"/>
                </a:cubicBezTo>
                <a:cubicBezTo>
                  <a:pt x="246" y="36"/>
                  <a:pt x="250" y="33"/>
                  <a:pt x="250" y="31"/>
                </a:cubicBezTo>
                <a:cubicBezTo>
                  <a:pt x="249" y="30"/>
                  <a:pt x="249" y="30"/>
                  <a:pt x="248" y="29"/>
                </a:cubicBezTo>
                <a:cubicBezTo>
                  <a:pt x="244" y="26"/>
                  <a:pt x="238" y="23"/>
                  <a:pt x="234" y="22"/>
                </a:cubicBezTo>
                <a:cubicBezTo>
                  <a:pt x="231" y="20"/>
                  <a:pt x="228" y="21"/>
                  <a:pt x="225" y="21"/>
                </a:cubicBezTo>
                <a:cubicBezTo>
                  <a:pt x="221" y="20"/>
                  <a:pt x="218" y="18"/>
                  <a:pt x="214" y="18"/>
                </a:cubicBezTo>
                <a:cubicBezTo>
                  <a:pt x="213" y="10"/>
                  <a:pt x="206" y="2"/>
                  <a:pt x="196" y="2"/>
                </a:cubicBezTo>
                <a:cubicBezTo>
                  <a:pt x="193" y="1"/>
                  <a:pt x="189" y="3"/>
                  <a:pt x="185" y="4"/>
                </a:cubicBezTo>
                <a:cubicBezTo>
                  <a:pt x="180" y="4"/>
                  <a:pt x="174" y="3"/>
                  <a:pt x="170" y="5"/>
                </a:cubicBezTo>
                <a:cubicBezTo>
                  <a:pt x="163" y="8"/>
                  <a:pt x="156" y="20"/>
                  <a:pt x="147" y="17"/>
                </a:cubicBezTo>
                <a:cubicBezTo>
                  <a:pt x="142" y="15"/>
                  <a:pt x="142" y="11"/>
                  <a:pt x="136" y="11"/>
                </a:cubicBezTo>
                <a:cubicBezTo>
                  <a:pt x="129" y="11"/>
                  <a:pt x="127" y="11"/>
                  <a:pt x="121" y="9"/>
                </a:cubicBezTo>
                <a:cubicBezTo>
                  <a:pt x="118" y="8"/>
                  <a:pt x="114" y="8"/>
                  <a:pt x="111" y="7"/>
                </a:cubicBezTo>
                <a:cubicBezTo>
                  <a:pt x="107" y="6"/>
                  <a:pt x="106" y="1"/>
                  <a:pt x="101" y="0"/>
                </a:cubicBezTo>
                <a:cubicBezTo>
                  <a:pt x="97" y="0"/>
                  <a:pt x="92" y="3"/>
                  <a:pt x="88" y="4"/>
                </a:cubicBezTo>
                <a:cubicBezTo>
                  <a:pt x="82" y="5"/>
                  <a:pt x="78" y="5"/>
                  <a:pt x="72" y="7"/>
                </a:cubicBezTo>
                <a:cubicBezTo>
                  <a:pt x="70" y="8"/>
                  <a:pt x="71" y="10"/>
                  <a:pt x="68" y="10"/>
                </a:cubicBezTo>
                <a:cubicBezTo>
                  <a:pt x="67" y="10"/>
                  <a:pt x="63" y="7"/>
                  <a:pt x="62" y="7"/>
                </a:cubicBezTo>
                <a:cubicBezTo>
                  <a:pt x="57" y="5"/>
                  <a:pt x="52" y="6"/>
                  <a:pt x="47" y="6"/>
                </a:cubicBezTo>
                <a:cubicBezTo>
                  <a:pt x="39" y="5"/>
                  <a:pt x="31" y="1"/>
                  <a:pt x="22" y="1"/>
                </a:cubicBezTo>
                <a:cubicBezTo>
                  <a:pt x="22" y="1"/>
                  <a:pt x="22" y="1"/>
                  <a:pt x="22" y="1"/>
                </a:cubicBezTo>
                <a:cubicBezTo>
                  <a:pt x="22" y="1"/>
                  <a:pt x="22" y="1"/>
                  <a:pt x="22" y="1"/>
                </a:cubicBezTo>
                <a:cubicBezTo>
                  <a:pt x="21" y="1"/>
                  <a:pt x="21" y="1"/>
                  <a:pt x="21" y="1"/>
                </a:cubicBezTo>
                <a:cubicBezTo>
                  <a:pt x="21" y="1"/>
                  <a:pt x="21" y="1"/>
                  <a:pt x="21" y="1"/>
                </a:cubicBezTo>
                <a:cubicBezTo>
                  <a:pt x="20" y="1"/>
                  <a:pt x="20" y="1"/>
                  <a:pt x="20" y="1"/>
                </a:cubicBezTo>
                <a:cubicBezTo>
                  <a:pt x="20" y="1"/>
                  <a:pt x="20" y="1"/>
                  <a:pt x="20" y="2"/>
                </a:cubicBezTo>
                <a:cubicBezTo>
                  <a:pt x="19" y="2"/>
                  <a:pt x="19" y="2"/>
                  <a:pt x="19" y="2"/>
                </a:cubicBezTo>
                <a:cubicBezTo>
                  <a:pt x="19" y="2"/>
                  <a:pt x="19" y="2"/>
                  <a:pt x="19" y="2"/>
                </a:cubicBezTo>
                <a:cubicBezTo>
                  <a:pt x="19" y="2"/>
                  <a:pt x="18" y="2"/>
                  <a:pt x="18" y="2"/>
                </a:cubicBezTo>
                <a:cubicBezTo>
                  <a:pt x="18" y="2"/>
                  <a:pt x="18" y="2"/>
                  <a:pt x="18" y="2"/>
                </a:cubicBezTo>
                <a:cubicBezTo>
                  <a:pt x="18" y="2"/>
                  <a:pt x="17" y="2"/>
                  <a:pt x="17" y="2"/>
                </a:cubicBezTo>
                <a:cubicBezTo>
                  <a:pt x="17" y="2"/>
                  <a:pt x="17" y="2"/>
                  <a:pt x="17" y="2"/>
                </a:cubicBezTo>
                <a:cubicBezTo>
                  <a:pt x="17" y="2"/>
                  <a:pt x="16" y="2"/>
                  <a:pt x="16" y="2"/>
                </a:cubicBezTo>
                <a:cubicBezTo>
                  <a:pt x="16" y="2"/>
                  <a:pt x="16" y="2"/>
                  <a:pt x="15" y="3"/>
                </a:cubicBezTo>
                <a:cubicBezTo>
                  <a:pt x="10" y="4"/>
                  <a:pt x="8" y="5"/>
                  <a:pt x="3" y="5"/>
                </a:cubicBezTo>
                <a:cubicBezTo>
                  <a:pt x="0" y="5"/>
                  <a:pt x="0" y="5"/>
                  <a:pt x="0" y="5"/>
                </a:cubicBezTo>
                <a:cubicBezTo>
                  <a:pt x="0" y="5"/>
                  <a:pt x="0" y="6"/>
                  <a:pt x="0" y="6"/>
                </a:cubicBezTo>
                <a:cubicBezTo>
                  <a:pt x="0" y="6"/>
                  <a:pt x="0" y="6"/>
                  <a:pt x="0" y="6"/>
                </a:cubicBezTo>
                <a:cubicBezTo>
                  <a:pt x="0" y="9"/>
                  <a:pt x="1" y="9"/>
                  <a:pt x="2" y="11"/>
                </a:cubicBezTo>
                <a:cubicBezTo>
                  <a:pt x="2" y="11"/>
                  <a:pt x="2"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2"/>
                  <a:pt x="3" y="12"/>
                </a:cubicBezTo>
                <a:cubicBezTo>
                  <a:pt x="4" y="13"/>
                  <a:pt x="4" y="14"/>
                  <a:pt x="5" y="16"/>
                </a:cubicBezTo>
                <a:cubicBezTo>
                  <a:pt x="5" y="17"/>
                  <a:pt x="5" y="17"/>
                  <a:pt x="5" y="18"/>
                </a:cubicBezTo>
                <a:cubicBezTo>
                  <a:pt x="6" y="22"/>
                  <a:pt x="5" y="22"/>
                  <a:pt x="6" y="23"/>
                </a:cubicBezTo>
                <a:cubicBezTo>
                  <a:pt x="7" y="23"/>
                  <a:pt x="8" y="24"/>
                  <a:pt x="10" y="25"/>
                </a:cubicBezTo>
                <a:cubicBezTo>
                  <a:pt x="13" y="26"/>
                  <a:pt x="16" y="25"/>
                  <a:pt x="20" y="26"/>
                </a:cubicBezTo>
                <a:cubicBezTo>
                  <a:pt x="27" y="26"/>
                  <a:pt x="35" y="26"/>
                  <a:pt x="42" y="27"/>
                </a:cubicBezTo>
                <a:cubicBezTo>
                  <a:pt x="48" y="28"/>
                  <a:pt x="54" y="31"/>
                  <a:pt x="60" y="32"/>
                </a:cubicBezTo>
                <a:cubicBezTo>
                  <a:pt x="59" y="37"/>
                  <a:pt x="58" y="38"/>
                  <a:pt x="62" y="41"/>
                </a:cubicBezTo>
                <a:cubicBezTo>
                  <a:pt x="65" y="44"/>
                  <a:pt x="69" y="45"/>
                  <a:pt x="71" y="50"/>
                </a:cubicBezTo>
                <a:cubicBezTo>
                  <a:pt x="76" y="56"/>
                  <a:pt x="74" y="53"/>
                  <a:pt x="76" y="61"/>
                </a:cubicBezTo>
                <a:cubicBezTo>
                  <a:pt x="76" y="62"/>
                  <a:pt x="75" y="67"/>
                  <a:pt x="74" y="70"/>
                </a:cubicBezTo>
                <a:cubicBezTo>
                  <a:pt x="74" y="70"/>
                  <a:pt x="74" y="70"/>
                  <a:pt x="74" y="70"/>
                </a:cubicBezTo>
                <a:cubicBezTo>
                  <a:pt x="75" y="70"/>
                  <a:pt x="75" y="70"/>
                  <a:pt x="75" y="70"/>
                </a:cubicBezTo>
                <a:cubicBezTo>
                  <a:pt x="77" y="69"/>
                  <a:pt x="80" y="70"/>
                  <a:pt x="82" y="70"/>
                </a:cubicBezTo>
                <a:cubicBezTo>
                  <a:pt x="83" y="70"/>
                  <a:pt x="85" y="70"/>
                  <a:pt x="86" y="69"/>
                </a:cubicBezTo>
                <a:cubicBezTo>
                  <a:pt x="87" y="68"/>
                  <a:pt x="87" y="66"/>
                  <a:pt x="89" y="65"/>
                </a:cubicBezTo>
                <a:cubicBezTo>
                  <a:pt x="90" y="64"/>
                  <a:pt x="91" y="64"/>
                  <a:pt x="92" y="64"/>
                </a:cubicBezTo>
                <a:cubicBezTo>
                  <a:pt x="93" y="63"/>
                  <a:pt x="94" y="62"/>
                  <a:pt x="96" y="62"/>
                </a:cubicBezTo>
                <a:cubicBezTo>
                  <a:pt x="96" y="62"/>
                  <a:pt x="97" y="62"/>
                  <a:pt x="98" y="61"/>
                </a:cubicBezTo>
                <a:cubicBezTo>
                  <a:pt x="99" y="61"/>
                  <a:pt x="99" y="61"/>
                  <a:pt x="100" y="61"/>
                </a:cubicBezTo>
                <a:cubicBezTo>
                  <a:pt x="101" y="61"/>
                  <a:pt x="102" y="61"/>
                  <a:pt x="104" y="61"/>
                </a:cubicBezTo>
                <a:cubicBezTo>
                  <a:pt x="105" y="61"/>
                  <a:pt x="107" y="61"/>
                  <a:pt x="108" y="61"/>
                </a:cubicBezTo>
                <a:cubicBezTo>
                  <a:pt x="108" y="61"/>
                  <a:pt x="109" y="61"/>
                  <a:pt x="109" y="60"/>
                </a:cubicBezTo>
                <a:cubicBezTo>
                  <a:pt x="109" y="59"/>
                  <a:pt x="109" y="58"/>
                  <a:pt x="110" y="57"/>
                </a:cubicBezTo>
                <a:cubicBezTo>
                  <a:pt x="111" y="55"/>
                  <a:pt x="110" y="53"/>
                  <a:pt x="111" y="51"/>
                </a:cubicBezTo>
                <a:cubicBezTo>
                  <a:pt x="111" y="51"/>
                  <a:pt x="111" y="51"/>
                  <a:pt x="111" y="51"/>
                </a:cubicBezTo>
                <a:cubicBezTo>
                  <a:pt x="111" y="50"/>
                  <a:pt x="112" y="50"/>
                  <a:pt x="113" y="49"/>
                </a:cubicBezTo>
                <a:cubicBezTo>
                  <a:pt x="114" y="50"/>
                  <a:pt x="115" y="52"/>
                  <a:pt x="117" y="53"/>
                </a:cubicBezTo>
                <a:cubicBezTo>
                  <a:pt x="118" y="53"/>
                  <a:pt x="120" y="53"/>
                  <a:pt x="121" y="53"/>
                </a:cubicBezTo>
                <a:cubicBezTo>
                  <a:pt x="122" y="53"/>
                  <a:pt x="124" y="54"/>
                  <a:pt x="125" y="55"/>
                </a:cubicBezTo>
                <a:cubicBezTo>
                  <a:pt x="125" y="57"/>
                  <a:pt x="125" y="57"/>
                  <a:pt x="127" y="57"/>
                </a:cubicBezTo>
                <a:cubicBezTo>
                  <a:pt x="127" y="57"/>
                  <a:pt x="128" y="57"/>
                  <a:pt x="128" y="57"/>
                </a:cubicBezTo>
                <a:cubicBezTo>
                  <a:pt x="130" y="56"/>
                  <a:pt x="130" y="57"/>
                  <a:pt x="131" y="58"/>
                </a:cubicBezTo>
                <a:cubicBezTo>
                  <a:pt x="131" y="59"/>
                  <a:pt x="132" y="60"/>
                  <a:pt x="132" y="60"/>
                </a:cubicBezTo>
                <a:cubicBezTo>
                  <a:pt x="133" y="61"/>
                  <a:pt x="133" y="60"/>
                  <a:pt x="134" y="60"/>
                </a:cubicBezTo>
                <a:cubicBezTo>
                  <a:pt x="136" y="60"/>
                  <a:pt x="137" y="62"/>
                  <a:pt x="138" y="62"/>
                </a:cubicBezTo>
                <a:cubicBezTo>
                  <a:pt x="139" y="62"/>
                  <a:pt x="140" y="61"/>
                  <a:pt x="141" y="60"/>
                </a:cubicBezTo>
                <a:cubicBezTo>
                  <a:pt x="142" y="60"/>
                  <a:pt x="144" y="59"/>
                  <a:pt x="144" y="60"/>
                </a:cubicBezTo>
                <a:cubicBezTo>
                  <a:pt x="144" y="61"/>
                  <a:pt x="143" y="62"/>
                  <a:pt x="143" y="62"/>
                </a:cubicBezTo>
                <a:cubicBezTo>
                  <a:pt x="144" y="65"/>
                  <a:pt x="146" y="66"/>
                  <a:pt x="146" y="68"/>
                </a:cubicBezTo>
                <a:cubicBezTo>
                  <a:pt x="149" y="68"/>
                  <a:pt x="152" y="68"/>
                  <a:pt x="154" y="70"/>
                </a:cubicBezTo>
                <a:cubicBezTo>
                  <a:pt x="154" y="71"/>
                  <a:pt x="154" y="72"/>
                  <a:pt x="156" y="73"/>
                </a:cubicBezTo>
                <a:cubicBezTo>
                  <a:pt x="157" y="74"/>
                  <a:pt x="158" y="74"/>
                  <a:pt x="158" y="75"/>
                </a:cubicBezTo>
                <a:cubicBezTo>
                  <a:pt x="159" y="76"/>
                  <a:pt x="160" y="79"/>
                  <a:pt x="159" y="81"/>
                </a:cubicBezTo>
                <a:cubicBezTo>
                  <a:pt x="159" y="83"/>
                  <a:pt x="156" y="84"/>
                  <a:pt x="156" y="87"/>
                </a:cubicBezTo>
                <a:cubicBezTo>
                  <a:pt x="155" y="89"/>
                  <a:pt x="157" y="91"/>
                  <a:pt x="158" y="92"/>
                </a:cubicBezTo>
                <a:cubicBezTo>
                  <a:pt x="160" y="93"/>
                  <a:pt x="160" y="92"/>
                  <a:pt x="160" y="94"/>
                </a:cubicBezTo>
                <a:cubicBezTo>
                  <a:pt x="160" y="94"/>
                  <a:pt x="160" y="95"/>
                  <a:pt x="161" y="95"/>
                </a:cubicBezTo>
                <a:cubicBezTo>
                  <a:pt x="167" y="89"/>
                  <a:pt x="174" y="85"/>
                  <a:pt x="181" y="82"/>
                </a:cubicBezTo>
                <a:cubicBezTo>
                  <a:pt x="185" y="80"/>
                  <a:pt x="189" y="77"/>
                  <a:pt x="193" y="75"/>
                </a:cubicBezTo>
                <a:cubicBezTo>
                  <a:pt x="197" y="73"/>
                  <a:pt x="203" y="75"/>
                  <a:pt x="206" y="73"/>
                </a:cubicBezTo>
                <a:cubicBezTo>
                  <a:pt x="210" y="71"/>
                  <a:pt x="207" y="69"/>
                  <a:pt x="209" y="66"/>
                </a:cubicBezTo>
                <a:cubicBezTo>
                  <a:pt x="211" y="62"/>
                  <a:pt x="215" y="58"/>
                  <a:pt x="219" y="57"/>
                </a:cubicBezTo>
                <a:cubicBezTo>
                  <a:pt x="224" y="56"/>
                  <a:pt x="228" y="58"/>
                  <a:pt x="233" y="60"/>
                </a:cubicBezTo>
                <a:cubicBezTo>
                  <a:pt x="240" y="62"/>
                  <a:pt x="246" y="63"/>
                  <a:pt x="253" y="63"/>
                </a:cubicBezTo>
                <a:cubicBezTo>
                  <a:pt x="261" y="64"/>
                  <a:pt x="266" y="66"/>
                  <a:pt x="266" y="57"/>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2" name="Freeform 70"/>
          <p:cNvSpPr>
            <a:spLocks noEditPoints="1"/>
          </p:cNvSpPr>
          <p:nvPr/>
        </p:nvSpPr>
        <p:spPr bwMode="auto">
          <a:xfrm>
            <a:off x="5289842" y="495603"/>
            <a:ext cx="757238" cy="631825"/>
          </a:xfrm>
          <a:custGeom>
            <a:avLst/>
            <a:gdLst>
              <a:gd name="T0" fmla="*/ 189 w 196"/>
              <a:gd name="T1" fmla="*/ 108 h 163"/>
              <a:gd name="T2" fmla="*/ 184 w 196"/>
              <a:gd name="T3" fmla="*/ 92 h 163"/>
              <a:gd name="T4" fmla="*/ 187 w 196"/>
              <a:gd name="T5" fmla="*/ 74 h 163"/>
              <a:gd name="T6" fmla="*/ 173 w 196"/>
              <a:gd name="T7" fmla="*/ 69 h 163"/>
              <a:gd name="T8" fmla="*/ 173 w 196"/>
              <a:gd name="T9" fmla="*/ 55 h 163"/>
              <a:gd name="T10" fmla="*/ 163 w 196"/>
              <a:gd name="T11" fmla="*/ 58 h 163"/>
              <a:gd name="T12" fmla="*/ 153 w 196"/>
              <a:gd name="T13" fmla="*/ 67 h 163"/>
              <a:gd name="T14" fmla="*/ 138 w 196"/>
              <a:gd name="T15" fmla="*/ 67 h 163"/>
              <a:gd name="T16" fmla="*/ 129 w 196"/>
              <a:gd name="T17" fmla="*/ 53 h 163"/>
              <a:gd name="T18" fmla="*/ 126 w 196"/>
              <a:gd name="T19" fmla="*/ 68 h 163"/>
              <a:gd name="T20" fmla="*/ 121 w 196"/>
              <a:gd name="T21" fmla="*/ 72 h 163"/>
              <a:gd name="T22" fmla="*/ 123 w 196"/>
              <a:gd name="T23" fmla="*/ 57 h 163"/>
              <a:gd name="T24" fmla="*/ 113 w 196"/>
              <a:gd name="T25" fmla="*/ 48 h 163"/>
              <a:gd name="T26" fmla="*/ 98 w 196"/>
              <a:gd name="T27" fmla="*/ 63 h 163"/>
              <a:gd name="T28" fmla="*/ 96 w 196"/>
              <a:gd name="T29" fmla="*/ 39 h 163"/>
              <a:gd name="T30" fmla="*/ 79 w 196"/>
              <a:gd name="T31" fmla="*/ 57 h 163"/>
              <a:gd name="T32" fmla="*/ 62 w 196"/>
              <a:gd name="T33" fmla="*/ 66 h 163"/>
              <a:gd name="T34" fmla="*/ 63 w 196"/>
              <a:gd name="T35" fmla="*/ 48 h 163"/>
              <a:gd name="T36" fmla="*/ 74 w 196"/>
              <a:gd name="T37" fmla="*/ 37 h 163"/>
              <a:gd name="T38" fmla="*/ 74 w 196"/>
              <a:gd name="T39" fmla="*/ 22 h 163"/>
              <a:gd name="T40" fmla="*/ 69 w 196"/>
              <a:gd name="T41" fmla="*/ 5 h 163"/>
              <a:gd name="T42" fmla="*/ 62 w 196"/>
              <a:gd name="T43" fmla="*/ 7 h 163"/>
              <a:gd name="T44" fmla="*/ 60 w 196"/>
              <a:gd name="T45" fmla="*/ 19 h 163"/>
              <a:gd name="T46" fmla="*/ 54 w 196"/>
              <a:gd name="T47" fmla="*/ 19 h 163"/>
              <a:gd name="T48" fmla="*/ 50 w 196"/>
              <a:gd name="T49" fmla="*/ 10 h 163"/>
              <a:gd name="T50" fmla="*/ 43 w 196"/>
              <a:gd name="T51" fmla="*/ 13 h 163"/>
              <a:gd name="T52" fmla="*/ 39 w 196"/>
              <a:gd name="T53" fmla="*/ 18 h 163"/>
              <a:gd name="T54" fmla="*/ 33 w 196"/>
              <a:gd name="T55" fmla="*/ 21 h 163"/>
              <a:gd name="T56" fmla="*/ 29 w 196"/>
              <a:gd name="T57" fmla="*/ 17 h 163"/>
              <a:gd name="T58" fmla="*/ 23 w 196"/>
              <a:gd name="T59" fmla="*/ 23 h 163"/>
              <a:gd name="T60" fmla="*/ 20 w 196"/>
              <a:gd name="T61" fmla="*/ 19 h 163"/>
              <a:gd name="T62" fmla="*/ 27 w 196"/>
              <a:gd name="T63" fmla="*/ 32 h 163"/>
              <a:gd name="T64" fmla="*/ 40 w 196"/>
              <a:gd name="T65" fmla="*/ 37 h 163"/>
              <a:gd name="T66" fmla="*/ 47 w 196"/>
              <a:gd name="T67" fmla="*/ 42 h 163"/>
              <a:gd name="T68" fmla="*/ 53 w 196"/>
              <a:gd name="T69" fmla="*/ 51 h 163"/>
              <a:gd name="T70" fmla="*/ 46 w 196"/>
              <a:gd name="T71" fmla="*/ 61 h 163"/>
              <a:gd name="T72" fmla="*/ 32 w 196"/>
              <a:gd name="T73" fmla="*/ 59 h 163"/>
              <a:gd name="T74" fmla="*/ 19 w 196"/>
              <a:gd name="T75" fmla="*/ 56 h 163"/>
              <a:gd name="T76" fmla="*/ 3 w 196"/>
              <a:gd name="T77" fmla="*/ 57 h 163"/>
              <a:gd name="T78" fmla="*/ 21 w 196"/>
              <a:gd name="T79" fmla="*/ 65 h 163"/>
              <a:gd name="T80" fmla="*/ 24 w 196"/>
              <a:gd name="T81" fmla="*/ 81 h 163"/>
              <a:gd name="T82" fmla="*/ 25 w 196"/>
              <a:gd name="T83" fmla="*/ 90 h 163"/>
              <a:gd name="T84" fmla="*/ 35 w 196"/>
              <a:gd name="T85" fmla="*/ 95 h 163"/>
              <a:gd name="T86" fmla="*/ 7 w 196"/>
              <a:gd name="T87" fmla="*/ 97 h 163"/>
              <a:gd name="T88" fmla="*/ 6 w 196"/>
              <a:gd name="T89" fmla="*/ 107 h 163"/>
              <a:gd name="T90" fmla="*/ 24 w 196"/>
              <a:gd name="T91" fmla="*/ 116 h 163"/>
              <a:gd name="T92" fmla="*/ 31 w 196"/>
              <a:gd name="T93" fmla="*/ 121 h 163"/>
              <a:gd name="T94" fmla="*/ 37 w 196"/>
              <a:gd name="T95" fmla="*/ 133 h 163"/>
              <a:gd name="T96" fmla="*/ 44 w 196"/>
              <a:gd name="T97" fmla="*/ 142 h 163"/>
              <a:gd name="T98" fmla="*/ 52 w 196"/>
              <a:gd name="T99" fmla="*/ 151 h 163"/>
              <a:gd name="T100" fmla="*/ 63 w 196"/>
              <a:gd name="T101" fmla="*/ 161 h 163"/>
              <a:gd name="T102" fmla="*/ 96 w 196"/>
              <a:gd name="T103" fmla="*/ 158 h 163"/>
              <a:gd name="T104" fmla="*/ 113 w 196"/>
              <a:gd name="T105" fmla="*/ 160 h 163"/>
              <a:gd name="T106" fmla="*/ 144 w 196"/>
              <a:gd name="T107" fmla="*/ 151 h 163"/>
              <a:gd name="T108" fmla="*/ 163 w 196"/>
              <a:gd name="T109" fmla="*/ 150 h 163"/>
              <a:gd name="T110" fmla="*/ 173 w 196"/>
              <a:gd name="T111" fmla="*/ 145 h 163"/>
              <a:gd name="T112" fmla="*/ 179 w 196"/>
              <a:gd name="T113" fmla="*/ 137 h 163"/>
              <a:gd name="T114" fmla="*/ 182 w 196"/>
              <a:gd name="T115" fmla="*/ 130 h 163"/>
              <a:gd name="T116" fmla="*/ 189 w 196"/>
              <a:gd name="T117" fmla="*/ 124 h 163"/>
              <a:gd name="T118" fmla="*/ 26 w 196"/>
              <a:gd name="T119" fmla="*/ 22 h 163"/>
              <a:gd name="T120" fmla="*/ 102 w 196"/>
              <a:gd name="T121" fmla="*/ 62 h 163"/>
              <a:gd name="T122" fmla="*/ 33 w 196"/>
              <a:gd name="T123" fmla="*/ 54 h 163"/>
              <a:gd name="T124" fmla="*/ 40 w 196"/>
              <a:gd name="T125" fmla="*/ 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163">
                <a:moveTo>
                  <a:pt x="33" y="144"/>
                </a:moveTo>
                <a:cubicBezTo>
                  <a:pt x="33" y="145"/>
                  <a:pt x="33" y="146"/>
                  <a:pt x="33" y="147"/>
                </a:cubicBezTo>
                <a:cubicBezTo>
                  <a:pt x="33" y="147"/>
                  <a:pt x="33" y="147"/>
                  <a:pt x="34" y="147"/>
                </a:cubicBezTo>
                <a:cubicBezTo>
                  <a:pt x="34" y="147"/>
                  <a:pt x="34" y="148"/>
                  <a:pt x="35" y="147"/>
                </a:cubicBezTo>
                <a:cubicBezTo>
                  <a:pt x="34" y="145"/>
                  <a:pt x="37" y="147"/>
                  <a:pt x="36" y="144"/>
                </a:cubicBezTo>
                <a:cubicBezTo>
                  <a:pt x="35" y="144"/>
                  <a:pt x="34" y="144"/>
                  <a:pt x="33" y="144"/>
                </a:cubicBezTo>
                <a:close/>
                <a:moveTo>
                  <a:pt x="193" y="113"/>
                </a:moveTo>
                <a:cubicBezTo>
                  <a:pt x="193" y="112"/>
                  <a:pt x="193" y="111"/>
                  <a:pt x="193" y="110"/>
                </a:cubicBezTo>
                <a:cubicBezTo>
                  <a:pt x="191" y="110"/>
                  <a:pt x="190" y="109"/>
                  <a:pt x="189" y="108"/>
                </a:cubicBezTo>
                <a:cubicBezTo>
                  <a:pt x="188" y="107"/>
                  <a:pt x="187" y="106"/>
                  <a:pt x="187" y="105"/>
                </a:cubicBezTo>
                <a:cubicBezTo>
                  <a:pt x="187" y="104"/>
                  <a:pt x="186" y="103"/>
                  <a:pt x="186" y="102"/>
                </a:cubicBezTo>
                <a:cubicBezTo>
                  <a:pt x="186" y="101"/>
                  <a:pt x="187" y="100"/>
                  <a:pt x="187" y="99"/>
                </a:cubicBezTo>
                <a:cubicBezTo>
                  <a:pt x="183" y="98"/>
                  <a:pt x="180" y="101"/>
                  <a:pt x="178" y="98"/>
                </a:cubicBezTo>
                <a:cubicBezTo>
                  <a:pt x="178" y="98"/>
                  <a:pt x="178" y="97"/>
                  <a:pt x="178" y="97"/>
                </a:cubicBezTo>
                <a:cubicBezTo>
                  <a:pt x="178" y="96"/>
                  <a:pt x="179" y="97"/>
                  <a:pt x="180" y="97"/>
                </a:cubicBezTo>
                <a:cubicBezTo>
                  <a:pt x="180" y="96"/>
                  <a:pt x="179" y="94"/>
                  <a:pt x="180" y="94"/>
                </a:cubicBezTo>
                <a:cubicBezTo>
                  <a:pt x="180" y="94"/>
                  <a:pt x="180" y="93"/>
                  <a:pt x="181" y="93"/>
                </a:cubicBezTo>
                <a:cubicBezTo>
                  <a:pt x="182" y="92"/>
                  <a:pt x="183" y="92"/>
                  <a:pt x="184" y="92"/>
                </a:cubicBezTo>
                <a:cubicBezTo>
                  <a:pt x="185" y="90"/>
                  <a:pt x="188" y="90"/>
                  <a:pt x="187" y="86"/>
                </a:cubicBezTo>
                <a:cubicBezTo>
                  <a:pt x="186" y="86"/>
                  <a:pt x="185" y="87"/>
                  <a:pt x="184" y="87"/>
                </a:cubicBezTo>
                <a:cubicBezTo>
                  <a:pt x="183" y="85"/>
                  <a:pt x="181" y="84"/>
                  <a:pt x="180" y="82"/>
                </a:cubicBezTo>
                <a:cubicBezTo>
                  <a:pt x="180" y="81"/>
                  <a:pt x="181" y="81"/>
                  <a:pt x="181" y="81"/>
                </a:cubicBezTo>
                <a:cubicBezTo>
                  <a:pt x="181" y="81"/>
                  <a:pt x="180" y="80"/>
                  <a:pt x="180" y="78"/>
                </a:cubicBezTo>
                <a:cubicBezTo>
                  <a:pt x="182" y="79"/>
                  <a:pt x="184" y="79"/>
                  <a:pt x="184" y="76"/>
                </a:cubicBezTo>
                <a:cubicBezTo>
                  <a:pt x="184" y="77"/>
                  <a:pt x="185" y="77"/>
                  <a:pt x="186" y="77"/>
                </a:cubicBezTo>
                <a:cubicBezTo>
                  <a:pt x="186" y="76"/>
                  <a:pt x="187" y="76"/>
                  <a:pt x="187" y="75"/>
                </a:cubicBezTo>
                <a:cubicBezTo>
                  <a:pt x="186" y="74"/>
                  <a:pt x="187" y="74"/>
                  <a:pt x="187" y="74"/>
                </a:cubicBezTo>
                <a:cubicBezTo>
                  <a:pt x="189" y="74"/>
                  <a:pt x="191" y="74"/>
                  <a:pt x="191" y="72"/>
                </a:cubicBezTo>
                <a:cubicBezTo>
                  <a:pt x="190" y="72"/>
                  <a:pt x="189" y="70"/>
                  <a:pt x="188" y="71"/>
                </a:cubicBezTo>
                <a:cubicBezTo>
                  <a:pt x="187" y="72"/>
                  <a:pt x="187" y="72"/>
                  <a:pt x="186" y="72"/>
                </a:cubicBezTo>
                <a:cubicBezTo>
                  <a:pt x="185" y="72"/>
                  <a:pt x="185" y="74"/>
                  <a:pt x="184" y="74"/>
                </a:cubicBezTo>
                <a:cubicBezTo>
                  <a:pt x="180" y="74"/>
                  <a:pt x="180" y="74"/>
                  <a:pt x="180" y="74"/>
                </a:cubicBezTo>
                <a:cubicBezTo>
                  <a:pt x="181" y="76"/>
                  <a:pt x="180" y="77"/>
                  <a:pt x="177" y="76"/>
                </a:cubicBezTo>
                <a:cubicBezTo>
                  <a:pt x="177" y="74"/>
                  <a:pt x="177" y="74"/>
                  <a:pt x="177" y="74"/>
                </a:cubicBezTo>
                <a:cubicBezTo>
                  <a:pt x="176" y="73"/>
                  <a:pt x="175" y="73"/>
                  <a:pt x="175" y="71"/>
                </a:cubicBezTo>
                <a:cubicBezTo>
                  <a:pt x="175" y="69"/>
                  <a:pt x="173" y="70"/>
                  <a:pt x="173" y="69"/>
                </a:cubicBezTo>
                <a:cubicBezTo>
                  <a:pt x="174" y="68"/>
                  <a:pt x="175" y="68"/>
                  <a:pt x="176" y="67"/>
                </a:cubicBezTo>
                <a:cubicBezTo>
                  <a:pt x="177" y="67"/>
                  <a:pt x="177" y="67"/>
                  <a:pt x="177" y="67"/>
                </a:cubicBezTo>
                <a:cubicBezTo>
                  <a:pt x="177" y="67"/>
                  <a:pt x="178" y="66"/>
                  <a:pt x="177" y="65"/>
                </a:cubicBezTo>
                <a:cubicBezTo>
                  <a:pt x="177" y="65"/>
                  <a:pt x="177" y="65"/>
                  <a:pt x="177" y="65"/>
                </a:cubicBezTo>
                <a:cubicBezTo>
                  <a:pt x="176" y="65"/>
                  <a:pt x="177" y="64"/>
                  <a:pt x="176" y="64"/>
                </a:cubicBezTo>
                <a:cubicBezTo>
                  <a:pt x="176" y="62"/>
                  <a:pt x="174" y="63"/>
                  <a:pt x="175" y="61"/>
                </a:cubicBezTo>
                <a:cubicBezTo>
                  <a:pt x="175" y="60"/>
                  <a:pt x="174" y="60"/>
                  <a:pt x="174" y="60"/>
                </a:cubicBezTo>
                <a:cubicBezTo>
                  <a:pt x="175" y="59"/>
                  <a:pt x="175" y="58"/>
                  <a:pt x="175" y="57"/>
                </a:cubicBezTo>
                <a:cubicBezTo>
                  <a:pt x="174" y="57"/>
                  <a:pt x="174" y="56"/>
                  <a:pt x="173" y="55"/>
                </a:cubicBezTo>
                <a:cubicBezTo>
                  <a:pt x="173" y="55"/>
                  <a:pt x="171" y="55"/>
                  <a:pt x="171" y="55"/>
                </a:cubicBezTo>
                <a:cubicBezTo>
                  <a:pt x="171" y="55"/>
                  <a:pt x="171" y="55"/>
                  <a:pt x="170" y="55"/>
                </a:cubicBezTo>
                <a:cubicBezTo>
                  <a:pt x="170" y="54"/>
                  <a:pt x="168" y="56"/>
                  <a:pt x="167" y="54"/>
                </a:cubicBezTo>
                <a:cubicBezTo>
                  <a:pt x="167" y="54"/>
                  <a:pt x="167" y="54"/>
                  <a:pt x="167" y="54"/>
                </a:cubicBezTo>
                <a:cubicBezTo>
                  <a:pt x="167" y="53"/>
                  <a:pt x="166" y="53"/>
                  <a:pt x="166" y="53"/>
                </a:cubicBezTo>
                <a:cubicBezTo>
                  <a:pt x="165" y="54"/>
                  <a:pt x="165" y="55"/>
                  <a:pt x="164" y="55"/>
                </a:cubicBezTo>
                <a:cubicBezTo>
                  <a:pt x="164" y="55"/>
                  <a:pt x="164" y="55"/>
                  <a:pt x="164" y="55"/>
                </a:cubicBezTo>
                <a:cubicBezTo>
                  <a:pt x="163" y="56"/>
                  <a:pt x="163" y="57"/>
                  <a:pt x="163" y="58"/>
                </a:cubicBezTo>
                <a:cubicBezTo>
                  <a:pt x="163" y="58"/>
                  <a:pt x="163" y="58"/>
                  <a:pt x="163" y="58"/>
                </a:cubicBezTo>
                <a:cubicBezTo>
                  <a:pt x="163" y="59"/>
                  <a:pt x="163" y="60"/>
                  <a:pt x="162" y="60"/>
                </a:cubicBezTo>
                <a:cubicBezTo>
                  <a:pt x="162" y="60"/>
                  <a:pt x="162" y="60"/>
                  <a:pt x="162" y="61"/>
                </a:cubicBezTo>
                <a:cubicBezTo>
                  <a:pt x="161" y="61"/>
                  <a:pt x="162" y="63"/>
                  <a:pt x="162" y="64"/>
                </a:cubicBezTo>
                <a:cubicBezTo>
                  <a:pt x="162" y="64"/>
                  <a:pt x="161" y="63"/>
                  <a:pt x="162" y="64"/>
                </a:cubicBezTo>
                <a:cubicBezTo>
                  <a:pt x="161" y="64"/>
                  <a:pt x="161" y="64"/>
                  <a:pt x="161" y="64"/>
                </a:cubicBezTo>
                <a:cubicBezTo>
                  <a:pt x="160" y="64"/>
                  <a:pt x="161" y="66"/>
                  <a:pt x="160" y="66"/>
                </a:cubicBezTo>
                <a:cubicBezTo>
                  <a:pt x="159" y="66"/>
                  <a:pt x="159" y="67"/>
                  <a:pt x="159" y="67"/>
                </a:cubicBezTo>
                <a:cubicBezTo>
                  <a:pt x="157" y="66"/>
                  <a:pt x="155" y="67"/>
                  <a:pt x="153" y="67"/>
                </a:cubicBezTo>
                <a:cubicBezTo>
                  <a:pt x="153" y="67"/>
                  <a:pt x="153" y="67"/>
                  <a:pt x="153" y="67"/>
                </a:cubicBezTo>
                <a:cubicBezTo>
                  <a:pt x="152" y="66"/>
                  <a:pt x="151" y="65"/>
                  <a:pt x="150" y="64"/>
                </a:cubicBezTo>
                <a:cubicBezTo>
                  <a:pt x="150" y="64"/>
                  <a:pt x="150" y="64"/>
                  <a:pt x="150" y="64"/>
                </a:cubicBezTo>
                <a:cubicBezTo>
                  <a:pt x="150" y="63"/>
                  <a:pt x="150" y="62"/>
                  <a:pt x="150" y="61"/>
                </a:cubicBezTo>
                <a:cubicBezTo>
                  <a:pt x="145" y="61"/>
                  <a:pt x="145" y="61"/>
                  <a:pt x="145" y="61"/>
                </a:cubicBezTo>
                <a:cubicBezTo>
                  <a:pt x="145" y="62"/>
                  <a:pt x="145" y="62"/>
                  <a:pt x="145" y="63"/>
                </a:cubicBezTo>
                <a:cubicBezTo>
                  <a:pt x="145" y="63"/>
                  <a:pt x="145" y="63"/>
                  <a:pt x="145" y="63"/>
                </a:cubicBezTo>
                <a:cubicBezTo>
                  <a:pt x="143" y="64"/>
                  <a:pt x="144" y="66"/>
                  <a:pt x="143" y="66"/>
                </a:cubicBezTo>
                <a:cubicBezTo>
                  <a:pt x="143" y="66"/>
                  <a:pt x="142" y="66"/>
                  <a:pt x="142" y="66"/>
                </a:cubicBezTo>
                <a:cubicBezTo>
                  <a:pt x="141" y="67"/>
                  <a:pt x="139" y="67"/>
                  <a:pt x="138" y="67"/>
                </a:cubicBezTo>
                <a:cubicBezTo>
                  <a:pt x="137" y="66"/>
                  <a:pt x="137" y="66"/>
                  <a:pt x="136" y="65"/>
                </a:cubicBezTo>
                <a:cubicBezTo>
                  <a:pt x="136" y="65"/>
                  <a:pt x="136" y="62"/>
                  <a:pt x="136" y="61"/>
                </a:cubicBezTo>
                <a:cubicBezTo>
                  <a:pt x="136" y="60"/>
                  <a:pt x="136" y="60"/>
                  <a:pt x="136" y="60"/>
                </a:cubicBezTo>
                <a:cubicBezTo>
                  <a:pt x="137" y="60"/>
                  <a:pt x="136" y="59"/>
                  <a:pt x="136" y="59"/>
                </a:cubicBezTo>
                <a:cubicBezTo>
                  <a:pt x="136" y="59"/>
                  <a:pt x="136" y="58"/>
                  <a:pt x="136" y="58"/>
                </a:cubicBezTo>
                <a:cubicBezTo>
                  <a:pt x="135" y="57"/>
                  <a:pt x="135" y="56"/>
                  <a:pt x="134" y="56"/>
                </a:cubicBezTo>
                <a:cubicBezTo>
                  <a:pt x="134" y="55"/>
                  <a:pt x="134" y="55"/>
                  <a:pt x="134" y="55"/>
                </a:cubicBezTo>
                <a:cubicBezTo>
                  <a:pt x="133" y="54"/>
                  <a:pt x="132" y="53"/>
                  <a:pt x="130" y="53"/>
                </a:cubicBezTo>
                <a:cubicBezTo>
                  <a:pt x="130" y="53"/>
                  <a:pt x="130" y="53"/>
                  <a:pt x="129" y="53"/>
                </a:cubicBezTo>
                <a:cubicBezTo>
                  <a:pt x="127" y="53"/>
                  <a:pt x="129" y="56"/>
                  <a:pt x="127" y="56"/>
                </a:cubicBezTo>
                <a:cubicBezTo>
                  <a:pt x="127" y="56"/>
                  <a:pt x="127" y="56"/>
                  <a:pt x="127" y="56"/>
                </a:cubicBezTo>
                <a:cubicBezTo>
                  <a:pt x="126" y="56"/>
                  <a:pt x="126" y="57"/>
                  <a:pt x="127" y="57"/>
                </a:cubicBezTo>
                <a:cubicBezTo>
                  <a:pt x="127" y="58"/>
                  <a:pt x="127" y="58"/>
                  <a:pt x="127" y="58"/>
                </a:cubicBezTo>
                <a:cubicBezTo>
                  <a:pt x="127" y="60"/>
                  <a:pt x="126" y="61"/>
                  <a:pt x="126" y="63"/>
                </a:cubicBezTo>
                <a:cubicBezTo>
                  <a:pt x="126" y="63"/>
                  <a:pt x="126" y="63"/>
                  <a:pt x="126" y="63"/>
                </a:cubicBezTo>
                <a:cubicBezTo>
                  <a:pt x="126" y="65"/>
                  <a:pt x="126" y="65"/>
                  <a:pt x="126" y="67"/>
                </a:cubicBezTo>
                <a:cubicBezTo>
                  <a:pt x="126" y="67"/>
                  <a:pt x="126" y="67"/>
                  <a:pt x="126" y="67"/>
                </a:cubicBezTo>
                <a:cubicBezTo>
                  <a:pt x="126" y="67"/>
                  <a:pt x="126" y="68"/>
                  <a:pt x="126" y="68"/>
                </a:cubicBezTo>
                <a:cubicBezTo>
                  <a:pt x="126" y="68"/>
                  <a:pt x="126" y="68"/>
                  <a:pt x="126" y="68"/>
                </a:cubicBezTo>
                <a:cubicBezTo>
                  <a:pt x="126" y="70"/>
                  <a:pt x="124" y="70"/>
                  <a:pt x="125" y="72"/>
                </a:cubicBezTo>
                <a:cubicBezTo>
                  <a:pt x="125" y="72"/>
                  <a:pt x="125" y="72"/>
                  <a:pt x="125" y="72"/>
                </a:cubicBezTo>
                <a:cubicBezTo>
                  <a:pt x="125" y="72"/>
                  <a:pt x="124" y="73"/>
                  <a:pt x="124" y="73"/>
                </a:cubicBezTo>
                <a:cubicBezTo>
                  <a:pt x="124" y="73"/>
                  <a:pt x="124" y="73"/>
                  <a:pt x="124" y="73"/>
                </a:cubicBezTo>
                <a:cubicBezTo>
                  <a:pt x="124" y="76"/>
                  <a:pt x="123" y="77"/>
                  <a:pt x="121" y="77"/>
                </a:cubicBezTo>
                <a:cubicBezTo>
                  <a:pt x="121" y="76"/>
                  <a:pt x="120" y="76"/>
                  <a:pt x="120" y="75"/>
                </a:cubicBezTo>
                <a:cubicBezTo>
                  <a:pt x="120" y="74"/>
                  <a:pt x="121" y="74"/>
                  <a:pt x="121" y="73"/>
                </a:cubicBezTo>
                <a:cubicBezTo>
                  <a:pt x="121" y="72"/>
                  <a:pt x="121" y="72"/>
                  <a:pt x="121" y="72"/>
                </a:cubicBezTo>
                <a:cubicBezTo>
                  <a:pt x="122" y="72"/>
                  <a:pt x="122" y="72"/>
                  <a:pt x="122" y="72"/>
                </a:cubicBezTo>
                <a:cubicBezTo>
                  <a:pt x="124" y="72"/>
                  <a:pt x="122" y="69"/>
                  <a:pt x="123" y="69"/>
                </a:cubicBezTo>
                <a:cubicBezTo>
                  <a:pt x="123" y="68"/>
                  <a:pt x="124" y="68"/>
                  <a:pt x="124" y="68"/>
                </a:cubicBezTo>
                <a:cubicBezTo>
                  <a:pt x="124" y="68"/>
                  <a:pt x="124" y="68"/>
                  <a:pt x="124" y="67"/>
                </a:cubicBezTo>
                <a:cubicBezTo>
                  <a:pt x="124" y="67"/>
                  <a:pt x="124" y="67"/>
                  <a:pt x="124" y="67"/>
                </a:cubicBezTo>
                <a:cubicBezTo>
                  <a:pt x="124" y="65"/>
                  <a:pt x="124" y="62"/>
                  <a:pt x="124" y="61"/>
                </a:cubicBezTo>
                <a:cubicBezTo>
                  <a:pt x="124" y="61"/>
                  <a:pt x="124" y="61"/>
                  <a:pt x="124" y="61"/>
                </a:cubicBezTo>
                <a:cubicBezTo>
                  <a:pt x="124" y="59"/>
                  <a:pt x="124" y="58"/>
                  <a:pt x="123" y="57"/>
                </a:cubicBezTo>
                <a:cubicBezTo>
                  <a:pt x="123" y="57"/>
                  <a:pt x="123" y="57"/>
                  <a:pt x="123" y="57"/>
                </a:cubicBezTo>
                <a:cubicBezTo>
                  <a:pt x="123" y="56"/>
                  <a:pt x="123" y="56"/>
                  <a:pt x="123" y="56"/>
                </a:cubicBezTo>
                <a:cubicBezTo>
                  <a:pt x="123" y="56"/>
                  <a:pt x="123" y="56"/>
                  <a:pt x="123" y="55"/>
                </a:cubicBezTo>
                <a:cubicBezTo>
                  <a:pt x="124" y="54"/>
                  <a:pt x="121" y="54"/>
                  <a:pt x="123" y="52"/>
                </a:cubicBezTo>
                <a:cubicBezTo>
                  <a:pt x="123" y="52"/>
                  <a:pt x="123" y="52"/>
                  <a:pt x="123" y="52"/>
                </a:cubicBezTo>
                <a:cubicBezTo>
                  <a:pt x="123" y="51"/>
                  <a:pt x="123" y="50"/>
                  <a:pt x="122" y="51"/>
                </a:cubicBezTo>
                <a:cubicBezTo>
                  <a:pt x="122" y="48"/>
                  <a:pt x="120" y="47"/>
                  <a:pt x="118" y="46"/>
                </a:cubicBezTo>
                <a:cubicBezTo>
                  <a:pt x="118" y="47"/>
                  <a:pt x="117" y="47"/>
                  <a:pt x="117" y="47"/>
                </a:cubicBezTo>
                <a:cubicBezTo>
                  <a:pt x="117" y="47"/>
                  <a:pt x="117" y="48"/>
                  <a:pt x="116" y="48"/>
                </a:cubicBezTo>
                <a:cubicBezTo>
                  <a:pt x="116" y="48"/>
                  <a:pt x="115" y="49"/>
                  <a:pt x="113" y="48"/>
                </a:cubicBezTo>
                <a:cubicBezTo>
                  <a:pt x="111" y="49"/>
                  <a:pt x="111" y="47"/>
                  <a:pt x="108" y="48"/>
                </a:cubicBezTo>
                <a:cubicBezTo>
                  <a:pt x="107" y="48"/>
                  <a:pt x="108" y="51"/>
                  <a:pt x="105" y="51"/>
                </a:cubicBezTo>
                <a:cubicBezTo>
                  <a:pt x="105" y="53"/>
                  <a:pt x="104" y="54"/>
                  <a:pt x="104" y="57"/>
                </a:cubicBezTo>
                <a:cubicBezTo>
                  <a:pt x="104" y="57"/>
                  <a:pt x="104" y="58"/>
                  <a:pt x="103" y="58"/>
                </a:cubicBezTo>
                <a:cubicBezTo>
                  <a:pt x="103" y="58"/>
                  <a:pt x="103" y="59"/>
                  <a:pt x="103" y="59"/>
                </a:cubicBezTo>
                <a:cubicBezTo>
                  <a:pt x="102" y="61"/>
                  <a:pt x="103" y="63"/>
                  <a:pt x="100" y="63"/>
                </a:cubicBezTo>
                <a:cubicBezTo>
                  <a:pt x="100" y="64"/>
                  <a:pt x="99" y="64"/>
                  <a:pt x="99" y="65"/>
                </a:cubicBezTo>
                <a:cubicBezTo>
                  <a:pt x="98" y="65"/>
                  <a:pt x="97" y="65"/>
                  <a:pt x="97" y="65"/>
                </a:cubicBezTo>
                <a:cubicBezTo>
                  <a:pt x="98" y="64"/>
                  <a:pt x="98" y="64"/>
                  <a:pt x="98" y="63"/>
                </a:cubicBezTo>
                <a:cubicBezTo>
                  <a:pt x="98" y="62"/>
                  <a:pt x="98" y="61"/>
                  <a:pt x="98" y="59"/>
                </a:cubicBezTo>
                <a:cubicBezTo>
                  <a:pt x="98" y="58"/>
                  <a:pt x="99" y="58"/>
                  <a:pt x="99" y="58"/>
                </a:cubicBezTo>
                <a:cubicBezTo>
                  <a:pt x="97" y="58"/>
                  <a:pt x="98" y="55"/>
                  <a:pt x="98" y="54"/>
                </a:cubicBezTo>
                <a:cubicBezTo>
                  <a:pt x="98" y="53"/>
                  <a:pt x="97" y="53"/>
                  <a:pt x="97" y="51"/>
                </a:cubicBezTo>
                <a:cubicBezTo>
                  <a:pt x="98" y="50"/>
                  <a:pt x="98" y="48"/>
                  <a:pt x="98" y="46"/>
                </a:cubicBezTo>
                <a:cubicBezTo>
                  <a:pt x="98" y="45"/>
                  <a:pt x="97" y="43"/>
                  <a:pt x="97" y="42"/>
                </a:cubicBezTo>
                <a:cubicBezTo>
                  <a:pt x="97" y="42"/>
                  <a:pt x="96" y="41"/>
                  <a:pt x="96" y="41"/>
                </a:cubicBezTo>
                <a:cubicBezTo>
                  <a:pt x="96" y="40"/>
                  <a:pt x="96" y="40"/>
                  <a:pt x="95" y="40"/>
                </a:cubicBezTo>
                <a:cubicBezTo>
                  <a:pt x="95" y="40"/>
                  <a:pt x="96" y="39"/>
                  <a:pt x="96" y="39"/>
                </a:cubicBezTo>
                <a:cubicBezTo>
                  <a:pt x="95" y="39"/>
                  <a:pt x="95" y="39"/>
                  <a:pt x="95" y="39"/>
                </a:cubicBezTo>
                <a:cubicBezTo>
                  <a:pt x="92" y="38"/>
                  <a:pt x="91" y="39"/>
                  <a:pt x="92" y="42"/>
                </a:cubicBezTo>
                <a:cubicBezTo>
                  <a:pt x="91" y="42"/>
                  <a:pt x="91" y="43"/>
                  <a:pt x="90" y="43"/>
                </a:cubicBezTo>
                <a:cubicBezTo>
                  <a:pt x="90" y="47"/>
                  <a:pt x="89" y="50"/>
                  <a:pt x="88" y="54"/>
                </a:cubicBezTo>
                <a:cubicBezTo>
                  <a:pt x="85" y="54"/>
                  <a:pt x="85" y="56"/>
                  <a:pt x="83" y="57"/>
                </a:cubicBezTo>
                <a:cubicBezTo>
                  <a:pt x="82" y="57"/>
                  <a:pt x="82" y="58"/>
                  <a:pt x="80" y="58"/>
                </a:cubicBezTo>
                <a:cubicBezTo>
                  <a:pt x="80" y="58"/>
                  <a:pt x="80" y="59"/>
                  <a:pt x="80" y="59"/>
                </a:cubicBezTo>
                <a:cubicBezTo>
                  <a:pt x="80" y="60"/>
                  <a:pt x="79" y="60"/>
                  <a:pt x="77" y="60"/>
                </a:cubicBezTo>
                <a:cubicBezTo>
                  <a:pt x="77" y="58"/>
                  <a:pt x="79" y="58"/>
                  <a:pt x="79" y="57"/>
                </a:cubicBezTo>
                <a:cubicBezTo>
                  <a:pt x="79" y="57"/>
                  <a:pt x="78" y="57"/>
                  <a:pt x="78" y="56"/>
                </a:cubicBezTo>
                <a:cubicBezTo>
                  <a:pt x="78" y="55"/>
                  <a:pt x="78" y="55"/>
                  <a:pt x="78" y="54"/>
                </a:cubicBezTo>
                <a:cubicBezTo>
                  <a:pt x="78" y="54"/>
                  <a:pt x="79" y="52"/>
                  <a:pt x="78" y="52"/>
                </a:cubicBezTo>
                <a:cubicBezTo>
                  <a:pt x="78" y="53"/>
                  <a:pt x="76" y="52"/>
                  <a:pt x="75" y="53"/>
                </a:cubicBezTo>
                <a:cubicBezTo>
                  <a:pt x="74" y="53"/>
                  <a:pt x="74" y="54"/>
                  <a:pt x="73" y="53"/>
                </a:cubicBezTo>
                <a:cubicBezTo>
                  <a:pt x="73" y="54"/>
                  <a:pt x="73" y="54"/>
                  <a:pt x="72" y="54"/>
                </a:cubicBezTo>
                <a:cubicBezTo>
                  <a:pt x="70" y="55"/>
                  <a:pt x="70" y="57"/>
                  <a:pt x="68" y="58"/>
                </a:cubicBezTo>
                <a:cubicBezTo>
                  <a:pt x="66" y="57"/>
                  <a:pt x="66" y="60"/>
                  <a:pt x="64" y="60"/>
                </a:cubicBezTo>
                <a:cubicBezTo>
                  <a:pt x="64" y="63"/>
                  <a:pt x="62" y="63"/>
                  <a:pt x="62" y="66"/>
                </a:cubicBezTo>
                <a:cubicBezTo>
                  <a:pt x="61" y="66"/>
                  <a:pt x="61" y="65"/>
                  <a:pt x="61" y="65"/>
                </a:cubicBezTo>
                <a:cubicBezTo>
                  <a:pt x="62" y="63"/>
                  <a:pt x="62" y="60"/>
                  <a:pt x="64" y="60"/>
                </a:cubicBezTo>
                <a:cubicBezTo>
                  <a:pt x="64" y="58"/>
                  <a:pt x="64" y="56"/>
                  <a:pt x="64" y="54"/>
                </a:cubicBezTo>
                <a:cubicBezTo>
                  <a:pt x="63" y="54"/>
                  <a:pt x="60" y="55"/>
                  <a:pt x="60" y="53"/>
                </a:cubicBezTo>
                <a:cubicBezTo>
                  <a:pt x="61" y="53"/>
                  <a:pt x="62" y="53"/>
                  <a:pt x="64" y="53"/>
                </a:cubicBezTo>
                <a:cubicBezTo>
                  <a:pt x="64" y="52"/>
                  <a:pt x="65" y="51"/>
                  <a:pt x="65" y="51"/>
                </a:cubicBezTo>
                <a:cubicBezTo>
                  <a:pt x="66" y="51"/>
                  <a:pt x="66" y="50"/>
                  <a:pt x="66" y="50"/>
                </a:cubicBezTo>
                <a:cubicBezTo>
                  <a:pt x="67" y="50"/>
                  <a:pt x="67" y="50"/>
                  <a:pt x="67" y="49"/>
                </a:cubicBezTo>
                <a:cubicBezTo>
                  <a:pt x="65" y="49"/>
                  <a:pt x="63" y="49"/>
                  <a:pt x="63" y="48"/>
                </a:cubicBezTo>
                <a:cubicBezTo>
                  <a:pt x="65" y="48"/>
                  <a:pt x="65" y="48"/>
                  <a:pt x="65" y="46"/>
                </a:cubicBezTo>
                <a:cubicBezTo>
                  <a:pt x="66" y="44"/>
                  <a:pt x="63" y="45"/>
                  <a:pt x="63" y="43"/>
                </a:cubicBezTo>
                <a:cubicBezTo>
                  <a:pt x="63" y="41"/>
                  <a:pt x="64" y="41"/>
                  <a:pt x="64" y="39"/>
                </a:cubicBezTo>
                <a:cubicBezTo>
                  <a:pt x="64" y="38"/>
                  <a:pt x="64" y="38"/>
                  <a:pt x="65" y="37"/>
                </a:cubicBezTo>
                <a:cubicBezTo>
                  <a:pt x="66" y="39"/>
                  <a:pt x="64" y="39"/>
                  <a:pt x="65" y="42"/>
                </a:cubicBezTo>
                <a:cubicBezTo>
                  <a:pt x="66" y="42"/>
                  <a:pt x="66" y="43"/>
                  <a:pt x="68" y="43"/>
                </a:cubicBezTo>
                <a:cubicBezTo>
                  <a:pt x="69" y="42"/>
                  <a:pt x="70" y="43"/>
                  <a:pt x="70" y="42"/>
                </a:cubicBezTo>
                <a:cubicBezTo>
                  <a:pt x="70" y="41"/>
                  <a:pt x="71" y="40"/>
                  <a:pt x="72" y="40"/>
                </a:cubicBezTo>
                <a:cubicBezTo>
                  <a:pt x="74" y="41"/>
                  <a:pt x="73" y="38"/>
                  <a:pt x="74" y="37"/>
                </a:cubicBezTo>
                <a:cubicBezTo>
                  <a:pt x="75" y="37"/>
                  <a:pt x="75" y="36"/>
                  <a:pt x="75" y="35"/>
                </a:cubicBezTo>
                <a:cubicBezTo>
                  <a:pt x="74" y="34"/>
                  <a:pt x="73" y="34"/>
                  <a:pt x="72" y="33"/>
                </a:cubicBezTo>
                <a:cubicBezTo>
                  <a:pt x="71" y="33"/>
                  <a:pt x="72" y="32"/>
                  <a:pt x="72" y="33"/>
                </a:cubicBezTo>
                <a:cubicBezTo>
                  <a:pt x="74" y="33"/>
                  <a:pt x="74" y="34"/>
                  <a:pt x="76" y="34"/>
                </a:cubicBezTo>
                <a:cubicBezTo>
                  <a:pt x="76" y="31"/>
                  <a:pt x="73" y="32"/>
                  <a:pt x="73" y="30"/>
                </a:cubicBezTo>
                <a:cubicBezTo>
                  <a:pt x="73" y="29"/>
                  <a:pt x="75" y="29"/>
                  <a:pt x="74" y="28"/>
                </a:cubicBezTo>
                <a:cubicBezTo>
                  <a:pt x="73" y="28"/>
                  <a:pt x="72" y="28"/>
                  <a:pt x="72" y="27"/>
                </a:cubicBezTo>
                <a:cubicBezTo>
                  <a:pt x="71" y="25"/>
                  <a:pt x="72" y="24"/>
                  <a:pt x="74" y="23"/>
                </a:cubicBezTo>
                <a:cubicBezTo>
                  <a:pt x="74" y="23"/>
                  <a:pt x="74" y="22"/>
                  <a:pt x="74" y="22"/>
                </a:cubicBezTo>
                <a:cubicBezTo>
                  <a:pt x="73" y="22"/>
                  <a:pt x="73" y="21"/>
                  <a:pt x="73" y="21"/>
                </a:cubicBezTo>
                <a:cubicBezTo>
                  <a:pt x="72" y="21"/>
                  <a:pt x="72" y="20"/>
                  <a:pt x="72" y="20"/>
                </a:cubicBezTo>
                <a:cubicBezTo>
                  <a:pt x="72" y="19"/>
                  <a:pt x="73" y="18"/>
                  <a:pt x="73" y="17"/>
                </a:cubicBezTo>
                <a:cubicBezTo>
                  <a:pt x="72" y="17"/>
                  <a:pt x="72" y="16"/>
                  <a:pt x="72" y="14"/>
                </a:cubicBezTo>
                <a:cubicBezTo>
                  <a:pt x="71" y="14"/>
                  <a:pt x="71" y="14"/>
                  <a:pt x="71" y="14"/>
                </a:cubicBezTo>
                <a:cubicBezTo>
                  <a:pt x="70" y="14"/>
                  <a:pt x="69" y="14"/>
                  <a:pt x="68" y="13"/>
                </a:cubicBezTo>
                <a:cubicBezTo>
                  <a:pt x="68" y="12"/>
                  <a:pt x="70" y="12"/>
                  <a:pt x="69" y="10"/>
                </a:cubicBezTo>
                <a:cubicBezTo>
                  <a:pt x="69" y="9"/>
                  <a:pt x="69" y="8"/>
                  <a:pt x="69" y="7"/>
                </a:cubicBezTo>
                <a:cubicBezTo>
                  <a:pt x="69" y="7"/>
                  <a:pt x="69" y="6"/>
                  <a:pt x="69" y="5"/>
                </a:cubicBezTo>
                <a:cubicBezTo>
                  <a:pt x="68" y="5"/>
                  <a:pt x="68" y="5"/>
                  <a:pt x="68" y="5"/>
                </a:cubicBezTo>
                <a:cubicBezTo>
                  <a:pt x="67" y="4"/>
                  <a:pt x="67" y="3"/>
                  <a:pt x="66" y="3"/>
                </a:cubicBezTo>
                <a:cubicBezTo>
                  <a:pt x="66" y="4"/>
                  <a:pt x="65" y="4"/>
                  <a:pt x="64" y="4"/>
                </a:cubicBezTo>
                <a:cubicBezTo>
                  <a:pt x="63" y="2"/>
                  <a:pt x="62" y="2"/>
                  <a:pt x="62" y="0"/>
                </a:cubicBezTo>
                <a:cubicBezTo>
                  <a:pt x="60" y="1"/>
                  <a:pt x="59" y="0"/>
                  <a:pt x="58" y="0"/>
                </a:cubicBezTo>
                <a:cubicBezTo>
                  <a:pt x="59" y="1"/>
                  <a:pt x="58" y="1"/>
                  <a:pt x="57" y="1"/>
                </a:cubicBezTo>
                <a:cubicBezTo>
                  <a:pt x="57" y="2"/>
                  <a:pt x="56" y="2"/>
                  <a:pt x="56" y="3"/>
                </a:cubicBezTo>
                <a:cubicBezTo>
                  <a:pt x="56" y="5"/>
                  <a:pt x="58" y="6"/>
                  <a:pt x="60" y="5"/>
                </a:cubicBezTo>
                <a:cubicBezTo>
                  <a:pt x="61" y="6"/>
                  <a:pt x="61" y="7"/>
                  <a:pt x="62" y="7"/>
                </a:cubicBezTo>
                <a:cubicBezTo>
                  <a:pt x="62" y="10"/>
                  <a:pt x="65" y="9"/>
                  <a:pt x="65" y="12"/>
                </a:cubicBezTo>
                <a:cubicBezTo>
                  <a:pt x="64" y="12"/>
                  <a:pt x="63" y="12"/>
                  <a:pt x="62" y="12"/>
                </a:cubicBezTo>
                <a:cubicBezTo>
                  <a:pt x="62" y="12"/>
                  <a:pt x="61" y="12"/>
                  <a:pt x="60" y="12"/>
                </a:cubicBezTo>
                <a:cubicBezTo>
                  <a:pt x="60" y="11"/>
                  <a:pt x="61" y="11"/>
                  <a:pt x="60" y="11"/>
                </a:cubicBezTo>
                <a:cubicBezTo>
                  <a:pt x="60" y="11"/>
                  <a:pt x="59" y="11"/>
                  <a:pt x="59" y="10"/>
                </a:cubicBezTo>
                <a:cubicBezTo>
                  <a:pt x="59" y="10"/>
                  <a:pt x="59" y="7"/>
                  <a:pt x="57" y="8"/>
                </a:cubicBezTo>
                <a:cubicBezTo>
                  <a:pt x="57" y="9"/>
                  <a:pt x="56" y="9"/>
                  <a:pt x="56" y="9"/>
                </a:cubicBezTo>
                <a:cubicBezTo>
                  <a:pt x="55" y="12"/>
                  <a:pt x="57" y="14"/>
                  <a:pt x="58" y="16"/>
                </a:cubicBezTo>
                <a:cubicBezTo>
                  <a:pt x="58" y="17"/>
                  <a:pt x="59" y="18"/>
                  <a:pt x="60" y="19"/>
                </a:cubicBezTo>
                <a:cubicBezTo>
                  <a:pt x="58" y="21"/>
                  <a:pt x="59" y="24"/>
                  <a:pt x="59" y="27"/>
                </a:cubicBezTo>
                <a:cubicBezTo>
                  <a:pt x="58" y="27"/>
                  <a:pt x="57" y="27"/>
                  <a:pt x="56" y="28"/>
                </a:cubicBezTo>
                <a:cubicBezTo>
                  <a:pt x="56" y="30"/>
                  <a:pt x="53" y="27"/>
                  <a:pt x="56" y="28"/>
                </a:cubicBezTo>
                <a:cubicBezTo>
                  <a:pt x="56" y="26"/>
                  <a:pt x="56" y="25"/>
                  <a:pt x="56" y="24"/>
                </a:cubicBezTo>
                <a:cubicBezTo>
                  <a:pt x="55" y="24"/>
                  <a:pt x="55" y="25"/>
                  <a:pt x="53" y="25"/>
                </a:cubicBezTo>
                <a:cubicBezTo>
                  <a:pt x="53" y="26"/>
                  <a:pt x="52" y="26"/>
                  <a:pt x="52" y="25"/>
                </a:cubicBezTo>
                <a:cubicBezTo>
                  <a:pt x="52" y="25"/>
                  <a:pt x="53" y="25"/>
                  <a:pt x="53" y="25"/>
                </a:cubicBezTo>
                <a:cubicBezTo>
                  <a:pt x="54" y="24"/>
                  <a:pt x="54" y="22"/>
                  <a:pt x="55" y="22"/>
                </a:cubicBezTo>
                <a:cubicBezTo>
                  <a:pt x="54" y="21"/>
                  <a:pt x="56" y="18"/>
                  <a:pt x="54" y="19"/>
                </a:cubicBezTo>
                <a:cubicBezTo>
                  <a:pt x="54" y="19"/>
                  <a:pt x="53" y="19"/>
                  <a:pt x="53" y="19"/>
                </a:cubicBezTo>
                <a:cubicBezTo>
                  <a:pt x="53" y="20"/>
                  <a:pt x="53" y="20"/>
                  <a:pt x="53" y="21"/>
                </a:cubicBezTo>
                <a:cubicBezTo>
                  <a:pt x="52" y="21"/>
                  <a:pt x="52" y="21"/>
                  <a:pt x="51" y="21"/>
                </a:cubicBezTo>
                <a:cubicBezTo>
                  <a:pt x="50" y="20"/>
                  <a:pt x="51" y="17"/>
                  <a:pt x="50" y="17"/>
                </a:cubicBezTo>
                <a:cubicBezTo>
                  <a:pt x="50" y="18"/>
                  <a:pt x="49" y="18"/>
                  <a:pt x="49" y="17"/>
                </a:cubicBezTo>
                <a:cubicBezTo>
                  <a:pt x="49" y="16"/>
                  <a:pt x="50" y="15"/>
                  <a:pt x="50" y="14"/>
                </a:cubicBezTo>
                <a:cubicBezTo>
                  <a:pt x="49" y="14"/>
                  <a:pt x="49" y="14"/>
                  <a:pt x="49" y="13"/>
                </a:cubicBezTo>
                <a:cubicBezTo>
                  <a:pt x="49" y="13"/>
                  <a:pt x="49" y="12"/>
                  <a:pt x="49" y="11"/>
                </a:cubicBezTo>
                <a:cubicBezTo>
                  <a:pt x="49" y="11"/>
                  <a:pt x="50" y="11"/>
                  <a:pt x="50" y="10"/>
                </a:cubicBezTo>
                <a:cubicBezTo>
                  <a:pt x="50" y="10"/>
                  <a:pt x="50" y="10"/>
                  <a:pt x="50" y="9"/>
                </a:cubicBezTo>
                <a:cubicBezTo>
                  <a:pt x="49" y="9"/>
                  <a:pt x="49" y="8"/>
                  <a:pt x="49" y="7"/>
                </a:cubicBezTo>
                <a:cubicBezTo>
                  <a:pt x="49" y="6"/>
                  <a:pt x="48" y="6"/>
                  <a:pt x="47" y="6"/>
                </a:cubicBezTo>
                <a:cubicBezTo>
                  <a:pt x="48" y="5"/>
                  <a:pt x="44" y="5"/>
                  <a:pt x="44" y="6"/>
                </a:cubicBezTo>
                <a:cubicBezTo>
                  <a:pt x="45" y="6"/>
                  <a:pt x="45" y="7"/>
                  <a:pt x="45" y="8"/>
                </a:cubicBezTo>
                <a:cubicBezTo>
                  <a:pt x="43" y="8"/>
                  <a:pt x="44" y="6"/>
                  <a:pt x="42" y="6"/>
                </a:cubicBezTo>
                <a:cubicBezTo>
                  <a:pt x="41" y="8"/>
                  <a:pt x="42" y="9"/>
                  <a:pt x="42" y="10"/>
                </a:cubicBezTo>
                <a:cubicBezTo>
                  <a:pt x="43" y="10"/>
                  <a:pt x="43" y="12"/>
                  <a:pt x="44" y="12"/>
                </a:cubicBezTo>
                <a:cubicBezTo>
                  <a:pt x="44" y="12"/>
                  <a:pt x="44" y="13"/>
                  <a:pt x="43" y="13"/>
                </a:cubicBezTo>
                <a:cubicBezTo>
                  <a:pt x="41" y="13"/>
                  <a:pt x="41" y="12"/>
                  <a:pt x="41" y="10"/>
                </a:cubicBezTo>
                <a:cubicBezTo>
                  <a:pt x="38" y="11"/>
                  <a:pt x="41" y="7"/>
                  <a:pt x="38" y="8"/>
                </a:cubicBezTo>
                <a:cubicBezTo>
                  <a:pt x="37" y="8"/>
                  <a:pt x="38" y="9"/>
                  <a:pt x="37" y="9"/>
                </a:cubicBezTo>
                <a:cubicBezTo>
                  <a:pt x="37" y="10"/>
                  <a:pt x="38" y="11"/>
                  <a:pt x="37" y="11"/>
                </a:cubicBezTo>
                <a:cubicBezTo>
                  <a:pt x="37" y="13"/>
                  <a:pt x="39" y="13"/>
                  <a:pt x="38" y="16"/>
                </a:cubicBezTo>
                <a:cubicBezTo>
                  <a:pt x="39" y="16"/>
                  <a:pt x="40" y="17"/>
                  <a:pt x="40" y="18"/>
                </a:cubicBezTo>
                <a:cubicBezTo>
                  <a:pt x="40" y="18"/>
                  <a:pt x="41" y="19"/>
                  <a:pt x="41" y="20"/>
                </a:cubicBezTo>
                <a:cubicBezTo>
                  <a:pt x="41" y="20"/>
                  <a:pt x="40" y="20"/>
                  <a:pt x="40" y="19"/>
                </a:cubicBezTo>
                <a:cubicBezTo>
                  <a:pt x="39" y="19"/>
                  <a:pt x="39" y="18"/>
                  <a:pt x="39" y="18"/>
                </a:cubicBezTo>
                <a:cubicBezTo>
                  <a:pt x="38" y="17"/>
                  <a:pt x="38" y="17"/>
                  <a:pt x="37" y="17"/>
                </a:cubicBezTo>
                <a:cubicBezTo>
                  <a:pt x="37" y="17"/>
                  <a:pt x="38" y="17"/>
                  <a:pt x="37" y="16"/>
                </a:cubicBezTo>
                <a:cubicBezTo>
                  <a:pt x="37" y="16"/>
                  <a:pt x="37" y="17"/>
                  <a:pt x="37" y="16"/>
                </a:cubicBezTo>
                <a:cubicBezTo>
                  <a:pt x="36" y="16"/>
                  <a:pt x="36" y="15"/>
                  <a:pt x="36" y="15"/>
                </a:cubicBezTo>
                <a:cubicBezTo>
                  <a:pt x="36" y="15"/>
                  <a:pt x="35" y="15"/>
                  <a:pt x="35" y="15"/>
                </a:cubicBezTo>
                <a:cubicBezTo>
                  <a:pt x="35" y="15"/>
                  <a:pt x="35" y="13"/>
                  <a:pt x="33" y="14"/>
                </a:cubicBezTo>
                <a:cubicBezTo>
                  <a:pt x="32" y="14"/>
                  <a:pt x="32" y="15"/>
                  <a:pt x="32" y="16"/>
                </a:cubicBezTo>
                <a:cubicBezTo>
                  <a:pt x="32" y="16"/>
                  <a:pt x="32" y="16"/>
                  <a:pt x="33" y="17"/>
                </a:cubicBezTo>
                <a:cubicBezTo>
                  <a:pt x="33" y="18"/>
                  <a:pt x="33" y="20"/>
                  <a:pt x="33" y="21"/>
                </a:cubicBezTo>
                <a:cubicBezTo>
                  <a:pt x="36" y="20"/>
                  <a:pt x="35" y="22"/>
                  <a:pt x="37" y="22"/>
                </a:cubicBezTo>
                <a:cubicBezTo>
                  <a:pt x="38" y="23"/>
                  <a:pt x="40" y="23"/>
                  <a:pt x="40" y="24"/>
                </a:cubicBezTo>
                <a:cubicBezTo>
                  <a:pt x="37" y="24"/>
                  <a:pt x="37" y="22"/>
                  <a:pt x="34" y="23"/>
                </a:cubicBezTo>
                <a:cubicBezTo>
                  <a:pt x="34" y="25"/>
                  <a:pt x="36" y="25"/>
                  <a:pt x="35" y="28"/>
                </a:cubicBezTo>
                <a:cubicBezTo>
                  <a:pt x="34" y="27"/>
                  <a:pt x="32" y="28"/>
                  <a:pt x="32" y="27"/>
                </a:cubicBezTo>
                <a:cubicBezTo>
                  <a:pt x="31" y="24"/>
                  <a:pt x="33" y="24"/>
                  <a:pt x="33" y="22"/>
                </a:cubicBezTo>
                <a:cubicBezTo>
                  <a:pt x="32" y="22"/>
                  <a:pt x="31" y="22"/>
                  <a:pt x="31" y="21"/>
                </a:cubicBezTo>
                <a:cubicBezTo>
                  <a:pt x="31" y="20"/>
                  <a:pt x="31" y="20"/>
                  <a:pt x="30" y="19"/>
                </a:cubicBezTo>
                <a:cubicBezTo>
                  <a:pt x="30" y="18"/>
                  <a:pt x="29" y="18"/>
                  <a:pt x="29" y="17"/>
                </a:cubicBezTo>
                <a:cubicBezTo>
                  <a:pt x="29" y="17"/>
                  <a:pt x="28" y="17"/>
                  <a:pt x="28" y="17"/>
                </a:cubicBezTo>
                <a:cubicBezTo>
                  <a:pt x="28" y="17"/>
                  <a:pt x="29" y="16"/>
                  <a:pt x="28" y="16"/>
                </a:cubicBezTo>
                <a:cubicBezTo>
                  <a:pt x="28" y="15"/>
                  <a:pt x="26" y="15"/>
                  <a:pt x="26" y="15"/>
                </a:cubicBezTo>
                <a:cubicBezTo>
                  <a:pt x="26" y="17"/>
                  <a:pt x="24" y="18"/>
                  <a:pt x="25" y="21"/>
                </a:cubicBezTo>
                <a:cubicBezTo>
                  <a:pt x="25" y="21"/>
                  <a:pt x="26" y="21"/>
                  <a:pt x="25" y="21"/>
                </a:cubicBezTo>
                <a:cubicBezTo>
                  <a:pt x="25" y="21"/>
                  <a:pt x="25" y="21"/>
                  <a:pt x="25" y="21"/>
                </a:cubicBezTo>
                <a:cubicBezTo>
                  <a:pt x="24" y="21"/>
                  <a:pt x="24" y="20"/>
                  <a:pt x="23" y="19"/>
                </a:cubicBezTo>
                <a:cubicBezTo>
                  <a:pt x="23" y="19"/>
                  <a:pt x="22" y="19"/>
                  <a:pt x="22" y="20"/>
                </a:cubicBezTo>
                <a:cubicBezTo>
                  <a:pt x="23" y="20"/>
                  <a:pt x="23" y="22"/>
                  <a:pt x="23" y="23"/>
                </a:cubicBezTo>
                <a:cubicBezTo>
                  <a:pt x="23" y="23"/>
                  <a:pt x="23" y="23"/>
                  <a:pt x="23" y="23"/>
                </a:cubicBezTo>
                <a:cubicBezTo>
                  <a:pt x="24" y="24"/>
                  <a:pt x="23" y="24"/>
                  <a:pt x="23" y="25"/>
                </a:cubicBezTo>
                <a:cubicBezTo>
                  <a:pt x="24" y="25"/>
                  <a:pt x="25" y="26"/>
                  <a:pt x="25" y="27"/>
                </a:cubicBezTo>
                <a:cubicBezTo>
                  <a:pt x="24" y="27"/>
                  <a:pt x="24" y="26"/>
                  <a:pt x="23" y="26"/>
                </a:cubicBezTo>
                <a:cubicBezTo>
                  <a:pt x="23" y="26"/>
                  <a:pt x="23" y="26"/>
                  <a:pt x="23" y="26"/>
                </a:cubicBezTo>
                <a:cubicBezTo>
                  <a:pt x="23" y="26"/>
                  <a:pt x="22" y="26"/>
                  <a:pt x="22" y="26"/>
                </a:cubicBezTo>
                <a:cubicBezTo>
                  <a:pt x="22" y="25"/>
                  <a:pt x="22" y="24"/>
                  <a:pt x="22" y="23"/>
                </a:cubicBezTo>
                <a:cubicBezTo>
                  <a:pt x="21" y="23"/>
                  <a:pt x="21" y="22"/>
                  <a:pt x="21" y="21"/>
                </a:cubicBezTo>
                <a:cubicBezTo>
                  <a:pt x="20" y="21"/>
                  <a:pt x="20" y="20"/>
                  <a:pt x="20" y="19"/>
                </a:cubicBezTo>
                <a:cubicBezTo>
                  <a:pt x="19" y="19"/>
                  <a:pt x="19" y="19"/>
                  <a:pt x="19" y="19"/>
                </a:cubicBezTo>
                <a:cubicBezTo>
                  <a:pt x="18" y="18"/>
                  <a:pt x="17" y="19"/>
                  <a:pt x="17" y="20"/>
                </a:cubicBezTo>
                <a:cubicBezTo>
                  <a:pt x="15" y="20"/>
                  <a:pt x="15" y="21"/>
                  <a:pt x="13" y="21"/>
                </a:cubicBezTo>
                <a:cubicBezTo>
                  <a:pt x="13" y="22"/>
                  <a:pt x="14" y="22"/>
                  <a:pt x="15" y="23"/>
                </a:cubicBezTo>
                <a:cubicBezTo>
                  <a:pt x="16" y="23"/>
                  <a:pt x="17" y="24"/>
                  <a:pt x="18" y="24"/>
                </a:cubicBezTo>
                <a:cubicBezTo>
                  <a:pt x="18" y="25"/>
                  <a:pt x="19" y="25"/>
                  <a:pt x="19" y="26"/>
                </a:cubicBezTo>
                <a:cubicBezTo>
                  <a:pt x="19" y="26"/>
                  <a:pt x="19" y="26"/>
                  <a:pt x="19" y="27"/>
                </a:cubicBezTo>
                <a:cubicBezTo>
                  <a:pt x="19" y="29"/>
                  <a:pt x="21" y="30"/>
                  <a:pt x="21" y="32"/>
                </a:cubicBezTo>
                <a:cubicBezTo>
                  <a:pt x="23" y="32"/>
                  <a:pt x="26" y="31"/>
                  <a:pt x="27" y="32"/>
                </a:cubicBezTo>
                <a:cubicBezTo>
                  <a:pt x="27" y="33"/>
                  <a:pt x="28" y="33"/>
                  <a:pt x="28" y="33"/>
                </a:cubicBezTo>
                <a:cubicBezTo>
                  <a:pt x="28" y="33"/>
                  <a:pt x="29" y="33"/>
                  <a:pt x="30" y="33"/>
                </a:cubicBezTo>
                <a:cubicBezTo>
                  <a:pt x="30" y="33"/>
                  <a:pt x="30" y="34"/>
                  <a:pt x="30" y="34"/>
                </a:cubicBezTo>
                <a:cubicBezTo>
                  <a:pt x="30" y="34"/>
                  <a:pt x="31" y="33"/>
                  <a:pt x="31" y="33"/>
                </a:cubicBezTo>
                <a:cubicBezTo>
                  <a:pt x="32" y="33"/>
                  <a:pt x="32" y="35"/>
                  <a:pt x="33" y="35"/>
                </a:cubicBezTo>
                <a:cubicBezTo>
                  <a:pt x="34" y="34"/>
                  <a:pt x="34" y="33"/>
                  <a:pt x="35" y="33"/>
                </a:cubicBezTo>
                <a:cubicBezTo>
                  <a:pt x="37" y="33"/>
                  <a:pt x="37" y="35"/>
                  <a:pt x="39" y="35"/>
                </a:cubicBezTo>
                <a:cubicBezTo>
                  <a:pt x="39" y="35"/>
                  <a:pt x="40" y="36"/>
                  <a:pt x="40" y="37"/>
                </a:cubicBezTo>
                <a:cubicBezTo>
                  <a:pt x="40" y="37"/>
                  <a:pt x="40" y="37"/>
                  <a:pt x="40" y="37"/>
                </a:cubicBezTo>
                <a:cubicBezTo>
                  <a:pt x="41" y="37"/>
                  <a:pt x="41" y="38"/>
                  <a:pt x="41" y="38"/>
                </a:cubicBezTo>
                <a:cubicBezTo>
                  <a:pt x="41" y="39"/>
                  <a:pt x="40" y="39"/>
                  <a:pt x="40" y="39"/>
                </a:cubicBezTo>
                <a:cubicBezTo>
                  <a:pt x="40" y="39"/>
                  <a:pt x="41" y="40"/>
                  <a:pt x="42" y="41"/>
                </a:cubicBezTo>
                <a:cubicBezTo>
                  <a:pt x="42" y="40"/>
                  <a:pt x="42" y="40"/>
                  <a:pt x="42" y="39"/>
                </a:cubicBezTo>
                <a:cubicBezTo>
                  <a:pt x="42" y="39"/>
                  <a:pt x="42" y="37"/>
                  <a:pt x="42" y="37"/>
                </a:cubicBezTo>
                <a:cubicBezTo>
                  <a:pt x="44" y="37"/>
                  <a:pt x="43" y="35"/>
                  <a:pt x="44" y="35"/>
                </a:cubicBezTo>
                <a:cubicBezTo>
                  <a:pt x="45" y="37"/>
                  <a:pt x="43" y="37"/>
                  <a:pt x="44" y="39"/>
                </a:cubicBezTo>
                <a:cubicBezTo>
                  <a:pt x="44" y="39"/>
                  <a:pt x="45" y="39"/>
                  <a:pt x="46" y="39"/>
                </a:cubicBezTo>
                <a:cubicBezTo>
                  <a:pt x="47" y="40"/>
                  <a:pt x="47" y="41"/>
                  <a:pt x="47" y="42"/>
                </a:cubicBezTo>
                <a:cubicBezTo>
                  <a:pt x="49" y="41"/>
                  <a:pt x="50" y="40"/>
                  <a:pt x="50" y="43"/>
                </a:cubicBezTo>
                <a:cubicBezTo>
                  <a:pt x="49" y="43"/>
                  <a:pt x="48" y="43"/>
                  <a:pt x="47" y="43"/>
                </a:cubicBezTo>
                <a:cubicBezTo>
                  <a:pt x="47" y="44"/>
                  <a:pt x="48" y="45"/>
                  <a:pt x="49" y="46"/>
                </a:cubicBezTo>
                <a:cubicBezTo>
                  <a:pt x="50" y="45"/>
                  <a:pt x="50" y="47"/>
                  <a:pt x="52" y="46"/>
                </a:cubicBezTo>
                <a:cubicBezTo>
                  <a:pt x="53" y="47"/>
                  <a:pt x="52" y="49"/>
                  <a:pt x="54" y="48"/>
                </a:cubicBezTo>
                <a:cubicBezTo>
                  <a:pt x="54" y="49"/>
                  <a:pt x="55" y="50"/>
                  <a:pt x="56" y="51"/>
                </a:cubicBezTo>
                <a:cubicBezTo>
                  <a:pt x="55" y="51"/>
                  <a:pt x="55" y="51"/>
                  <a:pt x="54" y="51"/>
                </a:cubicBezTo>
                <a:cubicBezTo>
                  <a:pt x="54" y="51"/>
                  <a:pt x="54" y="51"/>
                  <a:pt x="53" y="51"/>
                </a:cubicBezTo>
                <a:cubicBezTo>
                  <a:pt x="53" y="51"/>
                  <a:pt x="53" y="51"/>
                  <a:pt x="53" y="51"/>
                </a:cubicBezTo>
                <a:cubicBezTo>
                  <a:pt x="52" y="51"/>
                  <a:pt x="52" y="51"/>
                  <a:pt x="51" y="51"/>
                </a:cubicBezTo>
                <a:cubicBezTo>
                  <a:pt x="50" y="51"/>
                  <a:pt x="49" y="51"/>
                  <a:pt x="48" y="51"/>
                </a:cubicBezTo>
                <a:cubicBezTo>
                  <a:pt x="47" y="51"/>
                  <a:pt x="47" y="52"/>
                  <a:pt x="46" y="52"/>
                </a:cubicBezTo>
                <a:cubicBezTo>
                  <a:pt x="46" y="51"/>
                  <a:pt x="45" y="51"/>
                  <a:pt x="43" y="51"/>
                </a:cubicBezTo>
                <a:cubicBezTo>
                  <a:pt x="42" y="51"/>
                  <a:pt x="42" y="52"/>
                  <a:pt x="42" y="52"/>
                </a:cubicBezTo>
                <a:cubicBezTo>
                  <a:pt x="41" y="52"/>
                  <a:pt x="40" y="51"/>
                  <a:pt x="40" y="53"/>
                </a:cubicBezTo>
                <a:cubicBezTo>
                  <a:pt x="38" y="53"/>
                  <a:pt x="36" y="53"/>
                  <a:pt x="36" y="54"/>
                </a:cubicBezTo>
                <a:cubicBezTo>
                  <a:pt x="38" y="56"/>
                  <a:pt x="41" y="56"/>
                  <a:pt x="41" y="60"/>
                </a:cubicBezTo>
                <a:cubicBezTo>
                  <a:pt x="43" y="61"/>
                  <a:pt x="44" y="61"/>
                  <a:pt x="46" y="61"/>
                </a:cubicBezTo>
                <a:cubicBezTo>
                  <a:pt x="48" y="61"/>
                  <a:pt x="49" y="59"/>
                  <a:pt x="50" y="61"/>
                </a:cubicBezTo>
                <a:cubicBezTo>
                  <a:pt x="50" y="63"/>
                  <a:pt x="49" y="63"/>
                  <a:pt x="48" y="63"/>
                </a:cubicBezTo>
                <a:cubicBezTo>
                  <a:pt x="48" y="64"/>
                  <a:pt x="47" y="65"/>
                  <a:pt x="46" y="65"/>
                </a:cubicBezTo>
                <a:cubicBezTo>
                  <a:pt x="46" y="66"/>
                  <a:pt x="46" y="66"/>
                  <a:pt x="45" y="67"/>
                </a:cubicBezTo>
                <a:cubicBezTo>
                  <a:pt x="43" y="67"/>
                  <a:pt x="43" y="66"/>
                  <a:pt x="42" y="65"/>
                </a:cubicBezTo>
                <a:cubicBezTo>
                  <a:pt x="40" y="65"/>
                  <a:pt x="41" y="63"/>
                  <a:pt x="39" y="64"/>
                </a:cubicBezTo>
                <a:cubicBezTo>
                  <a:pt x="38" y="62"/>
                  <a:pt x="36" y="62"/>
                  <a:pt x="36" y="60"/>
                </a:cubicBezTo>
                <a:cubicBezTo>
                  <a:pt x="35" y="60"/>
                  <a:pt x="33" y="60"/>
                  <a:pt x="33" y="59"/>
                </a:cubicBezTo>
                <a:cubicBezTo>
                  <a:pt x="33" y="59"/>
                  <a:pt x="32" y="59"/>
                  <a:pt x="32" y="59"/>
                </a:cubicBezTo>
                <a:cubicBezTo>
                  <a:pt x="32" y="59"/>
                  <a:pt x="31" y="60"/>
                  <a:pt x="31" y="60"/>
                </a:cubicBezTo>
                <a:cubicBezTo>
                  <a:pt x="31" y="60"/>
                  <a:pt x="30" y="59"/>
                  <a:pt x="30" y="59"/>
                </a:cubicBezTo>
                <a:cubicBezTo>
                  <a:pt x="30" y="58"/>
                  <a:pt x="31" y="57"/>
                  <a:pt x="30" y="55"/>
                </a:cubicBezTo>
                <a:cubicBezTo>
                  <a:pt x="28" y="55"/>
                  <a:pt x="28" y="57"/>
                  <a:pt x="26" y="57"/>
                </a:cubicBezTo>
                <a:cubicBezTo>
                  <a:pt x="26" y="57"/>
                  <a:pt x="25" y="56"/>
                  <a:pt x="25" y="55"/>
                </a:cubicBezTo>
                <a:cubicBezTo>
                  <a:pt x="24" y="55"/>
                  <a:pt x="23" y="56"/>
                  <a:pt x="22" y="56"/>
                </a:cubicBezTo>
                <a:cubicBezTo>
                  <a:pt x="22" y="56"/>
                  <a:pt x="23" y="55"/>
                  <a:pt x="23" y="54"/>
                </a:cubicBezTo>
                <a:cubicBezTo>
                  <a:pt x="22" y="54"/>
                  <a:pt x="21" y="53"/>
                  <a:pt x="20" y="53"/>
                </a:cubicBezTo>
                <a:cubicBezTo>
                  <a:pt x="18" y="53"/>
                  <a:pt x="20" y="57"/>
                  <a:pt x="19" y="56"/>
                </a:cubicBezTo>
                <a:cubicBezTo>
                  <a:pt x="18" y="54"/>
                  <a:pt x="17" y="53"/>
                  <a:pt x="15" y="53"/>
                </a:cubicBezTo>
                <a:cubicBezTo>
                  <a:pt x="13" y="53"/>
                  <a:pt x="12" y="53"/>
                  <a:pt x="10" y="53"/>
                </a:cubicBezTo>
                <a:cubicBezTo>
                  <a:pt x="10" y="52"/>
                  <a:pt x="10" y="52"/>
                  <a:pt x="10" y="51"/>
                </a:cubicBezTo>
                <a:cubicBezTo>
                  <a:pt x="8" y="51"/>
                  <a:pt x="6" y="49"/>
                  <a:pt x="4" y="50"/>
                </a:cubicBezTo>
                <a:cubicBezTo>
                  <a:pt x="4" y="50"/>
                  <a:pt x="4" y="51"/>
                  <a:pt x="3" y="51"/>
                </a:cubicBezTo>
                <a:cubicBezTo>
                  <a:pt x="3" y="51"/>
                  <a:pt x="3" y="51"/>
                  <a:pt x="3" y="51"/>
                </a:cubicBezTo>
                <a:cubicBezTo>
                  <a:pt x="4" y="51"/>
                  <a:pt x="4" y="52"/>
                  <a:pt x="3" y="51"/>
                </a:cubicBezTo>
                <a:cubicBezTo>
                  <a:pt x="1" y="52"/>
                  <a:pt x="4" y="53"/>
                  <a:pt x="3" y="54"/>
                </a:cubicBezTo>
                <a:cubicBezTo>
                  <a:pt x="3" y="55"/>
                  <a:pt x="3" y="56"/>
                  <a:pt x="3" y="57"/>
                </a:cubicBezTo>
                <a:cubicBezTo>
                  <a:pt x="4" y="57"/>
                  <a:pt x="4" y="57"/>
                  <a:pt x="5" y="58"/>
                </a:cubicBezTo>
                <a:cubicBezTo>
                  <a:pt x="6" y="58"/>
                  <a:pt x="7" y="58"/>
                  <a:pt x="8" y="58"/>
                </a:cubicBezTo>
                <a:cubicBezTo>
                  <a:pt x="8" y="58"/>
                  <a:pt x="9" y="58"/>
                  <a:pt x="9" y="58"/>
                </a:cubicBezTo>
                <a:cubicBezTo>
                  <a:pt x="10" y="57"/>
                  <a:pt x="11" y="57"/>
                  <a:pt x="11" y="59"/>
                </a:cubicBezTo>
                <a:cubicBezTo>
                  <a:pt x="11" y="59"/>
                  <a:pt x="12" y="59"/>
                  <a:pt x="12" y="60"/>
                </a:cubicBezTo>
                <a:cubicBezTo>
                  <a:pt x="12" y="59"/>
                  <a:pt x="12" y="58"/>
                  <a:pt x="13" y="58"/>
                </a:cubicBezTo>
                <a:cubicBezTo>
                  <a:pt x="13" y="60"/>
                  <a:pt x="15" y="59"/>
                  <a:pt x="15" y="60"/>
                </a:cubicBezTo>
                <a:cubicBezTo>
                  <a:pt x="16" y="61"/>
                  <a:pt x="17" y="61"/>
                  <a:pt x="18" y="62"/>
                </a:cubicBezTo>
                <a:cubicBezTo>
                  <a:pt x="18" y="63"/>
                  <a:pt x="20" y="64"/>
                  <a:pt x="21" y="65"/>
                </a:cubicBezTo>
                <a:cubicBezTo>
                  <a:pt x="22" y="65"/>
                  <a:pt x="21" y="65"/>
                  <a:pt x="22" y="65"/>
                </a:cubicBezTo>
                <a:cubicBezTo>
                  <a:pt x="22" y="65"/>
                  <a:pt x="23" y="65"/>
                  <a:pt x="23" y="65"/>
                </a:cubicBezTo>
                <a:cubicBezTo>
                  <a:pt x="22" y="67"/>
                  <a:pt x="24" y="67"/>
                  <a:pt x="24" y="68"/>
                </a:cubicBezTo>
                <a:cubicBezTo>
                  <a:pt x="26" y="69"/>
                  <a:pt x="26" y="69"/>
                  <a:pt x="28" y="68"/>
                </a:cubicBezTo>
                <a:cubicBezTo>
                  <a:pt x="29" y="69"/>
                  <a:pt x="27" y="70"/>
                  <a:pt x="28" y="70"/>
                </a:cubicBezTo>
                <a:cubicBezTo>
                  <a:pt x="29" y="71"/>
                  <a:pt x="29" y="71"/>
                  <a:pt x="29" y="72"/>
                </a:cubicBezTo>
                <a:cubicBezTo>
                  <a:pt x="27" y="73"/>
                  <a:pt x="27" y="74"/>
                  <a:pt x="26" y="75"/>
                </a:cubicBezTo>
                <a:cubicBezTo>
                  <a:pt x="26" y="76"/>
                  <a:pt x="25" y="76"/>
                  <a:pt x="25" y="76"/>
                </a:cubicBezTo>
                <a:cubicBezTo>
                  <a:pt x="25" y="78"/>
                  <a:pt x="25" y="80"/>
                  <a:pt x="24" y="81"/>
                </a:cubicBezTo>
                <a:cubicBezTo>
                  <a:pt x="27" y="81"/>
                  <a:pt x="25" y="82"/>
                  <a:pt x="25" y="84"/>
                </a:cubicBezTo>
                <a:cubicBezTo>
                  <a:pt x="27" y="84"/>
                  <a:pt x="29" y="84"/>
                  <a:pt x="30" y="83"/>
                </a:cubicBezTo>
                <a:cubicBezTo>
                  <a:pt x="29" y="87"/>
                  <a:pt x="36" y="83"/>
                  <a:pt x="35" y="86"/>
                </a:cubicBezTo>
                <a:cubicBezTo>
                  <a:pt x="33" y="86"/>
                  <a:pt x="32" y="86"/>
                  <a:pt x="31" y="86"/>
                </a:cubicBezTo>
                <a:cubicBezTo>
                  <a:pt x="31" y="86"/>
                  <a:pt x="29" y="85"/>
                  <a:pt x="29" y="86"/>
                </a:cubicBezTo>
                <a:cubicBezTo>
                  <a:pt x="31" y="86"/>
                  <a:pt x="29" y="88"/>
                  <a:pt x="28" y="88"/>
                </a:cubicBezTo>
                <a:cubicBezTo>
                  <a:pt x="27" y="88"/>
                  <a:pt x="27" y="89"/>
                  <a:pt x="26" y="90"/>
                </a:cubicBezTo>
                <a:cubicBezTo>
                  <a:pt x="26" y="90"/>
                  <a:pt x="26" y="90"/>
                  <a:pt x="26" y="90"/>
                </a:cubicBezTo>
                <a:cubicBezTo>
                  <a:pt x="26" y="90"/>
                  <a:pt x="25" y="90"/>
                  <a:pt x="25" y="90"/>
                </a:cubicBezTo>
                <a:cubicBezTo>
                  <a:pt x="24" y="92"/>
                  <a:pt x="24" y="91"/>
                  <a:pt x="22" y="91"/>
                </a:cubicBezTo>
                <a:cubicBezTo>
                  <a:pt x="21" y="93"/>
                  <a:pt x="24" y="91"/>
                  <a:pt x="24" y="93"/>
                </a:cubicBezTo>
                <a:cubicBezTo>
                  <a:pt x="24" y="93"/>
                  <a:pt x="24" y="94"/>
                  <a:pt x="24" y="94"/>
                </a:cubicBezTo>
                <a:cubicBezTo>
                  <a:pt x="25" y="94"/>
                  <a:pt x="26" y="93"/>
                  <a:pt x="27" y="93"/>
                </a:cubicBezTo>
                <a:cubicBezTo>
                  <a:pt x="28" y="93"/>
                  <a:pt x="27" y="94"/>
                  <a:pt x="28" y="94"/>
                </a:cubicBezTo>
                <a:cubicBezTo>
                  <a:pt x="28" y="94"/>
                  <a:pt x="29" y="94"/>
                  <a:pt x="30" y="94"/>
                </a:cubicBezTo>
                <a:cubicBezTo>
                  <a:pt x="30" y="93"/>
                  <a:pt x="30" y="93"/>
                  <a:pt x="30" y="93"/>
                </a:cubicBezTo>
                <a:cubicBezTo>
                  <a:pt x="31" y="93"/>
                  <a:pt x="32" y="92"/>
                  <a:pt x="33" y="92"/>
                </a:cubicBezTo>
                <a:cubicBezTo>
                  <a:pt x="33" y="94"/>
                  <a:pt x="35" y="93"/>
                  <a:pt x="35" y="95"/>
                </a:cubicBezTo>
                <a:cubicBezTo>
                  <a:pt x="34" y="95"/>
                  <a:pt x="33" y="95"/>
                  <a:pt x="33" y="94"/>
                </a:cubicBezTo>
                <a:cubicBezTo>
                  <a:pt x="30" y="94"/>
                  <a:pt x="27" y="94"/>
                  <a:pt x="24" y="96"/>
                </a:cubicBezTo>
                <a:cubicBezTo>
                  <a:pt x="24" y="98"/>
                  <a:pt x="25" y="98"/>
                  <a:pt x="25" y="99"/>
                </a:cubicBezTo>
                <a:cubicBezTo>
                  <a:pt x="23" y="99"/>
                  <a:pt x="24" y="99"/>
                  <a:pt x="21" y="99"/>
                </a:cubicBezTo>
                <a:cubicBezTo>
                  <a:pt x="21" y="101"/>
                  <a:pt x="21" y="102"/>
                  <a:pt x="20" y="102"/>
                </a:cubicBezTo>
                <a:cubicBezTo>
                  <a:pt x="17" y="102"/>
                  <a:pt x="15" y="102"/>
                  <a:pt x="13" y="101"/>
                </a:cubicBezTo>
                <a:cubicBezTo>
                  <a:pt x="13" y="101"/>
                  <a:pt x="12" y="101"/>
                  <a:pt x="12" y="100"/>
                </a:cubicBezTo>
                <a:cubicBezTo>
                  <a:pt x="10" y="101"/>
                  <a:pt x="10" y="101"/>
                  <a:pt x="8" y="100"/>
                </a:cubicBezTo>
                <a:cubicBezTo>
                  <a:pt x="8" y="99"/>
                  <a:pt x="8" y="98"/>
                  <a:pt x="7" y="97"/>
                </a:cubicBezTo>
                <a:cubicBezTo>
                  <a:pt x="7" y="96"/>
                  <a:pt x="8" y="95"/>
                  <a:pt x="7" y="94"/>
                </a:cubicBezTo>
                <a:cubicBezTo>
                  <a:pt x="6" y="96"/>
                  <a:pt x="4" y="98"/>
                  <a:pt x="3" y="99"/>
                </a:cubicBezTo>
                <a:cubicBezTo>
                  <a:pt x="3" y="101"/>
                  <a:pt x="2" y="102"/>
                  <a:pt x="0" y="103"/>
                </a:cubicBezTo>
                <a:cubicBezTo>
                  <a:pt x="0" y="104"/>
                  <a:pt x="0" y="105"/>
                  <a:pt x="0" y="106"/>
                </a:cubicBezTo>
                <a:cubicBezTo>
                  <a:pt x="1" y="106"/>
                  <a:pt x="1" y="106"/>
                  <a:pt x="1" y="106"/>
                </a:cubicBezTo>
                <a:cubicBezTo>
                  <a:pt x="2" y="106"/>
                  <a:pt x="2" y="106"/>
                  <a:pt x="2" y="106"/>
                </a:cubicBezTo>
                <a:cubicBezTo>
                  <a:pt x="2" y="106"/>
                  <a:pt x="3" y="106"/>
                  <a:pt x="3" y="107"/>
                </a:cubicBezTo>
                <a:cubicBezTo>
                  <a:pt x="4" y="107"/>
                  <a:pt x="5" y="107"/>
                  <a:pt x="6" y="107"/>
                </a:cubicBezTo>
                <a:cubicBezTo>
                  <a:pt x="6" y="107"/>
                  <a:pt x="6" y="107"/>
                  <a:pt x="6" y="107"/>
                </a:cubicBezTo>
                <a:cubicBezTo>
                  <a:pt x="7" y="107"/>
                  <a:pt x="8" y="108"/>
                  <a:pt x="9" y="109"/>
                </a:cubicBezTo>
                <a:cubicBezTo>
                  <a:pt x="9" y="109"/>
                  <a:pt x="9" y="109"/>
                  <a:pt x="9" y="109"/>
                </a:cubicBezTo>
                <a:cubicBezTo>
                  <a:pt x="10" y="111"/>
                  <a:pt x="11" y="111"/>
                  <a:pt x="13" y="111"/>
                </a:cubicBezTo>
                <a:cubicBezTo>
                  <a:pt x="13" y="111"/>
                  <a:pt x="13" y="111"/>
                  <a:pt x="13" y="111"/>
                </a:cubicBezTo>
                <a:cubicBezTo>
                  <a:pt x="13" y="111"/>
                  <a:pt x="14" y="111"/>
                  <a:pt x="14" y="111"/>
                </a:cubicBezTo>
                <a:cubicBezTo>
                  <a:pt x="15" y="112"/>
                  <a:pt x="16" y="112"/>
                  <a:pt x="16" y="111"/>
                </a:cubicBezTo>
                <a:cubicBezTo>
                  <a:pt x="18" y="111"/>
                  <a:pt x="18" y="111"/>
                  <a:pt x="18" y="111"/>
                </a:cubicBezTo>
                <a:cubicBezTo>
                  <a:pt x="19" y="112"/>
                  <a:pt x="18" y="114"/>
                  <a:pt x="19" y="115"/>
                </a:cubicBezTo>
                <a:cubicBezTo>
                  <a:pt x="22" y="115"/>
                  <a:pt x="22" y="116"/>
                  <a:pt x="24" y="116"/>
                </a:cubicBezTo>
                <a:cubicBezTo>
                  <a:pt x="25" y="116"/>
                  <a:pt x="26" y="116"/>
                  <a:pt x="26" y="115"/>
                </a:cubicBezTo>
                <a:cubicBezTo>
                  <a:pt x="30" y="115"/>
                  <a:pt x="30" y="115"/>
                  <a:pt x="30" y="115"/>
                </a:cubicBezTo>
                <a:cubicBezTo>
                  <a:pt x="30" y="115"/>
                  <a:pt x="31" y="115"/>
                  <a:pt x="30" y="115"/>
                </a:cubicBezTo>
                <a:cubicBezTo>
                  <a:pt x="32" y="115"/>
                  <a:pt x="32" y="116"/>
                  <a:pt x="33" y="116"/>
                </a:cubicBezTo>
                <a:cubicBezTo>
                  <a:pt x="33" y="117"/>
                  <a:pt x="35" y="117"/>
                  <a:pt x="35" y="117"/>
                </a:cubicBezTo>
                <a:cubicBezTo>
                  <a:pt x="34" y="117"/>
                  <a:pt x="33" y="118"/>
                  <a:pt x="33" y="118"/>
                </a:cubicBezTo>
                <a:cubicBezTo>
                  <a:pt x="32" y="118"/>
                  <a:pt x="32" y="117"/>
                  <a:pt x="31" y="117"/>
                </a:cubicBezTo>
                <a:cubicBezTo>
                  <a:pt x="30" y="117"/>
                  <a:pt x="29" y="117"/>
                  <a:pt x="29" y="118"/>
                </a:cubicBezTo>
                <a:cubicBezTo>
                  <a:pt x="31" y="118"/>
                  <a:pt x="30" y="121"/>
                  <a:pt x="31" y="121"/>
                </a:cubicBezTo>
                <a:cubicBezTo>
                  <a:pt x="31" y="122"/>
                  <a:pt x="33" y="123"/>
                  <a:pt x="33" y="124"/>
                </a:cubicBezTo>
                <a:cubicBezTo>
                  <a:pt x="34" y="125"/>
                  <a:pt x="35" y="123"/>
                  <a:pt x="35" y="122"/>
                </a:cubicBezTo>
                <a:cubicBezTo>
                  <a:pt x="36" y="122"/>
                  <a:pt x="38" y="121"/>
                  <a:pt x="38" y="122"/>
                </a:cubicBezTo>
                <a:cubicBezTo>
                  <a:pt x="38" y="124"/>
                  <a:pt x="37" y="124"/>
                  <a:pt x="37" y="126"/>
                </a:cubicBezTo>
                <a:cubicBezTo>
                  <a:pt x="36" y="127"/>
                  <a:pt x="34" y="126"/>
                  <a:pt x="35" y="128"/>
                </a:cubicBezTo>
                <a:cubicBezTo>
                  <a:pt x="35" y="128"/>
                  <a:pt x="35" y="128"/>
                  <a:pt x="35" y="128"/>
                </a:cubicBezTo>
                <a:cubicBezTo>
                  <a:pt x="35" y="128"/>
                  <a:pt x="35" y="129"/>
                  <a:pt x="35" y="129"/>
                </a:cubicBezTo>
                <a:cubicBezTo>
                  <a:pt x="35" y="129"/>
                  <a:pt x="36" y="129"/>
                  <a:pt x="36" y="129"/>
                </a:cubicBezTo>
                <a:cubicBezTo>
                  <a:pt x="36" y="131"/>
                  <a:pt x="37" y="132"/>
                  <a:pt x="37" y="133"/>
                </a:cubicBezTo>
                <a:cubicBezTo>
                  <a:pt x="37" y="133"/>
                  <a:pt x="37" y="133"/>
                  <a:pt x="37" y="134"/>
                </a:cubicBezTo>
                <a:cubicBezTo>
                  <a:pt x="37" y="134"/>
                  <a:pt x="37" y="134"/>
                  <a:pt x="37" y="134"/>
                </a:cubicBezTo>
                <a:cubicBezTo>
                  <a:pt x="37" y="135"/>
                  <a:pt x="37" y="136"/>
                  <a:pt x="37" y="137"/>
                </a:cubicBezTo>
                <a:cubicBezTo>
                  <a:pt x="37" y="137"/>
                  <a:pt x="37" y="137"/>
                  <a:pt x="37" y="137"/>
                </a:cubicBezTo>
                <a:cubicBezTo>
                  <a:pt x="38" y="137"/>
                  <a:pt x="38" y="138"/>
                  <a:pt x="39" y="138"/>
                </a:cubicBezTo>
                <a:cubicBezTo>
                  <a:pt x="39" y="138"/>
                  <a:pt x="39" y="138"/>
                  <a:pt x="39" y="139"/>
                </a:cubicBezTo>
                <a:cubicBezTo>
                  <a:pt x="39" y="139"/>
                  <a:pt x="40" y="141"/>
                  <a:pt x="41" y="141"/>
                </a:cubicBezTo>
                <a:cubicBezTo>
                  <a:pt x="41" y="141"/>
                  <a:pt x="41" y="141"/>
                  <a:pt x="41" y="141"/>
                </a:cubicBezTo>
                <a:cubicBezTo>
                  <a:pt x="42" y="142"/>
                  <a:pt x="43" y="142"/>
                  <a:pt x="44" y="142"/>
                </a:cubicBezTo>
                <a:cubicBezTo>
                  <a:pt x="44" y="142"/>
                  <a:pt x="44" y="143"/>
                  <a:pt x="44" y="143"/>
                </a:cubicBezTo>
                <a:cubicBezTo>
                  <a:pt x="44" y="143"/>
                  <a:pt x="44" y="144"/>
                  <a:pt x="45" y="144"/>
                </a:cubicBezTo>
                <a:cubicBezTo>
                  <a:pt x="46" y="144"/>
                  <a:pt x="46" y="145"/>
                  <a:pt x="47" y="146"/>
                </a:cubicBezTo>
                <a:cubicBezTo>
                  <a:pt x="47" y="146"/>
                  <a:pt x="48" y="146"/>
                  <a:pt x="48" y="146"/>
                </a:cubicBezTo>
                <a:cubicBezTo>
                  <a:pt x="48" y="146"/>
                  <a:pt x="48" y="146"/>
                  <a:pt x="48" y="147"/>
                </a:cubicBezTo>
                <a:cubicBezTo>
                  <a:pt x="48" y="147"/>
                  <a:pt x="48" y="147"/>
                  <a:pt x="48" y="147"/>
                </a:cubicBezTo>
                <a:cubicBezTo>
                  <a:pt x="49" y="147"/>
                  <a:pt x="49" y="148"/>
                  <a:pt x="50" y="149"/>
                </a:cubicBezTo>
                <a:cubicBezTo>
                  <a:pt x="50" y="149"/>
                  <a:pt x="50" y="149"/>
                  <a:pt x="50" y="149"/>
                </a:cubicBezTo>
                <a:cubicBezTo>
                  <a:pt x="50" y="150"/>
                  <a:pt x="53" y="150"/>
                  <a:pt x="52" y="151"/>
                </a:cubicBezTo>
                <a:cubicBezTo>
                  <a:pt x="52" y="152"/>
                  <a:pt x="52" y="152"/>
                  <a:pt x="52" y="152"/>
                </a:cubicBezTo>
                <a:cubicBezTo>
                  <a:pt x="53" y="153"/>
                  <a:pt x="54" y="154"/>
                  <a:pt x="54" y="155"/>
                </a:cubicBezTo>
                <a:cubicBezTo>
                  <a:pt x="54" y="155"/>
                  <a:pt x="55" y="155"/>
                  <a:pt x="55" y="155"/>
                </a:cubicBezTo>
                <a:cubicBezTo>
                  <a:pt x="55" y="156"/>
                  <a:pt x="56" y="157"/>
                  <a:pt x="57" y="157"/>
                </a:cubicBezTo>
                <a:cubicBezTo>
                  <a:pt x="58" y="157"/>
                  <a:pt x="58" y="157"/>
                  <a:pt x="58" y="158"/>
                </a:cubicBezTo>
                <a:cubicBezTo>
                  <a:pt x="58" y="158"/>
                  <a:pt x="58" y="158"/>
                  <a:pt x="58" y="158"/>
                </a:cubicBezTo>
                <a:cubicBezTo>
                  <a:pt x="58" y="159"/>
                  <a:pt x="60" y="159"/>
                  <a:pt x="61" y="159"/>
                </a:cubicBezTo>
                <a:cubicBezTo>
                  <a:pt x="61" y="159"/>
                  <a:pt x="61" y="159"/>
                  <a:pt x="61" y="160"/>
                </a:cubicBezTo>
                <a:cubicBezTo>
                  <a:pt x="62" y="160"/>
                  <a:pt x="62" y="160"/>
                  <a:pt x="63" y="161"/>
                </a:cubicBezTo>
                <a:cubicBezTo>
                  <a:pt x="63" y="161"/>
                  <a:pt x="63" y="161"/>
                  <a:pt x="63" y="161"/>
                </a:cubicBezTo>
                <a:cubicBezTo>
                  <a:pt x="65" y="160"/>
                  <a:pt x="66" y="162"/>
                  <a:pt x="68" y="162"/>
                </a:cubicBezTo>
                <a:cubicBezTo>
                  <a:pt x="79" y="162"/>
                  <a:pt x="79" y="162"/>
                  <a:pt x="79" y="162"/>
                </a:cubicBezTo>
                <a:cubicBezTo>
                  <a:pt x="80" y="163"/>
                  <a:pt x="80" y="162"/>
                  <a:pt x="82" y="161"/>
                </a:cubicBezTo>
                <a:cubicBezTo>
                  <a:pt x="82" y="161"/>
                  <a:pt x="82" y="161"/>
                  <a:pt x="82" y="161"/>
                </a:cubicBezTo>
                <a:cubicBezTo>
                  <a:pt x="84" y="159"/>
                  <a:pt x="86" y="157"/>
                  <a:pt x="89" y="157"/>
                </a:cubicBezTo>
                <a:cubicBezTo>
                  <a:pt x="89" y="157"/>
                  <a:pt x="89" y="157"/>
                  <a:pt x="89" y="157"/>
                </a:cubicBezTo>
                <a:cubicBezTo>
                  <a:pt x="91" y="157"/>
                  <a:pt x="93" y="157"/>
                  <a:pt x="95" y="157"/>
                </a:cubicBezTo>
                <a:cubicBezTo>
                  <a:pt x="95" y="157"/>
                  <a:pt x="96" y="157"/>
                  <a:pt x="96" y="158"/>
                </a:cubicBezTo>
                <a:cubicBezTo>
                  <a:pt x="96" y="158"/>
                  <a:pt x="98" y="159"/>
                  <a:pt x="98" y="158"/>
                </a:cubicBezTo>
                <a:cubicBezTo>
                  <a:pt x="99" y="158"/>
                  <a:pt x="99" y="158"/>
                  <a:pt x="99" y="159"/>
                </a:cubicBezTo>
                <a:cubicBezTo>
                  <a:pt x="100" y="159"/>
                  <a:pt x="100" y="158"/>
                  <a:pt x="100" y="159"/>
                </a:cubicBezTo>
                <a:cubicBezTo>
                  <a:pt x="100" y="159"/>
                  <a:pt x="100" y="159"/>
                  <a:pt x="100" y="159"/>
                </a:cubicBezTo>
                <a:cubicBezTo>
                  <a:pt x="101" y="160"/>
                  <a:pt x="101" y="160"/>
                  <a:pt x="102" y="160"/>
                </a:cubicBezTo>
                <a:cubicBezTo>
                  <a:pt x="103" y="160"/>
                  <a:pt x="105" y="160"/>
                  <a:pt x="105" y="159"/>
                </a:cubicBezTo>
                <a:cubicBezTo>
                  <a:pt x="106" y="159"/>
                  <a:pt x="106" y="159"/>
                  <a:pt x="107" y="159"/>
                </a:cubicBezTo>
                <a:cubicBezTo>
                  <a:pt x="107" y="162"/>
                  <a:pt x="109" y="158"/>
                  <a:pt x="111" y="159"/>
                </a:cubicBezTo>
                <a:cubicBezTo>
                  <a:pt x="112" y="159"/>
                  <a:pt x="112" y="160"/>
                  <a:pt x="113" y="160"/>
                </a:cubicBezTo>
                <a:cubicBezTo>
                  <a:pt x="114" y="159"/>
                  <a:pt x="115" y="159"/>
                  <a:pt x="115" y="159"/>
                </a:cubicBezTo>
                <a:cubicBezTo>
                  <a:pt x="116" y="159"/>
                  <a:pt x="116" y="158"/>
                  <a:pt x="117" y="158"/>
                </a:cubicBezTo>
                <a:cubicBezTo>
                  <a:pt x="119" y="158"/>
                  <a:pt x="118" y="156"/>
                  <a:pt x="120" y="156"/>
                </a:cubicBezTo>
                <a:cubicBezTo>
                  <a:pt x="124" y="157"/>
                  <a:pt x="126" y="155"/>
                  <a:pt x="129" y="154"/>
                </a:cubicBezTo>
                <a:cubicBezTo>
                  <a:pt x="130" y="154"/>
                  <a:pt x="131" y="154"/>
                  <a:pt x="133" y="154"/>
                </a:cubicBezTo>
                <a:cubicBezTo>
                  <a:pt x="134" y="154"/>
                  <a:pt x="134" y="152"/>
                  <a:pt x="136" y="153"/>
                </a:cubicBezTo>
                <a:cubicBezTo>
                  <a:pt x="138" y="152"/>
                  <a:pt x="137" y="154"/>
                  <a:pt x="139" y="154"/>
                </a:cubicBezTo>
                <a:cubicBezTo>
                  <a:pt x="139" y="153"/>
                  <a:pt x="140" y="153"/>
                  <a:pt x="141" y="153"/>
                </a:cubicBezTo>
                <a:cubicBezTo>
                  <a:pt x="143" y="153"/>
                  <a:pt x="143" y="151"/>
                  <a:pt x="144" y="151"/>
                </a:cubicBezTo>
                <a:cubicBezTo>
                  <a:pt x="145" y="152"/>
                  <a:pt x="145" y="154"/>
                  <a:pt x="146" y="155"/>
                </a:cubicBezTo>
                <a:cubicBezTo>
                  <a:pt x="147" y="155"/>
                  <a:pt x="148" y="155"/>
                  <a:pt x="150" y="155"/>
                </a:cubicBezTo>
                <a:cubicBezTo>
                  <a:pt x="149" y="156"/>
                  <a:pt x="149" y="156"/>
                  <a:pt x="149" y="156"/>
                </a:cubicBezTo>
                <a:cubicBezTo>
                  <a:pt x="149" y="157"/>
                  <a:pt x="150" y="157"/>
                  <a:pt x="150" y="157"/>
                </a:cubicBezTo>
                <a:cubicBezTo>
                  <a:pt x="150" y="156"/>
                  <a:pt x="151" y="155"/>
                  <a:pt x="152" y="154"/>
                </a:cubicBezTo>
                <a:cubicBezTo>
                  <a:pt x="153" y="153"/>
                  <a:pt x="156" y="154"/>
                  <a:pt x="157" y="153"/>
                </a:cubicBezTo>
                <a:cubicBezTo>
                  <a:pt x="159" y="152"/>
                  <a:pt x="159" y="154"/>
                  <a:pt x="161" y="154"/>
                </a:cubicBezTo>
                <a:cubicBezTo>
                  <a:pt x="161" y="153"/>
                  <a:pt x="162" y="153"/>
                  <a:pt x="162" y="152"/>
                </a:cubicBezTo>
                <a:cubicBezTo>
                  <a:pt x="162" y="151"/>
                  <a:pt x="162" y="150"/>
                  <a:pt x="163" y="150"/>
                </a:cubicBezTo>
                <a:cubicBezTo>
                  <a:pt x="163" y="150"/>
                  <a:pt x="163" y="150"/>
                  <a:pt x="164" y="150"/>
                </a:cubicBezTo>
                <a:cubicBezTo>
                  <a:pt x="162" y="150"/>
                  <a:pt x="161" y="149"/>
                  <a:pt x="161" y="147"/>
                </a:cubicBezTo>
                <a:cubicBezTo>
                  <a:pt x="163" y="147"/>
                  <a:pt x="163" y="146"/>
                  <a:pt x="166" y="147"/>
                </a:cubicBezTo>
                <a:cubicBezTo>
                  <a:pt x="165" y="145"/>
                  <a:pt x="167" y="145"/>
                  <a:pt x="168" y="145"/>
                </a:cubicBezTo>
                <a:cubicBezTo>
                  <a:pt x="168" y="144"/>
                  <a:pt x="167" y="141"/>
                  <a:pt x="168" y="140"/>
                </a:cubicBezTo>
                <a:cubicBezTo>
                  <a:pt x="170" y="140"/>
                  <a:pt x="170" y="141"/>
                  <a:pt x="170" y="142"/>
                </a:cubicBezTo>
                <a:cubicBezTo>
                  <a:pt x="169" y="142"/>
                  <a:pt x="171" y="143"/>
                  <a:pt x="170" y="144"/>
                </a:cubicBezTo>
                <a:cubicBezTo>
                  <a:pt x="172" y="144"/>
                  <a:pt x="172" y="144"/>
                  <a:pt x="172" y="145"/>
                </a:cubicBezTo>
                <a:cubicBezTo>
                  <a:pt x="172" y="145"/>
                  <a:pt x="173" y="146"/>
                  <a:pt x="173" y="145"/>
                </a:cubicBezTo>
                <a:cubicBezTo>
                  <a:pt x="173" y="145"/>
                  <a:pt x="173" y="145"/>
                  <a:pt x="173" y="145"/>
                </a:cubicBezTo>
                <a:cubicBezTo>
                  <a:pt x="173" y="145"/>
                  <a:pt x="174" y="145"/>
                  <a:pt x="174" y="145"/>
                </a:cubicBezTo>
                <a:cubicBezTo>
                  <a:pt x="174" y="145"/>
                  <a:pt x="174" y="144"/>
                  <a:pt x="174" y="144"/>
                </a:cubicBezTo>
                <a:cubicBezTo>
                  <a:pt x="175" y="144"/>
                  <a:pt x="175" y="145"/>
                  <a:pt x="176" y="145"/>
                </a:cubicBezTo>
                <a:cubicBezTo>
                  <a:pt x="176" y="144"/>
                  <a:pt x="176" y="143"/>
                  <a:pt x="177" y="143"/>
                </a:cubicBezTo>
                <a:cubicBezTo>
                  <a:pt x="178" y="143"/>
                  <a:pt x="179" y="142"/>
                  <a:pt x="180" y="142"/>
                </a:cubicBezTo>
                <a:cubicBezTo>
                  <a:pt x="181" y="142"/>
                  <a:pt x="181" y="141"/>
                  <a:pt x="182" y="140"/>
                </a:cubicBezTo>
                <a:cubicBezTo>
                  <a:pt x="181" y="140"/>
                  <a:pt x="181" y="139"/>
                  <a:pt x="180" y="139"/>
                </a:cubicBezTo>
                <a:cubicBezTo>
                  <a:pt x="179" y="139"/>
                  <a:pt x="179" y="138"/>
                  <a:pt x="179" y="137"/>
                </a:cubicBezTo>
                <a:cubicBezTo>
                  <a:pt x="179" y="137"/>
                  <a:pt x="181" y="137"/>
                  <a:pt x="182" y="137"/>
                </a:cubicBezTo>
                <a:cubicBezTo>
                  <a:pt x="182" y="137"/>
                  <a:pt x="182" y="137"/>
                  <a:pt x="182" y="137"/>
                </a:cubicBezTo>
                <a:cubicBezTo>
                  <a:pt x="182" y="137"/>
                  <a:pt x="182" y="137"/>
                  <a:pt x="182" y="137"/>
                </a:cubicBezTo>
                <a:cubicBezTo>
                  <a:pt x="182" y="137"/>
                  <a:pt x="183" y="140"/>
                  <a:pt x="184" y="138"/>
                </a:cubicBezTo>
                <a:cubicBezTo>
                  <a:pt x="183" y="137"/>
                  <a:pt x="181" y="136"/>
                  <a:pt x="181" y="134"/>
                </a:cubicBezTo>
                <a:cubicBezTo>
                  <a:pt x="180" y="134"/>
                  <a:pt x="179" y="134"/>
                  <a:pt x="179" y="133"/>
                </a:cubicBezTo>
                <a:cubicBezTo>
                  <a:pt x="178" y="133"/>
                  <a:pt x="178" y="132"/>
                  <a:pt x="177" y="131"/>
                </a:cubicBezTo>
                <a:cubicBezTo>
                  <a:pt x="179" y="131"/>
                  <a:pt x="179" y="132"/>
                  <a:pt x="180" y="132"/>
                </a:cubicBezTo>
                <a:cubicBezTo>
                  <a:pt x="181" y="132"/>
                  <a:pt x="181" y="130"/>
                  <a:pt x="182" y="130"/>
                </a:cubicBezTo>
                <a:cubicBezTo>
                  <a:pt x="183" y="132"/>
                  <a:pt x="184" y="133"/>
                  <a:pt x="185" y="136"/>
                </a:cubicBezTo>
                <a:cubicBezTo>
                  <a:pt x="188" y="136"/>
                  <a:pt x="187" y="134"/>
                  <a:pt x="189" y="134"/>
                </a:cubicBezTo>
                <a:cubicBezTo>
                  <a:pt x="190" y="132"/>
                  <a:pt x="187" y="134"/>
                  <a:pt x="188" y="131"/>
                </a:cubicBezTo>
                <a:cubicBezTo>
                  <a:pt x="188" y="131"/>
                  <a:pt x="188" y="130"/>
                  <a:pt x="189" y="130"/>
                </a:cubicBezTo>
                <a:cubicBezTo>
                  <a:pt x="189" y="130"/>
                  <a:pt x="189" y="130"/>
                  <a:pt x="189" y="129"/>
                </a:cubicBezTo>
                <a:cubicBezTo>
                  <a:pt x="188" y="128"/>
                  <a:pt x="184" y="129"/>
                  <a:pt x="184" y="127"/>
                </a:cubicBezTo>
                <a:cubicBezTo>
                  <a:pt x="185" y="127"/>
                  <a:pt x="187" y="124"/>
                  <a:pt x="187" y="127"/>
                </a:cubicBezTo>
                <a:cubicBezTo>
                  <a:pt x="189" y="127"/>
                  <a:pt x="191" y="127"/>
                  <a:pt x="191" y="125"/>
                </a:cubicBezTo>
                <a:cubicBezTo>
                  <a:pt x="190" y="125"/>
                  <a:pt x="189" y="125"/>
                  <a:pt x="189" y="124"/>
                </a:cubicBezTo>
                <a:cubicBezTo>
                  <a:pt x="187" y="124"/>
                  <a:pt x="186" y="124"/>
                  <a:pt x="186" y="123"/>
                </a:cubicBezTo>
                <a:cubicBezTo>
                  <a:pt x="186" y="122"/>
                  <a:pt x="188" y="122"/>
                  <a:pt x="189" y="122"/>
                </a:cubicBezTo>
                <a:cubicBezTo>
                  <a:pt x="189" y="122"/>
                  <a:pt x="190" y="122"/>
                  <a:pt x="190" y="121"/>
                </a:cubicBezTo>
                <a:cubicBezTo>
                  <a:pt x="189" y="121"/>
                  <a:pt x="189" y="120"/>
                  <a:pt x="190" y="120"/>
                </a:cubicBezTo>
                <a:cubicBezTo>
                  <a:pt x="194" y="120"/>
                  <a:pt x="195" y="118"/>
                  <a:pt x="196" y="115"/>
                </a:cubicBezTo>
                <a:cubicBezTo>
                  <a:pt x="195" y="115"/>
                  <a:pt x="193" y="115"/>
                  <a:pt x="193" y="113"/>
                </a:cubicBezTo>
                <a:close/>
                <a:moveTo>
                  <a:pt x="26" y="22"/>
                </a:moveTo>
                <a:cubicBezTo>
                  <a:pt x="26" y="22"/>
                  <a:pt x="26" y="23"/>
                  <a:pt x="27" y="23"/>
                </a:cubicBezTo>
                <a:cubicBezTo>
                  <a:pt x="27" y="25"/>
                  <a:pt x="25" y="23"/>
                  <a:pt x="26" y="22"/>
                </a:cubicBezTo>
                <a:close/>
                <a:moveTo>
                  <a:pt x="26" y="107"/>
                </a:moveTo>
                <a:cubicBezTo>
                  <a:pt x="26" y="107"/>
                  <a:pt x="26" y="107"/>
                  <a:pt x="26" y="107"/>
                </a:cubicBezTo>
                <a:cubicBezTo>
                  <a:pt x="26" y="107"/>
                  <a:pt x="26" y="107"/>
                  <a:pt x="27" y="107"/>
                </a:cubicBezTo>
                <a:cubicBezTo>
                  <a:pt x="26" y="107"/>
                  <a:pt x="26" y="107"/>
                  <a:pt x="26" y="107"/>
                </a:cubicBezTo>
                <a:close/>
                <a:moveTo>
                  <a:pt x="27" y="107"/>
                </a:moveTo>
                <a:cubicBezTo>
                  <a:pt x="27" y="107"/>
                  <a:pt x="27" y="107"/>
                  <a:pt x="27" y="107"/>
                </a:cubicBezTo>
                <a:cubicBezTo>
                  <a:pt x="27" y="107"/>
                  <a:pt x="27" y="107"/>
                  <a:pt x="27" y="107"/>
                </a:cubicBezTo>
                <a:cubicBezTo>
                  <a:pt x="27" y="107"/>
                  <a:pt x="27" y="107"/>
                  <a:pt x="27" y="107"/>
                </a:cubicBezTo>
                <a:close/>
                <a:moveTo>
                  <a:pt x="102" y="62"/>
                </a:moveTo>
                <a:cubicBezTo>
                  <a:pt x="102" y="60"/>
                  <a:pt x="102" y="58"/>
                  <a:pt x="100" y="58"/>
                </a:cubicBezTo>
                <a:cubicBezTo>
                  <a:pt x="100" y="60"/>
                  <a:pt x="98" y="60"/>
                  <a:pt x="99" y="62"/>
                </a:cubicBezTo>
                <a:cubicBezTo>
                  <a:pt x="98" y="63"/>
                  <a:pt x="99" y="63"/>
                  <a:pt x="100" y="63"/>
                </a:cubicBezTo>
                <a:cubicBezTo>
                  <a:pt x="100" y="63"/>
                  <a:pt x="101" y="62"/>
                  <a:pt x="102" y="62"/>
                </a:cubicBezTo>
                <a:close/>
                <a:moveTo>
                  <a:pt x="97" y="40"/>
                </a:moveTo>
                <a:cubicBezTo>
                  <a:pt x="97" y="40"/>
                  <a:pt x="97" y="39"/>
                  <a:pt x="97" y="40"/>
                </a:cubicBezTo>
                <a:cubicBezTo>
                  <a:pt x="97" y="41"/>
                  <a:pt x="97" y="41"/>
                  <a:pt x="97" y="40"/>
                </a:cubicBezTo>
                <a:close/>
                <a:moveTo>
                  <a:pt x="35" y="53"/>
                </a:moveTo>
                <a:cubicBezTo>
                  <a:pt x="35" y="54"/>
                  <a:pt x="34" y="54"/>
                  <a:pt x="33" y="54"/>
                </a:cubicBezTo>
                <a:cubicBezTo>
                  <a:pt x="33" y="56"/>
                  <a:pt x="34" y="56"/>
                  <a:pt x="34" y="57"/>
                </a:cubicBezTo>
                <a:cubicBezTo>
                  <a:pt x="35" y="58"/>
                  <a:pt x="37" y="58"/>
                  <a:pt x="35" y="56"/>
                </a:cubicBezTo>
                <a:cubicBezTo>
                  <a:pt x="35" y="56"/>
                  <a:pt x="35" y="56"/>
                  <a:pt x="35" y="55"/>
                </a:cubicBezTo>
                <a:cubicBezTo>
                  <a:pt x="35" y="54"/>
                  <a:pt x="35" y="53"/>
                  <a:pt x="35" y="53"/>
                </a:cubicBezTo>
                <a:close/>
                <a:moveTo>
                  <a:pt x="40" y="42"/>
                </a:moveTo>
                <a:cubicBezTo>
                  <a:pt x="39" y="42"/>
                  <a:pt x="39" y="42"/>
                  <a:pt x="39" y="42"/>
                </a:cubicBezTo>
                <a:cubicBezTo>
                  <a:pt x="39" y="42"/>
                  <a:pt x="38" y="42"/>
                  <a:pt x="38" y="42"/>
                </a:cubicBezTo>
                <a:cubicBezTo>
                  <a:pt x="38" y="42"/>
                  <a:pt x="38" y="43"/>
                  <a:pt x="38" y="43"/>
                </a:cubicBezTo>
                <a:cubicBezTo>
                  <a:pt x="39" y="44"/>
                  <a:pt x="39" y="43"/>
                  <a:pt x="40" y="43"/>
                </a:cubicBezTo>
                <a:cubicBezTo>
                  <a:pt x="40" y="42"/>
                  <a:pt x="40" y="42"/>
                  <a:pt x="40" y="42"/>
                </a:cubicBezTo>
                <a:close/>
                <a:moveTo>
                  <a:pt x="41" y="44"/>
                </a:moveTo>
                <a:cubicBezTo>
                  <a:pt x="41" y="44"/>
                  <a:pt x="42" y="45"/>
                  <a:pt x="42" y="45"/>
                </a:cubicBezTo>
                <a:cubicBezTo>
                  <a:pt x="42" y="45"/>
                  <a:pt x="43" y="44"/>
                  <a:pt x="43" y="44"/>
                </a:cubicBezTo>
                <a:cubicBezTo>
                  <a:pt x="43" y="44"/>
                  <a:pt x="42" y="44"/>
                  <a:pt x="42" y="43"/>
                </a:cubicBezTo>
                <a:cubicBezTo>
                  <a:pt x="42" y="43"/>
                  <a:pt x="41" y="43"/>
                  <a:pt x="40" y="43"/>
                </a:cubicBezTo>
                <a:cubicBezTo>
                  <a:pt x="40" y="44"/>
                  <a:pt x="40" y="44"/>
                  <a:pt x="41" y="44"/>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4" name="Freeform 72"/>
          <p:cNvSpPr>
            <a:spLocks/>
          </p:cNvSpPr>
          <p:nvPr/>
        </p:nvSpPr>
        <p:spPr bwMode="auto">
          <a:xfrm>
            <a:off x="8321967" y="4262740"/>
            <a:ext cx="766763" cy="515938"/>
          </a:xfrm>
          <a:custGeom>
            <a:avLst/>
            <a:gdLst>
              <a:gd name="T0" fmla="*/ 188 w 198"/>
              <a:gd name="T1" fmla="*/ 11 h 133"/>
              <a:gd name="T2" fmla="*/ 175 w 198"/>
              <a:gd name="T3" fmla="*/ 6 h 133"/>
              <a:gd name="T4" fmla="*/ 160 w 198"/>
              <a:gd name="T5" fmla="*/ 6 h 133"/>
              <a:gd name="T6" fmla="*/ 146 w 198"/>
              <a:gd name="T7" fmla="*/ 3 h 133"/>
              <a:gd name="T8" fmla="*/ 127 w 198"/>
              <a:gd name="T9" fmla="*/ 4 h 133"/>
              <a:gd name="T10" fmla="*/ 118 w 198"/>
              <a:gd name="T11" fmla="*/ 17 h 133"/>
              <a:gd name="T12" fmla="*/ 112 w 198"/>
              <a:gd name="T13" fmla="*/ 23 h 133"/>
              <a:gd name="T14" fmla="*/ 106 w 198"/>
              <a:gd name="T15" fmla="*/ 22 h 133"/>
              <a:gd name="T16" fmla="*/ 99 w 198"/>
              <a:gd name="T17" fmla="*/ 22 h 133"/>
              <a:gd name="T18" fmla="*/ 90 w 198"/>
              <a:gd name="T19" fmla="*/ 27 h 133"/>
              <a:gd name="T20" fmla="*/ 80 w 198"/>
              <a:gd name="T21" fmla="*/ 29 h 133"/>
              <a:gd name="T22" fmla="*/ 76 w 198"/>
              <a:gd name="T23" fmla="*/ 38 h 133"/>
              <a:gd name="T24" fmla="*/ 74 w 198"/>
              <a:gd name="T25" fmla="*/ 40 h 133"/>
              <a:gd name="T26" fmla="*/ 66 w 198"/>
              <a:gd name="T27" fmla="*/ 43 h 133"/>
              <a:gd name="T28" fmla="*/ 50 w 198"/>
              <a:gd name="T29" fmla="*/ 45 h 133"/>
              <a:gd name="T30" fmla="*/ 41 w 198"/>
              <a:gd name="T31" fmla="*/ 43 h 133"/>
              <a:gd name="T32" fmla="*/ 36 w 198"/>
              <a:gd name="T33" fmla="*/ 41 h 133"/>
              <a:gd name="T34" fmla="*/ 27 w 198"/>
              <a:gd name="T35" fmla="*/ 35 h 133"/>
              <a:gd name="T36" fmla="*/ 28 w 198"/>
              <a:gd name="T37" fmla="*/ 47 h 133"/>
              <a:gd name="T38" fmla="*/ 9 w 198"/>
              <a:gd name="T39" fmla="*/ 48 h 133"/>
              <a:gd name="T40" fmla="*/ 13 w 198"/>
              <a:gd name="T41" fmla="*/ 53 h 133"/>
              <a:gd name="T42" fmla="*/ 15 w 198"/>
              <a:gd name="T43" fmla="*/ 60 h 133"/>
              <a:gd name="T44" fmla="*/ 9 w 198"/>
              <a:gd name="T45" fmla="*/ 69 h 133"/>
              <a:gd name="T46" fmla="*/ 9 w 198"/>
              <a:gd name="T47" fmla="*/ 81 h 133"/>
              <a:gd name="T48" fmla="*/ 3 w 198"/>
              <a:gd name="T49" fmla="*/ 86 h 133"/>
              <a:gd name="T50" fmla="*/ 3 w 198"/>
              <a:gd name="T51" fmla="*/ 91 h 133"/>
              <a:gd name="T52" fmla="*/ 9 w 198"/>
              <a:gd name="T53" fmla="*/ 97 h 133"/>
              <a:gd name="T54" fmla="*/ 12 w 198"/>
              <a:gd name="T55" fmla="*/ 105 h 133"/>
              <a:gd name="T56" fmla="*/ 22 w 198"/>
              <a:gd name="T57" fmla="*/ 110 h 133"/>
              <a:gd name="T58" fmla="*/ 25 w 198"/>
              <a:gd name="T59" fmla="*/ 116 h 133"/>
              <a:gd name="T60" fmla="*/ 28 w 198"/>
              <a:gd name="T61" fmla="*/ 119 h 133"/>
              <a:gd name="T62" fmla="*/ 29 w 198"/>
              <a:gd name="T63" fmla="*/ 119 h 133"/>
              <a:gd name="T64" fmla="*/ 30 w 198"/>
              <a:gd name="T65" fmla="*/ 119 h 133"/>
              <a:gd name="T66" fmla="*/ 31 w 198"/>
              <a:gd name="T67" fmla="*/ 120 h 133"/>
              <a:gd name="T68" fmla="*/ 33 w 198"/>
              <a:gd name="T69" fmla="*/ 122 h 133"/>
              <a:gd name="T70" fmla="*/ 34 w 198"/>
              <a:gd name="T71" fmla="*/ 122 h 133"/>
              <a:gd name="T72" fmla="*/ 39 w 198"/>
              <a:gd name="T73" fmla="*/ 126 h 133"/>
              <a:gd name="T74" fmla="*/ 47 w 198"/>
              <a:gd name="T75" fmla="*/ 129 h 133"/>
              <a:gd name="T76" fmla="*/ 48 w 198"/>
              <a:gd name="T77" fmla="*/ 129 h 133"/>
              <a:gd name="T78" fmla="*/ 48 w 198"/>
              <a:gd name="T79" fmla="*/ 129 h 133"/>
              <a:gd name="T80" fmla="*/ 53 w 198"/>
              <a:gd name="T81" fmla="*/ 131 h 133"/>
              <a:gd name="T82" fmla="*/ 62 w 198"/>
              <a:gd name="T83" fmla="*/ 132 h 133"/>
              <a:gd name="T84" fmla="*/ 75 w 198"/>
              <a:gd name="T85" fmla="*/ 130 h 133"/>
              <a:gd name="T86" fmla="*/ 79 w 198"/>
              <a:gd name="T87" fmla="*/ 125 h 133"/>
              <a:gd name="T88" fmla="*/ 80 w 198"/>
              <a:gd name="T89" fmla="*/ 125 h 133"/>
              <a:gd name="T90" fmla="*/ 82 w 198"/>
              <a:gd name="T91" fmla="*/ 125 h 133"/>
              <a:gd name="T92" fmla="*/ 83 w 198"/>
              <a:gd name="T93" fmla="*/ 125 h 133"/>
              <a:gd name="T94" fmla="*/ 85 w 198"/>
              <a:gd name="T95" fmla="*/ 125 h 133"/>
              <a:gd name="T96" fmla="*/ 86 w 198"/>
              <a:gd name="T97" fmla="*/ 124 h 133"/>
              <a:gd name="T98" fmla="*/ 93 w 198"/>
              <a:gd name="T99" fmla="*/ 119 h 133"/>
              <a:gd name="T100" fmla="*/ 110 w 198"/>
              <a:gd name="T101" fmla="*/ 111 h 133"/>
              <a:gd name="T102" fmla="*/ 117 w 198"/>
              <a:gd name="T103" fmla="*/ 111 h 133"/>
              <a:gd name="T104" fmla="*/ 136 w 198"/>
              <a:gd name="T105" fmla="*/ 107 h 133"/>
              <a:gd name="T106" fmla="*/ 151 w 198"/>
              <a:gd name="T107" fmla="*/ 106 h 133"/>
              <a:gd name="T108" fmla="*/ 156 w 198"/>
              <a:gd name="T109" fmla="*/ 103 h 133"/>
              <a:gd name="T110" fmla="*/ 160 w 198"/>
              <a:gd name="T111" fmla="*/ 90 h 133"/>
              <a:gd name="T112" fmla="*/ 167 w 198"/>
              <a:gd name="T113" fmla="*/ 79 h 133"/>
              <a:gd name="T114" fmla="*/ 168 w 198"/>
              <a:gd name="T115" fmla="*/ 74 h 133"/>
              <a:gd name="T116" fmla="*/ 170 w 198"/>
              <a:gd name="T117" fmla="*/ 68 h 133"/>
              <a:gd name="T118" fmla="*/ 172 w 198"/>
              <a:gd name="T119" fmla="*/ 58 h 133"/>
              <a:gd name="T120" fmla="*/ 177 w 198"/>
              <a:gd name="T121" fmla="*/ 42 h 133"/>
              <a:gd name="T122" fmla="*/ 182 w 198"/>
              <a:gd name="T123" fmla="*/ 36 h 133"/>
              <a:gd name="T124" fmla="*/ 195 w 198"/>
              <a:gd name="T125" fmla="*/ 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8" h="133">
                <a:moveTo>
                  <a:pt x="198" y="19"/>
                </a:moveTo>
                <a:cubicBezTo>
                  <a:pt x="198" y="18"/>
                  <a:pt x="196" y="18"/>
                  <a:pt x="196" y="17"/>
                </a:cubicBezTo>
                <a:cubicBezTo>
                  <a:pt x="193" y="17"/>
                  <a:pt x="193" y="16"/>
                  <a:pt x="190" y="16"/>
                </a:cubicBezTo>
                <a:cubicBezTo>
                  <a:pt x="189" y="15"/>
                  <a:pt x="188" y="13"/>
                  <a:pt x="188" y="11"/>
                </a:cubicBezTo>
                <a:cubicBezTo>
                  <a:pt x="185" y="10"/>
                  <a:pt x="184" y="9"/>
                  <a:pt x="181" y="8"/>
                </a:cubicBezTo>
                <a:cubicBezTo>
                  <a:pt x="181" y="6"/>
                  <a:pt x="180" y="4"/>
                  <a:pt x="178" y="4"/>
                </a:cubicBezTo>
                <a:cubicBezTo>
                  <a:pt x="178" y="5"/>
                  <a:pt x="178" y="5"/>
                  <a:pt x="177" y="5"/>
                </a:cubicBezTo>
                <a:cubicBezTo>
                  <a:pt x="177" y="5"/>
                  <a:pt x="175" y="5"/>
                  <a:pt x="175" y="6"/>
                </a:cubicBezTo>
                <a:cubicBezTo>
                  <a:pt x="174" y="6"/>
                  <a:pt x="174" y="6"/>
                  <a:pt x="173" y="6"/>
                </a:cubicBezTo>
                <a:cubicBezTo>
                  <a:pt x="173" y="7"/>
                  <a:pt x="173" y="7"/>
                  <a:pt x="172" y="7"/>
                </a:cubicBezTo>
                <a:cubicBezTo>
                  <a:pt x="170" y="7"/>
                  <a:pt x="169" y="8"/>
                  <a:pt x="167" y="8"/>
                </a:cubicBezTo>
                <a:cubicBezTo>
                  <a:pt x="164" y="8"/>
                  <a:pt x="163" y="7"/>
                  <a:pt x="160" y="6"/>
                </a:cubicBezTo>
                <a:cubicBezTo>
                  <a:pt x="160" y="5"/>
                  <a:pt x="159" y="4"/>
                  <a:pt x="158" y="4"/>
                </a:cubicBezTo>
                <a:cubicBezTo>
                  <a:pt x="158" y="3"/>
                  <a:pt x="158" y="3"/>
                  <a:pt x="158" y="1"/>
                </a:cubicBezTo>
                <a:cubicBezTo>
                  <a:pt x="157" y="1"/>
                  <a:pt x="156" y="1"/>
                  <a:pt x="156" y="0"/>
                </a:cubicBezTo>
                <a:cubicBezTo>
                  <a:pt x="152" y="1"/>
                  <a:pt x="149" y="1"/>
                  <a:pt x="146" y="3"/>
                </a:cubicBezTo>
                <a:cubicBezTo>
                  <a:pt x="144" y="3"/>
                  <a:pt x="142" y="3"/>
                  <a:pt x="140" y="3"/>
                </a:cubicBezTo>
                <a:cubicBezTo>
                  <a:pt x="138" y="3"/>
                  <a:pt x="137" y="2"/>
                  <a:pt x="136" y="1"/>
                </a:cubicBezTo>
                <a:cubicBezTo>
                  <a:pt x="135" y="2"/>
                  <a:pt x="133" y="2"/>
                  <a:pt x="131" y="3"/>
                </a:cubicBezTo>
                <a:cubicBezTo>
                  <a:pt x="129" y="3"/>
                  <a:pt x="129" y="4"/>
                  <a:pt x="127" y="4"/>
                </a:cubicBezTo>
                <a:cubicBezTo>
                  <a:pt x="126" y="4"/>
                  <a:pt x="126" y="6"/>
                  <a:pt x="125" y="7"/>
                </a:cubicBezTo>
                <a:cubicBezTo>
                  <a:pt x="125" y="9"/>
                  <a:pt x="123" y="10"/>
                  <a:pt x="124" y="12"/>
                </a:cubicBezTo>
                <a:cubicBezTo>
                  <a:pt x="124" y="14"/>
                  <a:pt x="122" y="14"/>
                  <a:pt x="122" y="16"/>
                </a:cubicBezTo>
                <a:cubicBezTo>
                  <a:pt x="121" y="16"/>
                  <a:pt x="119" y="17"/>
                  <a:pt x="118" y="17"/>
                </a:cubicBezTo>
                <a:cubicBezTo>
                  <a:pt x="117" y="18"/>
                  <a:pt x="117" y="19"/>
                  <a:pt x="116" y="19"/>
                </a:cubicBezTo>
                <a:cubicBezTo>
                  <a:pt x="115" y="19"/>
                  <a:pt x="115" y="20"/>
                  <a:pt x="115" y="20"/>
                </a:cubicBezTo>
                <a:cubicBezTo>
                  <a:pt x="115" y="20"/>
                  <a:pt x="115" y="20"/>
                  <a:pt x="115" y="21"/>
                </a:cubicBezTo>
                <a:cubicBezTo>
                  <a:pt x="114" y="22"/>
                  <a:pt x="112" y="22"/>
                  <a:pt x="112" y="23"/>
                </a:cubicBezTo>
                <a:cubicBezTo>
                  <a:pt x="111" y="22"/>
                  <a:pt x="109" y="25"/>
                  <a:pt x="108" y="24"/>
                </a:cubicBezTo>
                <a:cubicBezTo>
                  <a:pt x="108" y="24"/>
                  <a:pt x="108" y="23"/>
                  <a:pt x="108" y="23"/>
                </a:cubicBezTo>
                <a:cubicBezTo>
                  <a:pt x="108" y="23"/>
                  <a:pt x="106" y="23"/>
                  <a:pt x="106" y="23"/>
                </a:cubicBezTo>
                <a:cubicBezTo>
                  <a:pt x="106" y="23"/>
                  <a:pt x="106" y="22"/>
                  <a:pt x="106" y="22"/>
                </a:cubicBezTo>
                <a:cubicBezTo>
                  <a:pt x="106" y="22"/>
                  <a:pt x="105" y="22"/>
                  <a:pt x="105" y="22"/>
                </a:cubicBezTo>
                <a:cubicBezTo>
                  <a:pt x="104" y="22"/>
                  <a:pt x="102" y="20"/>
                  <a:pt x="101" y="21"/>
                </a:cubicBezTo>
                <a:cubicBezTo>
                  <a:pt x="100" y="21"/>
                  <a:pt x="99" y="21"/>
                  <a:pt x="99" y="21"/>
                </a:cubicBezTo>
                <a:cubicBezTo>
                  <a:pt x="99" y="21"/>
                  <a:pt x="99" y="22"/>
                  <a:pt x="99" y="22"/>
                </a:cubicBezTo>
                <a:cubicBezTo>
                  <a:pt x="99" y="22"/>
                  <a:pt x="98" y="22"/>
                  <a:pt x="98" y="22"/>
                </a:cubicBezTo>
                <a:cubicBezTo>
                  <a:pt x="97" y="23"/>
                  <a:pt x="98" y="25"/>
                  <a:pt x="96" y="25"/>
                </a:cubicBezTo>
                <a:cubicBezTo>
                  <a:pt x="96" y="26"/>
                  <a:pt x="96" y="26"/>
                  <a:pt x="96" y="26"/>
                </a:cubicBezTo>
                <a:cubicBezTo>
                  <a:pt x="93" y="26"/>
                  <a:pt x="92" y="27"/>
                  <a:pt x="90" y="27"/>
                </a:cubicBezTo>
                <a:cubicBezTo>
                  <a:pt x="88" y="27"/>
                  <a:pt x="89" y="29"/>
                  <a:pt x="87" y="29"/>
                </a:cubicBezTo>
                <a:cubicBezTo>
                  <a:pt x="86" y="29"/>
                  <a:pt x="86" y="29"/>
                  <a:pt x="85" y="29"/>
                </a:cubicBezTo>
                <a:cubicBezTo>
                  <a:pt x="85" y="29"/>
                  <a:pt x="84" y="29"/>
                  <a:pt x="83" y="29"/>
                </a:cubicBezTo>
                <a:cubicBezTo>
                  <a:pt x="81" y="28"/>
                  <a:pt x="81" y="30"/>
                  <a:pt x="80" y="29"/>
                </a:cubicBezTo>
                <a:cubicBezTo>
                  <a:pt x="78" y="30"/>
                  <a:pt x="78" y="32"/>
                  <a:pt x="76" y="32"/>
                </a:cubicBezTo>
                <a:cubicBezTo>
                  <a:pt x="76" y="38"/>
                  <a:pt x="76" y="38"/>
                  <a:pt x="76" y="38"/>
                </a:cubicBezTo>
                <a:cubicBezTo>
                  <a:pt x="76" y="38"/>
                  <a:pt x="76" y="38"/>
                  <a:pt x="76" y="38"/>
                </a:cubicBezTo>
                <a:cubicBezTo>
                  <a:pt x="76" y="38"/>
                  <a:pt x="76" y="38"/>
                  <a:pt x="76" y="38"/>
                </a:cubicBezTo>
                <a:cubicBezTo>
                  <a:pt x="76" y="39"/>
                  <a:pt x="76" y="39"/>
                  <a:pt x="76" y="39"/>
                </a:cubicBezTo>
                <a:cubicBezTo>
                  <a:pt x="76" y="39"/>
                  <a:pt x="76" y="40"/>
                  <a:pt x="76" y="40"/>
                </a:cubicBezTo>
                <a:cubicBezTo>
                  <a:pt x="76" y="40"/>
                  <a:pt x="76" y="40"/>
                  <a:pt x="75" y="40"/>
                </a:cubicBezTo>
                <a:cubicBezTo>
                  <a:pt x="75" y="40"/>
                  <a:pt x="75" y="40"/>
                  <a:pt x="74" y="40"/>
                </a:cubicBezTo>
                <a:cubicBezTo>
                  <a:pt x="74" y="42"/>
                  <a:pt x="72" y="41"/>
                  <a:pt x="72" y="42"/>
                </a:cubicBezTo>
                <a:cubicBezTo>
                  <a:pt x="71" y="43"/>
                  <a:pt x="70" y="42"/>
                  <a:pt x="69" y="42"/>
                </a:cubicBezTo>
                <a:cubicBezTo>
                  <a:pt x="69" y="43"/>
                  <a:pt x="69" y="43"/>
                  <a:pt x="69" y="43"/>
                </a:cubicBezTo>
                <a:cubicBezTo>
                  <a:pt x="69" y="43"/>
                  <a:pt x="67" y="43"/>
                  <a:pt x="66" y="43"/>
                </a:cubicBezTo>
                <a:cubicBezTo>
                  <a:pt x="66" y="43"/>
                  <a:pt x="66" y="44"/>
                  <a:pt x="66" y="44"/>
                </a:cubicBezTo>
                <a:cubicBezTo>
                  <a:pt x="65" y="44"/>
                  <a:pt x="64" y="44"/>
                  <a:pt x="63" y="44"/>
                </a:cubicBezTo>
                <a:cubicBezTo>
                  <a:pt x="62" y="44"/>
                  <a:pt x="61" y="44"/>
                  <a:pt x="60" y="45"/>
                </a:cubicBezTo>
                <a:cubicBezTo>
                  <a:pt x="57" y="45"/>
                  <a:pt x="54" y="44"/>
                  <a:pt x="50" y="45"/>
                </a:cubicBezTo>
                <a:cubicBezTo>
                  <a:pt x="50" y="45"/>
                  <a:pt x="50" y="45"/>
                  <a:pt x="50" y="45"/>
                </a:cubicBezTo>
                <a:cubicBezTo>
                  <a:pt x="47" y="45"/>
                  <a:pt x="45" y="44"/>
                  <a:pt x="43" y="44"/>
                </a:cubicBezTo>
                <a:cubicBezTo>
                  <a:pt x="43" y="44"/>
                  <a:pt x="43" y="44"/>
                  <a:pt x="42" y="44"/>
                </a:cubicBezTo>
                <a:cubicBezTo>
                  <a:pt x="42" y="44"/>
                  <a:pt x="41" y="44"/>
                  <a:pt x="41" y="43"/>
                </a:cubicBezTo>
                <a:cubicBezTo>
                  <a:pt x="39" y="43"/>
                  <a:pt x="39" y="43"/>
                  <a:pt x="39" y="43"/>
                </a:cubicBezTo>
                <a:cubicBezTo>
                  <a:pt x="39" y="43"/>
                  <a:pt x="39" y="43"/>
                  <a:pt x="39" y="42"/>
                </a:cubicBezTo>
                <a:cubicBezTo>
                  <a:pt x="38" y="42"/>
                  <a:pt x="38" y="42"/>
                  <a:pt x="37" y="42"/>
                </a:cubicBezTo>
                <a:cubicBezTo>
                  <a:pt x="36" y="42"/>
                  <a:pt x="36" y="42"/>
                  <a:pt x="36" y="41"/>
                </a:cubicBezTo>
                <a:cubicBezTo>
                  <a:pt x="36" y="40"/>
                  <a:pt x="36" y="40"/>
                  <a:pt x="35" y="40"/>
                </a:cubicBezTo>
                <a:cubicBezTo>
                  <a:pt x="34" y="40"/>
                  <a:pt x="34" y="38"/>
                  <a:pt x="32" y="39"/>
                </a:cubicBezTo>
                <a:cubicBezTo>
                  <a:pt x="31" y="37"/>
                  <a:pt x="29" y="35"/>
                  <a:pt x="27" y="34"/>
                </a:cubicBezTo>
                <a:cubicBezTo>
                  <a:pt x="27" y="34"/>
                  <a:pt x="27" y="35"/>
                  <a:pt x="27" y="35"/>
                </a:cubicBezTo>
                <a:cubicBezTo>
                  <a:pt x="26" y="37"/>
                  <a:pt x="27" y="41"/>
                  <a:pt x="26" y="42"/>
                </a:cubicBezTo>
                <a:cubicBezTo>
                  <a:pt x="26" y="43"/>
                  <a:pt x="27" y="43"/>
                  <a:pt x="27" y="43"/>
                </a:cubicBezTo>
                <a:cubicBezTo>
                  <a:pt x="27" y="45"/>
                  <a:pt x="27" y="45"/>
                  <a:pt x="27" y="45"/>
                </a:cubicBezTo>
                <a:cubicBezTo>
                  <a:pt x="27" y="46"/>
                  <a:pt x="28" y="46"/>
                  <a:pt x="28" y="47"/>
                </a:cubicBezTo>
                <a:cubicBezTo>
                  <a:pt x="27" y="47"/>
                  <a:pt x="28" y="48"/>
                  <a:pt x="27" y="49"/>
                </a:cubicBezTo>
                <a:cubicBezTo>
                  <a:pt x="24" y="49"/>
                  <a:pt x="21" y="50"/>
                  <a:pt x="17" y="50"/>
                </a:cubicBezTo>
                <a:cubicBezTo>
                  <a:pt x="15" y="50"/>
                  <a:pt x="15" y="49"/>
                  <a:pt x="13" y="49"/>
                </a:cubicBezTo>
                <a:cubicBezTo>
                  <a:pt x="11" y="49"/>
                  <a:pt x="11" y="48"/>
                  <a:pt x="9" y="48"/>
                </a:cubicBezTo>
                <a:cubicBezTo>
                  <a:pt x="9" y="49"/>
                  <a:pt x="9" y="50"/>
                  <a:pt x="10" y="50"/>
                </a:cubicBezTo>
                <a:cubicBezTo>
                  <a:pt x="10" y="51"/>
                  <a:pt x="10" y="51"/>
                  <a:pt x="11" y="51"/>
                </a:cubicBezTo>
                <a:cubicBezTo>
                  <a:pt x="12" y="51"/>
                  <a:pt x="12" y="52"/>
                  <a:pt x="13" y="52"/>
                </a:cubicBezTo>
                <a:cubicBezTo>
                  <a:pt x="13" y="53"/>
                  <a:pt x="13" y="53"/>
                  <a:pt x="13" y="53"/>
                </a:cubicBezTo>
                <a:cubicBezTo>
                  <a:pt x="14" y="53"/>
                  <a:pt x="14" y="53"/>
                  <a:pt x="14" y="53"/>
                </a:cubicBezTo>
                <a:cubicBezTo>
                  <a:pt x="14" y="54"/>
                  <a:pt x="14" y="54"/>
                  <a:pt x="15" y="54"/>
                </a:cubicBezTo>
                <a:cubicBezTo>
                  <a:pt x="16" y="54"/>
                  <a:pt x="16" y="54"/>
                  <a:pt x="16" y="54"/>
                </a:cubicBezTo>
                <a:cubicBezTo>
                  <a:pt x="15" y="56"/>
                  <a:pt x="16" y="59"/>
                  <a:pt x="15" y="60"/>
                </a:cubicBezTo>
                <a:cubicBezTo>
                  <a:pt x="13" y="60"/>
                  <a:pt x="14" y="62"/>
                  <a:pt x="13" y="62"/>
                </a:cubicBezTo>
                <a:cubicBezTo>
                  <a:pt x="12" y="63"/>
                  <a:pt x="12" y="64"/>
                  <a:pt x="11" y="65"/>
                </a:cubicBezTo>
                <a:cubicBezTo>
                  <a:pt x="8" y="65"/>
                  <a:pt x="8" y="65"/>
                  <a:pt x="8" y="65"/>
                </a:cubicBezTo>
                <a:cubicBezTo>
                  <a:pt x="8" y="66"/>
                  <a:pt x="9" y="67"/>
                  <a:pt x="9" y="69"/>
                </a:cubicBezTo>
                <a:cubicBezTo>
                  <a:pt x="9" y="71"/>
                  <a:pt x="7" y="71"/>
                  <a:pt x="8" y="73"/>
                </a:cubicBezTo>
                <a:cubicBezTo>
                  <a:pt x="8" y="75"/>
                  <a:pt x="9" y="75"/>
                  <a:pt x="9" y="77"/>
                </a:cubicBezTo>
                <a:cubicBezTo>
                  <a:pt x="9" y="78"/>
                  <a:pt x="11" y="77"/>
                  <a:pt x="10" y="79"/>
                </a:cubicBezTo>
                <a:cubicBezTo>
                  <a:pt x="9" y="80"/>
                  <a:pt x="9" y="81"/>
                  <a:pt x="9" y="81"/>
                </a:cubicBezTo>
                <a:cubicBezTo>
                  <a:pt x="8" y="82"/>
                  <a:pt x="6" y="82"/>
                  <a:pt x="4" y="83"/>
                </a:cubicBezTo>
                <a:cubicBezTo>
                  <a:pt x="4" y="83"/>
                  <a:pt x="4" y="83"/>
                  <a:pt x="3" y="84"/>
                </a:cubicBezTo>
                <a:cubicBezTo>
                  <a:pt x="2" y="84"/>
                  <a:pt x="0" y="83"/>
                  <a:pt x="0" y="85"/>
                </a:cubicBezTo>
                <a:cubicBezTo>
                  <a:pt x="0" y="86"/>
                  <a:pt x="2" y="86"/>
                  <a:pt x="3" y="86"/>
                </a:cubicBezTo>
                <a:cubicBezTo>
                  <a:pt x="4" y="86"/>
                  <a:pt x="3" y="88"/>
                  <a:pt x="4" y="88"/>
                </a:cubicBezTo>
                <a:cubicBezTo>
                  <a:pt x="4" y="89"/>
                  <a:pt x="3" y="89"/>
                  <a:pt x="2" y="89"/>
                </a:cubicBezTo>
                <a:cubicBezTo>
                  <a:pt x="2" y="90"/>
                  <a:pt x="2" y="90"/>
                  <a:pt x="2" y="90"/>
                </a:cubicBezTo>
                <a:cubicBezTo>
                  <a:pt x="3" y="90"/>
                  <a:pt x="3" y="91"/>
                  <a:pt x="3" y="91"/>
                </a:cubicBezTo>
                <a:cubicBezTo>
                  <a:pt x="3" y="91"/>
                  <a:pt x="4" y="91"/>
                  <a:pt x="4" y="91"/>
                </a:cubicBezTo>
                <a:cubicBezTo>
                  <a:pt x="5" y="92"/>
                  <a:pt x="5" y="92"/>
                  <a:pt x="6" y="93"/>
                </a:cubicBezTo>
                <a:cubicBezTo>
                  <a:pt x="6" y="94"/>
                  <a:pt x="6" y="94"/>
                  <a:pt x="6" y="94"/>
                </a:cubicBezTo>
                <a:cubicBezTo>
                  <a:pt x="7" y="95"/>
                  <a:pt x="7" y="97"/>
                  <a:pt x="9" y="97"/>
                </a:cubicBezTo>
                <a:cubicBezTo>
                  <a:pt x="9" y="98"/>
                  <a:pt x="9" y="98"/>
                  <a:pt x="9" y="99"/>
                </a:cubicBezTo>
                <a:cubicBezTo>
                  <a:pt x="9" y="100"/>
                  <a:pt x="11" y="100"/>
                  <a:pt x="11" y="100"/>
                </a:cubicBezTo>
                <a:cubicBezTo>
                  <a:pt x="11" y="104"/>
                  <a:pt x="11" y="104"/>
                  <a:pt x="11" y="104"/>
                </a:cubicBezTo>
                <a:cubicBezTo>
                  <a:pt x="11" y="104"/>
                  <a:pt x="12" y="105"/>
                  <a:pt x="12" y="105"/>
                </a:cubicBezTo>
                <a:cubicBezTo>
                  <a:pt x="13" y="105"/>
                  <a:pt x="14" y="105"/>
                  <a:pt x="13" y="107"/>
                </a:cubicBezTo>
                <a:cubicBezTo>
                  <a:pt x="16" y="107"/>
                  <a:pt x="16" y="107"/>
                  <a:pt x="16" y="107"/>
                </a:cubicBezTo>
                <a:cubicBezTo>
                  <a:pt x="16" y="107"/>
                  <a:pt x="17" y="107"/>
                  <a:pt x="17" y="107"/>
                </a:cubicBezTo>
                <a:cubicBezTo>
                  <a:pt x="20" y="107"/>
                  <a:pt x="21" y="109"/>
                  <a:pt x="22" y="110"/>
                </a:cubicBezTo>
                <a:cubicBezTo>
                  <a:pt x="22" y="111"/>
                  <a:pt x="22" y="111"/>
                  <a:pt x="22" y="111"/>
                </a:cubicBezTo>
                <a:cubicBezTo>
                  <a:pt x="22" y="112"/>
                  <a:pt x="23" y="112"/>
                  <a:pt x="23" y="113"/>
                </a:cubicBezTo>
                <a:cubicBezTo>
                  <a:pt x="23" y="114"/>
                  <a:pt x="24" y="114"/>
                  <a:pt x="24" y="115"/>
                </a:cubicBezTo>
                <a:cubicBezTo>
                  <a:pt x="25" y="115"/>
                  <a:pt x="25" y="116"/>
                  <a:pt x="25" y="116"/>
                </a:cubicBezTo>
                <a:cubicBezTo>
                  <a:pt x="26" y="117"/>
                  <a:pt x="26" y="118"/>
                  <a:pt x="27" y="118"/>
                </a:cubicBezTo>
                <a:cubicBezTo>
                  <a:pt x="27" y="118"/>
                  <a:pt x="27" y="118"/>
                  <a:pt x="27" y="118"/>
                </a:cubicBezTo>
                <a:cubicBezTo>
                  <a:pt x="27" y="118"/>
                  <a:pt x="27" y="118"/>
                  <a:pt x="27" y="118"/>
                </a:cubicBezTo>
                <a:cubicBezTo>
                  <a:pt x="28" y="119"/>
                  <a:pt x="28" y="119"/>
                  <a:pt x="28" y="119"/>
                </a:cubicBezTo>
                <a:cubicBezTo>
                  <a:pt x="28" y="119"/>
                  <a:pt x="28" y="119"/>
                  <a:pt x="28" y="119"/>
                </a:cubicBezTo>
                <a:cubicBezTo>
                  <a:pt x="28" y="119"/>
                  <a:pt x="28" y="119"/>
                  <a:pt x="28" y="119"/>
                </a:cubicBezTo>
                <a:cubicBezTo>
                  <a:pt x="28" y="119"/>
                  <a:pt x="28" y="119"/>
                  <a:pt x="28" y="119"/>
                </a:cubicBezTo>
                <a:cubicBezTo>
                  <a:pt x="28" y="119"/>
                  <a:pt x="29" y="119"/>
                  <a:pt x="29" y="119"/>
                </a:cubicBezTo>
                <a:cubicBezTo>
                  <a:pt x="29" y="119"/>
                  <a:pt x="29" y="119"/>
                  <a:pt x="29" y="119"/>
                </a:cubicBezTo>
                <a:cubicBezTo>
                  <a:pt x="29" y="119"/>
                  <a:pt x="29" y="119"/>
                  <a:pt x="29" y="119"/>
                </a:cubicBezTo>
                <a:cubicBezTo>
                  <a:pt x="29" y="119"/>
                  <a:pt x="29" y="119"/>
                  <a:pt x="29" y="119"/>
                </a:cubicBezTo>
                <a:cubicBezTo>
                  <a:pt x="30" y="119"/>
                  <a:pt x="30" y="119"/>
                  <a:pt x="30" y="119"/>
                </a:cubicBezTo>
                <a:cubicBezTo>
                  <a:pt x="30" y="120"/>
                  <a:pt x="30" y="120"/>
                  <a:pt x="30" y="120"/>
                </a:cubicBezTo>
                <a:cubicBezTo>
                  <a:pt x="30" y="120"/>
                  <a:pt x="30" y="120"/>
                  <a:pt x="30" y="120"/>
                </a:cubicBezTo>
                <a:cubicBezTo>
                  <a:pt x="30" y="120"/>
                  <a:pt x="30" y="120"/>
                  <a:pt x="30" y="120"/>
                </a:cubicBezTo>
                <a:cubicBezTo>
                  <a:pt x="30" y="120"/>
                  <a:pt x="30" y="120"/>
                  <a:pt x="31" y="120"/>
                </a:cubicBezTo>
                <a:cubicBezTo>
                  <a:pt x="31" y="120"/>
                  <a:pt x="31" y="120"/>
                  <a:pt x="31" y="120"/>
                </a:cubicBezTo>
                <a:cubicBezTo>
                  <a:pt x="31" y="120"/>
                  <a:pt x="31" y="120"/>
                  <a:pt x="31" y="120"/>
                </a:cubicBezTo>
                <a:cubicBezTo>
                  <a:pt x="31" y="120"/>
                  <a:pt x="31" y="120"/>
                  <a:pt x="31" y="120"/>
                </a:cubicBezTo>
                <a:cubicBezTo>
                  <a:pt x="32" y="120"/>
                  <a:pt x="33" y="121"/>
                  <a:pt x="33" y="122"/>
                </a:cubicBezTo>
                <a:cubicBezTo>
                  <a:pt x="33" y="122"/>
                  <a:pt x="33" y="122"/>
                  <a:pt x="33" y="122"/>
                </a:cubicBezTo>
                <a:cubicBezTo>
                  <a:pt x="33" y="122"/>
                  <a:pt x="33" y="122"/>
                  <a:pt x="33" y="122"/>
                </a:cubicBezTo>
                <a:cubicBezTo>
                  <a:pt x="33" y="122"/>
                  <a:pt x="33" y="122"/>
                  <a:pt x="33" y="122"/>
                </a:cubicBezTo>
                <a:cubicBezTo>
                  <a:pt x="34" y="122"/>
                  <a:pt x="34" y="122"/>
                  <a:pt x="34" y="122"/>
                </a:cubicBezTo>
                <a:cubicBezTo>
                  <a:pt x="35" y="122"/>
                  <a:pt x="35" y="123"/>
                  <a:pt x="36" y="124"/>
                </a:cubicBezTo>
                <a:cubicBezTo>
                  <a:pt x="36" y="127"/>
                  <a:pt x="36" y="127"/>
                  <a:pt x="36" y="127"/>
                </a:cubicBezTo>
                <a:cubicBezTo>
                  <a:pt x="37" y="128"/>
                  <a:pt x="38" y="128"/>
                  <a:pt x="39" y="127"/>
                </a:cubicBezTo>
                <a:cubicBezTo>
                  <a:pt x="39" y="127"/>
                  <a:pt x="39" y="127"/>
                  <a:pt x="39" y="126"/>
                </a:cubicBezTo>
                <a:cubicBezTo>
                  <a:pt x="39" y="126"/>
                  <a:pt x="42" y="126"/>
                  <a:pt x="44" y="126"/>
                </a:cubicBezTo>
                <a:cubicBezTo>
                  <a:pt x="45" y="126"/>
                  <a:pt x="45" y="126"/>
                  <a:pt x="45" y="126"/>
                </a:cubicBezTo>
                <a:cubicBezTo>
                  <a:pt x="46" y="127"/>
                  <a:pt x="46" y="128"/>
                  <a:pt x="47" y="129"/>
                </a:cubicBezTo>
                <a:cubicBezTo>
                  <a:pt x="47" y="129"/>
                  <a:pt x="47" y="129"/>
                  <a:pt x="47" y="129"/>
                </a:cubicBezTo>
                <a:cubicBezTo>
                  <a:pt x="47" y="129"/>
                  <a:pt x="47" y="129"/>
                  <a:pt x="47" y="129"/>
                </a:cubicBezTo>
                <a:cubicBezTo>
                  <a:pt x="47" y="129"/>
                  <a:pt x="47" y="129"/>
                  <a:pt x="47" y="129"/>
                </a:cubicBezTo>
                <a:cubicBezTo>
                  <a:pt x="47" y="129"/>
                  <a:pt x="47" y="129"/>
                  <a:pt x="48" y="129"/>
                </a:cubicBezTo>
                <a:cubicBezTo>
                  <a:pt x="48" y="129"/>
                  <a:pt x="48" y="129"/>
                  <a:pt x="48" y="129"/>
                </a:cubicBezTo>
                <a:cubicBezTo>
                  <a:pt x="48" y="129"/>
                  <a:pt x="48" y="129"/>
                  <a:pt x="48" y="129"/>
                </a:cubicBezTo>
                <a:cubicBezTo>
                  <a:pt x="48" y="129"/>
                  <a:pt x="48" y="129"/>
                  <a:pt x="48" y="129"/>
                </a:cubicBezTo>
                <a:cubicBezTo>
                  <a:pt x="48" y="129"/>
                  <a:pt x="48" y="129"/>
                  <a:pt x="48" y="129"/>
                </a:cubicBezTo>
                <a:cubicBezTo>
                  <a:pt x="48" y="129"/>
                  <a:pt x="48" y="129"/>
                  <a:pt x="48" y="129"/>
                </a:cubicBezTo>
                <a:cubicBezTo>
                  <a:pt x="48" y="129"/>
                  <a:pt x="48" y="129"/>
                  <a:pt x="48" y="129"/>
                </a:cubicBezTo>
                <a:cubicBezTo>
                  <a:pt x="48" y="130"/>
                  <a:pt x="48" y="130"/>
                  <a:pt x="48" y="130"/>
                </a:cubicBezTo>
                <a:cubicBezTo>
                  <a:pt x="49" y="130"/>
                  <a:pt x="49" y="131"/>
                  <a:pt x="49" y="131"/>
                </a:cubicBezTo>
                <a:cubicBezTo>
                  <a:pt x="51" y="130"/>
                  <a:pt x="53" y="132"/>
                  <a:pt x="53" y="131"/>
                </a:cubicBezTo>
                <a:cubicBezTo>
                  <a:pt x="54" y="131"/>
                  <a:pt x="55" y="131"/>
                  <a:pt x="55" y="132"/>
                </a:cubicBezTo>
                <a:cubicBezTo>
                  <a:pt x="56" y="132"/>
                  <a:pt x="58" y="132"/>
                  <a:pt x="58" y="133"/>
                </a:cubicBezTo>
                <a:cubicBezTo>
                  <a:pt x="59" y="133"/>
                  <a:pt x="59" y="133"/>
                  <a:pt x="59" y="133"/>
                </a:cubicBezTo>
                <a:cubicBezTo>
                  <a:pt x="60" y="132"/>
                  <a:pt x="61" y="132"/>
                  <a:pt x="62" y="132"/>
                </a:cubicBezTo>
                <a:cubicBezTo>
                  <a:pt x="63" y="131"/>
                  <a:pt x="67" y="131"/>
                  <a:pt x="68" y="132"/>
                </a:cubicBezTo>
                <a:cubicBezTo>
                  <a:pt x="69" y="130"/>
                  <a:pt x="71" y="133"/>
                  <a:pt x="72" y="132"/>
                </a:cubicBezTo>
                <a:cubicBezTo>
                  <a:pt x="72" y="131"/>
                  <a:pt x="73" y="132"/>
                  <a:pt x="73" y="131"/>
                </a:cubicBezTo>
                <a:cubicBezTo>
                  <a:pt x="74" y="131"/>
                  <a:pt x="74" y="130"/>
                  <a:pt x="75" y="130"/>
                </a:cubicBezTo>
                <a:cubicBezTo>
                  <a:pt x="77" y="129"/>
                  <a:pt x="76" y="127"/>
                  <a:pt x="78" y="127"/>
                </a:cubicBezTo>
                <a:cubicBezTo>
                  <a:pt x="78" y="127"/>
                  <a:pt x="78" y="126"/>
                  <a:pt x="78" y="126"/>
                </a:cubicBezTo>
                <a:cubicBezTo>
                  <a:pt x="78" y="126"/>
                  <a:pt x="79" y="126"/>
                  <a:pt x="79" y="126"/>
                </a:cubicBezTo>
                <a:cubicBezTo>
                  <a:pt x="79" y="126"/>
                  <a:pt x="79" y="125"/>
                  <a:pt x="79" y="125"/>
                </a:cubicBezTo>
                <a:cubicBezTo>
                  <a:pt x="79" y="125"/>
                  <a:pt x="79" y="125"/>
                  <a:pt x="79" y="125"/>
                </a:cubicBezTo>
                <a:cubicBezTo>
                  <a:pt x="79" y="125"/>
                  <a:pt x="79" y="125"/>
                  <a:pt x="79" y="125"/>
                </a:cubicBezTo>
                <a:cubicBezTo>
                  <a:pt x="80" y="125"/>
                  <a:pt x="80" y="125"/>
                  <a:pt x="80" y="125"/>
                </a:cubicBezTo>
                <a:cubicBezTo>
                  <a:pt x="80" y="125"/>
                  <a:pt x="80" y="125"/>
                  <a:pt x="80" y="125"/>
                </a:cubicBezTo>
                <a:cubicBezTo>
                  <a:pt x="80" y="125"/>
                  <a:pt x="80" y="125"/>
                  <a:pt x="80" y="125"/>
                </a:cubicBezTo>
                <a:cubicBezTo>
                  <a:pt x="80" y="125"/>
                  <a:pt x="81" y="125"/>
                  <a:pt x="81" y="125"/>
                </a:cubicBezTo>
                <a:cubicBezTo>
                  <a:pt x="81" y="125"/>
                  <a:pt x="81" y="125"/>
                  <a:pt x="81" y="125"/>
                </a:cubicBezTo>
                <a:cubicBezTo>
                  <a:pt x="81" y="125"/>
                  <a:pt x="81" y="125"/>
                  <a:pt x="82" y="125"/>
                </a:cubicBezTo>
                <a:cubicBezTo>
                  <a:pt x="82" y="125"/>
                  <a:pt x="82" y="124"/>
                  <a:pt x="82" y="125"/>
                </a:cubicBezTo>
                <a:cubicBezTo>
                  <a:pt x="82" y="125"/>
                  <a:pt x="82" y="125"/>
                  <a:pt x="82" y="125"/>
                </a:cubicBezTo>
                <a:cubicBezTo>
                  <a:pt x="82" y="125"/>
                  <a:pt x="83" y="125"/>
                  <a:pt x="83" y="125"/>
                </a:cubicBezTo>
                <a:cubicBezTo>
                  <a:pt x="83" y="125"/>
                  <a:pt x="83" y="125"/>
                  <a:pt x="83" y="125"/>
                </a:cubicBezTo>
                <a:cubicBezTo>
                  <a:pt x="83" y="125"/>
                  <a:pt x="83" y="125"/>
                  <a:pt x="83" y="125"/>
                </a:cubicBezTo>
                <a:cubicBezTo>
                  <a:pt x="83" y="125"/>
                  <a:pt x="84" y="125"/>
                  <a:pt x="84" y="125"/>
                </a:cubicBezTo>
                <a:cubicBezTo>
                  <a:pt x="84" y="125"/>
                  <a:pt x="84" y="125"/>
                  <a:pt x="84" y="125"/>
                </a:cubicBezTo>
                <a:cubicBezTo>
                  <a:pt x="84" y="125"/>
                  <a:pt x="85" y="125"/>
                  <a:pt x="85" y="125"/>
                </a:cubicBezTo>
                <a:cubicBezTo>
                  <a:pt x="85" y="125"/>
                  <a:pt x="85" y="125"/>
                  <a:pt x="85" y="125"/>
                </a:cubicBezTo>
                <a:cubicBezTo>
                  <a:pt x="85" y="125"/>
                  <a:pt x="85" y="125"/>
                  <a:pt x="85" y="125"/>
                </a:cubicBezTo>
                <a:cubicBezTo>
                  <a:pt x="85" y="124"/>
                  <a:pt x="85" y="124"/>
                  <a:pt x="85" y="124"/>
                </a:cubicBezTo>
                <a:cubicBezTo>
                  <a:pt x="85" y="124"/>
                  <a:pt x="86" y="124"/>
                  <a:pt x="86" y="124"/>
                </a:cubicBezTo>
                <a:cubicBezTo>
                  <a:pt x="88" y="124"/>
                  <a:pt x="89" y="123"/>
                  <a:pt x="90" y="123"/>
                </a:cubicBezTo>
                <a:cubicBezTo>
                  <a:pt x="90" y="122"/>
                  <a:pt x="91" y="122"/>
                  <a:pt x="92" y="121"/>
                </a:cubicBezTo>
                <a:cubicBezTo>
                  <a:pt x="92" y="121"/>
                  <a:pt x="92" y="120"/>
                  <a:pt x="92" y="120"/>
                </a:cubicBezTo>
                <a:cubicBezTo>
                  <a:pt x="92" y="120"/>
                  <a:pt x="92" y="119"/>
                  <a:pt x="93" y="119"/>
                </a:cubicBezTo>
                <a:cubicBezTo>
                  <a:pt x="98" y="119"/>
                  <a:pt x="98" y="119"/>
                  <a:pt x="98" y="119"/>
                </a:cubicBezTo>
                <a:cubicBezTo>
                  <a:pt x="98" y="118"/>
                  <a:pt x="99" y="118"/>
                  <a:pt x="99" y="118"/>
                </a:cubicBezTo>
                <a:cubicBezTo>
                  <a:pt x="101" y="117"/>
                  <a:pt x="102" y="114"/>
                  <a:pt x="105" y="113"/>
                </a:cubicBezTo>
                <a:cubicBezTo>
                  <a:pt x="106" y="112"/>
                  <a:pt x="107" y="111"/>
                  <a:pt x="110" y="111"/>
                </a:cubicBezTo>
                <a:cubicBezTo>
                  <a:pt x="112" y="111"/>
                  <a:pt x="112" y="112"/>
                  <a:pt x="114" y="112"/>
                </a:cubicBezTo>
                <a:cubicBezTo>
                  <a:pt x="114" y="112"/>
                  <a:pt x="115" y="112"/>
                  <a:pt x="116" y="112"/>
                </a:cubicBezTo>
                <a:cubicBezTo>
                  <a:pt x="116" y="112"/>
                  <a:pt x="116" y="112"/>
                  <a:pt x="116" y="111"/>
                </a:cubicBezTo>
                <a:cubicBezTo>
                  <a:pt x="116" y="111"/>
                  <a:pt x="117" y="112"/>
                  <a:pt x="117" y="111"/>
                </a:cubicBezTo>
                <a:cubicBezTo>
                  <a:pt x="118" y="111"/>
                  <a:pt x="119" y="110"/>
                  <a:pt x="121" y="110"/>
                </a:cubicBezTo>
                <a:cubicBezTo>
                  <a:pt x="124" y="110"/>
                  <a:pt x="128" y="110"/>
                  <a:pt x="130" y="111"/>
                </a:cubicBezTo>
                <a:cubicBezTo>
                  <a:pt x="130" y="109"/>
                  <a:pt x="132" y="110"/>
                  <a:pt x="133" y="109"/>
                </a:cubicBezTo>
                <a:cubicBezTo>
                  <a:pt x="135" y="109"/>
                  <a:pt x="134" y="107"/>
                  <a:pt x="136" y="107"/>
                </a:cubicBezTo>
                <a:cubicBezTo>
                  <a:pt x="139" y="107"/>
                  <a:pt x="140" y="108"/>
                  <a:pt x="142" y="108"/>
                </a:cubicBezTo>
                <a:cubicBezTo>
                  <a:pt x="142" y="107"/>
                  <a:pt x="142" y="106"/>
                  <a:pt x="143" y="106"/>
                </a:cubicBezTo>
                <a:cubicBezTo>
                  <a:pt x="144" y="107"/>
                  <a:pt x="147" y="106"/>
                  <a:pt x="149" y="105"/>
                </a:cubicBezTo>
                <a:cubicBezTo>
                  <a:pt x="150" y="105"/>
                  <a:pt x="150" y="106"/>
                  <a:pt x="151" y="106"/>
                </a:cubicBezTo>
                <a:cubicBezTo>
                  <a:pt x="151" y="105"/>
                  <a:pt x="151" y="105"/>
                  <a:pt x="152" y="105"/>
                </a:cubicBezTo>
                <a:cubicBezTo>
                  <a:pt x="152" y="105"/>
                  <a:pt x="152" y="104"/>
                  <a:pt x="153" y="104"/>
                </a:cubicBezTo>
                <a:cubicBezTo>
                  <a:pt x="154" y="104"/>
                  <a:pt x="154" y="104"/>
                  <a:pt x="154" y="104"/>
                </a:cubicBezTo>
                <a:cubicBezTo>
                  <a:pt x="155" y="104"/>
                  <a:pt x="155" y="103"/>
                  <a:pt x="156" y="103"/>
                </a:cubicBezTo>
                <a:cubicBezTo>
                  <a:pt x="157" y="102"/>
                  <a:pt x="157" y="101"/>
                  <a:pt x="158" y="101"/>
                </a:cubicBezTo>
                <a:cubicBezTo>
                  <a:pt x="158" y="100"/>
                  <a:pt x="159" y="99"/>
                  <a:pt x="160" y="98"/>
                </a:cubicBezTo>
                <a:cubicBezTo>
                  <a:pt x="160" y="98"/>
                  <a:pt x="160" y="97"/>
                  <a:pt x="160" y="97"/>
                </a:cubicBezTo>
                <a:cubicBezTo>
                  <a:pt x="160" y="90"/>
                  <a:pt x="160" y="90"/>
                  <a:pt x="160" y="90"/>
                </a:cubicBezTo>
                <a:cubicBezTo>
                  <a:pt x="161" y="90"/>
                  <a:pt x="161" y="89"/>
                  <a:pt x="161" y="88"/>
                </a:cubicBezTo>
                <a:cubicBezTo>
                  <a:pt x="163" y="88"/>
                  <a:pt x="163" y="86"/>
                  <a:pt x="164" y="86"/>
                </a:cubicBezTo>
                <a:cubicBezTo>
                  <a:pt x="164" y="83"/>
                  <a:pt x="166" y="84"/>
                  <a:pt x="167" y="83"/>
                </a:cubicBezTo>
                <a:cubicBezTo>
                  <a:pt x="167" y="79"/>
                  <a:pt x="167" y="79"/>
                  <a:pt x="167" y="79"/>
                </a:cubicBezTo>
                <a:cubicBezTo>
                  <a:pt x="167" y="78"/>
                  <a:pt x="167" y="78"/>
                  <a:pt x="167" y="77"/>
                </a:cubicBezTo>
                <a:cubicBezTo>
                  <a:pt x="168" y="77"/>
                  <a:pt x="167" y="77"/>
                  <a:pt x="167" y="77"/>
                </a:cubicBezTo>
                <a:cubicBezTo>
                  <a:pt x="168" y="77"/>
                  <a:pt x="168" y="77"/>
                  <a:pt x="168" y="77"/>
                </a:cubicBezTo>
                <a:cubicBezTo>
                  <a:pt x="168" y="76"/>
                  <a:pt x="168" y="75"/>
                  <a:pt x="168" y="74"/>
                </a:cubicBezTo>
                <a:cubicBezTo>
                  <a:pt x="168" y="74"/>
                  <a:pt x="169" y="74"/>
                  <a:pt x="169" y="74"/>
                </a:cubicBezTo>
                <a:cubicBezTo>
                  <a:pt x="169" y="74"/>
                  <a:pt x="169" y="73"/>
                  <a:pt x="169" y="73"/>
                </a:cubicBezTo>
                <a:cubicBezTo>
                  <a:pt x="169" y="73"/>
                  <a:pt x="169" y="72"/>
                  <a:pt x="170" y="72"/>
                </a:cubicBezTo>
                <a:cubicBezTo>
                  <a:pt x="170" y="68"/>
                  <a:pt x="170" y="68"/>
                  <a:pt x="170" y="68"/>
                </a:cubicBezTo>
                <a:cubicBezTo>
                  <a:pt x="170" y="67"/>
                  <a:pt x="170" y="66"/>
                  <a:pt x="169" y="66"/>
                </a:cubicBezTo>
                <a:cubicBezTo>
                  <a:pt x="169" y="66"/>
                  <a:pt x="169" y="65"/>
                  <a:pt x="170" y="65"/>
                </a:cubicBezTo>
                <a:cubicBezTo>
                  <a:pt x="169" y="62"/>
                  <a:pt x="171" y="62"/>
                  <a:pt x="171" y="59"/>
                </a:cubicBezTo>
                <a:cubicBezTo>
                  <a:pt x="172" y="59"/>
                  <a:pt x="172" y="59"/>
                  <a:pt x="172" y="58"/>
                </a:cubicBezTo>
                <a:cubicBezTo>
                  <a:pt x="172" y="56"/>
                  <a:pt x="174" y="55"/>
                  <a:pt x="174" y="53"/>
                </a:cubicBezTo>
                <a:cubicBezTo>
                  <a:pt x="175" y="53"/>
                  <a:pt x="174" y="51"/>
                  <a:pt x="176" y="51"/>
                </a:cubicBezTo>
                <a:cubicBezTo>
                  <a:pt x="176" y="50"/>
                  <a:pt x="176" y="49"/>
                  <a:pt x="177" y="48"/>
                </a:cubicBezTo>
                <a:cubicBezTo>
                  <a:pt x="177" y="46"/>
                  <a:pt x="178" y="43"/>
                  <a:pt x="177" y="42"/>
                </a:cubicBezTo>
                <a:cubicBezTo>
                  <a:pt x="179" y="43"/>
                  <a:pt x="179" y="41"/>
                  <a:pt x="181" y="40"/>
                </a:cubicBezTo>
                <a:cubicBezTo>
                  <a:pt x="181" y="39"/>
                  <a:pt x="181" y="39"/>
                  <a:pt x="181" y="39"/>
                </a:cubicBezTo>
                <a:cubicBezTo>
                  <a:pt x="180" y="39"/>
                  <a:pt x="180" y="39"/>
                  <a:pt x="180" y="38"/>
                </a:cubicBezTo>
                <a:cubicBezTo>
                  <a:pt x="180" y="37"/>
                  <a:pt x="181" y="36"/>
                  <a:pt x="182" y="36"/>
                </a:cubicBezTo>
                <a:cubicBezTo>
                  <a:pt x="182" y="34"/>
                  <a:pt x="183" y="33"/>
                  <a:pt x="183" y="32"/>
                </a:cubicBezTo>
                <a:cubicBezTo>
                  <a:pt x="185" y="32"/>
                  <a:pt x="185" y="30"/>
                  <a:pt x="187" y="29"/>
                </a:cubicBezTo>
                <a:cubicBezTo>
                  <a:pt x="189" y="29"/>
                  <a:pt x="190" y="27"/>
                  <a:pt x="193" y="27"/>
                </a:cubicBezTo>
                <a:cubicBezTo>
                  <a:pt x="193" y="26"/>
                  <a:pt x="195" y="26"/>
                  <a:pt x="195" y="26"/>
                </a:cubicBezTo>
                <a:cubicBezTo>
                  <a:pt x="196" y="26"/>
                  <a:pt x="196" y="25"/>
                  <a:pt x="197" y="24"/>
                </a:cubicBezTo>
                <a:cubicBezTo>
                  <a:pt x="198" y="23"/>
                  <a:pt x="197" y="20"/>
                  <a:pt x="198" y="19"/>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6" name="Freeform 74"/>
          <p:cNvSpPr>
            <a:spLocks noEditPoints="1"/>
          </p:cNvSpPr>
          <p:nvPr/>
        </p:nvSpPr>
        <p:spPr bwMode="auto">
          <a:xfrm>
            <a:off x="8806154" y="5366053"/>
            <a:ext cx="1319213" cy="1266825"/>
          </a:xfrm>
          <a:custGeom>
            <a:avLst/>
            <a:gdLst>
              <a:gd name="T0" fmla="*/ 198 w 341"/>
              <a:gd name="T1" fmla="*/ 236 h 327"/>
              <a:gd name="T2" fmla="*/ 191 w 341"/>
              <a:gd name="T3" fmla="*/ 172 h 327"/>
              <a:gd name="T4" fmla="*/ 139 w 341"/>
              <a:gd name="T5" fmla="*/ 148 h 327"/>
              <a:gd name="T6" fmla="*/ 134 w 341"/>
              <a:gd name="T7" fmla="*/ 136 h 327"/>
              <a:gd name="T8" fmla="*/ 201 w 341"/>
              <a:gd name="T9" fmla="*/ 105 h 327"/>
              <a:gd name="T10" fmla="*/ 183 w 341"/>
              <a:gd name="T11" fmla="*/ 139 h 327"/>
              <a:gd name="T12" fmla="*/ 207 w 341"/>
              <a:gd name="T13" fmla="*/ 93 h 327"/>
              <a:gd name="T14" fmla="*/ 173 w 341"/>
              <a:gd name="T15" fmla="*/ 60 h 327"/>
              <a:gd name="T16" fmla="*/ 207 w 341"/>
              <a:gd name="T17" fmla="*/ 189 h 327"/>
              <a:gd name="T18" fmla="*/ 273 w 341"/>
              <a:gd name="T19" fmla="*/ 210 h 327"/>
              <a:gd name="T20" fmla="*/ 272 w 341"/>
              <a:gd name="T21" fmla="*/ 196 h 327"/>
              <a:gd name="T22" fmla="*/ 270 w 341"/>
              <a:gd name="T23" fmla="*/ 231 h 327"/>
              <a:gd name="T24" fmla="*/ 233 w 341"/>
              <a:gd name="T25" fmla="*/ 236 h 327"/>
              <a:gd name="T26" fmla="*/ 261 w 341"/>
              <a:gd name="T27" fmla="*/ 235 h 327"/>
              <a:gd name="T28" fmla="*/ 259 w 341"/>
              <a:gd name="T29" fmla="*/ 181 h 327"/>
              <a:gd name="T30" fmla="*/ 242 w 341"/>
              <a:gd name="T31" fmla="*/ 210 h 327"/>
              <a:gd name="T32" fmla="*/ 272 w 341"/>
              <a:gd name="T33" fmla="*/ 306 h 327"/>
              <a:gd name="T34" fmla="*/ 265 w 341"/>
              <a:gd name="T35" fmla="*/ 295 h 327"/>
              <a:gd name="T36" fmla="*/ 197 w 341"/>
              <a:gd name="T37" fmla="*/ 295 h 327"/>
              <a:gd name="T38" fmla="*/ 173 w 341"/>
              <a:gd name="T39" fmla="*/ 305 h 327"/>
              <a:gd name="T40" fmla="*/ 240 w 341"/>
              <a:gd name="T41" fmla="*/ 312 h 327"/>
              <a:gd name="T42" fmla="*/ 277 w 341"/>
              <a:gd name="T43" fmla="*/ 290 h 327"/>
              <a:gd name="T44" fmla="*/ 182 w 341"/>
              <a:gd name="T45" fmla="*/ 194 h 327"/>
              <a:gd name="T46" fmla="*/ 140 w 341"/>
              <a:gd name="T47" fmla="*/ 157 h 327"/>
              <a:gd name="T48" fmla="*/ 130 w 341"/>
              <a:gd name="T49" fmla="*/ 127 h 327"/>
              <a:gd name="T50" fmla="*/ 131 w 341"/>
              <a:gd name="T51" fmla="*/ 115 h 327"/>
              <a:gd name="T52" fmla="*/ 127 w 341"/>
              <a:gd name="T53" fmla="*/ 82 h 327"/>
              <a:gd name="T54" fmla="*/ 146 w 341"/>
              <a:gd name="T55" fmla="*/ 84 h 327"/>
              <a:gd name="T56" fmla="*/ 172 w 341"/>
              <a:gd name="T57" fmla="*/ 84 h 327"/>
              <a:gd name="T58" fmla="*/ 163 w 341"/>
              <a:gd name="T59" fmla="*/ 58 h 327"/>
              <a:gd name="T60" fmla="*/ 234 w 341"/>
              <a:gd name="T61" fmla="*/ 31 h 327"/>
              <a:gd name="T62" fmla="*/ 217 w 341"/>
              <a:gd name="T63" fmla="*/ 20 h 327"/>
              <a:gd name="T64" fmla="*/ 180 w 341"/>
              <a:gd name="T65" fmla="*/ 26 h 327"/>
              <a:gd name="T66" fmla="*/ 86 w 341"/>
              <a:gd name="T67" fmla="*/ 52 h 327"/>
              <a:gd name="T68" fmla="*/ 58 w 341"/>
              <a:gd name="T69" fmla="*/ 67 h 327"/>
              <a:gd name="T70" fmla="*/ 33 w 341"/>
              <a:gd name="T71" fmla="*/ 125 h 327"/>
              <a:gd name="T72" fmla="*/ 63 w 341"/>
              <a:gd name="T73" fmla="*/ 149 h 327"/>
              <a:gd name="T74" fmla="*/ 54 w 341"/>
              <a:gd name="T75" fmla="*/ 162 h 327"/>
              <a:gd name="T76" fmla="*/ 84 w 341"/>
              <a:gd name="T77" fmla="*/ 180 h 327"/>
              <a:gd name="T78" fmla="*/ 145 w 341"/>
              <a:gd name="T79" fmla="*/ 181 h 327"/>
              <a:gd name="T80" fmla="*/ 89 w 341"/>
              <a:gd name="T81" fmla="*/ 182 h 327"/>
              <a:gd name="T82" fmla="*/ 93 w 341"/>
              <a:gd name="T83" fmla="*/ 228 h 327"/>
              <a:gd name="T84" fmla="*/ 130 w 341"/>
              <a:gd name="T85" fmla="*/ 260 h 327"/>
              <a:gd name="T86" fmla="*/ 148 w 341"/>
              <a:gd name="T87" fmla="*/ 247 h 327"/>
              <a:gd name="T88" fmla="*/ 154 w 341"/>
              <a:gd name="T89" fmla="*/ 217 h 327"/>
              <a:gd name="T90" fmla="*/ 155 w 341"/>
              <a:gd name="T91" fmla="*/ 184 h 327"/>
              <a:gd name="T92" fmla="*/ 158 w 341"/>
              <a:gd name="T93" fmla="*/ 185 h 327"/>
              <a:gd name="T94" fmla="*/ 322 w 341"/>
              <a:gd name="T95" fmla="*/ 220 h 327"/>
              <a:gd name="T96" fmla="*/ 329 w 341"/>
              <a:gd name="T97" fmla="*/ 230 h 327"/>
              <a:gd name="T98" fmla="*/ 339 w 341"/>
              <a:gd name="T99" fmla="*/ 234 h 327"/>
              <a:gd name="T100" fmla="*/ 288 w 341"/>
              <a:gd name="T101" fmla="*/ 212 h 327"/>
              <a:gd name="T102" fmla="*/ 309 w 341"/>
              <a:gd name="T103" fmla="*/ 256 h 327"/>
              <a:gd name="T104" fmla="*/ 233 w 341"/>
              <a:gd name="T105" fmla="*/ 226 h 327"/>
              <a:gd name="T106" fmla="*/ 14 w 341"/>
              <a:gd name="T107" fmla="*/ 126 h 327"/>
              <a:gd name="T108" fmla="*/ 241 w 341"/>
              <a:gd name="T109" fmla="*/ 120 h 327"/>
              <a:gd name="T110" fmla="*/ 2 w 341"/>
              <a:gd name="T111" fmla="*/ 116 h 327"/>
              <a:gd name="T112" fmla="*/ 231 w 341"/>
              <a:gd name="T113" fmla="*/ 199 h 327"/>
              <a:gd name="T114" fmla="*/ 232 w 341"/>
              <a:gd name="T115" fmla="*/ 211 h 327"/>
              <a:gd name="T116" fmla="*/ 47 w 341"/>
              <a:gd name="T117" fmla="*/ 175 h 327"/>
              <a:gd name="T118" fmla="*/ 161 w 341"/>
              <a:gd name="T119" fmla="*/ 208 h 327"/>
              <a:gd name="T120" fmla="*/ 102 w 341"/>
              <a:gd name="T121" fmla="*/ 251 h 327"/>
              <a:gd name="T122" fmla="*/ 62 w 341"/>
              <a:gd name="T123" fmla="*/ 21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1" h="327">
                <a:moveTo>
                  <a:pt x="152" y="129"/>
                </a:moveTo>
                <a:cubicBezTo>
                  <a:pt x="153" y="129"/>
                  <a:pt x="153" y="130"/>
                  <a:pt x="154" y="130"/>
                </a:cubicBezTo>
                <a:cubicBezTo>
                  <a:pt x="154" y="129"/>
                  <a:pt x="154" y="129"/>
                  <a:pt x="155" y="128"/>
                </a:cubicBezTo>
                <a:cubicBezTo>
                  <a:pt x="154" y="128"/>
                  <a:pt x="152" y="128"/>
                  <a:pt x="152" y="129"/>
                </a:cubicBezTo>
                <a:close/>
                <a:moveTo>
                  <a:pt x="169" y="120"/>
                </a:moveTo>
                <a:cubicBezTo>
                  <a:pt x="169" y="120"/>
                  <a:pt x="168" y="120"/>
                  <a:pt x="167" y="120"/>
                </a:cubicBezTo>
                <a:cubicBezTo>
                  <a:pt x="168" y="122"/>
                  <a:pt x="168" y="121"/>
                  <a:pt x="167" y="123"/>
                </a:cubicBezTo>
                <a:cubicBezTo>
                  <a:pt x="169" y="124"/>
                  <a:pt x="169" y="122"/>
                  <a:pt x="169" y="120"/>
                </a:cubicBezTo>
                <a:close/>
                <a:moveTo>
                  <a:pt x="162" y="131"/>
                </a:moveTo>
                <a:cubicBezTo>
                  <a:pt x="163" y="131"/>
                  <a:pt x="163" y="130"/>
                  <a:pt x="164" y="130"/>
                </a:cubicBezTo>
                <a:cubicBezTo>
                  <a:pt x="164" y="129"/>
                  <a:pt x="164" y="128"/>
                  <a:pt x="165" y="128"/>
                </a:cubicBezTo>
                <a:cubicBezTo>
                  <a:pt x="165" y="127"/>
                  <a:pt x="166" y="127"/>
                  <a:pt x="166" y="126"/>
                </a:cubicBezTo>
                <a:cubicBezTo>
                  <a:pt x="166" y="125"/>
                  <a:pt x="165" y="125"/>
                  <a:pt x="165" y="125"/>
                </a:cubicBezTo>
                <a:cubicBezTo>
                  <a:pt x="163" y="124"/>
                  <a:pt x="164" y="127"/>
                  <a:pt x="162" y="127"/>
                </a:cubicBezTo>
                <a:cubicBezTo>
                  <a:pt x="162" y="128"/>
                  <a:pt x="162" y="130"/>
                  <a:pt x="162" y="131"/>
                </a:cubicBezTo>
                <a:cubicBezTo>
                  <a:pt x="162" y="131"/>
                  <a:pt x="162" y="131"/>
                  <a:pt x="162" y="131"/>
                </a:cubicBezTo>
                <a:close/>
                <a:moveTo>
                  <a:pt x="167" y="127"/>
                </a:moveTo>
                <a:cubicBezTo>
                  <a:pt x="165" y="127"/>
                  <a:pt x="165" y="129"/>
                  <a:pt x="165" y="130"/>
                </a:cubicBezTo>
                <a:cubicBezTo>
                  <a:pt x="167" y="130"/>
                  <a:pt x="167" y="129"/>
                  <a:pt x="167" y="127"/>
                </a:cubicBezTo>
                <a:close/>
                <a:moveTo>
                  <a:pt x="159" y="134"/>
                </a:moveTo>
                <a:cubicBezTo>
                  <a:pt x="160" y="133"/>
                  <a:pt x="160" y="133"/>
                  <a:pt x="160" y="133"/>
                </a:cubicBezTo>
                <a:cubicBezTo>
                  <a:pt x="161" y="133"/>
                  <a:pt x="161" y="132"/>
                  <a:pt x="161" y="132"/>
                </a:cubicBezTo>
                <a:cubicBezTo>
                  <a:pt x="159" y="131"/>
                  <a:pt x="157" y="130"/>
                  <a:pt x="155" y="130"/>
                </a:cubicBezTo>
                <a:cubicBezTo>
                  <a:pt x="155" y="131"/>
                  <a:pt x="154" y="131"/>
                  <a:pt x="155" y="132"/>
                </a:cubicBezTo>
                <a:cubicBezTo>
                  <a:pt x="155" y="133"/>
                  <a:pt x="156" y="133"/>
                  <a:pt x="155" y="134"/>
                </a:cubicBezTo>
                <a:cubicBezTo>
                  <a:pt x="157" y="134"/>
                  <a:pt x="159" y="134"/>
                  <a:pt x="159" y="134"/>
                </a:cubicBezTo>
                <a:close/>
                <a:moveTo>
                  <a:pt x="201" y="240"/>
                </a:moveTo>
                <a:cubicBezTo>
                  <a:pt x="201" y="238"/>
                  <a:pt x="204" y="239"/>
                  <a:pt x="204" y="237"/>
                </a:cubicBezTo>
                <a:cubicBezTo>
                  <a:pt x="202" y="237"/>
                  <a:pt x="203" y="235"/>
                  <a:pt x="201" y="235"/>
                </a:cubicBezTo>
                <a:cubicBezTo>
                  <a:pt x="201" y="236"/>
                  <a:pt x="200" y="235"/>
                  <a:pt x="199" y="235"/>
                </a:cubicBezTo>
                <a:cubicBezTo>
                  <a:pt x="199" y="235"/>
                  <a:pt x="198" y="236"/>
                  <a:pt x="198" y="236"/>
                </a:cubicBezTo>
                <a:cubicBezTo>
                  <a:pt x="196" y="236"/>
                  <a:pt x="196" y="237"/>
                  <a:pt x="194" y="237"/>
                </a:cubicBezTo>
                <a:cubicBezTo>
                  <a:pt x="194" y="238"/>
                  <a:pt x="194" y="239"/>
                  <a:pt x="194" y="240"/>
                </a:cubicBezTo>
                <a:cubicBezTo>
                  <a:pt x="194" y="240"/>
                  <a:pt x="195" y="240"/>
                  <a:pt x="195" y="241"/>
                </a:cubicBezTo>
                <a:cubicBezTo>
                  <a:pt x="197" y="241"/>
                  <a:pt x="198" y="240"/>
                  <a:pt x="201" y="240"/>
                </a:cubicBezTo>
                <a:close/>
                <a:moveTo>
                  <a:pt x="196" y="219"/>
                </a:moveTo>
                <a:cubicBezTo>
                  <a:pt x="196" y="221"/>
                  <a:pt x="198" y="221"/>
                  <a:pt x="199" y="221"/>
                </a:cubicBezTo>
                <a:cubicBezTo>
                  <a:pt x="198" y="218"/>
                  <a:pt x="201" y="219"/>
                  <a:pt x="201" y="217"/>
                </a:cubicBezTo>
                <a:cubicBezTo>
                  <a:pt x="201" y="216"/>
                  <a:pt x="201" y="215"/>
                  <a:pt x="201" y="214"/>
                </a:cubicBezTo>
                <a:cubicBezTo>
                  <a:pt x="200" y="214"/>
                  <a:pt x="199" y="213"/>
                  <a:pt x="197" y="213"/>
                </a:cubicBezTo>
                <a:cubicBezTo>
                  <a:pt x="196" y="214"/>
                  <a:pt x="194" y="215"/>
                  <a:pt x="194" y="218"/>
                </a:cubicBezTo>
                <a:cubicBezTo>
                  <a:pt x="193" y="218"/>
                  <a:pt x="193" y="218"/>
                  <a:pt x="193" y="219"/>
                </a:cubicBezTo>
                <a:cubicBezTo>
                  <a:pt x="194" y="219"/>
                  <a:pt x="195" y="219"/>
                  <a:pt x="196" y="219"/>
                </a:cubicBezTo>
                <a:close/>
                <a:moveTo>
                  <a:pt x="182" y="179"/>
                </a:moveTo>
                <a:cubicBezTo>
                  <a:pt x="182" y="179"/>
                  <a:pt x="181" y="180"/>
                  <a:pt x="181" y="182"/>
                </a:cubicBezTo>
                <a:cubicBezTo>
                  <a:pt x="182" y="182"/>
                  <a:pt x="182" y="182"/>
                  <a:pt x="183" y="182"/>
                </a:cubicBezTo>
                <a:cubicBezTo>
                  <a:pt x="183" y="181"/>
                  <a:pt x="183" y="181"/>
                  <a:pt x="184" y="181"/>
                </a:cubicBezTo>
                <a:cubicBezTo>
                  <a:pt x="186" y="181"/>
                  <a:pt x="185" y="181"/>
                  <a:pt x="185" y="180"/>
                </a:cubicBezTo>
                <a:cubicBezTo>
                  <a:pt x="184" y="180"/>
                  <a:pt x="184" y="180"/>
                  <a:pt x="184" y="179"/>
                </a:cubicBezTo>
                <a:cubicBezTo>
                  <a:pt x="183" y="179"/>
                  <a:pt x="183" y="179"/>
                  <a:pt x="182" y="179"/>
                </a:cubicBezTo>
                <a:close/>
                <a:moveTo>
                  <a:pt x="189" y="182"/>
                </a:moveTo>
                <a:cubicBezTo>
                  <a:pt x="189" y="181"/>
                  <a:pt x="188" y="180"/>
                  <a:pt x="189" y="180"/>
                </a:cubicBezTo>
                <a:cubicBezTo>
                  <a:pt x="190" y="180"/>
                  <a:pt x="191" y="180"/>
                  <a:pt x="191" y="181"/>
                </a:cubicBezTo>
                <a:cubicBezTo>
                  <a:pt x="192" y="181"/>
                  <a:pt x="192" y="181"/>
                  <a:pt x="193" y="181"/>
                </a:cubicBezTo>
                <a:cubicBezTo>
                  <a:pt x="193" y="180"/>
                  <a:pt x="194" y="180"/>
                  <a:pt x="194" y="179"/>
                </a:cubicBezTo>
                <a:cubicBezTo>
                  <a:pt x="195" y="179"/>
                  <a:pt x="195" y="177"/>
                  <a:pt x="196" y="177"/>
                </a:cubicBezTo>
                <a:cubicBezTo>
                  <a:pt x="196" y="176"/>
                  <a:pt x="196" y="175"/>
                  <a:pt x="196" y="175"/>
                </a:cubicBezTo>
                <a:cubicBezTo>
                  <a:pt x="195" y="175"/>
                  <a:pt x="195" y="174"/>
                  <a:pt x="196" y="173"/>
                </a:cubicBezTo>
                <a:cubicBezTo>
                  <a:pt x="196" y="173"/>
                  <a:pt x="196" y="172"/>
                  <a:pt x="196" y="171"/>
                </a:cubicBezTo>
                <a:cubicBezTo>
                  <a:pt x="195" y="171"/>
                  <a:pt x="195" y="170"/>
                  <a:pt x="194" y="171"/>
                </a:cubicBezTo>
                <a:cubicBezTo>
                  <a:pt x="194" y="171"/>
                  <a:pt x="192" y="171"/>
                  <a:pt x="192" y="171"/>
                </a:cubicBezTo>
                <a:cubicBezTo>
                  <a:pt x="192" y="172"/>
                  <a:pt x="191" y="172"/>
                  <a:pt x="191" y="172"/>
                </a:cubicBezTo>
                <a:cubicBezTo>
                  <a:pt x="189" y="172"/>
                  <a:pt x="187" y="172"/>
                  <a:pt x="186" y="171"/>
                </a:cubicBezTo>
                <a:cubicBezTo>
                  <a:pt x="186" y="171"/>
                  <a:pt x="185" y="171"/>
                  <a:pt x="185" y="171"/>
                </a:cubicBezTo>
                <a:cubicBezTo>
                  <a:pt x="185" y="170"/>
                  <a:pt x="184" y="169"/>
                  <a:pt x="183" y="169"/>
                </a:cubicBezTo>
                <a:cubicBezTo>
                  <a:pt x="183" y="167"/>
                  <a:pt x="182" y="167"/>
                  <a:pt x="182" y="166"/>
                </a:cubicBezTo>
                <a:cubicBezTo>
                  <a:pt x="182" y="166"/>
                  <a:pt x="182" y="165"/>
                  <a:pt x="181" y="165"/>
                </a:cubicBezTo>
                <a:cubicBezTo>
                  <a:pt x="181" y="166"/>
                  <a:pt x="180" y="165"/>
                  <a:pt x="180" y="165"/>
                </a:cubicBezTo>
                <a:cubicBezTo>
                  <a:pt x="180" y="162"/>
                  <a:pt x="179" y="160"/>
                  <a:pt x="180" y="156"/>
                </a:cubicBezTo>
                <a:cubicBezTo>
                  <a:pt x="179" y="156"/>
                  <a:pt x="179" y="156"/>
                  <a:pt x="179" y="155"/>
                </a:cubicBezTo>
                <a:cubicBezTo>
                  <a:pt x="177" y="154"/>
                  <a:pt x="176" y="153"/>
                  <a:pt x="176" y="150"/>
                </a:cubicBezTo>
                <a:cubicBezTo>
                  <a:pt x="175" y="150"/>
                  <a:pt x="173" y="150"/>
                  <a:pt x="172" y="150"/>
                </a:cubicBezTo>
                <a:cubicBezTo>
                  <a:pt x="172" y="150"/>
                  <a:pt x="171" y="150"/>
                  <a:pt x="171" y="150"/>
                </a:cubicBezTo>
                <a:cubicBezTo>
                  <a:pt x="171" y="149"/>
                  <a:pt x="170" y="149"/>
                  <a:pt x="170" y="150"/>
                </a:cubicBezTo>
                <a:cubicBezTo>
                  <a:pt x="170" y="150"/>
                  <a:pt x="170" y="151"/>
                  <a:pt x="169" y="150"/>
                </a:cubicBezTo>
                <a:cubicBezTo>
                  <a:pt x="166" y="152"/>
                  <a:pt x="162" y="150"/>
                  <a:pt x="160" y="149"/>
                </a:cubicBezTo>
                <a:cubicBezTo>
                  <a:pt x="160" y="149"/>
                  <a:pt x="159" y="149"/>
                  <a:pt x="159" y="148"/>
                </a:cubicBezTo>
                <a:cubicBezTo>
                  <a:pt x="158" y="148"/>
                  <a:pt x="157" y="148"/>
                  <a:pt x="155" y="148"/>
                </a:cubicBezTo>
                <a:cubicBezTo>
                  <a:pt x="156" y="147"/>
                  <a:pt x="153" y="148"/>
                  <a:pt x="153" y="146"/>
                </a:cubicBezTo>
                <a:cubicBezTo>
                  <a:pt x="152" y="146"/>
                  <a:pt x="151" y="145"/>
                  <a:pt x="150" y="145"/>
                </a:cubicBezTo>
                <a:cubicBezTo>
                  <a:pt x="150" y="144"/>
                  <a:pt x="149" y="143"/>
                  <a:pt x="148" y="141"/>
                </a:cubicBezTo>
                <a:cubicBezTo>
                  <a:pt x="148" y="141"/>
                  <a:pt x="148" y="141"/>
                  <a:pt x="148" y="141"/>
                </a:cubicBezTo>
                <a:cubicBezTo>
                  <a:pt x="148" y="140"/>
                  <a:pt x="148" y="140"/>
                  <a:pt x="148" y="139"/>
                </a:cubicBezTo>
                <a:cubicBezTo>
                  <a:pt x="147" y="139"/>
                  <a:pt x="147" y="138"/>
                  <a:pt x="147" y="138"/>
                </a:cubicBezTo>
                <a:cubicBezTo>
                  <a:pt x="146" y="138"/>
                  <a:pt x="146" y="138"/>
                  <a:pt x="146" y="137"/>
                </a:cubicBezTo>
                <a:cubicBezTo>
                  <a:pt x="141" y="137"/>
                  <a:pt x="140" y="139"/>
                  <a:pt x="137" y="140"/>
                </a:cubicBezTo>
                <a:cubicBezTo>
                  <a:pt x="136" y="141"/>
                  <a:pt x="137" y="143"/>
                  <a:pt x="136" y="143"/>
                </a:cubicBezTo>
                <a:cubicBezTo>
                  <a:pt x="134" y="145"/>
                  <a:pt x="132" y="146"/>
                  <a:pt x="130" y="148"/>
                </a:cubicBezTo>
                <a:cubicBezTo>
                  <a:pt x="129" y="148"/>
                  <a:pt x="128" y="148"/>
                  <a:pt x="128" y="149"/>
                </a:cubicBezTo>
                <a:cubicBezTo>
                  <a:pt x="130" y="149"/>
                  <a:pt x="130" y="150"/>
                  <a:pt x="132" y="150"/>
                </a:cubicBezTo>
                <a:cubicBezTo>
                  <a:pt x="132" y="148"/>
                  <a:pt x="133" y="148"/>
                  <a:pt x="134" y="147"/>
                </a:cubicBezTo>
                <a:cubicBezTo>
                  <a:pt x="135" y="148"/>
                  <a:pt x="136" y="147"/>
                  <a:pt x="137" y="148"/>
                </a:cubicBezTo>
                <a:cubicBezTo>
                  <a:pt x="137" y="148"/>
                  <a:pt x="138" y="148"/>
                  <a:pt x="139" y="148"/>
                </a:cubicBezTo>
                <a:cubicBezTo>
                  <a:pt x="140" y="149"/>
                  <a:pt x="142" y="149"/>
                  <a:pt x="142" y="150"/>
                </a:cubicBezTo>
                <a:cubicBezTo>
                  <a:pt x="144" y="150"/>
                  <a:pt x="145" y="151"/>
                  <a:pt x="146" y="152"/>
                </a:cubicBezTo>
                <a:cubicBezTo>
                  <a:pt x="146" y="152"/>
                  <a:pt x="147" y="153"/>
                  <a:pt x="148" y="153"/>
                </a:cubicBezTo>
                <a:cubicBezTo>
                  <a:pt x="149" y="153"/>
                  <a:pt x="149" y="153"/>
                  <a:pt x="149" y="154"/>
                </a:cubicBezTo>
                <a:cubicBezTo>
                  <a:pt x="149" y="154"/>
                  <a:pt x="150" y="154"/>
                  <a:pt x="150" y="155"/>
                </a:cubicBezTo>
                <a:cubicBezTo>
                  <a:pt x="150" y="156"/>
                  <a:pt x="151" y="156"/>
                  <a:pt x="152" y="157"/>
                </a:cubicBezTo>
                <a:cubicBezTo>
                  <a:pt x="152" y="157"/>
                  <a:pt x="153" y="157"/>
                  <a:pt x="153" y="157"/>
                </a:cubicBezTo>
                <a:cubicBezTo>
                  <a:pt x="154" y="157"/>
                  <a:pt x="155" y="157"/>
                  <a:pt x="156" y="157"/>
                </a:cubicBezTo>
                <a:cubicBezTo>
                  <a:pt x="155" y="160"/>
                  <a:pt x="158" y="159"/>
                  <a:pt x="158" y="160"/>
                </a:cubicBezTo>
                <a:cubicBezTo>
                  <a:pt x="158" y="161"/>
                  <a:pt x="158" y="161"/>
                  <a:pt x="158" y="162"/>
                </a:cubicBezTo>
                <a:cubicBezTo>
                  <a:pt x="158" y="162"/>
                  <a:pt x="157" y="162"/>
                  <a:pt x="157" y="162"/>
                </a:cubicBezTo>
                <a:cubicBezTo>
                  <a:pt x="157" y="163"/>
                  <a:pt x="158" y="163"/>
                  <a:pt x="158" y="164"/>
                </a:cubicBezTo>
                <a:cubicBezTo>
                  <a:pt x="159" y="164"/>
                  <a:pt x="159" y="164"/>
                  <a:pt x="159" y="165"/>
                </a:cubicBezTo>
                <a:cubicBezTo>
                  <a:pt x="162" y="165"/>
                  <a:pt x="164" y="165"/>
                  <a:pt x="166" y="164"/>
                </a:cubicBezTo>
                <a:cubicBezTo>
                  <a:pt x="167" y="164"/>
                  <a:pt x="168" y="164"/>
                  <a:pt x="169" y="164"/>
                </a:cubicBezTo>
                <a:cubicBezTo>
                  <a:pt x="169" y="164"/>
                  <a:pt x="170" y="164"/>
                  <a:pt x="170" y="165"/>
                </a:cubicBezTo>
                <a:cubicBezTo>
                  <a:pt x="172" y="166"/>
                  <a:pt x="172" y="164"/>
                  <a:pt x="173" y="164"/>
                </a:cubicBezTo>
                <a:cubicBezTo>
                  <a:pt x="173" y="166"/>
                  <a:pt x="175" y="166"/>
                  <a:pt x="176" y="166"/>
                </a:cubicBezTo>
                <a:cubicBezTo>
                  <a:pt x="175" y="168"/>
                  <a:pt x="177" y="168"/>
                  <a:pt x="178" y="169"/>
                </a:cubicBezTo>
                <a:cubicBezTo>
                  <a:pt x="177" y="170"/>
                  <a:pt x="179" y="170"/>
                  <a:pt x="180" y="171"/>
                </a:cubicBezTo>
                <a:cubicBezTo>
                  <a:pt x="180" y="172"/>
                  <a:pt x="181" y="172"/>
                  <a:pt x="181" y="173"/>
                </a:cubicBezTo>
                <a:cubicBezTo>
                  <a:pt x="181" y="174"/>
                  <a:pt x="181" y="175"/>
                  <a:pt x="181" y="175"/>
                </a:cubicBezTo>
                <a:cubicBezTo>
                  <a:pt x="182" y="175"/>
                  <a:pt x="183" y="176"/>
                  <a:pt x="183" y="177"/>
                </a:cubicBezTo>
                <a:cubicBezTo>
                  <a:pt x="185" y="177"/>
                  <a:pt x="185" y="177"/>
                  <a:pt x="186" y="178"/>
                </a:cubicBezTo>
                <a:cubicBezTo>
                  <a:pt x="186" y="180"/>
                  <a:pt x="186" y="182"/>
                  <a:pt x="189" y="182"/>
                </a:cubicBezTo>
                <a:close/>
                <a:moveTo>
                  <a:pt x="137" y="134"/>
                </a:moveTo>
                <a:cubicBezTo>
                  <a:pt x="136" y="134"/>
                  <a:pt x="136" y="133"/>
                  <a:pt x="137" y="132"/>
                </a:cubicBezTo>
                <a:cubicBezTo>
                  <a:pt x="136" y="132"/>
                  <a:pt x="135" y="132"/>
                  <a:pt x="134" y="132"/>
                </a:cubicBezTo>
                <a:cubicBezTo>
                  <a:pt x="134" y="133"/>
                  <a:pt x="134" y="134"/>
                  <a:pt x="134" y="134"/>
                </a:cubicBezTo>
                <a:cubicBezTo>
                  <a:pt x="135" y="135"/>
                  <a:pt x="134" y="135"/>
                  <a:pt x="134" y="135"/>
                </a:cubicBezTo>
                <a:cubicBezTo>
                  <a:pt x="134" y="136"/>
                  <a:pt x="134" y="135"/>
                  <a:pt x="134" y="136"/>
                </a:cubicBezTo>
                <a:cubicBezTo>
                  <a:pt x="135" y="136"/>
                  <a:pt x="135" y="137"/>
                  <a:pt x="136" y="137"/>
                </a:cubicBezTo>
                <a:cubicBezTo>
                  <a:pt x="135" y="135"/>
                  <a:pt x="137" y="136"/>
                  <a:pt x="137" y="134"/>
                </a:cubicBezTo>
                <a:close/>
                <a:moveTo>
                  <a:pt x="148" y="129"/>
                </a:moveTo>
                <a:cubicBezTo>
                  <a:pt x="147" y="130"/>
                  <a:pt x="145" y="131"/>
                  <a:pt x="146" y="132"/>
                </a:cubicBezTo>
                <a:cubicBezTo>
                  <a:pt x="147" y="132"/>
                  <a:pt x="147" y="133"/>
                  <a:pt x="148" y="133"/>
                </a:cubicBezTo>
                <a:cubicBezTo>
                  <a:pt x="149" y="133"/>
                  <a:pt x="149" y="132"/>
                  <a:pt x="150" y="132"/>
                </a:cubicBezTo>
                <a:cubicBezTo>
                  <a:pt x="150" y="132"/>
                  <a:pt x="150" y="131"/>
                  <a:pt x="150" y="129"/>
                </a:cubicBezTo>
                <a:cubicBezTo>
                  <a:pt x="150" y="129"/>
                  <a:pt x="150" y="129"/>
                  <a:pt x="150" y="129"/>
                </a:cubicBezTo>
                <a:cubicBezTo>
                  <a:pt x="149" y="129"/>
                  <a:pt x="149" y="129"/>
                  <a:pt x="148" y="129"/>
                </a:cubicBezTo>
                <a:cubicBezTo>
                  <a:pt x="148" y="129"/>
                  <a:pt x="148" y="129"/>
                  <a:pt x="148" y="129"/>
                </a:cubicBezTo>
                <a:close/>
                <a:moveTo>
                  <a:pt x="187" y="202"/>
                </a:moveTo>
                <a:cubicBezTo>
                  <a:pt x="188" y="201"/>
                  <a:pt x="189" y="200"/>
                  <a:pt x="190" y="199"/>
                </a:cubicBezTo>
                <a:cubicBezTo>
                  <a:pt x="191" y="199"/>
                  <a:pt x="192" y="199"/>
                  <a:pt x="192" y="198"/>
                </a:cubicBezTo>
                <a:cubicBezTo>
                  <a:pt x="192" y="197"/>
                  <a:pt x="191" y="197"/>
                  <a:pt x="192" y="196"/>
                </a:cubicBezTo>
                <a:cubicBezTo>
                  <a:pt x="192" y="195"/>
                  <a:pt x="192" y="195"/>
                  <a:pt x="192" y="194"/>
                </a:cubicBezTo>
                <a:cubicBezTo>
                  <a:pt x="191" y="194"/>
                  <a:pt x="191" y="192"/>
                  <a:pt x="189" y="193"/>
                </a:cubicBezTo>
                <a:cubicBezTo>
                  <a:pt x="189" y="194"/>
                  <a:pt x="188" y="194"/>
                  <a:pt x="187" y="194"/>
                </a:cubicBezTo>
                <a:cubicBezTo>
                  <a:pt x="187" y="194"/>
                  <a:pt x="187" y="195"/>
                  <a:pt x="186" y="195"/>
                </a:cubicBezTo>
                <a:cubicBezTo>
                  <a:pt x="186" y="197"/>
                  <a:pt x="185" y="202"/>
                  <a:pt x="187" y="202"/>
                </a:cubicBezTo>
                <a:close/>
                <a:moveTo>
                  <a:pt x="208" y="61"/>
                </a:moveTo>
                <a:cubicBezTo>
                  <a:pt x="207" y="62"/>
                  <a:pt x="209" y="62"/>
                  <a:pt x="210" y="63"/>
                </a:cubicBezTo>
                <a:cubicBezTo>
                  <a:pt x="210" y="63"/>
                  <a:pt x="210" y="64"/>
                  <a:pt x="210" y="64"/>
                </a:cubicBezTo>
                <a:cubicBezTo>
                  <a:pt x="212" y="66"/>
                  <a:pt x="218" y="65"/>
                  <a:pt x="217" y="61"/>
                </a:cubicBezTo>
                <a:cubicBezTo>
                  <a:pt x="216" y="58"/>
                  <a:pt x="210" y="59"/>
                  <a:pt x="208" y="61"/>
                </a:cubicBezTo>
                <a:close/>
                <a:moveTo>
                  <a:pt x="197" y="109"/>
                </a:moveTo>
                <a:cubicBezTo>
                  <a:pt x="197" y="110"/>
                  <a:pt x="198" y="110"/>
                  <a:pt x="198" y="111"/>
                </a:cubicBezTo>
                <a:cubicBezTo>
                  <a:pt x="200" y="111"/>
                  <a:pt x="199" y="108"/>
                  <a:pt x="201" y="109"/>
                </a:cubicBezTo>
                <a:cubicBezTo>
                  <a:pt x="201" y="108"/>
                  <a:pt x="201" y="108"/>
                  <a:pt x="201" y="108"/>
                </a:cubicBezTo>
                <a:cubicBezTo>
                  <a:pt x="202" y="107"/>
                  <a:pt x="202" y="107"/>
                  <a:pt x="202" y="106"/>
                </a:cubicBezTo>
                <a:cubicBezTo>
                  <a:pt x="202" y="106"/>
                  <a:pt x="202" y="106"/>
                  <a:pt x="201" y="106"/>
                </a:cubicBezTo>
                <a:cubicBezTo>
                  <a:pt x="201" y="106"/>
                  <a:pt x="200" y="106"/>
                  <a:pt x="201" y="105"/>
                </a:cubicBezTo>
                <a:cubicBezTo>
                  <a:pt x="200" y="105"/>
                  <a:pt x="199" y="104"/>
                  <a:pt x="198" y="104"/>
                </a:cubicBezTo>
                <a:cubicBezTo>
                  <a:pt x="197" y="105"/>
                  <a:pt x="198" y="106"/>
                  <a:pt x="198" y="107"/>
                </a:cubicBezTo>
                <a:cubicBezTo>
                  <a:pt x="198" y="108"/>
                  <a:pt x="197" y="108"/>
                  <a:pt x="197" y="109"/>
                </a:cubicBezTo>
                <a:close/>
                <a:moveTo>
                  <a:pt x="204" y="194"/>
                </a:moveTo>
                <a:cubicBezTo>
                  <a:pt x="203" y="194"/>
                  <a:pt x="203" y="194"/>
                  <a:pt x="202" y="194"/>
                </a:cubicBezTo>
                <a:cubicBezTo>
                  <a:pt x="202" y="195"/>
                  <a:pt x="202" y="195"/>
                  <a:pt x="202" y="196"/>
                </a:cubicBezTo>
                <a:cubicBezTo>
                  <a:pt x="201" y="196"/>
                  <a:pt x="201" y="196"/>
                  <a:pt x="201" y="196"/>
                </a:cubicBezTo>
                <a:cubicBezTo>
                  <a:pt x="201" y="197"/>
                  <a:pt x="201" y="197"/>
                  <a:pt x="201" y="198"/>
                </a:cubicBezTo>
                <a:cubicBezTo>
                  <a:pt x="204" y="198"/>
                  <a:pt x="204" y="197"/>
                  <a:pt x="204" y="194"/>
                </a:cubicBezTo>
                <a:close/>
                <a:moveTo>
                  <a:pt x="172" y="116"/>
                </a:moveTo>
                <a:cubicBezTo>
                  <a:pt x="170" y="116"/>
                  <a:pt x="170" y="117"/>
                  <a:pt x="170" y="119"/>
                </a:cubicBezTo>
                <a:cubicBezTo>
                  <a:pt x="172" y="119"/>
                  <a:pt x="172" y="118"/>
                  <a:pt x="172" y="116"/>
                </a:cubicBezTo>
                <a:close/>
                <a:moveTo>
                  <a:pt x="192" y="247"/>
                </a:moveTo>
                <a:cubicBezTo>
                  <a:pt x="191" y="247"/>
                  <a:pt x="190" y="246"/>
                  <a:pt x="189" y="246"/>
                </a:cubicBezTo>
                <a:cubicBezTo>
                  <a:pt x="189" y="247"/>
                  <a:pt x="189" y="247"/>
                  <a:pt x="189" y="248"/>
                </a:cubicBezTo>
                <a:cubicBezTo>
                  <a:pt x="190" y="248"/>
                  <a:pt x="190" y="248"/>
                  <a:pt x="191" y="248"/>
                </a:cubicBezTo>
                <a:cubicBezTo>
                  <a:pt x="191" y="248"/>
                  <a:pt x="192" y="248"/>
                  <a:pt x="192" y="247"/>
                </a:cubicBezTo>
                <a:close/>
                <a:moveTo>
                  <a:pt x="195" y="210"/>
                </a:moveTo>
                <a:cubicBezTo>
                  <a:pt x="195" y="207"/>
                  <a:pt x="196" y="206"/>
                  <a:pt x="196" y="204"/>
                </a:cubicBezTo>
                <a:cubicBezTo>
                  <a:pt x="195" y="204"/>
                  <a:pt x="195" y="201"/>
                  <a:pt x="192" y="202"/>
                </a:cubicBezTo>
                <a:cubicBezTo>
                  <a:pt x="192" y="203"/>
                  <a:pt x="191" y="204"/>
                  <a:pt x="192" y="205"/>
                </a:cubicBezTo>
                <a:cubicBezTo>
                  <a:pt x="191" y="205"/>
                  <a:pt x="191" y="205"/>
                  <a:pt x="191" y="205"/>
                </a:cubicBezTo>
                <a:cubicBezTo>
                  <a:pt x="191" y="207"/>
                  <a:pt x="191" y="208"/>
                  <a:pt x="191" y="210"/>
                </a:cubicBezTo>
                <a:cubicBezTo>
                  <a:pt x="192" y="209"/>
                  <a:pt x="193" y="210"/>
                  <a:pt x="194" y="210"/>
                </a:cubicBezTo>
                <a:cubicBezTo>
                  <a:pt x="194" y="209"/>
                  <a:pt x="194" y="210"/>
                  <a:pt x="195" y="210"/>
                </a:cubicBezTo>
                <a:close/>
                <a:moveTo>
                  <a:pt x="186" y="134"/>
                </a:moveTo>
                <a:cubicBezTo>
                  <a:pt x="185" y="134"/>
                  <a:pt x="185" y="134"/>
                  <a:pt x="185" y="134"/>
                </a:cubicBezTo>
                <a:cubicBezTo>
                  <a:pt x="185" y="133"/>
                  <a:pt x="183" y="135"/>
                  <a:pt x="183" y="136"/>
                </a:cubicBezTo>
                <a:cubicBezTo>
                  <a:pt x="184" y="136"/>
                  <a:pt x="184" y="136"/>
                  <a:pt x="184" y="136"/>
                </a:cubicBezTo>
                <a:cubicBezTo>
                  <a:pt x="184" y="137"/>
                  <a:pt x="185" y="138"/>
                  <a:pt x="185" y="140"/>
                </a:cubicBezTo>
                <a:cubicBezTo>
                  <a:pt x="184" y="140"/>
                  <a:pt x="184" y="139"/>
                  <a:pt x="183" y="139"/>
                </a:cubicBezTo>
                <a:cubicBezTo>
                  <a:pt x="183" y="140"/>
                  <a:pt x="183" y="140"/>
                  <a:pt x="183" y="141"/>
                </a:cubicBezTo>
                <a:cubicBezTo>
                  <a:pt x="183" y="141"/>
                  <a:pt x="184" y="141"/>
                  <a:pt x="185" y="141"/>
                </a:cubicBezTo>
                <a:cubicBezTo>
                  <a:pt x="185" y="141"/>
                  <a:pt x="186" y="142"/>
                  <a:pt x="186" y="141"/>
                </a:cubicBezTo>
                <a:cubicBezTo>
                  <a:pt x="189" y="141"/>
                  <a:pt x="189" y="141"/>
                  <a:pt x="189" y="141"/>
                </a:cubicBezTo>
                <a:cubicBezTo>
                  <a:pt x="188" y="141"/>
                  <a:pt x="188" y="142"/>
                  <a:pt x="188" y="143"/>
                </a:cubicBezTo>
                <a:cubicBezTo>
                  <a:pt x="189" y="143"/>
                  <a:pt x="189" y="143"/>
                  <a:pt x="189" y="144"/>
                </a:cubicBezTo>
                <a:cubicBezTo>
                  <a:pt x="192" y="145"/>
                  <a:pt x="193" y="144"/>
                  <a:pt x="194" y="143"/>
                </a:cubicBezTo>
                <a:cubicBezTo>
                  <a:pt x="194" y="141"/>
                  <a:pt x="194" y="141"/>
                  <a:pt x="194" y="141"/>
                </a:cubicBezTo>
                <a:cubicBezTo>
                  <a:pt x="195" y="141"/>
                  <a:pt x="195" y="141"/>
                  <a:pt x="195" y="141"/>
                </a:cubicBezTo>
                <a:cubicBezTo>
                  <a:pt x="194" y="141"/>
                  <a:pt x="195" y="139"/>
                  <a:pt x="194" y="139"/>
                </a:cubicBezTo>
                <a:cubicBezTo>
                  <a:pt x="194" y="138"/>
                  <a:pt x="193" y="140"/>
                  <a:pt x="193" y="139"/>
                </a:cubicBezTo>
                <a:cubicBezTo>
                  <a:pt x="193" y="139"/>
                  <a:pt x="192" y="138"/>
                  <a:pt x="192" y="138"/>
                </a:cubicBezTo>
                <a:cubicBezTo>
                  <a:pt x="193" y="138"/>
                  <a:pt x="193" y="138"/>
                  <a:pt x="194" y="137"/>
                </a:cubicBezTo>
                <a:cubicBezTo>
                  <a:pt x="192" y="137"/>
                  <a:pt x="193" y="133"/>
                  <a:pt x="190" y="134"/>
                </a:cubicBezTo>
                <a:cubicBezTo>
                  <a:pt x="190" y="135"/>
                  <a:pt x="190" y="137"/>
                  <a:pt x="189" y="137"/>
                </a:cubicBezTo>
                <a:cubicBezTo>
                  <a:pt x="189" y="136"/>
                  <a:pt x="189" y="136"/>
                  <a:pt x="189" y="136"/>
                </a:cubicBezTo>
                <a:cubicBezTo>
                  <a:pt x="188" y="136"/>
                  <a:pt x="188" y="136"/>
                  <a:pt x="188" y="135"/>
                </a:cubicBezTo>
                <a:cubicBezTo>
                  <a:pt x="187" y="135"/>
                  <a:pt x="187" y="135"/>
                  <a:pt x="187" y="135"/>
                </a:cubicBezTo>
                <a:cubicBezTo>
                  <a:pt x="187" y="134"/>
                  <a:pt x="188" y="134"/>
                  <a:pt x="188" y="133"/>
                </a:cubicBezTo>
                <a:cubicBezTo>
                  <a:pt x="187" y="133"/>
                  <a:pt x="186" y="133"/>
                  <a:pt x="186" y="134"/>
                </a:cubicBezTo>
                <a:close/>
                <a:moveTo>
                  <a:pt x="196" y="86"/>
                </a:moveTo>
                <a:cubicBezTo>
                  <a:pt x="196" y="86"/>
                  <a:pt x="197" y="87"/>
                  <a:pt x="197" y="87"/>
                </a:cubicBezTo>
                <a:cubicBezTo>
                  <a:pt x="198" y="87"/>
                  <a:pt x="198" y="87"/>
                  <a:pt x="198" y="88"/>
                </a:cubicBezTo>
                <a:cubicBezTo>
                  <a:pt x="197" y="90"/>
                  <a:pt x="199" y="90"/>
                  <a:pt x="199" y="92"/>
                </a:cubicBezTo>
                <a:cubicBezTo>
                  <a:pt x="199" y="92"/>
                  <a:pt x="200" y="92"/>
                  <a:pt x="201" y="92"/>
                </a:cubicBezTo>
                <a:cubicBezTo>
                  <a:pt x="202" y="93"/>
                  <a:pt x="202" y="94"/>
                  <a:pt x="203" y="95"/>
                </a:cubicBezTo>
                <a:cubicBezTo>
                  <a:pt x="203" y="96"/>
                  <a:pt x="205" y="97"/>
                  <a:pt x="205" y="95"/>
                </a:cubicBezTo>
                <a:cubicBezTo>
                  <a:pt x="204" y="95"/>
                  <a:pt x="205" y="95"/>
                  <a:pt x="206" y="95"/>
                </a:cubicBezTo>
                <a:cubicBezTo>
                  <a:pt x="206" y="93"/>
                  <a:pt x="206" y="93"/>
                  <a:pt x="205" y="92"/>
                </a:cubicBezTo>
                <a:cubicBezTo>
                  <a:pt x="206" y="91"/>
                  <a:pt x="205" y="89"/>
                  <a:pt x="206" y="89"/>
                </a:cubicBezTo>
                <a:cubicBezTo>
                  <a:pt x="206" y="91"/>
                  <a:pt x="207" y="91"/>
                  <a:pt x="207" y="93"/>
                </a:cubicBezTo>
                <a:cubicBezTo>
                  <a:pt x="208" y="93"/>
                  <a:pt x="208" y="94"/>
                  <a:pt x="209" y="94"/>
                </a:cubicBezTo>
                <a:cubicBezTo>
                  <a:pt x="209" y="94"/>
                  <a:pt x="210" y="93"/>
                  <a:pt x="210" y="94"/>
                </a:cubicBezTo>
                <a:cubicBezTo>
                  <a:pt x="210" y="94"/>
                  <a:pt x="210" y="93"/>
                  <a:pt x="211" y="93"/>
                </a:cubicBezTo>
                <a:cubicBezTo>
                  <a:pt x="211" y="91"/>
                  <a:pt x="211" y="89"/>
                  <a:pt x="210" y="88"/>
                </a:cubicBezTo>
                <a:cubicBezTo>
                  <a:pt x="210" y="86"/>
                  <a:pt x="212" y="87"/>
                  <a:pt x="212" y="85"/>
                </a:cubicBezTo>
                <a:cubicBezTo>
                  <a:pt x="212" y="84"/>
                  <a:pt x="212" y="83"/>
                  <a:pt x="212" y="81"/>
                </a:cubicBezTo>
                <a:cubicBezTo>
                  <a:pt x="210" y="81"/>
                  <a:pt x="210" y="83"/>
                  <a:pt x="208" y="83"/>
                </a:cubicBezTo>
                <a:cubicBezTo>
                  <a:pt x="208" y="83"/>
                  <a:pt x="208" y="85"/>
                  <a:pt x="207" y="85"/>
                </a:cubicBezTo>
                <a:cubicBezTo>
                  <a:pt x="205" y="85"/>
                  <a:pt x="204" y="84"/>
                  <a:pt x="203" y="84"/>
                </a:cubicBezTo>
                <a:cubicBezTo>
                  <a:pt x="203" y="85"/>
                  <a:pt x="199" y="83"/>
                  <a:pt x="200" y="85"/>
                </a:cubicBezTo>
                <a:cubicBezTo>
                  <a:pt x="198" y="85"/>
                  <a:pt x="197" y="85"/>
                  <a:pt x="196" y="86"/>
                </a:cubicBezTo>
                <a:close/>
                <a:moveTo>
                  <a:pt x="176" y="61"/>
                </a:moveTo>
                <a:cubicBezTo>
                  <a:pt x="177" y="60"/>
                  <a:pt x="177" y="61"/>
                  <a:pt x="178" y="61"/>
                </a:cubicBezTo>
                <a:cubicBezTo>
                  <a:pt x="178" y="62"/>
                  <a:pt x="180" y="62"/>
                  <a:pt x="180" y="63"/>
                </a:cubicBezTo>
                <a:cubicBezTo>
                  <a:pt x="181" y="63"/>
                  <a:pt x="181" y="61"/>
                  <a:pt x="182" y="61"/>
                </a:cubicBezTo>
                <a:cubicBezTo>
                  <a:pt x="183" y="60"/>
                  <a:pt x="183" y="60"/>
                  <a:pt x="185" y="60"/>
                </a:cubicBezTo>
                <a:cubicBezTo>
                  <a:pt x="185" y="58"/>
                  <a:pt x="184" y="57"/>
                  <a:pt x="184" y="56"/>
                </a:cubicBezTo>
                <a:cubicBezTo>
                  <a:pt x="185" y="56"/>
                  <a:pt x="184" y="56"/>
                  <a:pt x="184" y="56"/>
                </a:cubicBezTo>
                <a:cubicBezTo>
                  <a:pt x="184" y="55"/>
                  <a:pt x="184" y="54"/>
                  <a:pt x="184" y="54"/>
                </a:cubicBezTo>
                <a:cubicBezTo>
                  <a:pt x="184" y="53"/>
                  <a:pt x="183" y="52"/>
                  <a:pt x="182" y="52"/>
                </a:cubicBezTo>
                <a:cubicBezTo>
                  <a:pt x="182" y="52"/>
                  <a:pt x="182" y="52"/>
                  <a:pt x="182" y="52"/>
                </a:cubicBezTo>
                <a:cubicBezTo>
                  <a:pt x="181" y="52"/>
                  <a:pt x="181" y="52"/>
                  <a:pt x="181" y="51"/>
                </a:cubicBezTo>
                <a:cubicBezTo>
                  <a:pt x="181" y="51"/>
                  <a:pt x="180" y="51"/>
                  <a:pt x="180" y="51"/>
                </a:cubicBezTo>
                <a:cubicBezTo>
                  <a:pt x="180" y="51"/>
                  <a:pt x="180" y="51"/>
                  <a:pt x="180" y="51"/>
                </a:cubicBezTo>
                <a:cubicBezTo>
                  <a:pt x="180" y="51"/>
                  <a:pt x="180" y="51"/>
                  <a:pt x="180" y="51"/>
                </a:cubicBezTo>
                <a:cubicBezTo>
                  <a:pt x="179" y="51"/>
                  <a:pt x="177" y="51"/>
                  <a:pt x="176" y="52"/>
                </a:cubicBezTo>
                <a:cubicBezTo>
                  <a:pt x="176" y="52"/>
                  <a:pt x="176" y="53"/>
                  <a:pt x="176" y="54"/>
                </a:cubicBezTo>
                <a:cubicBezTo>
                  <a:pt x="175" y="54"/>
                  <a:pt x="174" y="54"/>
                  <a:pt x="174" y="54"/>
                </a:cubicBezTo>
                <a:cubicBezTo>
                  <a:pt x="174" y="55"/>
                  <a:pt x="175" y="55"/>
                  <a:pt x="175" y="56"/>
                </a:cubicBezTo>
                <a:cubicBezTo>
                  <a:pt x="175" y="56"/>
                  <a:pt x="175" y="56"/>
                  <a:pt x="174" y="56"/>
                </a:cubicBezTo>
                <a:cubicBezTo>
                  <a:pt x="174" y="58"/>
                  <a:pt x="174" y="59"/>
                  <a:pt x="173" y="60"/>
                </a:cubicBezTo>
                <a:cubicBezTo>
                  <a:pt x="174" y="61"/>
                  <a:pt x="175" y="60"/>
                  <a:pt x="176" y="61"/>
                </a:cubicBezTo>
                <a:close/>
                <a:moveTo>
                  <a:pt x="225" y="205"/>
                </a:moveTo>
                <a:cubicBezTo>
                  <a:pt x="225" y="203"/>
                  <a:pt x="223" y="202"/>
                  <a:pt x="223" y="201"/>
                </a:cubicBezTo>
                <a:cubicBezTo>
                  <a:pt x="222" y="201"/>
                  <a:pt x="222" y="200"/>
                  <a:pt x="222" y="200"/>
                </a:cubicBezTo>
                <a:cubicBezTo>
                  <a:pt x="221" y="200"/>
                  <a:pt x="220" y="200"/>
                  <a:pt x="220" y="201"/>
                </a:cubicBezTo>
                <a:cubicBezTo>
                  <a:pt x="221" y="201"/>
                  <a:pt x="221" y="201"/>
                  <a:pt x="221" y="202"/>
                </a:cubicBezTo>
                <a:cubicBezTo>
                  <a:pt x="221" y="202"/>
                  <a:pt x="222" y="202"/>
                  <a:pt x="221" y="203"/>
                </a:cubicBezTo>
                <a:cubicBezTo>
                  <a:pt x="221" y="203"/>
                  <a:pt x="221" y="204"/>
                  <a:pt x="221" y="204"/>
                </a:cubicBezTo>
                <a:cubicBezTo>
                  <a:pt x="222" y="205"/>
                  <a:pt x="223" y="204"/>
                  <a:pt x="224" y="204"/>
                </a:cubicBezTo>
                <a:cubicBezTo>
                  <a:pt x="223" y="205"/>
                  <a:pt x="224" y="205"/>
                  <a:pt x="225" y="205"/>
                </a:cubicBezTo>
                <a:close/>
                <a:moveTo>
                  <a:pt x="226" y="148"/>
                </a:moveTo>
                <a:cubicBezTo>
                  <a:pt x="226" y="149"/>
                  <a:pt x="227" y="150"/>
                  <a:pt x="228" y="150"/>
                </a:cubicBezTo>
                <a:cubicBezTo>
                  <a:pt x="228" y="148"/>
                  <a:pt x="228" y="146"/>
                  <a:pt x="228" y="145"/>
                </a:cubicBezTo>
                <a:cubicBezTo>
                  <a:pt x="228" y="145"/>
                  <a:pt x="228" y="144"/>
                  <a:pt x="228" y="144"/>
                </a:cubicBezTo>
                <a:cubicBezTo>
                  <a:pt x="227" y="144"/>
                  <a:pt x="225" y="144"/>
                  <a:pt x="224" y="145"/>
                </a:cubicBezTo>
                <a:cubicBezTo>
                  <a:pt x="224" y="147"/>
                  <a:pt x="226" y="146"/>
                  <a:pt x="226" y="148"/>
                </a:cubicBezTo>
                <a:cubicBezTo>
                  <a:pt x="226" y="148"/>
                  <a:pt x="226" y="148"/>
                  <a:pt x="226" y="148"/>
                </a:cubicBezTo>
                <a:close/>
                <a:moveTo>
                  <a:pt x="222" y="190"/>
                </a:moveTo>
                <a:cubicBezTo>
                  <a:pt x="220" y="191"/>
                  <a:pt x="217" y="191"/>
                  <a:pt x="215" y="190"/>
                </a:cubicBezTo>
                <a:cubicBezTo>
                  <a:pt x="215" y="190"/>
                  <a:pt x="214" y="190"/>
                  <a:pt x="215" y="189"/>
                </a:cubicBezTo>
                <a:cubicBezTo>
                  <a:pt x="213" y="189"/>
                  <a:pt x="211" y="191"/>
                  <a:pt x="210" y="189"/>
                </a:cubicBezTo>
                <a:cubicBezTo>
                  <a:pt x="210" y="187"/>
                  <a:pt x="212" y="188"/>
                  <a:pt x="212" y="186"/>
                </a:cubicBezTo>
                <a:cubicBezTo>
                  <a:pt x="211" y="186"/>
                  <a:pt x="211" y="185"/>
                  <a:pt x="210" y="185"/>
                </a:cubicBezTo>
                <a:cubicBezTo>
                  <a:pt x="210" y="183"/>
                  <a:pt x="209" y="182"/>
                  <a:pt x="210" y="180"/>
                </a:cubicBezTo>
                <a:cubicBezTo>
                  <a:pt x="208" y="180"/>
                  <a:pt x="207" y="180"/>
                  <a:pt x="206" y="180"/>
                </a:cubicBezTo>
                <a:cubicBezTo>
                  <a:pt x="205" y="178"/>
                  <a:pt x="203" y="178"/>
                  <a:pt x="201" y="178"/>
                </a:cubicBezTo>
                <a:cubicBezTo>
                  <a:pt x="200" y="179"/>
                  <a:pt x="199" y="179"/>
                  <a:pt x="199" y="182"/>
                </a:cubicBezTo>
                <a:cubicBezTo>
                  <a:pt x="200" y="182"/>
                  <a:pt x="200" y="182"/>
                  <a:pt x="200" y="182"/>
                </a:cubicBezTo>
                <a:cubicBezTo>
                  <a:pt x="200" y="184"/>
                  <a:pt x="200" y="184"/>
                  <a:pt x="201" y="184"/>
                </a:cubicBezTo>
                <a:cubicBezTo>
                  <a:pt x="202" y="184"/>
                  <a:pt x="202" y="185"/>
                  <a:pt x="204" y="185"/>
                </a:cubicBezTo>
                <a:cubicBezTo>
                  <a:pt x="205" y="187"/>
                  <a:pt x="206" y="188"/>
                  <a:pt x="207" y="189"/>
                </a:cubicBezTo>
                <a:cubicBezTo>
                  <a:pt x="209" y="189"/>
                  <a:pt x="208" y="191"/>
                  <a:pt x="210" y="191"/>
                </a:cubicBezTo>
                <a:cubicBezTo>
                  <a:pt x="211" y="192"/>
                  <a:pt x="211" y="193"/>
                  <a:pt x="212" y="194"/>
                </a:cubicBezTo>
                <a:cubicBezTo>
                  <a:pt x="215" y="193"/>
                  <a:pt x="215" y="196"/>
                  <a:pt x="217" y="197"/>
                </a:cubicBezTo>
                <a:cubicBezTo>
                  <a:pt x="217" y="196"/>
                  <a:pt x="218" y="197"/>
                  <a:pt x="219" y="196"/>
                </a:cubicBezTo>
                <a:cubicBezTo>
                  <a:pt x="219" y="196"/>
                  <a:pt x="219" y="196"/>
                  <a:pt x="219" y="196"/>
                </a:cubicBezTo>
                <a:cubicBezTo>
                  <a:pt x="220" y="196"/>
                  <a:pt x="220" y="196"/>
                  <a:pt x="220" y="196"/>
                </a:cubicBezTo>
                <a:cubicBezTo>
                  <a:pt x="221" y="196"/>
                  <a:pt x="222" y="196"/>
                  <a:pt x="223" y="196"/>
                </a:cubicBezTo>
                <a:cubicBezTo>
                  <a:pt x="223" y="194"/>
                  <a:pt x="223" y="191"/>
                  <a:pt x="222" y="190"/>
                </a:cubicBezTo>
                <a:close/>
                <a:moveTo>
                  <a:pt x="191" y="235"/>
                </a:moveTo>
                <a:cubicBezTo>
                  <a:pt x="191" y="235"/>
                  <a:pt x="191" y="235"/>
                  <a:pt x="192" y="235"/>
                </a:cubicBezTo>
                <a:cubicBezTo>
                  <a:pt x="191" y="234"/>
                  <a:pt x="190" y="234"/>
                  <a:pt x="189" y="234"/>
                </a:cubicBezTo>
                <a:cubicBezTo>
                  <a:pt x="190" y="235"/>
                  <a:pt x="189" y="235"/>
                  <a:pt x="189" y="235"/>
                </a:cubicBezTo>
                <a:cubicBezTo>
                  <a:pt x="188" y="235"/>
                  <a:pt x="189" y="236"/>
                  <a:pt x="189" y="237"/>
                </a:cubicBezTo>
                <a:cubicBezTo>
                  <a:pt x="190" y="237"/>
                  <a:pt x="191" y="236"/>
                  <a:pt x="191" y="235"/>
                </a:cubicBezTo>
                <a:close/>
                <a:moveTo>
                  <a:pt x="277" y="192"/>
                </a:moveTo>
                <a:cubicBezTo>
                  <a:pt x="277" y="192"/>
                  <a:pt x="277" y="192"/>
                  <a:pt x="277" y="193"/>
                </a:cubicBezTo>
                <a:cubicBezTo>
                  <a:pt x="277" y="193"/>
                  <a:pt x="278" y="193"/>
                  <a:pt x="278" y="193"/>
                </a:cubicBezTo>
                <a:cubicBezTo>
                  <a:pt x="278" y="192"/>
                  <a:pt x="278" y="191"/>
                  <a:pt x="278" y="190"/>
                </a:cubicBezTo>
                <a:cubicBezTo>
                  <a:pt x="277" y="190"/>
                  <a:pt x="277" y="190"/>
                  <a:pt x="276" y="190"/>
                </a:cubicBezTo>
                <a:cubicBezTo>
                  <a:pt x="276" y="191"/>
                  <a:pt x="275" y="191"/>
                  <a:pt x="275" y="192"/>
                </a:cubicBezTo>
                <a:cubicBezTo>
                  <a:pt x="276" y="192"/>
                  <a:pt x="276" y="192"/>
                  <a:pt x="277" y="192"/>
                </a:cubicBezTo>
                <a:close/>
                <a:moveTo>
                  <a:pt x="281" y="198"/>
                </a:moveTo>
                <a:cubicBezTo>
                  <a:pt x="281" y="196"/>
                  <a:pt x="280" y="196"/>
                  <a:pt x="280" y="195"/>
                </a:cubicBezTo>
                <a:cubicBezTo>
                  <a:pt x="278" y="195"/>
                  <a:pt x="277" y="194"/>
                  <a:pt x="276" y="194"/>
                </a:cubicBezTo>
                <a:cubicBezTo>
                  <a:pt x="276" y="195"/>
                  <a:pt x="277" y="195"/>
                  <a:pt x="277" y="197"/>
                </a:cubicBezTo>
                <a:cubicBezTo>
                  <a:pt x="279" y="197"/>
                  <a:pt x="279" y="198"/>
                  <a:pt x="281" y="198"/>
                </a:cubicBezTo>
                <a:close/>
                <a:moveTo>
                  <a:pt x="267" y="212"/>
                </a:moveTo>
                <a:cubicBezTo>
                  <a:pt x="268" y="212"/>
                  <a:pt x="268" y="212"/>
                  <a:pt x="268" y="212"/>
                </a:cubicBezTo>
                <a:cubicBezTo>
                  <a:pt x="269" y="212"/>
                  <a:pt x="270" y="212"/>
                  <a:pt x="271" y="212"/>
                </a:cubicBezTo>
                <a:cubicBezTo>
                  <a:pt x="271" y="212"/>
                  <a:pt x="271" y="212"/>
                  <a:pt x="272" y="212"/>
                </a:cubicBezTo>
                <a:cubicBezTo>
                  <a:pt x="273" y="211"/>
                  <a:pt x="273" y="211"/>
                  <a:pt x="273" y="210"/>
                </a:cubicBezTo>
                <a:cubicBezTo>
                  <a:pt x="270" y="209"/>
                  <a:pt x="268" y="210"/>
                  <a:pt x="267" y="212"/>
                </a:cubicBezTo>
                <a:close/>
                <a:moveTo>
                  <a:pt x="266" y="187"/>
                </a:moveTo>
                <a:cubicBezTo>
                  <a:pt x="267" y="187"/>
                  <a:pt x="267" y="187"/>
                  <a:pt x="267" y="187"/>
                </a:cubicBezTo>
                <a:cubicBezTo>
                  <a:pt x="267" y="188"/>
                  <a:pt x="268" y="188"/>
                  <a:pt x="268" y="188"/>
                </a:cubicBezTo>
                <a:cubicBezTo>
                  <a:pt x="268" y="186"/>
                  <a:pt x="268" y="184"/>
                  <a:pt x="268" y="182"/>
                </a:cubicBezTo>
                <a:cubicBezTo>
                  <a:pt x="268" y="182"/>
                  <a:pt x="267" y="182"/>
                  <a:pt x="267" y="182"/>
                </a:cubicBezTo>
                <a:cubicBezTo>
                  <a:pt x="267" y="180"/>
                  <a:pt x="266" y="183"/>
                  <a:pt x="265" y="182"/>
                </a:cubicBezTo>
                <a:cubicBezTo>
                  <a:pt x="265" y="184"/>
                  <a:pt x="267" y="184"/>
                  <a:pt x="265" y="185"/>
                </a:cubicBezTo>
                <a:cubicBezTo>
                  <a:pt x="265" y="185"/>
                  <a:pt x="265" y="185"/>
                  <a:pt x="265" y="185"/>
                </a:cubicBezTo>
                <a:cubicBezTo>
                  <a:pt x="266" y="185"/>
                  <a:pt x="266" y="186"/>
                  <a:pt x="266" y="187"/>
                </a:cubicBezTo>
                <a:close/>
                <a:moveTo>
                  <a:pt x="263" y="187"/>
                </a:moveTo>
                <a:cubicBezTo>
                  <a:pt x="264" y="187"/>
                  <a:pt x="264" y="187"/>
                  <a:pt x="264" y="187"/>
                </a:cubicBezTo>
                <a:cubicBezTo>
                  <a:pt x="265" y="187"/>
                  <a:pt x="265" y="187"/>
                  <a:pt x="266" y="187"/>
                </a:cubicBezTo>
                <a:cubicBezTo>
                  <a:pt x="266" y="187"/>
                  <a:pt x="266" y="187"/>
                  <a:pt x="266" y="187"/>
                </a:cubicBezTo>
                <a:cubicBezTo>
                  <a:pt x="266" y="186"/>
                  <a:pt x="265" y="186"/>
                  <a:pt x="265" y="185"/>
                </a:cubicBezTo>
                <a:cubicBezTo>
                  <a:pt x="265" y="185"/>
                  <a:pt x="264" y="185"/>
                  <a:pt x="264" y="185"/>
                </a:cubicBezTo>
                <a:cubicBezTo>
                  <a:pt x="263" y="185"/>
                  <a:pt x="262" y="187"/>
                  <a:pt x="263" y="187"/>
                </a:cubicBezTo>
                <a:close/>
                <a:moveTo>
                  <a:pt x="273" y="254"/>
                </a:moveTo>
                <a:cubicBezTo>
                  <a:pt x="275" y="253"/>
                  <a:pt x="274" y="255"/>
                  <a:pt x="276" y="255"/>
                </a:cubicBezTo>
                <a:cubicBezTo>
                  <a:pt x="276" y="254"/>
                  <a:pt x="276" y="253"/>
                  <a:pt x="276" y="252"/>
                </a:cubicBezTo>
                <a:cubicBezTo>
                  <a:pt x="274" y="252"/>
                  <a:pt x="273" y="252"/>
                  <a:pt x="273" y="254"/>
                </a:cubicBezTo>
                <a:close/>
                <a:moveTo>
                  <a:pt x="272" y="196"/>
                </a:moveTo>
                <a:cubicBezTo>
                  <a:pt x="273" y="196"/>
                  <a:pt x="273" y="195"/>
                  <a:pt x="273" y="195"/>
                </a:cubicBezTo>
                <a:cubicBezTo>
                  <a:pt x="273" y="195"/>
                  <a:pt x="273" y="195"/>
                  <a:pt x="273" y="194"/>
                </a:cubicBezTo>
                <a:cubicBezTo>
                  <a:pt x="273" y="191"/>
                  <a:pt x="271" y="194"/>
                  <a:pt x="270" y="194"/>
                </a:cubicBezTo>
                <a:cubicBezTo>
                  <a:pt x="270" y="194"/>
                  <a:pt x="269" y="194"/>
                  <a:pt x="269" y="194"/>
                </a:cubicBezTo>
                <a:cubicBezTo>
                  <a:pt x="269" y="195"/>
                  <a:pt x="269" y="195"/>
                  <a:pt x="269" y="195"/>
                </a:cubicBezTo>
                <a:cubicBezTo>
                  <a:pt x="269" y="195"/>
                  <a:pt x="270" y="195"/>
                  <a:pt x="270" y="196"/>
                </a:cubicBezTo>
                <a:cubicBezTo>
                  <a:pt x="271" y="196"/>
                  <a:pt x="270" y="197"/>
                  <a:pt x="270" y="198"/>
                </a:cubicBezTo>
                <a:cubicBezTo>
                  <a:pt x="271" y="199"/>
                  <a:pt x="272" y="200"/>
                  <a:pt x="274" y="201"/>
                </a:cubicBezTo>
                <a:cubicBezTo>
                  <a:pt x="274" y="198"/>
                  <a:pt x="273" y="198"/>
                  <a:pt x="272" y="196"/>
                </a:cubicBezTo>
                <a:cubicBezTo>
                  <a:pt x="272" y="196"/>
                  <a:pt x="272" y="196"/>
                  <a:pt x="272" y="196"/>
                </a:cubicBezTo>
                <a:close/>
                <a:moveTo>
                  <a:pt x="274" y="178"/>
                </a:moveTo>
                <a:cubicBezTo>
                  <a:pt x="274" y="180"/>
                  <a:pt x="276" y="179"/>
                  <a:pt x="277" y="180"/>
                </a:cubicBezTo>
                <a:cubicBezTo>
                  <a:pt x="277" y="181"/>
                  <a:pt x="278" y="181"/>
                  <a:pt x="280" y="181"/>
                </a:cubicBezTo>
                <a:cubicBezTo>
                  <a:pt x="281" y="180"/>
                  <a:pt x="281" y="177"/>
                  <a:pt x="283" y="177"/>
                </a:cubicBezTo>
                <a:cubicBezTo>
                  <a:pt x="283" y="176"/>
                  <a:pt x="284" y="176"/>
                  <a:pt x="286" y="176"/>
                </a:cubicBezTo>
                <a:cubicBezTo>
                  <a:pt x="286" y="174"/>
                  <a:pt x="284" y="175"/>
                  <a:pt x="284" y="173"/>
                </a:cubicBezTo>
                <a:cubicBezTo>
                  <a:pt x="284" y="172"/>
                  <a:pt x="283" y="172"/>
                  <a:pt x="281" y="172"/>
                </a:cubicBezTo>
                <a:cubicBezTo>
                  <a:pt x="280" y="174"/>
                  <a:pt x="283" y="175"/>
                  <a:pt x="281" y="175"/>
                </a:cubicBezTo>
                <a:cubicBezTo>
                  <a:pt x="281" y="174"/>
                  <a:pt x="280" y="174"/>
                  <a:pt x="279" y="173"/>
                </a:cubicBezTo>
                <a:cubicBezTo>
                  <a:pt x="279" y="173"/>
                  <a:pt x="278" y="173"/>
                  <a:pt x="277" y="173"/>
                </a:cubicBezTo>
                <a:cubicBezTo>
                  <a:pt x="276" y="173"/>
                  <a:pt x="274" y="173"/>
                  <a:pt x="273" y="173"/>
                </a:cubicBezTo>
                <a:cubicBezTo>
                  <a:pt x="273" y="173"/>
                  <a:pt x="273" y="174"/>
                  <a:pt x="272" y="173"/>
                </a:cubicBezTo>
                <a:cubicBezTo>
                  <a:pt x="272" y="173"/>
                  <a:pt x="272" y="173"/>
                  <a:pt x="272" y="173"/>
                </a:cubicBezTo>
                <a:cubicBezTo>
                  <a:pt x="272" y="174"/>
                  <a:pt x="272" y="174"/>
                  <a:pt x="272" y="175"/>
                </a:cubicBezTo>
                <a:cubicBezTo>
                  <a:pt x="270" y="175"/>
                  <a:pt x="271" y="177"/>
                  <a:pt x="269" y="176"/>
                </a:cubicBezTo>
                <a:cubicBezTo>
                  <a:pt x="269" y="178"/>
                  <a:pt x="269" y="179"/>
                  <a:pt x="270" y="180"/>
                </a:cubicBezTo>
                <a:cubicBezTo>
                  <a:pt x="272" y="180"/>
                  <a:pt x="272" y="178"/>
                  <a:pt x="274" y="178"/>
                </a:cubicBezTo>
                <a:close/>
                <a:moveTo>
                  <a:pt x="263" y="213"/>
                </a:moveTo>
                <a:cubicBezTo>
                  <a:pt x="263" y="214"/>
                  <a:pt x="263" y="214"/>
                  <a:pt x="263" y="214"/>
                </a:cubicBezTo>
                <a:cubicBezTo>
                  <a:pt x="263" y="214"/>
                  <a:pt x="264" y="214"/>
                  <a:pt x="265" y="214"/>
                </a:cubicBezTo>
                <a:cubicBezTo>
                  <a:pt x="265" y="213"/>
                  <a:pt x="264" y="213"/>
                  <a:pt x="263" y="213"/>
                </a:cubicBezTo>
                <a:close/>
                <a:moveTo>
                  <a:pt x="277" y="258"/>
                </a:moveTo>
                <a:cubicBezTo>
                  <a:pt x="278" y="257"/>
                  <a:pt x="278" y="257"/>
                  <a:pt x="277" y="256"/>
                </a:cubicBezTo>
                <a:cubicBezTo>
                  <a:pt x="277" y="255"/>
                  <a:pt x="277" y="255"/>
                  <a:pt x="276" y="255"/>
                </a:cubicBezTo>
                <a:cubicBezTo>
                  <a:pt x="276" y="256"/>
                  <a:pt x="275" y="256"/>
                  <a:pt x="275" y="257"/>
                </a:cubicBezTo>
                <a:cubicBezTo>
                  <a:pt x="276" y="257"/>
                  <a:pt x="276" y="257"/>
                  <a:pt x="276" y="258"/>
                </a:cubicBezTo>
                <a:cubicBezTo>
                  <a:pt x="276" y="258"/>
                  <a:pt x="277" y="258"/>
                  <a:pt x="277" y="258"/>
                </a:cubicBezTo>
                <a:close/>
                <a:moveTo>
                  <a:pt x="274" y="231"/>
                </a:moveTo>
                <a:cubicBezTo>
                  <a:pt x="274" y="229"/>
                  <a:pt x="273" y="228"/>
                  <a:pt x="270" y="228"/>
                </a:cubicBezTo>
                <a:cubicBezTo>
                  <a:pt x="270" y="230"/>
                  <a:pt x="271" y="230"/>
                  <a:pt x="270" y="231"/>
                </a:cubicBezTo>
                <a:cubicBezTo>
                  <a:pt x="269" y="231"/>
                  <a:pt x="267" y="231"/>
                  <a:pt x="266" y="231"/>
                </a:cubicBezTo>
                <a:cubicBezTo>
                  <a:pt x="266" y="234"/>
                  <a:pt x="267" y="236"/>
                  <a:pt x="270" y="235"/>
                </a:cubicBezTo>
                <a:cubicBezTo>
                  <a:pt x="272" y="236"/>
                  <a:pt x="271" y="233"/>
                  <a:pt x="272" y="233"/>
                </a:cubicBezTo>
                <a:cubicBezTo>
                  <a:pt x="272" y="231"/>
                  <a:pt x="275" y="233"/>
                  <a:pt x="274" y="231"/>
                </a:cubicBezTo>
                <a:close/>
                <a:moveTo>
                  <a:pt x="252" y="246"/>
                </a:moveTo>
                <a:cubicBezTo>
                  <a:pt x="253" y="246"/>
                  <a:pt x="254" y="245"/>
                  <a:pt x="254" y="244"/>
                </a:cubicBezTo>
                <a:cubicBezTo>
                  <a:pt x="252" y="244"/>
                  <a:pt x="252" y="243"/>
                  <a:pt x="251" y="243"/>
                </a:cubicBezTo>
                <a:cubicBezTo>
                  <a:pt x="251" y="243"/>
                  <a:pt x="251" y="243"/>
                  <a:pt x="251" y="242"/>
                </a:cubicBezTo>
                <a:cubicBezTo>
                  <a:pt x="250" y="242"/>
                  <a:pt x="249" y="241"/>
                  <a:pt x="249" y="242"/>
                </a:cubicBezTo>
                <a:cubicBezTo>
                  <a:pt x="249" y="243"/>
                  <a:pt x="249" y="243"/>
                  <a:pt x="248" y="243"/>
                </a:cubicBezTo>
                <a:cubicBezTo>
                  <a:pt x="248" y="244"/>
                  <a:pt x="247" y="244"/>
                  <a:pt x="247" y="244"/>
                </a:cubicBezTo>
                <a:cubicBezTo>
                  <a:pt x="248" y="245"/>
                  <a:pt x="248" y="246"/>
                  <a:pt x="248" y="247"/>
                </a:cubicBezTo>
                <a:cubicBezTo>
                  <a:pt x="249" y="247"/>
                  <a:pt x="250" y="247"/>
                  <a:pt x="251" y="247"/>
                </a:cubicBezTo>
                <a:cubicBezTo>
                  <a:pt x="251" y="246"/>
                  <a:pt x="252" y="246"/>
                  <a:pt x="252" y="246"/>
                </a:cubicBezTo>
                <a:close/>
                <a:moveTo>
                  <a:pt x="224" y="221"/>
                </a:moveTo>
                <a:cubicBezTo>
                  <a:pt x="224" y="220"/>
                  <a:pt x="226" y="221"/>
                  <a:pt x="226" y="219"/>
                </a:cubicBezTo>
                <a:cubicBezTo>
                  <a:pt x="227" y="219"/>
                  <a:pt x="226" y="214"/>
                  <a:pt x="226" y="212"/>
                </a:cubicBezTo>
                <a:cubicBezTo>
                  <a:pt x="225" y="212"/>
                  <a:pt x="224" y="212"/>
                  <a:pt x="222" y="212"/>
                </a:cubicBezTo>
                <a:cubicBezTo>
                  <a:pt x="222" y="213"/>
                  <a:pt x="221" y="214"/>
                  <a:pt x="220" y="214"/>
                </a:cubicBezTo>
                <a:cubicBezTo>
                  <a:pt x="220" y="216"/>
                  <a:pt x="219" y="216"/>
                  <a:pt x="219" y="217"/>
                </a:cubicBezTo>
                <a:cubicBezTo>
                  <a:pt x="218" y="217"/>
                  <a:pt x="218" y="218"/>
                  <a:pt x="217" y="219"/>
                </a:cubicBezTo>
                <a:cubicBezTo>
                  <a:pt x="217" y="219"/>
                  <a:pt x="217" y="219"/>
                  <a:pt x="217" y="219"/>
                </a:cubicBezTo>
                <a:cubicBezTo>
                  <a:pt x="217" y="220"/>
                  <a:pt x="217" y="221"/>
                  <a:pt x="217" y="221"/>
                </a:cubicBezTo>
                <a:cubicBezTo>
                  <a:pt x="217" y="223"/>
                  <a:pt x="214" y="222"/>
                  <a:pt x="215" y="224"/>
                </a:cubicBezTo>
                <a:cubicBezTo>
                  <a:pt x="213" y="223"/>
                  <a:pt x="213" y="225"/>
                  <a:pt x="213" y="226"/>
                </a:cubicBezTo>
                <a:cubicBezTo>
                  <a:pt x="214" y="226"/>
                  <a:pt x="214" y="226"/>
                  <a:pt x="215" y="226"/>
                </a:cubicBezTo>
                <a:cubicBezTo>
                  <a:pt x="215" y="225"/>
                  <a:pt x="217" y="225"/>
                  <a:pt x="218" y="224"/>
                </a:cubicBezTo>
                <a:cubicBezTo>
                  <a:pt x="219" y="224"/>
                  <a:pt x="219" y="224"/>
                  <a:pt x="220" y="224"/>
                </a:cubicBezTo>
                <a:cubicBezTo>
                  <a:pt x="221" y="222"/>
                  <a:pt x="219" y="222"/>
                  <a:pt x="219" y="220"/>
                </a:cubicBezTo>
                <a:cubicBezTo>
                  <a:pt x="221" y="221"/>
                  <a:pt x="221" y="222"/>
                  <a:pt x="224" y="221"/>
                </a:cubicBezTo>
                <a:close/>
                <a:moveTo>
                  <a:pt x="233" y="236"/>
                </a:moveTo>
                <a:cubicBezTo>
                  <a:pt x="234" y="236"/>
                  <a:pt x="234" y="235"/>
                  <a:pt x="234" y="235"/>
                </a:cubicBezTo>
                <a:cubicBezTo>
                  <a:pt x="234" y="234"/>
                  <a:pt x="234" y="234"/>
                  <a:pt x="234" y="233"/>
                </a:cubicBezTo>
                <a:cubicBezTo>
                  <a:pt x="234" y="232"/>
                  <a:pt x="234" y="232"/>
                  <a:pt x="235" y="231"/>
                </a:cubicBezTo>
                <a:cubicBezTo>
                  <a:pt x="232" y="231"/>
                  <a:pt x="232" y="228"/>
                  <a:pt x="228" y="228"/>
                </a:cubicBezTo>
                <a:cubicBezTo>
                  <a:pt x="228" y="230"/>
                  <a:pt x="228" y="231"/>
                  <a:pt x="228" y="233"/>
                </a:cubicBezTo>
                <a:cubicBezTo>
                  <a:pt x="229" y="233"/>
                  <a:pt x="230" y="233"/>
                  <a:pt x="231" y="234"/>
                </a:cubicBezTo>
                <a:cubicBezTo>
                  <a:pt x="231" y="234"/>
                  <a:pt x="231" y="234"/>
                  <a:pt x="231" y="235"/>
                </a:cubicBezTo>
                <a:cubicBezTo>
                  <a:pt x="232" y="236"/>
                  <a:pt x="232" y="236"/>
                  <a:pt x="233" y="236"/>
                </a:cubicBezTo>
                <a:close/>
                <a:moveTo>
                  <a:pt x="209" y="225"/>
                </a:moveTo>
                <a:cubicBezTo>
                  <a:pt x="209" y="222"/>
                  <a:pt x="207" y="220"/>
                  <a:pt x="204" y="220"/>
                </a:cubicBezTo>
                <a:cubicBezTo>
                  <a:pt x="204" y="221"/>
                  <a:pt x="203" y="222"/>
                  <a:pt x="203" y="222"/>
                </a:cubicBezTo>
                <a:cubicBezTo>
                  <a:pt x="203" y="223"/>
                  <a:pt x="204" y="223"/>
                  <a:pt x="204" y="223"/>
                </a:cubicBezTo>
                <a:cubicBezTo>
                  <a:pt x="204" y="223"/>
                  <a:pt x="204" y="224"/>
                  <a:pt x="204" y="225"/>
                </a:cubicBezTo>
                <a:cubicBezTo>
                  <a:pt x="205" y="225"/>
                  <a:pt x="205" y="226"/>
                  <a:pt x="206" y="226"/>
                </a:cubicBezTo>
                <a:cubicBezTo>
                  <a:pt x="206" y="227"/>
                  <a:pt x="206" y="227"/>
                  <a:pt x="207" y="227"/>
                </a:cubicBezTo>
                <a:cubicBezTo>
                  <a:pt x="207" y="228"/>
                  <a:pt x="207" y="228"/>
                  <a:pt x="208" y="228"/>
                </a:cubicBezTo>
                <a:cubicBezTo>
                  <a:pt x="207" y="226"/>
                  <a:pt x="209" y="227"/>
                  <a:pt x="209" y="225"/>
                </a:cubicBezTo>
                <a:close/>
                <a:moveTo>
                  <a:pt x="240" y="247"/>
                </a:moveTo>
                <a:cubicBezTo>
                  <a:pt x="241" y="246"/>
                  <a:pt x="239" y="246"/>
                  <a:pt x="240" y="244"/>
                </a:cubicBezTo>
                <a:cubicBezTo>
                  <a:pt x="239" y="243"/>
                  <a:pt x="238" y="243"/>
                  <a:pt x="238" y="242"/>
                </a:cubicBezTo>
                <a:cubicBezTo>
                  <a:pt x="237" y="242"/>
                  <a:pt x="236" y="242"/>
                  <a:pt x="235" y="242"/>
                </a:cubicBezTo>
                <a:cubicBezTo>
                  <a:pt x="235" y="242"/>
                  <a:pt x="235" y="242"/>
                  <a:pt x="234" y="242"/>
                </a:cubicBezTo>
                <a:cubicBezTo>
                  <a:pt x="232" y="242"/>
                  <a:pt x="232" y="246"/>
                  <a:pt x="234" y="246"/>
                </a:cubicBezTo>
                <a:cubicBezTo>
                  <a:pt x="234" y="245"/>
                  <a:pt x="235" y="245"/>
                  <a:pt x="235" y="244"/>
                </a:cubicBezTo>
                <a:cubicBezTo>
                  <a:pt x="235" y="244"/>
                  <a:pt x="235" y="243"/>
                  <a:pt x="236" y="243"/>
                </a:cubicBezTo>
                <a:cubicBezTo>
                  <a:pt x="236" y="244"/>
                  <a:pt x="236" y="245"/>
                  <a:pt x="236" y="247"/>
                </a:cubicBezTo>
                <a:cubicBezTo>
                  <a:pt x="235" y="246"/>
                  <a:pt x="234" y="247"/>
                  <a:pt x="234" y="249"/>
                </a:cubicBezTo>
                <a:cubicBezTo>
                  <a:pt x="236" y="249"/>
                  <a:pt x="238" y="249"/>
                  <a:pt x="240" y="249"/>
                </a:cubicBezTo>
                <a:cubicBezTo>
                  <a:pt x="240" y="248"/>
                  <a:pt x="240" y="247"/>
                  <a:pt x="240" y="247"/>
                </a:cubicBezTo>
                <a:close/>
                <a:moveTo>
                  <a:pt x="262" y="232"/>
                </a:moveTo>
                <a:cubicBezTo>
                  <a:pt x="262" y="233"/>
                  <a:pt x="260" y="233"/>
                  <a:pt x="261" y="235"/>
                </a:cubicBezTo>
                <a:cubicBezTo>
                  <a:pt x="262" y="234"/>
                  <a:pt x="263" y="237"/>
                  <a:pt x="264" y="235"/>
                </a:cubicBezTo>
                <a:cubicBezTo>
                  <a:pt x="262" y="235"/>
                  <a:pt x="263" y="232"/>
                  <a:pt x="262" y="232"/>
                </a:cubicBezTo>
                <a:close/>
                <a:moveTo>
                  <a:pt x="210" y="209"/>
                </a:moveTo>
                <a:cubicBezTo>
                  <a:pt x="210" y="208"/>
                  <a:pt x="210" y="208"/>
                  <a:pt x="210" y="207"/>
                </a:cubicBezTo>
                <a:cubicBezTo>
                  <a:pt x="211" y="207"/>
                  <a:pt x="212" y="207"/>
                  <a:pt x="212" y="206"/>
                </a:cubicBezTo>
                <a:cubicBezTo>
                  <a:pt x="212" y="206"/>
                  <a:pt x="212" y="205"/>
                  <a:pt x="212" y="205"/>
                </a:cubicBezTo>
                <a:cubicBezTo>
                  <a:pt x="212" y="205"/>
                  <a:pt x="213" y="205"/>
                  <a:pt x="213" y="205"/>
                </a:cubicBezTo>
                <a:cubicBezTo>
                  <a:pt x="213" y="204"/>
                  <a:pt x="213" y="203"/>
                  <a:pt x="213" y="203"/>
                </a:cubicBezTo>
                <a:cubicBezTo>
                  <a:pt x="213" y="203"/>
                  <a:pt x="212" y="203"/>
                  <a:pt x="212" y="202"/>
                </a:cubicBezTo>
                <a:cubicBezTo>
                  <a:pt x="212" y="201"/>
                  <a:pt x="212" y="200"/>
                  <a:pt x="212" y="198"/>
                </a:cubicBezTo>
                <a:cubicBezTo>
                  <a:pt x="211" y="198"/>
                  <a:pt x="210" y="197"/>
                  <a:pt x="208" y="198"/>
                </a:cubicBezTo>
                <a:cubicBezTo>
                  <a:pt x="208" y="199"/>
                  <a:pt x="208" y="200"/>
                  <a:pt x="209" y="200"/>
                </a:cubicBezTo>
                <a:cubicBezTo>
                  <a:pt x="210" y="200"/>
                  <a:pt x="209" y="201"/>
                  <a:pt x="210" y="201"/>
                </a:cubicBezTo>
                <a:cubicBezTo>
                  <a:pt x="210" y="203"/>
                  <a:pt x="208" y="202"/>
                  <a:pt x="208" y="204"/>
                </a:cubicBezTo>
                <a:cubicBezTo>
                  <a:pt x="209" y="204"/>
                  <a:pt x="209" y="205"/>
                  <a:pt x="209" y="206"/>
                </a:cubicBezTo>
                <a:cubicBezTo>
                  <a:pt x="209" y="206"/>
                  <a:pt x="210" y="206"/>
                  <a:pt x="210" y="207"/>
                </a:cubicBezTo>
                <a:cubicBezTo>
                  <a:pt x="210" y="207"/>
                  <a:pt x="210" y="207"/>
                  <a:pt x="210" y="208"/>
                </a:cubicBezTo>
                <a:cubicBezTo>
                  <a:pt x="210" y="208"/>
                  <a:pt x="210" y="209"/>
                  <a:pt x="210" y="209"/>
                </a:cubicBezTo>
                <a:close/>
                <a:moveTo>
                  <a:pt x="203" y="231"/>
                </a:moveTo>
                <a:cubicBezTo>
                  <a:pt x="205" y="231"/>
                  <a:pt x="201" y="230"/>
                  <a:pt x="201" y="230"/>
                </a:cubicBezTo>
                <a:cubicBezTo>
                  <a:pt x="201" y="231"/>
                  <a:pt x="200" y="231"/>
                  <a:pt x="200" y="232"/>
                </a:cubicBezTo>
                <a:cubicBezTo>
                  <a:pt x="202" y="231"/>
                  <a:pt x="201" y="233"/>
                  <a:pt x="202" y="234"/>
                </a:cubicBezTo>
                <a:cubicBezTo>
                  <a:pt x="205" y="233"/>
                  <a:pt x="204" y="236"/>
                  <a:pt x="206" y="235"/>
                </a:cubicBezTo>
                <a:cubicBezTo>
                  <a:pt x="206" y="234"/>
                  <a:pt x="207" y="234"/>
                  <a:pt x="207" y="233"/>
                </a:cubicBezTo>
                <a:cubicBezTo>
                  <a:pt x="206" y="231"/>
                  <a:pt x="205" y="233"/>
                  <a:pt x="203" y="231"/>
                </a:cubicBezTo>
                <a:close/>
                <a:moveTo>
                  <a:pt x="236" y="290"/>
                </a:moveTo>
                <a:cubicBezTo>
                  <a:pt x="236" y="289"/>
                  <a:pt x="237" y="289"/>
                  <a:pt x="237" y="288"/>
                </a:cubicBezTo>
                <a:cubicBezTo>
                  <a:pt x="236" y="288"/>
                  <a:pt x="234" y="287"/>
                  <a:pt x="234" y="288"/>
                </a:cubicBezTo>
                <a:cubicBezTo>
                  <a:pt x="235" y="288"/>
                  <a:pt x="235" y="289"/>
                  <a:pt x="235" y="290"/>
                </a:cubicBezTo>
                <a:cubicBezTo>
                  <a:pt x="235" y="290"/>
                  <a:pt x="236" y="290"/>
                  <a:pt x="236" y="290"/>
                </a:cubicBezTo>
                <a:close/>
                <a:moveTo>
                  <a:pt x="259" y="181"/>
                </a:moveTo>
                <a:cubicBezTo>
                  <a:pt x="259" y="181"/>
                  <a:pt x="259" y="182"/>
                  <a:pt x="258" y="182"/>
                </a:cubicBezTo>
                <a:cubicBezTo>
                  <a:pt x="258" y="182"/>
                  <a:pt x="258" y="182"/>
                  <a:pt x="258" y="182"/>
                </a:cubicBezTo>
                <a:cubicBezTo>
                  <a:pt x="257" y="183"/>
                  <a:pt x="256" y="183"/>
                  <a:pt x="256" y="184"/>
                </a:cubicBezTo>
                <a:cubicBezTo>
                  <a:pt x="256" y="184"/>
                  <a:pt x="256" y="185"/>
                  <a:pt x="255" y="185"/>
                </a:cubicBezTo>
                <a:cubicBezTo>
                  <a:pt x="253" y="185"/>
                  <a:pt x="253" y="184"/>
                  <a:pt x="251" y="184"/>
                </a:cubicBezTo>
                <a:cubicBezTo>
                  <a:pt x="251" y="185"/>
                  <a:pt x="250" y="186"/>
                  <a:pt x="250" y="187"/>
                </a:cubicBezTo>
                <a:cubicBezTo>
                  <a:pt x="249" y="187"/>
                  <a:pt x="250" y="188"/>
                  <a:pt x="249" y="188"/>
                </a:cubicBezTo>
                <a:cubicBezTo>
                  <a:pt x="249" y="188"/>
                  <a:pt x="248" y="189"/>
                  <a:pt x="248" y="189"/>
                </a:cubicBezTo>
                <a:cubicBezTo>
                  <a:pt x="248" y="190"/>
                  <a:pt x="248" y="191"/>
                  <a:pt x="249" y="192"/>
                </a:cubicBezTo>
                <a:cubicBezTo>
                  <a:pt x="249" y="192"/>
                  <a:pt x="250" y="192"/>
                  <a:pt x="250" y="192"/>
                </a:cubicBezTo>
                <a:cubicBezTo>
                  <a:pt x="250" y="192"/>
                  <a:pt x="250" y="192"/>
                  <a:pt x="250" y="191"/>
                </a:cubicBezTo>
                <a:cubicBezTo>
                  <a:pt x="250" y="191"/>
                  <a:pt x="251" y="192"/>
                  <a:pt x="251" y="191"/>
                </a:cubicBezTo>
                <a:cubicBezTo>
                  <a:pt x="251" y="191"/>
                  <a:pt x="251" y="191"/>
                  <a:pt x="251" y="191"/>
                </a:cubicBezTo>
                <a:cubicBezTo>
                  <a:pt x="252" y="191"/>
                  <a:pt x="253" y="191"/>
                  <a:pt x="254" y="191"/>
                </a:cubicBezTo>
                <a:cubicBezTo>
                  <a:pt x="254" y="191"/>
                  <a:pt x="253" y="190"/>
                  <a:pt x="254" y="190"/>
                </a:cubicBezTo>
                <a:cubicBezTo>
                  <a:pt x="254" y="190"/>
                  <a:pt x="254" y="190"/>
                  <a:pt x="254" y="190"/>
                </a:cubicBezTo>
                <a:cubicBezTo>
                  <a:pt x="255" y="189"/>
                  <a:pt x="256" y="188"/>
                  <a:pt x="258" y="188"/>
                </a:cubicBezTo>
                <a:cubicBezTo>
                  <a:pt x="259" y="188"/>
                  <a:pt x="259" y="187"/>
                  <a:pt x="259" y="187"/>
                </a:cubicBezTo>
                <a:cubicBezTo>
                  <a:pt x="259" y="186"/>
                  <a:pt x="259" y="186"/>
                  <a:pt x="259" y="186"/>
                </a:cubicBezTo>
                <a:cubicBezTo>
                  <a:pt x="259" y="186"/>
                  <a:pt x="260" y="186"/>
                  <a:pt x="260" y="186"/>
                </a:cubicBezTo>
                <a:cubicBezTo>
                  <a:pt x="260" y="185"/>
                  <a:pt x="261" y="185"/>
                  <a:pt x="261" y="184"/>
                </a:cubicBezTo>
                <a:cubicBezTo>
                  <a:pt x="261" y="184"/>
                  <a:pt x="261" y="182"/>
                  <a:pt x="262" y="182"/>
                </a:cubicBezTo>
                <a:cubicBezTo>
                  <a:pt x="262" y="181"/>
                  <a:pt x="263" y="181"/>
                  <a:pt x="263" y="180"/>
                </a:cubicBezTo>
                <a:cubicBezTo>
                  <a:pt x="261" y="180"/>
                  <a:pt x="261" y="181"/>
                  <a:pt x="259" y="181"/>
                </a:cubicBezTo>
                <a:close/>
                <a:moveTo>
                  <a:pt x="246" y="212"/>
                </a:moveTo>
                <a:cubicBezTo>
                  <a:pt x="246" y="213"/>
                  <a:pt x="247" y="213"/>
                  <a:pt x="247" y="213"/>
                </a:cubicBezTo>
                <a:cubicBezTo>
                  <a:pt x="247" y="212"/>
                  <a:pt x="247" y="210"/>
                  <a:pt x="247" y="210"/>
                </a:cubicBezTo>
                <a:cubicBezTo>
                  <a:pt x="246" y="209"/>
                  <a:pt x="247" y="209"/>
                  <a:pt x="246" y="209"/>
                </a:cubicBezTo>
                <a:cubicBezTo>
                  <a:pt x="246" y="209"/>
                  <a:pt x="245" y="209"/>
                  <a:pt x="245" y="209"/>
                </a:cubicBezTo>
                <a:cubicBezTo>
                  <a:pt x="245" y="210"/>
                  <a:pt x="245" y="210"/>
                  <a:pt x="244" y="210"/>
                </a:cubicBezTo>
                <a:cubicBezTo>
                  <a:pt x="244" y="210"/>
                  <a:pt x="243" y="210"/>
                  <a:pt x="242" y="210"/>
                </a:cubicBezTo>
                <a:cubicBezTo>
                  <a:pt x="242" y="210"/>
                  <a:pt x="243" y="211"/>
                  <a:pt x="243" y="211"/>
                </a:cubicBezTo>
                <a:cubicBezTo>
                  <a:pt x="244" y="211"/>
                  <a:pt x="244" y="211"/>
                  <a:pt x="244" y="212"/>
                </a:cubicBezTo>
                <a:cubicBezTo>
                  <a:pt x="244" y="213"/>
                  <a:pt x="245" y="212"/>
                  <a:pt x="246" y="212"/>
                </a:cubicBezTo>
                <a:close/>
                <a:moveTo>
                  <a:pt x="254" y="221"/>
                </a:moveTo>
                <a:cubicBezTo>
                  <a:pt x="255" y="221"/>
                  <a:pt x="255" y="220"/>
                  <a:pt x="256" y="220"/>
                </a:cubicBezTo>
                <a:cubicBezTo>
                  <a:pt x="257" y="220"/>
                  <a:pt x="258" y="220"/>
                  <a:pt x="258" y="219"/>
                </a:cubicBezTo>
                <a:cubicBezTo>
                  <a:pt x="258" y="219"/>
                  <a:pt x="258" y="219"/>
                  <a:pt x="258" y="218"/>
                </a:cubicBezTo>
                <a:cubicBezTo>
                  <a:pt x="257" y="218"/>
                  <a:pt x="256" y="218"/>
                  <a:pt x="256" y="218"/>
                </a:cubicBezTo>
                <a:cubicBezTo>
                  <a:pt x="256" y="216"/>
                  <a:pt x="253" y="218"/>
                  <a:pt x="252" y="217"/>
                </a:cubicBezTo>
                <a:cubicBezTo>
                  <a:pt x="252" y="219"/>
                  <a:pt x="252" y="219"/>
                  <a:pt x="251" y="220"/>
                </a:cubicBezTo>
                <a:cubicBezTo>
                  <a:pt x="251" y="220"/>
                  <a:pt x="250" y="220"/>
                  <a:pt x="250" y="221"/>
                </a:cubicBezTo>
                <a:cubicBezTo>
                  <a:pt x="250" y="221"/>
                  <a:pt x="250" y="221"/>
                  <a:pt x="250" y="221"/>
                </a:cubicBezTo>
                <a:cubicBezTo>
                  <a:pt x="250" y="222"/>
                  <a:pt x="249" y="221"/>
                  <a:pt x="249" y="221"/>
                </a:cubicBezTo>
                <a:cubicBezTo>
                  <a:pt x="249" y="222"/>
                  <a:pt x="250" y="223"/>
                  <a:pt x="249" y="223"/>
                </a:cubicBezTo>
                <a:cubicBezTo>
                  <a:pt x="249" y="223"/>
                  <a:pt x="249" y="223"/>
                  <a:pt x="249" y="223"/>
                </a:cubicBezTo>
                <a:cubicBezTo>
                  <a:pt x="249" y="223"/>
                  <a:pt x="249" y="223"/>
                  <a:pt x="249" y="224"/>
                </a:cubicBezTo>
                <a:cubicBezTo>
                  <a:pt x="249" y="224"/>
                  <a:pt x="248" y="223"/>
                  <a:pt x="248" y="224"/>
                </a:cubicBezTo>
                <a:cubicBezTo>
                  <a:pt x="248" y="224"/>
                  <a:pt x="247" y="225"/>
                  <a:pt x="247" y="225"/>
                </a:cubicBezTo>
                <a:cubicBezTo>
                  <a:pt x="247" y="225"/>
                  <a:pt x="246" y="226"/>
                  <a:pt x="246" y="226"/>
                </a:cubicBezTo>
                <a:cubicBezTo>
                  <a:pt x="245" y="228"/>
                  <a:pt x="249" y="227"/>
                  <a:pt x="250" y="227"/>
                </a:cubicBezTo>
                <a:cubicBezTo>
                  <a:pt x="250" y="226"/>
                  <a:pt x="252" y="226"/>
                  <a:pt x="252" y="224"/>
                </a:cubicBezTo>
                <a:cubicBezTo>
                  <a:pt x="254" y="224"/>
                  <a:pt x="253" y="222"/>
                  <a:pt x="254" y="221"/>
                </a:cubicBezTo>
                <a:close/>
                <a:moveTo>
                  <a:pt x="286" y="187"/>
                </a:moveTo>
                <a:cubicBezTo>
                  <a:pt x="285" y="187"/>
                  <a:pt x="285" y="187"/>
                  <a:pt x="285" y="186"/>
                </a:cubicBezTo>
                <a:cubicBezTo>
                  <a:pt x="283" y="185"/>
                  <a:pt x="284" y="185"/>
                  <a:pt x="281" y="186"/>
                </a:cubicBezTo>
                <a:cubicBezTo>
                  <a:pt x="281" y="187"/>
                  <a:pt x="282" y="188"/>
                  <a:pt x="283" y="188"/>
                </a:cubicBezTo>
                <a:cubicBezTo>
                  <a:pt x="283" y="189"/>
                  <a:pt x="283" y="190"/>
                  <a:pt x="284" y="190"/>
                </a:cubicBezTo>
                <a:cubicBezTo>
                  <a:pt x="284" y="188"/>
                  <a:pt x="286" y="189"/>
                  <a:pt x="286" y="187"/>
                </a:cubicBezTo>
                <a:cubicBezTo>
                  <a:pt x="286" y="187"/>
                  <a:pt x="285" y="187"/>
                  <a:pt x="286" y="187"/>
                </a:cubicBezTo>
                <a:close/>
                <a:moveTo>
                  <a:pt x="273" y="306"/>
                </a:moveTo>
                <a:cubicBezTo>
                  <a:pt x="273" y="306"/>
                  <a:pt x="273" y="306"/>
                  <a:pt x="272" y="306"/>
                </a:cubicBezTo>
                <a:cubicBezTo>
                  <a:pt x="272" y="307"/>
                  <a:pt x="272" y="307"/>
                  <a:pt x="272" y="307"/>
                </a:cubicBezTo>
                <a:cubicBezTo>
                  <a:pt x="273" y="308"/>
                  <a:pt x="274" y="308"/>
                  <a:pt x="275" y="308"/>
                </a:cubicBezTo>
                <a:cubicBezTo>
                  <a:pt x="276" y="306"/>
                  <a:pt x="274" y="306"/>
                  <a:pt x="273" y="306"/>
                </a:cubicBezTo>
                <a:close/>
                <a:moveTo>
                  <a:pt x="177" y="207"/>
                </a:moveTo>
                <a:cubicBezTo>
                  <a:pt x="177" y="206"/>
                  <a:pt x="177" y="205"/>
                  <a:pt x="177" y="204"/>
                </a:cubicBezTo>
                <a:cubicBezTo>
                  <a:pt x="176" y="204"/>
                  <a:pt x="175" y="203"/>
                  <a:pt x="174" y="203"/>
                </a:cubicBezTo>
                <a:cubicBezTo>
                  <a:pt x="174" y="205"/>
                  <a:pt x="173" y="205"/>
                  <a:pt x="173" y="206"/>
                </a:cubicBezTo>
                <a:cubicBezTo>
                  <a:pt x="174" y="207"/>
                  <a:pt x="175" y="207"/>
                  <a:pt x="177" y="207"/>
                </a:cubicBezTo>
                <a:close/>
                <a:moveTo>
                  <a:pt x="196" y="323"/>
                </a:moveTo>
                <a:cubicBezTo>
                  <a:pt x="195" y="325"/>
                  <a:pt x="200" y="327"/>
                  <a:pt x="200" y="324"/>
                </a:cubicBezTo>
                <a:cubicBezTo>
                  <a:pt x="200" y="322"/>
                  <a:pt x="197" y="324"/>
                  <a:pt x="196" y="323"/>
                </a:cubicBezTo>
                <a:close/>
                <a:moveTo>
                  <a:pt x="257" y="313"/>
                </a:moveTo>
                <a:cubicBezTo>
                  <a:pt x="257" y="314"/>
                  <a:pt x="257" y="314"/>
                  <a:pt x="257" y="314"/>
                </a:cubicBezTo>
                <a:cubicBezTo>
                  <a:pt x="258" y="314"/>
                  <a:pt x="261" y="315"/>
                  <a:pt x="261" y="313"/>
                </a:cubicBezTo>
                <a:cubicBezTo>
                  <a:pt x="259" y="312"/>
                  <a:pt x="258" y="313"/>
                  <a:pt x="257" y="313"/>
                </a:cubicBezTo>
                <a:close/>
                <a:moveTo>
                  <a:pt x="283" y="237"/>
                </a:moveTo>
                <a:cubicBezTo>
                  <a:pt x="282" y="239"/>
                  <a:pt x="282" y="239"/>
                  <a:pt x="283" y="240"/>
                </a:cubicBezTo>
                <a:cubicBezTo>
                  <a:pt x="283" y="240"/>
                  <a:pt x="283" y="241"/>
                  <a:pt x="283" y="241"/>
                </a:cubicBezTo>
                <a:cubicBezTo>
                  <a:pt x="285" y="241"/>
                  <a:pt x="285" y="240"/>
                  <a:pt x="286" y="239"/>
                </a:cubicBezTo>
                <a:cubicBezTo>
                  <a:pt x="285" y="239"/>
                  <a:pt x="284" y="238"/>
                  <a:pt x="283" y="237"/>
                </a:cubicBezTo>
                <a:close/>
                <a:moveTo>
                  <a:pt x="278" y="288"/>
                </a:moveTo>
                <a:cubicBezTo>
                  <a:pt x="277" y="288"/>
                  <a:pt x="277" y="288"/>
                  <a:pt x="277" y="289"/>
                </a:cubicBezTo>
                <a:cubicBezTo>
                  <a:pt x="277" y="290"/>
                  <a:pt x="276" y="290"/>
                  <a:pt x="276" y="290"/>
                </a:cubicBezTo>
                <a:cubicBezTo>
                  <a:pt x="275" y="290"/>
                  <a:pt x="275" y="290"/>
                  <a:pt x="275" y="290"/>
                </a:cubicBezTo>
                <a:cubicBezTo>
                  <a:pt x="275" y="291"/>
                  <a:pt x="275" y="291"/>
                  <a:pt x="275" y="291"/>
                </a:cubicBezTo>
                <a:cubicBezTo>
                  <a:pt x="274" y="292"/>
                  <a:pt x="274" y="293"/>
                  <a:pt x="273" y="293"/>
                </a:cubicBezTo>
                <a:cubicBezTo>
                  <a:pt x="273" y="293"/>
                  <a:pt x="273" y="293"/>
                  <a:pt x="272" y="294"/>
                </a:cubicBezTo>
                <a:cubicBezTo>
                  <a:pt x="272" y="294"/>
                  <a:pt x="272" y="294"/>
                  <a:pt x="271" y="295"/>
                </a:cubicBezTo>
                <a:cubicBezTo>
                  <a:pt x="270" y="295"/>
                  <a:pt x="269" y="295"/>
                  <a:pt x="269" y="294"/>
                </a:cubicBezTo>
                <a:cubicBezTo>
                  <a:pt x="269" y="294"/>
                  <a:pt x="269" y="294"/>
                  <a:pt x="269" y="294"/>
                </a:cubicBezTo>
                <a:cubicBezTo>
                  <a:pt x="267" y="294"/>
                  <a:pt x="266" y="294"/>
                  <a:pt x="265" y="295"/>
                </a:cubicBezTo>
                <a:cubicBezTo>
                  <a:pt x="265" y="295"/>
                  <a:pt x="265" y="295"/>
                  <a:pt x="265" y="295"/>
                </a:cubicBezTo>
                <a:cubicBezTo>
                  <a:pt x="265" y="295"/>
                  <a:pt x="265" y="296"/>
                  <a:pt x="265" y="296"/>
                </a:cubicBezTo>
                <a:cubicBezTo>
                  <a:pt x="265" y="296"/>
                  <a:pt x="265" y="296"/>
                  <a:pt x="265" y="296"/>
                </a:cubicBezTo>
                <a:cubicBezTo>
                  <a:pt x="263" y="296"/>
                  <a:pt x="263" y="298"/>
                  <a:pt x="262" y="298"/>
                </a:cubicBezTo>
                <a:cubicBezTo>
                  <a:pt x="262" y="298"/>
                  <a:pt x="261" y="298"/>
                  <a:pt x="261" y="298"/>
                </a:cubicBezTo>
                <a:cubicBezTo>
                  <a:pt x="260" y="299"/>
                  <a:pt x="259" y="300"/>
                  <a:pt x="257" y="300"/>
                </a:cubicBezTo>
                <a:cubicBezTo>
                  <a:pt x="257" y="299"/>
                  <a:pt x="256" y="299"/>
                  <a:pt x="256" y="298"/>
                </a:cubicBezTo>
                <a:cubicBezTo>
                  <a:pt x="258" y="296"/>
                  <a:pt x="256" y="293"/>
                  <a:pt x="257" y="290"/>
                </a:cubicBezTo>
                <a:cubicBezTo>
                  <a:pt x="253" y="290"/>
                  <a:pt x="251" y="292"/>
                  <a:pt x="248" y="293"/>
                </a:cubicBezTo>
                <a:cubicBezTo>
                  <a:pt x="248" y="293"/>
                  <a:pt x="248" y="293"/>
                  <a:pt x="247" y="293"/>
                </a:cubicBezTo>
                <a:cubicBezTo>
                  <a:pt x="246" y="294"/>
                  <a:pt x="246" y="294"/>
                  <a:pt x="244" y="295"/>
                </a:cubicBezTo>
                <a:cubicBezTo>
                  <a:pt x="243" y="295"/>
                  <a:pt x="244" y="293"/>
                  <a:pt x="242" y="293"/>
                </a:cubicBezTo>
                <a:cubicBezTo>
                  <a:pt x="240" y="294"/>
                  <a:pt x="239" y="294"/>
                  <a:pt x="238" y="295"/>
                </a:cubicBezTo>
                <a:cubicBezTo>
                  <a:pt x="235" y="293"/>
                  <a:pt x="232" y="295"/>
                  <a:pt x="229" y="295"/>
                </a:cubicBezTo>
                <a:cubicBezTo>
                  <a:pt x="230" y="293"/>
                  <a:pt x="230" y="292"/>
                  <a:pt x="228" y="292"/>
                </a:cubicBezTo>
                <a:cubicBezTo>
                  <a:pt x="228" y="291"/>
                  <a:pt x="227" y="291"/>
                  <a:pt x="227" y="292"/>
                </a:cubicBezTo>
                <a:cubicBezTo>
                  <a:pt x="226" y="292"/>
                  <a:pt x="226" y="292"/>
                  <a:pt x="226" y="293"/>
                </a:cubicBezTo>
                <a:cubicBezTo>
                  <a:pt x="224" y="292"/>
                  <a:pt x="224" y="293"/>
                  <a:pt x="223" y="293"/>
                </a:cubicBezTo>
                <a:cubicBezTo>
                  <a:pt x="220" y="293"/>
                  <a:pt x="218" y="293"/>
                  <a:pt x="215" y="293"/>
                </a:cubicBezTo>
                <a:cubicBezTo>
                  <a:pt x="214" y="294"/>
                  <a:pt x="213" y="296"/>
                  <a:pt x="211" y="296"/>
                </a:cubicBezTo>
                <a:cubicBezTo>
                  <a:pt x="211" y="296"/>
                  <a:pt x="211" y="297"/>
                  <a:pt x="210" y="297"/>
                </a:cubicBezTo>
                <a:cubicBezTo>
                  <a:pt x="209" y="297"/>
                  <a:pt x="208" y="298"/>
                  <a:pt x="206" y="297"/>
                </a:cubicBezTo>
                <a:cubicBezTo>
                  <a:pt x="205" y="298"/>
                  <a:pt x="204" y="299"/>
                  <a:pt x="202" y="299"/>
                </a:cubicBezTo>
                <a:cubicBezTo>
                  <a:pt x="202" y="298"/>
                  <a:pt x="202" y="297"/>
                  <a:pt x="202" y="296"/>
                </a:cubicBezTo>
                <a:cubicBezTo>
                  <a:pt x="202" y="296"/>
                  <a:pt x="202" y="296"/>
                  <a:pt x="202" y="296"/>
                </a:cubicBezTo>
                <a:cubicBezTo>
                  <a:pt x="201" y="295"/>
                  <a:pt x="200" y="293"/>
                  <a:pt x="198" y="294"/>
                </a:cubicBezTo>
                <a:cubicBezTo>
                  <a:pt x="198" y="294"/>
                  <a:pt x="198" y="294"/>
                  <a:pt x="198" y="294"/>
                </a:cubicBezTo>
                <a:cubicBezTo>
                  <a:pt x="198" y="294"/>
                  <a:pt x="198" y="294"/>
                  <a:pt x="198" y="294"/>
                </a:cubicBezTo>
                <a:cubicBezTo>
                  <a:pt x="198" y="294"/>
                  <a:pt x="197" y="295"/>
                  <a:pt x="197" y="294"/>
                </a:cubicBezTo>
                <a:cubicBezTo>
                  <a:pt x="197" y="294"/>
                  <a:pt x="197" y="294"/>
                  <a:pt x="197" y="294"/>
                </a:cubicBezTo>
                <a:cubicBezTo>
                  <a:pt x="197" y="294"/>
                  <a:pt x="197" y="295"/>
                  <a:pt x="197" y="295"/>
                </a:cubicBezTo>
                <a:cubicBezTo>
                  <a:pt x="196" y="295"/>
                  <a:pt x="196" y="295"/>
                  <a:pt x="195" y="295"/>
                </a:cubicBezTo>
                <a:cubicBezTo>
                  <a:pt x="195" y="294"/>
                  <a:pt x="195" y="294"/>
                  <a:pt x="195" y="294"/>
                </a:cubicBezTo>
                <a:cubicBezTo>
                  <a:pt x="195" y="294"/>
                  <a:pt x="196" y="294"/>
                  <a:pt x="196" y="294"/>
                </a:cubicBezTo>
                <a:cubicBezTo>
                  <a:pt x="196" y="293"/>
                  <a:pt x="197" y="292"/>
                  <a:pt x="197" y="292"/>
                </a:cubicBezTo>
                <a:cubicBezTo>
                  <a:pt x="197" y="292"/>
                  <a:pt x="197" y="292"/>
                  <a:pt x="197" y="292"/>
                </a:cubicBezTo>
                <a:cubicBezTo>
                  <a:pt x="198" y="290"/>
                  <a:pt x="197" y="290"/>
                  <a:pt x="196" y="290"/>
                </a:cubicBezTo>
                <a:cubicBezTo>
                  <a:pt x="196" y="290"/>
                  <a:pt x="196" y="290"/>
                  <a:pt x="196" y="290"/>
                </a:cubicBezTo>
                <a:cubicBezTo>
                  <a:pt x="196" y="289"/>
                  <a:pt x="195" y="289"/>
                  <a:pt x="194" y="289"/>
                </a:cubicBezTo>
                <a:cubicBezTo>
                  <a:pt x="194" y="290"/>
                  <a:pt x="193" y="290"/>
                  <a:pt x="193" y="290"/>
                </a:cubicBezTo>
                <a:cubicBezTo>
                  <a:pt x="193" y="291"/>
                  <a:pt x="193" y="291"/>
                  <a:pt x="192" y="291"/>
                </a:cubicBezTo>
                <a:cubicBezTo>
                  <a:pt x="192" y="292"/>
                  <a:pt x="191" y="293"/>
                  <a:pt x="190" y="293"/>
                </a:cubicBezTo>
                <a:cubicBezTo>
                  <a:pt x="189" y="293"/>
                  <a:pt x="188" y="294"/>
                  <a:pt x="187" y="294"/>
                </a:cubicBezTo>
                <a:cubicBezTo>
                  <a:pt x="186" y="294"/>
                  <a:pt x="185" y="294"/>
                  <a:pt x="185" y="293"/>
                </a:cubicBezTo>
                <a:cubicBezTo>
                  <a:pt x="184" y="293"/>
                  <a:pt x="185" y="293"/>
                  <a:pt x="184" y="293"/>
                </a:cubicBezTo>
                <a:cubicBezTo>
                  <a:pt x="183" y="292"/>
                  <a:pt x="183" y="292"/>
                  <a:pt x="182" y="292"/>
                </a:cubicBezTo>
                <a:cubicBezTo>
                  <a:pt x="182" y="292"/>
                  <a:pt x="181" y="291"/>
                  <a:pt x="181" y="290"/>
                </a:cubicBezTo>
                <a:cubicBezTo>
                  <a:pt x="181" y="288"/>
                  <a:pt x="181" y="285"/>
                  <a:pt x="178" y="286"/>
                </a:cubicBezTo>
                <a:cubicBezTo>
                  <a:pt x="178" y="286"/>
                  <a:pt x="178" y="286"/>
                  <a:pt x="178" y="287"/>
                </a:cubicBezTo>
                <a:cubicBezTo>
                  <a:pt x="178" y="287"/>
                  <a:pt x="178" y="288"/>
                  <a:pt x="178" y="288"/>
                </a:cubicBezTo>
                <a:cubicBezTo>
                  <a:pt x="177" y="290"/>
                  <a:pt x="179" y="290"/>
                  <a:pt x="178" y="293"/>
                </a:cubicBezTo>
                <a:cubicBezTo>
                  <a:pt x="179" y="293"/>
                  <a:pt x="179" y="294"/>
                  <a:pt x="179" y="295"/>
                </a:cubicBezTo>
                <a:cubicBezTo>
                  <a:pt x="179" y="295"/>
                  <a:pt x="179" y="296"/>
                  <a:pt x="178" y="296"/>
                </a:cubicBezTo>
                <a:cubicBezTo>
                  <a:pt x="173" y="298"/>
                  <a:pt x="178" y="289"/>
                  <a:pt x="173" y="290"/>
                </a:cubicBezTo>
                <a:cubicBezTo>
                  <a:pt x="173" y="291"/>
                  <a:pt x="174" y="291"/>
                  <a:pt x="174" y="292"/>
                </a:cubicBezTo>
                <a:cubicBezTo>
                  <a:pt x="174" y="292"/>
                  <a:pt x="174" y="293"/>
                  <a:pt x="173" y="293"/>
                </a:cubicBezTo>
                <a:cubicBezTo>
                  <a:pt x="173" y="293"/>
                  <a:pt x="173" y="293"/>
                  <a:pt x="173" y="294"/>
                </a:cubicBezTo>
                <a:cubicBezTo>
                  <a:pt x="173" y="294"/>
                  <a:pt x="173" y="294"/>
                  <a:pt x="173" y="294"/>
                </a:cubicBezTo>
                <a:cubicBezTo>
                  <a:pt x="174" y="295"/>
                  <a:pt x="174" y="295"/>
                  <a:pt x="174" y="295"/>
                </a:cubicBezTo>
                <a:cubicBezTo>
                  <a:pt x="173" y="296"/>
                  <a:pt x="173" y="297"/>
                  <a:pt x="174" y="298"/>
                </a:cubicBezTo>
                <a:cubicBezTo>
                  <a:pt x="174" y="299"/>
                  <a:pt x="174" y="299"/>
                  <a:pt x="174" y="299"/>
                </a:cubicBezTo>
                <a:cubicBezTo>
                  <a:pt x="173" y="301"/>
                  <a:pt x="173" y="303"/>
                  <a:pt x="173" y="305"/>
                </a:cubicBezTo>
                <a:cubicBezTo>
                  <a:pt x="173" y="305"/>
                  <a:pt x="173" y="305"/>
                  <a:pt x="173" y="305"/>
                </a:cubicBezTo>
                <a:cubicBezTo>
                  <a:pt x="173" y="307"/>
                  <a:pt x="174" y="308"/>
                  <a:pt x="175" y="309"/>
                </a:cubicBezTo>
                <a:cubicBezTo>
                  <a:pt x="175" y="309"/>
                  <a:pt x="175" y="309"/>
                  <a:pt x="175" y="309"/>
                </a:cubicBezTo>
                <a:cubicBezTo>
                  <a:pt x="176" y="309"/>
                  <a:pt x="177" y="309"/>
                  <a:pt x="177" y="310"/>
                </a:cubicBezTo>
                <a:cubicBezTo>
                  <a:pt x="182" y="310"/>
                  <a:pt x="185" y="307"/>
                  <a:pt x="192" y="308"/>
                </a:cubicBezTo>
                <a:cubicBezTo>
                  <a:pt x="193" y="308"/>
                  <a:pt x="193" y="310"/>
                  <a:pt x="195" y="309"/>
                </a:cubicBezTo>
                <a:cubicBezTo>
                  <a:pt x="197" y="310"/>
                  <a:pt x="196" y="307"/>
                  <a:pt x="199" y="308"/>
                </a:cubicBezTo>
                <a:cubicBezTo>
                  <a:pt x="200" y="308"/>
                  <a:pt x="202" y="308"/>
                  <a:pt x="204" y="308"/>
                </a:cubicBezTo>
                <a:cubicBezTo>
                  <a:pt x="204" y="308"/>
                  <a:pt x="204" y="308"/>
                  <a:pt x="204" y="308"/>
                </a:cubicBezTo>
                <a:cubicBezTo>
                  <a:pt x="206" y="308"/>
                  <a:pt x="207" y="309"/>
                  <a:pt x="209" y="309"/>
                </a:cubicBezTo>
                <a:cubicBezTo>
                  <a:pt x="209" y="309"/>
                  <a:pt x="209" y="309"/>
                  <a:pt x="209" y="309"/>
                </a:cubicBezTo>
                <a:cubicBezTo>
                  <a:pt x="210" y="309"/>
                  <a:pt x="211" y="309"/>
                  <a:pt x="212" y="309"/>
                </a:cubicBezTo>
                <a:cubicBezTo>
                  <a:pt x="213" y="309"/>
                  <a:pt x="213" y="310"/>
                  <a:pt x="215" y="310"/>
                </a:cubicBezTo>
                <a:cubicBezTo>
                  <a:pt x="215" y="310"/>
                  <a:pt x="215" y="310"/>
                  <a:pt x="215" y="310"/>
                </a:cubicBezTo>
                <a:cubicBezTo>
                  <a:pt x="215" y="310"/>
                  <a:pt x="216" y="310"/>
                  <a:pt x="216" y="310"/>
                </a:cubicBezTo>
                <a:cubicBezTo>
                  <a:pt x="217" y="310"/>
                  <a:pt x="220" y="309"/>
                  <a:pt x="221" y="312"/>
                </a:cubicBezTo>
                <a:cubicBezTo>
                  <a:pt x="221" y="312"/>
                  <a:pt x="221" y="312"/>
                  <a:pt x="221" y="312"/>
                </a:cubicBezTo>
                <a:cubicBezTo>
                  <a:pt x="221" y="312"/>
                  <a:pt x="221" y="312"/>
                  <a:pt x="221" y="313"/>
                </a:cubicBezTo>
                <a:cubicBezTo>
                  <a:pt x="222" y="314"/>
                  <a:pt x="221" y="314"/>
                  <a:pt x="221" y="315"/>
                </a:cubicBezTo>
                <a:cubicBezTo>
                  <a:pt x="221" y="315"/>
                  <a:pt x="221" y="315"/>
                  <a:pt x="221" y="316"/>
                </a:cubicBezTo>
                <a:cubicBezTo>
                  <a:pt x="222" y="316"/>
                  <a:pt x="224" y="316"/>
                  <a:pt x="225" y="316"/>
                </a:cubicBezTo>
                <a:cubicBezTo>
                  <a:pt x="225" y="316"/>
                  <a:pt x="225" y="316"/>
                  <a:pt x="225" y="316"/>
                </a:cubicBezTo>
                <a:cubicBezTo>
                  <a:pt x="226" y="316"/>
                  <a:pt x="226" y="316"/>
                  <a:pt x="227" y="316"/>
                </a:cubicBezTo>
                <a:cubicBezTo>
                  <a:pt x="227" y="316"/>
                  <a:pt x="227" y="316"/>
                  <a:pt x="227" y="316"/>
                </a:cubicBezTo>
                <a:cubicBezTo>
                  <a:pt x="228" y="316"/>
                  <a:pt x="229" y="316"/>
                  <a:pt x="229" y="316"/>
                </a:cubicBezTo>
                <a:cubicBezTo>
                  <a:pt x="229" y="316"/>
                  <a:pt x="230" y="316"/>
                  <a:pt x="230" y="316"/>
                </a:cubicBezTo>
                <a:cubicBezTo>
                  <a:pt x="232" y="316"/>
                  <a:pt x="233" y="315"/>
                  <a:pt x="234" y="314"/>
                </a:cubicBezTo>
                <a:cubicBezTo>
                  <a:pt x="234" y="314"/>
                  <a:pt x="234" y="314"/>
                  <a:pt x="234" y="314"/>
                </a:cubicBezTo>
                <a:cubicBezTo>
                  <a:pt x="235" y="314"/>
                  <a:pt x="237" y="313"/>
                  <a:pt x="238" y="313"/>
                </a:cubicBezTo>
                <a:cubicBezTo>
                  <a:pt x="238" y="313"/>
                  <a:pt x="239" y="313"/>
                  <a:pt x="240" y="313"/>
                </a:cubicBezTo>
                <a:cubicBezTo>
                  <a:pt x="240" y="313"/>
                  <a:pt x="240" y="313"/>
                  <a:pt x="240" y="312"/>
                </a:cubicBezTo>
                <a:cubicBezTo>
                  <a:pt x="240" y="312"/>
                  <a:pt x="240" y="312"/>
                  <a:pt x="240" y="312"/>
                </a:cubicBezTo>
                <a:cubicBezTo>
                  <a:pt x="241" y="313"/>
                  <a:pt x="242" y="311"/>
                  <a:pt x="243" y="311"/>
                </a:cubicBezTo>
                <a:cubicBezTo>
                  <a:pt x="243" y="311"/>
                  <a:pt x="243" y="311"/>
                  <a:pt x="244" y="311"/>
                </a:cubicBezTo>
                <a:cubicBezTo>
                  <a:pt x="244" y="311"/>
                  <a:pt x="245" y="310"/>
                  <a:pt x="245" y="310"/>
                </a:cubicBezTo>
                <a:cubicBezTo>
                  <a:pt x="245" y="310"/>
                  <a:pt x="245" y="310"/>
                  <a:pt x="245" y="310"/>
                </a:cubicBezTo>
                <a:cubicBezTo>
                  <a:pt x="247" y="310"/>
                  <a:pt x="247" y="309"/>
                  <a:pt x="249" y="309"/>
                </a:cubicBezTo>
                <a:cubicBezTo>
                  <a:pt x="249" y="309"/>
                  <a:pt x="249" y="309"/>
                  <a:pt x="249" y="309"/>
                </a:cubicBezTo>
                <a:cubicBezTo>
                  <a:pt x="249" y="309"/>
                  <a:pt x="249" y="309"/>
                  <a:pt x="249" y="309"/>
                </a:cubicBezTo>
                <a:cubicBezTo>
                  <a:pt x="250" y="308"/>
                  <a:pt x="251" y="308"/>
                  <a:pt x="252" y="308"/>
                </a:cubicBezTo>
                <a:cubicBezTo>
                  <a:pt x="252" y="308"/>
                  <a:pt x="253" y="308"/>
                  <a:pt x="253" y="308"/>
                </a:cubicBezTo>
                <a:cubicBezTo>
                  <a:pt x="253" y="308"/>
                  <a:pt x="253" y="307"/>
                  <a:pt x="253" y="307"/>
                </a:cubicBezTo>
                <a:cubicBezTo>
                  <a:pt x="255" y="306"/>
                  <a:pt x="256" y="307"/>
                  <a:pt x="258" y="306"/>
                </a:cubicBezTo>
                <a:cubicBezTo>
                  <a:pt x="258" y="306"/>
                  <a:pt x="258" y="306"/>
                  <a:pt x="258" y="306"/>
                </a:cubicBezTo>
                <a:cubicBezTo>
                  <a:pt x="259" y="306"/>
                  <a:pt x="260" y="306"/>
                  <a:pt x="261" y="306"/>
                </a:cubicBezTo>
                <a:cubicBezTo>
                  <a:pt x="261" y="306"/>
                  <a:pt x="261" y="306"/>
                  <a:pt x="262" y="306"/>
                </a:cubicBezTo>
                <a:cubicBezTo>
                  <a:pt x="262" y="306"/>
                  <a:pt x="262" y="306"/>
                  <a:pt x="262" y="306"/>
                </a:cubicBezTo>
                <a:cubicBezTo>
                  <a:pt x="263" y="306"/>
                  <a:pt x="264" y="305"/>
                  <a:pt x="265" y="304"/>
                </a:cubicBezTo>
                <a:cubicBezTo>
                  <a:pt x="265" y="304"/>
                  <a:pt x="265" y="304"/>
                  <a:pt x="265" y="304"/>
                </a:cubicBezTo>
                <a:cubicBezTo>
                  <a:pt x="268" y="304"/>
                  <a:pt x="270" y="305"/>
                  <a:pt x="272" y="305"/>
                </a:cubicBezTo>
                <a:cubicBezTo>
                  <a:pt x="273" y="305"/>
                  <a:pt x="274" y="304"/>
                  <a:pt x="275" y="304"/>
                </a:cubicBezTo>
                <a:cubicBezTo>
                  <a:pt x="275" y="304"/>
                  <a:pt x="275" y="303"/>
                  <a:pt x="275" y="303"/>
                </a:cubicBezTo>
                <a:cubicBezTo>
                  <a:pt x="275" y="303"/>
                  <a:pt x="275" y="303"/>
                  <a:pt x="276" y="303"/>
                </a:cubicBezTo>
                <a:cubicBezTo>
                  <a:pt x="277" y="303"/>
                  <a:pt x="277" y="301"/>
                  <a:pt x="277" y="300"/>
                </a:cubicBezTo>
                <a:cubicBezTo>
                  <a:pt x="277" y="300"/>
                  <a:pt x="277" y="300"/>
                  <a:pt x="277" y="300"/>
                </a:cubicBezTo>
                <a:cubicBezTo>
                  <a:pt x="277" y="299"/>
                  <a:pt x="277" y="298"/>
                  <a:pt x="278" y="297"/>
                </a:cubicBezTo>
                <a:cubicBezTo>
                  <a:pt x="276" y="297"/>
                  <a:pt x="278" y="295"/>
                  <a:pt x="279" y="295"/>
                </a:cubicBezTo>
                <a:cubicBezTo>
                  <a:pt x="279" y="295"/>
                  <a:pt x="279" y="295"/>
                  <a:pt x="279" y="294"/>
                </a:cubicBezTo>
                <a:cubicBezTo>
                  <a:pt x="279" y="294"/>
                  <a:pt x="279" y="294"/>
                  <a:pt x="279" y="294"/>
                </a:cubicBezTo>
                <a:cubicBezTo>
                  <a:pt x="277" y="293"/>
                  <a:pt x="277" y="292"/>
                  <a:pt x="277" y="291"/>
                </a:cubicBezTo>
                <a:cubicBezTo>
                  <a:pt x="277" y="291"/>
                  <a:pt x="277" y="291"/>
                  <a:pt x="277" y="291"/>
                </a:cubicBezTo>
                <a:cubicBezTo>
                  <a:pt x="277" y="291"/>
                  <a:pt x="277" y="291"/>
                  <a:pt x="277" y="290"/>
                </a:cubicBezTo>
                <a:cubicBezTo>
                  <a:pt x="277" y="290"/>
                  <a:pt x="278" y="290"/>
                  <a:pt x="278" y="290"/>
                </a:cubicBezTo>
                <a:cubicBezTo>
                  <a:pt x="278" y="292"/>
                  <a:pt x="280" y="291"/>
                  <a:pt x="280" y="290"/>
                </a:cubicBezTo>
                <a:cubicBezTo>
                  <a:pt x="279" y="289"/>
                  <a:pt x="278" y="289"/>
                  <a:pt x="278" y="288"/>
                </a:cubicBezTo>
                <a:close/>
                <a:moveTo>
                  <a:pt x="153" y="198"/>
                </a:moveTo>
                <a:cubicBezTo>
                  <a:pt x="153" y="198"/>
                  <a:pt x="153" y="198"/>
                  <a:pt x="153" y="198"/>
                </a:cubicBezTo>
                <a:cubicBezTo>
                  <a:pt x="153" y="199"/>
                  <a:pt x="153" y="199"/>
                  <a:pt x="154" y="199"/>
                </a:cubicBezTo>
                <a:cubicBezTo>
                  <a:pt x="154" y="198"/>
                  <a:pt x="153" y="197"/>
                  <a:pt x="153" y="197"/>
                </a:cubicBezTo>
                <a:cubicBezTo>
                  <a:pt x="153" y="197"/>
                  <a:pt x="153" y="198"/>
                  <a:pt x="153" y="198"/>
                </a:cubicBezTo>
                <a:close/>
                <a:moveTo>
                  <a:pt x="149" y="194"/>
                </a:moveTo>
                <a:cubicBezTo>
                  <a:pt x="148" y="194"/>
                  <a:pt x="148" y="194"/>
                  <a:pt x="148" y="195"/>
                </a:cubicBezTo>
                <a:cubicBezTo>
                  <a:pt x="148" y="195"/>
                  <a:pt x="149" y="195"/>
                  <a:pt x="149" y="196"/>
                </a:cubicBezTo>
                <a:cubicBezTo>
                  <a:pt x="150" y="196"/>
                  <a:pt x="151" y="195"/>
                  <a:pt x="152" y="195"/>
                </a:cubicBezTo>
                <a:cubicBezTo>
                  <a:pt x="152" y="194"/>
                  <a:pt x="151" y="193"/>
                  <a:pt x="150" y="193"/>
                </a:cubicBezTo>
                <a:cubicBezTo>
                  <a:pt x="150" y="194"/>
                  <a:pt x="150" y="193"/>
                  <a:pt x="149" y="194"/>
                </a:cubicBezTo>
                <a:close/>
                <a:moveTo>
                  <a:pt x="160" y="197"/>
                </a:moveTo>
                <a:cubicBezTo>
                  <a:pt x="160" y="196"/>
                  <a:pt x="161" y="196"/>
                  <a:pt x="161" y="194"/>
                </a:cubicBezTo>
                <a:cubicBezTo>
                  <a:pt x="160" y="194"/>
                  <a:pt x="160" y="194"/>
                  <a:pt x="160" y="194"/>
                </a:cubicBezTo>
                <a:cubicBezTo>
                  <a:pt x="158" y="194"/>
                  <a:pt x="158" y="192"/>
                  <a:pt x="157" y="192"/>
                </a:cubicBezTo>
                <a:cubicBezTo>
                  <a:pt x="158" y="194"/>
                  <a:pt x="156" y="194"/>
                  <a:pt x="155" y="194"/>
                </a:cubicBezTo>
                <a:cubicBezTo>
                  <a:pt x="155" y="194"/>
                  <a:pt x="155" y="194"/>
                  <a:pt x="155" y="194"/>
                </a:cubicBezTo>
                <a:cubicBezTo>
                  <a:pt x="155" y="194"/>
                  <a:pt x="155" y="195"/>
                  <a:pt x="155" y="195"/>
                </a:cubicBezTo>
                <a:cubicBezTo>
                  <a:pt x="155" y="195"/>
                  <a:pt x="155" y="195"/>
                  <a:pt x="155" y="195"/>
                </a:cubicBezTo>
                <a:cubicBezTo>
                  <a:pt x="154" y="196"/>
                  <a:pt x="156" y="197"/>
                  <a:pt x="155" y="199"/>
                </a:cubicBezTo>
                <a:cubicBezTo>
                  <a:pt x="157" y="199"/>
                  <a:pt x="157" y="198"/>
                  <a:pt x="159" y="198"/>
                </a:cubicBezTo>
                <a:cubicBezTo>
                  <a:pt x="159" y="197"/>
                  <a:pt x="159" y="197"/>
                  <a:pt x="160" y="197"/>
                </a:cubicBezTo>
                <a:close/>
                <a:moveTo>
                  <a:pt x="174" y="196"/>
                </a:moveTo>
                <a:cubicBezTo>
                  <a:pt x="174" y="196"/>
                  <a:pt x="174" y="197"/>
                  <a:pt x="174" y="197"/>
                </a:cubicBezTo>
                <a:cubicBezTo>
                  <a:pt x="174" y="197"/>
                  <a:pt x="174" y="197"/>
                  <a:pt x="174" y="197"/>
                </a:cubicBezTo>
                <a:cubicBezTo>
                  <a:pt x="175" y="197"/>
                  <a:pt x="175" y="198"/>
                  <a:pt x="176" y="198"/>
                </a:cubicBezTo>
                <a:cubicBezTo>
                  <a:pt x="178" y="198"/>
                  <a:pt x="178" y="197"/>
                  <a:pt x="180" y="198"/>
                </a:cubicBezTo>
                <a:cubicBezTo>
                  <a:pt x="182" y="197"/>
                  <a:pt x="182" y="195"/>
                  <a:pt x="182" y="194"/>
                </a:cubicBezTo>
                <a:cubicBezTo>
                  <a:pt x="183" y="193"/>
                  <a:pt x="182" y="192"/>
                  <a:pt x="182" y="192"/>
                </a:cubicBezTo>
                <a:cubicBezTo>
                  <a:pt x="180" y="192"/>
                  <a:pt x="181" y="190"/>
                  <a:pt x="179" y="191"/>
                </a:cubicBezTo>
                <a:cubicBezTo>
                  <a:pt x="180" y="188"/>
                  <a:pt x="178" y="188"/>
                  <a:pt x="177" y="186"/>
                </a:cubicBezTo>
                <a:cubicBezTo>
                  <a:pt x="177" y="185"/>
                  <a:pt x="177" y="185"/>
                  <a:pt x="176" y="185"/>
                </a:cubicBezTo>
                <a:cubicBezTo>
                  <a:pt x="176" y="183"/>
                  <a:pt x="177" y="183"/>
                  <a:pt x="177" y="182"/>
                </a:cubicBezTo>
                <a:cubicBezTo>
                  <a:pt x="177" y="181"/>
                  <a:pt x="176" y="180"/>
                  <a:pt x="176" y="180"/>
                </a:cubicBezTo>
                <a:cubicBezTo>
                  <a:pt x="176" y="180"/>
                  <a:pt x="177" y="179"/>
                  <a:pt x="176" y="178"/>
                </a:cubicBezTo>
                <a:cubicBezTo>
                  <a:pt x="176" y="178"/>
                  <a:pt x="176" y="178"/>
                  <a:pt x="176" y="178"/>
                </a:cubicBezTo>
                <a:cubicBezTo>
                  <a:pt x="175" y="178"/>
                  <a:pt x="175" y="177"/>
                  <a:pt x="175" y="176"/>
                </a:cubicBezTo>
                <a:cubicBezTo>
                  <a:pt x="175" y="176"/>
                  <a:pt x="177" y="176"/>
                  <a:pt x="177" y="175"/>
                </a:cubicBezTo>
                <a:cubicBezTo>
                  <a:pt x="176" y="174"/>
                  <a:pt x="176" y="173"/>
                  <a:pt x="176" y="171"/>
                </a:cubicBezTo>
                <a:cubicBezTo>
                  <a:pt x="176" y="170"/>
                  <a:pt x="174" y="171"/>
                  <a:pt x="174" y="170"/>
                </a:cubicBezTo>
                <a:cubicBezTo>
                  <a:pt x="174" y="170"/>
                  <a:pt x="173" y="170"/>
                  <a:pt x="173" y="169"/>
                </a:cubicBezTo>
                <a:cubicBezTo>
                  <a:pt x="173" y="169"/>
                  <a:pt x="172" y="169"/>
                  <a:pt x="172" y="169"/>
                </a:cubicBezTo>
                <a:cubicBezTo>
                  <a:pt x="172" y="169"/>
                  <a:pt x="172" y="169"/>
                  <a:pt x="172" y="169"/>
                </a:cubicBezTo>
                <a:cubicBezTo>
                  <a:pt x="172" y="168"/>
                  <a:pt x="171" y="168"/>
                  <a:pt x="171" y="169"/>
                </a:cubicBezTo>
                <a:cubicBezTo>
                  <a:pt x="171" y="169"/>
                  <a:pt x="171" y="169"/>
                  <a:pt x="171" y="169"/>
                </a:cubicBezTo>
                <a:cubicBezTo>
                  <a:pt x="170" y="168"/>
                  <a:pt x="169" y="168"/>
                  <a:pt x="169" y="168"/>
                </a:cubicBezTo>
                <a:cubicBezTo>
                  <a:pt x="169" y="168"/>
                  <a:pt x="168" y="168"/>
                  <a:pt x="168" y="168"/>
                </a:cubicBezTo>
                <a:cubicBezTo>
                  <a:pt x="167" y="168"/>
                  <a:pt x="167" y="166"/>
                  <a:pt x="165" y="167"/>
                </a:cubicBezTo>
                <a:cubicBezTo>
                  <a:pt x="165" y="167"/>
                  <a:pt x="165" y="167"/>
                  <a:pt x="165" y="167"/>
                </a:cubicBezTo>
                <a:cubicBezTo>
                  <a:pt x="164" y="167"/>
                  <a:pt x="164" y="167"/>
                  <a:pt x="163" y="167"/>
                </a:cubicBezTo>
                <a:cubicBezTo>
                  <a:pt x="162" y="167"/>
                  <a:pt x="161" y="166"/>
                  <a:pt x="160" y="166"/>
                </a:cubicBezTo>
                <a:cubicBezTo>
                  <a:pt x="160" y="166"/>
                  <a:pt x="159" y="166"/>
                  <a:pt x="159" y="166"/>
                </a:cubicBezTo>
                <a:cubicBezTo>
                  <a:pt x="158" y="166"/>
                  <a:pt x="158" y="166"/>
                  <a:pt x="158" y="166"/>
                </a:cubicBezTo>
                <a:cubicBezTo>
                  <a:pt x="158" y="163"/>
                  <a:pt x="155" y="164"/>
                  <a:pt x="155" y="161"/>
                </a:cubicBezTo>
                <a:cubicBezTo>
                  <a:pt x="148" y="161"/>
                  <a:pt x="148" y="161"/>
                  <a:pt x="148" y="161"/>
                </a:cubicBezTo>
                <a:cubicBezTo>
                  <a:pt x="148" y="160"/>
                  <a:pt x="147" y="159"/>
                  <a:pt x="146" y="159"/>
                </a:cubicBezTo>
                <a:cubicBezTo>
                  <a:pt x="147" y="157"/>
                  <a:pt x="146" y="157"/>
                  <a:pt x="146" y="156"/>
                </a:cubicBezTo>
                <a:cubicBezTo>
                  <a:pt x="143" y="156"/>
                  <a:pt x="142" y="155"/>
                  <a:pt x="141" y="154"/>
                </a:cubicBezTo>
                <a:cubicBezTo>
                  <a:pt x="140" y="154"/>
                  <a:pt x="140" y="155"/>
                  <a:pt x="140" y="157"/>
                </a:cubicBezTo>
                <a:cubicBezTo>
                  <a:pt x="137" y="156"/>
                  <a:pt x="136" y="154"/>
                  <a:pt x="136" y="152"/>
                </a:cubicBezTo>
                <a:cubicBezTo>
                  <a:pt x="132" y="152"/>
                  <a:pt x="131" y="151"/>
                  <a:pt x="128" y="151"/>
                </a:cubicBezTo>
                <a:cubicBezTo>
                  <a:pt x="127" y="151"/>
                  <a:pt x="127" y="150"/>
                  <a:pt x="126" y="150"/>
                </a:cubicBezTo>
                <a:cubicBezTo>
                  <a:pt x="126" y="150"/>
                  <a:pt x="125" y="150"/>
                  <a:pt x="125" y="149"/>
                </a:cubicBezTo>
                <a:cubicBezTo>
                  <a:pt x="123" y="149"/>
                  <a:pt x="123" y="149"/>
                  <a:pt x="122" y="150"/>
                </a:cubicBezTo>
                <a:cubicBezTo>
                  <a:pt x="118" y="150"/>
                  <a:pt x="118" y="150"/>
                  <a:pt x="118" y="150"/>
                </a:cubicBezTo>
                <a:cubicBezTo>
                  <a:pt x="118" y="148"/>
                  <a:pt x="119" y="147"/>
                  <a:pt x="121" y="148"/>
                </a:cubicBezTo>
                <a:cubicBezTo>
                  <a:pt x="126" y="148"/>
                  <a:pt x="126" y="148"/>
                  <a:pt x="126" y="148"/>
                </a:cubicBezTo>
                <a:cubicBezTo>
                  <a:pt x="126" y="148"/>
                  <a:pt x="126" y="148"/>
                  <a:pt x="126" y="148"/>
                </a:cubicBezTo>
                <a:cubicBezTo>
                  <a:pt x="128" y="148"/>
                  <a:pt x="128" y="148"/>
                  <a:pt x="129" y="146"/>
                </a:cubicBezTo>
                <a:cubicBezTo>
                  <a:pt x="129" y="146"/>
                  <a:pt x="129" y="146"/>
                  <a:pt x="130" y="146"/>
                </a:cubicBezTo>
                <a:cubicBezTo>
                  <a:pt x="130" y="146"/>
                  <a:pt x="130" y="146"/>
                  <a:pt x="130" y="146"/>
                </a:cubicBezTo>
                <a:cubicBezTo>
                  <a:pt x="131" y="145"/>
                  <a:pt x="131" y="145"/>
                  <a:pt x="132" y="145"/>
                </a:cubicBezTo>
                <a:cubicBezTo>
                  <a:pt x="132" y="145"/>
                  <a:pt x="132" y="144"/>
                  <a:pt x="132" y="144"/>
                </a:cubicBezTo>
                <a:cubicBezTo>
                  <a:pt x="132" y="143"/>
                  <a:pt x="135" y="144"/>
                  <a:pt x="134" y="142"/>
                </a:cubicBezTo>
                <a:cubicBezTo>
                  <a:pt x="134" y="142"/>
                  <a:pt x="134" y="142"/>
                  <a:pt x="134" y="142"/>
                </a:cubicBezTo>
                <a:cubicBezTo>
                  <a:pt x="135" y="141"/>
                  <a:pt x="135" y="141"/>
                  <a:pt x="135" y="140"/>
                </a:cubicBezTo>
                <a:cubicBezTo>
                  <a:pt x="136" y="140"/>
                  <a:pt x="136" y="139"/>
                  <a:pt x="137" y="139"/>
                </a:cubicBezTo>
                <a:cubicBezTo>
                  <a:pt x="136" y="138"/>
                  <a:pt x="135" y="137"/>
                  <a:pt x="134" y="139"/>
                </a:cubicBezTo>
                <a:cubicBezTo>
                  <a:pt x="133" y="139"/>
                  <a:pt x="133" y="138"/>
                  <a:pt x="132" y="138"/>
                </a:cubicBezTo>
                <a:cubicBezTo>
                  <a:pt x="132" y="138"/>
                  <a:pt x="132" y="137"/>
                  <a:pt x="132" y="137"/>
                </a:cubicBezTo>
                <a:cubicBezTo>
                  <a:pt x="132" y="137"/>
                  <a:pt x="132" y="137"/>
                  <a:pt x="132" y="136"/>
                </a:cubicBezTo>
                <a:cubicBezTo>
                  <a:pt x="132" y="135"/>
                  <a:pt x="131" y="134"/>
                  <a:pt x="130" y="134"/>
                </a:cubicBezTo>
                <a:cubicBezTo>
                  <a:pt x="130" y="134"/>
                  <a:pt x="130" y="134"/>
                  <a:pt x="130" y="134"/>
                </a:cubicBezTo>
                <a:cubicBezTo>
                  <a:pt x="130" y="134"/>
                  <a:pt x="130" y="134"/>
                  <a:pt x="130" y="134"/>
                </a:cubicBezTo>
                <a:cubicBezTo>
                  <a:pt x="130" y="133"/>
                  <a:pt x="130" y="132"/>
                  <a:pt x="130" y="132"/>
                </a:cubicBezTo>
                <a:cubicBezTo>
                  <a:pt x="128" y="131"/>
                  <a:pt x="128" y="132"/>
                  <a:pt x="127" y="132"/>
                </a:cubicBezTo>
                <a:cubicBezTo>
                  <a:pt x="127" y="132"/>
                  <a:pt x="127" y="132"/>
                  <a:pt x="126" y="132"/>
                </a:cubicBezTo>
                <a:cubicBezTo>
                  <a:pt x="126" y="129"/>
                  <a:pt x="128" y="129"/>
                  <a:pt x="130" y="129"/>
                </a:cubicBezTo>
                <a:cubicBezTo>
                  <a:pt x="130" y="128"/>
                  <a:pt x="130" y="128"/>
                  <a:pt x="130" y="128"/>
                </a:cubicBezTo>
                <a:cubicBezTo>
                  <a:pt x="130" y="127"/>
                  <a:pt x="129" y="127"/>
                  <a:pt x="130" y="127"/>
                </a:cubicBezTo>
                <a:cubicBezTo>
                  <a:pt x="132" y="127"/>
                  <a:pt x="133" y="127"/>
                  <a:pt x="134" y="127"/>
                </a:cubicBezTo>
                <a:cubicBezTo>
                  <a:pt x="134" y="127"/>
                  <a:pt x="134" y="127"/>
                  <a:pt x="134" y="127"/>
                </a:cubicBezTo>
                <a:cubicBezTo>
                  <a:pt x="136" y="127"/>
                  <a:pt x="136" y="128"/>
                  <a:pt x="136" y="128"/>
                </a:cubicBezTo>
                <a:cubicBezTo>
                  <a:pt x="137" y="128"/>
                  <a:pt x="137" y="129"/>
                  <a:pt x="137" y="129"/>
                </a:cubicBezTo>
                <a:cubicBezTo>
                  <a:pt x="137" y="130"/>
                  <a:pt x="139" y="131"/>
                  <a:pt x="139" y="131"/>
                </a:cubicBezTo>
                <a:cubicBezTo>
                  <a:pt x="140" y="131"/>
                  <a:pt x="140" y="132"/>
                  <a:pt x="140" y="132"/>
                </a:cubicBezTo>
                <a:cubicBezTo>
                  <a:pt x="140" y="132"/>
                  <a:pt x="140" y="132"/>
                  <a:pt x="140" y="132"/>
                </a:cubicBezTo>
                <a:cubicBezTo>
                  <a:pt x="140" y="132"/>
                  <a:pt x="139" y="132"/>
                  <a:pt x="139" y="133"/>
                </a:cubicBezTo>
                <a:cubicBezTo>
                  <a:pt x="138" y="133"/>
                  <a:pt x="138" y="134"/>
                  <a:pt x="138" y="135"/>
                </a:cubicBezTo>
                <a:cubicBezTo>
                  <a:pt x="138" y="136"/>
                  <a:pt x="140" y="136"/>
                  <a:pt x="141" y="136"/>
                </a:cubicBezTo>
                <a:cubicBezTo>
                  <a:pt x="141" y="135"/>
                  <a:pt x="141" y="134"/>
                  <a:pt x="142" y="134"/>
                </a:cubicBezTo>
                <a:cubicBezTo>
                  <a:pt x="142" y="134"/>
                  <a:pt x="142" y="134"/>
                  <a:pt x="142" y="134"/>
                </a:cubicBezTo>
                <a:cubicBezTo>
                  <a:pt x="144" y="134"/>
                  <a:pt x="144" y="133"/>
                  <a:pt x="145" y="131"/>
                </a:cubicBezTo>
                <a:cubicBezTo>
                  <a:pt x="145" y="131"/>
                  <a:pt x="145" y="131"/>
                  <a:pt x="145" y="131"/>
                </a:cubicBezTo>
                <a:cubicBezTo>
                  <a:pt x="145" y="130"/>
                  <a:pt x="145" y="130"/>
                  <a:pt x="145" y="129"/>
                </a:cubicBezTo>
                <a:cubicBezTo>
                  <a:pt x="144" y="129"/>
                  <a:pt x="144" y="129"/>
                  <a:pt x="144" y="129"/>
                </a:cubicBezTo>
                <a:cubicBezTo>
                  <a:pt x="144" y="128"/>
                  <a:pt x="144" y="128"/>
                  <a:pt x="144" y="127"/>
                </a:cubicBezTo>
                <a:cubicBezTo>
                  <a:pt x="143" y="127"/>
                  <a:pt x="143" y="127"/>
                  <a:pt x="143" y="127"/>
                </a:cubicBezTo>
                <a:cubicBezTo>
                  <a:pt x="143" y="127"/>
                  <a:pt x="143" y="127"/>
                  <a:pt x="143" y="127"/>
                </a:cubicBezTo>
                <a:cubicBezTo>
                  <a:pt x="143" y="127"/>
                  <a:pt x="143" y="127"/>
                  <a:pt x="143" y="127"/>
                </a:cubicBezTo>
                <a:cubicBezTo>
                  <a:pt x="142" y="126"/>
                  <a:pt x="142" y="125"/>
                  <a:pt x="141" y="123"/>
                </a:cubicBezTo>
                <a:cubicBezTo>
                  <a:pt x="141" y="123"/>
                  <a:pt x="141" y="123"/>
                  <a:pt x="141" y="123"/>
                </a:cubicBezTo>
                <a:cubicBezTo>
                  <a:pt x="140" y="122"/>
                  <a:pt x="139" y="122"/>
                  <a:pt x="139" y="121"/>
                </a:cubicBezTo>
                <a:cubicBezTo>
                  <a:pt x="139" y="121"/>
                  <a:pt x="139" y="121"/>
                  <a:pt x="139" y="121"/>
                </a:cubicBezTo>
                <a:cubicBezTo>
                  <a:pt x="138" y="121"/>
                  <a:pt x="138" y="120"/>
                  <a:pt x="137" y="120"/>
                </a:cubicBezTo>
                <a:cubicBezTo>
                  <a:pt x="137" y="119"/>
                  <a:pt x="136" y="118"/>
                  <a:pt x="134" y="118"/>
                </a:cubicBezTo>
                <a:cubicBezTo>
                  <a:pt x="134" y="117"/>
                  <a:pt x="133" y="117"/>
                  <a:pt x="133" y="116"/>
                </a:cubicBezTo>
                <a:cubicBezTo>
                  <a:pt x="133" y="116"/>
                  <a:pt x="133" y="116"/>
                  <a:pt x="133" y="116"/>
                </a:cubicBezTo>
                <a:cubicBezTo>
                  <a:pt x="133" y="116"/>
                  <a:pt x="132" y="116"/>
                  <a:pt x="132" y="116"/>
                </a:cubicBezTo>
                <a:cubicBezTo>
                  <a:pt x="132" y="115"/>
                  <a:pt x="132" y="115"/>
                  <a:pt x="131" y="115"/>
                </a:cubicBezTo>
                <a:cubicBezTo>
                  <a:pt x="131" y="115"/>
                  <a:pt x="131" y="115"/>
                  <a:pt x="131" y="115"/>
                </a:cubicBezTo>
                <a:cubicBezTo>
                  <a:pt x="130" y="115"/>
                  <a:pt x="130" y="114"/>
                  <a:pt x="130" y="114"/>
                </a:cubicBezTo>
                <a:cubicBezTo>
                  <a:pt x="129" y="114"/>
                  <a:pt x="129" y="114"/>
                  <a:pt x="129" y="114"/>
                </a:cubicBezTo>
                <a:cubicBezTo>
                  <a:pt x="128" y="113"/>
                  <a:pt x="128" y="113"/>
                  <a:pt x="127" y="111"/>
                </a:cubicBezTo>
                <a:cubicBezTo>
                  <a:pt x="127" y="111"/>
                  <a:pt x="127" y="111"/>
                  <a:pt x="127" y="111"/>
                </a:cubicBezTo>
                <a:cubicBezTo>
                  <a:pt x="127" y="111"/>
                  <a:pt x="127" y="111"/>
                  <a:pt x="127" y="111"/>
                </a:cubicBezTo>
                <a:cubicBezTo>
                  <a:pt x="126" y="111"/>
                  <a:pt x="126" y="111"/>
                  <a:pt x="126" y="110"/>
                </a:cubicBezTo>
                <a:cubicBezTo>
                  <a:pt x="125" y="105"/>
                  <a:pt x="121" y="104"/>
                  <a:pt x="120" y="100"/>
                </a:cubicBezTo>
                <a:cubicBezTo>
                  <a:pt x="120" y="100"/>
                  <a:pt x="119" y="100"/>
                  <a:pt x="118" y="100"/>
                </a:cubicBezTo>
                <a:cubicBezTo>
                  <a:pt x="119" y="99"/>
                  <a:pt x="118" y="99"/>
                  <a:pt x="118" y="99"/>
                </a:cubicBezTo>
                <a:cubicBezTo>
                  <a:pt x="117" y="98"/>
                  <a:pt x="117" y="97"/>
                  <a:pt x="116" y="97"/>
                </a:cubicBezTo>
                <a:cubicBezTo>
                  <a:pt x="115" y="96"/>
                  <a:pt x="115" y="96"/>
                  <a:pt x="114" y="95"/>
                </a:cubicBezTo>
                <a:cubicBezTo>
                  <a:pt x="114" y="95"/>
                  <a:pt x="114" y="94"/>
                  <a:pt x="114" y="93"/>
                </a:cubicBezTo>
                <a:cubicBezTo>
                  <a:pt x="113" y="93"/>
                  <a:pt x="113" y="91"/>
                  <a:pt x="111" y="91"/>
                </a:cubicBezTo>
                <a:cubicBezTo>
                  <a:pt x="112" y="88"/>
                  <a:pt x="113" y="85"/>
                  <a:pt x="114" y="81"/>
                </a:cubicBezTo>
                <a:cubicBezTo>
                  <a:pt x="113" y="79"/>
                  <a:pt x="112" y="78"/>
                  <a:pt x="112" y="75"/>
                </a:cubicBezTo>
                <a:cubicBezTo>
                  <a:pt x="113" y="75"/>
                  <a:pt x="114" y="74"/>
                  <a:pt x="114" y="73"/>
                </a:cubicBezTo>
                <a:cubicBezTo>
                  <a:pt x="115" y="73"/>
                  <a:pt x="116" y="72"/>
                  <a:pt x="118" y="72"/>
                </a:cubicBezTo>
                <a:cubicBezTo>
                  <a:pt x="120" y="72"/>
                  <a:pt x="118" y="68"/>
                  <a:pt x="120" y="69"/>
                </a:cubicBezTo>
                <a:cubicBezTo>
                  <a:pt x="121" y="69"/>
                  <a:pt x="121" y="70"/>
                  <a:pt x="121" y="70"/>
                </a:cubicBezTo>
                <a:cubicBezTo>
                  <a:pt x="122" y="70"/>
                  <a:pt x="122" y="71"/>
                  <a:pt x="121" y="71"/>
                </a:cubicBezTo>
                <a:cubicBezTo>
                  <a:pt x="121" y="71"/>
                  <a:pt x="121" y="72"/>
                  <a:pt x="120" y="72"/>
                </a:cubicBezTo>
                <a:cubicBezTo>
                  <a:pt x="120" y="72"/>
                  <a:pt x="119" y="72"/>
                  <a:pt x="119" y="72"/>
                </a:cubicBezTo>
                <a:cubicBezTo>
                  <a:pt x="119" y="73"/>
                  <a:pt x="118" y="74"/>
                  <a:pt x="118" y="75"/>
                </a:cubicBezTo>
                <a:cubicBezTo>
                  <a:pt x="118" y="75"/>
                  <a:pt x="118" y="75"/>
                  <a:pt x="118" y="75"/>
                </a:cubicBezTo>
                <a:cubicBezTo>
                  <a:pt x="118" y="76"/>
                  <a:pt x="118" y="76"/>
                  <a:pt x="118" y="76"/>
                </a:cubicBezTo>
                <a:cubicBezTo>
                  <a:pt x="120" y="76"/>
                  <a:pt x="120" y="77"/>
                  <a:pt x="120" y="78"/>
                </a:cubicBezTo>
                <a:cubicBezTo>
                  <a:pt x="120" y="78"/>
                  <a:pt x="120" y="79"/>
                  <a:pt x="120" y="79"/>
                </a:cubicBezTo>
                <a:cubicBezTo>
                  <a:pt x="120" y="79"/>
                  <a:pt x="120" y="79"/>
                  <a:pt x="120" y="79"/>
                </a:cubicBezTo>
                <a:cubicBezTo>
                  <a:pt x="122" y="78"/>
                  <a:pt x="123" y="81"/>
                  <a:pt x="124" y="79"/>
                </a:cubicBezTo>
                <a:cubicBezTo>
                  <a:pt x="125" y="80"/>
                  <a:pt x="125" y="81"/>
                  <a:pt x="127" y="81"/>
                </a:cubicBezTo>
                <a:cubicBezTo>
                  <a:pt x="127" y="81"/>
                  <a:pt x="128" y="82"/>
                  <a:pt x="127" y="82"/>
                </a:cubicBezTo>
                <a:cubicBezTo>
                  <a:pt x="129" y="82"/>
                  <a:pt x="130" y="83"/>
                  <a:pt x="132" y="84"/>
                </a:cubicBezTo>
                <a:cubicBezTo>
                  <a:pt x="132" y="84"/>
                  <a:pt x="132" y="84"/>
                  <a:pt x="132" y="84"/>
                </a:cubicBezTo>
                <a:cubicBezTo>
                  <a:pt x="133" y="85"/>
                  <a:pt x="136" y="85"/>
                  <a:pt x="137" y="86"/>
                </a:cubicBezTo>
                <a:cubicBezTo>
                  <a:pt x="136" y="86"/>
                  <a:pt x="137" y="87"/>
                  <a:pt x="137" y="87"/>
                </a:cubicBezTo>
                <a:cubicBezTo>
                  <a:pt x="137" y="87"/>
                  <a:pt x="137" y="87"/>
                  <a:pt x="137" y="87"/>
                </a:cubicBezTo>
                <a:cubicBezTo>
                  <a:pt x="137" y="88"/>
                  <a:pt x="136" y="90"/>
                  <a:pt x="137" y="91"/>
                </a:cubicBezTo>
                <a:cubicBezTo>
                  <a:pt x="137" y="91"/>
                  <a:pt x="137" y="91"/>
                  <a:pt x="137" y="91"/>
                </a:cubicBezTo>
                <a:cubicBezTo>
                  <a:pt x="137" y="92"/>
                  <a:pt x="137" y="93"/>
                  <a:pt x="138" y="93"/>
                </a:cubicBezTo>
                <a:cubicBezTo>
                  <a:pt x="139" y="93"/>
                  <a:pt x="139" y="93"/>
                  <a:pt x="139" y="93"/>
                </a:cubicBezTo>
                <a:cubicBezTo>
                  <a:pt x="139" y="94"/>
                  <a:pt x="139" y="94"/>
                  <a:pt x="139" y="95"/>
                </a:cubicBezTo>
                <a:cubicBezTo>
                  <a:pt x="139" y="95"/>
                  <a:pt x="139" y="95"/>
                  <a:pt x="139" y="95"/>
                </a:cubicBezTo>
                <a:cubicBezTo>
                  <a:pt x="139" y="96"/>
                  <a:pt x="139" y="96"/>
                  <a:pt x="139" y="97"/>
                </a:cubicBezTo>
                <a:cubicBezTo>
                  <a:pt x="141" y="97"/>
                  <a:pt x="141" y="95"/>
                  <a:pt x="143" y="96"/>
                </a:cubicBezTo>
                <a:cubicBezTo>
                  <a:pt x="143" y="97"/>
                  <a:pt x="145" y="96"/>
                  <a:pt x="145" y="97"/>
                </a:cubicBezTo>
                <a:cubicBezTo>
                  <a:pt x="146" y="97"/>
                  <a:pt x="146" y="98"/>
                  <a:pt x="148" y="98"/>
                </a:cubicBezTo>
                <a:cubicBezTo>
                  <a:pt x="151" y="98"/>
                  <a:pt x="152" y="96"/>
                  <a:pt x="154" y="95"/>
                </a:cubicBezTo>
                <a:cubicBezTo>
                  <a:pt x="154" y="94"/>
                  <a:pt x="152" y="94"/>
                  <a:pt x="151" y="93"/>
                </a:cubicBezTo>
                <a:cubicBezTo>
                  <a:pt x="151" y="93"/>
                  <a:pt x="151" y="93"/>
                  <a:pt x="150" y="93"/>
                </a:cubicBezTo>
                <a:cubicBezTo>
                  <a:pt x="150" y="93"/>
                  <a:pt x="149" y="92"/>
                  <a:pt x="149" y="91"/>
                </a:cubicBezTo>
                <a:cubicBezTo>
                  <a:pt x="148" y="91"/>
                  <a:pt x="147" y="91"/>
                  <a:pt x="146" y="91"/>
                </a:cubicBezTo>
                <a:cubicBezTo>
                  <a:pt x="146" y="91"/>
                  <a:pt x="146" y="91"/>
                  <a:pt x="146" y="91"/>
                </a:cubicBezTo>
                <a:cubicBezTo>
                  <a:pt x="146" y="91"/>
                  <a:pt x="145" y="90"/>
                  <a:pt x="145" y="90"/>
                </a:cubicBezTo>
                <a:cubicBezTo>
                  <a:pt x="145" y="90"/>
                  <a:pt x="145" y="90"/>
                  <a:pt x="145" y="90"/>
                </a:cubicBezTo>
                <a:cubicBezTo>
                  <a:pt x="144" y="90"/>
                  <a:pt x="143" y="89"/>
                  <a:pt x="142" y="88"/>
                </a:cubicBezTo>
                <a:cubicBezTo>
                  <a:pt x="142" y="87"/>
                  <a:pt x="142" y="87"/>
                  <a:pt x="142" y="87"/>
                </a:cubicBezTo>
                <a:cubicBezTo>
                  <a:pt x="141" y="87"/>
                  <a:pt x="141" y="86"/>
                  <a:pt x="141" y="86"/>
                </a:cubicBezTo>
                <a:cubicBezTo>
                  <a:pt x="141" y="85"/>
                  <a:pt x="139" y="85"/>
                  <a:pt x="139" y="84"/>
                </a:cubicBezTo>
                <a:cubicBezTo>
                  <a:pt x="138" y="82"/>
                  <a:pt x="140" y="83"/>
                  <a:pt x="141" y="83"/>
                </a:cubicBezTo>
                <a:cubicBezTo>
                  <a:pt x="143" y="83"/>
                  <a:pt x="144" y="85"/>
                  <a:pt x="144" y="83"/>
                </a:cubicBezTo>
                <a:cubicBezTo>
                  <a:pt x="145" y="83"/>
                  <a:pt x="145" y="84"/>
                  <a:pt x="146" y="84"/>
                </a:cubicBezTo>
                <a:cubicBezTo>
                  <a:pt x="146" y="84"/>
                  <a:pt x="146" y="84"/>
                  <a:pt x="146" y="84"/>
                </a:cubicBezTo>
                <a:cubicBezTo>
                  <a:pt x="147" y="84"/>
                  <a:pt x="147" y="84"/>
                  <a:pt x="147" y="85"/>
                </a:cubicBezTo>
                <a:cubicBezTo>
                  <a:pt x="148" y="85"/>
                  <a:pt x="148" y="85"/>
                  <a:pt x="148" y="85"/>
                </a:cubicBezTo>
                <a:cubicBezTo>
                  <a:pt x="149" y="85"/>
                  <a:pt x="151" y="85"/>
                  <a:pt x="151" y="86"/>
                </a:cubicBezTo>
                <a:cubicBezTo>
                  <a:pt x="151" y="86"/>
                  <a:pt x="151" y="86"/>
                  <a:pt x="151" y="86"/>
                </a:cubicBezTo>
                <a:cubicBezTo>
                  <a:pt x="151" y="88"/>
                  <a:pt x="154" y="87"/>
                  <a:pt x="153" y="90"/>
                </a:cubicBezTo>
                <a:cubicBezTo>
                  <a:pt x="155" y="90"/>
                  <a:pt x="155" y="93"/>
                  <a:pt x="158" y="93"/>
                </a:cubicBezTo>
                <a:cubicBezTo>
                  <a:pt x="158" y="96"/>
                  <a:pt x="160" y="96"/>
                  <a:pt x="161" y="97"/>
                </a:cubicBezTo>
                <a:cubicBezTo>
                  <a:pt x="162" y="97"/>
                  <a:pt x="161" y="95"/>
                  <a:pt x="162" y="94"/>
                </a:cubicBezTo>
                <a:cubicBezTo>
                  <a:pt x="162" y="94"/>
                  <a:pt x="162" y="93"/>
                  <a:pt x="162" y="93"/>
                </a:cubicBezTo>
                <a:cubicBezTo>
                  <a:pt x="162" y="92"/>
                  <a:pt x="162" y="92"/>
                  <a:pt x="163" y="92"/>
                </a:cubicBezTo>
                <a:cubicBezTo>
                  <a:pt x="163" y="91"/>
                  <a:pt x="163" y="91"/>
                  <a:pt x="164" y="91"/>
                </a:cubicBezTo>
                <a:cubicBezTo>
                  <a:pt x="163" y="89"/>
                  <a:pt x="162" y="88"/>
                  <a:pt x="162" y="86"/>
                </a:cubicBezTo>
                <a:cubicBezTo>
                  <a:pt x="161" y="86"/>
                  <a:pt x="161" y="86"/>
                  <a:pt x="161" y="86"/>
                </a:cubicBezTo>
                <a:cubicBezTo>
                  <a:pt x="161" y="85"/>
                  <a:pt x="161" y="85"/>
                  <a:pt x="161" y="85"/>
                </a:cubicBezTo>
                <a:cubicBezTo>
                  <a:pt x="158" y="85"/>
                  <a:pt x="157" y="83"/>
                  <a:pt x="154" y="84"/>
                </a:cubicBezTo>
                <a:cubicBezTo>
                  <a:pt x="153" y="83"/>
                  <a:pt x="153" y="83"/>
                  <a:pt x="153" y="83"/>
                </a:cubicBezTo>
                <a:cubicBezTo>
                  <a:pt x="152" y="82"/>
                  <a:pt x="152" y="80"/>
                  <a:pt x="150" y="80"/>
                </a:cubicBezTo>
                <a:cubicBezTo>
                  <a:pt x="151" y="79"/>
                  <a:pt x="151" y="79"/>
                  <a:pt x="152" y="79"/>
                </a:cubicBezTo>
                <a:cubicBezTo>
                  <a:pt x="152" y="78"/>
                  <a:pt x="152" y="78"/>
                  <a:pt x="153" y="78"/>
                </a:cubicBezTo>
                <a:cubicBezTo>
                  <a:pt x="154" y="78"/>
                  <a:pt x="154" y="79"/>
                  <a:pt x="155" y="79"/>
                </a:cubicBezTo>
                <a:cubicBezTo>
                  <a:pt x="155" y="78"/>
                  <a:pt x="155" y="77"/>
                  <a:pt x="155" y="77"/>
                </a:cubicBezTo>
                <a:cubicBezTo>
                  <a:pt x="157" y="77"/>
                  <a:pt x="158" y="77"/>
                  <a:pt x="159" y="77"/>
                </a:cubicBezTo>
                <a:cubicBezTo>
                  <a:pt x="159" y="77"/>
                  <a:pt x="159" y="78"/>
                  <a:pt x="159" y="78"/>
                </a:cubicBezTo>
                <a:cubicBezTo>
                  <a:pt x="161" y="78"/>
                  <a:pt x="163" y="78"/>
                  <a:pt x="164" y="78"/>
                </a:cubicBezTo>
                <a:cubicBezTo>
                  <a:pt x="164" y="79"/>
                  <a:pt x="165" y="78"/>
                  <a:pt x="166" y="79"/>
                </a:cubicBezTo>
                <a:cubicBezTo>
                  <a:pt x="166" y="79"/>
                  <a:pt x="166" y="79"/>
                  <a:pt x="166" y="80"/>
                </a:cubicBezTo>
                <a:cubicBezTo>
                  <a:pt x="166" y="80"/>
                  <a:pt x="166" y="80"/>
                  <a:pt x="166" y="80"/>
                </a:cubicBezTo>
                <a:cubicBezTo>
                  <a:pt x="168" y="81"/>
                  <a:pt x="168" y="82"/>
                  <a:pt x="169" y="83"/>
                </a:cubicBezTo>
                <a:cubicBezTo>
                  <a:pt x="169" y="83"/>
                  <a:pt x="169" y="83"/>
                  <a:pt x="169" y="84"/>
                </a:cubicBezTo>
                <a:cubicBezTo>
                  <a:pt x="169" y="84"/>
                  <a:pt x="170" y="85"/>
                  <a:pt x="170" y="86"/>
                </a:cubicBezTo>
                <a:cubicBezTo>
                  <a:pt x="171" y="86"/>
                  <a:pt x="172" y="85"/>
                  <a:pt x="172" y="84"/>
                </a:cubicBezTo>
                <a:cubicBezTo>
                  <a:pt x="172" y="84"/>
                  <a:pt x="173" y="84"/>
                  <a:pt x="173" y="84"/>
                </a:cubicBezTo>
                <a:cubicBezTo>
                  <a:pt x="174" y="83"/>
                  <a:pt x="174" y="83"/>
                  <a:pt x="174" y="81"/>
                </a:cubicBezTo>
                <a:cubicBezTo>
                  <a:pt x="174" y="81"/>
                  <a:pt x="174" y="81"/>
                  <a:pt x="174" y="81"/>
                </a:cubicBezTo>
                <a:cubicBezTo>
                  <a:pt x="174" y="81"/>
                  <a:pt x="173" y="80"/>
                  <a:pt x="173" y="80"/>
                </a:cubicBezTo>
                <a:cubicBezTo>
                  <a:pt x="173" y="80"/>
                  <a:pt x="173" y="80"/>
                  <a:pt x="173" y="79"/>
                </a:cubicBezTo>
                <a:cubicBezTo>
                  <a:pt x="173" y="79"/>
                  <a:pt x="173" y="78"/>
                  <a:pt x="173" y="78"/>
                </a:cubicBezTo>
                <a:cubicBezTo>
                  <a:pt x="171" y="77"/>
                  <a:pt x="170" y="77"/>
                  <a:pt x="168" y="77"/>
                </a:cubicBezTo>
                <a:cubicBezTo>
                  <a:pt x="168" y="77"/>
                  <a:pt x="168" y="76"/>
                  <a:pt x="168" y="76"/>
                </a:cubicBezTo>
                <a:cubicBezTo>
                  <a:pt x="167" y="76"/>
                  <a:pt x="167" y="74"/>
                  <a:pt x="166" y="74"/>
                </a:cubicBezTo>
                <a:cubicBezTo>
                  <a:pt x="165" y="74"/>
                  <a:pt x="165" y="74"/>
                  <a:pt x="165" y="74"/>
                </a:cubicBezTo>
                <a:cubicBezTo>
                  <a:pt x="163" y="74"/>
                  <a:pt x="162" y="74"/>
                  <a:pt x="162" y="72"/>
                </a:cubicBezTo>
                <a:cubicBezTo>
                  <a:pt x="161" y="72"/>
                  <a:pt x="161" y="72"/>
                  <a:pt x="161" y="72"/>
                </a:cubicBezTo>
                <a:cubicBezTo>
                  <a:pt x="161" y="72"/>
                  <a:pt x="161" y="72"/>
                  <a:pt x="161" y="72"/>
                </a:cubicBezTo>
                <a:cubicBezTo>
                  <a:pt x="161" y="71"/>
                  <a:pt x="159" y="71"/>
                  <a:pt x="159" y="70"/>
                </a:cubicBezTo>
                <a:cubicBezTo>
                  <a:pt x="159" y="70"/>
                  <a:pt x="159" y="70"/>
                  <a:pt x="158" y="70"/>
                </a:cubicBezTo>
                <a:cubicBezTo>
                  <a:pt x="158" y="70"/>
                  <a:pt x="158" y="70"/>
                  <a:pt x="158" y="70"/>
                </a:cubicBezTo>
                <a:cubicBezTo>
                  <a:pt x="158" y="72"/>
                  <a:pt x="159" y="72"/>
                  <a:pt x="159" y="74"/>
                </a:cubicBezTo>
                <a:cubicBezTo>
                  <a:pt x="158" y="74"/>
                  <a:pt x="157" y="74"/>
                  <a:pt x="157" y="74"/>
                </a:cubicBezTo>
                <a:cubicBezTo>
                  <a:pt x="156" y="74"/>
                  <a:pt x="156" y="73"/>
                  <a:pt x="156" y="72"/>
                </a:cubicBezTo>
                <a:cubicBezTo>
                  <a:pt x="156" y="72"/>
                  <a:pt x="155" y="73"/>
                  <a:pt x="155" y="72"/>
                </a:cubicBezTo>
                <a:cubicBezTo>
                  <a:pt x="155" y="72"/>
                  <a:pt x="155" y="71"/>
                  <a:pt x="154" y="72"/>
                </a:cubicBezTo>
                <a:cubicBezTo>
                  <a:pt x="154" y="70"/>
                  <a:pt x="154" y="69"/>
                  <a:pt x="155" y="68"/>
                </a:cubicBezTo>
                <a:cubicBezTo>
                  <a:pt x="154" y="67"/>
                  <a:pt x="154" y="66"/>
                  <a:pt x="153" y="65"/>
                </a:cubicBezTo>
                <a:cubicBezTo>
                  <a:pt x="152" y="63"/>
                  <a:pt x="149" y="64"/>
                  <a:pt x="148" y="61"/>
                </a:cubicBezTo>
                <a:cubicBezTo>
                  <a:pt x="148" y="59"/>
                  <a:pt x="150" y="59"/>
                  <a:pt x="152" y="58"/>
                </a:cubicBezTo>
                <a:cubicBezTo>
                  <a:pt x="154" y="58"/>
                  <a:pt x="155" y="59"/>
                  <a:pt x="156" y="60"/>
                </a:cubicBezTo>
                <a:cubicBezTo>
                  <a:pt x="157" y="59"/>
                  <a:pt x="158" y="59"/>
                  <a:pt x="159" y="60"/>
                </a:cubicBezTo>
                <a:cubicBezTo>
                  <a:pt x="159" y="59"/>
                  <a:pt x="160" y="59"/>
                  <a:pt x="160" y="59"/>
                </a:cubicBezTo>
                <a:cubicBezTo>
                  <a:pt x="160" y="59"/>
                  <a:pt x="161" y="59"/>
                  <a:pt x="161" y="59"/>
                </a:cubicBezTo>
                <a:cubicBezTo>
                  <a:pt x="161" y="59"/>
                  <a:pt x="161" y="58"/>
                  <a:pt x="161" y="58"/>
                </a:cubicBezTo>
                <a:cubicBezTo>
                  <a:pt x="161" y="58"/>
                  <a:pt x="162" y="58"/>
                  <a:pt x="163" y="58"/>
                </a:cubicBezTo>
                <a:cubicBezTo>
                  <a:pt x="164" y="58"/>
                  <a:pt x="164" y="56"/>
                  <a:pt x="164" y="56"/>
                </a:cubicBezTo>
                <a:cubicBezTo>
                  <a:pt x="166" y="56"/>
                  <a:pt x="166" y="54"/>
                  <a:pt x="168" y="54"/>
                </a:cubicBezTo>
                <a:cubicBezTo>
                  <a:pt x="167" y="51"/>
                  <a:pt x="168" y="50"/>
                  <a:pt x="169" y="49"/>
                </a:cubicBezTo>
                <a:cubicBezTo>
                  <a:pt x="170" y="49"/>
                  <a:pt x="171" y="48"/>
                  <a:pt x="172" y="47"/>
                </a:cubicBezTo>
                <a:cubicBezTo>
                  <a:pt x="176" y="47"/>
                  <a:pt x="177" y="49"/>
                  <a:pt x="180" y="50"/>
                </a:cubicBezTo>
                <a:cubicBezTo>
                  <a:pt x="181" y="50"/>
                  <a:pt x="181" y="50"/>
                  <a:pt x="181" y="50"/>
                </a:cubicBezTo>
                <a:cubicBezTo>
                  <a:pt x="181" y="50"/>
                  <a:pt x="181" y="49"/>
                  <a:pt x="182" y="49"/>
                </a:cubicBezTo>
                <a:cubicBezTo>
                  <a:pt x="184" y="49"/>
                  <a:pt x="184" y="48"/>
                  <a:pt x="185" y="47"/>
                </a:cubicBezTo>
                <a:cubicBezTo>
                  <a:pt x="186" y="47"/>
                  <a:pt x="187" y="46"/>
                  <a:pt x="187" y="45"/>
                </a:cubicBezTo>
                <a:cubicBezTo>
                  <a:pt x="189" y="45"/>
                  <a:pt x="189" y="45"/>
                  <a:pt x="189" y="45"/>
                </a:cubicBezTo>
                <a:cubicBezTo>
                  <a:pt x="189" y="43"/>
                  <a:pt x="191" y="43"/>
                  <a:pt x="191" y="41"/>
                </a:cubicBezTo>
                <a:cubicBezTo>
                  <a:pt x="191" y="41"/>
                  <a:pt x="192" y="40"/>
                  <a:pt x="192" y="40"/>
                </a:cubicBezTo>
                <a:cubicBezTo>
                  <a:pt x="192" y="39"/>
                  <a:pt x="192" y="38"/>
                  <a:pt x="193" y="38"/>
                </a:cubicBezTo>
                <a:cubicBezTo>
                  <a:pt x="196" y="38"/>
                  <a:pt x="193" y="39"/>
                  <a:pt x="194" y="41"/>
                </a:cubicBezTo>
                <a:cubicBezTo>
                  <a:pt x="194" y="41"/>
                  <a:pt x="194" y="42"/>
                  <a:pt x="194" y="42"/>
                </a:cubicBezTo>
                <a:cubicBezTo>
                  <a:pt x="194" y="43"/>
                  <a:pt x="195" y="43"/>
                  <a:pt x="195" y="44"/>
                </a:cubicBezTo>
                <a:cubicBezTo>
                  <a:pt x="196" y="44"/>
                  <a:pt x="197" y="42"/>
                  <a:pt x="199" y="42"/>
                </a:cubicBezTo>
                <a:cubicBezTo>
                  <a:pt x="198" y="43"/>
                  <a:pt x="200" y="44"/>
                  <a:pt x="200" y="44"/>
                </a:cubicBezTo>
                <a:cubicBezTo>
                  <a:pt x="200" y="44"/>
                  <a:pt x="200" y="43"/>
                  <a:pt x="200" y="43"/>
                </a:cubicBezTo>
                <a:cubicBezTo>
                  <a:pt x="201" y="43"/>
                  <a:pt x="203" y="43"/>
                  <a:pt x="205" y="43"/>
                </a:cubicBezTo>
                <a:cubicBezTo>
                  <a:pt x="207" y="43"/>
                  <a:pt x="209" y="42"/>
                  <a:pt x="211" y="42"/>
                </a:cubicBezTo>
                <a:cubicBezTo>
                  <a:pt x="213" y="43"/>
                  <a:pt x="214" y="44"/>
                  <a:pt x="216" y="44"/>
                </a:cubicBezTo>
                <a:cubicBezTo>
                  <a:pt x="219" y="44"/>
                  <a:pt x="220" y="43"/>
                  <a:pt x="223" y="43"/>
                </a:cubicBezTo>
                <a:cubicBezTo>
                  <a:pt x="223" y="44"/>
                  <a:pt x="224" y="44"/>
                  <a:pt x="224" y="45"/>
                </a:cubicBezTo>
                <a:cubicBezTo>
                  <a:pt x="225" y="45"/>
                  <a:pt x="225" y="45"/>
                  <a:pt x="225" y="46"/>
                </a:cubicBezTo>
                <a:cubicBezTo>
                  <a:pt x="225" y="47"/>
                  <a:pt x="225" y="47"/>
                  <a:pt x="226" y="47"/>
                </a:cubicBezTo>
                <a:cubicBezTo>
                  <a:pt x="227" y="47"/>
                  <a:pt x="227" y="46"/>
                  <a:pt x="228" y="45"/>
                </a:cubicBezTo>
                <a:cubicBezTo>
                  <a:pt x="228" y="45"/>
                  <a:pt x="228" y="43"/>
                  <a:pt x="229" y="43"/>
                </a:cubicBezTo>
                <a:cubicBezTo>
                  <a:pt x="230" y="42"/>
                  <a:pt x="230" y="39"/>
                  <a:pt x="232" y="39"/>
                </a:cubicBezTo>
                <a:cubicBezTo>
                  <a:pt x="232" y="38"/>
                  <a:pt x="234" y="38"/>
                  <a:pt x="234" y="36"/>
                </a:cubicBezTo>
                <a:cubicBezTo>
                  <a:pt x="234" y="31"/>
                  <a:pt x="234" y="31"/>
                  <a:pt x="234" y="31"/>
                </a:cubicBezTo>
                <a:cubicBezTo>
                  <a:pt x="235" y="30"/>
                  <a:pt x="234" y="30"/>
                  <a:pt x="234" y="30"/>
                </a:cubicBezTo>
                <a:cubicBezTo>
                  <a:pt x="234" y="27"/>
                  <a:pt x="232" y="26"/>
                  <a:pt x="233" y="22"/>
                </a:cubicBezTo>
                <a:cubicBezTo>
                  <a:pt x="233" y="22"/>
                  <a:pt x="233" y="21"/>
                  <a:pt x="234" y="21"/>
                </a:cubicBezTo>
                <a:cubicBezTo>
                  <a:pt x="234" y="20"/>
                  <a:pt x="235" y="20"/>
                  <a:pt x="235" y="19"/>
                </a:cubicBezTo>
                <a:cubicBezTo>
                  <a:pt x="238" y="20"/>
                  <a:pt x="237" y="18"/>
                  <a:pt x="239" y="18"/>
                </a:cubicBezTo>
                <a:cubicBezTo>
                  <a:pt x="238" y="16"/>
                  <a:pt x="240" y="17"/>
                  <a:pt x="240" y="15"/>
                </a:cubicBezTo>
                <a:cubicBezTo>
                  <a:pt x="241" y="15"/>
                  <a:pt x="241" y="15"/>
                  <a:pt x="241" y="15"/>
                </a:cubicBezTo>
                <a:cubicBezTo>
                  <a:pt x="241" y="14"/>
                  <a:pt x="241" y="14"/>
                  <a:pt x="241" y="13"/>
                </a:cubicBezTo>
                <a:cubicBezTo>
                  <a:pt x="241" y="12"/>
                  <a:pt x="240" y="11"/>
                  <a:pt x="240" y="11"/>
                </a:cubicBezTo>
                <a:cubicBezTo>
                  <a:pt x="240" y="9"/>
                  <a:pt x="239" y="8"/>
                  <a:pt x="238" y="8"/>
                </a:cubicBezTo>
                <a:cubicBezTo>
                  <a:pt x="239" y="8"/>
                  <a:pt x="239" y="7"/>
                  <a:pt x="239" y="6"/>
                </a:cubicBezTo>
                <a:cubicBezTo>
                  <a:pt x="238" y="6"/>
                  <a:pt x="238" y="5"/>
                  <a:pt x="238" y="5"/>
                </a:cubicBezTo>
                <a:cubicBezTo>
                  <a:pt x="237" y="4"/>
                  <a:pt x="237" y="2"/>
                  <a:pt x="236" y="1"/>
                </a:cubicBezTo>
                <a:cubicBezTo>
                  <a:pt x="236" y="1"/>
                  <a:pt x="236" y="1"/>
                  <a:pt x="235" y="1"/>
                </a:cubicBezTo>
                <a:cubicBezTo>
                  <a:pt x="233" y="1"/>
                  <a:pt x="233" y="1"/>
                  <a:pt x="233" y="1"/>
                </a:cubicBezTo>
                <a:cubicBezTo>
                  <a:pt x="231" y="1"/>
                  <a:pt x="228" y="0"/>
                  <a:pt x="226" y="1"/>
                </a:cubicBezTo>
                <a:cubicBezTo>
                  <a:pt x="225" y="1"/>
                  <a:pt x="224" y="2"/>
                  <a:pt x="224" y="2"/>
                </a:cubicBezTo>
                <a:cubicBezTo>
                  <a:pt x="223" y="3"/>
                  <a:pt x="224" y="3"/>
                  <a:pt x="224" y="5"/>
                </a:cubicBezTo>
                <a:cubicBezTo>
                  <a:pt x="224" y="5"/>
                  <a:pt x="225" y="5"/>
                  <a:pt x="225" y="5"/>
                </a:cubicBezTo>
                <a:cubicBezTo>
                  <a:pt x="225" y="7"/>
                  <a:pt x="225" y="7"/>
                  <a:pt x="225" y="7"/>
                </a:cubicBezTo>
                <a:cubicBezTo>
                  <a:pt x="225" y="7"/>
                  <a:pt x="225" y="8"/>
                  <a:pt x="226" y="8"/>
                </a:cubicBezTo>
                <a:cubicBezTo>
                  <a:pt x="226" y="8"/>
                  <a:pt x="226" y="8"/>
                  <a:pt x="226" y="8"/>
                </a:cubicBezTo>
                <a:cubicBezTo>
                  <a:pt x="226" y="9"/>
                  <a:pt x="226" y="9"/>
                  <a:pt x="226" y="9"/>
                </a:cubicBezTo>
                <a:cubicBezTo>
                  <a:pt x="227" y="10"/>
                  <a:pt x="228" y="10"/>
                  <a:pt x="228" y="11"/>
                </a:cubicBezTo>
                <a:cubicBezTo>
                  <a:pt x="228" y="17"/>
                  <a:pt x="228" y="17"/>
                  <a:pt x="228" y="17"/>
                </a:cubicBezTo>
                <a:cubicBezTo>
                  <a:pt x="227" y="17"/>
                  <a:pt x="227" y="18"/>
                  <a:pt x="226" y="18"/>
                </a:cubicBezTo>
                <a:cubicBezTo>
                  <a:pt x="225" y="18"/>
                  <a:pt x="225" y="18"/>
                  <a:pt x="225" y="19"/>
                </a:cubicBezTo>
                <a:cubicBezTo>
                  <a:pt x="225" y="19"/>
                  <a:pt x="225" y="19"/>
                  <a:pt x="224" y="19"/>
                </a:cubicBezTo>
                <a:cubicBezTo>
                  <a:pt x="224" y="19"/>
                  <a:pt x="224" y="19"/>
                  <a:pt x="224" y="19"/>
                </a:cubicBezTo>
                <a:cubicBezTo>
                  <a:pt x="222" y="20"/>
                  <a:pt x="221" y="21"/>
                  <a:pt x="219" y="21"/>
                </a:cubicBezTo>
                <a:cubicBezTo>
                  <a:pt x="219" y="20"/>
                  <a:pt x="218" y="20"/>
                  <a:pt x="217" y="20"/>
                </a:cubicBezTo>
                <a:cubicBezTo>
                  <a:pt x="217" y="20"/>
                  <a:pt x="218" y="19"/>
                  <a:pt x="217" y="19"/>
                </a:cubicBezTo>
                <a:cubicBezTo>
                  <a:pt x="216" y="19"/>
                  <a:pt x="216" y="19"/>
                  <a:pt x="216" y="19"/>
                </a:cubicBezTo>
                <a:cubicBezTo>
                  <a:pt x="216" y="18"/>
                  <a:pt x="216" y="18"/>
                  <a:pt x="216" y="18"/>
                </a:cubicBezTo>
                <a:cubicBezTo>
                  <a:pt x="215" y="18"/>
                  <a:pt x="215" y="18"/>
                  <a:pt x="215" y="18"/>
                </a:cubicBezTo>
                <a:cubicBezTo>
                  <a:pt x="215" y="18"/>
                  <a:pt x="215" y="19"/>
                  <a:pt x="215" y="19"/>
                </a:cubicBezTo>
                <a:cubicBezTo>
                  <a:pt x="214" y="19"/>
                  <a:pt x="214" y="20"/>
                  <a:pt x="214" y="20"/>
                </a:cubicBezTo>
                <a:cubicBezTo>
                  <a:pt x="213" y="20"/>
                  <a:pt x="213" y="20"/>
                  <a:pt x="213" y="20"/>
                </a:cubicBezTo>
                <a:cubicBezTo>
                  <a:pt x="213" y="20"/>
                  <a:pt x="213" y="20"/>
                  <a:pt x="212" y="20"/>
                </a:cubicBezTo>
                <a:cubicBezTo>
                  <a:pt x="212" y="20"/>
                  <a:pt x="212" y="20"/>
                  <a:pt x="212" y="20"/>
                </a:cubicBezTo>
                <a:cubicBezTo>
                  <a:pt x="212" y="20"/>
                  <a:pt x="212" y="20"/>
                  <a:pt x="211" y="20"/>
                </a:cubicBezTo>
                <a:cubicBezTo>
                  <a:pt x="211" y="21"/>
                  <a:pt x="211" y="21"/>
                  <a:pt x="211" y="21"/>
                </a:cubicBezTo>
                <a:cubicBezTo>
                  <a:pt x="211" y="21"/>
                  <a:pt x="210" y="21"/>
                  <a:pt x="210" y="21"/>
                </a:cubicBezTo>
                <a:cubicBezTo>
                  <a:pt x="210" y="21"/>
                  <a:pt x="210" y="21"/>
                  <a:pt x="210" y="21"/>
                </a:cubicBezTo>
                <a:cubicBezTo>
                  <a:pt x="210" y="21"/>
                  <a:pt x="210" y="21"/>
                  <a:pt x="210" y="21"/>
                </a:cubicBezTo>
                <a:cubicBezTo>
                  <a:pt x="209" y="21"/>
                  <a:pt x="209" y="21"/>
                  <a:pt x="209" y="22"/>
                </a:cubicBezTo>
                <a:cubicBezTo>
                  <a:pt x="209" y="22"/>
                  <a:pt x="209" y="22"/>
                  <a:pt x="209" y="22"/>
                </a:cubicBezTo>
                <a:cubicBezTo>
                  <a:pt x="209" y="22"/>
                  <a:pt x="208" y="22"/>
                  <a:pt x="208" y="22"/>
                </a:cubicBezTo>
                <a:cubicBezTo>
                  <a:pt x="208" y="22"/>
                  <a:pt x="208" y="22"/>
                  <a:pt x="208" y="22"/>
                </a:cubicBezTo>
                <a:cubicBezTo>
                  <a:pt x="208" y="22"/>
                  <a:pt x="207" y="22"/>
                  <a:pt x="207" y="22"/>
                </a:cubicBezTo>
                <a:cubicBezTo>
                  <a:pt x="206" y="23"/>
                  <a:pt x="205" y="22"/>
                  <a:pt x="205" y="23"/>
                </a:cubicBezTo>
                <a:cubicBezTo>
                  <a:pt x="205" y="23"/>
                  <a:pt x="204" y="23"/>
                  <a:pt x="204" y="23"/>
                </a:cubicBezTo>
                <a:cubicBezTo>
                  <a:pt x="204" y="23"/>
                  <a:pt x="204" y="24"/>
                  <a:pt x="204" y="24"/>
                </a:cubicBezTo>
                <a:cubicBezTo>
                  <a:pt x="204" y="24"/>
                  <a:pt x="204" y="24"/>
                  <a:pt x="203" y="24"/>
                </a:cubicBezTo>
                <a:cubicBezTo>
                  <a:pt x="202" y="24"/>
                  <a:pt x="201" y="25"/>
                  <a:pt x="201" y="26"/>
                </a:cubicBezTo>
                <a:cubicBezTo>
                  <a:pt x="201" y="26"/>
                  <a:pt x="201" y="26"/>
                  <a:pt x="201" y="26"/>
                </a:cubicBezTo>
                <a:cubicBezTo>
                  <a:pt x="201" y="26"/>
                  <a:pt x="200" y="26"/>
                  <a:pt x="200" y="26"/>
                </a:cubicBezTo>
                <a:cubicBezTo>
                  <a:pt x="200" y="26"/>
                  <a:pt x="200" y="26"/>
                  <a:pt x="200" y="26"/>
                </a:cubicBezTo>
                <a:cubicBezTo>
                  <a:pt x="200" y="26"/>
                  <a:pt x="200" y="26"/>
                  <a:pt x="200" y="26"/>
                </a:cubicBezTo>
                <a:cubicBezTo>
                  <a:pt x="196" y="27"/>
                  <a:pt x="194" y="25"/>
                  <a:pt x="192" y="24"/>
                </a:cubicBezTo>
                <a:cubicBezTo>
                  <a:pt x="189" y="25"/>
                  <a:pt x="187" y="23"/>
                  <a:pt x="184" y="23"/>
                </a:cubicBezTo>
                <a:cubicBezTo>
                  <a:pt x="181" y="23"/>
                  <a:pt x="182" y="25"/>
                  <a:pt x="180" y="26"/>
                </a:cubicBezTo>
                <a:cubicBezTo>
                  <a:pt x="176" y="26"/>
                  <a:pt x="175" y="25"/>
                  <a:pt x="173" y="24"/>
                </a:cubicBezTo>
                <a:cubicBezTo>
                  <a:pt x="172" y="22"/>
                  <a:pt x="170" y="23"/>
                  <a:pt x="170" y="20"/>
                </a:cubicBezTo>
                <a:cubicBezTo>
                  <a:pt x="166" y="20"/>
                  <a:pt x="162" y="20"/>
                  <a:pt x="159" y="21"/>
                </a:cubicBezTo>
                <a:cubicBezTo>
                  <a:pt x="157" y="21"/>
                  <a:pt x="156" y="23"/>
                  <a:pt x="155" y="24"/>
                </a:cubicBezTo>
                <a:cubicBezTo>
                  <a:pt x="155" y="24"/>
                  <a:pt x="155" y="24"/>
                  <a:pt x="154" y="24"/>
                </a:cubicBezTo>
                <a:cubicBezTo>
                  <a:pt x="154" y="25"/>
                  <a:pt x="154" y="25"/>
                  <a:pt x="153" y="25"/>
                </a:cubicBezTo>
                <a:cubicBezTo>
                  <a:pt x="153" y="25"/>
                  <a:pt x="153" y="26"/>
                  <a:pt x="153" y="26"/>
                </a:cubicBezTo>
                <a:cubicBezTo>
                  <a:pt x="150" y="26"/>
                  <a:pt x="150" y="26"/>
                  <a:pt x="150" y="26"/>
                </a:cubicBezTo>
                <a:cubicBezTo>
                  <a:pt x="148" y="25"/>
                  <a:pt x="147" y="27"/>
                  <a:pt x="144" y="27"/>
                </a:cubicBezTo>
                <a:cubicBezTo>
                  <a:pt x="144" y="27"/>
                  <a:pt x="144" y="27"/>
                  <a:pt x="143" y="28"/>
                </a:cubicBezTo>
                <a:cubicBezTo>
                  <a:pt x="142" y="28"/>
                  <a:pt x="141" y="29"/>
                  <a:pt x="140" y="29"/>
                </a:cubicBezTo>
                <a:cubicBezTo>
                  <a:pt x="135" y="28"/>
                  <a:pt x="133" y="31"/>
                  <a:pt x="129" y="31"/>
                </a:cubicBezTo>
                <a:cubicBezTo>
                  <a:pt x="127" y="31"/>
                  <a:pt x="127" y="33"/>
                  <a:pt x="125" y="33"/>
                </a:cubicBezTo>
                <a:cubicBezTo>
                  <a:pt x="125" y="34"/>
                  <a:pt x="124" y="34"/>
                  <a:pt x="123" y="34"/>
                </a:cubicBezTo>
                <a:cubicBezTo>
                  <a:pt x="122" y="34"/>
                  <a:pt x="121" y="34"/>
                  <a:pt x="120" y="34"/>
                </a:cubicBezTo>
                <a:cubicBezTo>
                  <a:pt x="118" y="34"/>
                  <a:pt x="119" y="36"/>
                  <a:pt x="117" y="35"/>
                </a:cubicBezTo>
                <a:cubicBezTo>
                  <a:pt x="116" y="35"/>
                  <a:pt x="116" y="37"/>
                  <a:pt x="114" y="37"/>
                </a:cubicBezTo>
                <a:cubicBezTo>
                  <a:pt x="114" y="38"/>
                  <a:pt x="114" y="38"/>
                  <a:pt x="114" y="38"/>
                </a:cubicBezTo>
                <a:cubicBezTo>
                  <a:pt x="114" y="41"/>
                  <a:pt x="114" y="44"/>
                  <a:pt x="113" y="46"/>
                </a:cubicBezTo>
                <a:cubicBezTo>
                  <a:pt x="112" y="46"/>
                  <a:pt x="110" y="45"/>
                  <a:pt x="110" y="45"/>
                </a:cubicBezTo>
                <a:cubicBezTo>
                  <a:pt x="109" y="45"/>
                  <a:pt x="109" y="45"/>
                  <a:pt x="109" y="46"/>
                </a:cubicBezTo>
                <a:cubicBezTo>
                  <a:pt x="109" y="46"/>
                  <a:pt x="109" y="46"/>
                  <a:pt x="109" y="47"/>
                </a:cubicBezTo>
                <a:cubicBezTo>
                  <a:pt x="108" y="47"/>
                  <a:pt x="107" y="47"/>
                  <a:pt x="107" y="48"/>
                </a:cubicBezTo>
                <a:cubicBezTo>
                  <a:pt x="106" y="48"/>
                  <a:pt x="105" y="48"/>
                  <a:pt x="104" y="49"/>
                </a:cubicBezTo>
                <a:cubicBezTo>
                  <a:pt x="103" y="49"/>
                  <a:pt x="103" y="48"/>
                  <a:pt x="102" y="48"/>
                </a:cubicBezTo>
                <a:cubicBezTo>
                  <a:pt x="101" y="48"/>
                  <a:pt x="102" y="49"/>
                  <a:pt x="102" y="49"/>
                </a:cubicBezTo>
                <a:cubicBezTo>
                  <a:pt x="101" y="49"/>
                  <a:pt x="99" y="48"/>
                  <a:pt x="97" y="49"/>
                </a:cubicBezTo>
                <a:cubicBezTo>
                  <a:pt x="96" y="49"/>
                  <a:pt x="95" y="49"/>
                  <a:pt x="95" y="47"/>
                </a:cubicBezTo>
                <a:cubicBezTo>
                  <a:pt x="93" y="47"/>
                  <a:pt x="94" y="50"/>
                  <a:pt x="93" y="49"/>
                </a:cubicBezTo>
                <a:cubicBezTo>
                  <a:pt x="91" y="49"/>
                  <a:pt x="89" y="49"/>
                  <a:pt x="88" y="50"/>
                </a:cubicBezTo>
                <a:cubicBezTo>
                  <a:pt x="87" y="50"/>
                  <a:pt x="87" y="51"/>
                  <a:pt x="86" y="52"/>
                </a:cubicBezTo>
                <a:cubicBezTo>
                  <a:pt x="86" y="53"/>
                  <a:pt x="86" y="53"/>
                  <a:pt x="86" y="54"/>
                </a:cubicBezTo>
                <a:cubicBezTo>
                  <a:pt x="85" y="54"/>
                  <a:pt x="86" y="55"/>
                  <a:pt x="85" y="55"/>
                </a:cubicBezTo>
                <a:cubicBezTo>
                  <a:pt x="85" y="56"/>
                  <a:pt x="84" y="57"/>
                  <a:pt x="84" y="58"/>
                </a:cubicBezTo>
                <a:cubicBezTo>
                  <a:pt x="83" y="58"/>
                  <a:pt x="83" y="58"/>
                  <a:pt x="83" y="59"/>
                </a:cubicBezTo>
                <a:cubicBezTo>
                  <a:pt x="83" y="59"/>
                  <a:pt x="83" y="60"/>
                  <a:pt x="83" y="61"/>
                </a:cubicBezTo>
                <a:cubicBezTo>
                  <a:pt x="83" y="61"/>
                  <a:pt x="82" y="60"/>
                  <a:pt x="81" y="61"/>
                </a:cubicBezTo>
                <a:cubicBezTo>
                  <a:pt x="79" y="61"/>
                  <a:pt x="79" y="61"/>
                  <a:pt x="79" y="61"/>
                </a:cubicBezTo>
                <a:cubicBezTo>
                  <a:pt x="78" y="61"/>
                  <a:pt x="78" y="62"/>
                  <a:pt x="77" y="63"/>
                </a:cubicBezTo>
                <a:cubicBezTo>
                  <a:pt x="75" y="63"/>
                  <a:pt x="76" y="65"/>
                  <a:pt x="74" y="64"/>
                </a:cubicBezTo>
                <a:cubicBezTo>
                  <a:pt x="73" y="64"/>
                  <a:pt x="73" y="64"/>
                  <a:pt x="72" y="63"/>
                </a:cubicBezTo>
                <a:cubicBezTo>
                  <a:pt x="73" y="63"/>
                  <a:pt x="72" y="63"/>
                  <a:pt x="72" y="63"/>
                </a:cubicBezTo>
                <a:cubicBezTo>
                  <a:pt x="71" y="63"/>
                  <a:pt x="70" y="62"/>
                  <a:pt x="70" y="63"/>
                </a:cubicBezTo>
                <a:cubicBezTo>
                  <a:pt x="69" y="63"/>
                  <a:pt x="68" y="63"/>
                  <a:pt x="68" y="64"/>
                </a:cubicBezTo>
                <a:cubicBezTo>
                  <a:pt x="67" y="64"/>
                  <a:pt x="66" y="64"/>
                  <a:pt x="65" y="65"/>
                </a:cubicBezTo>
                <a:cubicBezTo>
                  <a:pt x="65" y="65"/>
                  <a:pt x="65" y="65"/>
                  <a:pt x="65" y="65"/>
                </a:cubicBezTo>
                <a:cubicBezTo>
                  <a:pt x="65" y="65"/>
                  <a:pt x="65" y="65"/>
                  <a:pt x="65" y="65"/>
                </a:cubicBezTo>
                <a:cubicBezTo>
                  <a:pt x="65" y="65"/>
                  <a:pt x="64" y="65"/>
                  <a:pt x="64" y="65"/>
                </a:cubicBezTo>
                <a:cubicBezTo>
                  <a:pt x="64" y="65"/>
                  <a:pt x="64" y="65"/>
                  <a:pt x="64" y="65"/>
                </a:cubicBezTo>
                <a:cubicBezTo>
                  <a:pt x="64" y="65"/>
                  <a:pt x="64" y="65"/>
                  <a:pt x="64" y="65"/>
                </a:cubicBezTo>
                <a:cubicBezTo>
                  <a:pt x="64" y="65"/>
                  <a:pt x="64" y="65"/>
                  <a:pt x="64" y="65"/>
                </a:cubicBezTo>
                <a:cubicBezTo>
                  <a:pt x="64" y="65"/>
                  <a:pt x="63" y="65"/>
                  <a:pt x="63" y="65"/>
                </a:cubicBezTo>
                <a:cubicBezTo>
                  <a:pt x="63" y="65"/>
                  <a:pt x="63" y="65"/>
                  <a:pt x="63" y="65"/>
                </a:cubicBezTo>
                <a:cubicBezTo>
                  <a:pt x="63" y="65"/>
                  <a:pt x="63" y="65"/>
                  <a:pt x="63" y="65"/>
                </a:cubicBezTo>
                <a:cubicBezTo>
                  <a:pt x="63" y="65"/>
                  <a:pt x="63" y="65"/>
                  <a:pt x="63" y="65"/>
                </a:cubicBezTo>
                <a:cubicBezTo>
                  <a:pt x="63" y="65"/>
                  <a:pt x="63" y="65"/>
                  <a:pt x="62" y="65"/>
                </a:cubicBezTo>
                <a:cubicBezTo>
                  <a:pt x="62" y="65"/>
                  <a:pt x="62" y="66"/>
                  <a:pt x="62" y="66"/>
                </a:cubicBezTo>
                <a:cubicBezTo>
                  <a:pt x="62" y="66"/>
                  <a:pt x="62" y="66"/>
                  <a:pt x="62" y="66"/>
                </a:cubicBezTo>
                <a:cubicBezTo>
                  <a:pt x="62" y="66"/>
                  <a:pt x="62" y="66"/>
                  <a:pt x="62" y="66"/>
                </a:cubicBezTo>
                <a:cubicBezTo>
                  <a:pt x="62" y="66"/>
                  <a:pt x="62" y="66"/>
                  <a:pt x="62" y="66"/>
                </a:cubicBezTo>
                <a:cubicBezTo>
                  <a:pt x="61" y="66"/>
                  <a:pt x="60" y="66"/>
                  <a:pt x="58" y="66"/>
                </a:cubicBezTo>
                <a:cubicBezTo>
                  <a:pt x="58" y="67"/>
                  <a:pt x="58" y="67"/>
                  <a:pt x="58" y="67"/>
                </a:cubicBezTo>
                <a:cubicBezTo>
                  <a:pt x="58" y="67"/>
                  <a:pt x="56" y="70"/>
                  <a:pt x="55" y="67"/>
                </a:cubicBezTo>
                <a:cubicBezTo>
                  <a:pt x="54" y="68"/>
                  <a:pt x="55" y="69"/>
                  <a:pt x="54" y="70"/>
                </a:cubicBezTo>
                <a:cubicBezTo>
                  <a:pt x="54" y="70"/>
                  <a:pt x="54" y="70"/>
                  <a:pt x="54" y="70"/>
                </a:cubicBezTo>
                <a:cubicBezTo>
                  <a:pt x="54" y="70"/>
                  <a:pt x="54" y="70"/>
                  <a:pt x="54" y="70"/>
                </a:cubicBezTo>
                <a:cubicBezTo>
                  <a:pt x="54" y="70"/>
                  <a:pt x="54" y="70"/>
                  <a:pt x="54" y="70"/>
                </a:cubicBezTo>
                <a:cubicBezTo>
                  <a:pt x="54" y="70"/>
                  <a:pt x="54" y="70"/>
                  <a:pt x="54" y="70"/>
                </a:cubicBezTo>
                <a:cubicBezTo>
                  <a:pt x="54" y="70"/>
                  <a:pt x="54" y="70"/>
                  <a:pt x="54" y="70"/>
                </a:cubicBezTo>
                <a:cubicBezTo>
                  <a:pt x="54" y="70"/>
                  <a:pt x="54" y="70"/>
                  <a:pt x="54" y="70"/>
                </a:cubicBezTo>
                <a:cubicBezTo>
                  <a:pt x="54" y="70"/>
                  <a:pt x="55" y="70"/>
                  <a:pt x="55" y="70"/>
                </a:cubicBezTo>
                <a:cubicBezTo>
                  <a:pt x="55" y="70"/>
                  <a:pt x="55" y="70"/>
                  <a:pt x="55" y="70"/>
                </a:cubicBezTo>
                <a:cubicBezTo>
                  <a:pt x="55" y="70"/>
                  <a:pt x="55" y="70"/>
                  <a:pt x="55" y="70"/>
                </a:cubicBezTo>
                <a:cubicBezTo>
                  <a:pt x="56" y="71"/>
                  <a:pt x="56" y="73"/>
                  <a:pt x="57" y="74"/>
                </a:cubicBezTo>
                <a:cubicBezTo>
                  <a:pt x="57" y="77"/>
                  <a:pt x="58" y="82"/>
                  <a:pt x="55" y="82"/>
                </a:cubicBezTo>
                <a:cubicBezTo>
                  <a:pt x="55" y="84"/>
                  <a:pt x="54" y="84"/>
                  <a:pt x="54" y="85"/>
                </a:cubicBezTo>
                <a:cubicBezTo>
                  <a:pt x="50" y="85"/>
                  <a:pt x="50" y="85"/>
                  <a:pt x="50" y="85"/>
                </a:cubicBezTo>
                <a:cubicBezTo>
                  <a:pt x="50" y="86"/>
                  <a:pt x="50" y="87"/>
                  <a:pt x="49" y="87"/>
                </a:cubicBezTo>
                <a:cubicBezTo>
                  <a:pt x="49" y="88"/>
                  <a:pt x="50" y="88"/>
                  <a:pt x="50" y="89"/>
                </a:cubicBezTo>
                <a:cubicBezTo>
                  <a:pt x="50" y="90"/>
                  <a:pt x="51" y="90"/>
                  <a:pt x="51" y="90"/>
                </a:cubicBezTo>
                <a:cubicBezTo>
                  <a:pt x="51" y="90"/>
                  <a:pt x="50" y="90"/>
                  <a:pt x="49" y="90"/>
                </a:cubicBezTo>
                <a:cubicBezTo>
                  <a:pt x="50" y="91"/>
                  <a:pt x="49" y="91"/>
                  <a:pt x="49" y="91"/>
                </a:cubicBezTo>
                <a:cubicBezTo>
                  <a:pt x="49" y="92"/>
                  <a:pt x="48" y="93"/>
                  <a:pt x="47" y="93"/>
                </a:cubicBezTo>
                <a:cubicBezTo>
                  <a:pt x="47" y="95"/>
                  <a:pt x="48" y="98"/>
                  <a:pt x="46" y="98"/>
                </a:cubicBezTo>
                <a:cubicBezTo>
                  <a:pt x="47" y="99"/>
                  <a:pt x="47" y="101"/>
                  <a:pt x="47" y="102"/>
                </a:cubicBezTo>
                <a:cubicBezTo>
                  <a:pt x="45" y="103"/>
                  <a:pt x="44" y="105"/>
                  <a:pt x="41" y="105"/>
                </a:cubicBezTo>
                <a:cubicBezTo>
                  <a:pt x="40" y="105"/>
                  <a:pt x="40" y="106"/>
                  <a:pt x="40" y="107"/>
                </a:cubicBezTo>
                <a:cubicBezTo>
                  <a:pt x="39" y="107"/>
                  <a:pt x="39" y="108"/>
                  <a:pt x="38" y="109"/>
                </a:cubicBezTo>
                <a:cubicBezTo>
                  <a:pt x="37" y="109"/>
                  <a:pt x="37" y="109"/>
                  <a:pt x="35" y="109"/>
                </a:cubicBezTo>
                <a:cubicBezTo>
                  <a:pt x="36" y="113"/>
                  <a:pt x="39" y="113"/>
                  <a:pt x="38" y="118"/>
                </a:cubicBezTo>
                <a:cubicBezTo>
                  <a:pt x="37" y="118"/>
                  <a:pt x="36" y="119"/>
                  <a:pt x="35" y="118"/>
                </a:cubicBezTo>
                <a:cubicBezTo>
                  <a:pt x="35" y="123"/>
                  <a:pt x="35" y="123"/>
                  <a:pt x="35" y="123"/>
                </a:cubicBezTo>
                <a:cubicBezTo>
                  <a:pt x="34" y="123"/>
                  <a:pt x="33" y="124"/>
                  <a:pt x="33" y="125"/>
                </a:cubicBezTo>
                <a:cubicBezTo>
                  <a:pt x="31" y="125"/>
                  <a:pt x="31" y="126"/>
                  <a:pt x="29" y="127"/>
                </a:cubicBezTo>
                <a:cubicBezTo>
                  <a:pt x="28" y="127"/>
                  <a:pt x="28" y="127"/>
                  <a:pt x="28" y="127"/>
                </a:cubicBezTo>
                <a:cubicBezTo>
                  <a:pt x="28" y="129"/>
                  <a:pt x="28" y="129"/>
                  <a:pt x="28" y="129"/>
                </a:cubicBezTo>
                <a:cubicBezTo>
                  <a:pt x="28" y="129"/>
                  <a:pt x="28" y="129"/>
                  <a:pt x="28" y="129"/>
                </a:cubicBezTo>
                <a:cubicBezTo>
                  <a:pt x="28" y="129"/>
                  <a:pt x="28" y="129"/>
                  <a:pt x="28" y="129"/>
                </a:cubicBezTo>
                <a:cubicBezTo>
                  <a:pt x="29" y="129"/>
                  <a:pt x="30" y="130"/>
                  <a:pt x="31" y="132"/>
                </a:cubicBezTo>
                <a:cubicBezTo>
                  <a:pt x="31" y="132"/>
                  <a:pt x="31" y="132"/>
                  <a:pt x="31" y="132"/>
                </a:cubicBezTo>
                <a:cubicBezTo>
                  <a:pt x="31" y="132"/>
                  <a:pt x="31" y="132"/>
                  <a:pt x="31" y="132"/>
                </a:cubicBezTo>
                <a:cubicBezTo>
                  <a:pt x="31" y="134"/>
                  <a:pt x="31" y="134"/>
                  <a:pt x="31" y="134"/>
                </a:cubicBezTo>
                <a:cubicBezTo>
                  <a:pt x="31" y="136"/>
                  <a:pt x="33" y="136"/>
                  <a:pt x="33" y="137"/>
                </a:cubicBezTo>
                <a:cubicBezTo>
                  <a:pt x="33" y="137"/>
                  <a:pt x="33" y="137"/>
                  <a:pt x="33" y="137"/>
                </a:cubicBezTo>
                <a:cubicBezTo>
                  <a:pt x="33" y="139"/>
                  <a:pt x="36" y="138"/>
                  <a:pt x="35" y="140"/>
                </a:cubicBezTo>
                <a:cubicBezTo>
                  <a:pt x="36" y="140"/>
                  <a:pt x="36" y="140"/>
                  <a:pt x="36" y="140"/>
                </a:cubicBezTo>
                <a:cubicBezTo>
                  <a:pt x="36" y="140"/>
                  <a:pt x="37" y="140"/>
                  <a:pt x="38" y="140"/>
                </a:cubicBezTo>
                <a:cubicBezTo>
                  <a:pt x="38" y="140"/>
                  <a:pt x="38" y="140"/>
                  <a:pt x="38" y="140"/>
                </a:cubicBezTo>
                <a:cubicBezTo>
                  <a:pt x="39" y="141"/>
                  <a:pt x="41" y="141"/>
                  <a:pt x="40" y="142"/>
                </a:cubicBezTo>
                <a:cubicBezTo>
                  <a:pt x="40" y="142"/>
                  <a:pt x="40" y="143"/>
                  <a:pt x="40" y="143"/>
                </a:cubicBezTo>
                <a:cubicBezTo>
                  <a:pt x="43" y="143"/>
                  <a:pt x="44" y="144"/>
                  <a:pt x="45" y="145"/>
                </a:cubicBezTo>
                <a:cubicBezTo>
                  <a:pt x="45" y="145"/>
                  <a:pt x="45" y="145"/>
                  <a:pt x="45" y="145"/>
                </a:cubicBezTo>
                <a:cubicBezTo>
                  <a:pt x="45" y="146"/>
                  <a:pt x="46" y="146"/>
                  <a:pt x="46" y="147"/>
                </a:cubicBezTo>
                <a:cubicBezTo>
                  <a:pt x="46" y="147"/>
                  <a:pt x="46" y="147"/>
                  <a:pt x="46" y="147"/>
                </a:cubicBezTo>
                <a:cubicBezTo>
                  <a:pt x="47" y="148"/>
                  <a:pt x="47" y="149"/>
                  <a:pt x="49" y="149"/>
                </a:cubicBezTo>
                <a:cubicBezTo>
                  <a:pt x="49" y="149"/>
                  <a:pt x="49" y="149"/>
                  <a:pt x="49" y="149"/>
                </a:cubicBezTo>
                <a:cubicBezTo>
                  <a:pt x="50" y="150"/>
                  <a:pt x="50" y="150"/>
                  <a:pt x="50" y="150"/>
                </a:cubicBezTo>
                <a:cubicBezTo>
                  <a:pt x="51" y="151"/>
                  <a:pt x="51" y="152"/>
                  <a:pt x="52" y="152"/>
                </a:cubicBezTo>
                <a:cubicBezTo>
                  <a:pt x="52" y="152"/>
                  <a:pt x="53" y="153"/>
                  <a:pt x="54" y="152"/>
                </a:cubicBezTo>
                <a:cubicBezTo>
                  <a:pt x="55" y="152"/>
                  <a:pt x="54" y="151"/>
                  <a:pt x="54" y="150"/>
                </a:cubicBezTo>
                <a:cubicBezTo>
                  <a:pt x="53" y="149"/>
                  <a:pt x="54" y="148"/>
                  <a:pt x="54" y="148"/>
                </a:cubicBezTo>
                <a:cubicBezTo>
                  <a:pt x="55" y="148"/>
                  <a:pt x="56" y="148"/>
                  <a:pt x="57" y="148"/>
                </a:cubicBezTo>
                <a:cubicBezTo>
                  <a:pt x="58" y="148"/>
                  <a:pt x="58" y="149"/>
                  <a:pt x="58" y="150"/>
                </a:cubicBezTo>
                <a:cubicBezTo>
                  <a:pt x="59" y="149"/>
                  <a:pt x="61" y="149"/>
                  <a:pt x="63" y="149"/>
                </a:cubicBezTo>
                <a:cubicBezTo>
                  <a:pt x="63" y="148"/>
                  <a:pt x="64" y="147"/>
                  <a:pt x="65" y="147"/>
                </a:cubicBezTo>
                <a:cubicBezTo>
                  <a:pt x="65" y="147"/>
                  <a:pt x="65" y="147"/>
                  <a:pt x="65" y="147"/>
                </a:cubicBezTo>
                <a:cubicBezTo>
                  <a:pt x="66" y="147"/>
                  <a:pt x="66" y="148"/>
                  <a:pt x="66" y="148"/>
                </a:cubicBezTo>
                <a:cubicBezTo>
                  <a:pt x="66" y="148"/>
                  <a:pt x="66" y="148"/>
                  <a:pt x="66" y="148"/>
                </a:cubicBezTo>
                <a:cubicBezTo>
                  <a:pt x="67" y="150"/>
                  <a:pt x="67" y="150"/>
                  <a:pt x="67" y="152"/>
                </a:cubicBezTo>
                <a:cubicBezTo>
                  <a:pt x="67" y="152"/>
                  <a:pt x="67" y="152"/>
                  <a:pt x="67" y="152"/>
                </a:cubicBezTo>
                <a:cubicBezTo>
                  <a:pt x="67" y="154"/>
                  <a:pt x="65" y="154"/>
                  <a:pt x="65" y="155"/>
                </a:cubicBezTo>
                <a:cubicBezTo>
                  <a:pt x="63" y="155"/>
                  <a:pt x="63" y="152"/>
                  <a:pt x="61" y="152"/>
                </a:cubicBezTo>
                <a:cubicBezTo>
                  <a:pt x="60" y="152"/>
                  <a:pt x="59" y="152"/>
                  <a:pt x="58" y="152"/>
                </a:cubicBezTo>
                <a:cubicBezTo>
                  <a:pt x="55" y="153"/>
                  <a:pt x="54" y="155"/>
                  <a:pt x="54" y="157"/>
                </a:cubicBezTo>
                <a:cubicBezTo>
                  <a:pt x="54" y="157"/>
                  <a:pt x="53" y="157"/>
                  <a:pt x="53" y="158"/>
                </a:cubicBezTo>
                <a:cubicBezTo>
                  <a:pt x="52" y="158"/>
                  <a:pt x="52" y="157"/>
                  <a:pt x="51" y="157"/>
                </a:cubicBezTo>
                <a:cubicBezTo>
                  <a:pt x="50" y="157"/>
                  <a:pt x="50" y="157"/>
                  <a:pt x="49" y="157"/>
                </a:cubicBezTo>
                <a:cubicBezTo>
                  <a:pt x="49" y="157"/>
                  <a:pt x="49" y="158"/>
                  <a:pt x="49" y="158"/>
                </a:cubicBezTo>
                <a:cubicBezTo>
                  <a:pt x="49" y="158"/>
                  <a:pt x="49" y="159"/>
                  <a:pt x="48" y="159"/>
                </a:cubicBezTo>
                <a:cubicBezTo>
                  <a:pt x="46" y="161"/>
                  <a:pt x="47" y="166"/>
                  <a:pt x="46" y="169"/>
                </a:cubicBezTo>
                <a:cubicBezTo>
                  <a:pt x="46" y="170"/>
                  <a:pt x="46" y="170"/>
                  <a:pt x="47" y="171"/>
                </a:cubicBezTo>
                <a:cubicBezTo>
                  <a:pt x="47" y="171"/>
                  <a:pt x="47" y="172"/>
                  <a:pt x="47" y="172"/>
                </a:cubicBezTo>
                <a:cubicBezTo>
                  <a:pt x="47" y="172"/>
                  <a:pt x="47" y="171"/>
                  <a:pt x="48" y="171"/>
                </a:cubicBezTo>
                <a:cubicBezTo>
                  <a:pt x="48" y="171"/>
                  <a:pt x="48" y="171"/>
                  <a:pt x="48" y="171"/>
                </a:cubicBezTo>
                <a:cubicBezTo>
                  <a:pt x="48" y="170"/>
                  <a:pt x="48" y="170"/>
                  <a:pt x="49" y="170"/>
                </a:cubicBezTo>
                <a:cubicBezTo>
                  <a:pt x="50" y="170"/>
                  <a:pt x="51" y="169"/>
                  <a:pt x="52" y="169"/>
                </a:cubicBezTo>
                <a:cubicBezTo>
                  <a:pt x="52" y="169"/>
                  <a:pt x="52" y="168"/>
                  <a:pt x="52" y="169"/>
                </a:cubicBezTo>
                <a:cubicBezTo>
                  <a:pt x="52" y="168"/>
                  <a:pt x="52" y="168"/>
                  <a:pt x="53" y="168"/>
                </a:cubicBezTo>
                <a:cubicBezTo>
                  <a:pt x="53" y="168"/>
                  <a:pt x="54" y="168"/>
                  <a:pt x="54" y="169"/>
                </a:cubicBezTo>
                <a:cubicBezTo>
                  <a:pt x="54" y="169"/>
                  <a:pt x="54" y="169"/>
                  <a:pt x="54" y="169"/>
                </a:cubicBezTo>
                <a:cubicBezTo>
                  <a:pt x="55" y="169"/>
                  <a:pt x="56" y="168"/>
                  <a:pt x="56" y="166"/>
                </a:cubicBezTo>
                <a:cubicBezTo>
                  <a:pt x="55" y="166"/>
                  <a:pt x="55" y="166"/>
                  <a:pt x="55" y="166"/>
                </a:cubicBezTo>
                <a:cubicBezTo>
                  <a:pt x="55" y="165"/>
                  <a:pt x="54" y="166"/>
                  <a:pt x="54" y="166"/>
                </a:cubicBezTo>
                <a:cubicBezTo>
                  <a:pt x="54" y="166"/>
                  <a:pt x="53" y="167"/>
                  <a:pt x="53" y="166"/>
                </a:cubicBezTo>
                <a:cubicBezTo>
                  <a:pt x="53" y="164"/>
                  <a:pt x="53" y="162"/>
                  <a:pt x="54" y="162"/>
                </a:cubicBezTo>
                <a:cubicBezTo>
                  <a:pt x="55" y="162"/>
                  <a:pt x="55" y="162"/>
                  <a:pt x="56" y="162"/>
                </a:cubicBezTo>
                <a:cubicBezTo>
                  <a:pt x="56" y="161"/>
                  <a:pt x="56" y="161"/>
                  <a:pt x="56" y="161"/>
                </a:cubicBezTo>
                <a:cubicBezTo>
                  <a:pt x="56" y="160"/>
                  <a:pt x="58" y="160"/>
                  <a:pt x="58" y="161"/>
                </a:cubicBezTo>
                <a:cubicBezTo>
                  <a:pt x="59" y="161"/>
                  <a:pt x="58" y="162"/>
                  <a:pt x="58" y="162"/>
                </a:cubicBezTo>
                <a:cubicBezTo>
                  <a:pt x="59" y="162"/>
                  <a:pt x="59" y="162"/>
                  <a:pt x="59" y="163"/>
                </a:cubicBezTo>
                <a:cubicBezTo>
                  <a:pt x="59" y="163"/>
                  <a:pt x="59" y="163"/>
                  <a:pt x="59" y="163"/>
                </a:cubicBezTo>
                <a:cubicBezTo>
                  <a:pt x="59" y="164"/>
                  <a:pt x="59" y="166"/>
                  <a:pt x="59" y="167"/>
                </a:cubicBezTo>
                <a:cubicBezTo>
                  <a:pt x="59" y="167"/>
                  <a:pt x="59" y="167"/>
                  <a:pt x="59" y="167"/>
                </a:cubicBezTo>
                <a:cubicBezTo>
                  <a:pt x="59" y="168"/>
                  <a:pt x="58" y="168"/>
                  <a:pt x="58" y="169"/>
                </a:cubicBezTo>
                <a:cubicBezTo>
                  <a:pt x="59" y="169"/>
                  <a:pt x="59" y="168"/>
                  <a:pt x="61" y="169"/>
                </a:cubicBezTo>
                <a:cubicBezTo>
                  <a:pt x="61" y="168"/>
                  <a:pt x="61" y="167"/>
                  <a:pt x="63" y="167"/>
                </a:cubicBezTo>
                <a:cubicBezTo>
                  <a:pt x="62" y="169"/>
                  <a:pt x="64" y="169"/>
                  <a:pt x="63" y="171"/>
                </a:cubicBezTo>
                <a:cubicBezTo>
                  <a:pt x="63" y="172"/>
                  <a:pt x="65" y="171"/>
                  <a:pt x="65" y="173"/>
                </a:cubicBezTo>
                <a:cubicBezTo>
                  <a:pt x="66" y="173"/>
                  <a:pt x="66" y="173"/>
                  <a:pt x="66" y="173"/>
                </a:cubicBezTo>
                <a:cubicBezTo>
                  <a:pt x="66" y="173"/>
                  <a:pt x="66" y="173"/>
                  <a:pt x="66" y="173"/>
                </a:cubicBezTo>
                <a:cubicBezTo>
                  <a:pt x="66" y="175"/>
                  <a:pt x="68" y="175"/>
                  <a:pt x="67" y="177"/>
                </a:cubicBezTo>
                <a:cubicBezTo>
                  <a:pt x="67" y="177"/>
                  <a:pt x="67" y="177"/>
                  <a:pt x="67" y="177"/>
                </a:cubicBezTo>
                <a:cubicBezTo>
                  <a:pt x="67" y="178"/>
                  <a:pt x="67" y="178"/>
                  <a:pt x="67" y="178"/>
                </a:cubicBezTo>
                <a:cubicBezTo>
                  <a:pt x="67" y="179"/>
                  <a:pt x="68" y="179"/>
                  <a:pt x="68" y="180"/>
                </a:cubicBezTo>
                <a:cubicBezTo>
                  <a:pt x="67" y="180"/>
                  <a:pt x="68" y="180"/>
                  <a:pt x="68" y="180"/>
                </a:cubicBezTo>
                <a:cubicBezTo>
                  <a:pt x="69" y="181"/>
                  <a:pt x="69" y="181"/>
                  <a:pt x="70" y="182"/>
                </a:cubicBezTo>
                <a:cubicBezTo>
                  <a:pt x="70" y="182"/>
                  <a:pt x="71" y="182"/>
                  <a:pt x="71" y="182"/>
                </a:cubicBezTo>
                <a:cubicBezTo>
                  <a:pt x="71" y="182"/>
                  <a:pt x="71" y="182"/>
                  <a:pt x="71" y="182"/>
                </a:cubicBezTo>
                <a:cubicBezTo>
                  <a:pt x="72" y="181"/>
                  <a:pt x="73" y="180"/>
                  <a:pt x="74" y="180"/>
                </a:cubicBezTo>
                <a:cubicBezTo>
                  <a:pt x="74" y="180"/>
                  <a:pt x="74" y="179"/>
                  <a:pt x="74" y="180"/>
                </a:cubicBezTo>
                <a:cubicBezTo>
                  <a:pt x="75" y="180"/>
                  <a:pt x="75" y="178"/>
                  <a:pt x="75" y="178"/>
                </a:cubicBezTo>
                <a:cubicBezTo>
                  <a:pt x="75" y="177"/>
                  <a:pt x="75" y="177"/>
                  <a:pt x="76" y="177"/>
                </a:cubicBezTo>
                <a:cubicBezTo>
                  <a:pt x="77" y="176"/>
                  <a:pt x="78" y="176"/>
                  <a:pt x="78" y="178"/>
                </a:cubicBezTo>
                <a:cubicBezTo>
                  <a:pt x="79" y="177"/>
                  <a:pt x="79" y="178"/>
                  <a:pt x="79" y="179"/>
                </a:cubicBezTo>
                <a:cubicBezTo>
                  <a:pt x="80" y="180"/>
                  <a:pt x="81" y="180"/>
                  <a:pt x="81" y="182"/>
                </a:cubicBezTo>
                <a:cubicBezTo>
                  <a:pt x="82" y="181"/>
                  <a:pt x="83" y="181"/>
                  <a:pt x="84" y="180"/>
                </a:cubicBezTo>
                <a:cubicBezTo>
                  <a:pt x="84" y="180"/>
                  <a:pt x="85" y="180"/>
                  <a:pt x="85" y="179"/>
                </a:cubicBezTo>
                <a:cubicBezTo>
                  <a:pt x="85" y="179"/>
                  <a:pt x="85" y="178"/>
                  <a:pt x="86" y="178"/>
                </a:cubicBezTo>
                <a:cubicBezTo>
                  <a:pt x="88" y="177"/>
                  <a:pt x="90" y="177"/>
                  <a:pt x="93" y="177"/>
                </a:cubicBezTo>
                <a:cubicBezTo>
                  <a:pt x="93" y="176"/>
                  <a:pt x="93" y="176"/>
                  <a:pt x="94" y="176"/>
                </a:cubicBezTo>
                <a:cubicBezTo>
                  <a:pt x="94" y="174"/>
                  <a:pt x="95" y="175"/>
                  <a:pt x="96" y="174"/>
                </a:cubicBezTo>
                <a:cubicBezTo>
                  <a:pt x="97" y="174"/>
                  <a:pt x="97" y="174"/>
                  <a:pt x="97" y="174"/>
                </a:cubicBezTo>
                <a:cubicBezTo>
                  <a:pt x="98" y="174"/>
                  <a:pt x="98" y="173"/>
                  <a:pt x="98" y="173"/>
                </a:cubicBezTo>
                <a:cubicBezTo>
                  <a:pt x="102" y="173"/>
                  <a:pt x="105" y="174"/>
                  <a:pt x="107" y="175"/>
                </a:cubicBezTo>
                <a:cubicBezTo>
                  <a:pt x="110" y="175"/>
                  <a:pt x="111" y="174"/>
                  <a:pt x="114" y="174"/>
                </a:cubicBezTo>
                <a:cubicBezTo>
                  <a:pt x="114" y="173"/>
                  <a:pt x="115" y="173"/>
                  <a:pt x="115" y="171"/>
                </a:cubicBezTo>
                <a:cubicBezTo>
                  <a:pt x="115" y="171"/>
                  <a:pt x="114" y="171"/>
                  <a:pt x="115" y="171"/>
                </a:cubicBezTo>
                <a:cubicBezTo>
                  <a:pt x="116" y="171"/>
                  <a:pt x="116" y="171"/>
                  <a:pt x="116" y="171"/>
                </a:cubicBezTo>
                <a:cubicBezTo>
                  <a:pt x="116" y="170"/>
                  <a:pt x="116" y="170"/>
                  <a:pt x="116" y="171"/>
                </a:cubicBezTo>
                <a:cubicBezTo>
                  <a:pt x="119" y="172"/>
                  <a:pt x="119" y="175"/>
                  <a:pt x="123" y="175"/>
                </a:cubicBezTo>
                <a:cubicBezTo>
                  <a:pt x="123" y="174"/>
                  <a:pt x="123" y="171"/>
                  <a:pt x="125" y="171"/>
                </a:cubicBezTo>
                <a:cubicBezTo>
                  <a:pt x="126" y="172"/>
                  <a:pt x="128" y="174"/>
                  <a:pt x="129" y="175"/>
                </a:cubicBezTo>
                <a:cubicBezTo>
                  <a:pt x="128" y="176"/>
                  <a:pt x="128" y="176"/>
                  <a:pt x="128" y="177"/>
                </a:cubicBezTo>
                <a:cubicBezTo>
                  <a:pt x="129" y="177"/>
                  <a:pt x="129" y="177"/>
                  <a:pt x="130" y="177"/>
                </a:cubicBezTo>
                <a:cubicBezTo>
                  <a:pt x="130" y="177"/>
                  <a:pt x="130" y="177"/>
                  <a:pt x="130" y="177"/>
                </a:cubicBezTo>
                <a:cubicBezTo>
                  <a:pt x="132" y="177"/>
                  <a:pt x="132" y="178"/>
                  <a:pt x="134" y="178"/>
                </a:cubicBezTo>
                <a:cubicBezTo>
                  <a:pt x="134" y="178"/>
                  <a:pt x="134" y="178"/>
                  <a:pt x="134" y="178"/>
                </a:cubicBezTo>
                <a:cubicBezTo>
                  <a:pt x="134" y="178"/>
                  <a:pt x="134" y="178"/>
                  <a:pt x="135" y="178"/>
                </a:cubicBezTo>
                <a:cubicBezTo>
                  <a:pt x="135" y="178"/>
                  <a:pt x="135" y="178"/>
                  <a:pt x="135" y="178"/>
                </a:cubicBezTo>
                <a:cubicBezTo>
                  <a:pt x="135" y="178"/>
                  <a:pt x="136" y="178"/>
                  <a:pt x="136" y="178"/>
                </a:cubicBezTo>
                <a:cubicBezTo>
                  <a:pt x="136" y="178"/>
                  <a:pt x="136" y="178"/>
                  <a:pt x="136" y="178"/>
                </a:cubicBezTo>
                <a:cubicBezTo>
                  <a:pt x="137" y="176"/>
                  <a:pt x="138" y="179"/>
                  <a:pt x="139" y="178"/>
                </a:cubicBezTo>
                <a:cubicBezTo>
                  <a:pt x="139" y="178"/>
                  <a:pt x="139" y="178"/>
                  <a:pt x="139" y="178"/>
                </a:cubicBezTo>
                <a:cubicBezTo>
                  <a:pt x="139" y="177"/>
                  <a:pt x="141" y="177"/>
                  <a:pt x="141" y="178"/>
                </a:cubicBezTo>
                <a:cubicBezTo>
                  <a:pt x="142" y="178"/>
                  <a:pt x="142" y="178"/>
                  <a:pt x="142" y="178"/>
                </a:cubicBezTo>
                <a:cubicBezTo>
                  <a:pt x="142" y="178"/>
                  <a:pt x="143" y="178"/>
                  <a:pt x="144" y="178"/>
                </a:cubicBezTo>
                <a:cubicBezTo>
                  <a:pt x="144" y="179"/>
                  <a:pt x="144" y="180"/>
                  <a:pt x="145" y="181"/>
                </a:cubicBezTo>
                <a:cubicBezTo>
                  <a:pt x="143" y="181"/>
                  <a:pt x="142" y="182"/>
                  <a:pt x="141" y="182"/>
                </a:cubicBezTo>
                <a:cubicBezTo>
                  <a:pt x="138" y="182"/>
                  <a:pt x="136" y="182"/>
                  <a:pt x="133" y="182"/>
                </a:cubicBezTo>
                <a:cubicBezTo>
                  <a:pt x="133" y="184"/>
                  <a:pt x="133" y="185"/>
                  <a:pt x="134" y="185"/>
                </a:cubicBezTo>
                <a:cubicBezTo>
                  <a:pt x="134" y="187"/>
                  <a:pt x="136" y="186"/>
                  <a:pt x="136" y="188"/>
                </a:cubicBezTo>
                <a:cubicBezTo>
                  <a:pt x="135" y="188"/>
                  <a:pt x="134" y="188"/>
                  <a:pt x="134" y="188"/>
                </a:cubicBezTo>
                <a:cubicBezTo>
                  <a:pt x="134" y="189"/>
                  <a:pt x="133" y="188"/>
                  <a:pt x="133" y="188"/>
                </a:cubicBezTo>
                <a:cubicBezTo>
                  <a:pt x="132" y="188"/>
                  <a:pt x="132" y="187"/>
                  <a:pt x="130" y="187"/>
                </a:cubicBezTo>
                <a:cubicBezTo>
                  <a:pt x="130" y="185"/>
                  <a:pt x="127" y="185"/>
                  <a:pt x="127" y="183"/>
                </a:cubicBezTo>
                <a:cubicBezTo>
                  <a:pt x="123" y="183"/>
                  <a:pt x="121" y="181"/>
                  <a:pt x="116" y="182"/>
                </a:cubicBezTo>
                <a:cubicBezTo>
                  <a:pt x="116" y="181"/>
                  <a:pt x="116" y="181"/>
                  <a:pt x="116" y="181"/>
                </a:cubicBezTo>
                <a:cubicBezTo>
                  <a:pt x="116" y="181"/>
                  <a:pt x="115" y="182"/>
                  <a:pt x="115" y="181"/>
                </a:cubicBezTo>
                <a:cubicBezTo>
                  <a:pt x="114" y="180"/>
                  <a:pt x="113" y="181"/>
                  <a:pt x="111" y="181"/>
                </a:cubicBezTo>
                <a:cubicBezTo>
                  <a:pt x="111" y="181"/>
                  <a:pt x="111" y="181"/>
                  <a:pt x="111" y="181"/>
                </a:cubicBezTo>
                <a:cubicBezTo>
                  <a:pt x="110" y="179"/>
                  <a:pt x="109" y="180"/>
                  <a:pt x="108" y="179"/>
                </a:cubicBezTo>
                <a:cubicBezTo>
                  <a:pt x="108" y="179"/>
                  <a:pt x="108" y="179"/>
                  <a:pt x="108" y="179"/>
                </a:cubicBezTo>
                <a:cubicBezTo>
                  <a:pt x="107" y="179"/>
                  <a:pt x="107" y="179"/>
                  <a:pt x="106" y="179"/>
                </a:cubicBezTo>
                <a:cubicBezTo>
                  <a:pt x="106" y="179"/>
                  <a:pt x="106" y="179"/>
                  <a:pt x="106" y="179"/>
                </a:cubicBezTo>
                <a:cubicBezTo>
                  <a:pt x="104" y="178"/>
                  <a:pt x="104" y="178"/>
                  <a:pt x="103" y="177"/>
                </a:cubicBezTo>
                <a:cubicBezTo>
                  <a:pt x="103" y="177"/>
                  <a:pt x="103" y="177"/>
                  <a:pt x="103" y="177"/>
                </a:cubicBezTo>
                <a:cubicBezTo>
                  <a:pt x="102" y="177"/>
                  <a:pt x="101" y="176"/>
                  <a:pt x="99" y="176"/>
                </a:cubicBezTo>
                <a:cubicBezTo>
                  <a:pt x="99" y="176"/>
                  <a:pt x="99" y="176"/>
                  <a:pt x="99" y="176"/>
                </a:cubicBezTo>
                <a:cubicBezTo>
                  <a:pt x="98" y="176"/>
                  <a:pt x="97" y="176"/>
                  <a:pt x="96" y="176"/>
                </a:cubicBezTo>
                <a:cubicBezTo>
                  <a:pt x="96" y="176"/>
                  <a:pt x="96" y="176"/>
                  <a:pt x="96" y="175"/>
                </a:cubicBezTo>
                <a:cubicBezTo>
                  <a:pt x="95" y="176"/>
                  <a:pt x="95" y="176"/>
                  <a:pt x="95" y="176"/>
                </a:cubicBezTo>
                <a:cubicBezTo>
                  <a:pt x="95" y="177"/>
                  <a:pt x="94" y="177"/>
                  <a:pt x="94" y="178"/>
                </a:cubicBezTo>
                <a:cubicBezTo>
                  <a:pt x="94" y="178"/>
                  <a:pt x="94" y="178"/>
                  <a:pt x="93" y="178"/>
                </a:cubicBezTo>
                <a:cubicBezTo>
                  <a:pt x="93" y="179"/>
                  <a:pt x="92" y="179"/>
                  <a:pt x="91" y="180"/>
                </a:cubicBezTo>
                <a:cubicBezTo>
                  <a:pt x="91" y="180"/>
                  <a:pt x="91" y="180"/>
                  <a:pt x="91" y="180"/>
                </a:cubicBezTo>
                <a:cubicBezTo>
                  <a:pt x="91" y="181"/>
                  <a:pt x="91" y="181"/>
                  <a:pt x="90" y="181"/>
                </a:cubicBezTo>
                <a:cubicBezTo>
                  <a:pt x="90" y="181"/>
                  <a:pt x="90" y="181"/>
                  <a:pt x="90" y="181"/>
                </a:cubicBezTo>
                <a:cubicBezTo>
                  <a:pt x="90" y="181"/>
                  <a:pt x="89" y="182"/>
                  <a:pt x="89" y="182"/>
                </a:cubicBezTo>
                <a:cubicBezTo>
                  <a:pt x="89" y="182"/>
                  <a:pt x="89" y="184"/>
                  <a:pt x="89" y="184"/>
                </a:cubicBezTo>
                <a:cubicBezTo>
                  <a:pt x="89" y="184"/>
                  <a:pt x="89" y="184"/>
                  <a:pt x="89" y="184"/>
                </a:cubicBezTo>
                <a:cubicBezTo>
                  <a:pt x="89" y="184"/>
                  <a:pt x="89" y="184"/>
                  <a:pt x="89" y="184"/>
                </a:cubicBezTo>
                <a:cubicBezTo>
                  <a:pt x="87" y="184"/>
                  <a:pt x="86" y="185"/>
                  <a:pt x="85" y="184"/>
                </a:cubicBezTo>
                <a:cubicBezTo>
                  <a:pt x="85" y="184"/>
                  <a:pt x="85" y="184"/>
                  <a:pt x="85" y="184"/>
                </a:cubicBezTo>
                <a:cubicBezTo>
                  <a:pt x="85" y="184"/>
                  <a:pt x="84" y="183"/>
                  <a:pt x="84" y="183"/>
                </a:cubicBezTo>
                <a:cubicBezTo>
                  <a:pt x="83" y="185"/>
                  <a:pt x="82" y="182"/>
                  <a:pt x="81" y="183"/>
                </a:cubicBezTo>
                <a:cubicBezTo>
                  <a:pt x="80" y="182"/>
                  <a:pt x="80" y="183"/>
                  <a:pt x="79" y="183"/>
                </a:cubicBezTo>
                <a:cubicBezTo>
                  <a:pt x="76" y="183"/>
                  <a:pt x="78" y="187"/>
                  <a:pt x="77" y="189"/>
                </a:cubicBezTo>
                <a:cubicBezTo>
                  <a:pt x="76" y="191"/>
                  <a:pt x="75" y="192"/>
                  <a:pt x="75" y="194"/>
                </a:cubicBezTo>
                <a:cubicBezTo>
                  <a:pt x="73" y="196"/>
                  <a:pt x="71" y="197"/>
                  <a:pt x="70" y="200"/>
                </a:cubicBezTo>
                <a:cubicBezTo>
                  <a:pt x="71" y="200"/>
                  <a:pt x="71" y="201"/>
                  <a:pt x="71" y="201"/>
                </a:cubicBezTo>
                <a:cubicBezTo>
                  <a:pt x="71" y="201"/>
                  <a:pt x="71" y="201"/>
                  <a:pt x="71" y="201"/>
                </a:cubicBezTo>
                <a:cubicBezTo>
                  <a:pt x="71" y="204"/>
                  <a:pt x="73" y="203"/>
                  <a:pt x="74" y="203"/>
                </a:cubicBezTo>
                <a:cubicBezTo>
                  <a:pt x="74" y="203"/>
                  <a:pt x="74" y="203"/>
                  <a:pt x="74" y="203"/>
                </a:cubicBezTo>
                <a:cubicBezTo>
                  <a:pt x="75" y="203"/>
                  <a:pt x="76" y="204"/>
                  <a:pt x="77" y="203"/>
                </a:cubicBezTo>
                <a:cubicBezTo>
                  <a:pt x="77" y="205"/>
                  <a:pt x="80" y="206"/>
                  <a:pt x="79" y="209"/>
                </a:cubicBezTo>
                <a:cubicBezTo>
                  <a:pt x="82" y="208"/>
                  <a:pt x="82" y="210"/>
                  <a:pt x="84" y="210"/>
                </a:cubicBezTo>
                <a:cubicBezTo>
                  <a:pt x="84" y="210"/>
                  <a:pt x="84" y="210"/>
                  <a:pt x="85" y="210"/>
                </a:cubicBezTo>
                <a:cubicBezTo>
                  <a:pt x="86" y="212"/>
                  <a:pt x="88" y="213"/>
                  <a:pt x="90" y="214"/>
                </a:cubicBezTo>
                <a:cubicBezTo>
                  <a:pt x="90" y="216"/>
                  <a:pt x="91" y="216"/>
                  <a:pt x="91" y="217"/>
                </a:cubicBezTo>
                <a:cubicBezTo>
                  <a:pt x="91" y="218"/>
                  <a:pt x="92" y="218"/>
                  <a:pt x="93" y="219"/>
                </a:cubicBezTo>
                <a:cubicBezTo>
                  <a:pt x="93" y="219"/>
                  <a:pt x="93" y="219"/>
                  <a:pt x="93" y="220"/>
                </a:cubicBezTo>
                <a:cubicBezTo>
                  <a:pt x="93" y="221"/>
                  <a:pt x="94" y="221"/>
                  <a:pt x="94" y="221"/>
                </a:cubicBezTo>
                <a:cubicBezTo>
                  <a:pt x="94" y="221"/>
                  <a:pt x="95" y="222"/>
                  <a:pt x="95" y="222"/>
                </a:cubicBezTo>
                <a:cubicBezTo>
                  <a:pt x="95" y="222"/>
                  <a:pt x="95" y="223"/>
                  <a:pt x="95" y="223"/>
                </a:cubicBezTo>
                <a:cubicBezTo>
                  <a:pt x="95" y="223"/>
                  <a:pt x="95" y="223"/>
                  <a:pt x="95" y="224"/>
                </a:cubicBezTo>
                <a:cubicBezTo>
                  <a:pt x="95" y="224"/>
                  <a:pt x="95" y="224"/>
                  <a:pt x="95" y="224"/>
                </a:cubicBezTo>
                <a:cubicBezTo>
                  <a:pt x="95" y="225"/>
                  <a:pt x="94" y="225"/>
                  <a:pt x="94" y="225"/>
                </a:cubicBezTo>
                <a:cubicBezTo>
                  <a:pt x="94" y="226"/>
                  <a:pt x="94" y="227"/>
                  <a:pt x="93" y="228"/>
                </a:cubicBezTo>
                <a:cubicBezTo>
                  <a:pt x="93" y="228"/>
                  <a:pt x="93" y="228"/>
                  <a:pt x="93" y="228"/>
                </a:cubicBezTo>
                <a:cubicBezTo>
                  <a:pt x="93" y="229"/>
                  <a:pt x="92" y="229"/>
                  <a:pt x="92" y="230"/>
                </a:cubicBezTo>
                <a:cubicBezTo>
                  <a:pt x="92" y="230"/>
                  <a:pt x="92" y="230"/>
                  <a:pt x="92" y="230"/>
                </a:cubicBezTo>
                <a:cubicBezTo>
                  <a:pt x="92" y="231"/>
                  <a:pt x="92" y="231"/>
                  <a:pt x="91" y="231"/>
                </a:cubicBezTo>
                <a:cubicBezTo>
                  <a:pt x="92" y="232"/>
                  <a:pt x="92" y="233"/>
                  <a:pt x="92" y="233"/>
                </a:cubicBezTo>
                <a:cubicBezTo>
                  <a:pt x="92" y="233"/>
                  <a:pt x="92" y="233"/>
                  <a:pt x="93" y="233"/>
                </a:cubicBezTo>
                <a:cubicBezTo>
                  <a:pt x="93" y="235"/>
                  <a:pt x="93" y="235"/>
                  <a:pt x="94" y="236"/>
                </a:cubicBezTo>
                <a:cubicBezTo>
                  <a:pt x="94" y="236"/>
                  <a:pt x="95" y="236"/>
                  <a:pt x="95" y="237"/>
                </a:cubicBezTo>
                <a:cubicBezTo>
                  <a:pt x="94" y="239"/>
                  <a:pt x="96" y="239"/>
                  <a:pt x="97" y="240"/>
                </a:cubicBezTo>
                <a:cubicBezTo>
                  <a:pt x="97" y="240"/>
                  <a:pt x="97" y="240"/>
                  <a:pt x="97" y="240"/>
                </a:cubicBezTo>
                <a:cubicBezTo>
                  <a:pt x="97" y="242"/>
                  <a:pt x="98" y="243"/>
                  <a:pt x="98" y="245"/>
                </a:cubicBezTo>
                <a:cubicBezTo>
                  <a:pt x="98" y="246"/>
                  <a:pt x="100" y="245"/>
                  <a:pt x="100" y="247"/>
                </a:cubicBezTo>
                <a:cubicBezTo>
                  <a:pt x="101" y="246"/>
                  <a:pt x="101" y="247"/>
                  <a:pt x="102" y="247"/>
                </a:cubicBezTo>
                <a:cubicBezTo>
                  <a:pt x="103" y="249"/>
                  <a:pt x="105" y="248"/>
                  <a:pt x="107" y="249"/>
                </a:cubicBezTo>
                <a:cubicBezTo>
                  <a:pt x="107" y="249"/>
                  <a:pt x="107" y="248"/>
                  <a:pt x="107" y="247"/>
                </a:cubicBezTo>
                <a:cubicBezTo>
                  <a:pt x="107" y="247"/>
                  <a:pt x="108" y="247"/>
                  <a:pt x="108" y="246"/>
                </a:cubicBezTo>
                <a:cubicBezTo>
                  <a:pt x="107" y="243"/>
                  <a:pt x="107" y="240"/>
                  <a:pt x="107" y="236"/>
                </a:cubicBezTo>
                <a:cubicBezTo>
                  <a:pt x="108" y="236"/>
                  <a:pt x="109" y="236"/>
                  <a:pt x="109" y="235"/>
                </a:cubicBezTo>
                <a:cubicBezTo>
                  <a:pt x="111" y="236"/>
                  <a:pt x="112" y="237"/>
                  <a:pt x="111" y="239"/>
                </a:cubicBezTo>
                <a:cubicBezTo>
                  <a:pt x="112" y="239"/>
                  <a:pt x="112" y="239"/>
                  <a:pt x="112" y="240"/>
                </a:cubicBezTo>
                <a:cubicBezTo>
                  <a:pt x="113" y="240"/>
                  <a:pt x="114" y="241"/>
                  <a:pt x="115" y="241"/>
                </a:cubicBezTo>
                <a:cubicBezTo>
                  <a:pt x="115" y="242"/>
                  <a:pt x="116" y="243"/>
                  <a:pt x="116" y="244"/>
                </a:cubicBezTo>
                <a:cubicBezTo>
                  <a:pt x="118" y="244"/>
                  <a:pt x="119" y="245"/>
                  <a:pt x="120" y="246"/>
                </a:cubicBezTo>
                <a:cubicBezTo>
                  <a:pt x="120" y="247"/>
                  <a:pt x="120" y="248"/>
                  <a:pt x="122" y="249"/>
                </a:cubicBezTo>
                <a:cubicBezTo>
                  <a:pt x="122" y="250"/>
                  <a:pt x="124" y="250"/>
                  <a:pt x="124" y="251"/>
                </a:cubicBezTo>
                <a:cubicBezTo>
                  <a:pt x="124" y="253"/>
                  <a:pt x="124" y="254"/>
                  <a:pt x="124" y="255"/>
                </a:cubicBezTo>
                <a:cubicBezTo>
                  <a:pt x="123" y="255"/>
                  <a:pt x="123" y="256"/>
                  <a:pt x="123" y="257"/>
                </a:cubicBezTo>
                <a:cubicBezTo>
                  <a:pt x="123" y="258"/>
                  <a:pt x="123" y="259"/>
                  <a:pt x="124" y="259"/>
                </a:cubicBezTo>
                <a:cubicBezTo>
                  <a:pt x="124" y="260"/>
                  <a:pt x="125" y="260"/>
                  <a:pt x="125" y="260"/>
                </a:cubicBezTo>
                <a:cubicBezTo>
                  <a:pt x="127" y="261"/>
                  <a:pt x="127" y="263"/>
                  <a:pt x="129" y="263"/>
                </a:cubicBezTo>
                <a:cubicBezTo>
                  <a:pt x="129" y="263"/>
                  <a:pt x="129" y="262"/>
                  <a:pt x="130" y="263"/>
                </a:cubicBezTo>
                <a:cubicBezTo>
                  <a:pt x="130" y="262"/>
                  <a:pt x="130" y="261"/>
                  <a:pt x="130" y="260"/>
                </a:cubicBezTo>
                <a:cubicBezTo>
                  <a:pt x="130" y="260"/>
                  <a:pt x="130" y="259"/>
                  <a:pt x="130" y="259"/>
                </a:cubicBezTo>
                <a:cubicBezTo>
                  <a:pt x="130" y="258"/>
                  <a:pt x="129" y="256"/>
                  <a:pt x="128" y="256"/>
                </a:cubicBezTo>
                <a:cubicBezTo>
                  <a:pt x="128" y="256"/>
                  <a:pt x="128" y="256"/>
                  <a:pt x="128" y="256"/>
                </a:cubicBezTo>
                <a:cubicBezTo>
                  <a:pt x="128" y="256"/>
                  <a:pt x="127" y="256"/>
                  <a:pt x="127" y="256"/>
                </a:cubicBezTo>
                <a:cubicBezTo>
                  <a:pt x="127" y="253"/>
                  <a:pt x="130" y="255"/>
                  <a:pt x="129" y="253"/>
                </a:cubicBezTo>
                <a:cubicBezTo>
                  <a:pt x="129" y="253"/>
                  <a:pt x="129" y="252"/>
                  <a:pt x="129" y="252"/>
                </a:cubicBezTo>
                <a:cubicBezTo>
                  <a:pt x="129" y="250"/>
                  <a:pt x="129" y="248"/>
                  <a:pt x="129" y="246"/>
                </a:cubicBezTo>
                <a:cubicBezTo>
                  <a:pt x="130" y="246"/>
                  <a:pt x="130" y="245"/>
                  <a:pt x="131" y="244"/>
                </a:cubicBezTo>
                <a:cubicBezTo>
                  <a:pt x="132" y="244"/>
                  <a:pt x="131" y="244"/>
                  <a:pt x="132" y="243"/>
                </a:cubicBezTo>
                <a:cubicBezTo>
                  <a:pt x="132" y="243"/>
                  <a:pt x="132" y="243"/>
                  <a:pt x="132" y="242"/>
                </a:cubicBezTo>
                <a:cubicBezTo>
                  <a:pt x="135" y="243"/>
                  <a:pt x="135" y="241"/>
                  <a:pt x="138" y="242"/>
                </a:cubicBezTo>
                <a:cubicBezTo>
                  <a:pt x="137" y="245"/>
                  <a:pt x="139" y="245"/>
                  <a:pt x="139" y="248"/>
                </a:cubicBezTo>
                <a:cubicBezTo>
                  <a:pt x="141" y="249"/>
                  <a:pt x="140" y="246"/>
                  <a:pt x="142" y="247"/>
                </a:cubicBezTo>
                <a:cubicBezTo>
                  <a:pt x="142" y="247"/>
                  <a:pt x="142" y="247"/>
                  <a:pt x="142" y="247"/>
                </a:cubicBezTo>
                <a:cubicBezTo>
                  <a:pt x="142" y="247"/>
                  <a:pt x="142" y="247"/>
                  <a:pt x="142" y="247"/>
                </a:cubicBezTo>
                <a:cubicBezTo>
                  <a:pt x="142" y="249"/>
                  <a:pt x="144" y="249"/>
                  <a:pt x="144" y="250"/>
                </a:cubicBezTo>
                <a:cubicBezTo>
                  <a:pt x="144" y="250"/>
                  <a:pt x="145" y="250"/>
                  <a:pt x="145" y="250"/>
                </a:cubicBezTo>
                <a:cubicBezTo>
                  <a:pt x="145" y="250"/>
                  <a:pt x="145" y="250"/>
                  <a:pt x="146" y="251"/>
                </a:cubicBezTo>
                <a:cubicBezTo>
                  <a:pt x="146" y="251"/>
                  <a:pt x="146" y="251"/>
                  <a:pt x="146" y="251"/>
                </a:cubicBezTo>
                <a:cubicBezTo>
                  <a:pt x="146" y="251"/>
                  <a:pt x="146" y="251"/>
                  <a:pt x="146" y="251"/>
                </a:cubicBezTo>
                <a:cubicBezTo>
                  <a:pt x="146" y="252"/>
                  <a:pt x="146" y="253"/>
                  <a:pt x="146" y="254"/>
                </a:cubicBezTo>
                <a:cubicBezTo>
                  <a:pt x="148" y="253"/>
                  <a:pt x="148" y="255"/>
                  <a:pt x="150" y="254"/>
                </a:cubicBezTo>
                <a:cubicBezTo>
                  <a:pt x="149" y="255"/>
                  <a:pt x="150" y="256"/>
                  <a:pt x="151" y="256"/>
                </a:cubicBezTo>
                <a:cubicBezTo>
                  <a:pt x="151" y="256"/>
                  <a:pt x="152" y="257"/>
                  <a:pt x="153" y="257"/>
                </a:cubicBezTo>
                <a:cubicBezTo>
                  <a:pt x="153" y="257"/>
                  <a:pt x="154" y="256"/>
                  <a:pt x="155" y="256"/>
                </a:cubicBezTo>
                <a:cubicBezTo>
                  <a:pt x="155" y="253"/>
                  <a:pt x="152" y="254"/>
                  <a:pt x="153" y="251"/>
                </a:cubicBezTo>
                <a:cubicBezTo>
                  <a:pt x="153" y="251"/>
                  <a:pt x="151" y="251"/>
                  <a:pt x="151" y="251"/>
                </a:cubicBezTo>
                <a:cubicBezTo>
                  <a:pt x="151" y="250"/>
                  <a:pt x="151" y="250"/>
                  <a:pt x="151" y="249"/>
                </a:cubicBezTo>
                <a:cubicBezTo>
                  <a:pt x="151" y="249"/>
                  <a:pt x="151" y="249"/>
                  <a:pt x="151" y="249"/>
                </a:cubicBezTo>
                <a:cubicBezTo>
                  <a:pt x="150" y="249"/>
                  <a:pt x="150" y="247"/>
                  <a:pt x="148" y="247"/>
                </a:cubicBezTo>
                <a:cubicBezTo>
                  <a:pt x="148" y="247"/>
                  <a:pt x="148" y="247"/>
                  <a:pt x="148" y="247"/>
                </a:cubicBezTo>
                <a:cubicBezTo>
                  <a:pt x="148" y="245"/>
                  <a:pt x="149" y="245"/>
                  <a:pt x="149" y="244"/>
                </a:cubicBezTo>
                <a:cubicBezTo>
                  <a:pt x="150" y="244"/>
                  <a:pt x="150" y="244"/>
                  <a:pt x="150" y="243"/>
                </a:cubicBezTo>
                <a:cubicBezTo>
                  <a:pt x="150" y="242"/>
                  <a:pt x="151" y="242"/>
                  <a:pt x="151" y="242"/>
                </a:cubicBezTo>
                <a:cubicBezTo>
                  <a:pt x="151" y="241"/>
                  <a:pt x="151" y="240"/>
                  <a:pt x="150" y="239"/>
                </a:cubicBezTo>
                <a:cubicBezTo>
                  <a:pt x="150" y="239"/>
                  <a:pt x="150" y="239"/>
                  <a:pt x="150" y="239"/>
                </a:cubicBezTo>
                <a:cubicBezTo>
                  <a:pt x="150" y="237"/>
                  <a:pt x="148" y="237"/>
                  <a:pt x="148" y="236"/>
                </a:cubicBezTo>
                <a:cubicBezTo>
                  <a:pt x="148" y="236"/>
                  <a:pt x="148" y="236"/>
                  <a:pt x="148" y="236"/>
                </a:cubicBezTo>
                <a:cubicBezTo>
                  <a:pt x="148" y="235"/>
                  <a:pt x="147" y="235"/>
                  <a:pt x="147" y="235"/>
                </a:cubicBezTo>
                <a:cubicBezTo>
                  <a:pt x="148" y="232"/>
                  <a:pt x="146" y="232"/>
                  <a:pt x="146" y="230"/>
                </a:cubicBezTo>
                <a:cubicBezTo>
                  <a:pt x="145" y="228"/>
                  <a:pt x="143" y="228"/>
                  <a:pt x="143" y="226"/>
                </a:cubicBezTo>
                <a:cubicBezTo>
                  <a:pt x="142" y="225"/>
                  <a:pt x="141" y="224"/>
                  <a:pt x="141" y="222"/>
                </a:cubicBezTo>
                <a:cubicBezTo>
                  <a:pt x="141" y="221"/>
                  <a:pt x="140" y="222"/>
                  <a:pt x="139" y="221"/>
                </a:cubicBezTo>
                <a:cubicBezTo>
                  <a:pt x="139" y="221"/>
                  <a:pt x="139" y="220"/>
                  <a:pt x="139" y="221"/>
                </a:cubicBezTo>
                <a:cubicBezTo>
                  <a:pt x="138" y="220"/>
                  <a:pt x="138" y="220"/>
                  <a:pt x="138" y="219"/>
                </a:cubicBezTo>
                <a:cubicBezTo>
                  <a:pt x="136" y="218"/>
                  <a:pt x="136" y="216"/>
                  <a:pt x="134" y="216"/>
                </a:cubicBezTo>
                <a:cubicBezTo>
                  <a:pt x="134" y="213"/>
                  <a:pt x="132" y="212"/>
                  <a:pt x="132" y="208"/>
                </a:cubicBezTo>
                <a:cubicBezTo>
                  <a:pt x="135" y="207"/>
                  <a:pt x="135" y="209"/>
                  <a:pt x="137" y="209"/>
                </a:cubicBezTo>
                <a:cubicBezTo>
                  <a:pt x="138" y="209"/>
                  <a:pt x="139" y="209"/>
                  <a:pt x="140" y="209"/>
                </a:cubicBezTo>
                <a:cubicBezTo>
                  <a:pt x="140" y="210"/>
                  <a:pt x="141" y="209"/>
                  <a:pt x="141" y="210"/>
                </a:cubicBezTo>
                <a:cubicBezTo>
                  <a:pt x="141" y="210"/>
                  <a:pt x="141" y="211"/>
                  <a:pt x="141" y="211"/>
                </a:cubicBezTo>
                <a:cubicBezTo>
                  <a:pt x="142" y="211"/>
                  <a:pt x="143" y="212"/>
                  <a:pt x="143" y="212"/>
                </a:cubicBezTo>
                <a:cubicBezTo>
                  <a:pt x="144" y="212"/>
                  <a:pt x="146" y="212"/>
                  <a:pt x="147" y="212"/>
                </a:cubicBezTo>
                <a:cubicBezTo>
                  <a:pt x="147" y="214"/>
                  <a:pt x="146" y="214"/>
                  <a:pt x="146" y="214"/>
                </a:cubicBezTo>
                <a:cubicBezTo>
                  <a:pt x="145" y="214"/>
                  <a:pt x="145" y="214"/>
                  <a:pt x="144" y="214"/>
                </a:cubicBezTo>
                <a:cubicBezTo>
                  <a:pt x="144" y="216"/>
                  <a:pt x="146" y="216"/>
                  <a:pt x="147" y="217"/>
                </a:cubicBezTo>
                <a:cubicBezTo>
                  <a:pt x="147" y="218"/>
                  <a:pt x="147" y="219"/>
                  <a:pt x="147" y="221"/>
                </a:cubicBezTo>
                <a:cubicBezTo>
                  <a:pt x="148" y="221"/>
                  <a:pt x="148" y="222"/>
                  <a:pt x="148" y="223"/>
                </a:cubicBezTo>
                <a:cubicBezTo>
                  <a:pt x="149" y="223"/>
                  <a:pt x="149" y="222"/>
                  <a:pt x="150" y="221"/>
                </a:cubicBezTo>
                <a:cubicBezTo>
                  <a:pt x="150" y="220"/>
                  <a:pt x="150" y="219"/>
                  <a:pt x="151" y="219"/>
                </a:cubicBezTo>
                <a:cubicBezTo>
                  <a:pt x="152" y="218"/>
                  <a:pt x="150" y="215"/>
                  <a:pt x="153" y="215"/>
                </a:cubicBezTo>
                <a:cubicBezTo>
                  <a:pt x="153" y="216"/>
                  <a:pt x="153" y="216"/>
                  <a:pt x="154" y="217"/>
                </a:cubicBezTo>
                <a:cubicBezTo>
                  <a:pt x="155" y="217"/>
                  <a:pt x="155" y="216"/>
                  <a:pt x="156" y="216"/>
                </a:cubicBezTo>
                <a:cubicBezTo>
                  <a:pt x="157" y="214"/>
                  <a:pt x="154" y="215"/>
                  <a:pt x="153" y="214"/>
                </a:cubicBezTo>
                <a:cubicBezTo>
                  <a:pt x="152" y="211"/>
                  <a:pt x="156" y="213"/>
                  <a:pt x="157" y="211"/>
                </a:cubicBezTo>
                <a:cubicBezTo>
                  <a:pt x="157" y="211"/>
                  <a:pt x="159" y="212"/>
                  <a:pt x="159" y="211"/>
                </a:cubicBezTo>
                <a:cubicBezTo>
                  <a:pt x="160" y="211"/>
                  <a:pt x="161" y="211"/>
                  <a:pt x="162" y="210"/>
                </a:cubicBezTo>
                <a:cubicBezTo>
                  <a:pt x="161" y="208"/>
                  <a:pt x="159" y="208"/>
                  <a:pt x="157" y="208"/>
                </a:cubicBezTo>
                <a:cubicBezTo>
                  <a:pt x="157" y="207"/>
                  <a:pt x="157" y="207"/>
                  <a:pt x="157" y="207"/>
                </a:cubicBezTo>
                <a:cubicBezTo>
                  <a:pt x="156" y="207"/>
                  <a:pt x="156" y="206"/>
                  <a:pt x="155" y="206"/>
                </a:cubicBezTo>
                <a:cubicBezTo>
                  <a:pt x="155" y="204"/>
                  <a:pt x="157" y="204"/>
                  <a:pt x="156" y="202"/>
                </a:cubicBezTo>
                <a:cubicBezTo>
                  <a:pt x="155" y="202"/>
                  <a:pt x="152" y="201"/>
                  <a:pt x="153" y="203"/>
                </a:cubicBezTo>
                <a:cubicBezTo>
                  <a:pt x="151" y="203"/>
                  <a:pt x="152" y="203"/>
                  <a:pt x="152" y="204"/>
                </a:cubicBezTo>
                <a:cubicBezTo>
                  <a:pt x="152" y="204"/>
                  <a:pt x="153" y="204"/>
                  <a:pt x="153" y="205"/>
                </a:cubicBezTo>
                <a:cubicBezTo>
                  <a:pt x="153" y="205"/>
                  <a:pt x="153" y="206"/>
                  <a:pt x="153" y="205"/>
                </a:cubicBezTo>
                <a:cubicBezTo>
                  <a:pt x="152" y="205"/>
                  <a:pt x="152" y="205"/>
                  <a:pt x="152" y="204"/>
                </a:cubicBezTo>
                <a:cubicBezTo>
                  <a:pt x="149" y="205"/>
                  <a:pt x="150" y="202"/>
                  <a:pt x="148" y="203"/>
                </a:cubicBezTo>
                <a:cubicBezTo>
                  <a:pt x="147" y="202"/>
                  <a:pt x="147" y="201"/>
                  <a:pt x="146" y="201"/>
                </a:cubicBezTo>
                <a:cubicBezTo>
                  <a:pt x="146" y="200"/>
                  <a:pt x="146" y="198"/>
                  <a:pt x="145" y="198"/>
                </a:cubicBezTo>
                <a:cubicBezTo>
                  <a:pt x="145" y="196"/>
                  <a:pt x="147" y="197"/>
                  <a:pt x="146" y="195"/>
                </a:cubicBezTo>
                <a:cubicBezTo>
                  <a:pt x="146" y="194"/>
                  <a:pt x="145" y="193"/>
                  <a:pt x="143" y="192"/>
                </a:cubicBezTo>
                <a:cubicBezTo>
                  <a:pt x="142" y="192"/>
                  <a:pt x="140" y="192"/>
                  <a:pt x="141" y="190"/>
                </a:cubicBezTo>
                <a:cubicBezTo>
                  <a:pt x="142" y="189"/>
                  <a:pt x="143" y="189"/>
                  <a:pt x="145" y="189"/>
                </a:cubicBezTo>
                <a:cubicBezTo>
                  <a:pt x="145" y="190"/>
                  <a:pt x="146" y="189"/>
                  <a:pt x="146" y="189"/>
                </a:cubicBezTo>
                <a:cubicBezTo>
                  <a:pt x="148" y="188"/>
                  <a:pt x="149" y="186"/>
                  <a:pt x="152" y="187"/>
                </a:cubicBezTo>
                <a:cubicBezTo>
                  <a:pt x="152" y="187"/>
                  <a:pt x="153" y="187"/>
                  <a:pt x="153" y="187"/>
                </a:cubicBezTo>
                <a:cubicBezTo>
                  <a:pt x="153" y="187"/>
                  <a:pt x="153" y="187"/>
                  <a:pt x="153" y="187"/>
                </a:cubicBezTo>
                <a:cubicBezTo>
                  <a:pt x="153" y="187"/>
                  <a:pt x="153" y="186"/>
                  <a:pt x="153" y="186"/>
                </a:cubicBezTo>
                <a:cubicBezTo>
                  <a:pt x="153" y="186"/>
                  <a:pt x="153" y="186"/>
                  <a:pt x="153" y="186"/>
                </a:cubicBezTo>
                <a:cubicBezTo>
                  <a:pt x="153" y="186"/>
                  <a:pt x="153" y="186"/>
                  <a:pt x="154" y="186"/>
                </a:cubicBezTo>
                <a:cubicBezTo>
                  <a:pt x="154" y="185"/>
                  <a:pt x="154" y="185"/>
                  <a:pt x="154" y="185"/>
                </a:cubicBezTo>
                <a:cubicBezTo>
                  <a:pt x="154" y="185"/>
                  <a:pt x="154" y="185"/>
                  <a:pt x="154" y="184"/>
                </a:cubicBezTo>
                <a:cubicBezTo>
                  <a:pt x="155" y="184"/>
                  <a:pt x="155" y="184"/>
                  <a:pt x="155" y="184"/>
                </a:cubicBezTo>
                <a:cubicBezTo>
                  <a:pt x="155" y="184"/>
                  <a:pt x="155" y="184"/>
                  <a:pt x="155" y="183"/>
                </a:cubicBezTo>
                <a:cubicBezTo>
                  <a:pt x="155" y="183"/>
                  <a:pt x="156" y="183"/>
                  <a:pt x="156" y="183"/>
                </a:cubicBezTo>
                <a:cubicBezTo>
                  <a:pt x="156" y="183"/>
                  <a:pt x="156" y="183"/>
                  <a:pt x="157" y="183"/>
                </a:cubicBezTo>
                <a:cubicBezTo>
                  <a:pt x="157" y="183"/>
                  <a:pt x="157" y="183"/>
                  <a:pt x="157" y="183"/>
                </a:cubicBezTo>
                <a:cubicBezTo>
                  <a:pt x="157" y="183"/>
                  <a:pt x="157" y="183"/>
                  <a:pt x="157" y="183"/>
                </a:cubicBezTo>
                <a:cubicBezTo>
                  <a:pt x="157" y="183"/>
                  <a:pt x="158" y="183"/>
                  <a:pt x="158" y="183"/>
                </a:cubicBezTo>
                <a:cubicBezTo>
                  <a:pt x="158" y="183"/>
                  <a:pt x="158" y="183"/>
                  <a:pt x="158" y="183"/>
                </a:cubicBezTo>
                <a:cubicBezTo>
                  <a:pt x="159" y="183"/>
                  <a:pt x="159" y="184"/>
                  <a:pt x="159" y="184"/>
                </a:cubicBezTo>
                <a:cubicBezTo>
                  <a:pt x="159" y="184"/>
                  <a:pt x="160" y="184"/>
                  <a:pt x="160" y="185"/>
                </a:cubicBezTo>
                <a:cubicBezTo>
                  <a:pt x="160" y="185"/>
                  <a:pt x="160" y="185"/>
                  <a:pt x="160" y="185"/>
                </a:cubicBezTo>
                <a:cubicBezTo>
                  <a:pt x="160" y="185"/>
                  <a:pt x="160" y="186"/>
                  <a:pt x="160" y="186"/>
                </a:cubicBezTo>
                <a:cubicBezTo>
                  <a:pt x="160" y="186"/>
                  <a:pt x="160" y="186"/>
                  <a:pt x="160" y="186"/>
                </a:cubicBezTo>
                <a:cubicBezTo>
                  <a:pt x="163" y="185"/>
                  <a:pt x="163" y="188"/>
                  <a:pt x="164" y="188"/>
                </a:cubicBezTo>
                <a:cubicBezTo>
                  <a:pt x="165" y="188"/>
                  <a:pt x="165" y="188"/>
                  <a:pt x="165" y="189"/>
                </a:cubicBezTo>
                <a:cubicBezTo>
                  <a:pt x="166" y="189"/>
                  <a:pt x="166" y="190"/>
                  <a:pt x="166" y="191"/>
                </a:cubicBezTo>
                <a:cubicBezTo>
                  <a:pt x="168" y="192"/>
                  <a:pt x="168" y="192"/>
                  <a:pt x="170" y="191"/>
                </a:cubicBezTo>
                <a:cubicBezTo>
                  <a:pt x="170" y="192"/>
                  <a:pt x="171" y="193"/>
                  <a:pt x="171" y="194"/>
                </a:cubicBezTo>
                <a:cubicBezTo>
                  <a:pt x="171" y="194"/>
                  <a:pt x="171" y="194"/>
                  <a:pt x="171" y="194"/>
                </a:cubicBezTo>
                <a:cubicBezTo>
                  <a:pt x="171" y="194"/>
                  <a:pt x="171" y="194"/>
                  <a:pt x="171" y="194"/>
                </a:cubicBezTo>
                <a:cubicBezTo>
                  <a:pt x="172" y="195"/>
                  <a:pt x="173" y="196"/>
                  <a:pt x="174" y="196"/>
                </a:cubicBezTo>
                <a:close/>
                <a:moveTo>
                  <a:pt x="288" y="241"/>
                </a:moveTo>
                <a:cubicBezTo>
                  <a:pt x="287" y="241"/>
                  <a:pt x="287" y="241"/>
                  <a:pt x="286" y="241"/>
                </a:cubicBezTo>
                <a:cubicBezTo>
                  <a:pt x="286" y="242"/>
                  <a:pt x="286" y="242"/>
                  <a:pt x="286" y="242"/>
                </a:cubicBezTo>
                <a:cubicBezTo>
                  <a:pt x="286" y="242"/>
                  <a:pt x="286" y="242"/>
                  <a:pt x="286" y="243"/>
                </a:cubicBezTo>
                <a:cubicBezTo>
                  <a:pt x="286" y="244"/>
                  <a:pt x="286" y="244"/>
                  <a:pt x="287" y="244"/>
                </a:cubicBezTo>
                <a:cubicBezTo>
                  <a:pt x="287" y="243"/>
                  <a:pt x="288" y="243"/>
                  <a:pt x="288" y="241"/>
                </a:cubicBezTo>
                <a:close/>
                <a:moveTo>
                  <a:pt x="157" y="189"/>
                </a:moveTo>
                <a:cubicBezTo>
                  <a:pt x="158" y="188"/>
                  <a:pt x="159" y="187"/>
                  <a:pt x="159" y="186"/>
                </a:cubicBezTo>
                <a:cubicBezTo>
                  <a:pt x="159" y="186"/>
                  <a:pt x="159" y="186"/>
                  <a:pt x="159" y="186"/>
                </a:cubicBezTo>
                <a:cubicBezTo>
                  <a:pt x="159" y="186"/>
                  <a:pt x="159" y="186"/>
                  <a:pt x="159" y="186"/>
                </a:cubicBezTo>
                <a:cubicBezTo>
                  <a:pt x="158" y="185"/>
                  <a:pt x="158" y="185"/>
                  <a:pt x="158" y="185"/>
                </a:cubicBezTo>
                <a:cubicBezTo>
                  <a:pt x="158" y="185"/>
                  <a:pt x="157" y="184"/>
                  <a:pt x="157" y="184"/>
                </a:cubicBezTo>
                <a:cubicBezTo>
                  <a:pt x="156" y="184"/>
                  <a:pt x="156" y="184"/>
                  <a:pt x="156" y="185"/>
                </a:cubicBezTo>
                <a:cubicBezTo>
                  <a:pt x="156" y="185"/>
                  <a:pt x="155" y="185"/>
                  <a:pt x="155" y="185"/>
                </a:cubicBezTo>
                <a:cubicBezTo>
                  <a:pt x="155" y="185"/>
                  <a:pt x="154" y="186"/>
                  <a:pt x="154" y="186"/>
                </a:cubicBezTo>
                <a:cubicBezTo>
                  <a:pt x="154" y="186"/>
                  <a:pt x="154" y="187"/>
                  <a:pt x="154" y="187"/>
                </a:cubicBezTo>
                <a:cubicBezTo>
                  <a:pt x="154" y="187"/>
                  <a:pt x="155" y="187"/>
                  <a:pt x="154" y="187"/>
                </a:cubicBezTo>
                <a:cubicBezTo>
                  <a:pt x="152" y="187"/>
                  <a:pt x="154" y="190"/>
                  <a:pt x="154" y="191"/>
                </a:cubicBezTo>
                <a:cubicBezTo>
                  <a:pt x="156" y="191"/>
                  <a:pt x="157" y="190"/>
                  <a:pt x="157" y="189"/>
                </a:cubicBezTo>
                <a:close/>
                <a:moveTo>
                  <a:pt x="298" y="216"/>
                </a:moveTo>
                <a:cubicBezTo>
                  <a:pt x="298" y="215"/>
                  <a:pt x="300" y="214"/>
                  <a:pt x="301" y="213"/>
                </a:cubicBezTo>
                <a:cubicBezTo>
                  <a:pt x="303" y="213"/>
                  <a:pt x="303" y="211"/>
                  <a:pt x="302" y="211"/>
                </a:cubicBezTo>
                <a:cubicBezTo>
                  <a:pt x="301" y="211"/>
                  <a:pt x="297" y="211"/>
                  <a:pt x="297" y="211"/>
                </a:cubicBezTo>
                <a:cubicBezTo>
                  <a:pt x="295" y="213"/>
                  <a:pt x="293" y="216"/>
                  <a:pt x="293" y="216"/>
                </a:cubicBezTo>
                <a:cubicBezTo>
                  <a:pt x="292" y="217"/>
                  <a:pt x="291" y="218"/>
                  <a:pt x="290" y="218"/>
                </a:cubicBezTo>
                <a:cubicBezTo>
                  <a:pt x="289" y="219"/>
                  <a:pt x="288" y="220"/>
                  <a:pt x="289" y="221"/>
                </a:cubicBezTo>
                <a:cubicBezTo>
                  <a:pt x="290" y="223"/>
                  <a:pt x="290" y="224"/>
                  <a:pt x="290" y="223"/>
                </a:cubicBezTo>
                <a:cubicBezTo>
                  <a:pt x="290" y="222"/>
                  <a:pt x="291" y="219"/>
                  <a:pt x="294" y="219"/>
                </a:cubicBezTo>
                <a:cubicBezTo>
                  <a:pt x="296" y="219"/>
                  <a:pt x="298" y="217"/>
                  <a:pt x="298" y="216"/>
                </a:cubicBezTo>
                <a:close/>
                <a:moveTo>
                  <a:pt x="314" y="237"/>
                </a:moveTo>
                <a:cubicBezTo>
                  <a:pt x="314" y="239"/>
                  <a:pt x="316" y="239"/>
                  <a:pt x="316" y="240"/>
                </a:cubicBezTo>
                <a:cubicBezTo>
                  <a:pt x="317" y="240"/>
                  <a:pt x="317" y="239"/>
                  <a:pt x="318" y="240"/>
                </a:cubicBezTo>
                <a:cubicBezTo>
                  <a:pt x="318" y="239"/>
                  <a:pt x="318" y="239"/>
                  <a:pt x="319" y="239"/>
                </a:cubicBezTo>
                <a:cubicBezTo>
                  <a:pt x="319" y="238"/>
                  <a:pt x="319" y="238"/>
                  <a:pt x="320" y="238"/>
                </a:cubicBezTo>
                <a:cubicBezTo>
                  <a:pt x="321" y="235"/>
                  <a:pt x="317" y="238"/>
                  <a:pt x="314" y="237"/>
                </a:cubicBezTo>
                <a:close/>
                <a:moveTo>
                  <a:pt x="322" y="223"/>
                </a:moveTo>
                <a:cubicBezTo>
                  <a:pt x="323" y="223"/>
                  <a:pt x="323" y="223"/>
                  <a:pt x="323" y="223"/>
                </a:cubicBezTo>
                <a:cubicBezTo>
                  <a:pt x="323" y="222"/>
                  <a:pt x="323" y="221"/>
                  <a:pt x="323" y="221"/>
                </a:cubicBezTo>
                <a:cubicBezTo>
                  <a:pt x="323" y="221"/>
                  <a:pt x="323" y="221"/>
                  <a:pt x="323" y="221"/>
                </a:cubicBezTo>
                <a:cubicBezTo>
                  <a:pt x="323" y="221"/>
                  <a:pt x="323" y="220"/>
                  <a:pt x="323" y="220"/>
                </a:cubicBezTo>
                <a:cubicBezTo>
                  <a:pt x="323" y="220"/>
                  <a:pt x="322" y="220"/>
                  <a:pt x="322" y="220"/>
                </a:cubicBezTo>
                <a:cubicBezTo>
                  <a:pt x="322" y="220"/>
                  <a:pt x="322" y="220"/>
                  <a:pt x="322" y="220"/>
                </a:cubicBezTo>
                <a:cubicBezTo>
                  <a:pt x="321" y="220"/>
                  <a:pt x="320" y="220"/>
                  <a:pt x="320" y="220"/>
                </a:cubicBezTo>
                <a:cubicBezTo>
                  <a:pt x="320" y="222"/>
                  <a:pt x="321" y="222"/>
                  <a:pt x="322" y="223"/>
                </a:cubicBezTo>
                <a:cubicBezTo>
                  <a:pt x="322" y="223"/>
                  <a:pt x="322" y="223"/>
                  <a:pt x="322" y="223"/>
                </a:cubicBezTo>
                <a:close/>
                <a:moveTo>
                  <a:pt x="324" y="235"/>
                </a:moveTo>
                <a:cubicBezTo>
                  <a:pt x="324" y="233"/>
                  <a:pt x="323" y="233"/>
                  <a:pt x="322" y="233"/>
                </a:cubicBezTo>
                <a:cubicBezTo>
                  <a:pt x="322" y="234"/>
                  <a:pt x="322" y="235"/>
                  <a:pt x="322" y="235"/>
                </a:cubicBezTo>
                <a:cubicBezTo>
                  <a:pt x="322" y="235"/>
                  <a:pt x="323" y="235"/>
                  <a:pt x="323" y="235"/>
                </a:cubicBezTo>
                <a:cubicBezTo>
                  <a:pt x="323" y="235"/>
                  <a:pt x="323" y="235"/>
                  <a:pt x="324" y="235"/>
                </a:cubicBezTo>
                <a:close/>
                <a:moveTo>
                  <a:pt x="310" y="229"/>
                </a:moveTo>
                <a:cubicBezTo>
                  <a:pt x="310" y="229"/>
                  <a:pt x="309" y="229"/>
                  <a:pt x="309" y="229"/>
                </a:cubicBezTo>
                <a:cubicBezTo>
                  <a:pt x="309" y="229"/>
                  <a:pt x="309" y="228"/>
                  <a:pt x="309" y="228"/>
                </a:cubicBezTo>
                <a:cubicBezTo>
                  <a:pt x="309" y="228"/>
                  <a:pt x="308" y="228"/>
                  <a:pt x="307" y="228"/>
                </a:cubicBezTo>
                <a:cubicBezTo>
                  <a:pt x="307" y="229"/>
                  <a:pt x="306" y="229"/>
                  <a:pt x="306" y="230"/>
                </a:cubicBezTo>
                <a:cubicBezTo>
                  <a:pt x="306" y="230"/>
                  <a:pt x="305" y="230"/>
                  <a:pt x="304" y="231"/>
                </a:cubicBezTo>
                <a:cubicBezTo>
                  <a:pt x="305" y="233"/>
                  <a:pt x="305" y="232"/>
                  <a:pt x="304" y="234"/>
                </a:cubicBezTo>
                <a:cubicBezTo>
                  <a:pt x="307" y="235"/>
                  <a:pt x="306" y="232"/>
                  <a:pt x="308" y="233"/>
                </a:cubicBezTo>
                <a:cubicBezTo>
                  <a:pt x="308" y="233"/>
                  <a:pt x="308" y="234"/>
                  <a:pt x="308" y="235"/>
                </a:cubicBezTo>
                <a:cubicBezTo>
                  <a:pt x="311" y="235"/>
                  <a:pt x="310" y="233"/>
                  <a:pt x="312" y="233"/>
                </a:cubicBezTo>
                <a:cubicBezTo>
                  <a:pt x="312" y="232"/>
                  <a:pt x="312" y="232"/>
                  <a:pt x="312" y="232"/>
                </a:cubicBezTo>
                <a:cubicBezTo>
                  <a:pt x="312" y="232"/>
                  <a:pt x="312" y="232"/>
                  <a:pt x="312" y="232"/>
                </a:cubicBezTo>
                <a:cubicBezTo>
                  <a:pt x="312" y="230"/>
                  <a:pt x="311" y="230"/>
                  <a:pt x="310" y="229"/>
                </a:cubicBezTo>
                <a:close/>
                <a:moveTo>
                  <a:pt x="341" y="227"/>
                </a:moveTo>
                <a:cubicBezTo>
                  <a:pt x="339" y="227"/>
                  <a:pt x="339" y="226"/>
                  <a:pt x="339" y="224"/>
                </a:cubicBezTo>
                <a:cubicBezTo>
                  <a:pt x="339" y="224"/>
                  <a:pt x="338" y="224"/>
                  <a:pt x="337" y="224"/>
                </a:cubicBezTo>
                <a:cubicBezTo>
                  <a:pt x="337" y="225"/>
                  <a:pt x="336" y="225"/>
                  <a:pt x="336" y="226"/>
                </a:cubicBezTo>
                <a:cubicBezTo>
                  <a:pt x="335" y="226"/>
                  <a:pt x="335" y="227"/>
                  <a:pt x="334" y="227"/>
                </a:cubicBezTo>
                <a:cubicBezTo>
                  <a:pt x="334" y="227"/>
                  <a:pt x="333" y="227"/>
                  <a:pt x="333" y="227"/>
                </a:cubicBezTo>
                <a:cubicBezTo>
                  <a:pt x="333" y="227"/>
                  <a:pt x="333" y="227"/>
                  <a:pt x="333" y="227"/>
                </a:cubicBezTo>
                <a:cubicBezTo>
                  <a:pt x="333" y="228"/>
                  <a:pt x="332" y="228"/>
                  <a:pt x="332" y="228"/>
                </a:cubicBezTo>
                <a:cubicBezTo>
                  <a:pt x="332" y="228"/>
                  <a:pt x="332" y="228"/>
                  <a:pt x="332" y="228"/>
                </a:cubicBezTo>
                <a:cubicBezTo>
                  <a:pt x="330" y="228"/>
                  <a:pt x="330" y="228"/>
                  <a:pt x="329" y="230"/>
                </a:cubicBezTo>
                <a:cubicBezTo>
                  <a:pt x="329" y="230"/>
                  <a:pt x="329" y="230"/>
                  <a:pt x="329" y="230"/>
                </a:cubicBezTo>
                <a:cubicBezTo>
                  <a:pt x="327" y="232"/>
                  <a:pt x="326" y="233"/>
                  <a:pt x="325" y="234"/>
                </a:cubicBezTo>
                <a:cubicBezTo>
                  <a:pt x="325" y="235"/>
                  <a:pt x="325" y="236"/>
                  <a:pt x="325" y="237"/>
                </a:cubicBezTo>
                <a:cubicBezTo>
                  <a:pt x="323" y="238"/>
                  <a:pt x="322" y="239"/>
                  <a:pt x="323" y="241"/>
                </a:cubicBezTo>
                <a:cubicBezTo>
                  <a:pt x="322" y="243"/>
                  <a:pt x="324" y="243"/>
                  <a:pt x="324" y="245"/>
                </a:cubicBezTo>
                <a:cubicBezTo>
                  <a:pt x="324" y="245"/>
                  <a:pt x="324" y="245"/>
                  <a:pt x="324" y="245"/>
                </a:cubicBezTo>
                <a:cubicBezTo>
                  <a:pt x="324" y="246"/>
                  <a:pt x="323" y="247"/>
                  <a:pt x="324" y="249"/>
                </a:cubicBezTo>
                <a:cubicBezTo>
                  <a:pt x="324" y="249"/>
                  <a:pt x="324" y="249"/>
                  <a:pt x="324" y="249"/>
                </a:cubicBezTo>
                <a:cubicBezTo>
                  <a:pt x="324" y="249"/>
                  <a:pt x="324" y="250"/>
                  <a:pt x="324" y="250"/>
                </a:cubicBezTo>
                <a:cubicBezTo>
                  <a:pt x="324" y="251"/>
                  <a:pt x="325" y="252"/>
                  <a:pt x="326" y="253"/>
                </a:cubicBezTo>
                <a:cubicBezTo>
                  <a:pt x="326" y="253"/>
                  <a:pt x="326" y="253"/>
                  <a:pt x="326" y="253"/>
                </a:cubicBezTo>
                <a:cubicBezTo>
                  <a:pt x="326" y="253"/>
                  <a:pt x="326" y="253"/>
                  <a:pt x="326" y="254"/>
                </a:cubicBezTo>
                <a:cubicBezTo>
                  <a:pt x="326" y="254"/>
                  <a:pt x="326" y="254"/>
                  <a:pt x="326" y="254"/>
                </a:cubicBezTo>
                <a:cubicBezTo>
                  <a:pt x="326" y="254"/>
                  <a:pt x="326" y="255"/>
                  <a:pt x="326" y="255"/>
                </a:cubicBezTo>
                <a:cubicBezTo>
                  <a:pt x="326" y="255"/>
                  <a:pt x="327" y="255"/>
                  <a:pt x="327" y="255"/>
                </a:cubicBezTo>
                <a:cubicBezTo>
                  <a:pt x="327" y="255"/>
                  <a:pt x="327" y="255"/>
                  <a:pt x="327" y="255"/>
                </a:cubicBezTo>
                <a:cubicBezTo>
                  <a:pt x="328" y="255"/>
                  <a:pt x="328" y="252"/>
                  <a:pt x="329" y="252"/>
                </a:cubicBezTo>
                <a:cubicBezTo>
                  <a:pt x="330" y="252"/>
                  <a:pt x="330" y="252"/>
                  <a:pt x="330" y="252"/>
                </a:cubicBezTo>
                <a:cubicBezTo>
                  <a:pt x="330" y="252"/>
                  <a:pt x="330" y="252"/>
                  <a:pt x="331" y="251"/>
                </a:cubicBezTo>
                <a:cubicBezTo>
                  <a:pt x="331" y="250"/>
                  <a:pt x="331" y="250"/>
                  <a:pt x="332" y="249"/>
                </a:cubicBezTo>
                <a:cubicBezTo>
                  <a:pt x="332" y="249"/>
                  <a:pt x="332" y="249"/>
                  <a:pt x="332" y="249"/>
                </a:cubicBezTo>
                <a:cubicBezTo>
                  <a:pt x="333" y="249"/>
                  <a:pt x="334" y="247"/>
                  <a:pt x="334" y="246"/>
                </a:cubicBezTo>
                <a:cubicBezTo>
                  <a:pt x="334" y="246"/>
                  <a:pt x="334" y="246"/>
                  <a:pt x="334" y="246"/>
                </a:cubicBezTo>
                <a:cubicBezTo>
                  <a:pt x="334" y="245"/>
                  <a:pt x="335" y="245"/>
                  <a:pt x="335" y="245"/>
                </a:cubicBezTo>
                <a:cubicBezTo>
                  <a:pt x="335" y="244"/>
                  <a:pt x="337" y="244"/>
                  <a:pt x="338" y="243"/>
                </a:cubicBezTo>
                <a:cubicBezTo>
                  <a:pt x="338" y="241"/>
                  <a:pt x="337" y="241"/>
                  <a:pt x="337" y="238"/>
                </a:cubicBezTo>
                <a:cubicBezTo>
                  <a:pt x="337" y="238"/>
                  <a:pt x="337" y="238"/>
                  <a:pt x="337" y="238"/>
                </a:cubicBezTo>
                <a:cubicBezTo>
                  <a:pt x="337" y="238"/>
                  <a:pt x="337" y="238"/>
                  <a:pt x="337" y="238"/>
                </a:cubicBezTo>
                <a:cubicBezTo>
                  <a:pt x="339" y="237"/>
                  <a:pt x="339" y="235"/>
                  <a:pt x="339" y="234"/>
                </a:cubicBezTo>
                <a:cubicBezTo>
                  <a:pt x="339" y="234"/>
                  <a:pt x="339" y="234"/>
                  <a:pt x="339" y="234"/>
                </a:cubicBezTo>
                <a:cubicBezTo>
                  <a:pt x="339" y="234"/>
                  <a:pt x="339" y="234"/>
                  <a:pt x="339" y="234"/>
                </a:cubicBezTo>
                <a:cubicBezTo>
                  <a:pt x="339" y="231"/>
                  <a:pt x="340" y="230"/>
                  <a:pt x="341" y="227"/>
                </a:cubicBezTo>
                <a:close/>
                <a:moveTo>
                  <a:pt x="54" y="70"/>
                </a:moveTo>
                <a:cubicBezTo>
                  <a:pt x="54" y="70"/>
                  <a:pt x="54" y="70"/>
                  <a:pt x="54" y="70"/>
                </a:cubicBezTo>
                <a:cubicBezTo>
                  <a:pt x="54" y="70"/>
                  <a:pt x="54" y="70"/>
                  <a:pt x="54" y="70"/>
                </a:cubicBezTo>
                <a:cubicBezTo>
                  <a:pt x="54" y="70"/>
                  <a:pt x="54" y="70"/>
                  <a:pt x="54" y="70"/>
                </a:cubicBezTo>
                <a:close/>
                <a:moveTo>
                  <a:pt x="300" y="224"/>
                </a:moveTo>
                <a:cubicBezTo>
                  <a:pt x="300" y="224"/>
                  <a:pt x="300" y="224"/>
                  <a:pt x="299" y="224"/>
                </a:cubicBezTo>
                <a:cubicBezTo>
                  <a:pt x="299" y="224"/>
                  <a:pt x="299" y="224"/>
                  <a:pt x="299" y="224"/>
                </a:cubicBezTo>
                <a:cubicBezTo>
                  <a:pt x="297" y="224"/>
                  <a:pt x="298" y="226"/>
                  <a:pt x="298" y="227"/>
                </a:cubicBezTo>
                <a:cubicBezTo>
                  <a:pt x="298" y="227"/>
                  <a:pt x="299" y="227"/>
                  <a:pt x="300" y="227"/>
                </a:cubicBezTo>
                <a:cubicBezTo>
                  <a:pt x="300" y="227"/>
                  <a:pt x="300" y="226"/>
                  <a:pt x="300" y="225"/>
                </a:cubicBezTo>
                <a:cubicBezTo>
                  <a:pt x="300" y="225"/>
                  <a:pt x="300" y="225"/>
                  <a:pt x="300" y="225"/>
                </a:cubicBezTo>
                <a:cubicBezTo>
                  <a:pt x="300" y="225"/>
                  <a:pt x="300" y="224"/>
                  <a:pt x="300" y="224"/>
                </a:cubicBezTo>
                <a:close/>
                <a:moveTo>
                  <a:pt x="214" y="240"/>
                </a:moveTo>
                <a:cubicBezTo>
                  <a:pt x="214" y="240"/>
                  <a:pt x="215" y="239"/>
                  <a:pt x="215" y="240"/>
                </a:cubicBezTo>
                <a:cubicBezTo>
                  <a:pt x="215" y="241"/>
                  <a:pt x="216" y="241"/>
                  <a:pt x="217" y="241"/>
                </a:cubicBezTo>
                <a:cubicBezTo>
                  <a:pt x="217" y="238"/>
                  <a:pt x="216" y="236"/>
                  <a:pt x="214" y="236"/>
                </a:cubicBezTo>
                <a:cubicBezTo>
                  <a:pt x="214" y="238"/>
                  <a:pt x="211" y="236"/>
                  <a:pt x="212" y="238"/>
                </a:cubicBezTo>
                <a:cubicBezTo>
                  <a:pt x="212" y="239"/>
                  <a:pt x="213" y="239"/>
                  <a:pt x="214" y="240"/>
                </a:cubicBezTo>
                <a:close/>
                <a:moveTo>
                  <a:pt x="292" y="207"/>
                </a:moveTo>
                <a:cubicBezTo>
                  <a:pt x="290" y="206"/>
                  <a:pt x="289" y="204"/>
                  <a:pt x="286" y="205"/>
                </a:cubicBezTo>
                <a:cubicBezTo>
                  <a:pt x="286" y="204"/>
                  <a:pt x="285" y="204"/>
                  <a:pt x="285" y="204"/>
                </a:cubicBezTo>
                <a:cubicBezTo>
                  <a:pt x="285" y="203"/>
                  <a:pt x="285" y="203"/>
                  <a:pt x="284" y="203"/>
                </a:cubicBezTo>
                <a:cubicBezTo>
                  <a:pt x="284" y="202"/>
                  <a:pt x="283" y="201"/>
                  <a:pt x="284" y="200"/>
                </a:cubicBezTo>
                <a:cubicBezTo>
                  <a:pt x="282" y="200"/>
                  <a:pt x="280" y="200"/>
                  <a:pt x="279" y="201"/>
                </a:cubicBezTo>
                <a:cubicBezTo>
                  <a:pt x="277" y="203"/>
                  <a:pt x="282" y="203"/>
                  <a:pt x="282" y="205"/>
                </a:cubicBezTo>
                <a:cubicBezTo>
                  <a:pt x="285" y="205"/>
                  <a:pt x="286" y="206"/>
                  <a:pt x="287" y="208"/>
                </a:cubicBezTo>
                <a:cubicBezTo>
                  <a:pt x="286" y="208"/>
                  <a:pt x="286" y="209"/>
                  <a:pt x="286" y="210"/>
                </a:cubicBezTo>
                <a:cubicBezTo>
                  <a:pt x="286" y="210"/>
                  <a:pt x="286" y="210"/>
                  <a:pt x="286" y="211"/>
                </a:cubicBezTo>
                <a:cubicBezTo>
                  <a:pt x="286" y="211"/>
                  <a:pt x="286" y="212"/>
                  <a:pt x="286" y="212"/>
                </a:cubicBezTo>
                <a:cubicBezTo>
                  <a:pt x="287" y="212"/>
                  <a:pt x="288" y="212"/>
                  <a:pt x="288" y="212"/>
                </a:cubicBezTo>
                <a:cubicBezTo>
                  <a:pt x="288" y="212"/>
                  <a:pt x="287" y="214"/>
                  <a:pt x="288" y="214"/>
                </a:cubicBezTo>
                <a:cubicBezTo>
                  <a:pt x="289" y="211"/>
                  <a:pt x="293" y="211"/>
                  <a:pt x="292" y="207"/>
                </a:cubicBezTo>
                <a:close/>
                <a:moveTo>
                  <a:pt x="303" y="279"/>
                </a:moveTo>
                <a:cubicBezTo>
                  <a:pt x="301" y="278"/>
                  <a:pt x="301" y="280"/>
                  <a:pt x="299" y="280"/>
                </a:cubicBezTo>
                <a:cubicBezTo>
                  <a:pt x="299" y="280"/>
                  <a:pt x="299" y="281"/>
                  <a:pt x="298" y="281"/>
                </a:cubicBezTo>
                <a:cubicBezTo>
                  <a:pt x="298" y="282"/>
                  <a:pt x="297" y="282"/>
                  <a:pt x="297" y="283"/>
                </a:cubicBezTo>
                <a:cubicBezTo>
                  <a:pt x="298" y="284"/>
                  <a:pt x="300" y="284"/>
                  <a:pt x="301" y="283"/>
                </a:cubicBezTo>
                <a:cubicBezTo>
                  <a:pt x="301" y="282"/>
                  <a:pt x="301" y="282"/>
                  <a:pt x="302" y="282"/>
                </a:cubicBezTo>
                <a:cubicBezTo>
                  <a:pt x="302" y="282"/>
                  <a:pt x="302" y="281"/>
                  <a:pt x="302" y="281"/>
                </a:cubicBezTo>
                <a:cubicBezTo>
                  <a:pt x="305" y="282"/>
                  <a:pt x="303" y="280"/>
                  <a:pt x="303" y="279"/>
                </a:cubicBezTo>
                <a:close/>
                <a:moveTo>
                  <a:pt x="297" y="223"/>
                </a:moveTo>
                <a:cubicBezTo>
                  <a:pt x="297" y="222"/>
                  <a:pt x="297" y="222"/>
                  <a:pt x="297" y="222"/>
                </a:cubicBezTo>
                <a:cubicBezTo>
                  <a:pt x="297" y="222"/>
                  <a:pt x="297" y="221"/>
                  <a:pt x="297" y="221"/>
                </a:cubicBezTo>
                <a:cubicBezTo>
                  <a:pt x="296" y="222"/>
                  <a:pt x="296" y="222"/>
                  <a:pt x="296" y="224"/>
                </a:cubicBezTo>
                <a:cubicBezTo>
                  <a:pt x="296" y="224"/>
                  <a:pt x="296" y="224"/>
                  <a:pt x="296" y="224"/>
                </a:cubicBezTo>
                <a:cubicBezTo>
                  <a:pt x="296" y="224"/>
                  <a:pt x="296" y="224"/>
                  <a:pt x="297" y="224"/>
                </a:cubicBezTo>
                <a:cubicBezTo>
                  <a:pt x="297" y="223"/>
                  <a:pt x="297" y="222"/>
                  <a:pt x="297" y="223"/>
                </a:cubicBezTo>
                <a:close/>
                <a:moveTo>
                  <a:pt x="310" y="271"/>
                </a:moveTo>
                <a:cubicBezTo>
                  <a:pt x="310" y="271"/>
                  <a:pt x="310" y="271"/>
                  <a:pt x="309" y="271"/>
                </a:cubicBezTo>
                <a:cubicBezTo>
                  <a:pt x="309" y="271"/>
                  <a:pt x="309" y="270"/>
                  <a:pt x="309" y="270"/>
                </a:cubicBezTo>
                <a:cubicBezTo>
                  <a:pt x="308" y="269"/>
                  <a:pt x="307" y="269"/>
                  <a:pt x="307" y="267"/>
                </a:cubicBezTo>
                <a:cubicBezTo>
                  <a:pt x="307" y="267"/>
                  <a:pt x="307" y="267"/>
                  <a:pt x="307" y="267"/>
                </a:cubicBezTo>
                <a:cubicBezTo>
                  <a:pt x="307" y="267"/>
                  <a:pt x="307" y="266"/>
                  <a:pt x="307" y="265"/>
                </a:cubicBezTo>
                <a:cubicBezTo>
                  <a:pt x="307" y="265"/>
                  <a:pt x="307" y="265"/>
                  <a:pt x="308" y="265"/>
                </a:cubicBezTo>
                <a:cubicBezTo>
                  <a:pt x="308" y="264"/>
                  <a:pt x="308" y="264"/>
                  <a:pt x="308" y="263"/>
                </a:cubicBezTo>
                <a:cubicBezTo>
                  <a:pt x="308" y="263"/>
                  <a:pt x="308" y="263"/>
                  <a:pt x="308" y="263"/>
                </a:cubicBezTo>
                <a:cubicBezTo>
                  <a:pt x="309" y="262"/>
                  <a:pt x="309" y="261"/>
                  <a:pt x="309" y="261"/>
                </a:cubicBezTo>
                <a:cubicBezTo>
                  <a:pt x="309" y="260"/>
                  <a:pt x="309" y="260"/>
                  <a:pt x="308" y="260"/>
                </a:cubicBezTo>
                <a:cubicBezTo>
                  <a:pt x="307" y="258"/>
                  <a:pt x="309" y="258"/>
                  <a:pt x="309" y="256"/>
                </a:cubicBezTo>
                <a:cubicBezTo>
                  <a:pt x="309" y="256"/>
                  <a:pt x="309" y="256"/>
                  <a:pt x="309" y="256"/>
                </a:cubicBezTo>
                <a:cubicBezTo>
                  <a:pt x="309" y="256"/>
                  <a:pt x="309" y="256"/>
                  <a:pt x="309" y="256"/>
                </a:cubicBezTo>
                <a:cubicBezTo>
                  <a:pt x="307" y="256"/>
                  <a:pt x="308" y="254"/>
                  <a:pt x="306" y="254"/>
                </a:cubicBezTo>
                <a:cubicBezTo>
                  <a:pt x="306" y="256"/>
                  <a:pt x="305" y="256"/>
                  <a:pt x="305" y="258"/>
                </a:cubicBezTo>
                <a:cubicBezTo>
                  <a:pt x="306" y="258"/>
                  <a:pt x="306" y="258"/>
                  <a:pt x="306" y="259"/>
                </a:cubicBezTo>
                <a:cubicBezTo>
                  <a:pt x="306" y="261"/>
                  <a:pt x="305" y="262"/>
                  <a:pt x="305" y="264"/>
                </a:cubicBezTo>
                <a:cubicBezTo>
                  <a:pt x="304" y="264"/>
                  <a:pt x="305" y="266"/>
                  <a:pt x="303" y="266"/>
                </a:cubicBezTo>
                <a:cubicBezTo>
                  <a:pt x="303" y="266"/>
                  <a:pt x="303" y="267"/>
                  <a:pt x="303" y="267"/>
                </a:cubicBezTo>
                <a:cubicBezTo>
                  <a:pt x="303" y="267"/>
                  <a:pt x="303" y="267"/>
                  <a:pt x="303" y="267"/>
                </a:cubicBezTo>
                <a:cubicBezTo>
                  <a:pt x="302" y="269"/>
                  <a:pt x="302" y="269"/>
                  <a:pt x="302" y="271"/>
                </a:cubicBezTo>
                <a:cubicBezTo>
                  <a:pt x="302" y="271"/>
                  <a:pt x="302" y="271"/>
                  <a:pt x="302" y="271"/>
                </a:cubicBezTo>
                <a:cubicBezTo>
                  <a:pt x="302" y="271"/>
                  <a:pt x="302" y="272"/>
                  <a:pt x="302" y="272"/>
                </a:cubicBezTo>
                <a:cubicBezTo>
                  <a:pt x="303" y="273"/>
                  <a:pt x="305" y="273"/>
                  <a:pt x="304" y="275"/>
                </a:cubicBezTo>
                <a:cubicBezTo>
                  <a:pt x="305" y="276"/>
                  <a:pt x="305" y="276"/>
                  <a:pt x="305" y="276"/>
                </a:cubicBezTo>
                <a:cubicBezTo>
                  <a:pt x="305" y="276"/>
                  <a:pt x="304" y="277"/>
                  <a:pt x="304" y="277"/>
                </a:cubicBezTo>
                <a:cubicBezTo>
                  <a:pt x="304" y="277"/>
                  <a:pt x="304" y="278"/>
                  <a:pt x="304" y="278"/>
                </a:cubicBezTo>
                <a:cubicBezTo>
                  <a:pt x="306" y="278"/>
                  <a:pt x="307" y="282"/>
                  <a:pt x="308" y="280"/>
                </a:cubicBezTo>
                <a:cubicBezTo>
                  <a:pt x="308" y="280"/>
                  <a:pt x="308" y="279"/>
                  <a:pt x="309" y="279"/>
                </a:cubicBezTo>
                <a:cubicBezTo>
                  <a:pt x="310" y="279"/>
                  <a:pt x="309" y="277"/>
                  <a:pt x="309" y="276"/>
                </a:cubicBezTo>
                <a:cubicBezTo>
                  <a:pt x="309" y="275"/>
                  <a:pt x="309" y="275"/>
                  <a:pt x="310" y="275"/>
                </a:cubicBezTo>
                <a:cubicBezTo>
                  <a:pt x="311" y="275"/>
                  <a:pt x="311" y="274"/>
                  <a:pt x="311" y="273"/>
                </a:cubicBezTo>
                <a:cubicBezTo>
                  <a:pt x="310" y="273"/>
                  <a:pt x="310" y="272"/>
                  <a:pt x="310" y="271"/>
                </a:cubicBezTo>
                <a:close/>
                <a:moveTo>
                  <a:pt x="243" y="224"/>
                </a:moveTo>
                <a:cubicBezTo>
                  <a:pt x="244" y="221"/>
                  <a:pt x="242" y="221"/>
                  <a:pt x="242" y="220"/>
                </a:cubicBezTo>
                <a:cubicBezTo>
                  <a:pt x="241" y="220"/>
                  <a:pt x="241" y="221"/>
                  <a:pt x="240" y="221"/>
                </a:cubicBezTo>
                <a:cubicBezTo>
                  <a:pt x="240" y="220"/>
                  <a:pt x="239" y="220"/>
                  <a:pt x="238" y="220"/>
                </a:cubicBezTo>
                <a:cubicBezTo>
                  <a:pt x="238" y="222"/>
                  <a:pt x="236" y="222"/>
                  <a:pt x="235" y="224"/>
                </a:cubicBezTo>
                <a:cubicBezTo>
                  <a:pt x="236" y="224"/>
                  <a:pt x="236" y="224"/>
                  <a:pt x="236" y="224"/>
                </a:cubicBezTo>
                <a:cubicBezTo>
                  <a:pt x="236" y="224"/>
                  <a:pt x="236" y="224"/>
                  <a:pt x="235" y="224"/>
                </a:cubicBezTo>
                <a:cubicBezTo>
                  <a:pt x="235" y="224"/>
                  <a:pt x="235" y="224"/>
                  <a:pt x="235" y="224"/>
                </a:cubicBezTo>
                <a:cubicBezTo>
                  <a:pt x="235" y="224"/>
                  <a:pt x="234" y="224"/>
                  <a:pt x="234" y="224"/>
                </a:cubicBezTo>
                <a:cubicBezTo>
                  <a:pt x="233" y="224"/>
                  <a:pt x="233" y="225"/>
                  <a:pt x="233" y="225"/>
                </a:cubicBezTo>
                <a:cubicBezTo>
                  <a:pt x="233" y="225"/>
                  <a:pt x="233" y="226"/>
                  <a:pt x="233" y="226"/>
                </a:cubicBezTo>
                <a:cubicBezTo>
                  <a:pt x="233" y="229"/>
                  <a:pt x="236" y="226"/>
                  <a:pt x="236" y="225"/>
                </a:cubicBezTo>
                <a:cubicBezTo>
                  <a:pt x="237" y="225"/>
                  <a:pt x="237" y="226"/>
                  <a:pt x="238" y="226"/>
                </a:cubicBezTo>
                <a:cubicBezTo>
                  <a:pt x="237" y="225"/>
                  <a:pt x="238" y="224"/>
                  <a:pt x="238" y="224"/>
                </a:cubicBezTo>
                <a:cubicBezTo>
                  <a:pt x="238" y="224"/>
                  <a:pt x="237" y="223"/>
                  <a:pt x="238" y="223"/>
                </a:cubicBezTo>
                <a:cubicBezTo>
                  <a:pt x="239" y="223"/>
                  <a:pt x="239" y="223"/>
                  <a:pt x="240" y="223"/>
                </a:cubicBezTo>
                <a:cubicBezTo>
                  <a:pt x="240" y="223"/>
                  <a:pt x="240" y="223"/>
                  <a:pt x="240" y="224"/>
                </a:cubicBezTo>
                <a:cubicBezTo>
                  <a:pt x="240" y="225"/>
                  <a:pt x="242" y="223"/>
                  <a:pt x="243" y="224"/>
                </a:cubicBezTo>
                <a:close/>
                <a:moveTo>
                  <a:pt x="27" y="134"/>
                </a:moveTo>
                <a:cubicBezTo>
                  <a:pt x="25" y="133"/>
                  <a:pt x="23" y="133"/>
                  <a:pt x="22" y="132"/>
                </a:cubicBezTo>
                <a:cubicBezTo>
                  <a:pt x="22" y="130"/>
                  <a:pt x="21" y="130"/>
                  <a:pt x="21" y="129"/>
                </a:cubicBezTo>
                <a:cubicBezTo>
                  <a:pt x="20" y="128"/>
                  <a:pt x="20" y="127"/>
                  <a:pt x="19" y="127"/>
                </a:cubicBezTo>
                <a:cubicBezTo>
                  <a:pt x="19" y="126"/>
                  <a:pt x="19" y="125"/>
                  <a:pt x="18" y="124"/>
                </a:cubicBezTo>
                <a:cubicBezTo>
                  <a:pt x="18" y="124"/>
                  <a:pt x="18" y="124"/>
                  <a:pt x="18" y="124"/>
                </a:cubicBezTo>
                <a:cubicBezTo>
                  <a:pt x="17" y="123"/>
                  <a:pt x="17" y="122"/>
                  <a:pt x="18" y="122"/>
                </a:cubicBezTo>
                <a:cubicBezTo>
                  <a:pt x="18" y="122"/>
                  <a:pt x="18" y="122"/>
                  <a:pt x="18" y="122"/>
                </a:cubicBezTo>
                <a:cubicBezTo>
                  <a:pt x="18" y="121"/>
                  <a:pt x="19" y="121"/>
                  <a:pt x="20" y="121"/>
                </a:cubicBezTo>
                <a:cubicBezTo>
                  <a:pt x="20" y="121"/>
                  <a:pt x="20" y="121"/>
                  <a:pt x="20" y="121"/>
                </a:cubicBezTo>
                <a:cubicBezTo>
                  <a:pt x="22" y="120"/>
                  <a:pt x="20" y="118"/>
                  <a:pt x="20" y="118"/>
                </a:cubicBezTo>
                <a:cubicBezTo>
                  <a:pt x="20" y="118"/>
                  <a:pt x="20" y="118"/>
                  <a:pt x="20" y="117"/>
                </a:cubicBezTo>
                <a:cubicBezTo>
                  <a:pt x="20" y="117"/>
                  <a:pt x="20" y="117"/>
                  <a:pt x="19" y="117"/>
                </a:cubicBezTo>
                <a:cubicBezTo>
                  <a:pt x="18" y="117"/>
                  <a:pt x="15" y="117"/>
                  <a:pt x="14" y="117"/>
                </a:cubicBezTo>
                <a:cubicBezTo>
                  <a:pt x="14" y="117"/>
                  <a:pt x="14" y="117"/>
                  <a:pt x="14" y="117"/>
                </a:cubicBezTo>
                <a:cubicBezTo>
                  <a:pt x="13" y="118"/>
                  <a:pt x="12" y="118"/>
                  <a:pt x="10" y="118"/>
                </a:cubicBezTo>
                <a:cubicBezTo>
                  <a:pt x="10" y="118"/>
                  <a:pt x="10" y="118"/>
                  <a:pt x="10" y="119"/>
                </a:cubicBezTo>
                <a:cubicBezTo>
                  <a:pt x="10" y="119"/>
                  <a:pt x="9" y="119"/>
                  <a:pt x="9" y="120"/>
                </a:cubicBezTo>
                <a:cubicBezTo>
                  <a:pt x="9" y="120"/>
                  <a:pt x="9" y="120"/>
                  <a:pt x="9" y="120"/>
                </a:cubicBezTo>
                <a:cubicBezTo>
                  <a:pt x="9" y="121"/>
                  <a:pt x="9" y="121"/>
                  <a:pt x="9" y="121"/>
                </a:cubicBezTo>
                <a:cubicBezTo>
                  <a:pt x="9" y="123"/>
                  <a:pt x="11" y="123"/>
                  <a:pt x="12" y="123"/>
                </a:cubicBezTo>
                <a:cubicBezTo>
                  <a:pt x="12" y="123"/>
                  <a:pt x="12" y="123"/>
                  <a:pt x="12" y="123"/>
                </a:cubicBezTo>
                <a:cubicBezTo>
                  <a:pt x="12" y="125"/>
                  <a:pt x="14" y="125"/>
                  <a:pt x="14" y="126"/>
                </a:cubicBezTo>
                <a:cubicBezTo>
                  <a:pt x="14" y="126"/>
                  <a:pt x="14" y="126"/>
                  <a:pt x="14" y="126"/>
                </a:cubicBezTo>
                <a:cubicBezTo>
                  <a:pt x="14" y="127"/>
                  <a:pt x="14" y="127"/>
                  <a:pt x="15" y="127"/>
                </a:cubicBezTo>
                <a:cubicBezTo>
                  <a:pt x="15" y="128"/>
                  <a:pt x="15" y="129"/>
                  <a:pt x="16" y="130"/>
                </a:cubicBezTo>
                <a:cubicBezTo>
                  <a:pt x="16" y="130"/>
                  <a:pt x="16" y="130"/>
                  <a:pt x="16" y="130"/>
                </a:cubicBezTo>
                <a:cubicBezTo>
                  <a:pt x="17" y="131"/>
                  <a:pt x="18" y="131"/>
                  <a:pt x="17" y="132"/>
                </a:cubicBezTo>
                <a:cubicBezTo>
                  <a:pt x="18" y="133"/>
                  <a:pt x="19" y="133"/>
                  <a:pt x="19" y="134"/>
                </a:cubicBezTo>
                <a:cubicBezTo>
                  <a:pt x="19" y="134"/>
                  <a:pt x="19" y="134"/>
                  <a:pt x="19" y="134"/>
                </a:cubicBezTo>
                <a:cubicBezTo>
                  <a:pt x="20" y="135"/>
                  <a:pt x="20" y="136"/>
                  <a:pt x="22" y="136"/>
                </a:cubicBezTo>
                <a:cubicBezTo>
                  <a:pt x="22" y="136"/>
                  <a:pt x="22" y="136"/>
                  <a:pt x="22" y="136"/>
                </a:cubicBezTo>
                <a:cubicBezTo>
                  <a:pt x="24" y="137"/>
                  <a:pt x="26" y="137"/>
                  <a:pt x="28" y="137"/>
                </a:cubicBezTo>
                <a:cubicBezTo>
                  <a:pt x="28" y="135"/>
                  <a:pt x="27" y="135"/>
                  <a:pt x="27" y="134"/>
                </a:cubicBezTo>
                <a:close/>
                <a:moveTo>
                  <a:pt x="240" y="109"/>
                </a:moveTo>
                <a:cubicBezTo>
                  <a:pt x="240" y="109"/>
                  <a:pt x="240" y="109"/>
                  <a:pt x="239" y="109"/>
                </a:cubicBezTo>
                <a:cubicBezTo>
                  <a:pt x="239" y="111"/>
                  <a:pt x="237" y="110"/>
                  <a:pt x="237" y="111"/>
                </a:cubicBezTo>
                <a:cubicBezTo>
                  <a:pt x="237" y="112"/>
                  <a:pt x="237" y="112"/>
                  <a:pt x="237" y="112"/>
                </a:cubicBezTo>
                <a:cubicBezTo>
                  <a:pt x="236" y="112"/>
                  <a:pt x="236" y="112"/>
                  <a:pt x="236" y="112"/>
                </a:cubicBezTo>
                <a:cubicBezTo>
                  <a:pt x="236" y="112"/>
                  <a:pt x="235" y="111"/>
                  <a:pt x="234" y="111"/>
                </a:cubicBezTo>
                <a:cubicBezTo>
                  <a:pt x="234" y="113"/>
                  <a:pt x="231" y="113"/>
                  <a:pt x="231" y="116"/>
                </a:cubicBezTo>
                <a:cubicBezTo>
                  <a:pt x="231" y="116"/>
                  <a:pt x="232" y="116"/>
                  <a:pt x="232" y="117"/>
                </a:cubicBezTo>
                <a:cubicBezTo>
                  <a:pt x="232" y="118"/>
                  <a:pt x="232" y="118"/>
                  <a:pt x="233" y="118"/>
                </a:cubicBezTo>
                <a:cubicBezTo>
                  <a:pt x="233" y="117"/>
                  <a:pt x="234" y="118"/>
                  <a:pt x="234" y="119"/>
                </a:cubicBezTo>
                <a:cubicBezTo>
                  <a:pt x="235" y="119"/>
                  <a:pt x="235" y="120"/>
                  <a:pt x="236" y="120"/>
                </a:cubicBezTo>
                <a:cubicBezTo>
                  <a:pt x="237" y="120"/>
                  <a:pt x="238" y="120"/>
                  <a:pt x="239" y="120"/>
                </a:cubicBezTo>
                <a:cubicBezTo>
                  <a:pt x="239" y="119"/>
                  <a:pt x="240" y="119"/>
                  <a:pt x="240" y="119"/>
                </a:cubicBezTo>
                <a:cubicBezTo>
                  <a:pt x="240" y="118"/>
                  <a:pt x="241" y="118"/>
                  <a:pt x="242" y="118"/>
                </a:cubicBezTo>
                <a:cubicBezTo>
                  <a:pt x="242" y="117"/>
                  <a:pt x="241" y="116"/>
                  <a:pt x="242" y="116"/>
                </a:cubicBezTo>
                <a:cubicBezTo>
                  <a:pt x="242" y="116"/>
                  <a:pt x="243" y="116"/>
                  <a:pt x="243" y="116"/>
                </a:cubicBezTo>
                <a:cubicBezTo>
                  <a:pt x="244" y="115"/>
                  <a:pt x="244" y="114"/>
                  <a:pt x="244" y="113"/>
                </a:cubicBezTo>
                <a:cubicBezTo>
                  <a:pt x="245" y="113"/>
                  <a:pt x="246" y="113"/>
                  <a:pt x="247" y="114"/>
                </a:cubicBezTo>
                <a:cubicBezTo>
                  <a:pt x="246" y="116"/>
                  <a:pt x="244" y="116"/>
                  <a:pt x="244" y="118"/>
                </a:cubicBezTo>
                <a:cubicBezTo>
                  <a:pt x="243" y="118"/>
                  <a:pt x="243" y="118"/>
                  <a:pt x="242" y="119"/>
                </a:cubicBezTo>
                <a:cubicBezTo>
                  <a:pt x="241" y="119"/>
                  <a:pt x="241" y="120"/>
                  <a:pt x="241" y="120"/>
                </a:cubicBezTo>
                <a:cubicBezTo>
                  <a:pt x="241" y="122"/>
                  <a:pt x="243" y="122"/>
                  <a:pt x="243" y="123"/>
                </a:cubicBezTo>
                <a:cubicBezTo>
                  <a:pt x="245" y="124"/>
                  <a:pt x="246" y="123"/>
                  <a:pt x="248" y="123"/>
                </a:cubicBezTo>
                <a:cubicBezTo>
                  <a:pt x="248" y="123"/>
                  <a:pt x="249" y="123"/>
                  <a:pt x="250" y="123"/>
                </a:cubicBezTo>
                <a:cubicBezTo>
                  <a:pt x="250" y="124"/>
                  <a:pt x="254" y="124"/>
                  <a:pt x="255" y="124"/>
                </a:cubicBezTo>
                <a:cubicBezTo>
                  <a:pt x="255" y="123"/>
                  <a:pt x="255" y="123"/>
                  <a:pt x="256" y="123"/>
                </a:cubicBezTo>
                <a:cubicBezTo>
                  <a:pt x="257" y="121"/>
                  <a:pt x="256" y="120"/>
                  <a:pt x="255" y="120"/>
                </a:cubicBezTo>
                <a:cubicBezTo>
                  <a:pt x="255" y="119"/>
                  <a:pt x="252" y="118"/>
                  <a:pt x="254" y="118"/>
                </a:cubicBezTo>
                <a:cubicBezTo>
                  <a:pt x="255" y="118"/>
                  <a:pt x="256" y="119"/>
                  <a:pt x="257" y="120"/>
                </a:cubicBezTo>
                <a:cubicBezTo>
                  <a:pt x="259" y="121"/>
                  <a:pt x="258" y="121"/>
                  <a:pt x="261" y="120"/>
                </a:cubicBezTo>
                <a:cubicBezTo>
                  <a:pt x="261" y="120"/>
                  <a:pt x="260" y="119"/>
                  <a:pt x="260" y="119"/>
                </a:cubicBezTo>
                <a:cubicBezTo>
                  <a:pt x="260" y="118"/>
                  <a:pt x="260" y="118"/>
                  <a:pt x="260" y="118"/>
                </a:cubicBezTo>
                <a:cubicBezTo>
                  <a:pt x="259" y="118"/>
                  <a:pt x="259" y="116"/>
                  <a:pt x="258" y="115"/>
                </a:cubicBezTo>
                <a:cubicBezTo>
                  <a:pt x="258" y="115"/>
                  <a:pt x="258" y="115"/>
                  <a:pt x="258" y="115"/>
                </a:cubicBezTo>
                <a:cubicBezTo>
                  <a:pt x="257" y="115"/>
                  <a:pt x="257" y="114"/>
                  <a:pt x="256" y="114"/>
                </a:cubicBezTo>
                <a:cubicBezTo>
                  <a:pt x="256" y="114"/>
                  <a:pt x="256" y="113"/>
                  <a:pt x="256" y="113"/>
                </a:cubicBezTo>
                <a:cubicBezTo>
                  <a:pt x="256" y="113"/>
                  <a:pt x="255" y="113"/>
                  <a:pt x="255" y="112"/>
                </a:cubicBezTo>
                <a:cubicBezTo>
                  <a:pt x="255" y="112"/>
                  <a:pt x="255" y="112"/>
                  <a:pt x="255" y="112"/>
                </a:cubicBezTo>
                <a:cubicBezTo>
                  <a:pt x="254" y="112"/>
                  <a:pt x="253" y="112"/>
                  <a:pt x="253" y="111"/>
                </a:cubicBezTo>
                <a:cubicBezTo>
                  <a:pt x="253" y="111"/>
                  <a:pt x="253" y="111"/>
                  <a:pt x="253" y="111"/>
                </a:cubicBezTo>
                <a:cubicBezTo>
                  <a:pt x="252" y="110"/>
                  <a:pt x="252" y="110"/>
                  <a:pt x="251" y="110"/>
                </a:cubicBezTo>
                <a:cubicBezTo>
                  <a:pt x="250" y="110"/>
                  <a:pt x="250" y="109"/>
                  <a:pt x="250" y="109"/>
                </a:cubicBezTo>
                <a:cubicBezTo>
                  <a:pt x="250" y="109"/>
                  <a:pt x="250" y="109"/>
                  <a:pt x="250" y="109"/>
                </a:cubicBezTo>
                <a:cubicBezTo>
                  <a:pt x="251" y="106"/>
                  <a:pt x="249" y="106"/>
                  <a:pt x="249" y="105"/>
                </a:cubicBezTo>
                <a:cubicBezTo>
                  <a:pt x="246" y="105"/>
                  <a:pt x="244" y="106"/>
                  <a:pt x="242" y="106"/>
                </a:cubicBezTo>
                <a:cubicBezTo>
                  <a:pt x="242" y="106"/>
                  <a:pt x="242" y="107"/>
                  <a:pt x="242" y="107"/>
                </a:cubicBezTo>
                <a:cubicBezTo>
                  <a:pt x="242" y="108"/>
                  <a:pt x="242" y="108"/>
                  <a:pt x="241" y="108"/>
                </a:cubicBezTo>
                <a:cubicBezTo>
                  <a:pt x="240" y="108"/>
                  <a:pt x="240" y="108"/>
                  <a:pt x="240" y="109"/>
                </a:cubicBezTo>
                <a:close/>
                <a:moveTo>
                  <a:pt x="2" y="116"/>
                </a:moveTo>
                <a:cubicBezTo>
                  <a:pt x="2" y="116"/>
                  <a:pt x="1" y="116"/>
                  <a:pt x="1" y="116"/>
                </a:cubicBezTo>
                <a:cubicBezTo>
                  <a:pt x="1" y="117"/>
                  <a:pt x="0" y="118"/>
                  <a:pt x="0" y="118"/>
                </a:cubicBezTo>
                <a:cubicBezTo>
                  <a:pt x="2" y="119"/>
                  <a:pt x="4" y="116"/>
                  <a:pt x="2" y="116"/>
                </a:cubicBezTo>
                <a:close/>
                <a:moveTo>
                  <a:pt x="32" y="144"/>
                </a:moveTo>
                <a:cubicBezTo>
                  <a:pt x="32" y="144"/>
                  <a:pt x="31" y="144"/>
                  <a:pt x="31" y="143"/>
                </a:cubicBezTo>
                <a:cubicBezTo>
                  <a:pt x="30" y="143"/>
                  <a:pt x="30" y="141"/>
                  <a:pt x="27" y="142"/>
                </a:cubicBezTo>
                <a:cubicBezTo>
                  <a:pt x="27" y="143"/>
                  <a:pt x="27" y="143"/>
                  <a:pt x="28" y="143"/>
                </a:cubicBezTo>
                <a:cubicBezTo>
                  <a:pt x="28" y="143"/>
                  <a:pt x="29" y="144"/>
                  <a:pt x="29" y="144"/>
                </a:cubicBezTo>
                <a:cubicBezTo>
                  <a:pt x="29" y="145"/>
                  <a:pt x="30" y="145"/>
                  <a:pt x="31" y="145"/>
                </a:cubicBezTo>
                <a:cubicBezTo>
                  <a:pt x="32" y="145"/>
                  <a:pt x="32" y="145"/>
                  <a:pt x="32" y="145"/>
                </a:cubicBezTo>
                <a:cubicBezTo>
                  <a:pt x="32" y="145"/>
                  <a:pt x="32" y="144"/>
                  <a:pt x="32" y="144"/>
                </a:cubicBezTo>
                <a:close/>
                <a:moveTo>
                  <a:pt x="34" y="146"/>
                </a:moveTo>
                <a:cubicBezTo>
                  <a:pt x="33" y="146"/>
                  <a:pt x="33" y="146"/>
                  <a:pt x="32" y="146"/>
                </a:cubicBezTo>
                <a:cubicBezTo>
                  <a:pt x="32" y="147"/>
                  <a:pt x="33" y="147"/>
                  <a:pt x="33" y="147"/>
                </a:cubicBezTo>
                <a:cubicBezTo>
                  <a:pt x="34" y="148"/>
                  <a:pt x="34" y="148"/>
                  <a:pt x="35" y="148"/>
                </a:cubicBezTo>
                <a:cubicBezTo>
                  <a:pt x="35" y="148"/>
                  <a:pt x="35" y="147"/>
                  <a:pt x="35" y="146"/>
                </a:cubicBezTo>
                <a:cubicBezTo>
                  <a:pt x="34" y="146"/>
                  <a:pt x="34" y="146"/>
                  <a:pt x="34" y="146"/>
                </a:cubicBezTo>
                <a:close/>
                <a:moveTo>
                  <a:pt x="249" y="143"/>
                </a:moveTo>
                <a:cubicBezTo>
                  <a:pt x="249" y="145"/>
                  <a:pt x="249" y="146"/>
                  <a:pt x="250" y="146"/>
                </a:cubicBezTo>
                <a:cubicBezTo>
                  <a:pt x="251" y="146"/>
                  <a:pt x="252" y="147"/>
                  <a:pt x="252" y="146"/>
                </a:cubicBezTo>
                <a:cubicBezTo>
                  <a:pt x="252" y="145"/>
                  <a:pt x="251" y="145"/>
                  <a:pt x="251" y="144"/>
                </a:cubicBezTo>
                <a:cubicBezTo>
                  <a:pt x="250" y="144"/>
                  <a:pt x="250" y="143"/>
                  <a:pt x="249" y="143"/>
                </a:cubicBezTo>
                <a:close/>
                <a:moveTo>
                  <a:pt x="224" y="236"/>
                </a:moveTo>
                <a:cubicBezTo>
                  <a:pt x="225" y="234"/>
                  <a:pt x="226" y="233"/>
                  <a:pt x="227" y="232"/>
                </a:cubicBezTo>
                <a:cubicBezTo>
                  <a:pt x="223" y="231"/>
                  <a:pt x="221" y="233"/>
                  <a:pt x="221" y="237"/>
                </a:cubicBezTo>
                <a:cubicBezTo>
                  <a:pt x="223" y="237"/>
                  <a:pt x="223" y="236"/>
                  <a:pt x="224" y="236"/>
                </a:cubicBezTo>
                <a:close/>
                <a:moveTo>
                  <a:pt x="231" y="198"/>
                </a:moveTo>
                <a:cubicBezTo>
                  <a:pt x="231" y="198"/>
                  <a:pt x="231" y="198"/>
                  <a:pt x="231" y="198"/>
                </a:cubicBezTo>
                <a:cubicBezTo>
                  <a:pt x="231" y="198"/>
                  <a:pt x="230" y="198"/>
                  <a:pt x="231" y="197"/>
                </a:cubicBezTo>
                <a:cubicBezTo>
                  <a:pt x="230" y="197"/>
                  <a:pt x="230" y="197"/>
                  <a:pt x="230" y="197"/>
                </a:cubicBezTo>
                <a:cubicBezTo>
                  <a:pt x="229" y="197"/>
                  <a:pt x="229" y="197"/>
                  <a:pt x="229" y="196"/>
                </a:cubicBezTo>
                <a:cubicBezTo>
                  <a:pt x="228" y="196"/>
                  <a:pt x="227" y="195"/>
                  <a:pt x="225" y="195"/>
                </a:cubicBezTo>
                <a:cubicBezTo>
                  <a:pt x="224" y="196"/>
                  <a:pt x="224" y="199"/>
                  <a:pt x="224" y="201"/>
                </a:cubicBezTo>
                <a:cubicBezTo>
                  <a:pt x="228" y="202"/>
                  <a:pt x="228" y="200"/>
                  <a:pt x="231" y="199"/>
                </a:cubicBezTo>
                <a:cubicBezTo>
                  <a:pt x="231" y="199"/>
                  <a:pt x="231" y="198"/>
                  <a:pt x="231" y="198"/>
                </a:cubicBezTo>
                <a:close/>
                <a:moveTo>
                  <a:pt x="236" y="148"/>
                </a:moveTo>
                <a:cubicBezTo>
                  <a:pt x="237" y="148"/>
                  <a:pt x="237" y="148"/>
                  <a:pt x="237" y="148"/>
                </a:cubicBezTo>
                <a:cubicBezTo>
                  <a:pt x="238" y="149"/>
                  <a:pt x="238" y="151"/>
                  <a:pt x="240" y="150"/>
                </a:cubicBezTo>
                <a:cubicBezTo>
                  <a:pt x="240" y="151"/>
                  <a:pt x="241" y="152"/>
                  <a:pt x="241" y="152"/>
                </a:cubicBezTo>
                <a:cubicBezTo>
                  <a:pt x="241" y="153"/>
                  <a:pt x="242" y="152"/>
                  <a:pt x="242" y="152"/>
                </a:cubicBezTo>
                <a:cubicBezTo>
                  <a:pt x="243" y="153"/>
                  <a:pt x="242" y="155"/>
                  <a:pt x="242" y="155"/>
                </a:cubicBezTo>
                <a:cubicBezTo>
                  <a:pt x="242" y="156"/>
                  <a:pt x="242" y="156"/>
                  <a:pt x="241" y="156"/>
                </a:cubicBezTo>
                <a:cubicBezTo>
                  <a:pt x="241" y="156"/>
                  <a:pt x="241" y="157"/>
                  <a:pt x="240" y="157"/>
                </a:cubicBezTo>
                <a:cubicBezTo>
                  <a:pt x="240" y="158"/>
                  <a:pt x="238" y="158"/>
                  <a:pt x="239" y="159"/>
                </a:cubicBezTo>
                <a:cubicBezTo>
                  <a:pt x="239" y="160"/>
                  <a:pt x="240" y="161"/>
                  <a:pt x="240" y="162"/>
                </a:cubicBezTo>
                <a:cubicBezTo>
                  <a:pt x="241" y="162"/>
                  <a:pt x="242" y="162"/>
                  <a:pt x="243" y="163"/>
                </a:cubicBezTo>
                <a:cubicBezTo>
                  <a:pt x="244" y="163"/>
                  <a:pt x="244" y="165"/>
                  <a:pt x="246" y="164"/>
                </a:cubicBezTo>
                <a:cubicBezTo>
                  <a:pt x="246" y="163"/>
                  <a:pt x="245" y="162"/>
                  <a:pt x="246" y="161"/>
                </a:cubicBezTo>
                <a:cubicBezTo>
                  <a:pt x="246" y="161"/>
                  <a:pt x="247" y="160"/>
                  <a:pt x="247" y="160"/>
                </a:cubicBezTo>
                <a:cubicBezTo>
                  <a:pt x="247" y="160"/>
                  <a:pt x="247" y="160"/>
                  <a:pt x="247" y="160"/>
                </a:cubicBezTo>
                <a:cubicBezTo>
                  <a:pt x="247" y="160"/>
                  <a:pt x="247" y="160"/>
                  <a:pt x="247" y="159"/>
                </a:cubicBezTo>
                <a:cubicBezTo>
                  <a:pt x="247" y="159"/>
                  <a:pt x="248" y="160"/>
                  <a:pt x="248" y="159"/>
                </a:cubicBezTo>
                <a:cubicBezTo>
                  <a:pt x="248" y="158"/>
                  <a:pt x="248" y="157"/>
                  <a:pt x="248" y="156"/>
                </a:cubicBezTo>
                <a:cubicBezTo>
                  <a:pt x="248" y="155"/>
                  <a:pt x="250" y="155"/>
                  <a:pt x="249" y="153"/>
                </a:cubicBezTo>
                <a:cubicBezTo>
                  <a:pt x="249" y="153"/>
                  <a:pt x="249" y="152"/>
                  <a:pt x="249" y="151"/>
                </a:cubicBezTo>
                <a:cubicBezTo>
                  <a:pt x="248" y="151"/>
                  <a:pt x="248" y="150"/>
                  <a:pt x="248" y="150"/>
                </a:cubicBezTo>
                <a:cubicBezTo>
                  <a:pt x="247" y="150"/>
                  <a:pt x="247" y="149"/>
                  <a:pt x="247" y="148"/>
                </a:cubicBezTo>
                <a:cubicBezTo>
                  <a:pt x="247" y="148"/>
                  <a:pt x="247" y="148"/>
                  <a:pt x="247" y="147"/>
                </a:cubicBezTo>
                <a:cubicBezTo>
                  <a:pt x="247" y="146"/>
                  <a:pt x="247" y="145"/>
                  <a:pt x="247" y="144"/>
                </a:cubicBezTo>
                <a:cubicBezTo>
                  <a:pt x="245" y="145"/>
                  <a:pt x="245" y="142"/>
                  <a:pt x="243" y="143"/>
                </a:cubicBezTo>
                <a:cubicBezTo>
                  <a:pt x="240" y="142"/>
                  <a:pt x="240" y="145"/>
                  <a:pt x="236" y="144"/>
                </a:cubicBezTo>
                <a:cubicBezTo>
                  <a:pt x="236" y="146"/>
                  <a:pt x="236" y="146"/>
                  <a:pt x="235" y="147"/>
                </a:cubicBezTo>
                <a:cubicBezTo>
                  <a:pt x="236" y="147"/>
                  <a:pt x="236" y="147"/>
                  <a:pt x="236" y="148"/>
                </a:cubicBezTo>
                <a:close/>
                <a:moveTo>
                  <a:pt x="231" y="209"/>
                </a:moveTo>
                <a:cubicBezTo>
                  <a:pt x="231" y="210"/>
                  <a:pt x="232" y="210"/>
                  <a:pt x="232" y="211"/>
                </a:cubicBezTo>
                <a:cubicBezTo>
                  <a:pt x="232" y="211"/>
                  <a:pt x="232" y="212"/>
                  <a:pt x="231" y="212"/>
                </a:cubicBezTo>
                <a:cubicBezTo>
                  <a:pt x="231" y="213"/>
                  <a:pt x="229" y="213"/>
                  <a:pt x="229" y="215"/>
                </a:cubicBezTo>
                <a:cubicBezTo>
                  <a:pt x="229" y="216"/>
                  <a:pt x="230" y="216"/>
                  <a:pt x="230" y="217"/>
                </a:cubicBezTo>
                <a:cubicBezTo>
                  <a:pt x="230" y="217"/>
                  <a:pt x="231" y="217"/>
                  <a:pt x="231" y="218"/>
                </a:cubicBezTo>
                <a:cubicBezTo>
                  <a:pt x="231" y="218"/>
                  <a:pt x="231" y="218"/>
                  <a:pt x="231" y="219"/>
                </a:cubicBezTo>
                <a:cubicBezTo>
                  <a:pt x="231" y="219"/>
                  <a:pt x="231" y="219"/>
                  <a:pt x="231" y="219"/>
                </a:cubicBezTo>
                <a:cubicBezTo>
                  <a:pt x="232" y="221"/>
                  <a:pt x="232" y="223"/>
                  <a:pt x="233" y="224"/>
                </a:cubicBezTo>
                <a:cubicBezTo>
                  <a:pt x="233" y="221"/>
                  <a:pt x="236" y="221"/>
                  <a:pt x="238" y="220"/>
                </a:cubicBezTo>
                <a:cubicBezTo>
                  <a:pt x="238" y="220"/>
                  <a:pt x="238" y="219"/>
                  <a:pt x="238" y="219"/>
                </a:cubicBezTo>
                <a:cubicBezTo>
                  <a:pt x="238" y="218"/>
                  <a:pt x="238" y="218"/>
                  <a:pt x="238" y="217"/>
                </a:cubicBezTo>
                <a:cubicBezTo>
                  <a:pt x="238" y="216"/>
                  <a:pt x="238" y="216"/>
                  <a:pt x="239" y="216"/>
                </a:cubicBezTo>
                <a:cubicBezTo>
                  <a:pt x="239" y="215"/>
                  <a:pt x="239" y="214"/>
                  <a:pt x="239" y="213"/>
                </a:cubicBezTo>
                <a:cubicBezTo>
                  <a:pt x="238" y="213"/>
                  <a:pt x="238" y="213"/>
                  <a:pt x="238" y="212"/>
                </a:cubicBezTo>
                <a:cubicBezTo>
                  <a:pt x="238" y="212"/>
                  <a:pt x="238" y="211"/>
                  <a:pt x="238" y="211"/>
                </a:cubicBezTo>
                <a:cubicBezTo>
                  <a:pt x="238" y="211"/>
                  <a:pt x="237" y="211"/>
                  <a:pt x="238" y="210"/>
                </a:cubicBezTo>
                <a:cubicBezTo>
                  <a:pt x="237" y="209"/>
                  <a:pt x="236" y="209"/>
                  <a:pt x="236" y="208"/>
                </a:cubicBezTo>
                <a:cubicBezTo>
                  <a:pt x="234" y="208"/>
                  <a:pt x="233" y="210"/>
                  <a:pt x="231" y="209"/>
                </a:cubicBezTo>
                <a:close/>
                <a:moveTo>
                  <a:pt x="54" y="192"/>
                </a:moveTo>
                <a:cubicBezTo>
                  <a:pt x="54" y="192"/>
                  <a:pt x="55" y="192"/>
                  <a:pt x="55" y="191"/>
                </a:cubicBezTo>
                <a:cubicBezTo>
                  <a:pt x="55" y="191"/>
                  <a:pt x="55" y="192"/>
                  <a:pt x="56" y="191"/>
                </a:cubicBezTo>
                <a:cubicBezTo>
                  <a:pt x="56" y="192"/>
                  <a:pt x="57" y="193"/>
                  <a:pt x="58" y="193"/>
                </a:cubicBezTo>
                <a:cubicBezTo>
                  <a:pt x="59" y="192"/>
                  <a:pt x="59" y="192"/>
                  <a:pt x="59" y="191"/>
                </a:cubicBezTo>
                <a:cubicBezTo>
                  <a:pt x="59" y="191"/>
                  <a:pt x="58" y="190"/>
                  <a:pt x="58" y="189"/>
                </a:cubicBezTo>
                <a:cubicBezTo>
                  <a:pt x="57" y="189"/>
                  <a:pt x="57" y="189"/>
                  <a:pt x="56" y="188"/>
                </a:cubicBezTo>
                <a:cubicBezTo>
                  <a:pt x="56" y="187"/>
                  <a:pt x="56" y="187"/>
                  <a:pt x="56" y="186"/>
                </a:cubicBezTo>
                <a:cubicBezTo>
                  <a:pt x="54" y="186"/>
                  <a:pt x="53" y="184"/>
                  <a:pt x="52" y="184"/>
                </a:cubicBezTo>
                <a:cubicBezTo>
                  <a:pt x="51" y="184"/>
                  <a:pt x="51" y="184"/>
                  <a:pt x="51" y="183"/>
                </a:cubicBezTo>
                <a:cubicBezTo>
                  <a:pt x="51" y="182"/>
                  <a:pt x="51" y="181"/>
                  <a:pt x="51" y="180"/>
                </a:cubicBezTo>
                <a:cubicBezTo>
                  <a:pt x="50" y="180"/>
                  <a:pt x="50" y="180"/>
                  <a:pt x="50" y="180"/>
                </a:cubicBezTo>
                <a:cubicBezTo>
                  <a:pt x="50" y="179"/>
                  <a:pt x="50" y="179"/>
                  <a:pt x="50" y="178"/>
                </a:cubicBezTo>
                <a:cubicBezTo>
                  <a:pt x="48" y="179"/>
                  <a:pt x="50" y="175"/>
                  <a:pt x="47" y="175"/>
                </a:cubicBezTo>
                <a:cubicBezTo>
                  <a:pt x="47" y="176"/>
                  <a:pt x="46" y="177"/>
                  <a:pt x="47" y="179"/>
                </a:cubicBezTo>
                <a:cubicBezTo>
                  <a:pt x="47" y="180"/>
                  <a:pt x="46" y="180"/>
                  <a:pt x="46" y="182"/>
                </a:cubicBezTo>
                <a:cubicBezTo>
                  <a:pt x="45" y="181"/>
                  <a:pt x="45" y="180"/>
                  <a:pt x="42" y="180"/>
                </a:cubicBezTo>
                <a:cubicBezTo>
                  <a:pt x="42" y="183"/>
                  <a:pt x="41" y="184"/>
                  <a:pt x="41" y="188"/>
                </a:cubicBezTo>
                <a:cubicBezTo>
                  <a:pt x="42" y="189"/>
                  <a:pt x="45" y="189"/>
                  <a:pt x="47" y="189"/>
                </a:cubicBezTo>
                <a:cubicBezTo>
                  <a:pt x="47" y="190"/>
                  <a:pt x="47" y="191"/>
                  <a:pt x="47" y="192"/>
                </a:cubicBezTo>
                <a:cubicBezTo>
                  <a:pt x="49" y="193"/>
                  <a:pt x="48" y="191"/>
                  <a:pt x="50" y="191"/>
                </a:cubicBezTo>
                <a:cubicBezTo>
                  <a:pt x="50" y="192"/>
                  <a:pt x="51" y="192"/>
                  <a:pt x="51" y="191"/>
                </a:cubicBezTo>
                <a:cubicBezTo>
                  <a:pt x="52" y="191"/>
                  <a:pt x="52" y="191"/>
                  <a:pt x="53" y="191"/>
                </a:cubicBezTo>
                <a:cubicBezTo>
                  <a:pt x="53" y="192"/>
                  <a:pt x="54" y="192"/>
                  <a:pt x="54" y="192"/>
                </a:cubicBezTo>
                <a:close/>
                <a:moveTo>
                  <a:pt x="164" y="212"/>
                </a:moveTo>
                <a:cubicBezTo>
                  <a:pt x="163" y="212"/>
                  <a:pt x="163" y="212"/>
                  <a:pt x="163" y="211"/>
                </a:cubicBezTo>
                <a:cubicBezTo>
                  <a:pt x="163" y="211"/>
                  <a:pt x="163" y="211"/>
                  <a:pt x="162" y="211"/>
                </a:cubicBezTo>
                <a:cubicBezTo>
                  <a:pt x="162" y="212"/>
                  <a:pt x="162" y="212"/>
                  <a:pt x="161" y="212"/>
                </a:cubicBezTo>
                <a:cubicBezTo>
                  <a:pt x="159" y="213"/>
                  <a:pt x="160" y="215"/>
                  <a:pt x="157" y="214"/>
                </a:cubicBezTo>
                <a:cubicBezTo>
                  <a:pt x="158" y="217"/>
                  <a:pt x="156" y="216"/>
                  <a:pt x="155" y="218"/>
                </a:cubicBezTo>
                <a:cubicBezTo>
                  <a:pt x="160" y="219"/>
                  <a:pt x="160" y="215"/>
                  <a:pt x="163" y="214"/>
                </a:cubicBezTo>
                <a:cubicBezTo>
                  <a:pt x="163" y="214"/>
                  <a:pt x="163" y="214"/>
                  <a:pt x="164" y="214"/>
                </a:cubicBezTo>
                <a:cubicBezTo>
                  <a:pt x="164" y="213"/>
                  <a:pt x="164" y="213"/>
                  <a:pt x="164" y="212"/>
                </a:cubicBezTo>
                <a:cubicBezTo>
                  <a:pt x="164" y="212"/>
                  <a:pt x="164" y="212"/>
                  <a:pt x="164" y="212"/>
                </a:cubicBezTo>
                <a:close/>
                <a:moveTo>
                  <a:pt x="146" y="256"/>
                </a:moveTo>
                <a:cubicBezTo>
                  <a:pt x="147" y="256"/>
                  <a:pt x="147" y="257"/>
                  <a:pt x="148" y="258"/>
                </a:cubicBezTo>
                <a:cubicBezTo>
                  <a:pt x="148" y="257"/>
                  <a:pt x="148" y="256"/>
                  <a:pt x="148" y="255"/>
                </a:cubicBezTo>
                <a:cubicBezTo>
                  <a:pt x="147" y="254"/>
                  <a:pt x="146" y="254"/>
                  <a:pt x="144" y="254"/>
                </a:cubicBezTo>
                <a:cubicBezTo>
                  <a:pt x="144" y="255"/>
                  <a:pt x="144" y="257"/>
                  <a:pt x="146" y="256"/>
                </a:cubicBezTo>
                <a:close/>
                <a:moveTo>
                  <a:pt x="162" y="280"/>
                </a:moveTo>
                <a:cubicBezTo>
                  <a:pt x="161" y="280"/>
                  <a:pt x="161" y="280"/>
                  <a:pt x="161" y="279"/>
                </a:cubicBezTo>
                <a:cubicBezTo>
                  <a:pt x="161" y="279"/>
                  <a:pt x="160" y="279"/>
                  <a:pt x="160" y="279"/>
                </a:cubicBezTo>
                <a:cubicBezTo>
                  <a:pt x="160" y="282"/>
                  <a:pt x="161" y="283"/>
                  <a:pt x="163" y="284"/>
                </a:cubicBezTo>
                <a:cubicBezTo>
                  <a:pt x="164" y="283"/>
                  <a:pt x="163" y="280"/>
                  <a:pt x="162" y="280"/>
                </a:cubicBezTo>
                <a:close/>
                <a:moveTo>
                  <a:pt x="161" y="208"/>
                </a:moveTo>
                <a:cubicBezTo>
                  <a:pt x="162" y="204"/>
                  <a:pt x="157" y="204"/>
                  <a:pt x="157" y="207"/>
                </a:cubicBezTo>
                <a:cubicBezTo>
                  <a:pt x="159" y="206"/>
                  <a:pt x="159" y="208"/>
                  <a:pt x="161" y="208"/>
                </a:cubicBezTo>
                <a:close/>
                <a:moveTo>
                  <a:pt x="162" y="233"/>
                </a:moveTo>
                <a:cubicBezTo>
                  <a:pt x="162" y="231"/>
                  <a:pt x="160" y="232"/>
                  <a:pt x="160" y="233"/>
                </a:cubicBezTo>
                <a:cubicBezTo>
                  <a:pt x="161" y="233"/>
                  <a:pt x="161" y="234"/>
                  <a:pt x="162" y="234"/>
                </a:cubicBezTo>
                <a:cubicBezTo>
                  <a:pt x="162" y="235"/>
                  <a:pt x="162" y="236"/>
                  <a:pt x="164" y="235"/>
                </a:cubicBezTo>
                <a:cubicBezTo>
                  <a:pt x="164" y="234"/>
                  <a:pt x="163" y="233"/>
                  <a:pt x="162" y="233"/>
                </a:cubicBezTo>
                <a:close/>
                <a:moveTo>
                  <a:pt x="148" y="261"/>
                </a:moveTo>
                <a:cubicBezTo>
                  <a:pt x="148" y="261"/>
                  <a:pt x="148" y="261"/>
                  <a:pt x="148" y="260"/>
                </a:cubicBezTo>
                <a:cubicBezTo>
                  <a:pt x="147" y="260"/>
                  <a:pt x="146" y="260"/>
                  <a:pt x="145" y="260"/>
                </a:cubicBezTo>
                <a:cubicBezTo>
                  <a:pt x="145" y="261"/>
                  <a:pt x="144" y="261"/>
                  <a:pt x="144" y="263"/>
                </a:cubicBezTo>
                <a:cubicBezTo>
                  <a:pt x="144" y="263"/>
                  <a:pt x="145" y="263"/>
                  <a:pt x="145" y="263"/>
                </a:cubicBezTo>
                <a:cubicBezTo>
                  <a:pt x="145" y="264"/>
                  <a:pt x="146" y="264"/>
                  <a:pt x="146" y="265"/>
                </a:cubicBezTo>
                <a:cubicBezTo>
                  <a:pt x="145" y="265"/>
                  <a:pt x="145" y="267"/>
                  <a:pt x="145" y="269"/>
                </a:cubicBezTo>
                <a:cubicBezTo>
                  <a:pt x="146" y="269"/>
                  <a:pt x="146" y="270"/>
                  <a:pt x="147" y="270"/>
                </a:cubicBezTo>
                <a:cubicBezTo>
                  <a:pt x="148" y="270"/>
                  <a:pt x="149" y="271"/>
                  <a:pt x="151" y="271"/>
                </a:cubicBezTo>
                <a:cubicBezTo>
                  <a:pt x="151" y="270"/>
                  <a:pt x="152" y="269"/>
                  <a:pt x="152" y="268"/>
                </a:cubicBezTo>
                <a:cubicBezTo>
                  <a:pt x="152" y="267"/>
                  <a:pt x="152" y="267"/>
                  <a:pt x="153" y="267"/>
                </a:cubicBezTo>
                <a:cubicBezTo>
                  <a:pt x="153" y="267"/>
                  <a:pt x="153" y="266"/>
                  <a:pt x="153" y="266"/>
                </a:cubicBezTo>
                <a:cubicBezTo>
                  <a:pt x="151" y="265"/>
                  <a:pt x="150" y="263"/>
                  <a:pt x="148" y="261"/>
                </a:cubicBezTo>
                <a:close/>
                <a:moveTo>
                  <a:pt x="56" y="175"/>
                </a:moveTo>
                <a:cubicBezTo>
                  <a:pt x="57" y="175"/>
                  <a:pt x="58" y="173"/>
                  <a:pt x="56" y="173"/>
                </a:cubicBezTo>
                <a:cubicBezTo>
                  <a:pt x="56" y="173"/>
                  <a:pt x="55" y="175"/>
                  <a:pt x="56" y="175"/>
                </a:cubicBezTo>
                <a:close/>
                <a:moveTo>
                  <a:pt x="54" y="171"/>
                </a:moveTo>
                <a:cubicBezTo>
                  <a:pt x="53" y="171"/>
                  <a:pt x="52" y="171"/>
                  <a:pt x="51" y="171"/>
                </a:cubicBezTo>
                <a:cubicBezTo>
                  <a:pt x="51" y="172"/>
                  <a:pt x="52" y="173"/>
                  <a:pt x="53" y="173"/>
                </a:cubicBezTo>
                <a:cubicBezTo>
                  <a:pt x="53" y="172"/>
                  <a:pt x="54" y="172"/>
                  <a:pt x="54" y="171"/>
                </a:cubicBezTo>
                <a:close/>
                <a:moveTo>
                  <a:pt x="101" y="249"/>
                </a:moveTo>
                <a:cubicBezTo>
                  <a:pt x="100" y="248"/>
                  <a:pt x="99" y="251"/>
                  <a:pt x="100" y="251"/>
                </a:cubicBezTo>
                <a:cubicBezTo>
                  <a:pt x="100" y="250"/>
                  <a:pt x="100" y="250"/>
                  <a:pt x="101" y="250"/>
                </a:cubicBezTo>
                <a:cubicBezTo>
                  <a:pt x="101" y="250"/>
                  <a:pt x="101" y="251"/>
                  <a:pt x="102" y="251"/>
                </a:cubicBezTo>
                <a:cubicBezTo>
                  <a:pt x="102" y="251"/>
                  <a:pt x="102" y="252"/>
                  <a:pt x="102" y="252"/>
                </a:cubicBezTo>
                <a:cubicBezTo>
                  <a:pt x="104" y="251"/>
                  <a:pt x="102" y="251"/>
                  <a:pt x="103" y="249"/>
                </a:cubicBezTo>
                <a:cubicBezTo>
                  <a:pt x="102" y="249"/>
                  <a:pt x="102" y="248"/>
                  <a:pt x="101" y="249"/>
                </a:cubicBezTo>
                <a:close/>
                <a:moveTo>
                  <a:pt x="49" y="174"/>
                </a:moveTo>
                <a:cubicBezTo>
                  <a:pt x="49" y="175"/>
                  <a:pt x="49" y="176"/>
                  <a:pt x="49" y="177"/>
                </a:cubicBezTo>
                <a:cubicBezTo>
                  <a:pt x="50" y="177"/>
                  <a:pt x="51" y="177"/>
                  <a:pt x="51" y="178"/>
                </a:cubicBezTo>
                <a:cubicBezTo>
                  <a:pt x="51" y="178"/>
                  <a:pt x="51" y="179"/>
                  <a:pt x="51" y="180"/>
                </a:cubicBezTo>
                <a:cubicBezTo>
                  <a:pt x="51" y="180"/>
                  <a:pt x="51" y="181"/>
                  <a:pt x="52" y="181"/>
                </a:cubicBezTo>
                <a:cubicBezTo>
                  <a:pt x="53" y="182"/>
                  <a:pt x="55" y="182"/>
                  <a:pt x="56" y="183"/>
                </a:cubicBezTo>
                <a:cubicBezTo>
                  <a:pt x="56" y="181"/>
                  <a:pt x="56" y="180"/>
                  <a:pt x="56" y="179"/>
                </a:cubicBezTo>
                <a:cubicBezTo>
                  <a:pt x="55" y="178"/>
                  <a:pt x="53" y="178"/>
                  <a:pt x="53" y="177"/>
                </a:cubicBezTo>
                <a:cubicBezTo>
                  <a:pt x="53" y="175"/>
                  <a:pt x="52" y="174"/>
                  <a:pt x="51" y="173"/>
                </a:cubicBezTo>
                <a:cubicBezTo>
                  <a:pt x="51" y="173"/>
                  <a:pt x="50" y="173"/>
                  <a:pt x="50" y="173"/>
                </a:cubicBezTo>
                <a:cubicBezTo>
                  <a:pt x="50" y="174"/>
                  <a:pt x="50" y="174"/>
                  <a:pt x="49" y="174"/>
                </a:cubicBezTo>
                <a:close/>
                <a:moveTo>
                  <a:pt x="65" y="207"/>
                </a:moveTo>
                <a:cubicBezTo>
                  <a:pt x="65" y="205"/>
                  <a:pt x="64" y="204"/>
                  <a:pt x="63" y="204"/>
                </a:cubicBezTo>
                <a:cubicBezTo>
                  <a:pt x="63" y="204"/>
                  <a:pt x="63" y="203"/>
                  <a:pt x="63" y="203"/>
                </a:cubicBezTo>
                <a:cubicBezTo>
                  <a:pt x="63" y="203"/>
                  <a:pt x="63" y="203"/>
                  <a:pt x="62" y="203"/>
                </a:cubicBezTo>
                <a:cubicBezTo>
                  <a:pt x="62" y="203"/>
                  <a:pt x="62" y="202"/>
                  <a:pt x="62" y="202"/>
                </a:cubicBezTo>
                <a:cubicBezTo>
                  <a:pt x="61" y="201"/>
                  <a:pt x="60" y="201"/>
                  <a:pt x="59" y="201"/>
                </a:cubicBezTo>
                <a:cubicBezTo>
                  <a:pt x="59" y="201"/>
                  <a:pt x="59" y="201"/>
                  <a:pt x="59" y="201"/>
                </a:cubicBezTo>
                <a:cubicBezTo>
                  <a:pt x="57" y="201"/>
                  <a:pt x="57" y="199"/>
                  <a:pt x="55" y="199"/>
                </a:cubicBezTo>
                <a:cubicBezTo>
                  <a:pt x="54" y="199"/>
                  <a:pt x="55" y="200"/>
                  <a:pt x="54" y="201"/>
                </a:cubicBezTo>
                <a:cubicBezTo>
                  <a:pt x="54" y="201"/>
                  <a:pt x="53" y="201"/>
                  <a:pt x="54" y="201"/>
                </a:cubicBezTo>
                <a:cubicBezTo>
                  <a:pt x="53" y="202"/>
                  <a:pt x="52" y="202"/>
                  <a:pt x="52" y="203"/>
                </a:cubicBezTo>
                <a:cubicBezTo>
                  <a:pt x="52" y="203"/>
                  <a:pt x="52" y="204"/>
                  <a:pt x="52" y="205"/>
                </a:cubicBezTo>
                <a:cubicBezTo>
                  <a:pt x="53" y="205"/>
                  <a:pt x="53" y="206"/>
                  <a:pt x="54" y="206"/>
                </a:cubicBezTo>
                <a:cubicBezTo>
                  <a:pt x="55" y="206"/>
                  <a:pt x="55" y="206"/>
                  <a:pt x="55" y="207"/>
                </a:cubicBezTo>
                <a:cubicBezTo>
                  <a:pt x="56" y="209"/>
                  <a:pt x="58" y="210"/>
                  <a:pt x="60" y="211"/>
                </a:cubicBezTo>
                <a:cubicBezTo>
                  <a:pt x="60" y="211"/>
                  <a:pt x="61" y="211"/>
                  <a:pt x="61" y="212"/>
                </a:cubicBezTo>
                <a:cubicBezTo>
                  <a:pt x="61" y="212"/>
                  <a:pt x="62" y="213"/>
                  <a:pt x="62" y="212"/>
                </a:cubicBezTo>
                <a:cubicBezTo>
                  <a:pt x="62" y="211"/>
                  <a:pt x="62" y="211"/>
                  <a:pt x="63" y="211"/>
                </a:cubicBezTo>
                <a:cubicBezTo>
                  <a:pt x="64" y="211"/>
                  <a:pt x="63" y="209"/>
                  <a:pt x="63" y="208"/>
                </a:cubicBezTo>
                <a:cubicBezTo>
                  <a:pt x="63" y="208"/>
                  <a:pt x="64" y="207"/>
                  <a:pt x="65" y="208"/>
                </a:cubicBezTo>
                <a:cubicBezTo>
                  <a:pt x="66" y="208"/>
                  <a:pt x="66" y="207"/>
                  <a:pt x="66" y="207"/>
                </a:cubicBezTo>
                <a:cubicBezTo>
                  <a:pt x="66" y="207"/>
                  <a:pt x="66" y="207"/>
                  <a:pt x="66" y="207"/>
                </a:cubicBezTo>
                <a:cubicBezTo>
                  <a:pt x="66" y="207"/>
                  <a:pt x="66" y="207"/>
                  <a:pt x="65" y="207"/>
                </a:cubicBezTo>
                <a:close/>
                <a:moveTo>
                  <a:pt x="100" y="247"/>
                </a:moveTo>
                <a:cubicBezTo>
                  <a:pt x="98" y="248"/>
                  <a:pt x="98" y="246"/>
                  <a:pt x="97" y="247"/>
                </a:cubicBezTo>
                <a:cubicBezTo>
                  <a:pt x="97" y="248"/>
                  <a:pt x="98" y="250"/>
                  <a:pt x="99" y="250"/>
                </a:cubicBezTo>
                <a:cubicBezTo>
                  <a:pt x="98" y="248"/>
                  <a:pt x="100" y="249"/>
                  <a:pt x="100" y="247"/>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0" name="Freeform 78"/>
          <p:cNvSpPr>
            <a:spLocks noEditPoints="1"/>
          </p:cNvSpPr>
          <p:nvPr/>
        </p:nvSpPr>
        <p:spPr bwMode="auto">
          <a:xfrm>
            <a:off x="8445792" y="425753"/>
            <a:ext cx="979488" cy="1851025"/>
          </a:xfrm>
          <a:custGeom>
            <a:avLst/>
            <a:gdLst>
              <a:gd name="T0" fmla="*/ 37 w 253"/>
              <a:gd name="T1" fmla="*/ 471 h 478"/>
              <a:gd name="T2" fmla="*/ 52 w 253"/>
              <a:gd name="T3" fmla="*/ 450 h 478"/>
              <a:gd name="T4" fmla="*/ 49 w 253"/>
              <a:gd name="T5" fmla="*/ 476 h 478"/>
              <a:gd name="T6" fmla="*/ 32 w 253"/>
              <a:gd name="T7" fmla="*/ 473 h 478"/>
              <a:gd name="T8" fmla="*/ 23 w 253"/>
              <a:gd name="T9" fmla="*/ 458 h 478"/>
              <a:gd name="T10" fmla="*/ 35 w 253"/>
              <a:gd name="T11" fmla="*/ 456 h 478"/>
              <a:gd name="T12" fmla="*/ 96 w 253"/>
              <a:gd name="T13" fmla="*/ 464 h 478"/>
              <a:gd name="T14" fmla="*/ 155 w 253"/>
              <a:gd name="T15" fmla="*/ 443 h 478"/>
              <a:gd name="T16" fmla="*/ 97 w 253"/>
              <a:gd name="T17" fmla="*/ 473 h 478"/>
              <a:gd name="T18" fmla="*/ 57 w 253"/>
              <a:gd name="T19" fmla="*/ 400 h 478"/>
              <a:gd name="T20" fmla="*/ 56 w 253"/>
              <a:gd name="T21" fmla="*/ 445 h 478"/>
              <a:gd name="T22" fmla="*/ 48 w 253"/>
              <a:gd name="T23" fmla="*/ 315 h 478"/>
              <a:gd name="T24" fmla="*/ 63 w 253"/>
              <a:gd name="T25" fmla="*/ 298 h 478"/>
              <a:gd name="T26" fmla="*/ 55 w 253"/>
              <a:gd name="T27" fmla="*/ 318 h 478"/>
              <a:gd name="T28" fmla="*/ 50 w 253"/>
              <a:gd name="T29" fmla="*/ 431 h 478"/>
              <a:gd name="T30" fmla="*/ 85 w 253"/>
              <a:gd name="T31" fmla="*/ 469 h 478"/>
              <a:gd name="T32" fmla="*/ 69 w 253"/>
              <a:gd name="T33" fmla="*/ 456 h 478"/>
              <a:gd name="T34" fmla="*/ 89 w 253"/>
              <a:gd name="T35" fmla="*/ 469 h 478"/>
              <a:gd name="T36" fmla="*/ 87 w 253"/>
              <a:gd name="T37" fmla="*/ 465 h 478"/>
              <a:gd name="T38" fmla="*/ 66 w 253"/>
              <a:gd name="T39" fmla="*/ 463 h 478"/>
              <a:gd name="T40" fmla="*/ 64 w 253"/>
              <a:gd name="T41" fmla="*/ 443 h 478"/>
              <a:gd name="T42" fmla="*/ 55 w 253"/>
              <a:gd name="T43" fmla="*/ 452 h 478"/>
              <a:gd name="T44" fmla="*/ 65 w 253"/>
              <a:gd name="T45" fmla="*/ 455 h 478"/>
              <a:gd name="T46" fmla="*/ 55 w 253"/>
              <a:gd name="T47" fmla="*/ 418 h 478"/>
              <a:gd name="T48" fmla="*/ 66 w 253"/>
              <a:gd name="T49" fmla="*/ 447 h 478"/>
              <a:gd name="T50" fmla="*/ 94 w 253"/>
              <a:gd name="T51" fmla="*/ 458 h 478"/>
              <a:gd name="T52" fmla="*/ 126 w 253"/>
              <a:gd name="T53" fmla="*/ 460 h 478"/>
              <a:gd name="T54" fmla="*/ 160 w 253"/>
              <a:gd name="T55" fmla="*/ 432 h 478"/>
              <a:gd name="T56" fmla="*/ 200 w 253"/>
              <a:gd name="T57" fmla="*/ 420 h 478"/>
              <a:gd name="T58" fmla="*/ 206 w 253"/>
              <a:gd name="T59" fmla="*/ 408 h 478"/>
              <a:gd name="T60" fmla="*/ 209 w 253"/>
              <a:gd name="T61" fmla="*/ 403 h 478"/>
              <a:gd name="T62" fmla="*/ 215 w 253"/>
              <a:gd name="T63" fmla="*/ 392 h 478"/>
              <a:gd name="T64" fmla="*/ 220 w 253"/>
              <a:gd name="T65" fmla="*/ 384 h 478"/>
              <a:gd name="T66" fmla="*/ 230 w 253"/>
              <a:gd name="T67" fmla="*/ 362 h 478"/>
              <a:gd name="T68" fmla="*/ 237 w 253"/>
              <a:gd name="T69" fmla="*/ 347 h 478"/>
              <a:gd name="T70" fmla="*/ 247 w 253"/>
              <a:gd name="T71" fmla="*/ 294 h 478"/>
              <a:gd name="T72" fmla="*/ 212 w 253"/>
              <a:gd name="T73" fmla="*/ 245 h 478"/>
              <a:gd name="T74" fmla="*/ 182 w 253"/>
              <a:gd name="T75" fmla="*/ 168 h 478"/>
              <a:gd name="T76" fmla="*/ 159 w 253"/>
              <a:gd name="T77" fmla="*/ 145 h 478"/>
              <a:gd name="T78" fmla="*/ 150 w 253"/>
              <a:gd name="T79" fmla="*/ 83 h 478"/>
              <a:gd name="T80" fmla="*/ 133 w 253"/>
              <a:gd name="T81" fmla="*/ 39 h 478"/>
              <a:gd name="T82" fmla="*/ 89 w 253"/>
              <a:gd name="T83" fmla="*/ 9 h 478"/>
              <a:gd name="T84" fmla="*/ 87 w 253"/>
              <a:gd name="T85" fmla="*/ 13 h 478"/>
              <a:gd name="T86" fmla="*/ 84 w 253"/>
              <a:gd name="T87" fmla="*/ 20 h 478"/>
              <a:gd name="T88" fmla="*/ 53 w 253"/>
              <a:gd name="T89" fmla="*/ 74 h 478"/>
              <a:gd name="T90" fmla="*/ 25 w 253"/>
              <a:gd name="T91" fmla="*/ 65 h 478"/>
              <a:gd name="T92" fmla="*/ 1 w 253"/>
              <a:gd name="T93" fmla="*/ 71 h 478"/>
              <a:gd name="T94" fmla="*/ 13 w 253"/>
              <a:gd name="T95" fmla="*/ 78 h 478"/>
              <a:gd name="T96" fmla="*/ 49 w 253"/>
              <a:gd name="T97" fmla="*/ 108 h 478"/>
              <a:gd name="T98" fmla="*/ 50 w 253"/>
              <a:gd name="T99" fmla="*/ 123 h 478"/>
              <a:gd name="T100" fmla="*/ 57 w 253"/>
              <a:gd name="T101" fmla="*/ 135 h 478"/>
              <a:gd name="T102" fmla="*/ 68 w 253"/>
              <a:gd name="T103" fmla="*/ 189 h 478"/>
              <a:gd name="T104" fmla="*/ 77 w 253"/>
              <a:gd name="T105" fmla="*/ 200 h 478"/>
              <a:gd name="T106" fmla="*/ 95 w 253"/>
              <a:gd name="T107" fmla="*/ 208 h 478"/>
              <a:gd name="T108" fmla="*/ 108 w 253"/>
              <a:gd name="T109" fmla="*/ 231 h 478"/>
              <a:gd name="T110" fmla="*/ 94 w 253"/>
              <a:gd name="T111" fmla="*/ 244 h 478"/>
              <a:gd name="T112" fmla="*/ 84 w 253"/>
              <a:gd name="T113" fmla="*/ 271 h 478"/>
              <a:gd name="T114" fmla="*/ 70 w 253"/>
              <a:gd name="T115" fmla="*/ 295 h 478"/>
              <a:gd name="T116" fmla="*/ 56 w 253"/>
              <a:gd name="T117" fmla="*/ 321 h 478"/>
              <a:gd name="T118" fmla="*/ 41 w 253"/>
              <a:gd name="T119" fmla="*/ 340 h 478"/>
              <a:gd name="T120" fmla="*/ 47 w 253"/>
              <a:gd name="T121" fmla="*/ 369 h 478"/>
              <a:gd name="T122" fmla="*/ 59 w 253"/>
              <a:gd name="T123" fmla="*/ 40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478">
                <a:moveTo>
                  <a:pt x="100" y="232"/>
                </a:moveTo>
                <a:cubicBezTo>
                  <a:pt x="100" y="232"/>
                  <a:pt x="100" y="232"/>
                  <a:pt x="100" y="232"/>
                </a:cubicBezTo>
                <a:cubicBezTo>
                  <a:pt x="101" y="232"/>
                  <a:pt x="102" y="231"/>
                  <a:pt x="101" y="230"/>
                </a:cubicBezTo>
                <a:cubicBezTo>
                  <a:pt x="99" y="231"/>
                  <a:pt x="99" y="229"/>
                  <a:pt x="97" y="230"/>
                </a:cubicBezTo>
                <a:cubicBezTo>
                  <a:pt x="94" y="230"/>
                  <a:pt x="91" y="230"/>
                  <a:pt x="91" y="233"/>
                </a:cubicBezTo>
                <a:cubicBezTo>
                  <a:pt x="91" y="234"/>
                  <a:pt x="92" y="235"/>
                  <a:pt x="93" y="236"/>
                </a:cubicBezTo>
                <a:cubicBezTo>
                  <a:pt x="93" y="236"/>
                  <a:pt x="93" y="236"/>
                  <a:pt x="93" y="236"/>
                </a:cubicBezTo>
                <a:cubicBezTo>
                  <a:pt x="95" y="236"/>
                  <a:pt x="95" y="238"/>
                  <a:pt x="96" y="237"/>
                </a:cubicBezTo>
                <a:cubicBezTo>
                  <a:pt x="97" y="237"/>
                  <a:pt x="97" y="237"/>
                  <a:pt x="97" y="237"/>
                </a:cubicBezTo>
                <a:cubicBezTo>
                  <a:pt x="98" y="236"/>
                  <a:pt x="99" y="236"/>
                  <a:pt x="98" y="235"/>
                </a:cubicBezTo>
                <a:cubicBezTo>
                  <a:pt x="98" y="234"/>
                  <a:pt x="98" y="234"/>
                  <a:pt x="98" y="234"/>
                </a:cubicBezTo>
                <a:cubicBezTo>
                  <a:pt x="98" y="234"/>
                  <a:pt x="98" y="233"/>
                  <a:pt x="98" y="232"/>
                </a:cubicBezTo>
                <a:cubicBezTo>
                  <a:pt x="98" y="233"/>
                  <a:pt x="98" y="233"/>
                  <a:pt x="98" y="233"/>
                </a:cubicBezTo>
                <a:cubicBezTo>
                  <a:pt x="99" y="233"/>
                  <a:pt x="99" y="232"/>
                  <a:pt x="100" y="232"/>
                </a:cubicBezTo>
                <a:close/>
                <a:moveTo>
                  <a:pt x="41" y="462"/>
                </a:moveTo>
                <a:cubicBezTo>
                  <a:pt x="42" y="462"/>
                  <a:pt x="42" y="462"/>
                  <a:pt x="42" y="462"/>
                </a:cubicBezTo>
                <a:cubicBezTo>
                  <a:pt x="42" y="463"/>
                  <a:pt x="43" y="463"/>
                  <a:pt x="43" y="463"/>
                </a:cubicBezTo>
                <a:cubicBezTo>
                  <a:pt x="44" y="461"/>
                  <a:pt x="42" y="460"/>
                  <a:pt x="41" y="462"/>
                </a:cubicBezTo>
                <a:close/>
                <a:moveTo>
                  <a:pt x="40" y="468"/>
                </a:moveTo>
                <a:cubicBezTo>
                  <a:pt x="40" y="467"/>
                  <a:pt x="40" y="467"/>
                  <a:pt x="39" y="466"/>
                </a:cubicBezTo>
                <a:cubicBezTo>
                  <a:pt x="39" y="468"/>
                  <a:pt x="39" y="468"/>
                  <a:pt x="39" y="468"/>
                </a:cubicBezTo>
                <a:cubicBezTo>
                  <a:pt x="38" y="468"/>
                  <a:pt x="38" y="470"/>
                  <a:pt x="37" y="471"/>
                </a:cubicBezTo>
                <a:cubicBezTo>
                  <a:pt x="37" y="471"/>
                  <a:pt x="37" y="471"/>
                  <a:pt x="37" y="471"/>
                </a:cubicBezTo>
                <a:cubicBezTo>
                  <a:pt x="35" y="471"/>
                  <a:pt x="34" y="472"/>
                  <a:pt x="34" y="473"/>
                </a:cubicBezTo>
                <a:cubicBezTo>
                  <a:pt x="37" y="473"/>
                  <a:pt x="37" y="473"/>
                  <a:pt x="37" y="473"/>
                </a:cubicBezTo>
                <a:cubicBezTo>
                  <a:pt x="38" y="472"/>
                  <a:pt x="38" y="472"/>
                  <a:pt x="39" y="472"/>
                </a:cubicBezTo>
                <a:cubicBezTo>
                  <a:pt x="39" y="471"/>
                  <a:pt x="39" y="471"/>
                  <a:pt x="40" y="471"/>
                </a:cubicBezTo>
                <a:cubicBezTo>
                  <a:pt x="40" y="471"/>
                  <a:pt x="41" y="471"/>
                  <a:pt x="41" y="471"/>
                </a:cubicBezTo>
                <a:cubicBezTo>
                  <a:pt x="40" y="470"/>
                  <a:pt x="40" y="469"/>
                  <a:pt x="40" y="468"/>
                </a:cubicBezTo>
                <a:close/>
                <a:moveTo>
                  <a:pt x="45" y="457"/>
                </a:moveTo>
                <a:cubicBezTo>
                  <a:pt x="45" y="456"/>
                  <a:pt x="45" y="455"/>
                  <a:pt x="44" y="455"/>
                </a:cubicBezTo>
                <a:cubicBezTo>
                  <a:pt x="44" y="456"/>
                  <a:pt x="41" y="455"/>
                  <a:pt x="42" y="457"/>
                </a:cubicBezTo>
                <a:cubicBezTo>
                  <a:pt x="43" y="457"/>
                  <a:pt x="44" y="457"/>
                  <a:pt x="45" y="457"/>
                </a:cubicBezTo>
                <a:close/>
                <a:moveTo>
                  <a:pt x="41" y="465"/>
                </a:moveTo>
                <a:cubicBezTo>
                  <a:pt x="41" y="466"/>
                  <a:pt x="42" y="467"/>
                  <a:pt x="43" y="468"/>
                </a:cubicBezTo>
                <a:cubicBezTo>
                  <a:pt x="43" y="467"/>
                  <a:pt x="43" y="464"/>
                  <a:pt x="41" y="465"/>
                </a:cubicBezTo>
                <a:close/>
                <a:moveTo>
                  <a:pt x="43" y="459"/>
                </a:moveTo>
                <a:cubicBezTo>
                  <a:pt x="44" y="459"/>
                  <a:pt x="44" y="460"/>
                  <a:pt x="44" y="461"/>
                </a:cubicBezTo>
                <a:cubicBezTo>
                  <a:pt x="45" y="461"/>
                  <a:pt x="45" y="461"/>
                  <a:pt x="45" y="462"/>
                </a:cubicBezTo>
                <a:cubicBezTo>
                  <a:pt x="46" y="462"/>
                  <a:pt x="46" y="461"/>
                  <a:pt x="46" y="459"/>
                </a:cubicBezTo>
                <a:cubicBezTo>
                  <a:pt x="45" y="460"/>
                  <a:pt x="44" y="457"/>
                  <a:pt x="43" y="459"/>
                </a:cubicBezTo>
                <a:close/>
                <a:moveTo>
                  <a:pt x="50" y="450"/>
                </a:moveTo>
                <a:cubicBezTo>
                  <a:pt x="51" y="450"/>
                  <a:pt x="51" y="450"/>
                  <a:pt x="51" y="451"/>
                </a:cubicBezTo>
                <a:cubicBezTo>
                  <a:pt x="52" y="451"/>
                  <a:pt x="52" y="451"/>
                  <a:pt x="52" y="450"/>
                </a:cubicBezTo>
                <a:cubicBezTo>
                  <a:pt x="52" y="450"/>
                  <a:pt x="51" y="449"/>
                  <a:pt x="50" y="450"/>
                </a:cubicBezTo>
                <a:close/>
                <a:moveTo>
                  <a:pt x="51" y="452"/>
                </a:moveTo>
                <a:cubicBezTo>
                  <a:pt x="51" y="452"/>
                  <a:pt x="51" y="452"/>
                  <a:pt x="50" y="452"/>
                </a:cubicBezTo>
                <a:cubicBezTo>
                  <a:pt x="50" y="453"/>
                  <a:pt x="51" y="453"/>
                  <a:pt x="51" y="452"/>
                </a:cubicBezTo>
                <a:close/>
                <a:moveTo>
                  <a:pt x="50" y="471"/>
                </a:moveTo>
                <a:cubicBezTo>
                  <a:pt x="51" y="474"/>
                  <a:pt x="47" y="473"/>
                  <a:pt x="48" y="475"/>
                </a:cubicBezTo>
                <a:cubicBezTo>
                  <a:pt x="49" y="475"/>
                  <a:pt x="49" y="475"/>
                  <a:pt x="49" y="475"/>
                </a:cubicBezTo>
                <a:cubicBezTo>
                  <a:pt x="49" y="475"/>
                  <a:pt x="49" y="474"/>
                  <a:pt x="50" y="474"/>
                </a:cubicBezTo>
                <a:cubicBezTo>
                  <a:pt x="50" y="474"/>
                  <a:pt x="50" y="475"/>
                  <a:pt x="51" y="475"/>
                </a:cubicBezTo>
                <a:cubicBezTo>
                  <a:pt x="51" y="475"/>
                  <a:pt x="52" y="475"/>
                  <a:pt x="52" y="475"/>
                </a:cubicBezTo>
                <a:cubicBezTo>
                  <a:pt x="52" y="475"/>
                  <a:pt x="52" y="474"/>
                  <a:pt x="52" y="474"/>
                </a:cubicBezTo>
                <a:cubicBezTo>
                  <a:pt x="52" y="474"/>
                  <a:pt x="52" y="474"/>
                  <a:pt x="52" y="473"/>
                </a:cubicBezTo>
                <a:cubicBezTo>
                  <a:pt x="51" y="473"/>
                  <a:pt x="51" y="471"/>
                  <a:pt x="50" y="471"/>
                </a:cubicBezTo>
                <a:close/>
                <a:moveTo>
                  <a:pt x="35" y="466"/>
                </a:moveTo>
                <a:cubicBezTo>
                  <a:pt x="35" y="464"/>
                  <a:pt x="33" y="465"/>
                  <a:pt x="33" y="465"/>
                </a:cubicBezTo>
                <a:cubicBezTo>
                  <a:pt x="33" y="465"/>
                  <a:pt x="33" y="465"/>
                  <a:pt x="33" y="465"/>
                </a:cubicBezTo>
                <a:cubicBezTo>
                  <a:pt x="33" y="467"/>
                  <a:pt x="34" y="466"/>
                  <a:pt x="35" y="466"/>
                </a:cubicBezTo>
                <a:close/>
                <a:moveTo>
                  <a:pt x="49" y="477"/>
                </a:moveTo>
                <a:cubicBezTo>
                  <a:pt x="50" y="477"/>
                  <a:pt x="50" y="477"/>
                  <a:pt x="50" y="477"/>
                </a:cubicBezTo>
                <a:cubicBezTo>
                  <a:pt x="50" y="476"/>
                  <a:pt x="50" y="476"/>
                  <a:pt x="50" y="475"/>
                </a:cubicBezTo>
                <a:cubicBezTo>
                  <a:pt x="50" y="475"/>
                  <a:pt x="50" y="475"/>
                  <a:pt x="49" y="475"/>
                </a:cubicBezTo>
                <a:cubicBezTo>
                  <a:pt x="49" y="476"/>
                  <a:pt x="49" y="476"/>
                  <a:pt x="49" y="476"/>
                </a:cubicBezTo>
                <a:cubicBezTo>
                  <a:pt x="49" y="476"/>
                  <a:pt x="49" y="477"/>
                  <a:pt x="49" y="477"/>
                </a:cubicBezTo>
                <a:close/>
                <a:moveTo>
                  <a:pt x="48" y="455"/>
                </a:moveTo>
                <a:cubicBezTo>
                  <a:pt x="48" y="455"/>
                  <a:pt x="48" y="455"/>
                  <a:pt x="48" y="455"/>
                </a:cubicBezTo>
                <a:cubicBezTo>
                  <a:pt x="47" y="455"/>
                  <a:pt x="47" y="455"/>
                  <a:pt x="46" y="456"/>
                </a:cubicBezTo>
                <a:cubicBezTo>
                  <a:pt x="47" y="456"/>
                  <a:pt x="48" y="457"/>
                  <a:pt x="48" y="456"/>
                </a:cubicBezTo>
                <a:cubicBezTo>
                  <a:pt x="48" y="456"/>
                  <a:pt x="48" y="455"/>
                  <a:pt x="48" y="455"/>
                </a:cubicBezTo>
                <a:close/>
                <a:moveTo>
                  <a:pt x="35" y="462"/>
                </a:moveTo>
                <a:cubicBezTo>
                  <a:pt x="37" y="462"/>
                  <a:pt x="37" y="461"/>
                  <a:pt x="36" y="460"/>
                </a:cubicBezTo>
                <a:cubicBezTo>
                  <a:pt x="35" y="460"/>
                  <a:pt x="35" y="460"/>
                  <a:pt x="35" y="459"/>
                </a:cubicBezTo>
                <a:cubicBezTo>
                  <a:pt x="34" y="459"/>
                  <a:pt x="34" y="460"/>
                  <a:pt x="34" y="460"/>
                </a:cubicBezTo>
                <a:cubicBezTo>
                  <a:pt x="34" y="460"/>
                  <a:pt x="34" y="461"/>
                  <a:pt x="34" y="462"/>
                </a:cubicBezTo>
                <a:cubicBezTo>
                  <a:pt x="35" y="462"/>
                  <a:pt x="35" y="462"/>
                  <a:pt x="35" y="462"/>
                </a:cubicBezTo>
                <a:close/>
                <a:moveTo>
                  <a:pt x="34" y="464"/>
                </a:moveTo>
                <a:cubicBezTo>
                  <a:pt x="35" y="463"/>
                  <a:pt x="35" y="463"/>
                  <a:pt x="35" y="462"/>
                </a:cubicBezTo>
                <a:cubicBezTo>
                  <a:pt x="35" y="462"/>
                  <a:pt x="34" y="462"/>
                  <a:pt x="34" y="462"/>
                </a:cubicBezTo>
                <a:cubicBezTo>
                  <a:pt x="34" y="462"/>
                  <a:pt x="34" y="462"/>
                  <a:pt x="33" y="462"/>
                </a:cubicBezTo>
                <a:cubicBezTo>
                  <a:pt x="33" y="462"/>
                  <a:pt x="33" y="463"/>
                  <a:pt x="33" y="464"/>
                </a:cubicBezTo>
                <a:cubicBezTo>
                  <a:pt x="34" y="464"/>
                  <a:pt x="34" y="464"/>
                  <a:pt x="34" y="464"/>
                </a:cubicBezTo>
                <a:close/>
                <a:moveTo>
                  <a:pt x="32" y="469"/>
                </a:moveTo>
                <a:cubicBezTo>
                  <a:pt x="31" y="469"/>
                  <a:pt x="31" y="468"/>
                  <a:pt x="30" y="468"/>
                </a:cubicBezTo>
                <a:cubicBezTo>
                  <a:pt x="29" y="469"/>
                  <a:pt x="28" y="469"/>
                  <a:pt x="27" y="471"/>
                </a:cubicBezTo>
                <a:cubicBezTo>
                  <a:pt x="29" y="471"/>
                  <a:pt x="29" y="473"/>
                  <a:pt x="32" y="473"/>
                </a:cubicBezTo>
                <a:cubicBezTo>
                  <a:pt x="32" y="472"/>
                  <a:pt x="33" y="472"/>
                  <a:pt x="33" y="471"/>
                </a:cubicBezTo>
                <a:cubicBezTo>
                  <a:pt x="33" y="471"/>
                  <a:pt x="33" y="471"/>
                  <a:pt x="33" y="471"/>
                </a:cubicBezTo>
                <a:cubicBezTo>
                  <a:pt x="33" y="470"/>
                  <a:pt x="32" y="470"/>
                  <a:pt x="32" y="469"/>
                </a:cubicBezTo>
                <a:close/>
                <a:moveTo>
                  <a:pt x="16" y="459"/>
                </a:moveTo>
                <a:cubicBezTo>
                  <a:pt x="16" y="458"/>
                  <a:pt x="17" y="460"/>
                  <a:pt x="17" y="459"/>
                </a:cubicBezTo>
                <a:cubicBezTo>
                  <a:pt x="18" y="460"/>
                  <a:pt x="17" y="459"/>
                  <a:pt x="18" y="459"/>
                </a:cubicBezTo>
                <a:cubicBezTo>
                  <a:pt x="18" y="459"/>
                  <a:pt x="18" y="459"/>
                  <a:pt x="18" y="459"/>
                </a:cubicBezTo>
                <a:cubicBezTo>
                  <a:pt x="19" y="458"/>
                  <a:pt x="18" y="457"/>
                  <a:pt x="17" y="457"/>
                </a:cubicBezTo>
                <a:cubicBezTo>
                  <a:pt x="17" y="458"/>
                  <a:pt x="16" y="458"/>
                  <a:pt x="16" y="459"/>
                </a:cubicBezTo>
                <a:close/>
                <a:moveTo>
                  <a:pt x="28" y="467"/>
                </a:moveTo>
                <a:cubicBezTo>
                  <a:pt x="28" y="466"/>
                  <a:pt x="28" y="465"/>
                  <a:pt x="27" y="464"/>
                </a:cubicBezTo>
                <a:cubicBezTo>
                  <a:pt x="27" y="464"/>
                  <a:pt x="27" y="462"/>
                  <a:pt x="27" y="462"/>
                </a:cubicBezTo>
                <a:cubicBezTo>
                  <a:pt x="29" y="463"/>
                  <a:pt x="28" y="465"/>
                  <a:pt x="30" y="466"/>
                </a:cubicBezTo>
                <a:cubicBezTo>
                  <a:pt x="30" y="464"/>
                  <a:pt x="31" y="464"/>
                  <a:pt x="32" y="464"/>
                </a:cubicBezTo>
                <a:cubicBezTo>
                  <a:pt x="32" y="463"/>
                  <a:pt x="32" y="462"/>
                  <a:pt x="33" y="462"/>
                </a:cubicBezTo>
                <a:cubicBezTo>
                  <a:pt x="33" y="459"/>
                  <a:pt x="33" y="459"/>
                  <a:pt x="33" y="459"/>
                </a:cubicBezTo>
                <a:cubicBezTo>
                  <a:pt x="32" y="458"/>
                  <a:pt x="32" y="458"/>
                  <a:pt x="32" y="457"/>
                </a:cubicBezTo>
                <a:cubicBezTo>
                  <a:pt x="31" y="457"/>
                  <a:pt x="30" y="457"/>
                  <a:pt x="30" y="457"/>
                </a:cubicBezTo>
                <a:cubicBezTo>
                  <a:pt x="28" y="456"/>
                  <a:pt x="27" y="456"/>
                  <a:pt x="25" y="455"/>
                </a:cubicBezTo>
                <a:cubicBezTo>
                  <a:pt x="26" y="455"/>
                  <a:pt x="25" y="455"/>
                  <a:pt x="25" y="455"/>
                </a:cubicBezTo>
                <a:cubicBezTo>
                  <a:pt x="22" y="454"/>
                  <a:pt x="23" y="457"/>
                  <a:pt x="21" y="456"/>
                </a:cubicBezTo>
                <a:cubicBezTo>
                  <a:pt x="20" y="457"/>
                  <a:pt x="21" y="458"/>
                  <a:pt x="23" y="458"/>
                </a:cubicBezTo>
                <a:cubicBezTo>
                  <a:pt x="23" y="459"/>
                  <a:pt x="23" y="459"/>
                  <a:pt x="24" y="459"/>
                </a:cubicBezTo>
                <a:cubicBezTo>
                  <a:pt x="24" y="460"/>
                  <a:pt x="24" y="460"/>
                  <a:pt x="24" y="460"/>
                </a:cubicBezTo>
                <a:cubicBezTo>
                  <a:pt x="24" y="461"/>
                  <a:pt x="23" y="461"/>
                  <a:pt x="23" y="462"/>
                </a:cubicBezTo>
                <a:cubicBezTo>
                  <a:pt x="21" y="462"/>
                  <a:pt x="21" y="462"/>
                  <a:pt x="21" y="462"/>
                </a:cubicBezTo>
                <a:cubicBezTo>
                  <a:pt x="21" y="462"/>
                  <a:pt x="20" y="463"/>
                  <a:pt x="20" y="463"/>
                </a:cubicBezTo>
                <a:cubicBezTo>
                  <a:pt x="19" y="465"/>
                  <a:pt x="21" y="466"/>
                  <a:pt x="21" y="467"/>
                </a:cubicBezTo>
                <a:cubicBezTo>
                  <a:pt x="21" y="468"/>
                  <a:pt x="21" y="469"/>
                  <a:pt x="22" y="469"/>
                </a:cubicBezTo>
                <a:cubicBezTo>
                  <a:pt x="22" y="469"/>
                  <a:pt x="22" y="469"/>
                  <a:pt x="22" y="469"/>
                </a:cubicBezTo>
                <a:cubicBezTo>
                  <a:pt x="21" y="470"/>
                  <a:pt x="22" y="470"/>
                  <a:pt x="23" y="471"/>
                </a:cubicBezTo>
                <a:cubicBezTo>
                  <a:pt x="23" y="471"/>
                  <a:pt x="23" y="471"/>
                  <a:pt x="23" y="471"/>
                </a:cubicBezTo>
                <a:cubicBezTo>
                  <a:pt x="24" y="472"/>
                  <a:pt x="25" y="470"/>
                  <a:pt x="26" y="471"/>
                </a:cubicBezTo>
                <a:cubicBezTo>
                  <a:pt x="26" y="471"/>
                  <a:pt x="26" y="471"/>
                  <a:pt x="27" y="471"/>
                </a:cubicBezTo>
                <a:cubicBezTo>
                  <a:pt x="27" y="471"/>
                  <a:pt x="27" y="471"/>
                  <a:pt x="27" y="471"/>
                </a:cubicBezTo>
                <a:cubicBezTo>
                  <a:pt x="26" y="468"/>
                  <a:pt x="29" y="469"/>
                  <a:pt x="28" y="467"/>
                </a:cubicBezTo>
                <a:close/>
                <a:moveTo>
                  <a:pt x="32" y="456"/>
                </a:moveTo>
                <a:cubicBezTo>
                  <a:pt x="32" y="456"/>
                  <a:pt x="32" y="456"/>
                  <a:pt x="32" y="456"/>
                </a:cubicBezTo>
                <a:cubicBezTo>
                  <a:pt x="33" y="457"/>
                  <a:pt x="33" y="458"/>
                  <a:pt x="34" y="457"/>
                </a:cubicBezTo>
                <a:cubicBezTo>
                  <a:pt x="35" y="455"/>
                  <a:pt x="33" y="456"/>
                  <a:pt x="32" y="456"/>
                </a:cubicBezTo>
                <a:close/>
                <a:moveTo>
                  <a:pt x="35" y="456"/>
                </a:moveTo>
                <a:cubicBezTo>
                  <a:pt x="35" y="456"/>
                  <a:pt x="35" y="456"/>
                  <a:pt x="35" y="456"/>
                </a:cubicBezTo>
                <a:cubicBezTo>
                  <a:pt x="35" y="457"/>
                  <a:pt x="35" y="458"/>
                  <a:pt x="36" y="458"/>
                </a:cubicBezTo>
                <a:cubicBezTo>
                  <a:pt x="35" y="457"/>
                  <a:pt x="37" y="456"/>
                  <a:pt x="35" y="456"/>
                </a:cubicBezTo>
                <a:close/>
                <a:moveTo>
                  <a:pt x="37" y="465"/>
                </a:moveTo>
                <a:cubicBezTo>
                  <a:pt x="37" y="465"/>
                  <a:pt x="37" y="465"/>
                  <a:pt x="37" y="466"/>
                </a:cubicBezTo>
                <a:cubicBezTo>
                  <a:pt x="38" y="465"/>
                  <a:pt x="39" y="465"/>
                  <a:pt x="39" y="463"/>
                </a:cubicBezTo>
                <a:cubicBezTo>
                  <a:pt x="37" y="462"/>
                  <a:pt x="37" y="464"/>
                  <a:pt x="37" y="465"/>
                </a:cubicBezTo>
                <a:close/>
                <a:moveTo>
                  <a:pt x="13" y="463"/>
                </a:moveTo>
                <a:cubicBezTo>
                  <a:pt x="13" y="463"/>
                  <a:pt x="13" y="463"/>
                  <a:pt x="13" y="463"/>
                </a:cubicBezTo>
                <a:cubicBezTo>
                  <a:pt x="13" y="464"/>
                  <a:pt x="14" y="465"/>
                  <a:pt x="15" y="465"/>
                </a:cubicBezTo>
                <a:cubicBezTo>
                  <a:pt x="15" y="464"/>
                  <a:pt x="15" y="463"/>
                  <a:pt x="13" y="463"/>
                </a:cubicBezTo>
                <a:close/>
                <a:moveTo>
                  <a:pt x="17" y="462"/>
                </a:moveTo>
                <a:cubicBezTo>
                  <a:pt x="15" y="462"/>
                  <a:pt x="16" y="464"/>
                  <a:pt x="16" y="466"/>
                </a:cubicBezTo>
                <a:cubicBezTo>
                  <a:pt x="16" y="466"/>
                  <a:pt x="16" y="468"/>
                  <a:pt x="18" y="468"/>
                </a:cubicBezTo>
                <a:cubicBezTo>
                  <a:pt x="18" y="468"/>
                  <a:pt x="18" y="468"/>
                  <a:pt x="18" y="467"/>
                </a:cubicBezTo>
                <a:cubicBezTo>
                  <a:pt x="18" y="467"/>
                  <a:pt x="19" y="466"/>
                  <a:pt x="19" y="466"/>
                </a:cubicBezTo>
                <a:cubicBezTo>
                  <a:pt x="19" y="465"/>
                  <a:pt x="19" y="465"/>
                  <a:pt x="18" y="464"/>
                </a:cubicBezTo>
                <a:cubicBezTo>
                  <a:pt x="19" y="462"/>
                  <a:pt x="18" y="462"/>
                  <a:pt x="17" y="462"/>
                </a:cubicBezTo>
                <a:close/>
                <a:moveTo>
                  <a:pt x="99" y="470"/>
                </a:moveTo>
                <a:cubicBezTo>
                  <a:pt x="99" y="470"/>
                  <a:pt x="100" y="470"/>
                  <a:pt x="99" y="469"/>
                </a:cubicBezTo>
                <a:cubicBezTo>
                  <a:pt x="99" y="469"/>
                  <a:pt x="98" y="470"/>
                  <a:pt x="99" y="470"/>
                </a:cubicBezTo>
                <a:close/>
                <a:moveTo>
                  <a:pt x="98" y="466"/>
                </a:moveTo>
                <a:cubicBezTo>
                  <a:pt x="98" y="465"/>
                  <a:pt x="97" y="465"/>
                  <a:pt x="97" y="464"/>
                </a:cubicBezTo>
                <a:cubicBezTo>
                  <a:pt x="97" y="463"/>
                  <a:pt x="98" y="463"/>
                  <a:pt x="98" y="462"/>
                </a:cubicBezTo>
                <a:cubicBezTo>
                  <a:pt x="97" y="462"/>
                  <a:pt x="96" y="463"/>
                  <a:pt x="96" y="464"/>
                </a:cubicBezTo>
                <a:cubicBezTo>
                  <a:pt x="96" y="464"/>
                  <a:pt x="97" y="465"/>
                  <a:pt x="96" y="465"/>
                </a:cubicBezTo>
                <a:cubicBezTo>
                  <a:pt x="95" y="465"/>
                  <a:pt x="94" y="465"/>
                  <a:pt x="94" y="464"/>
                </a:cubicBezTo>
                <a:cubicBezTo>
                  <a:pt x="93" y="464"/>
                  <a:pt x="93" y="464"/>
                  <a:pt x="93" y="464"/>
                </a:cubicBezTo>
                <a:cubicBezTo>
                  <a:pt x="92" y="466"/>
                  <a:pt x="94" y="467"/>
                  <a:pt x="94" y="468"/>
                </a:cubicBezTo>
                <a:cubicBezTo>
                  <a:pt x="96" y="468"/>
                  <a:pt x="97" y="468"/>
                  <a:pt x="99" y="468"/>
                </a:cubicBezTo>
                <a:cubicBezTo>
                  <a:pt x="99" y="467"/>
                  <a:pt x="99" y="467"/>
                  <a:pt x="98" y="466"/>
                </a:cubicBezTo>
                <a:close/>
                <a:moveTo>
                  <a:pt x="94" y="462"/>
                </a:moveTo>
                <a:cubicBezTo>
                  <a:pt x="94" y="463"/>
                  <a:pt x="94" y="463"/>
                  <a:pt x="94" y="464"/>
                </a:cubicBezTo>
                <a:cubicBezTo>
                  <a:pt x="95" y="465"/>
                  <a:pt x="96" y="462"/>
                  <a:pt x="94" y="462"/>
                </a:cubicBezTo>
                <a:close/>
                <a:moveTo>
                  <a:pt x="145" y="449"/>
                </a:moveTo>
                <a:cubicBezTo>
                  <a:pt x="145" y="449"/>
                  <a:pt x="146" y="449"/>
                  <a:pt x="146" y="448"/>
                </a:cubicBezTo>
                <a:cubicBezTo>
                  <a:pt x="146" y="448"/>
                  <a:pt x="145" y="449"/>
                  <a:pt x="145" y="449"/>
                </a:cubicBezTo>
                <a:close/>
                <a:moveTo>
                  <a:pt x="162" y="434"/>
                </a:moveTo>
                <a:cubicBezTo>
                  <a:pt x="162" y="434"/>
                  <a:pt x="163" y="433"/>
                  <a:pt x="163" y="433"/>
                </a:cubicBezTo>
                <a:cubicBezTo>
                  <a:pt x="162" y="433"/>
                  <a:pt x="162" y="433"/>
                  <a:pt x="162" y="434"/>
                </a:cubicBezTo>
                <a:close/>
                <a:moveTo>
                  <a:pt x="178" y="434"/>
                </a:moveTo>
                <a:cubicBezTo>
                  <a:pt x="178" y="435"/>
                  <a:pt x="179" y="434"/>
                  <a:pt x="179" y="434"/>
                </a:cubicBezTo>
                <a:cubicBezTo>
                  <a:pt x="178" y="433"/>
                  <a:pt x="178" y="434"/>
                  <a:pt x="178" y="434"/>
                </a:cubicBezTo>
                <a:close/>
                <a:moveTo>
                  <a:pt x="147" y="447"/>
                </a:moveTo>
                <a:cubicBezTo>
                  <a:pt x="148" y="446"/>
                  <a:pt x="147" y="446"/>
                  <a:pt x="147" y="447"/>
                </a:cubicBezTo>
                <a:close/>
                <a:moveTo>
                  <a:pt x="152" y="443"/>
                </a:moveTo>
                <a:cubicBezTo>
                  <a:pt x="153" y="444"/>
                  <a:pt x="155" y="445"/>
                  <a:pt x="155" y="443"/>
                </a:cubicBezTo>
                <a:cubicBezTo>
                  <a:pt x="154" y="443"/>
                  <a:pt x="153" y="441"/>
                  <a:pt x="152" y="443"/>
                </a:cubicBezTo>
                <a:close/>
                <a:moveTo>
                  <a:pt x="171" y="436"/>
                </a:moveTo>
                <a:cubicBezTo>
                  <a:pt x="174" y="436"/>
                  <a:pt x="175" y="435"/>
                  <a:pt x="176" y="434"/>
                </a:cubicBezTo>
                <a:cubicBezTo>
                  <a:pt x="175" y="434"/>
                  <a:pt x="174" y="433"/>
                  <a:pt x="173" y="433"/>
                </a:cubicBezTo>
                <a:cubicBezTo>
                  <a:pt x="174" y="435"/>
                  <a:pt x="171" y="434"/>
                  <a:pt x="171" y="436"/>
                </a:cubicBezTo>
                <a:close/>
                <a:moveTo>
                  <a:pt x="105" y="471"/>
                </a:moveTo>
                <a:cubicBezTo>
                  <a:pt x="107" y="471"/>
                  <a:pt x="106" y="469"/>
                  <a:pt x="108" y="469"/>
                </a:cubicBezTo>
                <a:cubicBezTo>
                  <a:pt x="109" y="469"/>
                  <a:pt x="109" y="468"/>
                  <a:pt x="109" y="466"/>
                </a:cubicBezTo>
                <a:cubicBezTo>
                  <a:pt x="110" y="466"/>
                  <a:pt x="111" y="466"/>
                  <a:pt x="112" y="466"/>
                </a:cubicBezTo>
                <a:cubicBezTo>
                  <a:pt x="112" y="465"/>
                  <a:pt x="113" y="465"/>
                  <a:pt x="113" y="464"/>
                </a:cubicBezTo>
                <a:cubicBezTo>
                  <a:pt x="113" y="463"/>
                  <a:pt x="113" y="464"/>
                  <a:pt x="112" y="464"/>
                </a:cubicBezTo>
                <a:cubicBezTo>
                  <a:pt x="111" y="464"/>
                  <a:pt x="110" y="464"/>
                  <a:pt x="110" y="464"/>
                </a:cubicBezTo>
                <a:cubicBezTo>
                  <a:pt x="108" y="465"/>
                  <a:pt x="108" y="466"/>
                  <a:pt x="106" y="466"/>
                </a:cubicBezTo>
                <a:cubicBezTo>
                  <a:pt x="106" y="466"/>
                  <a:pt x="106" y="467"/>
                  <a:pt x="106" y="468"/>
                </a:cubicBezTo>
                <a:cubicBezTo>
                  <a:pt x="106" y="469"/>
                  <a:pt x="106" y="469"/>
                  <a:pt x="105" y="469"/>
                </a:cubicBezTo>
                <a:cubicBezTo>
                  <a:pt x="105" y="469"/>
                  <a:pt x="105" y="469"/>
                  <a:pt x="104" y="469"/>
                </a:cubicBezTo>
                <a:cubicBezTo>
                  <a:pt x="104" y="470"/>
                  <a:pt x="105" y="471"/>
                  <a:pt x="105" y="471"/>
                </a:cubicBezTo>
                <a:close/>
                <a:moveTo>
                  <a:pt x="147" y="447"/>
                </a:moveTo>
                <a:cubicBezTo>
                  <a:pt x="147" y="447"/>
                  <a:pt x="146" y="447"/>
                  <a:pt x="146" y="447"/>
                </a:cubicBezTo>
                <a:cubicBezTo>
                  <a:pt x="146" y="448"/>
                  <a:pt x="147" y="448"/>
                  <a:pt x="147" y="447"/>
                </a:cubicBezTo>
                <a:close/>
                <a:moveTo>
                  <a:pt x="97" y="473"/>
                </a:moveTo>
                <a:cubicBezTo>
                  <a:pt x="96" y="474"/>
                  <a:pt x="97" y="474"/>
                  <a:pt x="97" y="473"/>
                </a:cubicBezTo>
                <a:close/>
                <a:moveTo>
                  <a:pt x="165" y="436"/>
                </a:moveTo>
                <a:cubicBezTo>
                  <a:pt x="164" y="435"/>
                  <a:pt x="164" y="436"/>
                  <a:pt x="165" y="436"/>
                </a:cubicBezTo>
                <a:close/>
                <a:moveTo>
                  <a:pt x="161" y="439"/>
                </a:moveTo>
                <a:cubicBezTo>
                  <a:pt x="161" y="440"/>
                  <a:pt x="161" y="441"/>
                  <a:pt x="162" y="441"/>
                </a:cubicBezTo>
                <a:cubicBezTo>
                  <a:pt x="162" y="441"/>
                  <a:pt x="163" y="440"/>
                  <a:pt x="163" y="441"/>
                </a:cubicBezTo>
                <a:cubicBezTo>
                  <a:pt x="164" y="439"/>
                  <a:pt x="162" y="439"/>
                  <a:pt x="161" y="439"/>
                </a:cubicBezTo>
                <a:close/>
                <a:moveTo>
                  <a:pt x="165" y="436"/>
                </a:moveTo>
                <a:cubicBezTo>
                  <a:pt x="164" y="438"/>
                  <a:pt x="165" y="438"/>
                  <a:pt x="166" y="438"/>
                </a:cubicBezTo>
                <a:cubicBezTo>
                  <a:pt x="166" y="439"/>
                  <a:pt x="167" y="438"/>
                  <a:pt x="168" y="439"/>
                </a:cubicBezTo>
                <a:cubicBezTo>
                  <a:pt x="169" y="436"/>
                  <a:pt x="167" y="436"/>
                  <a:pt x="165" y="436"/>
                </a:cubicBezTo>
                <a:close/>
                <a:moveTo>
                  <a:pt x="169" y="438"/>
                </a:moveTo>
                <a:cubicBezTo>
                  <a:pt x="169" y="438"/>
                  <a:pt x="170" y="437"/>
                  <a:pt x="170" y="437"/>
                </a:cubicBezTo>
                <a:cubicBezTo>
                  <a:pt x="169" y="437"/>
                  <a:pt x="169" y="437"/>
                  <a:pt x="169" y="438"/>
                </a:cubicBezTo>
                <a:close/>
                <a:moveTo>
                  <a:pt x="167" y="434"/>
                </a:moveTo>
                <a:cubicBezTo>
                  <a:pt x="166" y="434"/>
                  <a:pt x="165" y="434"/>
                  <a:pt x="165" y="435"/>
                </a:cubicBezTo>
                <a:cubicBezTo>
                  <a:pt x="166" y="435"/>
                  <a:pt x="167" y="435"/>
                  <a:pt x="167" y="434"/>
                </a:cubicBezTo>
                <a:close/>
                <a:moveTo>
                  <a:pt x="167" y="435"/>
                </a:moveTo>
                <a:cubicBezTo>
                  <a:pt x="169" y="435"/>
                  <a:pt x="170" y="435"/>
                  <a:pt x="170" y="434"/>
                </a:cubicBezTo>
                <a:cubicBezTo>
                  <a:pt x="170" y="434"/>
                  <a:pt x="169" y="434"/>
                  <a:pt x="169" y="434"/>
                </a:cubicBezTo>
                <a:cubicBezTo>
                  <a:pt x="168" y="434"/>
                  <a:pt x="168" y="434"/>
                  <a:pt x="167" y="435"/>
                </a:cubicBezTo>
                <a:close/>
                <a:moveTo>
                  <a:pt x="57" y="399"/>
                </a:moveTo>
                <a:cubicBezTo>
                  <a:pt x="57" y="400"/>
                  <a:pt x="57" y="400"/>
                  <a:pt x="57" y="400"/>
                </a:cubicBezTo>
                <a:cubicBezTo>
                  <a:pt x="58" y="400"/>
                  <a:pt x="57" y="400"/>
                  <a:pt x="57" y="399"/>
                </a:cubicBezTo>
                <a:close/>
                <a:moveTo>
                  <a:pt x="39" y="336"/>
                </a:moveTo>
                <a:cubicBezTo>
                  <a:pt x="39" y="336"/>
                  <a:pt x="39" y="336"/>
                  <a:pt x="39" y="335"/>
                </a:cubicBezTo>
                <a:cubicBezTo>
                  <a:pt x="39" y="335"/>
                  <a:pt x="39" y="334"/>
                  <a:pt x="39" y="333"/>
                </a:cubicBezTo>
                <a:cubicBezTo>
                  <a:pt x="38" y="333"/>
                  <a:pt x="38" y="334"/>
                  <a:pt x="37" y="334"/>
                </a:cubicBezTo>
                <a:cubicBezTo>
                  <a:pt x="36" y="336"/>
                  <a:pt x="37" y="337"/>
                  <a:pt x="39" y="337"/>
                </a:cubicBezTo>
                <a:cubicBezTo>
                  <a:pt x="39" y="337"/>
                  <a:pt x="39" y="337"/>
                  <a:pt x="39" y="336"/>
                </a:cubicBezTo>
                <a:close/>
                <a:moveTo>
                  <a:pt x="38" y="338"/>
                </a:moveTo>
                <a:cubicBezTo>
                  <a:pt x="38" y="339"/>
                  <a:pt x="38" y="340"/>
                  <a:pt x="38" y="340"/>
                </a:cubicBezTo>
                <a:cubicBezTo>
                  <a:pt x="40" y="341"/>
                  <a:pt x="40" y="337"/>
                  <a:pt x="38" y="338"/>
                </a:cubicBezTo>
                <a:close/>
                <a:moveTo>
                  <a:pt x="69" y="450"/>
                </a:moveTo>
                <a:cubicBezTo>
                  <a:pt x="69" y="452"/>
                  <a:pt x="71" y="451"/>
                  <a:pt x="71" y="453"/>
                </a:cubicBezTo>
                <a:cubicBezTo>
                  <a:pt x="72" y="453"/>
                  <a:pt x="72" y="451"/>
                  <a:pt x="73" y="451"/>
                </a:cubicBezTo>
                <a:cubicBezTo>
                  <a:pt x="73" y="450"/>
                  <a:pt x="72" y="450"/>
                  <a:pt x="71" y="450"/>
                </a:cubicBezTo>
                <a:cubicBezTo>
                  <a:pt x="71" y="449"/>
                  <a:pt x="70" y="449"/>
                  <a:pt x="70" y="448"/>
                </a:cubicBezTo>
                <a:cubicBezTo>
                  <a:pt x="69" y="448"/>
                  <a:pt x="69" y="448"/>
                  <a:pt x="68" y="448"/>
                </a:cubicBezTo>
                <a:cubicBezTo>
                  <a:pt x="67" y="450"/>
                  <a:pt x="69" y="449"/>
                  <a:pt x="69" y="450"/>
                </a:cubicBezTo>
                <a:close/>
                <a:moveTo>
                  <a:pt x="56" y="445"/>
                </a:moveTo>
                <a:cubicBezTo>
                  <a:pt x="57" y="445"/>
                  <a:pt x="57" y="447"/>
                  <a:pt x="58" y="448"/>
                </a:cubicBezTo>
                <a:cubicBezTo>
                  <a:pt x="59" y="448"/>
                  <a:pt x="59" y="448"/>
                  <a:pt x="60" y="448"/>
                </a:cubicBezTo>
                <a:cubicBezTo>
                  <a:pt x="60" y="446"/>
                  <a:pt x="60" y="445"/>
                  <a:pt x="60" y="444"/>
                </a:cubicBezTo>
                <a:cubicBezTo>
                  <a:pt x="59" y="444"/>
                  <a:pt x="55" y="442"/>
                  <a:pt x="56" y="445"/>
                </a:cubicBezTo>
                <a:close/>
                <a:moveTo>
                  <a:pt x="35" y="325"/>
                </a:moveTo>
                <a:cubicBezTo>
                  <a:pt x="36" y="325"/>
                  <a:pt x="36" y="325"/>
                  <a:pt x="36" y="326"/>
                </a:cubicBezTo>
                <a:cubicBezTo>
                  <a:pt x="36" y="326"/>
                  <a:pt x="36" y="327"/>
                  <a:pt x="36" y="327"/>
                </a:cubicBezTo>
                <a:cubicBezTo>
                  <a:pt x="36" y="328"/>
                  <a:pt x="37" y="326"/>
                  <a:pt x="37" y="326"/>
                </a:cubicBezTo>
                <a:cubicBezTo>
                  <a:pt x="37" y="327"/>
                  <a:pt x="36" y="326"/>
                  <a:pt x="37" y="326"/>
                </a:cubicBezTo>
                <a:cubicBezTo>
                  <a:pt x="37" y="326"/>
                  <a:pt x="37" y="326"/>
                  <a:pt x="37" y="326"/>
                </a:cubicBezTo>
                <a:cubicBezTo>
                  <a:pt x="40" y="325"/>
                  <a:pt x="38" y="328"/>
                  <a:pt x="41" y="328"/>
                </a:cubicBezTo>
                <a:cubicBezTo>
                  <a:pt x="40" y="325"/>
                  <a:pt x="43" y="326"/>
                  <a:pt x="42" y="323"/>
                </a:cubicBezTo>
                <a:cubicBezTo>
                  <a:pt x="42" y="323"/>
                  <a:pt x="42" y="322"/>
                  <a:pt x="42" y="322"/>
                </a:cubicBezTo>
                <a:cubicBezTo>
                  <a:pt x="42" y="322"/>
                  <a:pt x="42" y="322"/>
                  <a:pt x="42" y="321"/>
                </a:cubicBezTo>
                <a:cubicBezTo>
                  <a:pt x="41" y="321"/>
                  <a:pt x="40" y="321"/>
                  <a:pt x="39" y="321"/>
                </a:cubicBezTo>
                <a:cubicBezTo>
                  <a:pt x="39" y="323"/>
                  <a:pt x="40" y="324"/>
                  <a:pt x="39" y="324"/>
                </a:cubicBezTo>
                <a:cubicBezTo>
                  <a:pt x="38" y="323"/>
                  <a:pt x="38" y="321"/>
                  <a:pt x="37" y="321"/>
                </a:cubicBezTo>
                <a:cubicBezTo>
                  <a:pt x="36" y="322"/>
                  <a:pt x="36" y="322"/>
                  <a:pt x="34" y="322"/>
                </a:cubicBezTo>
                <a:cubicBezTo>
                  <a:pt x="34" y="323"/>
                  <a:pt x="35" y="324"/>
                  <a:pt x="35" y="325"/>
                </a:cubicBezTo>
                <a:close/>
                <a:moveTo>
                  <a:pt x="54" y="418"/>
                </a:moveTo>
                <a:cubicBezTo>
                  <a:pt x="54" y="416"/>
                  <a:pt x="53" y="416"/>
                  <a:pt x="53" y="416"/>
                </a:cubicBezTo>
                <a:cubicBezTo>
                  <a:pt x="53" y="417"/>
                  <a:pt x="52" y="418"/>
                  <a:pt x="54" y="418"/>
                </a:cubicBezTo>
                <a:close/>
                <a:moveTo>
                  <a:pt x="53" y="317"/>
                </a:moveTo>
                <a:cubicBezTo>
                  <a:pt x="52" y="315"/>
                  <a:pt x="55" y="317"/>
                  <a:pt x="55" y="315"/>
                </a:cubicBezTo>
                <a:cubicBezTo>
                  <a:pt x="52" y="314"/>
                  <a:pt x="51" y="316"/>
                  <a:pt x="53" y="317"/>
                </a:cubicBezTo>
                <a:close/>
                <a:moveTo>
                  <a:pt x="48" y="315"/>
                </a:moveTo>
                <a:cubicBezTo>
                  <a:pt x="48" y="314"/>
                  <a:pt x="48" y="314"/>
                  <a:pt x="48" y="313"/>
                </a:cubicBezTo>
                <a:cubicBezTo>
                  <a:pt x="48" y="311"/>
                  <a:pt x="46" y="313"/>
                  <a:pt x="46" y="314"/>
                </a:cubicBezTo>
                <a:cubicBezTo>
                  <a:pt x="47" y="314"/>
                  <a:pt x="47" y="315"/>
                  <a:pt x="48" y="315"/>
                </a:cubicBezTo>
                <a:close/>
                <a:moveTo>
                  <a:pt x="37" y="345"/>
                </a:moveTo>
                <a:cubicBezTo>
                  <a:pt x="35" y="346"/>
                  <a:pt x="35" y="346"/>
                  <a:pt x="36" y="347"/>
                </a:cubicBezTo>
                <a:cubicBezTo>
                  <a:pt x="36" y="347"/>
                  <a:pt x="37" y="347"/>
                  <a:pt x="37" y="348"/>
                </a:cubicBezTo>
                <a:cubicBezTo>
                  <a:pt x="37" y="348"/>
                  <a:pt x="37" y="348"/>
                  <a:pt x="37" y="348"/>
                </a:cubicBezTo>
                <a:cubicBezTo>
                  <a:pt x="37" y="347"/>
                  <a:pt x="38" y="345"/>
                  <a:pt x="37" y="345"/>
                </a:cubicBezTo>
                <a:close/>
                <a:moveTo>
                  <a:pt x="59" y="305"/>
                </a:moveTo>
                <a:cubicBezTo>
                  <a:pt x="59" y="305"/>
                  <a:pt x="59" y="304"/>
                  <a:pt x="59" y="303"/>
                </a:cubicBezTo>
                <a:cubicBezTo>
                  <a:pt x="58" y="303"/>
                  <a:pt x="57" y="303"/>
                  <a:pt x="57" y="304"/>
                </a:cubicBezTo>
                <a:cubicBezTo>
                  <a:pt x="57" y="304"/>
                  <a:pt x="58" y="304"/>
                  <a:pt x="57" y="305"/>
                </a:cubicBezTo>
                <a:cubicBezTo>
                  <a:pt x="58" y="305"/>
                  <a:pt x="58" y="306"/>
                  <a:pt x="59" y="305"/>
                </a:cubicBezTo>
                <a:close/>
                <a:moveTo>
                  <a:pt x="60" y="294"/>
                </a:moveTo>
                <a:cubicBezTo>
                  <a:pt x="60" y="294"/>
                  <a:pt x="60" y="294"/>
                  <a:pt x="61" y="294"/>
                </a:cubicBezTo>
                <a:cubicBezTo>
                  <a:pt x="61" y="294"/>
                  <a:pt x="61" y="293"/>
                  <a:pt x="62" y="294"/>
                </a:cubicBezTo>
                <a:cubicBezTo>
                  <a:pt x="62" y="293"/>
                  <a:pt x="60" y="293"/>
                  <a:pt x="60" y="294"/>
                </a:cubicBezTo>
                <a:close/>
                <a:moveTo>
                  <a:pt x="62" y="296"/>
                </a:moveTo>
                <a:cubicBezTo>
                  <a:pt x="62" y="296"/>
                  <a:pt x="61" y="296"/>
                  <a:pt x="61" y="296"/>
                </a:cubicBezTo>
                <a:cubicBezTo>
                  <a:pt x="61" y="297"/>
                  <a:pt x="62" y="297"/>
                  <a:pt x="62" y="298"/>
                </a:cubicBezTo>
                <a:cubicBezTo>
                  <a:pt x="62" y="298"/>
                  <a:pt x="62" y="298"/>
                  <a:pt x="62" y="298"/>
                </a:cubicBezTo>
                <a:cubicBezTo>
                  <a:pt x="63" y="298"/>
                  <a:pt x="63" y="298"/>
                  <a:pt x="63" y="298"/>
                </a:cubicBezTo>
                <a:cubicBezTo>
                  <a:pt x="64" y="296"/>
                  <a:pt x="65" y="298"/>
                  <a:pt x="66" y="298"/>
                </a:cubicBezTo>
                <a:cubicBezTo>
                  <a:pt x="66" y="298"/>
                  <a:pt x="66" y="298"/>
                  <a:pt x="67" y="298"/>
                </a:cubicBezTo>
                <a:cubicBezTo>
                  <a:pt x="67" y="298"/>
                  <a:pt x="68" y="297"/>
                  <a:pt x="68" y="297"/>
                </a:cubicBezTo>
                <a:cubicBezTo>
                  <a:pt x="68" y="297"/>
                  <a:pt x="68" y="297"/>
                  <a:pt x="68" y="297"/>
                </a:cubicBezTo>
                <a:cubicBezTo>
                  <a:pt x="68" y="296"/>
                  <a:pt x="68" y="296"/>
                  <a:pt x="68" y="296"/>
                </a:cubicBezTo>
                <a:cubicBezTo>
                  <a:pt x="68" y="295"/>
                  <a:pt x="69" y="295"/>
                  <a:pt x="69" y="295"/>
                </a:cubicBezTo>
                <a:cubicBezTo>
                  <a:pt x="70" y="294"/>
                  <a:pt x="69" y="294"/>
                  <a:pt x="69" y="293"/>
                </a:cubicBezTo>
                <a:cubicBezTo>
                  <a:pt x="69" y="292"/>
                  <a:pt x="69" y="292"/>
                  <a:pt x="68" y="292"/>
                </a:cubicBezTo>
                <a:cubicBezTo>
                  <a:pt x="68" y="292"/>
                  <a:pt x="68" y="292"/>
                  <a:pt x="68" y="292"/>
                </a:cubicBezTo>
                <a:cubicBezTo>
                  <a:pt x="68" y="291"/>
                  <a:pt x="68" y="290"/>
                  <a:pt x="68" y="290"/>
                </a:cubicBezTo>
                <a:cubicBezTo>
                  <a:pt x="68" y="290"/>
                  <a:pt x="68" y="290"/>
                  <a:pt x="68" y="290"/>
                </a:cubicBezTo>
                <a:cubicBezTo>
                  <a:pt x="67" y="290"/>
                  <a:pt x="67" y="290"/>
                  <a:pt x="66" y="290"/>
                </a:cubicBezTo>
                <a:cubicBezTo>
                  <a:pt x="66" y="290"/>
                  <a:pt x="66" y="290"/>
                  <a:pt x="66" y="290"/>
                </a:cubicBezTo>
                <a:cubicBezTo>
                  <a:pt x="66" y="290"/>
                  <a:pt x="66" y="291"/>
                  <a:pt x="66" y="291"/>
                </a:cubicBezTo>
                <a:cubicBezTo>
                  <a:pt x="66" y="292"/>
                  <a:pt x="65" y="292"/>
                  <a:pt x="65" y="292"/>
                </a:cubicBezTo>
                <a:cubicBezTo>
                  <a:pt x="65" y="292"/>
                  <a:pt x="65" y="292"/>
                  <a:pt x="65" y="292"/>
                </a:cubicBezTo>
                <a:cubicBezTo>
                  <a:pt x="63" y="293"/>
                  <a:pt x="62" y="293"/>
                  <a:pt x="62" y="295"/>
                </a:cubicBezTo>
                <a:cubicBezTo>
                  <a:pt x="62" y="295"/>
                  <a:pt x="62" y="295"/>
                  <a:pt x="62" y="295"/>
                </a:cubicBezTo>
                <a:cubicBezTo>
                  <a:pt x="62" y="295"/>
                  <a:pt x="62" y="295"/>
                  <a:pt x="62" y="296"/>
                </a:cubicBezTo>
                <a:close/>
                <a:moveTo>
                  <a:pt x="57" y="319"/>
                </a:moveTo>
                <a:cubicBezTo>
                  <a:pt x="57" y="318"/>
                  <a:pt x="59" y="319"/>
                  <a:pt x="59" y="318"/>
                </a:cubicBezTo>
                <a:cubicBezTo>
                  <a:pt x="58" y="317"/>
                  <a:pt x="56" y="317"/>
                  <a:pt x="55" y="318"/>
                </a:cubicBezTo>
                <a:cubicBezTo>
                  <a:pt x="55" y="319"/>
                  <a:pt x="55" y="319"/>
                  <a:pt x="55" y="320"/>
                </a:cubicBezTo>
                <a:cubicBezTo>
                  <a:pt x="56" y="320"/>
                  <a:pt x="57" y="320"/>
                  <a:pt x="57" y="319"/>
                </a:cubicBezTo>
                <a:close/>
                <a:moveTo>
                  <a:pt x="37" y="354"/>
                </a:moveTo>
                <a:cubicBezTo>
                  <a:pt x="37" y="355"/>
                  <a:pt x="37" y="356"/>
                  <a:pt x="37" y="356"/>
                </a:cubicBezTo>
                <a:cubicBezTo>
                  <a:pt x="38" y="356"/>
                  <a:pt x="38" y="356"/>
                  <a:pt x="38" y="357"/>
                </a:cubicBezTo>
                <a:cubicBezTo>
                  <a:pt x="38" y="357"/>
                  <a:pt x="38" y="357"/>
                  <a:pt x="39" y="357"/>
                </a:cubicBezTo>
                <a:cubicBezTo>
                  <a:pt x="38" y="356"/>
                  <a:pt x="39" y="354"/>
                  <a:pt x="37" y="354"/>
                </a:cubicBezTo>
                <a:close/>
                <a:moveTo>
                  <a:pt x="41" y="331"/>
                </a:moveTo>
                <a:cubicBezTo>
                  <a:pt x="41" y="332"/>
                  <a:pt x="41" y="334"/>
                  <a:pt x="43" y="334"/>
                </a:cubicBezTo>
                <a:cubicBezTo>
                  <a:pt x="42" y="333"/>
                  <a:pt x="44" y="330"/>
                  <a:pt x="41" y="331"/>
                </a:cubicBezTo>
                <a:close/>
                <a:moveTo>
                  <a:pt x="45" y="319"/>
                </a:moveTo>
                <a:cubicBezTo>
                  <a:pt x="44" y="321"/>
                  <a:pt x="46" y="320"/>
                  <a:pt x="47" y="319"/>
                </a:cubicBezTo>
                <a:cubicBezTo>
                  <a:pt x="47" y="320"/>
                  <a:pt x="48" y="321"/>
                  <a:pt x="49" y="321"/>
                </a:cubicBezTo>
                <a:cubicBezTo>
                  <a:pt x="50" y="319"/>
                  <a:pt x="47" y="317"/>
                  <a:pt x="45" y="319"/>
                </a:cubicBezTo>
                <a:close/>
                <a:moveTo>
                  <a:pt x="51" y="432"/>
                </a:moveTo>
                <a:cubicBezTo>
                  <a:pt x="51" y="432"/>
                  <a:pt x="52" y="432"/>
                  <a:pt x="52" y="432"/>
                </a:cubicBezTo>
                <a:cubicBezTo>
                  <a:pt x="52" y="431"/>
                  <a:pt x="52" y="431"/>
                  <a:pt x="53" y="431"/>
                </a:cubicBezTo>
                <a:cubicBezTo>
                  <a:pt x="53" y="431"/>
                  <a:pt x="53" y="431"/>
                  <a:pt x="53" y="431"/>
                </a:cubicBezTo>
                <a:cubicBezTo>
                  <a:pt x="53" y="431"/>
                  <a:pt x="53" y="430"/>
                  <a:pt x="53" y="430"/>
                </a:cubicBezTo>
                <a:cubicBezTo>
                  <a:pt x="53" y="428"/>
                  <a:pt x="54" y="428"/>
                  <a:pt x="54" y="427"/>
                </a:cubicBezTo>
                <a:cubicBezTo>
                  <a:pt x="53" y="427"/>
                  <a:pt x="52" y="424"/>
                  <a:pt x="51" y="426"/>
                </a:cubicBezTo>
                <a:cubicBezTo>
                  <a:pt x="54" y="427"/>
                  <a:pt x="51" y="429"/>
                  <a:pt x="50" y="431"/>
                </a:cubicBezTo>
                <a:cubicBezTo>
                  <a:pt x="51" y="431"/>
                  <a:pt x="51" y="431"/>
                  <a:pt x="51" y="432"/>
                </a:cubicBezTo>
                <a:close/>
                <a:moveTo>
                  <a:pt x="30" y="336"/>
                </a:moveTo>
                <a:cubicBezTo>
                  <a:pt x="30" y="337"/>
                  <a:pt x="30" y="337"/>
                  <a:pt x="30" y="338"/>
                </a:cubicBezTo>
                <a:cubicBezTo>
                  <a:pt x="30" y="338"/>
                  <a:pt x="31" y="338"/>
                  <a:pt x="31" y="338"/>
                </a:cubicBezTo>
                <a:cubicBezTo>
                  <a:pt x="31" y="338"/>
                  <a:pt x="32" y="338"/>
                  <a:pt x="32" y="339"/>
                </a:cubicBezTo>
                <a:cubicBezTo>
                  <a:pt x="32" y="339"/>
                  <a:pt x="33" y="338"/>
                  <a:pt x="33" y="337"/>
                </a:cubicBezTo>
                <a:cubicBezTo>
                  <a:pt x="32" y="337"/>
                  <a:pt x="32" y="336"/>
                  <a:pt x="30" y="336"/>
                </a:cubicBezTo>
                <a:close/>
                <a:moveTo>
                  <a:pt x="37" y="319"/>
                </a:moveTo>
                <a:cubicBezTo>
                  <a:pt x="36" y="317"/>
                  <a:pt x="37" y="317"/>
                  <a:pt x="37" y="316"/>
                </a:cubicBezTo>
                <a:cubicBezTo>
                  <a:pt x="37" y="316"/>
                  <a:pt x="36" y="316"/>
                  <a:pt x="35" y="316"/>
                </a:cubicBezTo>
                <a:cubicBezTo>
                  <a:pt x="35" y="317"/>
                  <a:pt x="36" y="318"/>
                  <a:pt x="37" y="319"/>
                </a:cubicBezTo>
                <a:close/>
                <a:moveTo>
                  <a:pt x="40" y="317"/>
                </a:moveTo>
                <a:cubicBezTo>
                  <a:pt x="40" y="317"/>
                  <a:pt x="39" y="316"/>
                  <a:pt x="39" y="317"/>
                </a:cubicBezTo>
                <a:cubicBezTo>
                  <a:pt x="38" y="318"/>
                  <a:pt x="38" y="318"/>
                  <a:pt x="37" y="319"/>
                </a:cubicBezTo>
                <a:cubicBezTo>
                  <a:pt x="39" y="320"/>
                  <a:pt x="39" y="321"/>
                  <a:pt x="41" y="321"/>
                </a:cubicBezTo>
                <a:cubicBezTo>
                  <a:pt x="41" y="319"/>
                  <a:pt x="41" y="318"/>
                  <a:pt x="40" y="317"/>
                </a:cubicBezTo>
                <a:close/>
                <a:moveTo>
                  <a:pt x="85" y="469"/>
                </a:moveTo>
                <a:cubicBezTo>
                  <a:pt x="85" y="469"/>
                  <a:pt x="84" y="469"/>
                  <a:pt x="85" y="468"/>
                </a:cubicBezTo>
                <a:cubicBezTo>
                  <a:pt x="84" y="468"/>
                  <a:pt x="84" y="467"/>
                  <a:pt x="83" y="467"/>
                </a:cubicBezTo>
                <a:cubicBezTo>
                  <a:pt x="83" y="468"/>
                  <a:pt x="82" y="469"/>
                  <a:pt x="83" y="470"/>
                </a:cubicBezTo>
                <a:cubicBezTo>
                  <a:pt x="83" y="470"/>
                  <a:pt x="83" y="470"/>
                  <a:pt x="83" y="471"/>
                </a:cubicBezTo>
                <a:cubicBezTo>
                  <a:pt x="84" y="471"/>
                  <a:pt x="85" y="470"/>
                  <a:pt x="85" y="469"/>
                </a:cubicBezTo>
                <a:close/>
                <a:moveTo>
                  <a:pt x="78" y="459"/>
                </a:moveTo>
                <a:cubicBezTo>
                  <a:pt x="77" y="457"/>
                  <a:pt x="80" y="459"/>
                  <a:pt x="79" y="457"/>
                </a:cubicBezTo>
                <a:cubicBezTo>
                  <a:pt x="77" y="456"/>
                  <a:pt x="76" y="459"/>
                  <a:pt x="78" y="459"/>
                </a:cubicBezTo>
                <a:close/>
                <a:moveTo>
                  <a:pt x="72" y="462"/>
                </a:moveTo>
                <a:cubicBezTo>
                  <a:pt x="75" y="462"/>
                  <a:pt x="74" y="459"/>
                  <a:pt x="75" y="457"/>
                </a:cubicBezTo>
                <a:cubicBezTo>
                  <a:pt x="72" y="457"/>
                  <a:pt x="72" y="459"/>
                  <a:pt x="72" y="462"/>
                </a:cubicBezTo>
                <a:close/>
                <a:moveTo>
                  <a:pt x="80" y="453"/>
                </a:moveTo>
                <a:cubicBezTo>
                  <a:pt x="81" y="454"/>
                  <a:pt x="80" y="455"/>
                  <a:pt x="80" y="456"/>
                </a:cubicBezTo>
                <a:cubicBezTo>
                  <a:pt x="83" y="456"/>
                  <a:pt x="82" y="452"/>
                  <a:pt x="83" y="450"/>
                </a:cubicBezTo>
                <a:cubicBezTo>
                  <a:pt x="82" y="450"/>
                  <a:pt x="81" y="450"/>
                  <a:pt x="80" y="451"/>
                </a:cubicBezTo>
                <a:cubicBezTo>
                  <a:pt x="79" y="451"/>
                  <a:pt x="78" y="451"/>
                  <a:pt x="78" y="452"/>
                </a:cubicBezTo>
                <a:cubicBezTo>
                  <a:pt x="79" y="452"/>
                  <a:pt x="78" y="453"/>
                  <a:pt x="78" y="453"/>
                </a:cubicBezTo>
                <a:cubicBezTo>
                  <a:pt x="77" y="453"/>
                  <a:pt x="77" y="452"/>
                  <a:pt x="76" y="452"/>
                </a:cubicBezTo>
                <a:cubicBezTo>
                  <a:pt x="76" y="452"/>
                  <a:pt x="75" y="452"/>
                  <a:pt x="76" y="452"/>
                </a:cubicBezTo>
                <a:cubicBezTo>
                  <a:pt x="76" y="451"/>
                  <a:pt x="77" y="451"/>
                  <a:pt x="77" y="451"/>
                </a:cubicBezTo>
                <a:cubicBezTo>
                  <a:pt x="77" y="451"/>
                  <a:pt x="77" y="451"/>
                  <a:pt x="77" y="450"/>
                </a:cubicBezTo>
                <a:cubicBezTo>
                  <a:pt x="74" y="450"/>
                  <a:pt x="75" y="452"/>
                  <a:pt x="75" y="453"/>
                </a:cubicBezTo>
                <a:cubicBezTo>
                  <a:pt x="75" y="453"/>
                  <a:pt x="74" y="453"/>
                  <a:pt x="73" y="453"/>
                </a:cubicBezTo>
                <a:cubicBezTo>
                  <a:pt x="73" y="453"/>
                  <a:pt x="74" y="454"/>
                  <a:pt x="73" y="455"/>
                </a:cubicBezTo>
                <a:cubicBezTo>
                  <a:pt x="76" y="454"/>
                  <a:pt x="75" y="457"/>
                  <a:pt x="78" y="456"/>
                </a:cubicBezTo>
                <a:cubicBezTo>
                  <a:pt x="79" y="455"/>
                  <a:pt x="79" y="453"/>
                  <a:pt x="80" y="453"/>
                </a:cubicBezTo>
                <a:close/>
                <a:moveTo>
                  <a:pt x="69" y="456"/>
                </a:moveTo>
                <a:cubicBezTo>
                  <a:pt x="70" y="456"/>
                  <a:pt x="70" y="456"/>
                  <a:pt x="71" y="456"/>
                </a:cubicBezTo>
                <a:cubicBezTo>
                  <a:pt x="72" y="455"/>
                  <a:pt x="71" y="455"/>
                  <a:pt x="70" y="455"/>
                </a:cubicBezTo>
                <a:cubicBezTo>
                  <a:pt x="70" y="455"/>
                  <a:pt x="70" y="455"/>
                  <a:pt x="70" y="455"/>
                </a:cubicBezTo>
                <a:cubicBezTo>
                  <a:pt x="70" y="455"/>
                  <a:pt x="68" y="455"/>
                  <a:pt x="69" y="456"/>
                </a:cubicBezTo>
                <a:close/>
                <a:moveTo>
                  <a:pt x="83" y="457"/>
                </a:moveTo>
                <a:cubicBezTo>
                  <a:pt x="84" y="456"/>
                  <a:pt x="82" y="456"/>
                  <a:pt x="83" y="457"/>
                </a:cubicBezTo>
                <a:close/>
                <a:moveTo>
                  <a:pt x="70" y="463"/>
                </a:moveTo>
                <a:cubicBezTo>
                  <a:pt x="70" y="463"/>
                  <a:pt x="70" y="463"/>
                  <a:pt x="71" y="463"/>
                </a:cubicBezTo>
                <a:cubicBezTo>
                  <a:pt x="71" y="462"/>
                  <a:pt x="71" y="462"/>
                  <a:pt x="71" y="462"/>
                </a:cubicBezTo>
                <a:cubicBezTo>
                  <a:pt x="71" y="461"/>
                  <a:pt x="70" y="462"/>
                  <a:pt x="70" y="463"/>
                </a:cubicBezTo>
                <a:close/>
                <a:moveTo>
                  <a:pt x="71" y="463"/>
                </a:moveTo>
                <a:cubicBezTo>
                  <a:pt x="72" y="465"/>
                  <a:pt x="73" y="465"/>
                  <a:pt x="73" y="463"/>
                </a:cubicBezTo>
                <a:cubicBezTo>
                  <a:pt x="73" y="463"/>
                  <a:pt x="72" y="462"/>
                  <a:pt x="71" y="462"/>
                </a:cubicBezTo>
                <a:cubicBezTo>
                  <a:pt x="71" y="462"/>
                  <a:pt x="71" y="463"/>
                  <a:pt x="71" y="463"/>
                </a:cubicBezTo>
                <a:close/>
                <a:moveTo>
                  <a:pt x="71" y="459"/>
                </a:moveTo>
                <a:cubicBezTo>
                  <a:pt x="67" y="458"/>
                  <a:pt x="67" y="460"/>
                  <a:pt x="66" y="463"/>
                </a:cubicBezTo>
                <a:cubicBezTo>
                  <a:pt x="67" y="463"/>
                  <a:pt x="68" y="463"/>
                  <a:pt x="69" y="463"/>
                </a:cubicBezTo>
                <a:cubicBezTo>
                  <a:pt x="69" y="462"/>
                  <a:pt x="69" y="462"/>
                  <a:pt x="69" y="462"/>
                </a:cubicBezTo>
                <a:cubicBezTo>
                  <a:pt x="69" y="460"/>
                  <a:pt x="71" y="461"/>
                  <a:pt x="71" y="459"/>
                </a:cubicBezTo>
                <a:close/>
                <a:moveTo>
                  <a:pt x="88" y="468"/>
                </a:moveTo>
                <a:cubicBezTo>
                  <a:pt x="88" y="469"/>
                  <a:pt x="88" y="469"/>
                  <a:pt x="88" y="469"/>
                </a:cubicBezTo>
                <a:cubicBezTo>
                  <a:pt x="89" y="470"/>
                  <a:pt x="89" y="470"/>
                  <a:pt x="89" y="469"/>
                </a:cubicBezTo>
                <a:cubicBezTo>
                  <a:pt x="89" y="468"/>
                  <a:pt x="89" y="469"/>
                  <a:pt x="88" y="468"/>
                </a:cubicBezTo>
                <a:close/>
                <a:moveTo>
                  <a:pt x="85" y="468"/>
                </a:moveTo>
                <a:cubicBezTo>
                  <a:pt x="85" y="468"/>
                  <a:pt x="85" y="468"/>
                  <a:pt x="85" y="468"/>
                </a:cubicBezTo>
                <a:cubicBezTo>
                  <a:pt x="86" y="468"/>
                  <a:pt x="86" y="468"/>
                  <a:pt x="87" y="468"/>
                </a:cubicBezTo>
                <a:cubicBezTo>
                  <a:pt x="87" y="468"/>
                  <a:pt x="87" y="468"/>
                  <a:pt x="87" y="468"/>
                </a:cubicBezTo>
                <a:cubicBezTo>
                  <a:pt x="88" y="467"/>
                  <a:pt x="85" y="466"/>
                  <a:pt x="85" y="468"/>
                </a:cubicBezTo>
                <a:close/>
                <a:moveTo>
                  <a:pt x="93" y="460"/>
                </a:moveTo>
                <a:cubicBezTo>
                  <a:pt x="93" y="458"/>
                  <a:pt x="92" y="458"/>
                  <a:pt x="92" y="457"/>
                </a:cubicBezTo>
                <a:cubicBezTo>
                  <a:pt x="92" y="456"/>
                  <a:pt x="93" y="455"/>
                  <a:pt x="93" y="454"/>
                </a:cubicBezTo>
                <a:cubicBezTo>
                  <a:pt x="93" y="453"/>
                  <a:pt x="94" y="452"/>
                  <a:pt x="93" y="452"/>
                </a:cubicBezTo>
                <a:cubicBezTo>
                  <a:pt x="93" y="452"/>
                  <a:pt x="92" y="452"/>
                  <a:pt x="92" y="452"/>
                </a:cubicBezTo>
                <a:cubicBezTo>
                  <a:pt x="92" y="453"/>
                  <a:pt x="91" y="453"/>
                  <a:pt x="91" y="453"/>
                </a:cubicBezTo>
                <a:cubicBezTo>
                  <a:pt x="91" y="454"/>
                  <a:pt x="91" y="455"/>
                  <a:pt x="90" y="455"/>
                </a:cubicBezTo>
                <a:cubicBezTo>
                  <a:pt x="89" y="456"/>
                  <a:pt x="88" y="457"/>
                  <a:pt x="87" y="457"/>
                </a:cubicBezTo>
                <a:cubicBezTo>
                  <a:pt x="85" y="457"/>
                  <a:pt x="84" y="457"/>
                  <a:pt x="83" y="458"/>
                </a:cubicBezTo>
                <a:cubicBezTo>
                  <a:pt x="84" y="460"/>
                  <a:pt x="84" y="460"/>
                  <a:pt x="83" y="462"/>
                </a:cubicBezTo>
                <a:cubicBezTo>
                  <a:pt x="83" y="463"/>
                  <a:pt x="83" y="463"/>
                  <a:pt x="83" y="463"/>
                </a:cubicBezTo>
                <a:cubicBezTo>
                  <a:pt x="82" y="463"/>
                  <a:pt x="81" y="463"/>
                  <a:pt x="80" y="464"/>
                </a:cubicBezTo>
                <a:cubicBezTo>
                  <a:pt x="82" y="465"/>
                  <a:pt x="82" y="466"/>
                  <a:pt x="84" y="466"/>
                </a:cubicBezTo>
                <a:cubicBezTo>
                  <a:pt x="84" y="466"/>
                  <a:pt x="84" y="466"/>
                  <a:pt x="85" y="466"/>
                </a:cubicBezTo>
                <a:cubicBezTo>
                  <a:pt x="85" y="465"/>
                  <a:pt x="86" y="466"/>
                  <a:pt x="87" y="466"/>
                </a:cubicBezTo>
                <a:cubicBezTo>
                  <a:pt x="87" y="466"/>
                  <a:pt x="87" y="465"/>
                  <a:pt x="87" y="465"/>
                </a:cubicBezTo>
                <a:cubicBezTo>
                  <a:pt x="88" y="465"/>
                  <a:pt x="88" y="465"/>
                  <a:pt x="88" y="465"/>
                </a:cubicBezTo>
                <a:cubicBezTo>
                  <a:pt x="89" y="465"/>
                  <a:pt x="90" y="465"/>
                  <a:pt x="92" y="465"/>
                </a:cubicBezTo>
                <a:cubicBezTo>
                  <a:pt x="91" y="463"/>
                  <a:pt x="93" y="463"/>
                  <a:pt x="93" y="460"/>
                </a:cubicBezTo>
                <a:close/>
                <a:moveTo>
                  <a:pt x="83" y="457"/>
                </a:moveTo>
                <a:cubicBezTo>
                  <a:pt x="82" y="456"/>
                  <a:pt x="82" y="457"/>
                  <a:pt x="82" y="457"/>
                </a:cubicBezTo>
                <a:cubicBezTo>
                  <a:pt x="82" y="457"/>
                  <a:pt x="82" y="457"/>
                  <a:pt x="83" y="457"/>
                </a:cubicBezTo>
                <a:close/>
                <a:moveTo>
                  <a:pt x="82" y="457"/>
                </a:moveTo>
                <a:cubicBezTo>
                  <a:pt x="81" y="457"/>
                  <a:pt x="81" y="458"/>
                  <a:pt x="81" y="458"/>
                </a:cubicBezTo>
                <a:cubicBezTo>
                  <a:pt x="82" y="458"/>
                  <a:pt x="82" y="458"/>
                  <a:pt x="82" y="457"/>
                </a:cubicBezTo>
                <a:close/>
                <a:moveTo>
                  <a:pt x="52" y="443"/>
                </a:moveTo>
                <a:cubicBezTo>
                  <a:pt x="49" y="443"/>
                  <a:pt x="54" y="444"/>
                  <a:pt x="53" y="442"/>
                </a:cubicBezTo>
                <a:cubicBezTo>
                  <a:pt x="52" y="442"/>
                  <a:pt x="52" y="442"/>
                  <a:pt x="52" y="443"/>
                </a:cubicBezTo>
                <a:close/>
                <a:moveTo>
                  <a:pt x="81" y="458"/>
                </a:moveTo>
                <a:cubicBezTo>
                  <a:pt x="79" y="457"/>
                  <a:pt x="80" y="460"/>
                  <a:pt x="80" y="461"/>
                </a:cubicBezTo>
                <a:cubicBezTo>
                  <a:pt x="81" y="461"/>
                  <a:pt x="81" y="460"/>
                  <a:pt x="82" y="460"/>
                </a:cubicBezTo>
                <a:cubicBezTo>
                  <a:pt x="82" y="459"/>
                  <a:pt x="81" y="459"/>
                  <a:pt x="81" y="458"/>
                </a:cubicBezTo>
                <a:close/>
                <a:moveTo>
                  <a:pt x="87" y="471"/>
                </a:moveTo>
                <a:cubicBezTo>
                  <a:pt x="87" y="473"/>
                  <a:pt x="84" y="472"/>
                  <a:pt x="85" y="473"/>
                </a:cubicBezTo>
                <a:cubicBezTo>
                  <a:pt x="85" y="473"/>
                  <a:pt x="86" y="473"/>
                  <a:pt x="87" y="473"/>
                </a:cubicBezTo>
                <a:cubicBezTo>
                  <a:pt x="88" y="473"/>
                  <a:pt x="88" y="471"/>
                  <a:pt x="87" y="471"/>
                </a:cubicBezTo>
                <a:close/>
                <a:moveTo>
                  <a:pt x="66" y="464"/>
                </a:moveTo>
                <a:cubicBezTo>
                  <a:pt x="66" y="463"/>
                  <a:pt x="66" y="463"/>
                  <a:pt x="66" y="463"/>
                </a:cubicBezTo>
                <a:cubicBezTo>
                  <a:pt x="64" y="463"/>
                  <a:pt x="66" y="460"/>
                  <a:pt x="64" y="460"/>
                </a:cubicBezTo>
                <a:cubicBezTo>
                  <a:pt x="64" y="461"/>
                  <a:pt x="63" y="461"/>
                  <a:pt x="62" y="461"/>
                </a:cubicBezTo>
                <a:cubicBezTo>
                  <a:pt x="62" y="461"/>
                  <a:pt x="62" y="462"/>
                  <a:pt x="62" y="462"/>
                </a:cubicBezTo>
                <a:cubicBezTo>
                  <a:pt x="62" y="463"/>
                  <a:pt x="62" y="463"/>
                  <a:pt x="62" y="464"/>
                </a:cubicBezTo>
                <a:cubicBezTo>
                  <a:pt x="62" y="464"/>
                  <a:pt x="62" y="464"/>
                  <a:pt x="62" y="464"/>
                </a:cubicBezTo>
                <a:cubicBezTo>
                  <a:pt x="63" y="464"/>
                  <a:pt x="63" y="464"/>
                  <a:pt x="64" y="464"/>
                </a:cubicBezTo>
                <a:cubicBezTo>
                  <a:pt x="64" y="464"/>
                  <a:pt x="65" y="464"/>
                  <a:pt x="65" y="464"/>
                </a:cubicBezTo>
                <a:cubicBezTo>
                  <a:pt x="65" y="464"/>
                  <a:pt x="65" y="463"/>
                  <a:pt x="66" y="464"/>
                </a:cubicBezTo>
                <a:close/>
                <a:moveTo>
                  <a:pt x="64" y="448"/>
                </a:moveTo>
                <a:cubicBezTo>
                  <a:pt x="64" y="450"/>
                  <a:pt x="64" y="451"/>
                  <a:pt x="65" y="451"/>
                </a:cubicBezTo>
                <a:cubicBezTo>
                  <a:pt x="65" y="450"/>
                  <a:pt x="66" y="448"/>
                  <a:pt x="64" y="448"/>
                </a:cubicBezTo>
                <a:close/>
                <a:moveTo>
                  <a:pt x="60" y="458"/>
                </a:moveTo>
                <a:cubicBezTo>
                  <a:pt x="59" y="458"/>
                  <a:pt x="59" y="459"/>
                  <a:pt x="59" y="459"/>
                </a:cubicBezTo>
                <a:cubicBezTo>
                  <a:pt x="59" y="459"/>
                  <a:pt x="58" y="459"/>
                  <a:pt x="58" y="459"/>
                </a:cubicBezTo>
                <a:cubicBezTo>
                  <a:pt x="58" y="460"/>
                  <a:pt x="58" y="460"/>
                  <a:pt x="57" y="460"/>
                </a:cubicBezTo>
                <a:cubicBezTo>
                  <a:pt x="57" y="460"/>
                  <a:pt x="57" y="460"/>
                  <a:pt x="57" y="461"/>
                </a:cubicBezTo>
                <a:cubicBezTo>
                  <a:pt x="58" y="461"/>
                  <a:pt x="59" y="461"/>
                  <a:pt x="60" y="460"/>
                </a:cubicBezTo>
                <a:cubicBezTo>
                  <a:pt x="60" y="459"/>
                  <a:pt x="60" y="456"/>
                  <a:pt x="60" y="458"/>
                </a:cubicBezTo>
                <a:close/>
                <a:moveTo>
                  <a:pt x="64" y="443"/>
                </a:moveTo>
                <a:cubicBezTo>
                  <a:pt x="64" y="444"/>
                  <a:pt x="63" y="447"/>
                  <a:pt x="64" y="448"/>
                </a:cubicBezTo>
                <a:cubicBezTo>
                  <a:pt x="64" y="447"/>
                  <a:pt x="64" y="447"/>
                  <a:pt x="65" y="447"/>
                </a:cubicBezTo>
                <a:cubicBezTo>
                  <a:pt x="65" y="446"/>
                  <a:pt x="66" y="443"/>
                  <a:pt x="64" y="443"/>
                </a:cubicBezTo>
                <a:close/>
                <a:moveTo>
                  <a:pt x="63" y="453"/>
                </a:moveTo>
                <a:cubicBezTo>
                  <a:pt x="65" y="452"/>
                  <a:pt x="66" y="455"/>
                  <a:pt x="66" y="452"/>
                </a:cubicBezTo>
                <a:cubicBezTo>
                  <a:pt x="65" y="452"/>
                  <a:pt x="65" y="452"/>
                  <a:pt x="65" y="452"/>
                </a:cubicBezTo>
                <a:cubicBezTo>
                  <a:pt x="64" y="452"/>
                  <a:pt x="63" y="452"/>
                  <a:pt x="63" y="453"/>
                </a:cubicBezTo>
                <a:close/>
                <a:moveTo>
                  <a:pt x="55" y="442"/>
                </a:moveTo>
                <a:cubicBezTo>
                  <a:pt x="54" y="442"/>
                  <a:pt x="56" y="439"/>
                  <a:pt x="53" y="440"/>
                </a:cubicBezTo>
                <a:cubicBezTo>
                  <a:pt x="53" y="442"/>
                  <a:pt x="55" y="444"/>
                  <a:pt x="55" y="442"/>
                </a:cubicBezTo>
                <a:close/>
                <a:moveTo>
                  <a:pt x="57" y="448"/>
                </a:moveTo>
                <a:cubicBezTo>
                  <a:pt x="57" y="446"/>
                  <a:pt x="56" y="446"/>
                  <a:pt x="56" y="445"/>
                </a:cubicBezTo>
                <a:cubicBezTo>
                  <a:pt x="56" y="445"/>
                  <a:pt x="55" y="445"/>
                  <a:pt x="55" y="445"/>
                </a:cubicBezTo>
                <a:cubicBezTo>
                  <a:pt x="55" y="445"/>
                  <a:pt x="55" y="444"/>
                  <a:pt x="54" y="444"/>
                </a:cubicBezTo>
                <a:cubicBezTo>
                  <a:pt x="54" y="445"/>
                  <a:pt x="54" y="445"/>
                  <a:pt x="54" y="445"/>
                </a:cubicBezTo>
                <a:cubicBezTo>
                  <a:pt x="54" y="446"/>
                  <a:pt x="54" y="446"/>
                  <a:pt x="53" y="446"/>
                </a:cubicBezTo>
                <a:cubicBezTo>
                  <a:pt x="53" y="447"/>
                  <a:pt x="54" y="447"/>
                  <a:pt x="54" y="447"/>
                </a:cubicBezTo>
                <a:cubicBezTo>
                  <a:pt x="55" y="447"/>
                  <a:pt x="54" y="448"/>
                  <a:pt x="55" y="448"/>
                </a:cubicBezTo>
                <a:cubicBezTo>
                  <a:pt x="55" y="448"/>
                  <a:pt x="56" y="448"/>
                  <a:pt x="56" y="448"/>
                </a:cubicBezTo>
                <a:cubicBezTo>
                  <a:pt x="56" y="448"/>
                  <a:pt x="56" y="447"/>
                  <a:pt x="57" y="448"/>
                </a:cubicBezTo>
                <a:close/>
                <a:moveTo>
                  <a:pt x="58" y="451"/>
                </a:moveTo>
                <a:cubicBezTo>
                  <a:pt x="59" y="451"/>
                  <a:pt x="59" y="451"/>
                  <a:pt x="60" y="450"/>
                </a:cubicBezTo>
                <a:cubicBezTo>
                  <a:pt x="58" y="450"/>
                  <a:pt x="58" y="451"/>
                  <a:pt x="57" y="450"/>
                </a:cubicBezTo>
                <a:cubicBezTo>
                  <a:pt x="57" y="451"/>
                  <a:pt x="57" y="452"/>
                  <a:pt x="56" y="452"/>
                </a:cubicBezTo>
                <a:cubicBezTo>
                  <a:pt x="56" y="452"/>
                  <a:pt x="56" y="453"/>
                  <a:pt x="55" y="452"/>
                </a:cubicBezTo>
                <a:cubicBezTo>
                  <a:pt x="55" y="455"/>
                  <a:pt x="59" y="453"/>
                  <a:pt x="58" y="451"/>
                </a:cubicBezTo>
                <a:close/>
                <a:moveTo>
                  <a:pt x="65" y="476"/>
                </a:moveTo>
                <a:cubicBezTo>
                  <a:pt x="65" y="477"/>
                  <a:pt x="65" y="477"/>
                  <a:pt x="64" y="478"/>
                </a:cubicBezTo>
                <a:cubicBezTo>
                  <a:pt x="65" y="477"/>
                  <a:pt x="67" y="478"/>
                  <a:pt x="66" y="476"/>
                </a:cubicBezTo>
                <a:cubicBezTo>
                  <a:pt x="66" y="476"/>
                  <a:pt x="66" y="476"/>
                  <a:pt x="65" y="476"/>
                </a:cubicBezTo>
                <a:close/>
                <a:moveTo>
                  <a:pt x="62" y="456"/>
                </a:moveTo>
                <a:cubicBezTo>
                  <a:pt x="61" y="456"/>
                  <a:pt x="62" y="457"/>
                  <a:pt x="62" y="456"/>
                </a:cubicBezTo>
                <a:close/>
                <a:moveTo>
                  <a:pt x="62" y="448"/>
                </a:moveTo>
                <a:cubicBezTo>
                  <a:pt x="62" y="449"/>
                  <a:pt x="61" y="450"/>
                  <a:pt x="62" y="450"/>
                </a:cubicBezTo>
                <a:cubicBezTo>
                  <a:pt x="62" y="450"/>
                  <a:pt x="62" y="450"/>
                  <a:pt x="63" y="450"/>
                </a:cubicBezTo>
                <a:cubicBezTo>
                  <a:pt x="63" y="449"/>
                  <a:pt x="63" y="448"/>
                  <a:pt x="62" y="448"/>
                </a:cubicBezTo>
                <a:close/>
                <a:moveTo>
                  <a:pt x="62" y="456"/>
                </a:moveTo>
                <a:cubicBezTo>
                  <a:pt x="63" y="456"/>
                  <a:pt x="62" y="455"/>
                  <a:pt x="62" y="456"/>
                </a:cubicBezTo>
                <a:close/>
                <a:moveTo>
                  <a:pt x="69" y="470"/>
                </a:moveTo>
                <a:cubicBezTo>
                  <a:pt x="69" y="470"/>
                  <a:pt x="68" y="471"/>
                  <a:pt x="68" y="471"/>
                </a:cubicBezTo>
                <a:cubicBezTo>
                  <a:pt x="66" y="470"/>
                  <a:pt x="69" y="473"/>
                  <a:pt x="69" y="471"/>
                </a:cubicBezTo>
                <a:cubicBezTo>
                  <a:pt x="69" y="471"/>
                  <a:pt x="69" y="470"/>
                  <a:pt x="69" y="470"/>
                </a:cubicBezTo>
                <a:cubicBezTo>
                  <a:pt x="69" y="469"/>
                  <a:pt x="69" y="469"/>
                  <a:pt x="69" y="470"/>
                </a:cubicBezTo>
                <a:close/>
                <a:moveTo>
                  <a:pt x="65" y="455"/>
                </a:moveTo>
                <a:cubicBezTo>
                  <a:pt x="65" y="455"/>
                  <a:pt x="64" y="454"/>
                  <a:pt x="64" y="455"/>
                </a:cubicBezTo>
                <a:cubicBezTo>
                  <a:pt x="64" y="456"/>
                  <a:pt x="64" y="456"/>
                  <a:pt x="64" y="456"/>
                </a:cubicBezTo>
                <a:cubicBezTo>
                  <a:pt x="64" y="456"/>
                  <a:pt x="64" y="455"/>
                  <a:pt x="65" y="455"/>
                </a:cubicBezTo>
                <a:close/>
                <a:moveTo>
                  <a:pt x="63" y="458"/>
                </a:moveTo>
                <a:cubicBezTo>
                  <a:pt x="64" y="458"/>
                  <a:pt x="64" y="458"/>
                  <a:pt x="64" y="457"/>
                </a:cubicBezTo>
                <a:cubicBezTo>
                  <a:pt x="64" y="457"/>
                  <a:pt x="63" y="457"/>
                  <a:pt x="63" y="458"/>
                </a:cubicBezTo>
                <a:close/>
                <a:moveTo>
                  <a:pt x="58" y="401"/>
                </a:moveTo>
                <a:cubicBezTo>
                  <a:pt x="58" y="401"/>
                  <a:pt x="58" y="401"/>
                  <a:pt x="58" y="401"/>
                </a:cubicBezTo>
                <a:cubicBezTo>
                  <a:pt x="58" y="400"/>
                  <a:pt x="58" y="400"/>
                  <a:pt x="57" y="400"/>
                </a:cubicBezTo>
                <a:cubicBezTo>
                  <a:pt x="57" y="400"/>
                  <a:pt x="57" y="401"/>
                  <a:pt x="58" y="401"/>
                </a:cubicBezTo>
                <a:cubicBezTo>
                  <a:pt x="57" y="400"/>
                  <a:pt x="56" y="399"/>
                  <a:pt x="55" y="399"/>
                </a:cubicBezTo>
                <a:cubicBezTo>
                  <a:pt x="55" y="399"/>
                  <a:pt x="55" y="399"/>
                  <a:pt x="55" y="399"/>
                </a:cubicBezTo>
                <a:cubicBezTo>
                  <a:pt x="54" y="398"/>
                  <a:pt x="54" y="399"/>
                  <a:pt x="54" y="398"/>
                </a:cubicBezTo>
                <a:cubicBezTo>
                  <a:pt x="54" y="398"/>
                  <a:pt x="54" y="397"/>
                  <a:pt x="53" y="397"/>
                </a:cubicBezTo>
                <a:cubicBezTo>
                  <a:pt x="51" y="398"/>
                  <a:pt x="54" y="401"/>
                  <a:pt x="55" y="401"/>
                </a:cubicBezTo>
                <a:cubicBezTo>
                  <a:pt x="55" y="401"/>
                  <a:pt x="55" y="401"/>
                  <a:pt x="54" y="401"/>
                </a:cubicBezTo>
                <a:cubicBezTo>
                  <a:pt x="54" y="401"/>
                  <a:pt x="54" y="401"/>
                  <a:pt x="54" y="401"/>
                </a:cubicBezTo>
                <a:cubicBezTo>
                  <a:pt x="53" y="401"/>
                  <a:pt x="53" y="401"/>
                  <a:pt x="52" y="401"/>
                </a:cubicBezTo>
                <a:cubicBezTo>
                  <a:pt x="51" y="403"/>
                  <a:pt x="53" y="403"/>
                  <a:pt x="53" y="404"/>
                </a:cubicBezTo>
                <a:cubicBezTo>
                  <a:pt x="53" y="404"/>
                  <a:pt x="53" y="404"/>
                  <a:pt x="52" y="404"/>
                </a:cubicBezTo>
                <a:cubicBezTo>
                  <a:pt x="52" y="405"/>
                  <a:pt x="52" y="405"/>
                  <a:pt x="52" y="405"/>
                </a:cubicBezTo>
                <a:cubicBezTo>
                  <a:pt x="53" y="406"/>
                  <a:pt x="54" y="407"/>
                  <a:pt x="55" y="409"/>
                </a:cubicBezTo>
                <a:cubicBezTo>
                  <a:pt x="55" y="410"/>
                  <a:pt x="54" y="410"/>
                  <a:pt x="54" y="411"/>
                </a:cubicBezTo>
                <a:cubicBezTo>
                  <a:pt x="54" y="412"/>
                  <a:pt x="54" y="413"/>
                  <a:pt x="53" y="413"/>
                </a:cubicBezTo>
                <a:cubicBezTo>
                  <a:pt x="53" y="416"/>
                  <a:pt x="55" y="415"/>
                  <a:pt x="55" y="418"/>
                </a:cubicBezTo>
                <a:cubicBezTo>
                  <a:pt x="55" y="420"/>
                  <a:pt x="53" y="420"/>
                  <a:pt x="53" y="422"/>
                </a:cubicBezTo>
                <a:cubicBezTo>
                  <a:pt x="53" y="422"/>
                  <a:pt x="53" y="422"/>
                  <a:pt x="53" y="422"/>
                </a:cubicBezTo>
                <a:cubicBezTo>
                  <a:pt x="53" y="423"/>
                  <a:pt x="52" y="424"/>
                  <a:pt x="54" y="425"/>
                </a:cubicBezTo>
                <a:cubicBezTo>
                  <a:pt x="54" y="425"/>
                  <a:pt x="54" y="425"/>
                  <a:pt x="54" y="425"/>
                </a:cubicBezTo>
                <a:cubicBezTo>
                  <a:pt x="54" y="426"/>
                  <a:pt x="55" y="426"/>
                  <a:pt x="55" y="426"/>
                </a:cubicBezTo>
                <a:cubicBezTo>
                  <a:pt x="55" y="427"/>
                  <a:pt x="54" y="429"/>
                  <a:pt x="55" y="429"/>
                </a:cubicBezTo>
                <a:cubicBezTo>
                  <a:pt x="55" y="430"/>
                  <a:pt x="55" y="430"/>
                  <a:pt x="55" y="431"/>
                </a:cubicBezTo>
                <a:cubicBezTo>
                  <a:pt x="55" y="431"/>
                  <a:pt x="55" y="431"/>
                  <a:pt x="54" y="431"/>
                </a:cubicBezTo>
                <a:cubicBezTo>
                  <a:pt x="54" y="433"/>
                  <a:pt x="55" y="434"/>
                  <a:pt x="56" y="435"/>
                </a:cubicBezTo>
                <a:cubicBezTo>
                  <a:pt x="56" y="435"/>
                  <a:pt x="56" y="435"/>
                  <a:pt x="56" y="435"/>
                </a:cubicBezTo>
                <a:cubicBezTo>
                  <a:pt x="56" y="435"/>
                  <a:pt x="56" y="435"/>
                  <a:pt x="56" y="436"/>
                </a:cubicBezTo>
                <a:cubicBezTo>
                  <a:pt x="55" y="436"/>
                  <a:pt x="56" y="437"/>
                  <a:pt x="55" y="437"/>
                </a:cubicBezTo>
                <a:cubicBezTo>
                  <a:pt x="55" y="438"/>
                  <a:pt x="54" y="438"/>
                  <a:pt x="54" y="439"/>
                </a:cubicBezTo>
                <a:cubicBezTo>
                  <a:pt x="54" y="439"/>
                  <a:pt x="54" y="439"/>
                  <a:pt x="55" y="439"/>
                </a:cubicBezTo>
                <a:cubicBezTo>
                  <a:pt x="55" y="439"/>
                  <a:pt x="55" y="439"/>
                  <a:pt x="55" y="439"/>
                </a:cubicBezTo>
                <a:cubicBezTo>
                  <a:pt x="56" y="440"/>
                  <a:pt x="56" y="442"/>
                  <a:pt x="58" y="442"/>
                </a:cubicBezTo>
                <a:cubicBezTo>
                  <a:pt x="58" y="442"/>
                  <a:pt x="58" y="442"/>
                  <a:pt x="58" y="442"/>
                </a:cubicBezTo>
                <a:cubicBezTo>
                  <a:pt x="59" y="442"/>
                  <a:pt x="60" y="443"/>
                  <a:pt x="60" y="444"/>
                </a:cubicBezTo>
                <a:cubicBezTo>
                  <a:pt x="61" y="444"/>
                  <a:pt x="60" y="446"/>
                  <a:pt x="62" y="446"/>
                </a:cubicBezTo>
                <a:cubicBezTo>
                  <a:pt x="63" y="446"/>
                  <a:pt x="62" y="444"/>
                  <a:pt x="62" y="443"/>
                </a:cubicBezTo>
                <a:cubicBezTo>
                  <a:pt x="63" y="443"/>
                  <a:pt x="64" y="443"/>
                  <a:pt x="64" y="442"/>
                </a:cubicBezTo>
                <a:cubicBezTo>
                  <a:pt x="66" y="442"/>
                  <a:pt x="66" y="445"/>
                  <a:pt x="66" y="447"/>
                </a:cubicBezTo>
                <a:cubicBezTo>
                  <a:pt x="68" y="447"/>
                  <a:pt x="67" y="445"/>
                  <a:pt x="69" y="445"/>
                </a:cubicBezTo>
                <a:cubicBezTo>
                  <a:pt x="69" y="444"/>
                  <a:pt x="70" y="444"/>
                  <a:pt x="70" y="445"/>
                </a:cubicBezTo>
                <a:cubicBezTo>
                  <a:pt x="70" y="445"/>
                  <a:pt x="71" y="445"/>
                  <a:pt x="71" y="445"/>
                </a:cubicBezTo>
                <a:cubicBezTo>
                  <a:pt x="71" y="447"/>
                  <a:pt x="69" y="446"/>
                  <a:pt x="70" y="448"/>
                </a:cubicBezTo>
                <a:cubicBezTo>
                  <a:pt x="72" y="448"/>
                  <a:pt x="71" y="450"/>
                  <a:pt x="73" y="450"/>
                </a:cubicBezTo>
                <a:cubicBezTo>
                  <a:pt x="73" y="449"/>
                  <a:pt x="73" y="449"/>
                  <a:pt x="73" y="449"/>
                </a:cubicBezTo>
                <a:cubicBezTo>
                  <a:pt x="72" y="448"/>
                  <a:pt x="72" y="447"/>
                  <a:pt x="74" y="448"/>
                </a:cubicBezTo>
                <a:cubicBezTo>
                  <a:pt x="74" y="447"/>
                  <a:pt x="75" y="448"/>
                  <a:pt x="76" y="448"/>
                </a:cubicBezTo>
                <a:cubicBezTo>
                  <a:pt x="78" y="447"/>
                  <a:pt x="77" y="449"/>
                  <a:pt x="79" y="450"/>
                </a:cubicBezTo>
                <a:cubicBezTo>
                  <a:pt x="81" y="450"/>
                  <a:pt x="82" y="449"/>
                  <a:pt x="84" y="449"/>
                </a:cubicBezTo>
                <a:cubicBezTo>
                  <a:pt x="84" y="451"/>
                  <a:pt x="84" y="453"/>
                  <a:pt x="83" y="454"/>
                </a:cubicBezTo>
                <a:cubicBezTo>
                  <a:pt x="83" y="455"/>
                  <a:pt x="85" y="454"/>
                  <a:pt x="85" y="455"/>
                </a:cubicBezTo>
                <a:cubicBezTo>
                  <a:pt x="87" y="455"/>
                  <a:pt x="87" y="455"/>
                  <a:pt x="87" y="455"/>
                </a:cubicBezTo>
                <a:cubicBezTo>
                  <a:pt x="88" y="455"/>
                  <a:pt x="88" y="454"/>
                  <a:pt x="88" y="454"/>
                </a:cubicBezTo>
                <a:cubicBezTo>
                  <a:pt x="88" y="454"/>
                  <a:pt x="89" y="454"/>
                  <a:pt x="89" y="454"/>
                </a:cubicBezTo>
                <a:cubicBezTo>
                  <a:pt x="89" y="454"/>
                  <a:pt x="89" y="453"/>
                  <a:pt x="89" y="452"/>
                </a:cubicBezTo>
                <a:cubicBezTo>
                  <a:pt x="90" y="452"/>
                  <a:pt x="91" y="453"/>
                  <a:pt x="91" y="452"/>
                </a:cubicBezTo>
                <a:cubicBezTo>
                  <a:pt x="91" y="452"/>
                  <a:pt x="91" y="451"/>
                  <a:pt x="92" y="451"/>
                </a:cubicBezTo>
                <a:cubicBezTo>
                  <a:pt x="92" y="451"/>
                  <a:pt x="93" y="451"/>
                  <a:pt x="93" y="451"/>
                </a:cubicBezTo>
                <a:cubicBezTo>
                  <a:pt x="93" y="451"/>
                  <a:pt x="93" y="450"/>
                  <a:pt x="94" y="450"/>
                </a:cubicBezTo>
                <a:cubicBezTo>
                  <a:pt x="94" y="450"/>
                  <a:pt x="95" y="450"/>
                  <a:pt x="95" y="450"/>
                </a:cubicBezTo>
                <a:cubicBezTo>
                  <a:pt x="95" y="453"/>
                  <a:pt x="93" y="454"/>
                  <a:pt x="94" y="458"/>
                </a:cubicBezTo>
                <a:cubicBezTo>
                  <a:pt x="94" y="459"/>
                  <a:pt x="94" y="459"/>
                  <a:pt x="94" y="460"/>
                </a:cubicBezTo>
                <a:cubicBezTo>
                  <a:pt x="94" y="461"/>
                  <a:pt x="95" y="461"/>
                  <a:pt x="95" y="461"/>
                </a:cubicBezTo>
                <a:cubicBezTo>
                  <a:pt x="97" y="461"/>
                  <a:pt x="97" y="462"/>
                  <a:pt x="99" y="462"/>
                </a:cubicBezTo>
                <a:cubicBezTo>
                  <a:pt x="100" y="462"/>
                  <a:pt x="100" y="462"/>
                  <a:pt x="100" y="462"/>
                </a:cubicBezTo>
                <a:cubicBezTo>
                  <a:pt x="100" y="463"/>
                  <a:pt x="99" y="463"/>
                  <a:pt x="98" y="464"/>
                </a:cubicBezTo>
                <a:cubicBezTo>
                  <a:pt x="98" y="466"/>
                  <a:pt x="100" y="467"/>
                  <a:pt x="101" y="469"/>
                </a:cubicBezTo>
                <a:cubicBezTo>
                  <a:pt x="100" y="469"/>
                  <a:pt x="100" y="470"/>
                  <a:pt x="100" y="471"/>
                </a:cubicBezTo>
                <a:cubicBezTo>
                  <a:pt x="99" y="470"/>
                  <a:pt x="99" y="471"/>
                  <a:pt x="99" y="471"/>
                </a:cubicBezTo>
                <a:cubicBezTo>
                  <a:pt x="98" y="472"/>
                  <a:pt x="97" y="472"/>
                  <a:pt x="97" y="473"/>
                </a:cubicBezTo>
                <a:cubicBezTo>
                  <a:pt x="99" y="473"/>
                  <a:pt x="100" y="472"/>
                  <a:pt x="102" y="472"/>
                </a:cubicBezTo>
                <a:cubicBezTo>
                  <a:pt x="104" y="472"/>
                  <a:pt x="101" y="468"/>
                  <a:pt x="104" y="469"/>
                </a:cubicBezTo>
                <a:cubicBezTo>
                  <a:pt x="105" y="468"/>
                  <a:pt x="106" y="466"/>
                  <a:pt x="105" y="464"/>
                </a:cubicBezTo>
                <a:cubicBezTo>
                  <a:pt x="106" y="464"/>
                  <a:pt x="106" y="463"/>
                  <a:pt x="106" y="462"/>
                </a:cubicBezTo>
                <a:cubicBezTo>
                  <a:pt x="107" y="462"/>
                  <a:pt x="107" y="461"/>
                  <a:pt x="107" y="461"/>
                </a:cubicBezTo>
                <a:cubicBezTo>
                  <a:pt x="109" y="461"/>
                  <a:pt x="106" y="463"/>
                  <a:pt x="107" y="464"/>
                </a:cubicBezTo>
                <a:cubicBezTo>
                  <a:pt x="109" y="464"/>
                  <a:pt x="112" y="463"/>
                  <a:pt x="115" y="463"/>
                </a:cubicBezTo>
                <a:cubicBezTo>
                  <a:pt x="115" y="462"/>
                  <a:pt x="116" y="462"/>
                  <a:pt x="117" y="462"/>
                </a:cubicBezTo>
                <a:cubicBezTo>
                  <a:pt x="118" y="461"/>
                  <a:pt x="118" y="460"/>
                  <a:pt x="118" y="460"/>
                </a:cubicBezTo>
                <a:cubicBezTo>
                  <a:pt x="118" y="460"/>
                  <a:pt x="120" y="460"/>
                  <a:pt x="119" y="459"/>
                </a:cubicBezTo>
                <a:cubicBezTo>
                  <a:pt x="120" y="459"/>
                  <a:pt x="123" y="460"/>
                  <a:pt x="123" y="459"/>
                </a:cubicBezTo>
                <a:cubicBezTo>
                  <a:pt x="124" y="458"/>
                  <a:pt x="125" y="458"/>
                  <a:pt x="126" y="458"/>
                </a:cubicBezTo>
                <a:cubicBezTo>
                  <a:pt x="126" y="460"/>
                  <a:pt x="126" y="460"/>
                  <a:pt x="126" y="460"/>
                </a:cubicBezTo>
                <a:cubicBezTo>
                  <a:pt x="127" y="460"/>
                  <a:pt x="129" y="460"/>
                  <a:pt x="129" y="461"/>
                </a:cubicBezTo>
                <a:cubicBezTo>
                  <a:pt x="131" y="461"/>
                  <a:pt x="131" y="459"/>
                  <a:pt x="133" y="459"/>
                </a:cubicBezTo>
                <a:cubicBezTo>
                  <a:pt x="133" y="455"/>
                  <a:pt x="133" y="455"/>
                  <a:pt x="133" y="455"/>
                </a:cubicBezTo>
                <a:cubicBezTo>
                  <a:pt x="133" y="454"/>
                  <a:pt x="135" y="454"/>
                  <a:pt x="135" y="453"/>
                </a:cubicBezTo>
                <a:cubicBezTo>
                  <a:pt x="136" y="453"/>
                  <a:pt x="136" y="453"/>
                  <a:pt x="136" y="452"/>
                </a:cubicBezTo>
                <a:cubicBezTo>
                  <a:pt x="137" y="452"/>
                  <a:pt x="137" y="452"/>
                  <a:pt x="138" y="452"/>
                </a:cubicBezTo>
                <a:cubicBezTo>
                  <a:pt x="139" y="453"/>
                  <a:pt x="138" y="450"/>
                  <a:pt x="140" y="450"/>
                </a:cubicBezTo>
                <a:cubicBezTo>
                  <a:pt x="140" y="452"/>
                  <a:pt x="141" y="449"/>
                  <a:pt x="141" y="449"/>
                </a:cubicBezTo>
                <a:cubicBezTo>
                  <a:pt x="142" y="450"/>
                  <a:pt x="143" y="450"/>
                  <a:pt x="144" y="449"/>
                </a:cubicBezTo>
                <a:cubicBezTo>
                  <a:pt x="144" y="449"/>
                  <a:pt x="144" y="448"/>
                  <a:pt x="145" y="448"/>
                </a:cubicBezTo>
                <a:cubicBezTo>
                  <a:pt x="145" y="448"/>
                  <a:pt x="145" y="447"/>
                  <a:pt x="145" y="447"/>
                </a:cubicBezTo>
                <a:cubicBezTo>
                  <a:pt x="146" y="447"/>
                  <a:pt x="146" y="447"/>
                  <a:pt x="146" y="447"/>
                </a:cubicBezTo>
                <a:cubicBezTo>
                  <a:pt x="146" y="445"/>
                  <a:pt x="150" y="447"/>
                  <a:pt x="149" y="443"/>
                </a:cubicBezTo>
                <a:cubicBezTo>
                  <a:pt x="149" y="443"/>
                  <a:pt x="150" y="444"/>
                  <a:pt x="150" y="444"/>
                </a:cubicBezTo>
                <a:cubicBezTo>
                  <a:pt x="151" y="444"/>
                  <a:pt x="151" y="443"/>
                  <a:pt x="151" y="443"/>
                </a:cubicBezTo>
                <a:cubicBezTo>
                  <a:pt x="151" y="443"/>
                  <a:pt x="151" y="442"/>
                  <a:pt x="151" y="442"/>
                </a:cubicBezTo>
                <a:cubicBezTo>
                  <a:pt x="152" y="442"/>
                  <a:pt x="153" y="441"/>
                  <a:pt x="153" y="441"/>
                </a:cubicBezTo>
                <a:cubicBezTo>
                  <a:pt x="155" y="442"/>
                  <a:pt x="156" y="444"/>
                  <a:pt x="159" y="443"/>
                </a:cubicBezTo>
                <a:cubicBezTo>
                  <a:pt x="161" y="442"/>
                  <a:pt x="159" y="439"/>
                  <a:pt x="160" y="436"/>
                </a:cubicBezTo>
                <a:cubicBezTo>
                  <a:pt x="162" y="436"/>
                  <a:pt x="163" y="438"/>
                  <a:pt x="164" y="439"/>
                </a:cubicBezTo>
                <a:cubicBezTo>
                  <a:pt x="164" y="436"/>
                  <a:pt x="162" y="437"/>
                  <a:pt x="162" y="435"/>
                </a:cubicBezTo>
                <a:cubicBezTo>
                  <a:pt x="162" y="433"/>
                  <a:pt x="160" y="434"/>
                  <a:pt x="160" y="432"/>
                </a:cubicBezTo>
                <a:cubicBezTo>
                  <a:pt x="162" y="431"/>
                  <a:pt x="161" y="433"/>
                  <a:pt x="163" y="432"/>
                </a:cubicBezTo>
                <a:cubicBezTo>
                  <a:pt x="164" y="432"/>
                  <a:pt x="164" y="433"/>
                  <a:pt x="165" y="434"/>
                </a:cubicBezTo>
                <a:cubicBezTo>
                  <a:pt x="170" y="434"/>
                  <a:pt x="170" y="434"/>
                  <a:pt x="170" y="434"/>
                </a:cubicBezTo>
                <a:cubicBezTo>
                  <a:pt x="171" y="434"/>
                  <a:pt x="171" y="432"/>
                  <a:pt x="172" y="432"/>
                </a:cubicBezTo>
                <a:cubicBezTo>
                  <a:pt x="174" y="431"/>
                  <a:pt x="174" y="433"/>
                  <a:pt x="175" y="433"/>
                </a:cubicBezTo>
                <a:cubicBezTo>
                  <a:pt x="177" y="433"/>
                  <a:pt x="177" y="431"/>
                  <a:pt x="179" y="431"/>
                </a:cubicBezTo>
                <a:cubicBezTo>
                  <a:pt x="180" y="431"/>
                  <a:pt x="180" y="431"/>
                  <a:pt x="180" y="432"/>
                </a:cubicBezTo>
                <a:cubicBezTo>
                  <a:pt x="180" y="432"/>
                  <a:pt x="180" y="432"/>
                  <a:pt x="181" y="432"/>
                </a:cubicBezTo>
                <a:cubicBezTo>
                  <a:pt x="182" y="432"/>
                  <a:pt x="181" y="430"/>
                  <a:pt x="181" y="429"/>
                </a:cubicBezTo>
                <a:cubicBezTo>
                  <a:pt x="182" y="428"/>
                  <a:pt x="183" y="428"/>
                  <a:pt x="183" y="427"/>
                </a:cubicBezTo>
                <a:cubicBezTo>
                  <a:pt x="187" y="426"/>
                  <a:pt x="190" y="427"/>
                  <a:pt x="193" y="427"/>
                </a:cubicBezTo>
                <a:cubicBezTo>
                  <a:pt x="194" y="427"/>
                  <a:pt x="194" y="426"/>
                  <a:pt x="193" y="426"/>
                </a:cubicBezTo>
                <a:cubicBezTo>
                  <a:pt x="193" y="425"/>
                  <a:pt x="195" y="425"/>
                  <a:pt x="195" y="426"/>
                </a:cubicBezTo>
                <a:cubicBezTo>
                  <a:pt x="197" y="425"/>
                  <a:pt x="197" y="424"/>
                  <a:pt x="199" y="424"/>
                </a:cubicBezTo>
                <a:cubicBezTo>
                  <a:pt x="199" y="421"/>
                  <a:pt x="199" y="421"/>
                  <a:pt x="199" y="421"/>
                </a:cubicBezTo>
                <a:cubicBezTo>
                  <a:pt x="201" y="421"/>
                  <a:pt x="200" y="423"/>
                  <a:pt x="200" y="423"/>
                </a:cubicBezTo>
                <a:cubicBezTo>
                  <a:pt x="199" y="424"/>
                  <a:pt x="200" y="424"/>
                  <a:pt x="200" y="425"/>
                </a:cubicBezTo>
                <a:cubicBezTo>
                  <a:pt x="201" y="424"/>
                  <a:pt x="201" y="425"/>
                  <a:pt x="201" y="425"/>
                </a:cubicBezTo>
                <a:cubicBezTo>
                  <a:pt x="202" y="425"/>
                  <a:pt x="202" y="425"/>
                  <a:pt x="202" y="424"/>
                </a:cubicBezTo>
                <a:cubicBezTo>
                  <a:pt x="202" y="423"/>
                  <a:pt x="201" y="423"/>
                  <a:pt x="202" y="422"/>
                </a:cubicBezTo>
                <a:cubicBezTo>
                  <a:pt x="203" y="423"/>
                  <a:pt x="204" y="423"/>
                  <a:pt x="204" y="422"/>
                </a:cubicBezTo>
                <a:cubicBezTo>
                  <a:pt x="203" y="422"/>
                  <a:pt x="202" y="421"/>
                  <a:pt x="200" y="420"/>
                </a:cubicBezTo>
                <a:cubicBezTo>
                  <a:pt x="200" y="418"/>
                  <a:pt x="202" y="417"/>
                  <a:pt x="202" y="415"/>
                </a:cubicBezTo>
                <a:cubicBezTo>
                  <a:pt x="202" y="415"/>
                  <a:pt x="203" y="415"/>
                  <a:pt x="203" y="415"/>
                </a:cubicBezTo>
                <a:cubicBezTo>
                  <a:pt x="203" y="415"/>
                  <a:pt x="203" y="415"/>
                  <a:pt x="203" y="414"/>
                </a:cubicBezTo>
                <a:cubicBezTo>
                  <a:pt x="203" y="414"/>
                  <a:pt x="203" y="414"/>
                  <a:pt x="203" y="414"/>
                </a:cubicBezTo>
                <a:cubicBezTo>
                  <a:pt x="203" y="414"/>
                  <a:pt x="203" y="414"/>
                  <a:pt x="203" y="414"/>
                </a:cubicBezTo>
                <a:cubicBezTo>
                  <a:pt x="203" y="414"/>
                  <a:pt x="203" y="414"/>
                  <a:pt x="203" y="414"/>
                </a:cubicBezTo>
                <a:cubicBezTo>
                  <a:pt x="203" y="414"/>
                  <a:pt x="203" y="414"/>
                  <a:pt x="203" y="414"/>
                </a:cubicBezTo>
                <a:cubicBezTo>
                  <a:pt x="203" y="413"/>
                  <a:pt x="203" y="413"/>
                  <a:pt x="204" y="413"/>
                </a:cubicBezTo>
                <a:cubicBezTo>
                  <a:pt x="204" y="413"/>
                  <a:pt x="204" y="413"/>
                  <a:pt x="204" y="413"/>
                </a:cubicBezTo>
                <a:cubicBezTo>
                  <a:pt x="204" y="413"/>
                  <a:pt x="204" y="413"/>
                  <a:pt x="204" y="413"/>
                </a:cubicBezTo>
                <a:cubicBezTo>
                  <a:pt x="204" y="413"/>
                  <a:pt x="204" y="413"/>
                  <a:pt x="204" y="413"/>
                </a:cubicBezTo>
                <a:cubicBezTo>
                  <a:pt x="204" y="413"/>
                  <a:pt x="204" y="413"/>
                  <a:pt x="204" y="412"/>
                </a:cubicBezTo>
                <a:cubicBezTo>
                  <a:pt x="204" y="412"/>
                  <a:pt x="204" y="412"/>
                  <a:pt x="204" y="412"/>
                </a:cubicBezTo>
                <a:cubicBezTo>
                  <a:pt x="204" y="412"/>
                  <a:pt x="204" y="412"/>
                  <a:pt x="204" y="412"/>
                </a:cubicBezTo>
                <a:cubicBezTo>
                  <a:pt x="204" y="412"/>
                  <a:pt x="204" y="412"/>
                  <a:pt x="204" y="412"/>
                </a:cubicBezTo>
                <a:cubicBezTo>
                  <a:pt x="204" y="412"/>
                  <a:pt x="204" y="411"/>
                  <a:pt x="204" y="411"/>
                </a:cubicBezTo>
                <a:cubicBezTo>
                  <a:pt x="204" y="411"/>
                  <a:pt x="204" y="411"/>
                  <a:pt x="204" y="411"/>
                </a:cubicBezTo>
                <a:cubicBezTo>
                  <a:pt x="204" y="410"/>
                  <a:pt x="205" y="410"/>
                  <a:pt x="205" y="410"/>
                </a:cubicBezTo>
                <a:cubicBezTo>
                  <a:pt x="205" y="410"/>
                  <a:pt x="205" y="409"/>
                  <a:pt x="205" y="409"/>
                </a:cubicBezTo>
                <a:cubicBezTo>
                  <a:pt x="206" y="409"/>
                  <a:pt x="206" y="409"/>
                  <a:pt x="206" y="409"/>
                </a:cubicBezTo>
                <a:cubicBezTo>
                  <a:pt x="206" y="408"/>
                  <a:pt x="206" y="408"/>
                  <a:pt x="206" y="408"/>
                </a:cubicBezTo>
                <a:cubicBezTo>
                  <a:pt x="206" y="408"/>
                  <a:pt x="206" y="408"/>
                  <a:pt x="206" y="408"/>
                </a:cubicBezTo>
                <a:cubicBezTo>
                  <a:pt x="206" y="408"/>
                  <a:pt x="206" y="408"/>
                  <a:pt x="206" y="408"/>
                </a:cubicBezTo>
                <a:cubicBezTo>
                  <a:pt x="206" y="407"/>
                  <a:pt x="206" y="407"/>
                  <a:pt x="206" y="407"/>
                </a:cubicBezTo>
                <a:cubicBezTo>
                  <a:pt x="207" y="407"/>
                  <a:pt x="207" y="407"/>
                  <a:pt x="207" y="406"/>
                </a:cubicBezTo>
                <a:cubicBezTo>
                  <a:pt x="207" y="406"/>
                  <a:pt x="207" y="406"/>
                  <a:pt x="207" y="406"/>
                </a:cubicBezTo>
                <a:cubicBezTo>
                  <a:pt x="207" y="405"/>
                  <a:pt x="207" y="405"/>
                  <a:pt x="207" y="405"/>
                </a:cubicBezTo>
                <a:cubicBezTo>
                  <a:pt x="207" y="405"/>
                  <a:pt x="207" y="405"/>
                  <a:pt x="207" y="405"/>
                </a:cubicBezTo>
                <a:cubicBezTo>
                  <a:pt x="207" y="405"/>
                  <a:pt x="207" y="405"/>
                  <a:pt x="207" y="405"/>
                </a:cubicBezTo>
                <a:cubicBezTo>
                  <a:pt x="207" y="405"/>
                  <a:pt x="207" y="405"/>
                  <a:pt x="207" y="405"/>
                </a:cubicBezTo>
                <a:cubicBezTo>
                  <a:pt x="207" y="405"/>
                  <a:pt x="207" y="405"/>
                  <a:pt x="207" y="405"/>
                </a:cubicBezTo>
                <a:cubicBezTo>
                  <a:pt x="207" y="405"/>
                  <a:pt x="207" y="404"/>
                  <a:pt x="207" y="404"/>
                </a:cubicBezTo>
                <a:cubicBezTo>
                  <a:pt x="208" y="404"/>
                  <a:pt x="208" y="404"/>
                  <a:pt x="208" y="404"/>
                </a:cubicBezTo>
                <a:cubicBezTo>
                  <a:pt x="208" y="404"/>
                  <a:pt x="208" y="404"/>
                  <a:pt x="208" y="404"/>
                </a:cubicBezTo>
                <a:cubicBezTo>
                  <a:pt x="208" y="404"/>
                  <a:pt x="208" y="404"/>
                  <a:pt x="208" y="404"/>
                </a:cubicBezTo>
                <a:cubicBezTo>
                  <a:pt x="208" y="404"/>
                  <a:pt x="208" y="404"/>
                  <a:pt x="209" y="403"/>
                </a:cubicBezTo>
                <a:cubicBezTo>
                  <a:pt x="209" y="403"/>
                  <a:pt x="209" y="403"/>
                  <a:pt x="209" y="403"/>
                </a:cubicBezTo>
                <a:cubicBezTo>
                  <a:pt x="209" y="403"/>
                  <a:pt x="209" y="403"/>
                  <a:pt x="209" y="403"/>
                </a:cubicBezTo>
                <a:cubicBezTo>
                  <a:pt x="209" y="403"/>
                  <a:pt x="209" y="403"/>
                  <a:pt x="209" y="403"/>
                </a:cubicBezTo>
                <a:cubicBezTo>
                  <a:pt x="209" y="403"/>
                  <a:pt x="209" y="403"/>
                  <a:pt x="209" y="403"/>
                </a:cubicBezTo>
                <a:cubicBezTo>
                  <a:pt x="209" y="403"/>
                  <a:pt x="209" y="403"/>
                  <a:pt x="209" y="403"/>
                </a:cubicBezTo>
                <a:cubicBezTo>
                  <a:pt x="209" y="403"/>
                  <a:pt x="209" y="403"/>
                  <a:pt x="209" y="403"/>
                </a:cubicBezTo>
                <a:cubicBezTo>
                  <a:pt x="209" y="403"/>
                  <a:pt x="209" y="403"/>
                  <a:pt x="209" y="403"/>
                </a:cubicBezTo>
                <a:cubicBezTo>
                  <a:pt x="209" y="403"/>
                  <a:pt x="209" y="403"/>
                  <a:pt x="209" y="403"/>
                </a:cubicBezTo>
                <a:cubicBezTo>
                  <a:pt x="209" y="403"/>
                  <a:pt x="209" y="403"/>
                  <a:pt x="209" y="403"/>
                </a:cubicBezTo>
                <a:cubicBezTo>
                  <a:pt x="209" y="403"/>
                  <a:pt x="209" y="403"/>
                  <a:pt x="209" y="403"/>
                </a:cubicBezTo>
                <a:cubicBezTo>
                  <a:pt x="209" y="402"/>
                  <a:pt x="209" y="402"/>
                  <a:pt x="209" y="402"/>
                </a:cubicBezTo>
                <a:cubicBezTo>
                  <a:pt x="209" y="402"/>
                  <a:pt x="210" y="401"/>
                  <a:pt x="210" y="400"/>
                </a:cubicBezTo>
                <a:cubicBezTo>
                  <a:pt x="210" y="400"/>
                  <a:pt x="211" y="400"/>
                  <a:pt x="211" y="400"/>
                </a:cubicBezTo>
                <a:cubicBezTo>
                  <a:pt x="211" y="399"/>
                  <a:pt x="211" y="399"/>
                  <a:pt x="211" y="399"/>
                </a:cubicBezTo>
                <a:cubicBezTo>
                  <a:pt x="211" y="399"/>
                  <a:pt x="211" y="399"/>
                  <a:pt x="212" y="399"/>
                </a:cubicBezTo>
                <a:cubicBezTo>
                  <a:pt x="212" y="399"/>
                  <a:pt x="212" y="399"/>
                  <a:pt x="212" y="399"/>
                </a:cubicBezTo>
                <a:cubicBezTo>
                  <a:pt x="212" y="399"/>
                  <a:pt x="212" y="399"/>
                  <a:pt x="212" y="399"/>
                </a:cubicBezTo>
                <a:cubicBezTo>
                  <a:pt x="212" y="399"/>
                  <a:pt x="212" y="399"/>
                  <a:pt x="213" y="398"/>
                </a:cubicBezTo>
                <a:cubicBezTo>
                  <a:pt x="213" y="398"/>
                  <a:pt x="213" y="398"/>
                  <a:pt x="213" y="398"/>
                </a:cubicBezTo>
                <a:cubicBezTo>
                  <a:pt x="214" y="397"/>
                  <a:pt x="214" y="396"/>
                  <a:pt x="214" y="395"/>
                </a:cubicBezTo>
                <a:cubicBezTo>
                  <a:pt x="214" y="395"/>
                  <a:pt x="214" y="395"/>
                  <a:pt x="214" y="395"/>
                </a:cubicBezTo>
                <a:cubicBezTo>
                  <a:pt x="214" y="393"/>
                  <a:pt x="214" y="393"/>
                  <a:pt x="214" y="393"/>
                </a:cubicBezTo>
                <a:cubicBezTo>
                  <a:pt x="214" y="392"/>
                  <a:pt x="214" y="392"/>
                  <a:pt x="214" y="392"/>
                </a:cubicBezTo>
                <a:cubicBezTo>
                  <a:pt x="214" y="392"/>
                  <a:pt x="215" y="392"/>
                  <a:pt x="215" y="392"/>
                </a:cubicBezTo>
                <a:cubicBezTo>
                  <a:pt x="215" y="392"/>
                  <a:pt x="215" y="392"/>
                  <a:pt x="215" y="392"/>
                </a:cubicBezTo>
                <a:cubicBezTo>
                  <a:pt x="215" y="392"/>
                  <a:pt x="215" y="392"/>
                  <a:pt x="215" y="392"/>
                </a:cubicBezTo>
                <a:cubicBezTo>
                  <a:pt x="215" y="392"/>
                  <a:pt x="215" y="392"/>
                  <a:pt x="215" y="392"/>
                </a:cubicBezTo>
                <a:cubicBezTo>
                  <a:pt x="215" y="392"/>
                  <a:pt x="215" y="392"/>
                  <a:pt x="215" y="392"/>
                </a:cubicBezTo>
                <a:cubicBezTo>
                  <a:pt x="215" y="392"/>
                  <a:pt x="215" y="392"/>
                  <a:pt x="215" y="392"/>
                </a:cubicBezTo>
                <a:cubicBezTo>
                  <a:pt x="215" y="392"/>
                  <a:pt x="215" y="392"/>
                  <a:pt x="215" y="392"/>
                </a:cubicBezTo>
                <a:cubicBezTo>
                  <a:pt x="215" y="391"/>
                  <a:pt x="215" y="391"/>
                  <a:pt x="215" y="391"/>
                </a:cubicBezTo>
                <a:cubicBezTo>
                  <a:pt x="215" y="391"/>
                  <a:pt x="215" y="391"/>
                  <a:pt x="215" y="391"/>
                </a:cubicBezTo>
                <a:cubicBezTo>
                  <a:pt x="215" y="391"/>
                  <a:pt x="215" y="391"/>
                  <a:pt x="215" y="391"/>
                </a:cubicBezTo>
                <a:cubicBezTo>
                  <a:pt x="215" y="391"/>
                  <a:pt x="215" y="391"/>
                  <a:pt x="215" y="391"/>
                </a:cubicBezTo>
                <a:cubicBezTo>
                  <a:pt x="215" y="391"/>
                  <a:pt x="215" y="391"/>
                  <a:pt x="215" y="391"/>
                </a:cubicBezTo>
                <a:cubicBezTo>
                  <a:pt x="216" y="390"/>
                  <a:pt x="216" y="390"/>
                  <a:pt x="216" y="390"/>
                </a:cubicBezTo>
                <a:cubicBezTo>
                  <a:pt x="216" y="390"/>
                  <a:pt x="216" y="390"/>
                  <a:pt x="216" y="390"/>
                </a:cubicBezTo>
                <a:cubicBezTo>
                  <a:pt x="216" y="390"/>
                  <a:pt x="216" y="390"/>
                  <a:pt x="216" y="390"/>
                </a:cubicBezTo>
                <a:cubicBezTo>
                  <a:pt x="216" y="390"/>
                  <a:pt x="216" y="390"/>
                  <a:pt x="216" y="390"/>
                </a:cubicBezTo>
                <a:cubicBezTo>
                  <a:pt x="216" y="390"/>
                  <a:pt x="216" y="390"/>
                  <a:pt x="216" y="390"/>
                </a:cubicBezTo>
                <a:cubicBezTo>
                  <a:pt x="216" y="390"/>
                  <a:pt x="216" y="390"/>
                  <a:pt x="216" y="390"/>
                </a:cubicBezTo>
                <a:cubicBezTo>
                  <a:pt x="216" y="390"/>
                  <a:pt x="216" y="390"/>
                  <a:pt x="216" y="390"/>
                </a:cubicBezTo>
                <a:cubicBezTo>
                  <a:pt x="216" y="389"/>
                  <a:pt x="216" y="388"/>
                  <a:pt x="218" y="387"/>
                </a:cubicBezTo>
                <a:cubicBezTo>
                  <a:pt x="218" y="387"/>
                  <a:pt x="218" y="387"/>
                  <a:pt x="218" y="387"/>
                </a:cubicBezTo>
                <a:cubicBezTo>
                  <a:pt x="218" y="387"/>
                  <a:pt x="218" y="387"/>
                  <a:pt x="218" y="387"/>
                </a:cubicBezTo>
                <a:cubicBezTo>
                  <a:pt x="218" y="387"/>
                  <a:pt x="218" y="386"/>
                  <a:pt x="218" y="386"/>
                </a:cubicBezTo>
                <a:cubicBezTo>
                  <a:pt x="218" y="386"/>
                  <a:pt x="218" y="386"/>
                  <a:pt x="218" y="385"/>
                </a:cubicBezTo>
                <a:cubicBezTo>
                  <a:pt x="218" y="385"/>
                  <a:pt x="218" y="385"/>
                  <a:pt x="218" y="385"/>
                </a:cubicBezTo>
                <a:cubicBezTo>
                  <a:pt x="218" y="385"/>
                  <a:pt x="218" y="385"/>
                  <a:pt x="218" y="385"/>
                </a:cubicBezTo>
                <a:cubicBezTo>
                  <a:pt x="219" y="384"/>
                  <a:pt x="219" y="384"/>
                  <a:pt x="220" y="384"/>
                </a:cubicBezTo>
                <a:cubicBezTo>
                  <a:pt x="220" y="384"/>
                  <a:pt x="220" y="384"/>
                  <a:pt x="220" y="384"/>
                </a:cubicBezTo>
                <a:cubicBezTo>
                  <a:pt x="220" y="384"/>
                  <a:pt x="220" y="384"/>
                  <a:pt x="220" y="384"/>
                </a:cubicBezTo>
                <a:cubicBezTo>
                  <a:pt x="220" y="383"/>
                  <a:pt x="220" y="383"/>
                  <a:pt x="221" y="383"/>
                </a:cubicBezTo>
                <a:cubicBezTo>
                  <a:pt x="221" y="383"/>
                  <a:pt x="221" y="382"/>
                  <a:pt x="221" y="381"/>
                </a:cubicBezTo>
                <a:cubicBezTo>
                  <a:pt x="221" y="381"/>
                  <a:pt x="221" y="381"/>
                  <a:pt x="221" y="381"/>
                </a:cubicBezTo>
                <a:cubicBezTo>
                  <a:pt x="221" y="381"/>
                  <a:pt x="221" y="381"/>
                  <a:pt x="221" y="381"/>
                </a:cubicBezTo>
                <a:cubicBezTo>
                  <a:pt x="221" y="381"/>
                  <a:pt x="222" y="381"/>
                  <a:pt x="222" y="381"/>
                </a:cubicBezTo>
                <a:cubicBezTo>
                  <a:pt x="222" y="381"/>
                  <a:pt x="222" y="381"/>
                  <a:pt x="222" y="380"/>
                </a:cubicBezTo>
                <a:cubicBezTo>
                  <a:pt x="223" y="380"/>
                  <a:pt x="223" y="380"/>
                  <a:pt x="223" y="380"/>
                </a:cubicBezTo>
                <a:cubicBezTo>
                  <a:pt x="223" y="380"/>
                  <a:pt x="223" y="380"/>
                  <a:pt x="223" y="380"/>
                </a:cubicBezTo>
                <a:cubicBezTo>
                  <a:pt x="223" y="380"/>
                  <a:pt x="223" y="380"/>
                  <a:pt x="223" y="380"/>
                </a:cubicBezTo>
                <a:cubicBezTo>
                  <a:pt x="223" y="380"/>
                  <a:pt x="223" y="380"/>
                  <a:pt x="223" y="380"/>
                </a:cubicBezTo>
                <a:cubicBezTo>
                  <a:pt x="223" y="379"/>
                  <a:pt x="223" y="379"/>
                  <a:pt x="223" y="379"/>
                </a:cubicBezTo>
                <a:cubicBezTo>
                  <a:pt x="223" y="379"/>
                  <a:pt x="223" y="379"/>
                  <a:pt x="223" y="379"/>
                </a:cubicBezTo>
                <a:cubicBezTo>
                  <a:pt x="223" y="379"/>
                  <a:pt x="224" y="379"/>
                  <a:pt x="224" y="379"/>
                </a:cubicBezTo>
                <a:cubicBezTo>
                  <a:pt x="224" y="378"/>
                  <a:pt x="224" y="378"/>
                  <a:pt x="224" y="378"/>
                </a:cubicBezTo>
                <a:cubicBezTo>
                  <a:pt x="225" y="378"/>
                  <a:pt x="225" y="378"/>
                  <a:pt x="225" y="378"/>
                </a:cubicBezTo>
                <a:cubicBezTo>
                  <a:pt x="224" y="374"/>
                  <a:pt x="227" y="373"/>
                  <a:pt x="226" y="369"/>
                </a:cubicBezTo>
                <a:cubicBezTo>
                  <a:pt x="227" y="369"/>
                  <a:pt x="226" y="367"/>
                  <a:pt x="227" y="367"/>
                </a:cubicBezTo>
                <a:cubicBezTo>
                  <a:pt x="228" y="367"/>
                  <a:pt x="228" y="367"/>
                  <a:pt x="229" y="367"/>
                </a:cubicBezTo>
                <a:cubicBezTo>
                  <a:pt x="228" y="365"/>
                  <a:pt x="230" y="365"/>
                  <a:pt x="230" y="363"/>
                </a:cubicBezTo>
                <a:cubicBezTo>
                  <a:pt x="230" y="363"/>
                  <a:pt x="230" y="363"/>
                  <a:pt x="230" y="363"/>
                </a:cubicBezTo>
                <a:cubicBezTo>
                  <a:pt x="230" y="363"/>
                  <a:pt x="230" y="363"/>
                  <a:pt x="230" y="363"/>
                </a:cubicBezTo>
                <a:cubicBezTo>
                  <a:pt x="230" y="363"/>
                  <a:pt x="230" y="362"/>
                  <a:pt x="230" y="362"/>
                </a:cubicBezTo>
                <a:cubicBezTo>
                  <a:pt x="230" y="362"/>
                  <a:pt x="230" y="362"/>
                  <a:pt x="230" y="362"/>
                </a:cubicBezTo>
                <a:cubicBezTo>
                  <a:pt x="230" y="362"/>
                  <a:pt x="230" y="362"/>
                  <a:pt x="230" y="362"/>
                </a:cubicBezTo>
                <a:cubicBezTo>
                  <a:pt x="230" y="362"/>
                  <a:pt x="230" y="362"/>
                  <a:pt x="230" y="362"/>
                </a:cubicBezTo>
                <a:cubicBezTo>
                  <a:pt x="230" y="362"/>
                  <a:pt x="230" y="362"/>
                  <a:pt x="231" y="362"/>
                </a:cubicBezTo>
                <a:cubicBezTo>
                  <a:pt x="231" y="362"/>
                  <a:pt x="231" y="362"/>
                  <a:pt x="231" y="362"/>
                </a:cubicBezTo>
                <a:cubicBezTo>
                  <a:pt x="231" y="362"/>
                  <a:pt x="231" y="362"/>
                  <a:pt x="231" y="362"/>
                </a:cubicBezTo>
                <a:cubicBezTo>
                  <a:pt x="231" y="362"/>
                  <a:pt x="231" y="362"/>
                  <a:pt x="231" y="362"/>
                </a:cubicBezTo>
                <a:cubicBezTo>
                  <a:pt x="231" y="362"/>
                  <a:pt x="231" y="362"/>
                  <a:pt x="231" y="362"/>
                </a:cubicBezTo>
                <a:cubicBezTo>
                  <a:pt x="231" y="362"/>
                  <a:pt x="231" y="362"/>
                  <a:pt x="231" y="362"/>
                </a:cubicBezTo>
                <a:cubicBezTo>
                  <a:pt x="231" y="360"/>
                  <a:pt x="231" y="359"/>
                  <a:pt x="232" y="359"/>
                </a:cubicBezTo>
                <a:cubicBezTo>
                  <a:pt x="232" y="357"/>
                  <a:pt x="233" y="357"/>
                  <a:pt x="233" y="355"/>
                </a:cubicBezTo>
                <a:cubicBezTo>
                  <a:pt x="231" y="354"/>
                  <a:pt x="232" y="357"/>
                  <a:pt x="230" y="356"/>
                </a:cubicBezTo>
                <a:cubicBezTo>
                  <a:pt x="229" y="356"/>
                  <a:pt x="230" y="356"/>
                  <a:pt x="229" y="356"/>
                </a:cubicBezTo>
                <a:cubicBezTo>
                  <a:pt x="230" y="356"/>
                  <a:pt x="230" y="356"/>
                  <a:pt x="230" y="356"/>
                </a:cubicBezTo>
                <a:cubicBezTo>
                  <a:pt x="231" y="355"/>
                  <a:pt x="232" y="353"/>
                  <a:pt x="232" y="352"/>
                </a:cubicBezTo>
                <a:cubicBezTo>
                  <a:pt x="233" y="351"/>
                  <a:pt x="234" y="350"/>
                  <a:pt x="234" y="348"/>
                </a:cubicBezTo>
                <a:cubicBezTo>
                  <a:pt x="234" y="349"/>
                  <a:pt x="235" y="350"/>
                  <a:pt x="236" y="350"/>
                </a:cubicBezTo>
                <a:cubicBezTo>
                  <a:pt x="236" y="349"/>
                  <a:pt x="236" y="349"/>
                  <a:pt x="236" y="349"/>
                </a:cubicBezTo>
                <a:cubicBezTo>
                  <a:pt x="237" y="348"/>
                  <a:pt x="236" y="348"/>
                  <a:pt x="236" y="347"/>
                </a:cubicBezTo>
                <a:cubicBezTo>
                  <a:pt x="237" y="347"/>
                  <a:pt x="237" y="347"/>
                  <a:pt x="237" y="347"/>
                </a:cubicBezTo>
                <a:cubicBezTo>
                  <a:pt x="237" y="347"/>
                  <a:pt x="237" y="347"/>
                  <a:pt x="237" y="347"/>
                </a:cubicBezTo>
                <a:cubicBezTo>
                  <a:pt x="237" y="347"/>
                  <a:pt x="237" y="347"/>
                  <a:pt x="237" y="347"/>
                </a:cubicBezTo>
                <a:cubicBezTo>
                  <a:pt x="237" y="347"/>
                  <a:pt x="237" y="347"/>
                  <a:pt x="237" y="347"/>
                </a:cubicBezTo>
                <a:cubicBezTo>
                  <a:pt x="237" y="347"/>
                  <a:pt x="237" y="347"/>
                  <a:pt x="237" y="347"/>
                </a:cubicBezTo>
                <a:cubicBezTo>
                  <a:pt x="237" y="347"/>
                  <a:pt x="237" y="347"/>
                  <a:pt x="237" y="347"/>
                </a:cubicBezTo>
                <a:cubicBezTo>
                  <a:pt x="237" y="346"/>
                  <a:pt x="237" y="345"/>
                  <a:pt x="238" y="345"/>
                </a:cubicBezTo>
                <a:cubicBezTo>
                  <a:pt x="239" y="344"/>
                  <a:pt x="238" y="342"/>
                  <a:pt x="240" y="341"/>
                </a:cubicBezTo>
                <a:cubicBezTo>
                  <a:pt x="240" y="338"/>
                  <a:pt x="241" y="336"/>
                  <a:pt x="241" y="333"/>
                </a:cubicBezTo>
                <a:cubicBezTo>
                  <a:pt x="243" y="332"/>
                  <a:pt x="243" y="331"/>
                  <a:pt x="245" y="331"/>
                </a:cubicBezTo>
                <a:cubicBezTo>
                  <a:pt x="245" y="328"/>
                  <a:pt x="246" y="328"/>
                  <a:pt x="248" y="327"/>
                </a:cubicBezTo>
                <a:cubicBezTo>
                  <a:pt x="247" y="325"/>
                  <a:pt x="249" y="325"/>
                  <a:pt x="248" y="323"/>
                </a:cubicBezTo>
                <a:cubicBezTo>
                  <a:pt x="249" y="322"/>
                  <a:pt x="250" y="322"/>
                  <a:pt x="250" y="321"/>
                </a:cubicBezTo>
                <a:cubicBezTo>
                  <a:pt x="251" y="318"/>
                  <a:pt x="250" y="317"/>
                  <a:pt x="250" y="315"/>
                </a:cubicBezTo>
                <a:cubicBezTo>
                  <a:pt x="250" y="313"/>
                  <a:pt x="248" y="313"/>
                  <a:pt x="248" y="312"/>
                </a:cubicBezTo>
                <a:cubicBezTo>
                  <a:pt x="249" y="309"/>
                  <a:pt x="250" y="307"/>
                  <a:pt x="250" y="304"/>
                </a:cubicBezTo>
                <a:cubicBezTo>
                  <a:pt x="251" y="304"/>
                  <a:pt x="251" y="303"/>
                  <a:pt x="251" y="303"/>
                </a:cubicBezTo>
                <a:cubicBezTo>
                  <a:pt x="252" y="303"/>
                  <a:pt x="252" y="302"/>
                  <a:pt x="252" y="302"/>
                </a:cubicBezTo>
                <a:cubicBezTo>
                  <a:pt x="252" y="301"/>
                  <a:pt x="253" y="300"/>
                  <a:pt x="252" y="299"/>
                </a:cubicBezTo>
                <a:cubicBezTo>
                  <a:pt x="252" y="298"/>
                  <a:pt x="252" y="298"/>
                  <a:pt x="252" y="297"/>
                </a:cubicBezTo>
                <a:cubicBezTo>
                  <a:pt x="251" y="297"/>
                  <a:pt x="251" y="297"/>
                  <a:pt x="250" y="296"/>
                </a:cubicBezTo>
                <a:cubicBezTo>
                  <a:pt x="250" y="296"/>
                  <a:pt x="249" y="296"/>
                  <a:pt x="249" y="296"/>
                </a:cubicBezTo>
                <a:cubicBezTo>
                  <a:pt x="249" y="295"/>
                  <a:pt x="249" y="295"/>
                  <a:pt x="248" y="294"/>
                </a:cubicBezTo>
                <a:cubicBezTo>
                  <a:pt x="248" y="294"/>
                  <a:pt x="247" y="295"/>
                  <a:pt x="247" y="294"/>
                </a:cubicBezTo>
                <a:cubicBezTo>
                  <a:pt x="247" y="294"/>
                  <a:pt x="247" y="294"/>
                  <a:pt x="247" y="294"/>
                </a:cubicBezTo>
                <a:cubicBezTo>
                  <a:pt x="246" y="293"/>
                  <a:pt x="246" y="293"/>
                  <a:pt x="246" y="293"/>
                </a:cubicBezTo>
                <a:cubicBezTo>
                  <a:pt x="245" y="292"/>
                  <a:pt x="244" y="291"/>
                  <a:pt x="243" y="292"/>
                </a:cubicBezTo>
                <a:cubicBezTo>
                  <a:pt x="242" y="291"/>
                  <a:pt x="242" y="290"/>
                  <a:pt x="242" y="289"/>
                </a:cubicBezTo>
                <a:cubicBezTo>
                  <a:pt x="242" y="289"/>
                  <a:pt x="241" y="289"/>
                  <a:pt x="241" y="289"/>
                </a:cubicBezTo>
                <a:cubicBezTo>
                  <a:pt x="240" y="288"/>
                  <a:pt x="240" y="288"/>
                  <a:pt x="240" y="287"/>
                </a:cubicBezTo>
                <a:cubicBezTo>
                  <a:pt x="239" y="287"/>
                  <a:pt x="238" y="286"/>
                  <a:pt x="238" y="285"/>
                </a:cubicBezTo>
                <a:cubicBezTo>
                  <a:pt x="235" y="285"/>
                  <a:pt x="233" y="283"/>
                  <a:pt x="232" y="281"/>
                </a:cubicBezTo>
                <a:cubicBezTo>
                  <a:pt x="228" y="281"/>
                  <a:pt x="226" y="279"/>
                  <a:pt x="222" y="279"/>
                </a:cubicBezTo>
                <a:cubicBezTo>
                  <a:pt x="221" y="278"/>
                  <a:pt x="221" y="277"/>
                  <a:pt x="220" y="276"/>
                </a:cubicBezTo>
                <a:cubicBezTo>
                  <a:pt x="218" y="276"/>
                  <a:pt x="217" y="274"/>
                  <a:pt x="216" y="273"/>
                </a:cubicBezTo>
                <a:cubicBezTo>
                  <a:pt x="215" y="273"/>
                  <a:pt x="214" y="273"/>
                  <a:pt x="213" y="273"/>
                </a:cubicBezTo>
                <a:cubicBezTo>
                  <a:pt x="212" y="274"/>
                  <a:pt x="212" y="273"/>
                  <a:pt x="211" y="273"/>
                </a:cubicBezTo>
                <a:cubicBezTo>
                  <a:pt x="212" y="271"/>
                  <a:pt x="210" y="271"/>
                  <a:pt x="211" y="269"/>
                </a:cubicBezTo>
                <a:cubicBezTo>
                  <a:pt x="212" y="269"/>
                  <a:pt x="211" y="267"/>
                  <a:pt x="211" y="266"/>
                </a:cubicBezTo>
                <a:cubicBezTo>
                  <a:pt x="213" y="267"/>
                  <a:pt x="212" y="264"/>
                  <a:pt x="213" y="264"/>
                </a:cubicBezTo>
                <a:cubicBezTo>
                  <a:pt x="213" y="261"/>
                  <a:pt x="215" y="261"/>
                  <a:pt x="214" y="258"/>
                </a:cubicBezTo>
                <a:cubicBezTo>
                  <a:pt x="215" y="258"/>
                  <a:pt x="215" y="257"/>
                  <a:pt x="215" y="257"/>
                </a:cubicBezTo>
                <a:cubicBezTo>
                  <a:pt x="215" y="257"/>
                  <a:pt x="216" y="256"/>
                  <a:pt x="216" y="256"/>
                </a:cubicBezTo>
                <a:cubicBezTo>
                  <a:pt x="216" y="256"/>
                  <a:pt x="216" y="255"/>
                  <a:pt x="217" y="255"/>
                </a:cubicBezTo>
                <a:cubicBezTo>
                  <a:pt x="216" y="252"/>
                  <a:pt x="215" y="250"/>
                  <a:pt x="215" y="247"/>
                </a:cubicBezTo>
                <a:cubicBezTo>
                  <a:pt x="215" y="246"/>
                  <a:pt x="213" y="246"/>
                  <a:pt x="213" y="246"/>
                </a:cubicBezTo>
                <a:cubicBezTo>
                  <a:pt x="213" y="245"/>
                  <a:pt x="213" y="245"/>
                  <a:pt x="212" y="245"/>
                </a:cubicBezTo>
                <a:cubicBezTo>
                  <a:pt x="211" y="245"/>
                  <a:pt x="210" y="243"/>
                  <a:pt x="209" y="243"/>
                </a:cubicBezTo>
                <a:cubicBezTo>
                  <a:pt x="208" y="243"/>
                  <a:pt x="207" y="243"/>
                  <a:pt x="207" y="242"/>
                </a:cubicBezTo>
                <a:cubicBezTo>
                  <a:pt x="207" y="242"/>
                  <a:pt x="207" y="241"/>
                  <a:pt x="206" y="241"/>
                </a:cubicBezTo>
                <a:cubicBezTo>
                  <a:pt x="206" y="241"/>
                  <a:pt x="205" y="241"/>
                  <a:pt x="204" y="241"/>
                </a:cubicBezTo>
                <a:cubicBezTo>
                  <a:pt x="204" y="241"/>
                  <a:pt x="204" y="240"/>
                  <a:pt x="204" y="240"/>
                </a:cubicBezTo>
                <a:cubicBezTo>
                  <a:pt x="204" y="240"/>
                  <a:pt x="203" y="240"/>
                  <a:pt x="202" y="240"/>
                </a:cubicBezTo>
                <a:cubicBezTo>
                  <a:pt x="202" y="237"/>
                  <a:pt x="201" y="235"/>
                  <a:pt x="200" y="232"/>
                </a:cubicBezTo>
                <a:cubicBezTo>
                  <a:pt x="201" y="230"/>
                  <a:pt x="201" y="228"/>
                  <a:pt x="200" y="226"/>
                </a:cubicBezTo>
                <a:cubicBezTo>
                  <a:pt x="200" y="226"/>
                  <a:pt x="199" y="225"/>
                  <a:pt x="200" y="225"/>
                </a:cubicBezTo>
                <a:cubicBezTo>
                  <a:pt x="200" y="225"/>
                  <a:pt x="200" y="225"/>
                  <a:pt x="200" y="225"/>
                </a:cubicBezTo>
                <a:cubicBezTo>
                  <a:pt x="200" y="224"/>
                  <a:pt x="199" y="224"/>
                  <a:pt x="200" y="223"/>
                </a:cubicBezTo>
                <a:cubicBezTo>
                  <a:pt x="197" y="223"/>
                  <a:pt x="196" y="224"/>
                  <a:pt x="194" y="224"/>
                </a:cubicBezTo>
                <a:cubicBezTo>
                  <a:pt x="193" y="222"/>
                  <a:pt x="193" y="219"/>
                  <a:pt x="190" y="218"/>
                </a:cubicBezTo>
                <a:cubicBezTo>
                  <a:pt x="191" y="216"/>
                  <a:pt x="189" y="216"/>
                  <a:pt x="190" y="214"/>
                </a:cubicBezTo>
                <a:cubicBezTo>
                  <a:pt x="190" y="211"/>
                  <a:pt x="193" y="211"/>
                  <a:pt x="193" y="207"/>
                </a:cubicBezTo>
                <a:cubicBezTo>
                  <a:pt x="192" y="205"/>
                  <a:pt x="189" y="206"/>
                  <a:pt x="187" y="205"/>
                </a:cubicBezTo>
                <a:cubicBezTo>
                  <a:pt x="187" y="202"/>
                  <a:pt x="187" y="199"/>
                  <a:pt x="188" y="196"/>
                </a:cubicBezTo>
                <a:cubicBezTo>
                  <a:pt x="187" y="193"/>
                  <a:pt x="187" y="190"/>
                  <a:pt x="187" y="186"/>
                </a:cubicBezTo>
                <a:cubicBezTo>
                  <a:pt x="187" y="183"/>
                  <a:pt x="189" y="184"/>
                  <a:pt x="189" y="182"/>
                </a:cubicBezTo>
                <a:cubicBezTo>
                  <a:pt x="189" y="178"/>
                  <a:pt x="186" y="177"/>
                  <a:pt x="186" y="173"/>
                </a:cubicBezTo>
                <a:cubicBezTo>
                  <a:pt x="186" y="172"/>
                  <a:pt x="184" y="172"/>
                  <a:pt x="184" y="170"/>
                </a:cubicBezTo>
                <a:cubicBezTo>
                  <a:pt x="183" y="171"/>
                  <a:pt x="183" y="168"/>
                  <a:pt x="182" y="168"/>
                </a:cubicBezTo>
                <a:cubicBezTo>
                  <a:pt x="182" y="168"/>
                  <a:pt x="182" y="167"/>
                  <a:pt x="181" y="166"/>
                </a:cubicBezTo>
                <a:cubicBezTo>
                  <a:pt x="181" y="166"/>
                  <a:pt x="181" y="166"/>
                  <a:pt x="181" y="166"/>
                </a:cubicBezTo>
                <a:cubicBezTo>
                  <a:pt x="181" y="166"/>
                  <a:pt x="181" y="166"/>
                  <a:pt x="181" y="166"/>
                </a:cubicBezTo>
                <a:cubicBezTo>
                  <a:pt x="182" y="165"/>
                  <a:pt x="182" y="164"/>
                  <a:pt x="181" y="163"/>
                </a:cubicBezTo>
                <a:cubicBezTo>
                  <a:pt x="181" y="163"/>
                  <a:pt x="180" y="163"/>
                  <a:pt x="180" y="163"/>
                </a:cubicBezTo>
                <a:cubicBezTo>
                  <a:pt x="180" y="162"/>
                  <a:pt x="179" y="162"/>
                  <a:pt x="179" y="162"/>
                </a:cubicBezTo>
                <a:cubicBezTo>
                  <a:pt x="179" y="161"/>
                  <a:pt x="179" y="161"/>
                  <a:pt x="179" y="161"/>
                </a:cubicBezTo>
                <a:cubicBezTo>
                  <a:pt x="179" y="161"/>
                  <a:pt x="179" y="161"/>
                  <a:pt x="179" y="161"/>
                </a:cubicBezTo>
                <a:cubicBezTo>
                  <a:pt x="179" y="161"/>
                  <a:pt x="179" y="161"/>
                  <a:pt x="178" y="161"/>
                </a:cubicBezTo>
                <a:cubicBezTo>
                  <a:pt x="178" y="161"/>
                  <a:pt x="178" y="161"/>
                  <a:pt x="178" y="161"/>
                </a:cubicBezTo>
                <a:cubicBezTo>
                  <a:pt x="178" y="160"/>
                  <a:pt x="178" y="160"/>
                  <a:pt x="178" y="160"/>
                </a:cubicBezTo>
                <a:cubicBezTo>
                  <a:pt x="178" y="159"/>
                  <a:pt x="177" y="160"/>
                  <a:pt x="177" y="159"/>
                </a:cubicBezTo>
                <a:cubicBezTo>
                  <a:pt x="177" y="159"/>
                  <a:pt x="176" y="158"/>
                  <a:pt x="177" y="157"/>
                </a:cubicBezTo>
                <a:cubicBezTo>
                  <a:pt x="174" y="157"/>
                  <a:pt x="175" y="153"/>
                  <a:pt x="173" y="152"/>
                </a:cubicBezTo>
                <a:cubicBezTo>
                  <a:pt x="173" y="151"/>
                  <a:pt x="173" y="151"/>
                  <a:pt x="172" y="150"/>
                </a:cubicBezTo>
                <a:cubicBezTo>
                  <a:pt x="172" y="150"/>
                  <a:pt x="171" y="150"/>
                  <a:pt x="171" y="150"/>
                </a:cubicBezTo>
                <a:cubicBezTo>
                  <a:pt x="170" y="150"/>
                  <a:pt x="170" y="149"/>
                  <a:pt x="170" y="149"/>
                </a:cubicBezTo>
                <a:cubicBezTo>
                  <a:pt x="170" y="148"/>
                  <a:pt x="169" y="146"/>
                  <a:pt x="167" y="146"/>
                </a:cubicBezTo>
                <a:cubicBezTo>
                  <a:pt x="166" y="144"/>
                  <a:pt x="165" y="143"/>
                  <a:pt x="163" y="142"/>
                </a:cubicBezTo>
                <a:cubicBezTo>
                  <a:pt x="161" y="142"/>
                  <a:pt x="164" y="147"/>
                  <a:pt x="162" y="147"/>
                </a:cubicBezTo>
                <a:cubicBezTo>
                  <a:pt x="161" y="148"/>
                  <a:pt x="160" y="147"/>
                  <a:pt x="160" y="146"/>
                </a:cubicBezTo>
                <a:cubicBezTo>
                  <a:pt x="160" y="145"/>
                  <a:pt x="160" y="145"/>
                  <a:pt x="159" y="145"/>
                </a:cubicBezTo>
                <a:cubicBezTo>
                  <a:pt x="159" y="145"/>
                  <a:pt x="158" y="144"/>
                  <a:pt x="158" y="144"/>
                </a:cubicBezTo>
                <a:cubicBezTo>
                  <a:pt x="158" y="137"/>
                  <a:pt x="158" y="137"/>
                  <a:pt x="158" y="137"/>
                </a:cubicBezTo>
                <a:cubicBezTo>
                  <a:pt x="159" y="136"/>
                  <a:pt x="158" y="136"/>
                  <a:pt x="158" y="135"/>
                </a:cubicBezTo>
                <a:cubicBezTo>
                  <a:pt x="157" y="136"/>
                  <a:pt x="157" y="135"/>
                  <a:pt x="157" y="135"/>
                </a:cubicBezTo>
                <a:cubicBezTo>
                  <a:pt x="157" y="131"/>
                  <a:pt x="157" y="131"/>
                  <a:pt x="157" y="131"/>
                </a:cubicBezTo>
                <a:cubicBezTo>
                  <a:pt x="158" y="131"/>
                  <a:pt x="158" y="131"/>
                  <a:pt x="158" y="130"/>
                </a:cubicBezTo>
                <a:cubicBezTo>
                  <a:pt x="158" y="129"/>
                  <a:pt x="159" y="129"/>
                  <a:pt x="159" y="128"/>
                </a:cubicBezTo>
                <a:cubicBezTo>
                  <a:pt x="160" y="123"/>
                  <a:pt x="161" y="118"/>
                  <a:pt x="163" y="113"/>
                </a:cubicBezTo>
                <a:cubicBezTo>
                  <a:pt x="164" y="108"/>
                  <a:pt x="165" y="104"/>
                  <a:pt x="166" y="99"/>
                </a:cubicBezTo>
                <a:cubicBezTo>
                  <a:pt x="166" y="98"/>
                  <a:pt x="165" y="98"/>
                  <a:pt x="165" y="97"/>
                </a:cubicBezTo>
                <a:cubicBezTo>
                  <a:pt x="165" y="97"/>
                  <a:pt x="164" y="96"/>
                  <a:pt x="164" y="96"/>
                </a:cubicBezTo>
                <a:cubicBezTo>
                  <a:pt x="163" y="96"/>
                  <a:pt x="163" y="94"/>
                  <a:pt x="161" y="94"/>
                </a:cubicBezTo>
                <a:cubicBezTo>
                  <a:pt x="159" y="93"/>
                  <a:pt x="158" y="90"/>
                  <a:pt x="156" y="89"/>
                </a:cubicBezTo>
                <a:cubicBezTo>
                  <a:pt x="157" y="88"/>
                  <a:pt x="156" y="88"/>
                  <a:pt x="156" y="87"/>
                </a:cubicBezTo>
                <a:cubicBezTo>
                  <a:pt x="156" y="87"/>
                  <a:pt x="156" y="86"/>
                  <a:pt x="155" y="86"/>
                </a:cubicBezTo>
                <a:cubicBezTo>
                  <a:pt x="155" y="85"/>
                  <a:pt x="154" y="84"/>
                  <a:pt x="154" y="83"/>
                </a:cubicBezTo>
                <a:cubicBezTo>
                  <a:pt x="153" y="83"/>
                  <a:pt x="153" y="83"/>
                  <a:pt x="152" y="83"/>
                </a:cubicBezTo>
                <a:cubicBezTo>
                  <a:pt x="152" y="83"/>
                  <a:pt x="152" y="83"/>
                  <a:pt x="152" y="83"/>
                </a:cubicBezTo>
                <a:cubicBezTo>
                  <a:pt x="152" y="83"/>
                  <a:pt x="151" y="83"/>
                  <a:pt x="151" y="83"/>
                </a:cubicBezTo>
                <a:cubicBezTo>
                  <a:pt x="151" y="83"/>
                  <a:pt x="151" y="83"/>
                  <a:pt x="151" y="83"/>
                </a:cubicBezTo>
                <a:cubicBezTo>
                  <a:pt x="151" y="83"/>
                  <a:pt x="151" y="83"/>
                  <a:pt x="150" y="83"/>
                </a:cubicBezTo>
                <a:cubicBezTo>
                  <a:pt x="150" y="83"/>
                  <a:pt x="150" y="83"/>
                  <a:pt x="150" y="83"/>
                </a:cubicBezTo>
                <a:cubicBezTo>
                  <a:pt x="150" y="83"/>
                  <a:pt x="149" y="82"/>
                  <a:pt x="149" y="82"/>
                </a:cubicBezTo>
                <a:cubicBezTo>
                  <a:pt x="148" y="82"/>
                  <a:pt x="148" y="82"/>
                  <a:pt x="148" y="82"/>
                </a:cubicBezTo>
                <a:cubicBezTo>
                  <a:pt x="147" y="80"/>
                  <a:pt x="146" y="81"/>
                  <a:pt x="145" y="81"/>
                </a:cubicBezTo>
                <a:cubicBezTo>
                  <a:pt x="145" y="81"/>
                  <a:pt x="145" y="81"/>
                  <a:pt x="145" y="81"/>
                </a:cubicBezTo>
                <a:cubicBezTo>
                  <a:pt x="144" y="81"/>
                  <a:pt x="144" y="81"/>
                  <a:pt x="144" y="81"/>
                </a:cubicBezTo>
                <a:cubicBezTo>
                  <a:pt x="143" y="81"/>
                  <a:pt x="143" y="80"/>
                  <a:pt x="142" y="80"/>
                </a:cubicBezTo>
                <a:cubicBezTo>
                  <a:pt x="142" y="80"/>
                  <a:pt x="142" y="80"/>
                  <a:pt x="141" y="80"/>
                </a:cubicBezTo>
                <a:cubicBezTo>
                  <a:pt x="141" y="80"/>
                  <a:pt x="140" y="80"/>
                  <a:pt x="140" y="80"/>
                </a:cubicBezTo>
                <a:cubicBezTo>
                  <a:pt x="139" y="79"/>
                  <a:pt x="139" y="78"/>
                  <a:pt x="138" y="78"/>
                </a:cubicBezTo>
                <a:cubicBezTo>
                  <a:pt x="138" y="77"/>
                  <a:pt x="138" y="77"/>
                  <a:pt x="138" y="76"/>
                </a:cubicBezTo>
                <a:cubicBezTo>
                  <a:pt x="136" y="75"/>
                  <a:pt x="136" y="73"/>
                  <a:pt x="135" y="72"/>
                </a:cubicBezTo>
                <a:cubicBezTo>
                  <a:pt x="134" y="71"/>
                  <a:pt x="134" y="70"/>
                  <a:pt x="133" y="69"/>
                </a:cubicBezTo>
                <a:cubicBezTo>
                  <a:pt x="133" y="67"/>
                  <a:pt x="132" y="67"/>
                  <a:pt x="131" y="65"/>
                </a:cubicBezTo>
                <a:cubicBezTo>
                  <a:pt x="132" y="63"/>
                  <a:pt x="132" y="59"/>
                  <a:pt x="133" y="57"/>
                </a:cubicBezTo>
                <a:cubicBezTo>
                  <a:pt x="133" y="50"/>
                  <a:pt x="133" y="50"/>
                  <a:pt x="133" y="50"/>
                </a:cubicBezTo>
                <a:cubicBezTo>
                  <a:pt x="133" y="50"/>
                  <a:pt x="133" y="49"/>
                  <a:pt x="132" y="49"/>
                </a:cubicBezTo>
                <a:cubicBezTo>
                  <a:pt x="131" y="49"/>
                  <a:pt x="130" y="49"/>
                  <a:pt x="130" y="48"/>
                </a:cubicBezTo>
                <a:cubicBezTo>
                  <a:pt x="129" y="49"/>
                  <a:pt x="129" y="48"/>
                  <a:pt x="128" y="48"/>
                </a:cubicBezTo>
                <a:cubicBezTo>
                  <a:pt x="128" y="47"/>
                  <a:pt x="128" y="46"/>
                  <a:pt x="127" y="46"/>
                </a:cubicBezTo>
                <a:cubicBezTo>
                  <a:pt x="127" y="45"/>
                  <a:pt x="128" y="44"/>
                  <a:pt x="128" y="44"/>
                </a:cubicBezTo>
                <a:cubicBezTo>
                  <a:pt x="129" y="44"/>
                  <a:pt x="130" y="43"/>
                  <a:pt x="131" y="43"/>
                </a:cubicBezTo>
                <a:cubicBezTo>
                  <a:pt x="131" y="41"/>
                  <a:pt x="133" y="41"/>
                  <a:pt x="133" y="39"/>
                </a:cubicBezTo>
                <a:cubicBezTo>
                  <a:pt x="132" y="40"/>
                  <a:pt x="133" y="37"/>
                  <a:pt x="131" y="37"/>
                </a:cubicBezTo>
                <a:cubicBezTo>
                  <a:pt x="131" y="27"/>
                  <a:pt x="131" y="27"/>
                  <a:pt x="131" y="27"/>
                </a:cubicBezTo>
                <a:cubicBezTo>
                  <a:pt x="132" y="27"/>
                  <a:pt x="132" y="26"/>
                  <a:pt x="132" y="25"/>
                </a:cubicBezTo>
                <a:cubicBezTo>
                  <a:pt x="133" y="25"/>
                  <a:pt x="133" y="24"/>
                  <a:pt x="133" y="23"/>
                </a:cubicBezTo>
                <a:cubicBezTo>
                  <a:pt x="134" y="23"/>
                  <a:pt x="134" y="22"/>
                  <a:pt x="134" y="21"/>
                </a:cubicBezTo>
                <a:cubicBezTo>
                  <a:pt x="135" y="21"/>
                  <a:pt x="135" y="21"/>
                  <a:pt x="135" y="21"/>
                </a:cubicBezTo>
                <a:cubicBezTo>
                  <a:pt x="134" y="19"/>
                  <a:pt x="135" y="16"/>
                  <a:pt x="132" y="16"/>
                </a:cubicBezTo>
                <a:cubicBezTo>
                  <a:pt x="133" y="13"/>
                  <a:pt x="131" y="14"/>
                  <a:pt x="131" y="11"/>
                </a:cubicBezTo>
                <a:cubicBezTo>
                  <a:pt x="127" y="10"/>
                  <a:pt x="123" y="9"/>
                  <a:pt x="117" y="9"/>
                </a:cubicBezTo>
                <a:cubicBezTo>
                  <a:pt x="117" y="8"/>
                  <a:pt x="117" y="8"/>
                  <a:pt x="117" y="7"/>
                </a:cubicBezTo>
                <a:cubicBezTo>
                  <a:pt x="117" y="7"/>
                  <a:pt x="116" y="7"/>
                  <a:pt x="116" y="6"/>
                </a:cubicBezTo>
                <a:cubicBezTo>
                  <a:pt x="115" y="4"/>
                  <a:pt x="113" y="4"/>
                  <a:pt x="112" y="2"/>
                </a:cubicBezTo>
                <a:cubicBezTo>
                  <a:pt x="111" y="2"/>
                  <a:pt x="111" y="2"/>
                  <a:pt x="110" y="1"/>
                </a:cubicBezTo>
                <a:cubicBezTo>
                  <a:pt x="110" y="1"/>
                  <a:pt x="109" y="1"/>
                  <a:pt x="109" y="0"/>
                </a:cubicBezTo>
                <a:cubicBezTo>
                  <a:pt x="109" y="0"/>
                  <a:pt x="109" y="0"/>
                  <a:pt x="108" y="0"/>
                </a:cubicBezTo>
                <a:cubicBezTo>
                  <a:pt x="106" y="0"/>
                  <a:pt x="105" y="0"/>
                  <a:pt x="104" y="2"/>
                </a:cubicBezTo>
                <a:cubicBezTo>
                  <a:pt x="102" y="2"/>
                  <a:pt x="103" y="4"/>
                  <a:pt x="101" y="4"/>
                </a:cubicBezTo>
                <a:cubicBezTo>
                  <a:pt x="100" y="5"/>
                  <a:pt x="99" y="6"/>
                  <a:pt x="99" y="7"/>
                </a:cubicBezTo>
                <a:cubicBezTo>
                  <a:pt x="98" y="7"/>
                  <a:pt x="97" y="7"/>
                  <a:pt x="97" y="8"/>
                </a:cubicBezTo>
                <a:cubicBezTo>
                  <a:pt x="96" y="8"/>
                  <a:pt x="94" y="9"/>
                  <a:pt x="94" y="7"/>
                </a:cubicBezTo>
                <a:cubicBezTo>
                  <a:pt x="92" y="8"/>
                  <a:pt x="92" y="9"/>
                  <a:pt x="89" y="9"/>
                </a:cubicBezTo>
                <a:cubicBezTo>
                  <a:pt x="89" y="9"/>
                  <a:pt x="89" y="9"/>
                  <a:pt x="89" y="9"/>
                </a:cubicBezTo>
                <a:cubicBezTo>
                  <a:pt x="89" y="9"/>
                  <a:pt x="89" y="9"/>
                  <a:pt x="89" y="9"/>
                </a:cubicBezTo>
                <a:cubicBezTo>
                  <a:pt x="89" y="9"/>
                  <a:pt x="89" y="9"/>
                  <a:pt x="89" y="9"/>
                </a:cubicBezTo>
                <a:cubicBezTo>
                  <a:pt x="89" y="9"/>
                  <a:pt x="89" y="9"/>
                  <a:pt x="89" y="9"/>
                </a:cubicBezTo>
                <a:cubicBezTo>
                  <a:pt x="89" y="9"/>
                  <a:pt x="89" y="9"/>
                  <a:pt x="88" y="9"/>
                </a:cubicBezTo>
                <a:cubicBezTo>
                  <a:pt x="88" y="9"/>
                  <a:pt x="88" y="9"/>
                  <a:pt x="88" y="9"/>
                </a:cubicBezTo>
                <a:cubicBezTo>
                  <a:pt x="88" y="9"/>
                  <a:pt x="88" y="10"/>
                  <a:pt x="88" y="10"/>
                </a:cubicBezTo>
                <a:cubicBezTo>
                  <a:pt x="88" y="10"/>
                  <a:pt x="88" y="10"/>
                  <a:pt x="88" y="10"/>
                </a:cubicBezTo>
                <a:cubicBezTo>
                  <a:pt x="88" y="10"/>
                  <a:pt x="88" y="10"/>
                  <a:pt x="88" y="10"/>
                </a:cubicBezTo>
                <a:cubicBezTo>
                  <a:pt x="88" y="10"/>
                  <a:pt x="88" y="10"/>
                  <a:pt x="88" y="10"/>
                </a:cubicBezTo>
                <a:cubicBezTo>
                  <a:pt x="88" y="10"/>
                  <a:pt x="88" y="10"/>
                  <a:pt x="88" y="10"/>
                </a:cubicBezTo>
                <a:cubicBezTo>
                  <a:pt x="88" y="10"/>
                  <a:pt x="88" y="10"/>
                  <a:pt x="88" y="10"/>
                </a:cubicBezTo>
                <a:cubicBezTo>
                  <a:pt x="88" y="11"/>
                  <a:pt x="88" y="11"/>
                  <a:pt x="88" y="11"/>
                </a:cubicBezTo>
                <a:cubicBezTo>
                  <a:pt x="88" y="11"/>
                  <a:pt x="88" y="11"/>
                  <a:pt x="88" y="11"/>
                </a:cubicBezTo>
                <a:cubicBezTo>
                  <a:pt x="88" y="11"/>
                  <a:pt x="88" y="11"/>
                  <a:pt x="88" y="11"/>
                </a:cubicBezTo>
                <a:cubicBezTo>
                  <a:pt x="88" y="11"/>
                  <a:pt x="87" y="12"/>
                  <a:pt x="87" y="12"/>
                </a:cubicBezTo>
                <a:cubicBezTo>
                  <a:pt x="87" y="12"/>
                  <a:pt x="87" y="12"/>
                  <a:pt x="87" y="12"/>
                </a:cubicBezTo>
                <a:cubicBezTo>
                  <a:pt x="87" y="12"/>
                  <a:pt x="87" y="12"/>
                  <a:pt x="87" y="12"/>
                </a:cubicBezTo>
                <a:cubicBezTo>
                  <a:pt x="87" y="12"/>
                  <a:pt x="87" y="12"/>
                  <a:pt x="87" y="12"/>
                </a:cubicBezTo>
                <a:cubicBezTo>
                  <a:pt x="87" y="12"/>
                  <a:pt x="87" y="12"/>
                  <a:pt x="87" y="13"/>
                </a:cubicBezTo>
                <a:cubicBezTo>
                  <a:pt x="87" y="13"/>
                  <a:pt x="87" y="13"/>
                  <a:pt x="87" y="13"/>
                </a:cubicBezTo>
                <a:cubicBezTo>
                  <a:pt x="87" y="13"/>
                  <a:pt x="87" y="13"/>
                  <a:pt x="87" y="13"/>
                </a:cubicBezTo>
                <a:cubicBezTo>
                  <a:pt x="87" y="13"/>
                  <a:pt x="87" y="13"/>
                  <a:pt x="87" y="13"/>
                </a:cubicBezTo>
                <a:cubicBezTo>
                  <a:pt x="87" y="13"/>
                  <a:pt x="87" y="13"/>
                  <a:pt x="87" y="13"/>
                </a:cubicBezTo>
                <a:cubicBezTo>
                  <a:pt x="87" y="13"/>
                  <a:pt x="87" y="13"/>
                  <a:pt x="87" y="13"/>
                </a:cubicBezTo>
                <a:cubicBezTo>
                  <a:pt x="87" y="13"/>
                  <a:pt x="87" y="14"/>
                  <a:pt x="87" y="14"/>
                </a:cubicBezTo>
                <a:cubicBezTo>
                  <a:pt x="87" y="14"/>
                  <a:pt x="87" y="14"/>
                  <a:pt x="87" y="14"/>
                </a:cubicBezTo>
                <a:cubicBezTo>
                  <a:pt x="87" y="14"/>
                  <a:pt x="87" y="14"/>
                  <a:pt x="87" y="14"/>
                </a:cubicBezTo>
                <a:cubicBezTo>
                  <a:pt x="87" y="14"/>
                  <a:pt x="86" y="14"/>
                  <a:pt x="86" y="14"/>
                </a:cubicBezTo>
                <a:cubicBezTo>
                  <a:pt x="86" y="14"/>
                  <a:pt x="86" y="14"/>
                  <a:pt x="86" y="14"/>
                </a:cubicBezTo>
                <a:cubicBezTo>
                  <a:pt x="86" y="14"/>
                  <a:pt x="86" y="14"/>
                  <a:pt x="86" y="14"/>
                </a:cubicBezTo>
                <a:cubicBezTo>
                  <a:pt x="86" y="14"/>
                  <a:pt x="86" y="14"/>
                  <a:pt x="86" y="14"/>
                </a:cubicBezTo>
                <a:cubicBezTo>
                  <a:pt x="86" y="14"/>
                  <a:pt x="86" y="15"/>
                  <a:pt x="86" y="15"/>
                </a:cubicBezTo>
                <a:cubicBezTo>
                  <a:pt x="86" y="15"/>
                  <a:pt x="86" y="15"/>
                  <a:pt x="86" y="15"/>
                </a:cubicBezTo>
                <a:cubicBezTo>
                  <a:pt x="85" y="16"/>
                  <a:pt x="84" y="17"/>
                  <a:pt x="84" y="18"/>
                </a:cubicBezTo>
                <a:cubicBezTo>
                  <a:pt x="84" y="18"/>
                  <a:pt x="84" y="18"/>
                  <a:pt x="84" y="18"/>
                </a:cubicBezTo>
                <a:cubicBezTo>
                  <a:pt x="84" y="18"/>
                  <a:pt x="84" y="18"/>
                  <a:pt x="84" y="18"/>
                </a:cubicBezTo>
                <a:cubicBezTo>
                  <a:pt x="84" y="18"/>
                  <a:pt x="84" y="19"/>
                  <a:pt x="84" y="19"/>
                </a:cubicBezTo>
                <a:cubicBezTo>
                  <a:pt x="84" y="19"/>
                  <a:pt x="84" y="19"/>
                  <a:pt x="84" y="19"/>
                </a:cubicBezTo>
                <a:cubicBezTo>
                  <a:pt x="84" y="19"/>
                  <a:pt x="84" y="19"/>
                  <a:pt x="84" y="19"/>
                </a:cubicBezTo>
                <a:cubicBezTo>
                  <a:pt x="84" y="19"/>
                  <a:pt x="84" y="19"/>
                  <a:pt x="84" y="19"/>
                </a:cubicBezTo>
                <a:cubicBezTo>
                  <a:pt x="84" y="19"/>
                  <a:pt x="84" y="19"/>
                  <a:pt x="84" y="19"/>
                </a:cubicBezTo>
                <a:cubicBezTo>
                  <a:pt x="84" y="19"/>
                  <a:pt x="84" y="19"/>
                  <a:pt x="84" y="19"/>
                </a:cubicBezTo>
                <a:cubicBezTo>
                  <a:pt x="84" y="20"/>
                  <a:pt x="84" y="20"/>
                  <a:pt x="84" y="20"/>
                </a:cubicBezTo>
                <a:cubicBezTo>
                  <a:pt x="84" y="20"/>
                  <a:pt x="84" y="20"/>
                  <a:pt x="84" y="20"/>
                </a:cubicBezTo>
                <a:cubicBezTo>
                  <a:pt x="83" y="20"/>
                  <a:pt x="83" y="20"/>
                  <a:pt x="83" y="20"/>
                </a:cubicBezTo>
                <a:cubicBezTo>
                  <a:pt x="83" y="21"/>
                  <a:pt x="83" y="22"/>
                  <a:pt x="83" y="23"/>
                </a:cubicBezTo>
                <a:cubicBezTo>
                  <a:pt x="82" y="27"/>
                  <a:pt x="83" y="31"/>
                  <a:pt x="82" y="34"/>
                </a:cubicBezTo>
                <a:cubicBezTo>
                  <a:pt x="82" y="35"/>
                  <a:pt x="82" y="35"/>
                  <a:pt x="83" y="36"/>
                </a:cubicBezTo>
                <a:cubicBezTo>
                  <a:pt x="83" y="38"/>
                  <a:pt x="82" y="41"/>
                  <a:pt x="83" y="43"/>
                </a:cubicBezTo>
                <a:cubicBezTo>
                  <a:pt x="83" y="45"/>
                  <a:pt x="84" y="47"/>
                  <a:pt x="83" y="48"/>
                </a:cubicBezTo>
                <a:cubicBezTo>
                  <a:pt x="84" y="50"/>
                  <a:pt x="85" y="51"/>
                  <a:pt x="85" y="54"/>
                </a:cubicBezTo>
                <a:cubicBezTo>
                  <a:pt x="85" y="56"/>
                  <a:pt x="83" y="55"/>
                  <a:pt x="83" y="56"/>
                </a:cubicBezTo>
                <a:cubicBezTo>
                  <a:pt x="82" y="58"/>
                  <a:pt x="81" y="59"/>
                  <a:pt x="80" y="60"/>
                </a:cubicBezTo>
                <a:cubicBezTo>
                  <a:pt x="80" y="62"/>
                  <a:pt x="78" y="63"/>
                  <a:pt x="78" y="64"/>
                </a:cubicBezTo>
                <a:cubicBezTo>
                  <a:pt x="78" y="73"/>
                  <a:pt x="78" y="73"/>
                  <a:pt x="78" y="73"/>
                </a:cubicBezTo>
                <a:cubicBezTo>
                  <a:pt x="76" y="74"/>
                  <a:pt x="75" y="75"/>
                  <a:pt x="73" y="76"/>
                </a:cubicBezTo>
                <a:cubicBezTo>
                  <a:pt x="71" y="76"/>
                  <a:pt x="71" y="74"/>
                  <a:pt x="69" y="75"/>
                </a:cubicBezTo>
                <a:cubicBezTo>
                  <a:pt x="69" y="73"/>
                  <a:pt x="66" y="73"/>
                  <a:pt x="66" y="71"/>
                </a:cubicBezTo>
                <a:cubicBezTo>
                  <a:pt x="66" y="71"/>
                  <a:pt x="65" y="72"/>
                  <a:pt x="64" y="71"/>
                </a:cubicBezTo>
                <a:cubicBezTo>
                  <a:pt x="64" y="71"/>
                  <a:pt x="64" y="71"/>
                  <a:pt x="64" y="71"/>
                </a:cubicBezTo>
                <a:cubicBezTo>
                  <a:pt x="64" y="71"/>
                  <a:pt x="63" y="71"/>
                  <a:pt x="63" y="71"/>
                </a:cubicBezTo>
                <a:cubicBezTo>
                  <a:pt x="63" y="71"/>
                  <a:pt x="62" y="70"/>
                  <a:pt x="62" y="70"/>
                </a:cubicBezTo>
                <a:cubicBezTo>
                  <a:pt x="62" y="70"/>
                  <a:pt x="62" y="69"/>
                  <a:pt x="62" y="69"/>
                </a:cubicBezTo>
                <a:cubicBezTo>
                  <a:pt x="60" y="69"/>
                  <a:pt x="59" y="69"/>
                  <a:pt x="57" y="69"/>
                </a:cubicBezTo>
                <a:cubicBezTo>
                  <a:pt x="56" y="69"/>
                  <a:pt x="55" y="70"/>
                  <a:pt x="54" y="70"/>
                </a:cubicBezTo>
                <a:cubicBezTo>
                  <a:pt x="54" y="72"/>
                  <a:pt x="54" y="73"/>
                  <a:pt x="53" y="74"/>
                </a:cubicBezTo>
                <a:cubicBezTo>
                  <a:pt x="52" y="75"/>
                  <a:pt x="50" y="75"/>
                  <a:pt x="49" y="76"/>
                </a:cubicBezTo>
                <a:cubicBezTo>
                  <a:pt x="48" y="77"/>
                  <a:pt x="46" y="76"/>
                  <a:pt x="45" y="77"/>
                </a:cubicBezTo>
                <a:cubicBezTo>
                  <a:pt x="39" y="77"/>
                  <a:pt x="36" y="75"/>
                  <a:pt x="30" y="75"/>
                </a:cubicBezTo>
                <a:cubicBezTo>
                  <a:pt x="30" y="75"/>
                  <a:pt x="29" y="75"/>
                  <a:pt x="29" y="75"/>
                </a:cubicBezTo>
                <a:cubicBezTo>
                  <a:pt x="29" y="75"/>
                  <a:pt x="29" y="74"/>
                  <a:pt x="29" y="74"/>
                </a:cubicBezTo>
                <a:cubicBezTo>
                  <a:pt x="29" y="74"/>
                  <a:pt x="29" y="74"/>
                  <a:pt x="29" y="74"/>
                </a:cubicBezTo>
                <a:cubicBezTo>
                  <a:pt x="29" y="74"/>
                  <a:pt x="29" y="74"/>
                  <a:pt x="29" y="74"/>
                </a:cubicBezTo>
                <a:cubicBezTo>
                  <a:pt x="29" y="74"/>
                  <a:pt x="29" y="74"/>
                  <a:pt x="29" y="74"/>
                </a:cubicBezTo>
                <a:cubicBezTo>
                  <a:pt x="29" y="74"/>
                  <a:pt x="29" y="74"/>
                  <a:pt x="29" y="74"/>
                </a:cubicBezTo>
                <a:cubicBezTo>
                  <a:pt x="29" y="74"/>
                  <a:pt x="29" y="74"/>
                  <a:pt x="29" y="74"/>
                </a:cubicBezTo>
                <a:cubicBezTo>
                  <a:pt x="29" y="74"/>
                  <a:pt x="29" y="74"/>
                  <a:pt x="29" y="74"/>
                </a:cubicBezTo>
                <a:cubicBezTo>
                  <a:pt x="29" y="74"/>
                  <a:pt x="29" y="74"/>
                  <a:pt x="29" y="74"/>
                </a:cubicBezTo>
                <a:cubicBezTo>
                  <a:pt x="29" y="74"/>
                  <a:pt x="29" y="73"/>
                  <a:pt x="28" y="73"/>
                </a:cubicBezTo>
                <a:cubicBezTo>
                  <a:pt x="28" y="73"/>
                  <a:pt x="28" y="73"/>
                  <a:pt x="28" y="73"/>
                </a:cubicBezTo>
                <a:cubicBezTo>
                  <a:pt x="28" y="73"/>
                  <a:pt x="28" y="73"/>
                  <a:pt x="28" y="73"/>
                </a:cubicBezTo>
                <a:cubicBezTo>
                  <a:pt x="28" y="73"/>
                  <a:pt x="28" y="73"/>
                  <a:pt x="28" y="73"/>
                </a:cubicBezTo>
                <a:cubicBezTo>
                  <a:pt x="28" y="73"/>
                  <a:pt x="28" y="73"/>
                  <a:pt x="28" y="73"/>
                </a:cubicBezTo>
                <a:cubicBezTo>
                  <a:pt x="27" y="72"/>
                  <a:pt x="28" y="71"/>
                  <a:pt x="27" y="70"/>
                </a:cubicBezTo>
                <a:cubicBezTo>
                  <a:pt x="27" y="69"/>
                  <a:pt x="27" y="69"/>
                  <a:pt x="27" y="69"/>
                </a:cubicBezTo>
                <a:cubicBezTo>
                  <a:pt x="27" y="69"/>
                  <a:pt x="27" y="69"/>
                  <a:pt x="27" y="69"/>
                </a:cubicBezTo>
                <a:cubicBezTo>
                  <a:pt x="26" y="69"/>
                  <a:pt x="26" y="69"/>
                  <a:pt x="26" y="69"/>
                </a:cubicBezTo>
                <a:cubicBezTo>
                  <a:pt x="25" y="68"/>
                  <a:pt x="28" y="66"/>
                  <a:pt x="25" y="65"/>
                </a:cubicBezTo>
                <a:cubicBezTo>
                  <a:pt x="25" y="65"/>
                  <a:pt x="25" y="65"/>
                  <a:pt x="25" y="65"/>
                </a:cubicBezTo>
                <a:cubicBezTo>
                  <a:pt x="25" y="65"/>
                  <a:pt x="25" y="65"/>
                  <a:pt x="25" y="65"/>
                </a:cubicBezTo>
                <a:cubicBezTo>
                  <a:pt x="25" y="65"/>
                  <a:pt x="25" y="65"/>
                  <a:pt x="25" y="64"/>
                </a:cubicBezTo>
                <a:cubicBezTo>
                  <a:pt x="24" y="64"/>
                  <a:pt x="23" y="62"/>
                  <a:pt x="22" y="61"/>
                </a:cubicBezTo>
                <a:cubicBezTo>
                  <a:pt x="22" y="61"/>
                  <a:pt x="22" y="61"/>
                  <a:pt x="22" y="61"/>
                </a:cubicBezTo>
                <a:cubicBezTo>
                  <a:pt x="22" y="61"/>
                  <a:pt x="22" y="61"/>
                  <a:pt x="22" y="61"/>
                </a:cubicBezTo>
                <a:cubicBezTo>
                  <a:pt x="22" y="61"/>
                  <a:pt x="22" y="61"/>
                  <a:pt x="22" y="61"/>
                </a:cubicBezTo>
                <a:cubicBezTo>
                  <a:pt x="22" y="61"/>
                  <a:pt x="22" y="61"/>
                  <a:pt x="22" y="61"/>
                </a:cubicBezTo>
                <a:cubicBezTo>
                  <a:pt x="22" y="61"/>
                  <a:pt x="22" y="61"/>
                  <a:pt x="22" y="61"/>
                </a:cubicBezTo>
                <a:cubicBezTo>
                  <a:pt x="22" y="60"/>
                  <a:pt x="21" y="60"/>
                  <a:pt x="21" y="59"/>
                </a:cubicBezTo>
                <a:cubicBezTo>
                  <a:pt x="18" y="57"/>
                  <a:pt x="17" y="53"/>
                  <a:pt x="12" y="52"/>
                </a:cubicBezTo>
                <a:cubicBezTo>
                  <a:pt x="11" y="52"/>
                  <a:pt x="10" y="52"/>
                  <a:pt x="9" y="52"/>
                </a:cubicBezTo>
                <a:cubicBezTo>
                  <a:pt x="9" y="52"/>
                  <a:pt x="9" y="53"/>
                  <a:pt x="9" y="53"/>
                </a:cubicBezTo>
                <a:cubicBezTo>
                  <a:pt x="9" y="53"/>
                  <a:pt x="8" y="53"/>
                  <a:pt x="8" y="53"/>
                </a:cubicBezTo>
                <a:cubicBezTo>
                  <a:pt x="7" y="53"/>
                  <a:pt x="7" y="54"/>
                  <a:pt x="6" y="54"/>
                </a:cubicBezTo>
                <a:cubicBezTo>
                  <a:pt x="6" y="57"/>
                  <a:pt x="8" y="58"/>
                  <a:pt x="8" y="61"/>
                </a:cubicBezTo>
                <a:cubicBezTo>
                  <a:pt x="6" y="61"/>
                  <a:pt x="7" y="64"/>
                  <a:pt x="5" y="64"/>
                </a:cubicBezTo>
                <a:cubicBezTo>
                  <a:pt x="4" y="65"/>
                  <a:pt x="4" y="64"/>
                  <a:pt x="2" y="64"/>
                </a:cubicBezTo>
                <a:cubicBezTo>
                  <a:pt x="1" y="64"/>
                  <a:pt x="1" y="65"/>
                  <a:pt x="0" y="64"/>
                </a:cubicBezTo>
                <a:cubicBezTo>
                  <a:pt x="0" y="67"/>
                  <a:pt x="1" y="68"/>
                  <a:pt x="0" y="71"/>
                </a:cubicBezTo>
                <a:cubicBezTo>
                  <a:pt x="1" y="71"/>
                  <a:pt x="1" y="71"/>
                  <a:pt x="1" y="71"/>
                </a:cubicBezTo>
                <a:cubicBezTo>
                  <a:pt x="1" y="71"/>
                  <a:pt x="1" y="71"/>
                  <a:pt x="1" y="71"/>
                </a:cubicBezTo>
                <a:cubicBezTo>
                  <a:pt x="2" y="71"/>
                  <a:pt x="2" y="71"/>
                  <a:pt x="2" y="71"/>
                </a:cubicBezTo>
                <a:cubicBezTo>
                  <a:pt x="3" y="71"/>
                  <a:pt x="3" y="71"/>
                  <a:pt x="3" y="71"/>
                </a:cubicBezTo>
                <a:cubicBezTo>
                  <a:pt x="3" y="71"/>
                  <a:pt x="3" y="71"/>
                  <a:pt x="3" y="71"/>
                </a:cubicBezTo>
                <a:cubicBezTo>
                  <a:pt x="3" y="71"/>
                  <a:pt x="3" y="71"/>
                  <a:pt x="3" y="71"/>
                </a:cubicBezTo>
                <a:cubicBezTo>
                  <a:pt x="3" y="71"/>
                  <a:pt x="3" y="71"/>
                  <a:pt x="4" y="72"/>
                </a:cubicBezTo>
                <a:cubicBezTo>
                  <a:pt x="4" y="72"/>
                  <a:pt x="4" y="72"/>
                  <a:pt x="5" y="72"/>
                </a:cubicBezTo>
                <a:cubicBezTo>
                  <a:pt x="5" y="72"/>
                  <a:pt x="5" y="72"/>
                  <a:pt x="5" y="72"/>
                </a:cubicBezTo>
                <a:cubicBezTo>
                  <a:pt x="5" y="72"/>
                  <a:pt x="5" y="72"/>
                  <a:pt x="5" y="73"/>
                </a:cubicBezTo>
                <a:cubicBezTo>
                  <a:pt x="5" y="73"/>
                  <a:pt x="5" y="73"/>
                  <a:pt x="6" y="73"/>
                </a:cubicBezTo>
                <a:cubicBezTo>
                  <a:pt x="6" y="73"/>
                  <a:pt x="6" y="73"/>
                  <a:pt x="6" y="73"/>
                </a:cubicBezTo>
                <a:cubicBezTo>
                  <a:pt x="7" y="73"/>
                  <a:pt x="7" y="73"/>
                  <a:pt x="7" y="73"/>
                </a:cubicBezTo>
                <a:cubicBezTo>
                  <a:pt x="7" y="73"/>
                  <a:pt x="7" y="73"/>
                  <a:pt x="7" y="73"/>
                </a:cubicBezTo>
                <a:cubicBezTo>
                  <a:pt x="8" y="73"/>
                  <a:pt x="8" y="74"/>
                  <a:pt x="8" y="74"/>
                </a:cubicBezTo>
                <a:cubicBezTo>
                  <a:pt x="8" y="74"/>
                  <a:pt x="9" y="74"/>
                  <a:pt x="9" y="74"/>
                </a:cubicBezTo>
                <a:cubicBezTo>
                  <a:pt x="9" y="74"/>
                  <a:pt x="9" y="74"/>
                  <a:pt x="9" y="75"/>
                </a:cubicBezTo>
                <a:cubicBezTo>
                  <a:pt x="9" y="75"/>
                  <a:pt x="9" y="75"/>
                  <a:pt x="9" y="75"/>
                </a:cubicBezTo>
                <a:cubicBezTo>
                  <a:pt x="10" y="75"/>
                  <a:pt x="10" y="75"/>
                  <a:pt x="10" y="76"/>
                </a:cubicBezTo>
                <a:cubicBezTo>
                  <a:pt x="10" y="76"/>
                  <a:pt x="11" y="77"/>
                  <a:pt x="11" y="77"/>
                </a:cubicBezTo>
                <a:cubicBezTo>
                  <a:pt x="11" y="77"/>
                  <a:pt x="11" y="77"/>
                  <a:pt x="11" y="77"/>
                </a:cubicBezTo>
                <a:cubicBezTo>
                  <a:pt x="12" y="77"/>
                  <a:pt x="12" y="77"/>
                  <a:pt x="12" y="77"/>
                </a:cubicBezTo>
                <a:cubicBezTo>
                  <a:pt x="12" y="77"/>
                  <a:pt x="12" y="77"/>
                  <a:pt x="12" y="77"/>
                </a:cubicBezTo>
                <a:cubicBezTo>
                  <a:pt x="12" y="77"/>
                  <a:pt x="13" y="77"/>
                  <a:pt x="13" y="78"/>
                </a:cubicBezTo>
                <a:cubicBezTo>
                  <a:pt x="13" y="78"/>
                  <a:pt x="13" y="78"/>
                  <a:pt x="13" y="78"/>
                </a:cubicBezTo>
                <a:cubicBezTo>
                  <a:pt x="14" y="78"/>
                  <a:pt x="14" y="78"/>
                  <a:pt x="14" y="78"/>
                </a:cubicBezTo>
                <a:cubicBezTo>
                  <a:pt x="14" y="78"/>
                  <a:pt x="15" y="78"/>
                  <a:pt x="15" y="79"/>
                </a:cubicBezTo>
                <a:cubicBezTo>
                  <a:pt x="15" y="79"/>
                  <a:pt x="15" y="79"/>
                  <a:pt x="15" y="79"/>
                </a:cubicBezTo>
                <a:cubicBezTo>
                  <a:pt x="15" y="79"/>
                  <a:pt x="15" y="79"/>
                  <a:pt x="16" y="79"/>
                </a:cubicBezTo>
                <a:cubicBezTo>
                  <a:pt x="16" y="80"/>
                  <a:pt x="16" y="80"/>
                  <a:pt x="16" y="80"/>
                </a:cubicBezTo>
                <a:cubicBezTo>
                  <a:pt x="16" y="82"/>
                  <a:pt x="19" y="80"/>
                  <a:pt x="18" y="83"/>
                </a:cubicBezTo>
                <a:cubicBezTo>
                  <a:pt x="20" y="84"/>
                  <a:pt x="22" y="85"/>
                  <a:pt x="23" y="87"/>
                </a:cubicBezTo>
                <a:cubicBezTo>
                  <a:pt x="25" y="88"/>
                  <a:pt x="27" y="86"/>
                  <a:pt x="27" y="89"/>
                </a:cubicBezTo>
                <a:cubicBezTo>
                  <a:pt x="29" y="88"/>
                  <a:pt x="29" y="89"/>
                  <a:pt x="32" y="89"/>
                </a:cubicBezTo>
                <a:cubicBezTo>
                  <a:pt x="33" y="90"/>
                  <a:pt x="35" y="90"/>
                  <a:pt x="36" y="91"/>
                </a:cubicBezTo>
                <a:cubicBezTo>
                  <a:pt x="36" y="92"/>
                  <a:pt x="37" y="92"/>
                  <a:pt x="37" y="92"/>
                </a:cubicBezTo>
                <a:cubicBezTo>
                  <a:pt x="38" y="92"/>
                  <a:pt x="39" y="93"/>
                  <a:pt x="39" y="93"/>
                </a:cubicBezTo>
                <a:cubicBezTo>
                  <a:pt x="40" y="95"/>
                  <a:pt x="42" y="96"/>
                  <a:pt x="42" y="99"/>
                </a:cubicBezTo>
                <a:cubicBezTo>
                  <a:pt x="45" y="100"/>
                  <a:pt x="47" y="102"/>
                  <a:pt x="48" y="104"/>
                </a:cubicBezTo>
                <a:cubicBezTo>
                  <a:pt x="48" y="106"/>
                  <a:pt x="49" y="106"/>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49" y="108"/>
                  <a:pt x="49" y="108"/>
                </a:cubicBezTo>
                <a:cubicBezTo>
                  <a:pt x="49" y="108"/>
                  <a:pt x="49" y="108"/>
                  <a:pt x="49" y="108"/>
                </a:cubicBezTo>
                <a:cubicBezTo>
                  <a:pt x="49" y="108"/>
                  <a:pt x="49" y="108"/>
                  <a:pt x="49" y="109"/>
                </a:cubicBezTo>
                <a:cubicBezTo>
                  <a:pt x="49" y="109"/>
                  <a:pt x="49" y="109"/>
                  <a:pt x="49" y="110"/>
                </a:cubicBezTo>
                <a:cubicBezTo>
                  <a:pt x="49" y="111"/>
                  <a:pt x="49" y="111"/>
                  <a:pt x="49" y="113"/>
                </a:cubicBezTo>
                <a:cubicBezTo>
                  <a:pt x="49" y="113"/>
                  <a:pt x="49" y="113"/>
                  <a:pt x="49" y="113"/>
                </a:cubicBezTo>
                <a:cubicBezTo>
                  <a:pt x="49" y="113"/>
                  <a:pt x="49" y="113"/>
                  <a:pt x="49" y="113"/>
                </a:cubicBezTo>
                <a:cubicBezTo>
                  <a:pt x="50" y="113"/>
                  <a:pt x="50" y="113"/>
                  <a:pt x="50" y="113"/>
                </a:cubicBezTo>
                <a:cubicBezTo>
                  <a:pt x="50" y="114"/>
                  <a:pt x="50" y="115"/>
                  <a:pt x="50" y="115"/>
                </a:cubicBezTo>
                <a:cubicBezTo>
                  <a:pt x="50" y="115"/>
                  <a:pt x="50" y="115"/>
                  <a:pt x="50" y="115"/>
                </a:cubicBezTo>
                <a:cubicBezTo>
                  <a:pt x="50" y="116"/>
                  <a:pt x="50" y="116"/>
                  <a:pt x="50" y="116"/>
                </a:cubicBezTo>
                <a:cubicBezTo>
                  <a:pt x="50" y="116"/>
                  <a:pt x="50" y="116"/>
                  <a:pt x="50" y="116"/>
                </a:cubicBezTo>
                <a:cubicBezTo>
                  <a:pt x="51" y="117"/>
                  <a:pt x="51" y="117"/>
                  <a:pt x="51" y="117"/>
                </a:cubicBezTo>
                <a:cubicBezTo>
                  <a:pt x="51" y="122"/>
                  <a:pt x="51" y="122"/>
                  <a:pt x="51" y="122"/>
                </a:cubicBezTo>
                <a:cubicBezTo>
                  <a:pt x="51" y="122"/>
                  <a:pt x="51" y="122"/>
                  <a:pt x="51" y="122"/>
                </a:cubicBezTo>
                <a:cubicBezTo>
                  <a:pt x="51" y="122"/>
                  <a:pt x="51" y="122"/>
                  <a:pt x="51" y="122"/>
                </a:cubicBezTo>
                <a:cubicBezTo>
                  <a:pt x="51" y="122"/>
                  <a:pt x="51" y="122"/>
                  <a:pt x="51" y="122"/>
                </a:cubicBezTo>
                <a:cubicBezTo>
                  <a:pt x="51" y="122"/>
                  <a:pt x="51" y="122"/>
                  <a:pt x="51" y="123"/>
                </a:cubicBezTo>
                <a:cubicBezTo>
                  <a:pt x="51" y="123"/>
                  <a:pt x="51" y="123"/>
                  <a:pt x="51" y="123"/>
                </a:cubicBezTo>
                <a:cubicBezTo>
                  <a:pt x="51" y="123"/>
                  <a:pt x="51" y="123"/>
                  <a:pt x="51" y="123"/>
                </a:cubicBezTo>
                <a:cubicBezTo>
                  <a:pt x="51" y="123"/>
                  <a:pt x="51" y="123"/>
                  <a:pt x="51" y="123"/>
                </a:cubicBezTo>
                <a:cubicBezTo>
                  <a:pt x="51" y="123"/>
                  <a:pt x="51" y="123"/>
                  <a:pt x="51" y="123"/>
                </a:cubicBezTo>
                <a:cubicBezTo>
                  <a:pt x="51" y="123"/>
                  <a:pt x="51" y="123"/>
                  <a:pt x="51" y="123"/>
                </a:cubicBezTo>
                <a:cubicBezTo>
                  <a:pt x="50" y="123"/>
                  <a:pt x="50" y="123"/>
                  <a:pt x="50" y="123"/>
                </a:cubicBezTo>
                <a:cubicBezTo>
                  <a:pt x="48" y="124"/>
                  <a:pt x="50" y="126"/>
                  <a:pt x="49" y="127"/>
                </a:cubicBezTo>
                <a:cubicBezTo>
                  <a:pt x="49" y="127"/>
                  <a:pt x="49" y="127"/>
                  <a:pt x="49" y="127"/>
                </a:cubicBezTo>
                <a:cubicBezTo>
                  <a:pt x="49" y="128"/>
                  <a:pt x="50" y="128"/>
                  <a:pt x="50" y="128"/>
                </a:cubicBezTo>
                <a:cubicBezTo>
                  <a:pt x="51" y="128"/>
                  <a:pt x="51" y="128"/>
                  <a:pt x="51" y="129"/>
                </a:cubicBezTo>
                <a:cubicBezTo>
                  <a:pt x="51" y="129"/>
                  <a:pt x="51" y="129"/>
                  <a:pt x="51" y="129"/>
                </a:cubicBezTo>
                <a:cubicBezTo>
                  <a:pt x="51" y="129"/>
                  <a:pt x="51" y="129"/>
                  <a:pt x="51" y="129"/>
                </a:cubicBezTo>
                <a:cubicBezTo>
                  <a:pt x="52" y="129"/>
                  <a:pt x="52" y="129"/>
                  <a:pt x="52" y="129"/>
                </a:cubicBezTo>
                <a:cubicBezTo>
                  <a:pt x="52" y="129"/>
                  <a:pt x="52" y="129"/>
                  <a:pt x="52" y="129"/>
                </a:cubicBezTo>
                <a:cubicBezTo>
                  <a:pt x="52" y="129"/>
                  <a:pt x="52" y="129"/>
                  <a:pt x="52" y="129"/>
                </a:cubicBezTo>
                <a:cubicBezTo>
                  <a:pt x="52" y="129"/>
                  <a:pt x="52" y="129"/>
                  <a:pt x="52" y="130"/>
                </a:cubicBezTo>
                <a:cubicBezTo>
                  <a:pt x="52" y="130"/>
                  <a:pt x="52" y="130"/>
                  <a:pt x="52" y="130"/>
                </a:cubicBezTo>
                <a:cubicBezTo>
                  <a:pt x="52" y="130"/>
                  <a:pt x="52" y="130"/>
                  <a:pt x="52" y="130"/>
                </a:cubicBezTo>
                <a:cubicBezTo>
                  <a:pt x="52" y="130"/>
                  <a:pt x="52" y="130"/>
                  <a:pt x="52" y="130"/>
                </a:cubicBezTo>
                <a:cubicBezTo>
                  <a:pt x="52" y="130"/>
                  <a:pt x="52" y="130"/>
                  <a:pt x="52" y="130"/>
                </a:cubicBezTo>
                <a:cubicBezTo>
                  <a:pt x="52" y="130"/>
                  <a:pt x="52" y="130"/>
                  <a:pt x="52" y="130"/>
                </a:cubicBezTo>
                <a:cubicBezTo>
                  <a:pt x="53" y="130"/>
                  <a:pt x="53" y="130"/>
                  <a:pt x="53" y="130"/>
                </a:cubicBezTo>
                <a:cubicBezTo>
                  <a:pt x="53" y="130"/>
                  <a:pt x="53" y="130"/>
                  <a:pt x="53" y="130"/>
                </a:cubicBezTo>
                <a:cubicBezTo>
                  <a:pt x="53" y="130"/>
                  <a:pt x="53" y="130"/>
                  <a:pt x="53" y="130"/>
                </a:cubicBezTo>
                <a:cubicBezTo>
                  <a:pt x="53" y="130"/>
                  <a:pt x="53" y="130"/>
                  <a:pt x="53" y="130"/>
                </a:cubicBezTo>
                <a:cubicBezTo>
                  <a:pt x="55" y="130"/>
                  <a:pt x="56" y="130"/>
                  <a:pt x="56" y="131"/>
                </a:cubicBezTo>
                <a:cubicBezTo>
                  <a:pt x="56" y="132"/>
                  <a:pt x="57" y="132"/>
                  <a:pt x="57" y="133"/>
                </a:cubicBezTo>
                <a:cubicBezTo>
                  <a:pt x="57" y="134"/>
                  <a:pt x="57" y="134"/>
                  <a:pt x="57" y="135"/>
                </a:cubicBezTo>
                <a:cubicBezTo>
                  <a:pt x="57" y="137"/>
                  <a:pt x="55" y="137"/>
                  <a:pt x="55" y="140"/>
                </a:cubicBezTo>
                <a:cubicBezTo>
                  <a:pt x="55" y="141"/>
                  <a:pt x="55" y="141"/>
                  <a:pt x="55" y="141"/>
                </a:cubicBezTo>
                <a:cubicBezTo>
                  <a:pt x="56" y="141"/>
                  <a:pt x="56" y="141"/>
                  <a:pt x="56" y="142"/>
                </a:cubicBezTo>
                <a:cubicBezTo>
                  <a:pt x="56" y="144"/>
                  <a:pt x="57" y="144"/>
                  <a:pt x="57" y="146"/>
                </a:cubicBezTo>
                <a:cubicBezTo>
                  <a:pt x="58" y="146"/>
                  <a:pt x="58" y="148"/>
                  <a:pt x="59" y="148"/>
                </a:cubicBezTo>
                <a:cubicBezTo>
                  <a:pt x="59" y="149"/>
                  <a:pt x="61" y="149"/>
                  <a:pt x="61" y="151"/>
                </a:cubicBezTo>
                <a:cubicBezTo>
                  <a:pt x="61" y="152"/>
                  <a:pt x="62" y="153"/>
                  <a:pt x="62" y="154"/>
                </a:cubicBezTo>
                <a:cubicBezTo>
                  <a:pt x="63" y="155"/>
                  <a:pt x="65" y="155"/>
                  <a:pt x="64" y="157"/>
                </a:cubicBezTo>
                <a:cubicBezTo>
                  <a:pt x="64" y="168"/>
                  <a:pt x="64" y="168"/>
                  <a:pt x="64" y="168"/>
                </a:cubicBezTo>
                <a:cubicBezTo>
                  <a:pt x="64" y="170"/>
                  <a:pt x="62" y="171"/>
                  <a:pt x="62" y="174"/>
                </a:cubicBezTo>
                <a:cubicBezTo>
                  <a:pt x="62" y="176"/>
                  <a:pt x="63" y="176"/>
                  <a:pt x="63" y="179"/>
                </a:cubicBezTo>
                <a:cubicBezTo>
                  <a:pt x="63" y="179"/>
                  <a:pt x="63" y="179"/>
                  <a:pt x="64" y="179"/>
                </a:cubicBezTo>
                <a:cubicBezTo>
                  <a:pt x="64" y="184"/>
                  <a:pt x="64" y="184"/>
                  <a:pt x="64" y="184"/>
                </a:cubicBezTo>
                <a:cubicBezTo>
                  <a:pt x="65" y="184"/>
                  <a:pt x="64" y="185"/>
                  <a:pt x="65" y="186"/>
                </a:cubicBezTo>
                <a:cubicBezTo>
                  <a:pt x="67" y="185"/>
                  <a:pt x="66" y="187"/>
                  <a:pt x="68" y="187"/>
                </a:cubicBezTo>
                <a:cubicBezTo>
                  <a:pt x="68" y="187"/>
                  <a:pt x="68" y="188"/>
                  <a:pt x="68" y="188"/>
                </a:cubicBezTo>
                <a:cubicBezTo>
                  <a:pt x="68" y="188"/>
                  <a:pt x="68" y="188"/>
                  <a:pt x="68" y="188"/>
                </a:cubicBezTo>
                <a:cubicBezTo>
                  <a:pt x="68" y="188"/>
                  <a:pt x="68" y="188"/>
                  <a:pt x="68" y="188"/>
                </a:cubicBezTo>
                <a:cubicBezTo>
                  <a:pt x="68" y="189"/>
                  <a:pt x="68" y="189"/>
                  <a:pt x="68" y="189"/>
                </a:cubicBezTo>
                <a:cubicBezTo>
                  <a:pt x="68" y="189"/>
                  <a:pt x="68" y="189"/>
                  <a:pt x="68" y="189"/>
                </a:cubicBezTo>
                <a:cubicBezTo>
                  <a:pt x="68" y="189"/>
                  <a:pt x="68" y="189"/>
                  <a:pt x="68" y="189"/>
                </a:cubicBezTo>
                <a:cubicBezTo>
                  <a:pt x="68" y="189"/>
                  <a:pt x="68" y="189"/>
                  <a:pt x="68" y="189"/>
                </a:cubicBezTo>
                <a:cubicBezTo>
                  <a:pt x="68" y="189"/>
                  <a:pt x="69" y="189"/>
                  <a:pt x="69" y="189"/>
                </a:cubicBezTo>
                <a:cubicBezTo>
                  <a:pt x="69" y="189"/>
                  <a:pt x="69" y="189"/>
                  <a:pt x="69" y="189"/>
                </a:cubicBezTo>
                <a:cubicBezTo>
                  <a:pt x="69" y="189"/>
                  <a:pt x="69" y="189"/>
                  <a:pt x="69" y="189"/>
                </a:cubicBezTo>
                <a:cubicBezTo>
                  <a:pt x="69" y="189"/>
                  <a:pt x="69" y="189"/>
                  <a:pt x="69" y="189"/>
                </a:cubicBezTo>
                <a:cubicBezTo>
                  <a:pt x="69" y="189"/>
                  <a:pt x="69" y="189"/>
                  <a:pt x="69" y="189"/>
                </a:cubicBezTo>
                <a:cubicBezTo>
                  <a:pt x="69" y="189"/>
                  <a:pt x="69" y="189"/>
                  <a:pt x="69" y="189"/>
                </a:cubicBezTo>
                <a:cubicBezTo>
                  <a:pt x="69" y="190"/>
                  <a:pt x="70" y="190"/>
                  <a:pt x="71" y="191"/>
                </a:cubicBezTo>
                <a:cubicBezTo>
                  <a:pt x="71" y="191"/>
                  <a:pt x="71" y="191"/>
                  <a:pt x="71" y="192"/>
                </a:cubicBezTo>
                <a:cubicBezTo>
                  <a:pt x="71" y="192"/>
                  <a:pt x="72" y="192"/>
                  <a:pt x="72" y="192"/>
                </a:cubicBezTo>
                <a:cubicBezTo>
                  <a:pt x="72" y="192"/>
                  <a:pt x="72" y="192"/>
                  <a:pt x="72" y="192"/>
                </a:cubicBezTo>
                <a:cubicBezTo>
                  <a:pt x="72" y="192"/>
                  <a:pt x="72" y="192"/>
                  <a:pt x="72" y="192"/>
                </a:cubicBezTo>
                <a:cubicBezTo>
                  <a:pt x="72" y="192"/>
                  <a:pt x="72" y="192"/>
                  <a:pt x="72" y="192"/>
                </a:cubicBezTo>
                <a:cubicBezTo>
                  <a:pt x="72" y="192"/>
                  <a:pt x="72" y="192"/>
                  <a:pt x="72" y="192"/>
                </a:cubicBezTo>
                <a:cubicBezTo>
                  <a:pt x="72" y="192"/>
                  <a:pt x="72" y="193"/>
                  <a:pt x="72" y="193"/>
                </a:cubicBezTo>
                <a:cubicBezTo>
                  <a:pt x="73" y="193"/>
                  <a:pt x="73" y="193"/>
                  <a:pt x="73" y="193"/>
                </a:cubicBezTo>
                <a:cubicBezTo>
                  <a:pt x="73" y="194"/>
                  <a:pt x="73" y="194"/>
                  <a:pt x="73" y="195"/>
                </a:cubicBezTo>
                <a:cubicBezTo>
                  <a:pt x="73" y="195"/>
                  <a:pt x="73" y="195"/>
                  <a:pt x="73" y="195"/>
                </a:cubicBezTo>
                <a:cubicBezTo>
                  <a:pt x="74" y="196"/>
                  <a:pt x="75" y="197"/>
                  <a:pt x="76" y="198"/>
                </a:cubicBezTo>
                <a:cubicBezTo>
                  <a:pt x="76" y="198"/>
                  <a:pt x="76" y="198"/>
                  <a:pt x="76" y="198"/>
                </a:cubicBezTo>
                <a:cubicBezTo>
                  <a:pt x="76" y="199"/>
                  <a:pt x="76" y="199"/>
                  <a:pt x="77" y="200"/>
                </a:cubicBezTo>
                <a:cubicBezTo>
                  <a:pt x="77" y="200"/>
                  <a:pt x="77" y="200"/>
                  <a:pt x="77" y="200"/>
                </a:cubicBezTo>
                <a:cubicBezTo>
                  <a:pt x="77" y="200"/>
                  <a:pt x="77" y="200"/>
                  <a:pt x="77" y="200"/>
                </a:cubicBezTo>
                <a:cubicBezTo>
                  <a:pt x="77" y="200"/>
                  <a:pt x="77" y="200"/>
                  <a:pt x="77" y="200"/>
                </a:cubicBezTo>
                <a:cubicBezTo>
                  <a:pt x="77" y="200"/>
                  <a:pt x="78" y="200"/>
                  <a:pt x="78" y="200"/>
                </a:cubicBezTo>
                <a:cubicBezTo>
                  <a:pt x="78" y="200"/>
                  <a:pt x="78" y="200"/>
                  <a:pt x="78" y="200"/>
                </a:cubicBezTo>
                <a:cubicBezTo>
                  <a:pt x="78" y="200"/>
                  <a:pt x="78" y="200"/>
                  <a:pt x="78" y="200"/>
                </a:cubicBezTo>
                <a:cubicBezTo>
                  <a:pt x="78" y="200"/>
                  <a:pt x="78" y="200"/>
                  <a:pt x="78" y="200"/>
                </a:cubicBezTo>
                <a:cubicBezTo>
                  <a:pt x="78" y="200"/>
                  <a:pt x="78" y="200"/>
                  <a:pt x="78" y="200"/>
                </a:cubicBezTo>
                <a:cubicBezTo>
                  <a:pt x="78" y="200"/>
                  <a:pt x="78" y="200"/>
                  <a:pt x="78" y="200"/>
                </a:cubicBezTo>
                <a:cubicBezTo>
                  <a:pt x="78" y="200"/>
                  <a:pt x="78" y="200"/>
                  <a:pt x="78" y="200"/>
                </a:cubicBezTo>
                <a:cubicBezTo>
                  <a:pt x="78" y="200"/>
                  <a:pt x="78" y="200"/>
                  <a:pt x="78" y="200"/>
                </a:cubicBezTo>
                <a:cubicBezTo>
                  <a:pt x="78" y="200"/>
                  <a:pt x="78" y="200"/>
                  <a:pt x="78" y="200"/>
                </a:cubicBezTo>
                <a:cubicBezTo>
                  <a:pt x="79" y="200"/>
                  <a:pt x="79" y="200"/>
                  <a:pt x="79" y="201"/>
                </a:cubicBezTo>
                <a:cubicBezTo>
                  <a:pt x="79" y="202"/>
                  <a:pt x="80" y="202"/>
                  <a:pt x="80" y="202"/>
                </a:cubicBezTo>
                <a:cubicBezTo>
                  <a:pt x="82" y="202"/>
                  <a:pt x="82" y="201"/>
                  <a:pt x="83" y="202"/>
                </a:cubicBezTo>
                <a:cubicBezTo>
                  <a:pt x="84" y="202"/>
                  <a:pt x="84" y="202"/>
                  <a:pt x="85" y="202"/>
                </a:cubicBezTo>
                <a:cubicBezTo>
                  <a:pt x="85" y="203"/>
                  <a:pt x="86" y="203"/>
                  <a:pt x="86" y="204"/>
                </a:cubicBezTo>
                <a:cubicBezTo>
                  <a:pt x="86" y="204"/>
                  <a:pt x="87" y="204"/>
                  <a:pt x="86" y="204"/>
                </a:cubicBezTo>
                <a:cubicBezTo>
                  <a:pt x="85" y="205"/>
                  <a:pt x="86" y="206"/>
                  <a:pt x="86" y="207"/>
                </a:cubicBezTo>
                <a:cubicBezTo>
                  <a:pt x="88" y="207"/>
                  <a:pt x="87" y="204"/>
                  <a:pt x="89" y="205"/>
                </a:cubicBezTo>
                <a:cubicBezTo>
                  <a:pt x="89" y="207"/>
                  <a:pt x="91" y="207"/>
                  <a:pt x="93" y="207"/>
                </a:cubicBezTo>
                <a:cubicBezTo>
                  <a:pt x="93" y="207"/>
                  <a:pt x="93" y="207"/>
                  <a:pt x="93" y="207"/>
                </a:cubicBezTo>
                <a:cubicBezTo>
                  <a:pt x="94" y="207"/>
                  <a:pt x="95" y="207"/>
                  <a:pt x="95" y="207"/>
                </a:cubicBezTo>
                <a:cubicBezTo>
                  <a:pt x="95" y="207"/>
                  <a:pt x="95" y="208"/>
                  <a:pt x="95" y="208"/>
                </a:cubicBezTo>
                <a:cubicBezTo>
                  <a:pt x="95" y="209"/>
                  <a:pt x="97" y="209"/>
                  <a:pt x="97" y="210"/>
                </a:cubicBezTo>
                <a:cubicBezTo>
                  <a:pt x="98" y="210"/>
                  <a:pt x="98" y="210"/>
                  <a:pt x="98" y="210"/>
                </a:cubicBezTo>
                <a:cubicBezTo>
                  <a:pt x="98" y="210"/>
                  <a:pt x="98" y="209"/>
                  <a:pt x="98" y="209"/>
                </a:cubicBezTo>
                <a:cubicBezTo>
                  <a:pt x="98" y="209"/>
                  <a:pt x="98" y="209"/>
                  <a:pt x="98" y="209"/>
                </a:cubicBezTo>
                <a:cubicBezTo>
                  <a:pt x="99" y="209"/>
                  <a:pt x="100" y="211"/>
                  <a:pt x="102" y="211"/>
                </a:cubicBezTo>
                <a:cubicBezTo>
                  <a:pt x="102" y="211"/>
                  <a:pt x="102" y="211"/>
                  <a:pt x="102" y="212"/>
                </a:cubicBezTo>
                <a:cubicBezTo>
                  <a:pt x="102" y="212"/>
                  <a:pt x="104" y="213"/>
                  <a:pt x="103" y="214"/>
                </a:cubicBezTo>
                <a:cubicBezTo>
                  <a:pt x="103" y="214"/>
                  <a:pt x="103" y="214"/>
                  <a:pt x="103" y="215"/>
                </a:cubicBezTo>
                <a:cubicBezTo>
                  <a:pt x="103" y="215"/>
                  <a:pt x="103" y="215"/>
                  <a:pt x="103" y="215"/>
                </a:cubicBezTo>
                <a:cubicBezTo>
                  <a:pt x="103" y="215"/>
                  <a:pt x="103" y="215"/>
                  <a:pt x="103" y="215"/>
                </a:cubicBezTo>
                <a:cubicBezTo>
                  <a:pt x="103" y="216"/>
                  <a:pt x="103" y="218"/>
                  <a:pt x="103" y="219"/>
                </a:cubicBezTo>
                <a:cubicBezTo>
                  <a:pt x="103" y="219"/>
                  <a:pt x="103" y="219"/>
                  <a:pt x="103" y="219"/>
                </a:cubicBezTo>
                <a:cubicBezTo>
                  <a:pt x="103" y="220"/>
                  <a:pt x="103" y="222"/>
                  <a:pt x="104" y="223"/>
                </a:cubicBezTo>
                <a:cubicBezTo>
                  <a:pt x="104" y="224"/>
                  <a:pt x="103" y="224"/>
                  <a:pt x="103" y="226"/>
                </a:cubicBezTo>
                <a:cubicBezTo>
                  <a:pt x="103" y="226"/>
                  <a:pt x="103" y="226"/>
                  <a:pt x="103" y="226"/>
                </a:cubicBezTo>
                <a:cubicBezTo>
                  <a:pt x="103" y="226"/>
                  <a:pt x="104" y="227"/>
                  <a:pt x="104" y="227"/>
                </a:cubicBezTo>
                <a:cubicBezTo>
                  <a:pt x="105" y="227"/>
                  <a:pt x="105" y="229"/>
                  <a:pt x="106" y="229"/>
                </a:cubicBezTo>
                <a:cubicBezTo>
                  <a:pt x="107" y="229"/>
                  <a:pt x="107" y="229"/>
                  <a:pt x="107" y="229"/>
                </a:cubicBezTo>
                <a:cubicBezTo>
                  <a:pt x="107" y="229"/>
                  <a:pt x="108" y="229"/>
                  <a:pt x="108" y="229"/>
                </a:cubicBezTo>
                <a:cubicBezTo>
                  <a:pt x="108" y="229"/>
                  <a:pt x="108" y="229"/>
                  <a:pt x="108" y="230"/>
                </a:cubicBezTo>
                <a:cubicBezTo>
                  <a:pt x="108" y="230"/>
                  <a:pt x="109" y="230"/>
                  <a:pt x="110" y="230"/>
                </a:cubicBezTo>
                <a:cubicBezTo>
                  <a:pt x="110" y="231"/>
                  <a:pt x="109" y="231"/>
                  <a:pt x="108" y="231"/>
                </a:cubicBezTo>
                <a:cubicBezTo>
                  <a:pt x="108" y="231"/>
                  <a:pt x="108" y="231"/>
                  <a:pt x="108" y="231"/>
                </a:cubicBezTo>
                <a:cubicBezTo>
                  <a:pt x="108" y="231"/>
                  <a:pt x="108" y="231"/>
                  <a:pt x="108" y="231"/>
                </a:cubicBezTo>
                <a:cubicBezTo>
                  <a:pt x="108" y="232"/>
                  <a:pt x="108" y="233"/>
                  <a:pt x="108" y="234"/>
                </a:cubicBezTo>
                <a:cubicBezTo>
                  <a:pt x="108" y="234"/>
                  <a:pt x="108" y="234"/>
                  <a:pt x="107" y="234"/>
                </a:cubicBezTo>
                <a:cubicBezTo>
                  <a:pt x="107" y="234"/>
                  <a:pt x="107" y="234"/>
                  <a:pt x="107" y="234"/>
                </a:cubicBezTo>
                <a:cubicBezTo>
                  <a:pt x="107" y="233"/>
                  <a:pt x="106" y="233"/>
                  <a:pt x="106" y="233"/>
                </a:cubicBezTo>
                <a:cubicBezTo>
                  <a:pt x="106" y="233"/>
                  <a:pt x="105" y="233"/>
                  <a:pt x="105" y="233"/>
                </a:cubicBezTo>
                <a:cubicBezTo>
                  <a:pt x="105" y="233"/>
                  <a:pt x="104" y="233"/>
                  <a:pt x="104" y="233"/>
                </a:cubicBezTo>
                <a:cubicBezTo>
                  <a:pt x="103" y="234"/>
                  <a:pt x="104" y="235"/>
                  <a:pt x="104" y="236"/>
                </a:cubicBezTo>
                <a:cubicBezTo>
                  <a:pt x="105" y="236"/>
                  <a:pt x="105" y="236"/>
                  <a:pt x="105" y="236"/>
                </a:cubicBezTo>
                <a:cubicBezTo>
                  <a:pt x="105" y="236"/>
                  <a:pt x="105" y="236"/>
                  <a:pt x="105" y="236"/>
                </a:cubicBezTo>
                <a:cubicBezTo>
                  <a:pt x="105" y="237"/>
                  <a:pt x="109" y="235"/>
                  <a:pt x="108" y="238"/>
                </a:cubicBezTo>
                <a:cubicBezTo>
                  <a:pt x="108" y="241"/>
                  <a:pt x="107" y="238"/>
                  <a:pt x="105" y="239"/>
                </a:cubicBezTo>
                <a:cubicBezTo>
                  <a:pt x="105" y="237"/>
                  <a:pt x="103" y="238"/>
                  <a:pt x="103" y="236"/>
                </a:cubicBezTo>
                <a:cubicBezTo>
                  <a:pt x="101" y="236"/>
                  <a:pt x="101" y="238"/>
                  <a:pt x="100" y="238"/>
                </a:cubicBezTo>
                <a:cubicBezTo>
                  <a:pt x="99" y="239"/>
                  <a:pt x="98" y="238"/>
                  <a:pt x="97" y="239"/>
                </a:cubicBezTo>
                <a:cubicBezTo>
                  <a:pt x="97" y="239"/>
                  <a:pt x="97" y="239"/>
                  <a:pt x="97" y="239"/>
                </a:cubicBezTo>
                <a:cubicBezTo>
                  <a:pt x="97" y="240"/>
                  <a:pt x="97" y="240"/>
                  <a:pt x="97" y="240"/>
                </a:cubicBezTo>
                <a:cubicBezTo>
                  <a:pt x="97" y="240"/>
                  <a:pt x="97" y="240"/>
                  <a:pt x="97" y="240"/>
                </a:cubicBezTo>
                <a:cubicBezTo>
                  <a:pt x="95" y="241"/>
                  <a:pt x="95" y="242"/>
                  <a:pt x="94" y="243"/>
                </a:cubicBezTo>
                <a:cubicBezTo>
                  <a:pt x="94" y="243"/>
                  <a:pt x="94" y="243"/>
                  <a:pt x="94" y="243"/>
                </a:cubicBezTo>
                <a:cubicBezTo>
                  <a:pt x="94" y="243"/>
                  <a:pt x="94" y="244"/>
                  <a:pt x="94" y="244"/>
                </a:cubicBezTo>
                <a:cubicBezTo>
                  <a:pt x="94" y="244"/>
                  <a:pt x="94" y="244"/>
                  <a:pt x="94" y="244"/>
                </a:cubicBezTo>
                <a:cubicBezTo>
                  <a:pt x="94" y="245"/>
                  <a:pt x="94" y="246"/>
                  <a:pt x="93" y="246"/>
                </a:cubicBezTo>
                <a:cubicBezTo>
                  <a:pt x="93" y="246"/>
                  <a:pt x="93" y="246"/>
                  <a:pt x="93" y="246"/>
                </a:cubicBezTo>
                <a:cubicBezTo>
                  <a:pt x="93" y="247"/>
                  <a:pt x="93" y="247"/>
                  <a:pt x="93" y="248"/>
                </a:cubicBezTo>
                <a:cubicBezTo>
                  <a:pt x="92" y="248"/>
                  <a:pt x="92" y="248"/>
                  <a:pt x="92" y="248"/>
                </a:cubicBezTo>
                <a:cubicBezTo>
                  <a:pt x="91" y="249"/>
                  <a:pt x="92" y="250"/>
                  <a:pt x="92" y="251"/>
                </a:cubicBezTo>
                <a:cubicBezTo>
                  <a:pt x="92" y="251"/>
                  <a:pt x="92" y="252"/>
                  <a:pt x="92" y="252"/>
                </a:cubicBezTo>
                <a:cubicBezTo>
                  <a:pt x="92" y="253"/>
                  <a:pt x="91" y="254"/>
                  <a:pt x="91" y="256"/>
                </a:cubicBezTo>
                <a:cubicBezTo>
                  <a:pt x="91" y="256"/>
                  <a:pt x="91" y="256"/>
                  <a:pt x="91" y="256"/>
                </a:cubicBezTo>
                <a:cubicBezTo>
                  <a:pt x="92" y="257"/>
                  <a:pt x="89" y="257"/>
                  <a:pt x="89" y="259"/>
                </a:cubicBezTo>
                <a:cubicBezTo>
                  <a:pt x="89" y="259"/>
                  <a:pt x="89" y="259"/>
                  <a:pt x="89" y="259"/>
                </a:cubicBezTo>
                <a:cubicBezTo>
                  <a:pt x="89" y="259"/>
                  <a:pt x="89" y="260"/>
                  <a:pt x="89" y="260"/>
                </a:cubicBezTo>
                <a:cubicBezTo>
                  <a:pt x="89" y="260"/>
                  <a:pt x="89" y="260"/>
                  <a:pt x="89" y="260"/>
                </a:cubicBezTo>
                <a:cubicBezTo>
                  <a:pt x="89" y="261"/>
                  <a:pt x="87" y="261"/>
                  <a:pt x="87" y="263"/>
                </a:cubicBezTo>
                <a:cubicBezTo>
                  <a:pt x="87" y="263"/>
                  <a:pt x="87" y="263"/>
                  <a:pt x="87" y="263"/>
                </a:cubicBezTo>
                <a:cubicBezTo>
                  <a:pt x="86" y="263"/>
                  <a:pt x="86" y="264"/>
                  <a:pt x="86" y="264"/>
                </a:cubicBezTo>
                <a:cubicBezTo>
                  <a:pt x="86" y="264"/>
                  <a:pt x="86" y="264"/>
                  <a:pt x="86" y="264"/>
                </a:cubicBezTo>
                <a:cubicBezTo>
                  <a:pt x="85" y="265"/>
                  <a:pt x="85" y="266"/>
                  <a:pt x="85" y="266"/>
                </a:cubicBezTo>
                <a:cubicBezTo>
                  <a:pt x="85" y="267"/>
                  <a:pt x="85" y="267"/>
                  <a:pt x="85" y="267"/>
                </a:cubicBezTo>
                <a:cubicBezTo>
                  <a:pt x="85" y="268"/>
                  <a:pt x="84" y="268"/>
                  <a:pt x="85" y="270"/>
                </a:cubicBezTo>
                <a:cubicBezTo>
                  <a:pt x="85" y="270"/>
                  <a:pt x="85" y="270"/>
                  <a:pt x="85" y="270"/>
                </a:cubicBezTo>
                <a:cubicBezTo>
                  <a:pt x="84" y="271"/>
                  <a:pt x="84" y="271"/>
                  <a:pt x="84" y="271"/>
                </a:cubicBezTo>
                <a:cubicBezTo>
                  <a:pt x="83" y="271"/>
                  <a:pt x="83" y="272"/>
                  <a:pt x="83" y="272"/>
                </a:cubicBezTo>
                <a:cubicBezTo>
                  <a:pt x="83" y="272"/>
                  <a:pt x="83" y="272"/>
                  <a:pt x="83" y="272"/>
                </a:cubicBezTo>
                <a:cubicBezTo>
                  <a:pt x="82" y="273"/>
                  <a:pt x="81" y="273"/>
                  <a:pt x="83" y="275"/>
                </a:cubicBezTo>
                <a:cubicBezTo>
                  <a:pt x="82" y="275"/>
                  <a:pt x="82" y="275"/>
                  <a:pt x="82" y="275"/>
                </a:cubicBezTo>
                <a:cubicBezTo>
                  <a:pt x="82" y="275"/>
                  <a:pt x="82" y="275"/>
                  <a:pt x="82" y="275"/>
                </a:cubicBezTo>
                <a:cubicBezTo>
                  <a:pt x="81" y="276"/>
                  <a:pt x="80" y="277"/>
                  <a:pt x="80" y="279"/>
                </a:cubicBezTo>
                <a:cubicBezTo>
                  <a:pt x="80" y="279"/>
                  <a:pt x="80" y="279"/>
                  <a:pt x="80" y="279"/>
                </a:cubicBezTo>
                <a:cubicBezTo>
                  <a:pt x="81" y="281"/>
                  <a:pt x="79" y="280"/>
                  <a:pt x="78" y="281"/>
                </a:cubicBezTo>
                <a:cubicBezTo>
                  <a:pt x="78" y="281"/>
                  <a:pt x="78" y="281"/>
                  <a:pt x="78" y="281"/>
                </a:cubicBezTo>
                <a:cubicBezTo>
                  <a:pt x="77" y="282"/>
                  <a:pt x="76" y="282"/>
                  <a:pt x="76" y="282"/>
                </a:cubicBezTo>
                <a:cubicBezTo>
                  <a:pt x="75" y="282"/>
                  <a:pt x="77" y="282"/>
                  <a:pt x="76" y="283"/>
                </a:cubicBezTo>
                <a:cubicBezTo>
                  <a:pt x="76" y="283"/>
                  <a:pt x="76" y="283"/>
                  <a:pt x="76" y="284"/>
                </a:cubicBezTo>
                <a:cubicBezTo>
                  <a:pt x="76" y="285"/>
                  <a:pt x="76" y="285"/>
                  <a:pt x="76" y="285"/>
                </a:cubicBezTo>
                <a:cubicBezTo>
                  <a:pt x="76" y="285"/>
                  <a:pt x="76" y="285"/>
                  <a:pt x="76" y="285"/>
                </a:cubicBezTo>
                <a:cubicBezTo>
                  <a:pt x="76" y="286"/>
                  <a:pt x="76" y="287"/>
                  <a:pt x="75" y="288"/>
                </a:cubicBezTo>
                <a:cubicBezTo>
                  <a:pt x="75" y="288"/>
                  <a:pt x="75" y="288"/>
                  <a:pt x="74" y="288"/>
                </a:cubicBezTo>
                <a:cubicBezTo>
                  <a:pt x="74" y="288"/>
                  <a:pt x="73" y="288"/>
                  <a:pt x="73" y="288"/>
                </a:cubicBezTo>
                <a:cubicBezTo>
                  <a:pt x="72" y="288"/>
                  <a:pt x="72" y="289"/>
                  <a:pt x="71" y="289"/>
                </a:cubicBezTo>
                <a:cubicBezTo>
                  <a:pt x="71" y="289"/>
                  <a:pt x="71" y="289"/>
                  <a:pt x="71" y="289"/>
                </a:cubicBezTo>
                <a:cubicBezTo>
                  <a:pt x="71" y="290"/>
                  <a:pt x="70" y="291"/>
                  <a:pt x="70" y="291"/>
                </a:cubicBezTo>
                <a:cubicBezTo>
                  <a:pt x="70" y="291"/>
                  <a:pt x="70" y="291"/>
                  <a:pt x="70" y="291"/>
                </a:cubicBezTo>
                <a:cubicBezTo>
                  <a:pt x="70" y="293"/>
                  <a:pt x="70" y="294"/>
                  <a:pt x="70" y="295"/>
                </a:cubicBezTo>
                <a:cubicBezTo>
                  <a:pt x="70" y="295"/>
                  <a:pt x="70" y="295"/>
                  <a:pt x="70" y="295"/>
                </a:cubicBezTo>
                <a:cubicBezTo>
                  <a:pt x="70" y="295"/>
                  <a:pt x="70" y="296"/>
                  <a:pt x="70" y="296"/>
                </a:cubicBezTo>
                <a:cubicBezTo>
                  <a:pt x="69" y="296"/>
                  <a:pt x="69" y="297"/>
                  <a:pt x="69" y="298"/>
                </a:cubicBezTo>
                <a:cubicBezTo>
                  <a:pt x="68" y="299"/>
                  <a:pt x="67" y="299"/>
                  <a:pt x="67" y="301"/>
                </a:cubicBezTo>
                <a:cubicBezTo>
                  <a:pt x="66" y="300"/>
                  <a:pt x="65" y="298"/>
                  <a:pt x="63" y="298"/>
                </a:cubicBezTo>
                <a:cubicBezTo>
                  <a:pt x="62" y="299"/>
                  <a:pt x="62" y="299"/>
                  <a:pt x="62" y="300"/>
                </a:cubicBezTo>
                <a:cubicBezTo>
                  <a:pt x="62" y="300"/>
                  <a:pt x="62" y="300"/>
                  <a:pt x="62" y="301"/>
                </a:cubicBezTo>
                <a:cubicBezTo>
                  <a:pt x="62" y="302"/>
                  <a:pt x="62" y="302"/>
                  <a:pt x="62" y="303"/>
                </a:cubicBezTo>
                <a:cubicBezTo>
                  <a:pt x="62" y="303"/>
                  <a:pt x="62" y="303"/>
                  <a:pt x="62" y="303"/>
                </a:cubicBezTo>
                <a:cubicBezTo>
                  <a:pt x="60" y="304"/>
                  <a:pt x="62" y="305"/>
                  <a:pt x="61" y="307"/>
                </a:cubicBezTo>
                <a:cubicBezTo>
                  <a:pt x="61" y="307"/>
                  <a:pt x="61" y="307"/>
                  <a:pt x="61" y="307"/>
                </a:cubicBezTo>
                <a:cubicBezTo>
                  <a:pt x="60" y="307"/>
                  <a:pt x="60" y="308"/>
                  <a:pt x="61" y="308"/>
                </a:cubicBezTo>
                <a:cubicBezTo>
                  <a:pt x="60" y="309"/>
                  <a:pt x="60" y="308"/>
                  <a:pt x="59" y="308"/>
                </a:cubicBezTo>
                <a:cubicBezTo>
                  <a:pt x="58" y="308"/>
                  <a:pt x="58" y="309"/>
                  <a:pt x="58" y="309"/>
                </a:cubicBezTo>
                <a:cubicBezTo>
                  <a:pt x="58" y="310"/>
                  <a:pt x="56" y="309"/>
                  <a:pt x="56" y="311"/>
                </a:cubicBezTo>
                <a:cubicBezTo>
                  <a:pt x="56" y="311"/>
                  <a:pt x="56" y="312"/>
                  <a:pt x="56" y="312"/>
                </a:cubicBezTo>
                <a:cubicBezTo>
                  <a:pt x="56" y="312"/>
                  <a:pt x="56" y="312"/>
                  <a:pt x="56" y="312"/>
                </a:cubicBezTo>
                <a:cubicBezTo>
                  <a:pt x="56" y="313"/>
                  <a:pt x="58" y="314"/>
                  <a:pt x="58" y="315"/>
                </a:cubicBezTo>
                <a:cubicBezTo>
                  <a:pt x="58" y="315"/>
                  <a:pt x="58" y="315"/>
                  <a:pt x="58" y="315"/>
                </a:cubicBezTo>
                <a:cubicBezTo>
                  <a:pt x="59" y="316"/>
                  <a:pt x="60" y="317"/>
                  <a:pt x="60" y="319"/>
                </a:cubicBezTo>
                <a:cubicBezTo>
                  <a:pt x="59" y="320"/>
                  <a:pt x="59" y="321"/>
                  <a:pt x="58" y="321"/>
                </a:cubicBezTo>
                <a:cubicBezTo>
                  <a:pt x="58" y="321"/>
                  <a:pt x="57" y="322"/>
                  <a:pt x="56" y="321"/>
                </a:cubicBezTo>
                <a:cubicBezTo>
                  <a:pt x="56" y="323"/>
                  <a:pt x="54" y="322"/>
                  <a:pt x="55" y="324"/>
                </a:cubicBezTo>
                <a:cubicBezTo>
                  <a:pt x="55" y="326"/>
                  <a:pt x="52" y="324"/>
                  <a:pt x="52" y="324"/>
                </a:cubicBezTo>
                <a:cubicBezTo>
                  <a:pt x="52" y="323"/>
                  <a:pt x="53" y="323"/>
                  <a:pt x="54" y="323"/>
                </a:cubicBezTo>
                <a:cubicBezTo>
                  <a:pt x="54" y="322"/>
                  <a:pt x="54" y="321"/>
                  <a:pt x="54" y="321"/>
                </a:cubicBezTo>
                <a:cubicBezTo>
                  <a:pt x="54" y="320"/>
                  <a:pt x="53" y="321"/>
                  <a:pt x="53" y="320"/>
                </a:cubicBezTo>
                <a:cubicBezTo>
                  <a:pt x="53" y="320"/>
                  <a:pt x="54" y="319"/>
                  <a:pt x="54" y="318"/>
                </a:cubicBezTo>
                <a:cubicBezTo>
                  <a:pt x="53" y="318"/>
                  <a:pt x="53" y="319"/>
                  <a:pt x="53" y="320"/>
                </a:cubicBezTo>
                <a:cubicBezTo>
                  <a:pt x="53" y="321"/>
                  <a:pt x="52" y="321"/>
                  <a:pt x="51" y="321"/>
                </a:cubicBezTo>
                <a:cubicBezTo>
                  <a:pt x="49" y="321"/>
                  <a:pt x="49" y="321"/>
                  <a:pt x="49" y="321"/>
                </a:cubicBezTo>
                <a:cubicBezTo>
                  <a:pt x="49" y="322"/>
                  <a:pt x="49" y="322"/>
                  <a:pt x="48" y="322"/>
                </a:cubicBezTo>
                <a:cubicBezTo>
                  <a:pt x="48" y="322"/>
                  <a:pt x="48" y="322"/>
                  <a:pt x="48" y="322"/>
                </a:cubicBezTo>
                <a:cubicBezTo>
                  <a:pt x="46" y="323"/>
                  <a:pt x="46" y="322"/>
                  <a:pt x="45" y="321"/>
                </a:cubicBezTo>
                <a:cubicBezTo>
                  <a:pt x="45" y="321"/>
                  <a:pt x="45" y="321"/>
                  <a:pt x="45" y="321"/>
                </a:cubicBezTo>
                <a:cubicBezTo>
                  <a:pt x="44" y="321"/>
                  <a:pt x="44" y="321"/>
                  <a:pt x="43" y="321"/>
                </a:cubicBezTo>
                <a:cubicBezTo>
                  <a:pt x="44" y="323"/>
                  <a:pt x="43" y="326"/>
                  <a:pt x="44" y="327"/>
                </a:cubicBezTo>
                <a:cubicBezTo>
                  <a:pt x="44" y="329"/>
                  <a:pt x="44" y="331"/>
                  <a:pt x="44" y="332"/>
                </a:cubicBezTo>
                <a:cubicBezTo>
                  <a:pt x="44" y="332"/>
                  <a:pt x="44" y="332"/>
                  <a:pt x="44" y="332"/>
                </a:cubicBezTo>
                <a:cubicBezTo>
                  <a:pt x="45" y="334"/>
                  <a:pt x="44" y="335"/>
                  <a:pt x="44" y="336"/>
                </a:cubicBezTo>
                <a:cubicBezTo>
                  <a:pt x="44" y="336"/>
                  <a:pt x="44" y="336"/>
                  <a:pt x="44" y="336"/>
                </a:cubicBezTo>
                <a:cubicBezTo>
                  <a:pt x="44" y="337"/>
                  <a:pt x="44" y="337"/>
                  <a:pt x="44" y="338"/>
                </a:cubicBezTo>
                <a:cubicBezTo>
                  <a:pt x="44" y="338"/>
                  <a:pt x="44" y="338"/>
                  <a:pt x="44" y="338"/>
                </a:cubicBezTo>
                <a:cubicBezTo>
                  <a:pt x="43" y="339"/>
                  <a:pt x="42" y="340"/>
                  <a:pt x="41" y="340"/>
                </a:cubicBezTo>
                <a:cubicBezTo>
                  <a:pt x="41" y="341"/>
                  <a:pt x="41" y="341"/>
                  <a:pt x="41" y="341"/>
                </a:cubicBezTo>
                <a:cubicBezTo>
                  <a:pt x="40" y="341"/>
                  <a:pt x="40" y="341"/>
                  <a:pt x="40" y="341"/>
                </a:cubicBezTo>
                <a:cubicBezTo>
                  <a:pt x="40" y="341"/>
                  <a:pt x="40" y="341"/>
                  <a:pt x="40" y="341"/>
                </a:cubicBezTo>
                <a:cubicBezTo>
                  <a:pt x="39" y="342"/>
                  <a:pt x="37" y="343"/>
                  <a:pt x="38" y="344"/>
                </a:cubicBezTo>
                <a:cubicBezTo>
                  <a:pt x="38" y="344"/>
                  <a:pt x="38" y="344"/>
                  <a:pt x="38" y="344"/>
                </a:cubicBezTo>
                <a:cubicBezTo>
                  <a:pt x="39" y="345"/>
                  <a:pt x="39" y="346"/>
                  <a:pt x="39" y="347"/>
                </a:cubicBezTo>
                <a:cubicBezTo>
                  <a:pt x="39" y="347"/>
                  <a:pt x="39" y="347"/>
                  <a:pt x="39" y="347"/>
                </a:cubicBezTo>
                <a:cubicBezTo>
                  <a:pt x="37" y="348"/>
                  <a:pt x="37" y="349"/>
                  <a:pt x="37" y="350"/>
                </a:cubicBezTo>
                <a:cubicBezTo>
                  <a:pt x="38" y="351"/>
                  <a:pt x="38" y="351"/>
                  <a:pt x="38" y="351"/>
                </a:cubicBezTo>
                <a:cubicBezTo>
                  <a:pt x="38" y="351"/>
                  <a:pt x="38" y="352"/>
                  <a:pt x="38" y="353"/>
                </a:cubicBezTo>
                <a:cubicBezTo>
                  <a:pt x="38" y="354"/>
                  <a:pt x="39" y="354"/>
                  <a:pt x="39" y="353"/>
                </a:cubicBezTo>
                <a:cubicBezTo>
                  <a:pt x="40" y="353"/>
                  <a:pt x="40" y="354"/>
                  <a:pt x="40" y="355"/>
                </a:cubicBezTo>
                <a:cubicBezTo>
                  <a:pt x="40" y="355"/>
                  <a:pt x="39" y="357"/>
                  <a:pt x="39" y="358"/>
                </a:cubicBezTo>
                <a:cubicBezTo>
                  <a:pt x="39" y="358"/>
                  <a:pt x="40" y="358"/>
                  <a:pt x="40" y="358"/>
                </a:cubicBezTo>
                <a:cubicBezTo>
                  <a:pt x="40" y="358"/>
                  <a:pt x="40" y="358"/>
                  <a:pt x="40" y="359"/>
                </a:cubicBezTo>
                <a:cubicBezTo>
                  <a:pt x="40" y="359"/>
                  <a:pt x="40" y="359"/>
                  <a:pt x="40" y="359"/>
                </a:cubicBezTo>
                <a:cubicBezTo>
                  <a:pt x="40" y="360"/>
                  <a:pt x="40" y="361"/>
                  <a:pt x="41" y="362"/>
                </a:cubicBezTo>
                <a:cubicBezTo>
                  <a:pt x="41" y="362"/>
                  <a:pt x="41" y="362"/>
                  <a:pt x="41" y="362"/>
                </a:cubicBezTo>
                <a:cubicBezTo>
                  <a:pt x="41" y="362"/>
                  <a:pt x="41" y="362"/>
                  <a:pt x="41" y="363"/>
                </a:cubicBezTo>
                <a:cubicBezTo>
                  <a:pt x="42" y="364"/>
                  <a:pt x="42" y="362"/>
                  <a:pt x="43" y="363"/>
                </a:cubicBezTo>
                <a:cubicBezTo>
                  <a:pt x="44" y="363"/>
                  <a:pt x="44" y="365"/>
                  <a:pt x="45" y="366"/>
                </a:cubicBezTo>
                <a:cubicBezTo>
                  <a:pt x="46" y="366"/>
                  <a:pt x="46" y="368"/>
                  <a:pt x="47" y="369"/>
                </a:cubicBezTo>
                <a:cubicBezTo>
                  <a:pt x="47" y="372"/>
                  <a:pt x="47" y="372"/>
                  <a:pt x="47" y="372"/>
                </a:cubicBezTo>
                <a:cubicBezTo>
                  <a:pt x="47" y="373"/>
                  <a:pt x="46" y="373"/>
                  <a:pt x="46" y="374"/>
                </a:cubicBezTo>
                <a:cubicBezTo>
                  <a:pt x="46" y="374"/>
                  <a:pt x="46" y="376"/>
                  <a:pt x="46" y="378"/>
                </a:cubicBezTo>
                <a:cubicBezTo>
                  <a:pt x="46" y="378"/>
                  <a:pt x="46" y="378"/>
                  <a:pt x="46" y="378"/>
                </a:cubicBezTo>
                <a:cubicBezTo>
                  <a:pt x="44" y="379"/>
                  <a:pt x="46" y="380"/>
                  <a:pt x="47" y="381"/>
                </a:cubicBezTo>
                <a:cubicBezTo>
                  <a:pt x="47" y="381"/>
                  <a:pt x="47" y="381"/>
                  <a:pt x="47" y="382"/>
                </a:cubicBezTo>
                <a:cubicBezTo>
                  <a:pt x="47" y="382"/>
                  <a:pt x="47" y="383"/>
                  <a:pt x="48" y="384"/>
                </a:cubicBezTo>
                <a:cubicBezTo>
                  <a:pt x="48" y="384"/>
                  <a:pt x="49" y="384"/>
                  <a:pt x="49" y="384"/>
                </a:cubicBezTo>
                <a:cubicBezTo>
                  <a:pt x="49" y="385"/>
                  <a:pt x="49" y="386"/>
                  <a:pt x="50" y="387"/>
                </a:cubicBezTo>
                <a:cubicBezTo>
                  <a:pt x="50" y="387"/>
                  <a:pt x="51" y="387"/>
                  <a:pt x="51" y="388"/>
                </a:cubicBezTo>
                <a:cubicBezTo>
                  <a:pt x="51" y="388"/>
                  <a:pt x="51" y="389"/>
                  <a:pt x="51" y="390"/>
                </a:cubicBezTo>
                <a:cubicBezTo>
                  <a:pt x="51" y="390"/>
                  <a:pt x="51" y="390"/>
                  <a:pt x="51" y="390"/>
                </a:cubicBezTo>
                <a:cubicBezTo>
                  <a:pt x="52" y="391"/>
                  <a:pt x="52" y="391"/>
                  <a:pt x="52" y="392"/>
                </a:cubicBezTo>
                <a:cubicBezTo>
                  <a:pt x="52" y="392"/>
                  <a:pt x="52" y="392"/>
                  <a:pt x="52" y="392"/>
                </a:cubicBezTo>
                <a:cubicBezTo>
                  <a:pt x="52" y="393"/>
                  <a:pt x="53" y="395"/>
                  <a:pt x="54" y="395"/>
                </a:cubicBezTo>
                <a:cubicBezTo>
                  <a:pt x="54" y="395"/>
                  <a:pt x="54" y="396"/>
                  <a:pt x="54" y="396"/>
                </a:cubicBezTo>
                <a:cubicBezTo>
                  <a:pt x="54" y="396"/>
                  <a:pt x="54" y="396"/>
                  <a:pt x="54" y="396"/>
                </a:cubicBezTo>
                <a:cubicBezTo>
                  <a:pt x="55" y="396"/>
                  <a:pt x="54" y="397"/>
                  <a:pt x="55" y="397"/>
                </a:cubicBezTo>
                <a:cubicBezTo>
                  <a:pt x="55" y="398"/>
                  <a:pt x="55" y="398"/>
                  <a:pt x="56" y="398"/>
                </a:cubicBezTo>
                <a:cubicBezTo>
                  <a:pt x="56" y="398"/>
                  <a:pt x="56" y="398"/>
                  <a:pt x="56" y="398"/>
                </a:cubicBezTo>
                <a:cubicBezTo>
                  <a:pt x="56" y="399"/>
                  <a:pt x="58" y="399"/>
                  <a:pt x="58" y="400"/>
                </a:cubicBezTo>
                <a:cubicBezTo>
                  <a:pt x="58" y="401"/>
                  <a:pt x="58" y="401"/>
                  <a:pt x="59" y="401"/>
                </a:cubicBezTo>
                <a:cubicBezTo>
                  <a:pt x="59" y="401"/>
                  <a:pt x="59" y="401"/>
                  <a:pt x="59" y="401"/>
                </a:cubicBezTo>
                <a:cubicBezTo>
                  <a:pt x="59" y="401"/>
                  <a:pt x="58" y="401"/>
                  <a:pt x="58" y="401"/>
                </a:cubicBezTo>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2" name="Freeform 80"/>
          <p:cNvSpPr>
            <a:spLocks noEditPoints="1"/>
          </p:cNvSpPr>
          <p:nvPr/>
        </p:nvSpPr>
        <p:spPr bwMode="auto">
          <a:xfrm>
            <a:off x="8739479" y="2233915"/>
            <a:ext cx="573088" cy="368300"/>
          </a:xfrm>
          <a:custGeom>
            <a:avLst/>
            <a:gdLst>
              <a:gd name="T0" fmla="*/ 32 w 148"/>
              <a:gd name="T1" fmla="*/ 25 h 95"/>
              <a:gd name="T2" fmla="*/ 3 w 148"/>
              <a:gd name="T3" fmla="*/ 48 h 95"/>
              <a:gd name="T4" fmla="*/ 14 w 148"/>
              <a:gd name="T5" fmla="*/ 57 h 95"/>
              <a:gd name="T6" fmla="*/ 28 w 148"/>
              <a:gd name="T7" fmla="*/ 47 h 95"/>
              <a:gd name="T8" fmla="*/ 15 w 148"/>
              <a:gd name="T9" fmla="*/ 38 h 95"/>
              <a:gd name="T10" fmla="*/ 3 w 148"/>
              <a:gd name="T11" fmla="*/ 47 h 95"/>
              <a:gd name="T12" fmla="*/ 75 w 148"/>
              <a:gd name="T13" fmla="*/ 7 h 95"/>
              <a:gd name="T14" fmla="*/ 62 w 148"/>
              <a:gd name="T15" fmla="*/ 8 h 95"/>
              <a:gd name="T16" fmla="*/ 69 w 148"/>
              <a:gd name="T17" fmla="*/ 7 h 95"/>
              <a:gd name="T18" fmla="*/ 34 w 148"/>
              <a:gd name="T19" fmla="*/ 40 h 95"/>
              <a:gd name="T20" fmla="*/ 29 w 148"/>
              <a:gd name="T21" fmla="*/ 61 h 95"/>
              <a:gd name="T22" fmla="*/ 17 w 148"/>
              <a:gd name="T23" fmla="*/ 59 h 95"/>
              <a:gd name="T24" fmla="*/ 7 w 148"/>
              <a:gd name="T25" fmla="*/ 70 h 95"/>
              <a:gd name="T26" fmla="*/ 4 w 148"/>
              <a:gd name="T27" fmla="*/ 75 h 95"/>
              <a:gd name="T28" fmla="*/ 11 w 148"/>
              <a:gd name="T29" fmla="*/ 85 h 95"/>
              <a:gd name="T30" fmla="*/ 11 w 148"/>
              <a:gd name="T31" fmla="*/ 92 h 95"/>
              <a:gd name="T32" fmla="*/ 24 w 148"/>
              <a:gd name="T33" fmla="*/ 76 h 95"/>
              <a:gd name="T34" fmla="*/ 36 w 148"/>
              <a:gd name="T35" fmla="*/ 63 h 95"/>
              <a:gd name="T36" fmla="*/ 144 w 148"/>
              <a:gd name="T37" fmla="*/ 75 h 95"/>
              <a:gd name="T38" fmla="*/ 142 w 148"/>
              <a:gd name="T39" fmla="*/ 66 h 95"/>
              <a:gd name="T40" fmla="*/ 140 w 148"/>
              <a:gd name="T41" fmla="*/ 59 h 95"/>
              <a:gd name="T42" fmla="*/ 134 w 148"/>
              <a:gd name="T43" fmla="*/ 43 h 95"/>
              <a:gd name="T44" fmla="*/ 126 w 148"/>
              <a:gd name="T45" fmla="*/ 34 h 95"/>
              <a:gd name="T46" fmla="*/ 121 w 148"/>
              <a:gd name="T47" fmla="*/ 32 h 95"/>
              <a:gd name="T48" fmla="*/ 121 w 148"/>
              <a:gd name="T49" fmla="*/ 29 h 95"/>
              <a:gd name="T50" fmla="*/ 124 w 148"/>
              <a:gd name="T51" fmla="*/ 26 h 95"/>
              <a:gd name="T52" fmla="*/ 127 w 148"/>
              <a:gd name="T53" fmla="*/ 25 h 95"/>
              <a:gd name="T54" fmla="*/ 130 w 148"/>
              <a:gd name="T55" fmla="*/ 24 h 95"/>
              <a:gd name="T56" fmla="*/ 135 w 148"/>
              <a:gd name="T57" fmla="*/ 23 h 95"/>
              <a:gd name="T58" fmla="*/ 136 w 148"/>
              <a:gd name="T59" fmla="*/ 12 h 95"/>
              <a:gd name="T60" fmla="*/ 138 w 148"/>
              <a:gd name="T61" fmla="*/ 1 h 95"/>
              <a:gd name="T62" fmla="*/ 120 w 148"/>
              <a:gd name="T63" fmla="*/ 5 h 95"/>
              <a:gd name="T64" fmla="*/ 103 w 148"/>
              <a:gd name="T65" fmla="*/ 4 h 95"/>
              <a:gd name="T66" fmla="*/ 86 w 148"/>
              <a:gd name="T67" fmla="*/ 1 h 95"/>
              <a:gd name="T68" fmla="*/ 80 w 148"/>
              <a:gd name="T69" fmla="*/ 8 h 95"/>
              <a:gd name="T70" fmla="*/ 71 w 148"/>
              <a:gd name="T71" fmla="*/ 11 h 95"/>
              <a:gd name="T72" fmla="*/ 55 w 148"/>
              <a:gd name="T73" fmla="*/ 14 h 95"/>
              <a:gd name="T74" fmla="*/ 43 w 148"/>
              <a:gd name="T75" fmla="*/ 25 h 95"/>
              <a:gd name="T76" fmla="*/ 35 w 148"/>
              <a:gd name="T77" fmla="*/ 39 h 95"/>
              <a:gd name="T78" fmla="*/ 38 w 148"/>
              <a:gd name="T79" fmla="*/ 47 h 95"/>
              <a:gd name="T80" fmla="*/ 39 w 148"/>
              <a:gd name="T81" fmla="*/ 53 h 95"/>
              <a:gd name="T82" fmla="*/ 44 w 148"/>
              <a:gd name="T83" fmla="*/ 65 h 95"/>
              <a:gd name="T84" fmla="*/ 57 w 148"/>
              <a:gd name="T85" fmla="*/ 73 h 95"/>
              <a:gd name="T86" fmla="*/ 66 w 148"/>
              <a:gd name="T87" fmla="*/ 66 h 95"/>
              <a:gd name="T88" fmla="*/ 65 w 148"/>
              <a:gd name="T89" fmla="*/ 84 h 95"/>
              <a:gd name="T90" fmla="*/ 77 w 148"/>
              <a:gd name="T91" fmla="*/ 77 h 95"/>
              <a:gd name="T92" fmla="*/ 95 w 148"/>
              <a:gd name="T93" fmla="*/ 77 h 95"/>
              <a:gd name="T94" fmla="*/ 109 w 148"/>
              <a:gd name="T95" fmla="*/ 83 h 95"/>
              <a:gd name="T96" fmla="*/ 113 w 148"/>
              <a:gd name="T97" fmla="*/ 88 h 95"/>
              <a:gd name="T98" fmla="*/ 114 w 148"/>
              <a:gd name="T99" fmla="*/ 90 h 95"/>
              <a:gd name="T100" fmla="*/ 120 w 148"/>
              <a:gd name="T101" fmla="*/ 93 h 95"/>
              <a:gd name="T102" fmla="*/ 135 w 148"/>
              <a:gd name="T103" fmla="*/ 89 h 95"/>
              <a:gd name="T104" fmla="*/ 144 w 148"/>
              <a:gd name="T105" fmla="*/ 75 h 95"/>
              <a:gd name="T106" fmla="*/ 136 w 148"/>
              <a:gd name="T107" fmla="*/ 61 h 95"/>
              <a:gd name="T108" fmla="*/ 36 w 148"/>
              <a:gd name="T109" fmla="*/ 63 h 95"/>
              <a:gd name="T110" fmla="*/ 4 w 148"/>
              <a:gd name="T111" fmla="*/ 74 h 95"/>
              <a:gd name="T112" fmla="*/ 18 w 148"/>
              <a:gd name="T113" fmla="*/ 83 h 95"/>
              <a:gd name="T114" fmla="*/ 27 w 148"/>
              <a:gd name="T115" fmla="*/ 45 h 95"/>
              <a:gd name="T116" fmla="*/ 23 w 148"/>
              <a:gd name="T117" fmla="*/ 5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8" h="95">
                <a:moveTo>
                  <a:pt x="46" y="24"/>
                </a:moveTo>
                <a:cubicBezTo>
                  <a:pt x="46" y="24"/>
                  <a:pt x="46" y="24"/>
                  <a:pt x="46" y="23"/>
                </a:cubicBezTo>
                <a:cubicBezTo>
                  <a:pt x="44" y="23"/>
                  <a:pt x="45" y="21"/>
                  <a:pt x="43" y="22"/>
                </a:cubicBezTo>
                <a:cubicBezTo>
                  <a:pt x="43" y="23"/>
                  <a:pt x="44" y="24"/>
                  <a:pt x="46" y="24"/>
                </a:cubicBezTo>
                <a:close/>
                <a:moveTo>
                  <a:pt x="34" y="27"/>
                </a:moveTo>
                <a:cubicBezTo>
                  <a:pt x="34" y="26"/>
                  <a:pt x="33" y="25"/>
                  <a:pt x="32" y="25"/>
                </a:cubicBezTo>
                <a:cubicBezTo>
                  <a:pt x="31" y="27"/>
                  <a:pt x="32" y="27"/>
                  <a:pt x="34" y="27"/>
                </a:cubicBezTo>
                <a:close/>
                <a:moveTo>
                  <a:pt x="48" y="24"/>
                </a:moveTo>
                <a:cubicBezTo>
                  <a:pt x="48" y="22"/>
                  <a:pt x="46" y="20"/>
                  <a:pt x="45" y="22"/>
                </a:cubicBezTo>
                <a:cubicBezTo>
                  <a:pt x="45" y="22"/>
                  <a:pt x="45" y="23"/>
                  <a:pt x="46" y="23"/>
                </a:cubicBezTo>
                <a:cubicBezTo>
                  <a:pt x="47" y="23"/>
                  <a:pt x="47" y="24"/>
                  <a:pt x="48" y="24"/>
                </a:cubicBezTo>
                <a:close/>
                <a:moveTo>
                  <a:pt x="3" y="48"/>
                </a:moveTo>
                <a:cubicBezTo>
                  <a:pt x="4" y="48"/>
                  <a:pt x="4" y="48"/>
                  <a:pt x="4" y="49"/>
                </a:cubicBezTo>
                <a:cubicBezTo>
                  <a:pt x="5" y="49"/>
                  <a:pt x="7" y="49"/>
                  <a:pt x="7" y="50"/>
                </a:cubicBezTo>
                <a:cubicBezTo>
                  <a:pt x="9" y="50"/>
                  <a:pt x="9" y="48"/>
                  <a:pt x="11" y="49"/>
                </a:cubicBezTo>
                <a:cubicBezTo>
                  <a:pt x="12" y="50"/>
                  <a:pt x="13" y="51"/>
                  <a:pt x="13" y="53"/>
                </a:cubicBezTo>
                <a:cubicBezTo>
                  <a:pt x="14" y="53"/>
                  <a:pt x="14" y="54"/>
                  <a:pt x="13" y="55"/>
                </a:cubicBezTo>
                <a:cubicBezTo>
                  <a:pt x="14" y="55"/>
                  <a:pt x="14" y="56"/>
                  <a:pt x="14" y="57"/>
                </a:cubicBezTo>
                <a:cubicBezTo>
                  <a:pt x="17" y="58"/>
                  <a:pt x="18" y="57"/>
                  <a:pt x="20" y="57"/>
                </a:cubicBezTo>
                <a:cubicBezTo>
                  <a:pt x="21" y="54"/>
                  <a:pt x="20" y="50"/>
                  <a:pt x="23" y="50"/>
                </a:cubicBezTo>
                <a:cubicBezTo>
                  <a:pt x="23" y="50"/>
                  <a:pt x="24" y="50"/>
                  <a:pt x="25" y="50"/>
                </a:cubicBezTo>
                <a:cubicBezTo>
                  <a:pt x="25" y="49"/>
                  <a:pt x="26" y="50"/>
                  <a:pt x="26" y="49"/>
                </a:cubicBezTo>
                <a:cubicBezTo>
                  <a:pt x="27" y="50"/>
                  <a:pt x="29" y="50"/>
                  <a:pt x="29" y="48"/>
                </a:cubicBezTo>
                <a:cubicBezTo>
                  <a:pt x="28" y="48"/>
                  <a:pt x="28" y="48"/>
                  <a:pt x="28" y="47"/>
                </a:cubicBezTo>
                <a:cubicBezTo>
                  <a:pt x="28" y="47"/>
                  <a:pt x="28" y="47"/>
                  <a:pt x="27" y="47"/>
                </a:cubicBezTo>
                <a:cubicBezTo>
                  <a:pt x="27" y="46"/>
                  <a:pt x="26" y="46"/>
                  <a:pt x="25" y="45"/>
                </a:cubicBezTo>
                <a:cubicBezTo>
                  <a:pt x="25" y="44"/>
                  <a:pt x="24" y="43"/>
                  <a:pt x="25" y="41"/>
                </a:cubicBezTo>
                <a:cubicBezTo>
                  <a:pt x="22" y="42"/>
                  <a:pt x="21" y="40"/>
                  <a:pt x="18" y="40"/>
                </a:cubicBezTo>
                <a:cubicBezTo>
                  <a:pt x="18" y="40"/>
                  <a:pt x="18" y="39"/>
                  <a:pt x="18" y="38"/>
                </a:cubicBezTo>
                <a:cubicBezTo>
                  <a:pt x="17" y="38"/>
                  <a:pt x="16" y="38"/>
                  <a:pt x="15" y="38"/>
                </a:cubicBezTo>
                <a:cubicBezTo>
                  <a:pt x="15" y="40"/>
                  <a:pt x="14" y="40"/>
                  <a:pt x="14" y="42"/>
                </a:cubicBezTo>
                <a:cubicBezTo>
                  <a:pt x="13" y="42"/>
                  <a:pt x="13" y="43"/>
                  <a:pt x="12" y="43"/>
                </a:cubicBezTo>
                <a:cubicBezTo>
                  <a:pt x="12" y="43"/>
                  <a:pt x="12" y="43"/>
                  <a:pt x="11" y="43"/>
                </a:cubicBezTo>
                <a:cubicBezTo>
                  <a:pt x="11" y="44"/>
                  <a:pt x="11" y="45"/>
                  <a:pt x="11" y="45"/>
                </a:cubicBezTo>
                <a:cubicBezTo>
                  <a:pt x="9" y="44"/>
                  <a:pt x="8" y="45"/>
                  <a:pt x="7" y="45"/>
                </a:cubicBezTo>
                <a:cubicBezTo>
                  <a:pt x="6" y="46"/>
                  <a:pt x="3" y="44"/>
                  <a:pt x="3" y="47"/>
                </a:cubicBezTo>
                <a:cubicBezTo>
                  <a:pt x="3" y="47"/>
                  <a:pt x="3" y="48"/>
                  <a:pt x="3" y="48"/>
                </a:cubicBezTo>
                <a:close/>
                <a:moveTo>
                  <a:pt x="59" y="12"/>
                </a:moveTo>
                <a:cubicBezTo>
                  <a:pt x="59" y="10"/>
                  <a:pt x="58" y="10"/>
                  <a:pt x="58" y="8"/>
                </a:cubicBezTo>
                <a:cubicBezTo>
                  <a:pt x="57" y="8"/>
                  <a:pt x="57" y="8"/>
                  <a:pt x="56" y="8"/>
                </a:cubicBezTo>
                <a:cubicBezTo>
                  <a:pt x="56" y="11"/>
                  <a:pt x="56" y="12"/>
                  <a:pt x="59" y="12"/>
                </a:cubicBezTo>
                <a:close/>
                <a:moveTo>
                  <a:pt x="75" y="7"/>
                </a:moveTo>
                <a:cubicBezTo>
                  <a:pt x="73" y="7"/>
                  <a:pt x="72" y="6"/>
                  <a:pt x="72" y="8"/>
                </a:cubicBezTo>
                <a:cubicBezTo>
                  <a:pt x="74" y="9"/>
                  <a:pt x="75" y="8"/>
                  <a:pt x="75" y="7"/>
                </a:cubicBezTo>
                <a:close/>
                <a:moveTo>
                  <a:pt x="62" y="9"/>
                </a:moveTo>
                <a:cubicBezTo>
                  <a:pt x="62" y="9"/>
                  <a:pt x="63" y="8"/>
                  <a:pt x="63" y="8"/>
                </a:cubicBezTo>
                <a:cubicBezTo>
                  <a:pt x="63" y="8"/>
                  <a:pt x="64" y="8"/>
                  <a:pt x="64" y="8"/>
                </a:cubicBezTo>
                <a:cubicBezTo>
                  <a:pt x="64" y="8"/>
                  <a:pt x="62" y="8"/>
                  <a:pt x="62" y="8"/>
                </a:cubicBezTo>
                <a:cubicBezTo>
                  <a:pt x="62" y="8"/>
                  <a:pt x="62" y="8"/>
                  <a:pt x="62" y="8"/>
                </a:cubicBezTo>
                <a:cubicBezTo>
                  <a:pt x="61" y="9"/>
                  <a:pt x="62" y="9"/>
                  <a:pt x="62" y="9"/>
                </a:cubicBezTo>
                <a:close/>
                <a:moveTo>
                  <a:pt x="69" y="7"/>
                </a:moveTo>
                <a:cubicBezTo>
                  <a:pt x="69" y="9"/>
                  <a:pt x="72" y="7"/>
                  <a:pt x="71" y="6"/>
                </a:cubicBezTo>
                <a:cubicBezTo>
                  <a:pt x="69" y="5"/>
                  <a:pt x="69" y="5"/>
                  <a:pt x="67" y="6"/>
                </a:cubicBezTo>
                <a:cubicBezTo>
                  <a:pt x="67" y="7"/>
                  <a:pt x="68" y="7"/>
                  <a:pt x="69" y="7"/>
                </a:cubicBezTo>
                <a:close/>
                <a:moveTo>
                  <a:pt x="30" y="37"/>
                </a:moveTo>
                <a:cubicBezTo>
                  <a:pt x="28" y="36"/>
                  <a:pt x="28" y="38"/>
                  <a:pt x="27" y="38"/>
                </a:cubicBezTo>
                <a:cubicBezTo>
                  <a:pt x="27" y="40"/>
                  <a:pt x="28" y="41"/>
                  <a:pt x="29" y="42"/>
                </a:cubicBezTo>
                <a:cubicBezTo>
                  <a:pt x="29" y="42"/>
                  <a:pt x="29" y="42"/>
                  <a:pt x="29" y="42"/>
                </a:cubicBezTo>
                <a:cubicBezTo>
                  <a:pt x="31" y="42"/>
                  <a:pt x="32" y="42"/>
                  <a:pt x="33" y="42"/>
                </a:cubicBezTo>
                <a:cubicBezTo>
                  <a:pt x="34" y="42"/>
                  <a:pt x="33" y="40"/>
                  <a:pt x="34" y="40"/>
                </a:cubicBezTo>
                <a:cubicBezTo>
                  <a:pt x="35" y="40"/>
                  <a:pt x="34" y="40"/>
                  <a:pt x="34" y="39"/>
                </a:cubicBezTo>
                <a:cubicBezTo>
                  <a:pt x="34" y="39"/>
                  <a:pt x="34" y="39"/>
                  <a:pt x="34" y="38"/>
                </a:cubicBezTo>
                <a:cubicBezTo>
                  <a:pt x="33" y="38"/>
                  <a:pt x="32" y="37"/>
                  <a:pt x="30" y="37"/>
                </a:cubicBezTo>
                <a:close/>
                <a:moveTo>
                  <a:pt x="36" y="63"/>
                </a:moveTo>
                <a:cubicBezTo>
                  <a:pt x="34" y="64"/>
                  <a:pt x="33" y="62"/>
                  <a:pt x="31" y="62"/>
                </a:cubicBezTo>
                <a:cubicBezTo>
                  <a:pt x="31" y="61"/>
                  <a:pt x="30" y="61"/>
                  <a:pt x="29" y="61"/>
                </a:cubicBezTo>
                <a:cubicBezTo>
                  <a:pt x="29" y="59"/>
                  <a:pt x="28" y="59"/>
                  <a:pt x="27" y="58"/>
                </a:cubicBezTo>
                <a:cubicBezTo>
                  <a:pt x="27" y="58"/>
                  <a:pt x="26" y="59"/>
                  <a:pt x="25" y="59"/>
                </a:cubicBezTo>
                <a:cubicBezTo>
                  <a:pt x="24" y="59"/>
                  <a:pt x="23" y="59"/>
                  <a:pt x="22" y="59"/>
                </a:cubicBezTo>
                <a:cubicBezTo>
                  <a:pt x="22" y="59"/>
                  <a:pt x="22" y="60"/>
                  <a:pt x="21" y="60"/>
                </a:cubicBezTo>
                <a:cubicBezTo>
                  <a:pt x="20" y="60"/>
                  <a:pt x="20" y="60"/>
                  <a:pt x="19" y="61"/>
                </a:cubicBezTo>
                <a:cubicBezTo>
                  <a:pt x="18" y="60"/>
                  <a:pt x="19" y="58"/>
                  <a:pt x="17" y="59"/>
                </a:cubicBezTo>
                <a:cubicBezTo>
                  <a:pt x="16" y="59"/>
                  <a:pt x="16" y="61"/>
                  <a:pt x="15" y="61"/>
                </a:cubicBezTo>
                <a:cubicBezTo>
                  <a:pt x="13" y="61"/>
                  <a:pt x="12" y="62"/>
                  <a:pt x="11" y="63"/>
                </a:cubicBezTo>
                <a:cubicBezTo>
                  <a:pt x="10" y="65"/>
                  <a:pt x="13" y="66"/>
                  <a:pt x="11" y="67"/>
                </a:cubicBezTo>
                <a:cubicBezTo>
                  <a:pt x="10" y="67"/>
                  <a:pt x="11" y="64"/>
                  <a:pt x="9" y="64"/>
                </a:cubicBezTo>
                <a:cubicBezTo>
                  <a:pt x="9" y="66"/>
                  <a:pt x="7" y="65"/>
                  <a:pt x="7" y="67"/>
                </a:cubicBezTo>
                <a:cubicBezTo>
                  <a:pt x="7" y="68"/>
                  <a:pt x="8" y="71"/>
                  <a:pt x="7" y="70"/>
                </a:cubicBezTo>
                <a:cubicBezTo>
                  <a:pt x="7" y="69"/>
                  <a:pt x="7" y="67"/>
                  <a:pt x="6" y="66"/>
                </a:cubicBezTo>
                <a:cubicBezTo>
                  <a:pt x="4" y="66"/>
                  <a:pt x="4" y="65"/>
                  <a:pt x="3" y="66"/>
                </a:cubicBezTo>
                <a:cubicBezTo>
                  <a:pt x="2" y="66"/>
                  <a:pt x="2" y="67"/>
                  <a:pt x="2" y="67"/>
                </a:cubicBezTo>
                <a:cubicBezTo>
                  <a:pt x="1" y="67"/>
                  <a:pt x="0" y="67"/>
                  <a:pt x="0" y="68"/>
                </a:cubicBezTo>
                <a:cubicBezTo>
                  <a:pt x="1" y="70"/>
                  <a:pt x="4" y="70"/>
                  <a:pt x="4" y="72"/>
                </a:cubicBezTo>
                <a:cubicBezTo>
                  <a:pt x="4" y="73"/>
                  <a:pt x="4" y="74"/>
                  <a:pt x="4" y="75"/>
                </a:cubicBezTo>
                <a:cubicBezTo>
                  <a:pt x="4" y="75"/>
                  <a:pt x="3" y="75"/>
                  <a:pt x="3" y="75"/>
                </a:cubicBezTo>
                <a:cubicBezTo>
                  <a:pt x="3" y="75"/>
                  <a:pt x="3" y="76"/>
                  <a:pt x="2" y="76"/>
                </a:cubicBezTo>
                <a:cubicBezTo>
                  <a:pt x="1" y="76"/>
                  <a:pt x="1" y="77"/>
                  <a:pt x="1" y="78"/>
                </a:cubicBezTo>
                <a:cubicBezTo>
                  <a:pt x="3" y="78"/>
                  <a:pt x="3" y="79"/>
                  <a:pt x="6" y="79"/>
                </a:cubicBezTo>
                <a:cubicBezTo>
                  <a:pt x="6" y="80"/>
                  <a:pt x="7" y="81"/>
                  <a:pt x="7" y="82"/>
                </a:cubicBezTo>
                <a:cubicBezTo>
                  <a:pt x="9" y="82"/>
                  <a:pt x="11" y="83"/>
                  <a:pt x="11" y="85"/>
                </a:cubicBezTo>
                <a:cubicBezTo>
                  <a:pt x="10" y="85"/>
                  <a:pt x="9" y="86"/>
                  <a:pt x="8" y="86"/>
                </a:cubicBezTo>
                <a:cubicBezTo>
                  <a:pt x="8" y="87"/>
                  <a:pt x="8" y="88"/>
                  <a:pt x="7" y="89"/>
                </a:cubicBezTo>
                <a:cubicBezTo>
                  <a:pt x="7" y="89"/>
                  <a:pt x="8" y="88"/>
                  <a:pt x="8" y="89"/>
                </a:cubicBezTo>
                <a:cubicBezTo>
                  <a:pt x="8" y="89"/>
                  <a:pt x="7" y="89"/>
                  <a:pt x="7" y="89"/>
                </a:cubicBezTo>
                <a:cubicBezTo>
                  <a:pt x="6" y="91"/>
                  <a:pt x="6" y="94"/>
                  <a:pt x="9" y="95"/>
                </a:cubicBezTo>
                <a:cubicBezTo>
                  <a:pt x="9" y="93"/>
                  <a:pt x="10" y="93"/>
                  <a:pt x="11" y="92"/>
                </a:cubicBezTo>
                <a:cubicBezTo>
                  <a:pt x="11" y="90"/>
                  <a:pt x="12" y="90"/>
                  <a:pt x="13" y="89"/>
                </a:cubicBezTo>
                <a:cubicBezTo>
                  <a:pt x="12" y="87"/>
                  <a:pt x="13" y="87"/>
                  <a:pt x="13" y="85"/>
                </a:cubicBezTo>
                <a:cubicBezTo>
                  <a:pt x="14" y="83"/>
                  <a:pt x="12" y="83"/>
                  <a:pt x="13" y="82"/>
                </a:cubicBezTo>
                <a:cubicBezTo>
                  <a:pt x="14" y="79"/>
                  <a:pt x="17" y="78"/>
                  <a:pt x="20" y="77"/>
                </a:cubicBezTo>
                <a:cubicBezTo>
                  <a:pt x="21" y="78"/>
                  <a:pt x="22" y="79"/>
                  <a:pt x="25" y="79"/>
                </a:cubicBezTo>
                <a:cubicBezTo>
                  <a:pt x="25" y="78"/>
                  <a:pt x="24" y="77"/>
                  <a:pt x="24" y="76"/>
                </a:cubicBezTo>
                <a:cubicBezTo>
                  <a:pt x="27" y="77"/>
                  <a:pt x="26" y="74"/>
                  <a:pt x="28" y="74"/>
                </a:cubicBezTo>
                <a:cubicBezTo>
                  <a:pt x="28" y="73"/>
                  <a:pt x="29" y="72"/>
                  <a:pt x="29" y="71"/>
                </a:cubicBezTo>
                <a:cubicBezTo>
                  <a:pt x="32" y="71"/>
                  <a:pt x="31" y="68"/>
                  <a:pt x="34" y="67"/>
                </a:cubicBezTo>
                <a:cubicBezTo>
                  <a:pt x="35" y="67"/>
                  <a:pt x="36" y="67"/>
                  <a:pt x="37" y="67"/>
                </a:cubicBezTo>
                <a:cubicBezTo>
                  <a:pt x="37" y="66"/>
                  <a:pt x="37" y="66"/>
                  <a:pt x="37" y="65"/>
                </a:cubicBezTo>
                <a:cubicBezTo>
                  <a:pt x="36" y="65"/>
                  <a:pt x="36" y="65"/>
                  <a:pt x="36" y="63"/>
                </a:cubicBezTo>
                <a:close/>
                <a:moveTo>
                  <a:pt x="52" y="77"/>
                </a:moveTo>
                <a:cubicBezTo>
                  <a:pt x="52" y="77"/>
                  <a:pt x="52" y="77"/>
                  <a:pt x="52" y="77"/>
                </a:cubicBezTo>
                <a:cubicBezTo>
                  <a:pt x="51" y="78"/>
                  <a:pt x="52" y="78"/>
                  <a:pt x="51" y="80"/>
                </a:cubicBezTo>
                <a:cubicBezTo>
                  <a:pt x="54" y="80"/>
                  <a:pt x="56" y="80"/>
                  <a:pt x="55" y="77"/>
                </a:cubicBezTo>
                <a:cubicBezTo>
                  <a:pt x="54" y="77"/>
                  <a:pt x="54" y="77"/>
                  <a:pt x="52" y="77"/>
                </a:cubicBezTo>
                <a:close/>
                <a:moveTo>
                  <a:pt x="144" y="75"/>
                </a:moveTo>
                <a:cubicBezTo>
                  <a:pt x="147" y="75"/>
                  <a:pt x="147" y="75"/>
                  <a:pt x="147" y="75"/>
                </a:cubicBezTo>
                <a:cubicBezTo>
                  <a:pt x="148" y="72"/>
                  <a:pt x="145" y="73"/>
                  <a:pt x="146" y="71"/>
                </a:cubicBezTo>
                <a:cubicBezTo>
                  <a:pt x="145" y="72"/>
                  <a:pt x="145" y="71"/>
                  <a:pt x="145" y="70"/>
                </a:cubicBezTo>
                <a:cubicBezTo>
                  <a:pt x="145" y="70"/>
                  <a:pt x="144" y="71"/>
                  <a:pt x="144" y="70"/>
                </a:cubicBezTo>
                <a:cubicBezTo>
                  <a:pt x="143" y="70"/>
                  <a:pt x="143" y="69"/>
                  <a:pt x="143" y="69"/>
                </a:cubicBezTo>
                <a:cubicBezTo>
                  <a:pt x="142" y="68"/>
                  <a:pt x="142" y="67"/>
                  <a:pt x="142" y="66"/>
                </a:cubicBezTo>
                <a:cubicBezTo>
                  <a:pt x="141" y="65"/>
                  <a:pt x="140" y="64"/>
                  <a:pt x="138" y="63"/>
                </a:cubicBezTo>
                <a:cubicBezTo>
                  <a:pt x="138" y="62"/>
                  <a:pt x="138" y="62"/>
                  <a:pt x="137" y="61"/>
                </a:cubicBezTo>
                <a:cubicBezTo>
                  <a:pt x="137" y="61"/>
                  <a:pt x="137" y="61"/>
                  <a:pt x="137" y="61"/>
                </a:cubicBezTo>
                <a:cubicBezTo>
                  <a:pt x="138" y="61"/>
                  <a:pt x="138" y="61"/>
                  <a:pt x="139" y="61"/>
                </a:cubicBezTo>
                <a:cubicBezTo>
                  <a:pt x="139" y="61"/>
                  <a:pt x="140" y="61"/>
                  <a:pt x="141" y="61"/>
                </a:cubicBezTo>
                <a:cubicBezTo>
                  <a:pt x="140" y="60"/>
                  <a:pt x="140" y="59"/>
                  <a:pt x="140" y="59"/>
                </a:cubicBezTo>
                <a:cubicBezTo>
                  <a:pt x="139" y="58"/>
                  <a:pt x="139" y="57"/>
                  <a:pt x="138" y="56"/>
                </a:cubicBezTo>
                <a:cubicBezTo>
                  <a:pt x="138" y="56"/>
                  <a:pt x="138" y="55"/>
                  <a:pt x="138" y="54"/>
                </a:cubicBezTo>
                <a:cubicBezTo>
                  <a:pt x="138" y="53"/>
                  <a:pt x="138" y="52"/>
                  <a:pt x="137" y="52"/>
                </a:cubicBezTo>
                <a:cubicBezTo>
                  <a:pt x="136" y="51"/>
                  <a:pt x="136" y="50"/>
                  <a:pt x="136" y="49"/>
                </a:cubicBezTo>
                <a:cubicBezTo>
                  <a:pt x="136" y="48"/>
                  <a:pt x="135" y="47"/>
                  <a:pt x="135" y="46"/>
                </a:cubicBezTo>
                <a:cubicBezTo>
                  <a:pt x="135" y="45"/>
                  <a:pt x="135" y="44"/>
                  <a:pt x="134" y="43"/>
                </a:cubicBezTo>
                <a:cubicBezTo>
                  <a:pt x="133" y="42"/>
                  <a:pt x="133" y="41"/>
                  <a:pt x="132" y="40"/>
                </a:cubicBezTo>
                <a:cubicBezTo>
                  <a:pt x="131" y="39"/>
                  <a:pt x="131" y="37"/>
                  <a:pt x="130" y="37"/>
                </a:cubicBezTo>
                <a:cubicBezTo>
                  <a:pt x="129" y="36"/>
                  <a:pt x="128" y="36"/>
                  <a:pt x="127" y="35"/>
                </a:cubicBezTo>
                <a:cubicBezTo>
                  <a:pt x="127" y="35"/>
                  <a:pt x="127" y="35"/>
                  <a:pt x="127" y="35"/>
                </a:cubicBezTo>
                <a:cubicBezTo>
                  <a:pt x="127" y="35"/>
                  <a:pt x="127" y="35"/>
                  <a:pt x="127" y="35"/>
                </a:cubicBezTo>
                <a:cubicBezTo>
                  <a:pt x="127" y="34"/>
                  <a:pt x="126" y="34"/>
                  <a:pt x="126" y="34"/>
                </a:cubicBezTo>
                <a:cubicBezTo>
                  <a:pt x="126" y="34"/>
                  <a:pt x="126" y="34"/>
                  <a:pt x="126" y="34"/>
                </a:cubicBezTo>
                <a:cubicBezTo>
                  <a:pt x="126" y="34"/>
                  <a:pt x="126" y="34"/>
                  <a:pt x="126" y="33"/>
                </a:cubicBezTo>
                <a:cubicBezTo>
                  <a:pt x="126" y="33"/>
                  <a:pt x="126" y="33"/>
                  <a:pt x="126" y="33"/>
                </a:cubicBezTo>
                <a:cubicBezTo>
                  <a:pt x="125" y="33"/>
                  <a:pt x="125" y="33"/>
                  <a:pt x="124" y="33"/>
                </a:cubicBezTo>
                <a:cubicBezTo>
                  <a:pt x="124" y="33"/>
                  <a:pt x="124" y="33"/>
                  <a:pt x="124" y="33"/>
                </a:cubicBezTo>
                <a:cubicBezTo>
                  <a:pt x="123" y="34"/>
                  <a:pt x="122" y="32"/>
                  <a:pt x="121" y="32"/>
                </a:cubicBezTo>
                <a:cubicBezTo>
                  <a:pt x="121" y="32"/>
                  <a:pt x="121" y="32"/>
                  <a:pt x="121" y="32"/>
                </a:cubicBezTo>
                <a:cubicBezTo>
                  <a:pt x="121" y="32"/>
                  <a:pt x="121" y="32"/>
                  <a:pt x="121" y="32"/>
                </a:cubicBezTo>
                <a:cubicBezTo>
                  <a:pt x="121" y="32"/>
                  <a:pt x="121" y="32"/>
                  <a:pt x="120" y="32"/>
                </a:cubicBezTo>
                <a:cubicBezTo>
                  <a:pt x="121" y="32"/>
                  <a:pt x="121" y="32"/>
                  <a:pt x="121" y="32"/>
                </a:cubicBezTo>
                <a:cubicBezTo>
                  <a:pt x="121" y="32"/>
                  <a:pt x="121" y="32"/>
                  <a:pt x="121" y="32"/>
                </a:cubicBezTo>
                <a:cubicBezTo>
                  <a:pt x="121" y="31"/>
                  <a:pt x="121" y="30"/>
                  <a:pt x="121" y="29"/>
                </a:cubicBezTo>
                <a:cubicBezTo>
                  <a:pt x="121" y="29"/>
                  <a:pt x="121" y="29"/>
                  <a:pt x="121" y="29"/>
                </a:cubicBezTo>
                <a:cubicBezTo>
                  <a:pt x="121" y="29"/>
                  <a:pt x="121" y="29"/>
                  <a:pt x="122" y="29"/>
                </a:cubicBezTo>
                <a:cubicBezTo>
                  <a:pt x="122" y="29"/>
                  <a:pt x="122" y="29"/>
                  <a:pt x="122" y="28"/>
                </a:cubicBezTo>
                <a:cubicBezTo>
                  <a:pt x="122" y="28"/>
                  <a:pt x="123" y="27"/>
                  <a:pt x="124" y="27"/>
                </a:cubicBezTo>
                <a:cubicBezTo>
                  <a:pt x="124" y="27"/>
                  <a:pt x="124" y="27"/>
                  <a:pt x="124" y="27"/>
                </a:cubicBezTo>
                <a:cubicBezTo>
                  <a:pt x="124" y="27"/>
                  <a:pt x="124" y="26"/>
                  <a:pt x="124" y="26"/>
                </a:cubicBezTo>
                <a:cubicBezTo>
                  <a:pt x="125" y="26"/>
                  <a:pt x="125" y="26"/>
                  <a:pt x="125" y="26"/>
                </a:cubicBezTo>
                <a:cubicBezTo>
                  <a:pt x="125" y="26"/>
                  <a:pt x="125" y="26"/>
                  <a:pt x="125" y="26"/>
                </a:cubicBezTo>
                <a:cubicBezTo>
                  <a:pt x="125" y="26"/>
                  <a:pt x="125" y="26"/>
                  <a:pt x="125" y="26"/>
                </a:cubicBezTo>
                <a:cubicBezTo>
                  <a:pt x="125" y="26"/>
                  <a:pt x="125" y="26"/>
                  <a:pt x="126" y="26"/>
                </a:cubicBezTo>
                <a:cubicBezTo>
                  <a:pt x="126" y="26"/>
                  <a:pt x="126" y="26"/>
                  <a:pt x="126" y="26"/>
                </a:cubicBezTo>
                <a:cubicBezTo>
                  <a:pt x="126" y="26"/>
                  <a:pt x="126" y="26"/>
                  <a:pt x="127" y="25"/>
                </a:cubicBezTo>
                <a:cubicBezTo>
                  <a:pt x="127" y="25"/>
                  <a:pt x="127" y="25"/>
                  <a:pt x="127" y="25"/>
                </a:cubicBezTo>
                <a:cubicBezTo>
                  <a:pt x="127" y="25"/>
                  <a:pt x="127" y="25"/>
                  <a:pt x="128" y="25"/>
                </a:cubicBezTo>
                <a:cubicBezTo>
                  <a:pt x="128" y="25"/>
                  <a:pt x="128" y="25"/>
                  <a:pt x="128" y="25"/>
                </a:cubicBezTo>
                <a:cubicBezTo>
                  <a:pt x="128" y="25"/>
                  <a:pt x="129" y="25"/>
                  <a:pt x="129" y="25"/>
                </a:cubicBezTo>
                <a:cubicBezTo>
                  <a:pt x="129" y="25"/>
                  <a:pt x="129" y="25"/>
                  <a:pt x="129" y="24"/>
                </a:cubicBezTo>
                <a:cubicBezTo>
                  <a:pt x="130" y="24"/>
                  <a:pt x="130" y="24"/>
                  <a:pt x="130" y="24"/>
                </a:cubicBezTo>
                <a:cubicBezTo>
                  <a:pt x="130" y="24"/>
                  <a:pt x="130" y="24"/>
                  <a:pt x="131" y="24"/>
                </a:cubicBezTo>
                <a:cubicBezTo>
                  <a:pt x="131" y="24"/>
                  <a:pt x="131" y="24"/>
                  <a:pt x="131" y="24"/>
                </a:cubicBezTo>
                <a:cubicBezTo>
                  <a:pt x="132" y="24"/>
                  <a:pt x="133" y="24"/>
                  <a:pt x="134" y="23"/>
                </a:cubicBezTo>
                <a:cubicBezTo>
                  <a:pt x="134" y="23"/>
                  <a:pt x="134" y="23"/>
                  <a:pt x="134" y="23"/>
                </a:cubicBezTo>
                <a:cubicBezTo>
                  <a:pt x="134" y="23"/>
                  <a:pt x="134" y="23"/>
                  <a:pt x="134" y="23"/>
                </a:cubicBezTo>
                <a:cubicBezTo>
                  <a:pt x="135" y="23"/>
                  <a:pt x="135" y="23"/>
                  <a:pt x="135" y="23"/>
                </a:cubicBezTo>
                <a:cubicBezTo>
                  <a:pt x="135" y="23"/>
                  <a:pt x="135" y="22"/>
                  <a:pt x="135" y="21"/>
                </a:cubicBezTo>
                <a:cubicBezTo>
                  <a:pt x="135" y="21"/>
                  <a:pt x="135" y="21"/>
                  <a:pt x="135" y="21"/>
                </a:cubicBezTo>
                <a:cubicBezTo>
                  <a:pt x="135" y="20"/>
                  <a:pt x="135" y="20"/>
                  <a:pt x="135" y="19"/>
                </a:cubicBezTo>
                <a:cubicBezTo>
                  <a:pt x="136" y="19"/>
                  <a:pt x="136" y="19"/>
                  <a:pt x="136" y="18"/>
                </a:cubicBezTo>
                <a:cubicBezTo>
                  <a:pt x="136" y="17"/>
                  <a:pt x="136" y="16"/>
                  <a:pt x="137" y="15"/>
                </a:cubicBezTo>
                <a:cubicBezTo>
                  <a:pt x="136" y="14"/>
                  <a:pt x="136" y="13"/>
                  <a:pt x="136" y="12"/>
                </a:cubicBezTo>
                <a:cubicBezTo>
                  <a:pt x="137" y="12"/>
                  <a:pt x="137" y="11"/>
                  <a:pt x="137" y="11"/>
                </a:cubicBezTo>
                <a:cubicBezTo>
                  <a:pt x="137" y="11"/>
                  <a:pt x="137" y="10"/>
                  <a:pt x="137" y="9"/>
                </a:cubicBezTo>
                <a:cubicBezTo>
                  <a:pt x="139" y="9"/>
                  <a:pt x="138" y="7"/>
                  <a:pt x="140" y="8"/>
                </a:cubicBezTo>
                <a:cubicBezTo>
                  <a:pt x="141" y="7"/>
                  <a:pt x="142" y="7"/>
                  <a:pt x="142" y="6"/>
                </a:cubicBezTo>
                <a:cubicBezTo>
                  <a:pt x="143" y="5"/>
                  <a:pt x="142" y="3"/>
                  <a:pt x="140" y="4"/>
                </a:cubicBezTo>
                <a:cubicBezTo>
                  <a:pt x="140" y="3"/>
                  <a:pt x="139" y="2"/>
                  <a:pt x="138" y="1"/>
                </a:cubicBezTo>
                <a:cubicBezTo>
                  <a:pt x="138" y="0"/>
                  <a:pt x="138" y="0"/>
                  <a:pt x="138" y="0"/>
                </a:cubicBezTo>
                <a:cubicBezTo>
                  <a:pt x="137" y="0"/>
                  <a:pt x="137" y="0"/>
                  <a:pt x="137" y="0"/>
                </a:cubicBezTo>
                <a:cubicBezTo>
                  <a:pt x="136" y="2"/>
                  <a:pt x="135" y="3"/>
                  <a:pt x="133" y="4"/>
                </a:cubicBezTo>
                <a:cubicBezTo>
                  <a:pt x="130" y="4"/>
                  <a:pt x="128" y="3"/>
                  <a:pt x="125" y="4"/>
                </a:cubicBezTo>
                <a:cubicBezTo>
                  <a:pt x="124" y="4"/>
                  <a:pt x="123" y="3"/>
                  <a:pt x="121" y="4"/>
                </a:cubicBezTo>
                <a:cubicBezTo>
                  <a:pt x="121" y="4"/>
                  <a:pt x="121" y="5"/>
                  <a:pt x="120" y="5"/>
                </a:cubicBezTo>
                <a:cubicBezTo>
                  <a:pt x="119" y="5"/>
                  <a:pt x="119" y="5"/>
                  <a:pt x="118" y="5"/>
                </a:cubicBezTo>
                <a:cubicBezTo>
                  <a:pt x="118" y="5"/>
                  <a:pt x="118" y="6"/>
                  <a:pt x="117" y="6"/>
                </a:cubicBezTo>
                <a:cubicBezTo>
                  <a:pt x="114" y="6"/>
                  <a:pt x="112" y="5"/>
                  <a:pt x="110" y="4"/>
                </a:cubicBezTo>
                <a:cubicBezTo>
                  <a:pt x="108" y="3"/>
                  <a:pt x="107" y="2"/>
                  <a:pt x="105" y="2"/>
                </a:cubicBezTo>
                <a:cubicBezTo>
                  <a:pt x="105" y="2"/>
                  <a:pt x="104" y="2"/>
                  <a:pt x="104" y="3"/>
                </a:cubicBezTo>
                <a:cubicBezTo>
                  <a:pt x="104" y="3"/>
                  <a:pt x="104" y="4"/>
                  <a:pt x="103" y="4"/>
                </a:cubicBezTo>
                <a:cubicBezTo>
                  <a:pt x="101" y="4"/>
                  <a:pt x="101" y="3"/>
                  <a:pt x="99" y="2"/>
                </a:cubicBezTo>
                <a:cubicBezTo>
                  <a:pt x="96" y="2"/>
                  <a:pt x="93" y="2"/>
                  <a:pt x="91" y="1"/>
                </a:cubicBezTo>
                <a:cubicBezTo>
                  <a:pt x="90" y="1"/>
                  <a:pt x="90" y="2"/>
                  <a:pt x="89" y="2"/>
                </a:cubicBezTo>
                <a:cubicBezTo>
                  <a:pt x="88" y="2"/>
                  <a:pt x="87" y="3"/>
                  <a:pt x="87" y="4"/>
                </a:cubicBezTo>
                <a:cubicBezTo>
                  <a:pt x="87" y="3"/>
                  <a:pt x="87" y="3"/>
                  <a:pt x="86" y="3"/>
                </a:cubicBezTo>
                <a:cubicBezTo>
                  <a:pt x="85" y="2"/>
                  <a:pt x="85" y="2"/>
                  <a:pt x="86" y="1"/>
                </a:cubicBezTo>
                <a:cubicBezTo>
                  <a:pt x="87" y="1"/>
                  <a:pt x="86" y="1"/>
                  <a:pt x="87" y="0"/>
                </a:cubicBezTo>
                <a:cubicBezTo>
                  <a:pt x="84" y="0"/>
                  <a:pt x="84" y="1"/>
                  <a:pt x="82" y="1"/>
                </a:cubicBezTo>
                <a:cubicBezTo>
                  <a:pt x="82" y="3"/>
                  <a:pt x="83" y="4"/>
                  <a:pt x="84" y="4"/>
                </a:cubicBezTo>
                <a:cubicBezTo>
                  <a:pt x="84" y="6"/>
                  <a:pt x="82" y="4"/>
                  <a:pt x="82" y="4"/>
                </a:cubicBezTo>
                <a:cubicBezTo>
                  <a:pt x="80" y="4"/>
                  <a:pt x="80" y="2"/>
                  <a:pt x="78" y="3"/>
                </a:cubicBezTo>
                <a:cubicBezTo>
                  <a:pt x="77" y="6"/>
                  <a:pt x="82" y="6"/>
                  <a:pt x="80" y="8"/>
                </a:cubicBezTo>
                <a:cubicBezTo>
                  <a:pt x="79" y="8"/>
                  <a:pt x="79" y="9"/>
                  <a:pt x="79" y="9"/>
                </a:cubicBezTo>
                <a:cubicBezTo>
                  <a:pt x="79" y="9"/>
                  <a:pt x="78" y="10"/>
                  <a:pt x="78" y="10"/>
                </a:cubicBezTo>
                <a:cubicBezTo>
                  <a:pt x="78" y="10"/>
                  <a:pt x="77" y="9"/>
                  <a:pt x="77" y="9"/>
                </a:cubicBezTo>
                <a:cubicBezTo>
                  <a:pt x="73" y="9"/>
                  <a:pt x="73" y="9"/>
                  <a:pt x="73" y="9"/>
                </a:cubicBezTo>
                <a:cubicBezTo>
                  <a:pt x="72" y="9"/>
                  <a:pt x="71" y="9"/>
                  <a:pt x="71" y="10"/>
                </a:cubicBezTo>
                <a:cubicBezTo>
                  <a:pt x="71" y="10"/>
                  <a:pt x="71" y="10"/>
                  <a:pt x="71" y="11"/>
                </a:cubicBezTo>
                <a:cubicBezTo>
                  <a:pt x="70" y="10"/>
                  <a:pt x="69" y="10"/>
                  <a:pt x="69" y="11"/>
                </a:cubicBezTo>
                <a:cubicBezTo>
                  <a:pt x="66" y="12"/>
                  <a:pt x="67" y="9"/>
                  <a:pt x="64" y="10"/>
                </a:cubicBezTo>
                <a:cubicBezTo>
                  <a:pt x="63" y="10"/>
                  <a:pt x="62" y="12"/>
                  <a:pt x="64" y="12"/>
                </a:cubicBezTo>
                <a:cubicBezTo>
                  <a:pt x="63" y="13"/>
                  <a:pt x="62" y="12"/>
                  <a:pt x="62" y="13"/>
                </a:cubicBezTo>
                <a:cubicBezTo>
                  <a:pt x="61" y="14"/>
                  <a:pt x="60" y="15"/>
                  <a:pt x="59" y="15"/>
                </a:cubicBezTo>
                <a:cubicBezTo>
                  <a:pt x="57" y="15"/>
                  <a:pt x="57" y="13"/>
                  <a:pt x="55" y="14"/>
                </a:cubicBezTo>
                <a:cubicBezTo>
                  <a:pt x="53" y="14"/>
                  <a:pt x="53" y="17"/>
                  <a:pt x="52" y="17"/>
                </a:cubicBezTo>
                <a:cubicBezTo>
                  <a:pt x="52" y="18"/>
                  <a:pt x="49" y="19"/>
                  <a:pt x="51" y="20"/>
                </a:cubicBezTo>
                <a:cubicBezTo>
                  <a:pt x="51" y="20"/>
                  <a:pt x="50" y="20"/>
                  <a:pt x="50" y="20"/>
                </a:cubicBezTo>
                <a:cubicBezTo>
                  <a:pt x="48" y="20"/>
                  <a:pt x="48" y="20"/>
                  <a:pt x="48" y="20"/>
                </a:cubicBezTo>
                <a:cubicBezTo>
                  <a:pt x="47" y="22"/>
                  <a:pt x="50" y="22"/>
                  <a:pt x="49" y="24"/>
                </a:cubicBezTo>
                <a:cubicBezTo>
                  <a:pt x="47" y="25"/>
                  <a:pt x="45" y="25"/>
                  <a:pt x="43" y="25"/>
                </a:cubicBezTo>
                <a:cubicBezTo>
                  <a:pt x="42" y="25"/>
                  <a:pt x="42" y="25"/>
                  <a:pt x="42" y="26"/>
                </a:cubicBezTo>
                <a:cubicBezTo>
                  <a:pt x="41" y="26"/>
                  <a:pt x="41" y="26"/>
                  <a:pt x="41" y="26"/>
                </a:cubicBezTo>
                <a:cubicBezTo>
                  <a:pt x="40" y="27"/>
                  <a:pt x="37" y="28"/>
                  <a:pt x="35" y="29"/>
                </a:cubicBezTo>
                <a:cubicBezTo>
                  <a:pt x="35" y="32"/>
                  <a:pt x="38" y="35"/>
                  <a:pt x="36" y="38"/>
                </a:cubicBezTo>
                <a:cubicBezTo>
                  <a:pt x="35" y="38"/>
                  <a:pt x="35" y="38"/>
                  <a:pt x="34" y="38"/>
                </a:cubicBezTo>
                <a:cubicBezTo>
                  <a:pt x="35" y="38"/>
                  <a:pt x="35" y="38"/>
                  <a:pt x="35" y="39"/>
                </a:cubicBezTo>
                <a:cubicBezTo>
                  <a:pt x="36" y="39"/>
                  <a:pt x="36" y="40"/>
                  <a:pt x="36" y="40"/>
                </a:cubicBezTo>
                <a:cubicBezTo>
                  <a:pt x="38" y="41"/>
                  <a:pt x="38" y="38"/>
                  <a:pt x="41" y="38"/>
                </a:cubicBezTo>
                <a:cubicBezTo>
                  <a:pt x="41" y="40"/>
                  <a:pt x="40" y="41"/>
                  <a:pt x="39" y="40"/>
                </a:cubicBezTo>
                <a:cubicBezTo>
                  <a:pt x="38" y="42"/>
                  <a:pt x="37" y="42"/>
                  <a:pt x="36" y="42"/>
                </a:cubicBezTo>
                <a:cubicBezTo>
                  <a:pt x="35" y="43"/>
                  <a:pt x="38" y="44"/>
                  <a:pt x="36" y="45"/>
                </a:cubicBezTo>
                <a:cubicBezTo>
                  <a:pt x="36" y="46"/>
                  <a:pt x="37" y="46"/>
                  <a:pt x="38" y="47"/>
                </a:cubicBezTo>
                <a:cubicBezTo>
                  <a:pt x="38" y="49"/>
                  <a:pt x="37" y="49"/>
                  <a:pt x="37" y="50"/>
                </a:cubicBezTo>
                <a:cubicBezTo>
                  <a:pt x="41" y="51"/>
                  <a:pt x="43" y="48"/>
                  <a:pt x="46" y="50"/>
                </a:cubicBezTo>
                <a:cubicBezTo>
                  <a:pt x="46" y="52"/>
                  <a:pt x="43" y="50"/>
                  <a:pt x="42" y="51"/>
                </a:cubicBezTo>
                <a:cubicBezTo>
                  <a:pt x="42" y="51"/>
                  <a:pt x="42" y="52"/>
                  <a:pt x="42" y="52"/>
                </a:cubicBezTo>
                <a:cubicBezTo>
                  <a:pt x="42" y="52"/>
                  <a:pt x="41" y="52"/>
                  <a:pt x="41" y="52"/>
                </a:cubicBezTo>
                <a:cubicBezTo>
                  <a:pt x="40" y="52"/>
                  <a:pt x="40" y="53"/>
                  <a:pt x="39" y="53"/>
                </a:cubicBezTo>
                <a:cubicBezTo>
                  <a:pt x="39" y="55"/>
                  <a:pt x="39" y="55"/>
                  <a:pt x="39" y="55"/>
                </a:cubicBezTo>
                <a:cubicBezTo>
                  <a:pt x="39" y="55"/>
                  <a:pt x="39" y="55"/>
                  <a:pt x="39" y="56"/>
                </a:cubicBezTo>
                <a:cubicBezTo>
                  <a:pt x="40" y="58"/>
                  <a:pt x="39" y="61"/>
                  <a:pt x="42" y="61"/>
                </a:cubicBezTo>
                <a:cubicBezTo>
                  <a:pt x="42" y="61"/>
                  <a:pt x="43" y="61"/>
                  <a:pt x="43" y="61"/>
                </a:cubicBezTo>
                <a:cubicBezTo>
                  <a:pt x="44" y="61"/>
                  <a:pt x="44" y="61"/>
                  <a:pt x="44" y="61"/>
                </a:cubicBezTo>
                <a:cubicBezTo>
                  <a:pt x="44" y="63"/>
                  <a:pt x="44" y="64"/>
                  <a:pt x="44" y="65"/>
                </a:cubicBezTo>
                <a:cubicBezTo>
                  <a:pt x="44" y="66"/>
                  <a:pt x="46" y="66"/>
                  <a:pt x="46" y="68"/>
                </a:cubicBezTo>
                <a:cubicBezTo>
                  <a:pt x="46" y="69"/>
                  <a:pt x="47" y="69"/>
                  <a:pt x="47" y="70"/>
                </a:cubicBezTo>
                <a:cubicBezTo>
                  <a:pt x="49" y="70"/>
                  <a:pt x="50" y="70"/>
                  <a:pt x="50" y="71"/>
                </a:cubicBezTo>
                <a:cubicBezTo>
                  <a:pt x="52" y="71"/>
                  <a:pt x="52" y="70"/>
                  <a:pt x="52" y="71"/>
                </a:cubicBezTo>
                <a:cubicBezTo>
                  <a:pt x="53" y="71"/>
                  <a:pt x="54" y="71"/>
                  <a:pt x="55" y="71"/>
                </a:cubicBezTo>
                <a:cubicBezTo>
                  <a:pt x="55" y="72"/>
                  <a:pt x="57" y="72"/>
                  <a:pt x="57" y="73"/>
                </a:cubicBezTo>
                <a:cubicBezTo>
                  <a:pt x="56" y="74"/>
                  <a:pt x="57" y="74"/>
                  <a:pt x="57" y="75"/>
                </a:cubicBezTo>
                <a:cubicBezTo>
                  <a:pt x="58" y="75"/>
                  <a:pt x="58" y="74"/>
                  <a:pt x="58" y="73"/>
                </a:cubicBezTo>
                <a:cubicBezTo>
                  <a:pt x="58" y="73"/>
                  <a:pt x="59" y="73"/>
                  <a:pt x="59" y="73"/>
                </a:cubicBezTo>
                <a:cubicBezTo>
                  <a:pt x="60" y="72"/>
                  <a:pt x="60" y="71"/>
                  <a:pt x="62" y="70"/>
                </a:cubicBezTo>
                <a:cubicBezTo>
                  <a:pt x="61" y="69"/>
                  <a:pt x="61" y="67"/>
                  <a:pt x="62" y="66"/>
                </a:cubicBezTo>
                <a:cubicBezTo>
                  <a:pt x="63" y="66"/>
                  <a:pt x="65" y="66"/>
                  <a:pt x="66" y="66"/>
                </a:cubicBezTo>
                <a:cubicBezTo>
                  <a:pt x="66" y="67"/>
                  <a:pt x="67" y="68"/>
                  <a:pt x="66" y="70"/>
                </a:cubicBezTo>
                <a:cubicBezTo>
                  <a:pt x="66" y="70"/>
                  <a:pt x="66" y="71"/>
                  <a:pt x="66" y="70"/>
                </a:cubicBezTo>
                <a:cubicBezTo>
                  <a:pt x="65" y="72"/>
                  <a:pt x="66" y="73"/>
                  <a:pt x="66" y="74"/>
                </a:cubicBezTo>
                <a:cubicBezTo>
                  <a:pt x="66" y="75"/>
                  <a:pt x="66" y="76"/>
                  <a:pt x="66" y="77"/>
                </a:cubicBezTo>
                <a:cubicBezTo>
                  <a:pt x="66" y="79"/>
                  <a:pt x="66" y="81"/>
                  <a:pt x="66" y="82"/>
                </a:cubicBezTo>
                <a:cubicBezTo>
                  <a:pt x="66" y="83"/>
                  <a:pt x="65" y="83"/>
                  <a:pt x="65" y="84"/>
                </a:cubicBezTo>
                <a:cubicBezTo>
                  <a:pt x="65" y="86"/>
                  <a:pt x="64" y="86"/>
                  <a:pt x="65" y="86"/>
                </a:cubicBezTo>
                <a:cubicBezTo>
                  <a:pt x="66" y="86"/>
                  <a:pt x="66" y="86"/>
                  <a:pt x="66" y="85"/>
                </a:cubicBezTo>
                <a:cubicBezTo>
                  <a:pt x="67" y="85"/>
                  <a:pt x="67" y="84"/>
                  <a:pt x="68" y="84"/>
                </a:cubicBezTo>
                <a:cubicBezTo>
                  <a:pt x="70" y="83"/>
                  <a:pt x="71" y="82"/>
                  <a:pt x="73" y="81"/>
                </a:cubicBezTo>
                <a:cubicBezTo>
                  <a:pt x="73" y="80"/>
                  <a:pt x="74" y="80"/>
                  <a:pt x="75" y="79"/>
                </a:cubicBezTo>
                <a:cubicBezTo>
                  <a:pt x="75" y="78"/>
                  <a:pt x="76" y="78"/>
                  <a:pt x="77" y="77"/>
                </a:cubicBezTo>
                <a:cubicBezTo>
                  <a:pt x="78" y="77"/>
                  <a:pt x="78" y="76"/>
                  <a:pt x="79" y="76"/>
                </a:cubicBezTo>
                <a:cubicBezTo>
                  <a:pt x="80" y="76"/>
                  <a:pt x="80" y="77"/>
                  <a:pt x="81" y="77"/>
                </a:cubicBezTo>
                <a:cubicBezTo>
                  <a:pt x="81" y="76"/>
                  <a:pt x="81" y="75"/>
                  <a:pt x="82" y="75"/>
                </a:cubicBezTo>
                <a:cubicBezTo>
                  <a:pt x="84" y="75"/>
                  <a:pt x="86" y="74"/>
                  <a:pt x="89" y="75"/>
                </a:cubicBezTo>
                <a:cubicBezTo>
                  <a:pt x="90" y="75"/>
                  <a:pt x="90" y="76"/>
                  <a:pt x="91" y="75"/>
                </a:cubicBezTo>
                <a:cubicBezTo>
                  <a:pt x="93" y="76"/>
                  <a:pt x="93" y="78"/>
                  <a:pt x="95" y="77"/>
                </a:cubicBezTo>
                <a:cubicBezTo>
                  <a:pt x="95" y="78"/>
                  <a:pt x="96" y="78"/>
                  <a:pt x="96" y="79"/>
                </a:cubicBezTo>
                <a:cubicBezTo>
                  <a:pt x="96" y="80"/>
                  <a:pt x="99" y="79"/>
                  <a:pt x="100" y="79"/>
                </a:cubicBezTo>
                <a:cubicBezTo>
                  <a:pt x="100" y="81"/>
                  <a:pt x="102" y="80"/>
                  <a:pt x="103" y="82"/>
                </a:cubicBezTo>
                <a:cubicBezTo>
                  <a:pt x="104" y="82"/>
                  <a:pt x="104" y="82"/>
                  <a:pt x="104" y="82"/>
                </a:cubicBezTo>
                <a:cubicBezTo>
                  <a:pt x="106" y="81"/>
                  <a:pt x="108" y="81"/>
                  <a:pt x="108" y="83"/>
                </a:cubicBezTo>
                <a:cubicBezTo>
                  <a:pt x="108" y="83"/>
                  <a:pt x="108" y="83"/>
                  <a:pt x="109" y="83"/>
                </a:cubicBezTo>
                <a:cubicBezTo>
                  <a:pt x="109" y="83"/>
                  <a:pt x="109" y="84"/>
                  <a:pt x="109" y="84"/>
                </a:cubicBezTo>
                <a:cubicBezTo>
                  <a:pt x="109" y="84"/>
                  <a:pt x="109" y="84"/>
                  <a:pt x="109" y="84"/>
                </a:cubicBezTo>
                <a:cubicBezTo>
                  <a:pt x="110" y="85"/>
                  <a:pt x="110" y="85"/>
                  <a:pt x="110" y="85"/>
                </a:cubicBezTo>
                <a:cubicBezTo>
                  <a:pt x="110" y="85"/>
                  <a:pt x="111" y="85"/>
                  <a:pt x="111" y="85"/>
                </a:cubicBezTo>
                <a:cubicBezTo>
                  <a:pt x="112" y="86"/>
                  <a:pt x="113" y="87"/>
                  <a:pt x="113" y="88"/>
                </a:cubicBezTo>
                <a:cubicBezTo>
                  <a:pt x="113" y="88"/>
                  <a:pt x="113" y="88"/>
                  <a:pt x="113" y="88"/>
                </a:cubicBezTo>
                <a:cubicBezTo>
                  <a:pt x="113" y="88"/>
                  <a:pt x="113" y="88"/>
                  <a:pt x="113" y="88"/>
                </a:cubicBezTo>
                <a:cubicBezTo>
                  <a:pt x="113" y="88"/>
                  <a:pt x="113" y="88"/>
                  <a:pt x="113" y="88"/>
                </a:cubicBezTo>
                <a:cubicBezTo>
                  <a:pt x="113" y="89"/>
                  <a:pt x="113" y="89"/>
                  <a:pt x="114" y="90"/>
                </a:cubicBezTo>
                <a:cubicBezTo>
                  <a:pt x="114" y="90"/>
                  <a:pt x="114" y="90"/>
                  <a:pt x="114" y="90"/>
                </a:cubicBezTo>
                <a:cubicBezTo>
                  <a:pt x="114" y="90"/>
                  <a:pt x="114" y="90"/>
                  <a:pt x="114" y="90"/>
                </a:cubicBezTo>
                <a:cubicBezTo>
                  <a:pt x="114" y="90"/>
                  <a:pt x="114" y="90"/>
                  <a:pt x="114" y="90"/>
                </a:cubicBezTo>
                <a:cubicBezTo>
                  <a:pt x="115" y="90"/>
                  <a:pt x="114" y="91"/>
                  <a:pt x="114" y="91"/>
                </a:cubicBezTo>
                <a:cubicBezTo>
                  <a:pt x="115" y="91"/>
                  <a:pt x="116" y="91"/>
                  <a:pt x="116" y="91"/>
                </a:cubicBezTo>
                <a:cubicBezTo>
                  <a:pt x="116" y="91"/>
                  <a:pt x="117" y="91"/>
                  <a:pt x="117" y="92"/>
                </a:cubicBezTo>
                <a:cubicBezTo>
                  <a:pt x="118" y="92"/>
                  <a:pt x="118" y="92"/>
                  <a:pt x="118" y="92"/>
                </a:cubicBezTo>
                <a:cubicBezTo>
                  <a:pt x="118" y="92"/>
                  <a:pt x="119" y="92"/>
                  <a:pt x="119" y="93"/>
                </a:cubicBezTo>
                <a:cubicBezTo>
                  <a:pt x="119" y="93"/>
                  <a:pt x="120" y="93"/>
                  <a:pt x="120" y="93"/>
                </a:cubicBezTo>
                <a:cubicBezTo>
                  <a:pt x="121" y="93"/>
                  <a:pt x="122" y="94"/>
                  <a:pt x="122" y="93"/>
                </a:cubicBezTo>
                <a:cubicBezTo>
                  <a:pt x="122" y="93"/>
                  <a:pt x="123" y="92"/>
                  <a:pt x="123" y="92"/>
                </a:cubicBezTo>
                <a:cubicBezTo>
                  <a:pt x="124" y="91"/>
                  <a:pt x="125" y="91"/>
                  <a:pt x="126" y="91"/>
                </a:cubicBezTo>
                <a:cubicBezTo>
                  <a:pt x="127" y="89"/>
                  <a:pt x="129" y="88"/>
                  <a:pt x="131" y="87"/>
                </a:cubicBezTo>
                <a:cubicBezTo>
                  <a:pt x="132" y="87"/>
                  <a:pt x="132" y="88"/>
                  <a:pt x="133" y="88"/>
                </a:cubicBezTo>
                <a:cubicBezTo>
                  <a:pt x="134" y="89"/>
                  <a:pt x="134" y="89"/>
                  <a:pt x="135" y="89"/>
                </a:cubicBezTo>
                <a:cubicBezTo>
                  <a:pt x="138" y="89"/>
                  <a:pt x="140" y="89"/>
                  <a:pt x="143" y="89"/>
                </a:cubicBezTo>
                <a:cubicBezTo>
                  <a:pt x="143" y="87"/>
                  <a:pt x="144" y="87"/>
                  <a:pt x="144" y="85"/>
                </a:cubicBezTo>
                <a:cubicBezTo>
                  <a:pt x="144" y="84"/>
                  <a:pt x="146" y="84"/>
                  <a:pt x="146" y="82"/>
                </a:cubicBezTo>
                <a:cubicBezTo>
                  <a:pt x="145" y="81"/>
                  <a:pt x="145" y="79"/>
                  <a:pt x="145" y="77"/>
                </a:cubicBezTo>
                <a:cubicBezTo>
                  <a:pt x="145" y="76"/>
                  <a:pt x="144" y="76"/>
                  <a:pt x="143" y="76"/>
                </a:cubicBezTo>
                <a:cubicBezTo>
                  <a:pt x="143" y="75"/>
                  <a:pt x="144" y="76"/>
                  <a:pt x="144" y="75"/>
                </a:cubicBezTo>
                <a:close/>
                <a:moveTo>
                  <a:pt x="120" y="32"/>
                </a:moveTo>
                <a:cubicBezTo>
                  <a:pt x="120" y="32"/>
                  <a:pt x="120" y="32"/>
                  <a:pt x="120" y="32"/>
                </a:cubicBezTo>
                <a:cubicBezTo>
                  <a:pt x="120" y="32"/>
                  <a:pt x="120" y="32"/>
                  <a:pt x="120" y="32"/>
                </a:cubicBezTo>
                <a:cubicBezTo>
                  <a:pt x="120" y="32"/>
                  <a:pt x="120" y="32"/>
                  <a:pt x="120" y="32"/>
                </a:cubicBezTo>
                <a:close/>
                <a:moveTo>
                  <a:pt x="136" y="61"/>
                </a:moveTo>
                <a:cubicBezTo>
                  <a:pt x="136" y="61"/>
                  <a:pt x="136" y="61"/>
                  <a:pt x="136" y="61"/>
                </a:cubicBezTo>
                <a:cubicBezTo>
                  <a:pt x="137" y="61"/>
                  <a:pt x="137" y="61"/>
                  <a:pt x="137" y="61"/>
                </a:cubicBezTo>
                <a:cubicBezTo>
                  <a:pt x="137" y="61"/>
                  <a:pt x="137" y="61"/>
                  <a:pt x="136" y="61"/>
                </a:cubicBezTo>
                <a:close/>
                <a:moveTo>
                  <a:pt x="31" y="54"/>
                </a:moveTo>
                <a:cubicBezTo>
                  <a:pt x="30" y="55"/>
                  <a:pt x="30" y="58"/>
                  <a:pt x="30" y="60"/>
                </a:cubicBezTo>
                <a:cubicBezTo>
                  <a:pt x="32" y="61"/>
                  <a:pt x="34" y="62"/>
                  <a:pt x="36" y="61"/>
                </a:cubicBezTo>
                <a:cubicBezTo>
                  <a:pt x="36" y="62"/>
                  <a:pt x="36" y="63"/>
                  <a:pt x="36" y="63"/>
                </a:cubicBezTo>
                <a:cubicBezTo>
                  <a:pt x="37" y="63"/>
                  <a:pt x="37" y="63"/>
                  <a:pt x="38" y="63"/>
                </a:cubicBezTo>
                <a:cubicBezTo>
                  <a:pt x="38" y="60"/>
                  <a:pt x="38" y="57"/>
                  <a:pt x="36" y="56"/>
                </a:cubicBezTo>
                <a:cubicBezTo>
                  <a:pt x="35" y="55"/>
                  <a:pt x="33" y="54"/>
                  <a:pt x="31" y="54"/>
                </a:cubicBezTo>
                <a:close/>
                <a:moveTo>
                  <a:pt x="1" y="72"/>
                </a:moveTo>
                <a:cubicBezTo>
                  <a:pt x="1" y="71"/>
                  <a:pt x="1" y="71"/>
                  <a:pt x="0" y="71"/>
                </a:cubicBezTo>
                <a:cubicBezTo>
                  <a:pt x="0" y="74"/>
                  <a:pt x="3" y="73"/>
                  <a:pt x="4" y="74"/>
                </a:cubicBezTo>
                <a:cubicBezTo>
                  <a:pt x="4" y="71"/>
                  <a:pt x="3" y="71"/>
                  <a:pt x="1" y="72"/>
                </a:cubicBezTo>
                <a:close/>
                <a:moveTo>
                  <a:pt x="18" y="80"/>
                </a:moveTo>
                <a:cubicBezTo>
                  <a:pt x="18" y="81"/>
                  <a:pt x="17" y="82"/>
                  <a:pt x="17" y="82"/>
                </a:cubicBezTo>
                <a:cubicBezTo>
                  <a:pt x="17" y="82"/>
                  <a:pt x="18" y="82"/>
                  <a:pt x="18" y="82"/>
                </a:cubicBezTo>
                <a:cubicBezTo>
                  <a:pt x="18" y="82"/>
                  <a:pt x="18" y="83"/>
                  <a:pt x="18" y="83"/>
                </a:cubicBezTo>
                <a:cubicBezTo>
                  <a:pt x="18" y="83"/>
                  <a:pt x="18" y="83"/>
                  <a:pt x="18" y="83"/>
                </a:cubicBezTo>
                <a:cubicBezTo>
                  <a:pt x="19" y="83"/>
                  <a:pt x="18" y="85"/>
                  <a:pt x="19" y="84"/>
                </a:cubicBezTo>
                <a:cubicBezTo>
                  <a:pt x="20" y="84"/>
                  <a:pt x="20" y="82"/>
                  <a:pt x="20" y="80"/>
                </a:cubicBezTo>
                <a:cubicBezTo>
                  <a:pt x="19" y="80"/>
                  <a:pt x="18" y="80"/>
                  <a:pt x="18" y="80"/>
                </a:cubicBezTo>
                <a:close/>
                <a:moveTo>
                  <a:pt x="26" y="43"/>
                </a:moveTo>
                <a:cubicBezTo>
                  <a:pt x="26" y="44"/>
                  <a:pt x="26" y="44"/>
                  <a:pt x="26" y="45"/>
                </a:cubicBezTo>
                <a:cubicBezTo>
                  <a:pt x="27" y="45"/>
                  <a:pt x="27" y="45"/>
                  <a:pt x="27" y="45"/>
                </a:cubicBezTo>
                <a:cubicBezTo>
                  <a:pt x="27" y="44"/>
                  <a:pt x="27" y="43"/>
                  <a:pt x="26" y="43"/>
                </a:cubicBezTo>
                <a:close/>
                <a:moveTo>
                  <a:pt x="22" y="54"/>
                </a:moveTo>
                <a:cubicBezTo>
                  <a:pt x="22" y="54"/>
                  <a:pt x="23" y="54"/>
                  <a:pt x="23" y="54"/>
                </a:cubicBezTo>
                <a:cubicBezTo>
                  <a:pt x="23" y="53"/>
                  <a:pt x="23" y="52"/>
                  <a:pt x="24" y="52"/>
                </a:cubicBezTo>
                <a:cubicBezTo>
                  <a:pt x="24" y="52"/>
                  <a:pt x="25" y="52"/>
                  <a:pt x="25" y="51"/>
                </a:cubicBezTo>
                <a:cubicBezTo>
                  <a:pt x="24" y="51"/>
                  <a:pt x="23" y="51"/>
                  <a:pt x="23" y="50"/>
                </a:cubicBezTo>
                <a:cubicBezTo>
                  <a:pt x="22" y="51"/>
                  <a:pt x="22" y="51"/>
                  <a:pt x="22" y="52"/>
                </a:cubicBezTo>
                <a:cubicBezTo>
                  <a:pt x="21" y="52"/>
                  <a:pt x="21" y="53"/>
                  <a:pt x="22" y="54"/>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4" name="Freeform 82"/>
          <p:cNvSpPr>
            <a:spLocks noEditPoints="1"/>
          </p:cNvSpPr>
          <p:nvPr/>
        </p:nvSpPr>
        <p:spPr bwMode="auto">
          <a:xfrm>
            <a:off x="6253454" y="1630665"/>
            <a:ext cx="1895475" cy="1614488"/>
          </a:xfrm>
          <a:custGeom>
            <a:avLst/>
            <a:gdLst>
              <a:gd name="T0" fmla="*/ 348 w 490"/>
              <a:gd name="T1" fmla="*/ 373 h 417"/>
              <a:gd name="T2" fmla="*/ 363 w 490"/>
              <a:gd name="T3" fmla="*/ 358 h 417"/>
              <a:gd name="T4" fmla="*/ 372 w 490"/>
              <a:gd name="T5" fmla="*/ 346 h 417"/>
              <a:gd name="T6" fmla="*/ 375 w 490"/>
              <a:gd name="T7" fmla="*/ 330 h 417"/>
              <a:gd name="T8" fmla="*/ 367 w 490"/>
              <a:gd name="T9" fmla="*/ 320 h 417"/>
              <a:gd name="T10" fmla="*/ 372 w 490"/>
              <a:gd name="T11" fmla="*/ 281 h 417"/>
              <a:gd name="T12" fmla="*/ 368 w 490"/>
              <a:gd name="T13" fmla="*/ 278 h 417"/>
              <a:gd name="T14" fmla="*/ 350 w 490"/>
              <a:gd name="T15" fmla="*/ 292 h 417"/>
              <a:gd name="T16" fmla="*/ 325 w 490"/>
              <a:gd name="T17" fmla="*/ 299 h 417"/>
              <a:gd name="T18" fmla="*/ 315 w 490"/>
              <a:gd name="T19" fmla="*/ 316 h 417"/>
              <a:gd name="T20" fmla="*/ 326 w 490"/>
              <a:gd name="T21" fmla="*/ 309 h 417"/>
              <a:gd name="T22" fmla="*/ 363 w 490"/>
              <a:gd name="T23" fmla="*/ 306 h 417"/>
              <a:gd name="T24" fmla="*/ 349 w 490"/>
              <a:gd name="T25" fmla="*/ 307 h 417"/>
              <a:gd name="T26" fmla="*/ 337 w 490"/>
              <a:gd name="T27" fmla="*/ 316 h 417"/>
              <a:gd name="T28" fmla="*/ 315 w 490"/>
              <a:gd name="T29" fmla="*/ 323 h 417"/>
              <a:gd name="T30" fmla="*/ 312 w 490"/>
              <a:gd name="T31" fmla="*/ 334 h 417"/>
              <a:gd name="T32" fmla="*/ 316 w 490"/>
              <a:gd name="T33" fmla="*/ 355 h 417"/>
              <a:gd name="T34" fmla="*/ 321 w 490"/>
              <a:gd name="T35" fmla="*/ 374 h 417"/>
              <a:gd name="T36" fmla="*/ 330 w 490"/>
              <a:gd name="T37" fmla="*/ 401 h 417"/>
              <a:gd name="T38" fmla="*/ 365 w 490"/>
              <a:gd name="T39" fmla="*/ 322 h 417"/>
              <a:gd name="T40" fmla="*/ 374 w 490"/>
              <a:gd name="T41" fmla="*/ 363 h 417"/>
              <a:gd name="T42" fmla="*/ 325 w 490"/>
              <a:gd name="T43" fmla="*/ 313 h 417"/>
              <a:gd name="T44" fmla="*/ 327 w 490"/>
              <a:gd name="T45" fmla="*/ 310 h 417"/>
              <a:gd name="T46" fmla="*/ 409 w 490"/>
              <a:gd name="T47" fmla="*/ 365 h 417"/>
              <a:gd name="T48" fmla="*/ 385 w 490"/>
              <a:gd name="T49" fmla="*/ 294 h 417"/>
              <a:gd name="T50" fmla="*/ 320 w 490"/>
              <a:gd name="T51" fmla="*/ 376 h 417"/>
              <a:gd name="T52" fmla="*/ 318 w 490"/>
              <a:gd name="T53" fmla="*/ 376 h 417"/>
              <a:gd name="T54" fmla="*/ 390 w 490"/>
              <a:gd name="T55" fmla="*/ 402 h 417"/>
              <a:gd name="T56" fmla="*/ 389 w 490"/>
              <a:gd name="T57" fmla="*/ 415 h 417"/>
              <a:gd name="T58" fmla="*/ 400 w 490"/>
              <a:gd name="T59" fmla="*/ 403 h 417"/>
              <a:gd name="T60" fmla="*/ 387 w 490"/>
              <a:gd name="T61" fmla="*/ 390 h 417"/>
              <a:gd name="T62" fmla="*/ 484 w 490"/>
              <a:gd name="T63" fmla="*/ 397 h 417"/>
              <a:gd name="T64" fmla="*/ 423 w 490"/>
              <a:gd name="T65" fmla="*/ 350 h 417"/>
              <a:gd name="T66" fmla="*/ 411 w 490"/>
              <a:gd name="T67" fmla="*/ 360 h 417"/>
              <a:gd name="T68" fmla="*/ 401 w 490"/>
              <a:gd name="T69" fmla="*/ 357 h 417"/>
              <a:gd name="T70" fmla="*/ 392 w 490"/>
              <a:gd name="T71" fmla="*/ 360 h 417"/>
              <a:gd name="T72" fmla="*/ 383 w 490"/>
              <a:gd name="T73" fmla="*/ 368 h 417"/>
              <a:gd name="T74" fmla="*/ 395 w 490"/>
              <a:gd name="T75" fmla="*/ 392 h 417"/>
              <a:gd name="T76" fmla="*/ 416 w 490"/>
              <a:gd name="T77" fmla="*/ 390 h 417"/>
              <a:gd name="T78" fmla="*/ 415 w 490"/>
              <a:gd name="T79" fmla="*/ 376 h 417"/>
              <a:gd name="T80" fmla="*/ 365 w 490"/>
              <a:gd name="T81" fmla="*/ 362 h 417"/>
              <a:gd name="T82" fmla="*/ 413 w 490"/>
              <a:gd name="T83" fmla="*/ 404 h 417"/>
              <a:gd name="T84" fmla="*/ 377 w 490"/>
              <a:gd name="T85" fmla="*/ 394 h 417"/>
              <a:gd name="T86" fmla="*/ 376 w 490"/>
              <a:gd name="T87" fmla="*/ 402 h 417"/>
              <a:gd name="T88" fmla="*/ 362 w 490"/>
              <a:gd name="T89" fmla="*/ 394 h 417"/>
              <a:gd name="T90" fmla="*/ 375 w 490"/>
              <a:gd name="T91" fmla="*/ 378 h 417"/>
              <a:gd name="T92" fmla="*/ 363 w 490"/>
              <a:gd name="T93" fmla="*/ 371 h 417"/>
              <a:gd name="T94" fmla="*/ 352 w 490"/>
              <a:gd name="T95" fmla="*/ 387 h 417"/>
              <a:gd name="T96" fmla="*/ 350 w 490"/>
              <a:gd name="T97" fmla="*/ 393 h 417"/>
              <a:gd name="T98" fmla="*/ 374 w 490"/>
              <a:gd name="T99" fmla="*/ 396 h 417"/>
              <a:gd name="T100" fmla="*/ 363 w 490"/>
              <a:gd name="T101" fmla="*/ 404 h 417"/>
              <a:gd name="T102" fmla="*/ 11 w 490"/>
              <a:gd name="T103" fmla="*/ 38 h 417"/>
              <a:gd name="T104" fmla="*/ 0 w 490"/>
              <a:gd name="T105" fmla="*/ 7 h 417"/>
              <a:gd name="T106" fmla="*/ 20 w 490"/>
              <a:gd name="T107" fmla="*/ 4 h 417"/>
              <a:gd name="T108" fmla="*/ 6 w 490"/>
              <a:gd name="T109" fmla="*/ 13 h 417"/>
              <a:gd name="T110" fmla="*/ 15 w 490"/>
              <a:gd name="T111" fmla="*/ 11 h 417"/>
              <a:gd name="T112" fmla="*/ 23 w 490"/>
              <a:gd name="T113" fmla="*/ 5 h 417"/>
              <a:gd name="T114" fmla="*/ 32 w 490"/>
              <a:gd name="T115" fmla="*/ 6 h 417"/>
              <a:gd name="T116" fmla="*/ 12 w 490"/>
              <a:gd name="T117" fmla="*/ 1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0" h="417">
                <a:moveTo>
                  <a:pt x="349" y="399"/>
                </a:moveTo>
                <a:cubicBezTo>
                  <a:pt x="348" y="397"/>
                  <a:pt x="347" y="396"/>
                  <a:pt x="345" y="395"/>
                </a:cubicBezTo>
                <a:cubicBezTo>
                  <a:pt x="345" y="394"/>
                  <a:pt x="346" y="394"/>
                  <a:pt x="346" y="394"/>
                </a:cubicBezTo>
                <a:cubicBezTo>
                  <a:pt x="345" y="392"/>
                  <a:pt x="343" y="393"/>
                  <a:pt x="344" y="390"/>
                </a:cubicBezTo>
                <a:cubicBezTo>
                  <a:pt x="344" y="390"/>
                  <a:pt x="344" y="389"/>
                  <a:pt x="345" y="389"/>
                </a:cubicBezTo>
                <a:cubicBezTo>
                  <a:pt x="345" y="390"/>
                  <a:pt x="346" y="389"/>
                  <a:pt x="347" y="389"/>
                </a:cubicBezTo>
                <a:cubicBezTo>
                  <a:pt x="347" y="389"/>
                  <a:pt x="348" y="389"/>
                  <a:pt x="348" y="388"/>
                </a:cubicBezTo>
                <a:cubicBezTo>
                  <a:pt x="348" y="388"/>
                  <a:pt x="348" y="386"/>
                  <a:pt x="349" y="386"/>
                </a:cubicBezTo>
                <a:cubicBezTo>
                  <a:pt x="349" y="385"/>
                  <a:pt x="348" y="384"/>
                  <a:pt x="347" y="384"/>
                </a:cubicBezTo>
                <a:cubicBezTo>
                  <a:pt x="347" y="382"/>
                  <a:pt x="347" y="382"/>
                  <a:pt x="346" y="381"/>
                </a:cubicBezTo>
                <a:cubicBezTo>
                  <a:pt x="346" y="378"/>
                  <a:pt x="348" y="379"/>
                  <a:pt x="348" y="377"/>
                </a:cubicBezTo>
                <a:cubicBezTo>
                  <a:pt x="349" y="374"/>
                  <a:pt x="345" y="376"/>
                  <a:pt x="346" y="373"/>
                </a:cubicBezTo>
                <a:cubicBezTo>
                  <a:pt x="347" y="374"/>
                  <a:pt x="347" y="373"/>
                  <a:pt x="348" y="373"/>
                </a:cubicBezTo>
                <a:cubicBezTo>
                  <a:pt x="348" y="372"/>
                  <a:pt x="349" y="372"/>
                  <a:pt x="349" y="371"/>
                </a:cubicBezTo>
                <a:cubicBezTo>
                  <a:pt x="352" y="372"/>
                  <a:pt x="352" y="371"/>
                  <a:pt x="353" y="370"/>
                </a:cubicBezTo>
                <a:cubicBezTo>
                  <a:pt x="354" y="367"/>
                  <a:pt x="350" y="369"/>
                  <a:pt x="351" y="366"/>
                </a:cubicBezTo>
                <a:cubicBezTo>
                  <a:pt x="353" y="366"/>
                  <a:pt x="355" y="366"/>
                  <a:pt x="357" y="366"/>
                </a:cubicBezTo>
                <a:cubicBezTo>
                  <a:pt x="357" y="366"/>
                  <a:pt x="358" y="366"/>
                  <a:pt x="358" y="365"/>
                </a:cubicBezTo>
                <a:cubicBezTo>
                  <a:pt x="359" y="365"/>
                  <a:pt x="359" y="364"/>
                  <a:pt x="360" y="364"/>
                </a:cubicBezTo>
                <a:cubicBezTo>
                  <a:pt x="360" y="363"/>
                  <a:pt x="359" y="362"/>
                  <a:pt x="359" y="362"/>
                </a:cubicBezTo>
                <a:cubicBezTo>
                  <a:pt x="358" y="361"/>
                  <a:pt x="357" y="361"/>
                  <a:pt x="357" y="360"/>
                </a:cubicBezTo>
                <a:cubicBezTo>
                  <a:pt x="357" y="360"/>
                  <a:pt x="356" y="359"/>
                  <a:pt x="356" y="359"/>
                </a:cubicBezTo>
                <a:cubicBezTo>
                  <a:pt x="356" y="357"/>
                  <a:pt x="359" y="358"/>
                  <a:pt x="358" y="360"/>
                </a:cubicBezTo>
                <a:cubicBezTo>
                  <a:pt x="359" y="360"/>
                  <a:pt x="360" y="359"/>
                  <a:pt x="360" y="358"/>
                </a:cubicBezTo>
                <a:cubicBezTo>
                  <a:pt x="362" y="358"/>
                  <a:pt x="361" y="360"/>
                  <a:pt x="362" y="360"/>
                </a:cubicBezTo>
                <a:cubicBezTo>
                  <a:pt x="363" y="360"/>
                  <a:pt x="363" y="359"/>
                  <a:pt x="363" y="358"/>
                </a:cubicBezTo>
                <a:cubicBezTo>
                  <a:pt x="363" y="358"/>
                  <a:pt x="364" y="357"/>
                  <a:pt x="364" y="357"/>
                </a:cubicBezTo>
                <a:cubicBezTo>
                  <a:pt x="364" y="356"/>
                  <a:pt x="364" y="356"/>
                  <a:pt x="365" y="356"/>
                </a:cubicBezTo>
                <a:cubicBezTo>
                  <a:pt x="365" y="353"/>
                  <a:pt x="366" y="349"/>
                  <a:pt x="363" y="348"/>
                </a:cubicBezTo>
                <a:cubicBezTo>
                  <a:pt x="363" y="348"/>
                  <a:pt x="364" y="348"/>
                  <a:pt x="364" y="347"/>
                </a:cubicBezTo>
                <a:cubicBezTo>
                  <a:pt x="364" y="346"/>
                  <a:pt x="364" y="346"/>
                  <a:pt x="365" y="346"/>
                </a:cubicBezTo>
                <a:cubicBezTo>
                  <a:pt x="365" y="345"/>
                  <a:pt x="365" y="344"/>
                  <a:pt x="366" y="343"/>
                </a:cubicBezTo>
                <a:cubicBezTo>
                  <a:pt x="366" y="343"/>
                  <a:pt x="367" y="342"/>
                  <a:pt x="367" y="341"/>
                </a:cubicBezTo>
                <a:cubicBezTo>
                  <a:pt x="368" y="340"/>
                  <a:pt x="369" y="341"/>
                  <a:pt x="370" y="341"/>
                </a:cubicBezTo>
                <a:cubicBezTo>
                  <a:pt x="371" y="344"/>
                  <a:pt x="368" y="343"/>
                  <a:pt x="367" y="344"/>
                </a:cubicBezTo>
                <a:cubicBezTo>
                  <a:pt x="367" y="345"/>
                  <a:pt x="368" y="346"/>
                  <a:pt x="369" y="346"/>
                </a:cubicBezTo>
                <a:cubicBezTo>
                  <a:pt x="369" y="346"/>
                  <a:pt x="369" y="346"/>
                  <a:pt x="369" y="346"/>
                </a:cubicBezTo>
                <a:cubicBezTo>
                  <a:pt x="371" y="346"/>
                  <a:pt x="371" y="347"/>
                  <a:pt x="372" y="348"/>
                </a:cubicBezTo>
                <a:cubicBezTo>
                  <a:pt x="372" y="348"/>
                  <a:pt x="372" y="347"/>
                  <a:pt x="372" y="346"/>
                </a:cubicBezTo>
                <a:cubicBezTo>
                  <a:pt x="373" y="346"/>
                  <a:pt x="373" y="345"/>
                  <a:pt x="373" y="344"/>
                </a:cubicBezTo>
                <a:cubicBezTo>
                  <a:pt x="375" y="344"/>
                  <a:pt x="374" y="347"/>
                  <a:pt x="376" y="347"/>
                </a:cubicBezTo>
                <a:cubicBezTo>
                  <a:pt x="377" y="347"/>
                  <a:pt x="376" y="346"/>
                  <a:pt x="376" y="346"/>
                </a:cubicBezTo>
                <a:cubicBezTo>
                  <a:pt x="376" y="346"/>
                  <a:pt x="377" y="346"/>
                  <a:pt x="377" y="346"/>
                </a:cubicBezTo>
                <a:cubicBezTo>
                  <a:pt x="377" y="345"/>
                  <a:pt x="377" y="344"/>
                  <a:pt x="377" y="343"/>
                </a:cubicBezTo>
                <a:cubicBezTo>
                  <a:pt x="379" y="343"/>
                  <a:pt x="379" y="343"/>
                  <a:pt x="379" y="341"/>
                </a:cubicBezTo>
                <a:cubicBezTo>
                  <a:pt x="379" y="341"/>
                  <a:pt x="379" y="341"/>
                  <a:pt x="380" y="341"/>
                </a:cubicBezTo>
                <a:cubicBezTo>
                  <a:pt x="380" y="340"/>
                  <a:pt x="381" y="339"/>
                  <a:pt x="381" y="339"/>
                </a:cubicBezTo>
                <a:cubicBezTo>
                  <a:pt x="382" y="339"/>
                  <a:pt x="382" y="338"/>
                  <a:pt x="383" y="338"/>
                </a:cubicBezTo>
                <a:cubicBezTo>
                  <a:pt x="383" y="336"/>
                  <a:pt x="382" y="334"/>
                  <a:pt x="381" y="333"/>
                </a:cubicBezTo>
                <a:cubicBezTo>
                  <a:pt x="381" y="332"/>
                  <a:pt x="380" y="331"/>
                  <a:pt x="379" y="330"/>
                </a:cubicBezTo>
                <a:cubicBezTo>
                  <a:pt x="378" y="330"/>
                  <a:pt x="378" y="330"/>
                  <a:pt x="378" y="330"/>
                </a:cubicBezTo>
                <a:cubicBezTo>
                  <a:pt x="377" y="330"/>
                  <a:pt x="376" y="330"/>
                  <a:pt x="375" y="330"/>
                </a:cubicBezTo>
                <a:cubicBezTo>
                  <a:pt x="374" y="330"/>
                  <a:pt x="374" y="329"/>
                  <a:pt x="374" y="329"/>
                </a:cubicBezTo>
                <a:cubicBezTo>
                  <a:pt x="372" y="328"/>
                  <a:pt x="372" y="330"/>
                  <a:pt x="370" y="330"/>
                </a:cubicBezTo>
                <a:cubicBezTo>
                  <a:pt x="370" y="329"/>
                  <a:pt x="369" y="329"/>
                  <a:pt x="369" y="329"/>
                </a:cubicBezTo>
                <a:cubicBezTo>
                  <a:pt x="369" y="328"/>
                  <a:pt x="369" y="328"/>
                  <a:pt x="368" y="327"/>
                </a:cubicBezTo>
                <a:cubicBezTo>
                  <a:pt x="368" y="326"/>
                  <a:pt x="367" y="326"/>
                  <a:pt x="366" y="326"/>
                </a:cubicBezTo>
                <a:cubicBezTo>
                  <a:pt x="366" y="326"/>
                  <a:pt x="366" y="327"/>
                  <a:pt x="365" y="327"/>
                </a:cubicBezTo>
                <a:cubicBezTo>
                  <a:pt x="365" y="328"/>
                  <a:pt x="366" y="331"/>
                  <a:pt x="364" y="330"/>
                </a:cubicBezTo>
                <a:cubicBezTo>
                  <a:pt x="364" y="330"/>
                  <a:pt x="364" y="329"/>
                  <a:pt x="365" y="329"/>
                </a:cubicBezTo>
                <a:cubicBezTo>
                  <a:pt x="365" y="328"/>
                  <a:pt x="364" y="327"/>
                  <a:pt x="365" y="327"/>
                </a:cubicBezTo>
                <a:cubicBezTo>
                  <a:pt x="365" y="326"/>
                  <a:pt x="365" y="326"/>
                  <a:pt x="366" y="326"/>
                </a:cubicBezTo>
                <a:cubicBezTo>
                  <a:pt x="365" y="325"/>
                  <a:pt x="368" y="324"/>
                  <a:pt x="367" y="323"/>
                </a:cubicBezTo>
                <a:cubicBezTo>
                  <a:pt x="366" y="322"/>
                  <a:pt x="366" y="323"/>
                  <a:pt x="366" y="322"/>
                </a:cubicBezTo>
                <a:cubicBezTo>
                  <a:pt x="367" y="322"/>
                  <a:pt x="367" y="321"/>
                  <a:pt x="367" y="320"/>
                </a:cubicBezTo>
                <a:cubicBezTo>
                  <a:pt x="367" y="316"/>
                  <a:pt x="366" y="314"/>
                  <a:pt x="367" y="309"/>
                </a:cubicBezTo>
                <a:cubicBezTo>
                  <a:pt x="367" y="309"/>
                  <a:pt x="367" y="309"/>
                  <a:pt x="367" y="309"/>
                </a:cubicBezTo>
                <a:cubicBezTo>
                  <a:pt x="367" y="309"/>
                  <a:pt x="367" y="309"/>
                  <a:pt x="367" y="309"/>
                </a:cubicBezTo>
                <a:cubicBezTo>
                  <a:pt x="368" y="308"/>
                  <a:pt x="368" y="306"/>
                  <a:pt x="369" y="306"/>
                </a:cubicBezTo>
                <a:cubicBezTo>
                  <a:pt x="369" y="306"/>
                  <a:pt x="369" y="306"/>
                  <a:pt x="369" y="306"/>
                </a:cubicBezTo>
                <a:cubicBezTo>
                  <a:pt x="370" y="305"/>
                  <a:pt x="370" y="305"/>
                  <a:pt x="371" y="304"/>
                </a:cubicBezTo>
                <a:cubicBezTo>
                  <a:pt x="370" y="302"/>
                  <a:pt x="372" y="302"/>
                  <a:pt x="372" y="300"/>
                </a:cubicBezTo>
                <a:cubicBezTo>
                  <a:pt x="372" y="299"/>
                  <a:pt x="373" y="299"/>
                  <a:pt x="373" y="298"/>
                </a:cubicBezTo>
                <a:cubicBezTo>
                  <a:pt x="373" y="298"/>
                  <a:pt x="373" y="297"/>
                  <a:pt x="374" y="298"/>
                </a:cubicBezTo>
                <a:cubicBezTo>
                  <a:pt x="373" y="294"/>
                  <a:pt x="374" y="291"/>
                  <a:pt x="374" y="288"/>
                </a:cubicBezTo>
                <a:cubicBezTo>
                  <a:pt x="374" y="287"/>
                  <a:pt x="373" y="287"/>
                  <a:pt x="374" y="286"/>
                </a:cubicBezTo>
                <a:cubicBezTo>
                  <a:pt x="373" y="286"/>
                  <a:pt x="373" y="286"/>
                  <a:pt x="373" y="285"/>
                </a:cubicBezTo>
                <a:cubicBezTo>
                  <a:pt x="373" y="283"/>
                  <a:pt x="372" y="283"/>
                  <a:pt x="372" y="281"/>
                </a:cubicBezTo>
                <a:cubicBezTo>
                  <a:pt x="372" y="281"/>
                  <a:pt x="372" y="280"/>
                  <a:pt x="372" y="279"/>
                </a:cubicBezTo>
                <a:cubicBezTo>
                  <a:pt x="372" y="279"/>
                  <a:pt x="373" y="279"/>
                  <a:pt x="373" y="279"/>
                </a:cubicBezTo>
                <a:cubicBezTo>
                  <a:pt x="373" y="279"/>
                  <a:pt x="373" y="278"/>
                  <a:pt x="374" y="278"/>
                </a:cubicBezTo>
                <a:cubicBezTo>
                  <a:pt x="374" y="278"/>
                  <a:pt x="375" y="278"/>
                  <a:pt x="375" y="277"/>
                </a:cubicBezTo>
                <a:cubicBezTo>
                  <a:pt x="375" y="277"/>
                  <a:pt x="375" y="276"/>
                  <a:pt x="376" y="277"/>
                </a:cubicBezTo>
                <a:cubicBezTo>
                  <a:pt x="376" y="276"/>
                  <a:pt x="376" y="276"/>
                  <a:pt x="376" y="276"/>
                </a:cubicBezTo>
                <a:cubicBezTo>
                  <a:pt x="377" y="276"/>
                  <a:pt x="377" y="276"/>
                  <a:pt x="377" y="276"/>
                </a:cubicBezTo>
                <a:cubicBezTo>
                  <a:pt x="377" y="275"/>
                  <a:pt x="377" y="275"/>
                  <a:pt x="377" y="275"/>
                </a:cubicBezTo>
                <a:cubicBezTo>
                  <a:pt x="377" y="273"/>
                  <a:pt x="373" y="274"/>
                  <a:pt x="372" y="275"/>
                </a:cubicBezTo>
                <a:cubicBezTo>
                  <a:pt x="372" y="275"/>
                  <a:pt x="372" y="275"/>
                  <a:pt x="372" y="275"/>
                </a:cubicBezTo>
                <a:cubicBezTo>
                  <a:pt x="370" y="275"/>
                  <a:pt x="370" y="277"/>
                  <a:pt x="369" y="277"/>
                </a:cubicBezTo>
                <a:cubicBezTo>
                  <a:pt x="369" y="278"/>
                  <a:pt x="369" y="278"/>
                  <a:pt x="368" y="278"/>
                </a:cubicBezTo>
                <a:cubicBezTo>
                  <a:pt x="368" y="278"/>
                  <a:pt x="368" y="278"/>
                  <a:pt x="368" y="278"/>
                </a:cubicBezTo>
                <a:cubicBezTo>
                  <a:pt x="368" y="278"/>
                  <a:pt x="368" y="278"/>
                  <a:pt x="368" y="278"/>
                </a:cubicBezTo>
                <a:cubicBezTo>
                  <a:pt x="366" y="279"/>
                  <a:pt x="365" y="280"/>
                  <a:pt x="364" y="280"/>
                </a:cubicBezTo>
                <a:cubicBezTo>
                  <a:pt x="364" y="280"/>
                  <a:pt x="364" y="280"/>
                  <a:pt x="364" y="280"/>
                </a:cubicBezTo>
                <a:cubicBezTo>
                  <a:pt x="362" y="279"/>
                  <a:pt x="360" y="279"/>
                  <a:pt x="359" y="279"/>
                </a:cubicBezTo>
                <a:cubicBezTo>
                  <a:pt x="357" y="279"/>
                  <a:pt x="357" y="282"/>
                  <a:pt x="355" y="282"/>
                </a:cubicBezTo>
                <a:cubicBezTo>
                  <a:pt x="355" y="282"/>
                  <a:pt x="355" y="282"/>
                  <a:pt x="355" y="283"/>
                </a:cubicBezTo>
                <a:cubicBezTo>
                  <a:pt x="354" y="283"/>
                  <a:pt x="354" y="285"/>
                  <a:pt x="353" y="286"/>
                </a:cubicBezTo>
                <a:cubicBezTo>
                  <a:pt x="353" y="286"/>
                  <a:pt x="353" y="286"/>
                  <a:pt x="353" y="286"/>
                </a:cubicBezTo>
                <a:cubicBezTo>
                  <a:pt x="353" y="287"/>
                  <a:pt x="352" y="287"/>
                  <a:pt x="352" y="288"/>
                </a:cubicBezTo>
                <a:cubicBezTo>
                  <a:pt x="352" y="288"/>
                  <a:pt x="352" y="288"/>
                  <a:pt x="352" y="288"/>
                </a:cubicBezTo>
                <a:cubicBezTo>
                  <a:pt x="352" y="288"/>
                  <a:pt x="352" y="288"/>
                  <a:pt x="352" y="288"/>
                </a:cubicBezTo>
                <a:cubicBezTo>
                  <a:pt x="352" y="288"/>
                  <a:pt x="352" y="288"/>
                  <a:pt x="352" y="288"/>
                </a:cubicBezTo>
                <a:cubicBezTo>
                  <a:pt x="351" y="290"/>
                  <a:pt x="351" y="290"/>
                  <a:pt x="350" y="292"/>
                </a:cubicBezTo>
                <a:cubicBezTo>
                  <a:pt x="350" y="292"/>
                  <a:pt x="350" y="292"/>
                  <a:pt x="350" y="292"/>
                </a:cubicBezTo>
                <a:cubicBezTo>
                  <a:pt x="350" y="292"/>
                  <a:pt x="349" y="293"/>
                  <a:pt x="349" y="294"/>
                </a:cubicBezTo>
                <a:cubicBezTo>
                  <a:pt x="347" y="293"/>
                  <a:pt x="348" y="296"/>
                  <a:pt x="346" y="296"/>
                </a:cubicBezTo>
                <a:cubicBezTo>
                  <a:pt x="346" y="296"/>
                  <a:pt x="346" y="296"/>
                  <a:pt x="346" y="296"/>
                </a:cubicBezTo>
                <a:cubicBezTo>
                  <a:pt x="346" y="297"/>
                  <a:pt x="345" y="296"/>
                  <a:pt x="344" y="297"/>
                </a:cubicBezTo>
                <a:cubicBezTo>
                  <a:pt x="344" y="297"/>
                  <a:pt x="344" y="297"/>
                  <a:pt x="343" y="297"/>
                </a:cubicBezTo>
                <a:cubicBezTo>
                  <a:pt x="342" y="299"/>
                  <a:pt x="341" y="298"/>
                  <a:pt x="340" y="299"/>
                </a:cubicBezTo>
                <a:cubicBezTo>
                  <a:pt x="340" y="299"/>
                  <a:pt x="340" y="299"/>
                  <a:pt x="340" y="298"/>
                </a:cubicBezTo>
                <a:cubicBezTo>
                  <a:pt x="338" y="298"/>
                  <a:pt x="336" y="298"/>
                  <a:pt x="334" y="298"/>
                </a:cubicBezTo>
                <a:cubicBezTo>
                  <a:pt x="334" y="298"/>
                  <a:pt x="334" y="298"/>
                  <a:pt x="333" y="298"/>
                </a:cubicBezTo>
                <a:cubicBezTo>
                  <a:pt x="332" y="298"/>
                  <a:pt x="332" y="299"/>
                  <a:pt x="331" y="299"/>
                </a:cubicBezTo>
                <a:cubicBezTo>
                  <a:pt x="330" y="299"/>
                  <a:pt x="329" y="299"/>
                  <a:pt x="329" y="300"/>
                </a:cubicBezTo>
                <a:cubicBezTo>
                  <a:pt x="328" y="299"/>
                  <a:pt x="327" y="299"/>
                  <a:pt x="325" y="299"/>
                </a:cubicBezTo>
                <a:cubicBezTo>
                  <a:pt x="324" y="299"/>
                  <a:pt x="323" y="299"/>
                  <a:pt x="323" y="300"/>
                </a:cubicBezTo>
                <a:cubicBezTo>
                  <a:pt x="323" y="300"/>
                  <a:pt x="323" y="300"/>
                  <a:pt x="323" y="300"/>
                </a:cubicBezTo>
                <a:cubicBezTo>
                  <a:pt x="323" y="300"/>
                  <a:pt x="323" y="300"/>
                  <a:pt x="322" y="300"/>
                </a:cubicBezTo>
                <a:cubicBezTo>
                  <a:pt x="322" y="302"/>
                  <a:pt x="321" y="302"/>
                  <a:pt x="320" y="303"/>
                </a:cubicBezTo>
                <a:cubicBezTo>
                  <a:pt x="320" y="303"/>
                  <a:pt x="320" y="303"/>
                  <a:pt x="320" y="303"/>
                </a:cubicBezTo>
                <a:cubicBezTo>
                  <a:pt x="320" y="303"/>
                  <a:pt x="320" y="304"/>
                  <a:pt x="320" y="304"/>
                </a:cubicBezTo>
                <a:cubicBezTo>
                  <a:pt x="320" y="304"/>
                  <a:pt x="320" y="305"/>
                  <a:pt x="319" y="304"/>
                </a:cubicBezTo>
                <a:cubicBezTo>
                  <a:pt x="319" y="306"/>
                  <a:pt x="317" y="306"/>
                  <a:pt x="317" y="308"/>
                </a:cubicBezTo>
                <a:cubicBezTo>
                  <a:pt x="316" y="308"/>
                  <a:pt x="316" y="310"/>
                  <a:pt x="314" y="311"/>
                </a:cubicBezTo>
                <a:cubicBezTo>
                  <a:pt x="314" y="313"/>
                  <a:pt x="314" y="313"/>
                  <a:pt x="314" y="313"/>
                </a:cubicBezTo>
                <a:cubicBezTo>
                  <a:pt x="314" y="313"/>
                  <a:pt x="314" y="314"/>
                  <a:pt x="314" y="314"/>
                </a:cubicBezTo>
                <a:cubicBezTo>
                  <a:pt x="314" y="316"/>
                  <a:pt x="314" y="316"/>
                  <a:pt x="314" y="316"/>
                </a:cubicBezTo>
                <a:cubicBezTo>
                  <a:pt x="314" y="316"/>
                  <a:pt x="315" y="316"/>
                  <a:pt x="315" y="316"/>
                </a:cubicBezTo>
                <a:cubicBezTo>
                  <a:pt x="316" y="316"/>
                  <a:pt x="316" y="317"/>
                  <a:pt x="316" y="317"/>
                </a:cubicBezTo>
                <a:cubicBezTo>
                  <a:pt x="317" y="319"/>
                  <a:pt x="318" y="320"/>
                  <a:pt x="320" y="320"/>
                </a:cubicBezTo>
                <a:cubicBezTo>
                  <a:pt x="320" y="321"/>
                  <a:pt x="320" y="321"/>
                  <a:pt x="321" y="321"/>
                </a:cubicBezTo>
                <a:cubicBezTo>
                  <a:pt x="321" y="322"/>
                  <a:pt x="321" y="323"/>
                  <a:pt x="321" y="324"/>
                </a:cubicBezTo>
                <a:cubicBezTo>
                  <a:pt x="322" y="324"/>
                  <a:pt x="323" y="324"/>
                  <a:pt x="323" y="323"/>
                </a:cubicBezTo>
                <a:cubicBezTo>
                  <a:pt x="323" y="322"/>
                  <a:pt x="324" y="322"/>
                  <a:pt x="325" y="321"/>
                </a:cubicBezTo>
                <a:cubicBezTo>
                  <a:pt x="324" y="320"/>
                  <a:pt x="322" y="320"/>
                  <a:pt x="321" y="319"/>
                </a:cubicBezTo>
                <a:cubicBezTo>
                  <a:pt x="320" y="318"/>
                  <a:pt x="320" y="316"/>
                  <a:pt x="321" y="314"/>
                </a:cubicBezTo>
                <a:cubicBezTo>
                  <a:pt x="321" y="314"/>
                  <a:pt x="321" y="314"/>
                  <a:pt x="322" y="314"/>
                </a:cubicBezTo>
                <a:cubicBezTo>
                  <a:pt x="322" y="313"/>
                  <a:pt x="324" y="314"/>
                  <a:pt x="324" y="312"/>
                </a:cubicBezTo>
                <a:cubicBezTo>
                  <a:pt x="324" y="312"/>
                  <a:pt x="324" y="312"/>
                  <a:pt x="324" y="312"/>
                </a:cubicBezTo>
                <a:cubicBezTo>
                  <a:pt x="324" y="311"/>
                  <a:pt x="326" y="311"/>
                  <a:pt x="326" y="309"/>
                </a:cubicBezTo>
                <a:cubicBezTo>
                  <a:pt x="326" y="309"/>
                  <a:pt x="326" y="309"/>
                  <a:pt x="326" y="309"/>
                </a:cubicBezTo>
                <a:cubicBezTo>
                  <a:pt x="327" y="309"/>
                  <a:pt x="327" y="309"/>
                  <a:pt x="328" y="309"/>
                </a:cubicBezTo>
                <a:cubicBezTo>
                  <a:pt x="328" y="308"/>
                  <a:pt x="329" y="308"/>
                  <a:pt x="329" y="307"/>
                </a:cubicBezTo>
                <a:cubicBezTo>
                  <a:pt x="332" y="306"/>
                  <a:pt x="334" y="306"/>
                  <a:pt x="336" y="304"/>
                </a:cubicBezTo>
                <a:cubicBezTo>
                  <a:pt x="338" y="304"/>
                  <a:pt x="338" y="307"/>
                  <a:pt x="340" y="306"/>
                </a:cubicBezTo>
                <a:cubicBezTo>
                  <a:pt x="341" y="306"/>
                  <a:pt x="342" y="306"/>
                  <a:pt x="342" y="305"/>
                </a:cubicBezTo>
                <a:cubicBezTo>
                  <a:pt x="343" y="305"/>
                  <a:pt x="344" y="305"/>
                  <a:pt x="344" y="304"/>
                </a:cubicBezTo>
                <a:cubicBezTo>
                  <a:pt x="347" y="305"/>
                  <a:pt x="348" y="303"/>
                  <a:pt x="351" y="304"/>
                </a:cubicBezTo>
                <a:cubicBezTo>
                  <a:pt x="352" y="304"/>
                  <a:pt x="352" y="303"/>
                  <a:pt x="353" y="303"/>
                </a:cubicBezTo>
                <a:cubicBezTo>
                  <a:pt x="354" y="303"/>
                  <a:pt x="355" y="303"/>
                  <a:pt x="356" y="302"/>
                </a:cubicBezTo>
                <a:cubicBezTo>
                  <a:pt x="357" y="303"/>
                  <a:pt x="358" y="303"/>
                  <a:pt x="360" y="304"/>
                </a:cubicBezTo>
                <a:cubicBezTo>
                  <a:pt x="360" y="304"/>
                  <a:pt x="360" y="304"/>
                  <a:pt x="360" y="304"/>
                </a:cubicBezTo>
                <a:cubicBezTo>
                  <a:pt x="361" y="304"/>
                  <a:pt x="362" y="305"/>
                  <a:pt x="363" y="306"/>
                </a:cubicBezTo>
                <a:cubicBezTo>
                  <a:pt x="363" y="306"/>
                  <a:pt x="363" y="306"/>
                  <a:pt x="363" y="306"/>
                </a:cubicBezTo>
                <a:cubicBezTo>
                  <a:pt x="363" y="306"/>
                  <a:pt x="363" y="306"/>
                  <a:pt x="363" y="306"/>
                </a:cubicBezTo>
                <a:cubicBezTo>
                  <a:pt x="363" y="307"/>
                  <a:pt x="365" y="307"/>
                  <a:pt x="365" y="309"/>
                </a:cubicBezTo>
                <a:cubicBezTo>
                  <a:pt x="364" y="309"/>
                  <a:pt x="364" y="308"/>
                  <a:pt x="364" y="308"/>
                </a:cubicBezTo>
                <a:cubicBezTo>
                  <a:pt x="363" y="308"/>
                  <a:pt x="363" y="308"/>
                  <a:pt x="362" y="307"/>
                </a:cubicBezTo>
                <a:cubicBezTo>
                  <a:pt x="362" y="307"/>
                  <a:pt x="362" y="307"/>
                  <a:pt x="362" y="307"/>
                </a:cubicBezTo>
                <a:cubicBezTo>
                  <a:pt x="362" y="306"/>
                  <a:pt x="362" y="306"/>
                  <a:pt x="362" y="306"/>
                </a:cubicBezTo>
                <a:cubicBezTo>
                  <a:pt x="361" y="305"/>
                  <a:pt x="361" y="304"/>
                  <a:pt x="359" y="304"/>
                </a:cubicBezTo>
                <a:cubicBezTo>
                  <a:pt x="359" y="304"/>
                  <a:pt x="359" y="304"/>
                  <a:pt x="359" y="304"/>
                </a:cubicBezTo>
                <a:cubicBezTo>
                  <a:pt x="357" y="304"/>
                  <a:pt x="355" y="303"/>
                  <a:pt x="353" y="304"/>
                </a:cubicBezTo>
                <a:cubicBezTo>
                  <a:pt x="353" y="304"/>
                  <a:pt x="353" y="304"/>
                  <a:pt x="353" y="304"/>
                </a:cubicBezTo>
                <a:cubicBezTo>
                  <a:pt x="352" y="305"/>
                  <a:pt x="350" y="304"/>
                  <a:pt x="350" y="306"/>
                </a:cubicBezTo>
                <a:cubicBezTo>
                  <a:pt x="350" y="306"/>
                  <a:pt x="350" y="307"/>
                  <a:pt x="349" y="307"/>
                </a:cubicBezTo>
                <a:cubicBezTo>
                  <a:pt x="349" y="307"/>
                  <a:pt x="349" y="307"/>
                  <a:pt x="349" y="307"/>
                </a:cubicBezTo>
                <a:cubicBezTo>
                  <a:pt x="348" y="306"/>
                  <a:pt x="346" y="305"/>
                  <a:pt x="344" y="306"/>
                </a:cubicBezTo>
                <a:cubicBezTo>
                  <a:pt x="343" y="306"/>
                  <a:pt x="343" y="307"/>
                  <a:pt x="342" y="307"/>
                </a:cubicBezTo>
                <a:cubicBezTo>
                  <a:pt x="341" y="307"/>
                  <a:pt x="341" y="309"/>
                  <a:pt x="339" y="309"/>
                </a:cubicBezTo>
                <a:cubicBezTo>
                  <a:pt x="340" y="310"/>
                  <a:pt x="340" y="311"/>
                  <a:pt x="339" y="312"/>
                </a:cubicBezTo>
                <a:cubicBezTo>
                  <a:pt x="339" y="313"/>
                  <a:pt x="340" y="314"/>
                  <a:pt x="340" y="315"/>
                </a:cubicBezTo>
                <a:cubicBezTo>
                  <a:pt x="341" y="317"/>
                  <a:pt x="339" y="317"/>
                  <a:pt x="339" y="319"/>
                </a:cubicBezTo>
                <a:cubicBezTo>
                  <a:pt x="339" y="320"/>
                  <a:pt x="340" y="320"/>
                  <a:pt x="341" y="320"/>
                </a:cubicBezTo>
                <a:cubicBezTo>
                  <a:pt x="340" y="323"/>
                  <a:pt x="342" y="324"/>
                  <a:pt x="342" y="326"/>
                </a:cubicBezTo>
                <a:cubicBezTo>
                  <a:pt x="340" y="326"/>
                  <a:pt x="340" y="323"/>
                  <a:pt x="339" y="323"/>
                </a:cubicBezTo>
                <a:cubicBezTo>
                  <a:pt x="338" y="322"/>
                  <a:pt x="337" y="323"/>
                  <a:pt x="337" y="324"/>
                </a:cubicBezTo>
                <a:cubicBezTo>
                  <a:pt x="335" y="323"/>
                  <a:pt x="337" y="322"/>
                  <a:pt x="337" y="321"/>
                </a:cubicBezTo>
                <a:cubicBezTo>
                  <a:pt x="338" y="320"/>
                  <a:pt x="338" y="319"/>
                  <a:pt x="338" y="318"/>
                </a:cubicBezTo>
                <a:cubicBezTo>
                  <a:pt x="338" y="317"/>
                  <a:pt x="337" y="317"/>
                  <a:pt x="337" y="316"/>
                </a:cubicBezTo>
                <a:cubicBezTo>
                  <a:pt x="337" y="316"/>
                  <a:pt x="336" y="316"/>
                  <a:pt x="336" y="315"/>
                </a:cubicBezTo>
                <a:cubicBezTo>
                  <a:pt x="335" y="315"/>
                  <a:pt x="334" y="315"/>
                  <a:pt x="333" y="315"/>
                </a:cubicBezTo>
                <a:cubicBezTo>
                  <a:pt x="331" y="315"/>
                  <a:pt x="331" y="318"/>
                  <a:pt x="330" y="318"/>
                </a:cubicBezTo>
                <a:cubicBezTo>
                  <a:pt x="329" y="319"/>
                  <a:pt x="329" y="320"/>
                  <a:pt x="328" y="320"/>
                </a:cubicBezTo>
                <a:cubicBezTo>
                  <a:pt x="328" y="321"/>
                  <a:pt x="328" y="320"/>
                  <a:pt x="328" y="320"/>
                </a:cubicBezTo>
                <a:cubicBezTo>
                  <a:pt x="327" y="321"/>
                  <a:pt x="328" y="322"/>
                  <a:pt x="327" y="322"/>
                </a:cubicBezTo>
                <a:cubicBezTo>
                  <a:pt x="327" y="323"/>
                  <a:pt x="327" y="323"/>
                  <a:pt x="326" y="323"/>
                </a:cubicBezTo>
                <a:cubicBezTo>
                  <a:pt x="326" y="325"/>
                  <a:pt x="326" y="326"/>
                  <a:pt x="326" y="327"/>
                </a:cubicBezTo>
                <a:cubicBezTo>
                  <a:pt x="326" y="328"/>
                  <a:pt x="324" y="328"/>
                  <a:pt x="324" y="329"/>
                </a:cubicBezTo>
                <a:cubicBezTo>
                  <a:pt x="323" y="328"/>
                  <a:pt x="322" y="327"/>
                  <a:pt x="322" y="325"/>
                </a:cubicBezTo>
                <a:cubicBezTo>
                  <a:pt x="321" y="325"/>
                  <a:pt x="320" y="325"/>
                  <a:pt x="320" y="324"/>
                </a:cubicBezTo>
                <a:cubicBezTo>
                  <a:pt x="318" y="325"/>
                  <a:pt x="318" y="323"/>
                  <a:pt x="316" y="323"/>
                </a:cubicBezTo>
                <a:cubicBezTo>
                  <a:pt x="316" y="323"/>
                  <a:pt x="316" y="323"/>
                  <a:pt x="315" y="323"/>
                </a:cubicBezTo>
                <a:cubicBezTo>
                  <a:pt x="315" y="322"/>
                  <a:pt x="314" y="322"/>
                  <a:pt x="314" y="322"/>
                </a:cubicBezTo>
                <a:cubicBezTo>
                  <a:pt x="313" y="320"/>
                  <a:pt x="314" y="319"/>
                  <a:pt x="314" y="318"/>
                </a:cubicBezTo>
                <a:cubicBezTo>
                  <a:pt x="312" y="317"/>
                  <a:pt x="313" y="319"/>
                  <a:pt x="313" y="320"/>
                </a:cubicBezTo>
                <a:cubicBezTo>
                  <a:pt x="312" y="320"/>
                  <a:pt x="313" y="323"/>
                  <a:pt x="312" y="324"/>
                </a:cubicBezTo>
                <a:cubicBezTo>
                  <a:pt x="311" y="324"/>
                  <a:pt x="312" y="325"/>
                  <a:pt x="312" y="326"/>
                </a:cubicBezTo>
                <a:cubicBezTo>
                  <a:pt x="311" y="326"/>
                  <a:pt x="311" y="327"/>
                  <a:pt x="311" y="328"/>
                </a:cubicBezTo>
                <a:cubicBezTo>
                  <a:pt x="312" y="328"/>
                  <a:pt x="311" y="329"/>
                  <a:pt x="312" y="330"/>
                </a:cubicBezTo>
                <a:cubicBezTo>
                  <a:pt x="312" y="330"/>
                  <a:pt x="312" y="330"/>
                  <a:pt x="312" y="331"/>
                </a:cubicBezTo>
                <a:cubicBezTo>
                  <a:pt x="313" y="331"/>
                  <a:pt x="313" y="333"/>
                  <a:pt x="314" y="333"/>
                </a:cubicBezTo>
                <a:cubicBezTo>
                  <a:pt x="315" y="333"/>
                  <a:pt x="314" y="334"/>
                  <a:pt x="314" y="334"/>
                </a:cubicBezTo>
                <a:cubicBezTo>
                  <a:pt x="314" y="335"/>
                  <a:pt x="314" y="336"/>
                  <a:pt x="314" y="336"/>
                </a:cubicBezTo>
                <a:cubicBezTo>
                  <a:pt x="313" y="336"/>
                  <a:pt x="312" y="335"/>
                  <a:pt x="312" y="334"/>
                </a:cubicBezTo>
                <a:cubicBezTo>
                  <a:pt x="312" y="334"/>
                  <a:pt x="312" y="334"/>
                  <a:pt x="312" y="334"/>
                </a:cubicBezTo>
                <a:cubicBezTo>
                  <a:pt x="312" y="333"/>
                  <a:pt x="311" y="331"/>
                  <a:pt x="310" y="332"/>
                </a:cubicBezTo>
                <a:cubicBezTo>
                  <a:pt x="310" y="333"/>
                  <a:pt x="310" y="335"/>
                  <a:pt x="310" y="337"/>
                </a:cubicBezTo>
                <a:cubicBezTo>
                  <a:pt x="310" y="338"/>
                  <a:pt x="310" y="338"/>
                  <a:pt x="310" y="339"/>
                </a:cubicBezTo>
                <a:cubicBezTo>
                  <a:pt x="310" y="340"/>
                  <a:pt x="310" y="341"/>
                  <a:pt x="309" y="341"/>
                </a:cubicBezTo>
                <a:cubicBezTo>
                  <a:pt x="309" y="341"/>
                  <a:pt x="309" y="342"/>
                  <a:pt x="310" y="343"/>
                </a:cubicBezTo>
                <a:cubicBezTo>
                  <a:pt x="310" y="344"/>
                  <a:pt x="308" y="345"/>
                  <a:pt x="309" y="346"/>
                </a:cubicBezTo>
                <a:cubicBezTo>
                  <a:pt x="309" y="349"/>
                  <a:pt x="310" y="349"/>
                  <a:pt x="310" y="352"/>
                </a:cubicBezTo>
                <a:cubicBezTo>
                  <a:pt x="311" y="352"/>
                  <a:pt x="311" y="351"/>
                  <a:pt x="311" y="349"/>
                </a:cubicBezTo>
                <a:cubicBezTo>
                  <a:pt x="311" y="347"/>
                  <a:pt x="311" y="346"/>
                  <a:pt x="312" y="346"/>
                </a:cubicBezTo>
                <a:cubicBezTo>
                  <a:pt x="312" y="346"/>
                  <a:pt x="312" y="346"/>
                  <a:pt x="312" y="346"/>
                </a:cubicBezTo>
                <a:cubicBezTo>
                  <a:pt x="313" y="346"/>
                  <a:pt x="313" y="346"/>
                  <a:pt x="313" y="346"/>
                </a:cubicBezTo>
                <a:cubicBezTo>
                  <a:pt x="313" y="348"/>
                  <a:pt x="314" y="348"/>
                  <a:pt x="314" y="350"/>
                </a:cubicBezTo>
                <a:cubicBezTo>
                  <a:pt x="314" y="351"/>
                  <a:pt x="317" y="352"/>
                  <a:pt x="316" y="355"/>
                </a:cubicBezTo>
                <a:cubicBezTo>
                  <a:pt x="315" y="356"/>
                  <a:pt x="314" y="357"/>
                  <a:pt x="314" y="358"/>
                </a:cubicBezTo>
                <a:cubicBezTo>
                  <a:pt x="313" y="359"/>
                  <a:pt x="312" y="360"/>
                  <a:pt x="312" y="362"/>
                </a:cubicBezTo>
                <a:cubicBezTo>
                  <a:pt x="311" y="362"/>
                  <a:pt x="311" y="364"/>
                  <a:pt x="310" y="365"/>
                </a:cubicBezTo>
                <a:cubicBezTo>
                  <a:pt x="309" y="365"/>
                  <a:pt x="309" y="367"/>
                  <a:pt x="309" y="369"/>
                </a:cubicBezTo>
                <a:cubicBezTo>
                  <a:pt x="309" y="370"/>
                  <a:pt x="311" y="369"/>
                  <a:pt x="311" y="371"/>
                </a:cubicBezTo>
                <a:cubicBezTo>
                  <a:pt x="314" y="371"/>
                  <a:pt x="310" y="369"/>
                  <a:pt x="312" y="369"/>
                </a:cubicBezTo>
                <a:cubicBezTo>
                  <a:pt x="312" y="369"/>
                  <a:pt x="312" y="369"/>
                  <a:pt x="312" y="369"/>
                </a:cubicBezTo>
                <a:cubicBezTo>
                  <a:pt x="313" y="369"/>
                  <a:pt x="313" y="369"/>
                  <a:pt x="313" y="369"/>
                </a:cubicBezTo>
                <a:cubicBezTo>
                  <a:pt x="314" y="369"/>
                  <a:pt x="314" y="372"/>
                  <a:pt x="316" y="371"/>
                </a:cubicBezTo>
                <a:cubicBezTo>
                  <a:pt x="316" y="371"/>
                  <a:pt x="316" y="371"/>
                  <a:pt x="316" y="371"/>
                </a:cubicBezTo>
                <a:cubicBezTo>
                  <a:pt x="317" y="372"/>
                  <a:pt x="317" y="373"/>
                  <a:pt x="318" y="373"/>
                </a:cubicBezTo>
                <a:cubicBezTo>
                  <a:pt x="318" y="373"/>
                  <a:pt x="319" y="373"/>
                  <a:pt x="319" y="373"/>
                </a:cubicBezTo>
                <a:cubicBezTo>
                  <a:pt x="320" y="374"/>
                  <a:pt x="320" y="374"/>
                  <a:pt x="321" y="374"/>
                </a:cubicBezTo>
                <a:cubicBezTo>
                  <a:pt x="320" y="375"/>
                  <a:pt x="321" y="375"/>
                  <a:pt x="321" y="375"/>
                </a:cubicBezTo>
                <a:cubicBezTo>
                  <a:pt x="322" y="375"/>
                  <a:pt x="321" y="377"/>
                  <a:pt x="321" y="378"/>
                </a:cubicBezTo>
                <a:cubicBezTo>
                  <a:pt x="321" y="378"/>
                  <a:pt x="322" y="378"/>
                  <a:pt x="322" y="378"/>
                </a:cubicBezTo>
                <a:cubicBezTo>
                  <a:pt x="322" y="379"/>
                  <a:pt x="323" y="385"/>
                  <a:pt x="322" y="387"/>
                </a:cubicBezTo>
                <a:cubicBezTo>
                  <a:pt x="322" y="387"/>
                  <a:pt x="321" y="387"/>
                  <a:pt x="321" y="387"/>
                </a:cubicBezTo>
                <a:cubicBezTo>
                  <a:pt x="321" y="388"/>
                  <a:pt x="322" y="389"/>
                  <a:pt x="321" y="389"/>
                </a:cubicBezTo>
                <a:cubicBezTo>
                  <a:pt x="321" y="391"/>
                  <a:pt x="321" y="393"/>
                  <a:pt x="320" y="394"/>
                </a:cubicBezTo>
                <a:cubicBezTo>
                  <a:pt x="320" y="396"/>
                  <a:pt x="322" y="396"/>
                  <a:pt x="321" y="399"/>
                </a:cubicBezTo>
                <a:cubicBezTo>
                  <a:pt x="323" y="399"/>
                  <a:pt x="326" y="399"/>
                  <a:pt x="328" y="399"/>
                </a:cubicBezTo>
                <a:cubicBezTo>
                  <a:pt x="328" y="400"/>
                  <a:pt x="329" y="400"/>
                  <a:pt x="330" y="400"/>
                </a:cubicBezTo>
                <a:cubicBezTo>
                  <a:pt x="330" y="400"/>
                  <a:pt x="330" y="401"/>
                  <a:pt x="330" y="401"/>
                </a:cubicBezTo>
                <a:cubicBezTo>
                  <a:pt x="330" y="401"/>
                  <a:pt x="330" y="400"/>
                  <a:pt x="330" y="401"/>
                </a:cubicBezTo>
                <a:cubicBezTo>
                  <a:pt x="331" y="401"/>
                  <a:pt x="330" y="401"/>
                  <a:pt x="330" y="401"/>
                </a:cubicBezTo>
                <a:cubicBezTo>
                  <a:pt x="331" y="402"/>
                  <a:pt x="332" y="401"/>
                  <a:pt x="332" y="401"/>
                </a:cubicBezTo>
                <a:cubicBezTo>
                  <a:pt x="333" y="401"/>
                  <a:pt x="335" y="401"/>
                  <a:pt x="337" y="401"/>
                </a:cubicBezTo>
                <a:cubicBezTo>
                  <a:pt x="338" y="402"/>
                  <a:pt x="341" y="403"/>
                  <a:pt x="342" y="403"/>
                </a:cubicBezTo>
                <a:cubicBezTo>
                  <a:pt x="342" y="402"/>
                  <a:pt x="344" y="402"/>
                  <a:pt x="345" y="401"/>
                </a:cubicBezTo>
                <a:cubicBezTo>
                  <a:pt x="345" y="401"/>
                  <a:pt x="345" y="400"/>
                  <a:pt x="345" y="400"/>
                </a:cubicBezTo>
                <a:cubicBezTo>
                  <a:pt x="348" y="399"/>
                  <a:pt x="347" y="403"/>
                  <a:pt x="349" y="403"/>
                </a:cubicBezTo>
                <a:cubicBezTo>
                  <a:pt x="350" y="403"/>
                  <a:pt x="350" y="402"/>
                  <a:pt x="350" y="401"/>
                </a:cubicBezTo>
                <a:cubicBezTo>
                  <a:pt x="350" y="399"/>
                  <a:pt x="349" y="399"/>
                  <a:pt x="349" y="399"/>
                </a:cubicBezTo>
                <a:close/>
                <a:moveTo>
                  <a:pt x="358" y="321"/>
                </a:moveTo>
                <a:cubicBezTo>
                  <a:pt x="359" y="321"/>
                  <a:pt x="358" y="319"/>
                  <a:pt x="360" y="319"/>
                </a:cubicBezTo>
                <a:cubicBezTo>
                  <a:pt x="360" y="320"/>
                  <a:pt x="361" y="320"/>
                  <a:pt x="362" y="319"/>
                </a:cubicBezTo>
                <a:cubicBezTo>
                  <a:pt x="364" y="320"/>
                  <a:pt x="364" y="320"/>
                  <a:pt x="366" y="319"/>
                </a:cubicBezTo>
                <a:cubicBezTo>
                  <a:pt x="366" y="320"/>
                  <a:pt x="365" y="320"/>
                  <a:pt x="365" y="322"/>
                </a:cubicBezTo>
                <a:cubicBezTo>
                  <a:pt x="365" y="322"/>
                  <a:pt x="364" y="322"/>
                  <a:pt x="364" y="322"/>
                </a:cubicBezTo>
                <a:cubicBezTo>
                  <a:pt x="363" y="322"/>
                  <a:pt x="363" y="322"/>
                  <a:pt x="363" y="322"/>
                </a:cubicBezTo>
                <a:cubicBezTo>
                  <a:pt x="363" y="322"/>
                  <a:pt x="363" y="321"/>
                  <a:pt x="363" y="321"/>
                </a:cubicBezTo>
                <a:cubicBezTo>
                  <a:pt x="363" y="320"/>
                  <a:pt x="362" y="321"/>
                  <a:pt x="362" y="321"/>
                </a:cubicBezTo>
                <a:cubicBezTo>
                  <a:pt x="361" y="321"/>
                  <a:pt x="359" y="321"/>
                  <a:pt x="360" y="323"/>
                </a:cubicBezTo>
                <a:cubicBezTo>
                  <a:pt x="359" y="323"/>
                  <a:pt x="358" y="323"/>
                  <a:pt x="358" y="323"/>
                </a:cubicBezTo>
                <a:cubicBezTo>
                  <a:pt x="357" y="323"/>
                  <a:pt x="355" y="324"/>
                  <a:pt x="355" y="323"/>
                </a:cubicBezTo>
                <a:cubicBezTo>
                  <a:pt x="356" y="323"/>
                  <a:pt x="357" y="322"/>
                  <a:pt x="358" y="321"/>
                </a:cubicBezTo>
                <a:close/>
                <a:moveTo>
                  <a:pt x="312" y="369"/>
                </a:moveTo>
                <a:cubicBezTo>
                  <a:pt x="311" y="368"/>
                  <a:pt x="312" y="368"/>
                  <a:pt x="312" y="368"/>
                </a:cubicBezTo>
                <a:cubicBezTo>
                  <a:pt x="313" y="368"/>
                  <a:pt x="312" y="369"/>
                  <a:pt x="312" y="369"/>
                </a:cubicBezTo>
                <a:close/>
                <a:moveTo>
                  <a:pt x="373" y="364"/>
                </a:moveTo>
                <a:cubicBezTo>
                  <a:pt x="373" y="363"/>
                  <a:pt x="373" y="363"/>
                  <a:pt x="374" y="363"/>
                </a:cubicBezTo>
                <a:cubicBezTo>
                  <a:pt x="374" y="362"/>
                  <a:pt x="374" y="361"/>
                  <a:pt x="375" y="361"/>
                </a:cubicBezTo>
                <a:cubicBezTo>
                  <a:pt x="375" y="360"/>
                  <a:pt x="376" y="359"/>
                  <a:pt x="376" y="358"/>
                </a:cubicBezTo>
                <a:cubicBezTo>
                  <a:pt x="375" y="358"/>
                  <a:pt x="375" y="357"/>
                  <a:pt x="375" y="357"/>
                </a:cubicBezTo>
                <a:cubicBezTo>
                  <a:pt x="374" y="357"/>
                  <a:pt x="374" y="356"/>
                  <a:pt x="374" y="356"/>
                </a:cubicBezTo>
                <a:cubicBezTo>
                  <a:pt x="374" y="356"/>
                  <a:pt x="373" y="356"/>
                  <a:pt x="374" y="355"/>
                </a:cubicBezTo>
                <a:cubicBezTo>
                  <a:pt x="373" y="355"/>
                  <a:pt x="373" y="355"/>
                  <a:pt x="373" y="355"/>
                </a:cubicBezTo>
                <a:cubicBezTo>
                  <a:pt x="373" y="353"/>
                  <a:pt x="373" y="352"/>
                  <a:pt x="371" y="353"/>
                </a:cubicBezTo>
                <a:cubicBezTo>
                  <a:pt x="369" y="354"/>
                  <a:pt x="372" y="355"/>
                  <a:pt x="372" y="357"/>
                </a:cubicBezTo>
                <a:cubicBezTo>
                  <a:pt x="372" y="359"/>
                  <a:pt x="370" y="358"/>
                  <a:pt x="370" y="360"/>
                </a:cubicBezTo>
                <a:cubicBezTo>
                  <a:pt x="370" y="361"/>
                  <a:pt x="370" y="362"/>
                  <a:pt x="370" y="363"/>
                </a:cubicBezTo>
                <a:cubicBezTo>
                  <a:pt x="372" y="362"/>
                  <a:pt x="372" y="366"/>
                  <a:pt x="373" y="364"/>
                </a:cubicBezTo>
                <a:close/>
                <a:moveTo>
                  <a:pt x="327" y="310"/>
                </a:moveTo>
                <a:cubicBezTo>
                  <a:pt x="325" y="310"/>
                  <a:pt x="326" y="312"/>
                  <a:pt x="325" y="313"/>
                </a:cubicBezTo>
                <a:cubicBezTo>
                  <a:pt x="325" y="313"/>
                  <a:pt x="325" y="313"/>
                  <a:pt x="325" y="313"/>
                </a:cubicBezTo>
                <a:cubicBezTo>
                  <a:pt x="324" y="313"/>
                  <a:pt x="324" y="315"/>
                  <a:pt x="322" y="315"/>
                </a:cubicBezTo>
                <a:cubicBezTo>
                  <a:pt x="322" y="315"/>
                  <a:pt x="322" y="315"/>
                  <a:pt x="322" y="315"/>
                </a:cubicBezTo>
                <a:cubicBezTo>
                  <a:pt x="322" y="315"/>
                  <a:pt x="321" y="316"/>
                  <a:pt x="321" y="316"/>
                </a:cubicBezTo>
                <a:cubicBezTo>
                  <a:pt x="322" y="317"/>
                  <a:pt x="323" y="317"/>
                  <a:pt x="323" y="318"/>
                </a:cubicBezTo>
                <a:cubicBezTo>
                  <a:pt x="325" y="317"/>
                  <a:pt x="325" y="319"/>
                  <a:pt x="325" y="320"/>
                </a:cubicBezTo>
                <a:cubicBezTo>
                  <a:pt x="326" y="319"/>
                  <a:pt x="328" y="319"/>
                  <a:pt x="328" y="317"/>
                </a:cubicBezTo>
                <a:cubicBezTo>
                  <a:pt x="329" y="317"/>
                  <a:pt x="329" y="315"/>
                  <a:pt x="330" y="315"/>
                </a:cubicBezTo>
                <a:cubicBezTo>
                  <a:pt x="331" y="313"/>
                  <a:pt x="328" y="312"/>
                  <a:pt x="330" y="311"/>
                </a:cubicBezTo>
                <a:cubicBezTo>
                  <a:pt x="331" y="311"/>
                  <a:pt x="331" y="310"/>
                  <a:pt x="331" y="310"/>
                </a:cubicBezTo>
                <a:cubicBezTo>
                  <a:pt x="332" y="310"/>
                  <a:pt x="332" y="309"/>
                  <a:pt x="332" y="309"/>
                </a:cubicBezTo>
                <a:cubicBezTo>
                  <a:pt x="332" y="307"/>
                  <a:pt x="329" y="308"/>
                  <a:pt x="329" y="309"/>
                </a:cubicBezTo>
                <a:cubicBezTo>
                  <a:pt x="328" y="309"/>
                  <a:pt x="328" y="310"/>
                  <a:pt x="327" y="310"/>
                </a:cubicBezTo>
                <a:cubicBezTo>
                  <a:pt x="327" y="310"/>
                  <a:pt x="327" y="310"/>
                  <a:pt x="327" y="310"/>
                </a:cubicBezTo>
                <a:close/>
                <a:moveTo>
                  <a:pt x="335" y="314"/>
                </a:moveTo>
                <a:cubicBezTo>
                  <a:pt x="335" y="314"/>
                  <a:pt x="336" y="314"/>
                  <a:pt x="337" y="314"/>
                </a:cubicBezTo>
                <a:cubicBezTo>
                  <a:pt x="337" y="313"/>
                  <a:pt x="338" y="313"/>
                  <a:pt x="337" y="312"/>
                </a:cubicBezTo>
                <a:cubicBezTo>
                  <a:pt x="335" y="313"/>
                  <a:pt x="336" y="311"/>
                  <a:pt x="334" y="311"/>
                </a:cubicBezTo>
                <a:cubicBezTo>
                  <a:pt x="334" y="312"/>
                  <a:pt x="333" y="312"/>
                  <a:pt x="333" y="312"/>
                </a:cubicBezTo>
                <a:cubicBezTo>
                  <a:pt x="332" y="314"/>
                  <a:pt x="334" y="313"/>
                  <a:pt x="335" y="314"/>
                </a:cubicBezTo>
                <a:close/>
                <a:moveTo>
                  <a:pt x="404" y="363"/>
                </a:moveTo>
                <a:cubicBezTo>
                  <a:pt x="403" y="363"/>
                  <a:pt x="403" y="363"/>
                  <a:pt x="403" y="363"/>
                </a:cubicBezTo>
                <a:cubicBezTo>
                  <a:pt x="402" y="365"/>
                  <a:pt x="404" y="364"/>
                  <a:pt x="405" y="364"/>
                </a:cubicBezTo>
                <a:cubicBezTo>
                  <a:pt x="405" y="364"/>
                  <a:pt x="405" y="365"/>
                  <a:pt x="405" y="365"/>
                </a:cubicBezTo>
                <a:cubicBezTo>
                  <a:pt x="406" y="365"/>
                  <a:pt x="406" y="365"/>
                  <a:pt x="407" y="364"/>
                </a:cubicBezTo>
                <a:cubicBezTo>
                  <a:pt x="407" y="365"/>
                  <a:pt x="408" y="365"/>
                  <a:pt x="409" y="365"/>
                </a:cubicBezTo>
                <a:cubicBezTo>
                  <a:pt x="410" y="363"/>
                  <a:pt x="408" y="363"/>
                  <a:pt x="408" y="361"/>
                </a:cubicBezTo>
                <a:cubicBezTo>
                  <a:pt x="408" y="360"/>
                  <a:pt x="409" y="359"/>
                  <a:pt x="408" y="358"/>
                </a:cubicBezTo>
                <a:cubicBezTo>
                  <a:pt x="408" y="358"/>
                  <a:pt x="408" y="358"/>
                  <a:pt x="408" y="358"/>
                </a:cubicBezTo>
                <a:cubicBezTo>
                  <a:pt x="407" y="358"/>
                  <a:pt x="408" y="357"/>
                  <a:pt x="407" y="357"/>
                </a:cubicBezTo>
                <a:cubicBezTo>
                  <a:pt x="406" y="358"/>
                  <a:pt x="406" y="360"/>
                  <a:pt x="406" y="362"/>
                </a:cubicBezTo>
                <a:cubicBezTo>
                  <a:pt x="405" y="362"/>
                  <a:pt x="405" y="363"/>
                  <a:pt x="404" y="363"/>
                </a:cubicBezTo>
                <a:close/>
                <a:moveTo>
                  <a:pt x="383" y="298"/>
                </a:moveTo>
                <a:cubicBezTo>
                  <a:pt x="385" y="298"/>
                  <a:pt x="384" y="299"/>
                  <a:pt x="386" y="299"/>
                </a:cubicBezTo>
                <a:cubicBezTo>
                  <a:pt x="386" y="298"/>
                  <a:pt x="388" y="298"/>
                  <a:pt x="388" y="295"/>
                </a:cubicBezTo>
                <a:cubicBezTo>
                  <a:pt x="389" y="296"/>
                  <a:pt x="389" y="295"/>
                  <a:pt x="390" y="295"/>
                </a:cubicBezTo>
                <a:cubicBezTo>
                  <a:pt x="390" y="295"/>
                  <a:pt x="390" y="294"/>
                  <a:pt x="390" y="293"/>
                </a:cubicBezTo>
                <a:cubicBezTo>
                  <a:pt x="387" y="294"/>
                  <a:pt x="388" y="292"/>
                  <a:pt x="385" y="293"/>
                </a:cubicBezTo>
                <a:cubicBezTo>
                  <a:pt x="385" y="294"/>
                  <a:pt x="385" y="294"/>
                  <a:pt x="385" y="294"/>
                </a:cubicBezTo>
                <a:cubicBezTo>
                  <a:pt x="383" y="294"/>
                  <a:pt x="382" y="295"/>
                  <a:pt x="382" y="297"/>
                </a:cubicBezTo>
                <a:cubicBezTo>
                  <a:pt x="383" y="297"/>
                  <a:pt x="383" y="298"/>
                  <a:pt x="383" y="298"/>
                </a:cubicBezTo>
                <a:close/>
                <a:moveTo>
                  <a:pt x="385" y="356"/>
                </a:moveTo>
                <a:cubicBezTo>
                  <a:pt x="385" y="358"/>
                  <a:pt x="387" y="357"/>
                  <a:pt x="387" y="359"/>
                </a:cubicBezTo>
                <a:cubicBezTo>
                  <a:pt x="388" y="360"/>
                  <a:pt x="389" y="359"/>
                  <a:pt x="390" y="360"/>
                </a:cubicBezTo>
                <a:cubicBezTo>
                  <a:pt x="391" y="358"/>
                  <a:pt x="389" y="359"/>
                  <a:pt x="389" y="357"/>
                </a:cubicBezTo>
                <a:cubicBezTo>
                  <a:pt x="387" y="358"/>
                  <a:pt x="388" y="356"/>
                  <a:pt x="385" y="356"/>
                </a:cubicBezTo>
                <a:close/>
                <a:moveTo>
                  <a:pt x="369" y="354"/>
                </a:moveTo>
                <a:cubicBezTo>
                  <a:pt x="369" y="354"/>
                  <a:pt x="369" y="354"/>
                  <a:pt x="369" y="355"/>
                </a:cubicBezTo>
                <a:cubicBezTo>
                  <a:pt x="366" y="355"/>
                  <a:pt x="371" y="356"/>
                  <a:pt x="369" y="354"/>
                </a:cubicBezTo>
                <a:close/>
                <a:moveTo>
                  <a:pt x="320" y="376"/>
                </a:moveTo>
                <a:cubicBezTo>
                  <a:pt x="320" y="374"/>
                  <a:pt x="319" y="374"/>
                  <a:pt x="318" y="373"/>
                </a:cubicBezTo>
                <a:cubicBezTo>
                  <a:pt x="318" y="375"/>
                  <a:pt x="319" y="376"/>
                  <a:pt x="320" y="376"/>
                </a:cubicBezTo>
                <a:close/>
                <a:moveTo>
                  <a:pt x="320" y="387"/>
                </a:moveTo>
                <a:cubicBezTo>
                  <a:pt x="320" y="387"/>
                  <a:pt x="319" y="387"/>
                  <a:pt x="319" y="386"/>
                </a:cubicBezTo>
                <a:cubicBezTo>
                  <a:pt x="318" y="386"/>
                  <a:pt x="317" y="386"/>
                  <a:pt x="316" y="386"/>
                </a:cubicBezTo>
                <a:cubicBezTo>
                  <a:pt x="317" y="387"/>
                  <a:pt x="316" y="387"/>
                  <a:pt x="315" y="387"/>
                </a:cubicBezTo>
                <a:cubicBezTo>
                  <a:pt x="316" y="389"/>
                  <a:pt x="316" y="392"/>
                  <a:pt x="316" y="394"/>
                </a:cubicBezTo>
                <a:cubicBezTo>
                  <a:pt x="319" y="394"/>
                  <a:pt x="318" y="390"/>
                  <a:pt x="320" y="390"/>
                </a:cubicBezTo>
                <a:cubicBezTo>
                  <a:pt x="319" y="388"/>
                  <a:pt x="322" y="387"/>
                  <a:pt x="320" y="387"/>
                </a:cubicBezTo>
                <a:close/>
                <a:moveTo>
                  <a:pt x="319" y="383"/>
                </a:moveTo>
                <a:cubicBezTo>
                  <a:pt x="319" y="383"/>
                  <a:pt x="319" y="383"/>
                  <a:pt x="319" y="383"/>
                </a:cubicBezTo>
                <a:cubicBezTo>
                  <a:pt x="321" y="383"/>
                  <a:pt x="318" y="382"/>
                  <a:pt x="318" y="382"/>
                </a:cubicBezTo>
                <a:cubicBezTo>
                  <a:pt x="318" y="383"/>
                  <a:pt x="318" y="383"/>
                  <a:pt x="319" y="383"/>
                </a:cubicBezTo>
                <a:close/>
                <a:moveTo>
                  <a:pt x="318" y="380"/>
                </a:moveTo>
                <a:cubicBezTo>
                  <a:pt x="318" y="378"/>
                  <a:pt x="318" y="377"/>
                  <a:pt x="318" y="376"/>
                </a:cubicBezTo>
                <a:cubicBezTo>
                  <a:pt x="316" y="375"/>
                  <a:pt x="317" y="373"/>
                  <a:pt x="314" y="373"/>
                </a:cubicBezTo>
                <a:cubicBezTo>
                  <a:pt x="315" y="375"/>
                  <a:pt x="314" y="378"/>
                  <a:pt x="315" y="378"/>
                </a:cubicBezTo>
                <a:cubicBezTo>
                  <a:pt x="315" y="379"/>
                  <a:pt x="317" y="379"/>
                  <a:pt x="318" y="380"/>
                </a:cubicBezTo>
                <a:close/>
                <a:moveTo>
                  <a:pt x="395" y="401"/>
                </a:moveTo>
                <a:cubicBezTo>
                  <a:pt x="396" y="400"/>
                  <a:pt x="397" y="397"/>
                  <a:pt x="395" y="397"/>
                </a:cubicBezTo>
                <a:cubicBezTo>
                  <a:pt x="396" y="398"/>
                  <a:pt x="393" y="400"/>
                  <a:pt x="395" y="401"/>
                </a:cubicBezTo>
                <a:close/>
                <a:moveTo>
                  <a:pt x="399" y="405"/>
                </a:moveTo>
                <a:cubicBezTo>
                  <a:pt x="399" y="403"/>
                  <a:pt x="398" y="402"/>
                  <a:pt x="397" y="402"/>
                </a:cubicBezTo>
                <a:cubicBezTo>
                  <a:pt x="397" y="404"/>
                  <a:pt x="396" y="405"/>
                  <a:pt x="395" y="405"/>
                </a:cubicBezTo>
                <a:cubicBezTo>
                  <a:pt x="394" y="405"/>
                  <a:pt x="394" y="405"/>
                  <a:pt x="394" y="405"/>
                </a:cubicBezTo>
                <a:cubicBezTo>
                  <a:pt x="394" y="405"/>
                  <a:pt x="394" y="405"/>
                  <a:pt x="394" y="405"/>
                </a:cubicBezTo>
                <a:cubicBezTo>
                  <a:pt x="392" y="405"/>
                  <a:pt x="392" y="403"/>
                  <a:pt x="390" y="403"/>
                </a:cubicBezTo>
                <a:cubicBezTo>
                  <a:pt x="390" y="403"/>
                  <a:pt x="390" y="402"/>
                  <a:pt x="390" y="402"/>
                </a:cubicBezTo>
                <a:cubicBezTo>
                  <a:pt x="390" y="402"/>
                  <a:pt x="389" y="401"/>
                  <a:pt x="389" y="401"/>
                </a:cubicBezTo>
                <a:cubicBezTo>
                  <a:pt x="387" y="401"/>
                  <a:pt x="386" y="399"/>
                  <a:pt x="384" y="400"/>
                </a:cubicBezTo>
                <a:cubicBezTo>
                  <a:pt x="384" y="401"/>
                  <a:pt x="383" y="402"/>
                  <a:pt x="382" y="402"/>
                </a:cubicBezTo>
                <a:cubicBezTo>
                  <a:pt x="381" y="405"/>
                  <a:pt x="384" y="404"/>
                  <a:pt x="383" y="406"/>
                </a:cubicBezTo>
                <a:cubicBezTo>
                  <a:pt x="382" y="406"/>
                  <a:pt x="380" y="404"/>
                  <a:pt x="379" y="406"/>
                </a:cubicBezTo>
                <a:cubicBezTo>
                  <a:pt x="380" y="406"/>
                  <a:pt x="380" y="407"/>
                  <a:pt x="381" y="407"/>
                </a:cubicBezTo>
                <a:cubicBezTo>
                  <a:pt x="381" y="408"/>
                  <a:pt x="381" y="408"/>
                  <a:pt x="381" y="408"/>
                </a:cubicBezTo>
                <a:cubicBezTo>
                  <a:pt x="381" y="410"/>
                  <a:pt x="384" y="409"/>
                  <a:pt x="384" y="410"/>
                </a:cubicBezTo>
                <a:cubicBezTo>
                  <a:pt x="384" y="410"/>
                  <a:pt x="384" y="411"/>
                  <a:pt x="384" y="411"/>
                </a:cubicBezTo>
                <a:cubicBezTo>
                  <a:pt x="385" y="411"/>
                  <a:pt x="385" y="412"/>
                  <a:pt x="386" y="412"/>
                </a:cubicBezTo>
                <a:cubicBezTo>
                  <a:pt x="386" y="412"/>
                  <a:pt x="386" y="412"/>
                  <a:pt x="386" y="412"/>
                </a:cubicBezTo>
                <a:cubicBezTo>
                  <a:pt x="387" y="413"/>
                  <a:pt x="388" y="413"/>
                  <a:pt x="389" y="414"/>
                </a:cubicBezTo>
                <a:cubicBezTo>
                  <a:pt x="389" y="414"/>
                  <a:pt x="389" y="415"/>
                  <a:pt x="389" y="415"/>
                </a:cubicBezTo>
                <a:cubicBezTo>
                  <a:pt x="390" y="415"/>
                  <a:pt x="390" y="415"/>
                  <a:pt x="390" y="415"/>
                </a:cubicBezTo>
                <a:cubicBezTo>
                  <a:pt x="390" y="416"/>
                  <a:pt x="391" y="417"/>
                  <a:pt x="392" y="417"/>
                </a:cubicBezTo>
                <a:cubicBezTo>
                  <a:pt x="393" y="416"/>
                  <a:pt x="393" y="416"/>
                  <a:pt x="393" y="415"/>
                </a:cubicBezTo>
                <a:cubicBezTo>
                  <a:pt x="394" y="415"/>
                  <a:pt x="395" y="415"/>
                  <a:pt x="395" y="415"/>
                </a:cubicBezTo>
                <a:cubicBezTo>
                  <a:pt x="397" y="415"/>
                  <a:pt x="400" y="414"/>
                  <a:pt x="401" y="415"/>
                </a:cubicBezTo>
                <a:cubicBezTo>
                  <a:pt x="401" y="413"/>
                  <a:pt x="401" y="411"/>
                  <a:pt x="401" y="409"/>
                </a:cubicBezTo>
                <a:cubicBezTo>
                  <a:pt x="401" y="409"/>
                  <a:pt x="401" y="408"/>
                  <a:pt x="401" y="408"/>
                </a:cubicBezTo>
                <a:cubicBezTo>
                  <a:pt x="400" y="407"/>
                  <a:pt x="401" y="405"/>
                  <a:pt x="399" y="405"/>
                </a:cubicBezTo>
                <a:close/>
                <a:moveTo>
                  <a:pt x="408" y="403"/>
                </a:moveTo>
                <a:cubicBezTo>
                  <a:pt x="408" y="403"/>
                  <a:pt x="408" y="402"/>
                  <a:pt x="408" y="402"/>
                </a:cubicBezTo>
                <a:cubicBezTo>
                  <a:pt x="407" y="404"/>
                  <a:pt x="406" y="401"/>
                  <a:pt x="406" y="401"/>
                </a:cubicBezTo>
                <a:cubicBezTo>
                  <a:pt x="404" y="400"/>
                  <a:pt x="402" y="401"/>
                  <a:pt x="400" y="401"/>
                </a:cubicBezTo>
                <a:cubicBezTo>
                  <a:pt x="400" y="402"/>
                  <a:pt x="400" y="402"/>
                  <a:pt x="400" y="403"/>
                </a:cubicBezTo>
                <a:cubicBezTo>
                  <a:pt x="402" y="404"/>
                  <a:pt x="401" y="408"/>
                  <a:pt x="403" y="408"/>
                </a:cubicBezTo>
                <a:cubicBezTo>
                  <a:pt x="403" y="409"/>
                  <a:pt x="403" y="410"/>
                  <a:pt x="404" y="410"/>
                </a:cubicBezTo>
                <a:cubicBezTo>
                  <a:pt x="404" y="412"/>
                  <a:pt x="402" y="412"/>
                  <a:pt x="402" y="413"/>
                </a:cubicBezTo>
                <a:cubicBezTo>
                  <a:pt x="403" y="413"/>
                  <a:pt x="403" y="414"/>
                  <a:pt x="403" y="415"/>
                </a:cubicBezTo>
                <a:cubicBezTo>
                  <a:pt x="404" y="414"/>
                  <a:pt x="404" y="417"/>
                  <a:pt x="405" y="417"/>
                </a:cubicBezTo>
                <a:cubicBezTo>
                  <a:pt x="406" y="415"/>
                  <a:pt x="406" y="414"/>
                  <a:pt x="406" y="412"/>
                </a:cubicBezTo>
                <a:cubicBezTo>
                  <a:pt x="407" y="412"/>
                  <a:pt x="407" y="411"/>
                  <a:pt x="407" y="410"/>
                </a:cubicBezTo>
                <a:cubicBezTo>
                  <a:pt x="409" y="410"/>
                  <a:pt x="410" y="408"/>
                  <a:pt x="410" y="406"/>
                </a:cubicBezTo>
                <a:cubicBezTo>
                  <a:pt x="410" y="405"/>
                  <a:pt x="410" y="405"/>
                  <a:pt x="409" y="404"/>
                </a:cubicBezTo>
                <a:cubicBezTo>
                  <a:pt x="409" y="404"/>
                  <a:pt x="409" y="403"/>
                  <a:pt x="408" y="403"/>
                </a:cubicBezTo>
                <a:close/>
                <a:moveTo>
                  <a:pt x="384" y="391"/>
                </a:moveTo>
                <a:cubicBezTo>
                  <a:pt x="385" y="391"/>
                  <a:pt x="385" y="392"/>
                  <a:pt x="385" y="392"/>
                </a:cubicBezTo>
                <a:cubicBezTo>
                  <a:pt x="386" y="392"/>
                  <a:pt x="387" y="392"/>
                  <a:pt x="387" y="390"/>
                </a:cubicBezTo>
                <a:cubicBezTo>
                  <a:pt x="387" y="390"/>
                  <a:pt x="387" y="390"/>
                  <a:pt x="387" y="389"/>
                </a:cubicBezTo>
                <a:cubicBezTo>
                  <a:pt x="388" y="388"/>
                  <a:pt x="386" y="386"/>
                  <a:pt x="385" y="388"/>
                </a:cubicBezTo>
                <a:cubicBezTo>
                  <a:pt x="386" y="388"/>
                  <a:pt x="386" y="388"/>
                  <a:pt x="386" y="389"/>
                </a:cubicBezTo>
                <a:cubicBezTo>
                  <a:pt x="386" y="390"/>
                  <a:pt x="384" y="390"/>
                  <a:pt x="384" y="391"/>
                </a:cubicBezTo>
                <a:close/>
                <a:moveTo>
                  <a:pt x="489" y="392"/>
                </a:moveTo>
                <a:cubicBezTo>
                  <a:pt x="488" y="391"/>
                  <a:pt x="488" y="390"/>
                  <a:pt x="487" y="389"/>
                </a:cubicBezTo>
                <a:cubicBezTo>
                  <a:pt x="486" y="389"/>
                  <a:pt x="485" y="388"/>
                  <a:pt x="484" y="388"/>
                </a:cubicBezTo>
                <a:cubicBezTo>
                  <a:pt x="484" y="388"/>
                  <a:pt x="484" y="388"/>
                  <a:pt x="484" y="387"/>
                </a:cubicBezTo>
                <a:cubicBezTo>
                  <a:pt x="482" y="387"/>
                  <a:pt x="482" y="385"/>
                  <a:pt x="480" y="385"/>
                </a:cubicBezTo>
                <a:cubicBezTo>
                  <a:pt x="481" y="387"/>
                  <a:pt x="479" y="388"/>
                  <a:pt x="479" y="389"/>
                </a:cubicBezTo>
                <a:cubicBezTo>
                  <a:pt x="479" y="391"/>
                  <a:pt x="478" y="392"/>
                  <a:pt x="478" y="394"/>
                </a:cubicBezTo>
                <a:cubicBezTo>
                  <a:pt x="479" y="394"/>
                  <a:pt x="479" y="395"/>
                  <a:pt x="479" y="396"/>
                </a:cubicBezTo>
                <a:cubicBezTo>
                  <a:pt x="480" y="396"/>
                  <a:pt x="482" y="397"/>
                  <a:pt x="484" y="397"/>
                </a:cubicBezTo>
                <a:cubicBezTo>
                  <a:pt x="485" y="399"/>
                  <a:pt x="486" y="399"/>
                  <a:pt x="488" y="399"/>
                </a:cubicBezTo>
                <a:cubicBezTo>
                  <a:pt x="488" y="399"/>
                  <a:pt x="489" y="399"/>
                  <a:pt x="489" y="399"/>
                </a:cubicBezTo>
                <a:cubicBezTo>
                  <a:pt x="490" y="397"/>
                  <a:pt x="490" y="396"/>
                  <a:pt x="490" y="395"/>
                </a:cubicBezTo>
                <a:cubicBezTo>
                  <a:pt x="490" y="394"/>
                  <a:pt x="489" y="394"/>
                  <a:pt x="489" y="392"/>
                </a:cubicBezTo>
                <a:close/>
                <a:moveTo>
                  <a:pt x="394" y="400"/>
                </a:moveTo>
                <a:cubicBezTo>
                  <a:pt x="394" y="400"/>
                  <a:pt x="393" y="400"/>
                  <a:pt x="393" y="400"/>
                </a:cubicBezTo>
                <a:cubicBezTo>
                  <a:pt x="392" y="400"/>
                  <a:pt x="391" y="400"/>
                  <a:pt x="391" y="401"/>
                </a:cubicBezTo>
                <a:cubicBezTo>
                  <a:pt x="392" y="401"/>
                  <a:pt x="393" y="401"/>
                  <a:pt x="394" y="400"/>
                </a:cubicBezTo>
                <a:close/>
                <a:moveTo>
                  <a:pt x="424" y="367"/>
                </a:moveTo>
                <a:cubicBezTo>
                  <a:pt x="424" y="367"/>
                  <a:pt x="424" y="366"/>
                  <a:pt x="424" y="366"/>
                </a:cubicBezTo>
                <a:cubicBezTo>
                  <a:pt x="424" y="365"/>
                  <a:pt x="424" y="363"/>
                  <a:pt x="424" y="362"/>
                </a:cubicBezTo>
                <a:cubicBezTo>
                  <a:pt x="423" y="361"/>
                  <a:pt x="422" y="360"/>
                  <a:pt x="422" y="357"/>
                </a:cubicBezTo>
                <a:cubicBezTo>
                  <a:pt x="423" y="355"/>
                  <a:pt x="425" y="353"/>
                  <a:pt x="423" y="350"/>
                </a:cubicBezTo>
                <a:cubicBezTo>
                  <a:pt x="423" y="350"/>
                  <a:pt x="422" y="350"/>
                  <a:pt x="422" y="350"/>
                </a:cubicBezTo>
                <a:cubicBezTo>
                  <a:pt x="422" y="350"/>
                  <a:pt x="422" y="350"/>
                  <a:pt x="422" y="350"/>
                </a:cubicBezTo>
                <a:cubicBezTo>
                  <a:pt x="422" y="348"/>
                  <a:pt x="419" y="349"/>
                  <a:pt x="418" y="349"/>
                </a:cubicBezTo>
                <a:cubicBezTo>
                  <a:pt x="417" y="349"/>
                  <a:pt x="417" y="347"/>
                  <a:pt x="415" y="348"/>
                </a:cubicBezTo>
                <a:cubicBezTo>
                  <a:pt x="414" y="348"/>
                  <a:pt x="412" y="349"/>
                  <a:pt x="410" y="349"/>
                </a:cubicBezTo>
                <a:cubicBezTo>
                  <a:pt x="409" y="351"/>
                  <a:pt x="408" y="352"/>
                  <a:pt x="406" y="353"/>
                </a:cubicBezTo>
                <a:cubicBezTo>
                  <a:pt x="406" y="353"/>
                  <a:pt x="406" y="353"/>
                  <a:pt x="406" y="353"/>
                </a:cubicBezTo>
                <a:cubicBezTo>
                  <a:pt x="405" y="353"/>
                  <a:pt x="405" y="354"/>
                  <a:pt x="405" y="355"/>
                </a:cubicBezTo>
                <a:cubicBezTo>
                  <a:pt x="405" y="356"/>
                  <a:pt x="408" y="355"/>
                  <a:pt x="409" y="355"/>
                </a:cubicBezTo>
                <a:cubicBezTo>
                  <a:pt x="409" y="356"/>
                  <a:pt x="409" y="356"/>
                  <a:pt x="409" y="357"/>
                </a:cubicBezTo>
                <a:cubicBezTo>
                  <a:pt x="409" y="357"/>
                  <a:pt x="409" y="357"/>
                  <a:pt x="409" y="357"/>
                </a:cubicBezTo>
                <a:cubicBezTo>
                  <a:pt x="410" y="357"/>
                  <a:pt x="410" y="359"/>
                  <a:pt x="410" y="360"/>
                </a:cubicBezTo>
                <a:cubicBezTo>
                  <a:pt x="410" y="360"/>
                  <a:pt x="411" y="360"/>
                  <a:pt x="411" y="360"/>
                </a:cubicBezTo>
                <a:cubicBezTo>
                  <a:pt x="411" y="360"/>
                  <a:pt x="411" y="361"/>
                  <a:pt x="411" y="361"/>
                </a:cubicBezTo>
                <a:cubicBezTo>
                  <a:pt x="410" y="362"/>
                  <a:pt x="411" y="363"/>
                  <a:pt x="411" y="364"/>
                </a:cubicBezTo>
                <a:cubicBezTo>
                  <a:pt x="410" y="365"/>
                  <a:pt x="410" y="365"/>
                  <a:pt x="410" y="365"/>
                </a:cubicBezTo>
                <a:cubicBezTo>
                  <a:pt x="410" y="366"/>
                  <a:pt x="411" y="368"/>
                  <a:pt x="409" y="369"/>
                </a:cubicBezTo>
                <a:cubicBezTo>
                  <a:pt x="408" y="369"/>
                  <a:pt x="408" y="369"/>
                  <a:pt x="407" y="369"/>
                </a:cubicBezTo>
                <a:cubicBezTo>
                  <a:pt x="406" y="368"/>
                  <a:pt x="407" y="367"/>
                  <a:pt x="406" y="366"/>
                </a:cubicBezTo>
                <a:cubicBezTo>
                  <a:pt x="406" y="368"/>
                  <a:pt x="403" y="367"/>
                  <a:pt x="402" y="367"/>
                </a:cubicBezTo>
                <a:cubicBezTo>
                  <a:pt x="402" y="365"/>
                  <a:pt x="399" y="368"/>
                  <a:pt x="400" y="365"/>
                </a:cubicBezTo>
                <a:cubicBezTo>
                  <a:pt x="400" y="363"/>
                  <a:pt x="403" y="365"/>
                  <a:pt x="402" y="363"/>
                </a:cubicBezTo>
                <a:cubicBezTo>
                  <a:pt x="402" y="363"/>
                  <a:pt x="402" y="363"/>
                  <a:pt x="402" y="362"/>
                </a:cubicBezTo>
                <a:cubicBezTo>
                  <a:pt x="402" y="362"/>
                  <a:pt x="401" y="362"/>
                  <a:pt x="402" y="362"/>
                </a:cubicBezTo>
                <a:cubicBezTo>
                  <a:pt x="402" y="360"/>
                  <a:pt x="402" y="359"/>
                  <a:pt x="401" y="358"/>
                </a:cubicBezTo>
                <a:cubicBezTo>
                  <a:pt x="401" y="358"/>
                  <a:pt x="401" y="358"/>
                  <a:pt x="401" y="357"/>
                </a:cubicBezTo>
                <a:cubicBezTo>
                  <a:pt x="402" y="357"/>
                  <a:pt x="403" y="356"/>
                  <a:pt x="404" y="356"/>
                </a:cubicBezTo>
                <a:cubicBezTo>
                  <a:pt x="404" y="356"/>
                  <a:pt x="404" y="355"/>
                  <a:pt x="404" y="355"/>
                </a:cubicBezTo>
                <a:cubicBezTo>
                  <a:pt x="404" y="355"/>
                  <a:pt x="404" y="355"/>
                  <a:pt x="404" y="354"/>
                </a:cubicBezTo>
                <a:cubicBezTo>
                  <a:pt x="403" y="353"/>
                  <a:pt x="403" y="354"/>
                  <a:pt x="401" y="354"/>
                </a:cubicBezTo>
                <a:cubicBezTo>
                  <a:pt x="401" y="354"/>
                  <a:pt x="400" y="355"/>
                  <a:pt x="399" y="355"/>
                </a:cubicBezTo>
                <a:cubicBezTo>
                  <a:pt x="398" y="355"/>
                  <a:pt x="398" y="355"/>
                  <a:pt x="397" y="355"/>
                </a:cubicBezTo>
                <a:cubicBezTo>
                  <a:pt x="395" y="353"/>
                  <a:pt x="392" y="353"/>
                  <a:pt x="390" y="353"/>
                </a:cubicBezTo>
                <a:cubicBezTo>
                  <a:pt x="390" y="353"/>
                  <a:pt x="390" y="353"/>
                  <a:pt x="390" y="354"/>
                </a:cubicBezTo>
                <a:cubicBezTo>
                  <a:pt x="390" y="354"/>
                  <a:pt x="390" y="354"/>
                  <a:pt x="390" y="355"/>
                </a:cubicBezTo>
                <a:cubicBezTo>
                  <a:pt x="391" y="355"/>
                  <a:pt x="392" y="355"/>
                  <a:pt x="392" y="356"/>
                </a:cubicBezTo>
                <a:cubicBezTo>
                  <a:pt x="394" y="356"/>
                  <a:pt x="396" y="356"/>
                  <a:pt x="396" y="358"/>
                </a:cubicBezTo>
                <a:cubicBezTo>
                  <a:pt x="395" y="358"/>
                  <a:pt x="395" y="359"/>
                  <a:pt x="395" y="360"/>
                </a:cubicBezTo>
                <a:cubicBezTo>
                  <a:pt x="393" y="359"/>
                  <a:pt x="393" y="360"/>
                  <a:pt x="392" y="360"/>
                </a:cubicBezTo>
                <a:cubicBezTo>
                  <a:pt x="392" y="361"/>
                  <a:pt x="392" y="362"/>
                  <a:pt x="392" y="362"/>
                </a:cubicBezTo>
                <a:cubicBezTo>
                  <a:pt x="392" y="362"/>
                  <a:pt x="392" y="362"/>
                  <a:pt x="391" y="362"/>
                </a:cubicBezTo>
                <a:cubicBezTo>
                  <a:pt x="391" y="362"/>
                  <a:pt x="391" y="362"/>
                  <a:pt x="391" y="362"/>
                </a:cubicBezTo>
                <a:cubicBezTo>
                  <a:pt x="391" y="363"/>
                  <a:pt x="390" y="364"/>
                  <a:pt x="388" y="364"/>
                </a:cubicBezTo>
                <a:cubicBezTo>
                  <a:pt x="388" y="364"/>
                  <a:pt x="388" y="364"/>
                  <a:pt x="388" y="364"/>
                </a:cubicBezTo>
                <a:cubicBezTo>
                  <a:pt x="388" y="364"/>
                  <a:pt x="388" y="364"/>
                  <a:pt x="388" y="364"/>
                </a:cubicBezTo>
                <a:cubicBezTo>
                  <a:pt x="388" y="364"/>
                  <a:pt x="387" y="364"/>
                  <a:pt x="387" y="364"/>
                </a:cubicBezTo>
                <a:cubicBezTo>
                  <a:pt x="387" y="362"/>
                  <a:pt x="385" y="364"/>
                  <a:pt x="384" y="364"/>
                </a:cubicBezTo>
                <a:cubicBezTo>
                  <a:pt x="384" y="364"/>
                  <a:pt x="383" y="364"/>
                  <a:pt x="383" y="364"/>
                </a:cubicBezTo>
                <a:cubicBezTo>
                  <a:pt x="382" y="364"/>
                  <a:pt x="382" y="364"/>
                  <a:pt x="381" y="364"/>
                </a:cubicBezTo>
                <a:cubicBezTo>
                  <a:pt x="380" y="364"/>
                  <a:pt x="381" y="365"/>
                  <a:pt x="381" y="365"/>
                </a:cubicBezTo>
                <a:cubicBezTo>
                  <a:pt x="382" y="365"/>
                  <a:pt x="382" y="365"/>
                  <a:pt x="382" y="366"/>
                </a:cubicBezTo>
                <a:cubicBezTo>
                  <a:pt x="382" y="367"/>
                  <a:pt x="383" y="367"/>
                  <a:pt x="383" y="368"/>
                </a:cubicBezTo>
                <a:cubicBezTo>
                  <a:pt x="382" y="368"/>
                  <a:pt x="381" y="368"/>
                  <a:pt x="381" y="369"/>
                </a:cubicBezTo>
                <a:cubicBezTo>
                  <a:pt x="382" y="369"/>
                  <a:pt x="382" y="370"/>
                  <a:pt x="383" y="370"/>
                </a:cubicBezTo>
                <a:cubicBezTo>
                  <a:pt x="384" y="371"/>
                  <a:pt x="385" y="369"/>
                  <a:pt x="385" y="371"/>
                </a:cubicBezTo>
                <a:cubicBezTo>
                  <a:pt x="385" y="374"/>
                  <a:pt x="386" y="376"/>
                  <a:pt x="386" y="379"/>
                </a:cubicBezTo>
                <a:cubicBezTo>
                  <a:pt x="386" y="379"/>
                  <a:pt x="387" y="379"/>
                  <a:pt x="387" y="379"/>
                </a:cubicBezTo>
                <a:cubicBezTo>
                  <a:pt x="387" y="381"/>
                  <a:pt x="384" y="380"/>
                  <a:pt x="384" y="382"/>
                </a:cubicBezTo>
                <a:cubicBezTo>
                  <a:pt x="384" y="382"/>
                  <a:pt x="384" y="382"/>
                  <a:pt x="384" y="382"/>
                </a:cubicBezTo>
                <a:cubicBezTo>
                  <a:pt x="387" y="383"/>
                  <a:pt x="388" y="386"/>
                  <a:pt x="388" y="389"/>
                </a:cubicBezTo>
                <a:cubicBezTo>
                  <a:pt x="390" y="390"/>
                  <a:pt x="391" y="389"/>
                  <a:pt x="392" y="389"/>
                </a:cubicBezTo>
                <a:cubicBezTo>
                  <a:pt x="392" y="389"/>
                  <a:pt x="392" y="389"/>
                  <a:pt x="392" y="389"/>
                </a:cubicBezTo>
                <a:cubicBezTo>
                  <a:pt x="393" y="390"/>
                  <a:pt x="394" y="389"/>
                  <a:pt x="395" y="390"/>
                </a:cubicBezTo>
                <a:cubicBezTo>
                  <a:pt x="395" y="390"/>
                  <a:pt x="395" y="390"/>
                  <a:pt x="395" y="390"/>
                </a:cubicBezTo>
                <a:cubicBezTo>
                  <a:pt x="395" y="391"/>
                  <a:pt x="395" y="391"/>
                  <a:pt x="395" y="392"/>
                </a:cubicBezTo>
                <a:cubicBezTo>
                  <a:pt x="396" y="392"/>
                  <a:pt x="397" y="391"/>
                  <a:pt x="398" y="391"/>
                </a:cubicBezTo>
                <a:cubicBezTo>
                  <a:pt x="398" y="392"/>
                  <a:pt x="400" y="392"/>
                  <a:pt x="400" y="393"/>
                </a:cubicBezTo>
                <a:cubicBezTo>
                  <a:pt x="400" y="395"/>
                  <a:pt x="397" y="394"/>
                  <a:pt x="397" y="395"/>
                </a:cubicBezTo>
                <a:cubicBezTo>
                  <a:pt x="398" y="395"/>
                  <a:pt x="398" y="396"/>
                  <a:pt x="399" y="396"/>
                </a:cubicBezTo>
                <a:cubicBezTo>
                  <a:pt x="400" y="396"/>
                  <a:pt x="401" y="396"/>
                  <a:pt x="401" y="396"/>
                </a:cubicBezTo>
                <a:cubicBezTo>
                  <a:pt x="402" y="397"/>
                  <a:pt x="402" y="397"/>
                  <a:pt x="403" y="397"/>
                </a:cubicBezTo>
                <a:cubicBezTo>
                  <a:pt x="404" y="399"/>
                  <a:pt x="406" y="400"/>
                  <a:pt x="408" y="401"/>
                </a:cubicBezTo>
                <a:cubicBezTo>
                  <a:pt x="409" y="400"/>
                  <a:pt x="410" y="400"/>
                  <a:pt x="411" y="400"/>
                </a:cubicBezTo>
                <a:cubicBezTo>
                  <a:pt x="411" y="398"/>
                  <a:pt x="412" y="395"/>
                  <a:pt x="412" y="393"/>
                </a:cubicBezTo>
                <a:cubicBezTo>
                  <a:pt x="411" y="393"/>
                  <a:pt x="408" y="394"/>
                  <a:pt x="409" y="392"/>
                </a:cubicBezTo>
                <a:cubicBezTo>
                  <a:pt x="410" y="392"/>
                  <a:pt x="411" y="392"/>
                  <a:pt x="413" y="392"/>
                </a:cubicBezTo>
                <a:cubicBezTo>
                  <a:pt x="413" y="391"/>
                  <a:pt x="413" y="391"/>
                  <a:pt x="413" y="391"/>
                </a:cubicBezTo>
                <a:cubicBezTo>
                  <a:pt x="414" y="391"/>
                  <a:pt x="415" y="391"/>
                  <a:pt x="416" y="390"/>
                </a:cubicBezTo>
                <a:cubicBezTo>
                  <a:pt x="416" y="390"/>
                  <a:pt x="416" y="390"/>
                  <a:pt x="416" y="390"/>
                </a:cubicBezTo>
                <a:cubicBezTo>
                  <a:pt x="417" y="390"/>
                  <a:pt x="417" y="390"/>
                  <a:pt x="417" y="389"/>
                </a:cubicBezTo>
                <a:cubicBezTo>
                  <a:pt x="417" y="389"/>
                  <a:pt x="417" y="389"/>
                  <a:pt x="417" y="389"/>
                </a:cubicBezTo>
                <a:cubicBezTo>
                  <a:pt x="418" y="389"/>
                  <a:pt x="419" y="387"/>
                  <a:pt x="420" y="386"/>
                </a:cubicBezTo>
                <a:cubicBezTo>
                  <a:pt x="420" y="386"/>
                  <a:pt x="420" y="386"/>
                  <a:pt x="420" y="386"/>
                </a:cubicBezTo>
                <a:cubicBezTo>
                  <a:pt x="420" y="386"/>
                  <a:pt x="420" y="386"/>
                  <a:pt x="420" y="385"/>
                </a:cubicBezTo>
                <a:cubicBezTo>
                  <a:pt x="419" y="385"/>
                  <a:pt x="420" y="384"/>
                  <a:pt x="420" y="383"/>
                </a:cubicBezTo>
                <a:cubicBezTo>
                  <a:pt x="420" y="383"/>
                  <a:pt x="420" y="383"/>
                  <a:pt x="420" y="382"/>
                </a:cubicBezTo>
                <a:cubicBezTo>
                  <a:pt x="419" y="382"/>
                  <a:pt x="418" y="380"/>
                  <a:pt x="417" y="380"/>
                </a:cubicBezTo>
                <a:cubicBezTo>
                  <a:pt x="417" y="380"/>
                  <a:pt x="417" y="380"/>
                  <a:pt x="417" y="380"/>
                </a:cubicBezTo>
                <a:cubicBezTo>
                  <a:pt x="417" y="380"/>
                  <a:pt x="416" y="380"/>
                  <a:pt x="416" y="380"/>
                </a:cubicBezTo>
                <a:cubicBezTo>
                  <a:pt x="415" y="380"/>
                  <a:pt x="414" y="379"/>
                  <a:pt x="414" y="378"/>
                </a:cubicBezTo>
                <a:cubicBezTo>
                  <a:pt x="414" y="377"/>
                  <a:pt x="415" y="376"/>
                  <a:pt x="415" y="376"/>
                </a:cubicBezTo>
                <a:cubicBezTo>
                  <a:pt x="415" y="375"/>
                  <a:pt x="415" y="375"/>
                  <a:pt x="415" y="375"/>
                </a:cubicBezTo>
                <a:cubicBezTo>
                  <a:pt x="415" y="375"/>
                  <a:pt x="416" y="375"/>
                  <a:pt x="415" y="376"/>
                </a:cubicBezTo>
                <a:cubicBezTo>
                  <a:pt x="416" y="376"/>
                  <a:pt x="416" y="376"/>
                  <a:pt x="416" y="376"/>
                </a:cubicBezTo>
                <a:cubicBezTo>
                  <a:pt x="417" y="376"/>
                  <a:pt x="417" y="375"/>
                  <a:pt x="417" y="374"/>
                </a:cubicBezTo>
                <a:cubicBezTo>
                  <a:pt x="417" y="374"/>
                  <a:pt x="417" y="374"/>
                  <a:pt x="418" y="373"/>
                </a:cubicBezTo>
                <a:cubicBezTo>
                  <a:pt x="418" y="373"/>
                  <a:pt x="419" y="372"/>
                  <a:pt x="420" y="372"/>
                </a:cubicBezTo>
                <a:cubicBezTo>
                  <a:pt x="420" y="372"/>
                  <a:pt x="420" y="372"/>
                  <a:pt x="420" y="373"/>
                </a:cubicBezTo>
                <a:cubicBezTo>
                  <a:pt x="422" y="373"/>
                  <a:pt x="422" y="375"/>
                  <a:pt x="424" y="374"/>
                </a:cubicBezTo>
                <a:cubicBezTo>
                  <a:pt x="424" y="374"/>
                  <a:pt x="424" y="373"/>
                  <a:pt x="424" y="373"/>
                </a:cubicBezTo>
                <a:cubicBezTo>
                  <a:pt x="425" y="373"/>
                  <a:pt x="425" y="373"/>
                  <a:pt x="426" y="373"/>
                </a:cubicBezTo>
                <a:cubicBezTo>
                  <a:pt x="426" y="371"/>
                  <a:pt x="425" y="370"/>
                  <a:pt x="425" y="369"/>
                </a:cubicBezTo>
                <a:cubicBezTo>
                  <a:pt x="424" y="369"/>
                  <a:pt x="425" y="368"/>
                  <a:pt x="424" y="367"/>
                </a:cubicBezTo>
                <a:close/>
                <a:moveTo>
                  <a:pt x="365" y="362"/>
                </a:moveTo>
                <a:cubicBezTo>
                  <a:pt x="365" y="365"/>
                  <a:pt x="363" y="362"/>
                  <a:pt x="362" y="364"/>
                </a:cubicBezTo>
                <a:cubicBezTo>
                  <a:pt x="363" y="365"/>
                  <a:pt x="364" y="365"/>
                  <a:pt x="366" y="365"/>
                </a:cubicBezTo>
                <a:cubicBezTo>
                  <a:pt x="366" y="364"/>
                  <a:pt x="366" y="362"/>
                  <a:pt x="365" y="362"/>
                </a:cubicBezTo>
                <a:close/>
                <a:moveTo>
                  <a:pt x="420" y="398"/>
                </a:moveTo>
                <a:cubicBezTo>
                  <a:pt x="417" y="398"/>
                  <a:pt x="417" y="398"/>
                  <a:pt x="417" y="398"/>
                </a:cubicBezTo>
                <a:cubicBezTo>
                  <a:pt x="417" y="397"/>
                  <a:pt x="416" y="397"/>
                  <a:pt x="415" y="397"/>
                </a:cubicBezTo>
                <a:cubicBezTo>
                  <a:pt x="416" y="397"/>
                  <a:pt x="415" y="396"/>
                  <a:pt x="415" y="396"/>
                </a:cubicBezTo>
                <a:cubicBezTo>
                  <a:pt x="415" y="395"/>
                  <a:pt x="413" y="396"/>
                  <a:pt x="412" y="396"/>
                </a:cubicBezTo>
                <a:cubicBezTo>
                  <a:pt x="412" y="398"/>
                  <a:pt x="412" y="398"/>
                  <a:pt x="412" y="398"/>
                </a:cubicBezTo>
                <a:cubicBezTo>
                  <a:pt x="413" y="398"/>
                  <a:pt x="413" y="398"/>
                  <a:pt x="413" y="399"/>
                </a:cubicBezTo>
                <a:cubicBezTo>
                  <a:pt x="412" y="399"/>
                  <a:pt x="411" y="400"/>
                  <a:pt x="411" y="401"/>
                </a:cubicBezTo>
                <a:cubicBezTo>
                  <a:pt x="409" y="402"/>
                  <a:pt x="411" y="404"/>
                  <a:pt x="411" y="405"/>
                </a:cubicBezTo>
                <a:cubicBezTo>
                  <a:pt x="412" y="405"/>
                  <a:pt x="412" y="404"/>
                  <a:pt x="413" y="404"/>
                </a:cubicBezTo>
                <a:cubicBezTo>
                  <a:pt x="413" y="404"/>
                  <a:pt x="413" y="403"/>
                  <a:pt x="414" y="403"/>
                </a:cubicBezTo>
                <a:cubicBezTo>
                  <a:pt x="415" y="402"/>
                  <a:pt x="415" y="400"/>
                  <a:pt x="417" y="401"/>
                </a:cubicBezTo>
                <a:cubicBezTo>
                  <a:pt x="418" y="400"/>
                  <a:pt x="418" y="401"/>
                  <a:pt x="419" y="401"/>
                </a:cubicBezTo>
                <a:cubicBezTo>
                  <a:pt x="420" y="401"/>
                  <a:pt x="420" y="401"/>
                  <a:pt x="421" y="401"/>
                </a:cubicBezTo>
                <a:cubicBezTo>
                  <a:pt x="421" y="399"/>
                  <a:pt x="421" y="399"/>
                  <a:pt x="421" y="399"/>
                </a:cubicBezTo>
                <a:cubicBezTo>
                  <a:pt x="421" y="398"/>
                  <a:pt x="421" y="398"/>
                  <a:pt x="420" y="398"/>
                </a:cubicBezTo>
                <a:close/>
                <a:moveTo>
                  <a:pt x="381" y="395"/>
                </a:moveTo>
                <a:cubicBezTo>
                  <a:pt x="381" y="395"/>
                  <a:pt x="381" y="394"/>
                  <a:pt x="381" y="394"/>
                </a:cubicBezTo>
                <a:cubicBezTo>
                  <a:pt x="381" y="393"/>
                  <a:pt x="381" y="392"/>
                  <a:pt x="381" y="392"/>
                </a:cubicBezTo>
                <a:cubicBezTo>
                  <a:pt x="381" y="391"/>
                  <a:pt x="380" y="391"/>
                  <a:pt x="379" y="391"/>
                </a:cubicBezTo>
                <a:cubicBezTo>
                  <a:pt x="379" y="391"/>
                  <a:pt x="379" y="392"/>
                  <a:pt x="378" y="392"/>
                </a:cubicBezTo>
                <a:cubicBezTo>
                  <a:pt x="378" y="392"/>
                  <a:pt x="378" y="392"/>
                  <a:pt x="378" y="393"/>
                </a:cubicBezTo>
                <a:cubicBezTo>
                  <a:pt x="378" y="394"/>
                  <a:pt x="378" y="394"/>
                  <a:pt x="377" y="394"/>
                </a:cubicBezTo>
                <a:cubicBezTo>
                  <a:pt x="377" y="395"/>
                  <a:pt x="377" y="395"/>
                  <a:pt x="377" y="395"/>
                </a:cubicBezTo>
                <a:cubicBezTo>
                  <a:pt x="377" y="396"/>
                  <a:pt x="377" y="396"/>
                  <a:pt x="377" y="396"/>
                </a:cubicBezTo>
                <a:cubicBezTo>
                  <a:pt x="377" y="396"/>
                  <a:pt x="376" y="398"/>
                  <a:pt x="376" y="399"/>
                </a:cubicBezTo>
                <a:cubicBezTo>
                  <a:pt x="376" y="399"/>
                  <a:pt x="376" y="399"/>
                  <a:pt x="376" y="399"/>
                </a:cubicBezTo>
                <a:cubicBezTo>
                  <a:pt x="375" y="400"/>
                  <a:pt x="374" y="400"/>
                  <a:pt x="374" y="401"/>
                </a:cubicBezTo>
                <a:cubicBezTo>
                  <a:pt x="374" y="401"/>
                  <a:pt x="374" y="401"/>
                  <a:pt x="374" y="401"/>
                </a:cubicBezTo>
                <a:cubicBezTo>
                  <a:pt x="374" y="402"/>
                  <a:pt x="373" y="402"/>
                  <a:pt x="373" y="403"/>
                </a:cubicBezTo>
                <a:cubicBezTo>
                  <a:pt x="373" y="403"/>
                  <a:pt x="372" y="403"/>
                  <a:pt x="372" y="404"/>
                </a:cubicBezTo>
                <a:cubicBezTo>
                  <a:pt x="372" y="405"/>
                  <a:pt x="372" y="405"/>
                  <a:pt x="372" y="405"/>
                </a:cubicBezTo>
                <a:cubicBezTo>
                  <a:pt x="371" y="406"/>
                  <a:pt x="372" y="407"/>
                  <a:pt x="372" y="408"/>
                </a:cubicBezTo>
                <a:cubicBezTo>
                  <a:pt x="374" y="408"/>
                  <a:pt x="372" y="411"/>
                  <a:pt x="374" y="410"/>
                </a:cubicBezTo>
                <a:cubicBezTo>
                  <a:pt x="375" y="409"/>
                  <a:pt x="375" y="407"/>
                  <a:pt x="376" y="406"/>
                </a:cubicBezTo>
                <a:cubicBezTo>
                  <a:pt x="375" y="404"/>
                  <a:pt x="377" y="404"/>
                  <a:pt x="376" y="402"/>
                </a:cubicBezTo>
                <a:cubicBezTo>
                  <a:pt x="378" y="402"/>
                  <a:pt x="378" y="400"/>
                  <a:pt x="378" y="399"/>
                </a:cubicBezTo>
                <a:cubicBezTo>
                  <a:pt x="379" y="399"/>
                  <a:pt x="379" y="399"/>
                  <a:pt x="379" y="398"/>
                </a:cubicBezTo>
                <a:cubicBezTo>
                  <a:pt x="379" y="398"/>
                  <a:pt x="379" y="398"/>
                  <a:pt x="379" y="398"/>
                </a:cubicBezTo>
                <a:cubicBezTo>
                  <a:pt x="380" y="397"/>
                  <a:pt x="381" y="396"/>
                  <a:pt x="381" y="395"/>
                </a:cubicBezTo>
                <a:close/>
                <a:moveTo>
                  <a:pt x="361" y="395"/>
                </a:moveTo>
                <a:cubicBezTo>
                  <a:pt x="361" y="395"/>
                  <a:pt x="360" y="395"/>
                  <a:pt x="359" y="395"/>
                </a:cubicBezTo>
                <a:cubicBezTo>
                  <a:pt x="359" y="395"/>
                  <a:pt x="359" y="395"/>
                  <a:pt x="359" y="395"/>
                </a:cubicBezTo>
                <a:cubicBezTo>
                  <a:pt x="359" y="396"/>
                  <a:pt x="358" y="398"/>
                  <a:pt x="361" y="397"/>
                </a:cubicBezTo>
                <a:cubicBezTo>
                  <a:pt x="360" y="396"/>
                  <a:pt x="362" y="396"/>
                  <a:pt x="361" y="395"/>
                </a:cubicBezTo>
                <a:close/>
                <a:moveTo>
                  <a:pt x="365" y="398"/>
                </a:moveTo>
                <a:cubicBezTo>
                  <a:pt x="366" y="396"/>
                  <a:pt x="363" y="396"/>
                  <a:pt x="362" y="396"/>
                </a:cubicBezTo>
                <a:cubicBezTo>
                  <a:pt x="362" y="399"/>
                  <a:pt x="363" y="398"/>
                  <a:pt x="365" y="398"/>
                </a:cubicBezTo>
                <a:close/>
                <a:moveTo>
                  <a:pt x="362" y="394"/>
                </a:moveTo>
                <a:cubicBezTo>
                  <a:pt x="362" y="395"/>
                  <a:pt x="364" y="395"/>
                  <a:pt x="365" y="395"/>
                </a:cubicBezTo>
                <a:cubicBezTo>
                  <a:pt x="365" y="396"/>
                  <a:pt x="365" y="396"/>
                  <a:pt x="366" y="396"/>
                </a:cubicBezTo>
                <a:cubicBezTo>
                  <a:pt x="366" y="396"/>
                  <a:pt x="366" y="396"/>
                  <a:pt x="367" y="396"/>
                </a:cubicBezTo>
                <a:cubicBezTo>
                  <a:pt x="367" y="395"/>
                  <a:pt x="368" y="395"/>
                  <a:pt x="369" y="395"/>
                </a:cubicBezTo>
                <a:cubicBezTo>
                  <a:pt x="371" y="395"/>
                  <a:pt x="372" y="395"/>
                  <a:pt x="374" y="395"/>
                </a:cubicBezTo>
                <a:cubicBezTo>
                  <a:pt x="373" y="394"/>
                  <a:pt x="374" y="394"/>
                  <a:pt x="374" y="394"/>
                </a:cubicBezTo>
                <a:cubicBezTo>
                  <a:pt x="375" y="394"/>
                  <a:pt x="375" y="394"/>
                  <a:pt x="376" y="394"/>
                </a:cubicBezTo>
                <a:cubicBezTo>
                  <a:pt x="376" y="393"/>
                  <a:pt x="376" y="392"/>
                  <a:pt x="376" y="392"/>
                </a:cubicBezTo>
                <a:cubicBezTo>
                  <a:pt x="377" y="391"/>
                  <a:pt x="376" y="391"/>
                  <a:pt x="376" y="390"/>
                </a:cubicBezTo>
                <a:cubicBezTo>
                  <a:pt x="377" y="390"/>
                  <a:pt x="377" y="389"/>
                  <a:pt x="377" y="387"/>
                </a:cubicBezTo>
                <a:cubicBezTo>
                  <a:pt x="377" y="386"/>
                  <a:pt x="376" y="386"/>
                  <a:pt x="376" y="385"/>
                </a:cubicBezTo>
                <a:cubicBezTo>
                  <a:pt x="378" y="385"/>
                  <a:pt x="378" y="384"/>
                  <a:pt x="378" y="382"/>
                </a:cubicBezTo>
                <a:cubicBezTo>
                  <a:pt x="377" y="381"/>
                  <a:pt x="376" y="380"/>
                  <a:pt x="375" y="378"/>
                </a:cubicBezTo>
                <a:cubicBezTo>
                  <a:pt x="375" y="378"/>
                  <a:pt x="375" y="377"/>
                  <a:pt x="376" y="378"/>
                </a:cubicBezTo>
                <a:cubicBezTo>
                  <a:pt x="376" y="375"/>
                  <a:pt x="375" y="374"/>
                  <a:pt x="374" y="371"/>
                </a:cubicBezTo>
                <a:cubicBezTo>
                  <a:pt x="374" y="371"/>
                  <a:pt x="373" y="371"/>
                  <a:pt x="374" y="371"/>
                </a:cubicBezTo>
                <a:cubicBezTo>
                  <a:pt x="374" y="370"/>
                  <a:pt x="374" y="370"/>
                  <a:pt x="374" y="370"/>
                </a:cubicBezTo>
                <a:cubicBezTo>
                  <a:pt x="371" y="370"/>
                  <a:pt x="372" y="373"/>
                  <a:pt x="372" y="374"/>
                </a:cubicBezTo>
                <a:cubicBezTo>
                  <a:pt x="372" y="374"/>
                  <a:pt x="372" y="374"/>
                  <a:pt x="372" y="375"/>
                </a:cubicBezTo>
                <a:cubicBezTo>
                  <a:pt x="371" y="376"/>
                  <a:pt x="372" y="376"/>
                  <a:pt x="372" y="377"/>
                </a:cubicBezTo>
                <a:cubicBezTo>
                  <a:pt x="370" y="377"/>
                  <a:pt x="370" y="378"/>
                  <a:pt x="369" y="378"/>
                </a:cubicBezTo>
                <a:cubicBezTo>
                  <a:pt x="369" y="379"/>
                  <a:pt x="367" y="379"/>
                  <a:pt x="367" y="378"/>
                </a:cubicBezTo>
                <a:cubicBezTo>
                  <a:pt x="369" y="377"/>
                  <a:pt x="370" y="376"/>
                  <a:pt x="370" y="374"/>
                </a:cubicBezTo>
                <a:cubicBezTo>
                  <a:pt x="368" y="374"/>
                  <a:pt x="369" y="371"/>
                  <a:pt x="367" y="371"/>
                </a:cubicBezTo>
                <a:cubicBezTo>
                  <a:pt x="367" y="370"/>
                  <a:pt x="365" y="370"/>
                  <a:pt x="364" y="369"/>
                </a:cubicBezTo>
                <a:cubicBezTo>
                  <a:pt x="364" y="370"/>
                  <a:pt x="364" y="371"/>
                  <a:pt x="363" y="371"/>
                </a:cubicBezTo>
                <a:cubicBezTo>
                  <a:pt x="362" y="371"/>
                  <a:pt x="363" y="370"/>
                  <a:pt x="362" y="370"/>
                </a:cubicBezTo>
                <a:cubicBezTo>
                  <a:pt x="362" y="371"/>
                  <a:pt x="361" y="370"/>
                  <a:pt x="360" y="371"/>
                </a:cubicBezTo>
                <a:cubicBezTo>
                  <a:pt x="360" y="371"/>
                  <a:pt x="360" y="371"/>
                  <a:pt x="360" y="371"/>
                </a:cubicBezTo>
                <a:cubicBezTo>
                  <a:pt x="359" y="372"/>
                  <a:pt x="358" y="371"/>
                  <a:pt x="357" y="371"/>
                </a:cubicBezTo>
                <a:cubicBezTo>
                  <a:pt x="357" y="371"/>
                  <a:pt x="357" y="372"/>
                  <a:pt x="356" y="372"/>
                </a:cubicBezTo>
                <a:cubicBezTo>
                  <a:pt x="356" y="372"/>
                  <a:pt x="356" y="373"/>
                  <a:pt x="356" y="373"/>
                </a:cubicBezTo>
                <a:cubicBezTo>
                  <a:pt x="355" y="373"/>
                  <a:pt x="355" y="373"/>
                  <a:pt x="355" y="373"/>
                </a:cubicBezTo>
                <a:cubicBezTo>
                  <a:pt x="353" y="371"/>
                  <a:pt x="351" y="373"/>
                  <a:pt x="349" y="373"/>
                </a:cubicBezTo>
                <a:cubicBezTo>
                  <a:pt x="349" y="376"/>
                  <a:pt x="351" y="376"/>
                  <a:pt x="352" y="377"/>
                </a:cubicBezTo>
                <a:cubicBezTo>
                  <a:pt x="350" y="376"/>
                  <a:pt x="351" y="378"/>
                  <a:pt x="350" y="379"/>
                </a:cubicBezTo>
                <a:cubicBezTo>
                  <a:pt x="351" y="379"/>
                  <a:pt x="351" y="381"/>
                  <a:pt x="351" y="382"/>
                </a:cubicBezTo>
                <a:cubicBezTo>
                  <a:pt x="352" y="382"/>
                  <a:pt x="353" y="382"/>
                  <a:pt x="353" y="384"/>
                </a:cubicBezTo>
                <a:cubicBezTo>
                  <a:pt x="353" y="386"/>
                  <a:pt x="351" y="385"/>
                  <a:pt x="352" y="387"/>
                </a:cubicBezTo>
                <a:cubicBezTo>
                  <a:pt x="353" y="387"/>
                  <a:pt x="353" y="388"/>
                  <a:pt x="354" y="388"/>
                </a:cubicBezTo>
                <a:cubicBezTo>
                  <a:pt x="355" y="388"/>
                  <a:pt x="355" y="388"/>
                  <a:pt x="355" y="389"/>
                </a:cubicBezTo>
                <a:cubicBezTo>
                  <a:pt x="355" y="389"/>
                  <a:pt x="356" y="389"/>
                  <a:pt x="356" y="390"/>
                </a:cubicBezTo>
                <a:cubicBezTo>
                  <a:pt x="357" y="390"/>
                  <a:pt x="360" y="389"/>
                  <a:pt x="359" y="392"/>
                </a:cubicBezTo>
                <a:cubicBezTo>
                  <a:pt x="359" y="392"/>
                  <a:pt x="357" y="392"/>
                  <a:pt x="356" y="392"/>
                </a:cubicBezTo>
                <a:cubicBezTo>
                  <a:pt x="356" y="395"/>
                  <a:pt x="359" y="394"/>
                  <a:pt x="362" y="394"/>
                </a:cubicBezTo>
                <a:close/>
                <a:moveTo>
                  <a:pt x="356" y="397"/>
                </a:moveTo>
                <a:cubicBezTo>
                  <a:pt x="355" y="397"/>
                  <a:pt x="355" y="396"/>
                  <a:pt x="355" y="396"/>
                </a:cubicBezTo>
                <a:cubicBezTo>
                  <a:pt x="355" y="396"/>
                  <a:pt x="354" y="396"/>
                  <a:pt x="353" y="396"/>
                </a:cubicBezTo>
                <a:cubicBezTo>
                  <a:pt x="353" y="396"/>
                  <a:pt x="353" y="395"/>
                  <a:pt x="353" y="395"/>
                </a:cubicBezTo>
                <a:cubicBezTo>
                  <a:pt x="353" y="395"/>
                  <a:pt x="353" y="395"/>
                  <a:pt x="353" y="395"/>
                </a:cubicBezTo>
                <a:cubicBezTo>
                  <a:pt x="353" y="394"/>
                  <a:pt x="351" y="394"/>
                  <a:pt x="350" y="393"/>
                </a:cubicBezTo>
                <a:cubicBezTo>
                  <a:pt x="350" y="393"/>
                  <a:pt x="350" y="393"/>
                  <a:pt x="350" y="393"/>
                </a:cubicBezTo>
                <a:cubicBezTo>
                  <a:pt x="350" y="393"/>
                  <a:pt x="350" y="393"/>
                  <a:pt x="350" y="393"/>
                </a:cubicBezTo>
                <a:cubicBezTo>
                  <a:pt x="349" y="393"/>
                  <a:pt x="348" y="393"/>
                  <a:pt x="348" y="394"/>
                </a:cubicBezTo>
                <a:cubicBezTo>
                  <a:pt x="348" y="395"/>
                  <a:pt x="348" y="395"/>
                  <a:pt x="349" y="396"/>
                </a:cubicBezTo>
                <a:cubicBezTo>
                  <a:pt x="349" y="396"/>
                  <a:pt x="349" y="397"/>
                  <a:pt x="349" y="397"/>
                </a:cubicBezTo>
                <a:cubicBezTo>
                  <a:pt x="349" y="397"/>
                  <a:pt x="349" y="397"/>
                  <a:pt x="349" y="397"/>
                </a:cubicBezTo>
                <a:cubicBezTo>
                  <a:pt x="350" y="398"/>
                  <a:pt x="352" y="398"/>
                  <a:pt x="352" y="400"/>
                </a:cubicBezTo>
                <a:cubicBezTo>
                  <a:pt x="352" y="400"/>
                  <a:pt x="352" y="400"/>
                  <a:pt x="352" y="400"/>
                </a:cubicBezTo>
                <a:cubicBezTo>
                  <a:pt x="352" y="401"/>
                  <a:pt x="353" y="401"/>
                  <a:pt x="353" y="403"/>
                </a:cubicBezTo>
                <a:cubicBezTo>
                  <a:pt x="355" y="403"/>
                  <a:pt x="356" y="404"/>
                  <a:pt x="358" y="404"/>
                </a:cubicBezTo>
                <a:cubicBezTo>
                  <a:pt x="358" y="403"/>
                  <a:pt x="358" y="401"/>
                  <a:pt x="358" y="400"/>
                </a:cubicBezTo>
                <a:cubicBezTo>
                  <a:pt x="358" y="399"/>
                  <a:pt x="356" y="399"/>
                  <a:pt x="356" y="397"/>
                </a:cubicBezTo>
                <a:close/>
                <a:moveTo>
                  <a:pt x="373" y="397"/>
                </a:moveTo>
                <a:cubicBezTo>
                  <a:pt x="373" y="397"/>
                  <a:pt x="374" y="397"/>
                  <a:pt x="374" y="396"/>
                </a:cubicBezTo>
                <a:cubicBezTo>
                  <a:pt x="371" y="396"/>
                  <a:pt x="369" y="396"/>
                  <a:pt x="369" y="399"/>
                </a:cubicBezTo>
                <a:cubicBezTo>
                  <a:pt x="370" y="399"/>
                  <a:pt x="370" y="401"/>
                  <a:pt x="372" y="401"/>
                </a:cubicBezTo>
                <a:cubicBezTo>
                  <a:pt x="371" y="398"/>
                  <a:pt x="373" y="399"/>
                  <a:pt x="373" y="397"/>
                </a:cubicBezTo>
                <a:close/>
                <a:moveTo>
                  <a:pt x="366" y="403"/>
                </a:moveTo>
                <a:cubicBezTo>
                  <a:pt x="366" y="403"/>
                  <a:pt x="366" y="402"/>
                  <a:pt x="366" y="402"/>
                </a:cubicBezTo>
                <a:cubicBezTo>
                  <a:pt x="366" y="402"/>
                  <a:pt x="366" y="402"/>
                  <a:pt x="366" y="402"/>
                </a:cubicBezTo>
                <a:cubicBezTo>
                  <a:pt x="364" y="401"/>
                  <a:pt x="363" y="401"/>
                  <a:pt x="362" y="401"/>
                </a:cubicBezTo>
                <a:cubicBezTo>
                  <a:pt x="362" y="401"/>
                  <a:pt x="362" y="401"/>
                  <a:pt x="362" y="401"/>
                </a:cubicBezTo>
                <a:cubicBezTo>
                  <a:pt x="362" y="401"/>
                  <a:pt x="362" y="401"/>
                  <a:pt x="362" y="401"/>
                </a:cubicBezTo>
                <a:cubicBezTo>
                  <a:pt x="362" y="401"/>
                  <a:pt x="362" y="401"/>
                  <a:pt x="362" y="401"/>
                </a:cubicBezTo>
                <a:cubicBezTo>
                  <a:pt x="362" y="401"/>
                  <a:pt x="362" y="401"/>
                  <a:pt x="362" y="402"/>
                </a:cubicBezTo>
                <a:cubicBezTo>
                  <a:pt x="361" y="402"/>
                  <a:pt x="363" y="403"/>
                  <a:pt x="363" y="403"/>
                </a:cubicBezTo>
                <a:cubicBezTo>
                  <a:pt x="363" y="403"/>
                  <a:pt x="363" y="404"/>
                  <a:pt x="363" y="404"/>
                </a:cubicBezTo>
                <a:cubicBezTo>
                  <a:pt x="363" y="404"/>
                  <a:pt x="363" y="404"/>
                  <a:pt x="363" y="404"/>
                </a:cubicBezTo>
                <a:cubicBezTo>
                  <a:pt x="365" y="404"/>
                  <a:pt x="364" y="407"/>
                  <a:pt x="367" y="406"/>
                </a:cubicBezTo>
                <a:cubicBezTo>
                  <a:pt x="368" y="406"/>
                  <a:pt x="368" y="405"/>
                  <a:pt x="369" y="405"/>
                </a:cubicBezTo>
                <a:cubicBezTo>
                  <a:pt x="370" y="403"/>
                  <a:pt x="367" y="404"/>
                  <a:pt x="366" y="403"/>
                </a:cubicBezTo>
                <a:close/>
                <a:moveTo>
                  <a:pt x="11" y="27"/>
                </a:moveTo>
                <a:cubicBezTo>
                  <a:pt x="11" y="28"/>
                  <a:pt x="11" y="29"/>
                  <a:pt x="12" y="29"/>
                </a:cubicBezTo>
                <a:cubicBezTo>
                  <a:pt x="12" y="29"/>
                  <a:pt x="13" y="29"/>
                  <a:pt x="13" y="30"/>
                </a:cubicBezTo>
                <a:cubicBezTo>
                  <a:pt x="13" y="31"/>
                  <a:pt x="14" y="31"/>
                  <a:pt x="14" y="30"/>
                </a:cubicBezTo>
                <a:cubicBezTo>
                  <a:pt x="13" y="30"/>
                  <a:pt x="14" y="26"/>
                  <a:pt x="11" y="27"/>
                </a:cubicBezTo>
                <a:close/>
                <a:moveTo>
                  <a:pt x="11" y="42"/>
                </a:moveTo>
                <a:cubicBezTo>
                  <a:pt x="11" y="42"/>
                  <a:pt x="11" y="42"/>
                  <a:pt x="11" y="42"/>
                </a:cubicBezTo>
                <a:cubicBezTo>
                  <a:pt x="11" y="41"/>
                  <a:pt x="11" y="40"/>
                  <a:pt x="11" y="38"/>
                </a:cubicBezTo>
                <a:cubicBezTo>
                  <a:pt x="11" y="38"/>
                  <a:pt x="11" y="38"/>
                  <a:pt x="11" y="38"/>
                </a:cubicBezTo>
                <a:cubicBezTo>
                  <a:pt x="11" y="36"/>
                  <a:pt x="12" y="35"/>
                  <a:pt x="10" y="35"/>
                </a:cubicBezTo>
                <a:cubicBezTo>
                  <a:pt x="10" y="35"/>
                  <a:pt x="10" y="35"/>
                  <a:pt x="10" y="34"/>
                </a:cubicBezTo>
                <a:cubicBezTo>
                  <a:pt x="10" y="34"/>
                  <a:pt x="10" y="34"/>
                  <a:pt x="10" y="34"/>
                </a:cubicBezTo>
                <a:cubicBezTo>
                  <a:pt x="10" y="33"/>
                  <a:pt x="10" y="33"/>
                  <a:pt x="10" y="33"/>
                </a:cubicBezTo>
                <a:cubicBezTo>
                  <a:pt x="9" y="33"/>
                  <a:pt x="8" y="32"/>
                  <a:pt x="7" y="32"/>
                </a:cubicBezTo>
                <a:cubicBezTo>
                  <a:pt x="7" y="34"/>
                  <a:pt x="8" y="35"/>
                  <a:pt x="8" y="37"/>
                </a:cubicBezTo>
                <a:cubicBezTo>
                  <a:pt x="8" y="39"/>
                  <a:pt x="7" y="39"/>
                  <a:pt x="7" y="41"/>
                </a:cubicBezTo>
                <a:cubicBezTo>
                  <a:pt x="8" y="41"/>
                  <a:pt x="8" y="42"/>
                  <a:pt x="9" y="43"/>
                </a:cubicBezTo>
                <a:cubicBezTo>
                  <a:pt x="9" y="43"/>
                  <a:pt x="9" y="43"/>
                  <a:pt x="9" y="43"/>
                </a:cubicBezTo>
                <a:cubicBezTo>
                  <a:pt x="10" y="43"/>
                  <a:pt x="9" y="47"/>
                  <a:pt x="11" y="45"/>
                </a:cubicBezTo>
                <a:cubicBezTo>
                  <a:pt x="12" y="45"/>
                  <a:pt x="11" y="43"/>
                  <a:pt x="11" y="43"/>
                </a:cubicBezTo>
                <a:cubicBezTo>
                  <a:pt x="11" y="43"/>
                  <a:pt x="11" y="43"/>
                  <a:pt x="11" y="42"/>
                </a:cubicBezTo>
                <a:close/>
                <a:moveTo>
                  <a:pt x="0" y="7"/>
                </a:moveTo>
                <a:cubicBezTo>
                  <a:pt x="0" y="7"/>
                  <a:pt x="0" y="8"/>
                  <a:pt x="0" y="8"/>
                </a:cubicBezTo>
                <a:cubicBezTo>
                  <a:pt x="1" y="8"/>
                  <a:pt x="1" y="8"/>
                  <a:pt x="1" y="9"/>
                </a:cubicBezTo>
                <a:cubicBezTo>
                  <a:pt x="2" y="10"/>
                  <a:pt x="2" y="10"/>
                  <a:pt x="4" y="10"/>
                </a:cubicBezTo>
                <a:cubicBezTo>
                  <a:pt x="4" y="7"/>
                  <a:pt x="2" y="8"/>
                  <a:pt x="0" y="7"/>
                </a:cubicBezTo>
                <a:close/>
                <a:moveTo>
                  <a:pt x="20" y="22"/>
                </a:moveTo>
                <a:cubicBezTo>
                  <a:pt x="20" y="21"/>
                  <a:pt x="20" y="19"/>
                  <a:pt x="20" y="17"/>
                </a:cubicBezTo>
                <a:cubicBezTo>
                  <a:pt x="17" y="16"/>
                  <a:pt x="19" y="20"/>
                  <a:pt x="18" y="20"/>
                </a:cubicBezTo>
                <a:cubicBezTo>
                  <a:pt x="18" y="21"/>
                  <a:pt x="18" y="21"/>
                  <a:pt x="18" y="22"/>
                </a:cubicBezTo>
                <a:cubicBezTo>
                  <a:pt x="19" y="21"/>
                  <a:pt x="19" y="22"/>
                  <a:pt x="20" y="22"/>
                </a:cubicBezTo>
                <a:close/>
                <a:moveTo>
                  <a:pt x="23" y="5"/>
                </a:moveTo>
                <a:cubicBezTo>
                  <a:pt x="23" y="4"/>
                  <a:pt x="21" y="4"/>
                  <a:pt x="21" y="3"/>
                </a:cubicBezTo>
                <a:cubicBezTo>
                  <a:pt x="21" y="2"/>
                  <a:pt x="21" y="1"/>
                  <a:pt x="20" y="1"/>
                </a:cubicBezTo>
                <a:cubicBezTo>
                  <a:pt x="20" y="1"/>
                  <a:pt x="20" y="2"/>
                  <a:pt x="20" y="4"/>
                </a:cubicBezTo>
                <a:cubicBezTo>
                  <a:pt x="20" y="4"/>
                  <a:pt x="20" y="5"/>
                  <a:pt x="19" y="6"/>
                </a:cubicBezTo>
                <a:cubicBezTo>
                  <a:pt x="18" y="4"/>
                  <a:pt x="18" y="3"/>
                  <a:pt x="18" y="1"/>
                </a:cubicBezTo>
                <a:cubicBezTo>
                  <a:pt x="16" y="2"/>
                  <a:pt x="15" y="2"/>
                  <a:pt x="13" y="3"/>
                </a:cubicBezTo>
                <a:cubicBezTo>
                  <a:pt x="13" y="2"/>
                  <a:pt x="12" y="2"/>
                  <a:pt x="11" y="2"/>
                </a:cubicBezTo>
                <a:cubicBezTo>
                  <a:pt x="11" y="3"/>
                  <a:pt x="11" y="3"/>
                  <a:pt x="11" y="4"/>
                </a:cubicBezTo>
                <a:cubicBezTo>
                  <a:pt x="11" y="4"/>
                  <a:pt x="11" y="5"/>
                  <a:pt x="10" y="6"/>
                </a:cubicBezTo>
                <a:cubicBezTo>
                  <a:pt x="10" y="7"/>
                  <a:pt x="10" y="8"/>
                  <a:pt x="9" y="8"/>
                </a:cubicBezTo>
                <a:cubicBezTo>
                  <a:pt x="6" y="9"/>
                  <a:pt x="6" y="8"/>
                  <a:pt x="4" y="8"/>
                </a:cubicBezTo>
                <a:cubicBezTo>
                  <a:pt x="4" y="8"/>
                  <a:pt x="4" y="9"/>
                  <a:pt x="4" y="10"/>
                </a:cubicBezTo>
                <a:cubicBezTo>
                  <a:pt x="5" y="10"/>
                  <a:pt x="5" y="10"/>
                  <a:pt x="5" y="10"/>
                </a:cubicBezTo>
                <a:cubicBezTo>
                  <a:pt x="5" y="10"/>
                  <a:pt x="6" y="11"/>
                  <a:pt x="5" y="11"/>
                </a:cubicBezTo>
                <a:cubicBezTo>
                  <a:pt x="5" y="12"/>
                  <a:pt x="5" y="13"/>
                  <a:pt x="6" y="13"/>
                </a:cubicBezTo>
                <a:cubicBezTo>
                  <a:pt x="6" y="13"/>
                  <a:pt x="6" y="13"/>
                  <a:pt x="6" y="13"/>
                </a:cubicBezTo>
                <a:cubicBezTo>
                  <a:pt x="7" y="13"/>
                  <a:pt x="8" y="16"/>
                  <a:pt x="9" y="15"/>
                </a:cubicBezTo>
                <a:cubicBezTo>
                  <a:pt x="9" y="15"/>
                  <a:pt x="9" y="15"/>
                  <a:pt x="10" y="15"/>
                </a:cubicBezTo>
                <a:cubicBezTo>
                  <a:pt x="10" y="15"/>
                  <a:pt x="10" y="15"/>
                  <a:pt x="11" y="15"/>
                </a:cubicBezTo>
                <a:cubicBezTo>
                  <a:pt x="11" y="15"/>
                  <a:pt x="12" y="15"/>
                  <a:pt x="12" y="15"/>
                </a:cubicBezTo>
                <a:cubicBezTo>
                  <a:pt x="12" y="14"/>
                  <a:pt x="12" y="13"/>
                  <a:pt x="13" y="13"/>
                </a:cubicBezTo>
                <a:cubicBezTo>
                  <a:pt x="13" y="14"/>
                  <a:pt x="13" y="15"/>
                  <a:pt x="13" y="16"/>
                </a:cubicBezTo>
                <a:cubicBezTo>
                  <a:pt x="14" y="16"/>
                  <a:pt x="14" y="17"/>
                  <a:pt x="14" y="18"/>
                </a:cubicBezTo>
                <a:cubicBezTo>
                  <a:pt x="15" y="18"/>
                  <a:pt x="15" y="19"/>
                  <a:pt x="16" y="20"/>
                </a:cubicBezTo>
                <a:cubicBezTo>
                  <a:pt x="15" y="20"/>
                  <a:pt x="15" y="20"/>
                  <a:pt x="15" y="21"/>
                </a:cubicBezTo>
                <a:cubicBezTo>
                  <a:pt x="16" y="21"/>
                  <a:pt x="17" y="20"/>
                  <a:pt x="18" y="20"/>
                </a:cubicBezTo>
                <a:cubicBezTo>
                  <a:pt x="18" y="19"/>
                  <a:pt x="18" y="17"/>
                  <a:pt x="18" y="16"/>
                </a:cubicBezTo>
                <a:cubicBezTo>
                  <a:pt x="17" y="15"/>
                  <a:pt x="16" y="14"/>
                  <a:pt x="16" y="12"/>
                </a:cubicBezTo>
                <a:cubicBezTo>
                  <a:pt x="16" y="12"/>
                  <a:pt x="15" y="11"/>
                  <a:pt x="15" y="11"/>
                </a:cubicBezTo>
                <a:cubicBezTo>
                  <a:pt x="15" y="11"/>
                  <a:pt x="15" y="11"/>
                  <a:pt x="15" y="11"/>
                </a:cubicBezTo>
                <a:cubicBezTo>
                  <a:pt x="15" y="9"/>
                  <a:pt x="13" y="8"/>
                  <a:pt x="15" y="7"/>
                </a:cubicBezTo>
                <a:cubicBezTo>
                  <a:pt x="15" y="8"/>
                  <a:pt x="16" y="9"/>
                  <a:pt x="15" y="9"/>
                </a:cubicBezTo>
                <a:cubicBezTo>
                  <a:pt x="15" y="9"/>
                  <a:pt x="15" y="10"/>
                  <a:pt x="15" y="10"/>
                </a:cubicBezTo>
                <a:cubicBezTo>
                  <a:pt x="15" y="10"/>
                  <a:pt x="15" y="10"/>
                  <a:pt x="16" y="10"/>
                </a:cubicBezTo>
                <a:cubicBezTo>
                  <a:pt x="16" y="10"/>
                  <a:pt x="16" y="10"/>
                  <a:pt x="16" y="10"/>
                </a:cubicBezTo>
                <a:cubicBezTo>
                  <a:pt x="16" y="11"/>
                  <a:pt x="17" y="11"/>
                  <a:pt x="17" y="12"/>
                </a:cubicBezTo>
                <a:cubicBezTo>
                  <a:pt x="17" y="14"/>
                  <a:pt x="19" y="14"/>
                  <a:pt x="18" y="16"/>
                </a:cubicBezTo>
                <a:cubicBezTo>
                  <a:pt x="20" y="17"/>
                  <a:pt x="20" y="14"/>
                  <a:pt x="22" y="15"/>
                </a:cubicBezTo>
                <a:cubicBezTo>
                  <a:pt x="22" y="13"/>
                  <a:pt x="22" y="12"/>
                  <a:pt x="22" y="11"/>
                </a:cubicBezTo>
                <a:cubicBezTo>
                  <a:pt x="22" y="11"/>
                  <a:pt x="22" y="10"/>
                  <a:pt x="22" y="9"/>
                </a:cubicBezTo>
                <a:cubicBezTo>
                  <a:pt x="22" y="8"/>
                  <a:pt x="22" y="7"/>
                  <a:pt x="22" y="6"/>
                </a:cubicBezTo>
                <a:cubicBezTo>
                  <a:pt x="23" y="7"/>
                  <a:pt x="23" y="6"/>
                  <a:pt x="23" y="5"/>
                </a:cubicBezTo>
                <a:close/>
                <a:moveTo>
                  <a:pt x="30" y="5"/>
                </a:moveTo>
                <a:cubicBezTo>
                  <a:pt x="30" y="6"/>
                  <a:pt x="30" y="7"/>
                  <a:pt x="29" y="7"/>
                </a:cubicBezTo>
                <a:cubicBezTo>
                  <a:pt x="29" y="6"/>
                  <a:pt x="28" y="6"/>
                  <a:pt x="27" y="6"/>
                </a:cubicBezTo>
                <a:cubicBezTo>
                  <a:pt x="27" y="5"/>
                  <a:pt x="28" y="5"/>
                  <a:pt x="28" y="4"/>
                </a:cubicBezTo>
                <a:cubicBezTo>
                  <a:pt x="26" y="5"/>
                  <a:pt x="29" y="0"/>
                  <a:pt x="27" y="1"/>
                </a:cubicBezTo>
                <a:cubicBezTo>
                  <a:pt x="27" y="1"/>
                  <a:pt x="26" y="2"/>
                  <a:pt x="25" y="1"/>
                </a:cubicBezTo>
                <a:cubicBezTo>
                  <a:pt x="26" y="4"/>
                  <a:pt x="24" y="4"/>
                  <a:pt x="25" y="7"/>
                </a:cubicBezTo>
                <a:cubicBezTo>
                  <a:pt x="24" y="7"/>
                  <a:pt x="24" y="8"/>
                  <a:pt x="23" y="8"/>
                </a:cubicBezTo>
                <a:cubicBezTo>
                  <a:pt x="23" y="9"/>
                  <a:pt x="23" y="11"/>
                  <a:pt x="23" y="13"/>
                </a:cubicBezTo>
                <a:cubicBezTo>
                  <a:pt x="25" y="12"/>
                  <a:pt x="25" y="13"/>
                  <a:pt x="26" y="13"/>
                </a:cubicBezTo>
                <a:cubicBezTo>
                  <a:pt x="26" y="12"/>
                  <a:pt x="26" y="11"/>
                  <a:pt x="27" y="10"/>
                </a:cubicBezTo>
                <a:cubicBezTo>
                  <a:pt x="30" y="11"/>
                  <a:pt x="32" y="9"/>
                  <a:pt x="30" y="7"/>
                </a:cubicBezTo>
                <a:cubicBezTo>
                  <a:pt x="31" y="7"/>
                  <a:pt x="33" y="7"/>
                  <a:pt x="32" y="6"/>
                </a:cubicBezTo>
                <a:cubicBezTo>
                  <a:pt x="31" y="6"/>
                  <a:pt x="31" y="5"/>
                  <a:pt x="30" y="5"/>
                </a:cubicBezTo>
                <a:close/>
                <a:moveTo>
                  <a:pt x="16" y="23"/>
                </a:moveTo>
                <a:cubicBezTo>
                  <a:pt x="15" y="22"/>
                  <a:pt x="13" y="22"/>
                  <a:pt x="12" y="21"/>
                </a:cubicBezTo>
                <a:cubicBezTo>
                  <a:pt x="12" y="22"/>
                  <a:pt x="11" y="22"/>
                  <a:pt x="11" y="23"/>
                </a:cubicBezTo>
                <a:cubicBezTo>
                  <a:pt x="11" y="24"/>
                  <a:pt x="12" y="24"/>
                  <a:pt x="12" y="25"/>
                </a:cubicBezTo>
                <a:cubicBezTo>
                  <a:pt x="11" y="25"/>
                  <a:pt x="11" y="25"/>
                  <a:pt x="11" y="26"/>
                </a:cubicBezTo>
                <a:cubicBezTo>
                  <a:pt x="13" y="26"/>
                  <a:pt x="14" y="26"/>
                  <a:pt x="14" y="27"/>
                </a:cubicBezTo>
                <a:cubicBezTo>
                  <a:pt x="14" y="28"/>
                  <a:pt x="14" y="29"/>
                  <a:pt x="14" y="30"/>
                </a:cubicBezTo>
                <a:cubicBezTo>
                  <a:pt x="16" y="30"/>
                  <a:pt x="16" y="30"/>
                  <a:pt x="17" y="29"/>
                </a:cubicBezTo>
                <a:cubicBezTo>
                  <a:pt x="17" y="28"/>
                  <a:pt x="17" y="26"/>
                  <a:pt x="17" y="24"/>
                </a:cubicBezTo>
                <a:cubicBezTo>
                  <a:pt x="16" y="24"/>
                  <a:pt x="16" y="24"/>
                  <a:pt x="16" y="23"/>
                </a:cubicBezTo>
                <a:close/>
                <a:moveTo>
                  <a:pt x="14" y="19"/>
                </a:moveTo>
                <a:cubicBezTo>
                  <a:pt x="14" y="18"/>
                  <a:pt x="13" y="18"/>
                  <a:pt x="12" y="18"/>
                </a:cubicBezTo>
                <a:cubicBezTo>
                  <a:pt x="12" y="18"/>
                  <a:pt x="12" y="19"/>
                  <a:pt x="12" y="19"/>
                </a:cubicBezTo>
                <a:cubicBezTo>
                  <a:pt x="13" y="19"/>
                  <a:pt x="14" y="20"/>
                  <a:pt x="14" y="19"/>
                </a:cubicBezTo>
                <a:close/>
                <a:moveTo>
                  <a:pt x="11" y="17"/>
                </a:moveTo>
                <a:cubicBezTo>
                  <a:pt x="11" y="18"/>
                  <a:pt x="12" y="18"/>
                  <a:pt x="12" y="18"/>
                </a:cubicBezTo>
                <a:cubicBezTo>
                  <a:pt x="12" y="18"/>
                  <a:pt x="12" y="17"/>
                  <a:pt x="12" y="17"/>
                </a:cubicBezTo>
                <a:cubicBezTo>
                  <a:pt x="12" y="17"/>
                  <a:pt x="12" y="17"/>
                  <a:pt x="11" y="17"/>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6" name="Freeform 84"/>
          <p:cNvSpPr>
            <a:spLocks noEditPoints="1"/>
          </p:cNvSpPr>
          <p:nvPr/>
        </p:nvSpPr>
        <p:spPr bwMode="auto">
          <a:xfrm>
            <a:off x="7823492" y="3864278"/>
            <a:ext cx="781050" cy="449263"/>
          </a:xfrm>
          <a:custGeom>
            <a:avLst/>
            <a:gdLst>
              <a:gd name="T0" fmla="*/ 195 w 202"/>
              <a:gd name="T1" fmla="*/ 56 h 116"/>
              <a:gd name="T2" fmla="*/ 193 w 202"/>
              <a:gd name="T3" fmla="*/ 47 h 116"/>
              <a:gd name="T4" fmla="*/ 175 w 202"/>
              <a:gd name="T5" fmla="*/ 43 h 116"/>
              <a:gd name="T6" fmla="*/ 168 w 202"/>
              <a:gd name="T7" fmla="*/ 37 h 116"/>
              <a:gd name="T8" fmla="*/ 162 w 202"/>
              <a:gd name="T9" fmla="*/ 32 h 116"/>
              <a:gd name="T10" fmla="*/ 151 w 202"/>
              <a:gd name="T11" fmla="*/ 31 h 116"/>
              <a:gd name="T12" fmla="*/ 145 w 202"/>
              <a:gd name="T13" fmla="*/ 31 h 116"/>
              <a:gd name="T14" fmla="*/ 132 w 202"/>
              <a:gd name="T15" fmla="*/ 39 h 116"/>
              <a:gd name="T16" fmla="*/ 125 w 202"/>
              <a:gd name="T17" fmla="*/ 29 h 116"/>
              <a:gd name="T18" fmla="*/ 116 w 202"/>
              <a:gd name="T19" fmla="*/ 17 h 116"/>
              <a:gd name="T20" fmla="*/ 115 w 202"/>
              <a:gd name="T21" fmla="*/ 17 h 116"/>
              <a:gd name="T22" fmla="*/ 114 w 202"/>
              <a:gd name="T23" fmla="*/ 16 h 116"/>
              <a:gd name="T24" fmla="*/ 108 w 202"/>
              <a:gd name="T25" fmla="*/ 13 h 116"/>
              <a:gd name="T26" fmla="*/ 101 w 202"/>
              <a:gd name="T27" fmla="*/ 11 h 116"/>
              <a:gd name="T28" fmla="*/ 97 w 202"/>
              <a:gd name="T29" fmla="*/ 7 h 116"/>
              <a:gd name="T30" fmla="*/ 84 w 202"/>
              <a:gd name="T31" fmla="*/ 4 h 116"/>
              <a:gd name="T32" fmla="*/ 76 w 202"/>
              <a:gd name="T33" fmla="*/ 4 h 116"/>
              <a:gd name="T34" fmla="*/ 76 w 202"/>
              <a:gd name="T35" fmla="*/ 3 h 116"/>
              <a:gd name="T36" fmla="*/ 68 w 202"/>
              <a:gd name="T37" fmla="*/ 0 h 116"/>
              <a:gd name="T38" fmla="*/ 64 w 202"/>
              <a:gd name="T39" fmla="*/ 9 h 116"/>
              <a:gd name="T40" fmla="*/ 60 w 202"/>
              <a:gd name="T41" fmla="*/ 11 h 116"/>
              <a:gd name="T42" fmla="*/ 53 w 202"/>
              <a:gd name="T43" fmla="*/ 13 h 116"/>
              <a:gd name="T44" fmla="*/ 46 w 202"/>
              <a:gd name="T45" fmla="*/ 17 h 116"/>
              <a:gd name="T46" fmla="*/ 39 w 202"/>
              <a:gd name="T47" fmla="*/ 20 h 116"/>
              <a:gd name="T48" fmla="*/ 26 w 202"/>
              <a:gd name="T49" fmla="*/ 28 h 116"/>
              <a:gd name="T50" fmla="*/ 22 w 202"/>
              <a:gd name="T51" fmla="*/ 29 h 116"/>
              <a:gd name="T52" fmla="*/ 22 w 202"/>
              <a:gd name="T53" fmla="*/ 29 h 116"/>
              <a:gd name="T54" fmla="*/ 16 w 202"/>
              <a:gd name="T55" fmla="*/ 30 h 116"/>
              <a:gd name="T56" fmla="*/ 14 w 202"/>
              <a:gd name="T57" fmla="*/ 31 h 116"/>
              <a:gd name="T58" fmla="*/ 10 w 202"/>
              <a:gd name="T59" fmla="*/ 34 h 116"/>
              <a:gd name="T60" fmla="*/ 1 w 202"/>
              <a:gd name="T61" fmla="*/ 34 h 116"/>
              <a:gd name="T62" fmla="*/ 7 w 202"/>
              <a:gd name="T63" fmla="*/ 47 h 116"/>
              <a:gd name="T64" fmla="*/ 9 w 202"/>
              <a:gd name="T65" fmla="*/ 60 h 116"/>
              <a:gd name="T66" fmla="*/ 15 w 202"/>
              <a:gd name="T67" fmla="*/ 67 h 116"/>
              <a:gd name="T68" fmla="*/ 21 w 202"/>
              <a:gd name="T69" fmla="*/ 79 h 116"/>
              <a:gd name="T70" fmla="*/ 31 w 202"/>
              <a:gd name="T71" fmla="*/ 86 h 116"/>
              <a:gd name="T72" fmla="*/ 41 w 202"/>
              <a:gd name="T73" fmla="*/ 95 h 116"/>
              <a:gd name="T74" fmla="*/ 51 w 202"/>
              <a:gd name="T75" fmla="*/ 102 h 116"/>
              <a:gd name="T76" fmla="*/ 57 w 202"/>
              <a:gd name="T77" fmla="*/ 113 h 116"/>
              <a:gd name="T78" fmla="*/ 67 w 202"/>
              <a:gd name="T79" fmla="*/ 116 h 116"/>
              <a:gd name="T80" fmla="*/ 83 w 202"/>
              <a:gd name="T81" fmla="*/ 106 h 116"/>
              <a:gd name="T82" fmla="*/ 90 w 202"/>
              <a:gd name="T83" fmla="*/ 95 h 116"/>
              <a:gd name="T84" fmla="*/ 97 w 202"/>
              <a:gd name="T85" fmla="*/ 96 h 116"/>
              <a:gd name="T86" fmla="*/ 112 w 202"/>
              <a:gd name="T87" fmla="*/ 102 h 116"/>
              <a:gd name="T88" fmla="*/ 129 w 202"/>
              <a:gd name="T89" fmla="*/ 106 h 116"/>
              <a:gd name="T90" fmla="*/ 147 w 202"/>
              <a:gd name="T91" fmla="*/ 106 h 116"/>
              <a:gd name="T92" fmla="*/ 155 w 202"/>
              <a:gd name="T93" fmla="*/ 99 h 116"/>
              <a:gd name="T94" fmla="*/ 170 w 202"/>
              <a:gd name="T95" fmla="*/ 97 h 116"/>
              <a:gd name="T96" fmla="*/ 182 w 202"/>
              <a:gd name="T97" fmla="*/ 88 h 116"/>
              <a:gd name="T98" fmla="*/ 188 w 202"/>
              <a:gd name="T99" fmla="*/ 74 h 116"/>
              <a:gd name="T100" fmla="*/ 198 w 202"/>
              <a:gd name="T101" fmla="*/ 67 h 116"/>
              <a:gd name="T102" fmla="*/ 139 w 202"/>
              <a:gd name="T103" fmla="*/ 42 h 116"/>
              <a:gd name="T104" fmla="*/ 139 w 202"/>
              <a:gd name="T105" fmla="*/ 42 h 116"/>
              <a:gd name="T106" fmla="*/ 138 w 202"/>
              <a:gd name="T107"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2" h="116">
                <a:moveTo>
                  <a:pt x="200" y="62"/>
                </a:moveTo>
                <a:cubicBezTo>
                  <a:pt x="200" y="61"/>
                  <a:pt x="200" y="61"/>
                  <a:pt x="200" y="60"/>
                </a:cubicBezTo>
                <a:cubicBezTo>
                  <a:pt x="199" y="59"/>
                  <a:pt x="198" y="58"/>
                  <a:pt x="197" y="57"/>
                </a:cubicBezTo>
                <a:cubicBezTo>
                  <a:pt x="197" y="56"/>
                  <a:pt x="197" y="56"/>
                  <a:pt x="196" y="56"/>
                </a:cubicBezTo>
                <a:cubicBezTo>
                  <a:pt x="196" y="56"/>
                  <a:pt x="195" y="56"/>
                  <a:pt x="195" y="56"/>
                </a:cubicBezTo>
                <a:cubicBezTo>
                  <a:pt x="195" y="55"/>
                  <a:pt x="194" y="55"/>
                  <a:pt x="194" y="55"/>
                </a:cubicBezTo>
                <a:cubicBezTo>
                  <a:pt x="193" y="55"/>
                  <a:pt x="193" y="54"/>
                  <a:pt x="193" y="54"/>
                </a:cubicBezTo>
                <a:cubicBezTo>
                  <a:pt x="193" y="53"/>
                  <a:pt x="193" y="52"/>
                  <a:pt x="193" y="52"/>
                </a:cubicBezTo>
                <a:cubicBezTo>
                  <a:pt x="193" y="51"/>
                  <a:pt x="193" y="50"/>
                  <a:pt x="193" y="48"/>
                </a:cubicBezTo>
                <a:cubicBezTo>
                  <a:pt x="193" y="47"/>
                  <a:pt x="193" y="47"/>
                  <a:pt x="193" y="47"/>
                </a:cubicBezTo>
                <a:cubicBezTo>
                  <a:pt x="193" y="47"/>
                  <a:pt x="192" y="47"/>
                  <a:pt x="192" y="47"/>
                </a:cubicBezTo>
                <a:cubicBezTo>
                  <a:pt x="190" y="46"/>
                  <a:pt x="188" y="45"/>
                  <a:pt x="187" y="44"/>
                </a:cubicBezTo>
                <a:cubicBezTo>
                  <a:pt x="182" y="44"/>
                  <a:pt x="182" y="44"/>
                  <a:pt x="182" y="44"/>
                </a:cubicBezTo>
                <a:cubicBezTo>
                  <a:pt x="180" y="44"/>
                  <a:pt x="179" y="42"/>
                  <a:pt x="176" y="42"/>
                </a:cubicBezTo>
                <a:cubicBezTo>
                  <a:pt x="176" y="43"/>
                  <a:pt x="176" y="43"/>
                  <a:pt x="175" y="43"/>
                </a:cubicBezTo>
                <a:cubicBezTo>
                  <a:pt x="175" y="43"/>
                  <a:pt x="175" y="43"/>
                  <a:pt x="175" y="44"/>
                </a:cubicBezTo>
                <a:cubicBezTo>
                  <a:pt x="173" y="44"/>
                  <a:pt x="173" y="44"/>
                  <a:pt x="172" y="44"/>
                </a:cubicBezTo>
                <a:cubicBezTo>
                  <a:pt x="170" y="44"/>
                  <a:pt x="170" y="43"/>
                  <a:pt x="169" y="42"/>
                </a:cubicBezTo>
                <a:cubicBezTo>
                  <a:pt x="167" y="41"/>
                  <a:pt x="167" y="39"/>
                  <a:pt x="165" y="39"/>
                </a:cubicBezTo>
                <a:cubicBezTo>
                  <a:pt x="166" y="38"/>
                  <a:pt x="167" y="37"/>
                  <a:pt x="168" y="37"/>
                </a:cubicBezTo>
                <a:cubicBezTo>
                  <a:pt x="168" y="37"/>
                  <a:pt x="169" y="37"/>
                  <a:pt x="169" y="36"/>
                </a:cubicBezTo>
                <a:cubicBezTo>
                  <a:pt x="169" y="36"/>
                  <a:pt x="169" y="35"/>
                  <a:pt x="170" y="35"/>
                </a:cubicBezTo>
                <a:cubicBezTo>
                  <a:pt x="169" y="33"/>
                  <a:pt x="168" y="31"/>
                  <a:pt x="166" y="30"/>
                </a:cubicBezTo>
                <a:cubicBezTo>
                  <a:pt x="165" y="30"/>
                  <a:pt x="165" y="31"/>
                  <a:pt x="163" y="31"/>
                </a:cubicBezTo>
                <a:cubicBezTo>
                  <a:pt x="163" y="31"/>
                  <a:pt x="162" y="31"/>
                  <a:pt x="162" y="32"/>
                </a:cubicBezTo>
                <a:cubicBezTo>
                  <a:pt x="159" y="32"/>
                  <a:pt x="156" y="32"/>
                  <a:pt x="154" y="33"/>
                </a:cubicBezTo>
                <a:cubicBezTo>
                  <a:pt x="153" y="33"/>
                  <a:pt x="153" y="33"/>
                  <a:pt x="153" y="33"/>
                </a:cubicBezTo>
                <a:cubicBezTo>
                  <a:pt x="153" y="33"/>
                  <a:pt x="153" y="33"/>
                  <a:pt x="152" y="33"/>
                </a:cubicBezTo>
                <a:cubicBezTo>
                  <a:pt x="152" y="32"/>
                  <a:pt x="152" y="32"/>
                  <a:pt x="152" y="31"/>
                </a:cubicBezTo>
                <a:cubicBezTo>
                  <a:pt x="152" y="31"/>
                  <a:pt x="151" y="31"/>
                  <a:pt x="151" y="31"/>
                </a:cubicBezTo>
                <a:cubicBezTo>
                  <a:pt x="151" y="30"/>
                  <a:pt x="151" y="30"/>
                  <a:pt x="150" y="30"/>
                </a:cubicBezTo>
                <a:cubicBezTo>
                  <a:pt x="148" y="28"/>
                  <a:pt x="146" y="26"/>
                  <a:pt x="142" y="26"/>
                </a:cubicBezTo>
                <a:cubicBezTo>
                  <a:pt x="142" y="28"/>
                  <a:pt x="142" y="28"/>
                  <a:pt x="143" y="28"/>
                </a:cubicBezTo>
                <a:cubicBezTo>
                  <a:pt x="143" y="28"/>
                  <a:pt x="144" y="29"/>
                  <a:pt x="145" y="29"/>
                </a:cubicBezTo>
                <a:cubicBezTo>
                  <a:pt x="145" y="30"/>
                  <a:pt x="145" y="30"/>
                  <a:pt x="145" y="31"/>
                </a:cubicBezTo>
                <a:cubicBezTo>
                  <a:pt x="146" y="31"/>
                  <a:pt x="146" y="33"/>
                  <a:pt x="147" y="33"/>
                </a:cubicBezTo>
                <a:cubicBezTo>
                  <a:pt x="146" y="35"/>
                  <a:pt x="144" y="35"/>
                  <a:pt x="145" y="38"/>
                </a:cubicBezTo>
                <a:cubicBezTo>
                  <a:pt x="143" y="38"/>
                  <a:pt x="142" y="39"/>
                  <a:pt x="141" y="40"/>
                </a:cubicBezTo>
                <a:cubicBezTo>
                  <a:pt x="140" y="40"/>
                  <a:pt x="139" y="41"/>
                  <a:pt x="139" y="42"/>
                </a:cubicBezTo>
                <a:cubicBezTo>
                  <a:pt x="132" y="39"/>
                  <a:pt x="132" y="39"/>
                  <a:pt x="132" y="39"/>
                </a:cubicBezTo>
                <a:cubicBezTo>
                  <a:pt x="132" y="39"/>
                  <a:pt x="132" y="38"/>
                  <a:pt x="132" y="38"/>
                </a:cubicBezTo>
                <a:cubicBezTo>
                  <a:pt x="132" y="38"/>
                  <a:pt x="131" y="36"/>
                  <a:pt x="131" y="36"/>
                </a:cubicBezTo>
                <a:cubicBezTo>
                  <a:pt x="130" y="35"/>
                  <a:pt x="130" y="34"/>
                  <a:pt x="129" y="33"/>
                </a:cubicBezTo>
                <a:cubicBezTo>
                  <a:pt x="129" y="32"/>
                  <a:pt x="128" y="31"/>
                  <a:pt x="126" y="31"/>
                </a:cubicBezTo>
                <a:cubicBezTo>
                  <a:pt x="126" y="30"/>
                  <a:pt x="125" y="30"/>
                  <a:pt x="125" y="29"/>
                </a:cubicBezTo>
                <a:cubicBezTo>
                  <a:pt x="125" y="24"/>
                  <a:pt x="129" y="24"/>
                  <a:pt x="131" y="21"/>
                </a:cubicBezTo>
                <a:cubicBezTo>
                  <a:pt x="130" y="20"/>
                  <a:pt x="129" y="19"/>
                  <a:pt x="128" y="18"/>
                </a:cubicBezTo>
                <a:cubicBezTo>
                  <a:pt x="127" y="18"/>
                  <a:pt x="127" y="17"/>
                  <a:pt x="126" y="17"/>
                </a:cubicBezTo>
                <a:cubicBezTo>
                  <a:pt x="126" y="16"/>
                  <a:pt x="125" y="16"/>
                  <a:pt x="125" y="15"/>
                </a:cubicBezTo>
                <a:cubicBezTo>
                  <a:pt x="122" y="16"/>
                  <a:pt x="119" y="17"/>
                  <a:pt x="116" y="17"/>
                </a:cubicBezTo>
                <a:cubicBezTo>
                  <a:pt x="116" y="17"/>
                  <a:pt x="115" y="17"/>
                  <a:pt x="115" y="17"/>
                </a:cubicBezTo>
                <a:cubicBezTo>
                  <a:pt x="115" y="17"/>
                  <a:pt x="115" y="17"/>
                  <a:pt x="115" y="17"/>
                </a:cubicBezTo>
                <a:cubicBezTo>
                  <a:pt x="115" y="17"/>
                  <a:pt x="115" y="17"/>
                  <a:pt x="115" y="17"/>
                </a:cubicBezTo>
                <a:cubicBezTo>
                  <a:pt x="115" y="17"/>
                  <a:pt x="115" y="17"/>
                  <a:pt x="115" y="17"/>
                </a:cubicBezTo>
                <a:cubicBezTo>
                  <a:pt x="115" y="17"/>
                  <a:pt x="115" y="17"/>
                  <a:pt x="115" y="17"/>
                </a:cubicBezTo>
                <a:cubicBezTo>
                  <a:pt x="115" y="17"/>
                  <a:pt x="115" y="17"/>
                  <a:pt x="115" y="17"/>
                </a:cubicBezTo>
                <a:cubicBezTo>
                  <a:pt x="114" y="17"/>
                  <a:pt x="114" y="16"/>
                  <a:pt x="114" y="16"/>
                </a:cubicBezTo>
                <a:cubicBezTo>
                  <a:pt x="114" y="16"/>
                  <a:pt x="114" y="16"/>
                  <a:pt x="114" y="16"/>
                </a:cubicBezTo>
                <a:cubicBezTo>
                  <a:pt x="114" y="16"/>
                  <a:pt x="114" y="16"/>
                  <a:pt x="114" y="16"/>
                </a:cubicBezTo>
                <a:cubicBezTo>
                  <a:pt x="114" y="16"/>
                  <a:pt x="114" y="16"/>
                  <a:pt x="114" y="16"/>
                </a:cubicBezTo>
                <a:cubicBezTo>
                  <a:pt x="114" y="15"/>
                  <a:pt x="114" y="15"/>
                  <a:pt x="114" y="15"/>
                </a:cubicBezTo>
                <a:cubicBezTo>
                  <a:pt x="114" y="15"/>
                  <a:pt x="114" y="15"/>
                  <a:pt x="114" y="15"/>
                </a:cubicBezTo>
                <a:cubicBezTo>
                  <a:pt x="114" y="15"/>
                  <a:pt x="114" y="15"/>
                  <a:pt x="114" y="15"/>
                </a:cubicBezTo>
                <a:cubicBezTo>
                  <a:pt x="112" y="15"/>
                  <a:pt x="112" y="14"/>
                  <a:pt x="110" y="14"/>
                </a:cubicBezTo>
                <a:cubicBezTo>
                  <a:pt x="110" y="14"/>
                  <a:pt x="109" y="13"/>
                  <a:pt x="108" y="13"/>
                </a:cubicBezTo>
                <a:cubicBezTo>
                  <a:pt x="108" y="12"/>
                  <a:pt x="105" y="13"/>
                  <a:pt x="106" y="11"/>
                </a:cubicBezTo>
                <a:cubicBezTo>
                  <a:pt x="105" y="11"/>
                  <a:pt x="104" y="11"/>
                  <a:pt x="104" y="12"/>
                </a:cubicBezTo>
                <a:cubicBezTo>
                  <a:pt x="101" y="12"/>
                  <a:pt x="101" y="12"/>
                  <a:pt x="101" y="12"/>
                </a:cubicBezTo>
                <a:cubicBezTo>
                  <a:pt x="101" y="12"/>
                  <a:pt x="101" y="12"/>
                  <a:pt x="101" y="11"/>
                </a:cubicBezTo>
                <a:cubicBezTo>
                  <a:pt x="101" y="11"/>
                  <a:pt x="101" y="11"/>
                  <a:pt x="101" y="11"/>
                </a:cubicBezTo>
                <a:cubicBezTo>
                  <a:pt x="101" y="11"/>
                  <a:pt x="101" y="11"/>
                  <a:pt x="101" y="11"/>
                </a:cubicBezTo>
                <a:cubicBezTo>
                  <a:pt x="101" y="11"/>
                  <a:pt x="101" y="11"/>
                  <a:pt x="101" y="11"/>
                </a:cubicBezTo>
                <a:cubicBezTo>
                  <a:pt x="101" y="11"/>
                  <a:pt x="101" y="11"/>
                  <a:pt x="101" y="11"/>
                </a:cubicBezTo>
                <a:cubicBezTo>
                  <a:pt x="101" y="11"/>
                  <a:pt x="99" y="11"/>
                  <a:pt x="98" y="11"/>
                </a:cubicBezTo>
                <a:cubicBezTo>
                  <a:pt x="99" y="8"/>
                  <a:pt x="96" y="9"/>
                  <a:pt x="97" y="7"/>
                </a:cubicBezTo>
                <a:cubicBezTo>
                  <a:pt x="96" y="7"/>
                  <a:pt x="96" y="5"/>
                  <a:pt x="95" y="5"/>
                </a:cubicBezTo>
                <a:cubicBezTo>
                  <a:pt x="95" y="3"/>
                  <a:pt x="95" y="3"/>
                  <a:pt x="95" y="3"/>
                </a:cubicBezTo>
                <a:cubicBezTo>
                  <a:pt x="92" y="2"/>
                  <a:pt x="90" y="1"/>
                  <a:pt x="86" y="1"/>
                </a:cubicBezTo>
                <a:cubicBezTo>
                  <a:pt x="86" y="1"/>
                  <a:pt x="86" y="1"/>
                  <a:pt x="85" y="1"/>
                </a:cubicBezTo>
                <a:cubicBezTo>
                  <a:pt x="84" y="1"/>
                  <a:pt x="84" y="2"/>
                  <a:pt x="84" y="4"/>
                </a:cubicBezTo>
                <a:cubicBezTo>
                  <a:pt x="84" y="5"/>
                  <a:pt x="84" y="6"/>
                  <a:pt x="83" y="7"/>
                </a:cubicBezTo>
                <a:cubicBezTo>
                  <a:pt x="81" y="7"/>
                  <a:pt x="81" y="6"/>
                  <a:pt x="80" y="6"/>
                </a:cubicBezTo>
                <a:cubicBezTo>
                  <a:pt x="80" y="7"/>
                  <a:pt x="79" y="8"/>
                  <a:pt x="77" y="8"/>
                </a:cubicBezTo>
                <a:cubicBezTo>
                  <a:pt x="77" y="7"/>
                  <a:pt x="77" y="7"/>
                  <a:pt x="76" y="7"/>
                </a:cubicBezTo>
                <a:cubicBezTo>
                  <a:pt x="76" y="6"/>
                  <a:pt x="76" y="5"/>
                  <a:pt x="76" y="4"/>
                </a:cubicBezTo>
                <a:cubicBezTo>
                  <a:pt x="76" y="4"/>
                  <a:pt x="76" y="4"/>
                  <a:pt x="76" y="4"/>
                </a:cubicBezTo>
                <a:cubicBezTo>
                  <a:pt x="76" y="4"/>
                  <a:pt x="76" y="4"/>
                  <a:pt x="76" y="4"/>
                </a:cubicBezTo>
                <a:cubicBezTo>
                  <a:pt x="76" y="4"/>
                  <a:pt x="75" y="4"/>
                  <a:pt x="75" y="4"/>
                </a:cubicBezTo>
                <a:cubicBezTo>
                  <a:pt x="75" y="4"/>
                  <a:pt x="75" y="4"/>
                  <a:pt x="75" y="4"/>
                </a:cubicBezTo>
                <a:cubicBezTo>
                  <a:pt x="75" y="4"/>
                  <a:pt x="75" y="3"/>
                  <a:pt x="76" y="3"/>
                </a:cubicBezTo>
                <a:cubicBezTo>
                  <a:pt x="76" y="3"/>
                  <a:pt x="76" y="3"/>
                  <a:pt x="76" y="3"/>
                </a:cubicBezTo>
                <a:cubicBezTo>
                  <a:pt x="76" y="3"/>
                  <a:pt x="76" y="3"/>
                  <a:pt x="76" y="3"/>
                </a:cubicBezTo>
                <a:cubicBezTo>
                  <a:pt x="74" y="3"/>
                  <a:pt x="74" y="1"/>
                  <a:pt x="72" y="2"/>
                </a:cubicBezTo>
                <a:cubicBezTo>
                  <a:pt x="72" y="1"/>
                  <a:pt x="70" y="2"/>
                  <a:pt x="70" y="1"/>
                </a:cubicBezTo>
                <a:cubicBezTo>
                  <a:pt x="69" y="0"/>
                  <a:pt x="69" y="0"/>
                  <a:pt x="68" y="0"/>
                </a:cubicBezTo>
                <a:cubicBezTo>
                  <a:pt x="67" y="0"/>
                  <a:pt x="67" y="1"/>
                  <a:pt x="66" y="1"/>
                </a:cubicBezTo>
                <a:cubicBezTo>
                  <a:pt x="66" y="2"/>
                  <a:pt x="64" y="1"/>
                  <a:pt x="64" y="3"/>
                </a:cubicBezTo>
                <a:cubicBezTo>
                  <a:pt x="63" y="6"/>
                  <a:pt x="68" y="6"/>
                  <a:pt x="66" y="8"/>
                </a:cubicBezTo>
                <a:cubicBezTo>
                  <a:pt x="64" y="8"/>
                  <a:pt x="64" y="8"/>
                  <a:pt x="64" y="8"/>
                </a:cubicBezTo>
                <a:cubicBezTo>
                  <a:pt x="64" y="9"/>
                  <a:pt x="64" y="9"/>
                  <a:pt x="64" y="9"/>
                </a:cubicBezTo>
                <a:cubicBezTo>
                  <a:pt x="63" y="9"/>
                  <a:pt x="63" y="9"/>
                  <a:pt x="63" y="9"/>
                </a:cubicBezTo>
                <a:cubicBezTo>
                  <a:pt x="63" y="9"/>
                  <a:pt x="62" y="9"/>
                  <a:pt x="62" y="9"/>
                </a:cubicBezTo>
                <a:cubicBezTo>
                  <a:pt x="62" y="9"/>
                  <a:pt x="62" y="10"/>
                  <a:pt x="62" y="10"/>
                </a:cubicBezTo>
                <a:cubicBezTo>
                  <a:pt x="61" y="10"/>
                  <a:pt x="61" y="9"/>
                  <a:pt x="60" y="10"/>
                </a:cubicBezTo>
                <a:cubicBezTo>
                  <a:pt x="60" y="10"/>
                  <a:pt x="60" y="11"/>
                  <a:pt x="60" y="11"/>
                </a:cubicBezTo>
                <a:cubicBezTo>
                  <a:pt x="59" y="11"/>
                  <a:pt x="59" y="11"/>
                  <a:pt x="58" y="11"/>
                </a:cubicBezTo>
                <a:cubicBezTo>
                  <a:pt x="58" y="12"/>
                  <a:pt x="57" y="12"/>
                  <a:pt x="57" y="12"/>
                </a:cubicBezTo>
                <a:cubicBezTo>
                  <a:pt x="57" y="12"/>
                  <a:pt x="57" y="12"/>
                  <a:pt x="56" y="12"/>
                </a:cubicBezTo>
                <a:cubicBezTo>
                  <a:pt x="56" y="13"/>
                  <a:pt x="55" y="13"/>
                  <a:pt x="55" y="13"/>
                </a:cubicBezTo>
                <a:cubicBezTo>
                  <a:pt x="54" y="13"/>
                  <a:pt x="53" y="13"/>
                  <a:pt x="53" y="13"/>
                </a:cubicBezTo>
                <a:cubicBezTo>
                  <a:pt x="53" y="13"/>
                  <a:pt x="53" y="14"/>
                  <a:pt x="53" y="14"/>
                </a:cubicBezTo>
                <a:cubicBezTo>
                  <a:pt x="52" y="14"/>
                  <a:pt x="51" y="14"/>
                  <a:pt x="50" y="14"/>
                </a:cubicBezTo>
                <a:cubicBezTo>
                  <a:pt x="50" y="15"/>
                  <a:pt x="50" y="15"/>
                  <a:pt x="49" y="15"/>
                </a:cubicBezTo>
                <a:cubicBezTo>
                  <a:pt x="49" y="15"/>
                  <a:pt x="48" y="16"/>
                  <a:pt x="48" y="16"/>
                </a:cubicBezTo>
                <a:cubicBezTo>
                  <a:pt x="47" y="16"/>
                  <a:pt x="47" y="17"/>
                  <a:pt x="46" y="17"/>
                </a:cubicBezTo>
                <a:cubicBezTo>
                  <a:pt x="46" y="17"/>
                  <a:pt x="46" y="17"/>
                  <a:pt x="45" y="17"/>
                </a:cubicBezTo>
                <a:cubicBezTo>
                  <a:pt x="44" y="17"/>
                  <a:pt x="44" y="18"/>
                  <a:pt x="44" y="18"/>
                </a:cubicBezTo>
                <a:cubicBezTo>
                  <a:pt x="44" y="18"/>
                  <a:pt x="43" y="19"/>
                  <a:pt x="42" y="19"/>
                </a:cubicBezTo>
                <a:cubicBezTo>
                  <a:pt x="42" y="18"/>
                  <a:pt x="41" y="18"/>
                  <a:pt x="41" y="19"/>
                </a:cubicBezTo>
                <a:cubicBezTo>
                  <a:pt x="41" y="20"/>
                  <a:pt x="40" y="20"/>
                  <a:pt x="39" y="20"/>
                </a:cubicBezTo>
                <a:cubicBezTo>
                  <a:pt x="37" y="21"/>
                  <a:pt x="37" y="22"/>
                  <a:pt x="36" y="23"/>
                </a:cubicBezTo>
                <a:cubicBezTo>
                  <a:pt x="34" y="23"/>
                  <a:pt x="34" y="24"/>
                  <a:pt x="33" y="25"/>
                </a:cubicBezTo>
                <a:cubicBezTo>
                  <a:pt x="30" y="25"/>
                  <a:pt x="30" y="25"/>
                  <a:pt x="30" y="25"/>
                </a:cubicBezTo>
                <a:cubicBezTo>
                  <a:pt x="28" y="26"/>
                  <a:pt x="27" y="26"/>
                  <a:pt x="27" y="28"/>
                </a:cubicBezTo>
                <a:cubicBezTo>
                  <a:pt x="26" y="28"/>
                  <a:pt x="26" y="28"/>
                  <a:pt x="26" y="28"/>
                </a:cubicBezTo>
                <a:cubicBezTo>
                  <a:pt x="25" y="29"/>
                  <a:pt x="24" y="28"/>
                  <a:pt x="23" y="28"/>
                </a:cubicBezTo>
                <a:cubicBezTo>
                  <a:pt x="23" y="28"/>
                  <a:pt x="23" y="28"/>
                  <a:pt x="22" y="28"/>
                </a:cubicBezTo>
                <a:cubicBezTo>
                  <a:pt x="22" y="29"/>
                  <a:pt x="22" y="29"/>
                  <a:pt x="22" y="29"/>
                </a:cubicBezTo>
                <a:cubicBezTo>
                  <a:pt x="22" y="29"/>
                  <a:pt x="22" y="29"/>
                  <a:pt x="22" y="29"/>
                </a:cubicBezTo>
                <a:cubicBezTo>
                  <a:pt x="22" y="29"/>
                  <a:pt x="22" y="29"/>
                  <a:pt x="22" y="29"/>
                </a:cubicBezTo>
                <a:cubicBezTo>
                  <a:pt x="22" y="29"/>
                  <a:pt x="22" y="29"/>
                  <a:pt x="22" y="29"/>
                </a:cubicBezTo>
                <a:cubicBezTo>
                  <a:pt x="22" y="29"/>
                  <a:pt x="22" y="29"/>
                  <a:pt x="22" y="29"/>
                </a:cubicBezTo>
                <a:cubicBezTo>
                  <a:pt x="22" y="29"/>
                  <a:pt x="22" y="29"/>
                  <a:pt x="22" y="29"/>
                </a:cubicBezTo>
                <a:cubicBezTo>
                  <a:pt x="22" y="29"/>
                  <a:pt x="22" y="29"/>
                  <a:pt x="22" y="29"/>
                </a:cubicBezTo>
                <a:cubicBezTo>
                  <a:pt x="22" y="29"/>
                  <a:pt x="22" y="29"/>
                  <a:pt x="22" y="29"/>
                </a:cubicBezTo>
                <a:cubicBezTo>
                  <a:pt x="22" y="29"/>
                  <a:pt x="22" y="29"/>
                  <a:pt x="22" y="29"/>
                </a:cubicBezTo>
                <a:cubicBezTo>
                  <a:pt x="22" y="29"/>
                  <a:pt x="22" y="29"/>
                  <a:pt x="22" y="29"/>
                </a:cubicBezTo>
                <a:cubicBezTo>
                  <a:pt x="20" y="28"/>
                  <a:pt x="19" y="28"/>
                  <a:pt x="18" y="29"/>
                </a:cubicBezTo>
                <a:cubicBezTo>
                  <a:pt x="18" y="29"/>
                  <a:pt x="18" y="29"/>
                  <a:pt x="18" y="29"/>
                </a:cubicBezTo>
                <a:cubicBezTo>
                  <a:pt x="17" y="29"/>
                  <a:pt x="17" y="30"/>
                  <a:pt x="16" y="30"/>
                </a:cubicBezTo>
                <a:cubicBezTo>
                  <a:pt x="16" y="30"/>
                  <a:pt x="16" y="30"/>
                  <a:pt x="16" y="30"/>
                </a:cubicBezTo>
                <a:cubicBezTo>
                  <a:pt x="16" y="30"/>
                  <a:pt x="15" y="30"/>
                  <a:pt x="15" y="30"/>
                </a:cubicBezTo>
                <a:cubicBezTo>
                  <a:pt x="15" y="30"/>
                  <a:pt x="15" y="30"/>
                  <a:pt x="15" y="30"/>
                </a:cubicBezTo>
                <a:cubicBezTo>
                  <a:pt x="14" y="30"/>
                  <a:pt x="14" y="30"/>
                  <a:pt x="14" y="31"/>
                </a:cubicBezTo>
                <a:cubicBezTo>
                  <a:pt x="14" y="31"/>
                  <a:pt x="14" y="31"/>
                  <a:pt x="14" y="31"/>
                </a:cubicBezTo>
                <a:cubicBezTo>
                  <a:pt x="13" y="31"/>
                  <a:pt x="13" y="31"/>
                  <a:pt x="13" y="32"/>
                </a:cubicBezTo>
                <a:cubicBezTo>
                  <a:pt x="13" y="32"/>
                  <a:pt x="13" y="32"/>
                  <a:pt x="13" y="32"/>
                </a:cubicBezTo>
                <a:cubicBezTo>
                  <a:pt x="11" y="31"/>
                  <a:pt x="12" y="33"/>
                  <a:pt x="11" y="34"/>
                </a:cubicBezTo>
                <a:cubicBezTo>
                  <a:pt x="11" y="34"/>
                  <a:pt x="11" y="34"/>
                  <a:pt x="11" y="34"/>
                </a:cubicBezTo>
                <a:cubicBezTo>
                  <a:pt x="10" y="34"/>
                  <a:pt x="10" y="34"/>
                  <a:pt x="10" y="34"/>
                </a:cubicBezTo>
                <a:cubicBezTo>
                  <a:pt x="10" y="35"/>
                  <a:pt x="9" y="36"/>
                  <a:pt x="9" y="37"/>
                </a:cubicBezTo>
                <a:cubicBezTo>
                  <a:pt x="9" y="37"/>
                  <a:pt x="8" y="38"/>
                  <a:pt x="8" y="39"/>
                </a:cubicBezTo>
                <a:cubicBezTo>
                  <a:pt x="7" y="39"/>
                  <a:pt x="6" y="38"/>
                  <a:pt x="6" y="37"/>
                </a:cubicBezTo>
                <a:cubicBezTo>
                  <a:pt x="5" y="36"/>
                  <a:pt x="5" y="36"/>
                  <a:pt x="5" y="35"/>
                </a:cubicBezTo>
                <a:cubicBezTo>
                  <a:pt x="3" y="35"/>
                  <a:pt x="3" y="34"/>
                  <a:pt x="1" y="34"/>
                </a:cubicBezTo>
                <a:cubicBezTo>
                  <a:pt x="1" y="33"/>
                  <a:pt x="1" y="33"/>
                  <a:pt x="0" y="33"/>
                </a:cubicBezTo>
                <a:cubicBezTo>
                  <a:pt x="0" y="34"/>
                  <a:pt x="1" y="35"/>
                  <a:pt x="0" y="35"/>
                </a:cubicBezTo>
                <a:cubicBezTo>
                  <a:pt x="1" y="38"/>
                  <a:pt x="2" y="41"/>
                  <a:pt x="3" y="43"/>
                </a:cubicBezTo>
                <a:cubicBezTo>
                  <a:pt x="3" y="43"/>
                  <a:pt x="4" y="44"/>
                  <a:pt x="4" y="44"/>
                </a:cubicBezTo>
                <a:cubicBezTo>
                  <a:pt x="5" y="45"/>
                  <a:pt x="6" y="46"/>
                  <a:pt x="7" y="47"/>
                </a:cubicBezTo>
                <a:cubicBezTo>
                  <a:pt x="8" y="48"/>
                  <a:pt x="9" y="49"/>
                  <a:pt x="9" y="50"/>
                </a:cubicBezTo>
                <a:cubicBezTo>
                  <a:pt x="11" y="50"/>
                  <a:pt x="10" y="53"/>
                  <a:pt x="13" y="52"/>
                </a:cubicBezTo>
                <a:cubicBezTo>
                  <a:pt x="12" y="53"/>
                  <a:pt x="12" y="54"/>
                  <a:pt x="12" y="54"/>
                </a:cubicBezTo>
                <a:cubicBezTo>
                  <a:pt x="11" y="55"/>
                  <a:pt x="11" y="55"/>
                  <a:pt x="11" y="56"/>
                </a:cubicBezTo>
                <a:cubicBezTo>
                  <a:pt x="9" y="57"/>
                  <a:pt x="9" y="58"/>
                  <a:pt x="9" y="60"/>
                </a:cubicBezTo>
                <a:cubicBezTo>
                  <a:pt x="9" y="62"/>
                  <a:pt x="10" y="62"/>
                  <a:pt x="12" y="62"/>
                </a:cubicBezTo>
                <a:cubicBezTo>
                  <a:pt x="12" y="63"/>
                  <a:pt x="13" y="64"/>
                  <a:pt x="14" y="64"/>
                </a:cubicBezTo>
                <a:cubicBezTo>
                  <a:pt x="13" y="65"/>
                  <a:pt x="14" y="66"/>
                  <a:pt x="14" y="67"/>
                </a:cubicBezTo>
                <a:cubicBezTo>
                  <a:pt x="14" y="67"/>
                  <a:pt x="14" y="67"/>
                  <a:pt x="14" y="67"/>
                </a:cubicBezTo>
                <a:cubicBezTo>
                  <a:pt x="14" y="68"/>
                  <a:pt x="15" y="67"/>
                  <a:pt x="15" y="67"/>
                </a:cubicBezTo>
                <a:cubicBezTo>
                  <a:pt x="15" y="68"/>
                  <a:pt x="15" y="68"/>
                  <a:pt x="15" y="68"/>
                </a:cubicBezTo>
                <a:cubicBezTo>
                  <a:pt x="15" y="68"/>
                  <a:pt x="16" y="68"/>
                  <a:pt x="16" y="68"/>
                </a:cubicBezTo>
                <a:cubicBezTo>
                  <a:pt x="16" y="68"/>
                  <a:pt x="16" y="69"/>
                  <a:pt x="16" y="70"/>
                </a:cubicBezTo>
                <a:cubicBezTo>
                  <a:pt x="16" y="71"/>
                  <a:pt x="17" y="70"/>
                  <a:pt x="17" y="72"/>
                </a:cubicBezTo>
                <a:cubicBezTo>
                  <a:pt x="19" y="74"/>
                  <a:pt x="20" y="77"/>
                  <a:pt x="21" y="79"/>
                </a:cubicBezTo>
                <a:cubicBezTo>
                  <a:pt x="26" y="79"/>
                  <a:pt x="26" y="79"/>
                  <a:pt x="26" y="79"/>
                </a:cubicBezTo>
                <a:cubicBezTo>
                  <a:pt x="26" y="81"/>
                  <a:pt x="28" y="81"/>
                  <a:pt x="28" y="82"/>
                </a:cubicBezTo>
                <a:cubicBezTo>
                  <a:pt x="29" y="83"/>
                  <a:pt x="30" y="84"/>
                  <a:pt x="30" y="85"/>
                </a:cubicBezTo>
                <a:cubicBezTo>
                  <a:pt x="30" y="85"/>
                  <a:pt x="31" y="85"/>
                  <a:pt x="31" y="85"/>
                </a:cubicBezTo>
                <a:cubicBezTo>
                  <a:pt x="31" y="85"/>
                  <a:pt x="31" y="86"/>
                  <a:pt x="31" y="86"/>
                </a:cubicBezTo>
                <a:cubicBezTo>
                  <a:pt x="31" y="87"/>
                  <a:pt x="32" y="87"/>
                  <a:pt x="32" y="87"/>
                </a:cubicBezTo>
                <a:cubicBezTo>
                  <a:pt x="33" y="87"/>
                  <a:pt x="32" y="88"/>
                  <a:pt x="32" y="88"/>
                </a:cubicBezTo>
                <a:cubicBezTo>
                  <a:pt x="33" y="89"/>
                  <a:pt x="34" y="89"/>
                  <a:pt x="34" y="90"/>
                </a:cubicBezTo>
                <a:cubicBezTo>
                  <a:pt x="37" y="90"/>
                  <a:pt x="37" y="90"/>
                  <a:pt x="37" y="90"/>
                </a:cubicBezTo>
                <a:cubicBezTo>
                  <a:pt x="38" y="92"/>
                  <a:pt x="40" y="93"/>
                  <a:pt x="41" y="95"/>
                </a:cubicBezTo>
                <a:cubicBezTo>
                  <a:pt x="44" y="95"/>
                  <a:pt x="44" y="95"/>
                  <a:pt x="44" y="95"/>
                </a:cubicBezTo>
                <a:cubicBezTo>
                  <a:pt x="43" y="96"/>
                  <a:pt x="44" y="96"/>
                  <a:pt x="44" y="96"/>
                </a:cubicBezTo>
                <a:cubicBezTo>
                  <a:pt x="44" y="97"/>
                  <a:pt x="45" y="97"/>
                  <a:pt x="45" y="97"/>
                </a:cubicBezTo>
                <a:cubicBezTo>
                  <a:pt x="46" y="98"/>
                  <a:pt x="46" y="99"/>
                  <a:pt x="48" y="99"/>
                </a:cubicBezTo>
                <a:cubicBezTo>
                  <a:pt x="48" y="102"/>
                  <a:pt x="50" y="102"/>
                  <a:pt x="51" y="102"/>
                </a:cubicBezTo>
                <a:cubicBezTo>
                  <a:pt x="50" y="105"/>
                  <a:pt x="50" y="108"/>
                  <a:pt x="53" y="109"/>
                </a:cubicBezTo>
                <a:cubicBezTo>
                  <a:pt x="54" y="109"/>
                  <a:pt x="55" y="110"/>
                  <a:pt x="56" y="111"/>
                </a:cubicBezTo>
                <a:cubicBezTo>
                  <a:pt x="56" y="111"/>
                  <a:pt x="56" y="111"/>
                  <a:pt x="56" y="111"/>
                </a:cubicBezTo>
                <a:cubicBezTo>
                  <a:pt x="56" y="112"/>
                  <a:pt x="56" y="112"/>
                  <a:pt x="57" y="112"/>
                </a:cubicBezTo>
                <a:cubicBezTo>
                  <a:pt x="57" y="112"/>
                  <a:pt x="57" y="113"/>
                  <a:pt x="57" y="113"/>
                </a:cubicBezTo>
                <a:cubicBezTo>
                  <a:pt x="57" y="114"/>
                  <a:pt x="58" y="113"/>
                  <a:pt x="58" y="113"/>
                </a:cubicBezTo>
                <a:cubicBezTo>
                  <a:pt x="58" y="113"/>
                  <a:pt x="58" y="114"/>
                  <a:pt x="58" y="114"/>
                </a:cubicBezTo>
                <a:cubicBezTo>
                  <a:pt x="59" y="115"/>
                  <a:pt x="61" y="114"/>
                  <a:pt x="62" y="114"/>
                </a:cubicBezTo>
                <a:cubicBezTo>
                  <a:pt x="62" y="115"/>
                  <a:pt x="64" y="115"/>
                  <a:pt x="64" y="116"/>
                </a:cubicBezTo>
                <a:cubicBezTo>
                  <a:pt x="67" y="116"/>
                  <a:pt x="67" y="116"/>
                  <a:pt x="67" y="116"/>
                </a:cubicBezTo>
                <a:cubicBezTo>
                  <a:pt x="69" y="115"/>
                  <a:pt x="70" y="114"/>
                  <a:pt x="71" y="113"/>
                </a:cubicBezTo>
                <a:cubicBezTo>
                  <a:pt x="72" y="114"/>
                  <a:pt x="73" y="113"/>
                  <a:pt x="74" y="113"/>
                </a:cubicBezTo>
                <a:cubicBezTo>
                  <a:pt x="75" y="114"/>
                  <a:pt x="76" y="114"/>
                  <a:pt x="78" y="114"/>
                </a:cubicBezTo>
                <a:cubicBezTo>
                  <a:pt x="78" y="113"/>
                  <a:pt x="79" y="113"/>
                  <a:pt x="80" y="113"/>
                </a:cubicBezTo>
                <a:cubicBezTo>
                  <a:pt x="81" y="111"/>
                  <a:pt x="80" y="107"/>
                  <a:pt x="83" y="106"/>
                </a:cubicBezTo>
                <a:cubicBezTo>
                  <a:pt x="87" y="106"/>
                  <a:pt x="87" y="106"/>
                  <a:pt x="87" y="106"/>
                </a:cubicBezTo>
                <a:cubicBezTo>
                  <a:pt x="87" y="101"/>
                  <a:pt x="87" y="101"/>
                  <a:pt x="87" y="101"/>
                </a:cubicBezTo>
                <a:cubicBezTo>
                  <a:pt x="87" y="100"/>
                  <a:pt x="88" y="100"/>
                  <a:pt x="87" y="98"/>
                </a:cubicBezTo>
                <a:cubicBezTo>
                  <a:pt x="88" y="97"/>
                  <a:pt x="87" y="96"/>
                  <a:pt x="88" y="95"/>
                </a:cubicBezTo>
                <a:cubicBezTo>
                  <a:pt x="89" y="95"/>
                  <a:pt x="89" y="95"/>
                  <a:pt x="90" y="95"/>
                </a:cubicBezTo>
                <a:cubicBezTo>
                  <a:pt x="90" y="95"/>
                  <a:pt x="90" y="97"/>
                  <a:pt x="90" y="97"/>
                </a:cubicBezTo>
                <a:cubicBezTo>
                  <a:pt x="91" y="97"/>
                  <a:pt x="91" y="97"/>
                  <a:pt x="92" y="97"/>
                </a:cubicBezTo>
                <a:cubicBezTo>
                  <a:pt x="92" y="97"/>
                  <a:pt x="92" y="97"/>
                  <a:pt x="92" y="97"/>
                </a:cubicBezTo>
                <a:cubicBezTo>
                  <a:pt x="92" y="98"/>
                  <a:pt x="93" y="97"/>
                  <a:pt x="93" y="97"/>
                </a:cubicBezTo>
                <a:cubicBezTo>
                  <a:pt x="94" y="97"/>
                  <a:pt x="96" y="96"/>
                  <a:pt x="97" y="96"/>
                </a:cubicBezTo>
                <a:cubicBezTo>
                  <a:pt x="97" y="98"/>
                  <a:pt x="100" y="97"/>
                  <a:pt x="101" y="98"/>
                </a:cubicBezTo>
                <a:cubicBezTo>
                  <a:pt x="102" y="98"/>
                  <a:pt x="103" y="100"/>
                  <a:pt x="105" y="99"/>
                </a:cubicBezTo>
                <a:cubicBezTo>
                  <a:pt x="105" y="101"/>
                  <a:pt x="107" y="101"/>
                  <a:pt x="108" y="101"/>
                </a:cubicBezTo>
                <a:cubicBezTo>
                  <a:pt x="108" y="101"/>
                  <a:pt x="108" y="102"/>
                  <a:pt x="108" y="102"/>
                </a:cubicBezTo>
                <a:cubicBezTo>
                  <a:pt x="109" y="102"/>
                  <a:pt x="111" y="101"/>
                  <a:pt x="112" y="102"/>
                </a:cubicBezTo>
                <a:cubicBezTo>
                  <a:pt x="112" y="102"/>
                  <a:pt x="112" y="102"/>
                  <a:pt x="112" y="102"/>
                </a:cubicBezTo>
                <a:cubicBezTo>
                  <a:pt x="112" y="103"/>
                  <a:pt x="113" y="102"/>
                  <a:pt x="113" y="102"/>
                </a:cubicBezTo>
                <a:cubicBezTo>
                  <a:pt x="115" y="102"/>
                  <a:pt x="115" y="105"/>
                  <a:pt x="117" y="104"/>
                </a:cubicBezTo>
                <a:cubicBezTo>
                  <a:pt x="117" y="104"/>
                  <a:pt x="118" y="104"/>
                  <a:pt x="117" y="105"/>
                </a:cubicBezTo>
                <a:cubicBezTo>
                  <a:pt x="122" y="105"/>
                  <a:pt x="124" y="106"/>
                  <a:pt x="129" y="106"/>
                </a:cubicBezTo>
                <a:cubicBezTo>
                  <a:pt x="129" y="106"/>
                  <a:pt x="130" y="105"/>
                  <a:pt x="131" y="105"/>
                </a:cubicBezTo>
                <a:cubicBezTo>
                  <a:pt x="132" y="104"/>
                  <a:pt x="133" y="103"/>
                  <a:pt x="134" y="104"/>
                </a:cubicBezTo>
                <a:cubicBezTo>
                  <a:pt x="138" y="105"/>
                  <a:pt x="141" y="106"/>
                  <a:pt x="145" y="107"/>
                </a:cubicBezTo>
                <a:cubicBezTo>
                  <a:pt x="145" y="106"/>
                  <a:pt x="146" y="107"/>
                  <a:pt x="147" y="107"/>
                </a:cubicBezTo>
                <a:cubicBezTo>
                  <a:pt x="147" y="107"/>
                  <a:pt x="147" y="107"/>
                  <a:pt x="147" y="106"/>
                </a:cubicBezTo>
                <a:cubicBezTo>
                  <a:pt x="147" y="106"/>
                  <a:pt x="148" y="106"/>
                  <a:pt x="148" y="106"/>
                </a:cubicBezTo>
                <a:cubicBezTo>
                  <a:pt x="148" y="106"/>
                  <a:pt x="149" y="106"/>
                  <a:pt x="149" y="106"/>
                </a:cubicBezTo>
                <a:cubicBezTo>
                  <a:pt x="149" y="105"/>
                  <a:pt x="150" y="105"/>
                  <a:pt x="150" y="104"/>
                </a:cubicBezTo>
                <a:cubicBezTo>
                  <a:pt x="150" y="104"/>
                  <a:pt x="150" y="104"/>
                  <a:pt x="151" y="104"/>
                </a:cubicBezTo>
                <a:cubicBezTo>
                  <a:pt x="151" y="101"/>
                  <a:pt x="153" y="100"/>
                  <a:pt x="155" y="99"/>
                </a:cubicBezTo>
                <a:cubicBezTo>
                  <a:pt x="156" y="99"/>
                  <a:pt x="158" y="99"/>
                  <a:pt x="158" y="101"/>
                </a:cubicBezTo>
                <a:cubicBezTo>
                  <a:pt x="158" y="101"/>
                  <a:pt x="159" y="101"/>
                  <a:pt x="159" y="101"/>
                </a:cubicBezTo>
                <a:cubicBezTo>
                  <a:pt x="162" y="100"/>
                  <a:pt x="165" y="100"/>
                  <a:pt x="168" y="99"/>
                </a:cubicBezTo>
                <a:cubicBezTo>
                  <a:pt x="169" y="99"/>
                  <a:pt x="169" y="99"/>
                  <a:pt x="169" y="99"/>
                </a:cubicBezTo>
                <a:cubicBezTo>
                  <a:pt x="169" y="98"/>
                  <a:pt x="170" y="98"/>
                  <a:pt x="170" y="97"/>
                </a:cubicBezTo>
                <a:cubicBezTo>
                  <a:pt x="171" y="97"/>
                  <a:pt x="171" y="96"/>
                  <a:pt x="172" y="96"/>
                </a:cubicBezTo>
                <a:cubicBezTo>
                  <a:pt x="173" y="96"/>
                  <a:pt x="174" y="94"/>
                  <a:pt x="176" y="95"/>
                </a:cubicBezTo>
                <a:cubicBezTo>
                  <a:pt x="176" y="91"/>
                  <a:pt x="176" y="91"/>
                  <a:pt x="176" y="91"/>
                </a:cubicBezTo>
                <a:cubicBezTo>
                  <a:pt x="177" y="91"/>
                  <a:pt x="177" y="89"/>
                  <a:pt x="179" y="90"/>
                </a:cubicBezTo>
                <a:cubicBezTo>
                  <a:pt x="181" y="90"/>
                  <a:pt x="180" y="88"/>
                  <a:pt x="182" y="88"/>
                </a:cubicBezTo>
                <a:cubicBezTo>
                  <a:pt x="182" y="85"/>
                  <a:pt x="183" y="82"/>
                  <a:pt x="183" y="78"/>
                </a:cubicBezTo>
                <a:cubicBezTo>
                  <a:pt x="183" y="78"/>
                  <a:pt x="184" y="77"/>
                  <a:pt x="184" y="77"/>
                </a:cubicBezTo>
                <a:cubicBezTo>
                  <a:pt x="184" y="76"/>
                  <a:pt x="185" y="76"/>
                  <a:pt x="186" y="76"/>
                </a:cubicBezTo>
                <a:cubicBezTo>
                  <a:pt x="186" y="76"/>
                  <a:pt x="186" y="75"/>
                  <a:pt x="187" y="75"/>
                </a:cubicBezTo>
                <a:cubicBezTo>
                  <a:pt x="188" y="75"/>
                  <a:pt x="188" y="75"/>
                  <a:pt x="188" y="74"/>
                </a:cubicBezTo>
                <a:cubicBezTo>
                  <a:pt x="189" y="75"/>
                  <a:pt x="189" y="74"/>
                  <a:pt x="189" y="74"/>
                </a:cubicBezTo>
                <a:cubicBezTo>
                  <a:pt x="190" y="73"/>
                  <a:pt x="192" y="72"/>
                  <a:pt x="191" y="70"/>
                </a:cubicBezTo>
                <a:cubicBezTo>
                  <a:pt x="193" y="70"/>
                  <a:pt x="192" y="68"/>
                  <a:pt x="194" y="67"/>
                </a:cubicBezTo>
                <a:cubicBezTo>
                  <a:pt x="194" y="68"/>
                  <a:pt x="195" y="68"/>
                  <a:pt x="196" y="68"/>
                </a:cubicBezTo>
                <a:cubicBezTo>
                  <a:pt x="196" y="67"/>
                  <a:pt x="197" y="67"/>
                  <a:pt x="198" y="67"/>
                </a:cubicBezTo>
                <a:cubicBezTo>
                  <a:pt x="199" y="67"/>
                  <a:pt x="199" y="66"/>
                  <a:pt x="199" y="66"/>
                </a:cubicBezTo>
                <a:cubicBezTo>
                  <a:pt x="202" y="66"/>
                  <a:pt x="202" y="66"/>
                  <a:pt x="202" y="66"/>
                </a:cubicBezTo>
                <a:cubicBezTo>
                  <a:pt x="202" y="65"/>
                  <a:pt x="202" y="65"/>
                  <a:pt x="202" y="65"/>
                </a:cubicBezTo>
                <a:cubicBezTo>
                  <a:pt x="202" y="63"/>
                  <a:pt x="201" y="62"/>
                  <a:pt x="200" y="62"/>
                </a:cubicBezTo>
                <a:close/>
                <a:moveTo>
                  <a:pt x="139" y="42"/>
                </a:moveTo>
                <a:cubicBezTo>
                  <a:pt x="139" y="42"/>
                  <a:pt x="139" y="42"/>
                  <a:pt x="139" y="42"/>
                </a:cubicBezTo>
                <a:cubicBezTo>
                  <a:pt x="139" y="42"/>
                  <a:pt x="139" y="42"/>
                  <a:pt x="139" y="42"/>
                </a:cubicBezTo>
                <a:close/>
                <a:moveTo>
                  <a:pt x="139" y="42"/>
                </a:moveTo>
                <a:cubicBezTo>
                  <a:pt x="139" y="42"/>
                  <a:pt x="139" y="42"/>
                  <a:pt x="139" y="42"/>
                </a:cubicBezTo>
                <a:cubicBezTo>
                  <a:pt x="139" y="42"/>
                  <a:pt x="139" y="42"/>
                  <a:pt x="139" y="42"/>
                </a:cubicBezTo>
                <a:close/>
                <a:moveTo>
                  <a:pt x="139" y="42"/>
                </a:moveTo>
                <a:cubicBezTo>
                  <a:pt x="139" y="42"/>
                  <a:pt x="139" y="42"/>
                  <a:pt x="139" y="42"/>
                </a:cubicBezTo>
                <a:cubicBezTo>
                  <a:pt x="139" y="42"/>
                  <a:pt x="139" y="42"/>
                  <a:pt x="139" y="42"/>
                </a:cubicBezTo>
                <a:close/>
                <a:moveTo>
                  <a:pt x="139" y="42"/>
                </a:moveTo>
                <a:cubicBezTo>
                  <a:pt x="138" y="42"/>
                  <a:pt x="138" y="42"/>
                  <a:pt x="138" y="42"/>
                </a:cubicBezTo>
                <a:cubicBezTo>
                  <a:pt x="138" y="42"/>
                  <a:pt x="138" y="42"/>
                  <a:pt x="139" y="42"/>
                </a:cubicBezTo>
                <a:close/>
                <a:moveTo>
                  <a:pt x="132" y="39"/>
                </a:moveTo>
                <a:cubicBezTo>
                  <a:pt x="132" y="39"/>
                  <a:pt x="132" y="39"/>
                  <a:pt x="132" y="39"/>
                </a:cubicBezTo>
                <a:cubicBezTo>
                  <a:pt x="132" y="39"/>
                  <a:pt x="132" y="39"/>
                  <a:pt x="132" y="39"/>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9" name="Freeform 87"/>
          <p:cNvSpPr>
            <a:spLocks/>
          </p:cNvSpPr>
          <p:nvPr/>
        </p:nvSpPr>
        <p:spPr bwMode="auto">
          <a:xfrm>
            <a:off x="10731792" y="6140753"/>
            <a:ext cx="314325" cy="266700"/>
          </a:xfrm>
          <a:custGeom>
            <a:avLst/>
            <a:gdLst>
              <a:gd name="T0" fmla="*/ 79 w 81"/>
              <a:gd name="T1" fmla="*/ 0 h 69"/>
              <a:gd name="T2" fmla="*/ 72 w 81"/>
              <a:gd name="T3" fmla="*/ 5 h 69"/>
              <a:gd name="T4" fmla="*/ 71 w 81"/>
              <a:gd name="T5" fmla="*/ 7 h 69"/>
              <a:gd name="T6" fmla="*/ 69 w 81"/>
              <a:gd name="T7" fmla="*/ 7 h 69"/>
              <a:gd name="T8" fmla="*/ 65 w 81"/>
              <a:gd name="T9" fmla="*/ 10 h 69"/>
              <a:gd name="T10" fmla="*/ 63 w 81"/>
              <a:gd name="T11" fmla="*/ 14 h 69"/>
              <a:gd name="T12" fmla="*/ 60 w 81"/>
              <a:gd name="T13" fmla="*/ 16 h 69"/>
              <a:gd name="T14" fmla="*/ 55 w 81"/>
              <a:gd name="T15" fmla="*/ 19 h 69"/>
              <a:gd name="T16" fmla="*/ 54 w 81"/>
              <a:gd name="T17" fmla="*/ 20 h 69"/>
              <a:gd name="T18" fmla="*/ 49 w 81"/>
              <a:gd name="T19" fmla="*/ 23 h 69"/>
              <a:gd name="T20" fmla="*/ 47 w 81"/>
              <a:gd name="T21" fmla="*/ 24 h 69"/>
              <a:gd name="T22" fmla="*/ 43 w 81"/>
              <a:gd name="T23" fmla="*/ 26 h 69"/>
              <a:gd name="T24" fmla="*/ 39 w 81"/>
              <a:gd name="T25" fmla="*/ 27 h 69"/>
              <a:gd name="T26" fmla="*/ 34 w 81"/>
              <a:gd name="T27" fmla="*/ 28 h 69"/>
              <a:gd name="T28" fmla="*/ 29 w 81"/>
              <a:gd name="T29" fmla="*/ 29 h 69"/>
              <a:gd name="T30" fmla="*/ 24 w 81"/>
              <a:gd name="T31" fmla="*/ 30 h 69"/>
              <a:gd name="T32" fmla="*/ 20 w 81"/>
              <a:gd name="T33" fmla="*/ 31 h 69"/>
              <a:gd name="T34" fmla="*/ 17 w 81"/>
              <a:gd name="T35" fmla="*/ 41 h 69"/>
              <a:gd name="T36" fmla="*/ 10 w 81"/>
              <a:gd name="T37" fmla="*/ 43 h 69"/>
              <a:gd name="T38" fmla="*/ 8 w 81"/>
              <a:gd name="T39" fmla="*/ 47 h 69"/>
              <a:gd name="T40" fmla="*/ 3 w 81"/>
              <a:gd name="T41" fmla="*/ 49 h 69"/>
              <a:gd name="T42" fmla="*/ 0 w 81"/>
              <a:gd name="T43" fmla="*/ 51 h 69"/>
              <a:gd name="T44" fmla="*/ 3 w 81"/>
              <a:gd name="T45" fmla="*/ 55 h 69"/>
              <a:gd name="T46" fmla="*/ 5 w 81"/>
              <a:gd name="T47" fmla="*/ 59 h 69"/>
              <a:gd name="T48" fmla="*/ 8 w 81"/>
              <a:gd name="T49" fmla="*/ 63 h 69"/>
              <a:gd name="T50" fmla="*/ 11 w 81"/>
              <a:gd name="T51" fmla="*/ 65 h 69"/>
              <a:gd name="T52" fmla="*/ 13 w 81"/>
              <a:gd name="T53" fmla="*/ 65 h 69"/>
              <a:gd name="T54" fmla="*/ 19 w 81"/>
              <a:gd name="T55" fmla="*/ 66 h 69"/>
              <a:gd name="T56" fmla="*/ 24 w 81"/>
              <a:gd name="T57" fmla="*/ 65 h 69"/>
              <a:gd name="T58" fmla="*/ 31 w 81"/>
              <a:gd name="T59" fmla="*/ 67 h 69"/>
              <a:gd name="T60" fmla="*/ 34 w 81"/>
              <a:gd name="T61" fmla="*/ 64 h 69"/>
              <a:gd name="T62" fmla="*/ 36 w 81"/>
              <a:gd name="T63" fmla="*/ 61 h 69"/>
              <a:gd name="T64" fmla="*/ 40 w 81"/>
              <a:gd name="T65" fmla="*/ 59 h 69"/>
              <a:gd name="T66" fmla="*/ 46 w 81"/>
              <a:gd name="T67" fmla="*/ 56 h 69"/>
              <a:gd name="T68" fmla="*/ 50 w 81"/>
              <a:gd name="T69" fmla="*/ 53 h 69"/>
              <a:gd name="T70" fmla="*/ 52 w 81"/>
              <a:gd name="T71" fmla="*/ 50 h 69"/>
              <a:gd name="T72" fmla="*/ 53 w 81"/>
              <a:gd name="T73" fmla="*/ 44 h 69"/>
              <a:gd name="T74" fmla="*/ 66 w 81"/>
              <a:gd name="T75" fmla="*/ 40 h 69"/>
              <a:gd name="T76" fmla="*/ 68 w 81"/>
              <a:gd name="T77" fmla="*/ 37 h 69"/>
              <a:gd name="T78" fmla="*/ 64 w 81"/>
              <a:gd name="T79" fmla="*/ 32 h 69"/>
              <a:gd name="T80" fmla="*/ 60 w 81"/>
              <a:gd name="T81" fmla="*/ 26 h 69"/>
              <a:gd name="T82" fmla="*/ 62 w 81"/>
              <a:gd name="T83" fmla="*/ 24 h 69"/>
              <a:gd name="T84" fmla="*/ 64 w 81"/>
              <a:gd name="T85" fmla="*/ 21 h 69"/>
              <a:gd name="T86" fmla="*/ 70 w 81"/>
              <a:gd name="T87" fmla="*/ 14 h 69"/>
              <a:gd name="T88" fmla="*/ 72 w 81"/>
              <a:gd name="T89" fmla="*/ 13 h 69"/>
              <a:gd name="T90" fmla="*/ 75 w 81"/>
              <a:gd name="T91" fmla="*/ 8 h 69"/>
              <a:gd name="T92" fmla="*/ 79 w 81"/>
              <a:gd name="T93" fmla="*/ 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 h="69">
                <a:moveTo>
                  <a:pt x="79" y="0"/>
                </a:moveTo>
                <a:cubicBezTo>
                  <a:pt x="79" y="0"/>
                  <a:pt x="79" y="0"/>
                  <a:pt x="79" y="0"/>
                </a:cubicBezTo>
                <a:cubicBezTo>
                  <a:pt x="79" y="0"/>
                  <a:pt x="79" y="0"/>
                  <a:pt x="79" y="0"/>
                </a:cubicBezTo>
                <a:cubicBezTo>
                  <a:pt x="77" y="0"/>
                  <a:pt x="77" y="1"/>
                  <a:pt x="76" y="1"/>
                </a:cubicBezTo>
                <a:cubicBezTo>
                  <a:pt x="76" y="1"/>
                  <a:pt x="76" y="2"/>
                  <a:pt x="76" y="2"/>
                </a:cubicBezTo>
                <a:cubicBezTo>
                  <a:pt x="74" y="3"/>
                  <a:pt x="73" y="4"/>
                  <a:pt x="72" y="5"/>
                </a:cubicBezTo>
                <a:cubicBezTo>
                  <a:pt x="72" y="5"/>
                  <a:pt x="72" y="5"/>
                  <a:pt x="72" y="5"/>
                </a:cubicBezTo>
                <a:cubicBezTo>
                  <a:pt x="71" y="5"/>
                  <a:pt x="71" y="6"/>
                  <a:pt x="71" y="6"/>
                </a:cubicBezTo>
                <a:cubicBezTo>
                  <a:pt x="71" y="6"/>
                  <a:pt x="71" y="6"/>
                  <a:pt x="71" y="7"/>
                </a:cubicBezTo>
                <a:cubicBezTo>
                  <a:pt x="71" y="7"/>
                  <a:pt x="70" y="7"/>
                  <a:pt x="70" y="7"/>
                </a:cubicBezTo>
                <a:cubicBezTo>
                  <a:pt x="70" y="7"/>
                  <a:pt x="70" y="7"/>
                  <a:pt x="70" y="7"/>
                </a:cubicBezTo>
                <a:cubicBezTo>
                  <a:pt x="70" y="7"/>
                  <a:pt x="70" y="7"/>
                  <a:pt x="69" y="7"/>
                </a:cubicBezTo>
                <a:cubicBezTo>
                  <a:pt x="69" y="8"/>
                  <a:pt x="68" y="9"/>
                  <a:pt x="67" y="10"/>
                </a:cubicBezTo>
                <a:cubicBezTo>
                  <a:pt x="67" y="10"/>
                  <a:pt x="67" y="10"/>
                  <a:pt x="67" y="10"/>
                </a:cubicBezTo>
                <a:cubicBezTo>
                  <a:pt x="66" y="10"/>
                  <a:pt x="66" y="10"/>
                  <a:pt x="65" y="10"/>
                </a:cubicBezTo>
                <a:cubicBezTo>
                  <a:pt x="64" y="11"/>
                  <a:pt x="64" y="11"/>
                  <a:pt x="64" y="12"/>
                </a:cubicBezTo>
                <a:cubicBezTo>
                  <a:pt x="64" y="13"/>
                  <a:pt x="64" y="13"/>
                  <a:pt x="63" y="13"/>
                </a:cubicBezTo>
                <a:cubicBezTo>
                  <a:pt x="63" y="14"/>
                  <a:pt x="63" y="14"/>
                  <a:pt x="63" y="14"/>
                </a:cubicBezTo>
                <a:cubicBezTo>
                  <a:pt x="62" y="14"/>
                  <a:pt x="62" y="14"/>
                  <a:pt x="62" y="15"/>
                </a:cubicBezTo>
                <a:cubicBezTo>
                  <a:pt x="62" y="15"/>
                  <a:pt x="61" y="15"/>
                  <a:pt x="60" y="16"/>
                </a:cubicBezTo>
                <a:cubicBezTo>
                  <a:pt x="60" y="16"/>
                  <a:pt x="60" y="16"/>
                  <a:pt x="60" y="16"/>
                </a:cubicBezTo>
                <a:cubicBezTo>
                  <a:pt x="59" y="16"/>
                  <a:pt x="59" y="16"/>
                  <a:pt x="58" y="17"/>
                </a:cubicBezTo>
                <a:cubicBezTo>
                  <a:pt x="58" y="17"/>
                  <a:pt x="58" y="17"/>
                  <a:pt x="58" y="17"/>
                </a:cubicBezTo>
                <a:cubicBezTo>
                  <a:pt x="57" y="18"/>
                  <a:pt x="56" y="19"/>
                  <a:pt x="55" y="19"/>
                </a:cubicBezTo>
                <a:cubicBezTo>
                  <a:pt x="55" y="19"/>
                  <a:pt x="55" y="20"/>
                  <a:pt x="55" y="20"/>
                </a:cubicBezTo>
                <a:cubicBezTo>
                  <a:pt x="55" y="20"/>
                  <a:pt x="55" y="20"/>
                  <a:pt x="54" y="20"/>
                </a:cubicBezTo>
                <a:cubicBezTo>
                  <a:pt x="54" y="20"/>
                  <a:pt x="54" y="20"/>
                  <a:pt x="54" y="20"/>
                </a:cubicBezTo>
                <a:cubicBezTo>
                  <a:pt x="53" y="21"/>
                  <a:pt x="52" y="21"/>
                  <a:pt x="51" y="21"/>
                </a:cubicBezTo>
                <a:cubicBezTo>
                  <a:pt x="51" y="21"/>
                  <a:pt x="51" y="22"/>
                  <a:pt x="50" y="22"/>
                </a:cubicBezTo>
                <a:cubicBezTo>
                  <a:pt x="50" y="22"/>
                  <a:pt x="50" y="22"/>
                  <a:pt x="49" y="23"/>
                </a:cubicBezTo>
                <a:cubicBezTo>
                  <a:pt x="49" y="23"/>
                  <a:pt x="49" y="23"/>
                  <a:pt x="49" y="23"/>
                </a:cubicBezTo>
                <a:cubicBezTo>
                  <a:pt x="49" y="23"/>
                  <a:pt x="48" y="23"/>
                  <a:pt x="48" y="23"/>
                </a:cubicBezTo>
                <a:cubicBezTo>
                  <a:pt x="48" y="24"/>
                  <a:pt x="47" y="23"/>
                  <a:pt x="47" y="24"/>
                </a:cubicBezTo>
                <a:cubicBezTo>
                  <a:pt x="47" y="24"/>
                  <a:pt x="46" y="24"/>
                  <a:pt x="46" y="25"/>
                </a:cubicBezTo>
                <a:cubicBezTo>
                  <a:pt x="46" y="25"/>
                  <a:pt x="46" y="25"/>
                  <a:pt x="46" y="25"/>
                </a:cubicBezTo>
                <a:cubicBezTo>
                  <a:pt x="45" y="25"/>
                  <a:pt x="44" y="26"/>
                  <a:pt x="43" y="26"/>
                </a:cubicBezTo>
                <a:cubicBezTo>
                  <a:pt x="42" y="26"/>
                  <a:pt x="42" y="26"/>
                  <a:pt x="42" y="26"/>
                </a:cubicBezTo>
                <a:cubicBezTo>
                  <a:pt x="42" y="26"/>
                  <a:pt x="41" y="26"/>
                  <a:pt x="40" y="26"/>
                </a:cubicBezTo>
                <a:cubicBezTo>
                  <a:pt x="40" y="26"/>
                  <a:pt x="40" y="27"/>
                  <a:pt x="39" y="27"/>
                </a:cubicBezTo>
                <a:cubicBezTo>
                  <a:pt x="39" y="27"/>
                  <a:pt x="39" y="27"/>
                  <a:pt x="38" y="27"/>
                </a:cubicBezTo>
                <a:cubicBezTo>
                  <a:pt x="38" y="27"/>
                  <a:pt x="38" y="27"/>
                  <a:pt x="38" y="27"/>
                </a:cubicBezTo>
                <a:cubicBezTo>
                  <a:pt x="36" y="28"/>
                  <a:pt x="36" y="28"/>
                  <a:pt x="34" y="28"/>
                </a:cubicBezTo>
                <a:cubicBezTo>
                  <a:pt x="34" y="28"/>
                  <a:pt x="34" y="28"/>
                  <a:pt x="34" y="28"/>
                </a:cubicBezTo>
                <a:cubicBezTo>
                  <a:pt x="34" y="28"/>
                  <a:pt x="34" y="28"/>
                  <a:pt x="34" y="28"/>
                </a:cubicBezTo>
                <a:cubicBezTo>
                  <a:pt x="32" y="29"/>
                  <a:pt x="31" y="29"/>
                  <a:pt x="29" y="29"/>
                </a:cubicBezTo>
                <a:cubicBezTo>
                  <a:pt x="29" y="29"/>
                  <a:pt x="28" y="29"/>
                  <a:pt x="28" y="29"/>
                </a:cubicBezTo>
                <a:cubicBezTo>
                  <a:pt x="28" y="29"/>
                  <a:pt x="28" y="29"/>
                  <a:pt x="28" y="29"/>
                </a:cubicBezTo>
                <a:cubicBezTo>
                  <a:pt x="27" y="28"/>
                  <a:pt x="25" y="30"/>
                  <a:pt x="24" y="30"/>
                </a:cubicBezTo>
                <a:cubicBezTo>
                  <a:pt x="24" y="30"/>
                  <a:pt x="24" y="30"/>
                  <a:pt x="23" y="30"/>
                </a:cubicBezTo>
                <a:cubicBezTo>
                  <a:pt x="23" y="30"/>
                  <a:pt x="23" y="30"/>
                  <a:pt x="22" y="30"/>
                </a:cubicBezTo>
                <a:cubicBezTo>
                  <a:pt x="21" y="30"/>
                  <a:pt x="21" y="30"/>
                  <a:pt x="20" y="31"/>
                </a:cubicBezTo>
                <a:cubicBezTo>
                  <a:pt x="20" y="33"/>
                  <a:pt x="21" y="34"/>
                  <a:pt x="22" y="35"/>
                </a:cubicBezTo>
                <a:cubicBezTo>
                  <a:pt x="23" y="37"/>
                  <a:pt x="22" y="39"/>
                  <a:pt x="22" y="40"/>
                </a:cubicBezTo>
                <a:cubicBezTo>
                  <a:pt x="20" y="40"/>
                  <a:pt x="18" y="40"/>
                  <a:pt x="17" y="41"/>
                </a:cubicBezTo>
                <a:cubicBezTo>
                  <a:pt x="15" y="41"/>
                  <a:pt x="11" y="40"/>
                  <a:pt x="11" y="42"/>
                </a:cubicBezTo>
                <a:cubicBezTo>
                  <a:pt x="11" y="42"/>
                  <a:pt x="11" y="42"/>
                  <a:pt x="11" y="42"/>
                </a:cubicBezTo>
                <a:cubicBezTo>
                  <a:pt x="10" y="43"/>
                  <a:pt x="10" y="43"/>
                  <a:pt x="10" y="43"/>
                </a:cubicBezTo>
                <a:cubicBezTo>
                  <a:pt x="10" y="44"/>
                  <a:pt x="9" y="44"/>
                  <a:pt x="8" y="46"/>
                </a:cubicBezTo>
                <a:cubicBezTo>
                  <a:pt x="8" y="46"/>
                  <a:pt x="8" y="46"/>
                  <a:pt x="8" y="46"/>
                </a:cubicBezTo>
                <a:cubicBezTo>
                  <a:pt x="8" y="47"/>
                  <a:pt x="8" y="47"/>
                  <a:pt x="8" y="47"/>
                </a:cubicBezTo>
                <a:cubicBezTo>
                  <a:pt x="8" y="47"/>
                  <a:pt x="8" y="47"/>
                  <a:pt x="8" y="47"/>
                </a:cubicBezTo>
                <a:cubicBezTo>
                  <a:pt x="7" y="50"/>
                  <a:pt x="5" y="50"/>
                  <a:pt x="4" y="49"/>
                </a:cubicBezTo>
                <a:cubicBezTo>
                  <a:pt x="4" y="49"/>
                  <a:pt x="3" y="49"/>
                  <a:pt x="3" y="49"/>
                </a:cubicBezTo>
                <a:cubicBezTo>
                  <a:pt x="3" y="49"/>
                  <a:pt x="2" y="48"/>
                  <a:pt x="1" y="49"/>
                </a:cubicBezTo>
                <a:cubicBezTo>
                  <a:pt x="1" y="50"/>
                  <a:pt x="0" y="50"/>
                  <a:pt x="0" y="50"/>
                </a:cubicBezTo>
                <a:cubicBezTo>
                  <a:pt x="0" y="51"/>
                  <a:pt x="0" y="51"/>
                  <a:pt x="0" y="51"/>
                </a:cubicBezTo>
                <a:cubicBezTo>
                  <a:pt x="0" y="52"/>
                  <a:pt x="2" y="53"/>
                  <a:pt x="2" y="54"/>
                </a:cubicBezTo>
                <a:cubicBezTo>
                  <a:pt x="2" y="54"/>
                  <a:pt x="2" y="54"/>
                  <a:pt x="2" y="54"/>
                </a:cubicBezTo>
                <a:cubicBezTo>
                  <a:pt x="2" y="55"/>
                  <a:pt x="2" y="55"/>
                  <a:pt x="3" y="55"/>
                </a:cubicBezTo>
                <a:cubicBezTo>
                  <a:pt x="3" y="55"/>
                  <a:pt x="3" y="55"/>
                  <a:pt x="3" y="56"/>
                </a:cubicBezTo>
                <a:cubicBezTo>
                  <a:pt x="3" y="56"/>
                  <a:pt x="4" y="56"/>
                  <a:pt x="4" y="56"/>
                </a:cubicBezTo>
                <a:cubicBezTo>
                  <a:pt x="4" y="57"/>
                  <a:pt x="4" y="58"/>
                  <a:pt x="5" y="59"/>
                </a:cubicBezTo>
                <a:cubicBezTo>
                  <a:pt x="5" y="59"/>
                  <a:pt x="5" y="59"/>
                  <a:pt x="5" y="59"/>
                </a:cubicBezTo>
                <a:cubicBezTo>
                  <a:pt x="6" y="60"/>
                  <a:pt x="7" y="61"/>
                  <a:pt x="7" y="62"/>
                </a:cubicBezTo>
                <a:cubicBezTo>
                  <a:pt x="8" y="62"/>
                  <a:pt x="8" y="63"/>
                  <a:pt x="8" y="63"/>
                </a:cubicBezTo>
                <a:cubicBezTo>
                  <a:pt x="8" y="63"/>
                  <a:pt x="8" y="63"/>
                  <a:pt x="8" y="63"/>
                </a:cubicBezTo>
                <a:cubicBezTo>
                  <a:pt x="8" y="63"/>
                  <a:pt x="8" y="63"/>
                  <a:pt x="8" y="63"/>
                </a:cubicBezTo>
                <a:cubicBezTo>
                  <a:pt x="9" y="65"/>
                  <a:pt x="9" y="65"/>
                  <a:pt x="11" y="65"/>
                </a:cubicBezTo>
                <a:cubicBezTo>
                  <a:pt x="11" y="65"/>
                  <a:pt x="11" y="65"/>
                  <a:pt x="11" y="65"/>
                </a:cubicBezTo>
                <a:cubicBezTo>
                  <a:pt x="12" y="65"/>
                  <a:pt x="12" y="65"/>
                  <a:pt x="13" y="65"/>
                </a:cubicBezTo>
                <a:cubicBezTo>
                  <a:pt x="13" y="65"/>
                  <a:pt x="13" y="65"/>
                  <a:pt x="13" y="65"/>
                </a:cubicBezTo>
                <a:cubicBezTo>
                  <a:pt x="15" y="65"/>
                  <a:pt x="16" y="66"/>
                  <a:pt x="17" y="66"/>
                </a:cubicBezTo>
                <a:cubicBezTo>
                  <a:pt x="18" y="66"/>
                  <a:pt x="18" y="66"/>
                  <a:pt x="18" y="66"/>
                </a:cubicBezTo>
                <a:cubicBezTo>
                  <a:pt x="18" y="66"/>
                  <a:pt x="19" y="66"/>
                  <a:pt x="19" y="66"/>
                </a:cubicBezTo>
                <a:cubicBezTo>
                  <a:pt x="20" y="66"/>
                  <a:pt x="19" y="67"/>
                  <a:pt x="20" y="67"/>
                </a:cubicBezTo>
                <a:cubicBezTo>
                  <a:pt x="20" y="67"/>
                  <a:pt x="21" y="67"/>
                  <a:pt x="21" y="67"/>
                </a:cubicBezTo>
                <a:cubicBezTo>
                  <a:pt x="23" y="67"/>
                  <a:pt x="22" y="65"/>
                  <a:pt x="24" y="65"/>
                </a:cubicBezTo>
                <a:cubicBezTo>
                  <a:pt x="26" y="66"/>
                  <a:pt x="26" y="64"/>
                  <a:pt x="28" y="65"/>
                </a:cubicBezTo>
                <a:cubicBezTo>
                  <a:pt x="28" y="65"/>
                  <a:pt x="29" y="65"/>
                  <a:pt x="29" y="65"/>
                </a:cubicBezTo>
                <a:cubicBezTo>
                  <a:pt x="30" y="65"/>
                  <a:pt x="29" y="68"/>
                  <a:pt x="31" y="67"/>
                </a:cubicBezTo>
                <a:cubicBezTo>
                  <a:pt x="32" y="68"/>
                  <a:pt x="33" y="68"/>
                  <a:pt x="34" y="69"/>
                </a:cubicBezTo>
                <a:cubicBezTo>
                  <a:pt x="34" y="67"/>
                  <a:pt x="35" y="67"/>
                  <a:pt x="35" y="65"/>
                </a:cubicBezTo>
                <a:cubicBezTo>
                  <a:pt x="34" y="65"/>
                  <a:pt x="34" y="64"/>
                  <a:pt x="34" y="64"/>
                </a:cubicBezTo>
                <a:cubicBezTo>
                  <a:pt x="34" y="63"/>
                  <a:pt x="34" y="63"/>
                  <a:pt x="34" y="63"/>
                </a:cubicBezTo>
                <a:cubicBezTo>
                  <a:pt x="35" y="62"/>
                  <a:pt x="35" y="61"/>
                  <a:pt x="36" y="60"/>
                </a:cubicBezTo>
                <a:cubicBezTo>
                  <a:pt x="36" y="60"/>
                  <a:pt x="36" y="61"/>
                  <a:pt x="36" y="61"/>
                </a:cubicBezTo>
                <a:cubicBezTo>
                  <a:pt x="36" y="61"/>
                  <a:pt x="36" y="61"/>
                  <a:pt x="36" y="61"/>
                </a:cubicBezTo>
                <a:cubicBezTo>
                  <a:pt x="37" y="60"/>
                  <a:pt x="38" y="59"/>
                  <a:pt x="40" y="59"/>
                </a:cubicBezTo>
                <a:cubicBezTo>
                  <a:pt x="40" y="59"/>
                  <a:pt x="40" y="59"/>
                  <a:pt x="40" y="59"/>
                </a:cubicBezTo>
                <a:cubicBezTo>
                  <a:pt x="40" y="59"/>
                  <a:pt x="41" y="59"/>
                  <a:pt x="42" y="58"/>
                </a:cubicBezTo>
                <a:cubicBezTo>
                  <a:pt x="42" y="58"/>
                  <a:pt x="42" y="58"/>
                  <a:pt x="42" y="58"/>
                </a:cubicBezTo>
                <a:cubicBezTo>
                  <a:pt x="44" y="57"/>
                  <a:pt x="45" y="57"/>
                  <a:pt x="46" y="56"/>
                </a:cubicBezTo>
                <a:cubicBezTo>
                  <a:pt x="46" y="56"/>
                  <a:pt x="46" y="56"/>
                  <a:pt x="46" y="56"/>
                </a:cubicBezTo>
                <a:cubicBezTo>
                  <a:pt x="46" y="56"/>
                  <a:pt x="46" y="56"/>
                  <a:pt x="46" y="56"/>
                </a:cubicBezTo>
                <a:cubicBezTo>
                  <a:pt x="48" y="55"/>
                  <a:pt x="48" y="53"/>
                  <a:pt x="50" y="53"/>
                </a:cubicBezTo>
                <a:cubicBezTo>
                  <a:pt x="50" y="53"/>
                  <a:pt x="50" y="53"/>
                  <a:pt x="50" y="53"/>
                </a:cubicBezTo>
                <a:cubicBezTo>
                  <a:pt x="52" y="52"/>
                  <a:pt x="51" y="51"/>
                  <a:pt x="52" y="50"/>
                </a:cubicBezTo>
                <a:cubicBezTo>
                  <a:pt x="52" y="50"/>
                  <a:pt x="52" y="50"/>
                  <a:pt x="52" y="50"/>
                </a:cubicBezTo>
                <a:cubicBezTo>
                  <a:pt x="52" y="49"/>
                  <a:pt x="53" y="49"/>
                  <a:pt x="53" y="47"/>
                </a:cubicBezTo>
                <a:cubicBezTo>
                  <a:pt x="53" y="47"/>
                  <a:pt x="53" y="47"/>
                  <a:pt x="53" y="47"/>
                </a:cubicBezTo>
                <a:cubicBezTo>
                  <a:pt x="53" y="46"/>
                  <a:pt x="53" y="45"/>
                  <a:pt x="53" y="44"/>
                </a:cubicBezTo>
                <a:cubicBezTo>
                  <a:pt x="54" y="44"/>
                  <a:pt x="54" y="43"/>
                  <a:pt x="55" y="42"/>
                </a:cubicBezTo>
                <a:cubicBezTo>
                  <a:pt x="58" y="41"/>
                  <a:pt x="58" y="42"/>
                  <a:pt x="61" y="42"/>
                </a:cubicBezTo>
                <a:cubicBezTo>
                  <a:pt x="63" y="41"/>
                  <a:pt x="64" y="40"/>
                  <a:pt x="66" y="40"/>
                </a:cubicBezTo>
                <a:cubicBezTo>
                  <a:pt x="67" y="40"/>
                  <a:pt x="68" y="39"/>
                  <a:pt x="69" y="39"/>
                </a:cubicBezTo>
                <a:cubicBezTo>
                  <a:pt x="69" y="38"/>
                  <a:pt x="69" y="38"/>
                  <a:pt x="68" y="37"/>
                </a:cubicBezTo>
                <a:cubicBezTo>
                  <a:pt x="68" y="38"/>
                  <a:pt x="68" y="37"/>
                  <a:pt x="68" y="37"/>
                </a:cubicBezTo>
                <a:cubicBezTo>
                  <a:pt x="67" y="36"/>
                  <a:pt x="67" y="36"/>
                  <a:pt x="66" y="35"/>
                </a:cubicBezTo>
                <a:cubicBezTo>
                  <a:pt x="66" y="35"/>
                  <a:pt x="66" y="35"/>
                  <a:pt x="66" y="35"/>
                </a:cubicBezTo>
                <a:cubicBezTo>
                  <a:pt x="65" y="34"/>
                  <a:pt x="64" y="34"/>
                  <a:pt x="64" y="32"/>
                </a:cubicBezTo>
                <a:cubicBezTo>
                  <a:pt x="61" y="32"/>
                  <a:pt x="60" y="30"/>
                  <a:pt x="59" y="28"/>
                </a:cubicBezTo>
                <a:cubicBezTo>
                  <a:pt x="59" y="27"/>
                  <a:pt x="59" y="27"/>
                  <a:pt x="60" y="26"/>
                </a:cubicBezTo>
                <a:cubicBezTo>
                  <a:pt x="60" y="26"/>
                  <a:pt x="60" y="26"/>
                  <a:pt x="60" y="26"/>
                </a:cubicBezTo>
                <a:cubicBezTo>
                  <a:pt x="60" y="26"/>
                  <a:pt x="60" y="26"/>
                  <a:pt x="61" y="26"/>
                </a:cubicBezTo>
                <a:cubicBezTo>
                  <a:pt x="61" y="25"/>
                  <a:pt x="61" y="25"/>
                  <a:pt x="61" y="25"/>
                </a:cubicBezTo>
                <a:cubicBezTo>
                  <a:pt x="61" y="25"/>
                  <a:pt x="62" y="25"/>
                  <a:pt x="62" y="24"/>
                </a:cubicBezTo>
                <a:cubicBezTo>
                  <a:pt x="62" y="24"/>
                  <a:pt x="62" y="24"/>
                  <a:pt x="63" y="24"/>
                </a:cubicBezTo>
                <a:cubicBezTo>
                  <a:pt x="63" y="23"/>
                  <a:pt x="65" y="23"/>
                  <a:pt x="64" y="21"/>
                </a:cubicBezTo>
                <a:cubicBezTo>
                  <a:pt x="64" y="21"/>
                  <a:pt x="64" y="21"/>
                  <a:pt x="64" y="21"/>
                </a:cubicBezTo>
                <a:cubicBezTo>
                  <a:pt x="64" y="20"/>
                  <a:pt x="65" y="20"/>
                  <a:pt x="65" y="19"/>
                </a:cubicBezTo>
                <a:cubicBezTo>
                  <a:pt x="67" y="19"/>
                  <a:pt x="67" y="17"/>
                  <a:pt x="69" y="16"/>
                </a:cubicBezTo>
                <a:cubicBezTo>
                  <a:pt x="69" y="15"/>
                  <a:pt x="70" y="15"/>
                  <a:pt x="70" y="14"/>
                </a:cubicBezTo>
                <a:cubicBezTo>
                  <a:pt x="70" y="14"/>
                  <a:pt x="70" y="14"/>
                  <a:pt x="71" y="14"/>
                </a:cubicBezTo>
                <a:cubicBezTo>
                  <a:pt x="71" y="14"/>
                  <a:pt x="71" y="14"/>
                  <a:pt x="71" y="13"/>
                </a:cubicBezTo>
                <a:cubicBezTo>
                  <a:pt x="71" y="13"/>
                  <a:pt x="72" y="13"/>
                  <a:pt x="72" y="13"/>
                </a:cubicBezTo>
                <a:cubicBezTo>
                  <a:pt x="71" y="12"/>
                  <a:pt x="72" y="12"/>
                  <a:pt x="73" y="11"/>
                </a:cubicBezTo>
                <a:cubicBezTo>
                  <a:pt x="73" y="11"/>
                  <a:pt x="73" y="11"/>
                  <a:pt x="73" y="11"/>
                </a:cubicBezTo>
                <a:cubicBezTo>
                  <a:pt x="74" y="10"/>
                  <a:pt x="75" y="9"/>
                  <a:pt x="75" y="8"/>
                </a:cubicBezTo>
                <a:cubicBezTo>
                  <a:pt x="75" y="8"/>
                  <a:pt x="75" y="8"/>
                  <a:pt x="75" y="8"/>
                </a:cubicBezTo>
                <a:cubicBezTo>
                  <a:pt x="76" y="7"/>
                  <a:pt x="76" y="6"/>
                  <a:pt x="77" y="5"/>
                </a:cubicBezTo>
                <a:cubicBezTo>
                  <a:pt x="78" y="5"/>
                  <a:pt x="78" y="4"/>
                  <a:pt x="79" y="3"/>
                </a:cubicBezTo>
                <a:cubicBezTo>
                  <a:pt x="79" y="2"/>
                  <a:pt x="81" y="0"/>
                  <a:pt x="79" y="0"/>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1" name="Freeform 89"/>
          <p:cNvSpPr>
            <a:spLocks noEditPoints="1"/>
          </p:cNvSpPr>
          <p:nvPr/>
        </p:nvSpPr>
        <p:spPr bwMode="auto">
          <a:xfrm>
            <a:off x="7998117" y="4661203"/>
            <a:ext cx="741363" cy="709613"/>
          </a:xfrm>
          <a:custGeom>
            <a:avLst/>
            <a:gdLst>
              <a:gd name="T0" fmla="*/ 47 w 192"/>
              <a:gd name="T1" fmla="*/ 96 h 183"/>
              <a:gd name="T2" fmla="*/ 52 w 192"/>
              <a:gd name="T3" fmla="*/ 110 h 183"/>
              <a:gd name="T4" fmla="*/ 41 w 192"/>
              <a:gd name="T5" fmla="*/ 76 h 183"/>
              <a:gd name="T6" fmla="*/ 25 w 192"/>
              <a:gd name="T7" fmla="*/ 90 h 183"/>
              <a:gd name="T8" fmla="*/ 29 w 192"/>
              <a:gd name="T9" fmla="*/ 74 h 183"/>
              <a:gd name="T10" fmla="*/ 36 w 192"/>
              <a:gd name="T11" fmla="*/ 96 h 183"/>
              <a:gd name="T12" fmla="*/ 29 w 192"/>
              <a:gd name="T13" fmla="*/ 88 h 183"/>
              <a:gd name="T14" fmla="*/ 112 w 192"/>
              <a:gd name="T15" fmla="*/ 171 h 183"/>
              <a:gd name="T16" fmla="*/ 115 w 192"/>
              <a:gd name="T17" fmla="*/ 155 h 183"/>
              <a:gd name="T18" fmla="*/ 97 w 192"/>
              <a:gd name="T19" fmla="*/ 152 h 183"/>
              <a:gd name="T20" fmla="*/ 185 w 192"/>
              <a:gd name="T21" fmla="*/ 52 h 183"/>
              <a:gd name="T22" fmla="*/ 174 w 192"/>
              <a:gd name="T23" fmla="*/ 31 h 183"/>
              <a:gd name="T24" fmla="*/ 165 w 192"/>
              <a:gd name="T25" fmla="*/ 22 h 183"/>
              <a:gd name="T26" fmla="*/ 143 w 192"/>
              <a:gd name="T27" fmla="*/ 30 h 183"/>
              <a:gd name="T28" fmla="*/ 131 w 192"/>
              <a:gd name="T29" fmla="*/ 26 h 183"/>
              <a:gd name="T30" fmla="*/ 115 w 192"/>
              <a:gd name="T31" fmla="*/ 17 h 183"/>
              <a:gd name="T32" fmla="*/ 112 w 192"/>
              <a:gd name="T33" fmla="*/ 16 h 183"/>
              <a:gd name="T34" fmla="*/ 95 w 192"/>
              <a:gd name="T35" fmla="*/ 1 h 183"/>
              <a:gd name="T36" fmla="*/ 70 w 192"/>
              <a:gd name="T37" fmla="*/ 20 h 183"/>
              <a:gd name="T38" fmla="*/ 68 w 192"/>
              <a:gd name="T39" fmla="*/ 34 h 183"/>
              <a:gd name="T40" fmla="*/ 45 w 192"/>
              <a:gd name="T41" fmla="*/ 47 h 183"/>
              <a:gd name="T42" fmla="*/ 23 w 192"/>
              <a:gd name="T43" fmla="*/ 52 h 183"/>
              <a:gd name="T44" fmla="*/ 1 w 192"/>
              <a:gd name="T45" fmla="*/ 57 h 183"/>
              <a:gd name="T46" fmla="*/ 19 w 192"/>
              <a:gd name="T47" fmla="*/ 79 h 183"/>
              <a:gd name="T48" fmla="*/ 38 w 192"/>
              <a:gd name="T49" fmla="*/ 63 h 183"/>
              <a:gd name="T50" fmla="*/ 47 w 192"/>
              <a:gd name="T51" fmla="*/ 86 h 183"/>
              <a:gd name="T52" fmla="*/ 65 w 192"/>
              <a:gd name="T53" fmla="*/ 105 h 183"/>
              <a:gd name="T54" fmla="*/ 52 w 192"/>
              <a:gd name="T55" fmla="*/ 96 h 183"/>
              <a:gd name="T56" fmla="*/ 47 w 192"/>
              <a:gd name="T57" fmla="*/ 88 h 183"/>
              <a:gd name="T58" fmla="*/ 48 w 192"/>
              <a:gd name="T59" fmla="*/ 95 h 183"/>
              <a:gd name="T60" fmla="*/ 56 w 192"/>
              <a:gd name="T61" fmla="*/ 111 h 183"/>
              <a:gd name="T62" fmla="*/ 71 w 192"/>
              <a:gd name="T63" fmla="*/ 123 h 183"/>
              <a:gd name="T64" fmla="*/ 86 w 192"/>
              <a:gd name="T65" fmla="*/ 139 h 183"/>
              <a:gd name="T66" fmla="*/ 111 w 192"/>
              <a:gd name="T67" fmla="*/ 142 h 183"/>
              <a:gd name="T68" fmla="*/ 137 w 192"/>
              <a:gd name="T69" fmla="*/ 160 h 183"/>
              <a:gd name="T70" fmla="*/ 132 w 192"/>
              <a:gd name="T71" fmla="*/ 159 h 183"/>
              <a:gd name="T72" fmla="*/ 134 w 192"/>
              <a:gd name="T73" fmla="*/ 164 h 183"/>
              <a:gd name="T74" fmla="*/ 155 w 192"/>
              <a:gd name="T75" fmla="*/ 173 h 183"/>
              <a:gd name="T76" fmla="*/ 166 w 192"/>
              <a:gd name="T77" fmla="*/ 181 h 183"/>
              <a:gd name="T78" fmla="*/ 151 w 192"/>
              <a:gd name="T79" fmla="*/ 169 h 183"/>
              <a:gd name="T80" fmla="*/ 139 w 192"/>
              <a:gd name="T81" fmla="*/ 155 h 183"/>
              <a:gd name="T82" fmla="*/ 134 w 192"/>
              <a:gd name="T83" fmla="*/ 152 h 183"/>
              <a:gd name="T84" fmla="*/ 113 w 192"/>
              <a:gd name="T85" fmla="*/ 129 h 183"/>
              <a:gd name="T86" fmla="*/ 90 w 192"/>
              <a:gd name="T87" fmla="*/ 99 h 183"/>
              <a:gd name="T88" fmla="*/ 86 w 192"/>
              <a:gd name="T89" fmla="*/ 91 h 183"/>
              <a:gd name="T90" fmla="*/ 75 w 192"/>
              <a:gd name="T91" fmla="*/ 81 h 183"/>
              <a:gd name="T92" fmla="*/ 85 w 192"/>
              <a:gd name="T93" fmla="*/ 68 h 183"/>
              <a:gd name="T94" fmla="*/ 106 w 192"/>
              <a:gd name="T95" fmla="*/ 63 h 183"/>
              <a:gd name="T96" fmla="*/ 127 w 192"/>
              <a:gd name="T97" fmla="*/ 65 h 183"/>
              <a:gd name="T98" fmla="*/ 163 w 192"/>
              <a:gd name="T99" fmla="*/ 66 h 183"/>
              <a:gd name="T100" fmla="*/ 183 w 192"/>
              <a:gd name="T101" fmla="*/ 71 h 183"/>
              <a:gd name="T102" fmla="*/ 77 w 192"/>
              <a:gd name="T103" fmla="*/ 45 h 183"/>
              <a:gd name="T104" fmla="*/ 89 w 192"/>
              <a:gd name="T105" fmla="*/ 35 h 183"/>
              <a:gd name="T106" fmla="*/ 100 w 192"/>
              <a:gd name="T107" fmla="*/ 26 h 183"/>
              <a:gd name="T108" fmla="*/ 124 w 192"/>
              <a:gd name="T109" fmla="*/ 163 h 183"/>
              <a:gd name="T110" fmla="*/ 113 w 192"/>
              <a:gd name="T111" fmla="*/ 166 h 183"/>
              <a:gd name="T112" fmla="*/ 145 w 192"/>
              <a:gd name="T113" fmla="*/ 172 h 183"/>
              <a:gd name="T114" fmla="*/ 52 w 192"/>
              <a:gd name="T115" fmla="*/ 119 h 183"/>
              <a:gd name="T116" fmla="*/ 73 w 192"/>
              <a:gd name="T117" fmla="*/ 128 h 183"/>
              <a:gd name="T118" fmla="*/ 91 w 192"/>
              <a:gd name="T119" fmla="*/ 1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 h="183">
                <a:moveTo>
                  <a:pt x="43" y="98"/>
                </a:moveTo>
                <a:cubicBezTo>
                  <a:pt x="43" y="99"/>
                  <a:pt x="43" y="102"/>
                  <a:pt x="45" y="102"/>
                </a:cubicBezTo>
                <a:cubicBezTo>
                  <a:pt x="46" y="101"/>
                  <a:pt x="46" y="97"/>
                  <a:pt x="43" y="98"/>
                </a:cubicBezTo>
                <a:close/>
                <a:moveTo>
                  <a:pt x="45" y="104"/>
                </a:moveTo>
                <a:cubicBezTo>
                  <a:pt x="44" y="104"/>
                  <a:pt x="44" y="103"/>
                  <a:pt x="42" y="103"/>
                </a:cubicBezTo>
                <a:cubicBezTo>
                  <a:pt x="43" y="104"/>
                  <a:pt x="42" y="106"/>
                  <a:pt x="43" y="106"/>
                </a:cubicBezTo>
                <a:cubicBezTo>
                  <a:pt x="43" y="104"/>
                  <a:pt x="45" y="105"/>
                  <a:pt x="45" y="104"/>
                </a:cubicBezTo>
                <a:close/>
                <a:moveTo>
                  <a:pt x="54" y="116"/>
                </a:moveTo>
                <a:cubicBezTo>
                  <a:pt x="55" y="116"/>
                  <a:pt x="55" y="117"/>
                  <a:pt x="56" y="116"/>
                </a:cubicBezTo>
                <a:cubicBezTo>
                  <a:pt x="56" y="116"/>
                  <a:pt x="56" y="115"/>
                  <a:pt x="56" y="116"/>
                </a:cubicBezTo>
                <a:cubicBezTo>
                  <a:pt x="57" y="115"/>
                  <a:pt x="56" y="115"/>
                  <a:pt x="56" y="115"/>
                </a:cubicBezTo>
                <a:cubicBezTo>
                  <a:pt x="55" y="114"/>
                  <a:pt x="55" y="113"/>
                  <a:pt x="53" y="113"/>
                </a:cubicBezTo>
                <a:cubicBezTo>
                  <a:pt x="53" y="114"/>
                  <a:pt x="54" y="114"/>
                  <a:pt x="54" y="116"/>
                </a:cubicBezTo>
                <a:cubicBezTo>
                  <a:pt x="54" y="116"/>
                  <a:pt x="54" y="116"/>
                  <a:pt x="54" y="116"/>
                </a:cubicBezTo>
                <a:close/>
                <a:moveTo>
                  <a:pt x="47" y="96"/>
                </a:moveTo>
                <a:cubicBezTo>
                  <a:pt x="47" y="97"/>
                  <a:pt x="50" y="100"/>
                  <a:pt x="49" y="97"/>
                </a:cubicBezTo>
                <a:cubicBezTo>
                  <a:pt x="49" y="97"/>
                  <a:pt x="49" y="97"/>
                  <a:pt x="49" y="96"/>
                </a:cubicBezTo>
                <a:cubicBezTo>
                  <a:pt x="48" y="96"/>
                  <a:pt x="47" y="96"/>
                  <a:pt x="47" y="96"/>
                </a:cubicBezTo>
                <a:close/>
                <a:moveTo>
                  <a:pt x="39" y="99"/>
                </a:moveTo>
                <a:cubicBezTo>
                  <a:pt x="40" y="99"/>
                  <a:pt x="40" y="102"/>
                  <a:pt x="42" y="101"/>
                </a:cubicBezTo>
                <a:cubicBezTo>
                  <a:pt x="43" y="99"/>
                  <a:pt x="40" y="97"/>
                  <a:pt x="39" y="99"/>
                </a:cubicBezTo>
                <a:close/>
                <a:moveTo>
                  <a:pt x="47" y="108"/>
                </a:moveTo>
                <a:cubicBezTo>
                  <a:pt x="47" y="106"/>
                  <a:pt x="47" y="105"/>
                  <a:pt x="46" y="105"/>
                </a:cubicBezTo>
                <a:cubicBezTo>
                  <a:pt x="46" y="105"/>
                  <a:pt x="45" y="105"/>
                  <a:pt x="45" y="105"/>
                </a:cubicBezTo>
                <a:cubicBezTo>
                  <a:pt x="45" y="106"/>
                  <a:pt x="44" y="108"/>
                  <a:pt x="45" y="108"/>
                </a:cubicBezTo>
                <a:cubicBezTo>
                  <a:pt x="45" y="107"/>
                  <a:pt x="47" y="108"/>
                  <a:pt x="47" y="108"/>
                </a:cubicBezTo>
                <a:close/>
                <a:moveTo>
                  <a:pt x="52" y="110"/>
                </a:moveTo>
                <a:cubicBezTo>
                  <a:pt x="52" y="108"/>
                  <a:pt x="51" y="107"/>
                  <a:pt x="49" y="107"/>
                </a:cubicBezTo>
                <a:cubicBezTo>
                  <a:pt x="49" y="108"/>
                  <a:pt x="50" y="109"/>
                  <a:pt x="50" y="109"/>
                </a:cubicBezTo>
                <a:cubicBezTo>
                  <a:pt x="50" y="110"/>
                  <a:pt x="51" y="110"/>
                  <a:pt x="52" y="110"/>
                </a:cubicBezTo>
                <a:close/>
                <a:moveTo>
                  <a:pt x="46" y="86"/>
                </a:moveTo>
                <a:cubicBezTo>
                  <a:pt x="46" y="85"/>
                  <a:pt x="46" y="84"/>
                  <a:pt x="46" y="83"/>
                </a:cubicBezTo>
                <a:cubicBezTo>
                  <a:pt x="46" y="83"/>
                  <a:pt x="46" y="83"/>
                  <a:pt x="46" y="82"/>
                </a:cubicBezTo>
                <a:cubicBezTo>
                  <a:pt x="45" y="82"/>
                  <a:pt x="45" y="82"/>
                  <a:pt x="45" y="81"/>
                </a:cubicBezTo>
                <a:cubicBezTo>
                  <a:pt x="45" y="81"/>
                  <a:pt x="44" y="81"/>
                  <a:pt x="45" y="80"/>
                </a:cubicBezTo>
                <a:cubicBezTo>
                  <a:pt x="42" y="81"/>
                  <a:pt x="44" y="78"/>
                  <a:pt x="42" y="78"/>
                </a:cubicBezTo>
                <a:cubicBezTo>
                  <a:pt x="40" y="78"/>
                  <a:pt x="40" y="80"/>
                  <a:pt x="40" y="81"/>
                </a:cubicBezTo>
                <a:cubicBezTo>
                  <a:pt x="39" y="82"/>
                  <a:pt x="40" y="82"/>
                  <a:pt x="40" y="83"/>
                </a:cubicBezTo>
                <a:cubicBezTo>
                  <a:pt x="41" y="83"/>
                  <a:pt x="42" y="83"/>
                  <a:pt x="42" y="84"/>
                </a:cubicBezTo>
                <a:cubicBezTo>
                  <a:pt x="44" y="84"/>
                  <a:pt x="45" y="85"/>
                  <a:pt x="46" y="86"/>
                </a:cubicBezTo>
                <a:close/>
                <a:moveTo>
                  <a:pt x="32" y="70"/>
                </a:moveTo>
                <a:cubicBezTo>
                  <a:pt x="34" y="70"/>
                  <a:pt x="35" y="71"/>
                  <a:pt x="36" y="71"/>
                </a:cubicBezTo>
                <a:cubicBezTo>
                  <a:pt x="36" y="72"/>
                  <a:pt x="37" y="72"/>
                  <a:pt x="37" y="73"/>
                </a:cubicBezTo>
                <a:cubicBezTo>
                  <a:pt x="38" y="73"/>
                  <a:pt x="38" y="74"/>
                  <a:pt x="38" y="74"/>
                </a:cubicBezTo>
                <a:cubicBezTo>
                  <a:pt x="39" y="75"/>
                  <a:pt x="39" y="76"/>
                  <a:pt x="41" y="76"/>
                </a:cubicBezTo>
                <a:cubicBezTo>
                  <a:pt x="42" y="75"/>
                  <a:pt x="44" y="75"/>
                  <a:pt x="44" y="73"/>
                </a:cubicBezTo>
                <a:cubicBezTo>
                  <a:pt x="44" y="71"/>
                  <a:pt x="43" y="70"/>
                  <a:pt x="42" y="69"/>
                </a:cubicBezTo>
                <a:cubicBezTo>
                  <a:pt x="42" y="68"/>
                  <a:pt x="41" y="68"/>
                  <a:pt x="41" y="67"/>
                </a:cubicBezTo>
                <a:cubicBezTo>
                  <a:pt x="40" y="67"/>
                  <a:pt x="40" y="65"/>
                  <a:pt x="40" y="65"/>
                </a:cubicBezTo>
                <a:cubicBezTo>
                  <a:pt x="38" y="64"/>
                  <a:pt x="37" y="63"/>
                  <a:pt x="35" y="62"/>
                </a:cubicBezTo>
                <a:cubicBezTo>
                  <a:pt x="35" y="63"/>
                  <a:pt x="34" y="64"/>
                  <a:pt x="33" y="63"/>
                </a:cubicBezTo>
                <a:cubicBezTo>
                  <a:pt x="32" y="65"/>
                  <a:pt x="34" y="65"/>
                  <a:pt x="34" y="66"/>
                </a:cubicBezTo>
                <a:cubicBezTo>
                  <a:pt x="33" y="67"/>
                  <a:pt x="32" y="68"/>
                  <a:pt x="32" y="70"/>
                </a:cubicBezTo>
                <a:close/>
                <a:moveTo>
                  <a:pt x="26" y="91"/>
                </a:moveTo>
                <a:cubicBezTo>
                  <a:pt x="27" y="91"/>
                  <a:pt x="29" y="92"/>
                  <a:pt x="29" y="91"/>
                </a:cubicBezTo>
                <a:cubicBezTo>
                  <a:pt x="28" y="91"/>
                  <a:pt x="28" y="90"/>
                  <a:pt x="28" y="89"/>
                </a:cubicBezTo>
                <a:cubicBezTo>
                  <a:pt x="28" y="88"/>
                  <a:pt x="28" y="87"/>
                  <a:pt x="28" y="86"/>
                </a:cubicBezTo>
                <a:cubicBezTo>
                  <a:pt x="27" y="86"/>
                  <a:pt x="27" y="85"/>
                  <a:pt x="26" y="85"/>
                </a:cubicBezTo>
                <a:cubicBezTo>
                  <a:pt x="27" y="87"/>
                  <a:pt x="25" y="86"/>
                  <a:pt x="24" y="87"/>
                </a:cubicBezTo>
                <a:cubicBezTo>
                  <a:pt x="24" y="88"/>
                  <a:pt x="25" y="89"/>
                  <a:pt x="25" y="90"/>
                </a:cubicBezTo>
                <a:cubicBezTo>
                  <a:pt x="26" y="90"/>
                  <a:pt x="27" y="90"/>
                  <a:pt x="26" y="91"/>
                </a:cubicBezTo>
                <a:close/>
                <a:moveTo>
                  <a:pt x="29" y="74"/>
                </a:moveTo>
                <a:cubicBezTo>
                  <a:pt x="29" y="75"/>
                  <a:pt x="27" y="75"/>
                  <a:pt x="27" y="77"/>
                </a:cubicBezTo>
                <a:cubicBezTo>
                  <a:pt x="28" y="77"/>
                  <a:pt x="28" y="78"/>
                  <a:pt x="28" y="79"/>
                </a:cubicBezTo>
                <a:cubicBezTo>
                  <a:pt x="28" y="79"/>
                  <a:pt x="29" y="80"/>
                  <a:pt x="29" y="80"/>
                </a:cubicBezTo>
                <a:cubicBezTo>
                  <a:pt x="28" y="82"/>
                  <a:pt x="30" y="82"/>
                  <a:pt x="29" y="84"/>
                </a:cubicBezTo>
                <a:cubicBezTo>
                  <a:pt x="30" y="84"/>
                  <a:pt x="30" y="84"/>
                  <a:pt x="31" y="85"/>
                </a:cubicBezTo>
                <a:cubicBezTo>
                  <a:pt x="31" y="85"/>
                  <a:pt x="31" y="85"/>
                  <a:pt x="31" y="86"/>
                </a:cubicBezTo>
                <a:cubicBezTo>
                  <a:pt x="32" y="86"/>
                  <a:pt x="32" y="87"/>
                  <a:pt x="32" y="87"/>
                </a:cubicBezTo>
                <a:cubicBezTo>
                  <a:pt x="33" y="87"/>
                  <a:pt x="33" y="87"/>
                  <a:pt x="33" y="88"/>
                </a:cubicBezTo>
                <a:cubicBezTo>
                  <a:pt x="33" y="89"/>
                  <a:pt x="34" y="89"/>
                  <a:pt x="36" y="89"/>
                </a:cubicBezTo>
                <a:cubicBezTo>
                  <a:pt x="37" y="87"/>
                  <a:pt x="34" y="88"/>
                  <a:pt x="35" y="85"/>
                </a:cubicBezTo>
                <a:cubicBezTo>
                  <a:pt x="34" y="84"/>
                  <a:pt x="34" y="83"/>
                  <a:pt x="33" y="81"/>
                </a:cubicBezTo>
                <a:cubicBezTo>
                  <a:pt x="33" y="78"/>
                  <a:pt x="34" y="74"/>
                  <a:pt x="33" y="72"/>
                </a:cubicBezTo>
                <a:cubicBezTo>
                  <a:pt x="30" y="71"/>
                  <a:pt x="32" y="75"/>
                  <a:pt x="29" y="74"/>
                </a:cubicBezTo>
                <a:close/>
                <a:moveTo>
                  <a:pt x="30" y="63"/>
                </a:moveTo>
                <a:cubicBezTo>
                  <a:pt x="29" y="63"/>
                  <a:pt x="29" y="63"/>
                  <a:pt x="28" y="63"/>
                </a:cubicBezTo>
                <a:cubicBezTo>
                  <a:pt x="28" y="64"/>
                  <a:pt x="27" y="64"/>
                  <a:pt x="27" y="65"/>
                </a:cubicBezTo>
                <a:cubicBezTo>
                  <a:pt x="27" y="66"/>
                  <a:pt x="25" y="66"/>
                  <a:pt x="26" y="68"/>
                </a:cubicBezTo>
                <a:cubicBezTo>
                  <a:pt x="26" y="69"/>
                  <a:pt x="27" y="70"/>
                  <a:pt x="27" y="70"/>
                </a:cubicBezTo>
                <a:cubicBezTo>
                  <a:pt x="29" y="70"/>
                  <a:pt x="28" y="72"/>
                  <a:pt x="30" y="72"/>
                </a:cubicBezTo>
                <a:cubicBezTo>
                  <a:pt x="29" y="70"/>
                  <a:pt x="31" y="70"/>
                  <a:pt x="31" y="68"/>
                </a:cubicBezTo>
                <a:cubicBezTo>
                  <a:pt x="31" y="66"/>
                  <a:pt x="30" y="65"/>
                  <a:pt x="30" y="63"/>
                </a:cubicBezTo>
                <a:close/>
                <a:moveTo>
                  <a:pt x="39" y="102"/>
                </a:moveTo>
                <a:cubicBezTo>
                  <a:pt x="39" y="101"/>
                  <a:pt x="38" y="102"/>
                  <a:pt x="38" y="102"/>
                </a:cubicBezTo>
                <a:cubicBezTo>
                  <a:pt x="38" y="103"/>
                  <a:pt x="38" y="103"/>
                  <a:pt x="38" y="103"/>
                </a:cubicBezTo>
                <a:cubicBezTo>
                  <a:pt x="39" y="103"/>
                  <a:pt x="39" y="104"/>
                  <a:pt x="40" y="103"/>
                </a:cubicBezTo>
                <a:cubicBezTo>
                  <a:pt x="40" y="102"/>
                  <a:pt x="40" y="102"/>
                  <a:pt x="39" y="102"/>
                </a:cubicBezTo>
                <a:close/>
                <a:moveTo>
                  <a:pt x="39" y="97"/>
                </a:moveTo>
                <a:cubicBezTo>
                  <a:pt x="38" y="96"/>
                  <a:pt x="37" y="96"/>
                  <a:pt x="36" y="96"/>
                </a:cubicBezTo>
                <a:cubicBezTo>
                  <a:pt x="36" y="97"/>
                  <a:pt x="35" y="97"/>
                  <a:pt x="35" y="98"/>
                </a:cubicBezTo>
                <a:cubicBezTo>
                  <a:pt x="37" y="98"/>
                  <a:pt x="39" y="98"/>
                  <a:pt x="39" y="97"/>
                </a:cubicBezTo>
                <a:close/>
                <a:moveTo>
                  <a:pt x="36" y="94"/>
                </a:moveTo>
                <a:cubicBezTo>
                  <a:pt x="36" y="94"/>
                  <a:pt x="36" y="94"/>
                  <a:pt x="36" y="94"/>
                </a:cubicBezTo>
                <a:cubicBezTo>
                  <a:pt x="36" y="93"/>
                  <a:pt x="34" y="93"/>
                  <a:pt x="34" y="91"/>
                </a:cubicBezTo>
                <a:cubicBezTo>
                  <a:pt x="34" y="91"/>
                  <a:pt x="34" y="91"/>
                  <a:pt x="34" y="91"/>
                </a:cubicBezTo>
                <a:cubicBezTo>
                  <a:pt x="33" y="91"/>
                  <a:pt x="32" y="90"/>
                  <a:pt x="32" y="89"/>
                </a:cubicBezTo>
                <a:cubicBezTo>
                  <a:pt x="32" y="88"/>
                  <a:pt x="32" y="88"/>
                  <a:pt x="32" y="88"/>
                </a:cubicBezTo>
                <a:cubicBezTo>
                  <a:pt x="31" y="88"/>
                  <a:pt x="31" y="87"/>
                  <a:pt x="31" y="87"/>
                </a:cubicBezTo>
                <a:cubicBezTo>
                  <a:pt x="31" y="87"/>
                  <a:pt x="31" y="87"/>
                  <a:pt x="31" y="87"/>
                </a:cubicBezTo>
                <a:cubicBezTo>
                  <a:pt x="31" y="86"/>
                  <a:pt x="31" y="86"/>
                  <a:pt x="30" y="85"/>
                </a:cubicBezTo>
                <a:cubicBezTo>
                  <a:pt x="30" y="85"/>
                  <a:pt x="30" y="85"/>
                  <a:pt x="30" y="85"/>
                </a:cubicBezTo>
                <a:cubicBezTo>
                  <a:pt x="30" y="84"/>
                  <a:pt x="29" y="86"/>
                  <a:pt x="29" y="85"/>
                </a:cubicBezTo>
                <a:cubicBezTo>
                  <a:pt x="29" y="86"/>
                  <a:pt x="29" y="86"/>
                  <a:pt x="29" y="87"/>
                </a:cubicBezTo>
                <a:cubicBezTo>
                  <a:pt x="29" y="87"/>
                  <a:pt x="29" y="87"/>
                  <a:pt x="29" y="88"/>
                </a:cubicBezTo>
                <a:cubicBezTo>
                  <a:pt x="29" y="89"/>
                  <a:pt x="30" y="89"/>
                  <a:pt x="30" y="90"/>
                </a:cubicBezTo>
                <a:cubicBezTo>
                  <a:pt x="30" y="90"/>
                  <a:pt x="30" y="91"/>
                  <a:pt x="30" y="91"/>
                </a:cubicBezTo>
                <a:cubicBezTo>
                  <a:pt x="29" y="93"/>
                  <a:pt x="31" y="92"/>
                  <a:pt x="32" y="93"/>
                </a:cubicBezTo>
                <a:cubicBezTo>
                  <a:pt x="32" y="93"/>
                  <a:pt x="32" y="93"/>
                  <a:pt x="32" y="93"/>
                </a:cubicBezTo>
                <a:cubicBezTo>
                  <a:pt x="33" y="94"/>
                  <a:pt x="33" y="94"/>
                  <a:pt x="33" y="95"/>
                </a:cubicBezTo>
                <a:cubicBezTo>
                  <a:pt x="34" y="96"/>
                  <a:pt x="35" y="96"/>
                  <a:pt x="36" y="96"/>
                </a:cubicBezTo>
                <a:cubicBezTo>
                  <a:pt x="37" y="95"/>
                  <a:pt x="37" y="95"/>
                  <a:pt x="36" y="94"/>
                </a:cubicBezTo>
                <a:close/>
                <a:moveTo>
                  <a:pt x="29" y="94"/>
                </a:moveTo>
                <a:cubicBezTo>
                  <a:pt x="29" y="93"/>
                  <a:pt x="28" y="93"/>
                  <a:pt x="27" y="93"/>
                </a:cubicBezTo>
                <a:cubicBezTo>
                  <a:pt x="27" y="93"/>
                  <a:pt x="27" y="94"/>
                  <a:pt x="26" y="94"/>
                </a:cubicBezTo>
                <a:cubicBezTo>
                  <a:pt x="28" y="94"/>
                  <a:pt x="27" y="97"/>
                  <a:pt x="29" y="96"/>
                </a:cubicBezTo>
                <a:cubicBezTo>
                  <a:pt x="29" y="95"/>
                  <a:pt x="30" y="95"/>
                  <a:pt x="29" y="94"/>
                </a:cubicBezTo>
                <a:close/>
                <a:moveTo>
                  <a:pt x="116" y="169"/>
                </a:moveTo>
                <a:cubicBezTo>
                  <a:pt x="115" y="168"/>
                  <a:pt x="114" y="169"/>
                  <a:pt x="113" y="169"/>
                </a:cubicBezTo>
                <a:cubicBezTo>
                  <a:pt x="113" y="170"/>
                  <a:pt x="112" y="170"/>
                  <a:pt x="112" y="171"/>
                </a:cubicBezTo>
                <a:cubicBezTo>
                  <a:pt x="113" y="171"/>
                  <a:pt x="114" y="173"/>
                  <a:pt x="116" y="172"/>
                </a:cubicBezTo>
                <a:cubicBezTo>
                  <a:pt x="116" y="172"/>
                  <a:pt x="116" y="171"/>
                  <a:pt x="117" y="171"/>
                </a:cubicBezTo>
                <a:cubicBezTo>
                  <a:pt x="117" y="171"/>
                  <a:pt x="118" y="171"/>
                  <a:pt x="118" y="171"/>
                </a:cubicBezTo>
                <a:cubicBezTo>
                  <a:pt x="119" y="169"/>
                  <a:pt x="117" y="170"/>
                  <a:pt x="116" y="169"/>
                </a:cubicBezTo>
                <a:close/>
                <a:moveTo>
                  <a:pt x="111" y="148"/>
                </a:moveTo>
                <a:cubicBezTo>
                  <a:pt x="112" y="148"/>
                  <a:pt x="113" y="148"/>
                  <a:pt x="114" y="148"/>
                </a:cubicBezTo>
                <a:cubicBezTo>
                  <a:pt x="114" y="147"/>
                  <a:pt x="114" y="147"/>
                  <a:pt x="115" y="146"/>
                </a:cubicBezTo>
                <a:cubicBezTo>
                  <a:pt x="115" y="142"/>
                  <a:pt x="109" y="143"/>
                  <a:pt x="106" y="142"/>
                </a:cubicBezTo>
                <a:cubicBezTo>
                  <a:pt x="104" y="142"/>
                  <a:pt x="101" y="142"/>
                  <a:pt x="99" y="142"/>
                </a:cubicBezTo>
                <a:cubicBezTo>
                  <a:pt x="100" y="144"/>
                  <a:pt x="100" y="144"/>
                  <a:pt x="99" y="146"/>
                </a:cubicBezTo>
                <a:cubicBezTo>
                  <a:pt x="102" y="148"/>
                  <a:pt x="106" y="149"/>
                  <a:pt x="111" y="148"/>
                </a:cubicBezTo>
                <a:close/>
                <a:moveTo>
                  <a:pt x="107" y="154"/>
                </a:moveTo>
                <a:cubicBezTo>
                  <a:pt x="107" y="154"/>
                  <a:pt x="108" y="155"/>
                  <a:pt x="109" y="155"/>
                </a:cubicBezTo>
                <a:cubicBezTo>
                  <a:pt x="110" y="155"/>
                  <a:pt x="110" y="154"/>
                  <a:pt x="111" y="154"/>
                </a:cubicBezTo>
                <a:cubicBezTo>
                  <a:pt x="113" y="154"/>
                  <a:pt x="113" y="156"/>
                  <a:pt x="115" y="155"/>
                </a:cubicBezTo>
                <a:cubicBezTo>
                  <a:pt x="116" y="155"/>
                  <a:pt x="118" y="156"/>
                  <a:pt x="119" y="155"/>
                </a:cubicBezTo>
                <a:cubicBezTo>
                  <a:pt x="119" y="155"/>
                  <a:pt x="119" y="155"/>
                  <a:pt x="120" y="155"/>
                </a:cubicBezTo>
                <a:cubicBezTo>
                  <a:pt x="122" y="154"/>
                  <a:pt x="124" y="156"/>
                  <a:pt x="125" y="153"/>
                </a:cubicBezTo>
                <a:cubicBezTo>
                  <a:pt x="123" y="152"/>
                  <a:pt x="121" y="153"/>
                  <a:pt x="118" y="153"/>
                </a:cubicBezTo>
                <a:cubicBezTo>
                  <a:pt x="117" y="153"/>
                  <a:pt x="117" y="152"/>
                  <a:pt x="116" y="152"/>
                </a:cubicBezTo>
                <a:cubicBezTo>
                  <a:pt x="114" y="152"/>
                  <a:pt x="113" y="152"/>
                  <a:pt x="112" y="152"/>
                </a:cubicBezTo>
                <a:cubicBezTo>
                  <a:pt x="112" y="152"/>
                  <a:pt x="112" y="152"/>
                  <a:pt x="112" y="152"/>
                </a:cubicBezTo>
                <a:cubicBezTo>
                  <a:pt x="110" y="152"/>
                  <a:pt x="109" y="152"/>
                  <a:pt x="108" y="150"/>
                </a:cubicBezTo>
                <a:cubicBezTo>
                  <a:pt x="108" y="150"/>
                  <a:pt x="108" y="150"/>
                  <a:pt x="108" y="150"/>
                </a:cubicBezTo>
                <a:cubicBezTo>
                  <a:pt x="108" y="150"/>
                  <a:pt x="107" y="150"/>
                  <a:pt x="107" y="150"/>
                </a:cubicBezTo>
                <a:cubicBezTo>
                  <a:pt x="107" y="150"/>
                  <a:pt x="107" y="150"/>
                  <a:pt x="106" y="150"/>
                </a:cubicBezTo>
                <a:cubicBezTo>
                  <a:pt x="106" y="150"/>
                  <a:pt x="106" y="150"/>
                  <a:pt x="106" y="149"/>
                </a:cubicBezTo>
                <a:cubicBezTo>
                  <a:pt x="104" y="149"/>
                  <a:pt x="103" y="150"/>
                  <a:pt x="101" y="150"/>
                </a:cubicBezTo>
                <a:cubicBezTo>
                  <a:pt x="100" y="150"/>
                  <a:pt x="100" y="151"/>
                  <a:pt x="99" y="151"/>
                </a:cubicBezTo>
                <a:cubicBezTo>
                  <a:pt x="98" y="151"/>
                  <a:pt x="97" y="151"/>
                  <a:pt x="97" y="152"/>
                </a:cubicBezTo>
                <a:cubicBezTo>
                  <a:pt x="97" y="152"/>
                  <a:pt x="96" y="152"/>
                  <a:pt x="96" y="153"/>
                </a:cubicBezTo>
                <a:cubicBezTo>
                  <a:pt x="97" y="153"/>
                  <a:pt x="97" y="154"/>
                  <a:pt x="98" y="154"/>
                </a:cubicBezTo>
                <a:cubicBezTo>
                  <a:pt x="99" y="154"/>
                  <a:pt x="100" y="153"/>
                  <a:pt x="101" y="153"/>
                </a:cubicBezTo>
                <a:cubicBezTo>
                  <a:pt x="102" y="155"/>
                  <a:pt x="103" y="154"/>
                  <a:pt x="104" y="154"/>
                </a:cubicBezTo>
                <a:cubicBezTo>
                  <a:pt x="105" y="154"/>
                  <a:pt x="106" y="154"/>
                  <a:pt x="107" y="154"/>
                </a:cubicBezTo>
                <a:close/>
                <a:moveTo>
                  <a:pt x="93" y="138"/>
                </a:moveTo>
                <a:cubicBezTo>
                  <a:pt x="93" y="138"/>
                  <a:pt x="92" y="138"/>
                  <a:pt x="92" y="139"/>
                </a:cubicBezTo>
                <a:cubicBezTo>
                  <a:pt x="94" y="138"/>
                  <a:pt x="97" y="140"/>
                  <a:pt x="97" y="138"/>
                </a:cubicBezTo>
                <a:cubicBezTo>
                  <a:pt x="96" y="138"/>
                  <a:pt x="94" y="135"/>
                  <a:pt x="93" y="137"/>
                </a:cubicBezTo>
                <a:cubicBezTo>
                  <a:pt x="94" y="137"/>
                  <a:pt x="94" y="138"/>
                  <a:pt x="93" y="138"/>
                </a:cubicBezTo>
                <a:close/>
                <a:moveTo>
                  <a:pt x="192" y="57"/>
                </a:moveTo>
                <a:cubicBezTo>
                  <a:pt x="191" y="57"/>
                  <a:pt x="191" y="56"/>
                  <a:pt x="191" y="54"/>
                </a:cubicBezTo>
                <a:cubicBezTo>
                  <a:pt x="189" y="54"/>
                  <a:pt x="189" y="54"/>
                  <a:pt x="189" y="54"/>
                </a:cubicBezTo>
                <a:cubicBezTo>
                  <a:pt x="188" y="54"/>
                  <a:pt x="188" y="54"/>
                  <a:pt x="187" y="53"/>
                </a:cubicBezTo>
                <a:cubicBezTo>
                  <a:pt x="187" y="52"/>
                  <a:pt x="185" y="53"/>
                  <a:pt x="185" y="52"/>
                </a:cubicBezTo>
                <a:cubicBezTo>
                  <a:pt x="181" y="52"/>
                  <a:pt x="181" y="52"/>
                  <a:pt x="181" y="52"/>
                </a:cubicBezTo>
                <a:cubicBezTo>
                  <a:pt x="181" y="51"/>
                  <a:pt x="181" y="51"/>
                  <a:pt x="180" y="51"/>
                </a:cubicBezTo>
                <a:cubicBezTo>
                  <a:pt x="180" y="50"/>
                  <a:pt x="180" y="50"/>
                  <a:pt x="179" y="50"/>
                </a:cubicBezTo>
                <a:cubicBezTo>
                  <a:pt x="179" y="50"/>
                  <a:pt x="179" y="50"/>
                  <a:pt x="178" y="50"/>
                </a:cubicBezTo>
                <a:cubicBezTo>
                  <a:pt x="178" y="48"/>
                  <a:pt x="178" y="48"/>
                  <a:pt x="178" y="47"/>
                </a:cubicBezTo>
                <a:cubicBezTo>
                  <a:pt x="177" y="46"/>
                  <a:pt x="178" y="45"/>
                  <a:pt x="178" y="44"/>
                </a:cubicBezTo>
                <a:cubicBezTo>
                  <a:pt x="178" y="44"/>
                  <a:pt x="179" y="44"/>
                  <a:pt x="179" y="44"/>
                </a:cubicBezTo>
                <a:cubicBezTo>
                  <a:pt x="179" y="44"/>
                  <a:pt x="179" y="44"/>
                  <a:pt x="179" y="45"/>
                </a:cubicBezTo>
                <a:cubicBezTo>
                  <a:pt x="179" y="45"/>
                  <a:pt x="179" y="45"/>
                  <a:pt x="180" y="45"/>
                </a:cubicBezTo>
                <a:cubicBezTo>
                  <a:pt x="181" y="45"/>
                  <a:pt x="182" y="44"/>
                  <a:pt x="181" y="43"/>
                </a:cubicBezTo>
                <a:cubicBezTo>
                  <a:pt x="181" y="43"/>
                  <a:pt x="181" y="43"/>
                  <a:pt x="181" y="43"/>
                </a:cubicBezTo>
                <a:cubicBezTo>
                  <a:pt x="181" y="41"/>
                  <a:pt x="180" y="41"/>
                  <a:pt x="178" y="41"/>
                </a:cubicBezTo>
                <a:cubicBezTo>
                  <a:pt x="177" y="41"/>
                  <a:pt x="176" y="40"/>
                  <a:pt x="176" y="39"/>
                </a:cubicBezTo>
                <a:cubicBezTo>
                  <a:pt x="175" y="37"/>
                  <a:pt x="177" y="36"/>
                  <a:pt x="177" y="34"/>
                </a:cubicBezTo>
                <a:cubicBezTo>
                  <a:pt x="175" y="34"/>
                  <a:pt x="176" y="31"/>
                  <a:pt x="174" y="31"/>
                </a:cubicBezTo>
                <a:cubicBezTo>
                  <a:pt x="174" y="29"/>
                  <a:pt x="172" y="30"/>
                  <a:pt x="172" y="28"/>
                </a:cubicBezTo>
                <a:cubicBezTo>
                  <a:pt x="172" y="26"/>
                  <a:pt x="170" y="26"/>
                  <a:pt x="171" y="24"/>
                </a:cubicBezTo>
                <a:cubicBezTo>
                  <a:pt x="170" y="23"/>
                  <a:pt x="169" y="23"/>
                  <a:pt x="169" y="22"/>
                </a:cubicBezTo>
                <a:cubicBezTo>
                  <a:pt x="169" y="22"/>
                  <a:pt x="169" y="22"/>
                  <a:pt x="169" y="22"/>
                </a:cubicBezTo>
                <a:cubicBezTo>
                  <a:pt x="169" y="22"/>
                  <a:pt x="169" y="22"/>
                  <a:pt x="169" y="22"/>
                </a:cubicBezTo>
                <a:cubicBezTo>
                  <a:pt x="169" y="22"/>
                  <a:pt x="168" y="22"/>
                  <a:pt x="168" y="22"/>
                </a:cubicBezTo>
                <a:cubicBezTo>
                  <a:pt x="168" y="22"/>
                  <a:pt x="168" y="22"/>
                  <a:pt x="168" y="22"/>
                </a:cubicBezTo>
                <a:cubicBezTo>
                  <a:pt x="168" y="22"/>
                  <a:pt x="167" y="22"/>
                  <a:pt x="167" y="22"/>
                </a:cubicBezTo>
                <a:cubicBezTo>
                  <a:pt x="167" y="22"/>
                  <a:pt x="167" y="22"/>
                  <a:pt x="167" y="22"/>
                </a:cubicBezTo>
                <a:cubicBezTo>
                  <a:pt x="167" y="22"/>
                  <a:pt x="167" y="22"/>
                  <a:pt x="167" y="22"/>
                </a:cubicBezTo>
                <a:cubicBezTo>
                  <a:pt x="167" y="22"/>
                  <a:pt x="166" y="22"/>
                  <a:pt x="166" y="22"/>
                </a:cubicBezTo>
                <a:cubicBezTo>
                  <a:pt x="166" y="22"/>
                  <a:pt x="166" y="22"/>
                  <a:pt x="166" y="22"/>
                </a:cubicBezTo>
                <a:cubicBezTo>
                  <a:pt x="166" y="21"/>
                  <a:pt x="166" y="22"/>
                  <a:pt x="166" y="22"/>
                </a:cubicBezTo>
                <a:cubicBezTo>
                  <a:pt x="165" y="22"/>
                  <a:pt x="165" y="22"/>
                  <a:pt x="165" y="22"/>
                </a:cubicBezTo>
                <a:cubicBezTo>
                  <a:pt x="165" y="22"/>
                  <a:pt x="165" y="22"/>
                  <a:pt x="165" y="22"/>
                </a:cubicBezTo>
                <a:cubicBezTo>
                  <a:pt x="165" y="22"/>
                  <a:pt x="164" y="22"/>
                  <a:pt x="164" y="22"/>
                </a:cubicBezTo>
                <a:cubicBezTo>
                  <a:pt x="164" y="22"/>
                  <a:pt x="164" y="22"/>
                  <a:pt x="164" y="22"/>
                </a:cubicBezTo>
                <a:cubicBezTo>
                  <a:pt x="164" y="22"/>
                  <a:pt x="164" y="22"/>
                  <a:pt x="164" y="22"/>
                </a:cubicBezTo>
                <a:cubicBezTo>
                  <a:pt x="164" y="22"/>
                  <a:pt x="164" y="22"/>
                  <a:pt x="163" y="22"/>
                </a:cubicBezTo>
                <a:cubicBezTo>
                  <a:pt x="163" y="22"/>
                  <a:pt x="163" y="22"/>
                  <a:pt x="163" y="22"/>
                </a:cubicBezTo>
                <a:cubicBezTo>
                  <a:pt x="163" y="22"/>
                  <a:pt x="163" y="22"/>
                  <a:pt x="163" y="22"/>
                </a:cubicBezTo>
                <a:cubicBezTo>
                  <a:pt x="163" y="22"/>
                  <a:pt x="163" y="23"/>
                  <a:pt x="163" y="23"/>
                </a:cubicBezTo>
                <a:cubicBezTo>
                  <a:pt x="163" y="23"/>
                  <a:pt x="162" y="23"/>
                  <a:pt x="162" y="23"/>
                </a:cubicBezTo>
                <a:cubicBezTo>
                  <a:pt x="162" y="23"/>
                  <a:pt x="162" y="24"/>
                  <a:pt x="162" y="24"/>
                </a:cubicBezTo>
                <a:cubicBezTo>
                  <a:pt x="160" y="24"/>
                  <a:pt x="161" y="26"/>
                  <a:pt x="159" y="27"/>
                </a:cubicBezTo>
                <a:cubicBezTo>
                  <a:pt x="158" y="27"/>
                  <a:pt x="158" y="28"/>
                  <a:pt x="157" y="28"/>
                </a:cubicBezTo>
                <a:cubicBezTo>
                  <a:pt x="157" y="29"/>
                  <a:pt x="156" y="28"/>
                  <a:pt x="156" y="29"/>
                </a:cubicBezTo>
                <a:cubicBezTo>
                  <a:pt x="155" y="30"/>
                  <a:pt x="153" y="27"/>
                  <a:pt x="152" y="29"/>
                </a:cubicBezTo>
                <a:cubicBezTo>
                  <a:pt x="151" y="28"/>
                  <a:pt x="147" y="28"/>
                  <a:pt x="146" y="29"/>
                </a:cubicBezTo>
                <a:cubicBezTo>
                  <a:pt x="145" y="29"/>
                  <a:pt x="144" y="29"/>
                  <a:pt x="143" y="30"/>
                </a:cubicBezTo>
                <a:cubicBezTo>
                  <a:pt x="143" y="30"/>
                  <a:pt x="143" y="30"/>
                  <a:pt x="142" y="30"/>
                </a:cubicBezTo>
                <a:cubicBezTo>
                  <a:pt x="142" y="29"/>
                  <a:pt x="140" y="29"/>
                  <a:pt x="139" y="29"/>
                </a:cubicBezTo>
                <a:cubicBezTo>
                  <a:pt x="139" y="28"/>
                  <a:pt x="138" y="28"/>
                  <a:pt x="137" y="28"/>
                </a:cubicBezTo>
                <a:cubicBezTo>
                  <a:pt x="137" y="29"/>
                  <a:pt x="135" y="27"/>
                  <a:pt x="133" y="28"/>
                </a:cubicBezTo>
                <a:cubicBezTo>
                  <a:pt x="133" y="28"/>
                  <a:pt x="133" y="27"/>
                  <a:pt x="132" y="27"/>
                </a:cubicBezTo>
                <a:cubicBezTo>
                  <a:pt x="132" y="27"/>
                  <a:pt x="132" y="27"/>
                  <a:pt x="132" y="26"/>
                </a:cubicBezTo>
                <a:cubicBezTo>
                  <a:pt x="132" y="26"/>
                  <a:pt x="132" y="26"/>
                  <a:pt x="132" y="26"/>
                </a:cubicBezTo>
                <a:cubicBezTo>
                  <a:pt x="132" y="26"/>
                  <a:pt x="132" y="26"/>
                  <a:pt x="132" y="26"/>
                </a:cubicBezTo>
                <a:cubicBezTo>
                  <a:pt x="132" y="26"/>
                  <a:pt x="132" y="26"/>
                  <a:pt x="132" y="26"/>
                </a:cubicBezTo>
                <a:cubicBezTo>
                  <a:pt x="132" y="26"/>
                  <a:pt x="132" y="26"/>
                  <a:pt x="132" y="26"/>
                </a:cubicBezTo>
                <a:cubicBezTo>
                  <a:pt x="132" y="26"/>
                  <a:pt x="132" y="26"/>
                  <a:pt x="132" y="26"/>
                </a:cubicBezTo>
                <a:cubicBezTo>
                  <a:pt x="132" y="26"/>
                  <a:pt x="132" y="26"/>
                  <a:pt x="132" y="26"/>
                </a:cubicBezTo>
                <a:cubicBezTo>
                  <a:pt x="131" y="26"/>
                  <a:pt x="131" y="26"/>
                  <a:pt x="131" y="26"/>
                </a:cubicBezTo>
                <a:cubicBezTo>
                  <a:pt x="131" y="26"/>
                  <a:pt x="131" y="26"/>
                  <a:pt x="131" y="26"/>
                </a:cubicBezTo>
                <a:cubicBezTo>
                  <a:pt x="131" y="26"/>
                  <a:pt x="131" y="26"/>
                  <a:pt x="131" y="26"/>
                </a:cubicBezTo>
                <a:cubicBezTo>
                  <a:pt x="131" y="26"/>
                  <a:pt x="131" y="26"/>
                  <a:pt x="131" y="26"/>
                </a:cubicBezTo>
                <a:cubicBezTo>
                  <a:pt x="131" y="26"/>
                  <a:pt x="131" y="26"/>
                  <a:pt x="131" y="26"/>
                </a:cubicBezTo>
                <a:cubicBezTo>
                  <a:pt x="130" y="25"/>
                  <a:pt x="130" y="24"/>
                  <a:pt x="129" y="23"/>
                </a:cubicBezTo>
                <a:cubicBezTo>
                  <a:pt x="129" y="23"/>
                  <a:pt x="129" y="23"/>
                  <a:pt x="128" y="23"/>
                </a:cubicBezTo>
                <a:cubicBezTo>
                  <a:pt x="126" y="23"/>
                  <a:pt x="123" y="23"/>
                  <a:pt x="123" y="23"/>
                </a:cubicBezTo>
                <a:cubicBezTo>
                  <a:pt x="123" y="24"/>
                  <a:pt x="123" y="24"/>
                  <a:pt x="123" y="24"/>
                </a:cubicBezTo>
                <a:cubicBezTo>
                  <a:pt x="122" y="25"/>
                  <a:pt x="121" y="25"/>
                  <a:pt x="120" y="24"/>
                </a:cubicBezTo>
                <a:cubicBezTo>
                  <a:pt x="120" y="21"/>
                  <a:pt x="120" y="21"/>
                  <a:pt x="120" y="21"/>
                </a:cubicBezTo>
                <a:cubicBezTo>
                  <a:pt x="119" y="20"/>
                  <a:pt x="119" y="19"/>
                  <a:pt x="118" y="19"/>
                </a:cubicBezTo>
                <a:cubicBezTo>
                  <a:pt x="118" y="19"/>
                  <a:pt x="118" y="19"/>
                  <a:pt x="117" y="19"/>
                </a:cubicBezTo>
                <a:cubicBezTo>
                  <a:pt x="117" y="19"/>
                  <a:pt x="117" y="19"/>
                  <a:pt x="117" y="19"/>
                </a:cubicBezTo>
                <a:cubicBezTo>
                  <a:pt x="117" y="19"/>
                  <a:pt x="117" y="19"/>
                  <a:pt x="117" y="19"/>
                </a:cubicBezTo>
                <a:cubicBezTo>
                  <a:pt x="117" y="19"/>
                  <a:pt x="117" y="19"/>
                  <a:pt x="117" y="19"/>
                </a:cubicBezTo>
                <a:cubicBezTo>
                  <a:pt x="117" y="19"/>
                  <a:pt x="117" y="19"/>
                  <a:pt x="117" y="19"/>
                </a:cubicBezTo>
                <a:cubicBezTo>
                  <a:pt x="117" y="18"/>
                  <a:pt x="116" y="17"/>
                  <a:pt x="115" y="17"/>
                </a:cubicBezTo>
                <a:cubicBezTo>
                  <a:pt x="115" y="17"/>
                  <a:pt x="115" y="17"/>
                  <a:pt x="115" y="17"/>
                </a:cubicBezTo>
                <a:cubicBezTo>
                  <a:pt x="115" y="17"/>
                  <a:pt x="115" y="17"/>
                  <a:pt x="115" y="17"/>
                </a:cubicBezTo>
                <a:cubicBezTo>
                  <a:pt x="115" y="17"/>
                  <a:pt x="115" y="17"/>
                  <a:pt x="115" y="17"/>
                </a:cubicBezTo>
                <a:cubicBezTo>
                  <a:pt x="115" y="17"/>
                  <a:pt x="115" y="17"/>
                  <a:pt x="115" y="17"/>
                </a:cubicBezTo>
                <a:cubicBezTo>
                  <a:pt x="114" y="17"/>
                  <a:pt x="114" y="17"/>
                  <a:pt x="114" y="17"/>
                </a:cubicBezTo>
                <a:cubicBezTo>
                  <a:pt x="114" y="17"/>
                  <a:pt x="114" y="17"/>
                  <a:pt x="114" y="17"/>
                </a:cubicBezTo>
                <a:cubicBezTo>
                  <a:pt x="114" y="17"/>
                  <a:pt x="114" y="17"/>
                  <a:pt x="114" y="17"/>
                </a:cubicBezTo>
                <a:cubicBezTo>
                  <a:pt x="114" y="17"/>
                  <a:pt x="114" y="17"/>
                  <a:pt x="114" y="17"/>
                </a:cubicBezTo>
                <a:cubicBezTo>
                  <a:pt x="114" y="17"/>
                  <a:pt x="114" y="17"/>
                  <a:pt x="114" y="16"/>
                </a:cubicBezTo>
                <a:cubicBezTo>
                  <a:pt x="114" y="16"/>
                  <a:pt x="114" y="16"/>
                  <a:pt x="113" y="16"/>
                </a:cubicBezTo>
                <a:cubicBezTo>
                  <a:pt x="113" y="16"/>
                  <a:pt x="113" y="16"/>
                  <a:pt x="113" y="16"/>
                </a:cubicBezTo>
                <a:cubicBezTo>
                  <a:pt x="113" y="16"/>
                  <a:pt x="113" y="16"/>
                  <a:pt x="113" y="16"/>
                </a:cubicBezTo>
                <a:cubicBezTo>
                  <a:pt x="113" y="16"/>
                  <a:pt x="113" y="16"/>
                  <a:pt x="113" y="16"/>
                </a:cubicBezTo>
                <a:cubicBezTo>
                  <a:pt x="113" y="16"/>
                  <a:pt x="112" y="16"/>
                  <a:pt x="112" y="16"/>
                </a:cubicBezTo>
                <a:cubicBezTo>
                  <a:pt x="112" y="16"/>
                  <a:pt x="112" y="16"/>
                  <a:pt x="112" y="16"/>
                </a:cubicBezTo>
                <a:cubicBezTo>
                  <a:pt x="112" y="16"/>
                  <a:pt x="112" y="16"/>
                  <a:pt x="112" y="16"/>
                </a:cubicBezTo>
                <a:cubicBezTo>
                  <a:pt x="112" y="16"/>
                  <a:pt x="112" y="16"/>
                  <a:pt x="112" y="16"/>
                </a:cubicBezTo>
                <a:cubicBezTo>
                  <a:pt x="112" y="16"/>
                  <a:pt x="112" y="16"/>
                  <a:pt x="111" y="15"/>
                </a:cubicBezTo>
                <a:cubicBezTo>
                  <a:pt x="111" y="15"/>
                  <a:pt x="111" y="15"/>
                  <a:pt x="111" y="15"/>
                </a:cubicBezTo>
                <a:cubicBezTo>
                  <a:pt x="111" y="15"/>
                  <a:pt x="111" y="15"/>
                  <a:pt x="111" y="15"/>
                </a:cubicBezTo>
                <a:cubicBezTo>
                  <a:pt x="110" y="15"/>
                  <a:pt x="110" y="14"/>
                  <a:pt x="109" y="13"/>
                </a:cubicBezTo>
                <a:cubicBezTo>
                  <a:pt x="109" y="13"/>
                  <a:pt x="109" y="12"/>
                  <a:pt x="108" y="12"/>
                </a:cubicBezTo>
                <a:cubicBezTo>
                  <a:pt x="108" y="11"/>
                  <a:pt x="107" y="11"/>
                  <a:pt x="107" y="10"/>
                </a:cubicBezTo>
                <a:cubicBezTo>
                  <a:pt x="107" y="9"/>
                  <a:pt x="106" y="9"/>
                  <a:pt x="106" y="8"/>
                </a:cubicBezTo>
                <a:cubicBezTo>
                  <a:pt x="106" y="8"/>
                  <a:pt x="106" y="8"/>
                  <a:pt x="106" y="7"/>
                </a:cubicBezTo>
                <a:cubicBezTo>
                  <a:pt x="105" y="6"/>
                  <a:pt x="104" y="4"/>
                  <a:pt x="101" y="4"/>
                </a:cubicBezTo>
                <a:cubicBezTo>
                  <a:pt x="101" y="4"/>
                  <a:pt x="100" y="4"/>
                  <a:pt x="100" y="4"/>
                </a:cubicBezTo>
                <a:cubicBezTo>
                  <a:pt x="99" y="4"/>
                  <a:pt x="98" y="4"/>
                  <a:pt x="97" y="4"/>
                </a:cubicBezTo>
                <a:cubicBezTo>
                  <a:pt x="98" y="2"/>
                  <a:pt x="97" y="2"/>
                  <a:pt x="96" y="2"/>
                </a:cubicBezTo>
                <a:cubicBezTo>
                  <a:pt x="96" y="2"/>
                  <a:pt x="95" y="1"/>
                  <a:pt x="95" y="1"/>
                </a:cubicBezTo>
                <a:cubicBezTo>
                  <a:pt x="92" y="1"/>
                  <a:pt x="92" y="0"/>
                  <a:pt x="90" y="0"/>
                </a:cubicBezTo>
                <a:cubicBezTo>
                  <a:pt x="88" y="0"/>
                  <a:pt x="89" y="2"/>
                  <a:pt x="86" y="1"/>
                </a:cubicBezTo>
                <a:cubicBezTo>
                  <a:pt x="86" y="3"/>
                  <a:pt x="88" y="4"/>
                  <a:pt x="87" y="6"/>
                </a:cubicBezTo>
                <a:cubicBezTo>
                  <a:pt x="88" y="6"/>
                  <a:pt x="89" y="7"/>
                  <a:pt x="88" y="8"/>
                </a:cubicBezTo>
                <a:cubicBezTo>
                  <a:pt x="87" y="8"/>
                  <a:pt x="84" y="9"/>
                  <a:pt x="84" y="8"/>
                </a:cubicBezTo>
                <a:cubicBezTo>
                  <a:pt x="84" y="7"/>
                  <a:pt x="83" y="7"/>
                  <a:pt x="81" y="7"/>
                </a:cubicBezTo>
                <a:cubicBezTo>
                  <a:pt x="81" y="7"/>
                  <a:pt x="81" y="8"/>
                  <a:pt x="81" y="8"/>
                </a:cubicBezTo>
                <a:cubicBezTo>
                  <a:pt x="80" y="8"/>
                  <a:pt x="80" y="9"/>
                  <a:pt x="79" y="9"/>
                </a:cubicBezTo>
                <a:cubicBezTo>
                  <a:pt x="79" y="9"/>
                  <a:pt x="79" y="10"/>
                  <a:pt x="79" y="11"/>
                </a:cubicBezTo>
                <a:cubicBezTo>
                  <a:pt x="78" y="10"/>
                  <a:pt x="78" y="11"/>
                  <a:pt x="78" y="11"/>
                </a:cubicBezTo>
                <a:cubicBezTo>
                  <a:pt x="76" y="11"/>
                  <a:pt x="76" y="12"/>
                  <a:pt x="74" y="13"/>
                </a:cubicBezTo>
                <a:cubicBezTo>
                  <a:pt x="74" y="14"/>
                  <a:pt x="73" y="14"/>
                  <a:pt x="72" y="14"/>
                </a:cubicBezTo>
                <a:cubicBezTo>
                  <a:pt x="72" y="15"/>
                  <a:pt x="69" y="14"/>
                  <a:pt x="70" y="16"/>
                </a:cubicBezTo>
                <a:cubicBezTo>
                  <a:pt x="69" y="16"/>
                  <a:pt x="68" y="17"/>
                  <a:pt x="68" y="18"/>
                </a:cubicBezTo>
                <a:cubicBezTo>
                  <a:pt x="67" y="20"/>
                  <a:pt x="68" y="20"/>
                  <a:pt x="70" y="20"/>
                </a:cubicBezTo>
                <a:cubicBezTo>
                  <a:pt x="70" y="21"/>
                  <a:pt x="70" y="22"/>
                  <a:pt x="71" y="22"/>
                </a:cubicBezTo>
                <a:cubicBezTo>
                  <a:pt x="71" y="24"/>
                  <a:pt x="71" y="26"/>
                  <a:pt x="71" y="27"/>
                </a:cubicBezTo>
                <a:cubicBezTo>
                  <a:pt x="71" y="27"/>
                  <a:pt x="71" y="28"/>
                  <a:pt x="71" y="28"/>
                </a:cubicBezTo>
                <a:cubicBezTo>
                  <a:pt x="71" y="28"/>
                  <a:pt x="71" y="28"/>
                  <a:pt x="71" y="28"/>
                </a:cubicBezTo>
                <a:cubicBezTo>
                  <a:pt x="71" y="28"/>
                  <a:pt x="71" y="28"/>
                  <a:pt x="71" y="28"/>
                </a:cubicBezTo>
                <a:cubicBezTo>
                  <a:pt x="71" y="28"/>
                  <a:pt x="71" y="28"/>
                  <a:pt x="71" y="28"/>
                </a:cubicBezTo>
                <a:cubicBezTo>
                  <a:pt x="70" y="29"/>
                  <a:pt x="70" y="29"/>
                  <a:pt x="70" y="29"/>
                </a:cubicBezTo>
                <a:cubicBezTo>
                  <a:pt x="70" y="29"/>
                  <a:pt x="70" y="29"/>
                  <a:pt x="70" y="29"/>
                </a:cubicBezTo>
                <a:cubicBezTo>
                  <a:pt x="70" y="30"/>
                  <a:pt x="70" y="30"/>
                  <a:pt x="70" y="30"/>
                </a:cubicBezTo>
                <a:cubicBezTo>
                  <a:pt x="70" y="30"/>
                  <a:pt x="70" y="30"/>
                  <a:pt x="70" y="30"/>
                </a:cubicBezTo>
                <a:cubicBezTo>
                  <a:pt x="70" y="31"/>
                  <a:pt x="70" y="31"/>
                  <a:pt x="70" y="31"/>
                </a:cubicBezTo>
                <a:cubicBezTo>
                  <a:pt x="70" y="31"/>
                  <a:pt x="70" y="31"/>
                  <a:pt x="70" y="31"/>
                </a:cubicBezTo>
                <a:cubicBezTo>
                  <a:pt x="70" y="32"/>
                  <a:pt x="70" y="32"/>
                  <a:pt x="70" y="32"/>
                </a:cubicBezTo>
                <a:cubicBezTo>
                  <a:pt x="70" y="32"/>
                  <a:pt x="70" y="32"/>
                  <a:pt x="70" y="32"/>
                </a:cubicBezTo>
                <a:cubicBezTo>
                  <a:pt x="69" y="33"/>
                  <a:pt x="68" y="33"/>
                  <a:pt x="68" y="34"/>
                </a:cubicBezTo>
                <a:cubicBezTo>
                  <a:pt x="66" y="34"/>
                  <a:pt x="66" y="34"/>
                  <a:pt x="66" y="34"/>
                </a:cubicBezTo>
                <a:cubicBezTo>
                  <a:pt x="65" y="34"/>
                  <a:pt x="64" y="34"/>
                  <a:pt x="63" y="35"/>
                </a:cubicBezTo>
                <a:cubicBezTo>
                  <a:pt x="62" y="35"/>
                  <a:pt x="62" y="36"/>
                  <a:pt x="62" y="37"/>
                </a:cubicBezTo>
                <a:cubicBezTo>
                  <a:pt x="61" y="37"/>
                  <a:pt x="61" y="38"/>
                  <a:pt x="61" y="38"/>
                </a:cubicBezTo>
                <a:cubicBezTo>
                  <a:pt x="60" y="41"/>
                  <a:pt x="63" y="40"/>
                  <a:pt x="63" y="43"/>
                </a:cubicBezTo>
                <a:cubicBezTo>
                  <a:pt x="61" y="43"/>
                  <a:pt x="61" y="44"/>
                  <a:pt x="59" y="44"/>
                </a:cubicBezTo>
                <a:cubicBezTo>
                  <a:pt x="58" y="47"/>
                  <a:pt x="61" y="47"/>
                  <a:pt x="61" y="49"/>
                </a:cubicBezTo>
                <a:cubicBezTo>
                  <a:pt x="62" y="49"/>
                  <a:pt x="62" y="49"/>
                  <a:pt x="62" y="50"/>
                </a:cubicBezTo>
                <a:cubicBezTo>
                  <a:pt x="62" y="50"/>
                  <a:pt x="61" y="50"/>
                  <a:pt x="61" y="50"/>
                </a:cubicBezTo>
                <a:cubicBezTo>
                  <a:pt x="60" y="49"/>
                  <a:pt x="59" y="49"/>
                  <a:pt x="58" y="49"/>
                </a:cubicBezTo>
                <a:cubicBezTo>
                  <a:pt x="57" y="50"/>
                  <a:pt x="57" y="49"/>
                  <a:pt x="56" y="49"/>
                </a:cubicBezTo>
                <a:cubicBezTo>
                  <a:pt x="55" y="49"/>
                  <a:pt x="55" y="51"/>
                  <a:pt x="54" y="51"/>
                </a:cubicBezTo>
                <a:cubicBezTo>
                  <a:pt x="53" y="51"/>
                  <a:pt x="52" y="50"/>
                  <a:pt x="52" y="49"/>
                </a:cubicBezTo>
                <a:cubicBezTo>
                  <a:pt x="50" y="48"/>
                  <a:pt x="50" y="48"/>
                  <a:pt x="49" y="47"/>
                </a:cubicBezTo>
                <a:cubicBezTo>
                  <a:pt x="48" y="47"/>
                  <a:pt x="46" y="47"/>
                  <a:pt x="45" y="47"/>
                </a:cubicBezTo>
                <a:cubicBezTo>
                  <a:pt x="44" y="48"/>
                  <a:pt x="44" y="49"/>
                  <a:pt x="43" y="49"/>
                </a:cubicBezTo>
                <a:cubicBezTo>
                  <a:pt x="41" y="49"/>
                  <a:pt x="42" y="47"/>
                  <a:pt x="40" y="47"/>
                </a:cubicBezTo>
                <a:cubicBezTo>
                  <a:pt x="39" y="47"/>
                  <a:pt x="39" y="47"/>
                  <a:pt x="39" y="46"/>
                </a:cubicBezTo>
                <a:cubicBezTo>
                  <a:pt x="39" y="46"/>
                  <a:pt x="39" y="45"/>
                  <a:pt x="39" y="45"/>
                </a:cubicBezTo>
                <a:cubicBezTo>
                  <a:pt x="39" y="45"/>
                  <a:pt x="38" y="46"/>
                  <a:pt x="38" y="45"/>
                </a:cubicBezTo>
                <a:cubicBezTo>
                  <a:pt x="37" y="45"/>
                  <a:pt x="38" y="44"/>
                  <a:pt x="37" y="44"/>
                </a:cubicBezTo>
                <a:cubicBezTo>
                  <a:pt x="36" y="43"/>
                  <a:pt x="35" y="42"/>
                  <a:pt x="35" y="40"/>
                </a:cubicBezTo>
                <a:cubicBezTo>
                  <a:pt x="34" y="40"/>
                  <a:pt x="34" y="41"/>
                  <a:pt x="33" y="41"/>
                </a:cubicBezTo>
                <a:cubicBezTo>
                  <a:pt x="33" y="42"/>
                  <a:pt x="31" y="42"/>
                  <a:pt x="31" y="43"/>
                </a:cubicBezTo>
                <a:cubicBezTo>
                  <a:pt x="31" y="43"/>
                  <a:pt x="31" y="43"/>
                  <a:pt x="30" y="43"/>
                </a:cubicBezTo>
                <a:cubicBezTo>
                  <a:pt x="30" y="45"/>
                  <a:pt x="30" y="46"/>
                  <a:pt x="30" y="47"/>
                </a:cubicBezTo>
                <a:cubicBezTo>
                  <a:pt x="28" y="47"/>
                  <a:pt x="28" y="49"/>
                  <a:pt x="27" y="50"/>
                </a:cubicBezTo>
                <a:cubicBezTo>
                  <a:pt x="26" y="50"/>
                  <a:pt x="26" y="49"/>
                  <a:pt x="24" y="49"/>
                </a:cubicBezTo>
                <a:cubicBezTo>
                  <a:pt x="24" y="49"/>
                  <a:pt x="24" y="50"/>
                  <a:pt x="24" y="50"/>
                </a:cubicBezTo>
                <a:cubicBezTo>
                  <a:pt x="24" y="51"/>
                  <a:pt x="23" y="51"/>
                  <a:pt x="23" y="52"/>
                </a:cubicBezTo>
                <a:cubicBezTo>
                  <a:pt x="19" y="52"/>
                  <a:pt x="19" y="52"/>
                  <a:pt x="19" y="52"/>
                </a:cubicBezTo>
                <a:cubicBezTo>
                  <a:pt x="17" y="52"/>
                  <a:pt x="17" y="53"/>
                  <a:pt x="16" y="54"/>
                </a:cubicBezTo>
                <a:cubicBezTo>
                  <a:pt x="15" y="54"/>
                  <a:pt x="14" y="54"/>
                  <a:pt x="14" y="54"/>
                </a:cubicBezTo>
                <a:cubicBezTo>
                  <a:pt x="13" y="54"/>
                  <a:pt x="12" y="54"/>
                  <a:pt x="12" y="55"/>
                </a:cubicBezTo>
                <a:cubicBezTo>
                  <a:pt x="11" y="55"/>
                  <a:pt x="11" y="54"/>
                  <a:pt x="10" y="54"/>
                </a:cubicBezTo>
                <a:cubicBezTo>
                  <a:pt x="10" y="54"/>
                  <a:pt x="8" y="54"/>
                  <a:pt x="8" y="53"/>
                </a:cubicBezTo>
                <a:cubicBezTo>
                  <a:pt x="3" y="53"/>
                  <a:pt x="3" y="53"/>
                  <a:pt x="3" y="53"/>
                </a:cubicBezTo>
                <a:cubicBezTo>
                  <a:pt x="4" y="52"/>
                  <a:pt x="3" y="52"/>
                  <a:pt x="3" y="52"/>
                </a:cubicBezTo>
                <a:cubicBezTo>
                  <a:pt x="3" y="52"/>
                  <a:pt x="2" y="52"/>
                  <a:pt x="2" y="51"/>
                </a:cubicBezTo>
                <a:cubicBezTo>
                  <a:pt x="2" y="50"/>
                  <a:pt x="2" y="50"/>
                  <a:pt x="1" y="50"/>
                </a:cubicBezTo>
                <a:cubicBezTo>
                  <a:pt x="1" y="50"/>
                  <a:pt x="1" y="50"/>
                  <a:pt x="1" y="50"/>
                </a:cubicBezTo>
                <a:cubicBezTo>
                  <a:pt x="1" y="50"/>
                  <a:pt x="0" y="52"/>
                  <a:pt x="1" y="52"/>
                </a:cubicBezTo>
                <a:cubicBezTo>
                  <a:pt x="1" y="52"/>
                  <a:pt x="1" y="52"/>
                  <a:pt x="1" y="52"/>
                </a:cubicBezTo>
                <a:cubicBezTo>
                  <a:pt x="2" y="53"/>
                  <a:pt x="1" y="54"/>
                  <a:pt x="2" y="54"/>
                </a:cubicBezTo>
                <a:cubicBezTo>
                  <a:pt x="2" y="55"/>
                  <a:pt x="1" y="56"/>
                  <a:pt x="1" y="57"/>
                </a:cubicBezTo>
                <a:cubicBezTo>
                  <a:pt x="1" y="58"/>
                  <a:pt x="3" y="59"/>
                  <a:pt x="2" y="61"/>
                </a:cubicBezTo>
                <a:cubicBezTo>
                  <a:pt x="2" y="61"/>
                  <a:pt x="3" y="62"/>
                  <a:pt x="3" y="62"/>
                </a:cubicBezTo>
                <a:cubicBezTo>
                  <a:pt x="3" y="63"/>
                  <a:pt x="3" y="64"/>
                  <a:pt x="4" y="64"/>
                </a:cubicBezTo>
                <a:cubicBezTo>
                  <a:pt x="4" y="66"/>
                  <a:pt x="5" y="67"/>
                  <a:pt x="5" y="68"/>
                </a:cubicBezTo>
                <a:cubicBezTo>
                  <a:pt x="5" y="69"/>
                  <a:pt x="6" y="69"/>
                  <a:pt x="6" y="70"/>
                </a:cubicBezTo>
                <a:cubicBezTo>
                  <a:pt x="6" y="70"/>
                  <a:pt x="6" y="70"/>
                  <a:pt x="7" y="70"/>
                </a:cubicBezTo>
                <a:cubicBezTo>
                  <a:pt x="7" y="71"/>
                  <a:pt x="7" y="71"/>
                  <a:pt x="8" y="71"/>
                </a:cubicBezTo>
                <a:cubicBezTo>
                  <a:pt x="7" y="73"/>
                  <a:pt x="8" y="74"/>
                  <a:pt x="10" y="75"/>
                </a:cubicBezTo>
                <a:cubicBezTo>
                  <a:pt x="10" y="76"/>
                  <a:pt x="9" y="76"/>
                  <a:pt x="9" y="77"/>
                </a:cubicBezTo>
                <a:cubicBezTo>
                  <a:pt x="9" y="78"/>
                  <a:pt x="10" y="78"/>
                  <a:pt x="11" y="78"/>
                </a:cubicBezTo>
                <a:cubicBezTo>
                  <a:pt x="11" y="79"/>
                  <a:pt x="12" y="80"/>
                  <a:pt x="12" y="81"/>
                </a:cubicBezTo>
                <a:cubicBezTo>
                  <a:pt x="13" y="82"/>
                  <a:pt x="15" y="81"/>
                  <a:pt x="15" y="83"/>
                </a:cubicBezTo>
                <a:cubicBezTo>
                  <a:pt x="15" y="84"/>
                  <a:pt x="16" y="83"/>
                  <a:pt x="16" y="83"/>
                </a:cubicBezTo>
                <a:cubicBezTo>
                  <a:pt x="16" y="82"/>
                  <a:pt x="17" y="82"/>
                  <a:pt x="18" y="82"/>
                </a:cubicBezTo>
                <a:cubicBezTo>
                  <a:pt x="18" y="80"/>
                  <a:pt x="18" y="79"/>
                  <a:pt x="19" y="79"/>
                </a:cubicBezTo>
                <a:cubicBezTo>
                  <a:pt x="19" y="78"/>
                  <a:pt x="19" y="77"/>
                  <a:pt x="19" y="77"/>
                </a:cubicBezTo>
                <a:cubicBezTo>
                  <a:pt x="19" y="74"/>
                  <a:pt x="20" y="76"/>
                  <a:pt x="22" y="76"/>
                </a:cubicBezTo>
                <a:cubicBezTo>
                  <a:pt x="22" y="75"/>
                  <a:pt x="23" y="74"/>
                  <a:pt x="24" y="74"/>
                </a:cubicBezTo>
                <a:cubicBezTo>
                  <a:pt x="24" y="70"/>
                  <a:pt x="24" y="67"/>
                  <a:pt x="25" y="64"/>
                </a:cubicBezTo>
                <a:cubicBezTo>
                  <a:pt x="25" y="64"/>
                  <a:pt x="26" y="64"/>
                  <a:pt x="26" y="64"/>
                </a:cubicBezTo>
                <a:cubicBezTo>
                  <a:pt x="26" y="63"/>
                  <a:pt x="27" y="63"/>
                  <a:pt x="27" y="63"/>
                </a:cubicBezTo>
                <a:cubicBezTo>
                  <a:pt x="27" y="60"/>
                  <a:pt x="28" y="59"/>
                  <a:pt x="29" y="58"/>
                </a:cubicBezTo>
                <a:cubicBezTo>
                  <a:pt x="29" y="58"/>
                  <a:pt x="30" y="57"/>
                  <a:pt x="30" y="58"/>
                </a:cubicBezTo>
                <a:cubicBezTo>
                  <a:pt x="31" y="58"/>
                  <a:pt x="31" y="60"/>
                  <a:pt x="33" y="59"/>
                </a:cubicBezTo>
                <a:cubicBezTo>
                  <a:pt x="33" y="59"/>
                  <a:pt x="34" y="59"/>
                  <a:pt x="33" y="60"/>
                </a:cubicBezTo>
                <a:cubicBezTo>
                  <a:pt x="34" y="60"/>
                  <a:pt x="34" y="60"/>
                  <a:pt x="34" y="60"/>
                </a:cubicBezTo>
                <a:cubicBezTo>
                  <a:pt x="35" y="60"/>
                  <a:pt x="35" y="60"/>
                  <a:pt x="35" y="61"/>
                </a:cubicBezTo>
                <a:cubicBezTo>
                  <a:pt x="36" y="61"/>
                  <a:pt x="36" y="62"/>
                  <a:pt x="37" y="62"/>
                </a:cubicBezTo>
                <a:cubicBezTo>
                  <a:pt x="37" y="62"/>
                  <a:pt x="37" y="62"/>
                  <a:pt x="38" y="62"/>
                </a:cubicBezTo>
                <a:cubicBezTo>
                  <a:pt x="38" y="62"/>
                  <a:pt x="38" y="63"/>
                  <a:pt x="38" y="63"/>
                </a:cubicBezTo>
                <a:cubicBezTo>
                  <a:pt x="39" y="64"/>
                  <a:pt x="39" y="63"/>
                  <a:pt x="40" y="63"/>
                </a:cubicBezTo>
                <a:cubicBezTo>
                  <a:pt x="41" y="66"/>
                  <a:pt x="43" y="67"/>
                  <a:pt x="45" y="69"/>
                </a:cubicBezTo>
                <a:cubicBezTo>
                  <a:pt x="45" y="69"/>
                  <a:pt x="45" y="69"/>
                  <a:pt x="45" y="70"/>
                </a:cubicBezTo>
                <a:cubicBezTo>
                  <a:pt x="46" y="70"/>
                  <a:pt x="46" y="71"/>
                  <a:pt x="47" y="71"/>
                </a:cubicBezTo>
                <a:cubicBezTo>
                  <a:pt x="47" y="72"/>
                  <a:pt x="47" y="72"/>
                  <a:pt x="47" y="73"/>
                </a:cubicBezTo>
                <a:cubicBezTo>
                  <a:pt x="47" y="73"/>
                  <a:pt x="47" y="74"/>
                  <a:pt x="47" y="74"/>
                </a:cubicBezTo>
                <a:cubicBezTo>
                  <a:pt x="46" y="74"/>
                  <a:pt x="46" y="74"/>
                  <a:pt x="46" y="75"/>
                </a:cubicBezTo>
                <a:cubicBezTo>
                  <a:pt x="46" y="78"/>
                  <a:pt x="46" y="78"/>
                  <a:pt x="46" y="78"/>
                </a:cubicBezTo>
                <a:cubicBezTo>
                  <a:pt x="46" y="78"/>
                  <a:pt x="46" y="78"/>
                  <a:pt x="46" y="78"/>
                </a:cubicBezTo>
                <a:cubicBezTo>
                  <a:pt x="42" y="79"/>
                  <a:pt x="47" y="81"/>
                  <a:pt x="46" y="81"/>
                </a:cubicBezTo>
                <a:cubicBezTo>
                  <a:pt x="46" y="81"/>
                  <a:pt x="46" y="81"/>
                  <a:pt x="46" y="82"/>
                </a:cubicBezTo>
                <a:cubicBezTo>
                  <a:pt x="46" y="82"/>
                  <a:pt x="46" y="83"/>
                  <a:pt x="47" y="83"/>
                </a:cubicBezTo>
                <a:cubicBezTo>
                  <a:pt x="47" y="83"/>
                  <a:pt x="47" y="83"/>
                  <a:pt x="47" y="83"/>
                </a:cubicBezTo>
                <a:cubicBezTo>
                  <a:pt x="47" y="84"/>
                  <a:pt x="46" y="85"/>
                  <a:pt x="47" y="86"/>
                </a:cubicBezTo>
                <a:cubicBezTo>
                  <a:pt x="47" y="86"/>
                  <a:pt x="47" y="86"/>
                  <a:pt x="47" y="86"/>
                </a:cubicBezTo>
                <a:cubicBezTo>
                  <a:pt x="47" y="86"/>
                  <a:pt x="48" y="87"/>
                  <a:pt x="49" y="88"/>
                </a:cubicBezTo>
                <a:cubicBezTo>
                  <a:pt x="49" y="89"/>
                  <a:pt x="49" y="89"/>
                  <a:pt x="49" y="89"/>
                </a:cubicBezTo>
                <a:cubicBezTo>
                  <a:pt x="50" y="89"/>
                  <a:pt x="50" y="90"/>
                  <a:pt x="50" y="90"/>
                </a:cubicBezTo>
                <a:cubicBezTo>
                  <a:pt x="50" y="90"/>
                  <a:pt x="51" y="90"/>
                  <a:pt x="51" y="90"/>
                </a:cubicBezTo>
                <a:cubicBezTo>
                  <a:pt x="51" y="91"/>
                  <a:pt x="51" y="91"/>
                  <a:pt x="52" y="91"/>
                </a:cubicBezTo>
                <a:cubicBezTo>
                  <a:pt x="51" y="92"/>
                  <a:pt x="53" y="92"/>
                  <a:pt x="53" y="94"/>
                </a:cubicBezTo>
                <a:cubicBezTo>
                  <a:pt x="53" y="94"/>
                  <a:pt x="53" y="94"/>
                  <a:pt x="54" y="94"/>
                </a:cubicBezTo>
                <a:cubicBezTo>
                  <a:pt x="54" y="94"/>
                  <a:pt x="55" y="95"/>
                  <a:pt x="56" y="96"/>
                </a:cubicBezTo>
                <a:cubicBezTo>
                  <a:pt x="56" y="96"/>
                  <a:pt x="56" y="96"/>
                  <a:pt x="56" y="96"/>
                </a:cubicBezTo>
                <a:cubicBezTo>
                  <a:pt x="56" y="97"/>
                  <a:pt x="57" y="97"/>
                  <a:pt x="57" y="97"/>
                </a:cubicBezTo>
                <a:cubicBezTo>
                  <a:pt x="57" y="97"/>
                  <a:pt x="57" y="97"/>
                  <a:pt x="58" y="97"/>
                </a:cubicBezTo>
                <a:cubicBezTo>
                  <a:pt x="59" y="98"/>
                  <a:pt x="59" y="99"/>
                  <a:pt x="59" y="100"/>
                </a:cubicBezTo>
                <a:cubicBezTo>
                  <a:pt x="60" y="100"/>
                  <a:pt x="60" y="101"/>
                  <a:pt x="60" y="101"/>
                </a:cubicBezTo>
                <a:cubicBezTo>
                  <a:pt x="60" y="101"/>
                  <a:pt x="60" y="101"/>
                  <a:pt x="61" y="101"/>
                </a:cubicBezTo>
                <a:cubicBezTo>
                  <a:pt x="62" y="103"/>
                  <a:pt x="65" y="102"/>
                  <a:pt x="65" y="105"/>
                </a:cubicBezTo>
                <a:cubicBezTo>
                  <a:pt x="64" y="105"/>
                  <a:pt x="64" y="104"/>
                  <a:pt x="63" y="104"/>
                </a:cubicBezTo>
                <a:cubicBezTo>
                  <a:pt x="62" y="103"/>
                  <a:pt x="61" y="103"/>
                  <a:pt x="60" y="102"/>
                </a:cubicBezTo>
                <a:cubicBezTo>
                  <a:pt x="60" y="103"/>
                  <a:pt x="60" y="103"/>
                  <a:pt x="60" y="103"/>
                </a:cubicBezTo>
                <a:cubicBezTo>
                  <a:pt x="60" y="104"/>
                  <a:pt x="59" y="104"/>
                  <a:pt x="59" y="103"/>
                </a:cubicBezTo>
                <a:cubicBezTo>
                  <a:pt x="58" y="103"/>
                  <a:pt x="58" y="103"/>
                  <a:pt x="58" y="103"/>
                </a:cubicBezTo>
                <a:cubicBezTo>
                  <a:pt x="58" y="102"/>
                  <a:pt x="60" y="102"/>
                  <a:pt x="59" y="101"/>
                </a:cubicBezTo>
                <a:cubicBezTo>
                  <a:pt x="59" y="100"/>
                  <a:pt x="59" y="100"/>
                  <a:pt x="58" y="100"/>
                </a:cubicBezTo>
                <a:cubicBezTo>
                  <a:pt x="58" y="100"/>
                  <a:pt x="58" y="100"/>
                  <a:pt x="58" y="100"/>
                </a:cubicBezTo>
                <a:cubicBezTo>
                  <a:pt x="58" y="100"/>
                  <a:pt x="58" y="99"/>
                  <a:pt x="57" y="99"/>
                </a:cubicBezTo>
                <a:cubicBezTo>
                  <a:pt x="57" y="99"/>
                  <a:pt x="57" y="98"/>
                  <a:pt x="57" y="98"/>
                </a:cubicBezTo>
                <a:cubicBezTo>
                  <a:pt x="57" y="97"/>
                  <a:pt x="54" y="98"/>
                  <a:pt x="54" y="96"/>
                </a:cubicBezTo>
                <a:cubicBezTo>
                  <a:pt x="54" y="96"/>
                  <a:pt x="54" y="96"/>
                  <a:pt x="54" y="96"/>
                </a:cubicBezTo>
                <a:cubicBezTo>
                  <a:pt x="54" y="96"/>
                  <a:pt x="53" y="96"/>
                  <a:pt x="53" y="96"/>
                </a:cubicBezTo>
                <a:cubicBezTo>
                  <a:pt x="53" y="96"/>
                  <a:pt x="52" y="96"/>
                  <a:pt x="52" y="96"/>
                </a:cubicBezTo>
                <a:cubicBezTo>
                  <a:pt x="52" y="96"/>
                  <a:pt x="52" y="96"/>
                  <a:pt x="52" y="96"/>
                </a:cubicBezTo>
                <a:cubicBezTo>
                  <a:pt x="52" y="96"/>
                  <a:pt x="52" y="96"/>
                  <a:pt x="52" y="96"/>
                </a:cubicBezTo>
                <a:cubicBezTo>
                  <a:pt x="51" y="95"/>
                  <a:pt x="50" y="95"/>
                  <a:pt x="51" y="95"/>
                </a:cubicBezTo>
                <a:cubicBezTo>
                  <a:pt x="51" y="95"/>
                  <a:pt x="52" y="95"/>
                  <a:pt x="52" y="95"/>
                </a:cubicBezTo>
                <a:cubicBezTo>
                  <a:pt x="52" y="95"/>
                  <a:pt x="52" y="95"/>
                  <a:pt x="52" y="96"/>
                </a:cubicBezTo>
                <a:cubicBezTo>
                  <a:pt x="52" y="96"/>
                  <a:pt x="53" y="96"/>
                  <a:pt x="53" y="96"/>
                </a:cubicBezTo>
                <a:cubicBezTo>
                  <a:pt x="53" y="95"/>
                  <a:pt x="53" y="94"/>
                  <a:pt x="53" y="93"/>
                </a:cubicBezTo>
                <a:cubicBezTo>
                  <a:pt x="53" y="93"/>
                  <a:pt x="53" y="93"/>
                  <a:pt x="53" y="93"/>
                </a:cubicBezTo>
                <a:cubicBezTo>
                  <a:pt x="52" y="93"/>
                  <a:pt x="52" y="93"/>
                  <a:pt x="52" y="93"/>
                </a:cubicBezTo>
                <a:cubicBezTo>
                  <a:pt x="52" y="93"/>
                  <a:pt x="51" y="93"/>
                  <a:pt x="51" y="92"/>
                </a:cubicBezTo>
                <a:cubicBezTo>
                  <a:pt x="51" y="92"/>
                  <a:pt x="51" y="92"/>
                  <a:pt x="51" y="92"/>
                </a:cubicBezTo>
                <a:cubicBezTo>
                  <a:pt x="50" y="92"/>
                  <a:pt x="50" y="91"/>
                  <a:pt x="50" y="91"/>
                </a:cubicBezTo>
                <a:cubicBezTo>
                  <a:pt x="50" y="91"/>
                  <a:pt x="49" y="90"/>
                  <a:pt x="49" y="90"/>
                </a:cubicBezTo>
                <a:cubicBezTo>
                  <a:pt x="50" y="91"/>
                  <a:pt x="49" y="90"/>
                  <a:pt x="49" y="90"/>
                </a:cubicBezTo>
                <a:cubicBezTo>
                  <a:pt x="49" y="90"/>
                  <a:pt x="49" y="90"/>
                  <a:pt x="49" y="90"/>
                </a:cubicBezTo>
                <a:cubicBezTo>
                  <a:pt x="47" y="90"/>
                  <a:pt x="48" y="88"/>
                  <a:pt x="47" y="88"/>
                </a:cubicBezTo>
                <a:cubicBezTo>
                  <a:pt x="47" y="88"/>
                  <a:pt x="47" y="88"/>
                  <a:pt x="47" y="88"/>
                </a:cubicBezTo>
                <a:cubicBezTo>
                  <a:pt x="46" y="88"/>
                  <a:pt x="45" y="88"/>
                  <a:pt x="45" y="87"/>
                </a:cubicBezTo>
                <a:cubicBezTo>
                  <a:pt x="45" y="87"/>
                  <a:pt x="45" y="87"/>
                  <a:pt x="45" y="87"/>
                </a:cubicBezTo>
                <a:cubicBezTo>
                  <a:pt x="45" y="87"/>
                  <a:pt x="45" y="86"/>
                  <a:pt x="45" y="86"/>
                </a:cubicBezTo>
                <a:cubicBezTo>
                  <a:pt x="44" y="86"/>
                  <a:pt x="43" y="86"/>
                  <a:pt x="42" y="86"/>
                </a:cubicBezTo>
                <a:cubicBezTo>
                  <a:pt x="42" y="87"/>
                  <a:pt x="42" y="87"/>
                  <a:pt x="42" y="87"/>
                </a:cubicBezTo>
                <a:cubicBezTo>
                  <a:pt x="42" y="87"/>
                  <a:pt x="42" y="87"/>
                  <a:pt x="42" y="87"/>
                </a:cubicBezTo>
                <a:cubicBezTo>
                  <a:pt x="43" y="88"/>
                  <a:pt x="43" y="88"/>
                  <a:pt x="43" y="89"/>
                </a:cubicBezTo>
                <a:cubicBezTo>
                  <a:pt x="43" y="89"/>
                  <a:pt x="43" y="89"/>
                  <a:pt x="43" y="89"/>
                </a:cubicBezTo>
                <a:cubicBezTo>
                  <a:pt x="45" y="90"/>
                  <a:pt x="44" y="91"/>
                  <a:pt x="46" y="92"/>
                </a:cubicBezTo>
                <a:cubicBezTo>
                  <a:pt x="46" y="92"/>
                  <a:pt x="46" y="92"/>
                  <a:pt x="46" y="92"/>
                </a:cubicBezTo>
                <a:cubicBezTo>
                  <a:pt x="46" y="93"/>
                  <a:pt x="47" y="93"/>
                  <a:pt x="47" y="94"/>
                </a:cubicBezTo>
                <a:cubicBezTo>
                  <a:pt x="48" y="94"/>
                  <a:pt x="48" y="94"/>
                  <a:pt x="48" y="94"/>
                </a:cubicBezTo>
                <a:cubicBezTo>
                  <a:pt x="48" y="94"/>
                  <a:pt x="48" y="94"/>
                  <a:pt x="48" y="95"/>
                </a:cubicBezTo>
                <a:cubicBezTo>
                  <a:pt x="48" y="95"/>
                  <a:pt x="48" y="95"/>
                  <a:pt x="48" y="95"/>
                </a:cubicBezTo>
                <a:cubicBezTo>
                  <a:pt x="48" y="96"/>
                  <a:pt x="50" y="96"/>
                  <a:pt x="50" y="98"/>
                </a:cubicBezTo>
                <a:cubicBezTo>
                  <a:pt x="50" y="98"/>
                  <a:pt x="50" y="98"/>
                  <a:pt x="50" y="98"/>
                </a:cubicBezTo>
                <a:cubicBezTo>
                  <a:pt x="51" y="98"/>
                  <a:pt x="52" y="98"/>
                  <a:pt x="53" y="98"/>
                </a:cubicBezTo>
                <a:cubicBezTo>
                  <a:pt x="53" y="99"/>
                  <a:pt x="53" y="99"/>
                  <a:pt x="54" y="99"/>
                </a:cubicBezTo>
                <a:cubicBezTo>
                  <a:pt x="54" y="99"/>
                  <a:pt x="54" y="99"/>
                  <a:pt x="54" y="100"/>
                </a:cubicBezTo>
                <a:cubicBezTo>
                  <a:pt x="55" y="100"/>
                  <a:pt x="54" y="102"/>
                  <a:pt x="56" y="103"/>
                </a:cubicBezTo>
                <a:cubicBezTo>
                  <a:pt x="56" y="103"/>
                  <a:pt x="56" y="103"/>
                  <a:pt x="56" y="103"/>
                </a:cubicBezTo>
                <a:cubicBezTo>
                  <a:pt x="56" y="103"/>
                  <a:pt x="56" y="103"/>
                  <a:pt x="56" y="103"/>
                </a:cubicBezTo>
                <a:cubicBezTo>
                  <a:pt x="56" y="103"/>
                  <a:pt x="57" y="103"/>
                  <a:pt x="57" y="103"/>
                </a:cubicBezTo>
                <a:cubicBezTo>
                  <a:pt x="57" y="104"/>
                  <a:pt x="57" y="104"/>
                  <a:pt x="57" y="104"/>
                </a:cubicBezTo>
                <a:cubicBezTo>
                  <a:pt x="57" y="104"/>
                  <a:pt x="57" y="105"/>
                  <a:pt x="56" y="104"/>
                </a:cubicBezTo>
                <a:cubicBezTo>
                  <a:pt x="56" y="104"/>
                  <a:pt x="55" y="104"/>
                  <a:pt x="55" y="103"/>
                </a:cubicBezTo>
                <a:cubicBezTo>
                  <a:pt x="54" y="103"/>
                  <a:pt x="53" y="102"/>
                  <a:pt x="52" y="102"/>
                </a:cubicBezTo>
                <a:cubicBezTo>
                  <a:pt x="52" y="105"/>
                  <a:pt x="55" y="105"/>
                  <a:pt x="56" y="107"/>
                </a:cubicBezTo>
                <a:cubicBezTo>
                  <a:pt x="55" y="109"/>
                  <a:pt x="57" y="109"/>
                  <a:pt x="56" y="111"/>
                </a:cubicBezTo>
                <a:cubicBezTo>
                  <a:pt x="55" y="110"/>
                  <a:pt x="55" y="110"/>
                  <a:pt x="54" y="109"/>
                </a:cubicBezTo>
                <a:cubicBezTo>
                  <a:pt x="53" y="112"/>
                  <a:pt x="55" y="112"/>
                  <a:pt x="56" y="113"/>
                </a:cubicBezTo>
                <a:cubicBezTo>
                  <a:pt x="56" y="115"/>
                  <a:pt x="58" y="115"/>
                  <a:pt x="58" y="116"/>
                </a:cubicBezTo>
                <a:cubicBezTo>
                  <a:pt x="61" y="116"/>
                  <a:pt x="60" y="118"/>
                  <a:pt x="62" y="119"/>
                </a:cubicBezTo>
                <a:cubicBezTo>
                  <a:pt x="62" y="120"/>
                  <a:pt x="63" y="120"/>
                  <a:pt x="63" y="120"/>
                </a:cubicBezTo>
                <a:cubicBezTo>
                  <a:pt x="64" y="121"/>
                  <a:pt x="64" y="121"/>
                  <a:pt x="65" y="121"/>
                </a:cubicBezTo>
                <a:cubicBezTo>
                  <a:pt x="65" y="120"/>
                  <a:pt x="66" y="119"/>
                  <a:pt x="65" y="119"/>
                </a:cubicBezTo>
                <a:cubicBezTo>
                  <a:pt x="64" y="118"/>
                  <a:pt x="64" y="118"/>
                  <a:pt x="63" y="117"/>
                </a:cubicBezTo>
                <a:cubicBezTo>
                  <a:pt x="62" y="117"/>
                  <a:pt x="62" y="116"/>
                  <a:pt x="61" y="116"/>
                </a:cubicBezTo>
                <a:cubicBezTo>
                  <a:pt x="61" y="115"/>
                  <a:pt x="60" y="115"/>
                  <a:pt x="60" y="115"/>
                </a:cubicBezTo>
                <a:cubicBezTo>
                  <a:pt x="60" y="115"/>
                  <a:pt x="60" y="114"/>
                  <a:pt x="60" y="114"/>
                </a:cubicBezTo>
                <a:cubicBezTo>
                  <a:pt x="62" y="114"/>
                  <a:pt x="63" y="115"/>
                  <a:pt x="64" y="116"/>
                </a:cubicBezTo>
                <a:cubicBezTo>
                  <a:pt x="65" y="117"/>
                  <a:pt x="67" y="118"/>
                  <a:pt x="67" y="120"/>
                </a:cubicBezTo>
                <a:cubicBezTo>
                  <a:pt x="69" y="119"/>
                  <a:pt x="68" y="121"/>
                  <a:pt x="70" y="121"/>
                </a:cubicBezTo>
                <a:cubicBezTo>
                  <a:pt x="70" y="121"/>
                  <a:pt x="71" y="122"/>
                  <a:pt x="71" y="123"/>
                </a:cubicBezTo>
                <a:cubicBezTo>
                  <a:pt x="71" y="124"/>
                  <a:pt x="73" y="125"/>
                  <a:pt x="74" y="126"/>
                </a:cubicBezTo>
                <a:cubicBezTo>
                  <a:pt x="76" y="127"/>
                  <a:pt x="78" y="127"/>
                  <a:pt x="79" y="128"/>
                </a:cubicBezTo>
                <a:cubicBezTo>
                  <a:pt x="79" y="128"/>
                  <a:pt x="79" y="128"/>
                  <a:pt x="79" y="129"/>
                </a:cubicBezTo>
                <a:cubicBezTo>
                  <a:pt x="80" y="130"/>
                  <a:pt x="82" y="130"/>
                  <a:pt x="82" y="131"/>
                </a:cubicBezTo>
                <a:cubicBezTo>
                  <a:pt x="82" y="131"/>
                  <a:pt x="82" y="131"/>
                  <a:pt x="82" y="131"/>
                </a:cubicBezTo>
                <a:cubicBezTo>
                  <a:pt x="82" y="132"/>
                  <a:pt x="82" y="132"/>
                  <a:pt x="82" y="132"/>
                </a:cubicBezTo>
                <a:cubicBezTo>
                  <a:pt x="82" y="132"/>
                  <a:pt x="82" y="133"/>
                  <a:pt x="81" y="132"/>
                </a:cubicBezTo>
                <a:cubicBezTo>
                  <a:pt x="81" y="133"/>
                  <a:pt x="81" y="133"/>
                  <a:pt x="81" y="133"/>
                </a:cubicBezTo>
                <a:cubicBezTo>
                  <a:pt x="81" y="133"/>
                  <a:pt x="81" y="133"/>
                  <a:pt x="81" y="133"/>
                </a:cubicBezTo>
                <a:cubicBezTo>
                  <a:pt x="81" y="134"/>
                  <a:pt x="82" y="135"/>
                  <a:pt x="83" y="137"/>
                </a:cubicBezTo>
                <a:cubicBezTo>
                  <a:pt x="83" y="137"/>
                  <a:pt x="83" y="137"/>
                  <a:pt x="83" y="137"/>
                </a:cubicBezTo>
                <a:cubicBezTo>
                  <a:pt x="83" y="137"/>
                  <a:pt x="83" y="137"/>
                  <a:pt x="83" y="137"/>
                </a:cubicBezTo>
                <a:cubicBezTo>
                  <a:pt x="83" y="137"/>
                  <a:pt x="83" y="137"/>
                  <a:pt x="83" y="137"/>
                </a:cubicBezTo>
                <a:cubicBezTo>
                  <a:pt x="84" y="139"/>
                  <a:pt x="85" y="137"/>
                  <a:pt x="86" y="139"/>
                </a:cubicBezTo>
                <a:cubicBezTo>
                  <a:pt x="86" y="139"/>
                  <a:pt x="86" y="139"/>
                  <a:pt x="86" y="139"/>
                </a:cubicBezTo>
                <a:cubicBezTo>
                  <a:pt x="87" y="139"/>
                  <a:pt x="87" y="139"/>
                  <a:pt x="87" y="139"/>
                </a:cubicBezTo>
                <a:cubicBezTo>
                  <a:pt x="87" y="139"/>
                  <a:pt x="88" y="139"/>
                  <a:pt x="88" y="139"/>
                </a:cubicBezTo>
                <a:cubicBezTo>
                  <a:pt x="88" y="139"/>
                  <a:pt x="89" y="139"/>
                  <a:pt x="89" y="139"/>
                </a:cubicBezTo>
                <a:cubicBezTo>
                  <a:pt x="89" y="139"/>
                  <a:pt x="89" y="138"/>
                  <a:pt x="89" y="138"/>
                </a:cubicBezTo>
                <a:cubicBezTo>
                  <a:pt x="89" y="138"/>
                  <a:pt x="90" y="138"/>
                  <a:pt x="91" y="138"/>
                </a:cubicBezTo>
                <a:cubicBezTo>
                  <a:pt x="91" y="138"/>
                  <a:pt x="90" y="137"/>
                  <a:pt x="91" y="137"/>
                </a:cubicBezTo>
                <a:cubicBezTo>
                  <a:pt x="91" y="137"/>
                  <a:pt x="92" y="137"/>
                  <a:pt x="93" y="136"/>
                </a:cubicBezTo>
                <a:cubicBezTo>
                  <a:pt x="95" y="136"/>
                  <a:pt x="96" y="135"/>
                  <a:pt x="97" y="135"/>
                </a:cubicBezTo>
                <a:cubicBezTo>
                  <a:pt x="97" y="136"/>
                  <a:pt x="97" y="137"/>
                  <a:pt x="97" y="137"/>
                </a:cubicBezTo>
                <a:cubicBezTo>
                  <a:pt x="99" y="137"/>
                  <a:pt x="100" y="137"/>
                  <a:pt x="101" y="138"/>
                </a:cubicBezTo>
                <a:cubicBezTo>
                  <a:pt x="102" y="138"/>
                  <a:pt x="103" y="138"/>
                  <a:pt x="104" y="139"/>
                </a:cubicBezTo>
                <a:cubicBezTo>
                  <a:pt x="105" y="140"/>
                  <a:pt x="106" y="140"/>
                  <a:pt x="107" y="140"/>
                </a:cubicBezTo>
                <a:cubicBezTo>
                  <a:pt x="108" y="140"/>
                  <a:pt x="108" y="141"/>
                  <a:pt x="109" y="142"/>
                </a:cubicBezTo>
                <a:cubicBezTo>
                  <a:pt x="110" y="142"/>
                  <a:pt x="110" y="142"/>
                  <a:pt x="111" y="142"/>
                </a:cubicBezTo>
                <a:cubicBezTo>
                  <a:pt x="111" y="142"/>
                  <a:pt x="111" y="142"/>
                  <a:pt x="111" y="142"/>
                </a:cubicBezTo>
                <a:cubicBezTo>
                  <a:pt x="113" y="141"/>
                  <a:pt x="114" y="141"/>
                  <a:pt x="115" y="143"/>
                </a:cubicBezTo>
                <a:cubicBezTo>
                  <a:pt x="115" y="143"/>
                  <a:pt x="115" y="143"/>
                  <a:pt x="115" y="143"/>
                </a:cubicBezTo>
                <a:cubicBezTo>
                  <a:pt x="116" y="144"/>
                  <a:pt x="117" y="144"/>
                  <a:pt x="117" y="145"/>
                </a:cubicBezTo>
                <a:cubicBezTo>
                  <a:pt x="117" y="145"/>
                  <a:pt x="118" y="145"/>
                  <a:pt x="118" y="145"/>
                </a:cubicBezTo>
                <a:cubicBezTo>
                  <a:pt x="118" y="145"/>
                  <a:pt x="118" y="145"/>
                  <a:pt x="118" y="145"/>
                </a:cubicBezTo>
                <a:cubicBezTo>
                  <a:pt x="118" y="146"/>
                  <a:pt x="118" y="146"/>
                  <a:pt x="118" y="146"/>
                </a:cubicBezTo>
                <a:cubicBezTo>
                  <a:pt x="119" y="146"/>
                  <a:pt x="120" y="146"/>
                  <a:pt x="120" y="148"/>
                </a:cubicBezTo>
                <a:cubicBezTo>
                  <a:pt x="120" y="148"/>
                  <a:pt x="120" y="148"/>
                  <a:pt x="120" y="148"/>
                </a:cubicBezTo>
                <a:cubicBezTo>
                  <a:pt x="121" y="148"/>
                  <a:pt x="121" y="149"/>
                  <a:pt x="121" y="148"/>
                </a:cubicBezTo>
                <a:cubicBezTo>
                  <a:pt x="121" y="150"/>
                  <a:pt x="123" y="150"/>
                  <a:pt x="123" y="151"/>
                </a:cubicBezTo>
                <a:cubicBezTo>
                  <a:pt x="125" y="151"/>
                  <a:pt x="125" y="152"/>
                  <a:pt x="127" y="153"/>
                </a:cubicBezTo>
                <a:cubicBezTo>
                  <a:pt x="128" y="153"/>
                  <a:pt x="128" y="155"/>
                  <a:pt x="130" y="154"/>
                </a:cubicBezTo>
                <a:cubicBezTo>
                  <a:pt x="130" y="155"/>
                  <a:pt x="130" y="157"/>
                  <a:pt x="132" y="157"/>
                </a:cubicBezTo>
                <a:cubicBezTo>
                  <a:pt x="132" y="156"/>
                  <a:pt x="132" y="156"/>
                  <a:pt x="132" y="157"/>
                </a:cubicBezTo>
                <a:cubicBezTo>
                  <a:pt x="133" y="158"/>
                  <a:pt x="135" y="159"/>
                  <a:pt x="137" y="160"/>
                </a:cubicBezTo>
                <a:cubicBezTo>
                  <a:pt x="137" y="160"/>
                  <a:pt x="137" y="160"/>
                  <a:pt x="137" y="160"/>
                </a:cubicBezTo>
                <a:cubicBezTo>
                  <a:pt x="137" y="160"/>
                  <a:pt x="138" y="161"/>
                  <a:pt x="138" y="161"/>
                </a:cubicBezTo>
                <a:cubicBezTo>
                  <a:pt x="138" y="161"/>
                  <a:pt x="138" y="161"/>
                  <a:pt x="138" y="161"/>
                </a:cubicBezTo>
                <a:cubicBezTo>
                  <a:pt x="139" y="161"/>
                  <a:pt x="139" y="161"/>
                  <a:pt x="139" y="162"/>
                </a:cubicBezTo>
                <a:cubicBezTo>
                  <a:pt x="140" y="162"/>
                  <a:pt x="140" y="162"/>
                  <a:pt x="140" y="162"/>
                </a:cubicBezTo>
                <a:cubicBezTo>
                  <a:pt x="140" y="162"/>
                  <a:pt x="140" y="162"/>
                  <a:pt x="140" y="163"/>
                </a:cubicBezTo>
                <a:cubicBezTo>
                  <a:pt x="140" y="163"/>
                  <a:pt x="141" y="163"/>
                  <a:pt x="141" y="164"/>
                </a:cubicBezTo>
                <a:cubicBezTo>
                  <a:pt x="140" y="164"/>
                  <a:pt x="139" y="163"/>
                  <a:pt x="139" y="163"/>
                </a:cubicBezTo>
                <a:cubicBezTo>
                  <a:pt x="139" y="163"/>
                  <a:pt x="138" y="163"/>
                  <a:pt x="138" y="163"/>
                </a:cubicBezTo>
                <a:cubicBezTo>
                  <a:pt x="137" y="162"/>
                  <a:pt x="136" y="162"/>
                  <a:pt x="135" y="161"/>
                </a:cubicBezTo>
                <a:cubicBezTo>
                  <a:pt x="135" y="161"/>
                  <a:pt x="135" y="161"/>
                  <a:pt x="135" y="161"/>
                </a:cubicBezTo>
                <a:cubicBezTo>
                  <a:pt x="135" y="160"/>
                  <a:pt x="134" y="160"/>
                  <a:pt x="134" y="160"/>
                </a:cubicBezTo>
                <a:cubicBezTo>
                  <a:pt x="134" y="160"/>
                  <a:pt x="134" y="160"/>
                  <a:pt x="133" y="160"/>
                </a:cubicBezTo>
                <a:cubicBezTo>
                  <a:pt x="133" y="159"/>
                  <a:pt x="133" y="159"/>
                  <a:pt x="132" y="159"/>
                </a:cubicBezTo>
                <a:cubicBezTo>
                  <a:pt x="132" y="159"/>
                  <a:pt x="132" y="159"/>
                  <a:pt x="132" y="159"/>
                </a:cubicBezTo>
                <a:cubicBezTo>
                  <a:pt x="132" y="160"/>
                  <a:pt x="131" y="158"/>
                  <a:pt x="131" y="158"/>
                </a:cubicBezTo>
                <a:cubicBezTo>
                  <a:pt x="130" y="158"/>
                  <a:pt x="130" y="158"/>
                  <a:pt x="130" y="158"/>
                </a:cubicBezTo>
                <a:cubicBezTo>
                  <a:pt x="130" y="157"/>
                  <a:pt x="129" y="158"/>
                  <a:pt x="128" y="158"/>
                </a:cubicBezTo>
                <a:cubicBezTo>
                  <a:pt x="128" y="158"/>
                  <a:pt x="128" y="158"/>
                  <a:pt x="128" y="158"/>
                </a:cubicBezTo>
                <a:cubicBezTo>
                  <a:pt x="128" y="158"/>
                  <a:pt x="127" y="158"/>
                  <a:pt x="127" y="158"/>
                </a:cubicBezTo>
                <a:cubicBezTo>
                  <a:pt x="127" y="158"/>
                  <a:pt x="126" y="158"/>
                  <a:pt x="126" y="158"/>
                </a:cubicBezTo>
                <a:cubicBezTo>
                  <a:pt x="125" y="157"/>
                  <a:pt x="124" y="157"/>
                  <a:pt x="123" y="157"/>
                </a:cubicBezTo>
                <a:cubicBezTo>
                  <a:pt x="123" y="157"/>
                  <a:pt x="123" y="157"/>
                  <a:pt x="123" y="157"/>
                </a:cubicBezTo>
                <a:cubicBezTo>
                  <a:pt x="121" y="157"/>
                  <a:pt x="120" y="157"/>
                  <a:pt x="119" y="157"/>
                </a:cubicBezTo>
                <a:cubicBezTo>
                  <a:pt x="119" y="159"/>
                  <a:pt x="120" y="160"/>
                  <a:pt x="122" y="160"/>
                </a:cubicBezTo>
                <a:cubicBezTo>
                  <a:pt x="122" y="160"/>
                  <a:pt x="122" y="160"/>
                  <a:pt x="122" y="160"/>
                </a:cubicBezTo>
                <a:cubicBezTo>
                  <a:pt x="125" y="160"/>
                  <a:pt x="125" y="160"/>
                  <a:pt x="125" y="160"/>
                </a:cubicBezTo>
                <a:cubicBezTo>
                  <a:pt x="127" y="160"/>
                  <a:pt x="127" y="162"/>
                  <a:pt x="129" y="162"/>
                </a:cubicBezTo>
                <a:cubicBezTo>
                  <a:pt x="129" y="163"/>
                  <a:pt x="131" y="162"/>
                  <a:pt x="132" y="164"/>
                </a:cubicBezTo>
                <a:cubicBezTo>
                  <a:pt x="132" y="164"/>
                  <a:pt x="133" y="164"/>
                  <a:pt x="134" y="164"/>
                </a:cubicBezTo>
                <a:cubicBezTo>
                  <a:pt x="134" y="164"/>
                  <a:pt x="134" y="164"/>
                  <a:pt x="134" y="164"/>
                </a:cubicBezTo>
                <a:cubicBezTo>
                  <a:pt x="135" y="165"/>
                  <a:pt x="136" y="165"/>
                  <a:pt x="137" y="166"/>
                </a:cubicBezTo>
                <a:cubicBezTo>
                  <a:pt x="137" y="166"/>
                  <a:pt x="137" y="166"/>
                  <a:pt x="137" y="166"/>
                </a:cubicBezTo>
                <a:cubicBezTo>
                  <a:pt x="138" y="166"/>
                  <a:pt x="139" y="166"/>
                  <a:pt x="140" y="166"/>
                </a:cubicBezTo>
                <a:cubicBezTo>
                  <a:pt x="140" y="166"/>
                  <a:pt x="141" y="166"/>
                  <a:pt x="141" y="167"/>
                </a:cubicBezTo>
                <a:cubicBezTo>
                  <a:pt x="141" y="166"/>
                  <a:pt x="142" y="166"/>
                  <a:pt x="142" y="166"/>
                </a:cubicBezTo>
                <a:cubicBezTo>
                  <a:pt x="142" y="167"/>
                  <a:pt x="142" y="167"/>
                  <a:pt x="142" y="167"/>
                </a:cubicBezTo>
                <a:cubicBezTo>
                  <a:pt x="143" y="167"/>
                  <a:pt x="143" y="168"/>
                  <a:pt x="143" y="168"/>
                </a:cubicBezTo>
                <a:cubicBezTo>
                  <a:pt x="144" y="168"/>
                  <a:pt x="144" y="169"/>
                  <a:pt x="145" y="169"/>
                </a:cubicBezTo>
                <a:cubicBezTo>
                  <a:pt x="146" y="170"/>
                  <a:pt x="147" y="170"/>
                  <a:pt x="148" y="171"/>
                </a:cubicBezTo>
                <a:cubicBezTo>
                  <a:pt x="149" y="171"/>
                  <a:pt x="150" y="171"/>
                  <a:pt x="151" y="171"/>
                </a:cubicBezTo>
                <a:cubicBezTo>
                  <a:pt x="151" y="171"/>
                  <a:pt x="151" y="171"/>
                  <a:pt x="151" y="171"/>
                </a:cubicBezTo>
                <a:cubicBezTo>
                  <a:pt x="152" y="171"/>
                  <a:pt x="152" y="172"/>
                  <a:pt x="152" y="172"/>
                </a:cubicBezTo>
                <a:cubicBezTo>
                  <a:pt x="152" y="172"/>
                  <a:pt x="152" y="172"/>
                  <a:pt x="153" y="172"/>
                </a:cubicBezTo>
                <a:cubicBezTo>
                  <a:pt x="154" y="173"/>
                  <a:pt x="154" y="173"/>
                  <a:pt x="155" y="173"/>
                </a:cubicBezTo>
                <a:cubicBezTo>
                  <a:pt x="155" y="173"/>
                  <a:pt x="156" y="173"/>
                  <a:pt x="156" y="173"/>
                </a:cubicBezTo>
                <a:cubicBezTo>
                  <a:pt x="156" y="173"/>
                  <a:pt x="156" y="173"/>
                  <a:pt x="156" y="173"/>
                </a:cubicBezTo>
                <a:cubicBezTo>
                  <a:pt x="156" y="173"/>
                  <a:pt x="157" y="174"/>
                  <a:pt x="157" y="174"/>
                </a:cubicBezTo>
                <a:cubicBezTo>
                  <a:pt x="157" y="174"/>
                  <a:pt x="157" y="174"/>
                  <a:pt x="157" y="174"/>
                </a:cubicBezTo>
                <a:cubicBezTo>
                  <a:pt x="157" y="174"/>
                  <a:pt x="158" y="174"/>
                  <a:pt x="158" y="174"/>
                </a:cubicBezTo>
                <a:cubicBezTo>
                  <a:pt x="158" y="174"/>
                  <a:pt x="159" y="174"/>
                  <a:pt x="159" y="175"/>
                </a:cubicBezTo>
                <a:cubicBezTo>
                  <a:pt x="159" y="175"/>
                  <a:pt x="159" y="175"/>
                  <a:pt x="160" y="175"/>
                </a:cubicBezTo>
                <a:cubicBezTo>
                  <a:pt x="160" y="176"/>
                  <a:pt x="161" y="176"/>
                  <a:pt x="162" y="177"/>
                </a:cubicBezTo>
                <a:cubicBezTo>
                  <a:pt x="162" y="177"/>
                  <a:pt x="162" y="177"/>
                  <a:pt x="162" y="177"/>
                </a:cubicBezTo>
                <a:cubicBezTo>
                  <a:pt x="162" y="177"/>
                  <a:pt x="162" y="177"/>
                  <a:pt x="162" y="177"/>
                </a:cubicBezTo>
                <a:cubicBezTo>
                  <a:pt x="162" y="177"/>
                  <a:pt x="162" y="177"/>
                  <a:pt x="162" y="177"/>
                </a:cubicBezTo>
                <a:cubicBezTo>
                  <a:pt x="162" y="178"/>
                  <a:pt x="163" y="179"/>
                  <a:pt x="164" y="179"/>
                </a:cubicBezTo>
                <a:cubicBezTo>
                  <a:pt x="164" y="179"/>
                  <a:pt x="164" y="179"/>
                  <a:pt x="164" y="179"/>
                </a:cubicBezTo>
                <a:cubicBezTo>
                  <a:pt x="165" y="180"/>
                  <a:pt x="165" y="180"/>
                  <a:pt x="166" y="180"/>
                </a:cubicBezTo>
                <a:cubicBezTo>
                  <a:pt x="166" y="181"/>
                  <a:pt x="166" y="181"/>
                  <a:pt x="166" y="181"/>
                </a:cubicBezTo>
                <a:cubicBezTo>
                  <a:pt x="167" y="181"/>
                  <a:pt x="168" y="181"/>
                  <a:pt x="168" y="181"/>
                </a:cubicBezTo>
                <a:cubicBezTo>
                  <a:pt x="168" y="181"/>
                  <a:pt x="169" y="182"/>
                  <a:pt x="169" y="182"/>
                </a:cubicBezTo>
                <a:cubicBezTo>
                  <a:pt x="169" y="182"/>
                  <a:pt x="170" y="182"/>
                  <a:pt x="170" y="182"/>
                </a:cubicBezTo>
                <a:cubicBezTo>
                  <a:pt x="170" y="183"/>
                  <a:pt x="171" y="183"/>
                  <a:pt x="171" y="183"/>
                </a:cubicBezTo>
                <a:cubicBezTo>
                  <a:pt x="171" y="182"/>
                  <a:pt x="170" y="182"/>
                  <a:pt x="170" y="182"/>
                </a:cubicBezTo>
                <a:cubicBezTo>
                  <a:pt x="170" y="182"/>
                  <a:pt x="170" y="181"/>
                  <a:pt x="169" y="181"/>
                </a:cubicBezTo>
                <a:cubicBezTo>
                  <a:pt x="169" y="180"/>
                  <a:pt x="168" y="180"/>
                  <a:pt x="168" y="179"/>
                </a:cubicBezTo>
                <a:cubicBezTo>
                  <a:pt x="167" y="178"/>
                  <a:pt x="167" y="178"/>
                  <a:pt x="166" y="177"/>
                </a:cubicBezTo>
                <a:cubicBezTo>
                  <a:pt x="165" y="176"/>
                  <a:pt x="164" y="176"/>
                  <a:pt x="164" y="175"/>
                </a:cubicBezTo>
                <a:cubicBezTo>
                  <a:pt x="163" y="175"/>
                  <a:pt x="163" y="175"/>
                  <a:pt x="162" y="174"/>
                </a:cubicBezTo>
                <a:cubicBezTo>
                  <a:pt x="161" y="174"/>
                  <a:pt x="161" y="174"/>
                  <a:pt x="160" y="174"/>
                </a:cubicBezTo>
                <a:cubicBezTo>
                  <a:pt x="159" y="173"/>
                  <a:pt x="159" y="173"/>
                  <a:pt x="158" y="172"/>
                </a:cubicBezTo>
                <a:cubicBezTo>
                  <a:pt x="158" y="172"/>
                  <a:pt x="158" y="172"/>
                  <a:pt x="157" y="172"/>
                </a:cubicBezTo>
                <a:cubicBezTo>
                  <a:pt x="156" y="172"/>
                  <a:pt x="155" y="171"/>
                  <a:pt x="154" y="170"/>
                </a:cubicBezTo>
                <a:cubicBezTo>
                  <a:pt x="153" y="170"/>
                  <a:pt x="152" y="169"/>
                  <a:pt x="151" y="169"/>
                </a:cubicBezTo>
                <a:cubicBezTo>
                  <a:pt x="150" y="167"/>
                  <a:pt x="149" y="165"/>
                  <a:pt x="147" y="164"/>
                </a:cubicBezTo>
                <a:cubicBezTo>
                  <a:pt x="147" y="164"/>
                  <a:pt x="147" y="164"/>
                  <a:pt x="146" y="164"/>
                </a:cubicBezTo>
                <a:cubicBezTo>
                  <a:pt x="146" y="163"/>
                  <a:pt x="143" y="164"/>
                  <a:pt x="142" y="163"/>
                </a:cubicBezTo>
                <a:cubicBezTo>
                  <a:pt x="142" y="162"/>
                  <a:pt x="142" y="162"/>
                  <a:pt x="142" y="162"/>
                </a:cubicBezTo>
                <a:cubicBezTo>
                  <a:pt x="142" y="162"/>
                  <a:pt x="142" y="162"/>
                  <a:pt x="142" y="162"/>
                </a:cubicBezTo>
                <a:cubicBezTo>
                  <a:pt x="141" y="162"/>
                  <a:pt x="141" y="162"/>
                  <a:pt x="141" y="162"/>
                </a:cubicBezTo>
                <a:cubicBezTo>
                  <a:pt x="141" y="161"/>
                  <a:pt x="141" y="161"/>
                  <a:pt x="141" y="161"/>
                </a:cubicBezTo>
                <a:cubicBezTo>
                  <a:pt x="141" y="161"/>
                  <a:pt x="140" y="160"/>
                  <a:pt x="140" y="160"/>
                </a:cubicBezTo>
                <a:cubicBezTo>
                  <a:pt x="140" y="160"/>
                  <a:pt x="140" y="160"/>
                  <a:pt x="140" y="160"/>
                </a:cubicBezTo>
                <a:cubicBezTo>
                  <a:pt x="140" y="160"/>
                  <a:pt x="140" y="159"/>
                  <a:pt x="140" y="159"/>
                </a:cubicBezTo>
                <a:cubicBezTo>
                  <a:pt x="139" y="158"/>
                  <a:pt x="141" y="157"/>
                  <a:pt x="141" y="156"/>
                </a:cubicBezTo>
                <a:cubicBezTo>
                  <a:pt x="141" y="156"/>
                  <a:pt x="141" y="156"/>
                  <a:pt x="141" y="156"/>
                </a:cubicBezTo>
                <a:cubicBezTo>
                  <a:pt x="141" y="155"/>
                  <a:pt x="140" y="155"/>
                  <a:pt x="139" y="155"/>
                </a:cubicBezTo>
                <a:cubicBezTo>
                  <a:pt x="139" y="155"/>
                  <a:pt x="139" y="155"/>
                  <a:pt x="139" y="155"/>
                </a:cubicBezTo>
                <a:cubicBezTo>
                  <a:pt x="139" y="155"/>
                  <a:pt x="139" y="155"/>
                  <a:pt x="139" y="155"/>
                </a:cubicBezTo>
                <a:cubicBezTo>
                  <a:pt x="139" y="155"/>
                  <a:pt x="139" y="155"/>
                  <a:pt x="139" y="155"/>
                </a:cubicBezTo>
                <a:cubicBezTo>
                  <a:pt x="139" y="155"/>
                  <a:pt x="139" y="154"/>
                  <a:pt x="139" y="154"/>
                </a:cubicBezTo>
                <a:cubicBezTo>
                  <a:pt x="139" y="154"/>
                  <a:pt x="139" y="154"/>
                  <a:pt x="139" y="154"/>
                </a:cubicBezTo>
                <a:cubicBezTo>
                  <a:pt x="138" y="154"/>
                  <a:pt x="138" y="154"/>
                  <a:pt x="138" y="154"/>
                </a:cubicBezTo>
                <a:cubicBezTo>
                  <a:pt x="138" y="154"/>
                  <a:pt x="138" y="154"/>
                  <a:pt x="138" y="154"/>
                </a:cubicBezTo>
                <a:cubicBezTo>
                  <a:pt x="138" y="154"/>
                  <a:pt x="138" y="154"/>
                  <a:pt x="137" y="154"/>
                </a:cubicBezTo>
                <a:cubicBezTo>
                  <a:pt x="137" y="154"/>
                  <a:pt x="137" y="154"/>
                  <a:pt x="136" y="153"/>
                </a:cubicBezTo>
                <a:cubicBezTo>
                  <a:pt x="136" y="153"/>
                  <a:pt x="136" y="153"/>
                  <a:pt x="136" y="153"/>
                </a:cubicBezTo>
                <a:cubicBezTo>
                  <a:pt x="136" y="153"/>
                  <a:pt x="135" y="152"/>
                  <a:pt x="135" y="153"/>
                </a:cubicBezTo>
                <a:cubicBezTo>
                  <a:pt x="135" y="152"/>
                  <a:pt x="135" y="152"/>
                  <a:pt x="135" y="152"/>
                </a:cubicBezTo>
                <a:cubicBezTo>
                  <a:pt x="134" y="152"/>
                  <a:pt x="134" y="152"/>
                  <a:pt x="134" y="152"/>
                </a:cubicBezTo>
                <a:cubicBezTo>
                  <a:pt x="134" y="152"/>
                  <a:pt x="134" y="152"/>
                  <a:pt x="134" y="152"/>
                </a:cubicBezTo>
                <a:cubicBezTo>
                  <a:pt x="134" y="152"/>
                  <a:pt x="134" y="152"/>
                  <a:pt x="134" y="152"/>
                </a:cubicBezTo>
                <a:cubicBezTo>
                  <a:pt x="134" y="152"/>
                  <a:pt x="134" y="152"/>
                  <a:pt x="134" y="152"/>
                </a:cubicBezTo>
                <a:cubicBezTo>
                  <a:pt x="134" y="152"/>
                  <a:pt x="134" y="152"/>
                  <a:pt x="134" y="152"/>
                </a:cubicBezTo>
                <a:cubicBezTo>
                  <a:pt x="134" y="152"/>
                  <a:pt x="134" y="152"/>
                  <a:pt x="134" y="152"/>
                </a:cubicBezTo>
                <a:cubicBezTo>
                  <a:pt x="133" y="152"/>
                  <a:pt x="133" y="152"/>
                  <a:pt x="133" y="152"/>
                </a:cubicBezTo>
                <a:cubicBezTo>
                  <a:pt x="133" y="152"/>
                  <a:pt x="133" y="152"/>
                  <a:pt x="133" y="152"/>
                </a:cubicBezTo>
                <a:cubicBezTo>
                  <a:pt x="133" y="152"/>
                  <a:pt x="133" y="152"/>
                  <a:pt x="133" y="152"/>
                </a:cubicBezTo>
                <a:cubicBezTo>
                  <a:pt x="133" y="152"/>
                  <a:pt x="133" y="152"/>
                  <a:pt x="133" y="152"/>
                </a:cubicBezTo>
                <a:cubicBezTo>
                  <a:pt x="133" y="152"/>
                  <a:pt x="132" y="152"/>
                  <a:pt x="132" y="152"/>
                </a:cubicBezTo>
                <a:cubicBezTo>
                  <a:pt x="131" y="151"/>
                  <a:pt x="132" y="151"/>
                  <a:pt x="132" y="150"/>
                </a:cubicBezTo>
                <a:cubicBezTo>
                  <a:pt x="131" y="150"/>
                  <a:pt x="130" y="149"/>
                  <a:pt x="128" y="149"/>
                </a:cubicBezTo>
                <a:cubicBezTo>
                  <a:pt x="128" y="148"/>
                  <a:pt x="128" y="147"/>
                  <a:pt x="127" y="147"/>
                </a:cubicBezTo>
                <a:cubicBezTo>
                  <a:pt x="128" y="146"/>
                  <a:pt x="127" y="146"/>
                  <a:pt x="127" y="146"/>
                </a:cubicBezTo>
                <a:cubicBezTo>
                  <a:pt x="127" y="143"/>
                  <a:pt x="126" y="143"/>
                  <a:pt x="126" y="140"/>
                </a:cubicBezTo>
                <a:cubicBezTo>
                  <a:pt x="125" y="138"/>
                  <a:pt x="122" y="138"/>
                  <a:pt x="120" y="137"/>
                </a:cubicBezTo>
                <a:cubicBezTo>
                  <a:pt x="120" y="135"/>
                  <a:pt x="117" y="136"/>
                  <a:pt x="117" y="135"/>
                </a:cubicBezTo>
                <a:cubicBezTo>
                  <a:pt x="116" y="135"/>
                  <a:pt x="116" y="133"/>
                  <a:pt x="114" y="133"/>
                </a:cubicBezTo>
                <a:cubicBezTo>
                  <a:pt x="114" y="131"/>
                  <a:pt x="113" y="131"/>
                  <a:pt x="113" y="129"/>
                </a:cubicBezTo>
                <a:cubicBezTo>
                  <a:pt x="111" y="128"/>
                  <a:pt x="109" y="127"/>
                  <a:pt x="107" y="126"/>
                </a:cubicBezTo>
                <a:cubicBezTo>
                  <a:pt x="107" y="125"/>
                  <a:pt x="107" y="124"/>
                  <a:pt x="107" y="123"/>
                </a:cubicBezTo>
                <a:cubicBezTo>
                  <a:pt x="105" y="121"/>
                  <a:pt x="104" y="120"/>
                  <a:pt x="102" y="119"/>
                </a:cubicBezTo>
                <a:cubicBezTo>
                  <a:pt x="101" y="117"/>
                  <a:pt x="100" y="116"/>
                  <a:pt x="98" y="116"/>
                </a:cubicBezTo>
                <a:cubicBezTo>
                  <a:pt x="98" y="115"/>
                  <a:pt x="98" y="115"/>
                  <a:pt x="98" y="115"/>
                </a:cubicBezTo>
                <a:cubicBezTo>
                  <a:pt x="98" y="114"/>
                  <a:pt x="100" y="115"/>
                  <a:pt x="100" y="114"/>
                </a:cubicBezTo>
                <a:cubicBezTo>
                  <a:pt x="99" y="113"/>
                  <a:pt x="100" y="112"/>
                  <a:pt x="100" y="112"/>
                </a:cubicBezTo>
                <a:cubicBezTo>
                  <a:pt x="100" y="112"/>
                  <a:pt x="99" y="112"/>
                  <a:pt x="99" y="112"/>
                </a:cubicBezTo>
                <a:cubicBezTo>
                  <a:pt x="99" y="111"/>
                  <a:pt x="99" y="111"/>
                  <a:pt x="98" y="111"/>
                </a:cubicBezTo>
                <a:cubicBezTo>
                  <a:pt x="98" y="110"/>
                  <a:pt x="97" y="110"/>
                  <a:pt x="96" y="110"/>
                </a:cubicBezTo>
                <a:cubicBezTo>
                  <a:pt x="95" y="108"/>
                  <a:pt x="93" y="107"/>
                  <a:pt x="91" y="105"/>
                </a:cubicBezTo>
                <a:cubicBezTo>
                  <a:pt x="91" y="104"/>
                  <a:pt x="91" y="104"/>
                  <a:pt x="90" y="104"/>
                </a:cubicBezTo>
                <a:cubicBezTo>
                  <a:pt x="90" y="103"/>
                  <a:pt x="90" y="103"/>
                  <a:pt x="90" y="103"/>
                </a:cubicBezTo>
                <a:cubicBezTo>
                  <a:pt x="90" y="103"/>
                  <a:pt x="90" y="102"/>
                  <a:pt x="90" y="101"/>
                </a:cubicBezTo>
                <a:cubicBezTo>
                  <a:pt x="90" y="100"/>
                  <a:pt x="90" y="100"/>
                  <a:pt x="90" y="99"/>
                </a:cubicBezTo>
                <a:cubicBezTo>
                  <a:pt x="89" y="99"/>
                  <a:pt x="89" y="99"/>
                  <a:pt x="88" y="98"/>
                </a:cubicBezTo>
                <a:cubicBezTo>
                  <a:pt x="88" y="98"/>
                  <a:pt x="88" y="98"/>
                  <a:pt x="88" y="98"/>
                </a:cubicBezTo>
                <a:cubicBezTo>
                  <a:pt x="88" y="98"/>
                  <a:pt x="88" y="98"/>
                  <a:pt x="88" y="98"/>
                </a:cubicBezTo>
                <a:cubicBezTo>
                  <a:pt x="88" y="98"/>
                  <a:pt x="88" y="98"/>
                  <a:pt x="88" y="97"/>
                </a:cubicBezTo>
                <a:cubicBezTo>
                  <a:pt x="88" y="97"/>
                  <a:pt x="88" y="97"/>
                  <a:pt x="87" y="97"/>
                </a:cubicBezTo>
                <a:cubicBezTo>
                  <a:pt x="87" y="97"/>
                  <a:pt x="87" y="96"/>
                  <a:pt x="87" y="96"/>
                </a:cubicBezTo>
                <a:cubicBezTo>
                  <a:pt x="87" y="96"/>
                  <a:pt x="87" y="96"/>
                  <a:pt x="87" y="95"/>
                </a:cubicBezTo>
                <a:cubicBezTo>
                  <a:pt x="87" y="95"/>
                  <a:pt x="87" y="95"/>
                  <a:pt x="87" y="94"/>
                </a:cubicBezTo>
                <a:cubicBezTo>
                  <a:pt x="87" y="94"/>
                  <a:pt x="87" y="94"/>
                  <a:pt x="87" y="94"/>
                </a:cubicBezTo>
                <a:cubicBezTo>
                  <a:pt x="87" y="94"/>
                  <a:pt x="87" y="93"/>
                  <a:pt x="87" y="93"/>
                </a:cubicBezTo>
                <a:cubicBezTo>
                  <a:pt x="87" y="93"/>
                  <a:pt x="87" y="93"/>
                  <a:pt x="87" y="92"/>
                </a:cubicBezTo>
                <a:cubicBezTo>
                  <a:pt x="87" y="92"/>
                  <a:pt x="87" y="92"/>
                  <a:pt x="87" y="92"/>
                </a:cubicBezTo>
                <a:cubicBezTo>
                  <a:pt x="87" y="92"/>
                  <a:pt x="87" y="92"/>
                  <a:pt x="87" y="92"/>
                </a:cubicBezTo>
                <a:cubicBezTo>
                  <a:pt x="87" y="92"/>
                  <a:pt x="87" y="92"/>
                  <a:pt x="87" y="92"/>
                </a:cubicBezTo>
                <a:cubicBezTo>
                  <a:pt x="87" y="92"/>
                  <a:pt x="87" y="92"/>
                  <a:pt x="86" y="91"/>
                </a:cubicBezTo>
                <a:cubicBezTo>
                  <a:pt x="86" y="91"/>
                  <a:pt x="86" y="91"/>
                  <a:pt x="86" y="91"/>
                </a:cubicBezTo>
                <a:cubicBezTo>
                  <a:pt x="86" y="91"/>
                  <a:pt x="86" y="91"/>
                  <a:pt x="86" y="91"/>
                </a:cubicBezTo>
                <a:cubicBezTo>
                  <a:pt x="86" y="91"/>
                  <a:pt x="86" y="91"/>
                  <a:pt x="86" y="91"/>
                </a:cubicBezTo>
                <a:cubicBezTo>
                  <a:pt x="86" y="91"/>
                  <a:pt x="86" y="91"/>
                  <a:pt x="86" y="91"/>
                </a:cubicBezTo>
                <a:cubicBezTo>
                  <a:pt x="86" y="91"/>
                  <a:pt x="86" y="91"/>
                  <a:pt x="86" y="91"/>
                </a:cubicBezTo>
                <a:cubicBezTo>
                  <a:pt x="86" y="91"/>
                  <a:pt x="86" y="91"/>
                  <a:pt x="86" y="91"/>
                </a:cubicBezTo>
                <a:cubicBezTo>
                  <a:pt x="86" y="90"/>
                  <a:pt x="86" y="90"/>
                  <a:pt x="86" y="90"/>
                </a:cubicBezTo>
                <a:cubicBezTo>
                  <a:pt x="86" y="90"/>
                  <a:pt x="85" y="90"/>
                  <a:pt x="85" y="90"/>
                </a:cubicBezTo>
                <a:cubicBezTo>
                  <a:pt x="85" y="90"/>
                  <a:pt x="85" y="90"/>
                  <a:pt x="85" y="90"/>
                </a:cubicBezTo>
                <a:cubicBezTo>
                  <a:pt x="85" y="90"/>
                  <a:pt x="85" y="90"/>
                  <a:pt x="85" y="90"/>
                </a:cubicBezTo>
                <a:cubicBezTo>
                  <a:pt x="85" y="90"/>
                  <a:pt x="85" y="89"/>
                  <a:pt x="85" y="89"/>
                </a:cubicBezTo>
                <a:cubicBezTo>
                  <a:pt x="85" y="89"/>
                  <a:pt x="86" y="89"/>
                  <a:pt x="86" y="89"/>
                </a:cubicBezTo>
                <a:cubicBezTo>
                  <a:pt x="86" y="87"/>
                  <a:pt x="85" y="86"/>
                  <a:pt x="84" y="85"/>
                </a:cubicBezTo>
                <a:cubicBezTo>
                  <a:pt x="84" y="83"/>
                  <a:pt x="82" y="83"/>
                  <a:pt x="81" y="82"/>
                </a:cubicBezTo>
                <a:cubicBezTo>
                  <a:pt x="79" y="82"/>
                  <a:pt x="77" y="82"/>
                  <a:pt x="75" y="81"/>
                </a:cubicBezTo>
                <a:cubicBezTo>
                  <a:pt x="75" y="80"/>
                  <a:pt x="74" y="80"/>
                  <a:pt x="74" y="80"/>
                </a:cubicBezTo>
                <a:cubicBezTo>
                  <a:pt x="74" y="80"/>
                  <a:pt x="75" y="79"/>
                  <a:pt x="75" y="79"/>
                </a:cubicBezTo>
                <a:cubicBezTo>
                  <a:pt x="75" y="79"/>
                  <a:pt x="75" y="78"/>
                  <a:pt x="75" y="78"/>
                </a:cubicBezTo>
                <a:cubicBezTo>
                  <a:pt x="75" y="78"/>
                  <a:pt x="75" y="76"/>
                  <a:pt x="74" y="76"/>
                </a:cubicBezTo>
                <a:cubicBezTo>
                  <a:pt x="73" y="76"/>
                  <a:pt x="73" y="75"/>
                  <a:pt x="72" y="75"/>
                </a:cubicBezTo>
                <a:cubicBezTo>
                  <a:pt x="72" y="74"/>
                  <a:pt x="72" y="74"/>
                  <a:pt x="72" y="74"/>
                </a:cubicBezTo>
                <a:cubicBezTo>
                  <a:pt x="73" y="73"/>
                  <a:pt x="74" y="73"/>
                  <a:pt x="74" y="73"/>
                </a:cubicBezTo>
                <a:cubicBezTo>
                  <a:pt x="75" y="70"/>
                  <a:pt x="73" y="71"/>
                  <a:pt x="73" y="68"/>
                </a:cubicBezTo>
                <a:cubicBezTo>
                  <a:pt x="73" y="66"/>
                  <a:pt x="73" y="64"/>
                  <a:pt x="73" y="62"/>
                </a:cubicBezTo>
                <a:cubicBezTo>
                  <a:pt x="74" y="62"/>
                  <a:pt x="74" y="62"/>
                  <a:pt x="74" y="62"/>
                </a:cubicBezTo>
                <a:cubicBezTo>
                  <a:pt x="76" y="63"/>
                  <a:pt x="76" y="62"/>
                  <a:pt x="77" y="62"/>
                </a:cubicBezTo>
                <a:cubicBezTo>
                  <a:pt x="77" y="62"/>
                  <a:pt x="77" y="61"/>
                  <a:pt x="77" y="61"/>
                </a:cubicBezTo>
                <a:cubicBezTo>
                  <a:pt x="77" y="61"/>
                  <a:pt x="79" y="62"/>
                  <a:pt x="79" y="61"/>
                </a:cubicBezTo>
                <a:cubicBezTo>
                  <a:pt x="81" y="62"/>
                  <a:pt x="82" y="64"/>
                  <a:pt x="83" y="67"/>
                </a:cubicBezTo>
                <a:cubicBezTo>
                  <a:pt x="84" y="67"/>
                  <a:pt x="84" y="68"/>
                  <a:pt x="85" y="68"/>
                </a:cubicBezTo>
                <a:cubicBezTo>
                  <a:pt x="85" y="70"/>
                  <a:pt x="87" y="69"/>
                  <a:pt x="87" y="70"/>
                </a:cubicBezTo>
                <a:cubicBezTo>
                  <a:pt x="87" y="72"/>
                  <a:pt x="89" y="71"/>
                  <a:pt x="88" y="73"/>
                </a:cubicBezTo>
                <a:cubicBezTo>
                  <a:pt x="90" y="73"/>
                  <a:pt x="90" y="73"/>
                  <a:pt x="90" y="73"/>
                </a:cubicBezTo>
                <a:cubicBezTo>
                  <a:pt x="91" y="72"/>
                  <a:pt x="92" y="72"/>
                  <a:pt x="94" y="73"/>
                </a:cubicBezTo>
                <a:cubicBezTo>
                  <a:pt x="94" y="72"/>
                  <a:pt x="94" y="71"/>
                  <a:pt x="95" y="71"/>
                </a:cubicBezTo>
                <a:cubicBezTo>
                  <a:pt x="95" y="69"/>
                  <a:pt x="97" y="69"/>
                  <a:pt x="97" y="67"/>
                </a:cubicBezTo>
                <a:cubicBezTo>
                  <a:pt x="99" y="66"/>
                  <a:pt x="99" y="63"/>
                  <a:pt x="101" y="63"/>
                </a:cubicBezTo>
                <a:cubicBezTo>
                  <a:pt x="102" y="63"/>
                  <a:pt x="102" y="62"/>
                  <a:pt x="103" y="62"/>
                </a:cubicBezTo>
                <a:cubicBezTo>
                  <a:pt x="103" y="62"/>
                  <a:pt x="104" y="62"/>
                  <a:pt x="104" y="62"/>
                </a:cubicBezTo>
                <a:cubicBezTo>
                  <a:pt x="104" y="62"/>
                  <a:pt x="104" y="62"/>
                  <a:pt x="104" y="62"/>
                </a:cubicBezTo>
                <a:cubicBezTo>
                  <a:pt x="104" y="62"/>
                  <a:pt x="104" y="62"/>
                  <a:pt x="104" y="62"/>
                </a:cubicBezTo>
                <a:cubicBezTo>
                  <a:pt x="105" y="63"/>
                  <a:pt x="105" y="63"/>
                  <a:pt x="105" y="63"/>
                </a:cubicBezTo>
                <a:cubicBezTo>
                  <a:pt x="105" y="63"/>
                  <a:pt x="105" y="63"/>
                  <a:pt x="105" y="63"/>
                </a:cubicBezTo>
                <a:cubicBezTo>
                  <a:pt x="105" y="63"/>
                  <a:pt x="105" y="63"/>
                  <a:pt x="105" y="63"/>
                </a:cubicBezTo>
                <a:cubicBezTo>
                  <a:pt x="106" y="63"/>
                  <a:pt x="106" y="63"/>
                  <a:pt x="106" y="63"/>
                </a:cubicBezTo>
                <a:cubicBezTo>
                  <a:pt x="106" y="63"/>
                  <a:pt x="106" y="63"/>
                  <a:pt x="106" y="63"/>
                </a:cubicBezTo>
                <a:cubicBezTo>
                  <a:pt x="107" y="63"/>
                  <a:pt x="107" y="62"/>
                  <a:pt x="107" y="62"/>
                </a:cubicBezTo>
                <a:cubicBezTo>
                  <a:pt x="107" y="62"/>
                  <a:pt x="107" y="62"/>
                  <a:pt x="107" y="62"/>
                </a:cubicBezTo>
                <a:cubicBezTo>
                  <a:pt x="107" y="62"/>
                  <a:pt x="108" y="62"/>
                  <a:pt x="108" y="62"/>
                </a:cubicBezTo>
                <a:cubicBezTo>
                  <a:pt x="108" y="62"/>
                  <a:pt x="108" y="62"/>
                  <a:pt x="108" y="62"/>
                </a:cubicBezTo>
                <a:cubicBezTo>
                  <a:pt x="108" y="62"/>
                  <a:pt x="108" y="62"/>
                  <a:pt x="109" y="62"/>
                </a:cubicBezTo>
                <a:cubicBezTo>
                  <a:pt x="109" y="62"/>
                  <a:pt x="109" y="62"/>
                  <a:pt x="109" y="62"/>
                </a:cubicBezTo>
                <a:cubicBezTo>
                  <a:pt x="109" y="62"/>
                  <a:pt x="109" y="62"/>
                  <a:pt x="110" y="62"/>
                </a:cubicBezTo>
                <a:cubicBezTo>
                  <a:pt x="111" y="62"/>
                  <a:pt x="112" y="61"/>
                  <a:pt x="113" y="61"/>
                </a:cubicBezTo>
                <a:cubicBezTo>
                  <a:pt x="116" y="61"/>
                  <a:pt x="116" y="61"/>
                  <a:pt x="116" y="61"/>
                </a:cubicBezTo>
                <a:cubicBezTo>
                  <a:pt x="116" y="62"/>
                  <a:pt x="116" y="62"/>
                  <a:pt x="116" y="62"/>
                </a:cubicBezTo>
                <a:cubicBezTo>
                  <a:pt x="116" y="63"/>
                  <a:pt x="117" y="63"/>
                  <a:pt x="117" y="63"/>
                </a:cubicBezTo>
                <a:cubicBezTo>
                  <a:pt x="119" y="63"/>
                  <a:pt x="122" y="64"/>
                  <a:pt x="125" y="63"/>
                </a:cubicBezTo>
                <a:cubicBezTo>
                  <a:pt x="125" y="64"/>
                  <a:pt x="126" y="64"/>
                  <a:pt x="127" y="64"/>
                </a:cubicBezTo>
                <a:cubicBezTo>
                  <a:pt x="128" y="64"/>
                  <a:pt x="127" y="65"/>
                  <a:pt x="127" y="65"/>
                </a:cubicBezTo>
                <a:cubicBezTo>
                  <a:pt x="128" y="65"/>
                  <a:pt x="129" y="65"/>
                  <a:pt x="129" y="65"/>
                </a:cubicBezTo>
                <a:cubicBezTo>
                  <a:pt x="129" y="65"/>
                  <a:pt x="129" y="65"/>
                  <a:pt x="129" y="66"/>
                </a:cubicBezTo>
                <a:cubicBezTo>
                  <a:pt x="129" y="66"/>
                  <a:pt x="130" y="65"/>
                  <a:pt x="130" y="66"/>
                </a:cubicBezTo>
                <a:cubicBezTo>
                  <a:pt x="132" y="65"/>
                  <a:pt x="135" y="65"/>
                  <a:pt x="137" y="64"/>
                </a:cubicBezTo>
                <a:cubicBezTo>
                  <a:pt x="137" y="65"/>
                  <a:pt x="138" y="65"/>
                  <a:pt x="139" y="66"/>
                </a:cubicBezTo>
                <a:cubicBezTo>
                  <a:pt x="139" y="66"/>
                  <a:pt x="139" y="66"/>
                  <a:pt x="139" y="66"/>
                </a:cubicBezTo>
                <a:cubicBezTo>
                  <a:pt x="140" y="67"/>
                  <a:pt x="143" y="66"/>
                  <a:pt x="142" y="68"/>
                </a:cubicBezTo>
                <a:cubicBezTo>
                  <a:pt x="143" y="68"/>
                  <a:pt x="144" y="67"/>
                  <a:pt x="144" y="66"/>
                </a:cubicBezTo>
                <a:cubicBezTo>
                  <a:pt x="145" y="66"/>
                  <a:pt x="146" y="65"/>
                  <a:pt x="147" y="65"/>
                </a:cubicBezTo>
                <a:cubicBezTo>
                  <a:pt x="148" y="66"/>
                  <a:pt x="150" y="66"/>
                  <a:pt x="152" y="66"/>
                </a:cubicBezTo>
                <a:cubicBezTo>
                  <a:pt x="152" y="65"/>
                  <a:pt x="152" y="65"/>
                  <a:pt x="153" y="65"/>
                </a:cubicBezTo>
                <a:cubicBezTo>
                  <a:pt x="153" y="64"/>
                  <a:pt x="154" y="64"/>
                  <a:pt x="155" y="64"/>
                </a:cubicBezTo>
                <a:cubicBezTo>
                  <a:pt x="155" y="64"/>
                  <a:pt x="155" y="62"/>
                  <a:pt x="157" y="62"/>
                </a:cubicBezTo>
                <a:cubicBezTo>
                  <a:pt x="158" y="63"/>
                  <a:pt x="160" y="64"/>
                  <a:pt x="161" y="66"/>
                </a:cubicBezTo>
                <a:cubicBezTo>
                  <a:pt x="163" y="66"/>
                  <a:pt x="163" y="66"/>
                  <a:pt x="163" y="66"/>
                </a:cubicBezTo>
                <a:cubicBezTo>
                  <a:pt x="163" y="65"/>
                  <a:pt x="163" y="64"/>
                  <a:pt x="164" y="64"/>
                </a:cubicBezTo>
                <a:cubicBezTo>
                  <a:pt x="166" y="64"/>
                  <a:pt x="166" y="64"/>
                  <a:pt x="166" y="63"/>
                </a:cubicBezTo>
                <a:cubicBezTo>
                  <a:pt x="170" y="63"/>
                  <a:pt x="170" y="63"/>
                  <a:pt x="170" y="63"/>
                </a:cubicBezTo>
                <a:cubicBezTo>
                  <a:pt x="170" y="64"/>
                  <a:pt x="170" y="65"/>
                  <a:pt x="171" y="66"/>
                </a:cubicBezTo>
                <a:cubicBezTo>
                  <a:pt x="171" y="66"/>
                  <a:pt x="171" y="67"/>
                  <a:pt x="171" y="67"/>
                </a:cubicBezTo>
                <a:cubicBezTo>
                  <a:pt x="171" y="67"/>
                  <a:pt x="172" y="67"/>
                  <a:pt x="172" y="67"/>
                </a:cubicBezTo>
                <a:cubicBezTo>
                  <a:pt x="172" y="67"/>
                  <a:pt x="172" y="68"/>
                  <a:pt x="172" y="68"/>
                </a:cubicBezTo>
                <a:cubicBezTo>
                  <a:pt x="172" y="69"/>
                  <a:pt x="173" y="68"/>
                  <a:pt x="173" y="69"/>
                </a:cubicBezTo>
                <a:cubicBezTo>
                  <a:pt x="173" y="69"/>
                  <a:pt x="173" y="70"/>
                  <a:pt x="172" y="70"/>
                </a:cubicBezTo>
                <a:cubicBezTo>
                  <a:pt x="172" y="71"/>
                  <a:pt x="173" y="72"/>
                  <a:pt x="173" y="73"/>
                </a:cubicBezTo>
                <a:cubicBezTo>
                  <a:pt x="176" y="73"/>
                  <a:pt x="176" y="73"/>
                  <a:pt x="176" y="73"/>
                </a:cubicBezTo>
                <a:cubicBezTo>
                  <a:pt x="176" y="73"/>
                  <a:pt x="176" y="73"/>
                  <a:pt x="176" y="73"/>
                </a:cubicBezTo>
                <a:cubicBezTo>
                  <a:pt x="178" y="72"/>
                  <a:pt x="180" y="73"/>
                  <a:pt x="182" y="72"/>
                </a:cubicBezTo>
                <a:cubicBezTo>
                  <a:pt x="182" y="71"/>
                  <a:pt x="182" y="71"/>
                  <a:pt x="183" y="71"/>
                </a:cubicBezTo>
                <a:cubicBezTo>
                  <a:pt x="183" y="71"/>
                  <a:pt x="183" y="71"/>
                  <a:pt x="183" y="71"/>
                </a:cubicBezTo>
                <a:cubicBezTo>
                  <a:pt x="183" y="71"/>
                  <a:pt x="183" y="70"/>
                  <a:pt x="184" y="70"/>
                </a:cubicBezTo>
                <a:cubicBezTo>
                  <a:pt x="185" y="69"/>
                  <a:pt x="185" y="65"/>
                  <a:pt x="184" y="64"/>
                </a:cubicBezTo>
                <a:cubicBezTo>
                  <a:pt x="184" y="62"/>
                  <a:pt x="181" y="62"/>
                  <a:pt x="182" y="60"/>
                </a:cubicBezTo>
                <a:cubicBezTo>
                  <a:pt x="183" y="60"/>
                  <a:pt x="183" y="59"/>
                  <a:pt x="184" y="59"/>
                </a:cubicBezTo>
                <a:cubicBezTo>
                  <a:pt x="185" y="59"/>
                  <a:pt x="186" y="58"/>
                  <a:pt x="186" y="59"/>
                </a:cubicBezTo>
                <a:cubicBezTo>
                  <a:pt x="189" y="59"/>
                  <a:pt x="189" y="59"/>
                  <a:pt x="189" y="59"/>
                </a:cubicBezTo>
                <a:cubicBezTo>
                  <a:pt x="190" y="59"/>
                  <a:pt x="190" y="58"/>
                  <a:pt x="190" y="58"/>
                </a:cubicBezTo>
                <a:cubicBezTo>
                  <a:pt x="191" y="58"/>
                  <a:pt x="192" y="58"/>
                  <a:pt x="192" y="57"/>
                </a:cubicBezTo>
                <a:close/>
                <a:moveTo>
                  <a:pt x="65" y="73"/>
                </a:moveTo>
                <a:cubicBezTo>
                  <a:pt x="65" y="73"/>
                  <a:pt x="65" y="73"/>
                  <a:pt x="65" y="73"/>
                </a:cubicBezTo>
                <a:cubicBezTo>
                  <a:pt x="65" y="73"/>
                  <a:pt x="65" y="73"/>
                  <a:pt x="65" y="73"/>
                </a:cubicBezTo>
                <a:cubicBezTo>
                  <a:pt x="65" y="73"/>
                  <a:pt x="65" y="73"/>
                  <a:pt x="65" y="73"/>
                </a:cubicBezTo>
                <a:close/>
                <a:moveTo>
                  <a:pt x="77" y="45"/>
                </a:moveTo>
                <a:cubicBezTo>
                  <a:pt x="77" y="45"/>
                  <a:pt x="77" y="45"/>
                  <a:pt x="77" y="45"/>
                </a:cubicBezTo>
                <a:cubicBezTo>
                  <a:pt x="77" y="45"/>
                  <a:pt x="77" y="45"/>
                  <a:pt x="77" y="45"/>
                </a:cubicBezTo>
                <a:cubicBezTo>
                  <a:pt x="77" y="45"/>
                  <a:pt x="77" y="45"/>
                  <a:pt x="77" y="45"/>
                </a:cubicBezTo>
                <a:close/>
                <a:moveTo>
                  <a:pt x="79" y="45"/>
                </a:moveTo>
                <a:cubicBezTo>
                  <a:pt x="79" y="45"/>
                  <a:pt x="79" y="45"/>
                  <a:pt x="79" y="45"/>
                </a:cubicBezTo>
                <a:cubicBezTo>
                  <a:pt x="79" y="45"/>
                  <a:pt x="80" y="45"/>
                  <a:pt x="80" y="45"/>
                </a:cubicBezTo>
                <a:cubicBezTo>
                  <a:pt x="80" y="45"/>
                  <a:pt x="79" y="45"/>
                  <a:pt x="79" y="45"/>
                </a:cubicBezTo>
                <a:close/>
                <a:moveTo>
                  <a:pt x="84" y="40"/>
                </a:moveTo>
                <a:cubicBezTo>
                  <a:pt x="84" y="40"/>
                  <a:pt x="84" y="40"/>
                  <a:pt x="84" y="40"/>
                </a:cubicBezTo>
                <a:cubicBezTo>
                  <a:pt x="85" y="40"/>
                  <a:pt x="85" y="40"/>
                  <a:pt x="85" y="40"/>
                </a:cubicBezTo>
                <a:cubicBezTo>
                  <a:pt x="84" y="40"/>
                  <a:pt x="84" y="40"/>
                  <a:pt x="84" y="40"/>
                </a:cubicBezTo>
                <a:close/>
                <a:moveTo>
                  <a:pt x="90" y="35"/>
                </a:moveTo>
                <a:cubicBezTo>
                  <a:pt x="90" y="35"/>
                  <a:pt x="90" y="35"/>
                  <a:pt x="90" y="35"/>
                </a:cubicBezTo>
                <a:cubicBezTo>
                  <a:pt x="90" y="35"/>
                  <a:pt x="90" y="35"/>
                  <a:pt x="90" y="35"/>
                </a:cubicBezTo>
                <a:cubicBezTo>
                  <a:pt x="90" y="35"/>
                  <a:pt x="90" y="35"/>
                  <a:pt x="90" y="35"/>
                </a:cubicBezTo>
                <a:cubicBezTo>
                  <a:pt x="90" y="35"/>
                  <a:pt x="90" y="35"/>
                  <a:pt x="90" y="35"/>
                </a:cubicBezTo>
                <a:cubicBezTo>
                  <a:pt x="90" y="35"/>
                  <a:pt x="90" y="35"/>
                  <a:pt x="89" y="35"/>
                </a:cubicBezTo>
                <a:cubicBezTo>
                  <a:pt x="90" y="35"/>
                  <a:pt x="90" y="35"/>
                  <a:pt x="90" y="35"/>
                </a:cubicBezTo>
                <a:cubicBezTo>
                  <a:pt x="90" y="35"/>
                  <a:pt x="90" y="35"/>
                  <a:pt x="90" y="35"/>
                </a:cubicBezTo>
                <a:cubicBezTo>
                  <a:pt x="90" y="35"/>
                  <a:pt x="90" y="35"/>
                  <a:pt x="90" y="35"/>
                </a:cubicBezTo>
                <a:cubicBezTo>
                  <a:pt x="90" y="35"/>
                  <a:pt x="90" y="35"/>
                  <a:pt x="90" y="35"/>
                </a:cubicBezTo>
                <a:cubicBezTo>
                  <a:pt x="90" y="35"/>
                  <a:pt x="90" y="35"/>
                  <a:pt x="90" y="35"/>
                </a:cubicBezTo>
                <a:cubicBezTo>
                  <a:pt x="90" y="35"/>
                  <a:pt x="90" y="35"/>
                  <a:pt x="91" y="35"/>
                </a:cubicBezTo>
                <a:cubicBezTo>
                  <a:pt x="90" y="35"/>
                  <a:pt x="90" y="35"/>
                  <a:pt x="90" y="35"/>
                </a:cubicBezTo>
                <a:close/>
                <a:moveTo>
                  <a:pt x="100" y="36"/>
                </a:moveTo>
                <a:cubicBezTo>
                  <a:pt x="100" y="36"/>
                  <a:pt x="100" y="36"/>
                  <a:pt x="100" y="36"/>
                </a:cubicBezTo>
                <a:cubicBezTo>
                  <a:pt x="100" y="36"/>
                  <a:pt x="100" y="36"/>
                  <a:pt x="100" y="36"/>
                </a:cubicBezTo>
                <a:cubicBezTo>
                  <a:pt x="100" y="36"/>
                  <a:pt x="100" y="36"/>
                  <a:pt x="100" y="36"/>
                </a:cubicBezTo>
                <a:close/>
                <a:moveTo>
                  <a:pt x="100" y="26"/>
                </a:moveTo>
                <a:cubicBezTo>
                  <a:pt x="100" y="26"/>
                  <a:pt x="100" y="26"/>
                  <a:pt x="100" y="26"/>
                </a:cubicBezTo>
                <a:cubicBezTo>
                  <a:pt x="101" y="26"/>
                  <a:pt x="101" y="26"/>
                  <a:pt x="101" y="26"/>
                </a:cubicBezTo>
                <a:cubicBezTo>
                  <a:pt x="101" y="26"/>
                  <a:pt x="101" y="26"/>
                  <a:pt x="100" y="26"/>
                </a:cubicBezTo>
                <a:close/>
                <a:moveTo>
                  <a:pt x="111" y="44"/>
                </a:moveTo>
                <a:cubicBezTo>
                  <a:pt x="111" y="44"/>
                  <a:pt x="111" y="44"/>
                  <a:pt x="111" y="44"/>
                </a:cubicBezTo>
                <a:cubicBezTo>
                  <a:pt x="111" y="44"/>
                  <a:pt x="111" y="44"/>
                  <a:pt x="111" y="44"/>
                </a:cubicBezTo>
                <a:cubicBezTo>
                  <a:pt x="111" y="44"/>
                  <a:pt x="111" y="44"/>
                  <a:pt x="111" y="44"/>
                </a:cubicBezTo>
                <a:cubicBezTo>
                  <a:pt x="111" y="44"/>
                  <a:pt x="111" y="44"/>
                  <a:pt x="111" y="44"/>
                </a:cubicBezTo>
                <a:cubicBezTo>
                  <a:pt x="111" y="44"/>
                  <a:pt x="111" y="44"/>
                  <a:pt x="111" y="44"/>
                </a:cubicBezTo>
                <a:cubicBezTo>
                  <a:pt x="111" y="44"/>
                  <a:pt x="111" y="44"/>
                  <a:pt x="111" y="44"/>
                </a:cubicBezTo>
                <a:close/>
                <a:moveTo>
                  <a:pt x="143" y="44"/>
                </a:moveTo>
                <a:cubicBezTo>
                  <a:pt x="143" y="44"/>
                  <a:pt x="143" y="43"/>
                  <a:pt x="143" y="43"/>
                </a:cubicBezTo>
                <a:cubicBezTo>
                  <a:pt x="143" y="43"/>
                  <a:pt x="143" y="44"/>
                  <a:pt x="143" y="44"/>
                </a:cubicBezTo>
                <a:close/>
                <a:moveTo>
                  <a:pt x="173" y="44"/>
                </a:moveTo>
                <a:cubicBezTo>
                  <a:pt x="173" y="44"/>
                  <a:pt x="173" y="44"/>
                  <a:pt x="173" y="44"/>
                </a:cubicBezTo>
                <a:cubicBezTo>
                  <a:pt x="173" y="44"/>
                  <a:pt x="173" y="44"/>
                  <a:pt x="173" y="44"/>
                </a:cubicBezTo>
                <a:cubicBezTo>
                  <a:pt x="173" y="44"/>
                  <a:pt x="173" y="44"/>
                  <a:pt x="173" y="44"/>
                </a:cubicBezTo>
                <a:close/>
                <a:moveTo>
                  <a:pt x="124" y="163"/>
                </a:moveTo>
                <a:cubicBezTo>
                  <a:pt x="123" y="162"/>
                  <a:pt x="122" y="162"/>
                  <a:pt x="121" y="162"/>
                </a:cubicBezTo>
                <a:cubicBezTo>
                  <a:pt x="121" y="162"/>
                  <a:pt x="121" y="161"/>
                  <a:pt x="121" y="161"/>
                </a:cubicBezTo>
                <a:cubicBezTo>
                  <a:pt x="121" y="161"/>
                  <a:pt x="120" y="162"/>
                  <a:pt x="119" y="162"/>
                </a:cubicBezTo>
                <a:cubicBezTo>
                  <a:pt x="119" y="162"/>
                  <a:pt x="119" y="161"/>
                  <a:pt x="119" y="161"/>
                </a:cubicBezTo>
                <a:cubicBezTo>
                  <a:pt x="118" y="161"/>
                  <a:pt x="117" y="161"/>
                  <a:pt x="116" y="160"/>
                </a:cubicBezTo>
                <a:cubicBezTo>
                  <a:pt x="115" y="160"/>
                  <a:pt x="114" y="162"/>
                  <a:pt x="113" y="162"/>
                </a:cubicBezTo>
                <a:cubicBezTo>
                  <a:pt x="111" y="162"/>
                  <a:pt x="112" y="160"/>
                  <a:pt x="109" y="160"/>
                </a:cubicBezTo>
                <a:cubicBezTo>
                  <a:pt x="108" y="161"/>
                  <a:pt x="106" y="160"/>
                  <a:pt x="106" y="161"/>
                </a:cubicBezTo>
                <a:cubicBezTo>
                  <a:pt x="106" y="161"/>
                  <a:pt x="106" y="162"/>
                  <a:pt x="106" y="162"/>
                </a:cubicBezTo>
                <a:cubicBezTo>
                  <a:pt x="107" y="162"/>
                  <a:pt x="107" y="162"/>
                  <a:pt x="108" y="162"/>
                </a:cubicBezTo>
                <a:cubicBezTo>
                  <a:pt x="108" y="163"/>
                  <a:pt x="107" y="162"/>
                  <a:pt x="106" y="163"/>
                </a:cubicBezTo>
                <a:cubicBezTo>
                  <a:pt x="106" y="164"/>
                  <a:pt x="107" y="164"/>
                  <a:pt x="107" y="165"/>
                </a:cubicBezTo>
                <a:cubicBezTo>
                  <a:pt x="108" y="165"/>
                  <a:pt x="109" y="165"/>
                  <a:pt x="109" y="165"/>
                </a:cubicBezTo>
                <a:cubicBezTo>
                  <a:pt x="110" y="165"/>
                  <a:pt x="111" y="165"/>
                  <a:pt x="112" y="165"/>
                </a:cubicBezTo>
                <a:cubicBezTo>
                  <a:pt x="112" y="165"/>
                  <a:pt x="113" y="166"/>
                  <a:pt x="113" y="166"/>
                </a:cubicBezTo>
                <a:cubicBezTo>
                  <a:pt x="114" y="166"/>
                  <a:pt x="114" y="165"/>
                  <a:pt x="116" y="165"/>
                </a:cubicBezTo>
                <a:cubicBezTo>
                  <a:pt x="118" y="166"/>
                  <a:pt x="117" y="164"/>
                  <a:pt x="118" y="164"/>
                </a:cubicBezTo>
                <a:cubicBezTo>
                  <a:pt x="121" y="164"/>
                  <a:pt x="123" y="164"/>
                  <a:pt x="125" y="164"/>
                </a:cubicBezTo>
                <a:cubicBezTo>
                  <a:pt x="126" y="164"/>
                  <a:pt x="125" y="163"/>
                  <a:pt x="124" y="163"/>
                </a:cubicBezTo>
                <a:close/>
                <a:moveTo>
                  <a:pt x="145" y="170"/>
                </a:moveTo>
                <a:cubicBezTo>
                  <a:pt x="144" y="170"/>
                  <a:pt x="143" y="170"/>
                  <a:pt x="142" y="169"/>
                </a:cubicBezTo>
                <a:cubicBezTo>
                  <a:pt x="141" y="169"/>
                  <a:pt x="140" y="169"/>
                  <a:pt x="140" y="168"/>
                </a:cubicBezTo>
                <a:cubicBezTo>
                  <a:pt x="136" y="169"/>
                  <a:pt x="133" y="165"/>
                  <a:pt x="130" y="167"/>
                </a:cubicBezTo>
                <a:cubicBezTo>
                  <a:pt x="129" y="168"/>
                  <a:pt x="130" y="168"/>
                  <a:pt x="130" y="169"/>
                </a:cubicBezTo>
                <a:cubicBezTo>
                  <a:pt x="131" y="169"/>
                  <a:pt x="132" y="169"/>
                  <a:pt x="132" y="170"/>
                </a:cubicBezTo>
                <a:cubicBezTo>
                  <a:pt x="133" y="170"/>
                  <a:pt x="134" y="170"/>
                  <a:pt x="135" y="170"/>
                </a:cubicBezTo>
                <a:cubicBezTo>
                  <a:pt x="135" y="170"/>
                  <a:pt x="135" y="171"/>
                  <a:pt x="135" y="171"/>
                </a:cubicBezTo>
                <a:cubicBezTo>
                  <a:pt x="135" y="171"/>
                  <a:pt x="136" y="171"/>
                  <a:pt x="136" y="171"/>
                </a:cubicBezTo>
                <a:cubicBezTo>
                  <a:pt x="136" y="171"/>
                  <a:pt x="136" y="171"/>
                  <a:pt x="137" y="171"/>
                </a:cubicBezTo>
                <a:cubicBezTo>
                  <a:pt x="139" y="172"/>
                  <a:pt x="142" y="172"/>
                  <a:pt x="145" y="172"/>
                </a:cubicBezTo>
                <a:cubicBezTo>
                  <a:pt x="146" y="172"/>
                  <a:pt x="145" y="171"/>
                  <a:pt x="146" y="171"/>
                </a:cubicBezTo>
                <a:cubicBezTo>
                  <a:pt x="145" y="171"/>
                  <a:pt x="145" y="171"/>
                  <a:pt x="145" y="170"/>
                </a:cubicBezTo>
                <a:close/>
                <a:moveTo>
                  <a:pt x="70" y="124"/>
                </a:moveTo>
                <a:cubicBezTo>
                  <a:pt x="70" y="126"/>
                  <a:pt x="71" y="127"/>
                  <a:pt x="72" y="127"/>
                </a:cubicBezTo>
                <a:cubicBezTo>
                  <a:pt x="72" y="125"/>
                  <a:pt x="71" y="124"/>
                  <a:pt x="70" y="124"/>
                </a:cubicBezTo>
                <a:close/>
                <a:moveTo>
                  <a:pt x="54" y="116"/>
                </a:moveTo>
                <a:cubicBezTo>
                  <a:pt x="54" y="116"/>
                  <a:pt x="53" y="116"/>
                  <a:pt x="54" y="116"/>
                </a:cubicBezTo>
                <a:cubicBezTo>
                  <a:pt x="52" y="115"/>
                  <a:pt x="51" y="114"/>
                  <a:pt x="52" y="112"/>
                </a:cubicBezTo>
                <a:cubicBezTo>
                  <a:pt x="49" y="113"/>
                  <a:pt x="50" y="110"/>
                  <a:pt x="49" y="110"/>
                </a:cubicBezTo>
                <a:cubicBezTo>
                  <a:pt x="49" y="109"/>
                  <a:pt x="47" y="109"/>
                  <a:pt x="45" y="109"/>
                </a:cubicBezTo>
                <a:cubicBezTo>
                  <a:pt x="45" y="110"/>
                  <a:pt x="46" y="110"/>
                  <a:pt x="46" y="111"/>
                </a:cubicBezTo>
                <a:cubicBezTo>
                  <a:pt x="46" y="112"/>
                  <a:pt x="47" y="111"/>
                  <a:pt x="47" y="112"/>
                </a:cubicBezTo>
                <a:cubicBezTo>
                  <a:pt x="48" y="114"/>
                  <a:pt x="50" y="114"/>
                  <a:pt x="49" y="116"/>
                </a:cubicBezTo>
                <a:cubicBezTo>
                  <a:pt x="51" y="115"/>
                  <a:pt x="51" y="117"/>
                  <a:pt x="52" y="117"/>
                </a:cubicBezTo>
                <a:cubicBezTo>
                  <a:pt x="52" y="118"/>
                  <a:pt x="52" y="119"/>
                  <a:pt x="52" y="119"/>
                </a:cubicBezTo>
                <a:cubicBezTo>
                  <a:pt x="55" y="119"/>
                  <a:pt x="55" y="121"/>
                  <a:pt x="58" y="121"/>
                </a:cubicBezTo>
                <a:cubicBezTo>
                  <a:pt x="58" y="119"/>
                  <a:pt x="55" y="119"/>
                  <a:pt x="54" y="116"/>
                </a:cubicBezTo>
                <a:close/>
                <a:moveTo>
                  <a:pt x="64" y="123"/>
                </a:moveTo>
                <a:cubicBezTo>
                  <a:pt x="62" y="123"/>
                  <a:pt x="63" y="121"/>
                  <a:pt x="61" y="121"/>
                </a:cubicBezTo>
                <a:cubicBezTo>
                  <a:pt x="60" y="122"/>
                  <a:pt x="60" y="123"/>
                  <a:pt x="59" y="123"/>
                </a:cubicBezTo>
                <a:cubicBezTo>
                  <a:pt x="59" y="125"/>
                  <a:pt x="61" y="125"/>
                  <a:pt x="61" y="126"/>
                </a:cubicBezTo>
                <a:cubicBezTo>
                  <a:pt x="64" y="125"/>
                  <a:pt x="63" y="128"/>
                  <a:pt x="65" y="128"/>
                </a:cubicBezTo>
                <a:cubicBezTo>
                  <a:pt x="66" y="125"/>
                  <a:pt x="63" y="126"/>
                  <a:pt x="64" y="123"/>
                </a:cubicBezTo>
                <a:close/>
                <a:moveTo>
                  <a:pt x="74" y="130"/>
                </a:moveTo>
                <a:cubicBezTo>
                  <a:pt x="72" y="131"/>
                  <a:pt x="72" y="130"/>
                  <a:pt x="71" y="130"/>
                </a:cubicBezTo>
                <a:cubicBezTo>
                  <a:pt x="71" y="131"/>
                  <a:pt x="71" y="132"/>
                  <a:pt x="72" y="132"/>
                </a:cubicBezTo>
                <a:cubicBezTo>
                  <a:pt x="73" y="132"/>
                  <a:pt x="74" y="133"/>
                  <a:pt x="75" y="132"/>
                </a:cubicBezTo>
                <a:cubicBezTo>
                  <a:pt x="75" y="132"/>
                  <a:pt x="75" y="132"/>
                  <a:pt x="75" y="131"/>
                </a:cubicBezTo>
                <a:cubicBezTo>
                  <a:pt x="75" y="131"/>
                  <a:pt x="74" y="131"/>
                  <a:pt x="74" y="130"/>
                </a:cubicBezTo>
                <a:close/>
                <a:moveTo>
                  <a:pt x="73" y="128"/>
                </a:moveTo>
                <a:cubicBezTo>
                  <a:pt x="73" y="129"/>
                  <a:pt x="74" y="130"/>
                  <a:pt x="76" y="130"/>
                </a:cubicBezTo>
                <a:cubicBezTo>
                  <a:pt x="76" y="128"/>
                  <a:pt x="75" y="127"/>
                  <a:pt x="73" y="128"/>
                </a:cubicBezTo>
                <a:close/>
                <a:moveTo>
                  <a:pt x="88" y="142"/>
                </a:moveTo>
                <a:cubicBezTo>
                  <a:pt x="90" y="142"/>
                  <a:pt x="90" y="141"/>
                  <a:pt x="91" y="141"/>
                </a:cubicBezTo>
                <a:cubicBezTo>
                  <a:pt x="92" y="138"/>
                  <a:pt x="87" y="139"/>
                  <a:pt x="88" y="142"/>
                </a:cubicBezTo>
                <a:close/>
                <a:moveTo>
                  <a:pt x="97" y="146"/>
                </a:moveTo>
                <a:cubicBezTo>
                  <a:pt x="97" y="145"/>
                  <a:pt x="98" y="144"/>
                  <a:pt x="98" y="144"/>
                </a:cubicBezTo>
                <a:cubicBezTo>
                  <a:pt x="98" y="143"/>
                  <a:pt x="97" y="143"/>
                  <a:pt x="97" y="142"/>
                </a:cubicBezTo>
                <a:cubicBezTo>
                  <a:pt x="95" y="142"/>
                  <a:pt x="94" y="140"/>
                  <a:pt x="91" y="141"/>
                </a:cubicBezTo>
                <a:cubicBezTo>
                  <a:pt x="91" y="145"/>
                  <a:pt x="95" y="145"/>
                  <a:pt x="97" y="146"/>
                </a:cubicBezTo>
                <a:close/>
                <a:moveTo>
                  <a:pt x="87" y="158"/>
                </a:moveTo>
                <a:cubicBezTo>
                  <a:pt x="87" y="159"/>
                  <a:pt x="86" y="159"/>
                  <a:pt x="87" y="160"/>
                </a:cubicBezTo>
                <a:cubicBezTo>
                  <a:pt x="87" y="160"/>
                  <a:pt x="87" y="161"/>
                  <a:pt x="88" y="161"/>
                </a:cubicBezTo>
                <a:cubicBezTo>
                  <a:pt x="88" y="160"/>
                  <a:pt x="90" y="161"/>
                  <a:pt x="91" y="160"/>
                </a:cubicBezTo>
                <a:cubicBezTo>
                  <a:pt x="91" y="160"/>
                  <a:pt x="91" y="160"/>
                  <a:pt x="91" y="160"/>
                </a:cubicBezTo>
                <a:cubicBezTo>
                  <a:pt x="92" y="159"/>
                  <a:pt x="93" y="160"/>
                  <a:pt x="93" y="160"/>
                </a:cubicBezTo>
                <a:cubicBezTo>
                  <a:pt x="93" y="159"/>
                  <a:pt x="94" y="158"/>
                  <a:pt x="95" y="158"/>
                </a:cubicBezTo>
                <a:cubicBezTo>
                  <a:pt x="93" y="156"/>
                  <a:pt x="88" y="156"/>
                  <a:pt x="87" y="158"/>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3" name="Freeform 91"/>
          <p:cNvSpPr>
            <a:spLocks/>
          </p:cNvSpPr>
          <p:nvPr/>
        </p:nvSpPr>
        <p:spPr bwMode="auto">
          <a:xfrm>
            <a:off x="6770979" y="3732515"/>
            <a:ext cx="425450" cy="371475"/>
          </a:xfrm>
          <a:custGeom>
            <a:avLst/>
            <a:gdLst>
              <a:gd name="T0" fmla="*/ 107 w 110"/>
              <a:gd name="T1" fmla="*/ 58 h 96"/>
              <a:gd name="T2" fmla="*/ 104 w 110"/>
              <a:gd name="T3" fmla="*/ 50 h 96"/>
              <a:gd name="T4" fmla="*/ 103 w 110"/>
              <a:gd name="T5" fmla="*/ 41 h 96"/>
              <a:gd name="T6" fmla="*/ 100 w 110"/>
              <a:gd name="T7" fmla="*/ 39 h 96"/>
              <a:gd name="T8" fmla="*/ 90 w 110"/>
              <a:gd name="T9" fmla="*/ 36 h 96"/>
              <a:gd name="T10" fmla="*/ 93 w 110"/>
              <a:gd name="T11" fmla="*/ 26 h 96"/>
              <a:gd name="T12" fmla="*/ 97 w 110"/>
              <a:gd name="T13" fmla="*/ 21 h 96"/>
              <a:gd name="T14" fmla="*/ 93 w 110"/>
              <a:gd name="T15" fmla="*/ 19 h 96"/>
              <a:gd name="T16" fmla="*/ 90 w 110"/>
              <a:gd name="T17" fmla="*/ 14 h 96"/>
              <a:gd name="T18" fmla="*/ 86 w 110"/>
              <a:gd name="T19" fmla="*/ 12 h 96"/>
              <a:gd name="T20" fmla="*/ 78 w 110"/>
              <a:gd name="T21" fmla="*/ 10 h 96"/>
              <a:gd name="T22" fmla="*/ 77 w 110"/>
              <a:gd name="T23" fmla="*/ 3 h 96"/>
              <a:gd name="T24" fmla="*/ 70 w 110"/>
              <a:gd name="T25" fmla="*/ 5 h 96"/>
              <a:gd name="T26" fmla="*/ 64 w 110"/>
              <a:gd name="T27" fmla="*/ 3 h 96"/>
              <a:gd name="T28" fmla="*/ 55 w 110"/>
              <a:gd name="T29" fmla="*/ 4 h 96"/>
              <a:gd name="T30" fmla="*/ 52 w 110"/>
              <a:gd name="T31" fmla="*/ 7 h 96"/>
              <a:gd name="T32" fmla="*/ 42 w 110"/>
              <a:gd name="T33" fmla="*/ 11 h 96"/>
              <a:gd name="T34" fmla="*/ 37 w 110"/>
              <a:gd name="T35" fmla="*/ 7 h 96"/>
              <a:gd name="T36" fmla="*/ 29 w 110"/>
              <a:gd name="T37" fmla="*/ 7 h 96"/>
              <a:gd name="T38" fmla="*/ 26 w 110"/>
              <a:gd name="T39" fmla="*/ 3 h 96"/>
              <a:gd name="T40" fmla="*/ 21 w 110"/>
              <a:gd name="T41" fmla="*/ 4 h 96"/>
              <a:gd name="T42" fmla="*/ 13 w 110"/>
              <a:gd name="T43" fmla="*/ 7 h 96"/>
              <a:gd name="T44" fmla="*/ 6 w 110"/>
              <a:gd name="T45" fmla="*/ 10 h 96"/>
              <a:gd name="T46" fmla="*/ 2 w 110"/>
              <a:gd name="T47" fmla="*/ 13 h 96"/>
              <a:gd name="T48" fmla="*/ 1 w 110"/>
              <a:gd name="T49" fmla="*/ 18 h 96"/>
              <a:gd name="T50" fmla="*/ 2 w 110"/>
              <a:gd name="T51" fmla="*/ 26 h 96"/>
              <a:gd name="T52" fmla="*/ 13 w 110"/>
              <a:gd name="T53" fmla="*/ 30 h 96"/>
              <a:gd name="T54" fmla="*/ 17 w 110"/>
              <a:gd name="T55" fmla="*/ 32 h 96"/>
              <a:gd name="T56" fmla="*/ 20 w 110"/>
              <a:gd name="T57" fmla="*/ 42 h 96"/>
              <a:gd name="T58" fmla="*/ 30 w 110"/>
              <a:gd name="T59" fmla="*/ 51 h 96"/>
              <a:gd name="T60" fmla="*/ 41 w 110"/>
              <a:gd name="T61" fmla="*/ 53 h 96"/>
              <a:gd name="T62" fmla="*/ 42 w 110"/>
              <a:gd name="T63" fmla="*/ 58 h 96"/>
              <a:gd name="T64" fmla="*/ 42 w 110"/>
              <a:gd name="T65" fmla="*/ 64 h 96"/>
              <a:gd name="T66" fmla="*/ 41 w 110"/>
              <a:gd name="T67" fmla="*/ 69 h 96"/>
              <a:gd name="T68" fmla="*/ 46 w 110"/>
              <a:gd name="T69" fmla="*/ 70 h 96"/>
              <a:gd name="T70" fmla="*/ 52 w 110"/>
              <a:gd name="T71" fmla="*/ 70 h 96"/>
              <a:gd name="T72" fmla="*/ 57 w 110"/>
              <a:gd name="T73" fmla="*/ 66 h 96"/>
              <a:gd name="T74" fmla="*/ 61 w 110"/>
              <a:gd name="T75" fmla="*/ 67 h 96"/>
              <a:gd name="T76" fmla="*/ 62 w 110"/>
              <a:gd name="T77" fmla="*/ 76 h 96"/>
              <a:gd name="T78" fmla="*/ 64 w 110"/>
              <a:gd name="T79" fmla="*/ 79 h 96"/>
              <a:gd name="T80" fmla="*/ 75 w 110"/>
              <a:gd name="T81" fmla="*/ 90 h 96"/>
              <a:gd name="T82" fmla="*/ 75 w 110"/>
              <a:gd name="T83" fmla="*/ 93 h 96"/>
              <a:gd name="T84" fmla="*/ 78 w 110"/>
              <a:gd name="T85" fmla="*/ 95 h 96"/>
              <a:gd name="T86" fmla="*/ 88 w 110"/>
              <a:gd name="T87" fmla="*/ 95 h 96"/>
              <a:gd name="T88" fmla="*/ 91 w 110"/>
              <a:gd name="T89" fmla="*/ 95 h 96"/>
              <a:gd name="T90" fmla="*/ 93 w 110"/>
              <a:gd name="T91" fmla="*/ 86 h 96"/>
              <a:gd name="T92" fmla="*/ 90 w 110"/>
              <a:gd name="T93" fmla="*/ 80 h 96"/>
              <a:gd name="T94" fmla="*/ 98 w 110"/>
              <a:gd name="T95" fmla="*/ 67 h 96"/>
              <a:gd name="T96" fmla="*/ 100 w 110"/>
              <a:gd name="T97" fmla="*/ 68 h 96"/>
              <a:gd name="T98" fmla="*/ 105 w 110"/>
              <a:gd name="T99"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0" h="96">
                <a:moveTo>
                  <a:pt x="110" y="60"/>
                </a:moveTo>
                <a:cubicBezTo>
                  <a:pt x="109" y="60"/>
                  <a:pt x="109" y="60"/>
                  <a:pt x="109" y="60"/>
                </a:cubicBezTo>
                <a:cubicBezTo>
                  <a:pt x="109" y="59"/>
                  <a:pt x="108" y="59"/>
                  <a:pt x="107" y="58"/>
                </a:cubicBezTo>
                <a:cubicBezTo>
                  <a:pt x="107" y="56"/>
                  <a:pt x="108" y="56"/>
                  <a:pt x="108" y="54"/>
                </a:cubicBezTo>
                <a:cubicBezTo>
                  <a:pt x="108" y="52"/>
                  <a:pt x="107" y="53"/>
                  <a:pt x="107" y="51"/>
                </a:cubicBezTo>
                <a:cubicBezTo>
                  <a:pt x="106" y="51"/>
                  <a:pt x="105" y="51"/>
                  <a:pt x="104" y="50"/>
                </a:cubicBezTo>
                <a:cubicBezTo>
                  <a:pt x="104" y="48"/>
                  <a:pt x="106" y="48"/>
                  <a:pt x="106" y="47"/>
                </a:cubicBezTo>
                <a:cubicBezTo>
                  <a:pt x="105" y="45"/>
                  <a:pt x="103" y="45"/>
                  <a:pt x="104" y="42"/>
                </a:cubicBezTo>
                <a:cubicBezTo>
                  <a:pt x="104" y="41"/>
                  <a:pt x="103" y="41"/>
                  <a:pt x="103" y="41"/>
                </a:cubicBezTo>
                <a:cubicBezTo>
                  <a:pt x="103" y="40"/>
                  <a:pt x="102" y="40"/>
                  <a:pt x="102" y="40"/>
                </a:cubicBezTo>
                <a:cubicBezTo>
                  <a:pt x="102" y="40"/>
                  <a:pt x="101" y="39"/>
                  <a:pt x="101" y="39"/>
                </a:cubicBezTo>
                <a:cubicBezTo>
                  <a:pt x="101" y="39"/>
                  <a:pt x="101" y="39"/>
                  <a:pt x="100" y="39"/>
                </a:cubicBezTo>
                <a:cubicBezTo>
                  <a:pt x="100" y="39"/>
                  <a:pt x="100" y="38"/>
                  <a:pt x="99" y="38"/>
                </a:cubicBezTo>
                <a:cubicBezTo>
                  <a:pt x="92" y="38"/>
                  <a:pt x="92" y="38"/>
                  <a:pt x="92" y="38"/>
                </a:cubicBezTo>
                <a:cubicBezTo>
                  <a:pt x="92" y="37"/>
                  <a:pt x="91" y="36"/>
                  <a:pt x="90" y="36"/>
                </a:cubicBezTo>
                <a:cubicBezTo>
                  <a:pt x="90" y="35"/>
                  <a:pt x="90" y="33"/>
                  <a:pt x="91" y="33"/>
                </a:cubicBezTo>
                <a:cubicBezTo>
                  <a:pt x="91" y="31"/>
                  <a:pt x="92" y="30"/>
                  <a:pt x="93" y="29"/>
                </a:cubicBezTo>
                <a:cubicBezTo>
                  <a:pt x="93" y="28"/>
                  <a:pt x="93" y="27"/>
                  <a:pt x="93" y="26"/>
                </a:cubicBezTo>
                <a:cubicBezTo>
                  <a:pt x="95" y="26"/>
                  <a:pt x="95" y="24"/>
                  <a:pt x="96" y="23"/>
                </a:cubicBezTo>
                <a:cubicBezTo>
                  <a:pt x="96" y="22"/>
                  <a:pt x="97" y="23"/>
                  <a:pt x="97" y="22"/>
                </a:cubicBezTo>
                <a:cubicBezTo>
                  <a:pt x="97" y="22"/>
                  <a:pt x="97" y="22"/>
                  <a:pt x="97" y="21"/>
                </a:cubicBezTo>
                <a:cubicBezTo>
                  <a:pt x="97" y="21"/>
                  <a:pt x="97" y="20"/>
                  <a:pt x="96" y="20"/>
                </a:cubicBezTo>
                <a:cubicBezTo>
                  <a:pt x="96" y="20"/>
                  <a:pt x="95" y="20"/>
                  <a:pt x="95" y="19"/>
                </a:cubicBezTo>
                <a:cubicBezTo>
                  <a:pt x="95" y="19"/>
                  <a:pt x="94" y="19"/>
                  <a:pt x="93" y="19"/>
                </a:cubicBezTo>
                <a:cubicBezTo>
                  <a:pt x="93" y="18"/>
                  <a:pt x="92" y="17"/>
                  <a:pt x="91" y="17"/>
                </a:cubicBezTo>
                <a:cubicBezTo>
                  <a:pt x="91" y="16"/>
                  <a:pt x="91" y="16"/>
                  <a:pt x="90" y="16"/>
                </a:cubicBezTo>
                <a:cubicBezTo>
                  <a:pt x="90" y="15"/>
                  <a:pt x="90" y="15"/>
                  <a:pt x="90" y="14"/>
                </a:cubicBezTo>
                <a:cubicBezTo>
                  <a:pt x="89" y="14"/>
                  <a:pt x="89" y="14"/>
                  <a:pt x="89" y="13"/>
                </a:cubicBezTo>
                <a:cubicBezTo>
                  <a:pt x="89" y="13"/>
                  <a:pt x="88" y="13"/>
                  <a:pt x="88" y="12"/>
                </a:cubicBezTo>
                <a:cubicBezTo>
                  <a:pt x="87" y="12"/>
                  <a:pt x="87" y="12"/>
                  <a:pt x="86" y="12"/>
                </a:cubicBezTo>
                <a:cubicBezTo>
                  <a:pt x="83" y="11"/>
                  <a:pt x="84" y="14"/>
                  <a:pt x="81" y="14"/>
                </a:cubicBezTo>
                <a:cubicBezTo>
                  <a:pt x="81" y="13"/>
                  <a:pt x="81" y="13"/>
                  <a:pt x="80" y="13"/>
                </a:cubicBezTo>
                <a:cubicBezTo>
                  <a:pt x="79" y="12"/>
                  <a:pt x="79" y="10"/>
                  <a:pt x="78" y="10"/>
                </a:cubicBezTo>
                <a:cubicBezTo>
                  <a:pt x="78" y="9"/>
                  <a:pt x="78" y="8"/>
                  <a:pt x="77" y="8"/>
                </a:cubicBezTo>
                <a:cubicBezTo>
                  <a:pt x="77" y="6"/>
                  <a:pt x="77" y="5"/>
                  <a:pt x="78" y="5"/>
                </a:cubicBezTo>
                <a:cubicBezTo>
                  <a:pt x="78" y="4"/>
                  <a:pt x="77" y="4"/>
                  <a:pt x="77" y="3"/>
                </a:cubicBezTo>
                <a:cubicBezTo>
                  <a:pt x="77" y="3"/>
                  <a:pt x="75" y="3"/>
                  <a:pt x="75" y="2"/>
                </a:cubicBezTo>
                <a:cubicBezTo>
                  <a:pt x="75" y="3"/>
                  <a:pt x="73" y="2"/>
                  <a:pt x="73" y="4"/>
                </a:cubicBezTo>
                <a:cubicBezTo>
                  <a:pt x="72" y="4"/>
                  <a:pt x="72" y="6"/>
                  <a:pt x="70" y="5"/>
                </a:cubicBezTo>
                <a:cubicBezTo>
                  <a:pt x="70" y="2"/>
                  <a:pt x="70" y="2"/>
                  <a:pt x="70" y="2"/>
                </a:cubicBezTo>
                <a:cubicBezTo>
                  <a:pt x="70" y="1"/>
                  <a:pt x="68" y="1"/>
                  <a:pt x="68" y="0"/>
                </a:cubicBezTo>
                <a:cubicBezTo>
                  <a:pt x="66" y="0"/>
                  <a:pt x="66" y="2"/>
                  <a:pt x="64" y="3"/>
                </a:cubicBezTo>
                <a:cubicBezTo>
                  <a:pt x="57" y="3"/>
                  <a:pt x="57" y="3"/>
                  <a:pt x="57" y="3"/>
                </a:cubicBezTo>
                <a:cubicBezTo>
                  <a:pt x="56" y="2"/>
                  <a:pt x="56" y="3"/>
                  <a:pt x="56" y="3"/>
                </a:cubicBezTo>
                <a:cubicBezTo>
                  <a:pt x="56" y="4"/>
                  <a:pt x="55" y="4"/>
                  <a:pt x="55" y="4"/>
                </a:cubicBezTo>
                <a:cubicBezTo>
                  <a:pt x="55" y="5"/>
                  <a:pt x="54" y="4"/>
                  <a:pt x="53" y="5"/>
                </a:cubicBezTo>
                <a:cubicBezTo>
                  <a:pt x="53" y="5"/>
                  <a:pt x="52" y="5"/>
                  <a:pt x="52" y="5"/>
                </a:cubicBezTo>
                <a:cubicBezTo>
                  <a:pt x="52" y="7"/>
                  <a:pt x="52" y="7"/>
                  <a:pt x="52" y="7"/>
                </a:cubicBezTo>
                <a:cubicBezTo>
                  <a:pt x="50" y="7"/>
                  <a:pt x="50" y="8"/>
                  <a:pt x="49" y="7"/>
                </a:cubicBezTo>
                <a:cubicBezTo>
                  <a:pt x="49" y="8"/>
                  <a:pt x="49" y="8"/>
                  <a:pt x="49" y="8"/>
                </a:cubicBezTo>
                <a:cubicBezTo>
                  <a:pt x="46" y="8"/>
                  <a:pt x="45" y="11"/>
                  <a:pt x="42" y="11"/>
                </a:cubicBezTo>
                <a:cubicBezTo>
                  <a:pt x="41" y="11"/>
                  <a:pt x="41" y="10"/>
                  <a:pt x="39" y="10"/>
                </a:cubicBezTo>
                <a:cubicBezTo>
                  <a:pt x="39" y="10"/>
                  <a:pt x="38" y="9"/>
                  <a:pt x="38" y="8"/>
                </a:cubicBezTo>
                <a:cubicBezTo>
                  <a:pt x="37" y="8"/>
                  <a:pt x="37" y="8"/>
                  <a:pt x="37" y="7"/>
                </a:cubicBezTo>
                <a:cubicBezTo>
                  <a:pt x="35" y="7"/>
                  <a:pt x="33" y="7"/>
                  <a:pt x="31" y="7"/>
                </a:cubicBezTo>
                <a:cubicBezTo>
                  <a:pt x="30" y="7"/>
                  <a:pt x="30" y="8"/>
                  <a:pt x="30" y="9"/>
                </a:cubicBezTo>
                <a:cubicBezTo>
                  <a:pt x="29" y="9"/>
                  <a:pt x="29" y="7"/>
                  <a:pt x="29" y="7"/>
                </a:cubicBezTo>
                <a:cubicBezTo>
                  <a:pt x="28" y="7"/>
                  <a:pt x="27" y="7"/>
                  <a:pt x="26" y="7"/>
                </a:cubicBezTo>
                <a:cubicBezTo>
                  <a:pt x="26" y="6"/>
                  <a:pt x="26" y="6"/>
                  <a:pt x="26" y="6"/>
                </a:cubicBezTo>
                <a:cubicBezTo>
                  <a:pt x="26" y="3"/>
                  <a:pt x="26" y="3"/>
                  <a:pt x="26" y="3"/>
                </a:cubicBezTo>
                <a:cubicBezTo>
                  <a:pt x="25" y="3"/>
                  <a:pt x="24" y="3"/>
                  <a:pt x="23" y="3"/>
                </a:cubicBezTo>
                <a:cubicBezTo>
                  <a:pt x="23" y="3"/>
                  <a:pt x="23" y="4"/>
                  <a:pt x="22" y="4"/>
                </a:cubicBezTo>
                <a:cubicBezTo>
                  <a:pt x="22" y="4"/>
                  <a:pt x="21" y="4"/>
                  <a:pt x="21" y="4"/>
                </a:cubicBezTo>
                <a:cubicBezTo>
                  <a:pt x="19" y="4"/>
                  <a:pt x="19" y="6"/>
                  <a:pt x="17" y="5"/>
                </a:cubicBezTo>
                <a:cubicBezTo>
                  <a:pt x="16" y="6"/>
                  <a:pt x="15" y="7"/>
                  <a:pt x="14" y="7"/>
                </a:cubicBezTo>
                <a:cubicBezTo>
                  <a:pt x="13" y="7"/>
                  <a:pt x="13" y="7"/>
                  <a:pt x="13" y="7"/>
                </a:cubicBezTo>
                <a:cubicBezTo>
                  <a:pt x="13" y="9"/>
                  <a:pt x="11" y="7"/>
                  <a:pt x="10" y="9"/>
                </a:cubicBezTo>
                <a:cubicBezTo>
                  <a:pt x="10" y="9"/>
                  <a:pt x="10" y="9"/>
                  <a:pt x="10" y="9"/>
                </a:cubicBezTo>
                <a:cubicBezTo>
                  <a:pt x="8" y="9"/>
                  <a:pt x="6" y="9"/>
                  <a:pt x="6" y="10"/>
                </a:cubicBezTo>
                <a:cubicBezTo>
                  <a:pt x="6" y="11"/>
                  <a:pt x="6" y="11"/>
                  <a:pt x="6" y="11"/>
                </a:cubicBezTo>
                <a:cubicBezTo>
                  <a:pt x="6" y="11"/>
                  <a:pt x="6" y="11"/>
                  <a:pt x="6" y="11"/>
                </a:cubicBezTo>
                <a:cubicBezTo>
                  <a:pt x="4" y="11"/>
                  <a:pt x="3" y="12"/>
                  <a:pt x="2" y="13"/>
                </a:cubicBezTo>
                <a:cubicBezTo>
                  <a:pt x="1" y="13"/>
                  <a:pt x="1" y="13"/>
                  <a:pt x="1" y="13"/>
                </a:cubicBezTo>
                <a:cubicBezTo>
                  <a:pt x="0" y="14"/>
                  <a:pt x="0" y="15"/>
                  <a:pt x="0" y="17"/>
                </a:cubicBezTo>
                <a:cubicBezTo>
                  <a:pt x="0" y="17"/>
                  <a:pt x="1" y="17"/>
                  <a:pt x="1" y="18"/>
                </a:cubicBezTo>
                <a:cubicBezTo>
                  <a:pt x="0" y="20"/>
                  <a:pt x="1" y="21"/>
                  <a:pt x="1" y="21"/>
                </a:cubicBezTo>
                <a:cubicBezTo>
                  <a:pt x="1" y="22"/>
                  <a:pt x="1" y="23"/>
                  <a:pt x="1" y="23"/>
                </a:cubicBezTo>
                <a:cubicBezTo>
                  <a:pt x="2" y="24"/>
                  <a:pt x="2" y="25"/>
                  <a:pt x="2" y="26"/>
                </a:cubicBezTo>
                <a:cubicBezTo>
                  <a:pt x="3" y="27"/>
                  <a:pt x="3" y="28"/>
                  <a:pt x="3" y="29"/>
                </a:cubicBezTo>
                <a:cubicBezTo>
                  <a:pt x="6" y="29"/>
                  <a:pt x="7" y="31"/>
                  <a:pt x="10" y="31"/>
                </a:cubicBezTo>
                <a:cubicBezTo>
                  <a:pt x="12" y="32"/>
                  <a:pt x="11" y="29"/>
                  <a:pt x="13" y="30"/>
                </a:cubicBezTo>
                <a:cubicBezTo>
                  <a:pt x="15" y="30"/>
                  <a:pt x="15" y="30"/>
                  <a:pt x="15" y="30"/>
                </a:cubicBezTo>
                <a:cubicBezTo>
                  <a:pt x="15" y="30"/>
                  <a:pt x="14" y="31"/>
                  <a:pt x="15" y="31"/>
                </a:cubicBezTo>
                <a:cubicBezTo>
                  <a:pt x="16" y="31"/>
                  <a:pt x="16" y="32"/>
                  <a:pt x="17" y="32"/>
                </a:cubicBezTo>
                <a:cubicBezTo>
                  <a:pt x="18" y="34"/>
                  <a:pt x="18" y="35"/>
                  <a:pt x="19" y="36"/>
                </a:cubicBezTo>
                <a:cubicBezTo>
                  <a:pt x="19" y="38"/>
                  <a:pt x="19" y="39"/>
                  <a:pt x="18" y="39"/>
                </a:cubicBezTo>
                <a:cubicBezTo>
                  <a:pt x="18" y="41"/>
                  <a:pt x="20" y="41"/>
                  <a:pt x="20" y="42"/>
                </a:cubicBezTo>
                <a:cubicBezTo>
                  <a:pt x="24" y="42"/>
                  <a:pt x="26" y="42"/>
                  <a:pt x="29" y="44"/>
                </a:cubicBezTo>
                <a:cubicBezTo>
                  <a:pt x="29" y="48"/>
                  <a:pt x="29" y="48"/>
                  <a:pt x="29" y="48"/>
                </a:cubicBezTo>
                <a:cubicBezTo>
                  <a:pt x="29" y="49"/>
                  <a:pt x="29" y="50"/>
                  <a:pt x="30" y="51"/>
                </a:cubicBezTo>
                <a:cubicBezTo>
                  <a:pt x="30" y="51"/>
                  <a:pt x="30" y="51"/>
                  <a:pt x="31" y="51"/>
                </a:cubicBezTo>
                <a:cubicBezTo>
                  <a:pt x="37" y="51"/>
                  <a:pt x="37" y="51"/>
                  <a:pt x="37" y="51"/>
                </a:cubicBezTo>
                <a:cubicBezTo>
                  <a:pt x="38" y="52"/>
                  <a:pt x="40" y="52"/>
                  <a:pt x="41" y="53"/>
                </a:cubicBezTo>
                <a:cubicBezTo>
                  <a:pt x="42" y="53"/>
                  <a:pt x="42" y="55"/>
                  <a:pt x="44" y="55"/>
                </a:cubicBezTo>
                <a:cubicBezTo>
                  <a:pt x="43" y="55"/>
                  <a:pt x="43" y="56"/>
                  <a:pt x="43" y="57"/>
                </a:cubicBezTo>
                <a:cubicBezTo>
                  <a:pt x="43" y="57"/>
                  <a:pt x="43" y="57"/>
                  <a:pt x="42" y="58"/>
                </a:cubicBezTo>
                <a:cubicBezTo>
                  <a:pt x="42" y="58"/>
                  <a:pt x="42" y="58"/>
                  <a:pt x="41" y="58"/>
                </a:cubicBezTo>
                <a:cubicBezTo>
                  <a:pt x="41" y="59"/>
                  <a:pt x="41" y="59"/>
                  <a:pt x="40" y="60"/>
                </a:cubicBezTo>
                <a:cubicBezTo>
                  <a:pt x="40" y="62"/>
                  <a:pt x="42" y="62"/>
                  <a:pt x="42" y="64"/>
                </a:cubicBezTo>
                <a:cubicBezTo>
                  <a:pt x="42" y="65"/>
                  <a:pt x="42" y="65"/>
                  <a:pt x="42" y="65"/>
                </a:cubicBezTo>
                <a:cubicBezTo>
                  <a:pt x="42" y="66"/>
                  <a:pt x="42" y="67"/>
                  <a:pt x="40" y="68"/>
                </a:cubicBezTo>
                <a:cubicBezTo>
                  <a:pt x="40" y="68"/>
                  <a:pt x="40" y="69"/>
                  <a:pt x="41" y="69"/>
                </a:cubicBezTo>
                <a:cubicBezTo>
                  <a:pt x="42" y="69"/>
                  <a:pt x="42" y="68"/>
                  <a:pt x="43" y="68"/>
                </a:cubicBezTo>
                <a:cubicBezTo>
                  <a:pt x="43" y="69"/>
                  <a:pt x="44" y="69"/>
                  <a:pt x="45" y="69"/>
                </a:cubicBezTo>
                <a:cubicBezTo>
                  <a:pt x="45" y="70"/>
                  <a:pt x="46" y="70"/>
                  <a:pt x="46" y="70"/>
                </a:cubicBezTo>
                <a:cubicBezTo>
                  <a:pt x="48" y="70"/>
                  <a:pt x="49" y="70"/>
                  <a:pt x="50" y="69"/>
                </a:cubicBezTo>
                <a:cubicBezTo>
                  <a:pt x="51" y="69"/>
                  <a:pt x="51" y="69"/>
                  <a:pt x="51" y="69"/>
                </a:cubicBezTo>
                <a:cubicBezTo>
                  <a:pt x="52" y="69"/>
                  <a:pt x="52" y="70"/>
                  <a:pt x="52" y="70"/>
                </a:cubicBezTo>
                <a:cubicBezTo>
                  <a:pt x="53" y="69"/>
                  <a:pt x="54" y="69"/>
                  <a:pt x="55" y="69"/>
                </a:cubicBezTo>
                <a:cubicBezTo>
                  <a:pt x="55" y="68"/>
                  <a:pt x="56" y="68"/>
                  <a:pt x="56" y="67"/>
                </a:cubicBezTo>
                <a:cubicBezTo>
                  <a:pt x="56" y="66"/>
                  <a:pt x="57" y="66"/>
                  <a:pt x="57" y="66"/>
                </a:cubicBezTo>
                <a:cubicBezTo>
                  <a:pt x="58" y="66"/>
                  <a:pt x="58" y="65"/>
                  <a:pt x="58" y="65"/>
                </a:cubicBezTo>
                <a:cubicBezTo>
                  <a:pt x="59" y="64"/>
                  <a:pt x="63" y="63"/>
                  <a:pt x="63" y="65"/>
                </a:cubicBezTo>
                <a:cubicBezTo>
                  <a:pt x="63" y="66"/>
                  <a:pt x="62" y="66"/>
                  <a:pt x="61" y="67"/>
                </a:cubicBezTo>
                <a:cubicBezTo>
                  <a:pt x="60" y="68"/>
                  <a:pt x="60" y="69"/>
                  <a:pt x="60" y="70"/>
                </a:cubicBezTo>
                <a:cubicBezTo>
                  <a:pt x="63" y="70"/>
                  <a:pt x="63" y="73"/>
                  <a:pt x="63" y="76"/>
                </a:cubicBezTo>
                <a:cubicBezTo>
                  <a:pt x="62" y="76"/>
                  <a:pt x="62" y="76"/>
                  <a:pt x="62" y="76"/>
                </a:cubicBezTo>
                <a:cubicBezTo>
                  <a:pt x="62" y="78"/>
                  <a:pt x="62" y="78"/>
                  <a:pt x="62" y="78"/>
                </a:cubicBezTo>
                <a:cubicBezTo>
                  <a:pt x="64" y="78"/>
                  <a:pt x="64" y="78"/>
                  <a:pt x="64" y="78"/>
                </a:cubicBezTo>
                <a:cubicBezTo>
                  <a:pt x="64" y="79"/>
                  <a:pt x="64" y="79"/>
                  <a:pt x="64" y="79"/>
                </a:cubicBezTo>
                <a:cubicBezTo>
                  <a:pt x="66" y="79"/>
                  <a:pt x="67" y="79"/>
                  <a:pt x="67" y="83"/>
                </a:cubicBezTo>
                <a:cubicBezTo>
                  <a:pt x="68" y="83"/>
                  <a:pt x="69" y="85"/>
                  <a:pt x="71" y="85"/>
                </a:cubicBezTo>
                <a:cubicBezTo>
                  <a:pt x="72" y="87"/>
                  <a:pt x="74" y="88"/>
                  <a:pt x="75" y="90"/>
                </a:cubicBezTo>
                <a:cubicBezTo>
                  <a:pt x="75" y="90"/>
                  <a:pt x="75" y="90"/>
                  <a:pt x="75" y="90"/>
                </a:cubicBezTo>
                <a:cubicBezTo>
                  <a:pt x="74" y="91"/>
                  <a:pt x="75" y="91"/>
                  <a:pt x="75" y="91"/>
                </a:cubicBezTo>
                <a:cubicBezTo>
                  <a:pt x="75" y="93"/>
                  <a:pt x="75" y="93"/>
                  <a:pt x="75" y="93"/>
                </a:cubicBezTo>
                <a:cubicBezTo>
                  <a:pt x="75" y="94"/>
                  <a:pt x="75" y="94"/>
                  <a:pt x="76" y="94"/>
                </a:cubicBezTo>
                <a:cubicBezTo>
                  <a:pt x="77" y="94"/>
                  <a:pt x="77" y="95"/>
                  <a:pt x="78" y="94"/>
                </a:cubicBezTo>
                <a:cubicBezTo>
                  <a:pt x="78" y="95"/>
                  <a:pt x="78" y="95"/>
                  <a:pt x="78" y="95"/>
                </a:cubicBezTo>
                <a:cubicBezTo>
                  <a:pt x="80" y="96"/>
                  <a:pt x="84" y="95"/>
                  <a:pt x="86" y="95"/>
                </a:cubicBezTo>
                <a:cubicBezTo>
                  <a:pt x="86" y="96"/>
                  <a:pt x="87" y="96"/>
                  <a:pt x="87" y="96"/>
                </a:cubicBezTo>
                <a:cubicBezTo>
                  <a:pt x="88" y="96"/>
                  <a:pt x="88" y="95"/>
                  <a:pt x="88" y="95"/>
                </a:cubicBezTo>
                <a:cubicBezTo>
                  <a:pt x="89" y="96"/>
                  <a:pt x="90" y="96"/>
                  <a:pt x="91" y="96"/>
                </a:cubicBezTo>
                <a:cubicBezTo>
                  <a:pt x="91" y="96"/>
                  <a:pt x="91" y="96"/>
                  <a:pt x="91" y="96"/>
                </a:cubicBezTo>
                <a:cubicBezTo>
                  <a:pt x="91" y="95"/>
                  <a:pt x="91" y="95"/>
                  <a:pt x="91" y="95"/>
                </a:cubicBezTo>
                <a:cubicBezTo>
                  <a:pt x="91" y="94"/>
                  <a:pt x="93" y="94"/>
                  <a:pt x="92" y="92"/>
                </a:cubicBezTo>
                <a:cubicBezTo>
                  <a:pt x="92" y="90"/>
                  <a:pt x="93" y="89"/>
                  <a:pt x="93" y="88"/>
                </a:cubicBezTo>
                <a:cubicBezTo>
                  <a:pt x="93" y="87"/>
                  <a:pt x="93" y="87"/>
                  <a:pt x="93" y="86"/>
                </a:cubicBezTo>
                <a:cubicBezTo>
                  <a:pt x="93" y="86"/>
                  <a:pt x="92" y="85"/>
                  <a:pt x="92" y="85"/>
                </a:cubicBezTo>
                <a:cubicBezTo>
                  <a:pt x="92" y="84"/>
                  <a:pt x="91" y="84"/>
                  <a:pt x="91" y="83"/>
                </a:cubicBezTo>
                <a:cubicBezTo>
                  <a:pt x="90" y="82"/>
                  <a:pt x="90" y="81"/>
                  <a:pt x="90" y="80"/>
                </a:cubicBezTo>
                <a:cubicBezTo>
                  <a:pt x="90" y="78"/>
                  <a:pt x="91" y="77"/>
                  <a:pt x="92" y="76"/>
                </a:cubicBezTo>
                <a:cubicBezTo>
                  <a:pt x="93" y="74"/>
                  <a:pt x="94" y="73"/>
                  <a:pt x="94" y="71"/>
                </a:cubicBezTo>
                <a:cubicBezTo>
                  <a:pt x="96" y="71"/>
                  <a:pt x="95" y="67"/>
                  <a:pt x="98" y="67"/>
                </a:cubicBezTo>
                <a:cubicBezTo>
                  <a:pt x="99" y="67"/>
                  <a:pt x="99" y="67"/>
                  <a:pt x="99" y="67"/>
                </a:cubicBezTo>
                <a:cubicBezTo>
                  <a:pt x="99" y="67"/>
                  <a:pt x="100" y="67"/>
                  <a:pt x="100" y="68"/>
                </a:cubicBezTo>
                <a:cubicBezTo>
                  <a:pt x="100" y="68"/>
                  <a:pt x="100" y="68"/>
                  <a:pt x="100" y="68"/>
                </a:cubicBezTo>
                <a:cubicBezTo>
                  <a:pt x="101" y="68"/>
                  <a:pt x="101" y="68"/>
                  <a:pt x="101" y="67"/>
                </a:cubicBezTo>
                <a:cubicBezTo>
                  <a:pt x="101" y="66"/>
                  <a:pt x="103" y="67"/>
                  <a:pt x="103" y="66"/>
                </a:cubicBezTo>
                <a:cubicBezTo>
                  <a:pt x="103" y="65"/>
                  <a:pt x="105" y="65"/>
                  <a:pt x="105" y="64"/>
                </a:cubicBezTo>
                <a:cubicBezTo>
                  <a:pt x="107" y="63"/>
                  <a:pt x="109" y="62"/>
                  <a:pt x="110" y="60"/>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7" name="Freeform 95"/>
          <p:cNvSpPr>
            <a:spLocks/>
          </p:cNvSpPr>
          <p:nvPr/>
        </p:nvSpPr>
        <p:spPr bwMode="auto">
          <a:xfrm>
            <a:off x="9126829" y="4932665"/>
            <a:ext cx="801688" cy="565150"/>
          </a:xfrm>
          <a:custGeom>
            <a:avLst/>
            <a:gdLst>
              <a:gd name="T0" fmla="*/ 203 w 207"/>
              <a:gd name="T1" fmla="*/ 7 h 146"/>
              <a:gd name="T2" fmla="*/ 182 w 207"/>
              <a:gd name="T3" fmla="*/ 5 h 146"/>
              <a:gd name="T4" fmla="*/ 173 w 207"/>
              <a:gd name="T5" fmla="*/ 2 h 146"/>
              <a:gd name="T6" fmla="*/ 159 w 207"/>
              <a:gd name="T7" fmla="*/ 14 h 146"/>
              <a:gd name="T8" fmla="*/ 149 w 207"/>
              <a:gd name="T9" fmla="*/ 16 h 146"/>
              <a:gd name="T10" fmla="*/ 128 w 207"/>
              <a:gd name="T11" fmla="*/ 11 h 146"/>
              <a:gd name="T12" fmla="*/ 128 w 207"/>
              <a:gd name="T13" fmla="*/ 10 h 146"/>
              <a:gd name="T14" fmla="*/ 129 w 207"/>
              <a:gd name="T15" fmla="*/ 6 h 146"/>
              <a:gd name="T16" fmla="*/ 119 w 207"/>
              <a:gd name="T17" fmla="*/ 12 h 146"/>
              <a:gd name="T18" fmla="*/ 113 w 207"/>
              <a:gd name="T19" fmla="*/ 23 h 146"/>
              <a:gd name="T20" fmla="*/ 106 w 207"/>
              <a:gd name="T21" fmla="*/ 26 h 146"/>
              <a:gd name="T22" fmla="*/ 103 w 207"/>
              <a:gd name="T23" fmla="*/ 28 h 146"/>
              <a:gd name="T24" fmla="*/ 93 w 207"/>
              <a:gd name="T25" fmla="*/ 28 h 146"/>
              <a:gd name="T26" fmla="*/ 79 w 207"/>
              <a:gd name="T27" fmla="*/ 30 h 146"/>
              <a:gd name="T28" fmla="*/ 59 w 207"/>
              <a:gd name="T29" fmla="*/ 35 h 146"/>
              <a:gd name="T30" fmla="*/ 28 w 207"/>
              <a:gd name="T31" fmla="*/ 32 h 146"/>
              <a:gd name="T32" fmla="*/ 19 w 207"/>
              <a:gd name="T33" fmla="*/ 34 h 146"/>
              <a:gd name="T34" fmla="*/ 21 w 207"/>
              <a:gd name="T35" fmla="*/ 21 h 146"/>
              <a:gd name="T36" fmla="*/ 9 w 207"/>
              <a:gd name="T37" fmla="*/ 14 h 146"/>
              <a:gd name="T38" fmla="*/ 8 w 207"/>
              <a:gd name="T39" fmla="*/ 21 h 146"/>
              <a:gd name="T40" fmla="*/ 4 w 207"/>
              <a:gd name="T41" fmla="*/ 26 h 146"/>
              <a:gd name="T42" fmla="*/ 6 w 207"/>
              <a:gd name="T43" fmla="*/ 45 h 146"/>
              <a:gd name="T44" fmla="*/ 16 w 207"/>
              <a:gd name="T45" fmla="*/ 55 h 146"/>
              <a:gd name="T46" fmla="*/ 20 w 207"/>
              <a:gd name="T47" fmla="*/ 69 h 146"/>
              <a:gd name="T48" fmla="*/ 17 w 207"/>
              <a:gd name="T49" fmla="*/ 76 h 146"/>
              <a:gd name="T50" fmla="*/ 12 w 207"/>
              <a:gd name="T51" fmla="*/ 93 h 146"/>
              <a:gd name="T52" fmla="*/ 12 w 207"/>
              <a:gd name="T53" fmla="*/ 102 h 146"/>
              <a:gd name="T54" fmla="*/ 17 w 207"/>
              <a:gd name="T55" fmla="*/ 111 h 146"/>
              <a:gd name="T56" fmla="*/ 25 w 207"/>
              <a:gd name="T57" fmla="*/ 113 h 146"/>
              <a:gd name="T58" fmla="*/ 35 w 207"/>
              <a:gd name="T59" fmla="*/ 124 h 146"/>
              <a:gd name="T60" fmla="*/ 37 w 207"/>
              <a:gd name="T61" fmla="*/ 146 h 146"/>
              <a:gd name="T62" fmla="*/ 60 w 207"/>
              <a:gd name="T63" fmla="*/ 140 h 146"/>
              <a:gd name="T64" fmla="*/ 70 w 207"/>
              <a:gd name="T65" fmla="*/ 137 h 146"/>
              <a:gd name="T66" fmla="*/ 90 w 207"/>
              <a:gd name="T67" fmla="*/ 136 h 146"/>
              <a:gd name="T68" fmla="*/ 117 w 207"/>
              <a:gd name="T69" fmla="*/ 138 h 146"/>
              <a:gd name="T70" fmla="*/ 121 w 207"/>
              <a:gd name="T71" fmla="*/ 136 h 146"/>
              <a:gd name="T72" fmla="*/ 125 w 207"/>
              <a:gd name="T73" fmla="*/ 134 h 146"/>
              <a:gd name="T74" fmla="*/ 127 w 207"/>
              <a:gd name="T75" fmla="*/ 133 h 146"/>
              <a:gd name="T76" fmla="*/ 130 w 207"/>
              <a:gd name="T77" fmla="*/ 132 h 146"/>
              <a:gd name="T78" fmla="*/ 133 w 207"/>
              <a:gd name="T79" fmla="*/ 131 h 146"/>
              <a:gd name="T80" fmla="*/ 141 w 207"/>
              <a:gd name="T81" fmla="*/ 131 h 146"/>
              <a:gd name="T82" fmla="*/ 143 w 207"/>
              <a:gd name="T83" fmla="*/ 121 h 146"/>
              <a:gd name="T84" fmla="*/ 141 w 207"/>
              <a:gd name="T85" fmla="*/ 117 h 146"/>
              <a:gd name="T86" fmla="*/ 152 w 207"/>
              <a:gd name="T87" fmla="*/ 108 h 146"/>
              <a:gd name="T88" fmla="*/ 157 w 207"/>
              <a:gd name="T89" fmla="*/ 99 h 146"/>
              <a:gd name="T90" fmla="*/ 178 w 207"/>
              <a:gd name="T91" fmla="*/ 94 h 146"/>
              <a:gd name="T92" fmla="*/ 196 w 207"/>
              <a:gd name="T93" fmla="*/ 93 h 146"/>
              <a:gd name="T94" fmla="*/ 200 w 207"/>
              <a:gd name="T95" fmla="*/ 88 h 146"/>
              <a:gd name="T96" fmla="*/ 190 w 207"/>
              <a:gd name="T97" fmla="*/ 77 h 146"/>
              <a:gd name="T98" fmla="*/ 184 w 207"/>
              <a:gd name="T99" fmla="*/ 72 h 146"/>
              <a:gd name="T100" fmla="*/ 181 w 207"/>
              <a:gd name="T101" fmla="*/ 67 h 146"/>
              <a:gd name="T102" fmla="*/ 184 w 207"/>
              <a:gd name="T103" fmla="*/ 61 h 146"/>
              <a:gd name="T104" fmla="*/ 190 w 207"/>
              <a:gd name="T105" fmla="*/ 34 h 146"/>
              <a:gd name="T106" fmla="*/ 203 w 207"/>
              <a:gd name="T10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46">
                <a:moveTo>
                  <a:pt x="205" y="14"/>
                </a:moveTo>
                <a:cubicBezTo>
                  <a:pt x="205" y="14"/>
                  <a:pt x="205" y="12"/>
                  <a:pt x="204" y="12"/>
                </a:cubicBezTo>
                <a:cubicBezTo>
                  <a:pt x="204" y="10"/>
                  <a:pt x="204" y="8"/>
                  <a:pt x="203" y="6"/>
                </a:cubicBezTo>
                <a:cubicBezTo>
                  <a:pt x="203" y="6"/>
                  <a:pt x="203" y="6"/>
                  <a:pt x="203" y="6"/>
                </a:cubicBezTo>
                <a:cubicBezTo>
                  <a:pt x="203" y="6"/>
                  <a:pt x="203" y="7"/>
                  <a:pt x="203" y="7"/>
                </a:cubicBezTo>
                <a:cubicBezTo>
                  <a:pt x="202" y="7"/>
                  <a:pt x="202" y="6"/>
                  <a:pt x="201" y="6"/>
                </a:cubicBezTo>
                <a:cubicBezTo>
                  <a:pt x="199" y="6"/>
                  <a:pt x="195" y="6"/>
                  <a:pt x="191" y="6"/>
                </a:cubicBezTo>
                <a:cubicBezTo>
                  <a:pt x="190" y="7"/>
                  <a:pt x="188" y="7"/>
                  <a:pt x="185" y="7"/>
                </a:cubicBezTo>
                <a:cubicBezTo>
                  <a:pt x="185" y="6"/>
                  <a:pt x="184" y="6"/>
                  <a:pt x="184" y="6"/>
                </a:cubicBezTo>
                <a:cubicBezTo>
                  <a:pt x="184" y="5"/>
                  <a:pt x="183" y="5"/>
                  <a:pt x="182" y="5"/>
                </a:cubicBezTo>
                <a:cubicBezTo>
                  <a:pt x="181" y="3"/>
                  <a:pt x="181" y="2"/>
                  <a:pt x="180" y="0"/>
                </a:cubicBezTo>
                <a:cubicBezTo>
                  <a:pt x="178" y="0"/>
                  <a:pt x="177" y="0"/>
                  <a:pt x="176" y="0"/>
                </a:cubicBezTo>
                <a:cubicBezTo>
                  <a:pt x="175" y="0"/>
                  <a:pt x="174" y="0"/>
                  <a:pt x="174" y="0"/>
                </a:cubicBezTo>
                <a:cubicBezTo>
                  <a:pt x="173" y="0"/>
                  <a:pt x="172" y="0"/>
                  <a:pt x="171" y="0"/>
                </a:cubicBezTo>
                <a:cubicBezTo>
                  <a:pt x="171" y="1"/>
                  <a:pt x="172" y="1"/>
                  <a:pt x="173" y="2"/>
                </a:cubicBezTo>
                <a:cubicBezTo>
                  <a:pt x="173" y="4"/>
                  <a:pt x="170" y="4"/>
                  <a:pt x="170" y="6"/>
                </a:cubicBezTo>
                <a:cubicBezTo>
                  <a:pt x="169" y="6"/>
                  <a:pt x="169" y="7"/>
                  <a:pt x="168" y="7"/>
                </a:cubicBezTo>
                <a:cubicBezTo>
                  <a:pt x="168" y="8"/>
                  <a:pt x="166" y="8"/>
                  <a:pt x="166" y="9"/>
                </a:cubicBezTo>
                <a:cubicBezTo>
                  <a:pt x="165" y="10"/>
                  <a:pt x="164" y="11"/>
                  <a:pt x="162" y="12"/>
                </a:cubicBezTo>
                <a:cubicBezTo>
                  <a:pt x="162" y="13"/>
                  <a:pt x="160" y="14"/>
                  <a:pt x="159" y="14"/>
                </a:cubicBezTo>
                <a:cubicBezTo>
                  <a:pt x="159" y="16"/>
                  <a:pt x="159" y="17"/>
                  <a:pt x="159" y="19"/>
                </a:cubicBezTo>
                <a:cubicBezTo>
                  <a:pt x="158" y="19"/>
                  <a:pt x="157" y="19"/>
                  <a:pt x="156" y="19"/>
                </a:cubicBezTo>
                <a:cubicBezTo>
                  <a:pt x="156" y="18"/>
                  <a:pt x="155" y="18"/>
                  <a:pt x="155" y="17"/>
                </a:cubicBezTo>
                <a:cubicBezTo>
                  <a:pt x="152" y="17"/>
                  <a:pt x="153" y="19"/>
                  <a:pt x="150" y="19"/>
                </a:cubicBezTo>
                <a:cubicBezTo>
                  <a:pt x="150" y="18"/>
                  <a:pt x="149" y="17"/>
                  <a:pt x="149" y="16"/>
                </a:cubicBezTo>
                <a:cubicBezTo>
                  <a:pt x="148" y="17"/>
                  <a:pt x="147" y="16"/>
                  <a:pt x="147" y="15"/>
                </a:cubicBezTo>
                <a:cubicBezTo>
                  <a:pt x="145" y="15"/>
                  <a:pt x="143" y="14"/>
                  <a:pt x="141" y="14"/>
                </a:cubicBezTo>
                <a:cubicBezTo>
                  <a:pt x="138" y="14"/>
                  <a:pt x="138" y="13"/>
                  <a:pt x="136" y="12"/>
                </a:cubicBezTo>
                <a:cubicBezTo>
                  <a:pt x="133" y="13"/>
                  <a:pt x="131" y="12"/>
                  <a:pt x="128" y="12"/>
                </a:cubicBezTo>
                <a:cubicBezTo>
                  <a:pt x="128" y="11"/>
                  <a:pt x="128" y="11"/>
                  <a:pt x="128" y="11"/>
                </a:cubicBezTo>
                <a:cubicBezTo>
                  <a:pt x="128" y="11"/>
                  <a:pt x="128" y="11"/>
                  <a:pt x="128" y="11"/>
                </a:cubicBezTo>
                <a:cubicBezTo>
                  <a:pt x="128" y="11"/>
                  <a:pt x="128" y="11"/>
                  <a:pt x="128" y="11"/>
                </a:cubicBezTo>
                <a:cubicBezTo>
                  <a:pt x="128" y="11"/>
                  <a:pt x="128" y="11"/>
                  <a:pt x="128" y="11"/>
                </a:cubicBezTo>
                <a:cubicBezTo>
                  <a:pt x="128" y="11"/>
                  <a:pt x="128" y="11"/>
                  <a:pt x="128" y="10"/>
                </a:cubicBezTo>
                <a:cubicBezTo>
                  <a:pt x="128" y="10"/>
                  <a:pt x="128" y="10"/>
                  <a:pt x="128" y="10"/>
                </a:cubicBezTo>
                <a:cubicBezTo>
                  <a:pt x="128" y="10"/>
                  <a:pt x="128" y="10"/>
                  <a:pt x="128" y="10"/>
                </a:cubicBezTo>
                <a:cubicBezTo>
                  <a:pt x="127" y="10"/>
                  <a:pt x="127" y="9"/>
                  <a:pt x="127" y="8"/>
                </a:cubicBezTo>
                <a:cubicBezTo>
                  <a:pt x="127" y="8"/>
                  <a:pt x="127" y="8"/>
                  <a:pt x="127" y="8"/>
                </a:cubicBezTo>
                <a:cubicBezTo>
                  <a:pt x="127" y="8"/>
                  <a:pt x="127" y="8"/>
                  <a:pt x="127" y="8"/>
                </a:cubicBezTo>
                <a:cubicBezTo>
                  <a:pt x="128" y="7"/>
                  <a:pt x="128" y="7"/>
                  <a:pt x="129" y="6"/>
                </a:cubicBezTo>
                <a:cubicBezTo>
                  <a:pt x="129" y="6"/>
                  <a:pt x="129" y="6"/>
                  <a:pt x="129" y="6"/>
                </a:cubicBezTo>
                <a:cubicBezTo>
                  <a:pt x="126" y="7"/>
                  <a:pt x="124" y="8"/>
                  <a:pt x="122" y="10"/>
                </a:cubicBezTo>
                <a:cubicBezTo>
                  <a:pt x="122" y="11"/>
                  <a:pt x="121" y="11"/>
                  <a:pt x="120" y="12"/>
                </a:cubicBezTo>
                <a:cubicBezTo>
                  <a:pt x="120" y="12"/>
                  <a:pt x="120" y="12"/>
                  <a:pt x="120" y="12"/>
                </a:cubicBezTo>
                <a:cubicBezTo>
                  <a:pt x="120" y="12"/>
                  <a:pt x="119" y="12"/>
                  <a:pt x="119" y="12"/>
                </a:cubicBezTo>
                <a:cubicBezTo>
                  <a:pt x="119" y="12"/>
                  <a:pt x="119" y="13"/>
                  <a:pt x="119" y="13"/>
                </a:cubicBezTo>
                <a:cubicBezTo>
                  <a:pt x="119" y="13"/>
                  <a:pt x="118" y="13"/>
                  <a:pt x="118" y="13"/>
                </a:cubicBezTo>
                <a:cubicBezTo>
                  <a:pt x="118" y="13"/>
                  <a:pt x="118" y="14"/>
                  <a:pt x="117" y="14"/>
                </a:cubicBezTo>
                <a:cubicBezTo>
                  <a:pt x="117" y="17"/>
                  <a:pt x="115" y="18"/>
                  <a:pt x="115" y="21"/>
                </a:cubicBezTo>
                <a:cubicBezTo>
                  <a:pt x="114" y="21"/>
                  <a:pt x="113" y="21"/>
                  <a:pt x="113" y="23"/>
                </a:cubicBezTo>
                <a:cubicBezTo>
                  <a:pt x="112" y="23"/>
                  <a:pt x="112" y="23"/>
                  <a:pt x="111" y="23"/>
                </a:cubicBezTo>
                <a:cubicBezTo>
                  <a:pt x="111" y="23"/>
                  <a:pt x="111" y="24"/>
                  <a:pt x="111" y="24"/>
                </a:cubicBezTo>
                <a:cubicBezTo>
                  <a:pt x="111" y="24"/>
                  <a:pt x="111" y="24"/>
                  <a:pt x="111" y="24"/>
                </a:cubicBezTo>
                <a:cubicBezTo>
                  <a:pt x="110" y="24"/>
                  <a:pt x="110" y="24"/>
                  <a:pt x="109" y="25"/>
                </a:cubicBezTo>
                <a:cubicBezTo>
                  <a:pt x="109" y="26"/>
                  <a:pt x="107" y="26"/>
                  <a:pt x="106" y="26"/>
                </a:cubicBezTo>
                <a:cubicBezTo>
                  <a:pt x="105" y="26"/>
                  <a:pt x="105" y="27"/>
                  <a:pt x="105" y="28"/>
                </a:cubicBezTo>
                <a:cubicBezTo>
                  <a:pt x="105" y="28"/>
                  <a:pt x="104" y="28"/>
                  <a:pt x="104" y="28"/>
                </a:cubicBezTo>
                <a:cubicBezTo>
                  <a:pt x="104" y="28"/>
                  <a:pt x="104" y="28"/>
                  <a:pt x="104" y="28"/>
                </a:cubicBezTo>
                <a:cubicBezTo>
                  <a:pt x="104" y="28"/>
                  <a:pt x="104" y="28"/>
                  <a:pt x="104" y="28"/>
                </a:cubicBezTo>
                <a:cubicBezTo>
                  <a:pt x="104" y="28"/>
                  <a:pt x="103" y="28"/>
                  <a:pt x="103" y="28"/>
                </a:cubicBezTo>
                <a:cubicBezTo>
                  <a:pt x="103" y="28"/>
                  <a:pt x="102" y="28"/>
                  <a:pt x="102" y="28"/>
                </a:cubicBezTo>
                <a:cubicBezTo>
                  <a:pt x="101" y="29"/>
                  <a:pt x="100" y="29"/>
                  <a:pt x="99" y="30"/>
                </a:cubicBezTo>
                <a:cubicBezTo>
                  <a:pt x="98" y="29"/>
                  <a:pt x="97" y="29"/>
                  <a:pt x="96" y="29"/>
                </a:cubicBezTo>
                <a:cubicBezTo>
                  <a:pt x="96" y="28"/>
                  <a:pt x="95" y="28"/>
                  <a:pt x="94" y="28"/>
                </a:cubicBezTo>
                <a:cubicBezTo>
                  <a:pt x="94" y="28"/>
                  <a:pt x="94" y="28"/>
                  <a:pt x="93" y="28"/>
                </a:cubicBezTo>
                <a:cubicBezTo>
                  <a:pt x="90" y="28"/>
                  <a:pt x="87" y="27"/>
                  <a:pt x="84" y="28"/>
                </a:cubicBezTo>
                <a:cubicBezTo>
                  <a:pt x="83" y="28"/>
                  <a:pt x="83" y="29"/>
                  <a:pt x="81" y="28"/>
                </a:cubicBezTo>
                <a:cubicBezTo>
                  <a:pt x="81" y="28"/>
                  <a:pt x="81" y="29"/>
                  <a:pt x="81" y="29"/>
                </a:cubicBezTo>
                <a:cubicBezTo>
                  <a:pt x="79" y="29"/>
                  <a:pt x="79" y="29"/>
                  <a:pt x="79" y="29"/>
                </a:cubicBezTo>
                <a:cubicBezTo>
                  <a:pt x="79" y="29"/>
                  <a:pt x="79" y="30"/>
                  <a:pt x="79" y="30"/>
                </a:cubicBezTo>
                <a:cubicBezTo>
                  <a:pt x="77" y="29"/>
                  <a:pt x="75" y="28"/>
                  <a:pt x="73" y="28"/>
                </a:cubicBezTo>
                <a:cubicBezTo>
                  <a:pt x="70" y="29"/>
                  <a:pt x="69" y="32"/>
                  <a:pt x="66" y="33"/>
                </a:cubicBezTo>
                <a:cubicBezTo>
                  <a:pt x="60" y="33"/>
                  <a:pt x="60" y="33"/>
                  <a:pt x="60" y="33"/>
                </a:cubicBezTo>
                <a:cubicBezTo>
                  <a:pt x="60" y="34"/>
                  <a:pt x="61" y="34"/>
                  <a:pt x="61" y="35"/>
                </a:cubicBezTo>
                <a:cubicBezTo>
                  <a:pt x="59" y="35"/>
                  <a:pt x="59" y="35"/>
                  <a:pt x="59" y="35"/>
                </a:cubicBezTo>
                <a:cubicBezTo>
                  <a:pt x="59" y="35"/>
                  <a:pt x="59" y="34"/>
                  <a:pt x="58" y="34"/>
                </a:cubicBezTo>
                <a:cubicBezTo>
                  <a:pt x="56" y="34"/>
                  <a:pt x="54" y="33"/>
                  <a:pt x="50" y="33"/>
                </a:cubicBezTo>
                <a:cubicBezTo>
                  <a:pt x="48" y="33"/>
                  <a:pt x="47" y="32"/>
                  <a:pt x="46" y="32"/>
                </a:cubicBezTo>
                <a:cubicBezTo>
                  <a:pt x="44" y="31"/>
                  <a:pt x="44" y="33"/>
                  <a:pt x="42" y="32"/>
                </a:cubicBezTo>
                <a:cubicBezTo>
                  <a:pt x="38" y="29"/>
                  <a:pt x="33" y="33"/>
                  <a:pt x="28" y="32"/>
                </a:cubicBezTo>
                <a:cubicBezTo>
                  <a:pt x="26" y="32"/>
                  <a:pt x="26" y="33"/>
                  <a:pt x="24" y="34"/>
                </a:cubicBezTo>
                <a:cubicBezTo>
                  <a:pt x="23" y="34"/>
                  <a:pt x="22" y="34"/>
                  <a:pt x="21" y="35"/>
                </a:cubicBezTo>
                <a:cubicBezTo>
                  <a:pt x="21" y="34"/>
                  <a:pt x="20" y="34"/>
                  <a:pt x="19" y="34"/>
                </a:cubicBezTo>
                <a:cubicBezTo>
                  <a:pt x="19" y="34"/>
                  <a:pt x="19" y="34"/>
                  <a:pt x="19" y="34"/>
                </a:cubicBezTo>
                <a:cubicBezTo>
                  <a:pt x="19" y="34"/>
                  <a:pt x="19" y="34"/>
                  <a:pt x="19" y="34"/>
                </a:cubicBezTo>
                <a:cubicBezTo>
                  <a:pt x="19" y="34"/>
                  <a:pt x="19" y="34"/>
                  <a:pt x="19" y="33"/>
                </a:cubicBezTo>
                <a:cubicBezTo>
                  <a:pt x="19" y="33"/>
                  <a:pt x="19" y="33"/>
                  <a:pt x="19" y="32"/>
                </a:cubicBezTo>
                <a:cubicBezTo>
                  <a:pt x="19" y="32"/>
                  <a:pt x="18" y="32"/>
                  <a:pt x="18" y="32"/>
                </a:cubicBezTo>
                <a:cubicBezTo>
                  <a:pt x="17" y="32"/>
                  <a:pt x="17" y="30"/>
                  <a:pt x="17" y="30"/>
                </a:cubicBezTo>
                <a:cubicBezTo>
                  <a:pt x="17" y="26"/>
                  <a:pt x="22" y="26"/>
                  <a:pt x="21" y="21"/>
                </a:cubicBezTo>
                <a:cubicBezTo>
                  <a:pt x="20" y="20"/>
                  <a:pt x="17" y="20"/>
                  <a:pt x="16" y="19"/>
                </a:cubicBezTo>
                <a:cubicBezTo>
                  <a:pt x="15" y="19"/>
                  <a:pt x="13" y="20"/>
                  <a:pt x="13" y="19"/>
                </a:cubicBezTo>
                <a:cubicBezTo>
                  <a:pt x="12" y="18"/>
                  <a:pt x="11" y="18"/>
                  <a:pt x="10" y="17"/>
                </a:cubicBezTo>
                <a:cubicBezTo>
                  <a:pt x="11" y="16"/>
                  <a:pt x="11" y="16"/>
                  <a:pt x="11" y="14"/>
                </a:cubicBezTo>
                <a:cubicBezTo>
                  <a:pt x="10" y="14"/>
                  <a:pt x="10" y="14"/>
                  <a:pt x="9" y="14"/>
                </a:cubicBezTo>
                <a:cubicBezTo>
                  <a:pt x="9" y="14"/>
                  <a:pt x="9" y="14"/>
                  <a:pt x="9" y="15"/>
                </a:cubicBezTo>
                <a:cubicBezTo>
                  <a:pt x="9" y="15"/>
                  <a:pt x="8" y="15"/>
                  <a:pt x="8" y="16"/>
                </a:cubicBezTo>
                <a:cubicBezTo>
                  <a:pt x="8" y="16"/>
                  <a:pt x="8" y="16"/>
                  <a:pt x="8" y="16"/>
                </a:cubicBezTo>
                <a:cubicBezTo>
                  <a:pt x="8" y="20"/>
                  <a:pt x="8" y="20"/>
                  <a:pt x="8" y="20"/>
                </a:cubicBezTo>
                <a:cubicBezTo>
                  <a:pt x="8" y="20"/>
                  <a:pt x="8" y="21"/>
                  <a:pt x="8" y="21"/>
                </a:cubicBezTo>
                <a:cubicBezTo>
                  <a:pt x="8" y="21"/>
                  <a:pt x="8" y="21"/>
                  <a:pt x="8" y="21"/>
                </a:cubicBezTo>
                <a:cubicBezTo>
                  <a:pt x="7" y="22"/>
                  <a:pt x="7" y="22"/>
                  <a:pt x="7" y="23"/>
                </a:cubicBezTo>
                <a:cubicBezTo>
                  <a:pt x="7" y="23"/>
                  <a:pt x="6" y="23"/>
                  <a:pt x="5" y="23"/>
                </a:cubicBezTo>
                <a:cubicBezTo>
                  <a:pt x="5" y="24"/>
                  <a:pt x="6" y="25"/>
                  <a:pt x="5" y="25"/>
                </a:cubicBezTo>
                <a:cubicBezTo>
                  <a:pt x="5" y="25"/>
                  <a:pt x="4" y="26"/>
                  <a:pt x="4" y="26"/>
                </a:cubicBezTo>
                <a:cubicBezTo>
                  <a:pt x="2" y="26"/>
                  <a:pt x="1" y="26"/>
                  <a:pt x="1" y="27"/>
                </a:cubicBezTo>
                <a:cubicBezTo>
                  <a:pt x="2" y="31"/>
                  <a:pt x="0" y="34"/>
                  <a:pt x="1" y="39"/>
                </a:cubicBezTo>
                <a:cubicBezTo>
                  <a:pt x="1" y="40"/>
                  <a:pt x="2" y="41"/>
                  <a:pt x="2" y="42"/>
                </a:cubicBezTo>
                <a:cubicBezTo>
                  <a:pt x="2" y="43"/>
                  <a:pt x="4" y="43"/>
                  <a:pt x="5" y="44"/>
                </a:cubicBezTo>
                <a:cubicBezTo>
                  <a:pt x="6" y="45"/>
                  <a:pt x="5" y="45"/>
                  <a:pt x="6" y="45"/>
                </a:cubicBezTo>
                <a:cubicBezTo>
                  <a:pt x="6" y="48"/>
                  <a:pt x="7" y="48"/>
                  <a:pt x="8" y="51"/>
                </a:cubicBezTo>
                <a:cubicBezTo>
                  <a:pt x="7" y="53"/>
                  <a:pt x="10" y="51"/>
                  <a:pt x="10" y="53"/>
                </a:cubicBezTo>
                <a:cubicBezTo>
                  <a:pt x="11" y="53"/>
                  <a:pt x="13" y="53"/>
                  <a:pt x="12" y="55"/>
                </a:cubicBezTo>
                <a:cubicBezTo>
                  <a:pt x="14" y="55"/>
                  <a:pt x="14" y="55"/>
                  <a:pt x="14" y="55"/>
                </a:cubicBezTo>
                <a:cubicBezTo>
                  <a:pt x="15" y="55"/>
                  <a:pt x="15" y="55"/>
                  <a:pt x="16" y="55"/>
                </a:cubicBezTo>
                <a:cubicBezTo>
                  <a:pt x="18" y="58"/>
                  <a:pt x="20" y="60"/>
                  <a:pt x="22" y="62"/>
                </a:cubicBezTo>
                <a:cubicBezTo>
                  <a:pt x="24" y="62"/>
                  <a:pt x="25" y="63"/>
                  <a:pt x="26" y="63"/>
                </a:cubicBezTo>
                <a:cubicBezTo>
                  <a:pt x="25" y="64"/>
                  <a:pt x="25" y="65"/>
                  <a:pt x="24" y="65"/>
                </a:cubicBezTo>
                <a:cubicBezTo>
                  <a:pt x="23" y="65"/>
                  <a:pt x="22" y="66"/>
                  <a:pt x="21" y="67"/>
                </a:cubicBezTo>
                <a:cubicBezTo>
                  <a:pt x="21" y="68"/>
                  <a:pt x="20" y="68"/>
                  <a:pt x="20" y="69"/>
                </a:cubicBezTo>
                <a:cubicBezTo>
                  <a:pt x="20" y="69"/>
                  <a:pt x="19" y="69"/>
                  <a:pt x="19" y="69"/>
                </a:cubicBezTo>
                <a:cubicBezTo>
                  <a:pt x="19" y="69"/>
                  <a:pt x="19" y="70"/>
                  <a:pt x="18" y="70"/>
                </a:cubicBezTo>
                <a:cubicBezTo>
                  <a:pt x="19" y="72"/>
                  <a:pt x="17" y="72"/>
                  <a:pt x="17" y="74"/>
                </a:cubicBezTo>
                <a:cubicBezTo>
                  <a:pt x="17" y="76"/>
                  <a:pt x="17" y="76"/>
                  <a:pt x="17" y="76"/>
                </a:cubicBezTo>
                <a:cubicBezTo>
                  <a:pt x="17" y="76"/>
                  <a:pt x="17" y="76"/>
                  <a:pt x="17" y="76"/>
                </a:cubicBezTo>
                <a:cubicBezTo>
                  <a:pt x="13" y="76"/>
                  <a:pt x="12" y="78"/>
                  <a:pt x="10" y="78"/>
                </a:cubicBezTo>
                <a:cubicBezTo>
                  <a:pt x="10" y="83"/>
                  <a:pt x="11" y="85"/>
                  <a:pt x="11" y="89"/>
                </a:cubicBezTo>
                <a:cubicBezTo>
                  <a:pt x="11" y="90"/>
                  <a:pt x="11" y="91"/>
                  <a:pt x="11" y="92"/>
                </a:cubicBezTo>
                <a:cubicBezTo>
                  <a:pt x="11" y="92"/>
                  <a:pt x="11" y="93"/>
                  <a:pt x="11" y="93"/>
                </a:cubicBezTo>
                <a:cubicBezTo>
                  <a:pt x="11" y="93"/>
                  <a:pt x="12" y="93"/>
                  <a:pt x="12" y="93"/>
                </a:cubicBezTo>
                <a:cubicBezTo>
                  <a:pt x="12" y="94"/>
                  <a:pt x="12" y="94"/>
                  <a:pt x="12" y="94"/>
                </a:cubicBezTo>
                <a:cubicBezTo>
                  <a:pt x="13" y="95"/>
                  <a:pt x="14" y="95"/>
                  <a:pt x="14" y="95"/>
                </a:cubicBezTo>
                <a:cubicBezTo>
                  <a:pt x="14" y="96"/>
                  <a:pt x="14" y="97"/>
                  <a:pt x="14" y="97"/>
                </a:cubicBezTo>
                <a:cubicBezTo>
                  <a:pt x="14" y="98"/>
                  <a:pt x="14" y="99"/>
                  <a:pt x="13" y="99"/>
                </a:cubicBezTo>
                <a:cubicBezTo>
                  <a:pt x="13" y="101"/>
                  <a:pt x="11" y="100"/>
                  <a:pt x="12" y="102"/>
                </a:cubicBezTo>
                <a:cubicBezTo>
                  <a:pt x="13" y="102"/>
                  <a:pt x="13" y="103"/>
                  <a:pt x="14" y="104"/>
                </a:cubicBezTo>
                <a:cubicBezTo>
                  <a:pt x="13" y="104"/>
                  <a:pt x="13" y="105"/>
                  <a:pt x="13" y="106"/>
                </a:cubicBezTo>
                <a:cubicBezTo>
                  <a:pt x="14" y="106"/>
                  <a:pt x="14" y="107"/>
                  <a:pt x="14" y="107"/>
                </a:cubicBezTo>
                <a:cubicBezTo>
                  <a:pt x="14" y="107"/>
                  <a:pt x="15" y="108"/>
                  <a:pt x="15" y="108"/>
                </a:cubicBezTo>
                <a:cubicBezTo>
                  <a:pt x="15" y="109"/>
                  <a:pt x="16" y="110"/>
                  <a:pt x="17" y="111"/>
                </a:cubicBezTo>
                <a:cubicBezTo>
                  <a:pt x="18" y="110"/>
                  <a:pt x="18" y="111"/>
                  <a:pt x="19" y="111"/>
                </a:cubicBezTo>
                <a:cubicBezTo>
                  <a:pt x="19" y="111"/>
                  <a:pt x="19" y="112"/>
                  <a:pt x="19" y="112"/>
                </a:cubicBezTo>
                <a:cubicBezTo>
                  <a:pt x="20" y="112"/>
                  <a:pt x="21" y="112"/>
                  <a:pt x="21" y="112"/>
                </a:cubicBezTo>
                <a:cubicBezTo>
                  <a:pt x="22" y="112"/>
                  <a:pt x="22" y="112"/>
                  <a:pt x="22" y="113"/>
                </a:cubicBezTo>
                <a:cubicBezTo>
                  <a:pt x="23" y="113"/>
                  <a:pt x="24" y="112"/>
                  <a:pt x="25" y="113"/>
                </a:cubicBezTo>
                <a:cubicBezTo>
                  <a:pt x="25" y="113"/>
                  <a:pt x="26" y="113"/>
                  <a:pt x="26" y="113"/>
                </a:cubicBezTo>
                <a:cubicBezTo>
                  <a:pt x="27" y="113"/>
                  <a:pt x="28" y="113"/>
                  <a:pt x="28" y="113"/>
                </a:cubicBezTo>
                <a:cubicBezTo>
                  <a:pt x="29" y="114"/>
                  <a:pt x="30" y="115"/>
                  <a:pt x="31" y="115"/>
                </a:cubicBezTo>
                <a:cubicBezTo>
                  <a:pt x="30" y="118"/>
                  <a:pt x="31" y="119"/>
                  <a:pt x="31" y="120"/>
                </a:cubicBezTo>
                <a:cubicBezTo>
                  <a:pt x="32" y="122"/>
                  <a:pt x="34" y="123"/>
                  <a:pt x="35" y="124"/>
                </a:cubicBezTo>
                <a:cubicBezTo>
                  <a:pt x="35" y="125"/>
                  <a:pt x="36" y="126"/>
                  <a:pt x="37" y="127"/>
                </a:cubicBezTo>
                <a:cubicBezTo>
                  <a:pt x="37" y="130"/>
                  <a:pt x="36" y="131"/>
                  <a:pt x="35" y="134"/>
                </a:cubicBezTo>
                <a:cubicBezTo>
                  <a:pt x="35" y="135"/>
                  <a:pt x="36" y="136"/>
                  <a:pt x="37" y="136"/>
                </a:cubicBezTo>
                <a:cubicBezTo>
                  <a:pt x="37" y="138"/>
                  <a:pt x="37" y="139"/>
                  <a:pt x="37" y="140"/>
                </a:cubicBezTo>
                <a:cubicBezTo>
                  <a:pt x="37" y="146"/>
                  <a:pt x="37" y="146"/>
                  <a:pt x="37" y="146"/>
                </a:cubicBezTo>
                <a:cubicBezTo>
                  <a:pt x="40" y="146"/>
                  <a:pt x="40" y="146"/>
                  <a:pt x="40" y="146"/>
                </a:cubicBezTo>
                <a:cubicBezTo>
                  <a:pt x="41" y="146"/>
                  <a:pt x="42" y="146"/>
                  <a:pt x="42" y="145"/>
                </a:cubicBezTo>
                <a:cubicBezTo>
                  <a:pt x="44" y="145"/>
                  <a:pt x="44" y="143"/>
                  <a:pt x="46" y="143"/>
                </a:cubicBezTo>
                <a:cubicBezTo>
                  <a:pt x="50" y="143"/>
                  <a:pt x="52" y="140"/>
                  <a:pt x="57" y="141"/>
                </a:cubicBezTo>
                <a:cubicBezTo>
                  <a:pt x="58" y="141"/>
                  <a:pt x="59" y="140"/>
                  <a:pt x="60" y="140"/>
                </a:cubicBezTo>
                <a:cubicBezTo>
                  <a:pt x="61" y="139"/>
                  <a:pt x="61" y="139"/>
                  <a:pt x="61" y="139"/>
                </a:cubicBezTo>
                <a:cubicBezTo>
                  <a:pt x="64" y="139"/>
                  <a:pt x="65" y="137"/>
                  <a:pt x="67" y="138"/>
                </a:cubicBezTo>
                <a:cubicBezTo>
                  <a:pt x="68" y="138"/>
                  <a:pt x="68" y="138"/>
                  <a:pt x="68" y="138"/>
                </a:cubicBezTo>
                <a:cubicBezTo>
                  <a:pt x="70" y="138"/>
                  <a:pt x="70" y="138"/>
                  <a:pt x="70" y="138"/>
                </a:cubicBezTo>
                <a:cubicBezTo>
                  <a:pt x="70" y="138"/>
                  <a:pt x="70" y="137"/>
                  <a:pt x="70" y="137"/>
                </a:cubicBezTo>
                <a:cubicBezTo>
                  <a:pt x="71" y="137"/>
                  <a:pt x="71" y="137"/>
                  <a:pt x="71" y="136"/>
                </a:cubicBezTo>
                <a:cubicBezTo>
                  <a:pt x="72" y="136"/>
                  <a:pt x="72" y="136"/>
                  <a:pt x="72" y="136"/>
                </a:cubicBezTo>
                <a:cubicBezTo>
                  <a:pt x="73" y="135"/>
                  <a:pt x="74" y="133"/>
                  <a:pt x="76" y="133"/>
                </a:cubicBezTo>
                <a:cubicBezTo>
                  <a:pt x="79" y="132"/>
                  <a:pt x="83" y="132"/>
                  <a:pt x="87" y="132"/>
                </a:cubicBezTo>
                <a:cubicBezTo>
                  <a:pt x="87" y="135"/>
                  <a:pt x="89" y="134"/>
                  <a:pt x="90" y="136"/>
                </a:cubicBezTo>
                <a:cubicBezTo>
                  <a:pt x="92" y="137"/>
                  <a:pt x="93" y="138"/>
                  <a:pt x="97" y="138"/>
                </a:cubicBezTo>
                <a:cubicBezTo>
                  <a:pt x="99" y="137"/>
                  <a:pt x="98" y="135"/>
                  <a:pt x="101" y="135"/>
                </a:cubicBezTo>
                <a:cubicBezTo>
                  <a:pt x="104" y="135"/>
                  <a:pt x="106" y="137"/>
                  <a:pt x="109" y="136"/>
                </a:cubicBezTo>
                <a:cubicBezTo>
                  <a:pt x="111" y="137"/>
                  <a:pt x="113" y="139"/>
                  <a:pt x="117" y="138"/>
                </a:cubicBezTo>
                <a:cubicBezTo>
                  <a:pt x="117" y="138"/>
                  <a:pt x="117" y="138"/>
                  <a:pt x="117" y="138"/>
                </a:cubicBezTo>
                <a:cubicBezTo>
                  <a:pt x="117" y="138"/>
                  <a:pt x="117" y="138"/>
                  <a:pt x="117" y="138"/>
                </a:cubicBezTo>
                <a:cubicBezTo>
                  <a:pt x="117" y="138"/>
                  <a:pt x="118" y="138"/>
                  <a:pt x="118" y="138"/>
                </a:cubicBezTo>
                <a:cubicBezTo>
                  <a:pt x="118" y="138"/>
                  <a:pt x="118" y="138"/>
                  <a:pt x="118" y="138"/>
                </a:cubicBezTo>
                <a:cubicBezTo>
                  <a:pt x="118" y="137"/>
                  <a:pt x="119" y="136"/>
                  <a:pt x="120" y="136"/>
                </a:cubicBezTo>
                <a:cubicBezTo>
                  <a:pt x="121" y="136"/>
                  <a:pt x="121" y="136"/>
                  <a:pt x="121" y="136"/>
                </a:cubicBezTo>
                <a:cubicBezTo>
                  <a:pt x="121" y="136"/>
                  <a:pt x="121" y="135"/>
                  <a:pt x="121" y="135"/>
                </a:cubicBezTo>
                <a:cubicBezTo>
                  <a:pt x="121" y="135"/>
                  <a:pt x="122" y="135"/>
                  <a:pt x="122" y="135"/>
                </a:cubicBezTo>
                <a:cubicBezTo>
                  <a:pt x="122" y="134"/>
                  <a:pt x="123" y="135"/>
                  <a:pt x="124" y="134"/>
                </a:cubicBezTo>
                <a:cubicBezTo>
                  <a:pt x="124" y="134"/>
                  <a:pt x="125" y="134"/>
                  <a:pt x="125" y="134"/>
                </a:cubicBezTo>
                <a:cubicBezTo>
                  <a:pt x="125" y="134"/>
                  <a:pt x="125" y="134"/>
                  <a:pt x="125" y="134"/>
                </a:cubicBezTo>
                <a:cubicBezTo>
                  <a:pt x="125" y="134"/>
                  <a:pt x="126" y="134"/>
                  <a:pt x="126" y="134"/>
                </a:cubicBezTo>
                <a:cubicBezTo>
                  <a:pt x="126" y="134"/>
                  <a:pt x="126" y="134"/>
                  <a:pt x="126" y="134"/>
                </a:cubicBezTo>
                <a:cubicBezTo>
                  <a:pt x="126" y="133"/>
                  <a:pt x="126" y="133"/>
                  <a:pt x="127" y="133"/>
                </a:cubicBezTo>
                <a:cubicBezTo>
                  <a:pt x="127" y="133"/>
                  <a:pt x="127" y="133"/>
                  <a:pt x="127" y="133"/>
                </a:cubicBezTo>
                <a:cubicBezTo>
                  <a:pt x="127" y="133"/>
                  <a:pt x="127" y="133"/>
                  <a:pt x="127" y="133"/>
                </a:cubicBezTo>
                <a:cubicBezTo>
                  <a:pt x="127" y="133"/>
                  <a:pt x="128" y="133"/>
                  <a:pt x="128" y="133"/>
                </a:cubicBezTo>
                <a:cubicBezTo>
                  <a:pt x="128" y="133"/>
                  <a:pt x="128" y="133"/>
                  <a:pt x="128" y="132"/>
                </a:cubicBezTo>
                <a:cubicBezTo>
                  <a:pt x="129" y="132"/>
                  <a:pt x="129" y="132"/>
                  <a:pt x="129" y="132"/>
                </a:cubicBezTo>
                <a:cubicBezTo>
                  <a:pt x="129" y="132"/>
                  <a:pt x="129" y="132"/>
                  <a:pt x="129" y="132"/>
                </a:cubicBezTo>
                <a:cubicBezTo>
                  <a:pt x="130" y="132"/>
                  <a:pt x="130" y="132"/>
                  <a:pt x="130" y="132"/>
                </a:cubicBezTo>
                <a:cubicBezTo>
                  <a:pt x="130" y="132"/>
                  <a:pt x="130" y="132"/>
                  <a:pt x="131" y="132"/>
                </a:cubicBezTo>
                <a:cubicBezTo>
                  <a:pt x="131" y="132"/>
                  <a:pt x="131" y="131"/>
                  <a:pt x="132" y="131"/>
                </a:cubicBezTo>
                <a:cubicBezTo>
                  <a:pt x="132" y="131"/>
                  <a:pt x="132" y="130"/>
                  <a:pt x="132" y="130"/>
                </a:cubicBezTo>
                <a:cubicBezTo>
                  <a:pt x="132" y="130"/>
                  <a:pt x="133" y="130"/>
                  <a:pt x="133" y="130"/>
                </a:cubicBezTo>
                <a:cubicBezTo>
                  <a:pt x="133" y="130"/>
                  <a:pt x="133" y="130"/>
                  <a:pt x="133" y="131"/>
                </a:cubicBezTo>
                <a:cubicBezTo>
                  <a:pt x="133" y="131"/>
                  <a:pt x="133" y="131"/>
                  <a:pt x="134" y="131"/>
                </a:cubicBezTo>
                <a:cubicBezTo>
                  <a:pt x="135" y="131"/>
                  <a:pt x="134" y="132"/>
                  <a:pt x="134" y="132"/>
                </a:cubicBezTo>
                <a:cubicBezTo>
                  <a:pt x="135" y="132"/>
                  <a:pt x="136" y="132"/>
                  <a:pt x="136" y="133"/>
                </a:cubicBezTo>
                <a:cubicBezTo>
                  <a:pt x="138" y="133"/>
                  <a:pt x="139" y="132"/>
                  <a:pt x="141" y="131"/>
                </a:cubicBezTo>
                <a:cubicBezTo>
                  <a:pt x="141" y="131"/>
                  <a:pt x="141" y="131"/>
                  <a:pt x="141" y="131"/>
                </a:cubicBezTo>
                <a:cubicBezTo>
                  <a:pt x="142" y="131"/>
                  <a:pt x="142" y="131"/>
                  <a:pt x="142" y="131"/>
                </a:cubicBezTo>
                <a:cubicBezTo>
                  <a:pt x="142" y="130"/>
                  <a:pt x="142" y="130"/>
                  <a:pt x="143" y="130"/>
                </a:cubicBezTo>
                <a:cubicBezTo>
                  <a:pt x="144" y="130"/>
                  <a:pt x="144" y="129"/>
                  <a:pt x="145" y="129"/>
                </a:cubicBezTo>
                <a:cubicBezTo>
                  <a:pt x="145" y="127"/>
                  <a:pt x="145" y="125"/>
                  <a:pt x="145" y="123"/>
                </a:cubicBezTo>
                <a:cubicBezTo>
                  <a:pt x="145" y="122"/>
                  <a:pt x="144" y="122"/>
                  <a:pt x="143" y="121"/>
                </a:cubicBezTo>
                <a:cubicBezTo>
                  <a:pt x="143" y="121"/>
                  <a:pt x="143" y="121"/>
                  <a:pt x="143" y="120"/>
                </a:cubicBezTo>
                <a:cubicBezTo>
                  <a:pt x="143" y="120"/>
                  <a:pt x="143" y="120"/>
                  <a:pt x="143" y="120"/>
                </a:cubicBezTo>
                <a:cubicBezTo>
                  <a:pt x="142" y="120"/>
                  <a:pt x="142" y="119"/>
                  <a:pt x="142" y="119"/>
                </a:cubicBezTo>
                <a:cubicBezTo>
                  <a:pt x="142" y="118"/>
                  <a:pt x="142" y="118"/>
                  <a:pt x="142" y="117"/>
                </a:cubicBezTo>
                <a:cubicBezTo>
                  <a:pt x="142" y="117"/>
                  <a:pt x="141" y="117"/>
                  <a:pt x="141" y="117"/>
                </a:cubicBezTo>
                <a:cubicBezTo>
                  <a:pt x="141" y="115"/>
                  <a:pt x="140" y="115"/>
                  <a:pt x="141" y="114"/>
                </a:cubicBezTo>
                <a:cubicBezTo>
                  <a:pt x="141" y="114"/>
                  <a:pt x="142" y="113"/>
                  <a:pt x="143" y="113"/>
                </a:cubicBezTo>
                <a:cubicBezTo>
                  <a:pt x="145" y="112"/>
                  <a:pt x="148" y="113"/>
                  <a:pt x="150" y="113"/>
                </a:cubicBezTo>
                <a:cubicBezTo>
                  <a:pt x="149" y="110"/>
                  <a:pt x="150" y="109"/>
                  <a:pt x="152" y="108"/>
                </a:cubicBezTo>
                <a:cubicBezTo>
                  <a:pt x="152" y="108"/>
                  <a:pt x="152" y="108"/>
                  <a:pt x="152" y="108"/>
                </a:cubicBezTo>
                <a:cubicBezTo>
                  <a:pt x="152" y="107"/>
                  <a:pt x="153" y="107"/>
                  <a:pt x="153" y="107"/>
                </a:cubicBezTo>
                <a:cubicBezTo>
                  <a:pt x="155" y="107"/>
                  <a:pt x="153" y="104"/>
                  <a:pt x="154" y="102"/>
                </a:cubicBezTo>
                <a:cubicBezTo>
                  <a:pt x="154" y="102"/>
                  <a:pt x="155" y="102"/>
                  <a:pt x="155" y="101"/>
                </a:cubicBezTo>
                <a:cubicBezTo>
                  <a:pt x="155" y="101"/>
                  <a:pt x="156" y="101"/>
                  <a:pt x="156" y="100"/>
                </a:cubicBezTo>
                <a:cubicBezTo>
                  <a:pt x="156" y="100"/>
                  <a:pt x="156" y="99"/>
                  <a:pt x="157" y="99"/>
                </a:cubicBezTo>
                <a:cubicBezTo>
                  <a:pt x="157" y="100"/>
                  <a:pt x="157" y="100"/>
                  <a:pt x="157" y="100"/>
                </a:cubicBezTo>
                <a:cubicBezTo>
                  <a:pt x="160" y="100"/>
                  <a:pt x="161" y="97"/>
                  <a:pt x="165" y="98"/>
                </a:cubicBezTo>
                <a:cubicBezTo>
                  <a:pt x="165" y="95"/>
                  <a:pt x="169" y="95"/>
                  <a:pt x="169" y="92"/>
                </a:cubicBezTo>
                <a:cubicBezTo>
                  <a:pt x="171" y="91"/>
                  <a:pt x="173" y="91"/>
                  <a:pt x="175" y="90"/>
                </a:cubicBezTo>
                <a:cubicBezTo>
                  <a:pt x="175" y="92"/>
                  <a:pt x="178" y="91"/>
                  <a:pt x="178" y="94"/>
                </a:cubicBezTo>
                <a:cubicBezTo>
                  <a:pt x="178" y="94"/>
                  <a:pt x="179" y="94"/>
                  <a:pt x="179" y="94"/>
                </a:cubicBezTo>
                <a:cubicBezTo>
                  <a:pt x="182" y="95"/>
                  <a:pt x="184" y="97"/>
                  <a:pt x="187" y="97"/>
                </a:cubicBezTo>
                <a:cubicBezTo>
                  <a:pt x="188" y="96"/>
                  <a:pt x="189" y="96"/>
                  <a:pt x="189" y="94"/>
                </a:cubicBezTo>
                <a:cubicBezTo>
                  <a:pt x="190" y="94"/>
                  <a:pt x="191" y="93"/>
                  <a:pt x="192" y="93"/>
                </a:cubicBezTo>
                <a:cubicBezTo>
                  <a:pt x="196" y="93"/>
                  <a:pt x="196" y="93"/>
                  <a:pt x="196" y="93"/>
                </a:cubicBezTo>
                <a:cubicBezTo>
                  <a:pt x="196" y="92"/>
                  <a:pt x="197" y="92"/>
                  <a:pt x="198" y="92"/>
                </a:cubicBezTo>
                <a:cubicBezTo>
                  <a:pt x="198" y="91"/>
                  <a:pt x="199" y="92"/>
                  <a:pt x="200" y="91"/>
                </a:cubicBezTo>
                <a:cubicBezTo>
                  <a:pt x="200" y="90"/>
                  <a:pt x="201" y="90"/>
                  <a:pt x="202" y="90"/>
                </a:cubicBezTo>
                <a:cubicBezTo>
                  <a:pt x="202" y="89"/>
                  <a:pt x="201" y="88"/>
                  <a:pt x="201" y="88"/>
                </a:cubicBezTo>
                <a:cubicBezTo>
                  <a:pt x="200" y="88"/>
                  <a:pt x="200" y="88"/>
                  <a:pt x="200" y="88"/>
                </a:cubicBezTo>
                <a:cubicBezTo>
                  <a:pt x="199" y="85"/>
                  <a:pt x="196" y="84"/>
                  <a:pt x="195" y="82"/>
                </a:cubicBezTo>
                <a:cubicBezTo>
                  <a:pt x="193" y="82"/>
                  <a:pt x="194" y="81"/>
                  <a:pt x="192" y="81"/>
                </a:cubicBezTo>
                <a:cubicBezTo>
                  <a:pt x="192" y="80"/>
                  <a:pt x="191" y="80"/>
                  <a:pt x="189" y="80"/>
                </a:cubicBezTo>
                <a:cubicBezTo>
                  <a:pt x="190" y="79"/>
                  <a:pt x="189" y="78"/>
                  <a:pt x="189" y="78"/>
                </a:cubicBezTo>
                <a:cubicBezTo>
                  <a:pt x="189" y="77"/>
                  <a:pt x="190" y="78"/>
                  <a:pt x="190" y="77"/>
                </a:cubicBezTo>
                <a:cubicBezTo>
                  <a:pt x="190" y="77"/>
                  <a:pt x="189" y="76"/>
                  <a:pt x="189" y="75"/>
                </a:cubicBezTo>
                <a:cubicBezTo>
                  <a:pt x="189" y="75"/>
                  <a:pt x="189" y="75"/>
                  <a:pt x="189" y="74"/>
                </a:cubicBezTo>
                <a:cubicBezTo>
                  <a:pt x="188" y="74"/>
                  <a:pt x="188" y="74"/>
                  <a:pt x="187" y="74"/>
                </a:cubicBezTo>
                <a:cubicBezTo>
                  <a:pt x="187" y="72"/>
                  <a:pt x="186" y="72"/>
                  <a:pt x="185" y="72"/>
                </a:cubicBezTo>
                <a:cubicBezTo>
                  <a:pt x="185" y="72"/>
                  <a:pt x="185" y="72"/>
                  <a:pt x="184" y="72"/>
                </a:cubicBezTo>
                <a:cubicBezTo>
                  <a:pt x="184" y="72"/>
                  <a:pt x="183" y="72"/>
                  <a:pt x="183" y="71"/>
                </a:cubicBezTo>
                <a:cubicBezTo>
                  <a:pt x="182" y="71"/>
                  <a:pt x="181" y="71"/>
                  <a:pt x="180" y="72"/>
                </a:cubicBezTo>
                <a:cubicBezTo>
                  <a:pt x="179" y="72"/>
                  <a:pt x="178" y="71"/>
                  <a:pt x="178" y="71"/>
                </a:cubicBezTo>
                <a:cubicBezTo>
                  <a:pt x="178" y="69"/>
                  <a:pt x="178" y="68"/>
                  <a:pt x="180" y="68"/>
                </a:cubicBezTo>
                <a:cubicBezTo>
                  <a:pt x="180" y="67"/>
                  <a:pt x="181" y="68"/>
                  <a:pt x="181" y="67"/>
                </a:cubicBezTo>
                <a:cubicBezTo>
                  <a:pt x="182" y="66"/>
                  <a:pt x="182" y="66"/>
                  <a:pt x="182" y="66"/>
                </a:cubicBezTo>
                <a:cubicBezTo>
                  <a:pt x="183" y="66"/>
                  <a:pt x="182" y="64"/>
                  <a:pt x="182" y="64"/>
                </a:cubicBezTo>
                <a:cubicBezTo>
                  <a:pt x="182" y="64"/>
                  <a:pt x="183" y="64"/>
                  <a:pt x="183" y="64"/>
                </a:cubicBezTo>
                <a:cubicBezTo>
                  <a:pt x="183" y="63"/>
                  <a:pt x="183" y="62"/>
                  <a:pt x="184" y="62"/>
                </a:cubicBezTo>
                <a:cubicBezTo>
                  <a:pt x="184" y="61"/>
                  <a:pt x="184" y="61"/>
                  <a:pt x="184" y="61"/>
                </a:cubicBezTo>
                <a:cubicBezTo>
                  <a:pt x="184" y="60"/>
                  <a:pt x="184" y="60"/>
                  <a:pt x="184" y="60"/>
                </a:cubicBezTo>
                <a:cubicBezTo>
                  <a:pt x="186" y="60"/>
                  <a:pt x="188" y="59"/>
                  <a:pt x="190" y="60"/>
                </a:cubicBezTo>
                <a:cubicBezTo>
                  <a:pt x="190" y="57"/>
                  <a:pt x="190" y="54"/>
                  <a:pt x="189" y="52"/>
                </a:cubicBezTo>
                <a:cubicBezTo>
                  <a:pt x="188" y="48"/>
                  <a:pt x="188" y="42"/>
                  <a:pt x="188" y="37"/>
                </a:cubicBezTo>
                <a:cubicBezTo>
                  <a:pt x="188" y="35"/>
                  <a:pt x="189" y="34"/>
                  <a:pt x="190" y="34"/>
                </a:cubicBezTo>
                <a:cubicBezTo>
                  <a:pt x="190" y="31"/>
                  <a:pt x="191" y="31"/>
                  <a:pt x="191" y="28"/>
                </a:cubicBezTo>
                <a:cubicBezTo>
                  <a:pt x="191" y="28"/>
                  <a:pt x="191" y="27"/>
                  <a:pt x="191" y="27"/>
                </a:cubicBezTo>
                <a:cubicBezTo>
                  <a:pt x="194" y="27"/>
                  <a:pt x="195" y="24"/>
                  <a:pt x="198" y="25"/>
                </a:cubicBezTo>
                <a:cubicBezTo>
                  <a:pt x="198" y="24"/>
                  <a:pt x="199" y="24"/>
                  <a:pt x="199" y="24"/>
                </a:cubicBezTo>
                <a:cubicBezTo>
                  <a:pt x="202" y="24"/>
                  <a:pt x="202" y="26"/>
                  <a:pt x="203" y="26"/>
                </a:cubicBezTo>
                <a:cubicBezTo>
                  <a:pt x="204" y="26"/>
                  <a:pt x="204" y="25"/>
                  <a:pt x="204" y="24"/>
                </a:cubicBezTo>
                <a:cubicBezTo>
                  <a:pt x="204" y="23"/>
                  <a:pt x="204" y="23"/>
                  <a:pt x="204" y="22"/>
                </a:cubicBezTo>
                <a:cubicBezTo>
                  <a:pt x="207" y="22"/>
                  <a:pt x="206" y="17"/>
                  <a:pt x="207" y="15"/>
                </a:cubicBezTo>
                <a:cubicBezTo>
                  <a:pt x="207" y="14"/>
                  <a:pt x="206" y="15"/>
                  <a:pt x="205" y="14"/>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9" name="Freeform 97"/>
          <p:cNvSpPr>
            <a:spLocks/>
          </p:cNvSpPr>
          <p:nvPr/>
        </p:nvSpPr>
        <p:spPr bwMode="auto">
          <a:xfrm>
            <a:off x="9022054" y="2795890"/>
            <a:ext cx="974725" cy="906463"/>
          </a:xfrm>
          <a:custGeom>
            <a:avLst/>
            <a:gdLst>
              <a:gd name="T0" fmla="*/ 233 w 252"/>
              <a:gd name="T1" fmla="*/ 83 h 234"/>
              <a:gd name="T2" fmla="*/ 205 w 252"/>
              <a:gd name="T3" fmla="*/ 69 h 234"/>
              <a:gd name="T4" fmla="*/ 189 w 252"/>
              <a:gd name="T5" fmla="*/ 54 h 234"/>
              <a:gd name="T6" fmla="*/ 185 w 252"/>
              <a:gd name="T7" fmla="*/ 52 h 234"/>
              <a:gd name="T8" fmla="*/ 183 w 252"/>
              <a:gd name="T9" fmla="*/ 51 h 234"/>
              <a:gd name="T10" fmla="*/ 184 w 252"/>
              <a:gd name="T11" fmla="*/ 36 h 234"/>
              <a:gd name="T12" fmla="*/ 175 w 252"/>
              <a:gd name="T13" fmla="*/ 10 h 234"/>
              <a:gd name="T14" fmla="*/ 149 w 252"/>
              <a:gd name="T15" fmla="*/ 1 h 234"/>
              <a:gd name="T16" fmla="*/ 135 w 252"/>
              <a:gd name="T17" fmla="*/ 10 h 234"/>
              <a:gd name="T18" fmla="*/ 117 w 252"/>
              <a:gd name="T19" fmla="*/ 7 h 234"/>
              <a:gd name="T20" fmla="*/ 96 w 252"/>
              <a:gd name="T21" fmla="*/ 3 h 234"/>
              <a:gd name="T22" fmla="*/ 84 w 252"/>
              <a:gd name="T23" fmla="*/ 20 h 234"/>
              <a:gd name="T24" fmla="*/ 69 w 252"/>
              <a:gd name="T25" fmla="*/ 35 h 234"/>
              <a:gd name="T26" fmla="*/ 75 w 252"/>
              <a:gd name="T27" fmla="*/ 46 h 234"/>
              <a:gd name="T28" fmla="*/ 63 w 252"/>
              <a:gd name="T29" fmla="*/ 65 h 234"/>
              <a:gd name="T30" fmla="*/ 56 w 252"/>
              <a:gd name="T31" fmla="*/ 96 h 234"/>
              <a:gd name="T32" fmla="*/ 50 w 252"/>
              <a:gd name="T33" fmla="*/ 106 h 234"/>
              <a:gd name="T34" fmla="*/ 32 w 252"/>
              <a:gd name="T35" fmla="*/ 108 h 234"/>
              <a:gd name="T36" fmla="*/ 19 w 252"/>
              <a:gd name="T37" fmla="*/ 120 h 234"/>
              <a:gd name="T38" fmla="*/ 1 w 252"/>
              <a:gd name="T39" fmla="*/ 123 h 234"/>
              <a:gd name="T40" fmla="*/ 12 w 252"/>
              <a:gd name="T41" fmla="*/ 153 h 234"/>
              <a:gd name="T42" fmla="*/ 21 w 252"/>
              <a:gd name="T43" fmla="*/ 176 h 234"/>
              <a:gd name="T44" fmla="*/ 12 w 252"/>
              <a:gd name="T45" fmla="*/ 186 h 234"/>
              <a:gd name="T46" fmla="*/ 2 w 252"/>
              <a:gd name="T47" fmla="*/ 201 h 234"/>
              <a:gd name="T48" fmla="*/ 9 w 252"/>
              <a:gd name="T49" fmla="*/ 207 h 234"/>
              <a:gd name="T50" fmla="*/ 15 w 252"/>
              <a:gd name="T51" fmla="*/ 221 h 234"/>
              <a:gd name="T52" fmla="*/ 26 w 252"/>
              <a:gd name="T53" fmla="*/ 231 h 234"/>
              <a:gd name="T54" fmla="*/ 38 w 252"/>
              <a:gd name="T55" fmla="*/ 220 h 234"/>
              <a:gd name="T56" fmla="*/ 48 w 252"/>
              <a:gd name="T57" fmla="*/ 214 h 234"/>
              <a:gd name="T58" fmla="*/ 73 w 252"/>
              <a:gd name="T59" fmla="*/ 208 h 234"/>
              <a:gd name="T60" fmla="*/ 125 w 252"/>
              <a:gd name="T61" fmla="*/ 215 h 234"/>
              <a:gd name="T62" fmla="*/ 137 w 252"/>
              <a:gd name="T63" fmla="*/ 217 h 234"/>
              <a:gd name="T64" fmla="*/ 152 w 252"/>
              <a:gd name="T65" fmla="*/ 210 h 234"/>
              <a:gd name="T66" fmla="*/ 153 w 252"/>
              <a:gd name="T67" fmla="*/ 210 h 234"/>
              <a:gd name="T68" fmla="*/ 157 w 252"/>
              <a:gd name="T69" fmla="*/ 208 h 234"/>
              <a:gd name="T70" fmla="*/ 159 w 252"/>
              <a:gd name="T71" fmla="*/ 208 h 234"/>
              <a:gd name="T72" fmla="*/ 174 w 252"/>
              <a:gd name="T73" fmla="*/ 203 h 234"/>
              <a:gd name="T74" fmla="*/ 182 w 252"/>
              <a:gd name="T75" fmla="*/ 211 h 234"/>
              <a:gd name="T76" fmla="*/ 193 w 252"/>
              <a:gd name="T77" fmla="*/ 203 h 234"/>
              <a:gd name="T78" fmla="*/ 196 w 252"/>
              <a:gd name="T79" fmla="*/ 202 h 234"/>
              <a:gd name="T80" fmla="*/ 201 w 252"/>
              <a:gd name="T81" fmla="*/ 200 h 234"/>
              <a:gd name="T82" fmla="*/ 208 w 252"/>
              <a:gd name="T83" fmla="*/ 202 h 234"/>
              <a:gd name="T84" fmla="*/ 212 w 252"/>
              <a:gd name="T85" fmla="*/ 206 h 234"/>
              <a:gd name="T86" fmla="*/ 213 w 252"/>
              <a:gd name="T87" fmla="*/ 206 h 234"/>
              <a:gd name="T88" fmla="*/ 218 w 252"/>
              <a:gd name="T89" fmla="*/ 202 h 234"/>
              <a:gd name="T90" fmla="*/ 216 w 252"/>
              <a:gd name="T91" fmla="*/ 198 h 234"/>
              <a:gd name="T92" fmla="*/ 213 w 252"/>
              <a:gd name="T93" fmla="*/ 194 h 234"/>
              <a:gd name="T94" fmla="*/ 212 w 252"/>
              <a:gd name="T95" fmla="*/ 194 h 234"/>
              <a:gd name="T96" fmla="*/ 212 w 252"/>
              <a:gd name="T97" fmla="*/ 192 h 234"/>
              <a:gd name="T98" fmla="*/ 212 w 252"/>
              <a:gd name="T99" fmla="*/ 189 h 234"/>
              <a:gd name="T100" fmla="*/ 213 w 252"/>
              <a:gd name="T101" fmla="*/ 186 h 234"/>
              <a:gd name="T102" fmla="*/ 215 w 252"/>
              <a:gd name="T103" fmla="*/ 179 h 234"/>
              <a:gd name="T104" fmla="*/ 221 w 252"/>
              <a:gd name="T105" fmla="*/ 172 h 234"/>
              <a:gd name="T106" fmla="*/ 221 w 252"/>
              <a:gd name="T107" fmla="*/ 171 h 234"/>
              <a:gd name="T108" fmla="*/ 224 w 252"/>
              <a:gd name="T109" fmla="*/ 168 h 234"/>
              <a:gd name="T110" fmla="*/ 242 w 252"/>
              <a:gd name="T111" fmla="*/ 162 h 234"/>
              <a:gd name="T112" fmla="*/ 227 w 252"/>
              <a:gd name="T113" fmla="*/ 137 h 234"/>
              <a:gd name="T114" fmla="*/ 217 w 252"/>
              <a:gd name="T115" fmla="*/ 123 h 234"/>
              <a:gd name="T116" fmla="*/ 226 w 252"/>
              <a:gd name="T117" fmla="*/ 114 h 234"/>
              <a:gd name="T118" fmla="*/ 245 w 252"/>
              <a:gd name="T119" fmla="*/ 10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2" h="234">
                <a:moveTo>
                  <a:pt x="252" y="95"/>
                </a:moveTo>
                <a:cubicBezTo>
                  <a:pt x="250" y="95"/>
                  <a:pt x="249" y="95"/>
                  <a:pt x="248" y="94"/>
                </a:cubicBezTo>
                <a:cubicBezTo>
                  <a:pt x="246" y="94"/>
                  <a:pt x="246" y="92"/>
                  <a:pt x="244" y="93"/>
                </a:cubicBezTo>
                <a:cubicBezTo>
                  <a:pt x="244" y="92"/>
                  <a:pt x="243" y="92"/>
                  <a:pt x="243" y="91"/>
                </a:cubicBezTo>
                <a:cubicBezTo>
                  <a:pt x="241" y="92"/>
                  <a:pt x="241" y="89"/>
                  <a:pt x="239" y="89"/>
                </a:cubicBezTo>
                <a:cubicBezTo>
                  <a:pt x="239" y="87"/>
                  <a:pt x="241" y="86"/>
                  <a:pt x="240" y="84"/>
                </a:cubicBezTo>
                <a:cubicBezTo>
                  <a:pt x="239" y="82"/>
                  <a:pt x="235" y="83"/>
                  <a:pt x="233" y="83"/>
                </a:cubicBezTo>
                <a:cubicBezTo>
                  <a:pt x="231" y="83"/>
                  <a:pt x="231" y="82"/>
                  <a:pt x="228" y="82"/>
                </a:cubicBezTo>
                <a:cubicBezTo>
                  <a:pt x="226" y="82"/>
                  <a:pt x="226" y="83"/>
                  <a:pt x="225" y="84"/>
                </a:cubicBezTo>
                <a:cubicBezTo>
                  <a:pt x="226" y="86"/>
                  <a:pt x="223" y="85"/>
                  <a:pt x="222" y="85"/>
                </a:cubicBezTo>
                <a:cubicBezTo>
                  <a:pt x="221" y="83"/>
                  <a:pt x="222" y="79"/>
                  <a:pt x="221" y="76"/>
                </a:cubicBezTo>
                <a:cubicBezTo>
                  <a:pt x="221" y="74"/>
                  <a:pt x="217" y="74"/>
                  <a:pt x="216" y="73"/>
                </a:cubicBezTo>
                <a:cubicBezTo>
                  <a:pt x="213" y="73"/>
                  <a:pt x="212" y="71"/>
                  <a:pt x="209" y="72"/>
                </a:cubicBezTo>
                <a:cubicBezTo>
                  <a:pt x="209" y="70"/>
                  <a:pt x="206" y="71"/>
                  <a:pt x="205" y="69"/>
                </a:cubicBezTo>
                <a:cubicBezTo>
                  <a:pt x="203" y="69"/>
                  <a:pt x="202" y="67"/>
                  <a:pt x="201" y="67"/>
                </a:cubicBezTo>
                <a:cubicBezTo>
                  <a:pt x="200" y="64"/>
                  <a:pt x="198" y="62"/>
                  <a:pt x="198" y="59"/>
                </a:cubicBezTo>
                <a:cubicBezTo>
                  <a:pt x="197" y="58"/>
                  <a:pt x="196" y="57"/>
                  <a:pt x="194" y="56"/>
                </a:cubicBezTo>
                <a:cubicBezTo>
                  <a:pt x="193" y="55"/>
                  <a:pt x="191" y="54"/>
                  <a:pt x="189" y="54"/>
                </a:cubicBezTo>
                <a:cubicBezTo>
                  <a:pt x="189" y="54"/>
                  <a:pt x="189" y="54"/>
                  <a:pt x="189" y="54"/>
                </a:cubicBezTo>
                <a:cubicBezTo>
                  <a:pt x="189" y="54"/>
                  <a:pt x="189" y="54"/>
                  <a:pt x="189" y="54"/>
                </a:cubicBezTo>
                <a:cubicBezTo>
                  <a:pt x="189" y="54"/>
                  <a:pt x="189" y="54"/>
                  <a:pt x="189" y="54"/>
                </a:cubicBezTo>
                <a:cubicBezTo>
                  <a:pt x="189" y="54"/>
                  <a:pt x="189" y="54"/>
                  <a:pt x="189" y="54"/>
                </a:cubicBezTo>
                <a:cubicBezTo>
                  <a:pt x="189" y="54"/>
                  <a:pt x="189" y="54"/>
                  <a:pt x="189" y="54"/>
                </a:cubicBezTo>
                <a:cubicBezTo>
                  <a:pt x="189" y="54"/>
                  <a:pt x="189" y="54"/>
                  <a:pt x="189" y="54"/>
                </a:cubicBezTo>
                <a:cubicBezTo>
                  <a:pt x="189" y="54"/>
                  <a:pt x="188" y="54"/>
                  <a:pt x="188" y="54"/>
                </a:cubicBezTo>
                <a:cubicBezTo>
                  <a:pt x="188" y="53"/>
                  <a:pt x="188" y="53"/>
                  <a:pt x="187" y="53"/>
                </a:cubicBezTo>
                <a:cubicBezTo>
                  <a:pt x="187" y="53"/>
                  <a:pt x="186" y="52"/>
                  <a:pt x="185" y="52"/>
                </a:cubicBezTo>
                <a:cubicBezTo>
                  <a:pt x="185" y="52"/>
                  <a:pt x="185" y="52"/>
                  <a:pt x="185" y="52"/>
                </a:cubicBezTo>
                <a:cubicBezTo>
                  <a:pt x="185" y="52"/>
                  <a:pt x="185" y="52"/>
                  <a:pt x="184" y="52"/>
                </a:cubicBezTo>
                <a:cubicBezTo>
                  <a:pt x="184" y="52"/>
                  <a:pt x="184" y="52"/>
                  <a:pt x="184" y="52"/>
                </a:cubicBezTo>
                <a:cubicBezTo>
                  <a:pt x="184" y="51"/>
                  <a:pt x="184" y="51"/>
                  <a:pt x="183" y="51"/>
                </a:cubicBezTo>
                <a:cubicBezTo>
                  <a:pt x="183" y="51"/>
                  <a:pt x="183" y="51"/>
                  <a:pt x="183" y="51"/>
                </a:cubicBezTo>
                <a:cubicBezTo>
                  <a:pt x="183" y="51"/>
                  <a:pt x="183" y="51"/>
                  <a:pt x="183" y="51"/>
                </a:cubicBezTo>
                <a:cubicBezTo>
                  <a:pt x="183" y="51"/>
                  <a:pt x="183" y="51"/>
                  <a:pt x="183" y="51"/>
                </a:cubicBezTo>
                <a:cubicBezTo>
                  <a:pt x="183" y="51"/>
                  <a:pt x="183" y="51"/>
                  <a:pt x="183" y="51"/>
                </a:cubicBezTo>
                <a:cubicBezTo>
                  <a:pt x="183" y="50"/>
                  <a:pt x="183" y="50"/>
                  <a:pt x="183" y="50"/>
                </a:cubicBezTo>
                <a:cubicBezTo>
                  <a:pt x="183" y="50"/>
                  <a:pt x="183" y="50"/>
                  <a:pt x="183" y="50"/>
                </a:cubicBezTo>
                <a:cubicBezTo>
                  <a:pt x="182" y="50"/>
                  <a:pt x="181" y="50"/>
                  <a:pt x="180" y="49"/>
                </a:cubicBezTo>
                <a:cubicBezTo>
                  <a:pt x="180" y="49"/>
                  <a:pt x="180" y="49"/>
                  <a:pt x="180" y="49"/>
                </a:cubicBezTo>
                <a:cubicBezTo>
                  <a:pt x="179" y="47"/>
                  <a:pt x="180" y="44"/>
                  <a:pt x="181" y="42"/>
                </a:cubicBezTo>
                <a:cubicBezTo>
                  <a:pt x="182" y="41"/>
                  <a:pt x="181" y="39"/>
                  <a:pt x="183" y="39"/>
                </a:cubicBezTo>
                <a:cubicBezTo>
                  <a:pt x="183" y="37"/>
                  <a:pt x="184" y="37"/>
                  <a:pt x="184" y="36"/>
                </a:cubicBezTo>
                <a:cubicBezTo>
                  <a:pt x="184" y="33"/>
                  <a:pt x="183" y="33"/>
                  <a:pt x="184" y="30"/>
                </a:cubicBezTo>
                <a:cubicBezTo>
                  <a:pt x="184" y="29"/>
                  <a:pt x="182" y="29"/>
                  <a:pt x="182" y="27"/>
                </a:cubicBezTo>
                <a:cubicBezTo>
                  <a:pt x="181" y="26"/>
                  <a:pt x="179" y="25"/>
                  <a:pt x="178" y="23"/>
                </a:cubicBezTo>
                <a:cubicBezTo>
                  <a:pt x="178" y="21"/>
                  <a:pt x="176" y="22"/>
                  <a:pt x="176" y="21"/>
                </a:cubicBezTo>
                <a:cubicBezTo>
                  <a:pt x="176" y="18"/>
                  <a:pt x="177" y="17"/>
                  <a:pt x="177" y="15"/>
                </a:cubicBezTo>
                <a:cubicBezTo>
                  <a:pt x="177" y="14"/>
                  <a:pt x="177" y="13"/>
                  <a:pt x="176" y="12"/>
                </a:cubicBezTo>
                <a:cubicBezTo>
                  <a:pt x="176" y="11"/>
                  <a:pt x="175" y="11"/>
                  <a:pt x="175" y="10"/>
                </a:cubicBezTo>
                <a:cubicBezTo>
                  <a:pt x="175" y="9"/>
                  <a:pt x="175" y="8"/>
                  <a:pt x="175" y="8"/>
                </a:cubicBezTo>
                <a:cubicBezTo>
                  <a:pt x="175" y="8"/>
                  <a:pt x="175" y="8"/>
                  <a:pt x="175" y="8"/>
                </a:cubicBezTo>
                <a:cubicBezTo>
                  <a:pt x="174" y="7"/>
                  <a:pt x="172" y="7"/>
                  <a:pt x="172" y="6"/>
                </a:cubicBezTo>
                <a:cubicBezTo>
                  <a:pt x="171" y="6"/>
                  <a:pt x="171" y="5"/>
                  <a:pt x="170" y="6"/>
                </a:cubicBezTo>
                <a:cubicBezTo>
                  <a:pt x="169" y="3"/>
                  <a:pt x="166" y="5"/>
                  <a:pt x="165" y="3"/>
                </a:cubicBezTo>
                <a:cubicBezTo>
                  <a:pt x="163" y="3"/>
                  <a:pt x="161" y="2"/>
                  <a:pt x="159" y="1"/>
                </a:cubicBezTo>
                <a:cubicBezTo>
                  <a:pt x="149" y="1"/>
                  <a:pt x="149" y="1"/>
                  <a:pt x="149" y="1"/>
                </a:cubicBezTo>
                <a:cubicBezTo>
                  <a:pt x="149" y="2"/>
                  <a:pt x="148" y="3"/>
                  <a:pt x="147" y="3"/>
                </a:cubicBezTo>
                <a:cubicBezTo>
                  <a:pt x="145" y="4"/>
                  <a:pt x="144" y="6"/>
                  <a:pt x="143" y="8"/>
                </a:cubicBezTo>
                <a:cubicBezTo>
                  <a:pt x="141" y="8"/>
                  <a:pt x="141" y="10"/>
                  <a:pt x="140" y="10"/>
                </a:cubicBezTo>
                <a:cubicBezTo>
                  <a:pt x="140" y="11"/>
                  <a:pt x="138" y="10"/>
                  <a:pt x="138" y="10"/>
                </a:cubicBezTo>
                <a:cubicBezTo>
                  <a:pt x="137" y="11"/>
                  <a:pt x="138" y="11"/>
                  <a:pt x="137" y="11"/>
                </a:cubicBezTo>
                <a:cubicBezTo>
                  <a:pt x="137" y="11"/>
                  <a:pt x="136" y="11"/>
                  <a:pt x="136" y="11"/>
                </a:cubicBezTo>
                <a:cubicBezTo>
                  <a:pt x="136" y="10"/>
                  <a:pt x="135" y="11"/>
                  <a:pt x="135" y="10"/>
                </a:cubicBezTo>
                <a:cubicBezTo>
                  <a:pt x="134" y="9"/>
                  <a:pt x="134" y="7"/>
                  <a:pt x="134" y="4"/>
                </a:cubicBezTo>
                <a:cubicBezTo>
                  <a:pt x="134" y="3"/>
                  <a:pt x="133" y="3"/>
                  <a:pt x="131" y="3"/>
                </a:cubicBezTo>
                <a:cubicBezTo>
                  <a:pt x="131" y="2"/>
                  <a:pt x="129" y="3"/>
                  <a:pt x="129" y="1"/>
                </a:cubicBezTo>
                <a:cubicBezTo>
                  <a:pt x="126" y="2"/>
                  <a:pt x="125" y="0"/>
                  <a:pt x="122" y="1"/>
                </a:cubicBezTo>
                <a:cubicBezTo>
                  <a:pt x="121" y="1"/>
                  <a:pt x="122" y="2"/>
                  <a:pt x="122" y="3"/>
                </a:cubicBezTo>
                <a:cubicBezTo>
                  <a:pt x="121" y="3"/>
                  <a:pt x="121" y="4"/>
                  <a:pt x="120" y="4"/>
                </a:cubicBezTo>
                <a:cubicBezTo>
                  <a:pt x="121" y="7"/>
                  <a:pt x="118" y="5"/>
                  <a:pt x="117" y="7"/>
                </a:cubicBezTo>
                <a:cubicBezTo>
                  <a:pt x="116" y="7"/>
                  <a:pt x="116" y="5"/>
                  <a:pt x="115" y="5"/>
                </a:cubicBezTo>
                <a:cubicBezTo>
                  <a:pt x="115" y="3"/>
                  <a:pt x="113" y="4"/>
                  <a:pt x="113" y="1"/>
                </a:cubicBezTo>
                <a:cubicBezTo>
                  <a:pt x="109" y="1"/>
                  <a:pt x="106" y="2"/>
                  <a:pt x="102" y="3"/>
                </a:cubicBezTo>
                <a:cubicBezTo>
                  <a:pt x="101" y="2"/>
                  <a:pt x="102" y="0"/>
                  <a:pt x="100" y="1"/>
                </a:cubicBezTo>
                <a:cubicBezTo>
                  <a:pt x="100" y="1"/>
                  <a:pt x="100" y="1"/>
                  <a:pt x="100" y="1"/>
                </a:cubicBezTo>
                <a:cubicBezTo>
                  <a:pt x="99" y="1"/>
                  <a:pt x="98" y="2"/>
                  <a:pt x="98" y="3"/>
                </a:cubicBezTo>
                <a:cubicBezTo>
                  <a:pt x="97" y="3"/>
                  <a:pt x="97" y="3"/>
                  <a:pt x="96" y="3"/>
                </a:cubicBezTo>
                <a:cubicBezTo>
                  <a:pt x="96" y="7"/>
                  <a:pt x="96" y="7"/>
                  <a:pt x="96" y="7"/>
                </a:cubicBezTo>
                <a:cubicBezTo>
                  <a:pt x="94" y="7"/>
                  <a:pt x="94" y="9"/>
                  <a:pt x="92" y="10"/>
                </a:cubicBezTo>
                <a:cubicBezTo>
                  <a:pt x="92" y="11"/>
                  <a:pt x="91" y="12"/>
                  <a:pt x="90" y="13"/>
                </a:cubicBezTo>
                <a:cubicBezTo>
                  <a:pt x="90" y="15"/>
                  <a:pt x="91" y="16"/>
                  <a:pt x="91" y="17"/>
                </a:cubicBezTo>
                <a:cubicBezTo>
                  <a:pt x="92" y="19"/>
                  <a:pt x="90" y="19"/>
                  <a:pt x="90" y="21"/>
                </a:cubicBezTo>
                <a:cubicBezTo>
                  <a:pt x="89" y="21"/>
                  <a:pt x="88" y="21"/>
                  <a:pt x="88" y="22"/>
                </a:cubicBezTo>
                <a:cubicBezTo>
                  <a:pt x="87" y="21"/>
                  <a:pt x="85" y="21"/>
                  <a:pt x="84" y="20"/>
                </a:cubicBezTo>
                <a:cubicBezTo>
                  <a:pt x="81" y="21"/>
                  <a:pt x="80" y="20"/>
                  <a:pt x="78" y="19"/>
                </a:cubicBezTo>
                <a:cubicBezTo>
                  <a:pt x="75" y="20"/>
                  <a:pt x="74" y="22"/>
                  <a:pt x="72" y="22"/>
                </a:cubicBezTo>
                <a:cubicBezTo>
                  <a:pt x="72" y="24"/>
                  <a:pt x="71" y="25"/>
                  <a:pt x="71" y="27"/>
                </a:cubicBezTo>
                <a:cubicBezTo>
                  <a:pt x="70" y="28"/>
                  <a:pt x="70" y="28"/>
                  <a:pt x="69" y="29"/>
                </a:cubicBezTo>
                <a:cubicBezTo>
                  <a:pt x="69" y="30"/>
                  <a:pt x="69" y="30"/>
                  <a:pt x="68" y="30"/>
                </a:cubicBezTo>
                <a:cubicBezTo>
                  <a:pt x="68" y="31"/>
                  <a:pt x="68" y="31"/>
                  <a:pt x="67" y="31"/>
                </a:cubicBezTo>
                <a:cubicBezTo>
                  <a:pt x="67" y="33"/>
                  <a:pt x="69" y="33"/>
                  <a:pt x="69" y="35"/>
                </a:cubicBezTo>
                <a:cubicBezTo>
                  <a:pt x="68" y="35"/>
                  <a:pt x="68" y="36"/>
                  <a:pt x="67" y="36"/>
                </a:cubicBezTo>
                <a:cubicBezTo>
                  <a:pt x="67" y="40"/>
                  <a:pt x="67" y="40"/>
                  <a:pt x="67" y="40"/>
                </a:cubicBezTo>
                <a:cubicBezTo>
                  <a:pt x="67" y="41"/>
                  <a:pt x="68" y="41"/>
                  <a:pt x="69" y="42"/>
                </a:cubicBezTo>
                <a:cubicBezTo>
                  <a:pt x="68" y="44"/>
                  <a:pt x="70" y="43"/>
                  <a:pt x="70" y="45"/>
                </a:cubicBezTo>
                <a:cubicBezTo>
                  <a:pt x="71" y="45"/>
                  <a:pt x="71" y="45"/>
                  <a:pt x="71" y="45"/>
                </a:cubicBezTo>
                <a:cubicBezTo>
                  <a:pt x="74" y="45"/>
                  <a:pt x="74" y="45"/>
                  <a:pt x="74" y="45"/>
                </a:cubicBezTo>
                <a:cubicBezTo>
                  <a:pt x="75" y="45"/>
                  <a:pt x="75" y="45"/>
                  <a:pt x="75" y="46"/>
                </a:cubicBezTo>
                <a:cubicBezTo>
                  <a:pt x="75" y="46"/>
                  <a:pt x="76" y="46"/>
                  <a:pt x="76" y="47"/>
                </a:cubicBezTo>
                <a:cubicBezTo>
                  <a:pt x="77" y="50"/>
                  <a:pt x="75" y="50"/>
                  <a:pt x="75" y="52"/>
                </a:cubicBezTo>
                <a:cubicBezTo>
                  <a:pt x="74" y="52"/>
                  <a:pt x="74" y="54"/>
                  <a:pt x="74" y="54"/>
                </a:cubicBezTo>
                <a:cubicBezTo>
                  <a:pt x="73" y="54"/>
                  <a:pt x="72" y="55"/>
                  <a:pt x="71" y="56"/>
                </a:cubicBezTo>
                <a:cubicBezTo>
                  <a:pt x="68" y="56"/>
                  <a:pt x="66" y="57"/>
                  <a:pt x="63" y="59"/>
                </a:cubicBezTo>
                <a:cubicBezTo>
                  <a:pt x="63" y="64"/>
                  <a:pt x="63" y="64"/>
                  <a:pt x="63" y="64"/>
                </a:cubicBezTo>
                <a:cubicBezTo>
                  <a:pt x="63" y="65"/>
                  <a:pt x="63" y="65"/>
                  <a:pt x="63" y="65"/>
                </a:cubicBezTo>
                <a:cubicBezTo>
                  <a:pt x="61" y="66"/>
                  <a:pt x="59" y="67"/>
                  <a:pt x="58" y="68"/>
                </a:cubicBezTo>
                <a:cubicBezTo>
                  <a:pt x="56" y="69"/>
                  <a:pt x="54" y="71"/>
                  <a:pt x="53" y="72"/>
                </a:cubicBezTo>
                <a:cubicBezTo>
                  <a:pt x="53" y="76"/>
                  <a:pt x="53" y="80"/>
                  <a:pt x="55" y="82"/>
                </a:cubicBezTo>
                <a:cubicBezTo>
                  <a:pt x="55" y="83"/>
                  <a:pt x="55" y="84"/>
                  <a:pt x="54" y="84"/>
                </a:cubicBezTo>
                <a:cubicBezTo>
                  <a:pt x="54" y="88"/>
                  <a:pt x="53" y="90"/>
                  <a:pt x="53" y="94"/>
                </a:cubicBezTo>
                <a:cubicBezTo>
                  <a:pt x="53" y="95"/>
                  <a:pt x="54" y="95"/>
                  <a:pt x="55" y="95"/>
                </a:cubicBezTo>
                <a:cubicBezTo>
                  <a:pt x="55" y="95"/>
                  <a:pt x="55" y="96"/>
                  <a:pt x="56" y="96"/>
                </a:cubicBezTo>
                <a:cubicBezTo>
                  <a:pt x="56" y="96"/>
                  <a:pt x="56" y="97"/>
                  <a:pt x="56" y="98"/>
                </a:cubicBezTo>
                <a:cubicBezTo>
                  <a:pt x="56" y="98"/>
                  <a:pt x="57" y="97"/>
                  <a:pt x="57" y="98"/>
                </a:cubicBezTo>
                <a:cubicBezTo>
                  <a:pt x="57" y="98"/>
                  <a:pt x="57" y="98"/>
                  <a:pt x="58" y="99"/>
                </a:cubicBezTo>
                <a:cubicBezTo>
                  <a:pt x="58" y="100"/>
                  <a:pt x="59" y="100"/>
                  <a:pt x="59" y="101"/>
                </a:cubicBezTo>
                <a:cubicBezTo>
                  <a:pt x="59" y="102"/>
                  <a:pt x="58" y="103"/>
                  <a:pt x="58" y="103"/>
                </a:cubicBezTo>
                <a:cubicBezTo>
                  <a:pt x="58" y="105"/>
                  <a:pt x="56" y="104"/>
                  <a:pt x="56" y="106"/>
                </a:cubicBezTo>
                <a:cubicBezTo>
                  <a:pt x="50" y="106"/>
                  <a:pt x="50" y="106"/>
                  <a:pt x="50" y="106"/>
                </a:cubicBezTo>
                <a:cubicBezTo>
                  <a:pt x="50" y="105"/>
                  <a:pt x="50" y="103"/>
                  <a:pt x="51" y="103"/>
                </a:cubicBezTo>
                <a:cubicBezTo>
                  <a:pt x="51" y="102"/>
                  <a:pt x="50" y="102"/>
                  <a:pt x="50" y="100"/>
                </a:cubicBezTo>
                <a:cubicBezTo>
                  <a:pt x="47" y="100"/>
                  <a:pt x="47" y="102"/>
                  <a:pt x="44" y="102"/>
                </a:cubicBezTo>
                <a:cubicBezTo>
                  <a:pt x="43" y="103"/>
                  <a:pt x="44" y="106"/>
                  <a:pt x="43" y="107"/>
                </a:cubicBezTo>
                <a:cubicBezTo>
                  <a:pt x="41" y="107"/>
                  <a:pt x="39" y="108"/>
                  <a:pt x="37" y="109"/>
                </a:cubicBezTo>
                <a:cubicBezTo>
                  <a:pt x="36" y="109"/>
                  <a:pt x="34" y="109"/>
                  <a:pt x="33" y="108"/>
                </a:cubicBezTo>
                <a:cubicBezTo>
                  <a:pt x="32" y="108"/>
                  <a:pt x="32" y="108"/>
                  <a:pt x="32" y="108"/>
                </a:cubicBezTo>
                <a:cubicBezTo>
                  <a:pt x="32" y="109"/>
                  <a:pt x="31" y="109"/>
                  <a:pt x="32" y="111"/>
                </a:cubicBezTo>
                <a:cubicBezTo>
                  <a:pt x="32" y="112"/>
                  <a:pt x="33" y="112"/>
                  <a:pt x="32" y="114"/>
                </a:cubicBezTo>
                <a:cubicBezTo>
                  <a:pt x="30" y="113"/>
                  <a:pt x="30" y="115"/>
                  <a:pt x="28" y="115"/>
                </a:cubicBezTo>
                <a:cubicBezTo>
                  <a:pt x="28" y="116"/>
                  <a:pt x="27" y="116"/>
                  <a:pt x="27" y="116"/>
                </a:cubicBezTo>
                <a:cubicBezTo>
                  <a:pt x="26" y="116"/>
                  <a:pt x="26" y="118"/>
                  <a:pt x="25" y="118"/>
                </a:cubicBezTo>
                <a:cubicBezTo>
                  <a:pt x="25" y="119"/>
                  <a:pt x="24" y="120"/>
                  <a:pt x="23" y="120"/>
                </a:cubicBezTo>
                <a:cubicBezTo>
                  <a:pt x="19" y="120"/>
                  <a:pt x="19" y="120"/>
                  <a:pt x="19" y="120"/>
                </a:cubicBezTo>
                <a:cubicBezTo>
                  <a:pt x="19" y="119"/>
                  <a:pt x="18" y="118"/>
                  <a:pt x="17" y="118"/>
                </a:cubicBezTo>
                <a:cubicBezTo>
                  <a:pt x="16" y="119"/>
                  <a:pt x="15" y="120"/>
                  <a:pt x="14" y="121"/>
                </a:cubicBezTo>
                <a:cubicBezTo>
                  <a:pt x="13" y="120"/>
                  <a:pt x="13" y="120"/>
                  <a:pt x="12" y="120"/>
                </a:cubicBezTo>
                <a:cubicBezTo>
                  <a:pt x="11" y="120"/>
                  <a:pt x="11" y="119"/>
                  <a:pt x="10" y="119"/>
                </a:cubicBezTo>
                <a:cubicBezTo>
                  <a:pt x="8" y="120"/>
                  <a:pt x="9" y="122"/>
                  <a:pt x="6" y="121"/>
                </a:cubicBezTo>
                <a:cubicBezTo>
                  <a:pt x="6" y="122"/>
                  <a:pt x="5" y="122"/>
                  <a:pt x="4" y="122"/>
                </a:cubicBezTo>
                <a:cubicBezTo>
                  <a:pt x="4" y="123"/>
                  <a:pt x="2" y="123"/>
                  <a:pt x="1" y="123"/>
                </a:cubicBezTo>
                <a:cubicBezTo>
                  <a:pt x="1" y="125"/>
                  <a:pt x="3" y="124"/>
                  <a:pt x="2" y="126"/>
                </a:cubicBezTo>
                <a:cubicBezTo>
                  <a:pt x="2" y="129"/>
                  <a:pt x="4" y="129"/>
                  <a:pt x="3" y="132"/>
                </a:cubicBezTo>
                <a:cubicBezTo>
                  <a:pt x="4" y="132"/>
                  <a:pt x="4" y="134"/>
                  <a:pt x="5" y="134"/>
                </a:cubicBezTo>
                <a:cubicBezTo>
                  <a:pt x="5" y="136"/>
                  <a:pt x="6" y="136"/>
                  <a:pt x="7" y="137"/>
                </a:cubicBezTo>
                <a:cubicBezTo>
                  <a:pt x="6" y="140"/>
                  <a:pt x="8" y="140"/>
                  <a:pt x="8" y="142"/>
                </a:cubicBezTo>
                <a:cubicBezTo>
                  <a:pt x="8" y="143"/>
                  <a:pt x="10" y="143"/>
                  <a:pt x="10" y="144"/>
                </a:cubicBezTo>
                <a:cubicBezTo>
                  <a:pt x="9" y="148"/>
                  <a:pt x="12" y="149"/>
                  <a:pt x="12" y="153"/>
                </a:cubicBezTo>
                <a:cubicBezTo>
                  <a:pt x="13" y="153"/>
                  <a:pt x="13" y="154"/>
                  <a:pt x="14" y="154"/>
                </a:cubicBezTo>
                <a:cubicBezTo>
                  <a:pt x="14" y="155"/>
                  <a:pt x="17" y="154"/>
                  <a:pt x="16" y="156"/>
                </a:cubicBezTo>
                <a:cubicBezTo>
                  <a:pt x="17" y="157"/>
                  <a:pt x="16" y="158"/>
                  <a:pt x="17" y="158"/>
                </a:cubicBezTo>
                <a:cubicBezTo>
                  <a:pt x="17" y="159"/>
                  <a:pt x="16" y="159"/>
                  <a:pt x="16" y="161"/>
                </a:cubicBezTo>
                <a:cubicBezTo>
                  <a:pt x="17" y="162"/>
                  <a:pt x="19" y="163"/>
                  <a:pt x="19" y="165"/>
                </a:cubicBezTo>
                <a:cubicBezTo>
                  <a:pt x="19" y="168"/>
                  <a:pt x="19" y="170"/>
                  <a:pt x="20" y="172"/>
                </a:cubicBezTo>
                <a:cubicBezTo>
                  <a:pt x="20" y="173"/>
                  <a:pt x="19" y="176"/>
                  <a:pt x="21" y="176"/>
                </a:cubicBezTo>
                <a:cubicBezTo>
                  <a:pt x="21" y="176"/>
                  <a:pt x="21" y="177"/>
                  <a:pt x="21" y="178"/>
                </a:cubicBezTo>
                <a:cubicBezTo>
                  <a:pt x="21" y="179"/>
                  <a:pt x="20" y="179"/>
                  <a:pt x="21" y="180"/>
                </a:cubicBezTo>
                <a:cubicBezTo>
                  <a:pt x="20" y="180"/>
                  <a:pt x="20" y="181"/>
                  <a:pt x="20" y="182"/>
                </a:cubicBezTo>
                <a:cubicBezTo>
                  <a:pt x="19" y="182"/>
                  <a:pt x="19" y="182"/>
                  <a:pt x="19" y="183"/>
                </a:cubicBezTo>
                <a:cubicBezTo>
                  <a:pt x="19" y="183"/>
                  <a:pt x="19" y="183"/>
                  <a:pt x="19" y="183"/>
                </a:cubicBezTo>
                <a:cubicBezTo>
                  <a:pt x="17" y="183"/>
                  <a:pt x="16" y="183"/>
                  <a:pt x="16" y="185"/>
                </a:cubicBezTo>
                <a:cubicBezTo>
                  <a:pt x="14" y="184"/>
                  <a:pt x="14" y="187"/>
                  <a:pt x="12" y="186"/>
                </a:cubicBezTo>
                <a:cubicBezTo>
                  <a:pt x="10" y="187"/>
                  <a:pt x="10" y="189"/>
                  <a:pt x="7" y="189"/>
                </a:cubicBezTo>
                <a:cubicBezTo>
                  <a:pt x="7" y="191"/>
                  <a:pt x="7" y="191"/>
                  <a:pt x="7" y="191"/>
                </a:cubicBezTo>
                <a:cubicBezTo>
                  <a:pt x="7" y="191"/>
                  <a:pt x="7" y="191"/>
                  <a:pt x="7" y="192"/>
                </a:cubicBezTo>
                <a:cubicBezTo>
                  <a:pt x="6" y="194"/>
                  <a:pt x="5" y="195"/>
                  <a:pt x="5" y="198"/>
                </a:cubicBezTo>
                <a:cubicBezTo>
                  <a:pt x="4" y="198"/>
                  <a:pt x="4" y="198"/>
                  <a:pt x="4" y="199"/>
                </a:cubicBezTo>
                <a:cubicBezTo>
                  <a:pt x="4" y="199"/>
                  <a:pt x="4" y="199"/>
                  <a:pt x="3" y="199"/>
                </a:cubicBezTo>
                <a:cubicBezTo>
                  <a:pt x="3" y="200"/>
                  <a:pt x="3" y="200"/>
                  <a:pt x="2" y="201"/>
                </a:cubicBezTo>
                <a:cubicBezTo>
                  <a:pt x="2" y="200"/>
                  <a:pt x="2" y="201"/>
                  <a:pt x="2" y="201"/>
                </a:cubicBezTo>
                <a:cubicBezTo>
                  <a:pt x="0" y="201"/>
                  <a:pt x="0" y="201"/>
                  <a:pt x="0" y="201"/>
                </a:cubicBezTo>
                <a:cubicBezTo>
                  <a:pt x="0" y="202"/>
                  <a:pt x="0" y="202"/>
                  <a:pt x="0" y="203"/>
                </a:cubicBezTo>
                <a:cubicBezTo>
                  <a:pt x="2" y="203"/>
                  <a:pt x="2" y="205"/>
                  <a:pt x="4" y="204"/>
                </a:cubicBezTo>
                <a:cubicBezTo>
                  <a:pt x="4" y="205"/>
                  <a:pt x="5" y="205"/>
                  <a:pt x="6" y="205"/>
                </a:cubicBezTo>
                <a:cubicBezTo>
                  <a:pt x="6" y="206"/>
                  <a:pt x="7" y="205"/>
                  <a:pt x="7" y="206"/>
                </a:cubicBezTo>
                <a:cubicBezTo>
                  <a:pt x="8" y="206"/>
                  <a:pt x="9" y="207"/>
                  <a:pt x="9" y="207"/>
                </a:cubicBezTo>
                <a:cubicBezTo>
                  <a:pt x="10" y="207"/>
                  <a:pt x="10" y="207"/>
                  <a:pt x="10" y="208"/>
                </a:cubicBezTo>
                <a:cubicBezTo>
                  <a:pt x="10" y="208"/>
                  <a:pt x="10" y="209"/>
                  <a:pt x="11" y="208"/>
                </a:cubicBezTo>
                <a:cubicBezTo>
                  <a:pt x="12" y="208"/>
                  <a:pt x="12" y="209"/>
                  <a:pt x="13" y="209"/>
                </a:cubicBezTo>
                <a:cubicBezTo>
                  <a:pt x="13" y="210"/>
                  <a:pt x="14" y="210"/>
                  <a:pt x="14" y="210"/>
                </a:cubicBezTo>
                <a:cubicBezTo>
                  <a:pt x="14" y="211"/>
                  <a:pt x="15" y="211"/>
                  <a:pt x="15" y="212"/>
                </a:cubicBezTo>
                <a:cubicBezTo>
                  <a:pt x="15" y="214"/>
                  <a:pt x="15" y="216"/>
                  <a:pt x="14" y="217"/>
                </a:cubicBezTo>
                <a:cubicBezTo>
                  <a:pt x="15" y="218"/>
                  <a:pt x="15" y="219"/>
                  <a:pt x="15" y="221"/>
                </a:cubicBezTo>
                <a:cubicBezTo>
                  <a:pt x="14" y="223"/>
                  <a:pt x="14" y="225"/>
                  <a:pt x="14" y="226"/>
                </a:cubicBezTo>
                <a:cubicBezTo>
                  <a:pt x="14" y="227"/>
                  <a:pt x="15" y="227"/>
                  <a:pt x="15" y="227"/>
                </a:cubicBezTo>
                <a:cubicBezTo>
                  <a:pt x="15" y="228"/>
                  <a:pt x="15" y="229"/>
                  <a:pt x="15" y="230"/>
                </a:cubicBezTo>
                <a:cubicBezTo>
                  <a:pt x="15" y="230"/>
                  <a:pt x="16" y="230"/>
                  <a:pt x="16" y="231"/>
                </a:cubicBezTo>
                <a:cubicBezTo>
                  <a:pt x="16" y="232"/>
                  <a:pt x="16" y="233"/>
                  <a:pt x="16" y="234"/>
                </a:cubicBezTo>
                <a:cubicBezTo>
                  <a:pt x="17" y="234"/>
                  <a:pt x="17" y="234"/>
                  <a:pt x="17" y="234"/>
                </a:cubicBezTo>
                <a:cubicBezTo>
                  <a:pt x="20" y="233"/>
                  <a:pt x="22" y="230"/>
                  <a:pt x="26" y="231"/>
                </a:cubicBezTo>
                <a:cubicBezTo>
                  <a:pt x="26" y="230"/>
                  <a:pt x="27" y="230"/>
                  <a:pt x="28" y="230"/>
                </a:cubicBezTo>
                <a:cubicBezTo>
                  <a:pt x="28" y="229"/>
                  <a:pt x="28" y="229"/>
                  <a:pt x="28" y="228"/>
                </a:cubicBezTo>
                <a:cubicBezTo>
                  <a:pt x="30" y="228"/>
                  <a:pt x="30" y="227"/>
                  <a:pt x="32" y="227"/>
                </a:cubicBezTo>
                <a:cubicBezTo>
                  <a:pt x="32" y="226"/>
                  <a:pt x="34" y="227"/>
                  <a:pt x="34" y="225"/>
                </a:cubicBezTo>
                <a:cubicBezTo>
                  <a:pt x="36" y="226"/>
                  <a:pt x="35" y="223"/>
                  <a:pt x="37" y="224"/>
                </a:cubicBezTo>
                <a:cubicBezTo>
                  <a:pt x="37" y="222"/>
                  <a:pt x="37" y="222"/>
                  <a:pt x="37" y="222"/>
                </a:cubicBezTo>
                <a:cubicBezTo>
                  <a:pt x="37" y="221"/>
                  <a:pt x="37" y="220"/>
                  <a:pt x="38" y="220"/>
                </a:cubicBezTo>
                <a:cubicBezTo>
                  <a:pt x="38" y="219"/>
                  <a:pt x="37" y="219"/>
                  <a:pt x="37" y="217"/>
                </a:cubicBezTo>
                <a:cubicBezTo>
                  <a:pt x="37" y="216"/>
                  <a:pt x="37" y="215"/>
                  <a:pt x="38" y="215"/>
                </a:cubicBezTo>
                <a:cubicBezTo>
                  <a:pt x="39" y="215"/>
                  <a:pt x="40" y="215"/>
                  <a:pt x="41" y="215"/>
                </a:cubicBezTo>
                <a:cubicBezTo>
                  <a:pt x="42" y="215"/>
                  <a:pt x="41" y="215"/>
                  <a:pt x="41" y="215"/>
                </a:cubicBezTo>
                <a:cubicBezTo>
                  <a:pt x="42" y="214"/>
                  <a:pt x="44" y="215"/>
                  <a:pt x="45" y="215"/>
                </a:cubicBezTo>
                <a:cubicBezTo>
                  <a:pt x="45" y="215"/>
                  <a:pt x="45" y="214"/>
                  <a:pt x="45" y="214"/>
                </a:cubicBezTo>
                <a:cubicBezTo>
                  <a:pt x="45" y="213"/>
                  <a:pt x="47" y="214"/>
                  <a:pt x="48" y="214"/>
                </a:cubicBezTo>
                <a:cubicBezTo>
                  <a:pt x="48" y="213"/>
                  <a:pt x="49" y="213"/>
                  <a:pt x="49" y="212"/>
                </a:cubicBezTo>
                <a:cubicBezTo>
                  <a:pt x="50" y="212"/>
                  <a:pt x="50" y="212"/>
                  <a:pt x="51" y="212"/>
                </a:cubicBezTo>
                <a:cubicBezTo>
                  <a:pt x="52" y="212"/>
                  <a:pt x="52" y="211"/>
                  <a:pt x="53" y="211"/>
                </a:cubicBezTo>
                <a:cubicBezTo>
                  <a:pt x="55" y="211"/>
                  <a:pt x="55" y="211"/>
                  <a:pt x="55" y="211"/>
                </a:cubicBezTo>
                <a:cubicBezTo>
                  <a:pt x="55" y="210"/>
                  <a:pt x="57" y="211"/>
                  <a:pt x="58" y="210"/>
                </a:cubicBezTo>
                <a:cubicBezTo>
                  <a:pt x="61" y="210"/>
                  <a:pt x="60" y="207"/>
                  <a:pt x="62" y="208"/>
                </a:cubicBezTo>
                <a:cubicBezTo>
                  <a:pt x="66" y="207"/>
                  <a:pt x="70" y="208"/>
                  <a:pt x="73" y="208"/>
                </a:cubicBezTo>
                <a:cubicBezTo>
                  <a:pt x="74" y="207"/>
                  <a:pt x="74" y="207"/>
                  <a:pt x="76" y="207"/>
                </a:cubicBezTo>
                <a:cubicBezTo>
                  <a:pt x="78" y="206"/>
                  <a:pt x="81" y="206"/>
                  <a:pt x="83" y="205"/>
                </a:cubicBezTo>
                <a:cubicBezTo>
                  <a:pt x="83" y="206"/>
                  <a:pt x="84" y="206"/>
                  <a:pt x="85" y="206"/>
                </a:cubicBezTo>
                <a:cubicBezTo>
                  <a:pt x="85" y="207"/>
                  <a:pt x="85" y="209"/>
                  <a:pt x="86" y="208"/>
                </a:cubicBezTo>
                <a:cubicBezTo>
                  <a:pt x="96" y="207"/>
                  <a:pt x="106" y="210"/>
                  <a:pt x="117" y="209"/>
                </a:cubicBezTo>
                <a:cubicBezTo>
                  <a:pt x="117" y="212"/>
                  <a:pt x="119" y="213"/>
                  <a:pt x="120" y="215"/>
                </a:cubicBezTo>
                <a:cubicBezTo>
                  <a:pt x="125" y="215"/>
                  <a:pt x="125" y="215"/>
                  <a:pt x="125" y="215"/>
                </a:cubicBezTo>
                <a:cubicBezTo>
                  <a:pt x="125" y="214"/>
                  <a:pt x="126" y="213"/>
                  <a:pt x="127" y="212"/>
                </a:cubicBezTo>
                <a:cubicBezTo>
                  <a:pt x="127" y="209"/>
                  <a:pt x="127" y="209"/>
                  <a:pt x="127" y="209"/>
                </a:cubicBezTo>
                <a:cubicBezTo>
                  <a:pt x="130" y="210"/>
                  <a:pt x="133" y="210"/>
                  <a:pt x="134" y="212"/>
                </a:cubicBezTo>
                <a:cubicBezTo>
                  <a:pt x="135" y="214"/>
                  <a:pt x="132" y="213"/>
                  <a:pt x="133" y="215"/>
                </a:cubicBezTo>
                <a:cubicBezTo>
                  <a:pt x="133" y="216"/>
                  <a:pt x="133" y="216"/>
                  <a:pt x="133" y="216"/>
                </a:cubicBezTo>
                <a:cubicBezTo>
                  <a:pt x="134" y="217"/>
                  <a:pt x="135" y="217"/>
                  <a:pt x="136" y="217"/>
                </a:cubicBezTo>
                <a:cubicBezTo>
                  <a:pt x="136" y="217"/>
                  <a:pt x="137" y="217"/>
                  <a:pt x="137" y="217"/>
                </a:cubicBezTo>
                <a:cubicBezTo>
                  <a:pt x="137" y="215"/>
                  <a:pt x="139" y="216"/>
                  <a:pt x="138" y="214"/>
                </a:cubicBezTo>
                <a:cubicBezTo>
                  <a:pt x="138" y="213"/>
                  <a:pt x="139" y="213"/>
                  <a:pt x="139" y="212"/>
                </a:cubicBezTo>
                <a:cubicBezTo>
                  <a:pt x="140" y="212"/>
                  <a:pt x="140" y="211"/>
                  <a:pt x="140" y="211"/>
                </a:cubicBezTo>
                <a:cubicBezTo>
                  <a:pt x="142" y="211"/>
                  <a:pt x="142" y="210"/>
                  <a:pt x="145" y="210"/>
                </a:cubicBezTo>
                <a:cubicBezTo>
                  <a:pt x="145" y="209"/>
                  <a:pt x="147" y="208"/>
                  <a:pt x="148" y="207"/>
                </a:cubicBezTo>
                <a:cubicBezTo>
                  <a:pt x="148" y="209"/>
                  <a:pt x="150" y="209"/>
                  <a:pt x="152" y="210"/>
                </a:cubicBezTo>
                <a:cubicBezTo>
                  <a:pt x="152" y="210"/>
                  <a:pt x="152" y="210"/>
                  <a:pt x="152" y="210"/>
                </a:cubicBezTo>
                <a:cubicBezTo>
                  <a:pt x="152" y="210"/>
                  <a:pt x="152" y="210"/>
                  <a:pt x="152" y="210"/>
                </a:cubicBezTo>
                <a:cubicBezTo>
                  <a:pt x="152" y="210"/>
                  <a:pt x="152" y="210"/>
                  <a:pt x="152" y="210"/>
                </a:cubicBezTo>
                <a:cubicBezTo>
                  <a:pt x="152" y="210"/>
                  <a:pt x="152" y="210"/>
                  <a:pt x="152" y="210"/>
                </a:cubicBezTo>
                <a:cubicBezTo>
                  <a:pt x="152" y="210"/>
                  <a:pt x="152" y="210"/>
                  <a:pt x="153" y="210"/>
                </a:cubicBezTo>
                <a:cubicBezTo>
                  <a:pt x="153" y="210"/>
                  <a:pt x="153" y="210"/>
                  <a:pt x="153" y="210"/>
                </a:cubicBezTo>
                <a:cubicBezTo>
                  <a:pt x="153" y="210"/>
                  <a:pt x="153" y="210"/>
                  <a:pt x="153" y="210"/>
                </a:cubicBezTo>
                <a:cubicBezTo>
                  <a:pt x="153" y="210"/>
                  <a:pt x="153" y="210"/>
                  <a:pt x="153" y="210"/>
                </a:cubicBezTo>
                <a:cubicBezTo>
                  <a:pt x="153" y="210"/>
                  <a:pt x="153" y="210"/>
                  <a:pt x="153" y="210"/>
                </a:cubicBezTo>
                <a:cubicBezTo>
                  <a:pt x="154" y="210"/>
                  <a:pt x="154" y="210"/>
                  <a:pt x="155" y="209"/>
                </a:cubicBezTo>
                <a:cubicBezTo>
                  <a:pt x="155" y="209"/>
                  <a:pt x="155" y="209"/>
                  <a:pt x="155" y="209"/>
                </a:cubicBezTo>
                <a:cubicBezTo>
                  <a:pt x="155" y="209"/>
                  <a:pt x="156" y="208"/>
                  <a:pt x="156" y="208"/>
                </a:cubicBezTo>
                <a:cubicBezTo>
                  <a:pt x="156" y="208"/>
                  <a:pt x="156" y="208"/>
                  <a:pt x="156" y="208"/>
                </a:cubicBezTo>
                <a:cubicBezTo>
                  <a:pt x="156" y="208"/>
                  <a:pt x="156" y="208"/>
                  <a:pt x="156" y="208"/>
                </a:cubicBezTo>
                <a:cubicBezTo>
                  <a:pt x="156" y="208"/>
                  <a:pt x="156" y="208"/>
                  <a:pt x="157" y="208"/>
                </a:cubicBezTo>
                <a:cubicBezTo>
                  <a:pt x="157" y="208"/>
                  <a:pt x="157" y="208"/>
                  <a:pt x="157" y="208"/>
                </a:cubicBezTo>
                <a:cubicBezTo>
                  <a:pt x="157" y="208"/>
                  <a:pt x="157" y="208"/>
                  <a:pt x="157" y="208"/>
                </a:cubicBezTo>
                <a:cubicBezTo>
                  <a:pt x="157" y="208"/>
                  <a:pt x="157" y="208"/>
                  <a:pt x="157" y="208"/>
                </a:cubicBezTo>
                <a:cubicBezTo>
                  <a:pt x="157" y="208"/>
                  <a:pt x="157" y="208"/>
                  <a:pt x="158" y="208"/>
                </a:cubicBezTo>
                <a:cubicBezTo>
                  <a:pt x="158" y="208"/>
                  <a:pt x="158" y="208"/>
                  <a:pt x="158" y="208"/>
                </a:cubicBezTo>
                <a:cubicBezTo>
                  <a:pt x="158" y="208"/>
                  <a:pt x="158" y="208"/>
                  <a:pt x="158" y="208"/>
                </a:cubicBezTo>
                <a:cubicBezTo>
                  <a:pt x="158" y="208"/>
                  <a:pt x="158" y="208"/>
                  <a:pt x="159" y="208"/>
                </a:cubicBezTo>
                <a:cubicBezTo>
                  <a:pt x="159" y="208"/>
                  <a:pt x="159" y="208"/>
                  <a:pt x="159" y="208"/>
                </a:cubicBezTo>
                <a:cubicBezTo>
                  <a:pt x="159" y="210"/>
                  <a:pt x="160" y="211"/>
                  <a:pt x="161" y="212"/>
                </a:cubicBezTo>
                <a:cubicBezTo>
                  <a:pt x="163" y="213"/>
                  <a:pt x="165" y="214"/>
                  <a:pt x="167" y="214"/>
                </a:cubicBezTo>
                <a:cubicBezTo>
                  <a:pt x="167" y="212"/>
                  <a:pt x="168" y="210"/>
                  <a:pt x="168" y="208"/>
                </a:cubicBezTo>
                <a:cubicBezTo>
                  <a:pt x="169" y="207"/>
                  <a:pt x="169" y="205"/>
                  <a:pt x="171" y="206"/>
                </a:cubicBezTo>
                <a:cubicBezTo>
                  <a:pt x="171" y="205"/>
                  <a:pt x="172" y="204"/>
                  <a:pt x="172" y="204"/>
                </a:cubicBezTo>
                <a:cubicBezTo>
                  <a:pt x="173" y="204"/>
                  <a:pt x="173" y="203"/>
                  <a:pt x="174" y="203"/>
                </a:cubicBezTo>
                <a:cubicBezTo>
                  <a:pt x="174" y="203"/>
                  <a:pt x="174" y="204"/>
                  <a:pt x="175" y="203"/>
                </a:cubicBezTo>
                <a:cubicBezTo>
                  <a:pt x="176" y="203"/>
                  <a:pt x="175" y="205"/>
                  <a:pt x="175" y="206"/>
                </a:cubicBezTo>
                <a:cubicBezTo>
                  <a:pt x="175" y="206"/>
                  <a:pt x="176" y="205"/>
                  <a:pt x="176" y="206"/>
                </a:cubicBezTo>
                <a:cubicBezTo>
                  <a:pt x="176" y="206"/>
                  <a:pt x="176" y="207"/>
                  <a:pt x="177" y="207"/>
                </a:cubicBezTo>
                <a:cubicBezTo>
                  <a:pt x="177" y="209"/>
                  <a:pt x="179" y="208"/>
                  <a:pt x="179" y="210"/>
                </a:cubicBezTo>
                <a:cubicBezTo>
                  <a:pt x="179" y="210"/>
                  <a:pt x="179" y="212"/>
                  <a:pt x="181" y="212"/>
                </a:cubicBezTo>
                <a:cubicBezTo>
                  <a:pt x="182" y="212"/>
                  <a:pt x="182" y="211"/>
                  <a:pt x="182" y="211"/>
                </a:cubicBezTo>
                <a:cubicBezTo>
                  <a:pt x="182" y="208"/>
                  <a:pt x="182" y="208"/>
                  <a:pt x="182" y="208"/>
                </a:cubicBezTo>
                <a:cubicBezTo>
                  <a:pt x="184" y="208"/>
                  <a:pt x="184" y="208"/>
                  <a:pt x="184" y="206"/>
                </a:cubicBezTo>
                <a:cubicBezTo>
                  <a:pt x="184" y="205"/>
                  <a:pt x="185" y="205"/>
                  <a:pt x="186" y="205"/>
                </a:cubicBezTo>
                <a:cubicBezTo>
                  <a:pt x="186" y="204"/>
                  <a:pt x="186" y="203"/>
                  <a:pt x="186" y="203"/>
                </a:cubicBezTo>
                <a:cubicBezTo>
                  <a:pt x="189" y="204"/>
                  <a:pt x="188" y="202"/>
                  <a:pt x="190" y="202"/>
                </a:cubicBezTo>
                <a:cubicBezTo>
                  <a:pt x="191" y="202"/>
                  <a:pt x="191" y="203"/>
                  <a:pt x="192" y="203"/>
                </a:cubicBezTo>
                <a:cubicBezTo>
                  <a:pt x="192" y="203"/>
                  <a:pt x="192" y="203"/>
                  <a:pt x="193" y="203"/>
                </a:cubicBezTo>
                <a:cubicBezTo>
                  <a:pt x="194" y="203"/>
                  <a:pt x="194" y="202"/>
                  <a:pt x="195" y="202"/>
                </a:cubicBezTo>
                <a:cubicBezTo>
                  <a:pt x="196" y="202"/>
                  <a:pt x="196" y="202"/>
                  <a:pt x="196" y="202"/>
                </a:cubicBezTo>
                <a:cubicBezTo>
                  <a:pt x="196" y="202"/>
                  <a:pt x="196" y="202"/>
                  <a:pt x="196" y="202"/>
                </a:cubicBezTo>
                <a:cubicBezTo>
                  <a:pt x="196" y="202"/>
                  <a:pt x="196" y="202"/>
                  <a:pt x="196" y="202"/>
                </a:cubicBezTo>
                <a:cubicBezTo>
                  <a:pt x="196" y="202"/>
                  <a:pt x="196" y="202"/>
                  <a:pt x="196" y="202"/>
                </a:cubicBezTo>
                <a:cubicBezTo>
                  <a:pt x="196" y="202"/>
                  <a:pt x="196" y="202"/>
                  <a:pt x="196" y="202"/>
                </a:cubicBezTo>
                <a:cubicBezTo>
                  <a:pt x="196" y="202"/>
                  <a:pt x="196" y="202"/>
                  <a:pt x="196" y="202"/>
                </a:cubicBezTo>
                <a:cubicBezTo>
                  <a:pt x="196" y="202"/>
                  <a:pt x="196" y="202"/>
                  <a:pt x="196" y="202"/>
                </a:cubicBezTo>
                <a:cubicBezTo>
                  <a:pt x="196" y="202"/>
                  <a:pt x="196" y="202"/>
                  <a:pt x="196" y="202"/>
                </a:cubicBezTo>
                <a:cubicBezTo>
                  <a:pt x="196" y="202"/>
                  <a:pt x="196" y="201"/>
                  <a:pt x="196" y="201"/>
                </a:cubicBezTo>
                <a:cubicBezTo>
                  <a:pt x="198" y="201"/>
                  <a:pt x="198" y="201"/>
                  <a:pt x="200" y="200"/>
                </a:cubicBezTo>
                <a:cubicBezTo>
                  <a:pt x="200" y="200"/>
                  <a:pt x="200" y="200"/>
                  <a:pt x="200" y="200"/>
                </a:cubicBezTo>
                <a:cubicBezTo>
                  <a:pt x="200" y="200"/>
                  <a:pt x="200" y="200"/>
                  <a:pt x="201" y="200"/>
                </a:cubicBezTo>
                <a:cubicBezTo>
                  <a:pt x="201" y="200"/>
                  <a:pt x="201" y="200"/>
                  <a:pt x="201" y="200"/>
                </a:cubicBezTo>
                <a:cubicBezTo>
                  <a:pt x="201" y="200"/>
                  <a:pt x="201" y="200"/>
                  <a:pt x="201" y="200"/>
                </a:cubicBezTo>
                <a:cubicBezTo>
                  <a:pt x="201" y="200"/>
                  <a:pt x="201" y="199"/>
                  <a:pt x="201" y="199"/>
                </a:cubicBezTo>
                <a:cubicBezTo>
                  <a:pt x="204" y="199"/>
                  <a:pt x="204" y="199"/>
                  <a:pt x="204" y="199"/>
                </a:cubicBezTo>
                <a:cubicBezTo>
                  <a:pt x="204" y="199"/>
                  <a:pt x="204" y="199"/>
                  <a:pt x="205" y="199"/>
                </a:cubicBezTo>
                <a:cubicBezTo>
                  <a:pt x="205" y="200"/>
                  <a:pt x="206" y="200"/>
                  <a:pt x="206" y="201"/>
                </a:cubicBezTo>
                <a:cubicBezTo>
                  <a:pt x="207" y="201"/>
                  <a:pt x="207" y="201"/>
                  <a:pt x="207" y="201"/>
                </a:cubicBezTo>
                <a:cubicBezTo>
                  <a:pt x="207" y="201"/>
                  <a:pt x="207" y="202"/>
                  <a:pt x="208" y="202"/>
                </a:cubicBezTo>
                <a:cubicBezTo>
                  <a:pt x="208" y="202"/>
                  <a:pt x="208" y="202"/>
                  <a:pt x="208" y="202"/>
                </a:cubicBezTo>
                <a:cubicBezTo>
                  <a:pt x="208" y="203"/>
                  <a:pt x="208" y="203"/>
                  <a:pt x="209" y="203"/>
                </a:cubicBezTo>
                <a:cubicBezTo>
                  <a:pt x="209" y="203"/>
                  <a:pt x="209" y="203"/>
                  <a:pt x="209" y="204"/>
                </a:cubicBezTo>
                <a:cubicBezTo>
                  <a:pt x="209" y="204"/>
                  <a:pt x="209" y="204"/>
                  <a:pt x="209" y="204"/>
                </a:cubicBezTo>
                <a:cubicBezTo>
                  <a:pt x="209" y="204"/>
                  <a:pt x="209" y="204"/>
                  <a:pt x="209" y="204"/>
                </a:cubicBezTo>
                <a:cubicBezTo>
                  <a:pt x="209" y="206"/>
                  <a:pt x="210" y="206"/>
                  <a:pt x="211" y="206"/>
                </a:cubicBezTo>
                <a:cubicBezTo>
                  <a:pt x="212" y="205"/>
                  <a:pt x="212" y="205"/>
                  <a:pt x="212" y="206"/>
                </a:cubicBezTo>
                <a:cubicBezTo>
                  <a:pt x="212" y="206"/>
                  <a:pt x="212" y="206"/>
                  <a:pt x="212" y="206"/>
                </a:cubicBezTo>
                <a:cubicBezTo>
                  <a:pt x="212" y="206"/>
                  <a:pt x="212" y="206"/>
                  <a:pt x="212" y="206"/>
                </a:cubicBezTo>
                <a:cubicBezTo>
                  <a:pt x="212" y="206"/>
                  <a:pt x="212" y="206"/>
                  <a:pt x="212" y="206"/>
                </a:cubicBezTo>
                <a:cubicBezTo>
                  <a:pt x="212" y="206"/>
                  <a:pt x="212" y="206"/>
                  <a:pt x="212" y="206"/>
                </a:cubicBezTo>
                <a:cubicBezTo>
                  <a:pt x="212" y="206"/>
                  <a:pt x="212" y="206"/>
                  <a:pt x="212" y="206"/>
                </a:cubicBezTo>
                <a:cubicBezTo>
                  <a:pt x="212" y="206"/>
                  <a:pt x="212" y="206"/>
                  <a:pt x="212" y="206"/>
                </a:cubicBezTo>
                <a:cubicBezTo>
                  <a:pt x="212" y="206"/>
                  <a:pt x="212" y="206"/>
                  <a:pt x="213" y="206"/>
                </a:cubicBezTo>
                <a:cubicBezTo>
                  <a:pt x="213" y="206"/>
                  <a:pt x="213" y="206"/>
                  <a:pt x="213" y="206"/>
                </a:cubicBezTo>
                <a:cubicBezTo>
                  <a:pt x="213" y="206"/>
                  <a:pt x="213" y="206"/>
                  <a:pt x="213" y="206"/>
                </a:cubicBezTo>
                <a:cubicBezTo>
                  <a:pt x="214" y="206"/>
                  <a:pt x="215" y="206"/>
                  <a:pt x="214" y="205"/>
                </a:cubicBezTo>
                <a:cubicBezTo>
                  <a:pt x="215" y="205"/>
                  <a:pt x="215" y="205"/>
                  <a:pt x="215" y="204"/>
                </a:cubicBezTo>
                <a:cubicBezTo>
                  <a:pt x="215" y="203"/>
                  <a:pt x="216" y="204"/>
                  <a:pt x="216" y="205"/>
                </a:cubicBezTo>
                <a:cubicBezTo>
                  <a:pt x="218" y="205"/>
                  <a:pt x="217" y="203"/>
                  <a:pt x="218" y="203"/>
                </a:cubicBezTo>
                <a:cubicBezTo>
                  <a:pt x="218" y="203"/>
                  <a:pt x="218" y="202"/>
                  <a:pt x="218" y="202"/>
                </a:cubicBezTo>
                <a:cubicBezTo>
                  <a:pt x="218" y="202"/>
                  <a:pt x="218" y="202"/>
                  <a:pt x="218" y="202"/>
                </a:cubicBezTo>
                <a:cubicBezTo>
                  <a:pt x="218" y="202"/>
                  <a:pt x="218" y="202"/>
                  <a:pt x="218" y="202"/>
                </a:cubicBezTo>
                <a:cubicBezTo>
                  <a:pt x="218" y="202"/>
                  <a:pt x="218" y="202"/>
                  <a:pt x="218" y="202"/>
                </a:cubicBezTo>
                <a:cubicBezTo>
                  <a:pt x="218" y="201"/>
                  <a:pt x="218" y="200"/>
                  <a:pt x="217" y="200"/>
                </a:cubicBezTo>
                <a:cubicBezTo>
                  <a:pt x="217" y="200"/>
                  <a:pt x="217" y="200"/>
                  <a:pt x="217" y="200"/>
                </a:cubicBezTo>
                <a:cubicBezTo>
                  <a:pt x="217" y="199"/>
                  <a:pt x="217" y="198"/>
                  <a:pt x="216" y="198"/>
                </a:cubicBezTo>
                <a:cubicBezTo>
                  <a:pt x="216" y="198"/>
                  <a:pt x="216" y="198"/>
                  <a:pt x="216" y="198"/>
                </a:cubicBezTo>
                <a:cubicBezTo>
                  <a:pt x="216" y="198"/>
                  <a:pt x="216" y="198"/>
                  <a:pt x="215" y="198"/>
                </a:cubicBezTo>
                <a:cubicBezTo>
                  <a:pt x="215" y="197"/>
                  <a:pt x="215" y="197"/>
                  <a:pt x="215" y="197"/>
                </a:cubicBezTo>
                <a:cubicBezTo>
                  <a:pt x="215" y="197"/>
                  <a:pt x="215" y="196"/>
                  <a:pt x="215" y="196"/>
                </a:cubicBezTo>
                <a:cubicBezTo>
                  <a:pt x="214" y="196"/>
                  <a:pt x="214" y="196"/>
                  <a:pt x="214" y="196"/>
                </a:cubicBezTo>
                <a:cubicBezTo>
                  <a:pt x="214" y="195"/>
                  <a:pt x="214" y="195"/>
                  <a:pt x="213" y="195"/>
                </a:cubicBezTo>
                <a:cubicBezTo>
                  <a:pt x="213" y="195"/>
                  <a:pt x="213" y="194"/>
                  <a:pt x="213" y="194"/>
                </a:cubicBezTo>
                <a:cubicBezTo>
                  <a:pt x="213" y="194"/>
                  <a:pt x="213" y="194"/>
                  <a:pt x="213" y="194"/>
                </a:cubicBezTo>
                <a:cubicBezTo>
                  <a:pt x="213" y="194"/>
                  <a:pt x="213" y="194"/>
                  <a:pt x="213" y="194"/>
                </a:cubicBezTo>
                <a:cubicBezTo>
                  <a:pt x="213" y="194"/>
                  <a:pt x="213" y="194"/>
                  <a:pt x="212" y="194"/>
                </a:cubicBezTo>
                <a:cubicBezTo>
                  <a:pt x="212" y="194"/>
                  <a:pt x="212" y="194"/>
                  <a:pt x="212" y="194"/>
                </a:cubicBezTo>
                <a:cubicBezTo>
                  <a:pt x="212" y="194"/>
                  <a:pt x="212" y="194"/>
                  <a:pt x="212" y="194"/>
                </a:cubicBezTo>
                <a:cubicBezTo>
                  <a:pt x="212" y="194"/>
                  <a:pt x="212" y="194"/>
                  <a:pt x="212" y="194"/>
                </a:cubicBezTo>
                <a:cubicBezTo>
                  <a:pt x="212" y="194"/>
                  <a:pt x="212" y="194"/>
                  <a:pt x="212" y="194"/>
                </a:cubicBezTo>
                <a:cubicBezTo>
                  <a:pt x="212" y="194"/>
                  <a:pt x="212" y="194"/>
                  <a:pt x="212" y="194"/>
                </a:cubicBezTo>
                <a:cubicBezTo>
                  <a:pt x="212" y="194"/>
                  <a:pt x="212" y="194"/>
                  <a:pt x="212" y="194"/>
                </a:cubicBezTo>
                <a:cubicBezTo>
                  <a:pt x="212" y="194"/>
                  <a:pt x="212" y="194"/>
                  <a:pt x="212" y="194"/>
                </a:cubicBezTo>
                <a:cubicBezTo>
                  <a:pt x="212" y="194"/>
                  <a:pt x="212" y="194"/>
                  <a:pt x="212" y="194"/>
                </a:cubicBezTo>
                <a:cubicBezTo>
                  <a:pt x="212" y="194"/>
                  <a:pt x="212" y="194"/>
                  <a:pt x="212" y="194"/>
                </a:cubicBezTo>
                <a:cubicBezTo>
                  <a:pt x="212" y="194"/>
                  <a:pt x="212" y="194"/>
                  <a:pt x="212" y="194"/>
                </a:cubicBezTo>
                <a:cubicBezTo>
                  <a:pt x="212" y="193"/>
                  <a:pt x="212" y="193"/>
                  <a:pt x="212" y="193"/>
                </a:cubicBezTo>
                <a:cubicBezTo>
                  <a:pt x="212" y="193"/>
                  <a:pt x="212" y="193"/>
                  <a:pt x="212" y="192"/>
                </a:cubicBezTo>
                <a:cubicBezTo>
                  <a:pt x="212" y="192"/>
                  <a:pt x="212" y="192"/>
                  <a:pt x="212" y="192"/>
                </a:cubicBezTo>
                <a:cubicBezTo>
                  <a:pt x="212" y="192"/>
                  <a:pt x="212" y="192"/>
                  <a:pt x="212" y="192"/>
                </a:cubicBezTo>
                <a:cubicBezTo>
                  <a:pt x="212" y="191"/>
                  <a:pt x="212" y="191"/>
                  <a:pt x="212" y="191"/>
                </a:cubicBezTo>
                <a:cubicBezTo>
                  <a:pt x="212" y="191"/>
                  <a:pt x="212" y="191"/>
                  <a:pt x="212" y="191"/>
                </a:cubicBezTo>
                <a:cubicBezTo>
                  <a:pt x="212" y="190"/>
                  <a:pt x="212" y="190"/>
                  <a:pt x="212" y="190"/>
                </a:cubicBezTo>
                <a:cubicBezTo>
                  <a:pt x="212" y="190"/>
                  <a:pt x="212" y="190"/>
                  <a:pt x="212" y="190"/>
                </a:cubicBezTo>
                <a:cubicBezTo>
                  <a:pt x="212" y="190"/>
                  <a:pt x="212" y="189"/>
                  <a:pt x="212" y="189"/>
                </a:cubicBezTo>
                <a:cubicBezTo>
                  <a:pt x="212" y="189"/>
                  <a:pt x="212" y="189"/>
                  <a:pt x="212" y="189"/>
                </a:cubicBezTo>
                <a:cubicBezTo>
                  <a:pt x="212" y="189"/>
                  <a:pt x="212" y="189"/>
                  <a:pt x="212" y="188"/>
                </a:cubicBezTo>
                <a:cubicBezTo>
                  <a:pt x="213" y="188"/>
                  <a:pt x="213" y="188"/>
                  <a:pt x="213" y="188"/>
                </a:cubicBezTo>
                <a:cubicBezTo>
                  <a:pt x="213" y="188"/>
                  <a:pt x="213" y="188"/>
                  <a:pt x="213" y="188"/>
                </a:cubicBezTo>
                <a:cubicBezTo>
                  <a:pt x="213" y="188"/>
                  <a:pt x="213" y="187"/>
                  <a:pt x="213" y="187"/>
                </a:cubicBezTo>
                <a:cubicBezTo>
                  <a:pt x="213" y="187"/>
                  <a:pt x="213" y="187"/>
                  <a:pt x="213" y="187"/>
                </a:cubicBezTo>
                <a:cubicBezTo>
                  <a:pt x="213" y="186"/>
                  <a:pt x="213" y="186"/>
                  <a:pt x="213" y="186"/>
                </a:cubicBezTo>
                <a:cubicBezTo>
                  <a:pt x="214" y="186"/>
                  <a:pt x="214" y="184"/>
                  <a:pt x="215" y="183"/>
                </a:cubicBezTo>
                <a:cubicBezTo>
                  <a:pt x="215" y="183"/>
                  <a:pt x="215" y="183"/>
                  <a:pt x="215" y="183"/>
                </a:cubicBezTo>
                <a:cubicBezTo>
                  <a:pt x="215" y="182"/>
                  <a:pt x="215" y="182"/>
                  <a:pt x="215" y="181"/>
                </a:cubicBezTo>
                <a:cubicBezTo>
                  <a:pt x="215" y="181"/>
                  <a:pt x="215" y="181"/>
                  <a:pt x="215" y="181"/>
                </a:cubicBezTo>
                <a:cubicBezTo>
                  <a:pt x="215" y="180"/>
                  <a:pt x="215" y="180"/>
                  <a:pt x="215" y="180"/>
                </a:cubicBezTo>
                <a:cubicBezTo>
                  <a:pt x="215" y="180"/>
                  <a:pt x="215" y="180"/>
                  <a:pt x="215" y="180"/>
                </a:cubicBezTo>
                <a:cubicBezTo>
                  <a:pt x="215" y="179"/>
                  <a:pt x="215" y="179"/>
                  <a:pt x="215" y="179"/>
                </a:cubicBezTo>
                <a:cubicBezTo>
                  <a:pt x="215" y="179"/>
                  <a:pt x="215" y="179"/>
                  <a:pt x="215" y="179"/>
                </a:cubicBezTo>
                <a:cubicBezTo>
                  <a:pt x="216" y="179"/>
                  <a:pt x="216" y="178"/>
                  <a:pt x="216" y="178"/>
                </a:cubicBezTo>
                <a:cubicBezTo>
                  <a:pt x="217" y="177"/>
                  <a:pt x="218" y="175"/>
                  <a:pt x="219" y="174"/>
                </a:cubicBezTo>
                <a:cubicBezTo>
                  <a:pt x="219" y="174"/>
                  <a:pt x="220" y="174"/>
                  <a:pt x="220" y="174"/>
                </a:cubicBezTo>
                <a:cubicBezTo>
                  <a:pt x="220" y="173"/>
                  <a:pt x="221" y="173"/>
                  <a:pt x="221" y="172"/>
                </a:cubicBezTo>
                <a:cubicBezTo>
                  <a:pt x="221" y="172"/>
                  <a:pt x="221" y="172"/>
                  <a:pt x="221" y="172"/>
                </a:cubicBezTo>
                <a:cubicBezTo>
                  <a:pt x="221" y="172"/>
                  <a:pt x="221" y="172"/>
                  <a:pt x="221" y="172"/>
                </a:cubicBezTo>
                <a:cubicBezTo>
                  <a:pt x="221" y="172"/>
                  <a:pt x="221" y="172"/>
                  <a:pt x="221" y="172"/>
                </a:cubicBezTo>
                <a:cubicBezTo>
                  <a:pt x="221" y="172"/>
                  <a:pt x="221" y="172"/>
                  <a:pt x="221" y="172"/>
                </a:cubicBezTo>
                <a:cubicBezTo>
                  <a:pt x="221" y="172"/>
                  <a:pt x="221" y="172"/>
                  <a:pt x="221" y="172"/>
                </a:cubicBezTo>
                <a:cubicBezTo>
                  <a:pt x="221" y="172"/>
                  <a:pt x="221" y="172"/>
                  <a:pt x="221" y="172"/>
                </a:cubicBezTo>
                <a:cubicBezTo>
                  <a:pt x="221" y="172"/>
                  <a:pt x="221" y="171"/>
                  <a:pt x="221" y="171"/>
                </a:cubicBezTo>
                <a:cubicBezTo>
                  <a:pt x="221" y="171"/>
                  <a:pt x="221" y="171"/>
                  <a:pt x="221" y="171"/>
                </a:cubicBezTo>
                <a:cubicBezTo>
                  <a:pt x="221" y="171"/>
                  <a:pt x="221" y="171"/>
                  <a:pt x="221" y="171"/>
                </a:cubicBezTo>
                <a:cubicBezTo>
                  <a:pt x="221" y="171"/>
                  <a:pt x="221" y="171"/>
                  <a:pt x="221" y="171"/>
                </a:cubicBezTo>
                <a:cubicBezTo>
                  <a:pt x="222" y="170"/>
                  <a:pt x="223" y="169"/>
                  <a:pt x="224" y="168"/>
                </a:cubicBezTo>
                <a:cubicBezTo>
                  <a:pt x="224" y="168"/>
                  <a:pt x="224" y="168"/>
                  <a:pt x="224" y="168"/>
                </a:cubicBezTo>
                <a:cubicBezTo>
                  <a:pt x="224" y="168"/>
                  <a:pt x="224" y="168"/>
                  <a:pt x="224" y="168"/>
                </a:cubicBezTo>
                <a:cubicBezTo>
                  <a:pt x="224" y="168"/>
                  <a:pt x="224" y="168"/>
                  <a:pt x="224" y="168"/>
                </a:cubicBezTo>
                <a:cubicBezTo>
                  <a:pt x="224" y="168"/>
                  <a:pt x="224" y="168"/>
                  <a:pt x="224" y="168"/>
                </a:cubicBezTo>
                <a:cubicBezTo>
                  <a:pt x="224" y="168"/>
                  <a:pt x="224" y="168"/>
                  <a:pt x="224" y="168"/>
                </a:cubicBezTo>
                <a:cubicBezTo>
                  <a:pt x="224" y="168"/>
                  <a:pt x="224" y="168"/>
                  <a:pt x="224" y="168"/>
                </a:cubicBezTo>
                <a:cubicBezTo>
                  <a:pt x="226" y="168"/>
                  <a:pt x="228" y="169"/>
                  <a:pt x="230" y="169"/>
                </a:cubicBezTo>
                <a:cubicBezTo>
                  <a:pt x="231" y="168"/>
                  <a:pt x="231" y="168"/>
                  <a:pt x="231" y="166"/>
                </a:cubicBezTo>
                <a:cubicBezTo>
                  <a:pt x="231" y="165"/>
                  <a:pt x="231" y="164"/>
                  <a:pt x="232" y="164"/>
                </a:cubicBezTo>
                <a:cubicBezTo>
                  <a:pt x="234" y="164"/>
                  <a:pt x="236" y="164"/>
                  <a:pt x="239" y="164"/>
                </a:cubicBezTo>
                <a:cubicBezTo>
                  <a:pt x="241" y="163"/>
                  <a:pt x="244" y="165"/>
                  <a:pt x="245" y="163"/>
                </a:cubicBezTo>
                <a:cubicBezTo>
                  <a:pt x="244" y="162"/>
                  <a:pt x="243" y="162"/>
                  <a:pt x="242" y="162"/>
                </a:cubicBezTo>
                <a:cubicBezTo>
                  <a:pt x="241" y="161"/>
                  <a:pt x="240" y="160"/>
                  <a:pt x="239" y="158"/>
                </a:cubicBezTo>
                <a:cubicBezTo>
                  <a:pt x="238" y="157"/>
                  <a:pt x="236" y="157"/>
                  <a:pt x="236" y="155"/>
                </a:cubicBezTo>
                <a:cubicBezTo>
                  <a:pt x="234" y="156"/>
                  <a:pt x="234" y="153"/>
                  <a:pt x="232" y="153"/>
                </a:cubicBezTo>
                <a:cubicBezTo>
                  <a:pt x="233" y="150"/>
                  <a:pt x="229" y="147"/>
                  <a:pt x="232" y="143"/>
                </a:cubicBezTo>
                <a:cubicBezTo>
                  <a:pt x="232" y="142"/>
                  <a:pt x="231" y="141"/>
                  <a:pt x="230" y="141"/>
                </a:cubicBezTo>
                <a:cubicBezTo>
                  <a:pt x="229" y="140"/>
                  <a:pt x="229" y="139"/>
                  <a:pt x="228" y="139"/>
                </a:cubicBezTo>
                <a:cubicBezTo>
                  <a:pt x="228" y="138"/>
                  <a:pt x="227" y="137"/>
                  <a:pt x="227" y="137"/>
                </a:cubicBezTo>
                <a:cubicBezTo>
                  <a:pt x="227" y="136"/>
                  <a:pt x="227" y="136"/>
                  <a:pt x="226" y="136"/>
                </a:cubicBezTo>
                <a:cubicBezTo>
                  <a:pt x="226" y="136"/>
                  <a:pt x="226" y="135"/>
                  <a:pt x="226" y="134"/>
                </a:cubicBezTo>
                <a:cubicBezTo>
                  <a:pt x="226" y="134"/>
                  <a:pt x="225" y="134"/>
                  <a:pt x="225" y="134"/>
                </a:cubicBezTo>
                <a:cubicBezTo>
                  <a:pt x="225" y="134"/>
                  <a:pt x="226" y="134"/>
                  <a:pt x="226" y="133"/>
                </a:cubicBezTo>
                <a:cubicBezTo>
                  <a:pt x="225" y="132"/>
                  <a:pt x="224" y="131"/>
                  <a:pt x="224" y="129"/>
                </a:cubicBezTo>
                <a:cubicBezTo>
                  <a:pt x="223" y="127"/>
                  <a:pt x="221" y="128"/>
                  <a:pt x="221" y="126"/>
                </a:cubicBezTo>
                <a:cubicBezTo>
                  <a:pt x="219" y="126"/>
                  <a:pt x="219" y="124"/>
                  <a:pt x="217" y="123"/>
                </a:cubicBezTo>
                <a:cubicBezTo>
                  <a:pt x="218" y="123"/>
                  <a:pt x="218" y="122"/>
                  <a:pt x="218" y="121"/>
                </a:cubicBezTo>
                <a:cubicBezTo>
                  <a:pt x="219" y="120"/>
                  <a:pt x="218" y="118"/>
                  <a:pt x="221" y="119"/>
                </a:cubicBezTo>
                <a:cubicBezTo>
                  <a:pt x="221" y="116"/>
                  <a:pt x="221" y="116"/>
                  <a:pt x="221" y="116"/>
                </a:cubicBezTo>
                <a:cubicBezTo>
                  <a:pt x="222" y="115"/>
                  <a:pt x="223" y="115"/>
                  <a:pt x="224" y="115"/>
                </a:cubicBezTo>
                <a:cubicBezTo>
                  <a:pt x="224" y="115"/>
                  <a:pt x="224" y="114"/>
                  <a:pt x="224" y="114"/>
                </a:cubicBezTo>
                <a:cubicBezTo>
                  <a:pt x="224" y="114"/>
                  <a:pt x="225" y="114"/>
                  <a:pt x="225" y="114"/>
                </a:cubicBezTo>
                <a:cubicBezTo>
                  <a:pt x="226" y="114"/>
                  <a:pt x="225" y="114"/>
                  <a:pt x="226" y="114"/>
                </a:cubicBezTo>
                <a:cubicBezTo>
                  <a:pt x="227" y="113"/>
                  <a:pt x="227" y="114"/>
                  <a:pt x="228" y="114"/>
                </a:cubicBezTo>
                <a:cubicBezTo>
                  <a:pt x="228" y="114"/>
                  <a:pt x="229" y="114"/>
                  <a:pt x="229" y="115"/>
                </a:cubicBezTo>
                <a:cubicBezTo>
                  <a:pt x="229" y="116"/>
                  <a:pt x="229" y="116"/>
                  <a:pt x="230" y="117"/>
                </a:cubicBezTo>
                <a:cubicBezTo>
                  <a:pt x="232" y="117"/>
                  <a:pt x="234" y="118"/>
                  <a:pt x="237" y="118"/>
                </a:cubicBezTo>
                <a:cubicBezTo>
                  <a:pt x="239" y="117"/>
                  <a:pt x="239" y="116"/>
                  <a:pt x="241" y="116"/>
                </a:cubicBezTo>
                <a:cubicBezTo>
                  <a:pt x="244" y="116"/>
                  <a:pt x="243" y="113"/>
                  <a:pt x="246" y="114"/>
                </a:cubicBezTo>
                <a:cubicBezTo>
                  <a:pt x="246" y="111"/>
                  <a:pt x="245" y="111"/>
                  <a:pt x="245" y="109"/>
                </a:cubicBezTo>
                <a:cubicBezTo>
                  <a:pt x="247" y="110"/>
                  <a:pt x="244" y="106"/>
                  <a:pt x="246" y="107"/>
                </a:cubicBezTo>
                <a:cubicBezTo>
                  <a:pt x="247" y="105"/>
                  <a:pt x="246" y="104"/>
                  <a:pt x="246" y="104"/>
                </a:cubicBezTo>
                <a:cubicBezTo>
                  <a:pt x="246" y="104"/>
                  <a:pt x="247" y="104"/>
                  <a:pt x="246" y="103"/>
                </a:cubicBezTo>
                <a:cubicBezTo>
                  <a:pt x="249" y="103"/>
                  <a:pt x="249" y="103"/>
                  <a:pt x="249" y="103"/>
                </a:cubicBezTo>
                <a:cubicBezTo>
                  <a:pt x="249" y="101"/>
                  <a:pt x="251" y="102"/>
                  <a:pt x="251" y="101"/>
                </a:cubicBezTo>
                <a:cubicBezTo>
                  <a:pt x="251" y="98"/>
                  <a:pt x="252" y="98"/>
                  <a:pt x="252" y="95"/>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71" name="Freeform 99"/>
          <p:cNvSpPr>
            <a:spLocks/>
          </p:cNvSpPr>
          <p:nvPr/>
        </p:nvSpPr>
        <p:spPr bwMode="auto">
          <a:xfrm>
            <a:off x="8275929" y="4897740"/>
            <a:ext cx="514350" cy="441325"/>
          </a:xfrm>
          <a:custGeom>
            <a:avLst/>
            <a:gdLst>
              <a:gd name="T0" fmla="*/ 124 w 133"/>
              <a:gd name="T1" fmla="*/ 40 h 114"/>
              <a:gd name="T2" fmla="*/ 115 w 133"/>
              <a:gd name="T3" fmla="*/ 34 h 114"/>
              <a:gd name="T4" fmla="*/ 118 w 133"/>
              <a:gd name="T5" fmla="*/ 24 h 114"/>
              <a:gd name="T6" fmla="*/ 120 w 133"/>
              <a:gd name="T7" fmla="*/ 12 h 114"/>
              <a:gd name="T8" fmla="*/ 117 w 133"/>
              <a:gd name="T9" fmla="*/ 9 h 114"/>
              <a:gd name="T10" fmla="*/ 110 w 133"/>
              <a:gd name="T11" fmla="*/ 11 h 114"/>
              <a:gd name="T12" fmla="*/ 100 w 133"/>
              <a:gd name="T13" fmla="*/ 9 h 114"/>
              <a:gd name="T14" fmla="*/ 99 w 133"/>
              <a:gd name="T15" fmla="*/ 6 h 114"/>
              <a:gd name="T16" fmla="*/ 92 w 133"/>
              <a:gd name="T17" fmla="*/ 3 h 114"/>
              <a:gd name="T18" fmla="*/ 83 w 133"/>
              <a:gd name="T19" fmla="*/ 3 h 114"/>
              <a:gd name="T20" fmla="*/ 72 w 133"/>
              <a:gd name="T21" fmla="*/ 5 h 114"/>
              <a:gd name="T22" fmla="*/ 65 w 133"/>
              <a:gd name="T23" fmla="*/ 3 h 114"/>
              <a:gd name="T24" fmla="*/ 55 w 133"/>
              <a:gd name="T25" fmla="*/ 4 h 114"/>
              <a:gd name="T26" fmla="*/ 44 w 133"/>
              <a:gd name="T27" fmla="*/ 1 h 114"/>
              <a:gd name="T28" fmla="*/ 37 w 133"/>
              <a:gd name="T29" fmla="*/ 1 h 114"/>
              <a:gd name="T30" fmla="*/ 35 w 133"/>
              <a:gd name="T31" fmla="*/ 1 h 114"/>
              <a:gd name="T32" fmla="*/ 33 w 133"/>
              <a:gd name="T33" fmla="*/ 2 h 114"/>
              <a:gd name="T34" fmla="*/ 32 w 133"/>
              <a:gd name="T35" fmla="*/ 1 h 114"/>
              <a:gd name="T36" fmla="*/ 25 w 133"/>
              <a:gd name="T37" fmla="*/ 6 h 114"/>
              <a:gd name="T38" fmla="*/ 16 w 133"/>
              <a:gd name="T39" fmla="*/ 12 h 114"/>
              <a:gd name="T40" fmla="*/ 7 w 133"/>
              <a:gd name="T41" fmla="*/ 0 h 114"/>
              <a:gd name="T42" fmla="*/ 1 w 133"/>
              <a:gd name="T43" fmla="*/ 1 h 114"/>
              <a:gd name="T44" fmla="*/ 0 w 133"/>
              <a:gd name="T45" fmla="*/ 14 h 114"/>
              <a:gd name="T46" fmla="*/ 2 w 133"/>
              <a:gd name="T47" fmla="*/ 19 h 114"/>
              <a:gd name="T48" fmla="*/ 14 w 133"/>
              <a:gd name="T49" fmla="*/ 28 h 114"/>
              <a:gd name="T50" fmla="*/ 13 w 133"/>
              <a:gd name="T51" fmla="*/ 29 h 114"/>
              <a:gd name="T52" fmla="*/ 14 w 133"/>
              <a:gd name="T53" fmla="*/ 30 h 114"/>
              <a:gd name="T54" fmla="*/ 14 w 133"/>
              <a:gd name="T55" fmla="*/ 30 h 114"/>
              <a:gd name="T56" fmla="*/ 15 w 133"/>
              <a:gd name="T57" fmla="*/ 31 h 114"/>
              <a:gd name="T58" fmla="*/ 15 w 133"/>
              <a:gd name="T59" fmla="*/ 33 h 114"/>
              <a:gd name="T60" fmla="*/ 16 w 133"/>
              <a:gd name="T61" fmla="*/ 36 h 114"/>
              <a:gd name="T62" fmla="*/ 18 w 133"/>
              <a:gd name="T63" fmla="*/ 39 h 114"/>
              <a:gd name="T64" fmla="*/ 18 w 133"/>
              <a:gd name="T65" fmla="*/ 43 h 114"/>
              <a:gd name="T66" fmla="*/ 27 w 133"/>
              <a:gd name="T67" fmla="*/ 51 h 114"/>
              <a:gd name="T68" fmla="*/ 26 w 133"/>
              <a:gd name="T69" fmla="*/ 55 h 114"/>
              <a:gd name="T70" fmla="*/ 41 w 133"/>
              <a:gd name="T71" fmla="*/ 68 h 114"/>
              <a:gd name="T72" fmla="*/ 54 w 133"/>
              <a:gd name="T73" fmla="*/ 79 h 114"/>
              <a:gd name="T74" fmla="*/ 60 w 133"/>
              <a:gd name="T75" fmla="*/ 89 h 114"/>
              <a:gd name="T76" fmla="*/ 61 w 133"/>
              <a:gd name="T77" fmla="*/ 91 h 114"/>
              <a:gd name="T78" fmla="*/ 62 w 133"/>
              <a:gd name="T79" fmla="*/ 91 h 114"/>
              <a:gd name="T80" fmla="*/ 63 w 133"/>
              <a:gd name="T81" fmla="*/ 91 h 114"/>
              <a:gd name="T82" fmla="*/ 65 w 133"/>
              <a:gd name="T83" fmla="*/ 93 h 114"/>
              <a:gd name="T84" fmla="*/ 67 w 133"/>
              <a:gd name="T85" fmla="*/ 93 h 114"/>
              <a:gd name="T86" fmla="*/ 67 w 133"/>
              <a:gd name="T87" fmla="*/ 94 h 114"/>
              <a:gd name="T88" fmla="*/ 68 w 133"/>
              <a:gd name="T89" fmla="*/ 98 h 114"/>
              <a:gd name="T90" fmla="*/ 69 w 133"/>
              <a:gd name="T91" fmla="*/ 101 h 114"/>
              <a:gd name="T92" fmla="*/ 74 w 133"/>
              <a:gd name="T93" fmla="*/ 103 h 114"/>
              <a:gd name="T94" fmla="*/ 85 w 133"/>
              <a:gd name="T95" fmla="*/ 111 h 114"/>
              <a:gd name="T96" fmla="*/ 95 w 133"/>
              <a:gd name="T97" fmla="*/ 113 h 114"/>
              <a:gd name="T98" fmla="*/ 97 w 133"/>
              <a:gd name="T99" fmla="*/ 105 h 114"/>
              <a:gd name="T100" fmla="*/ 106 w 133"/>
              <a:gd name="T101" fmla="*/ 80 h 114"/>
              <a:gd name="T102" fmla="*/ 112 w 133"/>
              <a:gd name="T103" fmla="*/ 75 h 114"/>
              <a:gd name="T104" fmla="*/ 114 w 133"/>
              <a:gd name="T105" fmla="*/ 68 h 114"/>
              <a:gd name="T106" fmla="*/ 130 w 133"/>
              <a:gd name="T107" fmla="*/ 68 h 114"/>
              <a:gd name="T108" fmla="*/ 124 w 133"/>
              <a:gd name="T109" fmla="*/ 55 h 114"/>
              <a:gd name="T110" fmla="*/ 129 w 133"/>
              <a:gd name="T111" fmla="*/ 5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3" h="114">
                <a:moveTo>
                  <a:pt x="132" y="47"/>
                </a:moveTo>
                <a:cubicBezTo>
                  <a:pt x="132" y="45"/>
                  <a:pt x="130" y="45"/>
                  <a:pt x="129" y="44"/>
                </a:cubicBezTo>
                <a:cubicBezTo>
                  <a:pt x="128" y="43"/>
                  <a:pt x="127" y="42"/>
                  <a:pt x="125" y="42"/>
                </a:cubicBezTo>
                <a:cubicBezTo>
                  <a:pt x="125" y="42"/>
                  <a:pt x="125" y="40"/>
                  <a:pt x="124" y="40"/>
                </a:cubicBezTo>
                <a:cubicBezTo>
                  <a:pt x="123" y="40"/>
                  <a:pt x="123" y="39"/>
                  <a:pt x="123" y="38"/>
                </a:cubicBezTo>
                <a:cubicBezTo>
                  <a:pt x="122" y="38"/>
                  <a:pt x="121" y="37"/>
                  <a:pt x="121" y="37"/>
                </a:cubicBezTo>
                <a:cubicBezTo>
                  <a:pt x="119" y="37"/>
                  <a:pt x="119" y="35"/>
                  <a:pt x="117" y="36"/>
                </a:cubicBezTo>
                <a:cubicBezTo>
                  <a:pt x="116" y="35"/>
                  <a:pt x="116" y="34"/>
                  <a:pt x="115" y="34"/>
                </a:cubicBezTo>
                <a:cubicBezTo>
                  <a:pt x="115" y="33"/>
                  <a:pt x="115" y="32"/>
                  <a:pt x="115" y="32"/>
                </a:cubicBezTo>
                <a:cubicBezTo>
                  <a:pt x="115" y="31"/>
                  <a:pt x="116" y="30"/>
                  <a:pt x="116" y="30"/>
                </a:cubicBezTo>
                <a:cubicBezTo>
                  <a:pt x="116" y="29"/>
                  <a:pt x="116" y="28"/>
                  <a:pt x="117" y="27"/>
                </a:cubicBezTo>
                <a:cubicBezTo>
                  <a:pt x="117" y="26"/>
                  <a:pt x="117" y="24"/>
                  <a:pt x="118" y="24"/>
                </a:cubicBezTo>
                <a:cubicBezTo>
                  <a:pt x="118" y="23"/>
                  <a:pt x="119" y="22"/>
                  <a:pt x="120" y="21"/>
                </a:cubicBezTo>
                <a:cubicBezTo>
                  <a:pt x="119" y="18"/>
                  <a:pt x="120" y="15"/>
                  <a:pt x="120" y="12"/>
                </a:cubicBezTo>
                <a:cubicBezTo>
                  <a:pt x="120" y="12"/>
                  <a:pt x="120" y="12"/>
                  <a:pt x="120" y="12"/>
                </a:cubicBezTo>
                <a:cubicBezTo>
                  <a:pt x="120" y="12"/>
                  <a:pt x="120" y="12"/>
                  <a:pt x="120" y="12"/>
                </a:cubicBezTo>
                <a:cubicBezTo>
                  <a:pt x="120" y="12"/>
                  <a:pt x="120" y="11"/>
                  <a:pt x="120" y="11"/>
                </a:cubicBezTo>
                <a:cubicBezTo>
                  <a:pt x="120" y="11"/>
                  <a:pt x="120" y="11"/>
                  <a:pt x="120" y="11"/>
                </a:cubicBezTo>
                <a:cubicBezTo>
                  <a:pt x="120" y="10"/>
                  <a:pt x="120" y="10"/>
                  <a:pt x="120" y="9"/>
                </a:cubicBezTo>
                <a:cubicBezTo>
                  <a:pt x="117" y="9"/>
                  <a:pt x="117" y="9"/>
                  <a:pt x="117" y="9"/>
                </a:cubicBezTo>
                <a:cubicBezTo>
                  <a:pt x="116" y="9"/>
                  <a:pt x="111" y="12"/>
                  <a:pt x="112" y="9"/>
                </a:cubicBezTo>
                <a:cubicBezTo>
                  <a:pt x="111" y="9"/>
                  <a:pt x="111" y="10"/>
                  <a:pt x="111" y="10"/>
                </a:cubicBezTo>
                <a:cubicBezTo>
                  <a:pt x="111" y="10"/>
                  <a:pt x="111" y="10"/>
                  <a:pt x="111" y="10"/>
                </a:cubicBezTo>
                <a:cubicBezTo>
                  <a:pt x="110" y="10"/>
                  <a:pt x="110" y="10"/>
                  <a:pt x="110" y="11"/>
                </a:cubicBezTo>
                <a:cubicBezTo>
                  <a:pt x="108" y="12"/>
                  <a:pt x="106" y="11"/>
                  <a:pt x="104" y="12"/>
                </a:cubicBezTo>
                <a:cubicBezTo>
                  <a:pt x="104" y="12"/>
                  <a:pt x="104" y="12"/>
                  <a:pt x="104" y="12"/>
                </a:cubicBezTo>
                <a:cubicBezTo>
                  <a:pt x="101" y="12"/>
                  <a:pt x="101" y="12"/>
                  <a:pt x="101" y="12"/>
                </a:cubicBezTo>
                <a:cubicBezTo>
                  <a:pt x="101" y="11"/>
                  <a:pt x="100" y="10"/>
                  <a:pt x="100" y="9"/>
                </a:cubicBezTo>
                <a:cubicBezTo>
                  <a:pt x="101" y="9"/>
                  <a:pt x="101" y="8"/>
                  <a:pt x="101" y="8"/>
                </a:cubicBezTo>
                <a:cubicBezTo>
                  <a:pt x="101" y="7"/>
                  <a:pt x="100" y="8"/>
                  <a:pt x="100" y="7"/>
                </a:cubicBezTo>
                <a:cubicBezTo>
                  <a:pt x="100" y="7"/>
                  <a:pt x="100" y="6"/>
                  <a:pt x="100" y="6"/>
                </a:cubicBezTo>
                <a:cubicBezTo>
                  <a:pt x="100" y="6"/>
                  <a:pt x="99" y="6"/>
                  <a:pt x="99" y="6"/>
                </a:cubicBezTo>
                <a:cubicBezTo>
                  <a:pt x="99" y="6"/>
                  <a:pt x="99" y="5"/>
                  <a:pt x="99" y="5"/>
                </a:cubicBezTo>
                <a:cubicBezTo>
                  <a:pt x="98" y="4"/>
                  <a:pt x="98" y="3"/>
                  <a:pt x="98" y="2"/>
                </a:cubicBezTo>
                <a:cubicBezTo>
                  <a:pt x="94" y="2"/>
                  <a:pt x="94" y="2"/>
                  <a:pt x="94" y="2"/>
                </a:cubicBezTo>
                <a:cubicBezTo>
                  <a:pt x="94" y="3"/>
                  <a:pt x="94" y="3"/>
                  <a:pt x="92" y="3"/>
                </a:cubicBezTo>
                <a:cubicBezTo>
                  <a:pt x="91" y="3"/>
                  <a:pt x="91" y="4"/>
                  <a:pt x="91" y="5"/>
                </a:cubicBezTo>
                <a:cubicBezTo>
                  <a:pt x="89" y="5"/>
                  <a:pt x="89" y="5"/>
                  <a:pt x="89" y="5"/>
                </a:cubicBezTo>
                <a:cubicBezTo>
                  <a:pt x="88" y="3"/>
                  <a:pt x="86" y="2"/>
                  <a:pt x="85" y="1"/>
                </a:cubicBezTo>
                <a:cubicBezTo>
                  <a:pt x="83" y="1"/>
                  <a:pt x="83" y="3"/>
                  <a:pt x="83" y="3"/>
                </a:cubicBezTo>
                <a:cubicBezTo>
                  <a:pt x="82" y="3"/>
                  <a:pt x="81" y="3"/>
                  <a:pt x="81" y="4"/>
                </a:cubicBezTo>
                <a:cubicBezTo>
                  <a:pt x="80" y="4"/>
                  <a:pt x="80" y="4"/>
                  <a:pt x="80" y="5"/>
                </a:cubicBezTo>
                <a:cubicBezTo>
                  <a:pt x="78" y="5"/>
                  <a:pt x="76" y="5"/>
                  <a:pt x="75" y="4"/>
                </a:cubicBezTo>
                <a:cubicBezTo>
                  <a:pt x="74" y="4"/>
                  <a:pt x="73" y="5"/>
                  <a:pt x="72" y="5"/>
                </a:cubicBezTo>
                <a:cubicBezTo>
                  <a:pt x="72" y="6"/>
                  <a:pt x="71" y="7"/>
                  <a:pt x="70" y="7"/>
                </a:cubicBezTo>
                <a:cubicBezTo>
                  <a:pt x="71" y="5"/>
                  <a:pt x="68" y="6"/>
                  <a:pt x="67" y="5"/>
                </a:cubicBezTo>
                <a:cubicBezTo>
                  <a:pt x="67" y="5"/>
                  <a:pt x="67" y="5"/>
                  <a:pt x="67" y="5"/>
                </a:cubicBezTo>
                <a:cubicBezTo>
                  <a:pt x="66" y="4"/>
                  <a:pt x="65" y="4"/>
                  <a:pt x="65" y="3"/>
                </a:cubicBezTo>
                <a:cubicBezTo>
                  <a:pt x="63" y="4"/>
                  <a:pt x="60" y="4"/>
                  <a:pt x="58" y="5"/>
                </a:cubicBezTo>
                <a:cubicBezTo>
                  <a:pt x="58" y="4"/>
                  <a:pt x="57" y="5"/>
                  <a:pt x="57" y="5"/>
                </a:cubicBezTo>
                <a:cubicBezTo>
                  <a:pt x="57" y="4"/>
                  <a:pt x="57" y="4"/>
                  <a:pt x="57" y="4"/>
                </a:cubicBezTo>
                <a:cubicBezTo>
                  <a:pt x="57" y="4"/>
                  <a:pt x="56" y="4"/>
                  <a:pt x="55" y="4"/>
                </a:cubicBezTo>
                <a:cubicBezTo>
                  <a:pt x="55" y="4"/>
                  <a:pt x="56" y="3"/>
                  <a:pt x="55" y="3"/>
                </a:cubicBezTo>
                <a:cubicBezTo>
                  <a:pt x="54" y="3"/>
                  <a:pt x="53" y="3"/>
                  <a:pt x="53" y="2"/>
                </a:cubicBezTo>
                <a:cubicBezTo>
                  <a:pt x="50" y="3"/>
                  <a:pt x="47" y="2"/>
                  <a:pt x="45" y="2"/>
                </a:cubicBezTo>
                <a:cubicBezTo>
                  <a:pt x="45" y="2"/>
                  <a:pt x="44" y="2"/>
                  <a:pt x="44" y="1"/>
                </a:cubicBezTo>
                <a:cubicBezTo>
                  <a:pt x="44" y="0"/>
                  <a:pt x="44" y="0"/>
                  <a:pt x="44" y="0"/>
                </a:cubicBezTo>
                <a:cubicBezTo>
                  <a:pt x="41" y="0"/>
                  <a:pt x="41" y="0"/>
                  <a:pt x="41" y="0"/>
                </a:cubicBezTo>
                <a:cubicBezTo>
                  <a:pt x="40" y="0"/>
                  <a:pt x="39" y="1"/>
                  <a:pt x="38" y="1"/>
                </a:cubicBezTo>
                <a:cubicBezTo>
                  <a:pt x="37" y="1"/>
                  <a:pt x="37" y="1"/>
                  <a:pt x="37" y="1"/>
                </a:cubicBezTo>
                <a:cubicBezTo>
                  <a:pt x="37" y="1"/>
                  <a:pt x="37" y="1"/>
                  <a:pt x="37" y="1"/>
                </a:cubicBezTo>
                <a:cubicBezTo>
                  <a:pt x="36" y="1"/>
                  <a:pt x="36" y="1"/>
                  <a:pt x="36" y="1"/>
                </a:cubicBezTo>
                <a:cubicBezTo>
                  <a:pt x="36" y="1"/>
                  <a:pt x="36" y="1"/>
                  <a:pt x="36" y="1"/>
                </a:cubicBezTo>
                <a:cubicBezTo>
                  <a:pt x="36" y="1"/>
                  <a:pt x="35" y="1"/>
                  <a:pt x="35" y="1"/>
                </a:cubicBezTo>
                <a:cubicBezTo>
                  <a:pt x="35" y="1"/>
                  <a:pt x="35" y="1"/>
                  <a:pt x="35" y="1"/>
                </a:cubicBezTo>
                <a:cubicBezTo>
                  <a:pt x="35" y="1"/>
                  <a:pt x="35"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2" y="1"/>
                </a:cubicBezTo>
                <a:cubicBezTo>
                  <a:pt x="32" y="1"/>
                  <a:pt x="32" y="1"/>
                  <a:pt x="32" y="1"/>
                </a:cubicBezTo>
                <a:cubicBezTo>
                  <a:pt x="32" y="1"/>
                  <a:pt x="32" y="1"/>
                  <a:pt x="32" y="1"/>
                </a:cubicBezTo>
                <a:cubicBezTo>
                  <a:pt x="32" y="1"/>
                  <a:pt x="31" y="1"/>
                  <a:pt x="31" y="1"/>
                </a:cubicBezTo>
                <a:cubicBezTo>
                  <a:pt x="30" y="1"/>
                  <a:pt x="30" y="2"/>
                  <a:pt x="29" y="2"/>
                </a:cubicBezTo>
                <a:cubicBezTo>
                  <a:pt x="27" y="2"/>
                  <a:pt x="27" y="5"/>
                  <a:pt x="25" y="6"/>
                </a:cubicBezTo>
                <a:cubicBezTo>
                  <a:pt x="25" y="8"/>
                  <a:pt x="23" y="8"/>
                  <a:pt x="23" y="10"/>
                </a:cubicBezTo>
                <a:cubicBezTo>
                  <a:pt x="22" y="10"/>
                  <a:pt x="22" y="11"/>
                  <a:pt x="22" y="12"/>
                </a:cubicBezTo>
                <a:cubicBezTo>
                  <a:pt x="20" y="11"/>
                  <a:pt x="19" y="11"/>
                  <a:pt x="18" y="12"/>
                </a:cubicBezTo>
                <a:cubicBezTo>
                  <a:pt x="16" y="12"/>
                  <a:pt x="16" y="12"/>
                  <a:pt x="16" y="12"/>
                </a:cubicBezTo>
                <a:cubicBezTo>
                  <a:pt x="17" y="10"/>
                  <a:pt x="15" y="11"/>
                  <a:pt x="15" y="9"/>
                </a:cubicBezTo>
                <a:cubicBezTo>
                  <a:pt x="15" y="8"/>
                  <a:pt x="13" y="9"/>
                  <a:pt x="13" y="7"/>
                </a:cubicBezTo>
                <a:cubicBezTo>
                  <a:pt x="12" y="7"/>
                  <a:pt x="12" y="6"/>
                  <a:pt x="11" y="6"/>
                </a:cubicBezTo>
                <a:cubicBezTo>
                  <a:pt x="10" y="3"/>
                  <a:pt x="9" y="1"/>
                  <a:pt x="7" y="0"/>
                </a:cubicBezTo>
                <a:cubicBezTo>
                  <a:pt x="7" y="1"/>
                  <a:pt x="5" y="0"/>
                  <a:pt x="5" y="0"/>
                </a:cubicBezTo>
                <a:cubicBezTo>
                  <a:pt x="5" y="0"/>
                  <a:pt x="5" y="1"/>
                  <a:pt x="5" y="1"/>
                </a:cubicBezTo>
                <a:cubicBezTo>
                  <a:pt x="4" y="1"/>
                  <a:pt x="4" y="2"/>
                  <a:pt x="2" y="1"/>
                </a:cubicBezTo>
                <a:cubicBezTo>
                  <a:pt x="1" y="1"/>
                  <a:pt x="1" y="1"/>
                  <a:pt x="1" y="1"/>
                </a:cubicBezTo>
                <a:cubicBezTo>
                  <a:pt x="1" y="7"/>
                  <a:pt x="1" y="7"/>
                  <a:pt x="1" y="7"/>
                </a:cubicBezTo>
                <a:cubicBezTo>
                  <a:pt x="1" y="10"/>
                  <a:pt x="3" y="9"/>
                  <a:pt x="2" y="12"/>
                </a:cubicBezTo>
                <a:cubicBezTo>
                  <a:pt x="2" y="12"/>
                  <a:pt x="1" y="12"/>
                  <a:pt x="0" y="13"/>
                </a:cubicBezTo>
                <a:cubicBezTo>
                  <a:pt x="0" y="14"/>
                  <a:pt x="0" y="14"/>
                  <a:pt x="0" y="14"/>
                </a:cubicBezTo>
                <a:cubicBezTo>
                  <a:pt x="1" y="14"/>
                  <a:pt x="1" y="15"/>
                  <a:pt x="2" y="15"/>
                </a:cubicBezTo>
                <a:cubicBezTo>
                  <a:pt x="3" y="15"/>
                  <a:pt x="3" y="17"/>
                  <a:pt x="3" y="17"/>
                </a:cubicBezTo>
                <a:cubicBezTo>
                  <a:pt x="3" y="17"/>
                  <a:pt x="3" y="18"/>
                  <a:pt x="3" y="18"/>
                </a:cubicBezTo>
                <a:cubicBezTo>
                  <a:pt x="3" y="18"/>
                  <a:pt x="2" y="19"/>
                  <a:pt x="2" y="19"/>
                </a:cubicBezTo>
                <a:cubicBezTo>
                  <a:pt x="2" y="19"/>
                  <a:pt x="3" y="19"/>
                  <a:pt x="3" y="20"/>
                </a:cubicBezTo>
                <a:cubicBezTo>
                  <a:pt x="5" y="21"/>
                  <a:pt x="7" y="21"/>
                  <a:pt x="9" y="21"/>
                </a:cubicBezTo>
                <a:cubicBezTo>
                  <a:pt x="10" y="22"/>
                  <a:pt x="12" y="22"/>
                  <a:pt x="12" y="24"/>
                </a:cubicBezTo>
                <a:cubicBezTo>
                  <a:pt x="13" y="25"/>
                  <a:pt x="14" y="26"/>
                  <a:pt x="14" y="28"/>
                </a:cubicBezTo>
                <a:cubicBezTo>
                  <a:pt x="14" y="28"/>
                  <a:pt x="13" y="28"/>
                  <a:pt x="13" y="28"/>
                </a:cubicBezTo>
                <a:cubicBezTo>
                  <a:pt x="13" y="28"/>
                  <a:pt x="13" y="29"/>
                  <a:pt x="13" y="29"/>
                </a:cubicBezTo>
                <a:cubicBezTo>
                  <a:pt x="13" y="29"/>
                  <a:pt x="13" y="29"/>
                  <a:pt x="13" y="29"/>
                </a:cubicBezTo>
                <a:cubicBezTo>
                  <a:pt x="13" y="29"/>
                  <a:pt x="13" y="29"/>
                  <a:pt x="13" y="29"/>
                </a:cubicBezTo>
                <a:cubicBezTo>
                  <a:pt x="13" y="29"/>
                  <a:pt x="14" y="29"/>
                  <a:pt x="14" y="29"/>
                </a:cubicBezTo>
                <a:cubicBezTo>
                  <a:pt x="14" y="29"/>
                  <a:pt x="14" y="29"/>
                  <a:pt x="14" y="30"/>
                </a:cubicBezTo>
                <a:cubicBezTo>
                  <a:pt x="14" y="30"/>
                  <a:pt x="14" y="30"/>
                  <a:pt x="14" y="30"/>
                </a:cubicBezTo>
                <a:cubicBezTo>
                  <a:pt x="14" y="30"/>
                  <a:pt x="14" y="30"/>
                  <a:pt x="14" y="30"/>
                </a:cubicBezTo>
                <a:cubicBezTo>
                  <a:pt x="14" y="30"/>
                  <a:pt x="14" y="30"/>
                  <a:pt x="14" y="30"/>
                </a:cubicBezTo>
                <a:cubicBezTo>
                  <a:pt x="14" y="30"/>
                  <a:pt x="14" y="30"/>
                  <a:pt x="14" y="30"/>
                </a:cubicBezTo>
                <a:cubicBezTo>
                  <a:pt x="14" y="30"/>
                  <a:pt x="14" y="30"/>
                  <a:pt x="14" y="30"/>
                </a:cubicBezTo>
                <a:cubicBezTo>
                  <a:pt x="14" y="30"/>
                  <a:pt x="14" y="30"/>
                  <a:pt x="14" y="30"/>
                </a:cubicBezTo>
                <a:cubicBezTo>
                  <a:pt x="15" y="31"/>
                  <a:pt x="15" y="31"/>
                  <a:pt x="15" y="31"/>
                </a:cubicBezTo>
                <a:cubicBezTo>
                  <a:pt x="15" y="31"/>
                  <a:pt x="15" y="31"/>
                  <a:pt x="15" y="31"/>
                </a:cubicBezTo>
                <a:cubicBezTo>
                  <a:pt x="15" y="31"/>
                  <a:pt x="15" y="31"/>
                  <a:pt x="15" y="31"/>
                </a:cubicBezTo>
                <a:cubicBezTo>
                  <a:pt x="15" y="31"/>
                  <a:pt x="15" y="31"/>
                  <a:pt x="15" y="31"/>
                </a:cubicBezTo>
                <a:cubicBezTo>
                  <a:pt x="15" y="32"/>
                  <a:pt x="15" y="32"/>
                  <a:pt x="15" y="32"/>
                </a:cubicBezTo>
                <a:cubicBezTo>
                  <a:pt x="15" y="32"/>
                  <a:pt x="15" y="32"/>
                  <a:pt x="15" y="32"/>
                </a:cubicBezTo>
                <a:cubicBezTo>
                  <a:pt x="15" y="32"/>
                  <a:pt x="15" y="32"/>
                  <a:pt x="15" y="32"/>
                </a:cubicBezTo>
                <a:cubicBezTo>
                  <a:pt x="15" y="33"/>
                  <a:pt x="15" y="33"/>
                  <a:pt x="15" y="33"/>
                </a:cubicBezTo>
                <a:cubicBezTo>
                  <a:pt x="15" y="34"/>
                  <a:pt x="15" y="34"/>
                  <a:pt x="15" y="34"/>
                </a:cubicBezTo>
                <a:cubicBezTo>
                  <a:pt x="15" y="35"/>
                  <a:pt x="15" y="35"/>
                  <a:pt x="15" y="35"/>
                </a:cubicBezTo>
                <a:cubicBezTo>
                  <a:pt x="15" y="35"/>
                  <a:pt x="15" y="36"/>
                  <a:pt x="15" y="36"/>
                </a:cubicBezTo>
                <a:cubicBezTo>
                  <a:pt x="16" y="36"/>
                  <a:pt x="16" y="36"/>
                  <a:pt x="16" y="36"/>
                </a:cubicBezTo>
                <a:cubicBezTo>
                  <a:pt x="16" y="37"/>
                  <a:pt x="16" y="37"/>
                  <a:pt x="16" y="37"/>
                </a:cubicBezTo>
                <a:cubicBezTo>
                  <a:pt x="16" y="37"/>
                  <a:pt x="16" y="37"/>
                  <a:pt x="16" y="37"/>
                </a:cubicBezTo>
                <a:cubicBezTo>
                  <a:pt x="17" y="38"/>
                  <a:pt x="17" y="38"/>
                  <a:pt x="18" y="38"/>
                </a:cubicBezTo>
                <a:cubicBezTo>
                  <a:pt x="18" y="39"/>
                  <a:pt x="18" y="39"/>
                  <a:pt x="18" y="39"/>
                </a:cubicBezTo>
                <a:cubicBezTo>
                  <a:pt x="18" y="39"/>
                  <a:pt x="18" y="40"/>
                  <a:pt x="18" y="40"/>
                </a:cubicBezTo>
                <a:cubicBezTo>
                  <a:pt x="18" y="40"/>
                  <a:pt x="18" y="40"/>
                  <a:pt x="18" y="40"/>
                </a:cubicBezTo>
                <a:cubicBezTo>
                  <a:pt x="18" y="41"/>
                  <a:pt x="18" y="42"/>
                  <a:pt x="18" y="42"/>
                </a:cubicBezTo>
                <a:cubicBezTo>
                  <a:pt x="18" y="43"/>
                  <a:pt x="18" y="43"/>
                  <a:pt x="18" y="43"/>
                </a:cubicBezTo>
                <a:cubicBezTo>
                  <a:pt x="19" y="43"/>
                  <a:pt x="19" y="43"/>
                  <a:pt x="19" y="44"/>
                </a:cubicBezTo>
                <a:cubicBezTo>
                  <a:pt x="21" y="46"/>
                  <a:pt x="23" y="47"/>
                  <a:pt x="24" y="49"/>
                </a:cubicBezTo>
                <a:cubicBezTo>
                  <a:pt x="25" y="49"/>
                  <a:pt x="26" y="49"/>
                  <a:pt x="26" y="50"/>
                </a:cubicBezTo>
                <a:cubicBezTo>
                  <a:pt x="27" y="50"/>
                  <a:pt x="27" y="50"/>
                  <a:pt x="27" y="51"/>
                </a:cubicBezTo>
                <a:cubicBezTo>
                  <a:pt x="27" y="51"/>
                  <a:pt x="28" y="51"/>
                  <a:pt x="28" y="51"/>
                </a:cubicBezTo>
                <a:cubicBezTo>
                  <a:pt x="28" y="51"/>
                  <a:pt x="27" y="52"/>
                  <a:pt x="28" y="53"/>
                </a:cubicBezTo>
                <a:cubicBezTo>
                  <a:pt x="28" y="54"/>
                  <a:pt x="26" y="53"/>
                  <a:pt x="26" y="54"/>
                </a:cubicBezTo>
                <a:cubicBezTo>
                  <a:pt x="26" y="55"/>
                  <a:pt x="26" y="55"/>
                  <a:pt x="26" y="55"/>
                </a:cubicBezTo>
                <a:cubicBezTo>
                  <a:pt x="28" y="55"/>
                  <a:pt x="29" y="56"/>
                  <a:pt x="30" y="58"/>
                </a:cubicBezTo>
                <a:cubicBezTo>
                  <a:pt x="32" y="59"/>
                  <a:pt x="33" y="60"/>
                  <a:pt x="35" y="62"/>
                </a:cubicBezTo>
                <a:cubicBezTo>
                  <a:pt x="35" y="65"/>
                  <a:pt x="35" y="65"/>
                  <a:pt x="35" y="65"/>
                </a:cubicBezTo>
                <a:cubicBezTo>
                  <a:pt x="37" y="66"/>
                  <a:pt x="39" y="67"/>
                  <a:pt x="41" y="68"/>
                </a:cubicBezTo>
                <a:cubicBezTo>
                  <a:pt x="41" y="70"/>
                  <a:pt x="42" y="70"/>
                  <a:pt x="42" y="72"/>
                </a:cubicBezTo>
                <a:cubicBezTo>
                  <a:pt x="44" y="72"/>
                  <a:pt x="44" y="74"/>
                  <a:pt x="45" y="74"/>
                </a:cubicBezTo>
                <a:cubicBezTo>
                  <a:pt x="45" y="75"/>
                  <a:pt x="48" y="74"/>
                  <a:pt x="48" y="76"/>
                </a:cubicBezTo>
                <a:cubicBezTo>
                  <a:pt x="50" y="77"/>
                  <a:pt x="53" y="77"/>
                  <a:pt x="54" y="79"/>
                </a:cubicBezTo>
                <a:cubicBezTo>
                  <a:pt x="54" y="82"/>
                  <a:pt x="55" y="82"/>
                  <a:pt x="55" y="85"/>
                </a:cubicBezTo>
                <a:cubicBezTo>
                  <a:pt x="55" y="85"/>
                  <a:pt x="56" y="85"/>
                  <a:pt x="55" y="86"/>
                </a:cubicBezTo>
                <a:cubicBezTo>
                  <a:pt x="56" y="86"/>
                  <a:pt x="56" y="87"/>
                  <a:pt x="56" y="88"/>
                </a:cubicBezTo>
                <a:cubicBezTo>
                  <a:pt x="58" y="88"/>
                  <a:pt x="59" y="89"/>
                  <a:pt x="60" y="89"/>
                </a:cubicBezTo>
                <a:cubicBezTo>
                  <a:pt x="60" y="90"/>
                  <a:pt x="59" y="90"/>
                  <a:pt x="60" y="91"/>
                </a:cubicBezTo>
                <a:cubicBezTo>
                  <a:pt x="60" y="91"/>
                  <a:pt x="61" y="91"/>
                  <a:pt x="61" y="91"/>
                </a:cubicBezTo>
                <a:cubicBezTo>
                  <a:pt x="61" y="91"/>
                  <a:pt x="61" y="91"/>
                  <a:pt x="61" y="91"/>
                </a:cubicBezTo>
                <a:cubicBezTo>
                  <a:pt x="61" y="91"/>
                  <a:pt x="61" y="91"/>
                  <a:pt x="61" y="91"/>
                </a:cubicBezTo>
                <a:cubicBezTo>
                  <a:pt x="61" y="91"/>
                  <a:pt x="61" y="91"/>
                  <a:pt x="61" y="91"/>
                </a:cubicBezTo>
                <a:cubicBezTo>
                  <a:pt x="61" y="91"/>
                  <a:pt x="61" y="91"/>
                  <a:pt x="62" y="91"/>
                </a:cubicBezTo>
                <a:cubicBezTo>
                  <a:pt x="62" y="91"/>
                  <a:pt x="62" y="91"/>
                  <a:pt x="62" y="91"/>
                </a:cubicBezTo>
                <a:cubicBezTo>
                  <a:pt x="62" y="91"/>
                  <a:pt x="62" y="91"/>
                  <a:pt x="62" y="91"/>
                </a:cubicBezTo>
                <a:cubicBezTo>
                  <a:pt x="62" y="91"/>
                  <a:pt x="62" y="91"/>
                  <a:pt x="62" y="91"/>
                </a:cubicBezTo>
                <a:cubicBezTo>
                  <a:pt x="62" y="91"/>
                  <a:pt x="62" y="91"/>
                  <a:pt x="62" y="91"/>
                </a:cubicBezTo>
                <a:cubicBezTo>
                  <a:pt x="62" y="91"/>
                  <a:pt x="62" y="91"/>
                  <a:pt x="62" y="91"/>
                </a:cubicBezTo>
                <a:cubicBezTo>
                  <a:pt x="62" y="91"/>
                  <a:pt x="62" y="91"/>
                  <a:pt x="63" y="91"/>
                </a:cubicBezTo>
                <a:cubicBezTo>
                  <a:pt x="63" y="91"/>
                  <a:pt x="63" y="91"/>
                  <a:pt x="63" y="92"/>
                </a:cubicBezTo>
                <a:cubicBezTo>
                  <a:pt x="63" y="91"/>
                  <a:pt x="64" y="92"/>
                  <a:pt x="64" y="92"/>
                </a:cubicBezTo>
                <a:cubicBezTo>
                  <a:pt x="64" y="92"/>
                  <a:pt x="64" y="92"/>
                  <a:pt x="64" y="92"/>
                </a:cubicBezTo>
                <a:cubicBezTo>
                  <a:pt x="65" y="93"/>
                  <a:pt x="65" y="93"/>
                  <a:pt x="65" y="93"/>
                </a:cubicBezTo>
                <a:cubicBezTo>
                  <a:pt x="66" y="93"/>
                  <a:pt x="66" y="93"/>
                  <a:pt x="66" y="93"/>
                </a:cubicBezTo>
                <a:cubicBezTo>
                  <a:pt x="66" y="93"/>
                  <a:pt x="66" y="93"/>
                  <a:pt x="66" y="93"/>
                </a:cubicBezTo>
                <a:cubicBezTo>
                  <a:pt x="66" y="93"/>
                  <a:pt x="66" y="93"/>
                  <a:pt x="67" y="93"/>
                </a:cubicBezTo>
                <a:cubicBezTo>
                  <a:pt x="67" y="93"/>
                  <a:pt x="67" y="93"/>
                  <a:pt x="67" y="93"/>
                </a:cubicBezTo>
                <a:cubicBezTo>
                  <a:pt x="67" y="93"/>
                  <a:pt x="67" y="94"/>
                  <a:pt x="67" y="94"/>
                </a:cubicBezTo>
                <a:cubicBezTo>
                  <a:pt x="67" y="94"/>
                  <a:pt x="67" y="94"/>
                  <a:pt x="67" y="94"/>
                </a:cubicBezTo>
                <a:cubicBezTo>
                  <a:pt x="67" y="94"/>
                  <a:pt x="67" y="94"/>
                  <a:pt x="67" y="94"/>
                </a:cubicBezTo>
                <a:cubicBezTo>
                  <a:pt x="67" y="94"/>
                  <a:pt x="67" y="94"/>
                  <a:pt x="67" y="94"/>
                </a:cubicBezTo>
                <a:cubicBezTo>
                  <a:pt x="67" y="94"/>
                  <a:pt x="67" y="94"/>
                  <a:pt x="67" y="94"/>
                </a:cubicBezTo>
                <a:cubicBezTo>
                  <a:pt x="68" y="94"/>
                  <a:pt x="69" y="94"/>
                  <a:pt x="69" y="95"/>
                </a:cubicBezTo>
                <a:cubicBezTo>
                  <a:pt x="69" y="95"/>
                  <a:pt x="69" y="95"/>
                  <a:pt x="69" y="95"/>
                </a:cubicBezTo>
                <a:cubicBezTo>
                  <a:pt x="69" y="96"/>
                  <a:pt x="67" y="97"/>
                  <a:pt x="68" y="98"/>
                </a:cubicBezTo>
                <a:cubicBezTo>
                  <a:pt x="68" y="98"/>
                  <a:pt x="68" y="99"/>
                  <a:pt x="68" y="99"/>
                </a:cubicBezTo>
                <a:cubicBezTo>
                  <a:pt x="68" y="99"/>
                  <a:pt x="68" y="99"/>
                  <a:pt x="68" y="99"/>
                </a:cubicBezTo>
                <a:cubicBezTo>
                  <a:pt x="68" y="99"/>
                  <a:pt x="69" y="100"/>
                  <a:pt x="69" y="100"/>
                </a:cubicBezTo>
                <a:cubicBezTo>
                  <a:pt x="69" y="100"/>
                  <a:pt x="69" y="100"/>
                  <a:pt x="69" y="101"/>
                </a:cubicBezTo>
                <a:cubicBezTo>
                  <a:pt x="69" y="101"/>
                  <a:pt x="69" y="101"/>
                  <a:pt x="70" y="101"/>
                </a:cubicBezTo>
                <a:cubicBezTo>
                  <a:pt x="70" y="101"/>
                  <a:pt x="70" y="101"/>
                  <a:pt x="70" y="101"/>
                </a:cubicBezTo>
                <a:cubicBezTo>
                  <a:pt x="70" y="101"/>
                  <a:pt x="70" y="101"/>
                  <a:pt x="70" y="102"/>
                </a:cubicBezTo>
                <a:cubicBezTo>
                  <a:pt x="71" y="103"/>
                  <a:pt x="74" y="102"/>
                  <a:pt x="74" y="103"/>
                </a:cubicBezTo>
                <a:cubicBezTo>
                  <a:pt x="75" y="103"/>
                  <a:pt x="75" y="103"/>
                  <a:pt x="75" y="103"/>
                </a:cubicBezTo>
                <a:cubicBezTo>
                  <a:pt x="77" y="104"/>
                  <a:pt x="78" y="106"/>
                  <a:pt x="79" y="108"/>
                </a:cubicBezTo>
                <a:cubicBezTo>
                  <a:pt x="80" y="108"/>
                  <a:pt x="81" y="109"/>
                  <a:pt x="82" y="109"/>
                </a:cubicBezTo>
                <a:cubicBezTo>
                  <a:pt x="83" y="110"/>
                  <a:pt x="84" y="111"/>
                  <a:pt x="85" y="111"/>
                </a:cubicBezTo>
                <a:cubicBezTo>
                  <a:pt x="86" y="111"/>
                  <a:pt x="86" y="111"/>
                  <a:pt x="87" y="111"/>
                </a:cubicBezTo>
                <a:cubicBezTo>
                  <a:pt x="87" y="110"/>
                  <a:pt x="88" y="111"/>
                  <a:pt x="90" y="110"/>
                </a:cubicBezTo>
                <a:cubicBezTo>
                  <a:pt x="90" y="111"/>
                  <a:pt x="90" y="111"/>
                  <a:pt x="90" y="111"/>
                </a:cubicBezTo>
                <a:cubicBezTo>
                  <a:pt x="93" y="111"/>
                  <a:pt x="94" y="112"/>
                  <a:pt x="95" y="113"/>
                </a:cubicBezTo>
                <a:cubicBezTo>
                  <a:pt x="95" y="114"/>
                  <a:pt x="97" y="113"/>
                  <a:pt x="98" y="113"/>
                </a:cubicBezTo>
                <a:cubicBezTo>
                  <a:pt x="99" y="113"/>
                  <a:pt x="99" y="112"/>
                  <a:pt x="100" y="112"/>
                </a:cubicBezTo>
                <a:cubicBezTo>
                  <a:pt x="100" y="110"/>
                  <a:pt x="99" y="110"/>
                  <a:pt x="99" y="108"/>
                </a:cubicBezTo>
                <a:cubicBezTo>
                  <a:pt x="98" y="107"/>
                  <a:pt x="96" y="107"/>
                  <a:pt x="97" y="105"/>
                </a:cubicBezTo>
                <a:cubicBezTo>
                  <a:pt x="96" y="100"/>
                  <a:pt x="98" y="98"/>
                  <a:pt x="98" y="94"/>
                </a:cubicBezTo>
                <a:cubicBezTo>
                  <a:pt x="99" y="93"/>
                  <a:pt x="100" y="92"/>
                  <a:pt x="101" y="92"/>
                </a:cubicBezTo>
                <a:cubicBezTo>
                  <a:pt x="101" y="88"/>
                  <a:pt x="103" y="86"/>
                  <a:pt x="103" y="83"/>
                </a:cubicBezTo>
                <a:cubicBezTo>
                  <a:pt x="104" y="82"/>
                  <a:pt x="105" y="80"/>
                  <a:pt x="106" y="80"/>
                </a:cubicBezTo>
                <a:cubicBezTo>
                  <a:pt x="107" y="80"/>
                  <a:pt x="107" y="79"/>
                  <a:pt x="108" y="79"/>
                </a:cubicBezTo>
                <a:cubicBezTo>
                  <a:pt x="109" y="78"/>
                  <a:pt x="109" y="78"/>
                  <a:pt x="110" y="78"/>
                </a:cubicBezTo>
                <a:cubicBezTo>
                  <a:pt x="113" y="77"/>
                  <a:pt x="112" y="80"/>
                  <a:pt x="114" y="80"/>
                </a:cubicBezTo>
                <a:cubicBezTo>
                  <a:pt x="114" y="77"/>
                  <a:pt x="113" y="77"/>
                  <a:pt x="112" y="75"/>
                </a:cubicBezTo>
                <a:cubicBezTo>
                  <a:pt x="110" y="75"/>
                  <a:pt x="110" y="75"/>
                  <a:pt x="110" y="75"/>
                </a:cubicBezTo>
                <a:cubicBezTo>
                  <a:pt x="110" y="74"/>
                  <a:pt x="110" y="74"/>
                  <a:pt x="110" y="74"/>
                </a:cubicBezTo>
                <a:cubicBezTo>
                  <a:pt x="110" y="72"/>
                  <a:pt x="109" y="72"/>
                  <a:pt x="109" y="70"/>
                </a:cubicBezTo>
                <a:cubicBezTo>
                  <a:pt x="110" y="69"/>
                  <a:pt x="112" y="69"/>
                  <a:pt x="114" y="68"/>
                </a:cubicBezTo>
                <a:cubicBezTo>
                  <a:pt x="115" y="69"/>
                  <a:pt x="114" y="71"/>
                  <a:pt x="116" y="70"/>
                </a:cubicBezTo>
                <a:cubicBezTo>
                  <a:pt x="119" y="70"/>
                  <a:pt x="119" y="70"/>
                  <a:pt x="122" y="70"/>
                </a:cubicBezTo>
                <a:cubicBezTo>
                  <a:pt x="125" y="70"/>
                  <a:pt x="125" y="70"/>
                  <a:pt x="125" y="70"/>
                </a:cubicBezTo>
                <a:cubicBezTo>
                  <a:pt x="126" y="69"/>
                  <a:pt x="128" y="69"/>
                  <a:pt x="130" y="68"/>
                </a:cubicBezTo>
                <a:cubicBezTo>
                  <a:pt x="130" y="67"/>
                  <a:pt x="129" y="66"/>
                  <a:pt x="129" y="64"/>
                </a:cubicBezTo>
                <a:cubicBezTo>
                  <a:pt x="129" y="63"/>
                  <a:pt x="130" y="62"/>
                  <a:pt x="129" y="61"/>
                </a:cubicBezTo>
                <a:cubicBezTo>
                  <a:pt x="129" y="59"/>
                  <a:pt x="128" y="59"/>
                  <a:pt x="127" y="58"/>
                </a:cubicBezTo>
                <a:cubicBezTo>
                  <a:pt x="127" y="56"/>
                  <a:pt x="124" y="57"/>
                  <a:pt x="124" y="55"/>
                </a:cubicBezTo>
                <a:cubicBezTo>
                  <a:pt x="124" y="54"/>
                  <a:pt x="123" y="54"/>
                  <a:pt x="123" y="53"/>
                </a:cubicBezTo>
                <a:cubicBezTo>
                  <a:pt x="122" y="53"/>
                  <a:pt x="123" y="52"/>
                  <a:pt x="122" y="52"/>
                </a:cubicBezTo>
                <a:cubicBezTo>
                  <a:pt x="122" y="50"/>
                  <a:pt x="123" y="53"/>
                  <a:pt x="124" y="52"/>
                </a:cubicBezTo>
                <a:cubicBezTo>
                  <a:pt x="129" y="52"/>
                  <a:pt x="129" y="52"/>
                  <a:pt x="129" y="52"/>
                </a:cubicBezTo>
                <a:cubicBezTo>
                  <a:pt x="130" y="52"/>
                  <a:pt x="129" y="50"/>
                  <a:pt x="131" y="50"/>
                </a:cubicBezTo>
                <a:cubicBezTo>
                  <a:pt x="131" y="48"/>
                  <a:pt x="133" y="49"/>
                  <a:pt x="132" y="47"/>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77" name="Freeform 105"/>
          <p:cNvSpPr>
            <a:spLocks/>
          </p:cNvSpPr>
          <p:nvPr/>
        </p:nvSpPr>
        <p:spPr bwMode="auto">
          <a:xfrm>
            <a:off x="8604542" y="5161265"/>
            <a:ext cx="293688" cy="301625"/>
          </a:xfrm>
          <a:custGeom>
            <a:avLst/>
            <a:gdLst>
              <a:gd name="T0" fmla="*/ 67 w 76"/>
              <a:gd name="T1" fmla="*/ 24 h 78"/>
              <a:gd name="T2" fmla="*/ 62 w 76"/>
              <a:gd name="T3" fmla="*/ 22 h 78"/>
              <a:gd name="T4" fmla="*/ 54 w 76"/>
              <a:gd name="T5" fmla="*/ 15 h 78"/>
              <a:gd name="T6" fmla="*/ 49 w 76"/>
              <a:gd name="T7" fmla="*/ 14 h 78"/>
              <a:gd name="T8" fmla="*/ 42 w 76"/>
              <a:gd name="T9" fmla="*/ 6 h 78"/>
              <a:gd name="T10" fmla="*/ 36 w 76"/>
              <a:gd name="T11" fmla="*/ 3 h 78"/>
              <a:gd name="T12" fmla="*/ 29 w 76"/>
              <a:gd name="T13" fmla="*/ 0 h 78"/>
              <a:gd name="T14" fmla="*/ 25 w 76"/>
              <a:gd name="T15" fmla="*/ 7 h 78"/>
              <a:gd name="T16" fmla="*/ 25 w 76"/>
              <a:gd name="T17" fmla="*/ 10 h 78"/>
              <a:gd name="T18" fmla="*/ 18 w 76"/>
              <a:gd name="T19" fmla="*/ 15 h 78"/>
              <a:gd name="T20" fmla="*/ 12 w 76"/>
              <a:gd name="T21" fmla="*/ 37 h 78"/>
              <a:gd name="T22" fmla="*/ 13 w 76"/>
              <a:gd name="T23" fmla="*/ 45 h 78"/>
              <a:gd name="T24" fmla="*/ 5 w 76"/>
              <a:gd name="T25" fmla="*/ 42 h 78"/>
              <a:gd name="T26" fmla="*/ 1 w 76"/>
              <a:gd name="T27" fmla="*/ 43 h 78"/>
              <a:gd name="T28" fmla="*/ 7 w 76"/>
              <a:gd name="T29" fmla="*/ 46 h 78"/>
              <a:gd name="T30" fmla="*/ 12 w 76"/>
              <a:gd name="T31" fmla="*/ 52 h 78"/>
              <a:gd name="T32" fmla="*/ 13 w 76"/>
              <a:gd name="T33" fmla="*/ 53 h 78"/>
              <a:gd name="T34" fmla="*/ 19 w 76"/>
              <a:gd name="T35" fmla="*/ 52 h 78"/>
              <a:gd name="T36" fmla="*/ 21 w 76"/>
              <a:gd name="T37" fmla="*/ 50 h 78"/>
              <a:gd name="T38" fmla="*/ 16 w 76"/>
              <a:gd name="T39" fmla="*/ 54 h 78"/>
              <a:gd name="T40" fmla="*/ 19 w 76"/>
              <a:gd name="T41" fmla="*/ 56 h 78"/>
              <a:gd name="T42" fmla="*/ 23 w 76"/>
              <a:gd name="T43" fmla="*/ 60 h 78"/>
              <a:gd name="T44" fmla="*/ 30 w 76"/>
              <a:gd name="T45" fmla="*/ 65 h 78"/>
              <a:gd name="T46" fmla="*/ 34 w 76"/>
              <a:gd name="T47" fmla="*/ 67 h 78"/>
              <a:gd name="T48" fmla="*/ 37 w 76"/>
              <a:gd name="T49" fmla="*/ 75 h 78"/>
              <a:gd name="T50" fmla="*/ 43 w 76"/>
              <a:gd name="T51" fmla="*/ 77 h 78"/>
              <a:gd name="T52" fmla="*/ 46 w 76"/>
              <a:gd name="T53" fmla="*/ 77 h 78"/>
              <a:gd name="T54" fmla="*/ 46 w 76"/>
              <a:gd name="T55" fmla="*/ 76 h 78"/>
              <a:gd name="T56" fmla="*/ 46 w 76"/>
              <a:gd name="T57" fmla="*/ 74 h 78"/>
              <a:gd name="T58" fmla="*/ 46 w 76"/>
              <a:gd name="T59" fmla="*/ 72 h 78"/>
              <a:gd name="T60" fmla="*/ 46 w 76"/>
              <a:gd name="T61" fmla="*/ 69 h 78"/>
              <a:gd name="T62" fmla="*/ 45 w 76"/>
              <a:gd name="T63" fmla="*/ 68 h 78"/>
              <a:gd name="T64" fmla="*/ 45 w 76"/>
              <a:gd name="T65" fmla="*/ 68 h 78"/>
              <a:gd name="T66" fmla="*/ 44 w 76"/>
              <a:gd name="T67" fmla="*/ 67 h 78"/>
              <a:gd name="T68" fmla="*/ 43 w 76"/>
              <a:gd name="T69" fmla="*/ 61 h 78"/>
              <a:gd name="T70" fmla="*/ 45 w 76"/>
              <a:gd name="T71" fmla="*/ 56 h 78"/>
              <a:gd name="T72" fmla="*/ 47 w 76"/>
              <a:gd name="T73" fmla="*/ 54 h 78"/>
              <a:gd name="T74" fmla="*/ 48 w 76"/>
              <a:gd name="T75" fmla="*/ 53 h 78"/>
              <a:gd name="T76" fmla="*/ 48 w 76"/>
              <a:gd name="T77" fmla="*/ 52 h 78"/>
              <a:gd name="T78" fmla="*/ 54 w 76"/>
              <a:gd name="T79" fmla="*/ 47 h 78"/>
              <a:gd name="T80" fmla="*/ 58 w 76"/>
              <a:gd name="T81" fmla="*/ 49 h 78"/>
              <a:gd name="T82" fmla="*/ 62 w 76"/>
              <a:gd name="T83" fmla="*/ 48 h 78"/>
              <a:gd name="T84" fmla="*/ 64 w 76"/>
              <a:gd name="T85" fmla="*/ 47 h 78"/>
              <a:gd name="T86" fmla="*/ 67 w 76"/>
              <a:gd name="T87" fmla="*/ 39 h 78"/>
              <a:gd name="T88" fmla="*/ 64 w 76"/>
              <a:gd name="T89" fmla="*/ 34 h 78"/>
              <a:gd name="T90" fmla="*/ 76 w 76"/>
              <a:gd name="T91" fmla="*/ 2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 h="78">
                <a:moveTo>
                  <a:pt x="75" y="28"/>
                </a:moveTo>
                <a:cubicBezTo>
                  <a:pt x="75" y="26"/>
                  <a:pt x="74" y="26"/>
                  <a:pt x="74" y="25"/>
                </a:cubicBezTo>
                <a:cubicBezTo>
                  <a:pt x="71" y="25"/>
                  <a:pt x="70" y="24"/>
                  <a:pt x="67" y="24"/>
                </a:cubicBezTo>
                <a:cubicBezTo>
                  <a:pt x="67" y="23"/>
                  <a:pt x="66" y="23"/>
                  <a:pt x="65" y="23"/>
                </a:cubicBezTo>
                <a:cubicBezTo>
                  <a:pt x="65" y="22"/>
                  <a:pt x="65" y="22"/>
                  <a:pt x="64" y="22"/>
                </a:cubicBezTo>
                <a:cubicBezTo>
                  <a:pt x="64" y="21"/>
                  <a:pt x="63" y="22"/>
                  <a:pt x="62" y="22"/>
                </a:cubicBezTo>
                <a:cubicBezTo>
                  <a:pt x="63" y="20"/>
                  <a:pt x="61" y="19"/>
                  <a:pt x="61" y="18"/>
                </a:cubicBezTo>
                <a:cubicBezTo>
                  <a:pt x="59" y="18"/>
                  <a:pt x="59" y="17"/>
                  <a:pt x="56" y="17"/>
                </a:cubicBezTo>
                <a:cubicBezTo>
                  <a:pt x="56" y="16"/>
                  <a:pt x="54" y="17"/>
                  <a:pt x="54" y="15"/>
                </a:cubicBezTo>
                <a:cubicBezTo>
                  <a:pt x="53" y="15"/>
                  <a:pt x="53" y="14"/>
                  <a:pt x="51" y="15"/>
                </a:cubicBezTo>
                <a:cubicBezTo>
                  <a:pt x="51" y="14"/>
                  <a:pt x="50" y="14"/>
                  <a:pt x="50" y="14"/>
                </a:cubicBezTo>
                <a:cubicBezTo>
                  <a:pt x="50" y="14"/>
                  <a:pt x="49" y="14"/>
                  <a:pt x="49" y="14"/>
                </a:cubicBezTo>
                <a:cubicBezTo>
                  <a:pt x="49" y="14"/>
                  <a:pt x="48" y="12"/>
                  <a:pt x="46" y="13"/>
                </a:cubicBezTo>
                <a:cubicBezTo>
                  <a:pt x="46" y="12"/>
                  <a:pt x="46" y="11"/>
                  <a:pt x="46" y="10"/>
                </a:cubicBezTo>
                <a:cubicBezTo>
                  <a:pt x="44" y="9"/>
                  <a:pt x="43" y="8"/>
                  <a:pt x="42" y="6"/>
                </a:cubicBezTo>
                <a:cubicBezTo>
                  <a:pt x="41" y="6"/>
                  <a:pt x="41" y="6"/>
                  <a:pt x="40" y="6"/>
                </a:cubicBezTo>
                <a:cubicBezTo>
                  <a:pt x="39" y="5"/>
                  <a:pt x="39" y="6"/>
                  <a:pt x="39" y="5"/>
                </a:cubicBezTo>
                <a:cubicBezTo>
                  <a:pt x="38" y="4"/>
                  <a:pt x="37" y="4"/>
                  <a:pt x="36" y="3"/>
                </a:cubicBezTo>
                <a:cubicBezTo>
                  <a:pt x="36" y="3"/>
                  <a:pt x="37" y="3"/>
                  <a:pt x="37" y="2"/>
                </a:cubicBezTo>
                <a:cubicBezTo>
                  <a:pt x="34" y="2"/>
                  <a:pt x="34" y="2"/>
                  <a:pt x="31" y="2"/>
                </a:cubicBezTo>
                <a:cubicBezTo>
                  <a:pt x="29" y="3"/>
                  <a:pt x="30" y="1"/>
                  <a:pt x="29" y="0"/>
                </a:cubicBezTo>
                <a:cubicBezTo>
                  <a:pt x="27" y="1"/>
                  <a:pt x="25" y="1"/>
                  <a:pt x="24" y="2"/>
                </a:cubicBezTo>
                <a:cubicBezTo>
                  <a:pt x="24" y="4"/>
                  <a:pt x="25" y="4"/>
                  <a:pt x="25" y="6"/>
                </a:cubicBezTo>
                <a:cubicBezTo>
                  <a:pt x="25" y="6"/>
                  <a:pt x="25" y="6"/>
                  <a:pt x="25" y="7"/>
                </a:cubicBezTo>
                <a:cubicBezTo>
                  <a:pt x="27" y="7"/>
                  <a:pt x="27" y="7"/>
                  <a:pt x="27" y="7"/>
                </a:cubicBezTo>
                <a:cubicBezTo>
                  <a:pt x="28" y="9"/>
                  <a:pt x="29" y="9"/>
                  <a:pt x="29" y="12"/>
                </a:cubicBezTo>
                <a:cubicBezTo>
                  <a:pt x="27" y="12"/>
                  <a:pt x="28" y="9"/>
                  <a:pt x="25" y="10"/>
                </a:cubicBezTo>
                <a:cubicBezTo>
                  <a:pt x="24" y="10"/>
                  <a:pt x="24" y="10"/>
                  <a:pt x="23" y="11"/>
                </a:cubicBezTo>
                <a:cubicBezTo>
                  <a:pt x="22" y="11"/>
                  <a:pt x="22" y="12"/>
                  <a:pt x="21" y="12"/>
                </a:cubicBezTo>
                <a:cubicBezTo>
                  <a:pt x="20" y="12"/>
                  <a:pt x="19" y="14"/>
                  <a:pt x="18" y="15"/>
                </a:cubicBezTo>
                <a:cubicBezTo>
                  <a:pt x="18" y="18"/>
                  <a:pt x="16" y="20"/>
                  <a:pt x="16" y="24"/>
                </a:cubicBezTo>
                <a:cubicBezTo>
                  <a:pt x="15" y="24"/>
                  <a:pt x="14" y="25"/>
                  <a:pt x="13" y="26"/>
                </a:cubicBezTo>
                <a:cubicBezTo>
                  <a:pt x="13" y="30"/>
                  <a:pt x="11" y="32"/>
                  <a:pt x="12" y="37"/>
                </a:cubicBezTo>
                <a:cubicBezTo>
                  <a:pt x="11" y="39"/>
                  <a:pt x="13" y="39"/>
                  <a:pt x="14" y="40"/>
                </a:cubicBezTo>
                <a:cubicBezTo>
                  <a:pt x="14" y="42"/>
                  <a:pt x="15" y="42"/>
                  <a:pt x="15" y="44"/>
                </a:cubicBezTo>
                <a:cubicBezTo>
                  <a:pt x="14" y="44"/>
                  <a:pt x="14" y="45"/>
                  <a:pt x="13" y="45"/>
                </a:cubicBezTo>
                <a:cubicBezTo>
                  <a:pt x="12" y="45"/>
                  <a:pt x="10" y="46"/>
                  <a:pt x="10" y="45"/>
                </a:cubicBezTo>
                <a:cubicBezTo>
                  <a:pt x="9" y="44"/>
                  <a:pt x="8" y="43"/>
                  <a:pt x="5" y="43"/>
                </a:cubicBezTo>
                <a:cubicBezTo>
                  <a:pt x="5" y="43"/>
                  <a:pt x="5" y="43"/>
                  <a:pt x="5" y="42"/>
                </a:cubicBezTo>
                <a:cubicBezTo>
                  <a:pt x="3" y="43"/>
                  <a:pt x="2" y="42"/>
                  <a:pt x="2" y="43"/>
                </a:cubicBezTo>
                <a:cubicBezTo>
                  <a:pt x="1" y="43"/>
                  <a:pt x="1" y="43"/>
                  <a:pt x="0" y="43"/>
                </a:cubicBezTo>
                <a:cubicBezTo>
                  <a:pt x="1" y="43"/>
                  <a:pt x="1" y="43"/>
                  <a:pt x="1" y="43"/>
                </a:cubicBezTo>
                <a:cubicBezTo>
                  <a:pt x="2" y="44"/>
                  <a:pt x="2" y="44"/>
                  <a:pt x="3" y="45"/>
                </a:cubicBezTo>
                <a:cubicBezTo>
                  <a:pt x="4" y="45"/>
                  <a:pt x="4" y="45"/>
                  <a:pt x="5" y="45"/>
                </a:cubicBezTo>
                <a:cubicBezTo>
                  <a:pt x="6" y="46"/>
                  <a:pt x="6" y="46"/>
                  <a:pt x="7" y="46"/>
                </a:cubicBezTo>
                <a:cubicBezTo>
                  <a:pt x="7" y="47"/>
                  <a:pt x="8" y="47"/>
                  <a:pt x="9" y="48"/>
                </a:cubicBezTo>
                <a:cubicBezTo>
                  <a:pt x="10" y="49"/>
                  <a:pt x="10" y="49"/>
                  <a:pt x="11" y="50"/>
                </a:cubicBezTo>
                <a:cubicBezTo>
                  <a:pt x="11" y="51"/>
                  <a:pt x="12" y="51"/>
                  <a:pt x="12" y="52"/>
                </a:cubicBezTo>
                <a:cubicBezTo>
                  <a:pt x="13" y="52"/>
                  <a:pt x="13" y="53"/>
                  <a:pt x="13" y="53"/>
                </a:cubicBezTo>
                <a:cubicBezTo>
                  <a:pt x="13" y="53"/>
                  <a:pt x="14" y="53"/>
                  <a:pt x="14" y="54"/>
                </a:cubicBezTo>
                <a:cubicBezTo>
                  <a:pt x="14" y="54"/>
                  <a:pt x="13" y="54"/>
                  <a:pt x="13" y="53"/>
                </a:cubicBezTo>
                <a:cubicBezTo>
                  <a:pt x="13" y="54"/>
                  <a:pt x="14" y="54"/>
                  <a:pt x="14" y="54"/>
                </a:cubicBezTo>
                <a:cubicBezTo>
                  <a:pt x="15" y="54"/>
                  <a:pt x="15" y="53"/>
                  <a:pt x="16" y="52"/>
                </a:cubicBezTo>
                <a:cubicBezTo>
                  <a:pt x="18" y="53"/>
                  <a:pt x="18" y="51"/>
                  <a:pt x="19" y="52"/>
                </a:cubicBezTo>
                <a:cubicBezTo>
                  <a:pt x="20" y="51"/>
                  <a:pt x="19" y="49"/>
                  <a:pt x="21" y="49"/>
                </a:cubicBezTo>
                <a:cubicBezTo>
                  <a:pt x="22" y="49"/>
                  <a:pt x="22" y="50"/>
                  <a:pt x="23" y="50"/>
                </a:cubicBezTo>
                <a:cubicBezTo>
                  <a:pt x="23" y="51"/>
                  <a:pt x="22" y="50"/>
                  <a:pt x="21" y="50"/>
                </a:cubicBezTo>
                <a:cubicBezTo>
                  <a:pt x="21" y="50"/>
                  <a:pt x="21" y="51"/>
                  <a:pt x="21" y="52"/>
                </a:cubicBezTo>
                <a:cubicBezTo>
                  <a:pt x="20" y="52"/>
                  <a:pt x="20" y="52"/>
                  <a:pt x="20" y="53"/>
                </a:cubicBezTo>
                <a:cubicBezTo>
                  <a:pt x="19" y="52"/>
                  <a:pt x="17" y="53"/>
                  <a:pt x="16" y="54"/>
                </a:cubicBezTo>
                <a:cubicBezTo>
                  <a:pt x="16" y="54"/>
                  <a:pt x="16" y="54"/>
                  <a:pt x="16" y="54"/>
                </a:cubicBezTo>
                <a:cubicBezTo>
                  <a:pt x="16" y="54"/>
                  <a:pt x="16" y="54"/>
                  <a:pt x="16" y="54"/>
                </a:cubicBezTo>
                <a:cubicBezTo>
                  <a:pt x="17" y="54"/>
                  <a:pt x="18" y="56"/>
                  <a:pt x="19" y="56"/>
                </a:cubicBezTo>
                <a:cubicBezTo>
                  <a:pt x="19" y="56"/>
                  <a:pt x="19" y="56"/>
                  <a:pt x="20" y="56"/>
                </a:cubicBezTo>
                <a:cubicBezTo>
                  <a:pt x="20" y="56"/>
                  <a:pt x="20" y="56"/>
                  <a:pt x="21" y="56"/>
                </a:cubicBezTo>
                <a:cubicBezTo>
                  <a:pt x="21" y="57"/>
                  <a:pt x="23" y="58"/>
                  <a:pt x="23" y="60"/>
                </a:cubicBezTo>
                <a:cubicBezTo>
                  <a:pt x="25" y="60"/>
                  <a:pt x="25" y="59"/>
                  <a:pt x="27" y="59"/>
                </a:cubicBezTo>
                <a:cubicBezTo>
                  <a:pt x="28" y="60"/>
                  <a:pt x="28" y="62"/>
                  <a:pt x="29" y="62"/>
                </a:cubicBezTo>
                <a:cubicBezTo>
                  <a:pt x="29" y="63"/>
                  <a:pt x="31" y="63"/>
                  <a:pt x="30" y="65"/>
                </a:cubicBezTo>
                <a:cubicBezTo>
                  <a:pt x="31" y="65"/>
                  <a:pt x="31" y="65"/>
                  <a:pt x="31" y="65"/>
                </a:cubicBezTo>
                <a:cubicBezTo>
                  <a:pt x="31" y="65"/>
                  <a:pt x="32" y="65"/>
                  <a:pt x="32" y="65"/>
                </a:cubicBezTo>
                <a:cubicBezTo>
                  <a:pt x="33" y="66"/>
                  <a:pt x="33" y="67"/>
                  <a:pt x="34" y="67"/>
                </a:cubicBezTo>
                <a:cubicBezTo>
                  <a:pt x="34" y="68"/>
                  <a:pt x="34" y="68"/>
                  <a:pt x="34" y="68"/>
                </a:cubicBezTo>
                <a:cubicBezTo>
                  <a:pt x="35" y="69"/>
                  <a:pt x="36" y="69"/>
                  <a:pt x="37" y="70"/>
                </a:cubicBezTo>
                <a:cubicBezTo>
                  <a:pt x="37" y="71"/>
                  <a:pt x="36" y="74"/>
                  <a:pt x="37" y="75"/>
                </a:cubicBezTo>
                <a:cubicBezTo>
                  <a:pt x="37" y="75"/>
                  <a:pt x="39" y="75"/>
                  <a:pt x="39" y="75"/>
                </a:cubicBezTo>
                <a:cubicBezTo>
                  <a:pt x="40" y="75"/>
                  <a:pt x="40" y="76"/>
                  <a:pt x="41" y="76"/>
                </a:cubicBezTo>
                <a:cubicBezTo>
                  <a:pt x="41" y="76"/>
                  <a:pt x="42" y="77"/>
                  <a:pt x="43" y="77"/>
                </a:cubicBezTo>
                <a:cubicBezTo>
                  <a:pt x="44" y="77"/>
                  <a:pt x="43" y="77"/>
                  <a:pt x="44" y="78"/>
                </a:cubicBezTo>
                <a:cubicBezTo>
                  <a:pt x="46" y="78"/>
                  <a:pt x="46" y="78"/>
                  <a:pt x="46" y="78"/>
                </a:cubicBezTo>
                <a:cubicBezTo>
                  <a:pt x="46" y="78"/>
                  <a:pt x="46" y="77"/>
                  <a:pt x="46" y="77"/>
                </a:cubicBezTo>
                <a:cubicBezTo>
                  <a:pt x="46" y="77"/>
                  <a:pt x="46" y="77"/>
                  <a:pt x="46" y="77"/>
                </a:cubicBezTo>
                <a:cubicBezTo>
                  <a:pt x="46" y="77"/>
                  <a:pt x="46" y="76"/>
                  <a:pt x="46" y="76"/>
                </a:cubicBezTo>
                <a:cubicBezTo>
                  <a:pt x="46" y="76"/>
                  <a:pt x="46" y="76"/>
                  <a:pt x="46" y="76"/>
                </a:cubicBezTo>
                <a:cubicBezTo>
                  <a:pt x="46" y="75"/>
                  <a:pt x="46" y="75"/>
                  <a:pt x="46" y="75"/>
                </a:cubicBezTo>
                <a:cubicBezTo>
                  <a:pt x="46" y="75"/>
                  <a:pt x="46" y="75"/>
                  <a:pt x="46" y="75"/>
                </a:cubicBezTo>
                <a:cubicBezTo>
                  <a:pt x="46" y="74"/>
                  <a:pt x="46" y="74"/>
                  <a:pt x="46" y="74"/>
                </a:cubicBezTo>
                <a:cubicBezTo>
                  <a:pt x="46" y="74"/>
                  <a:pt x="46" y="74"/>
                  <a:pt x="46" y="74"/>
                </a:cubicBezTo>
                <a:cubicBezTo>
                  <a:pt x="46" y="73"/>
                  <a:pt x="46" y="73"/>
                  <a:pt x="46" y="72"/>
                </a:cubicBezTo>
                <a:cubicBezTo>
                  <a:pt x="46" y="72"/>
                  <a:pt x="46" y="72"/>
                  <a:pt x="46" y="72"/>
                </a:cubicBezTo>
                <a:cubicBezTo>
                  <a:pt x="46" y="72"/>
                  <a:pt x="46" y="71"/>
                  <a:pt x="46" y="71"/>
                </a:cubicBezTo>
                <a:cubicBezTo>
                  <a:pt x="46" y="71"/>
                  <a:pt x="46" y="71"/>
                  <a:pt x="46" y="71"/>
                </a:cubicBezTo>
                <a:cubicBezTo>
                  <a:pt x="46" y="70"/>
                  <a:pt x="46" y="70"/>
                  <a:pt x="46" y="69"/>
                </a:cubicBezTo>
                <a:cubicBezTo>
                  <a:pt x="46" y="69"/>
                  <a:pt x="46" y="69"/>
                  <a:pt x="46" y="69"/>
                </a:cubicBezTo>
                <a:cubicBezTo>
                  <a:pt x="46" y="69"/>
                  <a:pt x="46" y="68"/>
                  <a:pt x="46" y="68"/>
                </a:cubicBezTo>
                <a:cubicBezTo>
                  <a:pt x="46" y="68"/>
                  <a:pt x="45" y="68"/>
                  <a:pt x="45" y="68"/>
                </a:cubicBezTo>
                <a:cubicBezTo>
                  <a:pt x="45" y="68"/>
                  <a:pt x="45" y="68"/>
                  <a:pt x="45" y="68"/>
                </a:cubicBezTo>
                <a:cubicBezTo>
                  <a:pt x="45" y="68"/>
                  <a:pt x="45" y="68"/>
                  <a:pt x="45" y="68"/>
                </a:cubicBezTo>
                <a:cubicBezTo>
                  <a:pt x="45" y="68"/>
                  <a:pt x="45" y="68"/>
                  <a:pt x="45" y="68"/>
                </a:cubicBezTo>
                <a:cubicBezTo>
                  <a:pt x="45" y="68"/>
                  <a:pt x="45" y="68"/>
                  <a:pt x="45" y="68"/>
                </a:cubicBezTo>
                <a:cubicBezTo>
                  <a:pt x="45" y="68"/>
                  <a:pt x="44" y="68"/>
                  <a:pt x="44" y="68"/>
                </a:cubicBezTo>
                <a:cubicBezTo>
                  <a:pt x="44" y="67"/>
                  <a:pt x="44" y="67"/>
                  <a:pt x="44" y="67"/>
                </a:cubicBezTo>
                <a:cubicBezTo>
                  <a:pt x="44" y="66"/>
                  <a:pt x="44" y="66"/>
                  <a:pt x="44" y="66"/>
                </a:cubicBezTo>
                <a:cubicBezTo>
                  <a:pt x="44" y="65"/>
                  <a:pt x="43" y="65"/>
                  <a:pt x="43" y="65"/>
                </a:cubicBezTo>
                <a:cubicBezTo>
                  <a:pt x="43" y="64"/>
                  <a:pt x="42" y="62"/>
                  <a:pt x="43" y="61"/>
                </a:cubicBezTo>
                <a:cubicBezTo>
                  <a:pt x="43" y="61"/>
                  <a:pt x="43" y="61"/>
                  <a:pt x="43" y="60"/>
                </a:cubicBezTo>
                <a:cubicBezTo>
                  <a:pt x="43" y="60"/>
                  <a:pt x="44" y="59"/>
                  <a:pt x="44" y="58"/>
                </a:cubicBezTo>
                <a:cubicBezTo>
                  <a:pt x="44" y="57"/>
                  <a:pt x="45" y="57"/>
                  <a:pt x="45" y="56"/>
                </a:cubicBezTo>
                <a:cubicBezTo>
                  <a:pt x="46" y="56"/>
                  <a:pt x="46" y="56"/>
                  <a:pt x="46" y="56"/>
                </a:cubicBezTo>
                <a:cubicBezTo>
                  <a:pt x="46" y="55"/>
                  <a:pt x="47" y="54"/>
                  <a:pt x="47" y="54"/>
                </a:cubicBezTo>
                <a:cubicBezTo>
                  <a:pt x="47" y="54"/>
                  <a:pt x="47" y="54"/>
                  <a:pt x="47" y="54"/>
                </a:cubicBezTo>
                <a:cubicBezTo>
                  <a:pt x="47" y="54"/>
                  <a:pt x="47" y="53"/>
                  <a:pt x="47" y="53"/>
                </a:cubicBezTo>
                <a:cubicBezTo>
                  <a:pt x="47" y="53"/>
                  <a:pt x="47" y="53"/>
                  <a:pt x="47" y="53"/>
                </a:cubicBezTo>
                <a:cubicBezTo>
                  <a:pt x="48" y="53"/>
                  <a:pt x="48" y="53"/>
                  <a:pt x="48" y="53"/>
                </a:cubicBezTo>
                <a:cubicBezTo>
                  <a:pt x="48" y="53"/>
                  <a:pt x="48" y="52"/>
                  <a:pt x="48" y="52"/>
                </a:cubicBezTo>
                <a:cubicBezTo>
                  <a:pt x="48" y="52"/>
                  <a:pt x="48" y="52"/>
                  <a:pt x="48" y="52"/>
                </a:cubicBezTo>
                <a:cubicBezTo>
                  <a:pt x="48" y="52"/>
                  <a:pt x="48" y="52"/>
                  <a:pt x="48" y="52"/>
                </a:cubicBezTo>
                <a:cubicBezTo>
                  <a:pt x="49" y="50"/>
                  <a:pt x="50" y="49"/>
                  <a:pt x="51" y="48"/>
                </a:cubicBezTo>
                <a:cubicBezTo>
                  <a:pt x="51" y="46"/>
                  <a:pt x="52" y="44"/>
                  <a:pt x="53" y="44"/>
                </a:cubicBezTo>
                <a:cubicBezTo>
                  <a:pt x="53" y="45"/>
                  <a:pt x="54" y="46"/>
                  <a:pt x="54" y="47"/>
                </a:cubicBezTo>
                <a:cubicBezTo>
                  <a:pt x="54" y="47"/>
                  <a:pt x="55" y="47"/>
                  <a:pt x="55" y="47"/>
                </a:cubicBezTo>
                <a:cubicBezTo>
                  <a:pt x="55" y="49"/>
                  <a:pt x="56" y="50"/>
                  <a:pt x="58" y="50"/>
                </a:cubicBezTo>
                <a:cubicBezTo>
                  <a:pt x="58" y="50"/>
                  <a:pt x="58" y="50"/>
                  <a:pt x="58" y="49"/>
                </a:cubicBezTo>
                <a:cubicBezTo>
                  <a:pt x="58" y="49"/>
                  <a:pt x="59" y="49"/>
                  <a:pt x="60" y="49"/>
                </a:cubicBezTo>
                <a:cubicBezTo>
                  <a:pt x="61" y="49"/>
                  <a:pt x="61" y="49"/>
                  <a:pt x="61" y="49"/>
                </a:cubicBezTo>
                <a:cubicBezTo>
                  <a:pt x="61" y="48"/>
                  <a:pt x="61" y="48"/>
                  <a:pt x="62" y="48"/>
                </a:cubicBezTo>
                <a:cubicBezTo>
                  <a:pt x="62" y="48"/>
                  <a:pt x="62" y="48"/>
                  <a:pt x="62" y="48"/>
                </a:cubicBezTo>
                <a:cubicBezTo>
                  <a:pt x="62" y="48"/>
                  <a:pt x="63" y="47"/>
                  <a:pt x="63" y="47"/>
                </a:cubicBezTo>
                <a:cubicBezTo>
                  <a:pt x="63" y="47"/>
                  <a:pt x="63" y="47"/>
                  <a:pt x="64" y="47"/>
                </a:cubicBezTo>
                <a:cubicBezTo>
                  <a:pt x="64" y="46"/>
                  <a:pt x="64" y="46"/>
                  <a:pt x="64" y="46"/>
                </a:cubicBezTo>
                <a:cubicBezTo>
                  <a:pt x="65" y="46"/>
                  <a:pt x="65" y="45"/>
                  <a:pt x="67" y="45"/>
                </a:cubicBezTo>
                <a:cubicBezTo>
                  <a:pt x="66" y="43"/>
                  <a:pt x="68" y="42"/>
                  <a:pt x="67" y="39"/>
                </a:cubicBezTo>
                <a:cubicBezTo>
                  <a:pt x="67" y="39"/>
                  <a:pt x="66" y="39"/>
                  <a:pt x="67" y="38"/>
                </a:cubicBezTo>
                <a:cubicBezTo>
                  <a:pt x="66" y="38"/>
                  <a:pt x="66" y="37"/>
                  <a:pt x="65" y="38"/>
                </a:cubicBezTo>
                <a:cubicBezTo>
                  <a:pt x="65" y="36"/>
                  <a:pt x="64" y="36"/>
                  <a:pt x="64" y="34"/>
                </a:cubicBezTo>
                <a:cubicBezTo>
                  <a:pt x="71" y="34"/>
                  <a:pt x="71" y="34"/>
                  <a:pt x="71" y="34"/>
                </a:cubicBezTo>
                <a:cubicBezTo>
                  <a:pt x="72" y="32"/>
                  <a:pt x="73" y="31"/>
                  <a:pt x="76" y="31"/>
                </a:cubicBezTo>
                <a:cubicBezTo>
                  <a:pt x="76" y="28"/>
                  <a:pt x="76" y="28"/>
                  <a:pt x="76" y="28"/>
                </a:cubicBezTo>
                <a:cubicBezTo>
                  <a:pt x="75" y="28"/>
                  <a:pt x="75" y="28"/>
                  <a:pt x="75" y="28"/>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1" name="Freeform 109"/>
          <p:cNvSpPr>
            <a:spLocks/>
          </p:cNvSpPr>
          <p:nvPr/>
        </p:nvSpPr>
        <p:spPr bwMode="auto">
          <a:xfrm>
            <a:off x="8768054" y="5331128"/>
            <a:ext cx="261938" cy="527050"/>
          </a:xfrm>
          <a:custGeom>
            <a:avLst/>
            <a:gdLst>
              <a:gd name="T0" fmla="*/ 65 w 68"/>
              <a:gd name="T1" fmla="*/ 79 h 136"/>
              <a:gd name="T2" fmla="*/ 64 w 68"/>
              <a:gd name="T3" fmla="*/ 79 h 136"/>
              <a:gd name="T4" fmla="*/ 63 w 68"/>
              <a:gd name="T5" fmla="*/ 77 h 136"/>
              <a:gd name="T6" fmla="*/ 57 w 68"/>
              <a:gd name="T7" fmla="*/ 71 h 136"/>
              <a:gd name="T8" fmla="*/ 50 w 68"/>
              <a:gd name="T9" fmla="*/ 67 h 136"/>
              <a:gd name="T10" fmla="*/ 48 w 68"/>
              <a:gd name="T11" fmla="*/ 66 h 136"/>
              <a:gd name="T12" fmla="*/ 47 w 68"/>
              <a:gd name="T13" fmla="*/ 66 h 136"/>
              <a:gd name="T14" fmla="*/ 47 w 68"/>
              <a:gd name="T15" fmla="*/ 66 h 136"/>
              <a:gd name="T16" fmla="*/ 41 w 68"/>
              <a:gd name="T17" fmla="*/ 56 h 136"/>
              <a:gd name="T18" fmla="*/ 43 w 68"/>
              <a:gd name="T19" fmla="*/ 51 h 136"/>
              <a:gd name="T20" fmla="*/ 41 w 68"/>
              <a:gd name="T21" fmla="*/ 37 h 136"/>
              <a:gd name="T22" fmla="*/ 42 w 68"/>
              <a:gd name="T23" fmla="*/ 21 h 136"/>
              <a:gd name="T24" fmla="*/ 42 w 68"/>
              <a:gd name="T25" fmla="*/ 20 h 136"/>
              <a:gd name="T26" fmla="*/ 40 w 68"/>
              <a:gd name="T27" fmla="*/ 17 h 136"/>
              <a:gd name="T28" fmla="*/ 39 w 68"/>
              <a:gd name="T29" fmla="*/ 15 h 136"/>
              <a:gd name="T30" fmla="*/ 39 w 68"/>
              <a:gd name="T31" fmla="*/ 14 h 136"/>
              <a:gd name="T32" fmla="*/ 37 w 68"/>
              <a:gd name="T33" fmla="*/ 12 h 136"/>
              <a:gd name="T34" fmla="*/ 27 w 68"/>
              <a:gd name="T35" fmla="*/ 6 h 136"/>
              <a:gd name="T36" fmla="*/ 21 w 68"/>
              <a:gd name="T37" fmla="*/ 3 h 136"/>
              <a:gd name="T38" fmla="*/ 18 w 68"/>
              <a:gd name="T39" fmla="*/ 5 h 136"/>
              <a:gd name="T40" fmla="*/ 12 w 68"/>
              <a:gd name="T41" fmla="*/ 3 h 136"/>
              <a:gd name="T42" fmla="*/ 6 w 68"/>
              <a:gd name="T43" fmla="*/ 8 h 136"/>
              <a:gd name="T44" fmla="*/ 5 w 68"/>
              <a:gd name="T45" fmla="*/ 9 h 136"/>
              <a:gd name="T46" fmla="*/ 3 w 68"/>
              <a:gd name="T47" fmla="*/ 12 h 136"/>
              <a:gd name="T48" fmla="*/ 1 w 68"/>
              <a:gd name="T49" fmla="*/ 21 h 136"/>
              <a:gd name="T50" fmla="*/ 3 w 68"/>
              <a:gd name="T51" fmla="*/ 24 h 136"/>
              <a:gd name="T52" fmla="*/ 3 w 68"/>
              <a:gd name="T53" fmla="*/ 24 h 136"/>
              <a:gd name="T54" fmla="*/ 4 w 68"/>
              <a:gd name="T55" fmla="*/ 27 h 136"/>
              <a:gd name="T56" fmla="*/ 4 w 68"/>
              <a:gd name="T57" fmla="*/ 30 h 136"/>
              <a:gd name="T58" fmla="*/ 4 w 68"/>
              <a:gd name="T59" fmla="*/ 32 h 136"/>
              <a:gd name="T60" fmla="*/ 4 w 68"/>
              <a:gd name="T61" fmla="*/ 34 h 136"/>
              <a:gd name="T62" fmla="*/ 10 w 68"/>
              <a:gd name="T63" fmla="*/ 38 h 136"/>
              <a:gd name="T64" fmla="*/ 5 w 68"/>
              <a:gd name="T65" fmla="*/ 45 h 136"/>
              <a:gd name="T66" fmla="*/ 8 w 68"/>
              <a:gd name="T67" fmla="*/ 50 h 136"/>
              <a:gd name="T68" fmla="*/ 6 w 68"/>
              <a:gd name="T69" fmla="*/ 59 h 136"/>
              <a:gd name="T70" fmla="*/ 7 w 68"/>
              <a:gd name="T71" fmla="*/ 70 h 136"/>
              <a:gd name="T72" fmla="*/ 8 w 68"/>
              <a:gd name="T73" fmla="*/ 76 h 136"/>
              <a:gd name="T74" fmla="*/ 6 w 68"/>
              <a:gd name="T75" fmla="*/ 85 h 136"/>
              <a:gd name="T76" fmla="*/ 4 w 68"/>
              <a:gd name="T77" fmla="*/ 89 h 136"/>
              <a:gd name="T78" fmla="*/ 7 w 68"/>
              <a:gd name="T79" fmla="*/ 93 h 136"/>
              <a:gd name="T80" fmla="*/ 11 w 68"/>
              <a:gd name="T81" fmla="*/ 93 h 136"/>
              <a:gd name="T82" fmla="*/ 11 w 68"/>
              <a:gd name="T83" fmla="*/ 100 h 136"/>
              <a:gd name="T84" fmla="*/ 7 w 68"/>
              <a:gd name="T85" fmla="*/ 99 h 136"/>
              <a:gd name="T86" fmla="*/ 5 w 68"/>
              <a:gd name="T87" fmla="*/ 101 h 136"/>
              <a:gd name="T88" fmla="*/ 11 w 68"/>
              <a:gd name="T89" fmla="*/ 110 h 136"/>
              <a:gd name="T90" fmla="*/ 18 w 68"/>
              <a:gd name="T91" fmla="*/ 113 h 136"/>
              <a:gd name="T92" fmla="*/ 22 w 68"/>
              <a:gd name="T93" fmla="*/ 115 h 136"/>
              <a:gd name="T94" fmla="*/ 30 w 68"/>
              <a:gd name="T95" fmla="*/ 123 h 136"/>
              <a:gd name="T96" fmla="*/ 31 w 68"/>
              <a:gd name="T97" fmla="*/ 132 h 136"/>
              <a:gd name="T98" fmla="*/ 39 w 68"/>
              <a:gd name="T99" fmla="*/ 136 h 136"/>
              <a:gd name="T100" fmla="*/ 48 w 68"/>
              <a:gd name="T101" fmla="*/ 127 h 136"/>
              <a:gd name="T102" fmla="*/ 51 w 68"/>
              <a:gd name="T103" fmla="*/ 114 h 136"/>
              <a:gd name="T104" fmla="*/ 59 w 68"/>
              <a:gd name="T105" fmla="*/ 100 h 136"/>
              <a:gd name="T106" fmla="*/ 59 w 68"/>
              <a:gd name="T107" fmla="*/ 96 h 136"/>
              <a:gd name="T108" fmla="*/ 67 w 68"/>
              <a:gd name="T109" fmla="*/ 8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 h="136">
                <a:moveTo>
                  <a:pt x="67" y="83"/>
                </a:moveTo>
                <a:cubicBezTo>
                  <a:pt x="66" y="82"/>
                  <a:pt x="66" y="80"/>
                  <a:pt x="65" y="79"/>
                </a:cubicBezTo>
                <a:cubicBezTo>
                  <a:pt x="65" y="79"/>
                  <a:pt x="65" y="79"/>
                  <a:pt x="65" y="79"/>
                </a:cubicBezTo>
                <a:cubicBezTo>
                  <a:pt x="65" y="79"/>
                  <a:pt x="65" y="79"/>
                  <a:pt x="65" y="79"/>
                </a:cubicBezTo>
                <a:cubicBezTo>
                  <a:pt x="65" y="79"/>
                  <a:pt x="64" y="79"/>
                  <a:pt x="64" y="79"/>
                </a:cubicBezTo>
                <a:cubicBezTo>
                  <a:pt x="64" y="79"/>
                  <a:pt x="64" y="79"/>
                  <a:pt x="64" y="79"/>
                </a:cubicBezTo>
                <a:cubicBezTo>
                  <a:pt x="64" y="79"/>
                  <a:pt x="64" y="79"/>
                  <a:pt x="64" y="79"/>
                </a:cubicBezTo>
                <a:cubicBezTo>
                  <a:pt x="64" y="79"/>
                  <a:pt x="64" y="79"/>
                  <a:pt x="64" y="79"/>
                </a:cubicBezTo>
                <a:cubicBezTo>
                  <a:pt x="64" y="79"/>
                  <a:pt x="64" y="79"/>
                  <a:pt x="64" y="79"/>
                </a:cubicBezTo>
                <a:cubicBezTo>
                  <a:pt x="64" y="79"/>
                  <a:pt x="64" y="79"/>
                  <a:pt x="64" y="79"/>
                </a:cubicBezTo>
                <a:cubicBezTo>
                  <a:pt x="64" y="79"/>
                  <a:pt x="64" y="78"/>
                  <a:pt x="64" y="78"/>
                </a:cubicBezTo>
                <a:cubicBezTo>
                  <a:pt x="64" y="78"/>
                  <a:pt x="63" y="77"/>
                  <a:pt x="63" y="77"/>
                </a:cubicBezTo>
                <a:cubicBezTo>
                  <a:pt x="63" y="76"/>
                  <a:pt x="63" y="75"/>
                  <a:pt x="63" y="75"/>
                </a:cubicBezTo>
                <a:cubicBezTo>
                  <a:pt x="63" y="74"/>
                  <a:pt x="61" y="73"/>
                  <a:pt x="60" y="73"/>
                </a:cubicBezTo>
                <a:cubicBezTo>
                  <a:pt x="60" y="72"/>
                  <a:pt x="60" y="72"/>
                  <a:pt x="59" y="72"/>
                </a:cubicBezTo>
                <a:cubicBezTo>
                  <a:pt x="58" y="72"/>
                  <a:pt x="58" y="71"/>
                  <a:pt x="57" y="71"/>
                </a:cubicBezTo>
                <a:cubicBezTo>
                  <a:pt x="56" y="71"/>
                  <a:pt x="56" y="70"/>
                  <a:pt x="56" y="70"/>
                </a:cubicBezTo>
                <a:cubicBezTo>
                  <a:pt x="56" y="70"/>
                  <a:pt x="55" y="70"/>
                  <a:pt x="55" y="70"/>
                </a:cubicBezTo>
                <a:cubicBezTo>
                  <a:pt x="54" y="69"/>
                  <a:pt x="53" y="69"/>
                  <a:pt x="53" y="68"/>
                </a:cubicBezTo>
                <a:cubicBezTo>
                  <a:pt x="52" y="68"/>
                  <a:pt x="51" y="67"/>
                  <a:pt x="50" y="67"/>
                </a:cubicBezTo>
                <a:cubicBezTo>
                  <a:pt x="50" y="67"/>
                  <a:pt x="50" y="67"/>
                  <a:pt x="50" y="67"/>
                </a:cubicBezTo>
                <a:cubicBezTo>
                  <a:pt x="49" y="67"/>
                  <a:pt x="49" y="66"/>
                  <a:pt x="48" y="66"/>
                </a:cubicBezTo>
                <a:cubicBezTo>
                  <a:pt x="48" y="66"/>
                  <a:pt x="48" y="66"/>
                  <a:pt x="48" y="66"/>
                </a:cubicBezTo>
                <a:cubicBezTo>
                  <a:pt x="48" y="66"/>
                  <a:pt x="48" y="66"/>
                  <a:pt x="48" y="66"/>
                </a:cubicBezTo>
                <a:cubicBezTo>
                  <a:pt x="47" y="66"/>
                  <a:pt x="47" y="66"/>
                  <a:pt x="47" y="66"/>
                </a:cubicBezTo>
                <a:cubicBezTo>
                  <a:pt x="47" y="66"/>
                  <a:pt x="47" y="66"/>
                  <a:pt x="47" y="66"/>
                </a:cubicBezTo>
                <a:cubicBezTo>
                  <a:pt x="47" y="66"/>
                  <a:pt x="47" y="66"/>
                  <a:pt x="47" y="66"/>
                </a:cubicBezTo>
                <a:cubicBezTo>
                  <a:pt x="47" y="66"/>
                  <a:pt x="47" y="66"/>
                  <a:pt x="47" y="66"/>
                </a:cubicBezTo>
                <a:cubicBezTo>
                  <a:pt x="47" y="66"/>
                  <a:pt x="47" y="66"/>
                  <a:pt x="47" y="66"/>
                </a:cubicBezTo>
                <a:cubicBezTo>
                  <a:pt x="47" y="66"/>
                  <a:pt x="47" y="66"/>
                  <a:pt x="47" y="66"/>
                </a:cubicBezTo>
                <a:cubicBezTo>
                  <a:pt x="47" y="66"/>
                  <a:pt x="47" y="66"/>
                  <a:pt x="47" y="66"/>
                </a:cubicBezTo>
                <a:cubicBezTo>
                  <a:pt x="47" y="66"/>
                  <a:pt x="47" y="66"/>
                  <a:pt x="47" y="66"/>
                </a:cubicBezTo>
                <a:cubicBezTo>
                  <a:pt x="47" y="66"/>
                  <a:pt x="47" y="65"/>
                  <a:pt x="47" y="65"/>
                </a:cubicBezTo>
                <a:cubicBezTo>
                  <a:pt x="45" y="66"/>
                  <a:pt x="46" y="63"/>
                  <a:pt x="44" y="63"/>
                </a:cubicBezTo>
                <a:cubicBezTo>
                  <a:pt x="44" y="61"/>
                  <a:pt x="42" y="59"/>
                  <a:pt x="41" y="58"/>
                </a:cubicBezTo>
                <a:cubicBezTo>
                  <a:pt x="41" y="57"/>
                  <a:pt x="41" y="56"/>
                  <a:pt x="41" y="56"/>
                </a:cubicBezTo>
                <a:cubicBezTo>
                  <a:pt x="41" y="56"/>
                  <a:pt x="42" y="56"/>
                  <a:pt x="42" y="56"/>
                </a:cubicBezTo>
                <a:cubicBezTo>
                  <a:pt x="42" y="56"/>
                  <a:pt x="41" y="56"/>
                  <a:pt x="41" y="55"/>
                </a:cubicBezTo>
                <a:cubicBezTo>
                  <a:pt x="41" y="54"/>
                  <a:pt x="42" y="54"/>
                  <a:pt x="42" y="53"/>
                </a:cubicBezTo>
                <a:cubicBezTo>
                  <a:pt x="42" y="52"/>
                  <a:pt x="42" y="51"/>
                  <a:pt x="43" y="51"/>
                </a:cubicBezTo>
                <a:cubicBezTo>
                  <a:pt x="42" y="48"/>
                  <a:pt x="39" y="48"/>
                  <a:pt x="39" y="44"/>
                </a:cubicBezTo>
                <a:cubicBezTo>
                  <a:pt x="39" y="42"/>
                  <a:pt x="42" y="43"/>
                  <a:pt x="42" y="42"/>
                </a:cubicBezTo>
                <a:cubicBezTo>
                  <a:pt x="42" y="41"/>
                  <a:pt x="42" y="41"/>
                  <a:pt x="42" y="41"/>
                </a:cubicBezTo>
                <a:cubicBezTo>
                  <a:pt x="41" y="40"/>
                  <a:pt x="42" y="38"/>
                  <a:pt x="41" y="37"/>
                </a:cubicBezTo>
                <a:cubicBezTo>
                  <a:pt x="41" y="35"/>
                  <a:pt x="41" y="33"/>
                  <a:pt x="42" y="32"/>
                </a:cubicBezTo>
                <a:cubicBezTo>
                  <a:pt x="42" y="31"/>
                  <a:pt x="42" y="31"/>
                  <a:pt x="43" y="31"/>
                </a:cubicBezTo>
                <a:cubicBezTo>
                  <a:pt x="43" y="29"/>
                  <a:pt x="42" y="27"/>
                  <a:pt x="43" y="26"/>
                </a:cubicBezTo>
                <a:cubicBezTo>
                  <a:pt x="44" y="24"/>
                  <a:pt x="43" y="22"/>
                  <a:pt x="42" y="21"/>
                </a:cubicBezTo>
                <a:cubicBezTo>
                  <a:pt x="42" y="21"/>
                  <a:pt x="42" y="21"/>
                  <a:pt x="42" y="21"/>
                </a:cubicBezTo>
                <a:cubicBezTo>
                  <a:pt x="42" y="21"/>
                  <a:pt x="42" y="20"/>
                  <a:pt x="42" y="20"/>
                </a:cubicBezTo>
                <a:cubicBezTo>
                  <a:pt x="42" y="20"/>
                  <a:pt x="42" y="20"/>
                  <a:pt x="42" y="20"/>
                </a:cubicBezTo>
                <a:cubicBezTo>
                  <a:pt x="42" y="20"/>
                  <a:pt x="42" y="20"/>
                  <a:pt x="42" y="20"/>
                </a:cubicBezTo>
                <a:cubicBezTo>
                  <a:pt x="42" y="20"/>
                  <a:pt x="42" y="20"/>
                  <a:pt x="42" y="20"/>
                </a:cubicBezTo>
                <a:cubicBezTo>
                  <a:pt x="41" y="20"/>
                  <a:pt x="41" y="20"/>
                  <a:pt x="41" y="19"/>
                </a:cubicBezTo>
                <a:cubicBezTo>
                  <a:pt x="41" y="19"/>
                  <a:pt x="41" y="19"/>
                  <a:pt x="41" y="19"/>
                </a:cubicBezTo>
                <a:cubicBezTo>
                  <a:pt x="41" y="18"/>
                  <a:pt x="40" y="18"/>
                  <a:pt x="40" y="17"/>
                </a:cubicBezTo>
                <a:cubicBezTo>
                  <a:pt x="40" y="17"/>
                  <a:pt x="40" y="17"/>
                  <a:pt x="40" y="17"/>
                </a:cubicBezTo>
                <a:cubicBezTo>
                  <a:pt x="40" y="17"/>
                  <a:pt x="40" y="16"/>
                  <a:pt x="40" y="16"/>
                </a:cubicBezTo>
                <a:cubicBezTo>
                  <a:pt x="40" y="16"/>
                  <a:pt x="40" y="16"/>
                  <a:pt x="40" y="16"/>
                </a:cubicBezTo>
                <a:cubicBezTo>
                  <a:pt x="39" y="16"/>
                  <a:pt x="39" y="15"/>
                  <a:pt x="39" y="15"/>
                </a:cubicBezTo>
                <a:cubicBezTo>
                  <a:pt x="39" y="15"/>
                  <a:pt x="39" y="15"/>
                  <a:pt x="39" y="15"/>
                </a:cubicBezTo>
                <a:cubicBezTo>
                  <a:pt x="39" y="15"/>
                  <a:pt x="39" y="15"/>
                  <a:pt x="39" y="15"/>
                </a:cubicBezTo>
                <a:cubicBezTo>
                  <a:pt x="39" y="15"/>
                  <a:pt x="39" y="15"/>
                  <a:pt x="39" y="15"/>
                </a:cubicBezTo>
                <a:cubicBezTo>
                  <a:pt x="39" y="15"/>
                  <a:pt x="39" y="14"/>
                  <a:pt x="39" y="14"/>
                </a:cubicBezTo>
                <a:cubicBezTo>
                  <a:pt x="39" y="14"/>
                  <a:pt x="38" y="14"/>
                  <a:pt x="38" y="14"/>
                </a:cubicBezTo>
                <a:cubicBezTo>
                  <a:pt x="38" y="14"/>
                  <a:pt x="38" y="13"/>
                  <a:pt x="38" y="13"/>
                </a:cubicBezTo>
                <a:cubicBezTo>
                  <a:pt x="38" y="13"/>
                  <a:pt x="38" y="13"/>
                  <a:pt x="38" y="13"/>
                </a:cubicBezTo>
                <a:cubicBezTo>
                  <a:pt x="37" y="13"/>
                  <a:pt x="37" y="13"/>
                  <a:pt x="37" y="12"/>
                </a:cubicBezTo>
                <a:cubicBezTo>
                  <a:pt x="34" y="12"/>
                  <a:pt x="33" y="10"/>
                  <a:pt x="29" y="11"/>
                </a:cubicBezTo>
                <a:cubicBezTo>
                  <a:pt x="29" y="10"/>
                  <a:pt x="28" y="10"/>
                  <a:pt x="28" y="10"/>
                </a:cubicBezTo>
                <a:cubicBezTo>
                  <a:pt x="28" y="9"/>
                  <a:pt x="28" y="9"/>
                  <a:pt x="28" y="8"/>
                </a:cubicBezTo>
                <a:cubicBezTo>
                  <a:pt x="28" y="7"/>
                  <a:pt x="28" y="7"/>
                  <a:pt x="27" y="6"/>
                </a:cubicBezTo>
                <a:cubicBezTo>
                  <a:pt x="27" y="4"/>
                  <a:pt x="25" y="3"/>
                  <a:pt x="25" y="1"/>
                </a:cubicBezTo>
                <a:cubicBezTo>
                  <a:pt x="23" y="1"/>
                  <a:pt x="23" y="2"/>
                  <a:pt x="22" y="2"/>
                </a:cubicBezTo>
                <a:cubicBezTo>
                  <a:pt x="22" y="2"/>
                  <a:pt x="22" y="2"/>
                  <a:pt x="22" y="3"/>
                </a:cubicBezTo>
                <a:cubicBezTo>
                  <a:pt x="21" y="3"/>
                  <a:pt x="21" y="3"/>
                  <a:pt x="21" y="3"/>
                </a:cubicBezTo>
                <a:cubicBezTo>
                  <a:pt x="21" y="3"/>
                  <a:pt x="20" y="4"/>
                  <a:pt x="20" y="4"/>
                </a:cubicBezTo>
                <a:cubicBezTo>
                  <a:pt x="20" y="4"/>
                  <a:pt x="20" y="4"/>
                  <a:pt x="20" y="4"/>
                </a:cubicBezTo>
                <a:cubicBezTo>
                  <a:pt x="19" y="4"/>
                  <a:pt x="19" y="4"/>
                  <a:pt x="19" y="5"/>
                </a:cubicBezTo>
                <a:cubicBezTo>
                  <a:pt x="18" y="5"/>
                  <a:pt x="18" y="5"/>
                  <a:pt x="18" y="5"/>
                </a:cubicBezTo>
                <a:cubicBezTo>
                  <a:pt x="17" y="5"/>
                  <a:pt x="16" y="5"/>
                  <a:pt x="16" y="5"/>
                </a:cubicBezTo>
                <a:cubicBezTo>
                  <a:pt x="16" y="6"/>
                  <a:pt x="16" y="6"/>
                  <a:pt x="16" y="6"/>
                </a:cubicBezTo>
                <a:cubicBezTo>
                  <a:pt x="14" y="6"/>
                  <a:pt x="13" y="5"/>
                  <a:pt x="13" y="3"/>
                </a:cubicBezTo>
                <a:cubicBezTo>
                  <a:pt x="13" y="3"/>
                  <a:pt x="12" y="3"/>
                  <a:pt x="12" y="3"/>
                </a:cubicBezTo>
                <a:cubicBezTo>
                  <a:pt x="12" y="2"/>
                  <a:pt x="11" y="1"/>
                  <a:pt x="11" y="0"/>
                </a:cubicBezTo>
                <a:cubicBezTo>
                  <a:pt x="10" y="0"/>
                  <a:pt x="9" y="2"/>
                  <a:pt x="9" y="4"/>
                </a:cubicBezTo>
                <a:cubicBezTo>
                  <a:pt x="8" y="5"/>
                  <a:pt x="7" y="6"/>
                  <a:pt x="6" y="8"/>
                </a:cubicBezTo>
                <a:cubicBezTo>
                  <a:pt x="6" y="8"/>
                  <a:pt x="6" y="8"/>
                  <a:pt x="6" y="8"/>
                </a:cubicBezTo>
                <a:cubicBezTo>
                  <a:pt x="6" y="8"/>
                  <a:pt x="6" y="8"/>
                  <a:pt x="6" y="8"/>
                </a:cubicBezTo>
                <a:cubicBezTo>
                  <a:pt x="6" y="8"/>
                  <a:pt x="6" y="9"/>
                  <a:pt x="6" y="9"/>
                </a:cubicBezTo>
                <a:cubicBezTo>
                  <a:pt x="6" y="9"/>
                  <a:pt x="6" y="9"/>
                  <a:pt x="5" y="9"/>
                </a:cubicBezTo>
                <a:cubicBezTo>
                  <a:pt x="5" y="9"/>
                  <a:pt x="5" y="9"/>
                  <a:pt x="5" y="9"/>
                </a:cubicBezTo>
                <a:cubicBezTo>
                  <a:pt x="5" y="9"/>
                  <a:pt x="5" y="10"/>
                  <a:pt x="5" y="10"/>
                </a:cubicBezTo>
                <a:cubicBezTo>
                  <a:pt x="5" y="10"/>
                  <a:pt x="5" y="10"/>
                  <a:pt x="5" y="10"/>
                </a:cubicBezTo>
                <a:cubicBezTo>
                  <a:pt x="5" y="10"/>
                  <a:pt x="4" y="11"/>
                  <a:pt x="4" y="12"/>
                </a:cubicBezTo>
                <a:cubicBezTo>
                  <a:pt x="4" y="12"/>
                  <a:pt x="4" y="12"/>
                  <a:pt x="3" y="12"/>
                </a:cubicBezTo>
                <a:cubicBezTo>
                  <a:pt x="3" y="13"/>
                  <a:pt x="2" y="13"/>
                  <a:pt x="2" y="14"/>
                </a:cubicBezTo>
                <a:cubicBezTo>
                  <a:pt x="2" y="15"/>
                  <a:pt x="1" y="16"/>
                  <a:pt x="1" y="16"/>
                </a:cubicBezTo>
                <a:cubicBezTo>
                  <a:pt x="1" y="17"/>
                  <a:pt x="1" y="17"/>
                  <a:pt x="1" y="17"/>
                </a:cubicBezTo>
                <a:cubicBezTo>
                  <a:pt x="0" y="18"/>
                  <a:pt x="1" y="20"/>
                  <a:pt x="1" y="21"/>
                </a:cubicBezTo>
                <a:cubicBezTo>
                  <a:pt x="1" y="21"/>
                  <a:pt x="2" y="21"/>
                  <a:pt x="2" y="22"/>
                </a:cubicBezTo>
                <a:cubicBezTo>
                  <a:pt x="2" y="22"/>
                  <a:pt x="2" y="22"/>
                  <a:pt x="2" y="23"/>
                </a:cubicBezTo>
                <a:cubicBezTo>
                  <a:pt x="2" y="23"/>
                  <a:pt x="2" y="23"/>
                  <a:pt x="2" y="24"/>
                </a:cubicBezTo>
                <a:cubicBezTo>
                  <a:pt x="2" y="24"/>
                  <a:pt x="3" y="24"/>
                  <a:pt x="3" y="24"/>
                </a:cubicBezTo>
                <a:cubicBezTo>
                  <a:pt x="3" y="24"/>
                  <a:pt x="3" y="24"/>
                  <a:pt x="3" y="24"/>
                </a:cubicBezTo>
                <a:cubicBezTo>
                  <a:pt x="3" y="24"/>
                  <a:pt x="3" y="24"/>
                  <a:pt x="3" y="24"/>
                </a:cubicBezTo>
                <a:cubicBezTo>
                  <a:pt x="3" y="24"/>
                  <a:pt x="3" y="24"/>
                  <a:pt x="3" y="24"/>
                </a:cubicBezTo>
                <a:cubicBezTo>
                  <a:pt x="3" y="24"/>
                  <a:pt x="3" y="24"/>
                  <a:pt x="3" y="24"/>
                </a:cubicBezTo>
                <a:cubicBezTo>
                  <a:pt x="3" y="24"/>
                  <a:pt x="4" y="24"/>
                  <a:pt x="4" y="24"/>
                </a:cubicBezTo>
                <a:cubicBezTo>
                  <a:pt x="4" y="24"/>
                  <a:pt x="4" y="25"/>
                  <a:pt x="4" y="25"/>
                </a:cubicBezTo>
                <a:cubicBezTo>
                  <a:pt x="4" y="25"/>
                  <a:pt x="4" y="25"/>
                  <a:pt x="4" y="25"/>
                </a:cubicBezTo>
                <a:cubicBezTo>
                  <a:pt x="4" y="26"/>
                  <a:pt x="4" y="26"/>
                  <a:pt x="4" y="27"/>
                </a:cubicBezTo>
                <a:cubicBezTo>
                  <a:pt x="4" y="27"/>
                  <a:pt x="4" y="27"/>
                  <a:pt x="4" y="27"/>
                </a:cubicBezTo>
                <a:cubicBezTo>
                  <a:pt x="4" y="27"/>
                  <a:pt x="4" y="28"/>
                  <a:pt x="4" y="28"/>
                </a:cubicBezTo>
                <a:cubicBezTo>
                  <a:pt x="4" y="28"/>
                  <a:pt x="4" y="28"/>
                  <a:pt x="4" y="28"/>
                </a:cubicBezTo>
                <a:cubicBezTo>
                  <a:pt x="4" y="29"/>
                  <a:pt x="4" y="29"/>
                  <a:pt x="4" y="30"/>
                </a:cubicBezTo>
                <a:cubicBezTo>
                  <a:pt x="4" y="30"/>
                  <a:pt x="4" y="30"/>
                  <a:pt x="4" y="30"/>
                </a:cubicBezTo>
                <a:cubicBezTo>
                  <a:pt x="4" y="30"/>
                  <a:pt x="4" y="30"/>
                  <a:pt x="4" y="31"/>
                </a:cubicBezTo>
                <a:cubicBezTo>
                  <a:pt x="4" y="31"/>
                  <a:pt x="4" y="31"/>
                  <a:pt x="4" y="31"/>
                </a:cubicBezTo>
                <a:cubicBezTo>
                  <a:pt x="4" y="31"/>
                  <a:pt x="4" y="31"/>
                  <a:pt x="4" y="32"/>
                </a:cubicBezTo>
                <a:cubicBezTo>
                  <a:pt x="4" y="32"/>
                  <a:pt x="4" y="32"/>
                  <a:pt x="4" y="32"/>
                </a:cubicBezTo>
                <a:cubicBezTo>
                  <a:pt x="4" y="32"/>
                  <a:pt x="4" y="33"/>
                  <a:pt x="4" y="33"/>
                </a:cubicBezTo>
                <a:cubicBezTo>
                  <a:pt x="4" y="33"/>
                  <a:pt x="4" y="33"/>
                  <a:pt x="4" y="33"/>
                </a:cubicBezTo>
                <a:cubicBezTo>
                  <a:pt x="4" y="33"/>
                  <a:pt x="4" y="34"/>
                  <a:pt x="4" y="34"/>
                </a:cubicBezTo>
                <a:cubicBezTo>
                  <a:pt x="6" y="34"/>
                  <a:pt x="6" y="34"/>
                  <a:pt x="6" y="34"/>
                </a:cubicBezTo>
                <a:cubicBezTo>
                  <a:pt x="6" y="35"/>
                  <a:pt x="7" y="35"/>
                  <a:pt x="8" y="36"/>
                </a:cubicBezTo>
                <a:cubicBezTo>
                  <a:pt x="8" y="36"/>
                  <a:pt x="8" y="36"/>
                  <a:pt x="8" y="36"/>
                </a:cubicBezTo>
                <a:cubicBezTo>
                  <a:pt x="9" y="36"/>
                  <a:pt x="10" y="37"/>
                  <a:pt x="10" y="38"/>
                </a:cubicBezTo>
                <a:cubicBezTo>
                  <a:pt x="10" y="38"/>
                  <a:pt x="10" y="38"/>
                  <a:pt x="10" y="38"/>
                </a:cubicBezTo>
                <a:cubicBezTo>
                  <a:pt x="9" y="39"/>
                  <a:pt x="9" y="40"/>
                  <a:pt x="9" y="41"/>
                </a:cubicBezTo>
                <a:cubicBezTo>
                  <a:pt x="9" y="46"/>
                  <a:pt x="9" y="46"/>
                  <a:pt x="9" y="46"/>
                </a:cubicBezTo>
                <a:cubicBezTo>
                  <a:pt x="7" y="46"/>
                  <a:pt x="7" y="45"/>
                  <a:pt x="5" y="45"/>
                </a:cubicBezTo>
                <a:cubicBezTo>
                  <a:pt x="5" y="47"/>
                  <a:pt x="6" y="47"/>
                  <a:pt x="6" y="48"/>
                </a:cubicBezTo>
                <a:cubicBezTo>
                  <a:pt x="6" y="49"/>
                  <a:pt x="8" y="48"/>
                  <a:pt x="8" y="49"/>
                </a:cubicBezTo>
                <a:cubicBezTo>
                  <a:pt x="8" y="50"/>
                  <a:pt x="8" y="50"/>
                  <a:pt x="8" y="50"/>
                </a:cubicBezTo>
                <a:cubicBezTo>
                  <a:pt x="8" y="50"/>
                  <a:pt x="8" y="50"/>
                  <a:pt x="8" y="50"/>
                </a:cubicBezTo>
                <a:cubicBezTo>
                  <a:pt x="6" y="51"/>
                  <a:pt x="7" y="53"/>
                  <a:pt x="6" y="54"/>
                </a:cubicBezTo>
                <a:cubicBezTo>
                  <a:pt x="6" y="54"/>
                  <a:pt x="6" y="54"/>
                  <a:pt x="6" y="54"/>
                </a:cubicBezTo>
                <a:cubicBezTo>
                  <a:pt x="5" y="54"/>
                  <a:pt x="4" y="54"/>
                  <a:pt x="4" y="55"/>
                </a:cubicBezTo>
                <a:cubicBezTo>
                  <a:pt x="5" y="57"/>
                  <a:pt x="5" y="58"/>
                  <a:pt x="6" y="59"/>
                </a:cubicBezTo>
                <a:cubicBezTo>
                  <a:pt x="7" y="60"/>
                  <a:pt x="8" y="60"/>
                  <a:pt x="9" y="61"/>
                </a:cubicBezTo>
                <a:cubicBezTo>
                  <a:pt x="9" y="63"/>
                  <a:pt x="7" y="63"/>
                  <a:pt x="7" y="65"/>
                </a:cubicBezTo>
                <a:cubicBezTo>
                  <a:pt x="7" y="66"/>
                  <a:pt x="6" y="66"/>
                  <a:pt x="6" y="67"/>
                </a:cubicBezTo>
                <a:cubicBezTo>
                  <a:pt x="6" y="69"/>
                  <a:pt x="6" y="69"/>
                  <a:pt x="7" y="70"/>
                </a:cubicBezTo>
                <a:cubicBezTo>
                  <a:pt x="7" y="73"/>
                  <a:pt x="7" y="73"/>
                  <a:pt x="7" y="73"/>
                </a:cubicBezTo>
                <a:cubicBezTo>
                  <a:pt x="8" y="73"/>
                  <a:pt x="8" y="73"/>
                  <a:pt x="8" y="74"/>
                </a:cubicBezTo>
                <a:cubicBezTo>
                  <a:pt x="11" y="73"/>
                  <a:pt x="12" y="75"/>
                  <a:pt x="11" y="78"/>
                </a:cubicBezTo>
                <a:cubicBezTo>
                  <a:pt x="10" y="78"/>
                  <a:pt x="7" y="79"/>
                  <a:pt x="8" y="76"/>
                </a:cubicBezTo>
                <a:cubicBezTo>
                  <a:pt x="7" y="76"/>
                  <a:pt x="7" y="76"/>
                  <a:pt x="6" y="77"/>
                </a:cubicBezTo>
                <a:cubicBezTo>
                  <a:pt x="6" y="78"/>
                  <a:pt x="6" y="78"/>
                  <a:pt x="6" y="78"/>
                </a:cubicBezTo>
                <a:cubicBezTo>
                  <a:pt x="7" y="80"/>
                  <a:pt x="6" y="82"/>
                  <a:pt x="6" y="84"/>
                </a:cubicBezTo>
                <a:cubicBezTo>
                  <a:pt x="6" y="84"/>
                  <a:pt x="6" y="85"/>
                  <a:pt x="6" y="85"/>
                </a:cubicBezTo>
                <a:cubicBezTo>
                  <a:pt x="7" y="86"/>
                  <a:pt x="5" y="87"/>
                  <a:pt x="4" y="88"/>
                </a:cubicBezTo>
                <a:cubicBezTo>
                  <a:pt x="4" y="88"/>
                  <a:pt x="4" y="88"/>
                  <a:pt x="4" y="88"/>
                </a:cubicBezTo>
                <a:cubicBezTo>
                  <a:pt x="4" y="88"/>
                  <a:pt x="4" y="89"/>
                  <a:pt x="4" y="89"/>
                </a:cubicBezTo>
                <a:cubicBezTo>
                  <a:pt x="4" y="89"/>
                  <a:pt x="4" y="89"/>
                  <a:pt x="4" y="89"/>
                </a:cubicBezTo>
                <a:cubicBezTo>
                  <a:pt x="4" y="89"/>
                  <a:pt x="4" y="90"/>
                  <a:pt x="4" y="90"/>
                </a:cubicBezTo>
                <a:cubicBezTo>
                  <a:pt x="5" y="90"/>
                  <a:pt x="4" y="92"/>
                  <a:pt x="6" y="93"/>
                </a:cubicBezTo>
                <a:cubicBezTo>
                  <a:pt x="6" y="93"/>
                  <a:pt x="6" y="93"/>
                  <a:pt x="6" y="93"/>
                </a:cubicBezTo>
                <a:cubicBezTo>
                  <a:pt x="7" y="93"/>
                  <a:pt x="7" y="93"/>
                  <a:pt x="7" y="93"/>
                </a:cubicBezTo>
                <a:cubicBezTo>
                  <a:pt x="7" y="93"/>
                  <a:pt x="7" y="93"/>
                  <a:pt x="7" y="93"/>
                </a:cubicBezTo>
                <a:cubicBezTo>
                  <a:pt x="8" y="93"/>
                  <a:pt x="8" y="93"/>
                  <a:pt x="8" y="93"/>
                </a:cubicBezTo>
                <a:cubicBezTo>
                  <a:pt x="8" y="93"/>
                  <a:pt x="9" y="92"/>
                  <a:pt x="11" y="93"/>
                </a:cubicBezTo>
                <a:cubicBezTo>
                  <a:pt x="11" y="93"/>
                  <a:pt x="11" y="93"/>
                  <a:pt x="11" y="93"/>
                </a:cubicBezTo>
                <a:cubicBezTo>
                  <a:pt x="11" y="93"/>
                  <a:pt x="11" y="93"/>
                  <a:pt x="11" y="94"/>
                </a:cubicBezTo>
                <a:cubicBezTo>
                  <a:pt x="10" y="95"/>
                  <a:pt x="9" y="96"/>
                  <a:pt x="9" y="96"/>
                </a:cubicBezTo>
                <a:cubicBezTo>
                  <a:pt x="9" y="96"/>
                  <a:pt x="9" y="97"/>
                  <a:pt x="9" y="97"/>
                </a:cubicBezTo>
                <a:cubicBezTo>
                  <a:pt x="9" y="99"/>
                  <a:pt x="12" y="99"/>
                  <a:pt x="11" y="100"/>
                </a:cubicBezTo>
                <a:cubicBezTo>
                  <a:pt x="11" y="100"/>
                  <a:pt x="11" y="100"/>
                  <a:pt x="11" y="100"/>
                </a:cubicBezTo>
                <a:cubicBezTo>
                  <a:pt x="11" y="101"/>
                  <a:pt x="11" y="102"/>
                  <a:pt x="11" y="102"/>
                </a:cubicBezTo>
                <a:cubicBezTo>
                  <a:pt x="10" y="103"/>
                  <a:pt x="9" y="102"/>
                  <a:pt x="9" y="100"/>
                </a:cubicBezTo>
                <a:cubicBezTo>
                  <a:pt x="8" y="100"/>
                  <a:pt x="8" y="100"/>
                  <a:pt x="7" y="99"/>
                </a:cubicBezTo>
                <a:cubicBezTo>
                  <a:pt x="7" y="99"/>
                  <a:pt x="6" y="99"/>
                  <a:pt x="6" y="99"/>
                </a:cubicBezTo>
                <a:cubicBezTo>
                  <a:pt x="4" y="99"/>
                  <a:pt x="4" y="99"/>
                  <a:pt x="4" y="99"/>
                </a:cubicBezTo>
                <a:cubicBezTo>
                  <a:pt x="4" y="100"/>
                  <a:pt x="5" y="100"/>
                  <a:pt x="5" y="101"/>
                </a:cubicBezTo>
                <a:cubicBezTo>
                  <a:pt x="5" y="101"/>
                  <a:pt x="5" y="101"/>
                  <a:pt x="5" y="101"/>
                </a:cubicBezTo>
                <a:cubicBezTo>
                  <a:pt x="7" y="102"/>
                  <a:pt x="6" y="104"/>
                  <a:pt x="7" y="104"/>
                </a:cubicBezTo>
                <a:cubicBezTo>
                  <a:pt x="7" y="104"/>
                  <a:pt x="7" y="105"/>
                  <a:pt x="7" y="105"/>
                </a:cubicBezTo>
                <a:cubicBezTo>
                  <a:pt x="8" y="106"/>
                  <a:pt x="8" y="106"/>
                  <a:pt x="9" y="108"/>
                </a:cubicBezTo>
                <a:cubicBezTo>
                  <a:pt x="10" y="108"/>
                  <a:pt x="10" y="109"/>
                  <a:pt x="11" y="110"/>
                </a:cubicBezTo>
                <a:cubicBezTo>
                  <a:pt x="12" y="110"/>
                  <a:pt x="12" y="110"/>
                  <a:pt x="13" y="111"/>
                </a:cubicBezTo>
                <a:cubicBezTo>
                  <a:pt x="13" y="111"/>
                  <a:pt x="13" y="111"/>
                  <a:pt x="14" y="111"/>
                </a:cubicBezTo>
                <a:cubicBezTo>
                  <a:pt x="15" y="111"/>
                  <a:pt x="16" y="112"/>
                  <a:pt x="18" y="113"/>
                </a:cubicBezTo>
                <a:cubicBezTo>
                  <a:pt x="18" y="113"/>
                  <a:pt x="18" y="113"/>
                  <a:pt x="18" y="113"/>
                </a:cubicBezTo>
                <a:cubicBezTo>
                  <a:pt x="18" y="113"/>
                  <a:pt x="18" y="113"/>
                  <a:pt x="18" y="113"/>
                </a:cubicBezTo>
                <a:cubicBezTo>
                  <a:pt x="19" y="113"/>
                  <a:pt x="19" y="113"/>
                  <a:pt x="19" y="113"/>
                </a:cubicBezTo>
                <a:cubicBezTo>
                  <a:pt x="20" y="114"/>
                  <a:pt x="20" y="115"/>
                  <a:pt x="22" y="115"/>
                </a:cubicBezTo>
                <a:cubicBezTo>
                  <a:pt x="22" y="115"/>
                  <a:pt x="22" y="115"/>
                  <a:pt x="22" y="115"/>
                </a:cubicBezTo>
                <a:cubicBezTo>
                  <a:pt x="23" y="115"/>
                  <a:pt x="23" y="116"/>
                  <a:pt x="23" y="116"/>
                </a:cubicBezTo>
                <a:cubicBezTo>
                  <a:pt x="24" y="117"/>
                  <a:pt x="26" y="117"/>
                  <a:pt x="27" y="118"/>
                </a:cubicBezTo>
                <a:cubicBezTo>
                  <a:pt x="27" y="119"/>
                  <a:pt x="28" y="120"/>
                  <a:pt x="29" y="122"/>
                </a:cubicBezTo>
                <a:cubicBezTo>
                  <a:pt x="29" y="122"/>
                  <a:pt x="30" y="122"/>
                  <a:pt x="30" y="123"/>
                </a:cubicBezTo>
                <a:cubicBezTo>
                  <a:pt x="31" y="123"/>
                  <a:pt x="31" y="125"/>
                  <a:pt x="32" y="125"/>
                </a:cubicBezTo>
                <a:cubicBezTo>
                  <a:pt x="31" y="126"/>
                  <a:pt x="31" y="127"/>
                  <a:pt x="31" y="129"/>
                </a:cubicBezTo>
                <a:cubicBezTo>
                  <a:pt x="31" y="129"/>
                  <a:pt x="32" y="129"/>
                  <a:pt x="32" y="129"/>
                </a:cubicBezTo>
                <a:cubicBezTo>
                  <a:pt x="32" y="130"/>
                  <a:pt x="31" y="131"/>
                  <a:pt x="31" y="132"/>
                </a:cubicBezTo>
                <a:cubicBezTo>
                  <a:pt x="31" y="133"/>
                  <a:pt x="33" y="133"/>
                  <a:pt x="34" y="134"/>
                </a:cubicBezTo>
                <a:cubicBezTo>
                  <a:pt x="34" y="134"/>
                  <a:pt x="36" y="135"/>
                  <a:pt x="37" y="134"/>
                </a:cubicBezTo>
                <a:cubicBezTo>
                  <a:pt x="37" y="135"/>
                  <a:pt x="38" y="135"/>
                  <a:pt x="38" y="136"/>
                </a:cubicBezTo>
                <a:cubicBezTo>
                  <a:pt x="39" y="136"/>
                  <a:pt x="39" y="136"/>
                  <a:pt x="39" y="136"/>
                </a:cubicBezTo>
                <a:cubicBezTo>
                  <a:pt x="41" y="135"/>
                  <a:pt x="41" y="134"/>
                  <a:pt x="43" y="134"/>
                </a:cubicBezTo>
                <a:cubicBezTo>
                  <a:pt x="43" y="133"/>
                  <a:pt x="44" y="132"/>
                  <a:pt x="45" y="132"/>
                </a:cubicBezTo>
                <a:cubicBezTo>
                  <a:pt x="45" y="127"/>
                  <a:pt x="45" y="127"/>
                  <a:pt x="45" y="127"/>
                </a:cubicBezTo>
                <a:cubicBezTo>
                  <a:pt x="46" y="128"/>
                  <a:pt x="47" y="127"/>
                  <a:pt x="48" y="127"/>
                </a:cubicBezTo>
                <a:cubicBezTo>
                  <a:pt x="49" y="122"/>
                  <a:pt x="46" y="122"/>
                  <a:pt x="45" y="118"/>
                </a:cubicBezTo>
                <a:cubicBezTo>
                  <a:pt x="47" y="118"/>
                  <a:pt x="47" y="118"/>
                  <a:pt x="48" y="118"/>
                </a:cubicBezTo>
                <a:cubicBezTo>
                  <a:pt x="49" y="117"/>
                  <a:pt x="49" y="116"/>
                  <a:pt x="50" y="116"/>
                </a:cubicBezTo>
                <a:cubicBezTo>
                  <a:pt x="50" y="115"/>
                  <a:pt x="50" y="114"/>
                  <a:pt x="51" y="114"/>
                </a:cubicBezTo>
                <a:cubicBezTo>
                  <a:pt x="54" y="114"/>
                  <a:pt x="55" y="112"/>
                  <a:pt x="57" y="111"/>
                </a:cubicBezTo>
                <a:cubicBezTo>
                  <a:pt x="57" y="110"/>
                  <a:pt x="57" y="108"/>
                  <a:pt x="56" y="107"/>
                </a:cubicBezTo>
                <a:cubicBezTo>
                  <a:pt x="58" y="107"/>
                  <a:pt x="57" y="104"/>
                  <a:pt x="57" y="102"/>
                </a:cubicBezTo>
                <a:cubicBezTo>
                  <a:pt x="58" y="102"/>
                  <a:pt x="59" y="101"/>
                  <a:pt x="59" y="100"/>
                </a:cubicBezTo>
                <a:cubicBezTo>
                  <a:pt x="59" y="100"/>
                  <a:pt x="60" y="100"/>
                  <a:pt x="59" y="99"/>
                </a:cubicBezTo>
                <a:cubicBezTo>
                  <a:pt x="60" y="99"/>
                  <a:pt x="61" y="99"/>
                  <a:pt x="61" y="99"/>
                </a:cubicBezTo>
                <a:cubicBezTo>
                  <a:pt x="61" y="99"/>
                  <a:pt x="60" y="99"/>
                  <a:pt x="60" y="98"/>
                </a:cubicBezTo>
                <a:cubicBezTo>
                  <a:pt x="60" y="97"/>
                  <a:pt x="59" y="97"/>
                  <a:pt x="59" y="96"/>
                </a:cubicBezTo>
                <a:cubicBezTo>
                  <a:pt x="60" y="96"/>
                  <a:pt x="60" y="95"/>
                  <a:pt x="60" y="94"/>
                </a:cubicBezTo>
                <a:cubicBezTo>
                  <a:pt x="64" y="94"/>
                  <a:pt x="64" y="94"/>
                  <a:pt x="64" y="94"/>
                </a:cubicBezTo>
                <a:cubicBezTo>
                  <a:pt x="64" y="93"/>
                  <a:pt x="65" y="93"/>
                  <a:pt x="65" y="91"/>
                </a:cubicBezTo>
                <a:cubicBezTo>
                  <a:pt x="68" y="91"/>
                  <a:pt x="67" y="86"/>
                  <a:pt x="67" y="83"/>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3" name="Freeform 111"/>
          <p:cNvSpPr>
            <a:spLocks noEditPoints="1"/>
          </p:cNvSpPr>
          <p:nvPr/>
        </p:nvSpPr>
        <p:spPr bwMode="auto">
          <a:xfrm>
            <a:off x="7510754" y="4232578"/>
            <a:ext cx="920750" cy="452438"/>
          </a:xfrm>
          <a:custGeom>
            <a:avLst/>
            <a:gdLst>
              <a:gd name="T0" fmla="*/ 237 w 238"/>
              <a:gd name="T1" fmla="*/ 43 h 117"/>
              <a:gd name="T2" fmla="*/ 235 w 238"/>
              <a:gd name="T3" fmla="*/ 39 h 117"/>
              <a:gd name="T4" fmla="*/ 230 w 238"/>
              <a:gd name="T5" fmla="*/ 35 h 117"/>
              <a:gd name="T6" fmla="*/ 224 w 238"/>
              <a:gd name="T7" fmla="*/ 28 h 117"/>
              <a:gd name="T8" fmla="*/ 215 w 238"/>
              <a:gd name="T9" fmla="*/ 9 h 117"/>
              <a:gd name="T10" fmla="*/ 194 w 238"/>
              <a:gd name="T11" fmla="*/ 7 h 117"/>
              <a:gd name="T12" fmla="*/ 186 w 238"/>
              <a:gd name="T13" fmla="*/ 4 h 117"/>
              <a:gd name="T14" fmla="*/ 173 w 238"/>
              <a:gd name="T15" fmla="*/ 2 h 117"/>
              <a:gd name="T16" fmla="*/ 168 w 238"/>
              <a:gd name="T17" fmla="*/ 6 h 117"/>
              <a:gd name="T18" fmla="*/ 155 w 238"/>
              <a:gd name="T19" fmla="*/ 18 h 117"/>
              <a:gd name="T20" fmla="*/ 139 w 238"/>
              <a:gd name="T21" fmla="*/ 19 h 117"/>
              <a:gd name="T22" fmla="*/ 137 w 238"/>
              <a:gd name="T23" fmla="*/ 16 h 117"/>
              <a:gd name="T24" fmla="*/ 132 w 238"/>
              <a:gd name="T25" fmla="*/ 19 h 117"/>
              <a:gd name="T26" fmla="*/ 132 w 238"/>
              <a:gd name="T27" fmla="*/ 21 h 117"/>
              <a:gd name="T28" fmla="*/ 127 w 238"/>
              <a:gd name="T29" fmla="*/ 22 h 117"/>
              <a:gd name="T30" fmla="*/ 125 w 238"/>
              <a:gd name="T31" fmla="*/ 20 h 117"/>
              <a:gd name="T32" fmla="*/ 122 w 238"/>
              <a:gd name="T33" fmla="*/ 20 h 117"/>
              <a:gd name="T34" fmla="*/ 122 w 238"/>
              <a:gd name="T35" fmla="*/ 22 h 117"/>
              <a:gd name="T36" fmla="*/ 122 w 238"/>
              <a:gd name="T37" fmla="*/ 24 h 117"/>
              <a:gd name="T38" fmla="*/ 118 w 238"/>
              <a:gd name="T39" fmla="*/ 31 h 117"/>
              <a:gd name="T40" fmla="*/ 105 w 238"/>
              <a:gd name="T41" fmla="*/ 39 h 117"/>
              <a:gd name="T42" fmla="*/ 105 w 238"/>
              <a:gd name="T43" fmla="*/ 48 h 117"/>
              <a:gd name="T44" fmla="*/ 108 w 238"/>
              <a:gd name="T45" fmla="*/ 60 h 117"/>
              <a:gd name="T46" fmla="*/ 104 w 238"/>
              <a:gd name="T47" fmla="*/ 66 h 117"/>
              <a:gd name="T48" fmla="*/ 95 w 238"/>
              <a:gd name="T49" fmla="*/ 60 h 117"/>
              <a:gd name="T50" fmla="*/ 86 w 238"/>
              <a:gd name="T51" fmla="*/ 59 h 117"/>
              <a:gd name="T52" fmla="*/ 61 w 238"/>
              <a:gd name="T53" fmla="*/ 67 h 117"/>
              <a:gd name="T54" fmla="*/ 51 w 238"/>
              <a:gd name="T55" fmla="*/ 71 h 117"/>
              <a:gd name="T56" fmla="*/ 29 w 238"/>
              <a:gd name="T57" fmla="*/ 64 h 117"/>
              <a:gd name="T58" fmla="*/ 23 w 238"/>
              <a:gd name="T59" fmla="*/ 77 h 117"/>
              <a:gd name="T60" fmla="*/ 14 w 238"/>
              <a:gd name="T61" fmla="*/ 68 h 117"/>
              <a:gd name="T62" fmla="*/ 8 w 238"/>
              <a:gd name="T63" fmla="*/ 66 h 117"/>
              <a:gd name="T64" fmla="*/ 1 w 238"/>
              <a:gd name="T65" fmla="*/ 79 h 117"/>
              <a:gd name="T66" fmla="*/ 8 w 238"/>
              <a:gd name="T67" fmla="*/ 90 h 117"/>
              <a:gd name="T68" fmla="*/ 14 w 238"/>
              <a:gd name="T69" fmla="*/ 96 h 117"/>
              <a:gd name="T70" fmla="*/ 25 w 238"/>
              <a:gd name="T71" fmla="*/ 94 h 117"/>
              <a:gd name="T72" fmla="*/ 43 w 238"/>
              <a:gd name="T73" fmla="*/ 100 h 117"/>
              <a:gd name="T74" fmla="*/ 49 w 238"/>
              <a:gd name="T75" fmla="*/ 92 h 117"/>
              <a:gd name="T76" fmla="*/ 74 w 238"/>
              <a:gd name="T77" fmla="*/ 89 h 117"/>
              <a:gd name="T78" fmla="*/ 84 w 238"/>
              <a:gd name="T79" fmla="*/ 90 h 117"/>
              <a:gd name="T80" fmla="*/ 90 w 238"/>
              <a:gd name="T81" fmla="*/ 104 h 117"/>
              <a:gd name="T82" fmla="*/ 102 w 238"/>
              <a:gd name="T83" fmla="*/ 110 h 117"/>
              <a:gd name="T84" fmla="*/ 120 w 238"/>
              <a:gd name="T85" fmla="*/ 112 h 117"/>
              <a:gd name="T86" fmla="*/ 129 w 238"/>
              <a:gd name="T87" fmla="*/ 115 h 117"/>
              <a:gd name="T88" fmla="*/ 148 w 238"/>
              <a:gd name="T89" fmla="*/ 115 h 117"/>
              <a:gd name="T90" fmla="*/ 164 w 238"/>
              <a:gd name="T91" fmla="*/ 112 h 117"/>
              <a:gd name="T92" fmla="*/ 170 w 238"/>
              <a:gd name="T93" fmla="*/ 108 h 117"/>
              <a:gd name="T94" fmla="*/ 193 w 238"/>
              <a:gd name="T95" fmla="*/ 104 h 117"/>
              <a:gd name="T96" fmla="*/ 204 w 238"/>
              <a:gd name="T97" fmla="*/ 99 h 117"/>
              <a:gd name="T98" fmla="*/ 214 w 238"/>
              <a:gd name="T99" fmla="*/ 96 h 117"/>
              <a:gd name="T100" fmla="*/ 219 w 238"/>
              <a:gd name="T101" fmla="*/ 89 h 117"/>
              <a:gd name="T102" fmla="*/ 218 w 238"/>
              <a:gd name="T103" fmla="*/ 73 h 117"/>
              <a:gd name="T104" fmla="*/ 225 w 238"/>
              <a:gd name="T105" fmla="*/ 62 h 117"/>
              <a:gd name="T106" fmla="*/ 220 w 238"/>
              <a:gd name="T107" fmla="*/ 58 h 117"/>
              <a:gd name="T108" fmla="*/ 238 w 238"/>
              <a:gd name="T109" fmla="*/ 55 h 117"/>
              <a:gd name="T110" fmla="*/ 232 w 238"/>
              <a:gd name="T111" fmla="*/ 3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8" h="117">
                <a:moveTo>
                  <a:pt x="237" y="53"/>
                </a:moveTo>
                <a:cubicBezTo>
                  <a:pt x="237" y="51"/>
                  <a:pt x="237" y="51"/>
                  <a:pt x="237" y="51"/>
                </a:cubicBezTo>
                <a:cubicBezTo>
                  <a:pt x="237" y="51"/>
                  <a:pt x="236" y="51"/>
                  <a:pt x="236" y="50"/>
                </a:cubicBezTo>
                <a:cubicBezTo>
                  <a:pt x="238" y="49"/>
                  <a:pt x="236" y="45"/>
                  <a:pt x="237" y="43"/>
                </a:cubicBezTo>
                <a:cubicBezTo>
                  <a:pt x="237" y="43"/>
                  <a:pt x="237" y="43"/>
                  <a:pt x="237" y="43"/>
                </a:cubicBezTo>
                <a:cubicBezTo>
                  <a:pt x="237" y="43"/>
                  <a:pt x="237" y="43"/>
                  <a:pt x="237" y="43"/>
                </a:cubicBezTo>
                <a:cubicBezTo>
                  <a:pt x="237" y="43"/>
                  <a:pt x="237" y="42"/>
                  <a:pt x="237" y="42"/>
                </a:cubicBezTo>
                <a:cubicBezTo>
                  <a:pt x="237" y="42"/>
                  <a:pt x="237" y="42"/>
                  <a:pt x="237" y="42"/>
                </a:cubicBezTo>
                <a:cubicBezTo>
                  <a:pt x="237" y="42"/>
                  <a:pt x="237" y="42"/>
                  <a:pt x="237" y="41"/>
                </a:cubicBezTo>
                <a:cubicBezTo>
                  <a:pt x="236" y="40"/>
                  <a:pt x="236" y="40"/>
                  <a:pt x="235" y="39"/>
                </a:cubicBezTo>
                <a:cubicBezTo>
                  <a:pt x="233" y="39"/>
                  <a:pt x="233" y="37"/>
                  <a:pt x="232" y="37"/>
                </a:cubicBezTo>
                <a:cubicBezTo>
                  <a:pt x="232" y="37"/>
                  <a:pt x="232" y="37"/>
                  <a:pt x="232" y="37"/>
                </a:cubicBezTo>
                <a:cubicBezTo>
                  <a:pt x="232" y="37"/>
                  <a:pt x="232" y="37"/>
                  <a:pt x="232" y="36"/>
                </a:cubicBezTo>
                <a:cubicBezTo>
                  <a:pt x="231" y="36"/>
                  <a:pt x="231" y="36"/>
                  <a:pt x="231" y="36"/>
                </a:cubicBezTo>
                <a:cubicBezTo>
                  <a:pt x="231" y="36"/>
                  <a:pt x="230" y="36"/>
                  <a:pt x="230" y="35"/>
                </a:cubicBezTo>
                <a:cubicBezTo>
                  <a:pt x="230" y="35"/>
                  <a:pt x="230" y="35"/>
                  <a:pt x="230" y="35"/>
                </a:cubicBezTo>
                <a:cubicBezTo>
                  <a:pt x="230" y="35"/>
                  <a:pt x="229" y="34"/>
                  <a:pt x="229" y="34"/>
                </a:cubicBezTo>
                <a:cubicBezTo>
                  <a:pt x="229" y="34"/>
                  <a:pt x="228" y="34"/>
                  <a:pt x="228" y="34"/>
                </a:cubicBezTo>
                <a:cubicBezTo>
                  <a:pt x="228" y="31"/>
                  <a:pt x="228" y="31"/>
                  <a:pt x="228" y="31"/>
                </a:cubicBezTo>
                <a:cubicBezTo>
                  <a:pt x="226" y="31"/>
                  <a:pt x="225" y="29"/>
                  <a:pt x="224" y="28"/>
                </a:cubicBezTo>
                <a:cubicBezTo>
                  <a:pt x="225" y="26"/>
                  <a:pt x="223" y="26"/>
                  <a:pt x="223" y="24"/>
                </a:cubicBezTo>
                <a:cubicBezTo>
                  <a:pt x="224" y="22"/>
                  <a:pt x="225" y="20"/>
                  <a:pt x="226" y="18"/>
                </a:cubicBezTo>
                <a:cubicBezTo>
                  <a:pt x="226" y="17"/>
                  <a:pt x="227" y="16"/>
                  <a:pt x="226" y="14"/>
                </a:cubicBezTo>
                <a:cubicBezTo>
                  <a:pt x="226" y="13"/>
                  <a:pt x="225" y="13"/>
                  <a:pt x="226" y="12"/>
                </a:cubicBezTo>
                <a:cubicBezTo>
                  <a:pt x="222" y="11"/>
                  <a:pt x="219" y="10"/>
                  <a:pt x="215" y="9"/>
                </a:cubicBezTo>
                <a:cubicBezTo>
                  <a:pt x="214" y="8"/>
                  <a:pt x="213" y="9"/>
                  <a:pt x="212" y="10"/>
                </a:cubicBezTo>
                <a:cubicBezTo>
                  <a:pt x="211" y="10"/>
                  <a:pt x="210" y="11"/>
                  <a:pt x="210" y="11"/>
                </a:cubicBezTo>
                <a:cubicBezTo>
                  <a:pt x="205" y="11"/>
                  <a:pt x="203" y="10"/>
                  <a:pt x="198" y="10"/>
                </a:cubicBezTo>
                <a:cubicBezTo>
                  <a:pt x="199" y="9"/>
                  <a:pt x="198" y="9"/>
                  <a:pt x="198" y="9"/>
                </a:cubicBezTo>
                <a:cubicBezTo>
                  <a:pt x="196" y="10"/>
                  <a:pt x="196" y="7"/>
                  <a:pt x="194" y="7"/>
                </a:cubicBezTo>
                <a:cubicBezTo>
                  <a:pt x="194" y="7"/>
                  <a:pt x="193" y="8"/>
                  <a:pt x="193" y="7"/>
                </a:cubicBezTo>
                <a:cubicBezTo>
                  <a:pt x="193" y="7"/>
                  <a:pt x="193" y="7"/>
                  <a:pt x="193" y="7"/>
                </a:cubicBezTo>
                <a:cubicBezTo>
                  <a:pt x="192" y="6"/>
                  <a:pt x="190" y="7"/>
                  <a:pt x="189" y="7"/>
                </a:cubicBezTo>
                <a:cubicBezTo>
                  <a:pt x="189" y="7"/>
                  <a:pt x="189" y="6"/>
                  <a:pt x="189" y="6"/>
                </a:cubicBezTo>
                <a:cubicBezTo>
                  <a:pt x="188" y="6"/>
                  <a:pt x="186" y="6"/>
                  <a:pt x="186" y="4"/>
                </a:cubicBezTo>
                <a:cubicBezTo>
                  <a:pt x="184" y="5"/>
                  <a:pt x="183" y="3"/>
                  <a:pt x="182" y="3"/>
                </a:cubicBezTo>
                <a:cubicBezTo>
                  <a:pt x="181" y="2"/>
                  <a:pt x="178" y="3"/>
                  <a:pt x="178" y="1"/>
                </a:cubicBezTo>
                <a:cubicBezTo>
                  <a:pt x="177" y="1"/>
                  <a:pt x="175" y="2"/>
                  <a:pt x="174" y="2"/>
                </a:cubicBezTo>
                <a:cubicBezTo>
                  <a:pt x="174" y="2"/>
                  <a:pt x="173" y="3"/>
                  <a:pt x="173" y="2"/>
                </a:cubicBezTo>
                <a:cubicBezTo>
                  <a:pt x="173" y="2"/>
                  <a:pt x="173" y="2"/>
                  <a:pt x="173" y="2"/>
                </a:cubicBezTo>
                <a:cubicBezTo>
                  <a:pt x="172" y="2"/>
                  <a:pt x="172" y="2"/>
                  <a:pt x="171" y="2"/>
                </a:cubicBezTo>
                <a:cubicBezTo>
                  <a:pt x="171" y="2"/>
                  <a:pt x="171" y="0"/>
                  <a:pt x="171" y="0"/>
                </a:cubicBezTo>
                <a:cubicBezTo>
                  <a:pt x="170" y="0"/>
                  <a:pt x="170" y="0"/>
                  <a:pt x="169" y="0"/>
                </a:cubicBezTo>
                <a:cubicBezTo>
                  <a:pt x="168" y="1"/>
                  <a:pt x="169" y="2"/>
                  <a:pt x="168" y="3"/>
                </a:cubicBezTo>
                <a:cubicBezTo>
                  <a:pt x="169" y="5"/>
                  <a:pt x="168" y="5"/>
                  <a:pt x="168" y="6"/>
                </a:cubicBezTo>
                <a:cubicBezTo>
                  <a:pt x="168" y="11"/>
                  <a:pt x="168" y="11"/>
                  <a:pt x="168" y="11"/>
                </a:cubicBezTo>
                <a:cubicBezTo>
                  <a:pt x="164" y="11"/>
                  <a:pt x="164" y="11"/>
                  <a:pt x="164" y="11"/>
                </a:cubicBezTo>
                <a:cubicBezTo>
                  <a:pt x="161" y="12"/>
                  <a:pt x="162" y="16"/>
                  <a:pt x="161" y="18"/>
                </a:cubicBezTo>
                <a:cubicBezTo>
                  <a:pt x="160" y="18"/>
                  <a:pt x="159" y="18"/>
                  <a:pt x="159" y="19"/>
                </a:cubicBezTo>
                <a:cubicBezTo>
                  <a:pt x="157" y="19"/>
                  <a:pt x="156" y="19"/>
                  <a:pt x="155" y="18"/>
                </a:cubicBezTo>
                <a:cubicBezTo>
                  <a:pt x="154" y="18"/>
                  <a:pt x="153" y="19"/>
                  <a:pt x="152" y="18"/>
                </a:cubicBezTo>
                <a:cubicBezTo>
                  <a:pt x="151" y="19"/>
                  <a:pt x="150" y="20"/>
                  <a:pt x="148" y="21"/>
                </a:cubicBezTo>
                <a:cubicBezTo>
                  <a:pt x="145" y="21"/>
                  <a:pt x="145" y="21"/>
                  <a:pt x="145" y="21"/>
                </a:cubicBezTo>
                <a:cubicBezTo>
                  <a:pt x="145" y="20"/>
                  <a:pt x="143" y="20"/>
                  <a:pt x="143" y="19"/>
                </a:cubicBezTo>
                <a:cubicBezTo>
                  <a:pt x="142" y="19"/>
                  <a:pt x="140" y="20"/>
                  <a:pt x="139" y="19"/>
                </a:cubicBezTo>
                <a:cubicBezTo>
                  <a:pt x="139" y="19"/>
                  <a:pt x="139" y="18"/>
                  <a:pt x="139" y="18"/>
                </a:cubicBezTo>
                <a:cubicBezTo>
                  <a:pt x="139" y="18"/>
                  <a:pt x="138" y="19"/>
                  <a:pt x="138" y="18"/>
                </a:cubicBezTo>
                <a:cubicBezTo>
                  <a:pt x="138" y="18"/>
                  <a:pt x="138" y="17"/>
                  <a:pt x="138" y="17"/>
                </a:cubicBezTo>
                <a:cubicBezTo>
                  <a:pt x="137" y="17"/>
                  <a:pt x="137" y="17"/>
                  <a:pt x="137" y="16"/>
                </a:cubicBezTo>
                <a:cubicBezTo>
                  <a:pt x="137" y="16"/>
                  <a:pt x="137" y="16"/>
                  <a:pt x="137" y="16"/>
                </a:cubicBezTo>
                <a:cubicBezTo>
                  <a:pt x="136" y="15"/>
                  <a:pt x="135" y="14"/>
                  <a:pt x="134" y="14"/>
                </a:cubicBezTo>
                <a:cubicBezTo>
                  <a:pt x="134" y="14"/>
                  <a:pt x="134" y="14"/>
                  <a:pt x="134" y="14"/>
                </a:cubicBezTo>
                <a:cubicBezTo>
                  <a:pt x="134" y="16"/>
                  <a:pt x="132" y="17"/>
                  <a:pt x="133" y="19"/>
                </a:cubicBezTo>
                <a:cubicBezTo>
                  <a:pt x="133" y="19"/>
                  <a:pt x="133" y="19"/>
                  <a:pt x="132" y="19"/>
                </a:cubicBezTo>
                <a:cubicBezTo>
                  <a:pt x="132" y="19"/>
                  <a:pt x="132" y="19"/>
                  <a:pt x="132" y="19"/>
                </a:cubicBezTo>
                <a:cubicBezTo>
                  <a:pt x="132" y="20"/>
                  <a:pt x="132" y="20"/>
                  <a:pt x="132" y="20"/>
                </a:cubicBezTo>
                <a:cubicBezTo>
                  <a:pt x="132" y="20"/>
                  <a:pt x="132" y="20"/>
                  <a:pt x="132" y="20"/>
                </a:cubicBezTo>
                <a:cubicBezTo>
                  <a:pt x="132" y="20"/>
                  <a:pt x="132" y="20"/>
                  <a:pt x="132" y="20"/>
                </a:cubicBezTo>
                <a:cubicBezTo>
                  <a:pt x="132" y="21"/>
                  <a:pt x="132" y="21"/>
                  <a:pt x="132" y="21"/>
                </a:cubicBezTo>
                <a:cubicBezTo>
                  <a:pt x="132" y="21"/>
                  <a:pt x="132" y="21"/>
                  <a:pt x="132" y="21"/>
                </a:cubicBezTo>
                <a:cubicBezTo>
                  <a:pt x="131" y="21"/>
                  <a:pt x="131" y="22"/>
                  <a:pt x="130" y="22"/>
                </a:cubicBezTo>
                <a:cubicBezTo>
                  <a:pt x="130" y="22"/>
                  <a:pt x="130" y="22"/>
                  <a:pt x="130" y="22"/>
                </a:cubicBezTo>
                <a:cubicBezTo>
                  <a:pt x="130" y="22"/>
                  <a:pt x="130" y="22"/>
                  <a:pt x="130" y="22"/>
                </a:cubicBezTo>
                <a:cubicBezTo>
                  <a:pt x="129" y="22"/>
                  <a:pt x="129" y="22"/>
                  <a:pt x="128" y="22"/>
                </a:cubicBezTo>
                <a:cubicBezTo>
                  <a:pt x="128" y="22"/>
                  <a:pt x="127" y="22"/>
                  <a:pt x="127" y="22"/>
                </a:cubicBezTo>
                <a:cubicBezTo>
                  <a:pt x="127" y="21"/>
                  <a:pt x="126" y="21"/>
                  <a:pt x="126" y="21"/>
                </a:cubicBezTo>
                <a:cubicBezTo>
                  <a:pt x="126" y="21"/>
                  <a:pt x="125" y="21"/>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2" y="20"/>
                  <a:pt x="122" y="20"/>
                  <a:pt x="122" y="20"/>
                </a:cubicBezTo>
                <a:cubicBezTo>
                  <a:pt x="122" y="20"/>
                  <a:pt x="122" y="20"/>
                  <a:pt x="122" y="20"/>
                </a:cubicBezTo>
                <a:cubicBezTo>
                  <a:pt x="122" y="20"/>
                  <a:pt x="122" y="20"/>
                  <a:pt x="122" y="20"/>
                </a:cubicBezTo>
                <a:cubicBezTo>
                  <a:pt x="122" y="20"/>
                  <a:pt x="122" y="21"/>
                  <a:pt x="122" y="21"/>
                </a:cubicBezTo>
                <a:cubicBezTo>
                  <a:pt x="122" y="21"/>
                  <a:pt x="122" y="21"/>
                  <a:pt x="122" y="21"/>
                </a:cubicBezTo>
                <a:cubicBezTo>
                  <a:pt x="122" y="21"/>
                  <a:pt x="122" y="21"/>
                  <a:pt x="122" y="21"/>
                </a:cubicBezTo>
                <a:cubicBezTo>
                  <a:pt x="122" y="21"/>
                  <a:pt x="122" y="21"/>
                  <a:pt x="122" y="21"/>
                </a:cubicBezTo>
                <a:cubicBezTo>
                  <a:pt x="122" y="21"/>
                  <a:pt x="122" y="22"/>
                  <a:pt x="122" y="22"/>
                </a:cubicBezTo>
                <a:cubicBezTo>
                  <a:pt x="122" y="22"/>
                  <a:pt x="122" y="22"/>
                  <a:pt x="122" y="22"/>
                </a:cubicBezTo>
                <a:cubicBezTo>
                  <a:pt x="122" y="22"/>
                  <a:pt x="122" y="23"/>
                  <a:pt x="122" y="23"/>
                </a:cubicBezTo>
                <a:cubicBezTo>
                  <a:pt x="122" y="23"/>
                  <a:pt x="122" y="23"/>
                  <a:pt x="122" y="23"/>
                </a:cubicBezTo>
                <a:cubicBezTo>
                  <a:pt x="122" y="23"/>
                  <a:pt x="122" y="23"/>
                  <a:pt x="122" y="23"/>
                </a:cubicBezTo>
                <a:cubicBezTo>
                  <a:pt x="122" y="23"/>
                  <a:pt x="122" y="24"/>
                  <a:pt x="122" y="24"/>
                </a:cubicBezTo>
                <a:cubicBezTo>
                  <a:pt x="122" y="24"/>
                  <a:pt x="122" y="25"/>
                  <a:pt x="122" y="25"/>
                </a:cubicBezTo>
                <a:cubicBezTo>
                  <a:pt x="122" y="25"/>
                  <a:pt x="122" y="25"/>
                  <a:pt x="122" y="25"/>
                </a:cubicBezTo>
                <a:cubicBezTo>
                  <a:pt x="122" y="25"/>
                  <a:pt x="122" y="26"/>
                  <a:pt x="122" y="26"/>
                </a:cubicBezTo>
                <a:cubicBezTo>
                  <a:pt x="122" y="28"/>
                  <a:pt x="120" y="28"/>
                  <a:pt x="120" y="30"/>
                </a:cubicBezTo>
                <a:cubicBezTo>
                  <a:pt x="119" y="30"/>
                  <a:pt x="119" y="31"/>
                  <a:pt x="118" y="31"/>
                </a:cubicBezTo>
                <a:cubicBezTo>
                  <a:pt x="118" y="32"/>
                  <a:pt x="118" y="32"/>
                  <a:pt x="118" y="32"/>
                </a:cubicBezTo>
                <a:cubicBezTo>
                  <a:pt x="116" y="32"/>
                  <a:pt x="115" y="34"/>
                  <a:pt x="113" y="34"/>
                </a:cubicBezTo>
                <a:cubicBezTo>
                  <a:pt x="112" y="34"/>
                  <a:pt x="112" y="35"/>
                  <a:pt x="110" y="35"/>
                </a:cubicBezTo>
                <a:cubicBezTo>
                  <a:pt x="109" y="37"/>
                  <a:pt x="108" y="37"/>
                  <a:pt x="106" y="37"/>
                </a:cubicBezTo>
                <a:cubicBezTo>
                  <a:pt x="106" y="38"/>
                  <a:pt x="105" y="38"/>
                  <a:pt x="105" y="39"/>
                </a:cubicBezTo>
                <a:cubicBezTo>
                  <a:pt x="104" y="39"/>
                  <a:pt x="104" y="39"/>
                  <a:pt x="104" y="39"/>
                </a:cubicBezTo>
                <a:cubicBezTo>
                  <a:pt x="104" y="41"/>
                  <a:pt x="102" y="43"/>
                  <a:pt x="104" y="44"/>
                </a:cubicBezTo>
                <a:cubicBezTo>
                  <a:pt x="104" y="44"/>
                  <a:pt x="104" y="45"/>
                  <a:pt x="104" y="46"/>
                </a:cubicBezTo>
                <a:cubicBezTo>
                  <a:pt x="104" y="45"/>
                  <a:pt x="104" y="46"/>
                  <a:pt x="104" y="46"/>
                </a:cubicBezTo>
                <a:cubicBezTo>
                  <a:pt x="104" y="47"/>
                  <a:pt x="105" y="47"/>
                  <a:pt x="105" y="48"/>
                </a:cubicBezTo>
                <a:cubicBezTo>
                  <a:pt x="105" y="50"/>
                  <a:pt x="106" y="50"/>
                  <a:pt x="106" y="50"/>
                </a:cubicBezTo>
                <a:cubicBezTo>
                  <a:pt x="106" y="51"/>
                  <a:pt x="106" y="52"/>
                  <a:pt x="106" y="53"/>
                </a:cubicBezTo>
                <a:cubicBezTo>
                  <a:pt x="105" y="53"/>
                  <a:pt x="105" y="55"/>
                  <a:pt x="104" y="55"/>
                </a:cubicBezTo>
                <a:cubicBezTo>
                  <a:pt x="105" y="56"/>
                  <a:pt x="106" y="56"/>
                  <a:pt x="106" y="58"/>
                </a:cubicBezTo>
                <a:cubicBezTo>
                  <a:pt x="107" y="58"/>
                  <a:pt x="107" y="60"/>
                  <a:pt x="108" y="60"/>
                </a:cubicBezTo>
                <a:cubicBezTo>
                  <a:pt x="108" y="61"/>
                  <a:pt x="108" y="62"/>
                  <a:pt x="109" y="62"/>
                </a:cubicBezTo>
                <a:cubicBezTo>
                  <a:pt x="109" y="64"/>
                  <a:pt x="109" y="66"/>
                  <a:pt x="109" y="69"/>
                </a:cubicBezTo>
                <a:cubicBezTo>
                  <a:pt x="108" y="69"/>
                  <a:pt x="107" y="69"/>
                  <a:pt x="106" y="69"/>
                </a:cubicBezTo>
                <a:cubicBezTo>
                  <a:pt x="107" y="68"/>
                  <a:pt x="106" y="67"/>
                  <a:pt x="106" y="67"/>
                </a:cubicBezTo>
                <a:cubicBezTo>
                  <a:pt x="106" y="67"/>
                  <a:pt x="105" y="67"/>
                  <a:pt x="104" y="66"/>
                </a:cubicBezTo>
                <a:cubicBezTo>
                  <a:pt x="104" y="66"/>
                  <a:pt x="104" y="66"/>
                  <a:pt x="104" y="66"/>
                </a:cubicBezTo>
                <a:cubicBezTo>
                  <a:pt x="104" y="65"/>
                  <a:pt x="104" y="65"/>
                  <a:pt x="103" y="64"/>
                </a:cubicBezTo>
                <a:cubicBezTo>
                  <a:pt x="102" y="64"/>
                  <a:pt x="102" y="62"/>
                  <a:pt x="102" y="60"/>
                </a:cubicBezTo>
                <a:cubicBezTo>
                  <a:pt x="101" y="60"/>
                  <a:pt x="100" y="61"/>
                  <a:pt x="99" y="60"/>
                </a:cubicBezTo>
                <a:cubicBezTo>
                  <a:pt x="98" y="60"/>
                  <a:pt x="97" y="61"/>
                  <a:pt x="95" y="60"/>
                </a:cubicBezTo>
                <a:cubicBezTo>
                  <a:pt x="93" y="60"/>
                  <a:pt x="94" y="62"/>
                  <a:pt x="93" y="62"/>
                </a:cubicBezTo>
                <a:cubicBezTo>
                  <a:pt x="92" y="62"/>
                  <a:pt x="92" y="62"/>
                  <a:pt x="92" y="62"/>
                </a:cubicBezTo>
                <a:cubicBezTo>
                  <a:pt x="92" y="61"/>
                  <a:pt x="90" y="61"/>
                  <a:pt x="90" y="60"/>
                </a:cubicBezTo>
                <a:cubicBezTo>
                  <a:pt x="90" y="60"/>
                  <a:pt x="87" y="61"/>
                  <a:pt x="87" y="60"/>
                </a:cubicBezTo>
                <a:cubicBezTo>
                  <a:pt x="86" y="60"/>
                  <a:pt x="86" y="59"/>
                  <a:pt x="86" y="59"/>
                </a:cubicBezTo>
                <a:cubicBezTo>
                  <a:pt x="86" y="59"/>
                  <a:pt x="85" y="60"/>
                  <a:pt x="85" y="60"/>
                </a:cubicBezTo>
                <a:cubicBezTo>
                  <a:pt x="85" y="59"/>
                  <a:pt x="85" y="59"/>
                  <a:pt x="85" y="59"/>
                </a:cubicBezTo>
                <a:cubicBezTo>
                  <a:pt x="83" y="59"/>
                  <a:pt x="83" y="62"/>
                  <a:pt x="82" y="64"/>
                </a:cubicBezTo>
                <a:cubicBezTo>
                  <a:pt x="77" y="63"/>
                  <a:pt x="72" y="64"/>
                  <a:pt x="68" y="64"/>
                </a:cubicBezTo>
                <a:cubicBezTo>
                  <a:pt x="66" y="65"/>
                  <a:pt x="64" y="67"/>
                  <a:pt x="61" y="67"/>
                </a:cubicBezTo>
                <a:cubicBezTo>
                  <a:pt x="61" y="68"/>
                  <a:pt x="60" y="68"/>
                  <a:pt x="60" y="68"/>
                </a:cubicBezTo>
                <a:cubicBezTo>
                  <a:pt x="60" y="68"/>
                  <a:pt x="59" y="69"/>
                  <a:pt x="59" y="69"/>
                </a:cubicBezTo>
                <a:cubicBezTo>
                  <a:pt x="58" y="70"/>
                  <a:pt x="57" y="69"/>
                  <a:pt x="56" y="71"/>
                </a:cubicBezTo>
                <a:cubicBezTo>
                  <a:pt x="56" y="71"/>
                  <a:pt x="56" y="71"/>
                  <a:pt x="55" y="71"/>
                </a:cubicBezTo>
                <a:cubicBezTo>
                  <a:pt x="53" y="71"/>
                  <a:pt x="51" y="73"/>
                  <a:pt x="51" y="71"/>
                </a:cubicBezTo>
                <a:cubicBezTo>
                  <a:pt x="49" y="71"/>
                  <a:pt x="48" y="72"/>
                  <a:pt x="47" y="72"/>
                </a:cubicBezTo>
                <a:cubicBezTo>
                  <a:pt x="44" y="73"/>
                  <a:pt x="46" y="70"/>
                  <a:pt x="44" y="70"/>
                </a:cubicBezTo>
                <a:cubicBezTo>
                  <a:pt x="43" y="69"/>
                  <a:pt x="42" y="69"/>
                  <a:pt x="42" y="66"/>
                </a:cubicBezTo>
                <a:cubicBezTo>
                  <a:pt x="41" y="67"/>
                  <a:pt x="40" y="66"/>
                  <a:pt x="40" y="65"/>
                </a:cubicBezTo>
                <a:cubicBezTo>
                  <a:pt x="36" y="65"/>
                  <a:pt x="33" y="64"/>
                  <a:pt x="29" y="64"/>
                </a:cubicBezTo>
                <a:cubicBezTo>
                  <a:pt x="29" y="66"/>
                  <a:pt x="28" y="67"/>
                  <a:pt x="28" y="68"/>
                </a:cubicBezTo>
                <a:cubicBezTo>
                  <a:pt x="28" y="68"/>
                  <a:pt x="29" y="68"/>
                  <a:pt x="29" y="69"/>
                </a:cubicBezTo>
                <a:cubicBezTo>
                  <a:pt x="29" y="69"/>
                  <a:pt x="30" y="69"/>
                  <a:pt x="30" y="70"/>
                </a:cubicBezTo>
                <a:cubicBezTo>
                  <a:pt x="30" y="72"/>
                  <a:pt x="27" y="72"/>
                  <a:pt x="27" y="74"/>
                </a:cubicBezTo>
                <a:cubicBezTo>
                  <a:pt x="26" y="75"/>
                  <a:pt x="24" y="76"/>
                  <a:pt x="23" y="77"/>
                </a:cubicBezTo>
                <a:cubicBezTo>
                  <a:pt x="22" y="78"/>
                  <a:pt x="24" y="81"/>
                  <a:pt x="22" y="80"/>
                </a:cubicBezTo>
                <a:cubicBezTo>
                  <a:pt x="22" y="79"/>
                  <a:pt x="20" y="79"/>
                  <a:pt x="21" y="77"/>
                </a:cubicBezTo>
                <a:cubicBezTo>
                  <a:pt x="18" y="78"/>
                  <a:pt x="20" y="74"/>
                  <a:pt x="17" y="75"/>
                </a:cubicBezTo>
                <a:cubicBezTo>
                  <a:pt x="17" y="74"/>
                  <a:pt x="17" y="72"/>
                  <a:pt x="15" y="72"/>
                </a:cubicBezTo>
                <a:cubicBezTo>
                  <a:pt x="15" y="70"/>
                  <a:pt x="14" y="69"/>
                  <a:pt x="14" y="68"/>
                </a:cubicBezTo>
                <a:cubicBezTo>
                  <a:pt x="14" y="67"/>
                  <a:pt x="13" y="67"/>
                  <a:pt x="12" y="66"/>
                </a:cubicBezTo>
                <a:cubicBezTo>
                  <a:pt x="11" y="66"/>
                  <a:pt x="11" y="65"/>
                  <a:pt x="11" y="65"/>
                </a:cubicBezTo>
                <a:cubicBezTo>
                  <a:pt x="11" y="65"/>
                  <a:pt x="11" y="65"/>
                  <a:pt x="11" y="65"/>
                </a:cubicBezTo>
                <a:cubicBezTo>
                  <a:pt x="11" y="65"/>
                  <a:pt x="10" y="65"/>
                  <a:pt x="10" y="65"/>
                </a:cubicBezTo>
                <a:cubicBezTo>
                  <a:pt x="9" y="66"/>
                  <a:pt x="8" y="66"/>
                  <a:pt x="8" y="66"/>
                </a:cubicBezTo>
                <a:cubicBezTo>
                  <a:pt x="8" y="67"/>
                  <a:pt x="7" y="67"/>
                  <a:pt x="7" y="67"/>
                </a:cubicBezTo>
                <a:cubicBezTo>
                  <a:pt x="7" y="67"/>
                  <a:pt x="6" y="67"/>
                  <a:pt x="6" y="67"/>
                </a:cubicBezTo>
                <a:cubicBezTo>
                  <a:pt x="6" y="72"/>
                  <a:pt x="6" y="72"/>
                  <a:pt x="6" y="72"/>
                </a:cubicBezTo>
                <a:cubicBezTo>
                  <a:pt x="4" y="73"/>
                  <a:pt x="5" y="75"/>
                  <a:pt x="3" y="76"/>
                </a:cubicBezTo>
                <a:cubicBezTo>
                  <a:pt x="3" y="78"/>
                  <a:pt x="1" y="78"/>
                  <a:pt x="1" y="79"/>
                </a:cubicBezTo>
                <a:cubicBezTo>
                  <a:pt x="1" y="80"/>
                  <a:pt x="0" y="80"/>
                  <a:pt x="1" y="80"/>
                </a:cubicBezTo>
                <a:cubicBezTo>
                  <a:pt x="1" y="85"/>
                  <a:pt x="1" y="85"/>
                  <a:pt x="1" y="85"/>
                </a:cubicBezTo>
                <a:cubicBezTo>
                  <a:pt x="0" y="86"/>
                  <a:pt x="1" y="87"/>
                  <a:pt x="1" y="87"/>
                </a:cubicBezTo>
                <a:cubicBezTo>
                  <a:pt x="1" y="88"/>
                  <a:pt x="1" y="89"/>
                  <a:pt x="2" y="89"/>
                </a:cubicBezTo>
                <a:cubicBezTo>
                  <a:pt x="4" y="89"/>
                  <a:pt x="6" y="89"/>
                  <a:pt x="8" y="90"/>
                </a:cubicBezTo>
                <a:cubicBezTo>
                  <a:pt x="8" y="90"/>
                  <a:pt x="9" y="90"/>
                  <a:pt x="9" y="90"/>
                </a:cubicBezTo>
                <a:cubicBezTo>
                  <a:pt x="9" y="90"/>
                  <a:pt x="9" y="90"/>
                  <a:pt x="9" y="90"/>
                </a:cubicBezTo>
                <a:cubicBezTo>
                  <a:pt x="10" y="90"/>
                  <a:pt x="10" y="91"/>
                  <a:pt x="10" y="91"/>
                </a:cubicBezTo>
                <a:cubicBezTo>
                  <a:pt x="10" y="94"/>
                  <a:pt x="10" y="94"/>
                  <a:pt x="10" y="94"/>
                </a:cubicBezTo>
                <a:cubicBezTo>
                  <a:pt x="12" y="94"/>
                  <a:pt x="12" y="95"/>
                  <a:pt x="14" y="96"/>
                </a:cubicBezTo>
                <a:cubicBezTo>
                  <a:pt x="14" y="97"/>
                  <a:pt x="15" y="96"/>
                  <a:pt x="15" y="97"/>
                </a:cubicBezTo>
                <a:cubicBezTo>
                  <a:pt x="16" y="97"/>
                  <a:pt x="17" y="97"/>
                  <a:pt x="17" y="98"/>
                </a:cubicBezTo>
                <a:cubicBezTo>
                  <a:pt x="17" y="98"/>
                  <a:pt x="18" y="99"/>
                  <a:pt x="18" y="99"/>
                </a:cubicBezTo>
                <a:cubicBezTo>
                  <a:pt x="21" y="99"/>
                  <a:pt x="21" y="97"/>
                  <a:pt x="24" y="97"/>
                </a:cubicBezTo>
                <a:cubicBezTo>
                  <a:pt x="23" y="95"/>
                  <a:pt x="26" y="97"/>
                  <a:pt x="25" y="94"/>
                </a:cubicBezTo>
                <a:cubicBezTo>
                  <a:pt x="25" y="93"/>
                  <a:pt x="26" y="93"/>
                  <a:pt x="27" y="92"/>
                </a:cubicBezTo>
                <a:cubicBezTo>
                  <a:pt x="27" y="93"/>
                  <a:pt x="28" y="94"/>
                  <a:pt x="28" y="95"/>
                </a:cubicBezTo>
                <a:cubicBezTo>
                  <a:pt x="28" y="97"/>
                  <a:pt x="26" y="97"/>
                  <a:pt x="27" y="99"/>
                </a:cubicBezTo>
                <a:cubicBezTo>
                  <a:pt x="30" y="97"/>
                  <a:pt x="32" y="96"/>
                  <a:pt x="35" y="95"/>
                </a:cubicBezTo>
                <a:cubicBezTo>
                  <a:pt x="37" y="97"/>
                  <a:pt x="39" y="100"/>
                  <a:pt x="43" y="100"/>
                </a:cubicBezTo>
                <a:cubicBezTo>
                  <a:pt x="43" y="99"/>
                  <a:pt x="44" y="99"/>
                  <a:pt x="44" y="99"/>
                </a:cubicBezTo>
                <a:cubicBezTo>
                  <a:pt x="45" y="98"/>
                  <a:pt x="45" y="97"/>
                  <a:pt x="46" y="96"/>
                </a:cubicBezTo>
                <a:cubicBezTo>
                  <a:pt x="46" y="96"/>
                  <a:pt x="47" y="95"/>
                  <a:pt x="47" y="94"/>
                </a:cubicBezTo>
                <a:cubicBezTo>
                  <a:pt x="47" y="94"/>
                  <a:pt x="47" y="94"/>
                  <a:pt x="48" y="94"/>
                </a:cubicBezTo>
                <a:cubicBezTo>
                  <a:pt x="48" y="93"/>
                  <a:pt x="48" y="92"/>
                  <a:pt x="49" y="92"/>
                </a:cubicBezTo>
                <a:cubicBezTo>
                  <a:pt x="50" y="92"/>
                  <a:pt x="52" y="91"/>
                  <a:pt x="53" y="90"/>
                </a:cubicBezTo>
                <a:cubicBezTo>
                  <a:pt x="56" y="90"/>
                  <a:pt x="57" y="89"/>
                  <a:pt x="59" y="89"/>
                </a:cubicBezTo>
                <a:cubicBezTo>
                  <a:pt x="61" y="89"/>
                  <a:pt x="62" y="90"/>
                  <a:pt x="64" y="90"/>
                </a:cubicBezTo>
                <a:cubicBezTo>
                  <a:pt x="67" y="90"/>
                  <a:pt x="70" y="90"/>
                  <a:pt x="72" y="90"/>
                </a:cubicBezTo>
                <a:cubicBezTo>
                  <a:pt x="73" y="90"/>
                  <a:pt x="73" y="89"/>
                  <a:pt x="74" y="89"/>
                </a:cubicBezTo>
                <a:cubicBezTo>
                  <a:pt x="75" y="88"/>
                  <a:pt x="76" y="88"/>
                  <a:pt x="76" y="87"/>
                </a:cubicBezTo>
                <a:cubicBezTo>
                  <a:pt x="78" y="87"/>
                  <a:pt x="79" y="87"/>
                  <a:pt x="81" y="86"/>
                </a:cubicBezTo>
                <a:cubicBezTo>
                  <a:pt x="82" y="86"/>
                  <a:pt x="84" y="85"/>
                  <a:pt x="84" y="87"/>
                </a:cubicBezTo>
                <a:cubicBezTo>
                  <a:pt x="85" y="87"/>
                  <a:pt x="86" y="87"/>
                  <a:pt x="86" y="87"/>
                </a:cubicBezTo>
                <a:cubicBezTo>
                  <a:pt x="86" y="90"/>
                  <a:pt x="84" y="89"/>
                  <a:pt x="84" y="90"/>
                </a:cubicBezTo>
                <a:cubicBezTo>
                  <a:pt x="83" y="90"/>
                  <a:pt x="83" y="91"/>
                  <a:pt x="83" y="93"/>
                </a:cubicBezTo>
                <a:cubicBezTo>
                  <a:pt x="82" y="96"/>
                  <a:pt x="85" y="96"/>
                  <a:pt x="86" y="98"/>
                </a:cubicBezTo>
                <a:cubicBezTo>
                  <a:pt x="86" y="99"/>
                  <a:pt x="86" y="100"/>
                  <a:pt x="87" y="101"/>
                </a:cubicBezTo>
                <a:cubicBezTo>
                  <a:pt x="88" y="101"/>
                  <a:pt x="88" y="102"/>
                  <a:pt x="89" y="102"/>
                </a:cubicBezTo>
                <a:cubicBezTo>
                  <a:pt x="89" y="103"/>
                  <a:pt x="89" y="104"/>
                  <a:pt x="90" y="104"/>
                </a:cubicBezTo>
                <a:cubicBezTo>
                  <a:pt x="92" y="104"/>
                  <a:pt x="92" y="105"/>
                  <a:pt x="93" y="105"/>
                </a:cubicBezTo>
                <a:cubicBezTo>
                  <a:pt x="93" y="106"/>
                  <a:pt x="95" y="106"/>
                  <a:pt x="96" y="108"/>
                </a:cubicBezTo>
                <a:cubicBezTo>
                  <a:pt x="96" y="108"/>
                  <a:pt x="97" y="108"/>
                  <a:pt x="97" y="108"/>
                </a:cubicBezTo>
                <a:cubicBezTo>
                  <a:pt x="98" y="108"/>
                  <a:pt x="99" y="108"/>
                  <a:pt x="99" y="108"/>
                </a:cubicBezTo>
                <a:cubicBezTo>
                  <a:pt x="100" y="109"/>
                  <a:pt x="101" y="109"/>
                  <a:pt x="102" y="110"/>
                </a:cubicBezTo>
                <a:cubicBezTo>
                  <a:pt x="104" y="111"/>
                  <a:pt x="106" y="111"/>
                  <a:pt x="110" y="111"/>
                </a:cubicBezTo>
                <a:cubicBezTo>
                  <a:pt x="111" y="112"/>
                  <a:pt x="113" y="112"/>
                  <a:pt x="113" y="113"/>
                </a:cubicBezTo>
                <a:cubicBezTo>
                  <a:pt x="114" y="113"/>
                  <a:pt x="115" y="113"/>
                  <a:pt x="115" y="112"/>
                </a:cubicBezTo>
                <a:cubicBezTo>
                  <a:pt x="115" y="112"/>
                  <a:pt x="116" y="112"/>
                  <a:pt x="116" y="112"/>
                </a:cubicBezTo>
                <a:cubicBezTo>
                  <a:pt x="118" y="112"/>
                  <a:pt x="119" y="112"/>
                  <a:pt x="120" y="112"/>
                </a:cubicBezTo>
                <a:cubicBezTo>
                  <a:pt x="122" y="112"/>
                  <a:pt x="122" y="113"/>
                  <a:pt x="123" y="113"/>
                </a:cubicBezTo>
                <a:cubicBezTo>
                  <a:pt x="124" y="113"/>
                  <a:pt x="125" y="113"/>
                  <a:pt x="126" y="113"/>
                </a:cubicBezTo>
                <a:cubicBezTo>
                  <a:pt x="126" y="113"/>
                  <a:pt x="126" y="114"/>
                  <a:pt x="126" y="114"/>
                </a:cubicBezTo>
                <a:cubicBezTo>
                  <a:pt x="126" y="114"/>
                  <a:pt x="127" y="114"/>
                  <a:pt x="127" y="114"/>
                </a:cubicBezTo>
                <a:cubicBezTo>
                  <a:pt x="127" y="114"/>
                  <a:pt x="128" y="115"/>
                  <a:pt x="129" y="115"/>
                </a:cubicBezTo>
                <a:cubicBezTo>
                  <a:pt x="130" y="114"/>
                  <a:pt x="132" y="113"/>
                  <a:pt x="134" y="112"/>
                </a:cubicBezTo>
                <a:cubicBezTo>
                  <a:pt x="135" y="112"/>
                  <a:pt x="137" y="113"/>
                  <a:pt x="139" y="112"/>
                </a:cubicBezTo>
                <a:cubicBezTo>
                  <a:pt x="140" y="113"/>
                  <a:pt x="141" y="113"/>
                  <a:pt x="143" y="113"/>
                </a:cubicBezTo>
                <a:cubicBezTo>
                  <a:pt x="143" y="114"/>
                  <a:pt x="144" y="114"/>
                  <a:pt x="145" y="115"/>
                </a:cubicBezTo>
                <a:cubicBezTo>
                  <a:pt x="146" y="114"/>
                  <a:pt x="146" y="115"/>
                  <a:pt x="148" y="115"/>
                </a:cubicBezTo>
                <a:cubicBezTo>
                  <a:pt x="150" y="115"/>
                  <a:pt x="153" y="115"/>
                  <a:pt x="155" y="115"/>
                </a:cubicBezTo>
                <a:cubicBezTo>
                  <a:pt x="157" y="115"/>
                  <a:pt x="157" y="117"/>
                  <a:pt x="159" y="117"/>
                </a:cubicBezTo>
                <a:cubicBezTo>
                  <a:pt x="159" y="116"/>
                  <a:pt x="159" y="115"/>
                  <a:pt x="160" y="115"/>
                </a:cubicBezTo>
                <a:cubicBezTo>
                  <a:pt x="161" y="115"/>
                  <a:pt x="162" y="113"/>
                  <a:pt x="163" y="112"/>
                </a:cubicBezTo>
                <a:cubicBezTo>
                  <a:pt x="163" y="112"/>
                  <a:pt x="164" y="112"/>
                  <a:pt x="164" y="112"/>
                </a:cubicBezTo>
                <a:cubicBezTo>
                  <a:pt x="164" y="112"/>
                  <a:pt x="165" y="112"/>
                  <a:pt x="165" y="112"/>
                </a:cubicBezTo>
                <a:cubicBezTo>
                  <a:pt x="165" y="112"/>
                  <a:pt x="165" y="111"/>
                  <a:pt x="166" y="110"/>
                </a:cubicBezTo>
                <a:cubicBezTo>
                  <a:pt x="166" y="110"/>
                  <a:pt x="167" y="111"/>
                  <a:pt x="167" y="110"/>
                </a:cubicBezTo>
                <a:cubicBezTo>
                  <a:pt x="167" y="110"/>
                  <a:pt x="168" y="109"/>
                  <a:pt x="168" y="109"/>
                </a:cubicBezTo>
                <a:cubicBezTo>
                  <a:pt x="168" y="108"/>
                  <a:pt x="169" y="108"/>
                  <a:pt x="170" y="108"/>
                </a:cubicBezTo>
                <a:cubicBezTo>
                  <a:pt x="170" y="108"/>
                  <a:pt x="170" y="107"/>
                  <a:pt x="170" y="107"/>
                </a:cubicBezTo>
                <a:cubicBezTo>
                  <a:pt x="170" y="107"/>
                  <a:pt x="170" y="107"/>
                  <a:pt x="171" y="107"/>
                </a:cubicBezTo>
                <a:cubicBezTo>
                  <a:pt x="171" y="107"/>
                  <a:pt x="172" y="107"/>
                  <a:pt x="172" y="106"/>
                </a:cubicBezTo>
                <a:cubicBezTo>
                  <a:pt x="176" y="105"/>
                  <a:pt x="183" y="105"/>
                  <a:pt x="187" y="106"/>
                </a:cubicBezTo>
                <a:cubicBezTo>
                  <a:pt x="189" y="106"/>
                  <a:pt x="190" y="104"/>
                  <a:pt x="193" y="104"/>
                </a:cubicBezTo>
                <a:cubicBezTo>
                  <a:pt x="193" y="103"/>
                  <a:pt x="195" y="104"/>
                  <a:pt x="195" y="103"/>
                </a:cubicBezTo>
                <a:cubicBezTo>
                  <a:pt x="197" y="103"/>
                  <a:pt x="198" y="103"/>
                  <a:pt x="198" y="102"/>
                </a:cubicBezTo>
                <a:cubicBezTo>
                  <a:pt x="200" y="102"/>
                  <a:pt x="201" y="102"/>
                  <a:pt x="202" y="102"/>
                </a:cubicBezTo>
                <a:cubicBezTo>
                  <a:pt x="203" y="102"/>
                  <a:pt x="203" y="101"/>
                  <a:pt x="204" y="101"/>
                </a:cubicBezTo>
                <a:cubicBezTo>
                  <a:pt x="204" y="100"/>
                  <a:pt x="204" y="100"/>
                  <a:pt x="204" y="99"/>
                </a:cubicBezTo>
                <a:cubicBezTo>
                  <a:pt x="205" y="99"/>
                  <a:pt x="205" y="99"/>
                  <a:pt x="205" y="99"/>
                </a:cubicBezTo>
                <a:cubicBezTo>
                  <a:pt x="206" y="98"/>
                  <a:pt x="207" y="98"/>
                  <a:pt x="208" y="98"/>
                </a:cubicBezTo>
                <a:cubicBezTo>
                  <a:pt x="211" y="98"/>
                  <a:pt x="211" y="98"/>
                  <a:pt x="211" y="98"/>
                </a:cubicBezTo>
                <a:cubicBezTo>
                  <a:pt x="211" y="97"/>
                  <a:pt x="211" y="97"/>
                  <a:pt x="212" y="97"/>
                </a:cubicBezTo>
                <a:cubicBezTo>
                  <a:pt x="213" y="97"/>
                  <a:pt x="214" y="97"/>
                  <a:pt x="214" y="96"/>
                </a:cubicBezTo>
                <a:cubicBezTo>
                  <a:pt x="213" y="96"/>
                  <a:pt x="214" y="94"/>
                  <a:pt x="213" y="94"/>
                </a:cubicBezTo>
                <a:cubicBezTo>
                  <a:pt x="212" y="94"/>
                  <a:pt x="210" y="94"/>
                  <a:pt x="210" y="93"/>
                </a:cubicBezTo>
                <a:cubicBezTo>
                  <a:pt x="210" y="91"/>
                  <a:pt x="212" y="92"/>
                  <a:pt x="213" y="92"/>
                </a:cubicBezTo>
                <a:cubicBezTo>
                  <a:pt x="214" y="91"/>
                  <a:pt x="214" y="91"/>
                  <a:pt x="214" y="91"/>
                </a:cubicBezTo>
                <a:cubicBezTo>
                  <a:pt x="216" y="90"/>
                  <a:pt x="218" y="90"/>
                  <a:pt x="219" y="89"/>
                </a:cubicBezTo>
                <a:cubicBezTo>
                  <a:pt x="219" y="89"/>
                  <a:pt x="219" y="88"/>
                  <a:pt x="220" y="87"/>
                </a:cubicBezTo>
                <a:cubicBezTo>
                  <a:pt x="221" y="85"/>
                  <a:pt x="219" y="86"/>
                  <a:pt x="219" y="85"/>
                </a:cubicBezTo>
                <a:cubicBezTo>
                  <a:pt x="219" y="83"/>
                  <a:pt x="218" y="83"/>
                  <a:pt x="218" y="81"/>
                </a:cubicBezTo>
                <a:cubicBezTo>
                  <a:pt x="217" y="79"/>
                  <a:pt x="219" y="79"/>
                  <a:pt x="219" y="77"/>
                </a:cubicBezTo>
                <a:cubicBezTo>
                  <a:pt x="219" y="75"/>
                  <a:pt x="218" y="74"/>
                  <a:pt x="218" y="73"/>
                </a:cubicBezTo>
                <a:cubicBezTo>
                  <a:pt x="221" y="73"/>
                  <a:pt x="221" y="73"/>
                  <a:pt x="221" y="73"/>
                </a:cubicBezTo>
                <a:cubicBezTo>
                  <a:pt x="222" y="72"/>
                  <a:pt x="222" y="71"/>
                  <a:pt x="223" y="70"/>
                </a:cubicBezTo>
                <a:cubicBezTo>
                  <a:pt x="224" y="70"/>
                  <a:pt x="223" y="68"/>
                  <a:pt x="225" y="68"/>
                </a:cubicBezTo>
                <a:cubicBezTo>
                  <a:pt x="226" y="67"/>
                  <a:pt x="225" y="64"/>
                  <a:pt x="226" y="62"/>
                </a:cubicBezTo>
                <a:cubicBezTo>
                  <a:pt x="225" y="62"/>
                  <a:pt x="225" y="62"/>
                  <a:pt x="225" y="62"/>
                </a:cubicBezTo>
                <a:cubicBezTo>
                  <a:pt x="224" y="62"/>
                  <a:pt x="224" y="62"/>
                  <a:pt x="224" y="61"/>
                </a:cubicBezTo>
                <a:cubicBezTo>
                  <a:pt x="224" y="61"/>
                  <a:pt x="224" y="61"/>
                  <a:pt x="223" y="61"/>
                </a:cubicBezTo>
                <a:cubicBezTo>
                  <a:pt x="223" y="61"/>
                  <a:pt x="223" y="61"/>
                  <a:pt x="223" y="60"/>
                </a:cubicBezTo>
                <a:cubicBezTo>
                  <a:pt x="222" y="60"/>
                  <a:pt x="222" y="59"/>
                  <a:pt x="221" y="59"/>
                </a:cubicBezTo>
                <a:cubicBezTo>
                  <a:pt x="220" y="59"/>
                  <a:pt x="220" y="59"/>
                  <a:pt x="220" y="58"/>
                </a:cubicBezTo>
                <a:cubicBezTo>
                  <a:pt x="219" y="58"/>
                  <a:pt x="219" y="57"/>
                  <a:pt x="219" y="56"/>
                </a:cubicBezTo>
                <a:cubicBezTo>
                  <a:pt x="221" y="56"/>
                  <a:pt x="221" y="57"/>
                  <a:pt x="223" y="57"/>
                </a:cubicBezTo>
                <a:cubicBezTo>
                  <a:pt x="225" y="57"/>
                  <a:pt x="225" y="58"/>
                  <a:pt x="227" y="58"/>
                </a:cubicBezTo>
                <a:cubicBezTo>
                  <a:pt x="231" y="58"/>
                  <a:pt x="234" y="57"/>
                  <a:pt x="237" y="57"/>
                </a:cubicBezTo>
                <a:cubicBezTo>
                  <a:pt x="238" y="56"/>
                  <a:pt x="237" y="55"/>
                  <a:pt x="238" y="55"/>
                </a:cubicBezTo>
                <a:cubicBezTo>
                  <a:pt x="238" y="54"/>
                  <a:pt x="237" y="54"/>
                  <a:pt x="237" y="53"/>
                </a:cubicBezTo>
                <a:close/>
                <a:moveTo>
                  <a:pt x="232" y="38"/>
                </a:moveTo>
                <a:cubicBezTo>
                  <a:pt x="232" y="38"/>
                  <a:pt x="232" y="38"/>
                  <a:pt x="232" y="38"/>
                </a:cubicBezTo>
                <a:cubicBezTo>
                  <a:pt x="232" y="38"/>
                  <a:pt x="232" y="38"/>
                  <a:pt x="232" y="38"/>
                </a:cubicBezTo>
                <a:cubicBezTo>
                  <a:pt x="232" y="38"/>
                  <a:pt x="232" y="38"/>
                  <a:pt x="232" y="38"/>
                </a:cubicBezTo>
                <a:close/>
                <a:moveTo>
                  <a:pt x="232" y="37"/>
                </a:moveTo>
                <a:cubicBezTo>
                  <a:pt x="232" y="37"/>
                  <a:pt x="232" y="37"/>
                  <a:pt x="232" y="37"/>
                </a:cubicBezTo>
                <a:cubicBezTo>
                  <a:pt x="232" y="37"/>
                  <a:pt x="232" y="37"/>
                  <a:pt x="232" y="37"/>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5" name="Freeform 113"/>
          <p:cNvSpPr>
            <a:spLocks noEditPoints="1"/>
          </p:cNvSpPr>
          <p:nvPr/>
        </p:nvSpPr>
        <p:spPr bwMode="auto">
          <a:xfrm>
            <a:off x="4651667" y="4808840"/>
            <a:ext cx="2116138" cy="1638300"/>
          </a:xfrm>
          <a:custGeom>
            <a:avLst/>
            <a:gdLst>
              <a:gd name="T0" fmla="*/ 65 w 547"/>
              <a:gd name="T1" fmla="*/ 413 h 423"/>
              <a:gd name="T2" fmla="*/ 82 w 547"/>
              <a:gd name="T3" fmla="*/ 401 h 423"/>
              <a:gd name="T4" fmla="*/ 26 w 547"/>
              <a:gd name="T5" fmla="*/ 413 h 423"/>
              <a:gd name="T6" fmla="*/ 90 w 547"/>
              <a:gd name="T7" fmla="*/ 384 h 423"/>
              <a:gd name="T8" fmla="*/ 12 w 547"/>
              <a:gd name="T9" fmla="*/ 398 h 423"/>
              <a:gd name="T10" fmla="*/ 0 w 547"/>
              <a:gd name="T11" fmla="*/ 422 h 423"/>
              <a:gd name="T12" fmla="*/ 517 w 547"/>
              <a:gd name="T13" fmla="*/ 257 h 423"/>
              <a:gd name="T14" fmla="*/ 503 w 547"/>
              <a:gd name="T15" fmla="*/ 246 h 423"/>
              <a:gd name="T16" fmla="*/ 489 w 547"/>
              <a:gd name="T17" fmla="*/ 267 h 423"/>
              <a:gd name="T18" fmla="*/ 511 w 547"/>
              <a:gd name="T19" fmla="*/ 268 h 423"/>
              <a:gd name="T20" fmla="*/ 503 w 547"/>
              <a:gd name="T21" fmla="*/ 131 h 423"/>
              <a:gd name="T22" fmla="*/ 473 w 547"/>
              <a:gd name="T23" fmla="*/ 124 h 423"/>
              <a:gd name="T24" fmla="*/ 430 w 547"/>
              <a:gd name="T25" fmla="*/ 106 h 423"/>
              <a:gd name="T26" fmla="*/ 397 w 547"/>
              <a:gd name="T27" fmla="*/ 96 h 423"/>
              <a:gd name="T28" fmla="*/ 372 w 547"/>
              <a:gd name="T29" fmla="*/ 82 h 423"/>
              <a:gd name="T30" fmla="*/ 336 w 547"/>
              <a:gd name="T31" fmla="*/ 58 h 423"/>
              <a:gd name="T32" fmla="*/ 300 w 547"/>
              <a:gd name="T33" fmla="*/ 48 h 423"/>
              <a:gd name="T34" fmla="*/ 268 w 547"/>
              <a:gd name="T35" fmla="*/ 42 h 423"/>
              <a:gd name="T36" fmla="*/ 250 w 547"/>
              <a:gd name="T37" fmla="*/ 31 h 423"/>
              <a:gd name="T38" fmla="*/ 206 w 547"/>
              <a:gd name="T39" fmla="*/ 18 h 423"/>
              <a:gd name="T40" fmla="*/ 182 w 547"/>
              <a:gd name="T41" fmla="*/ 6 h 423"/>
              <a:gd name="T42" fmla="*/ 165 w 547"/>
              <a:gd name="T43" fmla="*/ 2 h 423"/>
              <a:gd name="T44" fmla="*/ 150 w 547"/>
              <a:gd name="T45" fmla="*/ 13 h 423"/>
              <a:gd name="T46" fmla="*/ 118 w 547"/>
              <a:gd name="T47" fmla="*/ 21 h 423"/>
              <a:gd name="T48" fmla="*/ 129 w 547"/>
              <a:gd name="T49" fmla="*/ 43 h 423"/>
              <a:gd name="T50" fmla="*/ 123 w 547"/>
              <a:gd name="T51" fmla="*/ 66 h 423"/>
              <a:gd name="T52" fmla="*/ 142 w 547"/>
              <a:gd name="T53" fmla="*/ 69 h 423"/>
              <a:gd name="T54" fmla="*/ 172 w 547"/>
              <a:gd name="T55" fmla="*/ 86 h 423"/>
              <a:gd name="T56" fmla="*/ 195 w 547"/>
              <a:gd name="T57" fmla="*/ 91 h 423"/>
              <a:gd name="T58" fmla="*/ 193 w 547"/>
              <a:gd name="T59" fmla="*/ 122 h 423"/>
              <a:gd name="T60" fmla="*/ 182 w 547"/>
              <a:gd name="T61" fmla="*/ 128 h 423"/>
              <a:gd name="T62" fmla="*/ 175 w 547"/>
              <a:gd name="T63" fmla="*/ 138 h 423"/>
              <a:gd name="T64" fmla="*/ 174 w 547"/>
              <a:gd name="T65" fmla="*/ 147 h 423"/>
              <a:gd name="T66" fmla="*/ 171 w 547"/>
              <a:gd name="T67" fmla="*/ 164 h 423"/>
              <a:gd name="T68" fmla="*/ 163 w 547"/>
              <a:gd name="T69" fmla="*/ 175 h 423"/>
              <a:gd name="T70" fmla="*/ 145 w 547"/>
              <a:gd name="T71" fmla="*/ 189 h 423"/>
              <a:gd name="T72" fmla="*/ 143 w 547"/>
              <a:gd name="T73" fmla="*/ 212 h 423"/>
              <a:gd name="T74" fmla="*/ 150 w 547"/>
              <a:gd name="T75" fmla="*/ 223 h 423"/>
              <a:gd name="T76" fmla="*/ 140 w 547"/>
              <a:gd name="T77" fmla="*/ 228 h 423"/>
              <a:gd name="T78" fmla="*/ 134 w 547"/>
              <a:gd name="T79" fmla="*/ 235 h 423"/>
              <a:gd name="T80" fmla="*/ 133 w 547"/>
              <a:gd name="T81" fmla="*/ 248 h 423"/>
              <a:gd name="T82" fmla="*/ 139 w 547"/>
              <a:gd name="T83" fmla="*/ 265 h 423"/>
              <a:gd name="T84" fmla="*/ 130 w 547"/>
              <a:gd name="T85" fmla="*/ 304 h 423"/>
              <a:gd name="T86" fmla="*/ 145 w 547"/>
              <a:gd name="T87" fmla="*/ 327 h 423"/>
              <a:gd name="T88" fmla="*/ 159 w 547"/>
              <a:gd name="T89" fmla="*/ 362 h 423"/>
              <a:gd name="T90" fmla="*/ 200 w 547"/>
              <a:gd name="T91" fmla="*/ 352 h 423"/>
              <a:gd name="T92" fmla="*/ 276 w 547"/>
              <a:gd name="T93" fmla="*/ 358 h 423"/>
              <a:gd name="T94" fmla="*/ 314 w 547"/>
              <a:gd name="T95" fmla="*/ 350 h 423"/>
              <a:gd name="T96" fmla="*/ 348 w 547"/>
              <a:gd name="T97" fmla="*/ 334 h 423"/>
              <a:gd name="T98" fmla="*/ 359 w 547"/>
              <a:gd name="T99" fmla="*/ 320 h 423"/>
              <a:gd name="T100" fmla="*/ 390 w 547"/>
              <a:gd name="T101" fmla="*/ 291 h 423"/>
              <a:gd name="T102" fmla="*/ 385 w 547"/>
              <a:gd name="T103" fmla="*/ 262 h 423"/>
              <a:gd name="T104" fmla="*/ 400 w 547"/>
              <a:gd name="T105" fmla="*/ 227 h 423"/>
              <a:gd name="T106" fmla="*/ 430 w 547"/>
              <a:gd name="T107" fmla="*/ 198 h 423"/>
              <a:gd name="T108" fmla="*/ 460 w 547"/>
              <a:gd name="T109" fmla="*/ 183 h 423"/>
              <a:gd name="T110" fmla="*/ 500 w 547"/>
              <a:gd name="T111" fmla="*/ 168 h 423"/>
              <a:gd name="T112" fmla="*/ 518 w 547"/>
              <a:gd name="T113" fmla="*/ 148 h 423"/>
              <a:gd name="T114" fmla="*/ 544 w 547"/>
              <a:gd name="T115" fmla="*/ 250 h 423"/>
              <a:gd name="T116" fmla="*/ 547 w 547"/>
              <a:gd name="T117" fmla="*/ 253 h 423"/>
              <a:gd name="T118" fmla="*/ 496 w 547"/>
              <a:gd name="T119" fmla="*/ 282 h 423"/>
              <a:gd name="T120" fmla="*/ 443 w 547"/>
              <a:gd name="T121" fmla="*/ 27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7" h="423">
                <a:moveTo>
                  <a:pt x="83" y="396"/>
                </a:moveTo>
                <a:cubicBezTo>
                  <a:pt x="83" y="396"/>
                  <a:pt x="83" y="396"/>
                  <a:pt x="82" y="396"/>
                </a:cubicBezTo>
                <a:cubicBezTo>
                  <a:pt x="81" y="396"/>
                  <a:pt x="81" y="396"/>
                  <a:pt x="81" y="396"/>
                </a:cubicBezTo>
                <a:cubicBezTo>
                  <a:pt x="81" y="396"/>
                  <a:pt x="81" y="396"/>
                  <a:pt x="81" y="396"/>
                </a:cubicBezTo>
                <a:cubicBezTo>
                  <a:pt x="81" y="396"/>
                  <a:pt x="81" y="396"/>
                  <a:pt x="80" y="396"/>
                </a:cubicBezTo>
                <a:cubicBezTo>
                  <a:pt x="80" y="396"/>
                  <a:pt x="80" y="396"/>
                  <a:pt x="80" y="396"/>
                </a:cubicBezTo>
                <a:cubicBezTo>
                  <a:pt x="80" y="397"/>
                  <a:pt x="79" y="397"/>
                  <a:pt x="79" y="397"/>
                </a:cubicBezTo>
                <a:cubicBezTo>
                  <a:pt x="79" y="398"/>
                  <a:pt x="79" y="398"/>
                  <a:pt x="79" y="398"/>
                </a:cubicBezTo>
                <a:cubicBezTo>
                  <a:pt x="78" y="398"/>
                  <a:pt x="78" y="399"/>
                  <a:pt x="78" y="400"/>
                </a:cubicBezTo>
                <a:cubicBezTo>
                  <a:pt x="77" y="401"/>
                  <a:pt x="76" y="402"/>
                  <a:pt x="76" y="404"/>
                </a:cubicBezTo>
                <a:cubicBezTo>
                  <a:pt x="75" y="406"/>
                  <a:pt x="74" y="407"/>
                  <a:pt x="74" y="409"/>
                </a:cubicBezTo>
                <a:cubicBezTo>
                  <a:pt x="73" y="409"/>
                  <a:pt x="73" y="409"/>
                  <a:pt x="72" y="410"/>
                </a:cubicBezTo>
                <a:cubicBezTo>
                  <a:pt x="72" y="410"/>
                  <a:pt x="72" y="410"/>
                  <a:pt x="72" y="410"/>
                </a:cubicBezTo>
                <a:cubicBezTo>
                  <a:pt x="71" y="410"/>
                  <a:pt x="70" y="411"/>
                  <a:pt x="69" y="411"/>
                </a:cubicBezTo>
                <a:cubicBezTo>
                  <a:pt x="69" y="412"/>
                  <a:pt x="69" y="412"/>
                  <a:pt x="69" y="412"/>
                </a:cubicBezTo>
                <a:cubicBezTo>
                  <a:pt x="68" y="413"/>
                  <a:pt x="65" y="411"/>
                  <a:pt x="65" y="413"/>
                </a:cubicBezTo>
                <a:cubicBezTo>
                  <a:pt x="65" y="413"/>
                  <a:pt x="65" y="413"/>
                  <a:pt x="65" y="414"/>
                </a:cubicBezTo>
                <a:cubicBezTo>
                  <a:pt x="65" y="414"/>
                  <a:pt x="65" y="414"/>
                  <a:pt x="65" y="414"/>
                </a:cubicBezTo>
                <a:cubicBezTo>
                  <a:pt x="66" y="414"/>
                  <a:pt x="67" y="413"/>
                  <a:pt x="67" y="413"/>
                </a:cubicBezTo>
                <a:cubicBezTo>
                  <a:pt x="68" y="413"/>
                  <a:pt x="68" y="413"/>
                  <a:pt x="68" y="413"/>
                </a:cubicBezTo>
                <a:cubicBezTo>
                  <a:pt x="69" y="414"/>
                  <a:pt x="70" y="414"/>
                  <a:pt x="71" y="414"/>
                </a:cubicBezTo>
                <a:cubicBezTo>
                  <a:pt x="71" y="414"/>
                  <a:pt x="71" y="414"/>
                  <a:pt x="72" y="413"/>
                </a:cubicBezTo>
                <a:cubicBezTo>
                  <a:pt x="72" y="413"/>
                  <a:pt x="72" y="413"/>
                  <a:pt x="72" y="413"/>
                </a:cubicBezTo>
                <a:cubicBezTo>
                  <a:pt x="72" y="413"/>
                  <a:pt x="73" y="413"/>
                  <a:pt x="73" y="413"/>
                </a:cubicBezTo>
                <a:cubicBezTo>
                  <a:pt x="73" y="413"/>
                  <a:pt x="74" y="413"/>
                  <a:pt x="75" y="412"/>
                </a:cubicBezTo>
                <a:cubicBezTo>
                  <a:pt x="75" y="411"/>
                  <a:pt x="75" y="411"/>
                  <a:pt x="75" y="411"/>
                </a:cubicBezTo>
                <a:cubicBezTo>
                  <a:pt x="75" y="410"/>
                  <a:pt x="76" y="410"/>
                  <a:pt x="77" y="409"/>
                </a:cubicBezTo>
                <a:cubicBezTo>
                  <a:pt x="78" y="409"/>
                  <a:pt x="78" y="408"/>
                  <a:pt x="78" y="408"/>
                </a:cubicBezTo>
                <a:cubicBezTo>
                  <a:pt x="79" y="408"/>
                  <a:pt x="80" y="408"/>
                  <a:pt x="80" y="407"/>
                </a:cubicBezTo>
                <a:cubicBezTo>
                  <a:pt x="80" y="405"/>
                  <a:pt x="82" y="404"/>
                  <a:pt x="81" y="402"/>
                </a:cubicBezTo>
                <a:cubicBezTo>
                  <a:pt x="82" y="402"/>
                  <a:pt x="82" y="401"/>
                  <a:pt x="82" y="401"/>
                </a:cubicBezTo>
                <a:cubicBezTo>
                  <a:pt x="82" y="401"/>
                  <a:pt x="82" y="401"/>
                  <a:pt x="82" y="401"/>
                </a:cubicBezTo>
                <a:cubicBezTo>
                  <a:pt x="82" y="400"/>
                  <a:pt x="83" y="399"/>
                  <a:pt x="83" y="399"/>
                </a:cubicBezTo>
                <a:cubicBezTo>
                  <a:pt x="83" y="399"/>
                  <a:pt x="83" y="399"/>
                  <a:pt x="83" y="399"/>
                </a:cubicBezTo>
                <a:cubicBezTo>
                  <a:pt x="84" y="397"/>
                  <a:pt x="82" y="397"/>
                  <a:pt x="83" y="396"/>
                </a:cubicBezTo>
                <a:close/>
                <a:moveTo>
                  <a:pt x="37" y="401"/>
                </a:moveTo>
                <a:cubicBezTo>
                  <a:pt x="37" y="402"/>
                  <a:pt x="35" y="402"/>
                  <a:pt x="35" y="402"/>
                </a:cubicBezTo>
                <a:cubicBezTo>
                  <a:pt x="34" y="402"/>
                  <a:pt x="34" y="402"/>
                  <a:pt x="34" y="402"/>
                </a:cubicBezTo>
                <a:cubicBezTo>
                  <a:pt x="34" y="402"/>
                  <a:pt x="34" y="402"/>
                  <a:pt x="34" y="402"/>
                </a:cubicBezTo>
                <a:cubicBezTo>
                  <a:pt x="35" y="402"/>
                  <a:pt x="34" y="403"/>
                  <a:pt x="34" y="403"/>
                </a:cubicBezTo>
                <a:cubicBezTo>
                  <a:pt x="34" y="404"/>
                  <a:pt x="34" y="404"/>
                  <a:pt x="34" y="404"/>
                </a:cubicBezTo>
                <a:cubicBezTo>
                  <a:pt x="33" y="404"/>
                  <a:pt x="33" y="404"/>
                  <a:pt x="32" y="405"/>
                </a:cubicBezTo>
                <a:cubicBezTo>
                  <a:pt x="32" y="405"/>
                  <a:pt x="32" y="405"/>
                  <a:pt x="32" y="405"/>
                </a:cubicBezTo>
                <a:cubicBezTo>
                  <a:pt x="32" y="405"/>
                  <a:pt x="32" y="406"/>
                  <a:pt x="31" y="406"/>
                </a:cubicBezTo>
                <a:cubicBezTo>
                  <a:pt x="29" y="406"/>
                  <a:pt x="27" y="406"/>
                  <a:pt x="25" y="406"/>
                </a:cubicBezTo>
                <a:cubicBezTo>
                  <a:pt x="25" y="407"/>
                  <a:pt x="25" y="408"/>
                  <a:pt x="25" y="409"/>
                </a:cubicBezTo>
                <a:cubicBezTo>
                  <a:pt x="25" y="409"/>
                  <a:pt x="25" y="409"/>
                  <a:pt x="25" y="410"/>
                </a:cubicBezTo>
                <a:cubicBezTo>
                  <a:pt x="25" y="411"/>
                  <a:pt x="26" y="412"/>
                  <a:pt x="26" y="413"/>
                </a:cubicBezTo>
                <a:cubicBezTo>
                  <a:pt x="26" y="413"/>
                  <a:pt x="26" y="413"/>
                  <a:pt x="26" y="413"/>
                </a:cubicBezTo>
                <a:cubicBezTo>
                  <a:pt x="27" y="414"/>
                  <a:pt x="27" y="414"/>
                  <a:pt x="27" y="414"/>
                </a:cubicBezTo>
                <a:cubicBezTo>
                  <a:pt x="27" y="414"/>
                  <a:pt x="27" y="414"/>
                  <a:pt x="27" y="414"/>
                </a:cubicBezTo>
                <a:cubicBezTo>
                  <a:pt x="27" y="414"/>
                  <a:pt x="28" y="414"/>
                  <a:pt x="28" y="415"/>
                </a:cubicBezTo>
                <a:cubicBezTo>
                  <a:pt x="30" y="415"/>
                  <a:pt x="30" y="414"/>
                  <a:pt x="31" y="414"/>
                </a:cubicBezTo>
                <a:cubicBezTo>
                  <a:pt x="31" y="413"/>
                  <a:pt x="31" y="413"/>
                  <a:pt x="31" y="413"/>
                </a:cubicBezTo>
                <a:cubicBezTo>
                  <a:pt x="31" y="413"/>
                  <a:pt x="31" y="413"/>
                  <a:pt x="31" y="413"/>
                </a:cubicBezTo>
                <a:cubicBezTo>
                  <a:pt x="32" y="412"/>
                  <a:pt x="33" y="411"/>
                  <a:pt x="33" y="410"/>
                </a:cubicBezTo>
                <a:cubicBezTo>
                  <a:pt x="33" y="410"/>
                  <a:pt x="33" y="410"/>
                  <a:pt x="34" y="410"/>
                </a:cubicBezTo>
                <a:cubicBezTo>
                  <a:pt x="34" y="409"/>
                  <a:pt x="34" y="408"/>
                  <a:pt x="34" y="407"/>
                </a:cubicBezTo>
                <a:cubicBezTo>
                  <a:pt x="35" y="407"/>
                  <a:pt x="36" y="406"/>
                  <a:pt x="36" y="404"/>
                </a:cubicBezTo>
                <a:cubicBezTo>
                  <a:pt x="37" y="404"/>
                  <a:pt x="37" y="404"/>
                  <a:pt x="37" y="404"/>
                </a:cubicBezTo>
                <a:cubicBezTo>
                  <a:pt x="37" y="404"/>
                  <a:pt x="37" y="404"/>
                  <a:pt x="37" y="404"/>
                </a:cubicBezTo>
                <a:cubicBezTo>
                  <a:pt x="37" y="403"/>
                  <a:pt x="37" y="402"/>
                  <a:pt x="37" y="401"/>
                </a:cubicBezTo>
                <a:cubicBezTo>
                  <a:pt x="37" y="401"/>
                  <a:pt x="37" y="401"/>
                  <a:pt x="37" y="401"/>
                </a:cubicBezTo>
                <a:close/>
                <a:moveTo>
                  <a:pt x="90" y="384"/>
                </a:moveTo>
                <a:cubicBezTo>
                  <a:pt x="90" y="386"/>
                  <a:pt x="87" y="386"/>
                  <a:pt x="87" y="388"/>
                </a:cubicBezTo>
                <a:cubicBezTo>
                  <a:pt x="85" y="388"/>
                  <a:pt x="85" y="390"/>
                  <a:pt x="83" y="390"/>
                </a:cubicBezTo>
                <a:cubicBezTo>
                  <a:pt x="83" y="391"/>
                  <a:pt x="83" y="391"/>
                  <a:pt x="83" y="393"/>
                </a:cubicBezTo>
                <a:cubicBezTo>
                  <a:pt x="82" y="394"/>
                  <a:pt x="81" y="394"/>
                  <a:pt x="81" y="395"/>
                </a:cubicBezTo>
                <a:cubicBezTo>
                  <a:pt x="81" y="395"/>
                  <a:pt x="81" y="395"/>
                  <a:pt x="82" y="395"/>
                </a:cubicBezTo>
                <a:cubicBezTo>
                  <a:pt x="82" y="395"/>
                  <a:pt x="82" y="395"/>
                  <a:pt x="82" y="395"/>
                </a:cubicBezTo>
                <a:cubicBezTo>
                  <a:pt x="83" y="395"/>
                  <a:pt x="84" y="395"/>
                  <a:pt x="85" y="395"/>
                </a:cubicBezTo>
                <a:cubicBezTo>
                  <a:pt x="85" y="395"/>
                  <a:pt x="85" y="395"/>
                  <a:pt x="85" y="395"/>
                </a:cubicBezTo>
                <a:cubicBezTo>
                  <a:pt x="86" y="394"/>
                  <a:pt x="86" y="394"/>
                  <a:pt x="86" y="394"/>
                </a:cubicBezTo>
                <a:cubicBezTo>
                  <a:pt x="86" y="394"/>
                  <a:pt x="86" y="394"/>
                  <a:pt x="86" y="394"/>
                </a:cubicBezTo>
                <a:cubicBezTo>
                  <a:pt x="87" y="393"/>
                  <a:pt x="88" y="393"/>
                  <a:pt x="89" y="392"/>
                </a:cubicBezTo>
                <a:cubicBezTo>
                  <a:pt x="89" y="392"/>
                  <a:pt x="89" y="391"/>
                  <a:pt x="89" y="391"/>
                </a:cubicBezTo>
                <a:cubicBezTo>
                  <a:pt x="89" y="391"/>
                  <a:pt x="90" y="391"/>
                  <a:pt x="90" y="391"/>
                </a:cubicBezTo>
                <a:cubicBezTo>
                  <a:pt x="91" y="389"/>
                  <a:pt x="92" y="388"/>
                  <a:pt x="92" y="384"/>
                </a:cubicBezTo>
                <a:cubicBezTo>
                  <a:pt x="91" y="384"/>
                  <a:pt x="91" y="383"/>
                  <a:pt x="90" y="384"/>
                </a:cubicBezTo>
                <a:close/>
                <a:moveTo>
                  <a:pt x="12" y="398"/>
                </a:moveTo>
                <a:cubicBezTo>
                  <a:pt x="10" y="398"/>
                  <a:pt x="10" y="396"/>
                  <a:pt x="8" y="397"/>
                </a:cubicBezTo>
                <a:cubicBezTo>
                  <a:pt x="8" y="398"/>
                  <a:pt x="6" y="398"/>
                  <a:pt x="7" y="400"/>
                </a:cubicBezTo>
                <a:cubicBezTo>
                  <a:pt x="7" y="402"/>
                  <a:pt x="9" y="403"/>
                  <a:pt x="8" y="407"/>
                </a:cubicBezTo>
                <a:cubicBezTo>
                  <a:pt x="10" y="407"/>
                  <a:pt x="10" y="405"/>
                  <a:pt x="10" y="403"/>
                </a:cubicBezTo>
                <a:cubicBezTo>
                  <a:pt x="11" y="403"/>
                  <a:pt x="10" y="402"/>
                  <a:pt x="11" y="402"/>
                </a:cubicBezTo>
                <a:cubicBezTo>
                  <a:pt x="11" y="402"/>
                  <a:pt x="11" y="402"/>
                  <a:pt x="12" y="402"/>
                </a:cubicBezTo>
                <a:cubicBezTo>
                  <a:pt x="12" y="401"/>
                  <a:pt x="12" y="400"/>
                  <a:pt x="12" y="399"/>
                </a:cubicBezTo>
                <a:cubicBezTo>
                  <a:pt x="12" y="399"/>
                  <a:pt x="11" y="398"/>
                  <a:pt x="12" y="398"/>
                </a:cubicBezTo>
                <a:close/>
                <a:moveTo>
                  <a:pt x="18" y="410"/>
                </a:moveTo>
                <a:cubicBezTo>
                  <a:pt x="17" y="410"/>
                  <a:pt x="16" y="410"/>
                  <a:pt x="16" y="410"/>
                </a:cubicBezTo>
                <a:cubicBezTo>
                  <a:pt x="15" y="411"/>
                  <a:pt x="15" y="414"/>
                  <a:pt x="16" y="415"/>
                </a:cubicBezTo>
                <a:cubicBezTo>
                  <a:pt x="17" y="415"/>
                  <a:pt x="18" y="415"/>
                  <a:pt x="18" y="414"/>
                </a:cubicBezTo>
                <a:cubicBezTo>
                  <a:pt x="19" y="413"/>
                  <a:pt x="21" y="414"/>
                  <a:pt x="21" y="412"/>
                </a:cubicBezTo>
                <a:cubicBezTo>
                  <a:pt x="20" y="411"/>
                  <a:pt x="18" y="411"/>
                  <a:pt x="18" y="410"/>
                </a:cubicBezTo>
                <a:close/>
                <a:moveTo>
                  <a:pt x="2" y="420"/>
                </a:moveTo>
                <a:cubicBezTo>
                  <a:pt x="1" y="421"/>
                  <a:pt x="0" y="420"/>
                  <a:pt x="0" y="422"/>
                </a:cubicBezTo>
                <a:cubicBezTo>
                  <a:pt x="1" y="422"/>
                  <a:pt x="1" y="423"/>
                  <a:pt x="2" y="423"/>
                </a:cubicBezTo>
                <a:cubicBezTo>
                  <a:pt x="3" y="423"/>
                  <a:pt x="3" y="423"/>
                  <a:pt x="4" y="423"/>
                </a:cubicBezTo>
                <a:cubicBezTo>
                  <a:pt x="3" y="421"/>
                  <a:pt x="6" y="422"/>
                  <a:pt x="5" y="419"/>
                </a:cubicBezTo>
                <a:cubicBezTo>
                  <a:pt x="3" y="419"/>
                  <a:pt x="4" y="420"/>
                  <a:pt x="2" y="420"/>
                </a:cubicBezTo>
                <a:close/>
                <a:moveTo>
                  <a:pt x="52" y="413"/>
                </a:moveTo>
                <a:cubicBezTo>
                  <a:pt x="52" y="413"/>
                  <a:pt x="51" y="413"/>
                  <a:pt x="51" y="413"/>
                </a:cubicBezTo>
                <a:cubicBezTo>
                  <a:pt x="51" y="412"/>
                  <a:pt x="52" y="410"/>
                  <a:pt x="51" y="410"/>
                </a:cubicBezTo>
                <a:cubicBezTo>
                  <a:pt x="51" y="411"/>
                  <a:pt x="50" y="411"/>
                  <a:pt x="50" y="411"/>
                </a:cubicBezTo>
                <a:cubicBezTo>
                  <a:pt x="49" y="413"/>
                  <a:pt x="47" y="410"/>
                  <a:pt x="46" y="411"/>
                </a:cubicBezTo>
                <a:cubicBezTo>
                  <a:pt x="45" y="412"/>
                  <a:pt x="43" y="412"/>
                  <a:pt x="44" y="414"/>
                </a:cubicBezTo>
                <a:cubicBezTo>
                  <a:pt x="42" y="414"/>
                  <a:pt x="43" y="417"/>
                  <a:pt x="43" y="418"/>
                </a:cubicBezTo>
                <a:cubicBezTo>
                  <a:pt x="44" y="419"/>
                  <a:pt x="44" y="420"/>
                  <a:pt x="45" y="420"/>
                </a:cubicBezTo>
                <a:cubicBezTo>
                  <a:pt x="45" y="420"/>
                  <a:pt x="46" y="420"/>
                  <a:pt x="46" y="420"/>
                </a:cubicBezTo>
                <a:cubicBezTo>
                  <a:pt x="49" y="421"/>
                  <a:pt x="50" y="419"/>
                  <a:pt x="52" y="418"/>
                </a:cubicBezTo>
                <a:cubicBezTo>
                  <a:pt x="51" y="418"/>
                  <a:pt x="53" y="414"/>
                  <a:pt x="52" y="413"/>
                </a:cubicBezTo>
                <a:close/>
                <a:moveTo>
                  <a:pt x="517" y="257"/>
                </a:moveTo>
                <a:cubicBezTo>
                  <a:pt x="516" y="256"/>
                  <a:pt x="514" y="256"/>
                  <a:pt x="514" y="255"/>
                </a:cubicBezTo>
                <a:cubicBezTo>
                  <a:pt x="514" y="255"/>
                  <a:pt x="513" y="254"/>
                  <a:pt x="512" y="255"/>
                </a:cubicBezTo>
                <a:cubicBezTo>
                  <a:pt x="512" y="255"/>
                  <a:pt x="513" y="255"/>
                  <a:pt x="512" y="255"/>
                </a:cubicBezTo>
                <a:cubicBezTo>
                  <a:pt x="512" y="255"/>
                  <a:pt x="512" y="255"/>
                  <a:pt x="512" y="255"/>
                </a:cubicBezTo>
                <a:cubicBezTo>
                  <a:pt x="512" y="255"/>
                  <a:pt x="512" y="256"/>
                  <a:pt x="512" y="256"/>
                </a:cubicBezTo>
                <a:cubicBezTo>
                  <a:pt x="511" y="256"/>
                  <a:pt x="511" y="256"/>
                  <a:pt x="510" y="256"/>
                </a:cubicBezTo>
                <a:cubicBezTo>
                  <a:pt x="510" y="256"/>
                  <a:pt x="510" y="257"/>
                  <a:pt x="510" y="257"/>
                </a:cubicBezTo>
                <a:cubicBezTo>
                  <a:pt x="510" y="257"/>
                  <a:pt x="509" y="257"/>
                  <a:pt x="509" y="257"/>
                </a:cubicBezTo>
                <a:cubicBezTo>
                  <a:pt x="507" y="256"/>
                  <a:pt x="506" y="255"/>
                  <a:pt x="505" y="253"/>
                </a:cubicBezTo>
                <a:cubicBezTo>
                  <a:pt x="506" y="253"/>
                  <a:pt x="507" y="252"/>
                  <a:pt x="508" y="252"/>
                </a:cubicBezTo>
                <a:cubicBezTo>
                  <a:pt x="508" y="251"/>
                  <a:pt x="508" y="251"/>
                  <a:pt x="508" y="251"/>
                </a:cubicBezTo>
                <a:cubicBezTo>
                  <a:pt x="509" y="247"/>
                  <a:pt x="506" y="251"/>
                  <a:pt x="505" y="249"/>
                </a:cubicBezTo>
                <a:cubicBezTo>
                  <a:pt x="507" y="249"/>
                  <a:pt x="508" y="248"/>
                  <a:pt x="509" y="247"/>
                </a:cubicBezTo>
                <a:cubicBezTo>
                  <a:pt x="507" y="247"/>
                  <a:pt x="507" y="246"/>
                  <a:pt x="505" y="246"/>
                </a:cubicBezTo>
                <a:cubicBezTo>
                  <a:pt x="504" y="247"/>
                  <a:pt x="503" y="248"/>
                  <a:pt x="503" y="246"/>
                </a:cubicBezTo>
                <a:cubicBezTo>
                  <a:pt x="503" y="247"/>
                  <a:pt x="504" y="246"/>
                  <a:pt x="503" y="246"/>
                </a:cubicBezTo>
                <a:cubicBezTo>
                  <a:pt x="502" y="246"/>
                  <a:pt x="502" y="246"/>
                  <a:pt x="501" y="247"/>
                </a:cubicBezTo>
                <a:cubicBezTo>
                  <a:pt x="499" y="247"/>
                  <a:pt x="498" y="249"/>
                  <a:pt x="496" y="248"/>
                </a:cubicBezTo>
                <a:cubicBezTo>
                  <a:pt x="496" y="249"/>
                  <a:pt x="496" y="249"/>
                  <a:pt x="495" y="249"/>
                </a:cubicBezTo>
                <a:cubicBezTo>
                  <a:pt x="494" y="249"/>
                  <a:pt x="494" y="249"/>
                  <a:pt x="493" y="249"/>
                </a:cubicBezTo>
                <a:cubicBezTo>
                  <a:pt x="493" y="250"/>
                  <a:pt x="491" y="250"/>
                  <a:pt x="491" y="251"/>
                </a:cubicBezTo>
                <a:cubicBezTo>
                  <a:pt x="489" y="251"/>
                  <a:pt x="489" y="253"/>
                  <a:pt x="488" y="253"/>
                </a:cubicBezTo>
                <a:cubicBezTo>
                  <a:pt x="486" y="253"/>
                  <a:pt x="485" y="255"/>
                  <a:pt x="483" y="255"/>
                </a:cubicBezTo>
                <a:cubicBezTo>
                  <a:pt x="483" y="256"/>
                  <a:pt x="483" y="256"/>
                  <a:pt x="482" y="256"/>
                </a:cubicBezTo>
                <a:cubicBezTo>
                  <a:pt x="481" y="257"/>
                  <a:pt x="480" y="258"/>
                  <a:pt x="479" y="258"/>
                </a:cubicBezTo>
                <a:cubicBezTo>
                  <a:pt x="479" y="259"/>
                  <a:pt x="478" y="259"/>
                  <a:pt x="478" y="260"/>
                </a:cubicBezTo>
                <a:cubicBezTo>
                  <a:pt x="477" y="260"/>
                  <a:pt x="477" y="261"/>
                  <a:pt x="477" y="262"/>
                </a:cubicBezTo>
                <a:cubicBezTo>
                  <a:pt x="478" y="263"/>
                  <a:pt x="478" y="264"/>
                  <a:pt x="480" y="264"/>
                </a:cubicBezTo>
                <a:cubicBezTo>
                  <a:pt x="481" y="266"/>
                  <a:pt x="482" y="267"/>
                  <a:pt x="484" y="267"/>
                </a:cubicBezTo>
                <a:cubicBezTo>
                  <a:pt x="484" y="265"/>
                  <a:pt x="485" y="264"/>
                  <a:pt x="488" y="264"/>
                </a:cubicBezTo>
                <a:cubicBezTo>
                  <a:pt x="489" y="264"/>
                  <a:pt x="490" y="265"/>
                  <a:pt x="490" y="266"/>
                </a:cubicBezTo>
                <a:cubicBezTo>
                  <a:pt x="489" y="266"/>
                  <a:pt x="490" y="267"/>
                  <a:pt x="489" y="267"/>
                </a:cubicBezTo>
                <a:cubicBezTo>
                  <a:pt x="490" y="267"/>
                  <a:pt x="490" y="268"/>
                  <a:pt x="490" y="269"/>
                </a:cubicBezTo>
                <a:cubicBezTo>
                  <a:pt x="490" y="269"/>
                  <a:pt x="490" y="270"/>
                  <a:pt x="490" y="270"/>
                </a:cubicBezTo>
                <a:cubicBezTo>
                  <a:pt x="490" y="270"/>
                  <a:pt x="490" y="271"/>
                  <a:pt x="490" y="271"/>
                </a:cubicBezTo>
                <a:cubicBezTo>
                  <a:pt x="491" y="272"/>
                  <a:pt x="491" y="273"/>
                  <a:pt x="492" y="273"/>
                </a:cubicBezTo>
                <a:cubicBezTo>
                  <a:pt x="493" y="273"/>
                  <a:pt x="494" y="274"/>
                  <a:pt x="496" y="273"/>
                </a:cubicBezTo>
                <a:cubicBezTo>
                  <a:pt x="498" y="276"/>
                  <a:pt x="498" y="278"/>
                  <a:pt x="501" y="279"/>
                </a:cubicBezTo>
                <a:cubicBezTo>
                  <a:pt x="501" y="278"/>
                  <a:pt x="502" y="278"/>
                  <a:pt x="503" y="278"/>
                </a:cubicBezTo>
                <a:cubicBezTo>
                  <a:pt x="503" y="277"/>
                  <a:pt x="504" y="277"/>
                  <a:pt x="505" y="277"/>
                </a:cubicBezTo>
                <a:cubicBezTo>
                  <a:pt x="505" y="276"/>
                  <a:pt x="505" y="276"/>
                  <a:pt x="505" y="276"/>
                </a:cubicBezTo>
                <a:cubicBezTo>
                  <a:pt x="505" y="275"/>
                  <a:pt x="506" y="276"/>
                  <a:pt x="507" y="276"/>
                </a:cubicBezTo>
                <a:cubicBezTo>
                  <a:pt x="507" y="275"/>
                  <a:pt x="507" y="274"/>
                  <a:pt x="508" y="274"/>
                </a:cubicBezTo>
                <a:cubicBezTo>
                  <a:pt x="508" y="274"/>
                  <a:pt x="509" y="274"/>
                  <a:pt x="509" y="273"/>
                </a:cubicBezTo>
                <a:cubicBezTo>
                  <a:pt x="509" y="273"/>
                  <a:pt x="509" y="273"/>
                  <a:pt x="510" y="273"/>
                </a:cubicBezTo>
                <a:cubicBezTo>
                  <a:pt x="509" y="271"/>
                  <a:pt x="511" y="271"/>
                  <a:pt x="510" y="269"/>
                </a:cubicBezTo>
                <a:cubicBezTo>
                  <a:pt x="510" y="269"/>
                  <a:pt x="510" y="268"/>
                  <a:pt x="511" y="269"/>
                </a:cubicBezTo>
                <a:cubicBezTo>
                  <a:pt x="511" y="268"/>
                  <a:pt x="511" y="268"/>
                  <a:pt x="511" y="268"/>
                </a:cubicBezTo>
                <a:cubicBezTo>
                  <a:pt x="511" y="267"/>
                  <a:pt x="511" y="267"/>
                  <a:pt x="512" y="267"/>
                </a:cubicBezTo>
                <a:cubicBezTo>
                  <a:pt x="512" y="266"/>
                  <a:pt x="513" y="266"/>
                  <a:pt x="514" y="265"/>
                </a:cubicBezTo>
                <a:cubicBezTo>
                  <a:pt x="514" y="265"/>
                  <a:pt x="514" y="264"/>
                  <a:pt x="515" y="264"/>
                </a:cubicBezTo>
                <a:cubicBezTo>
                  <a:pt x="515" y="264"/>
                  <a:pt x="516" y="264"/>
                  <a:pt x="516" y="264"/>
                </a:cubicBezTo>
                <a:cubicBezTo>
                  <a:pt x="516" y="262"/>
                  <a:pt x="518" y="261"/>
                  <a:pt x="517" y="259"/>
                </a:cubicBezTo>
                <a:cubicBezTo>
                  <a:pt x="517" y="258"/>
                  <a:pt x="517" y="258"/>
                  <a:pt x="517" y="257"/>
                </a:cubicBezTo>
                <a:close/>
                <a:moveTo>
                  <a:pt x="524" y="138"/>
                </a:moveTo>
                <a:cubicBezTo>
                  <a:pt x="524" y="138"/>
                  <a:pt x="524" y="138"/>
                  <a:pt x="524" y="138"/>
                </a:cubicBezTo>
                <a:cubicBezTo>
                  <a:pt x="524" y="137"/>
                  <a:pt x="521" y="138"/>
                  <a:pt x="521" y="135"/>
                </a:cubicBezTo>
                <a:cubicBezTo>
                  <a:pt x="521" y="135"/>
                  <a:pt x="521" y="135"/>
                  <a:pt x="521" y="135"/>
                </a:cubicBezTo>
                <a:cubicBezTo>
                  <a:pt x="521" y="135"/>
                  <a:pt x="521" y="135"/>
                  <a:pt x="521" y="135"/>
                </a:cubicBezTo>
                <a:cubicBezTo>
                  <a:pt x="521" y="132"/>
                  <a:pt x="521" y="132"/>
                  <a:pt x="521" y="132"/>
                </a:cubicBezTo>
                <a:cubicBezTo>
                  <a:pt x="518" y="133"/>
                  <a:pt x="517" y="130"/>
                  <a:pt x="515" y="130"/>
                </a:cubicBezTo>
                <a:cubicBezTo>
                  <a:pt x="514" y="130"/>
                  <a:pt x="513" y="130"/>
                  <a:pt x="513" y="129"/>
                </a:cubicBezTo>
                <a:cubicBezTo>
                  <a:pt x="511" y="130"/>
                  <a:pt x="511" y="130"/>
                  <a:pt x="508" y="130"/>
                </a:cubicBezTo>
                <a:cubicBezTo>
                  <a:pt x="507" y="131"/>
                  <a:pt x="506" y="132"/>
                  <a:pt x="503" y="131"/>
                </a:cubicBezTo>
                <a:cubicBezTo>
                  <a:pt x="502" y="132"/>
                  <a:pt x="502" y="134"/>
                  <a:pt x="500" y="133"/>
                </a:cubicBezTo>
                <a:cubicBezTo>
                  <a:pt x="499" y="133"/>
                  <a:pt x="499" y="134"/>
                  <a:pt x="499" y="133"/>
                </a:cubicBezTo>
                <a:cubicBezTo>
                  <a:pt x="498" y="133"/>
                  <a:pt x="498" y="133"/>
                  <a:pt x="498" y="133"/>
                </a:cubicBezTo>
                <a:cubicBezTo>
                  <a:pt x="498" y="133"/>
                  <a:pt x="497" y="133"/>
                  <a:pt x="497" y="133"/>
                </a:cubicBezTo>
                <a:cubicBezTo>
                  <a:pt x="495" y="131"/>
                  <a:pt x="494" y="129"/>
                  <a:pt x="492" y="129"/>
                </a:cubicBezTo>
                <a:cubicBezTo>
                  <a:pt x="491" y="129"/>
                  <a:pt x="491" y="129"/>
                  <a:pt x="491" y="128"/>
                </a:cubicBezTo>
                <a:cubicBezTo>
                  <a:pt x="490" y="128"/>
                  <a:pt x="489" y="128"/>
                  <a:pt x="488" y="128"/>
                </a:cubicBezTo>
                <a:cubicBezTo>
                  <a:pt x="488" y="128"/>
                  <a:pt x="488" y="128"/>
                  <a:pt x="488" y="128"/>
                </a:cubicBezTo>
                <a:cubicBezTo>
                  <a:pt x="488" y="128"/>
                  <a:pt x="488" y="128"/>
                  <a:pt x="488" y="128"/>
                </a:cubicBezTo>
                <a:cubicBezTo>
                  <a:pt x="488" y="127"/>
                  <a:pt x="488" y="127"/>
                  <a:pt x="488" y="127"/>
                </a:cubicBezTo>
                <a:cubicBezTo>
                  <a:pt x="487" y="127"/>
                  <a:pt x="486" y="127"/>
                  <a:pt x="486" y="128"/>
                </a:cubicBezTo>
                <a:cubicBezTo>
                  <a:pt x="485" y="128"/>
                  <a:pt x="484" y="128"/>
                  <a:pt x="484" y="129"/>
                </a:cubicBezTo>
                <a:cubicBezTo>
                  <a:pt x="483" y="128"/>
                  <a:pt x="482" y="128"/>
                  <a:pt x="482" y="126"/>
                </a:cubicBezTo>
                <a:cubicBezTo>
                  <a:pt x="483" y="125"/>
                  <a:pt x="482" y="125"/>
                  <a:pt x="482" y="124"/>
                </a:cubicBezTo>
                <a:cubicBezTo>
                  <a:pt x="479" y="124"/>
                  <a:pt x="478" y="125"/>
                  <a:pt x="476" y="125"/>
                </a:cubicBezTo>
                <a:cubicBezTo>
                  <a:pt x="476" y="124"/>
                  <a:pt x="475" y="124"/>
                  <a:pt x="473" y="124"/>
                </a:cubicBezTo>
                <a:cubicBezTo>
                  <a:pt x="474" y="123"/>
                  <a:pt x="473" y="123"/>
                  <a:pt x="473" y="122"/>
                </a:cubicBezTo>
                <a:cubicBezTo>
                  <a:pt x="471" y="122"/>
                  <a:pt x="471" y="122"/>
                  <a:pt x="471" y="122"/>
                </a:cubicBezTo>
                <a:cubicBezTo>
                  <a:pt x="471" y="122"/>
                  <a:pt x="470" y="122"/>
                  <a:pt x="469" y="122"/>
                </a:cubicBezTo>
                <a:cubicBezTo>
                  <a:pt x="469" y="123"/>
                  <a:pt x="468" y="123"/>
                  <a:pt x="468" y="124"/>
                </a:cubicBezTo>
                <a:cubicBezTo>
                  <a:pt x="468" y="125"/>
                  <a:pt x="464" y="124"/>
                  <a:pt x="463" y="124"/>
                </a:cubicBezTo>
                <a:cubicBezTo>
                  <a:pt x="463" y="123"/>
                  <a:pt x="462" y="123"/>
                  <a:pt x="462" y="122"/>
                </a:cubicBezTo>
                <a:cubicBezTo>
                  <a:pt x="462" y="113"/>
                  <a:pt x="462" y="113"/>
                  <a:pt x="462" y="113"/>
                </a:cubicBezTo>
                <a:cubicBezTo>
                  <a:pt x="462" y="111"/>
                  <a:pt x="461" y="111"/>
                  <a:pt x="461" y="110"/>
                </a:cubicBezTo>
                <a:cubicBezTo>
                  <a:pt x="458" y="110"/>
                  <a:pt x="457" y="109"/>
                  <a:pt x="455" y="109"/>
                </a:cubicBezTo>
                <a:cubicBezTo>
                  <a:pt x="454" y="108"/>
                  <a:pt x="454" y="107"/>
                  <a:pt x="453" y="106"/>
                </a:cubicBezTo>
                <a:cubicBezTo>
                  <a:pt x="452" y="106"/>
                  <a:pt x="450" y="105"/>
                  <a:pt x="449" y="104"/>
                </a:cubicBezTo>
                <a:cubicBezTo>
                  <a:pt x="448" y="104"/>
                  <a:pt x="446" y="104"/>
                  <a:pt x="446" y="102"/>
                </a:cubicBezTo>
                <a:cubicBezTo>
                  <a:pt x="443" y="102"/>
                  <a:pt x="441" y="101"/>
                  <a:pt x="438" y="101"/>
                </a:cubicBezTo>
                <a:cubicBezTo>
                  <a:pt x="436" y="102"/>
                  <a:pt x="438" y="105"/>
                  <a:pt x="437" y="107"/>
                </a:cubicBezTo>
                <a:cubicBezTo>
                  <a:pt x="435" y="107"/>
                  <a:pt x="433" y="107"/>
                  <a:pt x="432" y="106"/>
                </a:cubicBezTo>
                <a:cubicBezTo>
                  <a:pt x="431" y="106"/>
                  <a:pt x="430" y="106"/>
                  <a:pt x="430" y="106"/>
                </a:cubicBezTo>
                <a:cubicBezTo>
                  <a:pt x="429" y="106"/>
                  <a:pt x="429" y="105"/>
                  <a:pt x="429" y="105"/>
                </a:cubicBezTo>
                <a:cubicBezTo>
                  <a:pt x="428" y="105"/>
                  <a:pt x="426" y="105"/>
                  <a:pt x="426" y="106"/>
                </a:cubicBezTo>
                <a:cubicBezTo>
                  <a:pt x="425" y="105"/>
                  <a:pt x="425" y="104"/>
                  <a:pt x="424" y="104"/>
                </a:cubicBezTo>
                <a:cubicBezTo>
                  <a:pt x="424" y="103"/>
                  <a:pt x="422" y="104"/>
                  <a:pt x="422" y="103"/>
                </a:cubicBezTo>
                <a:cubicBezTo>
                  <a:pt x="418" y="103"/>
                  <a:pt x="418" y="103"/>
                  <a:pt x="418" y="103"/>
                </a:cubicBezTo>
                <a:cubicBezTo>
                  <a:pt x="417" y="103"/>
                  <a:pt x="417" y="102"/>
                  <a:pt x="417" y="101"/>
                </a:cubicBezTo>
                <a:cubicBezTo>
                  <a:pt x="416" y="102"/>
                  <a:pt x="416" y="102"/>
                  <a:pt x="416" y="103"/>
                </a:cubicBezTo>
                <a:cubicBezTo>
                  <a:pt x="415" y="102"/>
                  <a:pt x="414" y="102"/>
                  <a:pt x="414" y="101"/>
                </a:cubicBezTo>
                <a:cubicBezTo>
                  <a:pt x="413" y="101"/>
                  <a:pt x="412" y="101"/>
                  <a:pt x="411" y="101"/>
                </a:cubicBezTo>
                <a:cubicBezTo>
                  <a:pt x="411" y="99"/>
                  <a:pt x="410" y="99"/>
                  <a:pt x="409" y="98"/>
                </a:cubicBezTo>
                <a:cubicBezTo>
                  <a:pt x="409" y="97"/>
                  <a:pt x="408" y="96"/>
                  <a:pt x="407" y="96"/>
                </a:cubicBezTo>
                <a:cubicBezTo>
                  <a:pt x="407" y="96"/>
                  <a:pt x="406" y="96"/>
                  <a:pt x="406" y="97"/>
                </a:cubicBezTo>
                <a:cubicBezTo>
                  <a:pt x="404" y="96"/>
                  <a:pt x="400" y="98"/>
                  <a:pt x="399" y="97"/>
                </a:cubicBezTo>
                <a:cubicBezTo>
                  <a:pt x="399" y="97"/>
                  <a:pt x="399" y="97"/>
                  <a:pt x="399" y="97"/>
                </a:cubicBezTo>
                <a:cubicBezTo>
                  <a:pt x="399" y="96"/>
                  <a:pt x="398" y="97"/>
                  <a:pt x="397" y="97"/>
                </a:cubicBezTo>
                <a:cubicBezTo>
                  <a:pt x="397" y="96"/>
                  <a:pt x="398" y="96"/>
                  <a:pt x="397" y="96"/>
                </a:cubicBezTo>
                <a:cubicBezTo>
                  <a:pt x="396" y="95"/>
                  <a:pt x="395" y="96"/>
                  <a:pt x="394" y="95"/>
                </a:cubicBezTo>
                <a:cubicBezTo>
                  <a:pt x="394" y="95"/>
                  <a:pt x="394" y="95"/>
                  <a:pt x="394" y="94"/>
                </a:cubicBezTo>
                <a:cubicBezTo>
                  <a:pt x="394" y="94"/>
                  <a:pt x="393" y="94"/>
                  <a:pt x="393" y="94"/>
                </a:cubicBezTo>
                <a:cubicBezTo>
                  <a:pt x="393" y="93"/>
                  <a:pt x="392" y="93"/>
                  <a:pt x="392" y="93"/>
                </a:cubicBezTo>
                <a:cubicBezTo>
                  <a:pt x="392" y="92"/>
                  <a:pt x="392" y="91"/>
                  <a:pt x="392" y="90"/>
                </a:cubicBezTo>
                <a:cubicBezTo>
                  <a:pt x="390" y="90"/>
                  <a:pt x="388" y="89"/>
                  <a:pt x="386" y="89"/>
                </a:cubicBezTo>
                <a:cubicBezTo>
                  <a:pt x="385" y="87"/>
                  <a:pt x="384" y="86"/>
                  <a:pt x="384" y="85"/>
                </a:cubicBezTo>
                <a:cubicBezTo>
                  <a:pt x="383" y="85"/>
                  <a:pt x="382" y="85"/>
                  <a:pt x="382" y="85"/>
                </a:cubicBezTo>
                <a:cubicBezTo>
                  <a:pt x="382" y="85"/>
                  <a:pt x="382" y="84"/>
                  <a:pt x="382" y="84"/>
                </a:cubicBezTo>
                <a:cubicBezTo>
                  <a:pt x="382" y="84"/>
                  <a:pt x="381" y="84"/>
                  <a:pt x="381" y="84"/>
                </a:cubicBezTo>
                <a:cubicBezTo>
                  <a:pt x="380" y="84"/>
                  <a:pt x="380" y="84"/>
                  <a:pt x="379" y="83"/>
                </a:cubicBezTo>
                <a:cubicBezTo>
                  <a:pt x="379" y="83"/>
                  <a:pt x="379" y="83"/>
                  <a:pt x="379" y="83"/>
                </a:cubicBezTo>
                <a:cubicBezTo>
                  <a:pt x="379" y="82"/>
                  <a:pt x="377" y="83"/>
                  <a:pt x="377" y="83"/>
                </a:cubicBezTo>
                <a:cubicBezTo>
                  <a:pt x="376" y="83"/>
                  <a:pt x="377" y="82"/>
                  <a:pt x="377" y="82"/>
                </a:cubicBezTo>
                <a:cubicBezTo>
                  <a:pt x="376" y="82"/>
                  <a:pt x="375" y="81"/>
                  <a:pt x="375" y="81"/>
                </a:cubicBezTo>
                <a:cubicBezTo>
                  <a:pt x="374" y="81"/>
                  <a:pt x="374" y="82"/>
                  <a:pt x="372" y="82"/>
                </a:cubicBezTo>
                <a:cubicBezTo>
                  <a:pt x="371" y="82"/>
                  <a:pt x="371" y="81"/>
                  <a:pt x="370" y="81"/>
                </a:cubicBezTo>
                <a:cubicBezTo>
                  <a:pt x="369" y="76"/>
                  <a:pt x="374" y="77"/>
                  <a:pt x="372" y="72"/>
                </a:cubicBezTo>
                <a:cubicBezTo>
                  <a:pt x="372" y="71"/>
                  <a:pt x="371" y="72"/>
                  <a:pt x="370" y="71"/>
                </a:cubicBezTo>
                <a:cubicBezTo>
                  <a:pt x="368" y="71"/>
                  <a:pt x="367" y="71"/>
                  <a:pt x="366" y="71"/>
                </a:cubicBezTo>
                <a:cubicBezTo>
                  <a:pt x="366" y="69"/>
                  <a:pt x="365" y="69"/>
                  <a:pt x="363" y="68"/>
                </a:cubicBezTo>
                <a:cubicBezTo>
                  <a:pt x="364" y="65"/>
                  <a:pt x="364" y="65"/>
                  <a:pt x="363" y="63"/>
                </a:cubicBezTo>
                <a:cubicBezTo>
                  <a:pt x="362" y="63"/>
                  <a:pt x="362" y="62"/>
                  <a:pt x="361" y="62"/>
                </a:cubicBezTo>
                <a:cubicBezTo>
                  <a:pt x="359" y="62"/>
                  <a:pt x="359" y="63"/>
                  <a:pt x="358" y="63"/>
                </a:cubicBezTo>
                <a:cubicBezTo>
                  <a:pt x="358" y="64"/>
                  <a:pt x="356" y="64"/>
                  <a:pt x="356" y="64"/>
                </a:cubicBezTo>
                <a:cubicBezTo>
                  <a:pt x="352" y="64"/>
                  <a:pt x="352" y="64"/>
                  <a:pt x="352" y="64"/>
                </a:cubicBezTo>
                <a:cubicBezTo>
                  <a:pt x="352" y="67"/>
                  <a:pt x="350" y="63"/>
                  <a:pt x="350" y="65"/>
                </a:cubicBezTo>
                <a:cubicBezTo>
                  <a:pt x="349" y="64"/>
                  <a:pt x="347" y="63"/>
                  <a:pt x="345" y="64"/>
                </a:cubicBezTo>
                <a:cubicBezTo>
                  <a:pt x="344" y="62"/>
                  <a:pt x="343" y="61"/>
                  <a:pt x="340" y="62"/>
                </a:cubicBezTo>
                <a:cubicBezTo>
                  <a:pt x="340" y="61"/>
                  <a:pt x="339" y="61"/>
                  <a:pt x="339" y="60"/>
                </a:cubicBezTo>
                <a:cubicBezTo>
                  <a:pt x="339" y="60"/>
                  <a:pt x="339" y="60"/>
                  <a:pt x="339" y="60"/>
                </a:cubicBezTo>
                <a:cubicBezTo>
                  <a:pt x="339" y="58"/>
                  <a:pt x="337" y="58"/>
                  <a:pt x="336" y="58"/>
                </a:cubicBezTo>
                <a:cubicBezTo>
                  <a:pt x="336" y="57"/>
                  <a:pt x="336" y="57"/>
                  <a:pt x="336" y="57"/>
                </a:cubicBezTo>
                <a:cubicBezTo>
                  <a:pt x="335" y="57"/>
                  <a:pt x="334" y="56"/>
                  <a:pt x="333" y="57"/>
                </a:cubicBezTo>
                <a:cubicBezTo>
                  <a:pt x="332" y="55"/>
                  <a:pt x="331" y="55"/>
                  <a:pt x="329" y="54"/>
                </a:cubicBezTo>
                <a:cubicBezTo>
                  <a:pt x="326" y="54"/>
                  <a:pt x="324" y="55"/>
                  <a:pt x="322" y="56"/>
                </a:cubicBezTo>
                <a:cubicBezTo>
                  <a:pt x="322" y="57"/>
                  <a:pt x="321" y="57"/>
                  <a:pt x="321" y="56"/>
                </a:cubicBezTo>
                <a:cubicBezTo>
                  <a:pt x="320" y="56"/>
                  <a:pt x="319" y="55"/>
                  <a:pt x="318" y="55"/>
                </a:cubicBezTo>
                <a:cubicBezTo>
                  <a:pt x="318" y="55"/>
                  <a:pt x="317" y="55"/>
                  <a:pt x="316" y="55"/>
                </a:cubicBezTo>
                <a:cubicBezTo>
                  <a:pt x="316" y="54"/>
                  <a:pt x="315" y="53"/>
                  <a:pt x="314" y="53"/>
                </a:cubicBezTo>
                <a:cubicBezTo>
                  <a:pt x="314" y="52"/>
                  <a:pt x="313" y="52"/>
                  <a:pt x="312" y="52"/>
                </a:cubicBezTo>
                <a:cubicBezTo>
                  <a:pt x="312" y="52"/>
                  <a:pt x="312" y="51"/>
                  <a:pt x="311" y="51"/>
                </a:cubicBezTo>
                <a:cubicBezTo>
                  <a:pt x="310" y="50"/>
                  <a:pt x="310" y="48"/>
                  <a:pt x="309" y="47"/>
                </a:cubicBezTo>
                <a:cubicBezTo>
                  <a:pt x="308" y="47"/>
                  <a:pt x="308" y="47"/>
                  <a:pt x="307" y="46"/>
                </a:cubicBezTo>
                <a:cubicBezTo>
                  <a:pt x="306" y="46"/>
                  <a:pt x="305" y="45"/>
                  <a:pt x="303" y="46"/>
                </a:cubicBezTo>
                <a:cubicBezTo>
                  <a:pt x="303" y="46"/>
                  <a:pt x="303" y="46"/>
                  <a:pt x="303" y="46"/>
                </a:cubicBezTo>
                <a:cubicBezTo>
                  <a:pt x="302" y="46"/>
                  <a:pt x="300" y="46"/>
                  <a:pt x="301" y="48"/>
                </a:cubicBezTo>
                <a:cubicBezTo>
                  <a:pt x="300" y="48"/>
                  <a:pt x="300" y="48"/>
                  <a:pt x="300" y="48"/>
                </a:cubicBezTo>
                <a:cubicBezTo>
                  <a:pt x="300" y="48"/>
                  <a:pt x="299" y="48"/>
                  <a:pt x="300" y="48"/>
                </a:cubicBezTo>
                <a:cubicBezTo>
                  <a:pt x="300" y="47"/>
                  <a:pt x="300" y="47"/>
                  <a:pt x="300" y="46"/>
                </a:cubicBezTo>
                <a:cubicBezTo>
                  <a:pt x="298" y="47"/>
                  <a:pt x="297" y="46"/>
                  <a:pt x="296" y="46"/>
                </a:cubicBezTo>
                <a:cubicBezTo>
                  <a:pt x="296" y="46"/>
                  <a:pt x="295" y="45"/>
                  <a:pt x="294" y="46"/>
                </a:cubicBezTo>
                <a:cubicBezTo>
                  <a:pt x="294" y="46"/>
                  <a:pt x="294" y="46"/>
                  <a:pt x="294" y="46"/>
                </a:cubicBezTo>
                <a:cubicBezTo>
                  <a:pt x="292" y="46"/>
                  <a:pt x="292" y="46"/>
                  <a:pt x="291" y="46"/>
                </a:cubicBezTo>
                <a:cubicBezTo>
                  <a:pt x="290" y="46"/>
                  <a:pt x="290" y="47"/>
                  <a:pt x="289" y="47"/>
                </a:cubicBezTo>
                <a:cubicBezTo>
                  <a:pt x="286" y="46"/>
                  <a:pt x="281" y="47"/>
                  <a:pt x="278" y="45"/>
                </a:cubicBezTo>
                <a:cubicBezTo>
                  <a:pt x="277" y="45"/>
                  <a:pt x="275" y="45"/>
                  <a:pt x="273" y="45"/>
                </a:cubicBezTo>
                <a:cubicBezTo>
                  <a:pt x="273" y="44"/>
                  <a:pt x="273" y="44"/>
                  <a:pt x="272" y="44"/>
                </a:cubicBezTo>
                <a:cubicBezTo>
                  <a:pt x="272" y="44"/>
                  <a:pt x="272" y="44"/>
                  <a:pt x="271" y="44"/>
                </a:cubicBezTo>
                <a:cubicBezTo>
                  <a:pt x="271" y="43"/>
                  <a:pt x="271" y="43"/>
                  <a:pt x="271" y="43"/>
                </a:cubicBezTo>
                <a:cubicBezTo>
                  <a:pt x="271" y="43"/>
                  <a:pt x="271" y="43"/>
                  <a:pt x="271" y="43"/>
                </a:cubicBezTo>
                <a:cubicBezTo>
                  <a:pt x="271" y="42"/>
                  <a:pt x="270" y="41"/>
                  <a:pt x="269" y="42"/>
                </a:cubicBezTo>
                <a:cubicBezTo>
                  <a:pt x="269" y="42"/>
                  <a:pt x="269" y="42"/>
                  <a:pt x="269" y="42"/>
                </a:cubicBezTo>
                <a:cubicBezTo>
                  <a:pt x="268" y="42"/>
                  <a:pt x="268" y="42"/>
                  <a:pt x="268" y="42"/>
                </a:cubicBezTo>
                <a:cubicBezTo>
                  <a:pt x="268" y="41"/>
                  <a:pt x="267" y="41"/>
                  <a:pt x="267" y="41"/>
                </a:cubicBezTo>
                <a:cubicBezTo>
                  <a:pt x="267" y="41"/>
                  <a:pt x="266" y="41"/>
                  <a:pt x="266" y="41"/>
                </a:cubicBezTo>
                <a:cubicBezTo>
                  <a:pt x="265" y="40"/>
                  <a:pt x="265" y="39"/>
                  <a:pt x="263" y="39"/>
                </a:cubicBezTo>
                <a:cubicBezTo>
                  <a:pt x="263" y="39"/>
                  <a:pt x="263" y="39"/>
                  <a:pt x="263" y="39"/>
                </a:cubicBezTo>
                <a:cubicBezTo>
                  <a:pt x="262" y="38"/>
                  <a:pt x="262" y="38"/>
                  <a:pt x="261" y="37"/>
                </a:cubicBezTo>
                <a:cubicBezTo>
                  <a:pt x="260" y="37"/>
                  <a:pt x="260" y="37"/>
                  <a:pt x="260" y="37"/>
                </a:cubicBezTo>
                <a:cubicBezTo>
                  <a:pt x="259" y="36"/>
                  <a:pt x="258" y="36"/>
                  <a:pt x="257" y="36"/>
                </a:cubicBezTo>
                <a:cubicBezTo>
                  <a:pt x="257" y="36"/>
                  <a:pt x="257" y="36"/>
                  <a:pt x="257" y="36"/>
                </a:cubicBezTo>
                <a:cubicBezTo>
                  <a:pt x="256" y="35"/>
                  <a:pt x="255" y="36"/>
                  <a:pt x="255" y="35"/>
                </a:cubicBezTo>
                <a:cubicBezTo>
                  <a:pt x="255" y="34"/>
                  <a:pt x="255" y="34"/>
                  <a:pt x="255" y="34"/>
                </a:cubicBezTo>
                <a:cubicBezTo>
                  <a:pt x="255" y="34"/>
                  <a:pt x="255" y="34"/>
                  <a:pt x="255" y="34"/>
                </a:cubicBezTo>
                <a:cubicBezTo>
                  <a:pt x="255" y="34"/>
                  <a:pt x="254" y="33"/>
                  <a:pt x="254" y="33"/>
                </a:cubicBezTo>
                <a:cubicBezTo>
                  <a:pt x="254" y="33"/>
                  <a:pt x="254" y="33"/>
                  <a:pt x="254" y="32"/>
                </a:cubicBezTo>
                <a:cubicBezTo>
                  <a:pt x="253" y="32"/>
                  <a:pt x="253" y="32"/>
                  <a:pt x="253" y="32"/>
                </a:cubicBezTo>
                <a:cubicBezTo>
                  <a:pt x="252" y="32"/>
                  <a:pt x="252" y="32"/>
                  <a:pt x="252" y="32"/>
                </a:cubicBezTo>
                <a:cubicBezTo>
                  <a:pt x="252" y="31"/>
                  <a:pt x="251" y="31"/>
                  <a:pt x="250" y="31"/>
                </a:cubicBezTo>
                <a:cubicBezTo>
                  <a:pt x="250" y="31"/>
                  <a:pt x="250" y="31"/>
                  <a:pt x="250" y="31"/>
                </a:cubicBezTo>
                <a:cubicBezTo>
                  <a:pt x="249" y="29"/>
                  <a:pt x="248" y="30"/>
                  <a:pt x="246" y="30"/>
                </a:cubicBezTo>
                <a:cubicBezTo>
                  <a:pt x="246" y="30"/>
                  <a:pt x="246" y="30"/>
                  <a:pt x="246" y="30"/>
                </a:cubicBezTo>
                <a:cubicBezTo>
                  <a:pt x="244" y="29"/>
                  <a:pt x="243" y="28"/>
                  <a:pt x="241" y="28"/>
                </a:cubicBezTo>
                <a:cubicBezTo>
                  <a:pt x="240" y="25"/>
                  <a:pt x="238" y="23"/>
                  <a:pt x="235" y="21"/>
                </a:cubicBezTo>
                <a:cubicBezTo>
                  <a:pt x="234" y="21"/>
                  <a:pt x="235" y="23"/>
                  <a:pt x="234" y="23"/>
                </a:cubicBezTo>
                <a:cubicBezTo>
                  <a:pt x="230" y="22"/>
                  <a:pt x="231" y="25"/>
                  <a:pt x="227" y="24"/>
                </a:cubicBezTo>
                <a:cubicBezTo>
                  <a:pt x="225" y="25"/>
                  <a:pt x="225" y="22"/>
                  <a:pt x="223" y="22"/>
                </a:cubicBezTo>
                <a:cubicBezTo>
                  <a:pt x="220" y="23"/>
                  <a:pt x="218" y="21"/>
                  <a:pt x="215" y="21"/>
                </a:cubicBezTo>
                <a:cubicBezTo>
                  <a:pt x="215" y="21"/>
                  <a:pt x="214" y="21"/>
                  <a:pt x="214" y="21"/>
                </a:cubicBezTo>
                <a:cubicBezTo>
                  <a:pt x="214" y="21"/>
                  <a:pt x="214" y="21"/>
                  <a:pt x="214" y="21"/>
                </a:cubicBezTo>
                <a:cubicBezTo>
                  <a:pt x="213" y="21"/>
                  <a:pt x="212" y="20"/>
                  <a:pt x="211" y="20"/>
                </a:cubicBezTo>
                <a:cubicBezTo>
                  <a:pt x="210" y="20"/>
                  <a:pt x="210" y="20"/>
                  <a:pt x="210" y="20"/>
                </a:cubicBezTo>
                <a:cubicBezTo>
                  <a:pt x="210" y="20"/>
                  <a:pt x="210" y="20"/>
                  <a:pt x="210" y="20"/>
                </a:cubicBezTo>
                <a:cubicBezTo>
                  <a:pt x="209" y="20"/>
                  <a:pt x="209" y="20"/>
                  <a:pt x="209" y="20"/>
                </a:cubicBezTo>
                <a:cubicBezTo>
                  <a:pt x="208" y="20"/>
                  <a:pt x="207" y="19"/>
                  <a:pt x="206" y="18"/>
                </a:cubicBezTo>
                <a:cubicBezTo>
                  <a:pt x="206" y="18"/>
                  <a:pt x="206" y="18"/>
                  <a:pt x="206" y="18"/>
                </a:cubicBezTo>
                <a:cubicBezTo>
                  <a:pt x="205" y="19"/>
                  <a:pt x="205" y="19"/>
                  <a:pt x="205" y="19"/>
                </a:cubicBezTo>
                <a:cubicBezTo>
                  <a:pt x="203" y="19"/>
                  <a:pt x="202" y="18"/>
                  <a:pt x="201" y="17"/>
                </a:cubicBezTo>
                <a:cubicBezTo>
                  <a:pt x="199" y="17"/>
                  <a:pt x="198" y="17"/>
                  <a:pt x="198" y="18"/>
                </a:cubicBezTo>
                <a:cubicBezTo>
                  <a:pt x="197" y="18"/>
                  <a:pt x="197" y="18"/>
                  <a:pt x="196" y="18"/>
                </a:cubicBezTo>
                <a:cubicBezTo>
                  <a:pt x="196" y="18"/>
                  <a:pt x="196" y="18"/>
                  <a:pt x="196" y="17"/>
                </a:cubicBezTo>
                <a:cubicBezTo>
                  <a:pt x="196" y="17"/>
                  <a:pt x="196" y="17"/>
                  <a:pt x="196" y="17"/>
                </a:cubicBezTo>
                <a:cubicBezTo>
                  <a:pt x="196" y="16"/>
                  <a:pt x="195" y="16"/>
                  <a:pt x="193" y="16"/>
                </a:cubicBezTo>
                <a:cubicBezTo>
                  <a:pt x="193" y="16"/>
                  <a:pt x="193" y="16"/>
                  <a:pt x="193" y="16"/>
                </a:cubicBezTo>
                <a:cubicBezTo>
                  <a:pt x="192" y="16"/>
                  <a:pt x="192" y="16"/>
                  <a:pt x="191" y="16"/>
                </a:cubicBezTo>
                <a:cubicBezTo>
                  <a:pt x="191" y="15"/>
                  <a:pt x="190" y="15"/>
                  <a:pt x="190" y="14"/>
                </a:cubicBezTo>
                <a:cubicBezTo>
                  <a:pt x="190" y="13"/>
                  <a:pt x="189" y="12"/>
                  <a:pt x="188" y="12"/>
                </a:cubicBezTo>
                <a:cubicBezTo>
                  <a:pt x="189" y="11"/>
                  <a:pt x="189" y="9"/>
                  <a:pt x="188" y="8"/>
                </a:cubicBezTo>
                <a:cubicBezTo>
                  <a:pt x="188" y="6"/>
                  <a:pt x="185" y="7"/>
                  <a:pt x="185" y="5"/>
                </a:cubicBezTo>
                <a:cubicBezTo>
                  <a:pt x="184" y="5"/>
                  <a:pt x="184" y="5"/>
                  <a:pt x="183" y="5"/>
                </a:cubicBezTo>
                <a:cubicBezTo>
                  <a:pt x="182" y="5"/>
                  <a:pt x="182" y="5"/>
                  <a:pt x="182" y="6"/>
                </a:cubicBezTo>
                <a:cubicBezTo>
                  <a:pt x="181" y="6"/>
                  <a:pt x="181" y="5"/>
                  <a:pt x="181" y="5"/>
                </a:cubicBezTo>
                <a:cubicBezTo>
                  <a:pt x="180" y="5"/>
                  <a:pt x="180" y="5"/>
                  <a:pt x="179" y="5"/>
                </a:cubicBezTo>
                <a:cubicBezTo>
                  <a:pt x="179" y="4"/>
                  <a:pt x="179" y="3"/>
                  <a:pt x="179" y="2"/>
                </a:cubicBezTo>
                <a:cubicBezTo>
                  <a:pt x="179" y="2"/>
                  <a:pt x="179" y="2"/>
                  <a:pt x="179" y="1"/>
                </a:cubicBezTo>
                <a:cubicBezTo>
                  <a:pt x="179" y="1"/>
                  <a:pt x="178" y="1"/>
                  <a:pt x="178" y="1"/>
                </a:cubicBezTo>
                <a:cubicBezTo>
                  <a:pt x="178" y="1"/>
                  <a:pt x="178" y="1"/>
                  <a:pt x="178" y="1"/>
                </a:cubicBezTo>
                <a:cubicBezTo>
                  <a:pt x="178" y="1"/>
                  <a:pt x="178" y="1"/>
                  <a:pt x="178" y="1"/>
                </a:cubicBezTo>
                <a:cubicBezTo>
                  <a:pt x="178" y="3"/>
                  <a:pt x="175" y="2"/>
                  <a:pt x="175" y="3"/>
                </a:cubicBezTo>
                <a:cubicBezTo>
                  <a:pt x="175" y="3"/>
                  <a:pt x="175" y="3"/>
                  <a:pt x="174" y="3"/>
                </a:cubicBezTo>
                <a:cubicBezTo>
                  <a:pt x="174" y="4"/>
                  <a:pt x="173" y="4"/>
                  <a:pt x="172" y="4"/>
                </a:cubicBezTo>
                <a:cubicBezTo>
                  <a:pt x="172" y="2"/>
                  <a:pt x="173" y="2"/>
                  <a:pt x="174" y="0"/>
                </a:cubicBezTo>
                <a:cubicBezTo>
                  <a:pt x="172" y="0"/>
                  <a:pt x="171" y="0"/>
                  <a:pt x="170" y="1"/>
                </a:cubicBezTo>
                <a:cubicBezTo>
                  <a:pt x="170" y="1"/>
                  <a:pt x="170" y="1"/>
                  <a:pt x="170" y="1"/>
                </a:cubicBezTo>
                <a:cubicBezTo>
                  <a:pt x="168" y="0"/>
                  <a:pt x="167" y="2"/>
                  <a:pt x="166" y="2"/>
                </a:cubicBezTo>
                <a:cubicBezTo>
                  <a:pt x="166" y="2"/>
                  <a:pt x="166" y="2"/>
                  <a:pt x="166" y="2"/>
                </a:cubicBezTo>
                <a:cubicBezTo>
                  <a:pt x="165" y="2"/>
                  <a:pt x="165" y="2"/>
                  <a:pt x="165" y="2"/>
                </a:cubicBezTo>
                <a:cubicBezTo>
                  <a:pt x="165" y="3"/>
                  <a:pt x="164" y="3"/>
                  <a:pt x="164" y="3"/>
                </a:cubicBezTo>
                <a:cubicBezTo>
                  <a:pt x="164" y="3"/>
                  <a:pt x="163" y="3"/>
                  <a:pt x="163" y="3"/>
                </a:cubicBezTo>
                <a:cubicBezTo>
                  <a:pt x="162" y="4"/>
                  <a:pt x="162" y="4"/>
                  <a:pt x="161" y="4"/>
                </a:cubicBezTo>
                <a:cubicBezTo>
                  <a:pt x="160" y="5"/>
                  <a:pt x="160" y="5"/>
                  <a:pt x="160" y="5"/>
                </a:cubicBezTo>
                <a:cubicBezTo>
                  <a:pt x="159" y="6"/>
                  <a:pt x="158" y="5"/>
                  <a:pt x="157" y="6"/>
                </a:cubicBezTo>
                <a:cubicBezTo>
                  <a:pt x="157" y="6"/>
                  <a:pt x="157" y="6"/>
                  <a:pt x="157" y="6"/>
                </a:cubicBezTo>
                <a:cubicBezTo>
                  <a:pt x="156" y="6"/>
                  <a:pt x="156" y="7"/>
                  <a:pt x="155" y="7"/>
                </a:cubicBezTo>
                <a:cubicBezTo>
                  <a:pt x="154" y="7"/>
                  <a:pt x="155" y="9"/>
                  <a:pt x="154" y="9"/>
                </a:cubicBezTo>
                <a:cubicBezTo>
                  <a:pt x="155" y="11"/>
                  <a:pt x="158" y="14"/>
                  <a:pt x="156" y="16"/>
                </a:cubicBezTo>
                <a:cubicBezTo>
                  <a:pt x="155" y="17"/>
                  <a:pt x="156" y="15"/>
                  <a:pt x="156" y="14"/>
                </a:cubicBezTo>
                <a:cubicBezTo>
                  <a:pt x="156" y="14"/>
                  <a:pt x="155" y="14"/>
                  <a:pt x="155" y="14"/>
                </a:cubicBezTo>
                <a:cubicBezTo>
                  <a:pt x="155" y="14"/>
                  <a:pt x="154" y="13"/>
                  <a:pt x="154" y="13"/>
                </a:cubicBezTo>
                <a:cubicBezTo>
                  <a:pt x="153" y="13"/>
                  <a:pt x="153" y="13"/>
                  <a:pt x="153" y="13"/>
                </a:cubicBezTo>
                <a:cubicBezTo>
                  <a:pt x="153" y="13"/>
                  <a:pt x="153" y="14"/>
                  <a:pt x="152" y="14"/>
                </a:cubicBezTo>
                <a:cubicBezTo>
                  <a:pt x="152" y="14"/>
                  <a:pt x="152" y="14"/>
                  <a:pt x="152" y="15"/>
                </a:cubicBezTo>
                <a:cubicBezTo>
                  <a:pt x="151" y="15"/>
                  <a:pt x="150" y="14"/>
                  <a:pt x="150" y="13"/>
                </a:cubicBezTo>
                <a:cubicBezTo>
                  <a:pt x="150" y="13"/>
                  <a:pt x="150" y="13"/>
                  <a:pt x="149" y="13"/>
                </a:cubicBezTo>
                <a:cubicBezTo>
                  <a:pt x="149" y="13"/>
                  <a:pt x="149" y="13"/>
                  <a:pt x="149" y="13"/>
                </a:cubicBezTo>
                <a:cubicBezTo>
                  <a:pt x="148" y="14"/>
                  <a:pt x="146" y="14"/>
                  <a:pt x="145" y="15"/>
                </a:cubicBezTo>
                <a:cubicBezTo>
                  <a:pt x="145" y="15"/>
                  <a:pt x="145" y="15"/>
                  <a:pt x="145" y="15"/>
                </a:cubicBezTo>
                <a:cubicBezTo>
                  <a:pt x="143" y="14"/>
                  <a:pt x="142" y="14"/>
                  <a:pt x="140" y="14"/>
                </a:cubicBezTo>
                <a:cubicBezTo>
                  <a:pt x="140" y="13"/>
                  <a:pt x="138" y="14"/>
                  <a:pt x="138" y="13"/>
                </a:cubicBezTo>
                <a:cubicBezTo>
                  <a:pt x="136" y="13"/>
                  <a:pt x="136" y="12"/>
                  <a:pt x="136" y="12"/>
                </a:cubicBezTo>
                <a:cubicBezTo>
                  <a:pt x="134" y="12"/>
                  <a:pt x="135" y="13"/>
                  <a:pt x="133" y="13"/>
                </a:cubicBezTo>
                <a:cubicBezTo>
                  <a:pt x="130" y="13"/>
                  <a:pt x="130" y="15"/>
                  <a:pt x="129" y="16"/>
                </a:cubicBezTo>
                <a:cubicBezTo>
                  <a:pt x="126" y="16"/>
                  <a:pt x="126" y="15"/>
                  <a:pt x="124" y="15"/>
                </a:cubicBezTo>
                <a:cubicBezTo>
                  <a:pt x="123" y="15"/>
                  <a:pt x="124" y="16"/>
                  <a:pt x="124" y="17"/>
                </a:cubicBezTo>
                <a:cubicBezTo>
                  <a:pt x="124" y="17"/>
                  <a:pt x="123" y="17"/>
                  <a:pt x="123" y="18"/>
                </a:cubicBezTo>
                <a:cubicBezTo>
                  <a:pt x="123" y="18"/>
                  <a:pt x="123" y="18"/>
                  <a:pt x="123" y="19"/>
                </a:cubicBezTo>
                <a:cubicBezTo>
                  <a:pt x="122" y="18"/>
                  <a:pt x="122" y="19"/>
                  <a:pt x="121" y="19"/>
                </a:cubicBezTo>
                <a:cubicBezTo>
                  <a:pt x="120" y="19"/>
                  <a:pt x="120" y="18"/>
                  <a:pt x="120" y="19"/>
                </a:cubicBezTo>
                <a:cubicBezTo>
                  <a:pt x="120" y="20"/>
                  <a:pt x="119" y="21"/>
                  <a:pt x="118" y="21"/>
                </a:cubicBezTo>
                <a:cubicBezTo>
                  <a:pt x="118" y="22"/>
                  <a:pt x="118" y="24"/>
                  <a:pt x="118" y="25"/>
                </a:cubicBezTo>
                <a:cubicBezTo>
                  <a:pt x="117" y="25"/>
                  <a:pt x="117" y="27"/>
                  <a:pt x="116" y="28"/>
                </a:cubicBezTo>
                <a:cubicBezTo>
                  <a:pt x="117" y="30"/>
                  <a:pt x="118" y="26"/>
                  <a:pt x="120" y="27"/>
                </a:cubicBezTo>
                <a:cubicBezTo>
                  <a:pt x="121" y="28"/>
                  <a:pt x="121" y="31"/>
                  <a:pt x="122" y="32"/>
                </a:cubicBezTo>
                <a:cubicBezTo>
                  <a:pt x="119" y="33"/>
                  <a:pt x="122" y="34"/>
                  <a:pt x="121" y="37"/>
                </a:cubicBezTo>
                <a:cubicBezTo>
                  <a:pt x="122" y="37"/>
                  <a:pt x="123" y="36"/>
                  <a:pt x="124" y="36"/>
                </a:cubicBezTo>
                <a:cubicBezTo>
                  <a:pt x="124" y="35"/>
                  <a:pt x="126" y="35"/>
                  <a:pt x="126" y="36"/>
                </a:cubicBezTo>
                <a:cubicBezTo>
                  <a:pt x="126" y="37"/>
                  <a:pt x="126" y="38"/>
                  <a:pt x="124" y="38"/>
                </a:cubicBezTo>
                <a:cubicBezTo>
                  <a:pt x="124" y="39"/>
                  <a:pt x="124" y="40"/>
                  <a:pt x="123" y="40"/>
                </a:cubicBezTo>
                <a:cubicBezTo>
                  <a:pt x="122" y="42"/>
                  <a:pt x="121" y="43"/>
                  <a:pt x="122" y="46"/>
                </a:cubicBezTo>
                <a:cubicBezTo>
                  <a:pt x="123" y="46"/>
                  <a:pt x="123" y="45"/>
                  <a:pt x="124" y="45"/>
                </a:cubicBezTo>
                <a:cubicBezTo>
                  <a:pt x="124" y="45"/>
                  <a:pt x="124" y="45"/>
                  <a:pt x="124" y="45"/>
                </a:cubicBezTo>
                <a:cubicBezTo>
                  <a:pt x="124" y="45"/>
                  <a:pt x="125" y="45"/>
                  <a:pt x="125" y="45"/>
                </a:cubicBezTo>
                <a:cubicBezTo>
                  <a:pt x="127" y="46"/>
                  <a:pt x="127" y="43"/>
                  <a:pt x="128" y="43"/>
                </a:cubicBezTo>
                <a:cubicBezTo>
                  <a:pt x="128" y="43"/>
                  <a:pt x="128" y="43"/>
                  <a:pt x="128" y="43"/>
                </a:cubicBezTo>
                <a:cubicBezTo>
                  <a:pt x="128" y="43"/>
                  <a:pt x="129" y="43"/>
                  <a:pt x="129" y="43"/>
                </a:cubicBezTo>
                <a:cubicBezTo>
                  <a:pt x="131" y="43"/>
                  <a:pt x="131" y="43"/>
                  <a:pt x="130" y="45"/>
                </a:cubicBezTo>
                <a:cubicBezTo>
                  <a:pt x="130" y="45"/>
                  <a:pt x="130" y="45"/>
                  <a:pt x="130" y="45"/>
                </a:cubicBezTo>
                <a:cubicBezTo>
                  <a:pt x="129" y="45"/>
                  <a:pt x="129" y="45"/>
                  <a:pt x="129" y="46"/>
                </a:cubicBezTo>
                <a:cubicBezTo>
                  <a:pt x="127" y="45"/>
                  <a:pt x="127" y="47"/>
                  <a:pt x="127" y="48"/>
                </a:cubicBezTo>
                <a:cubicBezTo>
                  <a:pt x="126" y="49"/>
                  <a:pt x="124" y="49"/>
                  <a:pt x="124" y="51"/>
                </a:cubicBezTo>
                <a:cubicBezTo>
                  <a:pt x="124" y="51"/>
                  <a:pt x="125" y="51"/>
                  <a:pt x="125" y="52"/>
                </a:cubicBezTo>
                <a:cubicBezTo>
                  <a:pt x="125" y="53"/>
                  <a:pt x="126" y="53"/>
                  <a:pt x="126" y="53"/>
                </a:cubicBezTo>
                <a:cubicBezTo>
                  <a:pt x="127" y="53"/>
                  <a:pt x="128" y="54"/>
                  <a:pt x="129" y="55"/>
                </a:cubicBezTo>
                <a:cubicBezTo>
                  <a:pt x="129" y="57"/>
                  <a:pt x="126" y="56"/>
                  <a:pt x="125" y="56"/>
                </a:cubicBezTo>
                <a:cubicBezTo>
                  <a:pt x="124" y="57"/>
                  <a:pt x="123" y="57"/>
                  <a:pt x="123" y="59"/>
                </a:cubicBezTo>
                <a:cubicBezTo>
                  <a:pt x="123" y="60"/>
                  <a:pt x="126" y="59"/>
                  <a:pt x="127" y="60"/>
                </a:cubicBezTo>
                <a:cubicBezTo>
                  <a:pt x="127" y="58"/>
                  <a:pt x="131" y="60"/>
                  <a:pt x="131" y="58"/>
                </a:cubicBezTo>
                <a:cubicBezTo>
                  <a:pt x="132" y="58"/>
                  <a:pt x="131" y="60"/>
                  <a:pt x="131" y="60"/>
                </a:cubicBezTo>
                <a:cubicBezTo>
                  <a:pt x="131" y="60"/>
                  <a:pt x="130" y="60"/>
                  <a:pt x="129" y="60"/>
                </a:cubicBezTo>
                <a:cubicBezTo>
                  <a:pt x="129" y="61"/>
                  <a:pt x="128" y="62"/>
                  <a:pt x="126" y="62"/>
                </a:cubicBezTo>
                <a:cubicBezTo>
                  <a:pt x="125" y="63"/>
                  <a:pt x="124" y="64"/>
                  <a:pt x="123" y="66"/>
                </a:cubicBezTo>
                <a:cubicBezTo>
                  <a:pt x="121" y="66"/>
                  <a:pt x="121" y="67"/>
                  <a:pt x="120" y="67"/>
                </a:cubicBezTo>
                <a:cubicBezTo>
                  <a:pt x="119" y="67"/>
                  <a:pt x="119" y="67"/>
                  <a:pt x="119" y="67"/>
                </a:cubicBezTo>
                <a:cubicBezTo>
                  <a:pt x="119" y="67"/>
                  <a:pt x="119" y="67"/>
                  <a:pt x="119" y="67"/>
                </a:cubicBezTo>
                <a:cubicBezTo>
                  <a:pt x="119" y="69"/>
                  <a:pt x="118" y="69"/>
                  <a:pt x="119" y="71"/>
                </a:cubicBezTo>
                <a:cubicBezTo>
                  <a:pt x="119" y="71"/>
                  <a:pt x="119" y="71"/>
                  <a:pt x="119" y="71"/>
                </a:cubicBezTo>
                <a:cubicBezTo>
                  <a:pt x="119" y="71"/>
                  <a:pt x="119" y="71"/>
                  <a:pt x="118" y="71"/>
                </a:cubicBezTo>
                <a:cubicBezTo>
                  <a:pt x="119" y="74"/>
                  <a:pt x="118" y="75"/>
                  <a:pt x="117" y="76"/>
                </a:cubicBezTo>
                <a:cubicBezTo>
                  <a:pt x="119" y="76"/>
                  <a:pt x="119" y="74"/>
                  <a:pt x="121" y="74"/>
                </a:cubicBezTo>
                <a:cubicBezTo>
                  <a:pt x="123" y="74"/>
                  <a:pt x="122" y="72"/>
                  <a:pt x="124" y="72"/>
                </a:cubicBezTo>
                <a:cubicBezTo>
                  <a:pt x="124" y="72"/>
                  <a:pt x="124" y="71"/>
                  <a:pt x="124" y="71"/>
                </a:cubicBezTo>
                <a:cubicBezTo>
                  <a:pt x="125" y="71"/>
                  <a:pt x="126" y="70"/>
                  <a:pt x="127" y="70"/>
                </a:cubicBezTo>
                <a:cubicBezTo>
                  <a:pt x="128" y="70"/>
                  <a:pt x="130" y="70"/>
                  <a:pt x="131" y="70"/>
                </a:cubicBezTo>
                <a:cubicBezTo>
                  <a:pt x="132" y="70"/>
                  <a:pt x="132" y="69"/>
                  <a:pt x="133" y="69"/>
                </a:cubicBezTo>
                <a:cubicBezTo>
                  <a:pt x="134" y="69"/>
                  <a:pt x="134" y="70"/>
                  <a:pt x="134" y="70"/>
                </a:cubicBezTo>
                <a:cubicBezTo>
                  <a:pt x="136" y="71"/>
                  <a:pt x="137" y="70"/>
                  <a:pt x="138" y="70"/>
                </a:cubicBezTo>
                <a:cubicBezTo>
                  <a:pt x="140" y="70"/>
                  <a:pt x="140" y="68"/>
                  <a:pt x="142" y="69"/>
                </a:cubicBezTo>
                <a:cubicBezTo>
                  <a:pt x="142" y="69"/>
                  <a:pt x="142" y="69"/>
                  <a:pt x="143" y="69"/>
                </a:cubicBezTo>
                <a:cubicBezTo>
                  <a:pt x="143" y="70"/>
                  <a:pt x="143" y="71"/>
                  <a:pt x="144" y="71"/>
                </a:cubicBezTo>
                <a:cubicBezTo>
                  <a:pt x="145" y="72"/>
                  <a:pt x="146" y="73"/>
                  <a:pt x="146" y="74"/>
                </a:cubicBezTo>
                <a:cubicBezTo>
                  <a:pt x="146" y="75"/>
                  <a:pt x="146" y="76"/>
                  <a:pt x="146" y="78"/>
                </a:cubicBezTo>
                <a:cubicBezTo>
                  <a:pt x="145" y="79"/>
                  <a:pt x="143" y="78"/>
                  <a:pt x="142" y="79"/>
                </a:cubicBezTo>
                <a:cubicBezTo>
                  <a:pt x="142" y="81"/>
                  <a:pt x="142" y="83"/>
                  <a:pt x="142" y="85"/>
                </a:cubicBezTo>
                <a:cubicBezTo>
                  <a:pt x="142" y="85"/>
                  <a:pt x="143" y="85"/>
                  <a:pt x="143" y="85"/>
                </a:cubicBezTo>
                <a:cubicBezTo>
                  <a:pt x="146" y="84"/>
                  <a:pt x="146" y="80"/>
                  <a:pt x="150" y="81"/>
                </a:cubicBezTo>
                <a:cubicBezTo>
                  <a:pt x="151" y="82"/>
                  <a:pt x="151" y="83"/>
                  <a:pt x="151" y="85"/>
                </a:cubicBezTo>
                <a:cubicBezTo>
                  <a:pt x="154" y="84"/>
                  <a:pt x="157" y="85"/>
                  <a:pt x="159" y="85"/>
                </a:cubicBezTo>
                <a:cubicBezTo>
                  <a:pt x="159" y="87"/>
                  <a:pt x="161" y="87"/>
                  <a:pt x="161" y="88"/>
                </a:cubicBezTo>
                <a:cubicBezTo>
                  <a:pt x="162" y="88"/>
                  <a:pt x="163" y="88"/>
                  <a:pt x="164" y="88"/>
                </a:cubicBezTo>
                <a:cubicBezTo>
                  <a:pt x="164" y="90"/>
                  <a:pt x="165" y="90"/>
                  <a:pt x="166" y="90"/>
                </a:cubicBezTo>
                <a:cubicBezTo>
                  <a:pt x="168" y="90"/>
                  <a:pt x="169" y="89"/>
                  <a:pt x="171" y="90"/>
                </a:cubicBezTo>
                <a:cubicBezTo>
                  <a:pt x="171" y="89"/>
                  <a:pt x="171" y="88"/>
                  <a:pt x="171" y="87"/>
                </a:cubicBezTo>
                <a:cubicBezTo>
                  <a:pt x="171" y="86"/>
                  <a:pt x="171" y="86"/>
                  <a:pt x="172" y="86"/>
                </a:cubicBezTo>
                <a:cubicBezTo>
                  <a:pt x="172" y="86"/>
                  <a:pt x="172" y="85"/>
                  <a:pt x="172" y="85"/>
                </a:cubicBezTo>
                <a:cubicBezTo>
                  <a:pt x="176" y="85"/>
                  <a:pt x="178" y="86"/>
                  <a:pt x="181" y="87"/>
                </a:cubicBezTo>
                <a:cubicBezTo>
                  <a:pt x="182" y="88"/>
                  <a:pt x="182" y="89"/>
                  <a:pt x="182" y="90"/>
                </a:cubicBezTo>
                <a:cubicBezTo>
                  <a:pt x="184" y="90"/>
                  <a:pt x="184" y="87"/>
                  <a:pt x="186" y="88"/>
                </a:cubicBezTo>
                <a:cubicBezTo>
                  <a:pt x="187" y="89"/>
                  <a:pt x="187" y="89"/>
                  <a:pt x="188" y="89"/>
                </a:cubicBezTo>
                <a:cubicBezTo>
                  <a:pt x="188" y="90"/>
                  <a:pt x="188" y="90"/>
                  <a:pt x="188" y="91"/>
                </a:cubicBezTo>
                <a:cubicBezTo>
                  <a:pt x="189" y="91"/>
                  <a:pt x="189" y="91"/>
                  <a:pt x="189" y="91"/>
                </a:cubicBezTo>
                <a:cubicBezTo>
                  <a:pt x="190" y="91"/>
                  <a:pt x="190" y="91"/>
                  <a:pt x="190" y="91"/>
                </a:cubicBezTo>
                <a:cubicBezTo>
                  <a:pt x="191" y="90"/>
                  <a:pt x="193" y="90"/>
                  <a:pt x="194" y="90"/>
                </a:cubicBezTo>
                <a:cubicBezTo>
                  <a:pt x="194" y="90"/>
                  <a:pt x="194" y="90"/>
                  <a:pt x="194" y="90"/>
                </a:cubicBezTo>
                <a:cubicBezTo>
                  <a:pt x="194" y="90"/>
                  <a:pt x="194" y="90"/>
                  <a:pt x="195" y="90"/>
                </a:cubicBezTo>
                <a:cubicBezTo>
                  <a:pt x="195" y="90"/>
                  <a:pt x="195" y="91"/>
                  <a:pt x="195" y="91"/>
                </a:cubicBezTo>
                <a:cubicBezTo>
                  <a:pt x="195" y="91"/>
                  <a:pt x="195" y="91"/>
                  <a:pt x="195" y="91"/>
                </a:cubicBezTo>
                <a:cubicBezTo>
                  <a:pt x="195" y="91"/>
                  <a:pt x="195" y="91"/>
                  <a:pt x="195" y="91"/>
                </a:cubicBezTo>
                <a:cubicBezTo>
                  <a:pt x="195" y="91"/>
                  <a:pt x="195" y="91"/>
                  <a:pt x="195" y="91"/>
                </a:cubicBezTo>
                <a:cubicBezTo>
                  <a:pt x="195" y="91"/>
                  <a:pt x="195" y="91"/>
                  <a:pt x="195" y="91"/>
                </a:cubicBezTo>
                <a:cubicBezTo>
                  <a:pt x="195" y="91"/>
                  <a:pt x="195" y="91"/>
                  <a:pt x="195" y="91"/>
                </a:cubicBezTo>
                <a:cubicBezTo>
                  <a:pt x="195" y="92"/>
                  <a:pt x="194" y="93"/>
                  <a:pt x="194" y="94"/>
                </a:cubicBezTo>
                <a:cubicBezTo>
                  <a:pt x="194" y="94"/>
                  <a:pt x="194" y="94"/>
                  <a:pt x="194" y="94"/>
                </a:cubicBezTo>
                <a:cubicBezTo>
                  <a:pt x="194" y="96"/>
                  <a:pt x="195" y="96"/>
                  <a:pt x="195" y="97"/>
                </a:cubicBezTo>
                <a:cubicBezTo>
                  <a:pt x="195" y="97"/>
                  <a:pt x="195" y="97"/>
                  <a:pt x="195" y="98"/>
                </a:cubicBezTo>
                <a:cubicBezTo>
                  <a:pt x="195" y="99"/>
                  <a:pt x="193" y="99"/>
                  <a:pt x="194" y="101"/>
                </a:cubicBezTo>
                <a:cubicBezTo>
                  <a:pt x="194" y="101"/>
                  <a:pt x="194" y="101"/>
                  <a:pt x="194" y="102"/>
                </a:cubicBezTo>
                <a:cubicBezTo>
                  <a:pt x="194" y="102"/>
                  <a:pt x="194" y="103"/>
                  <a:pt x="193" y="103"/>
                </a:cubicBezTo>
                <a:cubicBezTo>
                  <a:pt x="193" y="103"/>
                  <a:pt x="193" y="103"/>
                  <a:pt x="193" y="103"/>
                </a:cubicBezTo>
                <a:cubicBezTo>
                  <a:pt x="193" y="104"/>
                  <a:pt x="194" y="104"/>
                  <a:pt x="193" y="105"/>
                </a:cubicBezTo>
                <a:cubicBezTo>
                  <a:pt x="197" y="105"/>
                  <a:pt x="197" y="105"/>
                  <a:pt x="197" y="105"/>
                </a:cubicBezTo>
                <a:cubicBezTo>
                  <a:pt x="197" y="106"/>
                  <a:pt x="199" y="107"/>
                  <a:pt x="200" y="107"/>
                </a:cubicBezTo>
                <a:cubicBezTo>
                  <a:pt x="201" y="109"/>
                  <a:pt x="204" y="110"/>
                  <a:pt x="203" y="113"/>
                </a:cubicBezTo>
                <a:cubicBezTo>
                  <a:pt x="203" y="115"/>
                  <a:pt x="201" y="114"/>
                  <a:pt x="201" y="115"/>
                </a:cubicBezTo>
                <a:cubicBezTo>
                  <a:pt x="200" y="116"/>
                  <a:pt x="200" y="117"/>
                  <a:pt x="198" y="117"/>
                </a:cubicBezTo>
                <a:cubicBezTo>
                  <a:pt x="197" y="119"/>
                  <a:pt x="195" y="121"/>
                  <a:pt x="193" y="122"/>
                </a:cubicBezTo>
                <a:cubicBezTo>
                  <a:pt x="193" y="122"/>
                  <a:pt x="193" y="123"/>
                  <a:pt x="192" y="123"/>
                </a:cubicBezTo>
                <a:cubicBezTo>
                  <a:pt x="192" y="123"/>
                  <a:pt x="192" y="123"/>
                  <a:pt x="192" y="123"/>
                </a:cubicBezTo>
                <a:cubicBezTo>
                  <a:pt x="192" y="123"/>
                  <a:pt x="192" y="123"/>
                  <a:pt x="192" y="123"/>
                </a:cubicBezTo>
                <a:cubicBezTo>
                  <a:pt x="191" y="123"/>
                  <a:pt x="191" y="123"/>
                  <a:pt x="191" y="123"/>
                </a:cubicBezTo>
                <a:cubicBezTo>
                  <a:pt x="191" y="124"/>
                  <a:pt x="191" y="124"/>
                  <a:pt x="191" y="124"/>
                </a:cubicBezTo>
                <a:cubicBezTo>
                  <a:pt x="190" y="124"/>
                  <a:pt x="190" y="124"/>
                  <a:pt x="190" y="124"/>
                </a:cubicBezTo>
                <a:cubicBezTo>
                  <a:pt x="190" y="124"/>
                  <a:pt x="190" y="124"/>
                  <a:pt x="190" y="124"/>
                </a:cubicBezTo>
                <a:cubicBezTo>
                  <a:pt x="189" y="124"/>
                  <a:pt x="189" y="124"/>
                  <a:pt x="189" y="124"/>
                </a:cubicBezTo>
                <a:cubicBezTo>
                  <a:pt x="189" y="124"/>
                  <a:pt x="189" y="124"/>
                  <a:pt x="189" y="124"/>
                </a:cubicBezTo>
                <a:cubicBezTo>
                  <a:pt x="188" y="124"/>
                  <a:pt x="188" y="124"/>
                  <a:pt x="188" y="124"/>
                </a:cubicBezTo>
                <a:cubicBezTo>
                  <a:pt x="188" y="124"/>
                  <a:pt x="188" y="124"/>
                  <a:pt x="187" y="124"/>
                </a:cubicBezTo>
                <a:cubicBezTo>
                  <a:pt x="187" y="124"/>
                  <a:pt x="187" y="124"/>
                  <a:pt x="187" y="124"/>
                </a:cubicBezTo>
                <a:cubicBezTo>
                  <a:pt x="187" y="124"/>
                  <a:pt x="187" y="124"/>
                  <a:pt x="187" y="124"/>
                </a:cubicBezTo>
                <a:cubicBezTo>
                  <a:pt x="186" y="125"/>
                  <a:pt x="186" y="125"/>
                  <a:pt x="185" y="125"/>
                </a:cubicBezTo>
                <a:cubicBezTo>
                  <a:pt x="185" y="125"/>
                  <a:pt x="185" y="125"/>
                  <a:pt x="184" y="126"/>
                </a:cubicBezTo>
                <a:cubicBezTo>
                  <a:pt x="183" y="126"/>
                  <a:pt x="183" y="127"/>
                  <a:pt x="182" y="128"/>
                </a:cubicBezTo>
                <a:cubicBezTo>
                  <a:pt x="182" y="128"/>
                  <a:pt x="181" y="128"/>
                  <a:pt x="181" y="128"/>
                </a:cubicBezTo>
                <a:cubicBezTo>
                  <a:pt x="181" y="128"/>
                  <a:pt x="181" y="128"/>
                  <a:pt x="181" y="128"/>
                </a:cubicBezTo>
                <a:cubicBezTo>
                  <a:pt x="181" y="128"/>
                  <a:pt x="181" y="128"/>
                  <a:pt x="181" y="129"/>
                </a:cubicBezTo>
                <a:cubicBezTo>
                  <a:pt x="181" y="129"/>
                  <a:pt x="180" y="129"/>
                  <a:pt x="180" y="130"/>
                </a:cubicBezTo>
                <a:cubicBezTo>
                  <a:pt x="180" y="130"/>
                  <a:pt x="180" y="130"/>
                  <a:pt x="180" y="130"/>
                </a:cubicBezTo>
                <a:cubicBezTo>
                  <a:pt x="180" y="130"/>
                  <a:pt x="180" y="131"/>
                  <a:pt x="180" y="131"/>
                </a:cubicBezTo>
                <a:cubicBezTo>
                  <a:pt x="180" y="131"/>
                  <a:pt x="180" y="131"/>
                  <a:pt x="180" y="131"/>
                </a:cubicBezTo>
                <a:cubicBezTo>
                  <a:pt x="179" y="132"/>
                  <a:pt x="178" y="134"/>
                  <a:pt x="177" y="133"/>
                </a:cubicBezTo>
                <a:cubicBezTo>
                  <a:pt x="177" y="133"/>
                  <a:pt x="177" y="133"/>
                  <a:pt x="176" y="133"/>
                </a:cubicBezTo>
                <a:cubicBezTo>
                  <a:pt x="176" y="133"/>
                  <a:pt x="175" y="133"/>
                  <a:pt x="175" y="133"/>
                </a:cubicBezTo>
                <a:cubicBezTo>
                  <a:pt x="175" y="133"/>
                  <a:pt x="174" y="133"/>
                  <a:pt x="174" y="133"/>
                </a:cubicBezTo>
                <a:cubicBezTo>
                  <a:pt x="174" y="133"/>
                  <a:pt x="174" y="134"/>
                  <a:pt x="174" y="134"/>
                </a:cubicBezTo>
                <a:cubicBezTo>
                  <a:pt x="174" y="134"/>
                  <a:pt x="174" y="134"/>
                  <a:pt x="174" y="134"/>
                </a:cubicBezTo>
                <a:cubicBezTo>
                  <a:pt x="174" y="135"/>
                  <a:pt x="174" y="136"/>
                  <a:pt x="174" y="137"/>
                </a:cubicBezTo>
                <a:cubicBezTo>
                  <a:pt x="174" y="137"/>
                  <a:pt x="174" y="137"/>
                  <a:pt x="174" y="137"/>
                </a:cubicBezTo>
                <a:cubicBezTo>
                  <a:pt x="175" y="137"/>
                  <a:pt x="175" y="138"/>
                  <a:pt x="175" y="138"/>
                </a:cubicBezTo>
                <a:cubicBezTo>
                  <a:pt x="175" y="138"/>
                  <a:pt x="175" y="138"/>
                  <a:pt x="175" y="139"/>
                </a:cubicBezTo>
                <a:cubicBezTo>
                  <a:pt x="175" y="139"/>
                  <a:pt x="175" y="139"/>
                  <a:pt x="176" y="139"/>
                </a:cubicBezTo>
                <a:cubicBezTo>
                  <a:pt x="176" y="139"/>
                  <a:pt x="176" y="139"/>
                  <a:pt x="176" y="140"/>
                </a:cubicBezTo>
                <a:cubicBezTo>
                  <a:pt x="176" y="140"/>
                  <a:pt x="176" y="140"/>
                  <a:pt x="175" y="141"/>
                </a:cubicBezTo>
                <a:cubicBezTo>
                  <a:pt x="175" y="141"/>
                  <a:pt x="175" y="141"/>
                  <a:pt x="175" y="141"/>
                </a:cubicBezTo>
                <a:cubicBezTo>
                  <a:pt x="175" y="141"/>
                  <a:pt x="175" y="141"/>
                  <a:pt x="175" y="141"/>
                </a:cubicBezTo>
                <a:cubicBezTo>
                  <a:pt x="174" y="142"/>
                  <a:pt x="175" y="144"/>
                  <a:pt x="174" y="145"/>
                </a:cubicBezTo>
                <a:cubicBezTo>
                  <a:pt x="174" y="145"/>
                  <a:pt x="174" y="145"/>
                  <a:pt x="174" y="145"/>
                </a:cubicBezTo>
                <a:cubicBezTo>
                  <a:pt x="174" y="145"/>
                  <a:pt x="174" y="145"/>
                  <a:pt x="174" y="145"/>
                </a:cubicBezTo>
                <a:cubicBezTo>
                  <a:pt x="174" y="145"/>
                  <a:pt x="174" y="145"/>
                  <a:pt x="174" y="145"/>
                </a:cubicBezTo>
                <a:cubicBezTo>
                  <a:pt x="174" y="145"/>
                  <a:pt x="174" y="145"/>
                  <a:pt x="174" y="145"/>
                </a:cubicBezTo>
                <a:cubicBezTo>
                  <a:pt x="174" y="146"/>
                  <a:pt x="174" y="146"/>
                  <a:pt x="174" y="146"/>
                </a:cubicBezTo>
                <a:cubicBezTo>
                  <a:pt x="174" y="146"/>
                  <a:pt x="174" y="146"/>
                  <a:pt x="174" y="146"/>
                </a:cubicBezTo>
                <a:cubicBezTo>
                  <a:pt x="174" y="147"/>
                  <a:pt x="174" y="147"/>
                  <a:pt x="174" y="147"/>
                </a:cubicBezTo>
                <a:cubicBezTo>
                  <a:pt x="174" y="147"/>
                  <a:pt x="174" y="147"/>
                  <a:pt x="174" y="147"/>
                </a:cubicBezTo>
                <a:cubicBezTo>
                  <a:pt x="174" y="147"/>
                  <a:pt x="174" y="147"/>
                  <a:pt x="174" y="147"/>
                </a:cubicBezTo>
                <a:cubicBezTo>
                  <a:pt x="174" y="149"/>
                  <a:pt x="174" y="150"/>
                  <a:pt x="173" y="151"/>
                </a:cubicBezTo>
                <a:cubicBezTo>
                  <a:pt x="173" y="151"/>
                  <a:pt x="173" y="151"/>
                  <a:pt x="173" y="151"/>
                </a:cubicBezTo>
                <a:cubicBezTo>
                  <a:pt x="173" y="152"/>
                  <a:pt x="173" y="152"/>
                  <a:pt x="173" y="152"/>
                </a:cubicBezTo>
                <a:cubicBezTo>
                  <a:pt x="173" y="152"/>
                  <a:pt x="173" y="152"/>
                  <a:pt x="173" y="153"/>
                </a:cubicBezTo>
                <a:cubicBezTo>
                  <a:pt x="173" y="153"/>
                  <a:pt x="173" y="153"/>
                  <a:pt x="173" y="153"/>
                </a:cubicBezTo>
                <a:cubicBezTo>
                  <a:pt x="173" y="153"/>
                  <a:pt x="172" y="153"/>
                  <a:pt x="172" y="153"/>
                </a:cubicBezTo>
                <a:cubicBezTo>
                  <a:pt x="172" y="154"/>
                  <a:pt x="172" y="154"/>
                  <a:pt x="172" y="155"/>
                </a:cubicBezTo>
                <a:cubicBezTo>
                  <a:pt x="172" y="155"/>
                  <a:pt x="172" y="155"/>
                  <a:pt x="172" y="155"/>
                </a:cubicBezTo>
                <a:cubicBezTo>
                  <a:pt x="172" y="156"/>
                  <a:pt x="172" y="157"/>
                  <a:pt x="171" y="158"/>
                </a:cubicBezTo>
                <a:cubicBezTo>
                  <a:pt x="171" y="158"/>
                  <a:pt x="171" y="158"/>
                  <a:pt x="171" y="158"/>
                </a:cubicBezTo>
                <a:cubicBezTo>
                  <a:pt x="171" y="158"/>
                  <a:pt x="171" y="158"/>
                  <a:pt x="171" y="159"/>
                </a:cubicBezTo>
                <a:cubicBezTo>
                  <a:pt x="171" y="159"/>
                  <a:pt x="170" y="159"/>
                  <a:pt x="170" y="159"/>
                </a:cubicBezTo>
                <a:cubicBezTo>
                  <a:pt x="170" y="159"/>
                  <a:pt x="171" y="160"/>
                  <a:pt x="171" y="160"/>
                </a:cubicBezTo>
                <a:cubicBezTo>
                  <a:pt x="171" y="160"/>
                  <a:pt x="171" y="160"/>
                  <a:pt x="171" y="161"/>
                </a:cubicBezTo>
                <a:cubicBezTo>
                  <a:pt x="172" y="161"/>
                  <a:pt x="172" y="163"/>
                  <a:pt x="171" y="164"/>
                </a:cubicBezTo>
                <a:cubicBezTo>
                  <a:pt x="171" y="164"/>
                  <a:pt x="171" y="164"/>
                  <a:pt x="171" y="164"/>
                </a:cubicBezTo>
                <a:cubicBezTo>
                  <a:pt x="171" y="164"/>
                  <a:pt x="171" y="164"/>
                  <a:pt x="171" y="164"/>
                </a:cubicBezTo>
                <a:cubicBezTo>
                  <a:pt x="171" y="164"/>
                  <a:pt x="171" y="164"/>
                  <a:pt x="171" y="164"/>
                </a:cubicBezTo>
                <a:cubicBezTo>
                  <a:pt x="171" y="164"/>
                  <a:pt x="171" y="164"/>
                  <a:pt x="171" y="164"/>
                </a:cubicBezTo>
                <a:cubicBezTo>
                  <a:pt x="171" y="164"/>
                  <a:pt x="170" y="164"/>
                  <a:pt x="170" y="165"/>
                </a:cubicBezTo>
                <a:cubicBezTo>
                  <a:pt x="170" y="165"/>
                  <a:pt x="170" y="165"/>
                  <a:pt x="170" y="165"/>
                </a:cubicBezTo>
                <a:cubicBezTo>
                  <a:pt x="170" y="165"/>
                  <a:pt x="170" y="165"/>
                  <a:pt x="170" y="165"/>
                </a:cubicBezTo>
                <a:cubicBezTo>
                  <a:pt x="170" y="165"/>
                  <a:pt x="170" y="165"/>
                  <a:pt x="170" y="165"/>
                </a:cubicBezTo>
                <a:cubicBezTo>
                  <a:pt x="169" y="165"/>
                  <a:pt x="169" y="165"/>
                  <a:pt x="169" y="165"/>
                </a:cubicBezTo>
                <a:cubicBezTo>
                  <a:pt x="169" y="165"/>
                  <a:pt x="169" y="165"/>
                  <a:pt x="169" y="165"/>
                </a:cubicBezTo>
                <a:cubicBezTo>
                  <a:pt x="169" y="165"/>
                  <a:pt x="168" y="165"/>
                  <a:pt x="168" y="166"/>
                </a:cubicBezTo>
                <a:cubicBezTo>
                  <a:pt x="168" y="165"/>
                  <a:pt x="167" y="165"/>
                  <a:pt x="167" y="165"/>
                </a:cubicBezTo>
                <a:cubicBezTo>
                  <a:pt x="167" y="163"/>
                  <a:pt x="164" y="164"/>
                  <a:pt x="163" y="164"/>
                </a:cubicBezTo>
                <a:cubicBezTo>
                  <a:pt x="163" y="166"/>
                  <a:pt x="163" y="166"/>
                  <a:pt x="163" y="166"/>
                </a:cubicBezTo>
                <a:cubicBezTo>
                  <a:pt x="162" y="167"/>
                  <a:pt x="161" y="168"/>
                  <a:pt x="161" y="170"/>
                </a:cubicBezTo>
                <a:cubicBezTo>
                  <a:pt x="161" y="171"/>
                  <a:pt x="161" y="171"/>
                  <a:pt x="161" y="172"/>
                </a:cubicBezTo>
                <a:cubicBezTo>
                  <a:pt x="162" y="173"/>
                  <a:pt x="162" y="175"/>
                  <a:pt x="163" y="175"/>
                </a:cubicBezTo>
                <a:cubicBezTo>
                  <a:pt x="162" y="177"/>
                  <a:pt x="163" y="177"/>
                  <a:pt x="163" y="179"/>
                </a:cubicBezTo>
                <a:cubicBezTo>
                  <a:pt x="162" y="179"/>
                  <a:pt x="162" y="180"/>
                  <a:pt x="161" y="182"/>
                </a:cubicBezTo>
                <a:cubicBezTo>
                  <a:pt x="161" y="182"/>
                  <a:pt x="160" y="182"/>
                  <a:pt x="159" y="182"/>
                </a:cubicBezTo>
                <a:cubicBezTo>
                  <a:pt x="159" y="184"/>
                  <a:pt x="158" y="185"/>
                  <a:pt x="157" y="186"/>
                </a:cubicBezTo>
                <a:cubicBezTo>
                  <a:pt x="157" y="186"/>
                  <a:pt x="157" y="186"/>
                  <a:pt x="156" y="186"/>
                </a:cubicBezTo>
                <a:cubicBezTo>
                  <a:pt x="156" y="186"/>
                  <a:pt x="157" y="186"/>
                  <a:pt x="156" y="186"/>
                </a:cubicBezTo>
                <a:cubicBezTo>
                  <a:pt x="156" y="187"/>
                  <a:pt x="156" y="186"/>
                  <a:pt x="156" y="186"/>
                </a:cubicBezTo>
                <a:cubicBezTo>
                  <a:pt x="156" y="186"/>
                  <a:pt x="156" y="186"/>
                  <a:pt x="156" y="187"/>
                </a:cubicBezTo>
                <a:cubicBezTo>
                  <a:pt x="156" y="187"/>
                  <a:pt x="156" y="187"/>
                  <a:pt x="156" y="187"/>
                </a:cubicBezTo>
                <a:cubicBezTo>
                  <a:pt x="156" y="187"/>
                  <a:pt x="156" y="187"/>
                  <a:pt x="156" y="187"/>
                </a:cubicBezTo>
                <a:cubicBezTo>
                  <a:pt x="156" y="187"/>
                  <a:pt x="156" y="187"/>
                  <a:pt x="156" y="187"/>
                </a:cubicBezTo>
                <a:cubicBezTo>
                  <a:pt x="156" y="187"/>
                  <a:pt x="156" y="187"/>
                  <a:pt x="156" y="187"/>
                </a:cubicBezTo>
                <a:cubicBezTo>
                  <a:pt x="155" y="188"/>
                  <a:pt x="155" y="188"/>
                  <a:pt x="155" y="189"/>
                </a:cubicBezTo>
                <a:cubicBezTo>
                  <a:pt x="155" y="189"/>
                  <a:pt x="154" y="190"/>
                  <a:pt x="153" y="190"/>
                </a:cubicBezTo>
                <a:cubicBezTo>
                  <a:pt x="152" y="190"/>
                  <a:pt x="151" y="190"/>
                  <a:pt x="149" y="190"/>
                </a:cubicBezTo>
                <a:cubicBezTo>
                  <a:pt x="148" y="190"/>
                  <a:pt x="146" y="189"/>
                  <a:pt x="145" y="189"/>
                </a:cubicBezTo>
                <a:cubicBezTo>
                  <a:pt x="143" y="189"/>
                  <a:pt x="142" y="189"/>
                  <a:pt x="141" y="188"/>
                </a:cubicBezTo>
                <a:cubicBezTo>
                  <a:pt x="140" y="188"/>
                  <a:pt x="138" y="188"/>
                  <a:pt x="137" y="189"/>
                </a:cubicBezTo>
                <a:cubicBezTo>
                  <a:pt x="137" y="190"/>
                  <a:pt x="137" y="190"/>
                  <a:pt x="137" y="190"/>
                </a:cubicBezTo>
                <a:cubicBezTo>
                  <a:pt x="137" y="190"/>
                  <a:pt x="137" y="190"/>
                  <a:pt x="137" y="190"/>
                </a:cubicBezTo>
                <a:cubicBezTo>
                  <a:pt x="137" y="192"/>
                  <a:pt x="137" y="192"/>
                  <a:pt x="137" y="192"/>
                </a:cubicBezTo>
                <a:cubicBezTo>
                  <a:pt x="137" y="193"/>
                  <a:pt x="138" y="193"/>
                  <a:pt x="138" y="194"/>
                </a:cubicBezTo>
                <a:cubicBezTo>
                  <a:pt x="139" y="196"/>
                  <a:pt x="141" y="196"/>
                  <a:pt x="142" y="198"/>
                </a:cubicBezTo>
                <a:cubicBezTo>
                  <a:pt x="142" y="198"/>
                  <a:pt x="142" y="199"/>
                  <a:pt x="143" y="199"/>
                </a:cubicBezTo>
                <a:cubicBezTo>
                  <a:pt x="143" y="201"/>
                  <a:pt x="141" y="201"/>
                  <a:pt x="142" y="204"/>
                </a:cubicBezTo>
                <a:cubicBezTo>
                  <a:pt x="142" y="206"/>
                  <a:pt x="142" y="207"/>
                  <a:pt x="143" y="207"/>
                </a:cubicBezTo>
                <a:cubicBezTo>
                  <a:pt x="143" y="208"/>
                  <a:pt x="142" y="209"/>
                  <a:pt x="143" y="211"/>
                </a:cubicBezTo>
                <a:cubicBezTo>
                  <a:pt x="142" y="211"/>
                  <a:pt x="142" y="211"/>
                  <a:pt x="142" y="211"/>
                </a:cubicBezTo>
                <a:cubicBezTo>
                  <a:pt x="142" y="211"/>
                  <a:pt x="142" y="211"/>
                  <a:pt x="142" y="211"/>
                </a:cubicBezTo>
                <a:cubicBezTo>
                  <a:pt x="142" y="211"/>
                  <a:pt x="142" y="212"/>
                  <a:pt x="142" y="212"/>
                </a:cubicBezTo>
                <a:cubicBezTo>
                  <a:pt x="142" y="212"/>
                  <a:pt x="142" y="212"/>
                  <a:pt x="142" y="212"/>
                </a:cubicBezTo>
                <a:cubicBezTo>
                  <a:pt x="142" y="212"/>
                  <a:pt x="143" y="212"/>
                  <a:pt x="143" y="212"/>
                </a:cubicBezTo>
                <a:cubicBezTo>
                  <a:pt x="143" y="212"/>
                  <a:pt x="143" y="212"/>
                  <a:pt x="143" y="212"/>
                </a:cubicBezTo>
                <a:cubicBezTo>
                  <a:pt x="143" y="212"/>
                  <a:pt x="143" y="212"/>
                  <a:pt x="143" y="212"/>
                </a:cubicBezTo>
                <a:cubicBezTo>
                  <a:pt x="143" y="212"/>
                  <a:pt x="143" y="212"/>
                  <a:pt x="143" y="212"/>
                </a:cubicBezTo>
                <a:cubicBezTo>
                  <a:pt x="143" y="212"/>
                  <a:pt x="143" y="212"/>
                  <a:pt x="143" y="212"/>
                </a:cubicBezTo>
                <a:cubicBezTo>
                  <a:pt x="144" y="213"/>
                  <a:pt x="145" y="213"/>
                  <a:pt x="145" y="215"/>
                </a:cubicBezTo>
                <a:cubicBezTo>
                  <a:pt x="145" y="215"/>
                  <a:pt x="146" y="215"/>
                  <a:pt x="146" y="215"/>
                </a:cubicBezTo>
                <a:cubicBezTo>
                  <a:pt x="146" y="215"/>
                  <a:pt x="146" y="216"/>
                  <a:pt x="146" y="216"/>
                </a:cubicBezTo>
                <a:cubicBezTo>
                  <a:pt x="146" y="216"/>
                  <a:pt x="146" y="216"/>
                  <a:pt x="146" y="216"/>
                </a:cubicBezTo>
                <a:cubicBezTo>
                  <a:pt x="147" y="216"/>
                  <a:pt x="147" y="216"/>
                  <a:pt x="148" y="216"/>
                </a:cubicBezTo>
                <a:cubicBezTo>
                  <a:pt x="148" y="216"/>
                  <a:pt x="148" y="216"/>
                  <a:pt x="148" y="216"/>
                </a:cubicBezTo>
                <a:cubicBezTo>
                  <a:pt x="150" y="216"/>
                  <a:pt x="150" y="218"/>
                  <a:pt x="150" y="219"/>
                </a:cubicBezTo>
                <a:cubicBezTo>
                  <a:pt x="150" y="220"/>
                  <a:pt x="150" y="220"/>
                  <a:pt x="150" y="220"/>
                </a:cubicBezTo>
                <a:cubicBezTo>
                  <a:pt x="151" y="220"/>
                  <a:pt x="151" y="220"/>
                  <a:pt x="151" y="220"/>
                </a:cubicBezTo>
                <a:cubicBezTo>
                  <a:pt x="151" y="220"/>
                  <a:pt x="151" y="220"/>
                  <a:pt x="151" y="220"/>
                </a:cubicBezTo>
                <a:cubicBezTo>
                  <a:pt x="150" y="222"/>
                  <a:pt x="151" y="220"/>
                  <a:pt x="152" y="221"/>
                </a:cubicBezTo>
                <a:cubicBezTo>
                  <a:pt x="151" y="221"/>
                  <a:pt x="150" y="223"/>
                  <a:pt x="150" y="223"/>
                </a:cubicBezTo>
                <a:cubicBezTo>
                  <a:pt x="150" y="223"/>
                  <a:pt x="150" y="223"/>
                  <a:pt x="149" y="223"/>
                </a:cubicBezTo>
                <a:cubicBezTo>
                  <a:pt x="149" y="224"/>
                  <a:pt x="148" y="224"/>
                  <a:pt x="148" y="225"/>
                </a:cubicBezTo>
                <a:cubicBezTo>
                  <a:pt x="147" y="225"/>
                  <a:pt x="146" y="226"/>
                  <a:pt x="145" y="227"/>
                </a:cubicBezTo>
                <a:cubicBezTo>
                  <a:pt x="145" y="227"/>
                  <a:pt x="145" y="227"/>
                  <a:pt x="144" y="227"/>
                </a:cubicBezTo>
                <a:cubicBezTo>
                  <a:pt x="144" y="227"/>
                  <a:pt x="144" y="227"/>
                  <a:pt x="144" y="227"/>
                </a:cubicBezTo>
                <a:cubicBezTo>
                  <a:pt x="144" y="227"/>
                  <a:pt x="144" y="227"/>
                  <a:pt x="144" y="227"/>
                </a:cubicBezTo>
                <a:cubicBezTo>
                  <a:pt x="144" y="228"/>
                  <a:pt x="144" y="228"/>
                  <a:pt x="144" y="228"/>
                </a:cubicBezTo>
                <a:cubicBezTo>
                  <a:pt x="144" y="228"/>
                  <a:pt x="144" y="228"/>
                  <a:pt x="144" y="228"/>
                </a:cubicBezTo>
                <a:cubicBezTo>
                  <a:pt x="143" y="228"/>
                  <a:pt x="143" y="228"/>
                  <a:pt x="143" y="228"/>
                </a:cubicBezTo>
                <a:cubicBezTo>
                  <a:pt x="143" y="228"/>
                  <a:pt x="142" y="228"/>
                  <a:pt x="142" y="228"/>
                </a:cubicBezTo>
                <a:cubicBezTo>
                  <a:pt x="142" y="228"/>
                  <a:pt x="141" y="228"/>
                  <a:pt x="141" y="228"/>
                </a:cubicBezTo>
                <a:cubicBezTo>
                  <a:pt x="141" y="228"/>
                  <a:pt x="141" y="228"/>
                  <a:pt x="140" y="228"/>
                </a:cubicBezTo>
                <a:cubicBezTo>
                  <a:pt x="140" y="228"/>
                  <a:pt x="140" y="228"/>
                  <a:pt x="140" y="228"/>
                </a:cubicBezTo>
                <a:cubicBezTo>
                  <a:pt x="140" y="228"/>
                  <a:pt x="140" y="228"/>
                  <a:pt x="140" y="228"/>
                </a:cubicBezTo>
                <a:cubicBezTo>
                  <a:pt x="140" y="228"/>
                  <a:pt x="140" y="228"/>
                  <a:pt x="140" y="228"/>
                </a:cubicBezTo>
                <a:cubicBezTo>
                  <a:pt x="140" y="228"/>
                  <a:pt x="140" y="228"/>
                  <a:pt x="140" y="228"/>
                </a:cubicBezTo>
                <a:cubicBezTo>
                  <a:pt x="140" y="229"/>
                  <a:pt x="140" y="229"/>
                  <a:pt x="139" y="229"/>
                </a:cubicBezTo>
                <a:cubicBezTo>
                  <a:pt x="139" y="229"/>
                  <a:pt x="139" y="229"/>
                  <a:pt x="139" y="229"/>
                </a:cubicBezTo>
                <a:cubicBezTo>
                  <a:pt x="138" y="229"/>
                  <a:pt x="137" y="231"/>
                  <a:pt x="136" y="230"/>
                </a:cubicBezTo>
                <a:cubicBezTo>
                  <a:pt x="136" y="231"/>
                  <a:pt x="135" y="231"/>
                  <a:pt x="134" y="231"/>
                </a:cubicBezTo>
                <a:cubicBezTo>
                  <a:pt x="134" y="232"/>
                  <a:pt x="134" y="233"/>
                  <a:pt x="135" y="233"/>
                </a:cubicBezTo>
                <a:cubicBezTo>
                  <a:pt x="135" y="233"/>
                  <a:pt x="135" y="233"/>
                  <a:pt x="135" y="233"/>
                </a:cubicBezTo>
                <a:cubicBezTo>
                  <a:pt x="135" y="233"/>
                  <a:pt x="135" y="233"/>
                  <a:pt x="134" y="233"/>
                </a:cubicBezTo>
                <a:cubicBezTo>
                  <a:pt x="134" y="233"/>
                  <a:pt x="134" y="233"/>
                  <a:pt x="134" y="233"/>
                </a:cubicBezTo>
                <a:cubicBezTo>
                  <a:pt x="134" y="233"/>
                  <a:pt x="134" y="233"/>
                  <a:pt x="134" y="233"/>
                </a:cubicBezTo>
                <a:cubicBezTo>
                  <a:pt x="134" y="234"/>
                  <a:pt x="134" y="234"/>
                  <a:pt x="134" y="234"/>
                </a:cubicBezTo>
                <a:cubicBezTo>
                  <a:pt x="134" y="234"/>
                  <a:pt x="134" y="234"/>
                  <a:pt x="134" y="234"/>
                </a:cubicBezTo>
                <a:cubicBezTo>
                  <a:pt x="134" y="234"/>
                  <a:pt x="134" y="234"/>
                  <a:pt x="134" y="234"/>
                </a:cubicBezTo>
                <a:cubicBezTo>
                  <a:pt x="134" y="234"/>
                  <a:pt x="134" y="234"/>
                  <a:pt x="134" y="234"/>
                </a:cubicBezTo>
                <a:cubicBezTo>
                  <a:pt x="134" y="234"/>
                  <a:pt x="134" y="234"/>
                  <a:pt x="134" y="234"/>
                </a:cubicBezTo>
                <a:cubicBezTo>
                  <a:pt x="134" y="235"/>
                  <a:pt x="134" y="235"/>
                  <a:pt x="134" y="235"/>
                </a:cubicBezTo>
                <a:cubicBezTo>
                  <a:pt x="134" y="235"/>
                  <a:pt x="134" y="235"/>
                  <a:pt x="134" y="235"/>
                </a:cubicBezTo>
                <a:cubicBezTo>
                  <a:pt x="134" y="235"/>
                  <a:pt x="134" y="235"/>
                  <a:pt x="134" y="235"/>
                </a:cubicBezTo>
                <a:cubicBezTo>
                  <a:pt x="134" y="236"/>
                  <a:pt x="133" y="237"/>
                  <a:pt x="133" y="237"/>
                </a:cubicBezTo>
                <a:cubicBezTo>
                  <a:pt x="133" y="237"/>
                  <a:pt x="132" y="238"/>
                  <a:pt x="132" y="238"/>
                </a:cubicBezTo>
                <a:cubicBezTo>
                  <a:pt x="132" y="238"/>
                  <a:pt x="132" y="239"/>
                  <a:pt x="131" y="239"/>
                </a:cubicBezTo>
                <a:cubicBezTo>
                  <a:pt x="131" y="239"/>
                  <a:pt x="131" y="239"/>
                  <a:pt x="131" y="239"/>
                </a:cubicBezTo>
                <a:cubicBezTo>
                  <a:pt x="131" y="239"/>
                  <a:pt x="131" y="239"/>
                  <a:pt x="131" y="239"/>
                </a:cubicBezTo>
                <a:cubicBezTo>
                  <a:pt x="130" y="239"/>
                  <a:pt x="130" y="240"/>
                  <a:pt x="130" y="241"/>
                </a:cubicBezTo>
                <a:cubicBezTo>
                  <a:pt x="130" y="245"/>
                  <a:pt x="130" y="245"/>
                  <a:pt x="130" y="245"/>
                </a:cubicBezTo>
                <a:cubicBezTo>
                  <a:pt x="130" y="246"/>
                  <a:pt x="130" y="245"/>
                  <a:pt x="131" y="246"/>
                </a:cubicBezTo>
                <a:cubicBezTo>
                  <a:pt x="131" y="246"/>
                  <a:pt x="131" y="246"/>
                  <a:pt x="131" y="246"/>
                </a:cubicBezTo>
                <a:cubicBezTo>
                  <a:pt x="131" y="246"/>
                  <a:pt x="131" y="246"/>
                  <a:pt x="131" y="246"/>
                </a:cubicBezTo>
                <a:cubicBezTo>
                  <a:pt x="131" y="246"/>
                  <a:pt x="131" y="246"/>
                  <a:pt x="131" y="246"/>
                </a:cubicBezTo>
                <a:cubicBezTo>
                  <a:pt x="131" y="246"/>
                  <a:pt x="131" y="246"/>
                  <a:pt x="131" y="246"/>
                </a:cubicBezTo>
                <a:cubicBezTo>
                  <a:pt x="132" y="247"/>
                  <a:pt x="132" y="247"/>
                  <a:pt x="132" y="247"/>
                </a:cubicBezTo>
                <a:cubicBezTo>
                  <a:pt x="132" y="247"/>
                  <a:pt x="132" y="247"/>
                  <a:pt x="133" y="247"/>
                </a:cubicBezTo>
                <a:cubicBezTo>
                  <a:pt x="133" y="247"/>
                  <a:pt x="133" y="248"/>
                  <a:pt x="133" y="248"/>
                </a:cubicBezTo>
                <a:cubicBezTo>
                  <a:pt x="133" y="248"/>
                  <a:pt x="133" y="248"/>
                  <a:pt x="133" y="248"/>
                </a:cubicBezTo>
                <a:cubicBezTo>
                  <a:pt x="133" y="248"/>
                  <a:pt x="133" y="249"/>
                  <a:pt x="133" y="249"/>
                </a:cubicBezTo>
                <a:cubicBezTo>
                  <a:pt x="134" y="250"/>
                  <a:pt x="134" y="251"/>
                  <a:pt x="134" y="252"/>
                </a:cubicBezTo>
                <a:cubicBezTo>
                  <a:pt x="134" y="252"/>
                  <a:pt x="134" y="252"/>
                  <a:pt x="134" y="253"/>
                </a:cubicBezTo>
                <a:cubicBezTo>
                  <a:pt x="134" y="253"/>
                  <a:pt x="134" y="253"/>
                  <a:pt x="134" y="253"/>
                </a:cubicBezTo>
                <a:cubicBezTo>
                  <a:pt x="134" y="253"/>
                  <a:pt x="134" y="253"/>
                  <a:pt x="134" y="253"/>
                </a:cubicBezTo>
                <a:cubicBezTo>
                  <a:pt x="134" y="253"/>
                  <a:pt x="134" y="253"/>
                  <a:pt x="134" y="253"/>
                </a:cubicBezTo>
                <a:cubicBezTo>
                  <a:pt x="134" y="253"/>
                  <a:pt x="134" y="253"/>
                  <a:pt x="134" y="253"/>
                </a:cubicBezTo>
                <a:cubicBezTo>
                  <a:pt x="134" y="253"/>
                  <a:pt x="134" y="253"/>
                  <a:pt x="134" y="254"/>
                </a:cubicBezTo>
                <a:cubicBezTo>
                  <a:pt x="134" y="254"/>
                  <a:pt x="134" y="254"/>
                  <a:pt x="134" y="254"/>
                </a:cubicBezTo>
                <a:cubicBezTo>
                  <a:pt x="134" y="254"/>
                  <a:pt x="134" y="254"/>
                  <a:pt x="133" y="254"/>
                </a:cubicBezTo>
                <a:cubicBezTo>
                  <a:pt x="134" y="255"/>
                  <a:pt x="135" y="255"/>
                  <a:pt x="135" y="257"/>
                </a:cubicBezTo>
                <a:cubicBezTo>
                  <a:pt x="137" y="257"/>
                  <a:pt x="136" y="259"/>
                  <a:pt x="138" y="258"/>
                </a:cubicBezTo>
                <a:cubicBezTo>
                  <a:pt x="138" y="260"/>
                  <a:pt x="142" y="258"/>
                  <a:pt x="141" y="260"/>
                </a:cubicBezTo>
                <a:cubicBezTo>
                  <a:pt x="142" y="261"/>
                  <a:pt x="140" y="261"/>
                  <a:pt x="140" y="262"/>
                </a:cubicBezTo>
                <a:cubicBezTo>
                  <a:pt x="140" y="264"/>
                  <a:pt x="139" y="264"/>
                  <a:pt x="139" y="265"/>
                </a:cubicBezTo>
                <a:cubicBezTo>
                  <a:pt x="136" y="265"/>
                  <a:pt x="134" y="265"/>
                  <a:pt x="131" y="265"/>
                </a:cubicBezTo>
                <a:cubicBezTo>
                  <a:pt x="131" y="265"/>
                  <a:pt x="131" y="266"/>
                  <a:pt x="130" y="266"/>
                </a:cubicBezTo>
                <a:cubicBezTo>
                  <a:pt x="128" y="266"/>
                  <a:pt x="129" y="269"/>
                  <a:pt x="127" y="269"/>
                </a:cubicBezTo>
                <a:cubicBezTo>
                  <a:pt x="127" y="271"/>
                  <a:pt x="125" y="271"/>
                  <a:pt x="124" y="273"/>
                </a:cubicBezTo>
                <a:cubicBezTo>
                  <a:pt x="123" y="273"/>
                  <a:pt x="123" y="274"/>
                  <a:pt x="121" y="273"/>
                </a:cubicBezTo>
                <a:cubicBezTo>
                  <a:pt x="120" y="275"/>
                  <a:pt x="119" y="277"/>
                  <a:pt x="117" y="278"/>
                </a:cubicBezTo>
                <a:cubicBezTo>
                  <a:pt x="117" y="280"/>
                  <a:pt x="116" y="280"/>
                  <a:pt x="116" y="283"/>
                </a:cubicBezTo>
                <a:cubicBezTo>
                  <a:pt x="116" y="284"/>
                  <a:pt x="116" y="286"/>
                  <a:pt x="116" y="287"/>
                </a:cubicBezTo>
                <a:cubicBezTo>
                  <a:pt x="116" y="287"/>
                  <a:pt x="117" y="288"/>
                  <a:pt x="117" y="288"/>
                </a:cubicBezTo>
                <a:cubicBezTo>
                  <a:pt x="117" y="289"/>
                  <a:pt x="116" y="289"/>
                  <a:pt x="116" y="289"/>
                </a:cubicBezTo>
                <a:cubicBezTo>
                  <a:pt x="115" y="291"/>
                  <a:pt x="117" y="293"/>
                  <a:pt x="116" y="295"/>
                </a:cubicBezTo>
                <a:cubicBezTo>
                  <a:pt x="115" y="296"/>
                  <a:pt x="115" y="298"/>
                  <a:pt x="113" y="299"/>
                </a:cubicBezTo>
                <a:cubicBezTo>
                  <a:pt x="113" y="299"/>
                  <a:pt x="113" y="299"/>
                  <a:pt x="113" y="299"/>
                </a:cubicBezTo>
                <a:cubicBezTo>
                  <a:pt x="114" y="300"/>
                  <a:pt x="114" y="300"/>
                  <a:pt x="115" y="301"/>
                </a:cubicBezTo>
                <a:cubicBezTo>
                  <a:pt x="119" y="300"/>
                  <a:pt x="122" y="302"/>
                  <a:pt x="126" y="301"/>
                </a:cubicBezTo>
                <a:cubicBezTo>
                  <a:pt x="128" y="301"/>
                  <a:pt x="128" y="304"/>
                  <a:pt x="130" y="304"/>
                </a:cubicBezTo>
                <a:cubicBezTo>
                  <a:pt x="130" y="302"/>
                  <a:pt x="131" y="300"/>
                  <a:pt x="131" y="296"/>
                </a:cubicBezTo>
                <a:cubicBezTo>
                  <a:pt x="132" y="297"/>
                  <a:pt x="132" y="299"/>
                  <a:pt x="132" y="301"/>
                </a:cubicBezTo>
                <a:cubicBezTo>
                  <a:pt x="134" y="301"/>
                  <a:pt x="134" y="299"/>
                  <a:pt x="136" y="300"/>
                </a:cubicBezTo>
                <a:cubicBezTo>
                  <a:pt x="136" y="301"/>
                  <a:pt x="136" y="301"/>
                  <a:pt x="135" y="301"/>
                </a:cubicBezTo>
                <a:cubicBezTo>
                  <a:pt x="135" y="302"/>
                  <a:pt x="135" y="303"/>
                  <a:pt x="134" y="303"/>
                </a:cubicBezTo>
                <a:cubicBezTo>
                  <a:pt x="133" y="303"/>
                  <a:pt x="134" y="304"/>
                  <a:pt x="133" y="304"/>
                </a:cubicBezTo>
                <a:cubicBezTo>
                  <a:pt x="133" y="305"/>
                  <a:pt x="133" y="305"/>
                  <a:pt x="133" y="306"/>
                </a:cubicBezTo>
                <a:cubicBezTo>
                  <a:pt x="133" y="306"/>
                  <a:pt x="134" y="306"/>
                  <a:pt x="134" y="306"/>
                </a:cubicBezTo>
                <a:cubicBezTo>
                  <a:pt x="134" y="306"/>
                  <a:pt x="134" y="307"/>
                  <a:pt x="135" y="307"/>
                </a:cubicBezTo>
                <a:cubicBezTo>
                  <a:pt x="136" y="308"/>
                  <a:pt x="136" y="310"/>
                  <a:pt x="138" y="310"/>
                </a:cubicBezTo>
                <a:cubicBezTo>
                  <a:pt x="138" y="312"/>
                  <a:pt x="139" y="312"/>
                  <a:pt x="140" y="313"/>
                </a:cubicBezTo>
                <a:cubicBezTo>
                  <a:pt x="141" y="314"/>
                  <a:pt x="142" y="315"/>
                  <a:pt x="143" y="317"/>
                </a:cubicBezTo>
                <a:cubicBezTo>
                  <a:pt x="144" y="317"/>
                  <a:pt x="144" y="319"/>
                  <a:pt x="146" y="319"/>
                </a:cubicBezTo>
                <a:cubicBezTo>
                  <a:pt x="145" y="322"/>
                  <a:pt x="147" y="323"/>
                  <a:pt x="147" y="325"/>
                </a:cubicBezTo>
                <a:cubicBezTo>
                  <a:pt x="147" y="326"/>
                  <a:pt x="147" y="326"/>
                  <a:pt x="146" y="326"/>
                </a:cubicBezTo>
                <a:cubicBezTo>
                  <a:pt x="146" y="327"/>
                  <a:pt x="146" y="327"/>
                  <a:pt x="145" y="327"/>
                </a:cubicBezTo>
                <a:cubicBezTo>
                  <a:pt x="145" y="327"/>
                  <a:pt x="145" y="327"/>
                  <a:pt x="145" y="328"/>
                </a:cubicBezTo>
                <a:cubicBezTo>
                  <a:pt x="144" y="331"/>
                  <a:pt x="145" y="332"/>
                  <a:pt x="145" y="334"/>
                </a:cubicBezTo>
                <a:cubicBezTo>
                  <a:pt x="146" y="335"/>
                  <a:pt x="147" y="335"/>
                  <a:pt x="148" y="335"/>
                </a:cubicBezTo>
                <a:cubicBezTo>
                  <a:pt x="148" y="337"/>
                  <a:pt x="150" y="336"/>
                  <a:pt x="149" y="338"/>
                </a:cubicBezTo>
                <a:cubicBezTo>
                  <a:pt x="150" y="339"/>
                  <a:pt x="149" y="340"/>
                  <a:pt x="149" y="340"/>
                </a:cubicBezTo>
                <a:cubicBezTo>
                  <a:pt x="149" y="339"/>
                  <a:pt x="149" y="339"/>
                  <a:pt x="148" y="339"/>
                </a:cubicBezTo>
                <a:cubicBezTo>
                  <a:pt x="148" y="341"/>
                  <a:pt x="148" y="345"/>
                  <a:pt x="149" y="346"/>
                </a:cubicBezTo>
                <a:cubicBezTo>
                  <a:pt x="149" y="346"/>
                  <a:pt x="150" y="346"/>
                  <a:pt x="149" y="347"/>
                </a:cubicBezTo>
                <a:cubicBezTo>
                  <a:pt x="149" y="348"/>
                  <a:pt x="152" y="349"/>
                  <a:pt x="149" y="349"/>
                </a:cubicBezTo>
                <a:cubicBezTo>
                  <a:pt x="151" y="352"/>
                  <a:pt x="152" y="354"/>
                  <a:pt x="153" y="356"/>
                </a:cubicBezTo>
                <a:cubicBezTo>
                  <a:pt x="153" y="356"/>
                  <a:pt x="154" y="357"/>
                  <a:pt x="154" y="357"/>
                </a:cubicBezTo>
                <a:cubicBezTo>
                  <a:pt x="154" y="358"/>
                  <a:pt x="155" y="358"/>
                  <a:pt x="156" y="358"/>
                </a:cubicBezTo>
                <a:cubicBezTo>
                  <a:pt x="156" y="359"/>
                  <a:pt x="157" y="358"/>
                  <a:pt x="158" y="358"/>
                </a:cubicBezTo>
                <a:cubicBezTo>
                  <a:pt x="158" y="359"/>
                  <a:pt x="159" y="359"/>
                  <a:pt x="159" y="359"/>
                </a:cubicBezTo>
                <a:cubicBezTo>
                  <a:pt x="159" y="359"/>
                  <a:pt x="159" y="359"/>
                  <a:pt x="159" y="360"/>
                </a:cubicBezTo>
                <a:cubicBezTo>
                  <a:pt x="159" y="361"/>
                  <a:pt x="159" y="361"/>
                  <a:pt x="159" y="362"/>
                </a:cubicBezTo>
                <a:cubicBezTo>
                  <a:pt x="160" y="362"/>
                  <a:pt x="161" y="363"/>
                  <a:pt x="161" y="364"/>
                </a:cubicBezTo>
                <a:cubicBezTo>
                  <a:pt x="162" y="365"/>
                  <a:pt x="163" y="364"/>
                  <a:pt x="163" y="365"/>
                </a:cubicBezTo>
                <a:cubicBezTo>
                  <a:pt x="164" y="366"/>
                  <a:pt x="165" y="366"/>
                  <a:pt x="165" y="367"/>
                </a:cubicBezTo>
                <a:cubicBezTo>
                  <a:pt x="168" y="367"/>
                  <a:pt x="171" y="367"/>
                  <a:pt x="172" y="366"/>
                </a:cubicBezTo>
                <a:cubicBezTo>
                  <a:pt x="173" y="366"/>
                  <a:pt x="173" y="366"/>
                  <a:pt x="173" y="366"/>
                </a:cubicBezTo>
                <a:cubicBezTo>
                  <a:pt x="173" y="366"/>
                  <a:pt x="174" y="366"/>
                  <a:pt x="174" y="366"/>
                </a:cubicBezTo>
                <a:cubicBezTo>
                  <a:pt x="175" y="366"/>
                  <a:pt x="174" y="365"/>
                  <a:pt x="175" y="365"/>
                </a:cubicBezTo>
                <a:cubicBezTo>
                  <a:pt x="175" y="365"/>
                  <a:pt x="175" y="364"/>
                  <a:pt x="175" y="364"/>
                </a:cubicBezTo>
                <a:cubicBezTo>
                  <a:pt x="175" y="363"/>
                  <a:pt x="175" y="362"/>
                  <a:pt x="175" y="361"/>
                </a:cubicBezTo>
                <a:cubicBezTo>
                  <a:pt x="177" y="361"/>
                  <a:pt x="177" y="363"/>
                  <a:pt x="179" y="363"/>
                </a:cubicBezTo>
                <a:cubicBezTo>
                  <a:pt x="182" y="362"/>
                  <a:pt x="182" y="359"/>
                  <a:pt x="182" y="357"/>
                </a:cubicBezTo>
                <a:cubicBezTo>
                  <a:pt x="185" y="356"/>
                  <a:pt x="186" y="354"/>
                  <a:pt x="188" y="353"/>
                </a:cubicBezTo>
                <a:cubicBezTo>
                  <a:pt x="189" y="353"/>
                  <a:pt x="190" y="353"/>
                  <a:pt x="191" y="353"/>
                </a:cubicBezTo>
                <a:cubicBezTo>
                  <a:pt x="191" y="352"/>
                  <a:pt x="191" y="352"/>
                  <a:pt x="192" y="352"/>
                </a:cubicBezTo>
                <a:cubicBezTo>
                  <a:pt x="193" y="352"/>
                  <a:pt x="193" y="353"/>
                  <a:pt x="194" y="353"/>
                </a:cubicBezTo>
                <a:cubicBezTo>
                  <a:pt x="196" y="352"/>
                  <a:pt x="197" y="352"/>
                  <a:pt x="200" y="352"/>
                </a:cubicBezTo>
                <a:cubicBezTo>
                  <a:pt x="202" y="353"/>
                  <a:pt x="203" y="354"/>
                  <a:pt x="207" y="354"/>
                </a:cubicBezTo>
                <a:cubicBezTo>
                  <a:pt x="208" y="354"/>
                  <a:pt x="208" y="352"/>
                  <a:pt x="209" y="352"/>
                </a:cubicBezTo>
                <a:cubicBezTo>
                  <a:pt x="209" y="352"/>
                  <a:pt x="210" y="352"/>
                  <a:pt x="211" y="352"/>
                </a:cubicBezTo>
                <a:cubicBezTo>
                  <a:pt x="211" y="351"/>
                  <a:pt x="211" y="351"/>
                  <a:pt x="212" y="351"/>
                </a:cubicBezTo>
                <a:cubicBezTo>
                  <a:pt x="214" y="349"/>
                  <a:pt x="216" y="348"/>
                  <a:pt x="217" y="346"/>
                </a:cubicBezTo>
                <a:cubicBezTo>
                  <a:pt x="220" y="348"/>
                  <a:pt x="226" y="347"/>
                  <a:pt x="230" y="347"/>
                </a:cubicBezTo>
                <a:cubicBezTo>
                  <a:pt x="231" y="347"/>
                  <a:pt x="231" y="347"/>
                  <a:pt x="231" y="348"/>
                </a:cubicBezTo>
                <a:cubicBezTo>
                  <a:pt x="233" y="348"/>
                  <a:pt x="235" y="350"/>
                  <a:pt x="238" y="349"/>
                </a:cubicBezTo>
                <a:cubicBezTo>
                  <a:pt x="238" y="351"/>
                  <a:pt x="241" y="350"/>
                  <a:pt x="241" y="352"/>
                </a:cubicBezTo>
                <a:cubicBezTo>
                  <a:pt x="242" y="352"/>
                  <a:pt x="244" y="352"/>
                  <a:pt x="245" y="352"/>
                </a:cubicBezTo>
                <a:cubicBezTo>
                  <a:pt x="247" y="351"/>
                  <a:pt x="247" y="353"/>
                  <a:pt x="248" y="354"/>
                </a:cubicBezTo>
                <a:cubicBezTo>
                  <a:pt x="249" y="354"/>
                  <a:pt x="250" y="355"/>
                  <a:pt x="251" y="355"/>
                </a:cubicBezTo>
                <a:cubicBezTo>
                  <a:pt x="255" y="355"/>
                  <a:pt x="256" y="353"/>
                  <a:pt x="260" y="354"/>
                </a:cubicBezTo>
                <a:cubicBezTo>
                  <a:pt x="262" y="353"/>
                  <a:pt x="262" y="355"/>
                  <a:pt x="263" y="355"/>
                </a:cubicBezTo>
                <a:cubicBezTo>
                  <a:pt x="268" y="355"/>
                  <a:pt x="270" y="358"/>
                  <a:pt x="274" y="358"/>
                </a:cubicBezTo>
                <a:cubicBezTo>
                  <a:pt x="274" y="358"/>
                  <a:pt x="275" y="358"/>
                  <a:pt x="276" y="358"/>
                </a:cubicBezTo>
                <a:cubicBezTo>
                  <a:pt x="275" y="359"/>
                  <a:pt x="276" y="359"/>
                  <a:pt x="276" y="359"/>
                </a:cubicBezTo>
                <a:cubicBezTo>
                  <a:pt x="277" y="359"/>
                  <a:pt x="277" y="360"/>
                  <a:pt x="278" y="361"/>
                </a:cubicBezTo>
                <a:cubicBezTo>
                  <a:pt x="281" y="359"/>
                  <a:pt x="283" y="358"/>
                  <a:pt x="285" y="356"/>
                </a:cubicBezTo>
                <a:cubicBezTo>
                  <a:pt x="287" y="356"/>
                  <a:pt x="290" y="356"/>
                  <a:pt x="292" y="356"/>
                </a:cubicBezTo>
                <a:cubicBezTo>
                  <a:pt x="292" y="357"/>
                  <a:pt x="292" y="357"/>
                  <a:pt x="293" y="357"/>
                </a:cubicBezTo>
                <a:cubicBezTo>
                  <a:pt x="293" y="358"/>
                  <a:pt x="293" y="358"/>
                  <a:pt x="294" y="358"/>
                </a:cubicBezTo>
                <a:cubicBezTo>
                  <a:pt x="294" y="359"/>
                  <a:pt x="295" y="359"/>
                  <a:pt x="296" y="359"/>
                </a:cubicBezTo>
                <a:cubicBezTo>
                  <a:pt x="297" y="361"/>
                  <a:pt x="298" y="363"/>
                  <a:pt x="299" y="363"/>
                </a:cubicBezTo>
                <a:cubicBezTo>
                  <a:pt x="301" y="364"/>
                  <a:pt x="301" y="362"/>
                  <a:pt x="303" y="363"/>
                </a:cubicBezTo>
                <a:cubicBezTo>
                  <a:pt x="304" y="363"/>
                  <a:pt x="303" y="362"/>
                  <a:pt x="303" y="361"/>
                </a:cubicBezTo>
                <a:cubicBezTo>
                  <a:pt x="304" y="361"/>
                  <a:pt x="304" y="361"/>
                  <a:pt x="304" y="361"/>
                </a:cubicBezTo>
                <a:cubicBezTo>
                  <a:pt x="305" y="360"/>
                  <a:pt x="305" y="360"/>
                  <a:pt x="306" y="359"/>
                </a:cubicBezTo>
                <a:cubicBezTo>
                  <a:pt x="306" y="359"/>
                  <a:pt x="306" y="358"/>
                  <a:pt x="307" y="358"/>
                </a:cubicBezTo>
                <a:cubicBezTo>
                  <a:pt x="307" y="357"/>
                  <a:pt x="308" y="357"/>
                  <a:pt x="308" y="356"/>
                </a:cubicBezTo>
                <a:cubicBezTo>
                  <a:pt x="309" y="355"/>
                  <a:pt x="310" y="354"/>
                  <a:pt x="311" y="354"/>
                </a:cubicBezTo>
                <a:cubicBezTo>
                  <a:pt x="312" y="352"/>
                  <a:pt x="312" y="351"/>
                  <a:pt x="314" y="350"/>
                </a:cubicBezTo>
                <a:cubicBezTo>
                  <a:pt x="314" y="349"/>
                  <a:pt x="314" y="349"/>
                  <a:pt x="315" y="349"/>
                </a:cubicBezTo>
                <a:cubicBezTo>
                  <a:pt x="314" y="346"/>
                  <a:pt x="316" y="345"/>
                  <a:pt x="316" y="343"/>
                </a:cubicBezTo>
                <a:cubicBezTo>
                  <a:pt x="317" y="342"/>
                  <a:pt x="319" y="341"/>
                  <a:pt x="319" y="340"/>
                </a:cubicBezTo>
                <a:cubicBezTo>
                  <a:pt x="320" y="339"/>
                  <a:pt x="321" y="338"/>
                  <a:pt x="322" y="338"/>
                </a:cubicBezTo>
                <a:cubicBezTo>
                  <a:pt x="322" y="337"/>
                  <a:pt x="324" y="338"/>
                  <a:pt x="324" y="336"/>
                </a:cubicBezTo>
                <a:cubicBezTo>
                  <a:pt x="325" y="336"/>
                  <a:pt x="325" y="337"/>
                  <a:pt x="326" y="337"/>
                </a:cubicBezTo>
                <a:cubicBezTo>
                  <a:pt x="326" y="337"/>
                  <a:pt x="327" y="336"/>
                  <a:pt x="329" y="336"/>
                </a:cubicBezTo>
                <a:cubicBezTo>
                  <a:pt x="330" y="336"/>
                  <a:pt x="331" y="335"/>
                  <a:pt x="331" y="334"/>
                </a:cubicBezTo>
                <a:cubicBezTo>
                  <a:pt x="331" y="334"/>
                  <a:pt x="332" y="333"/>
                  <a:pt x="332" y="333"/>
                </a:cubicBezTo>
                <a:cubicBezTo>
                  <a:pt x="333" y="333"/>
                  <a:pt x="334" y="333"/>
                  <a:pt x="334" y="332"/>
                </a:cubicBezTo>
                <a:cubicBezTo>
                  <a:pt x="335" y="332"/>
                  <a:pt x="336" y="332"/>
                  <a:pt x="336" y="332"/>
                </a:cubicBezTo>
                <a:cubicBezTo>
                  <a:pt x="336" y="332"/>
                  <a:pt x="337" y="333"/>
                  <a:pt x="337" y="333"/>
                </a:cubicBezTo>
                <a:cubicBezTo>
                  <a:pt x="338" y="333"/>
                  <a:pt x="338" y="332"/>
                  <a:pt x="340" y="332"/>
                </a:cubicBezTo>
                <a:cubicBezTo>
                  <a:pt x="340" y="333"/>
                  <a:pt x="340" y="334"/>
                  <a:pt x="341" y="334"/>
                </a:cubicBezTo>
                <a:cubicBezTo>
                  <a:pt x="344" y="335"/>
                  <a:pt x="345" y="333"/>
                  <a:pt x="347" y="333"/>
                </a:cubicBezTo>
                <a:cubicBezTo>
                  <a:pt x="348" y="333"/>
                  <a:pt x="348" y="334"/>
                  <a:pt x="348" y="334"/>
                </a:cubicBezTo>
                <a:cubicBezTo>
                  <a:pt x="348" y="334"/>
                  <a:pt x="349" y="334"/>
                  <a:pt x="349" y="335"/>
                </a:cubicBezTo>
                <a:cubicBezTo>
                  <a:pt x="349" y="335"/>
                  <a:pt x="349" y="335"/>
                  <a:pt x="349" y="335"/>
                </a:cubicBezTo>
                <a:cubicBezTo>
                  <a:pt x="351" y="335"/>
                  <a:pt x="353" y="334"/>
                  <a:pt x="357" y="334"/>
                </a:cubicBezTo>
                <a:cubicBezTo>
                  <a:pt x="358" y="334"/>
                  <a:pt x="358" y="332"/>
                  <a:pt x="360" y="333"/>
                </a:cubicBezTo>
                <a:cubicBezTo>
                  <a:pt x="360" y="332"/>
                  <a:pt x="359" y="330"/>
                  <a:pt x="359" y="329"/>
                </a:cubicBezTo>
                <a:cubicBezTo>
                  <a:pt x="359" y="329"/>
                  <a:pt x="359" y="328"/>
                  <a:pt x="359" y="327"/>
                </a:cubicBezTo>
                <a:cubicBezTo>
                  <a:pt x="359" y="327"/>
                  <a:pt x="358" y="326"/>
                  <a:pt x="358" y="326"/>
                </a:cubicBezTo>
                <a:cubicBezTo>
                  <a:pt x="358" y="326"/>
                  <a:pt x="358" y="327"/>
                  <a:pt x="358" y="327"/>
                </a:cubicBezTo>
                <a:cubicBezTo>
                  <a:pt x="357" y="327"/>
                  <a:pt x="357" y="328"/>
                  <a:pt x="358" y="328"/>
                </a:cubicBezTo>
                <a:cubicBezTo>
                  <a:pt x="357" y="328"/>
                  <a:pt x="357" y="329"/>
                  <a:pt x="357" y="331"/>
                </a:cubicBezTo>
                <a:cubicBezTo>
                  <a:pt x="356" y="330"/>
                  <a:pt x="355" y="330"/>
                  <a:pt x="355" y="329"/>
                </a:cubicBezTo>
                <a:cubicBezTo>
                  <a:pt x="355" y="327"/>
                  <a:pt x="355" y="326"/>
                  <a:pt x="356" y="326"/>
                </a:cubicBezTo>
                <a:cubicBezTo>
                  <a:pt x="356" y="325"/>
                  <a:pt x="357" y="325"/>
                  <a:pt x="357" y="324"/>
                </a:cubicBezTo>
                <a:cubicBezTo>
                  <a:pt x="357" y="322"/>
                  <a:pt x="358" y="322"/>
                  <a:pt x="358" y="321"/>
                </a:cubicBezTo>
                <a:cubicBezTo>
                  <a:pt x="358" y="321"/>
                  <a:pt x="358" y="321"/>
                  <a:pt x="358" y="321"/>
                </a:cubicBezTo>
                <a:cubicBezTo>
                  <a:pt x="359" y="320"/>
                  <a:pt x="359" y="320"/>
                  <a:pt x="359" y="320"/>
                </a:cubicBezTo>
                <a:cubicBezTo>
                  <a:pt x="359" y="319"/>
                  <a:pt x="359" y="319"/>
                  <a:pt x="359" y="319"/>
                </a:cubicBezTo>
                <a:cubicBezTo>
                  <a:pt x="361" y="320"/>
                  <a:pt x="362" y="318"/>
                  <a:pt x="363" y="317"/>
                </a:cubicBezTo>
                <a:cubicBezTo>
                  <a:pt x="364" y="316"/>
                  <a:pt x="364" y="313"/>
                  <a:pt x="364" y="310"/>
                </a:cubicBezTo>
                <a:cubicBezTo>
                  <a:pt x="365" y="310"/>
                  <a:pt x="365" y="310"/>
                  <a:pt x="365" y="309"/>
                </a:cubicBezTo>
                <a:cubicBezTo>
                  <a:pt x="366" y="308"/>
                  <a:pt x="368" y="308"/>
                  <a:pt x="370" y="307"/>
                </a:cubicBezTo>
                <a:cubicBezTo>
                  <a:pt x="369" y="304"/>
                  <a:pt x="371" y="304"/>
                  <a:pt x="370" y="301"/>
                </a:cubicBezTo>
                <a:cubicBezTo>
                  <a:pt x="371" y="301"/>
                  <a:pt x="372" y="300"/>
                  <a:pt x="374" y="301"/>
                </a:cubicBezTo>
                <a:cubicBezTo>
                  <a:pt x="374" y="301"/>
                  <a:pt x="374" y="300"/>
                  <a:pt x="374" y="299"/>
                </a:cubicBezTo>
                <a:cubicBezTo>
                  <a:pt x="376" y="299"/>
                  <a:pt x="376" y="299"/>
                  <a:pt x="376" y="299"/>
                </a:cubicBezTo>
                <a:cubicBezTo>
                  <a:pt x="376" y="299"/>
                  <a:pt x="377" y="298"/>
                  <a:pt x="377" y="297"/>
                </a:cubicBezTo>
                <a:cubicBezTo>
                  <a:pt x="378" y="297"/>
                  <a:pt x="379" y="297"/>
                  <a:pt x="379" y="296"/>
                </a:cubicBezTo>
                <a:cubicBezTo>
                  <a:pt x="381" y="296"/>
                  <a:pt x="382" y="296"/>
                  <a:pt x="383" y="295"/>
                </a:cubicBezTo>
                <a:cubicBezTo>
                  <a:pt x="384" y="295"/>
                  <a:pt x="385" y="296"/>
                  <a:pt x="386" y="296"/>
                </a:cubicBezTo>
                <a:cubicBezTo>
                  <a:pt x="387" y="295"/>
                  <a:pt x="387" y="295"/>
                  <a:pt x="388" y="294"/>
                </a:cubicBezTo>
                <a:cubicBezTo>
                  <a:pt x="389" y="294"/>
                  <a:pt x="389" y="293"/>
                  <a:pt x="390" y="293"/>
                </a:cubicBezTo>
                <a:cubicBezTo>
                  <a:pt x="390" y="291"/>
                  <a:pt x="390" y="291"/>
                  <a:pt x="390" y="291"/>
                </a:cubicBezTo>
                <a:cubicBezTo>
                  <a:pt x="393" y="291"/>
                  <a:pt x="393" y="291"/>
                  <a:pt x="393" y="291"/>
                </a:cubicBezTo>
                <a:cubicBezTo>
                  <a:pt x="393" y="290"/>
                  <a:pt x="393" y="290"/>
                  <a:pt x="393" y="290"/>
                </a:cubicBezTo>
                <a:cubicBezTo>
                  <a:pt x="394" y="289"/>
                  <a:pt x="395" y="290"/>
                  <a:pt x="396" y="290"/>
                </a:cubicBezTo>
                <a:cubicBezTo>
                  <a:pt x="397" y="289"/>
                  <a:pt x="397" y="288"/>
                  <a:pt x="397" y="288"/>
                </a:cubicBezTo>
                <a:cubicBezTo>
                  <a:pt x="398" y="288"/>
                  <a:pt x="398" y="287"/>
                  <a:pt x="399" y="287"/>
                </a:cubicBezTo>
                <a:cubicBezTo>
                  <a:pt x="399" y="285"/>
                  <a:pt x="398" y="285"/>
                  <a:pt x="398" y="283"/>
                </a:cubicBezTo>
                <a:cubicBezTo>
                  <a:pt x="398" y="283"/>
                  <a:pt x="397" y="283"/>
                  <a:pt x="397" y="283"/>
                </a:cubicBezTo>
                <a:cubicBezTo>
                  <a:pt x="397" y="282"/>
                  <a:pt x="397" y="281"/>
                  <a:pt x="396" y="281"/>
                </a:cubicBezTo>
                <a:cubicBezTo>
                  <a:pt x="396" y="281"/>
                  <a:pt x="395" y="281"/>
                  <a:pt x="395" y="280"/>
                </a:cubicBezTo>
                <a:cubicBezTo>
                  <a:pt x="394" y="280"/>
                  <a:pt x="393" y="278"/>
                  <a:pt x="391" y="278"/>
                </a:cubicBezTo>
                <a:cubicBezTo>
                  <a:pt x="390" y="277"/>
                  <a:pt x="389" y="276"/>
                  <a:pt x="388" y="274"/>
                </a:cubicBezTo>
                <a:cubicBezTo>
                  <a:pt x="387" y="274"/>
                  <a:pt x="387" y="274"/>
                  <a:pt x="387" y="273"/>
                </a:cubicBezTo>
                <a:cubicBezTo>
                  <a:pt x="387" y="273"/>
                  <a:pt x="387" y="273"/>
                  <a:pt x="387" y="273"/>
                </a:cubicBezTo>
                <a:cubicBezTo>
                  <a:pt x="387" y="273"/>
                  <a:pt x="386" y="273"/>
                  <a:pt x="386" y="272"/>
                </a:cubicBezTo>
                <a:cubicBezTo>
                  <a:pt x="386" y="269"/>
                  <a:pt x="385" y="266"/>
                  <a:pt x="386" y="262"/>
                </a:cubicBezTo>
                <a:cubicBezTo>
                  <a:pt x="385" y="262"/>
                  <a:pt x="385" y="262"/>
                  <a:pt x="385" y="262"/>
                </a:cubicBezTo>
                <a:cubicBezTo>
                  <a:pt x="385" y="261"/>
                  <a:pt x="385" y="260"/>
                  <a:pt x="385" y="259"/>
                </a:cubicBezTo>
                <a:cubicBezTo>
                  <a:pt x="385" y="258"/>
                  <a:pt x="384" y="258"/>
                  <a:pt x="384" y="257"/>
                </a:cubicBezTo>
                <a:cubicBezTo>
                  <a:pt x="384" y="257"/>
                  <a:pt x="384" y="256"/>
                  <a:pt x="384" y="255"/>
                </a:cubicBezTo>
                <a:cubicBezTo>
                  <a:pt x="384" y="255"/>
                  <a:pt x="384" y="255"/>
                  <a:pt x="384" y="255"/>
                </a:cubicBezTo>
                <a:cubicBezTo>
                  <a:pt x="383" y="253"/>
                  <a:pt x="384" y="251"/>
                  <a:pt x="384" y="248"/>
                </a:cubicBezTo>
                <a:cubicBezTo>
                  <a:pt x="385" y="248"/>
                  <a:pt x="386" y="247"/>
                  <a:pt x="386" y="246"/>
                </a:cubicBezTo>
                <a:cubicBezTo>
                  <a:pt x="388" y="246"/>
                  <a:pt x="386" y="243"/>
                  <a:pt x="388" y="244"/>
                </a:cubicBezTo>
                <a:cubicBezTo>
                  <a:pt x="389" y="244"/>
                  <a:pt x="389" y="244"/>
                  <a:pt x="389" y="243"/>
                </a:cubicBezTo>
                <a:cubicBezTo>
                  <a:pt x="389" y="242"/>
                  <a:pt x="389" y="242"/>
                  <a:pt x="390" y="241"/>
                </a:cubicBezTo>
                <a:cubicBezTo>
                  <a:pt x="390" y="240"/>
                  <a:pt x="391" y="240"/>
                  <a:pt x="392" y="239"/>
                </a:cubicBezTo>
                <a:cubicBezTo>
                  <a:pt x="392" y="237"/>
                  <a:pt x="393" y="236"/>
                  <a:pt x="393" y="234"/>
                </a:cubicBezTo>
                <a:cubicBezTo>
                  <a:pt x="395" y="234"/>
                  <a:pt x="396" y="233"/>
                  <a:pt x="397" y="232"/>
                </a:cubicBezTo>
                <a:cubicBezTo>
                  <a:pt x="398" y="232"/>
                  <a:pt x="397" y="230"/>
                  <a:pt x="398" y="230"/>
                </a:cubicBezTo>
                <a:cubicBezTo>
                  <a:pt x="399" y="230"/>
                  <a:pt x="399" y="229"/>
                  <a:pt x="399" y="229"/>
                </a:cubicBezTo>
                <a:cubicBezTo>
                  <a:pt x="399" y="229"/>
                  <a:pt x="400" y="229"/>
                  <a:pt x="400" y="228"/>
                </a:cubicBezTo>
                <a:cubicBezTo>
                  <a:pt x="400" y="228"/>
                  <a:pt x="400" y="227"/>
                  <a:pt x="400" y="227"/>
                </a:cubicBezTo>
                <a:cubicBezTo>
                  <a:pt x="401" y="226"/>
                  <a:pt x="402" y="226"/>
                  <a:pt x="402" y="225"/>
                </a:cubicBezTo>
                <a:cubicBezTo>
                  <a:pt x="402" y="225"/>
                  <a:pt x="402" y="224"/>
                  <a:pt x="403" y="224"/>
                </a:cubicBezTo>
                <a:cubicBezTo>
                  <a:pt x="403" y="223"/>
                  <a:pt x="404" y="223"/>
                  <a:pt x="404" y="222"/>
                </a:cubicBezTo>
                <a:cubicBezTo>
                  <a:pt x="406" y="221"/>
                  <a:pt x="407" y="220"/>
                  <a:pt x="409" y="218"/>
                </a:cubicBezTo>
                <a:cubicBezTo>
                  <a:pt x="410" y="218"/>
                  <a:pt x="411" y="217"/>
                  <a:pt x="411" y="216"/>
                </a:cubicBezTo>
                <a:cubicBezTo>
                  <a:pt x="412" y="215"/>
                  <a:pt x="413" y="215"/>
                  <a:pt x="414" y="214"/>
                </a:cubicBezTo>
                <a:cubicBezTo>
                  <a:pt x="415" y="213"/>
                  <a:pt x="415" y="212"/>
                  <a:pt x="416" y="211"/>
                </a:cubicBezTo>
                <a:cubicBezTo>
                  <a:pt x="416" y="210"/>
                  <a:pt x="418" y="211"/>
                  <a:pt x="418" y="209"/>
                </a:cubicBezTo>
                <a:cubicBezTo>
                  <a:pt x="418" y="208"/>
                  <a:pt x="419" y="208"/>
                  <a:pt x="419" y="207"/>
                </a:cubicBezTo>
                <a:cubicBezTo>
                  <a:pt x="420" y="208"/>
                  <a:pt x="420" y="207"/>
                  <a:pt x="420" y="206"/>
                </a:cubicBezTo>
                <a:cubicBezTo>
                  <a:pt x="423" y="205"/>
                  <a:pt x="423" y="207"/>
                  <a:pt x="425" y="207"/>
                </a:cubicBezTo>
                <a:cubicBezTo>
                  <a:pt x="425" y="206"/>
                  <a:pt x="426" y="206"/>
                  <a:pt x="426" y="206"/>
                </a:cubicBezTo>
                <a:cubicBezTo>
                  <a:pt x="426" y="206"/>
                  <a:pt x="427" y="206"/>
                  <a:pt x="427" y="206"/>
                </a:cubicBezTo>
                <a:cubicBezTo>
                  <a:pt x="427" y="206"/>
                  <a:pt x="427" y="204"/>
                  <a:pt x="430" y="205"/>
                </a:cubicBezTo>
                <a:cubicBezTo>
                  <a:pt x="430" y="203"/>
                  <a:pt x="433" y="203"/>
                  <a:pt x="433" y="201"/>
                </a:cubicBezTo>
                <a:cubicBezTo>
                  <a:pt x="434" y="198"/>
                  <a:pt x="431" y="199"/>
                  <a:pt x="430" y="198"/>
                </a:cubicBezTo>
                <a:cubicBezTo>
                  <a:pt x="430" y="198"/>
                  <a:pt x="430" y="197"/>
                  <a:pt x="430" y="197"/>
                </a:cubicBezTo>
                <a:cubicBezTo>
                  <a:pt x="430" y="197"/>
                  <a:pt x="430" y="197"/>
                  <a:pt x="430" y="197"/>
                </a:cubicBezTo>
                <a:cubicBezTo>
                  <a:pt x="428" y="195"/>
                  <a:pt x="431" y="195"/>
                  <a:pt x="432" y="194"/>
                </a:cubicBezTo>
                <a:cubicBezTo>
                  <a:pt x="432" y="194"/>
                  <a:pt x="432" y="194"/>
                  <a:pt x="432" y="193"/>
                </a:cubicBezTo>
                <a:cubicBezTo>
                  <a:pt x="433" y="193"/>
                  <a:pt x="433" y="193"/>
                  <a:pt x="434" y="193"/>
                </a:cubicBezTo>
                <a:cubicBezTo>
                  <a:pt x="434" y="192"/>
                  <a:pt x="434" y="192"/>
                  <a:pt x="434" y="191"/>
                </a:cubicBezTo>
                <a:cubicBezTo>
                  <a:pt x="434" y="191"/>
                  <a:pt x="434" y="191"/>
                  <a:pt x="434" y="191"/>
                </a:cubicBezTo>
                <a:cubicBezTo>
                  <a:pt x="436" y="191"/>
                  <a:pt x="435" y="189"/>
                  <a:pt x="437" y="189"/>
                </a:cubicBezTo>
                <a:cubicBezTo>
                  <a:pt x="437" y="189"/>
                  <a:pt x="437" y="189"/>
                  <a:pt x="437" y="189"/>
                </a:cubicBezTo>
                <a:cubicBezTo>
                  <a:pt x="437" y="189"/>
                  <a:pt x="437" y="189"/>
                  <a:pt x="437" y="189"/>
                </a:cubicBezTo>
                <a:cubicBezTo>
                  <a:pt x="437" y="188"/>
                  <a:pt x="438" y="188"/>
                  <a:pt x="438" y="187"/>
                </a:cubicBezTo>
                <a:cubicBezTo>
                  <a:pt x="439" y="187"/>
                  <a:pt x="439" y="187"/>
                  <a:pt x="439" y="186"/>
                </a:cubicBezTo>
                <a:cubicBezTo>
                  <a:pt x="442" y="187"/>
                  <a:pt x="443" y="185"/>
                  <a:pt x="446" y="186"/>
                </a:cubicBezTo>
                <a:cubicBezTo>
                  <a:pt x="447" y="185"/>
                  <a:pt x="449" y="185"/>
                  <a:pt x="450" y="184"/>
                </a:cubicBezTo>
                <a:cubicBezTo>
                  <a:pt x="453" y="184"/>
                  <a:pt x="454" y="183"/>
                  <a:pt x="456" y="182"/>
                </a:cubicBezTo>
                <a:cubicBezTo>
                  <a:pt x="458" y="182"/>
                  <a:pt x="458" y="183"/>
                  <a:pt x="460" y="183"/>
                </a:cubicBezTo>
                <a:cubicBezTo>
                  <a:pt x="466" y="182"/>
                  <a:pt x="471" y="180"/>
                  <a:pt x="479" y="181"/>
                </a:cubicBezTo>
                <a:cubicBezTo>
                  <a:pt x="480" y="181"/>
                  <a:pt x="479" y="179"/>
                  <a:pt x="480" y="179"/>
                </a:cubicBezTo>
                <a:cubicBezTo>
                  <a:pt x="481" y="179"/>
                  <a:pt x="481" y="178"/>
                  <a:pt x="481" y="178"/>
                </a:cubicBezTo>
                <a:cubicBezTo>
                  <a:pt x="481" y="178"/>
                  <a:pt x="482" y="178"/>
                  <a:pt x="482" y="177"/>
                </a:cubicBezTo>
                <a:cubicBezTo>
                  <a:pt x="483" y="177"/>
                  <a:pt x="483" y="176"/>
                  <a:pt x="483" y="176"/>
                </a:cubicBezTo>
                <a:cubicBezTo>
                  <a:pt x="483" y="176"/>
                  <a:pt x="483" y="176"/>
                  <a:pt x="483" y="176"/>
                </a:cubicBezTo>
                <a:cubicBezTo>
                  <a:pt x="483" y="174"/>
                  <a:pt x="485" y="174"/>
                  <a:pt x="487" y="173"/>
                </a:cubicBezTo>
                <a:cubicBezTo>
                  <a:pt x="487" y="173"/>
                  <a:pt x="487" y="173"/>
                  <a:pt x="487" y="173"/>
                </a:cubicBezTo>
                <a:cubicBezTo>
                  <a:pt x="488" y="173"/>
                  <a:pt x="489" y="173"/>
                  <a:pt x="490" y="172"/>
                </a:cubicBezTo>
                <a:cubicBezTo>
                  <a:pt x="490" y="172"/>
                  <a:pt x="490" y="172"/>
                  <a:pt x="490" y="172"/>
                </a:cubicBezTo>
                <a:cubicBezTo>
                  <a:pt x="492" y="172"/>
                  <a:pt x="493" y="172"/>
                  <a:pt x="493" y="170"/>
                </a:cubicBezTo>
                <a:cubicBezTo>
                  <a:pt x="493" y="170"/>
                  <a:pt x="493" y="170"/>
                  <a:pt x="493" y="170"/>
                </a:cubicBezTo>
                <a:cubicBezTo>
                  <a:pt x="494" y="170"/>
                  <a:pt x="494" y="170"/>
                  <a:pt x="494" y="170"/>
                </a:cubicBezTo>
                <a:cubicBezTo>
                  <a:pt x="494" y="170"/>
                  <a:pt x="494" y="170"/>
                  <a:pt x="494" y="170"/>
                </a:cubicBezTo>
                <a:cubicBezTo>
                  <a:pt x="497" y="170"/>
                  <a:pt x="498" y="169"/>
                  <a:pt x="500" y="168"/>
                </a:cubicBezTo>
                <a:cubicBezTo>
                  <a:pt x="500" y="168"/>
                  <a:pt x="500" y="168"/>
                  <a:pt x="500" y="168"/>
                </a:cubicBezTo>
                <a:cubicBezTo>
                  <a:pt x="501" y="168"/>
                  <a:pt x="502" y="167"/>
                  <a:pt x="503" y="167"/>
                </a:cubicBezTo>
                <a:cubicBezTo>
                  <a:pt x="503" y="166"/>
                  <a:pt x="503" y="166"/>
                  <a:pt x="503" y="166"/>
                </a:cubicBezTo>
                <a:cubicBezTo>
                  <a:pt x="506" y="166"/>
                  <a:pt x="508" y="165"/>
                  <a:pt x="510" y="164"/>
                </a:cubicBezTo>
                <a:cubicBezTo>
                  <a:pt x="510" y="164"/>
                  <a:pt x="510" y="164"/>
                  <a:pt x="510" y="164"/>
                </a:cubicBezTo>
                <a:cubicBezTo>
                  <a:pt x="511" y="161"/>
                  <a:pt x="514" y="163"/>
                  <a:pt x="514" y="161"/>
                </a:cubicBezTo>
                <a:cubicBezTo>
                  <a:pt x="514" y="161"/>
                  <a:pt x="514" y="161"/>
                  <a:pt x="514" y="161"/>
                </a:cubicBezTo>
                <a:cubicBezTo>
                  <a:pt x="514" y="161"/>
                  <a:pt x="515" y="161"/>
                  <a:pt x="515" y="161"/>
                </a:cubicBezTo>
                <a:cubicBezTo>
                  <a:pt x="516" y="161"/>
                  <a:pt x="516" y="161"/>
                  <a:pt x="516" y="161"/>
                </a:cubicBezTo>
                <a:cubicBezTo>
                  <a:pt x="517" y="159"/>
                  <a:pt x="518" y="158"/>
                  <a:pt x="518" y="157"/>
                </a:cubicBezTo>
                <a:cubicBezTo>
                  <a:pt x="518" y="157"/>
                  <a:pt x="518" y="157"/>
                  <a:pt x="518" y="157"/>
                </a:cubicBezTo>
                <a:cubicBezTo>
                  <a:pt x="518" y="155"/>
                  <a:pt x="520" y="154"/>
                  <a:pt x="519" y="153"/>
                </a:cubicBezTo>
                <a:cubicBezTo>
                  <a:pt x="519" y="153"/>
                  <a:pt x="519" y="153"/>
                  <a:pt x="519" y="152"/>
                </a:cubicBezTo>
                <a:cubicBezTo>
                  <a:pt x="518" y="151"/>
                  <a:pt x="519" y="150"/>
                  <a:pt x="519" y="149"/>
                </a:cubicBezTo>
                <a:cubicBezTo>
                  <a:pt x="519" y="149"/>
                  <a:pt x="519" y="149"/>
                  <a:pt x="519" y="149"/>
                </a:cubicBezTo>
                <a:cubicBezTo>
                  <a:pt x="518" y="148"/>
                  <a:pt x="518" y="148"/>
                  <a:pt x="518" y="148"/>
                </a:cubicBezTo>
                <a:cubicBezTo>
                  <a:pt x="518" y="148"/>
                  <a:pt x="518" y="148"/>
                  <a:pt x="518" y="148"/>
                </a:cubicBezTo>
                <a:cubicBezTo>
                  <a:pt x="518" y="148"/>
                  <a:pt x="518" y="147"/>
                  <a:pt x="518" y="147"/>
                </a:cubicBezTo>
                <a:cubicBezTo>
                  <a:pt x="518" y="146"/>
                  <a:pt x="517" y="145"/>
                  <a:pt x="516" y="144"/>
                </a:cubicBezTo>
                <a:cubicBezTo>
                  <a:pt x="516" y="144"/>
                  <a:pt x="516" y="144"/>
                  <a:pt x="516" y="144"/>
                </a:cubicBezTo>
                <a:cubicBezTo>
                  <a:pt x="517" y="144"/>
                  <a:pt x="517" y="143"/>
                  <a:pt x="517" y="143"/>
                </a:cubicBezTo>
                <a:cubicBezTo>
                  <a:pt x="517" y="142"/>
                  <a:pt x="518" y="142"/>
                  <a:pt x="518" y="142"/>
                </a:cubicBezTo>
                <a:cubicBezTo>
                  <a:pt x="518" y="142"/>
                  <a:pt x="519" y="142"/>
                  <a:pt x="519" y="142"/>
                </a:cubicBezTo>
                <a:cubicBezTo>
                  <a:pt x="520" y="142"/>
                  <a:pt x="521" y="142"/>
                  <a:pt x="522" y="143"/>
                </a:cubicBezTo>
                <a:cubicBezTo>
                  <a:pt x="522" y="142"/>
                  <a:pt x="522" y="142"/>
                  <a:pt x="522" y="141"/>
                </a:cubicBezTo>
                <a:cubicBezTo>
                  <a:pt x="522" y="141"/>
                  <a:pt x="522" y="141"/>
                  <a:pt x="522" y="141"/>
                </a:cubicBezTo>
                <a:cubicBezTo>
                  <a:pt x="522" y="141"/>
                  <a:pt x="522" y="141"/>
                  <a:pt x="523" y="141"/>
                </a:cubicBezTo>
                <a:cubicBezTo>
                  <a:pt x="523" y="141"/>
                  <a:pt x="523" y="141"/>
                  <a:pt x="523" y="141"/>
                </a:cubicBezTo>
                <a:cubicBezTo>
                  <a:pt x="523" y="140"/>
                  <a:pt x="524" y="140"/>
                  <a:pt x="524" y="140"/>
                </a:cubicBezTo>
                <a:cubicBezTo>
                  <a:pt x="523" y="140"/>
                  <a:pt x="524" y="139"/>
                  <a:pt x="524" y="138"/>
                </a:cubicBezTo>
                <a:close/>
                <a:moveTo>
                  <a:pt x="547" y="253"/>
                </a:moveTo>
                <a:cubicBezTo>
                  <a:pt x="545" y="253"/>
                  <a:pt x="546" y="252"/>
                  <a:pt x="546" y="251"/>
                </a:cubicBezTo>
                <a:cubicBezTo>
                  <a:pt x="545" y="251"/>
                  <a:pt x="545" y="251"/>
                  <a:pt x="544" y="250"/>
                </a:cubicBezTo>
                <a:cubicBezTo>
                  <a:pt x="544" y="249"/>
                  <a:pt x="545" y="249"/>
                  <a:pt x="544" y="248"/>
                </a:cubicBezTo>
                <a:cubicBezTo>
                  <a:pt x="544" y="248"/>
                  <a:pt x="543" y="249"/>
                  <a:pt x="543" y="248"/>
                </a:cubicBezTo>
                <a:cubicBezTo>
                  <a:pt x="543" y="248"/>
                  <a:pt x="543" y="247"/>
                  <a:pt x="543" y="247"/>
                </a:cubicBezTo>
                <a:cubicBezTo>
                  <a:pt x="542" y="247"/>
                  <a:pt x="542" y="246"/>
                  <a:pt x="542" y="246"/>
                </a:cubicBezTo>
                <a:cubicBezTo>
                  <a:pt x="537" y="246"/>
                  <a:pt x="535" y="244"/>
                  <a:pt x="530" y="245"/>
                </a:cubicBezTo>
                <a:cubicBezTo>
                  <a:pt x="530" y="246"/>
                  <a:pt x="530" y="246"/>
                  <a:pt x="529" y="246"/>
                </a:cubicBezTo>
                <a:cubicBezTo>
                  <a:pt x="529" y="246"/>
                  <a:pt x="528" y="247"/>
                  <a:pt x="528" y="248"/>
                </a:cubicBezTo>
                <a:cubicBezTo>
                  <a:pt x="529" y="248"/>
                  <a:pt x="529" y="248"/>
                  <a:pt x="529" y="248"/>
                </a:cubicBezTo>
                <a:cubicBezTo>
                  <a:pt x="529" y="248"/>
                  <a:pt x="529" y="248"/>
                  <a:pt x="529" y="248"/>
                </a:cubicBezTo>
                <a:cubicBezTo>
                  <a:pt x="529" y="248"/>
                  <a:pt x="530" y="248"/>
                  <a:pt x="530" y="248"/>
                </a:cubicBezTo>
                <a:cubicBezTo>
                  <a:pt x="530" y="249"/>
                  <a:pt x="530" y="250"/>
                  <a:pt x="530" y="251"/>
                </a:cubicBezTo>
                <a:cubicBezTo>
                  <a:pt x="532" y="252"/>
                  <a:pt x="534" y="253"/>
                  <a:pt x="536" y="253"/>
                </a:cubicBezTo>
                <a:cubicBezTo>
                  <a:pt x="536" y="254"/>
                  <a:pt x="537" y="254"/>
                  <a:pt x="539" y="254"/>
                </a:cubicBezTo>
                <a:cubicBezTo>
                  <a:pt x="540" y="255"/>
                  <a:pt x="540" y="256"/>
                  <a:pt x="542" y="257"/>
                </a:cubicBezTo>
                <a:cubicBezTo>
                  <a:pt x="542" y="258"/>
                  <a:pt x="544" y="259"/>
                  <a:pt x="545" y="259"/>
                </a:cubicBezTo>
                <a:cubicBezTo>
                  <a:pt x="546" y="257"/>
                  <a:pt x="547" y="256"/>
                  <a:pt x="547" y="253"/>
                </a:cubicBezTo>
                <a:close/>
                <a:moveTo>
                  <a:pt x="266" y="390"/>
                </a:moveTo>
                <a:cubicBezTo>
                  <a:pt x="266" y="389"/>
                  <a:pt x="266" y="389"/>
                  <a:pt x="265" y="389"/>
                </a:cubicBezTo>
                <a:cubicBezTo>
                  <a:pt x="265" y="389"/>
                  <a:pt x="264" y="389"/>
                  <a:pt x="264" y="390"/>
                </a:cubicBezTo>
                <a:cubicBezTo>
                  <a:pt x="263" y="390"/>
                  <a:pt x="263" y="390"/>
                  <a:pt x="263" y="391"/>
                </a:cubicBezTo>
                <a:cubicBezTo>
                  <a:pt x="263" y="392"/>
                  <a:pt x="263" y="392"/>
                  <a:pt x="264" y="392"/>
                </a:cubicBezTo>
                <a:cubicBezTo>
                  <a:pt x="264" y="392"/>
                  <a:pt x="265" y="392"/>
                  <a:pt x="266" y="392"/>
                </a:cubicBezTo>
                <a:cubicBezTo>
                  <a:pt x="266" y="392"/>
                  <a:pt x="267" y="392"/>
                  <a:pt x="267" y="392"/>
                </a:cubicBezTo>
                <a:cubicBezTo>
                  <a:pt x="267" y="392"/>
                  <a:pt x="268" y="392"/>
                  <a:pt x="268" y="391"/>
                </a:cubicBezTo>
                <a:cubicBezTo>
                  <a:pt x="268" y="391"/>
                  <a:pt x="267" y="391"/>
                  <a:pt x="267" y="390"/>
                </a:cubicBezTo>
                <a:lnTo>
                  <a:pt x="266" y="390"/>
                </a:lnTo>
                <a:close/>
                <a:moveTo>
                  <a:pt x="496" y="282"/>
                </a:moveTo>
                <a:cubicBezTo>
                  <a:pt x="497" y="285"/>
                  <a:pt x="496" y="282"/>
                  <a:pt x="494" y="283"/>
                </a:cubicBezTo>
                <a:cubicBezTo>
                  <a:pt x="494" y="284"/>
                  <a:pt x="494" y="285"/>
                  <a:pt x="495" y="285"/>
                </a:cubicBezTo>
                <a:cubicBezTo>
                  <a:pt x="495" y="285"/>
                  <a:pt x="496" y="285"/>
                  <a:pt x="496" y="286"/>
                </a:cubicBezTo>
                <a:cubicBezTo>
                  <a:pt x="496" y="286"/>
                  <a:pt x="496" y="286"/>
                  <a:pt x="496" y="286"/>
                </a:cubicBezTo>
                <a:cubicBezTo>
                  <a:pt x="497" y="286"/>
                  <a:pt x="498" y="282"/>
                  <a:pt x="496" y="282"/>
                </a:cubicBezTo>
                <a:close/>
                <a:moveTo>
                  <a:pt x="444" y="296"/>
                </a:moveTo>
                <a:cubicBezTo>
                  <a:pt x="443" y="296"/>
                  <a:pt x="442" y="295"/>
                  <a:pt x="442" y="294"/>
                </a:cubicBezTo>
                <a:cubicBezTo>
                  <a:pt x="442" y="294"/>
                  <a:pt x="441" y="294"/>
                  <a:pt x="441" y="293"/>
                </a:cubicBezTo>
                <a:cubicBezTo>
                  <a:pt x="441" y="292"/>
                  <a:pt x="441" y="291"/>
                  <a:pt x="441" y="291"/>
                </a:cubicBezTo>
                <a:cubicBezTo>
                  <a:pt x="441" y="292"/>
                  <a:pt x="441" y="292"/>
                  <a:pt x="441" y="293"/>
                </a:cubicBezTo>
                <a:cubicBezTo>
                  <a:pt x="440" y="293"/>
                  <a:pt x="440" y="294"/>
                  <a:pt x="439" y="294"/>
                </a:cubicBezTo>
                <a:cubicBezTo>
                  <a:pt x="439" y="296"/>
                  <a:pt x="438" y="297"/>
                  <a:pt x="439" y="299"/>
                </a:cubicBezTo>
                <a:cubicBezTo>
                  <a:pt x="441" y="300"/>
                  <a:pt x="439" y="297"/>
                  <a:pt x="441" y="298"/>
                </a:cubicBezTo>
                <a:cubicBezTo>
                  <a:pt x="441" y="297"/>
                  <a:pt x="442" y="297"/>
                  <a:pt x="442" y="298"/>
                </a:cubicBezTo>
                <a:cubicBezTo>
                  <a:pt x="443" y="298"/>
                  <a:pt x="443" y="300"/>
                  <a:pt x="445" y="299"/>
                </a:cubicBezTo>
                <a:cubicBezTo>
                  <a:pt x="445" y="299"/>
                  <a:pt x="445" y="299"/>
                  <a:pt x="446" y="299"/>
                </a:cubicBezTo>
                <a:cubicBezTo>
                  <a:pt x="446" y="299"/>
                  <a:pt x="446" y="298"/>
                  <a:pt x="446" y="297"/>
                </a:cubicBezTo>
                <a:cubicBezTo>
                  <a:pt x="446" y="296"/>
                  <a:pt x="444" y="297"/>
                  <a:pt x="444" y="296"/>
                </a:cubicBezTo>
                <a:close/>
                <a:moveTo>
                  <a:pt x="449" y="280"/>
                </a:moveTo>
                <a:cubicBezTo>
                  <a:pt x="450" y="278"/>
                  <a:pt x="448" y="278"/>
                  <a:pt x="448" y="276"/>
                </a:cubicBezTo>
                <a:cubicBezTo>
                  <a:pt x="446" y="276"/>
                  <a:pt x="444" y="276"/>
                  <a:pt x="443" y="277"/>
                </a:cubicBezTo>
                <a:cubicBezTo>
                  <a:pt x="441" y="277"/>
                  <a:pt x="441" y="278"/>
                  <a:pt x="439" y="278"/>
                </a:cubicBezTo>
                <a:cubicBezTo>
                  <a:pt x="438" y="280"/>
                  <a:pt x="436" y="280"/>
                  <a:pt x="436" y="282"/>
                </a:cubicBezTo>
                <a:cubicBezTo>
                  <a:pt x="436" y="283"/>
                  <a:pt x="435" y="282"/>
                  <a:pt x="434" y="283"/>
                </a:cubicBezTo>
                <a:cubicBezTo>
                  <a:pt x="433" y="283"/>
                  <a:pt x="434" y="285"/>
                  <a:pt x="434" y="286"/>
                </a:cubicBezTo>
                <a:cubicBezTo>
                  <a:pt x="434" y="286"/>
                  <a:pt x="435" y="287"/>
                  <a:pt x="434" y="287"/>
                </a:cubicBezTo>
                <a:cubicBezTo>
                  <a:pt x="436" y="287"/>
                  <a:pt x="437" y="287"/>
                  <a:pt x="438" y="287"/>
                </a:cubicBezTo>
                <a:cubicBezTo>
                  <a:pt x="438" y="288"/>
                  <a:pt x="438" y="288"/>
                  <a:pt x="438" y="289"/>
                </a:cubicBezTo>
                <a:cubicBezTo>
                  <a:pt x="438" y="289"/>
                  <a:pt x="439" y="289"/>
                  <a:pt x="439" y="290"/>
                </a:cubicBezTo>
                <a:cubicBezTo>
                  <a:pt x="442" y="290"/>
                  <a:pt x="441" y="287"/>
                  <a:pt x="443" y="287"/>
                </a:cubicBezTo>
                <a:cubicBezTo>
                  <a:pt x="445" y="287"/>
                  <a:pt x="445" y="286"/>
                  <a:pt x="446" y="285"/>
                </a:cubicBezTo>
                <a:cubicBezTo>
                  <a:pt x="448" y="285"/>
                  <a:pt x="448" y="283"/>
                  <a:pt x="450" y="283"/>
                </a:cubicBezTo>
                <a:cubicBezTo>
                  <a:pt x="450" y="282"/>
                  <a:pt x="448" y="282"/>
                  <a:pt x="449" y="2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7" name="Freeform 115"/>
          <p:cNvSpPr>
            <a:spLocks noEditPoints="1"/>
          </p:cNvSpPr>
          <p:nvPr/>
        </p:nvSpPr>
        <p:spPr bwMode="auto">
          <a:xfrm>
            <a:off x="7761579" y="670228"/>
            <a:ext cx="985838" cy="2451100"/>
          </a:xfrm>
          <a:custGeom>
            <a:avLst/>
            <a:gdLst>
              <a:gd name="T0" fmla="*/ 175 w 255"/>
              <a:gd name="T1" fmla="*/ 518 h 633"/>
              <a:gd name="T2" fmla="*/ 177 w 255"/>
              <a:gd name="T3" fmla="*/ 555 h 633"/>
              <a:gd name="T4" fmla="*/ 190 w 255"/>
              <a:gd name="T5" fmla="*/ 516 h 633"/>
              <a:gd name="T6" fmla="*/ 214 w 255"/>
              <a:gd name="T7" fmla="*/ 170 h 633"/>
              <a:gd name="T8" fmla="*/ 179 w 255"/>
              <a:gd name="T9" fmla="*/ 444 h 633"/>
              <a:gd name="T10" fmla="*/ 130 w 255"/>
              <a:gd name="T11" fmla="*/ 569 h 633"/>
              <a:gd name="T12" fmla="*/ 141 w 255"/>
              <a:gd name="T13" fmla="*/ 562 h 633"/>
              <a:gd name="T14" fmla="*/ 11 w 255"/>
              <a:gd name="T15" fmla="*/ 511 h 633"/>
              <a:gd name="T16" fmla="*/ 135 w 255"/>
              <a:gd name="T17" fmla="*/ 516 h 633"/>
              <a:gd name="T18" fmla="*/ 251 w 255"/>
              <a:gd name="T19" fmla="*/ 145 h 633"/>
              <a:gd name="T20" fmla="*/ 255 w 255"/>
              <a:gd name="T21" fmla="*/ 137 h 633"/>
              <a:gd name="T22" fmla="*/ 246 w 255"/>
              <a:gd name="T23" fmla="*/ 126 h 633"/>
              <a:gd name="T24" fmla="*/ 234 w 255"/>
              <a:gd name="T25" fmla="*/ 72 h 633"/>
              <a:gd name="T26" fmla="*/ 228 w 255"/>
              <a:gd name="T27" fmla="*/ 60 h 633"/>
              <a:gd name="T28" fmla="*/ 227 w 255"/>
              <a:gd name="T29" fmla="*/ 45 h 633"/>
              <a:gd name="T30" fmla="*/ 186 w 255"/>
              <a:gd name="T31" fmla="*/ 12 h 633"/>
              <a:gd name="T32" fmla="*/ 171 w 255"/>
              <a:gd name="T33" fmla="*/ 18 h 633"/>
              <a:gd name="T34" fmla="*/ 136 w 255"/>
              <a:gd name="T35" fmla="*/ 51 h 633"/>
              <a:gd name="T36" fmla="*/ 99 w 255"/>
              <a:gd name="T37" fmla="*/ 115 h 633"/>
              <a:gd name="T38" fmla="*/ 90 w 255"/>
              <a:gd name="T39" fmla="*/ 134 h 633"/>
              <a:gd name="T40" fmla="*/ 78 w 255"/>
              <a:gd name="T41" fmla="*/ 152 h 633"/>
              <a:gd name="T42" fmla="*/ 67 w 255"/>
              <a:gd name="T43" fmla="*/ 192 h 633"/>
              <a:gd name="T44" fmla="*/ 44 w 255"/>
              <a:gd name="T45" fmla="*/ 235 h 633"/>
              <a:gd name="T46" fmla="*/ 28 w 255"/>
              <a:gd name="T47" fmla="*/ 309 h 633"/>
              <a:gd name="T48" fmla="*/ 42 w 255"/>
              <a:gd name="T49" fmla="*/ 367 h 633"/>
              <a:gd name="T50" fmla="*/ 34 w 255"/>
              <a:gd name="T51" fmla="*/ 381 h 633"/>
              <a:gd name="T52" fmla="*/ 35 w 255"/>
              <a:gd name="T53" fmla="*/ 414 h 633"/>
              <a:gd name="T54" fmla="*/ 25 w 255"/>
              <a:gd name="T55" fmla="*/ 424 h 633"/>
              <a:gd name="T56" fmla="*/ 21 w 255"/>
              <a:gd name="T57" fmla="*/ 426 h 633"/>
              <a:gd name="T58" fmla="*/ 14 w 255"/>
              <a:gd name="T59" fmla="*/ 469 h 633"/>
              <a:gd name="T60" fmla="*/ 9 w 255"/>
              <a:gd name="T61" fmla="*/ 497 h 633"/>
              <a:gd name="T62" fmla="*/ 24 w 255"/>
              <a:gd name="T63" fmla="*/ 551 h 633"/>
              <a:gd name="T64" fmla="*/ 30 w 255"/>
              <a:gd name="T65" fmla="*/ 589 h 633"/>
              <a:gd name="T66" fmla="*/ 41 w 255"/>
              <a:gd name="T67" fmla="*/ 624 h 633"/>
              <a:gd name="T68" fmla="*/ 77 w 255"/>
              <a:gd name="T69" fmla="*/ 616 h 633"/>
              <a:gd name="T70" fmla="*/ 102 w 255"/>
              <a:gd name="T71" fmla="*/ 595 h 633"/>
              <a:gd name="T72" fmla="*/ 129 w 255"/>
              <a:gd name="T73" fmla="*/ 564 h 633"/>
              <a:gd name="T74" fmla="*/ 129 w 255"/>
              <a:gd name="T75" fmla="*/ 509 h 633"/>
              <a:gd name="T76" fmla="*/ 133 w 255"/>
              <a:gd name="T77" fmla="*/ 481 h 633"/>
              <a:gd name="T78" fmla="*/ 152 w 255"/>
              <a:gd name="T79" fmla="*/ 470 h 633"/>
              <a:gd name="T80" fmla="*/ 163 w 255"/>
              <a:gd name="T81" fmla="*/ 460 h 633"/>
              <a:gd name="T82" fmla="*/ 174 w 255"/>
              <a:gd name="T83" fmla="*/ 450 h 633"/>
              <a:gd name="T84" fmla="*/ 179 w 255"/>
              <a:gd name="T85" fmla="*/ 427 h 633"/>
              <a:gd name="T86" fmla="*/ 171 w 255"/>
              <a:gd name="T87" fmla="*/ 404 h 633"/>
              <a:gd name="T88" fmla="*/ 141 w 255"/>
              <a:gd name="T89" fmla="*/ 376 h 633"/>
              <a:gd name="T90" fmla="*/ 142 w 255"/>
              <a:gd name="T91" fmla="*/ 312 h 633"/>
              <a:gd name="T92" fmla="*/ 153 w 255"/>
              <a:gd name="T93" fmla="*/ 293 h 633"/>
              <a:gd name="T94" fmla="*/ 155 w 255"/>
              <a:gd name="T95" fmla="*/ 278 h 633"/>
              <a:gd name="T96" fmla="*/ 184 w 255"/>
              <a:gd name="T97" fmla="*/ 256 h 633"/>
              <a:gd name="T98" fmla="*/ 207 w 255"/>
              <a:gd name="T99" fmla="*/ 221 h 633"/>
              <a:gd name="T100" fmla="*/ 206 w 255"/>
              <a:gd name="T101" fmla="*/ 190 h 633"/>
              <a:gd name="T102" fmla="*/ 213 w 255"/>
              <a:gd name="T103" fmla="*/ 171 h 633"/>
              <a:gd name="T104" fmla="*/ 217 w 255"/>
              <a:gd name="T105" fmla="*/ 153 h 633"/>
              <a:gd name="T106" fmla="*/ 239 w 255"/>
              <a:gd name="T107" fmla="*/ 142 h 633"/>
              <a:gd name="T108" fmla="*/ 146 w 255"/>
              <a:gd name="T109" fmla="*/ 436 h 633"/>
              <a:gd name="T110" fmla="*/ 155 w 255"/>
              <a:gd name="T111" fmla="*/ 442 h 633"/>
              <a:gd name="T112" fmla="*/ 145 w 255"/>
              <a:gd name="T113" fmla="*/ 449 h 633"/>
              <a:gd name="T114" fmla="*/ 126 w 255"/>
              <a:gd name="T115" fmla="*/ 439 h 633"/>
              <a:gd name="T116" fmla="*/ 37 w 255"/>
              <a:gd name="T117" fmla="*/ 605 h 633"/>
              <a:gd name="T118" fmla="*/ 141 w 255"/>
              <a:gd name="T119" fmla="*/ 440 h 633"/>
              <a:gd name="T120" fmla="*/ 227 w 255"/>
              <a:gd name="T121" fmla="*/ 150 h 633"/>
              <a:gd name="T122" fmla="*/ 249 w 255"/>
              <a:gd name="T123" fmla="*/ 144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5" h="633">
                <a:moveTo>
                  <a:pt x="181" y="437"/>
                </a:moveTo>
                <a:cubicBezTo>
                  <a:pt x="178" y="436"/>
                  <a:pt x="178" y="438"/>
                  <a:pt x="177" y="438"/>
                </a:cubicBezTo>
                <a:cubicBezTo>
                  <a:pt x="177" y="438"/>
                  <a:pt x="176" y="437"/>
                  <a:pt x="176" y="437"/>
                </a:cubicBezTo>
                <a:cubicBezTo>
                  <a:pt x="176" y="436"/>
                  <a:pt x="175" y="436"/>
                  <a:pt x="175" y="436"/>
                </a:cubicBezTo>
                <a:cubicBezTo>
                  <a:pt x="175" y="438"/>
                  <a:pt x="172" y="437"/>
                  <a:pt x="173" y="440"/>
                </a:cubicBezTo>
                <a:cubicBezTo>
                  <a:pt x="175" y="440"/>
                  <a:pt x="176" y="440"/>
                  <a:pt x="178" y="440"/>
                </a:cubicBezTo>
                <a:cubicBezTo>
                  <a:pt x="177" y="437"/>
                  <a:pt x="182" y="440"/>
                  <a:pt x="181" y="437"/>
                </a:cubicBezTo>
                <a:close/>
                <a:moveTo>
                  <a:pt x="197" y="504"/>
                </a:moveTo>
                <a:cubicBezTo>
                  <a:pt x="197" y="504"/>
                  <a:pt x="197" y="503"/>
                  <a:pt x="196" y="503"/>
                </a:cubicBezTo>
                <a:cubicBezTo>
                  <a:pt x="196" y="503"/>
                  <a:pt x="196" y="503"/>
                  <a:pt x="196" y="503"/>
                </a:cubicBezTo>
                <a:cubicBezTo>
                  <a:pt x="195" y="503"/>
                  <a:pt x="196" y="502"/>
                  <a:pt x="195" y="501"/>
                </a:cubicBezTo>
                <a:cubicBezTo>
                  <a:pt x="194" y="500"/>
                  <a:pt x="194" y="501"/>
                  <a:pt x="194" y="501"/>
                </a:cubicBezTo>
                <a:cubicBezTo>
                  <a:pt x="194" y="501"/>
                  <a:pt x="194" y="502"/>
                  <a:pt x="194" y="502"/>
                </a:cubicBezTo>
                <a:cubicBezTo>
                  <a:pt x="194" y="503"/>
                  <a:pt x="193" y="503"/>
                  <a:pt x="193" y="504"/>
                </a:cubicBezTo>
                <a:cubicBezTo>
                  <a:pt x="193" y="504"/>
                  <a:pt x="193" y="504"/>
                  <a:pt x="193" y="504"/>
                </a:cubicBezTo>
                <a:cubicBezTo>
                  <a:pt x="193" y="505"/>
                  <a:pt x="193" y="505"/>
                  <a:pt x="193" y="505"/>
                </a:cubicBezTo>
                <a:cubicBezTo>
                  <a:pt x="192" y="505"/>
                  <a:pt x="192" y="505"/>
                  <a:pt x="192" y="506"/>
                </a:cubicBezTo>
                <a:cubicBezTo>
                  <a:pt x="191" y="506"/>
                  <a:pt x="191" y="507"/>
                  <a:pt x="190" y="506"/>
                </a:cubicBezTo>
                <a:cubicBezTo>
                  <a:pt x="188" y="507"/>
                  <a:pt x="189" y="504"/>
                  <a:pt x="187" y="505"/>
                </a:cubicBezTo>
                <a:cubicBezTo>
                  <a:pt x="187" y="506"/>
                  <a:pt x="187" y="507"/>
                  <a:pt x="186" y="507"/>
                </a:cubicBezTo>
                <a:cubicBezTo>
                  <a:pt x="186" y="508"/>
                  <a:pt x="186" y="509"/>
                  <a:pt x="185" y="509"/>
                </a:cubicBezTo>
                <a:cubicBezTo>
                  <a:pt x="185" y="508"/>
                  <a:pt x="184" y="507"/>
                  <a:pt x="183" y="507"/>
                </a:cubicBezTo>
                <a:cubicBezTo>
                  <a:pt x="181" y="508"/>
                  <a:pt x="181" y="510"/>
                  <a:pt x="179" y="511"/>
                </a:cubicBezTo>
                <a:cubicBezTo>
                  <a:pt x="177" y="510"/>
                  <a:pt x="178" y="513"/>
                  <a:pt x="176" y="513"/>
                </a:cubicBezTo>
                <a:cubicBezTo>
                  <a:pt x="176" y="515"/>
                  <a:pt x="175" y="516"/>
                  <a:pt x="175" y="518"/>
                </a:cubicBezTo>
                <a:cubicBezTo>
                  <a:pt x="174" y="518"/>
                  <a:pt x="174" y="518"/>
                  <a:pt x="174" y="518"/>
                </a:cubicBezTo>
                <a:cubicBezTo>
                  <a:pt x="173" y="519"/>
                  <a:pt x="173" y="520"/>
                  <a:pt x="173" y="521"/>
                </a:cubicBezTo>
                <a:cubicBezTo>
                  <a:pt x="173" y="521"/>
                  <a:pt x="173" y="521"/>
                  <a:pt x="173" y="521"/>
                </a:cubicBezTo>
                <a:cubicBezTo>
                  <a:pt x="173" y="522"/>
                  <a:pt x="173" y="522"/>
                  <a:pt x="173" y="522"/>
                </a:cubicBezTo>
                <a:cubicBezTo>
                  <a:pt x="171" y="522"/>
                  <a:pt x="170" y="523"/>
                  <a:pt x="170" y="525"/>
                </a:cubicBezTo>
                <a:cubicBezTo>
                  <a:pt x="170" y="525"/>
                  <a:pt x="170" y="525"/>
                  <a:pt x="170" y="525"/>
                </a:cubicBezTo>
                <a:cubicBezTo>
                  <a:pt x="170" y="525"/>
                  <a:pt x="169" y="525"/>
                  <a:pt x="169" y="525"/>
                </a:cubicBezTo>
                <a:cubicBezTo>
                  <a:pt x="169" y="525"/>
                  <a:pt x="169" y="527"/>
                  <a:pt x="169" y="527"/>
                </a:cubicBezTo>
                <a:cubicBezTo>
                  <a:pt x="169" y="528"/>
                  <a:pt x="170" y="527"/>
                  <a:pt x="170" y="528"/>
                </a:cubicBezTo>
                <a:cubicBezTo>
                  <a:pt x="170" y="529"/>
                  <a:pt x="170" y="530"/>
                  <a:pt x="170" y="531"/>
                </a:cubicBezTo>
                <a:cubicBezTo>
                  <a:pt x="170" y="531"/>
                  <a:pt x="170" y="531"/>
                  <a:pt x="170" y="531"/>
                </a:cubicBezTo>
                <a:cubicBezTo>
                  <a:pt x="170" y="532"/>
                  <a:pt x="170" y="532"/>
                  <a:pt x="170" y="533"/>
                </a:cubicBezTo>
                <a:cubicBezTo>
                  <a:pt x="170" y="533"/>
                  <a:pt x="171" y="533"/>
                  <a:pt x="171" y="533"/>
                </a:cubicBezTo>
                <a:cubicBezTo>
                  <a:pt x="170" y="534"/>
                  <a:pt x="170" y="535"/>
                  <a:pt x="170" y="536"/>
                </a:cubicBezTo>
                <a:cubicBezTo>
                  <a:pt x="170" y="536"/>
                  <a:pt x="170" y="536"/>
                  <a:pt x="170" y="536"/>
                </a:cubicBezTo>
                <a:cubicBezTo>
                  <a:pt x="170" y="536"/>
                  <a:pt x="170" y="536"/>
                  <a:pt x="170" y="536"/>
                </a:cubicBezTo>
                <a:cubicBezTo>
                  <a:pt x="170" y="537"/>
                  <a:pt x="170" y="538"/>
                  <a:pt x="170" y="539"/>
                </a:cubicBezTo>
                <a:cubicBezTo>
                  <a:pt x="170" y="540"/>
                  <a:pt x="170" y="540"/>
                  <a:pt x="171" y="541"/>
                </a:cubicBezTo>
                <a:cubicBezTo>
                  <a:pt x="171" y="542"/>
                  <a:pt x="171" y="543"/>
                  <a:pt x="172" y="543"/>
                </a:cubicBezTo>
                <a:cubicBezTo>
                  <a:pt x="171" y="545"/>
                  <a:pt x="174" y="544"/>
                  <a:pt x="173" y="546"/>
                </a:cubicBezTo>
                <a:cubicBezTo>
                  <a:pt x="172" y="546"/>
                  <a:pt x="172" y="547"/>
                  <a:pt x="172" y="548"/>
                </a:cubicBezTo>
                <a:cubicBezTo>
                  <a:pt x="172" y="548"/>
                  <a:pt x="174" y="548"/>
                  <a:pt x="174" y="549"/>
                </a:cubicBezTo>
                <a:cubicBezTo>
                  <a:pt x="172" y="548"/>
                  <a:pt x="174" y="552"/>
                  <a:pt x="172" y="552"/>
                </a:cubicBezTo>
                <a:cubicBezTo>
                  <a:pt x="173" y="553"/>
                  <a:pt x="171" y="553"/>
                  <a:pt x="172" y="555"/>
                </a:cubicBezTo>
                <a:cubicBezTo>
                  <a:pt x="174" y="556"/>
                  <a:pt x="175" y="555"/>
                  <a:pt x="177" y="555"/>
                </a:cubicBezTo>
                <a:cubicBezTo>
                  <a:pt x="177" y="554"/>
                  <a:pt x="177" y="554"/>
                  <a:pt x="177" y="554"/>
                </a:cubicBezTo>
                <a:cubicBezTo>
                  <a:pt x="177" y="553"/>
                  <a:pt x="177" y="553"/>
                  <a:pt x="177" y="553"/>
                </a:cubicBezTo>
                <a:cubicBezTo>
                  <a:pt x="179" y="553"/>
                  <a:pt x="178" y="550"/>
                  <a:pt x="180" y="551"/>
                </a:cubicBezTo>
                <a:cubicBezTo>
                  <a:pt x="180" y="549"/>
                  <a:pt x="179" y="548"/>
                  <a:pt x="179" y="546"/>
                </a:cubicBezTo>
                <a:cubicBezTo>
                  <a:pt x="180" y="546"/>
                  <a:pt x="179" y="543"/>
                  <a:pt x="181" y="543"/>
                </a:cubicBezTo>
                <a:cubicBezTo>
                  <a:pt x="181" y="542"/>
                  <a:pt x="181" y="542"/>
                  <a:pt x="181" y="542"/>
                </a:cubicBezTo>
                <a:cubicBezTo>
                  <a:pt x="183" y="541"/>
                  <a:pt x="183" y="539"/>
                  <a:pt x="186" y="540"/>
                </a:cubicBezTo>
                <a:cubicBezTo>
                  <a:pt x="186" y="539"/>
                  <a:pt x="186" y="538"/>
                  <a:pt x="187" y="538"/>
                </a:cubicBezTo>
                <a:cubicBezTo>
                  <a:pt x="188" y="536"/>
                  <a:pt x="185" y="537"/>
                  <a:pt x="186" y="535"/>
                </a:cubicBezTo>
                <a:cubicBezTo>
                  <a:pt x="186" y="535"/>
                  <a:pt x="186" y="534"/>
                  <a:pt x="187" y="534"/>
                </a:cubicBezTo>
                <a:cubicBezTo>
                  <a:pt x="187" y="534"/>
                  <a:pt x="187" y="534"/>
                  <a:pt x="187" y="534"/>
                </a:cubicBezTo>
                <a:cubicBezTo>
                  <a:pt x="188" y="533"/>
                  <a:pt x="189" y="533"/>
                  <a:pt x="190" y="531"/>
                </a:cubicBezTo>
                <a:cubicBezTo>
                  <a:pt x="190" y="531"/>
                  <a:pt x="190" y="531"/>
                  <a:pt x="190" y="531"/>
                </a:cubicBezTo>
                <a:cubicBezTo>
                  <a:pt x="191" y="531"/>
                  <a:pt x="191" y="530"/>
                  <a:pt x="191" y="530"/>
                </a:cubicBezTo>
                <a:cubicBezTo>
                  <a:pt x="191" y="529"/>
                  <a:pt x="191" y="529"/>
                  <a:pt x="191" y="529"/>
                </a:cubicBezTo>
                <a:cubicBezTo>
                  <a:pt x="191" y="529"/>
                  <a:pt x="190" y="527"/>
                  <a:pt x="188" y="527"/>
                </a:cubicBezTo>
                <a:cubicBezTo>
                  <a:pt x="188" y="527"/>
                  <a:pt x="188" y="527"/>
                  <a:pt x="188" y="527"/>
                </a:cubicBezTo>
                <a:cubicBezTo>
                  <a:pt x="188" y="527"/>
                  <a:pt x="187" y="527"/>
                  <a:pt x="187" y="526"/>
                </a:cubicBezTo>
                <a:cubicBezTo>
                  <a:pt x="187" y="525"/>
                  <a:pt x="187" y="523"/>
                  <a:pt x="187" y="523"/>
                </a:cubicBezTo>
                <a:cubicBezTo>
                  <a:pt x="187" y="521"/>
                  <a:pt x="186" y="521"/>
                  <a:pt x="186" y="520"/>
                </a:cubicBezTo>
                <a:cubicBezTo>
                  <a:pt x="187" y="520"/>
                  <a:pt x="187" y="520"/>
                  <a:pt x="187" y="519"/>
                </a:cubicBezTo>
                <a:cubicBezTo>
                  <a:pt x="187" y="519"/>
                  <a:pt x="187" y="519"/>
                  <a:pt x="187" y="519"/>
                </a:cubicBezTo>
                <a:cubicBezTo>
                  <a:pt x="189" y="519"/>
                  <a:pt x="190" y="519"/>
                  <a:pt x="190" y="517"/>
                </a:cubicBezTo>
                <a:cubicBezTo>
                  <a:pt x="190" y="517"/>
                  <a:pt x="190" y="516"/>
                  <a:pt x="190" y="516"/>
                </a:cubicBezTo>
                <a:cubicBezTo>
                  <a:pt x="190" y="516"/>
                  <a:pt x="190" y="516"/>
                  <a:pt x="190" y="516"/>
                </a:cubicBezTo>
                <a:cubicBezTo>
                  <a:pt x="190" y="516"/>
                  <a:pt x="191" y="516"/>
                  <a:pt x="192" y="516"/>
                </a:cubicBezTo>
                <a:cubicBezTo>
                  <a:pt x="192" y="515"/>
                  <a:pt x="192" y="513"/>
                  <a:pt x="191" y="512"/>
                </a:cubicBezTo>
                <a:cubicBezTo>
                  <a:pt x="193" y="512"/>
                  <a:pt x="194" y="510"/>
                  <a:pt x="194" y="508"/>
                </a:cubicBezTo>
                <a:cubicBezTo>
                  <a:pt x="195" y="508"/>
                  <a:pt x="195" y="506"/>
                  <a:pt x="197" y="506"/>
                </a:cubicBezTo>
                <a:cubicBezTo>
                  <a:pt x="197" y="505"/>
                  <a:pt x="200" y="507"/>
                  <a:pt x="199" y="504"/>
                </a:cubicBezTo>
                <a:cubicBezTo>
                  <a:pt x="199" y="503"/>
                  <a:pt x="198" y="504"/>
                  <a:pt x="197" y="504"/>
                </a:cubicBezTo>
                <a:close/>
                <a:moveTo>
                  <a:pt x="180" y="433"/>
                </a:moveTo>
                <a:cubicBezTo>
                  <a:pt x="180" y="431"/>
                  <a:pt x="183" y="432"/>
                  <a:pt x="183" y="431"/>
                </a:cubicBezTo>
                <a:cubicBezTo>
                  <a:pt x="183" y="430"/>
                  <a:pt x="183" y="430"/>
                  <a:pt x="184" y="430"/>
                </a:cubicBezTo>
                <a:cubicBezTo>
                  <a:pt x="184" y="428"/>
                  <a:pt x="181" y="429"/>
                  <a:pt x="180" y="428"/>
                </a:cubicBezTo>
                <a:cubicBezTo>
                  <a:pt x="180" y="430"/>
                  <a:pt x="178" y="432"/>
                  <a:pt x="180" y="433"/>
                </a:cubicBezTo>
                <a:close/>
                <a:moveTo>
                  <a:pt x="181" y="438"/>
                </a:moveTo>
                <a:cubicBezTo>
                  <a:pt x="181" y="439"/>
                  <a:pt x="180" y="439"/>
                  <a:pt x="180" y="440"/>
                </a:cubicBezTo>
                <a:cubicBezTo>
                  <a:pt x="181" y="440"/>
                  <a:pt x="181" y="440"/>
                  <a:pt x="181" y="441"/>
                </a:cubicBezTo>
                <a:cubicBezTo>
                  <a:pt x="181" y="442"/>
                  <a:pt x="180" y="442"/>
                  <a:pt x="180" y="442"/>
                </a:cubicBezTo>
                <a:cubicBezTo>
                  <a:pt x="182" y="443"/>
                  <a:pt x="182" y="442"/>
                  <a:pt x="182" y="440"/>
                </a:cubicBezTo>
                <a:cubicBezTo>
                  <a:pt x="184" y="440"/>
                  <a:pt x="182" y="438"/>
                  <a:pt x="181" y="438"/>
                </a:cubicBezTo>
                <a:close/>
                <a:moveTo>
                  <a:pt x="216" y="167"/>
                </a:moveTo>
                <a:cubicBezTo>
                  <a:pt x="216" y="167"/>
                  <a:pt x="215" y="168"/>
                  <a:pt x="215" y="168"/>
                </a:cubicBezTo>
                <a:cubicBezTo>
                  <a:pt x="215" y="168"/>
                  <a:pt x="215" y="168"/>
                  <a:pt x="215" y="168"/>
                </a:cubicBezTo>
                <a:cubicBezTo>
                  <a:pt x="216" y="169"/>
                  <a:pt x="214" y="169"/>
                  <a:pt x="216" y="169"/>
                </a:cubicBezTo>
                <a:cubicBezTo>
                  <a:pt x="216" y="169"/>
                  <a:pt x="216" y="169"/>
                  <a:pt x="216" y="169"/>
                </a:cubicBezTo>
                <a:cubicBezTo>
                  <a:pt x="218" y="169"/>
                  <a:pt x="216" y="167"/>
                  <a:pt x="216" y="167"/>
                </a:cubicBezTo>
                <a:close/>
                <a:moveTo>
                  <a:pt x="214" y="170"/>
                </a:moveTo>
                <a:cubicBezTo>
                  <a:pt x="214" y="170"/>
                  <a:pt x="214" y="170"/>
                  <a:pt x="214" y="170"/>
                </a:cubicBezTo>
                <a:cubicBezTo>
                  <a:pt x="214" y="171"/>
                  <a:pt x="214" y="171"/>
                  <a:pt x="214" y="171"/>
                </a:cubicBezTo>
                <a:cubicBezTo>
                  <a:pt x="214" y="172"/>
                  <a:pt x="214" y="172"/>
                  <a:pt x="214" y="172"/>
                </a:cubicBezTo>
                <a:cubicBezTo>
                  <a:pt x="214" y="172"/>
                  <a:pt x="214" y="172"/>
                  <a:pt x="214" y="172"/>
                </a:cubicBezTo>
                <a:cubicBezTo>
                  <a:pt x="214" y="172"/>
                  <a:pt x="214" y="172"/>
                  <a:pt x="214" y="172"/>
                </a:cubicBezTo>
                <a:cubicBezTo>
                  <a:pt x="214" y="172"/>
                  <a:pt x="215" y="172"/>
                  <a:pt x="215" y="172"/>
                </a:cubicBezTo>
                <a:cubicBezTo>
                  <a:pt x="215" y="172"/>
                  <a:pt x="215" y="172"/>
                  <a:pt x="215" y="172"/>
                </a:cubicBezTo>
                <a:cubicBezTo>
                  <a:pt x="215" y="172"/>
                  <a:pt x="215" y="172"/>
                  <a:pt x="215" y="171"/>
                </a:cubicBezTo>
                <a:cubicBezTo>
                  <a:pt x="216" y="171"/>
                  <a:pt x="215" y="171"/>
                  <a:pt x="216" y="170"/>
                </a:cubicBezTo>
                <a:cubicBezTo>
                  <a:pt x="215" y="170"/>
                  <a:pt x="214" y="170"/>
                  <a:pt x="214" y="170"/>
                </a:cubicBezTo>
                <a:close/>
                <a:moveTo>
                  <a:pt x="177" y="449"/>
                </a:moveTo>
                <a:cubicBezTo>
                  <a:pt x="177" y="451"/>
                  <a:pt x="178" y="451"/>
                  <a:pt x="179" y="451"/>
                </a:cubicBezTo>
                <a:cubicBezTo>
                  <a:pt x="179" y="450"/>
                  <a:pt x="180" y="450"/>
                  <a:pt x="180" y="449"/>
                </a:cubicBezTo>
                <a:cubicBezTo>
                  <a:pt x="179" y="449"/>
                  <a:pt x="179" y="449"/>
                  <a:pt x="178" y="449"/>
                </a:cubicBezTo>
                <a:cubicBezTo>
                  <a:pt x="178" y="449"/>
                  <a:pt x="178" y="449"/>
                  <a:pt x="177" y="449"/>
                </a:cubicBezTo>
                <a:close/>
                <a:moveTo>
                  <a:pt x="194" y="490"/>
                </a:moveTo>
                <a:cubicBezTo>
                  <a:pt x="194" y="489"/>
                  <a:pt x="194" y="489"/>
                  <a:pt x="195" y="489"/>
                </a:cubicBezTo>
                <a:cubicBezTo>
                  <a:pt x="195" y="489"/>
                  <a:pt x="195" y="489"/>
                  <a:pt x="195" y="488"/>
                </a:cubicBezTo>
                <a:cubicBezTo>
                  <a:pt x="195" y="488"/>
                  <a:pt x="195" y="488"/>
                  <a:pt x="195" y="488"/>
                </a:cubicBezTo>
                <a:cubicBezTo>
                  <a:pt x="196" y="487"/>
                  <a:pt x="197" y="487"/>
                  <a:pt x="197" y="486"/>
                </a:cubicBezTo>
                <a:cubicBezTo>
                  <a:pt x="195" y="485"/>
                  <a:pt x="194" y="485"/>
                  <a:pt x="191" y="485"/>
                </a:cubicBezTo>
                <a:cubicBezTo>
                  <a:pt x="191" y="487"/>
                  <a:pt x="193" y="486"/>
                  <a:pt x="193" y="488"/>
                </a:cubicBezTo>
                <a:cubicBezTo>
                  <a:pt x="193" y="488"/>
                  <a:pt x="193" y="488"/>
                  <a:pt x="193" y="488"/>
                </a:cubicBezTo>
                <a:cubicBezTo>
                  <a:pt x="193" y="489"/>
                  <a:pt x="193" y="490"/>
                  <a:pt x="194" y="490"/>
                </a:cubicBezTo>
                <a:close/>
                <a:moveTo>
                  <a:pt x="178" y="445"/>
                </a:moveTo>
                <a:cubicBezTo>
                  <a:pt x="178" y="449"/>
                  <a:pt x="183" y="445"/>
                  <a:pt x="179" y="444"/>
                </a:cubicBezTo>
                <a:cubicBezTo>
                  <a:pt x="179" y="445"/>
                  <a:pt x="179" y="445"/>
                  <a:pt x="178" y="445"/>
                </a:cubicBezTo>
                <a:close/>
                <a:moveTo>
                  <a:pt x="135" y="490"/>
                </a:moveTo>
                <a:cubicBezTo>
                  <a:pt x="135" y="491"/>
                  <a:pt x="137" y="491"/>
                  <a:pt x="137" y="490"/>
                </a:cubicBezTo>
                <a:cubicBezTo>
                  <a:pt x="137" y="490"/>
                  <a:pt x="138" y="490"/>
                  <a:pt x="138" y="490"/>
                </a:cubicBezTo>
                <a:cubicBezTo>
                  <a:pt x="138" y="489"/>
                  <a:pt x="137" y="489"/>
                  <a:pt x="137" y="489"/>
                </a:cubicBezTo>
                <a:cubicBezTo>
                  <a:pt x="137" y="489"/>
                  <a:pt x="137" y="490"/>
                  <a:pt x="137" y="490"/>
                </a:cubicBezTo>
                <a:cubicBezTo>
                  <a:pt x="137" y="490"/>
                  <a:pt x="134" y="490"/>
                  <a:pt x="135" y="490"/>
                </a:cubicBezTo>
                <a:close/>
                <a:moveTo>
                  <a:pt x="142" y="538"/>
                </a:moveTo>
                <a:cubicBezTo>
                  <a:pt x="142" y="538"/>
                  <a:pt x="142" y="539"/>
                  <a:pt x="142" y="540"/>
                </a:cubicBezTo>
                <a:cubicBezTo>
                  <a:pt x="142" y="540"/>
                  <a:pt x="141" y="540"/>
                  <a:pt x="141" y="541"/>
                </a:cubicBezTo>
                <a:cubicBezTo>
                  <a:pt x="141" y="541"/>
                  <a:pt x="141" y="541"/>
                  <a:pt x="142" y="542"/>
                </a:cubicBezTo>
                <a:cubicBezTo>
                  <a:pt x="142" y="542"/>
                  <a:pt x="142" y="542"/>
                  <a:pt x="142" y="542"/>
                </a:cubicBezTo>
                <a:cubicBezTo>
                  <a:pt x="142" y="543"/>
                  <a:pt x="139" y="543"/>
                  <a:pt x="140" y="545"/>
                </a:cubicBezTo>
                <a:cubicBezTo>
                  <a:pt x="140" y="545"/>
                  <a:pt x="140" y="545"/>
                  <a:pt x="140" y="545"/>
                </a:cubicBezTo>
                <a:cubicBezTo>
                  <a:pt x="140" y="546"/>
                  <a:pt x="140" y="548"/>
                  <a:pt x="140" y="549"/>
                </a:cubicBezTo>
                <a:cubicBezTo>
                  <a:pt x="139" y="549"/>
                  <a:pt x="139" y="550"/>
                  <a:pt x="138" y="550"/>
                </a:cubicBezTo>
                <a:cubicBezTo>
                  <a:pt x="138" y="552"/>
                  <a:pt x="138" y="552"/>
                  <a:pt x="138" y="553"/>
                </a:cubicBezTo>
                <a:cubicBezTo>
                  <a:pt x="137" y="554"/>
                  <a:pt x="137" y="555"/>
                  <a:pt x="136" y="555"/>
                </a:cubicBezTo>
                <a:cubicBezTo>
                  <a:pt x="136" y="558"/>
                  <a:pt x="133" y="559"/>
                  <a:pt x="133" y="562"/>
                </a:cubicBezTo>
                <a:cubicBezTo>
                  <a:pt x="133" y="562"/>
                  <a:pt x="133" y="562"/>
                  <a:pt x="133" y="562"/>
                </a:cubicBezTo>
                <a:cubicBezTo>
                  <a:pt x="133" y="562"/>
                  <a:pt x="133" y="562"/>
                  <a:pt x="133" y="562"/>
                </a:cubicBezTo>
                <a:cubicBezTo>
                  <a:pt x="132" y="563"/>
                  <a:pt x="132" y="565"/>
                  <a:pt x="131" y="565"/>
                </a:cubicBezTo>
                <a:cubicBezTo>
                  <a:pt x="131" y="565"/>
                  <a:pt x="131" y="566"/>
                  <a:pt x="131" y="566"/>
                </a:cubicBezTo>
                <a:cubicBezTo>
                  <a:pt x="131" y="566"/>
                  <a:pt x="131" y="568"/>
                  <a:pt x="130" y="569"/>
                </a:cubicBezTo>
                <a:cubicBezTo>
                  <a:pt x="130" y="569"/>
                  <a:pt x="130" y="569"/>
                  <a:pt x="130" y="569"/>
                </a:cubicBezTo>
                <a:cubicBezTo>
                  <a:pt x="130" y="570"/>
                  <a:pt x="130" y="570"/>
                  <a:pt x="130" y="571"/>
                </a:cubicBezTo>
                <a:cubicBezTo>
                  <a:pt x="130" y="571"/>
                  <a:pt x="129" y="573"/>
                  <a:pt x="129" y="575"/>
                </a:cubicBezTo>
                <a:cubicBezTo>
                  <a:pt x="129" y="577"/>
                  <a:pt x="129" y="578"/>
                  <a:pt x="129" y="580"/>
                </a:cubicBezTo>
                <a:cubicBezTo>
                  <a:pt x="129" y="580"/>
                  <a:pt x="129" y="580"/>
                  <a:pt x="129" y="580"/>
                </a:cubicBezTo>
                <a:cubicBezTo>
                  <a:pt x="129" y="582"/>
                  <a:pt x="131" y="582"/>
                  <a:pt x="131" y="583"/>
                </a:cubicBezTo>
                <a:cubicBezTo>
                  <a:pt x="131" y="583"/>
                  <a:pt x="131" y="583"/>
                  <a:pt x="131" y="584"/>
                </a:cubicBezTo>
                <a:cubicBezTo>
                  <a:pt x="131" y="586"/>
                  <a:pt x="130" y="588"/>
                  <a:pt x="131" y="589"/>
                </a:cubicBezTo>
                <a:cubicBezTo>
                  <a:pt x="131" y="589"/>
                  <a:pt x="131" y="589"/>
                  <a:pt x="131" y="589"/>
                </a:cubicBezTo>
                <a:cubicBezTo>
                  <a:pt x="132" y="589"/>
                  <a:pt x="132" y="589"/>
                  <a:pt x="132" y="589"/>
                </a:cubicBezTo>
                <a:cubicBezTo>
                  <a:pt x="132" y="589"/>
                  <a:pt x="132" y="589"/>
                  <a:pt x="132" y="589"/>
                </a:cubicBezTo>
                <a:cubicBezTo>
                  <a:pt x="132" y="589"/>
                  <a:pt x="132" y="589"/>
                  <a:pt x="132" y="589"/>
                </a:cubicBezTo>
                <a:cubicBezTo>
                  <a:pt x="134" y="589"/>
                  <a:pt x="134" y="587"/>
                  <a:pt x="134" y="586"/>
                </a:cubicBezTo>
                <a:cubicBezTo>
                  <a:pt x="134" y="586"/>
                  <a:pt x="134" y="586"/>
                  <a:pt x="134" y="586"/>
                </a:cubicBezTo>
                <a:cubicBezTo>
                  <a:pt x="135" y="584"/>
                  <a:pt x="135" y="583"/>
                  <a:pt x="135" y="581"/>
                </a:cubicBezTo>
                <a:cubicBezTo>
                  <a:pt x="135" y="581"/>
                  <a:pt x="135" y="581"/>
                  <a:pt x="135" y="581"/>
                </a:cubicBezTo>
                <a:cubicBezTo>
                  <a:pt x="134" y="579"/>
                  <a:pt x="136" y="579"/>
                  <a:pt x="136" y="577"/>
                </a:cubicBezTo>
                <a:cubicBezTo>
                  <a:pt x="135" y="577"/>
                  <a:pt x="135" y="577"/>
                  <a:pt x="135" y="577"/>
                </a:cubicBezTo>
                <a:cubicBezTo>
                  <a:pt x="136" y="576"/>
                  <a:pt x="136" y="576"/>
                  <a:pt x="136" y="576"/>
                </a:cubicBezTo>
                <a:cubicBezTo>
                  <a:pt x="136" y="574"/>
                  <a:pt x="137" y="575"/>
                  <a:pt x="137" y="573"/>
                </a:cubicBezTo>
                <a:cubicBezTo>
                  <a:pt x="137" y="571"/>
                  <a:pt x="139" y="572"/>
                  <a:pt x="138" y="570"/>
                </a:cubicBezTo>
                <a:cubicBezTo>
                  <a:pt x="138" y="568"/>
                  <a:pt x="138" y="567"/>
                  <a:pt x="138" y="566"/>
                </a:cubicBezTo>
                <a:cubicBezTo>
                  <a:pt x="138" y="566"/>
                  <a:pt x="138" y="566"/>
                  <a:pt x="139" y="566"/>
                </a:cubicBezTo>
                <a:cubicBezTo>
                  <a:pt x="139" y="566"/>
                  <a:pt x="139" y="566"/>
                  <a:pt x="139" y="565"/>
                </a:cubicBezTo>
                <a:cubicBezTo>
                  <a:pt x="140" y="565"/>
                  <a:pt x="140" y="564"/>
                  <a:pt x="141" y="562"/>
                </a:cubicBezTo>
                <a:cubicBezTo>
                  <a:pt x="141" y="562"/>
                  <a:pt x="141" y="562"/>
                  <a:pt x="141" y="562"/>
                </a:cubicBezTo>
                <a:cubicBezTo>
                  <a:pt x="141" y="562"/>
                  <a:pt x="141" y="561"/>
                  <a:pt x="141" y="561"/>
                </a:cubicBezTo>
                <a:cubicBezTo>
                  <a:pt x="141" y="559"/>
                  <a:pt x="141" y="556"/>
                  <a:pt x="141" y="554"/>
                </a:cubicBezTo>
                <a:cubicBezTo>
                  <a:pt x="142" y="551"/>
                  <a:pt x="143" y="548"/>
                  <a:pt x="144" y="544"/>
                </a:cubicBezTo>
                <a:cubicBezTo>
                  <a:pt x="144" y="544"/>
                  <a:pt x="144" y="543"/>
                  <a:pt x="145" y="543"/>
                </a:cubicBezTo>
                <a:cubicBezTo>
                  <a:pt x="145" y="543"/>
                  <a:pt x="145" y="542"/>
                  <a:pt x="145" y="542"/>
                </a:cubicBezTo>
                <a:cubicBezTo>
                  <a:pt x="145" y="542"/>
                  <a:pt x="145" y="542"/>
                  <a:pt x="145" y="542"/>
                </a:cubicBezTo>
                <a:cubicBezTo>
                  <a:pt x="144" y="541"/>
                  <a:pt x="147" y="540"/>
                  <a:pt x="146" y="538"/>
                </a:cubicBezTo>
                <a:cubicBezTo>
                  <a:pt x="146" y="538"/>
                  <a:pt x="146" y="538"/>
                  <a:pt x="146" y="538"/>
                </a:cubicBezTo>
                <a:cubicBezTo>
                  <a:pt x="146" y="538"/>
                  <a:pt x="146" y="538"/>
                  <a:pt x="146" y="538"/>
                </a:cubicBezTo>
                <a:cubicBezTo>
                  <a:pt x="147" y="538"/>
                  <a:pt x="147" y="538"/>
                  <a:pt x="147" y="537"/>
                </a:cubicBezTo>
                <a:cubicBezTo>
                  <a:pt x="146" y="537"/>
                  <a:pt x="146" y="536"/>
                  <a:pt x="146" y="535"/>
                </a:cubicBezTo>
                <a:cubicBezTo>
                  <a:pt x="143" y="535"/>
                  <a:pt x="143" y="537"/>
                  <a:pt x="142" y="538"/>
                </a:cubicBezTo>
                <a:close/>
                <a:moveTo>
                  <a:pt x="11" y="568"/>
                </a:moveTo>
                <a:cubicBezTo>
                  <a:pt x="11" y="569"/>
                  <a:pt x="11" y="569"/>
                  <a:pt x="10" y="569"/>
                </a:cubicBezTo>
                <a:cubicBezTo>
                  <a:pt x="7" y="569"/>
                  <a:pt x="9" y="573"/>
                  <a:pt x="11" y="572"/>
                </a:cubicBezTo>
                <a:cubicBezTo>
                  <a:pt x="11" y="572"/>
                  <a:pt x="11" y="571"/>
                  <a:pt x="11" y="571"/>
                </a:cubicBezTo>
                <a:cubicBezTo>
                  <a:pt x="11" y="570"/>
                  <a:pt x="11" y="570"/>
                  <a:pt x="11" y="570"/>
                </a:cubicBezTo>
                <a:cubicBezTo>
                  <a:pt x="12" y="569"/>
                  <a:pt x="12" y="569"/>
                  <a:pt x="12" y="569"/>
                </a:cubicBezTo>
                <a:cubicBezTo>
                  <a:pt x="12" y="569"/>
                  <a:pt x="11" y="569"/>
                  <a:pt x="11" y="568"/>
                </a:cubicBezTo>
                <a:close/>
                <a:moveTo>
                  <a:pt x="37" y="616"/>
                </a:moveTo>
                <a:cubicBezTo>
                  <a:pt x="37" y="617"/>
                  <a:pt x="36" y="620"/>
                  <a:pt x="38" y="619"/>
                </a:cubicBezTo>
                <a:cubicBezTo>
                  <a:pt x="40" y="619"/>
                  <a:pt x="39" y="615"/>
                  <a:pt x="37" y="616"/>
                </a:cubicBezTo>
                <a:close/>
                <a:moveTo>
                  <a:pt x="9" y="506"/>
                </a:moveTo>
                <a:cubicBezTo>
                  <a:pt x="9" y="506"/>
                  <a:pt x="9" y="507"/>
                  <a:pt x="9" y="507"/>
                </a:cubicBezTo>
                <a:cubicBezTo>
                  <a:pt x="8" y="510"/>
                  <a:pt x="9" y="511"/>
                  <a:pt x="11" y="511"/>
                </a:cubicBezTo>
                <a:cubicBezTo>
                  <a:pt x="11" y="509"/>
                  <a:pt x="14" y="510"/>
                  <a:pt x="14" y="507"/>
                </a:cubicBezTo>
                <a:cubicBezTo>
                  <a:pt x="13" y="507"/>
                  <a:pt x="13" y="507"/>
                  <a:pt x="13" y="506"/>
                </a:cubicBezTo>
                <a:cubicBezTo>
                  <a:pt x="12" y="506"/>
                  <a:pt x="11" y="506"/>
                  <a:pt x="9" y="506"/>
                </a:cubicBezTo>
                <a:close/>
                <a:moveTo>
                  <a:pt x="14" y="504"/>
                </a:moveTo>
                <a:cubicBezTo>
                  <a:pt x="14" y="503"/>
                  <a:pt x="16" y="503"/>
                  <a:pt x="15" y="500"/>
                </a:cubicBezTo>
                <a:cubicBezTo>
                  <a:pt x="15" y="498"/>
                  <a:pt x="14" y="497"/>
                  <a:pt x="13" y="497"/>
                </a:cubicBezTo>
                <a:cubicBezTo>
                  <a:pt x="12" y="498"/>
                  <a:pt x="11" y="499"/>
                  <a:pt x="9" y="499"/>
                </a:cubicBezTo>
                <a:cubicBezTo>
                  <a:pt x="9" y="498"/>
                  <a:pt x="8" y="498"/>
                  <a:pt x="8" y="497"/>
                </a:cubicBezTo>
                <a:cubicBezTo>
                  <a:pt x="8" y="497"/>
                  <a:pt x="8" y="497"/>
                  <a:pt x="7" y="497"/>
                </a:cubicBezTo>
                <a:cubicBezTo>
                  <a:pt x="7" y="498"/>
                  <a:pt x="6" y="498"/>
                  <a:pt x="6" y="499"/>
                </a:cubicBezTo>
                <a:cubicBezTo>
                  <a:pt x="6" y="501"/>
                  <a:pt x="5" y="501"/>
                  <a:pt x="5" y="502"/>
                </a:cubicBezTo>
                <a:cubicBezTo>
                  <a:pt x="6" y="504"/>
                  <a:pt x="7" y="505"/>
                  <a:pt x="9" y="505"/>
                </a:cubicBezTo>
                <a:cubicBezTo>
                  <a:pt x="9" y="502"/>
                  <a:pt x="12" y="504"/>
                  <a:pt x="14" y="504"/>
                </a:cubicBezTo>
                <a:close/>
                <a:moveTo>
                  <a:pt x="172" y="455"/>
                </a:moveTo>
                <a:cubicBezTo>
                  <a:pt x="171" y="455"/>
                  <a:pt x="171" y="456"/>
                  <a:pt x="171" y="456"/>
                </a:cubicBezTo>
                <a:cubicBezTo>
                  <a:pt x="171" y="457"/>
                  <a:pt x="170" y="456"/>
                  <a:pt x="170" y="457"/>
                </a:cubicBezTo>
                <a:cubicBezTo>
                  <a:pt x="170" y="457"/>
                  <a:pt x="170" y="458"/>
                  <a:pt x="170" y="458"/>
                </a:cubicBezTo>
                <a:cubicBezTo>
                  <a:pt x="170" y="458"/>
                  <a:pt x="171" y="459"/>
                  <a:pt x="171" y="459"/>
                </a:cubicBezTo>
                <a:cubicBezTo>
                  <a:pt x="171" y="459"/>
                  <a:pt x="172" y="459"/>
                  <a:pt x="172" y="459"/>
                </a:cubicBezTo>
                <a:cubicBezTo>
                  <a:pt x="173" y="459"/>
                  <a:pt x="174" y="458"/>
                  <a:pt x="174" y="456"/>
                </a:cubicBezTo>
                <a:cubicBezTo>
                  <a:pt x="174" y="456"/>
                  <a:pt x="174" y="455"/>
                  <a:pt x="175" y="455"/>
                </a:cubicBezTo>
                <a:cubicBezTo>
                  <a:pt x="173" y="455"/>
                  <a:pt x="173" y="454"/>
                  <a:pt x="172" y="454"/>
                </a:cubicBezTo>
                <a:cubicBezTo>
                  <a:pt x="173" y="455"/>
                  <a:pt x="172" y="455"/>
                  <a:pt x="172" y="455"/>
                </a:cubicBezTo>
                <a:close/>
                <a:moveTo>
                  <a:pt x="135" y="515"/>
                </a:moveTo>
                <a:cubicBezTo>
                  <a:pt x="135" y="515"/>
                  <a:pt x="135" y="515"/>
                  <a:pt x="135" y="516"/>
                </a:cubicBezTo>
                <a:cubicBezTo>
                  <a:pt x="136" y="516"/>
                  <a:pt x="137" y="518"/>
                  <a:pt x="137" y="516"/>
                </a:cubicBezTo>
                <a:cubicBezTo>
                  <a:pt x="136" y="516"/>
                  <a:pt x="136" y="515"/>
                  <a:pt x="136" y="515"/>
                </a:cubicBezTo>
                <a:cubicBezTo>
                  <a:pt x="136" y="514"/>
                  <a:pt x="135" y="514"/>
                  <a:pt x="135" y="515"/>
                </a:cubicBezTo>
                <a:close/>
                <a:moveTo>
                  <a:pt x="139" y="495"/>
                </a:moveTo>
                <a:cubicBezTo>
                  <a:pt x="139" y="495"/>
                  <a:pt x="138" y="495"/>
                  <a:pt x="138" y="495"/>
                </a:cubicBezTo>
                <a:cubicBezTo>
                  <a:pt x="138" y="495"/>
                  <a:pt x="138" y="494"/>
                  <a:pt x="138" y="494"/>
                </a:cubicBezTo>
                <a:cubicBezTo>
                  <a:pt x="138" y="493"/>
                  <a:pt x="138" y="493"/>
                  <a:pt x="139" y="493"/>
                </a:cubicBezTo>
                <a:cubicBezTo>
                  <a:pt x="139" y="493"/>
                  <a:pt x="139" y="492"/>
                  <a:pt x="139" y="492"/>
                </a:cubicBezTo>
                <a:cubicBezTo>
                  <a:pt x="137" y="492"/>
                  <a:pt x="136" y="492"/>
                  <a:pt x="135" y="493"/>
                </a:cubicBezTo>
                <a:cubicBezTo>
                  <a:pt x="135" y="495"/>
                  <a:pt x="138" y="498"/>
                  <a:pt x="139" y="495"/>
                </a:cubicBezTo>
                <a:close/>
                <a:moveTo>
                  <a:pt x="171" y="463"/>
                </a:moveTo>
                <a:cubicBezTo>
                  <a:pt x="170" y="463"/>
                  <a:pt x="171" y="463"/>
                  <a:pt x="171" y="462"/>
                </a:cubicBezTo>
                <a:cubicBezTo>
                  <a:pt x="171" y="462"/>
                  <a:pt x="171" y="461"/>
                  <a:pt x="171" y="461"/>
                </a:cubicBezTo>
                <a:cubicBezTo>
                  <a:pt x="171" y="461"/>
                  <a:pt x="171" y="461"/>
                  <a:pt x="170" y="461"/>
                </a:cubicBezTo>
                <a:cubicBezTo>
                  <a:pt x="170" y="462"/>
                  <a:pt x="168" y="461"/>
                  <a:pt x="168" y="462"/>
                </a:cubicBezTo>
                <a:cubicBezTo>
                  <a:pt x="168" y="462"/>
                  <a:pt x="168" y="463"/>
                  <a:pt x="168" y="463"/>
                </a:cubicBezTo>
                <a:cubicBezTo>
                  <a:pt x="167" y="464"/>
                  <a:pt x="167" y="466"/>
                  <a:pt x="169" y="466"/>
                </a:cubicBezTo>
                <a:cubicBezTo>
                  <a:pt x="169" y="465"/>
                  <a:pt x="171" y="465"/>
                  <a:pt x="171" y="463"/>
                </a:cubicBezTo>
                <a:close/>
                <a:moveTo>
                  <a:pt x="214" y="165"/>
                </a:moveTo>
                <a:cubicBezTo>
                  <a:pt x="212" y="167"/>
                  <a:pt x="217" y="167"/>
                  <a:pt x="216" y="166"/>
                </a:cubicBezTo>
                <a:cubicBezTo>
                  <a:pt x="216" y="166"/>
                  <a:pt x="215" y="166"/>
                  <a:pt x="216" y="165"/>
                </a:cubicBezTo>
                <a:cubicBezTo>
                  <a:pt x="215" y="165"/>
                  <a:pt x="214" y="164"/>
                  <a:pt x="214" y="165"/>
                </a:cubicBezTo>
                <a:close/>
                <a:moveTo>
                  <a:pt x="249" y="146"/>
                </a:moveTo>
                <a:cubicBezTo>
                  <a:pt x="250" y="146"/>
                  <a:pt x="250" y="149"/>
                  <a:pt x="251" y="146"/>
                </a:cubicBezTo>
                <a:cubicBezTo>
                  <a:pt x="250" y="146"/>
                  <a:pt x="251" y="146"/>
                  <a:pt x="251" y="145"/>
                </a:cubicBezTo>
                <a:cubicBezTo>
                  <a:pt x="250" y="145"/>
                  <a:pt x="249" y="145"/>
                  <a:pt x="249" y="146"/>
                </a:cubicBezTo>
                <a:close/>
                <a:moveTo>
                  <a:pt x="177" y="408"/>
                </a:moveTo>
                <a:cubicBezTo>
                  <a:pt x="178" y="407"/>
                  <a:pt x="177" y="406"/>
                  <a:pt x="177" y="405"/>
                </a:cubicBezTo>
                <a:cubicBezTo>
                  <a:pt x="177" y="404"/>
                  <a:pt x="176" y="404"/>
                  <a:pt x="175" y="404"/>
                </a:cubicBezTo>
                <a:cubicBezTo>
                  <a:pt x="175" y="405"/>
                  <a:pt x="175" y="406"/>
                  <a:pt x="175" y="407"/>
                </a:cubicBezTo>
                <a:cubicBezTo>
                  <a:pt x="175" y="407"/>
                  <a:pt x="175" y="407"/>
                  <a:pt x="175" y="408"/>
                </a:cubicBezTo>
                <a:cubicBezTo>
                  <a:pt x="176" y="408"/>
                  <a:pt x="176" y="408"/>
                  <a:pt x="177" y="408"/>
                </a:cubicBezTo>
                <a:close/>
                <a:moveTo>
                  <a:pt x="145" y="314"/>
                </a:moveTo>
                <a:cubicBezTo>
                  <a:pt x="145" y="314"/>
                  <a:pt x="144" y="314"/>
                  <a:pt x="143" y="314"/>
                </a:cubicBezTo>
                <a:cubicBezTo>
                  <a:pt x="143" y="314"/>
                  <a:pt x="143" y="315"/>
                  <a:pt x="144" y="316"/>
                </a:cubicBezTo>
                <a:cubicBezTo>
                  <a:pt x="144" y="316"/>
                  <a:pt x="144" y="316"/>
                  <a:pt x="145" y="316"/>
                </a:cubicBezTo>
                <a:cubicBezTo>
                  <a:pt x="145" y="314"/>
                  <a:pt x="146" y="315"/>
                  <a:pt x="147" y="316"/>
                </a:cubicBezTo>
                <a:cubicBezTo>
                  <a:pt x="147" y="315"/>
                  <a:pt x="148" y="315"/>
                  <a:pt x="148" y="314"/>
                </a:cubicBezTo>
                <a:cubicBezTo>
                  <a:pt x="147" y="314"/>
                  <a:pt x="147" y="313"/>
                  <a:pt x="146" y="314"/>
                </a:cubicBezTo>
                <a:cubicBezTo>
                  <a:pt x="146" y="314"/>
                  <a:pt x="145" y="314"/>
                  <a:pt x="145" y="314"/>
                </a:cubicBezTo>
                <a:close/>
                <a:moveTo>
                  <a:pt x="164" y="274"/>
                </a:moveTo>
                <a:cubicBezTo>
                  <a:pt x="164" y="274"/>
                  <a:pt x="163" y="274"/>
                  <a:pt x="163" y="275"/>
                </a:cubicBezTo>
                <a:cubicBezTo>
                  <a:pt x="163" y="275"/>
                  <a:pt x="164" y="275"/>
                  <a:pt x="164" y="274"/>
                </a:cubicBezTo>
                <a:close/>
                <a:moveTo>
                  <a:pt x="255" y="137"/>
                </a:moveTo>
                <a:cubicBezTo>
                  <a:pt x="255" y="137"/>
                  <a:pt x="255" y="137"/>
                  <a:pt x="255" y="137"/>
                </a:cubicBezTo>
                <a:cubicBezTo>
                  <a:pt x="255" y="137"/>
                  <a:pt x="255" y="137"/>
                  <a:pt x="255" y="137"/>
                </a:cubicBezTo>
                <a:cubicBezTo>
                  <a:pt x="255" y="137"/>
                  <a:pt x="255" y="137"/>
                  <a:pt x="255" y="137"/>
                </a:cubicBezTo>
                <a:cubicBezTo>
                  <a:pt x="255" y="137"/>
                  <a:pt x="255" y="137"/>
                  <a:pt x="255" y="137"/>
                </a:cubicBezTo>
                <a:cubicBezTo>
                  <a:pt x="255" y="137"/>
                  <a:pt x="255" y="137"/>
                  <a:pt x="255" y="137"/>
                </a:cubicBezTo>
                <a:cubicBezTo>
                  <a:pt x="255" y="137"/>
                  <a:pt x="255" y="137"/>
                  <a:pt x="255" y="137"/>
                </a:cubicBezTo>
                <a:cubicBezTo>
                  <a:pt x="255" y="137"/>
                  <a:pt x="255" y="137"/>
                  <a:pt x="255" y="137"/>
                </a:cubicBezTo>
                <a:cubicBezTo>
                  <a:pt x="255" y="137"/>
                  <a:pt x="254" y="137"/>
                  <a:pt x="254" y="137"/>
                </a:cubicBezTo>
                <a:cubicBezTo>
                  <a:pt x="254" y="137"/>
                  <a:pt x="254" y="137"/>
                  <a:pt x="254" y="137"/>
                </a:cubicBezTo>
                <a:cubicBezTo>
                  <a:pt x="254" y="137"/>
                  <a:pt x="254" y="137"/>
                  <a:pt x="254" y="137"/>
                </a:cubicBezTo>
                <a:cubicBezTo>
                  <a:pt x="254" y="137"/>
                  <a:pt x="254" y="137"/>
                  <a:pt x="254" y="137"/>
                </a:cubicBezTo>
                <a:cubicBezTo>
                  <a:pt x="254" y="137"/>
                  <a:pt x="254" y="137"/>
                  <a:pt x="254" y="137"/>
                </a:cubicBezTo>
                <a:cubicBezTo>
                  <a:pt x="253" y="136"/>
                  <a:pt x="253" y="136"/>
                  <a:pt x="253" y="135"/>
                </a:cubicBezTo>
                <a:cubicBezTo>
                  <a:pt x="253" y="135"/>
                  <a:pt x="253" y="135"/>
                  <a:pt x="253" y="135"/>
                </a:cubicBezTo>
                <a:cubicBezTo>
                  <a:pt x="252" y="134"/>
                  <a:pt x="251" y="133"/>
                  <a:pt x="250" y="132"/>
                </a:cubicBezTo>
                <a:cubicBezTo>
                  <a:pt x="250" y="132"/>
                  <a:pt x="250" y="132"/>
                  <a:pt x="250" y="132"/>
                </a:cubicBezTo>
                <a:cubicBezTo>
                  <a:pt x="250" y="131"/>
                  <a:pt x="250" y="131"/>
                  <a:pt x="250" y="130"/>
                </a:cubicBezTo>
                <a:cubicBezTo>
                  <a:pt x="250" y="130"/>
                  <a:pt x="250" y="130"/>
                  <a:pt x="250" y="130"/>
                </a:cubicBezTo>
                <a:cubicBezTo>
                  <a:pt x="250" y="130"/>
                  <a:pt x="250" y="130"/>
                  <a:pt x="249" y="130"/>
                </a:cubicBezTo>
                <a:cubicBezTo>
                  <a:pt x="249" y="130"/>
                  <a:pt x="249" y="130"/>
                  <a:pt x="249" y="130"/>
                </a:cubicBezTo>
                <a:cubicBezTo>
                  <a:pt x="249" y="130"/>
                  <a:pt x="249" y="130"/>
                  <a:pt x="249" y="129"/>
                </a:cubicBezTo>
                <a:cubicBezTo>
                  <a:pt x="249" y="129"/>
                  <a:pt x="249" y="129"/>
                  <a:pt x="249" y="129"/>
                </a:cubicBezTo>
                <a:cubicBezTo>
                  <a:pt x="249" y="129"/>
                  <a:pt x="249" y="129"/>
                  <a:pt x="249" y="129"/>
                </a:cubicBezTo>
                <a:cubicBezTo>
                  <a:pt x="249" y="129"/>
                  <a:pt x="249" y="129"/>
                  <a:pt x="249" y="129"/>
                </a:cubicBezTo>
                <a:cubicBezTo>
                  <a:pt x="249" y="129"/>
                  <a:pt x="249" y="129"/>
                  <a:pt x="249" y="129"/>
                </a:cubicBezTo>
                <a:cubicBezTo>
                  <a:pt x="249" y="129"/>
                  <a:pt x="249" y="129"/>
                  <a:pt x="249" y="129"/>
                </a:cubicBezTo>
                <a:cubicBezTo>
                  <a:pt x="249" y="129"/>
                  <a:pt x="249" y="129"/>
                  <a:pt x="249" y="129"/>
                </a:cubicBezTo>
                <a:cubicBezTo>
                  <a:pt x="248" y="129"/>
                  <a:pt x="248" y="128"/>
                  <a:pt x="248" y="128"/>
                </a:cubicBezTo>
                <a:cubicBezTo>
                  <a:pt x="248" y="128"/>
                  <a:pt x="248" y="128"/>
                  <a:pt x="248" y="128"/>
                </a:cubicBezTo>
                <a:cubicBezTo>
                  <a:pt x="247" y="127"/>
                  <a:pt x="246" y="127"/>
                  <a:pt x="246" y="126"/>
                </a:cubicBezTo>
                <a:cubicBezTo>
                  <a:pt x="246" y="126"/>
                  <a:pt x="246" y="126"/>
                  <a:pt x="246" y="126"/>
                </a:cubicBezTo>
                <a:cubicBezTo>
                  <a:pt x="246" y="126"/>
                  <a:pt x="246" y="126"/>
                  <a:pt x="246" y="126"/>
                </a:cubicBezTo>
                <a:cubicBezTo>
                  <a:pt x="246" y="126"/>
                  <a:pt x="246" y="126"/>
                  <a:pt x="246" y="126"/>
                </a:cubicBezTo>
                <a:cubicBezTo>
                  <a:pt x="246" y="126"/>
                  <a:pt x="245" y="126"/>
                  <a:pt x="245" y="126"/>
                </a:cubicBezTo>
                <a:cubicBezTo>
                  <a:pt x="245" y="126"/>
                  <a:pt x="245" y="126"/>
                  <a:pt x="245" y="126"/>
                </a:cubicBezTo>
                <a:cubicBezTo>
                  <a:pt x="245" y="126"/>
                  <a:pt x="245" y="126"/>
                  <a:pt x="245" y="126"/>
                </a:cubicBezTo>
                <a:cubicBezTo>
                  <a:pt x="245" y="126"/>
                  <a:pt x="245" y="126"/>
                  <a:pt x="245" y="126"/>
                </a:cubicBezTo>
                <a:cubicBezTo>
                  <a:pt x="245" y="126"/>
                  <a:pt x="245" y="126"/>
                  <a:pt x="245" y="125"/>
                </a:cubicBezTo>
                <a:cubicBezTo>
                  <a:pt x="245" y="125"/>
                  <a:pt x="245" y="125"/>
                  <a:pt x="245" y="125"/>
                </a:cubicBezTo>
                <a:cubicBezTo>
                  <a:pt x="245" y="125"/>
                  <a:pt x="245" y="125"/>
                  <a:pt x="245" y="125"/>
                </a:cubicBezTo>
                <a:cubicBezTo>
                  <a:pt x="245" y="125"/>
                  <a:pt x="245" y="124"/>
                  <a:pt x="245" y="124"/>
                </a:cubicBezTo>
                <a:cubicBezTo>
                  <a:pt x="243" y="124"/>
                  <a:pt x="244" y="122"/>
                  <a:pt x="242" y="123"/>
                </a:cubicBezTo>
                <a:cubicBezTo>
                  <a:pt x="241" y="122"/>
                  <a:pt x="242" y="121"/>
                  <a:pt x="241" y="121"/>
                </a:cubicBezTo>
                <a:cubicBezTo>
                  <a:pt x="241" y="119"/>
                  <a:pt x="241" y="118"/>
                  <a:pt x="241" y="116"/>
                </a:cubicBezTo>
                <a:cubicBezTo>
                  <a:pt x="240" y="116"/>
                  <a:pt x="240" y="116"/>
                  <a:pt x="240" y="116"/>
                </a:cubicBezTo>
                <a:cubicBezTo>
                  <a:pt x="240" y="113"/>
                  <a:pt x="239" y="113"/>
                  <a:pt x="239" y="111"/>
                </a:cubicBezTo>
                <a:cubicBezTo>
                  <a:pt x="239" y="108"/>
                  <a:pt x="241" y="107"/>
                  <a:pt x="241" y="105"/>
                </a:cubicBezTo>
                <a:cubicBezTo>
                  <a:pt x="241" y="101"/>
                  <a:pt x="241" y="98"/>
                  <a:pt x="241" y="94"/>
                </a:cubicBezTo>
                <a:cubicBezTo>
                  <a:pt x="242" y="92"/>
                  <a:pt x="240" y="92"/>
                  <a:pt x="239" y="91"/>
                </a:cubicBezTo>
                <a:cubicBezTo>
                  <a:pt x="239" y="90"/>
                  <a:pt x="238" y="89"/>
                  <a:pt x="238" y="88"/>
                </a:cubicBezTo>
                <a:cubicBezTo>
                  <a:pt x="238" y="86"/>
                  <a:pt x="236" y="86"/>
                  <a:pt x="236" y="85"/>
                </a:cubicBezTo>
                <a:cubicBezTo>
                  <a:pt x="235" y="85"/>
                  <a:pt x="235" y="83"/>
                  <a:pt x="234" y="83"/>
                </a:cubicBezTo>
                <a:cubicBezTo>
                  <a:pt x="234" y="81"/>
                  <a:pt x="233" y="81"/>
                  <a:pt x="233" y="79"/>
                </a:cubicBezTo>
                <a:cubicBezTo>
                  <a:pt x="233" y="79"/>
                  <a:pt x="232" y="79"/>
                  <a:pt x="232" y="78"/>
                </a:cubicBezTo>
                <a:cubicBezTo>
                  <a:pt x="232" y="78"/>
                  <a:pt x="232" y="77"/>
                  <a:pt x="232" y="77"/>
                </a:cubicBezTo>
                <a:cubicBezTo>
                  <a:pt x="232" y="74"/>
                  <a:pt x="234" y="74"/>
                  <a:pt x="234" y="72"/>
                </a:cubicBezTo>
                <a:cubicBezTo>
                  <a:pt x="234" y="71"/>
                  <a:pt x="234" y="71"/>
                  <a:pt x="234" y="70"/>
                </a:cubicBezTo>
                <a:cubicBezTo>
                  <a:pt x="234" y="69"/>
                  <a:pt x="233" y="69"/>
                  <a:pt x="233" y="68"/>
                </a:cubicBezTo>
                <a:cubicBezTo>
                  <a:pt x="233" y="67"/>
                  <a:pt x="232" y="67"/>
                  <a:pt x="230" y="67"/>
                </a:cubicBezTo>
                <a:cubicBezTo>
                  <a:pt x="230" y="67"/>
                  <a:pt x="230" y="67"/>
                  <a:pt x="230" y="67"/>
                </a:cubicBezTo>
                <a:cubicBezTo>
                  <a:pt x="230" y="67"/>
                  <a:pt x="230" y="67"/>
                  <a:pt x="230" y="67"/>
                </a:cubicBezTo>
                <a:cubicBezTo>
                  <a:pt x="230" y="67"/>
                  <a:pt x="230" y="67"/>
                  <a:pt x="230" y="67"/>
                </a:cubicBezTo>
                <a:cubicBezTo>
                  <a:pt x="230" y="67"/>
                  <a:pt x="230" y="67"/>
                  <a:pt x="229" y="67"/>
                </a:cubicBezTo>
                <a:cubicBezTo>
                  <a:pt x="229" y="67"/>
                  <a:pt x="229" y="67"/>
                  <a:pt x="229" y="67"/>
                </a:cubicBezTo>
                <a:cubicBezTo>
                  <a:pt x="229" y="67"/>
                  <a:pt x="229" y="67"/>
                  <a:pt x="229" y="67"/>
                </a:cubicBezTo>
                <a:cubicBezTo>
                  <a:pt x="229" y="67"/>
                  <a:pt x="229" y="67"/>
                  <a:pt x="229" y="67"/>
                </a:cubicBezTo>
                <a:cubicBezTo>
                  <a:pt x="229" y="67"/>
                  <a:pt x="229" y="67"/>
                  <a:pt x="229" y="67"/>
                </a:cubicBezTo>
                <a:cubicBezTo>
                  <a:pt x="229" y="67"/>
                  <a:pt x="229" y="67"/>
                  <a:pt x="229" y="67"/>
                </a:cubicBezTo>
                <a:cubicBezTo>
                  <a:pt x="229" y="66"/>
                  <a:pt x="229" y="66"/>
                  <a:pt x="229" y="66"/>
                </a:cubicBezTo>
                <a:cubicBezTo>
                  <a:pt x="229" y="66"/>
                  <a:pt x="229" y="66"/>
                  <a:pt x="229" y="66"/>
                </a:cubicBezTo>
                <a:cubicBezTo>
                  <a:pt x="229" y="66"/>
                  <a:pt x="229" y="66"/>
                  <a:pt x="229" y="66"/>
                </a:cubicBezTo>
                <a:cubicBezTo>
                  <a:pt x="229" y="66"/>
                  <a:pt x="229" y="66"/>
                  <a:pt x="228" y="66"/>
                </a:cubicBezTo>
                <a:cubicBezTo>
                  <a:pt x="228" y="66"/>
                  <a:pt x="228" y="66"/>
                  <a:pt x="228" y="66"/>
                </a:cubicBezTo>
                <a:cubicBezTo>
                  <a:pt x="228" y="66"/>
                  <a:pt x="228" y="66"/>
                  <a:pt x="228" y="66"/>
                </a:cubicBezTo>
                <a:cubicBezTo>
                  <a:pt x="228" y="66"/>
                  <a:pt x="228" y="65"/>
                  <a:pt x="227" y="65"/>
                </a:cubicBezTo>
                <a:cubicBezTo>
                  <a:pt x="227" y="65"/>
                  <a:pt x="227" y="65"/>
                  <a:pt x="227" y="65"/>
                </a:cubicBezTo>
                <a:cubicBezTo>
                  <a:pt x="227" y="65"/>
                  <a:pt x="226" y="65"/>
                  <a:pt x="226" y="64"/>
                </a:cubicBezTo>
                <a:cubicBezTo>
                  <a:pt x="226" y="64"/>
                  <a:pt x="226" y="64"/>
                  <a:pt x="226" y="64"/>
                </a:cubicBezTo>
                <a:cubicBezTo>
                  <a:pt x="227" y="63"/>
                  <a:pt x="225" y="61"/>
                  <a:pt x="227" y="60"/>
                </a:cubicBezTo>
                <a:cubicBezTo>
                  <a:pt x="227" y="60"/>
                  <a:pt x="227" y="60"/>
                  <a:pt x="228" y="60"/>
                </a:cubicBezTo>
                <a:cubicBezTo>
                  <a:pt x="228" y="60"/>
                  <a:pt x="228" y="60"/>
                  <a:pt x="228" y="60"/>
                </a:cubicBezTo>
                <a:cubicBezTo>
                  <a:pt x="228" y="60"/>
                  <a:pt x="228" y="60"/>
                  <a:pt x="228" y="60"/>
                </a:cubicBezTo>
                <a:cubicBezTo>
                  <a:pt x="228" y="60"/>
                  <a:pt x="228" y="60"/>
                  <a:pt x="228" y="60"/>
                </a:cubicBezTo>
                <a:cubicBezTo>
                  <a:pt x="228" y="60"/>
                  <a:pt x="228" y="60"/>
                  <a:pt x="228" y="60"/>
                </a:cubicBezTo>
                <a:cubicBezTo>
                  <a:pt x="228" y="59"/>
                  <a:pt x="228" y="59"/>
                  <a:pt x="228" y="59"/>
                </a:cubicBezTo>
                <a:cubicBezTo>
                  <a:pt x="228" y="59"/>
                  <a:pt x="228" y="59"/>
                  <a:pt x="228" y="59"/>
                </a:cubicBezTo>
                <a:cubicBezTo>
                  <a:pt x="228" y="59"/>
                  <a:pt x="228" y="59"/>
                  <a:pt x="228" y="59"/>
                </a:cubicBezTo>
                <a:cubicBezTo>
                  <a:pt x="228" y="59"/>
                  <a:pt x="228" y="59"/>
                  <a:pt x="228" y="59"/>
                </a:cubicBezTo>
                <a:cubicBezTo>
                  <a:pt x="228" y="58"/>
                  <a:pt x="228" y="57"/>
                  <a:pt x="228" y="56"/>
                </a:cubicBezTo>
                <a:cubicBezTo>
                  <a:pt x="228" y="55"/>
                  <a:pt x="228" y="54"/>
                  <a:pt x="227" y="53"/>
                </a:cubicBezTo>
                <a:cubicBezTo>
                  <a:pt x="227" y="53"/>
                  <a:pt x="227" y="53"/>
                  <a:pt x="227" y="53"/>
                </a:cubicBezTo>
                <a:cubicBezTo>
                  <a:pt x="227" y="53"/>
                  <a:pt x="227" y="53"/>
                  <a:pt x="227" y="52"/>
                </a:cubicBezTo>
                <a:cubicBezTo>
                  <a:pt x="227" y="52"/>
                  <a:pt x="227" y="52"/>
                  <a:pt x="227" y="52"/>
                </a:cubicBezTo>
                <a:cubicBezTo>
                  <a:pt x="227" y="52"/>
                  <a:pt x="227" y="51"/>
                  <a:pt x="227" y="50"/>
                </a:cubicBezTo>
                <a:cubicBezTo>
                  <a:pt x="227" y="50"/>
                  <a:pt x="227" y="50"/>
                  <a:pt x="226" y="50"/>
                </a:cubicBezTo>
                <a:cubicBezTo>
                  <a:pt x="226" y="50"/>
                  <a:pt x="226" y="50"/>
                  <a:pt x="226" y="50"/>
                </a:cubicBezTo>
                <a:cubicBezTo>
                  <a:pt x="226" y="50"/>
                  <a:pt x="226" y="50"/>
                  <a:pt x="226" y="50"/>
                </a:cubicBezTo>
                <a:cubicBezTo>
                  <a:pt x="226" y="48"/>
                  <a:pt x="226" y="48"/>
                  <a:pt x="226" y="47"/>
                </a:cubicBezTo>
                <a:cubicBezTo>
                  <a:pt x="226" y="47"/>
                  <a:pt x="226" y="47"/>
                  <a:pt x="226" y="47"/>
                </a:cubicBezTo>
                <a:cubicBezTo>
                  <a:pt x="226" y="46"/>
                  <a:pt x="226" y="46"/>
                  <a:pt x="226" y="45"/>
                </a:cubicBezTo>
                <a:cubicBezTo>
                  <a:pt x="226" y="45"/>
                  <a:pt x="226" y="45"/>
                  <a:pt x="226" y="45"/>
                </a:cubicBezTo>
                <a:cubicBezTo>
                  <a:pt x="226" y="45"/>
                  <a:pt x="226" y="45"/>
                  <a:pt x="226" y="45"/>
                </a:cubicBezTo>
                <a:cubicBezTo>
                  <a:pt x="226" y="45"/>
                  <a:pt x="227" y="45"/>
                  <a:pt x="227" y="45"/>
                </a:cubicBezTo>
                <a:cubicBezTo>
                  <a:pt x="227" y="45"/>
                  <a:pt x="227" y="45"/>
                  <a:pt x="227" y="45"/>
                </a:cubicBezTo>
                <a:cubicBezTo>
                  <a:pt x="227" y="45"/>
                  <a:pt x="227" y="45"/>
                  <a:pt x="227" y="45"/>
                </a:cubicBezTo>
                <a:cubicBezTo>
                  <a:pt x="227" y="45"/>
                  <a:pt x="227" y="45"/>
                  <a:pt x="227" y="45"/>
                </a:cubicBezTo>
                <a:cubicBezTo>
                  <a:pt x="227" y="45"/>
                  <a:pt x="227" y="45"/>
                  <a:pt x="227" y="45"/>
                </a:cubicBezTo>
                <a:cubicBezTo>
                  <a:pt x="226" y="43"/>
                  <a:pt x="225" y="43"/>
                  <a:pt x="225" y="41"/>
                </a:cubicBezTo>
                <a:cubicBezTo>
                  <a:pt x="224" y="39"/>
                  <a:pt x="222" y="37"/>
                  <a:pt x="219" y="36"/>
                </a:cubicBezTo>
                <a:cubicBezTo>
                  <a:pt x="219" y="33"/>
                  <a:pt x="217" y="32"/>
                  <a:pt x="216" y="30"/>
                </a:cubicBezTo>
                <a:cubicBezTo>
                  <a:pt x="216" y="30"/>
                  <a:pt x="215" y="29"/>
                  <a:pt x="214" y="29"/>
                </a:cubicBezTo>
                <a:cubicBezTo>
                  <a:pt x="214" y="29"/>
                  <a:pt x="213" y="29"/>
                  <a:pt x="213" y="28"/>
                </a:cubicBezTo>
                <a:cubicBezTo>
                  <a:pt x="212" y="27"/>
                  <a:pt x="210" y="27"/>
                  <a:pt x="209" y="26"/>
                </a:cubicBezTo>
                <a:cubicBezTo>
                  <a:pt x="206" y="26"/>
                  <a:pt x="206" y="25"/>
                  <a:pt x="204" y="26"/>
                </a:cubicBezTo>
                <a:cubicBezTo>
                  <a:pt x="204" y="23"/>
                  <a:pt x="202" y="25"/>
                  <a:pt x="200" y="24"/>
                </a:cubicBezTo>
                <a:cubicBezTo>
                  <a:pt x="199" y="22"/>
                  <a:pt x="197" y="21"/>
                  <a:pt x="195" y="20"/>
                </a:cubicBezTo>
                <a:cubicBezTo>
                  <a:pt x="196" y="17"/>
                  <a:pt x="193" y="19"/>
                  <a:pt x="193" y="17"/>
                </a:cubicBezTo>
                <a:cubicBezTo>
                  <a:pt x="193" y="17"/>
                  <a:pt x="193" y="17"/>
                  <a:pt x="193" y="16"/>
                </a:cubicBezTo>
                <a:cubicBezTo>
                  <a:pt x="193" y="16"/>
                  <a:pt x="192" y="16"/>
                  <a:pt x="192" y="16"/>
                </a:cubicBezTo>
                <a:cubicBezTo>
                  <a:pt x="192" y="16"/>
                  <a:pt x="192" y="16"/>
                  <a:pt x="192" y="16"/>
                </a:cubicBezTo>
                <a:cubicBezTo>
                  <a:pt x="192" y="16"/>
                  <a:pt x="192" y="16"/>
                  <a:pt x="192" y="16"/>
                </a:cubicBezTo>
                <a:cubicBezTo>
                  <a:pt x="191" y="15"/>
                  <a:pt x="191" y="15"/>
                  <a:pt x="190" y="15"/>
                </a:cubicBezTo>
                <a:cubicBezTo>
                  <a:pt x="190" y="15"/>
                  <a:pt x="190" y="15"/>
                  <a:pt x="190" y="15"/>
                </a:cubicBezTo>
                <a:cubicBezTo>
                  <a:pt x="190" y="15"/>
                  <a:pt x="190" y="15"/>
                  <a:pt x="190" y="15"/>
                </a:cubicBezTo>
                <a:cubicBezTo>
                  <a:pt x="190" y="14"/>
                  <a:pt x="189" y="14"/>
                  <a:pt x="189" y="14"/>
                </a:cubicBezTo>
                <a:cubicBezTo>
                  <a:pt x="189" y="14"/>
                  <a:pt x="189" y="14"/>
                  <a:pt x="189" y="14"/>
                </a:cubicBezTo>
                <a:cubicBezTo>
                  <a:pt x="189" y="14"/>
                  <a:pt x="189" y="14"/>
                  <a:pt x="188" y="14"/>
                </a:cubicBezTo>
                <a:cubicBezTo>
                  <a:pt x="188" y="14"/>
                  <a:pt x="188" y="14"/>
                  <a:pt x="188" y="14"/>
                </a:cubicBezTo>
                <a:cubicBezTo>
                  <a:pt x="188" y="14"/>
                  <a:pt x="187" y="13"/>
                  <a:pt x="187" y="13"/>
                </a:cubicBezTo>
                <a:cubicBezTo>
                  <a:pt x="187" y="13"/>
                  <a:pt x="187" y="13"/>
                  <a:pt x="187" y="13"/>
                </a:cubicBezTo>
                <a:cubicBezTo>
                  <a:pt x="187" y="12"/>
                  <a:pt x="186" y="12"/>
                  <a:pt x="186" y="12"/>
                </a:cubicBezTo>
                <a:cubicBezTo>
                  <a:pt x="186" y="12"/>
                  <a:pt x="186" y="12"/>
                  <a:pt x="186" y="12"/>
                </a:cubicBezTo>
                <a:cubicBezTo>
                  <a:pt x="186" y="11"/>
                  <a:pt x="186" y="11"/>
                  <a:pt x="185" y="11"/>
                </a:cubicBezTo>
                <a:cubicBezTo>
                  <a:pt x="185" y="11"/>
                  <a:pt x="185" y="11"/>
                  <a:pt x="184" y="10"/>
                </a:cubicBezTo>
                <a:cubicBezTo>
                  <a:pt x="184" y="10"/>
                  <a:pt x="184" y="10"/>
                  <a:pt x="183" y="10"/>
                </a:cubicBezTo>
                <a:cubicBezTo>
                  <a:pt x="183" y="10"/>
                  <a:pt x="183" y="10"/>
                  <a:pt x="183" y="10"/>
                </a:cubicBezTo>
                <a:cubicBezTo>
                  <a:pt x="183" y="10"/>
                  <a:pt x="183" y="10"/>
                  <a:pt x="183" y="10"/>
                </a:cubicBezTo>
                <a:cubicBezTo>
                  <a:pt x="182" y="10"/>
                  <a:pt x="182" y="10"/>
                  <a:pt x="182" y="10"/>
                </a:cubicBezTo>
                <a:cubicBezTo>
                  <a:pt x="182" y="10"/>
                  <a:pt x="182" y="10"/>
                  <a:pt x="182" y="10"/>
                </a:cubicBezTo>
                <a:cubicBezTo>
                  <a:pt x="182" y="9"/>
                  <a:pt x="182" y="9"/>
                  <a:pt x="182" y="9"/>
                </a:cubicBezTo>
                <a:cubicBezTo>
                  <a:pt x="182" y="9"/>
                  <a:pt x="182" y="9"/>
                  <a:pt x="182" y="9"/>
                </a:cubicBezTo>
                <a:cubicBezTo>
                  <a:pt x="181" y="9"/>
                  <a:pt x="181" y="9"/>
                  <a:pt x="181" y="9"/>
                </a:cubicBezTo>
                <a:cubicBezTo>
                  <a:pt x="180" y="8"/>
                  <a:pt x="180" y="8"/>
                  <a:pt x="180" y="8"/>
                </a:cubicBezTo>
                <a:cubicBezTo>
                  <a:pt x="180" y="8"/>
                  <a:pt x="180" y="8"/>
                  <a:pt x="180" y="8"/>
                </a:cubicBezTo>
                <a:cubicBezTo>
                  <a:pt x="180" y="8"/>
                  <a:pt x="180" y="8"/>
                  <a:pt x="180" y="8"/>
                </a:cubicBezTo>
                <a:cubicBezTo>
                  <a:pt x="180" y="8"/>
                  <a:pt x="180" y="8"/>
                  <a:pt x="179" y="8"/>
                </a:cubicBezTo>
                <a:cubicBezTo>
                  <a:pt x="179" y="8"/>
                  <a:pt x="179" y="8"/>
                  <a:pt x="178" y="8"/>
                </a:cubicBezTo>
                <a:cubicBezTo>
                  <a:pt x="178" y="8"/>
                  <a:pt x="178" y="8"/>
                  <a:pt x="178" y="8"/>
                </a:cubicBezTo>
                <a:cubicBezTo>
                  <a:pt x="178" y="8"/>
                  <a:pt x="178" y="8"/>
                  <a:pt x="177" y="8"/>
                </a:cubicBezTo>
                <a:cubicBezTo>
                  <a:pt x="178" y="5"/>
                  <a:pt x="177" y="4"/>
                  <a:pt x="177" y="1"/>
                </a:cubicBezTo>
                <a:cubicBezTo>
                  <a:pt x="174" y="0"/>
                  <a:pt x="173" y="3"/>
                  <a:pt x="170" y="2"/>
                </a:cubicBezTo>
                <a:cubicBezTo>
                  <a:pt x="170" y="3"/>
                  <a:pt x="170" y="4"/>
                  <a:pt x="171" y="5"/>
                </a:cubicBezTo>
                <a:cubicBezTo>
                  <a:pt x="171" y="6"/>
                  <a:pt x="171" y="7"/>
                  <a:pt x="172" y="8"/>
                </a:cubicBezTo>
                <a:cubicBezTo>
                  <a:pt x="172" y="9"/>
                  <a:pt x="173" y="10"/>
                  <a:pt x="173" y="10"/>
                </a:cubicBezTo>
                <a:cubicBezTo>
                  <a:pt x="173" y="13"/>
                  <a:pt x="172" y="15"/>
                  <a:pt x="171" y="17"/>
                </a:cubicBezTo>
                <a:cubicBezTo>
                  <a:pt x="171" y="17"/>
                  <a:pt x="171" y="18"/>
                  <a:pt x="171" y="18"/>
                </a:cubicBezTo>
                <a:cubicBezTo>
                  <a:pt x="171" y="18"/>
                  <a:pt x="170" y="18"/>
                  <a:pt x="170" y="18"/>
                </a:cubicBezTo>
                <a:cubicBezTo>
                  <a:pt x="170" y="18"/>
                  <a:pt x="171" y="19"/>
                  <a:pt x="170" y="20"/>
                </a:cubicBezTo>
                <a:cubicBezTo>
                  <a:pt x="170" y="20"/>
                  <a:pt x="170" y="19"/>
                  <a:pt x="170" y="20"/>
                </a:cubicBezTo>
                <a:cubicBezTo>
                  <a:pt x="169" y="20"/>
                  <a:pt x="169" y="21"/>
                  <a:pt x="168" y="22"/>
                </a:cubicBezTo>
                <a:cubicBezTo>
                  <a:pt x="169" y="23"/>
                  <a:pt x="169" y="23"/>
                  <a:pt x="169" y="24"/>
                </a:cubicBezTo>
                <a:cubicBezTo>
                  <a:pt x="169" y="24"/>
                  <a:pt x="169" y="24"/>
                  <a:pt x="169" y="24"/>
                </a:cubicBezTo>
                <a:cubicBezTo>
                  <a:pt x="170" y="25"/>
                  <a:pt x="171" y="24"/>
                  <a:pt x="171" y="26"/>
                </a:cubicBezTo>
                <a:cubicBezTo>
                  <a:pt x="171" y="27"/>
                  <a:pt x="171" y="28"/>
                  <a:pt x="170" y="29"/>
                </a:cubicBezTo>
                <a:cubicBezTo>
                  <a:pt x="170" y="30"/>
                  <a:pt x="168" y="30"/>
                  <a:pt x="168" y="31"/>
                </a:cubicBezTo>
                <a:cubicBezTo>
                  <a:pt x="165" y="32"/>
                  <a:pt x="162" y="31"/>
                  <a:pt x="159" y="31"/>
                </a:cubicBezTo>
                <a:cubicBezTo>
                  <a:pt x="159" y="29"/>
                  <a:pt x="156" y="29"/>
                  <a:pt x="156" y="28"/>
                </a:cubicBezTo>
                <a:cubicBezTo>
                  <a:pt x="155" y="28"/>
                  <a:pt x="153" y="28"/>
                  <a:pt x="152" y="28"/>
                </a:cubicBezTo>
                <a:cubicBezTo>
                  <a:pt x="151" y="28"/>
                  <a:pt x="148" y="26"/>
                  <a:pt x="146" y="27"/>
                </a:cubicBezTo>
                <a:cubicBezTo>
                  <a:pt x="146" y="27"/>
                  <a:pt x="146" y="28"/>
                  <a:pt x="145" y="28"/>
                </a:cubicBezTo>
                <a:cubicBezTo>
                  <a:pt x="145" y="28"/>
                  <a:pt x="144" y="28"/>
                  <a:pt x="143" y="28"/>
                </a:cubicBezTo>
                <a:cubicBezTo>
                  <a:pt x="142" y="28"/>
                  <a:pt x="142" y="28"/>
                  <a:pt x="142" y="29"/>
                </a:cubicBezTo>
                <a:cubicBezTo>
                  <a:pt x="141" y="29"/>
                  <a:pt x="141" y="28"/>
                  <a:pt x="140" y="28"/>
                </a:cubicBezTo>
                <a:cubicBezTo>
                  <a:pt x="140" y="29"/>
                  <a:pt x="139" y="30"/>
                  <a:pt x="139" y="29"/>
                </a:cubicBezTo>
                <a:cubicBezTo>
                  <a:pt x="139" y="29"/>
                  <a:pt x="139" y="29"/>
                  <a:pt x="138" y="29"/>
                </a:cubicBezTo>
                <a:cubicBezTo>
                  <a:pt x="138" y="31"/>
                  <a:pt x="139" y="33"/>
                  <a:pt x="138" y="34"/>
                </a:cubicBezTo>
                <a:cubicBezTo>
                  <a:pt x="138" y="34"/>
                  <a:pt x="138" y="35"/>
                  <a:pt x="138" y="36"/>
                </a:cubicBezTo>
                <a:cubicBezTo>
                  <a:pt x="138" y="39"/>
                  <a:pt x="139" y="41"/>
                  <a:pt x="140" y="43"/>
                </a:cubicBezTo>
                <a:cubicBezTo>
                  <a:pt x="139" y="44"/>
                  <a:pt x="139" y="46"/>
                  <a:pt x="139" y="47"/>
                </a:cubicBezTo>
                <a:cubicBezTo>
                  <a:pt x="138" y="47"/>
                  <a:pt x="138" y="50"/>
                  <a:pt x="137" y="49"/>
                </a:cubicBezTo>
                <a:cubicBezTo>
                  <a:pt x="137" y="50"/>
                  <a:pt x="137" y="51"/>
                  <a:pt x="136" y="51"/>
                </a:cubicBezTo>
                <a:cubicBezTo>
                  <a:pt x="136" y="52"/>
                  <a:pt x="136" y="53"/>
                  <a:pt x="135" y="53"/>
                </a:cubicBezTo>
                <a:cubicBezTo>
                  <a:pt x="135" y="53"/>
                  <a:pt x="135" y="54"/>
                  <a:pt x="134" y="54"/>
                </a:cubicBezTo>
                <a:cubicBezTo>
                  <a:pt x="130" y="53"/>
                  <a:pt x="128" y="51"/>
                  <a:pt x="124" y="51"/>
                </a:cubicBezTo>
                <a:cubicBezTo>
                  <a:pt x="123" y="51"/>
                  <a:pt x="123" y="52"/>
                  <a:pt x="122" y="52"/>
                </a:cubicBezTo>
                <a:cubicBezTo>
                  <a:pt x="122" y="52"/>
                  <a:pt x="121" y="52"/>
                  <a:pt x="122" y="53"/>
                </a:cubicBezTo>
                <a:cubicBezTo>
                  <a:pt x="121" y="53"/>
                  <a:pt x="120" y="53"/>
                  <a:pt x="120" y="54"/>
                </a:cubicBezTo>
                <a:cubicBezTo>
                  <a:pt x="119" y="54"/>
                  <a:pt x="118" y="56"/>
                  <a:pt x="117" y="56"/>
                </a:cubicBezTo>
                <a:cubicBezTo>
                  <a:pt x="116" y="61"/>
                  <a:pt x="114" y="64"/>
                  <a:pt x="114" y="70"/>
                </a:cubicBezTo>
                <a:cubicBezTo>
                  <a:pt x="113" y="70"/>
                  <a:pt x="113" y="71"/>
                  <a:pt x="113" y="71"/>
                </a:cubicBezTo>
                <a:cubicBezTo>
                  <a:pt x="113" y="72"/>
                  <a:pt x="112" y="73"/>
                  <a:pt x="112" y="74"/>
                </a:cubicBezTo>
                <a:cubicBezTo>
                  <a:pt x="111" y="74"/>
                  <a:pt x="110" y="75"/>
                  <a:pt x="110" y="76"/>
                </a:cubicBezTo>
                <a:cubicBezTo>
                  <a:pt x="108" y="76"/>
                  <a:pt x="108" y="77"/>
                  <a:pt x="108" y="79"/>
                </a:cubicBezTo>
                <a:cubicBezTo>
                  <a:pt x="108" y="79"/>
                  <a:pt x="108" y="80"/>
                  <a:pt x="108" y="80"/>
                </a:cubicBezTo>
                <a:cubicBezTo>
                  <a:pt x="108" y="81"/>
                  <a:pt x="108" y="81"/>
                  <a:pt x="108" y="81"/>
                </a:cubicBezTo>
                <a:cubicBezTo>
                  <a:pt x="108" y="81"/>
                  <a:pt x="108" y="81"/>
                  <a:pt x="108" y="82"/>
                </a:cubicBezTo>
                <a:cubicBezTo>
                  <a:pt x="108" y="82"/>
                  <a:pt x="109" y="81"/>
                  <a:pt x="109" y="82"/>
                </a:cubicBezTo>
                <a:cubicBezTo>
                  <a:pt x="109" y="82"/>
                  <a:pt x="109" y="83"/>
                  <a:pt x="109" y="83"/>
                </a:cubicBezTo>
                <a:cubicBezTo>
                  <a:pt x="110" y="84"/>
                  <a:pt x="111" y="85"/>
                  <a:pt x="111" y="86"/>
                </a:cubicBezTo>
                <a:cubicBezTo>
                  <a:pt x="111" y="90"/>
                  <a:pt x="112" y="93"/>
                  <a:pt x="112" y="97"/>
                </a:cubicBezTo>
                <a:cubicBezTo>
                  <a:pt x="110" y="97"/>
                  <a:pt x="111" y="99"/>
                  <a:pt x="110" y="99"/>
                </a:cubicBezTo>
                <a:cubicBezTo>
                  <a:pt x="109" y="100"/>
                  <a:pt x="109" y="101"/>
                  <a:pt x="108" y="101"/>
                </a:cubicBezTo>
                <a:cubicBezTo>
                  <a:pt x="107" y="102"/>
                  <a:pt x="107" y="103"/>
                  <a:pt x="106" y="103"/>
                </a:cubicBezTo>
                <a:cubicBezTo>
                  <a:pt x="106" y="105"/>
                  <a:pt x="104" y="105"/>
                  <a:pt x="103" y="106"/>
                </a:cubicBezTo>
                <a:cubicBezTo>
                  <a:pt x="104" y="109"/>
                  <a:pt x="102" y="109"/>
                  <a:pt x="102" y="112"/>
                </a:cubicBezTo>
                <a:cubicBezTo>
                  <a:pt x="101" y="113"/>
                  <a:pt x="100" y="114"/>
                  <a:pt x="99" y="115"/>
                </a:cubicBezTo>
                <a:cubicBezTo>
                  <a:pt x="99" y="115"/>
                  <a:pt x="99" y="116"/>
                  <a:pt x="99" y="116"/>
                </a:cubicBezTo>
                <a:cubicBezTo>
                  <a:pt x="99" y="116"/>
                  <a:pt x="98" y="116"/>
                  <a:pt x="98" y="116"/>
                </a:cubicBezTo>
                <a:cubicBezTo>
                  <a:pt x="98" y="117"/>
                  <a:pt x="98" y="117"/>
                  <a:pt x="98" y="117"/>
                </a:cubicBezTo>
                <a:cubicBezTo>
                  <a:pt x="98" y="117"/>
                  <a:pt x="98" y="118"/>
                  <a:pt x="97" y="118"/>
                </a:cubicBezTo>
                <a:cubicBezTo>
                  <a:pt x="97" y="118"/>
                  <a:pt x="97" y="119"/>
                  <a:pt x="96" y="118"/>
                </a:cubicBezTo>
                <a:cubicBezTo>
                  <a:pt x="97" y="121"/>
                  <a:pt x="95" y="122"/>
                  <a:pt x="95" y="124"/>
                </a:cubicBezTo>
                <a:cubicBezTo>
                  <a:pt x="95" y="127"/>
                  <a:pt x="96" y="128"/>
                  <a:pt x="96" y="131"/>
                </a:cubicBezTo>
                <a:cubicBezTo>
                  <a:pt x="94" y="131"/>
                  <a:pt x="94" y="131"/>
                  <a:pt x="94" y="132"/>
                </a:cubicBezTo>
                <a:cubicBezTo>
                  <a:pt x="94" y="132"/>
                  <a:pt x="94" y="132"/>
                  <a:pt x="93" y="132"/>
                </a:cubicBezTo>
                <a:cubicBezTo>
                  <a:pt x="93" y="132"/>
                  <a:pt x="93" y="132"/>
                  <a:pt x="93" y="132"/>
                </a:cubicBezTo>
                <a:cubicBezTo>
                  <a:pt x="93" y="132"/>
                  <a:pt x="93" y="132"/>
                  <a:pt x="93" y="132"/>
                </a:cubicBezTo>
                <a:cubicBezTo>
                  <a:pt x="93" y="132"/>
                  <a:pt x="93" y="132"/>
                  <a:pt x="93" y="132"/>
                </a:cubicBezTo>
                <a:cubicBezTo>
                  <a:pt x="93" y="132"/>
                  <a:pt x="93" y="133"/>
                  <a:pt x="93" y="133"/>
                </a:cubicBezTo>
                <a:cubicBezTo>
                  <a:pt x="93" y="133"/>
                  <a:pt x="93" y="133"/>
                  <a:pt x="93" y="133"/>
                </a:cubicBezTo>
                <a:cubicBezTo>
                  <a:pt x="93" y="133"/>
                  <a:pt x="93" y="133"/>
                  <a:pt x="93" y="133"/>
                </a:cubicBezTo>
                <a:cubicBezTo>
                  <a:pt x="93" y="133"/>
                  <a:pt x="93" y="133"/>
                  <a:pt x="93" y="133"/>
                </a:cubicBezTo>
                <a:cubicBezTo>
                  <a:pt x="93" y="133"/>
                  <a:pt x="93" y="133"/>
                  <a:pt x="93" y="133"/>
                </a:cubicBezTo>
                <a:cubicBezTo>
                  <a:pt x="93" y="133"/>
                  <a:pt x="93" y="133"/>
                  <a:pt x="93" y="133"/>
                </a:cubicBezTo>
                <a:cubicBezTo>
                  <a:pt x="92" y="133"/>
                  <a:pt x="92" y="133"/>
                  <a:pt x="91" y="134"/>
                </a:cubicBezTo>
                <a:cubicBezTo>
                  <a:pt x="91" y="134"/>
                  <a:pt x="91" y="134"/>
                  <a:pt x="91" y="134"/>
                </a:cubicBezTo>
                <a:cubicBezTo>
                  <a:pt x="91" y="134"/>
                  <a:pt x="91" y="134"/>
                  <a:pt x="91" y="134"/>
                </a:cubicBezTo>
                <a:cubicBezTo>
                  <a:pt x="91" y="134"/>
                  <a:pt x="91" y="134"/>
                  <a:pt x="91" y="134"/>
                </a:cubicBezTo>
                <a:cubicBezTo>
                  <a:pt x="91" y="134"/>
                  <a:pt x="91" y="134"/>
                  <a:pt x="91" y="134"/>
                </a:cubicBezTo>
                <a:cubicBezTo>
                  <a:pt x="91" y="134"/>
                  <a:pt x="91" y="134"/>
                  <a:pt x="91" y="134"/>
                </a:cubicBezTo>
                <a:cubicBezTo>
                  <a:pt x="90" y="134"/>
                  <a:pt x="90" y="134"/>
                  <a:pt x="90" y="134"/>
                </a:cubicBezTo>
                <a:cubicBezTo>
                  <a:pt x="90" y="134"/>
                  <a:pt x="90" y="134"/>
                  <a:pt x="90" y="134"/>
                </a:cubicBezTo>
                <a:cubicBezTo>
                  <a:pt x="89" y="134"/>
                  <a:pt x="89" y="135"/>
                  <a:pt x="87" y="135"/>
                </a:cubicBezTo>
                <a:cubicBezTo>
                  <a:pt x="87" y="135"/>
                  <a:pt x="87" y="135"/>
                  <a:pt x="87" y="135"/>
                </a:cubicBezTo>
                <a:cubicBezTo>
                  <a:pt x="87" y="135"/>
                  <a:pt x="87" y="135"/>
                  <a:pt x="87" y="135"/>
                </a:cubicBezTo>
                <a:cubicBezTo>
                  <a:pt x="87" y="135"/>
                  <a:pt x="87" y="135"/>
                  <a:pt x="86" y="135"/>
                </a:cubicBezTo>
                <a:cubicBezTo>
                  <a:pt x="86" y="135"/>
                  <a:pt x="86" y="135"/>
                  <a:pt x="86" y="136"/>
                </a:cubicBezTo>
                <a:cubicBezTo>
                  <a:pt x="86" y="136"/>
                  <a:pt x="86" y="136"/>
                  <a:pt x="86" y="136"/>
                </a:cubicBezTo>
                <a:cubicBezTo>
                  <a:pt x="86" y="136"/>
                  <a:pt x="85" y="136"/>
                  <a:pt x="85" y="137"/>
                </a:cubicBezTo>
                <a:cubicBezTo>
                  <a:pt x="85" y="137"/>
                  <a:pt x="84" y="137"/>
                  <a:pt x="84" y="137"/>
                </a:cubicBezTo>
                <a:cubicBezTo>
                  <a:pt x="84" y="137"/>
                  <a:pt x="84" y="137"/>
                  <a:pt x="84" y="137"/>
                </a:cubicBezTo>
                <a:cubicBezTo>
                  <a:pt x="84" y="137"/>
                  <a:pt x="84" y="137"/>
                  <a:pt x="83" y="137"/>
                </a:cubicBezTo>
                <a:cubicBezTo>
                  <a:pt x="83" y="137"/>
                  <a:pt x="83" y="137"/>
                  <a:pt x="83" y="137"/>
                </a:cubicBezTo>
                <a:cubicBezTo>
                  <a:pt x="83" y="137"/>
                  <a:pt x="83" y="137"/>
                  <a:pt x="83" y="137"/>
                </a:cubicBezTo>
                <a:cubicBezTo>
                  <a:pt x="83" y="137"/>
                  <a:pt x="83" y="137"/>
                  <a:pt x="83" y="137"/>
                </a:cubicBezTo>
                <a:cubicBezTo>
                  <a:pt x="83" y="137"/>
                  <a:pt x="83" y="137"/>
                  <a:pt x="83" y="137"/>
                </a:cubicBezTo>
                <a:cubicBezTo>
                  <a:pt x="83" y="137"/>
                  <a:pt x="83" y="137"/>
                  <a:pt x="83" y="137"/>
                </a:cubicBezTo>
                <a:cubicBezTo>
                  <a:pt x="83" y="137"/>
                  <a:pt x="83" y="137"/>
                  <a:pt x="83" y="137"/>
                </a:cubicBezTo>
                <a:cubicBezTo>
                  <a:pt x="80" y="137"/>
                  <a:pt x="79" y="138"/>
                  <a:pt x="78" y="138"/>
                </a:cubicBezTo>
                <a:cubicBezTo>
                  <a:pt x="77" y="138"/>
                  <a:pt x="76" y="139"/>
                  <a:pt x="76" y="140"/>
                </a:cubicBezTo>
                <a:cubicBezTo>
                  <a:pt x="75" y="142"/>
                  <a:pt x="77" y="142"/>
                  <a:pt x="77" y="144"/>
                </a:cubicBezTo>
                <a:cubicBezTo>
                  <a:pt x="77" y="148"/>
                  <a:pt x="77" y="148"/>
                  <a:pt x="77" y="148"/>
                </a:cubicBezTo>
                <a:cubicBezTo>
                  <a:pt x="76" y="150"/>
                  <a:pt x="78" y="150"/>
                  <a:pt x="78" y="152"/>
                </a:cubicBezTo>
                <a:cubicBezTo>
                  <a:pt x="78" y="152"/>
                  <a:pt x="78" y="152"/>
                  <a:pt x="78" y="152"/>
                </a:cubicBezTo>
                <a:cubicBezTo>
                  <a:pt x="78" y="152"/>
                  <a:pt x="78" y="152"/>
                  <a:pt x="78" y="152"/>
                </a:cubicBezTo>
                <a:cubicBezTo>
                  <a:pt x="78" y="152"/>
                  <a:pt x="78" y="152"/>
                  <a:pt x="78" y="152"/>
                </a:cubicBezTo>
                <a:cubicBezTo>
                  <a:pt x="78" y="153"/>
                  <a:pt x="78" y="153"/>
                  <a:pt x="78" y="153"/>
                </a:cubicBezTo>
                <a:cubicBezTo>
                  <a:pt x="78" y="153"/>
                  <a:pt x="78" y="153"/>
                  <a:pt x="78" y="153"/>
                </a:cubicBezTo>
                <a:cubicBezTo>
                  <a:pt x="78" y="153"/>
                  <a:pt x="78" y="154"/>
                  <a:pt x="78" y="154"/>
                </a:cubicBezTo>
                <a:cubicBezTo>
                  <a:pt x="78" y="154"/>
                  <a:pt x="78" y="154"/>
                  <a:pt x="78" y="154"/>
                </a:cubicBezTo>
                <a:cubicBezTo>
                  <a:pt x="78" y="155"/>
                  <a:pt x="78" y="155"/>
                  <a:pt x="78" y="155"/>
                </a:cubicBezTo>
                <a:cubicBezTo>
                  <a:pt x="78" y="156"/>
                  <a:pt x="78" y="156"/>
                  <a:pt x="78" y="157"/>
                </a:cubicBezTo>
                <a:cubicBezTo>
                  <a:pt x="78" y="157"/>
                  <a:pt x="77" y="157"/>
                  <a:pt x="77" y="157"/>
                </a:cubicBezTo>
                <a:cubicBezTo>
                  <a:pt x="77" y="160"/>
                  <a:pt x="78" y="163"/>
                  <a:pt x="76" y="164"/>
                </a:cubicBezTo>
                <a:cubicBezTo>
                  <a:pt x="76" y="168"/>
                  <a:pt x="76" y="168"/>
                  <a:pt x="76" y="168"/>
                </a:cubicBezTo>
                <a:cubicBezTo>
                  <a:pt x="76" y="168"/>
                  <a:pt x="76" y="168"/>
                  <a:pt x="76" y="168"/>
                </a:cubicBezTo>
                <a:cubicBezTo>
                  <a:pt x="76" y="169"/>
                  <a:pt x="76" y="170"/>
                  <a:pt x="76" y="170"/>
                </a:cubicBezTo>
                <a:cubicBezTo>
                  <a:pt x="76" y="170"/>
                  <a:pt x="76" y="170"/>
                  <a:pt x="76" y="170"/>
                </a:cubicBezTo>
                <a:cubicBezTo>
                  <a:pt x="76" y="171"/>
                  <a:pt x="76" y="171"/>
                  <a:pt x="76" y="172"/>
                </a:cubicBezTo>
                <a:cubicBezTo>
                  <a:pt x="76" y="172"/>
                  <a:pt x="76" y="172"/>
                  <a:pt x="76" y="172"/>
                </a:cubicBezTo>
                <a:cubicBezTo>
                  <a:pt x="76" y="172"/>
                  <a:pt x="76" y="172"/>
                  <a:pt x="76" y="172"/>
                </a:cubicBezTo>
                <a:cubicBezTo>
                  <a:pt x="76" y="172"/>
                  <a:pt x="76" y="172"/>
                  <a:pt x="76" y="172"/>
                </a:cubicBezTo>
                <a:cubicBezTo>
                  <a:pt x="76" y="172"/>
                  <a:pt x="76" y="173"/>
                  <a:pt x="76" y="173"/>
                </a:cubicBezTo>
                <a:cubicBezTo>
                  <a:pt x="76" y="173"/>
                  <a:pt x="76" y="173"/>
                  <a:pt x="76" y="173"/>
                </a:cubicBezTo>
                <a:cubicBezTo>
                  <a:pt x="76" y="174"/>
                  <a:pt x="76" y="174"/>
                  <a:pt x="76" y="174"/>
                </a:cubicBezTo>
                <a:cubicBezTo>
                  <a:pt x="76" y="175"/>
                  <a:pt x="76" y="176"/>
                  <a:pt x="75" y="176"/>
                </a:cubicBezTo>
                <a:cubicBezTo>
                  <a:pt x="74" y="177"/>
                  <a:pt x="74" y="178"/>
                  <a:pt x="73" y="178"/>
                </a:cubicBezTo>
                <a:cubicBezTo>
                  <a:pt x="74" y="181"/>
                  <a:pt x="72" y="183"/>
                  <a:pt x="73" y="186"/>
                </a:cubicBezTo>
                <a:cubicBezTo>
                  <a:pt x="71" y="186"/>
                  <a:pt x="71" y="186"/>
                  <a:pt x="70" y="187"/>
                </a:cubicBezTo>
                <a:cubicBezTo>
                  <a:pt x="70" y="188"/>
                  <a:pt x="69" y="188"/>
                  <a:pt x="69" y="190"/>
                </a:cubicBezTo>
                <a:cubicBezTo>
                  <a:pt x="68" y="190"/>
                  <a:pt x="69" y="192"/>
                  <a:pt x="67" y="192"/>
                </a:cubicBezTo>
                <a:cubicBezTo>
                  <a:pt x="68" y="195"/>
                  <a:pt x="66" y="196"/>
                  <a:pt x="65" y="199"/>
                </a:cubicBezTo>
                <a:cubicBezTo>
                  <a:pt x="65" y="198"/>
                  <a:pt x="64" y="199"/>
                  <a:pt x="64" y="199"/>
                </a:cubicBezTo>
                <a:cubicBezTo>
                  <a:pt x="64" y="201"/>
                  <a:pt x="63" y="202"/>
                  <a:pt x="62" y="203"/>
                </a:cubicBezTo>
                <a:cubicBezTo>
                  <a:pt x="61" y="204"/>
                  <a:pt x="61" y="206"/>
                  <a:pt x="60" y="208"/>
                </a:cubicBezTo>
                <a:cubicBezTo>
                  <a:pt x="60" y="210"/>
                  <a:pt x="63" y="209"/>
                  <a:pt x="62" y="212"/>
                </a:cubicBezTo>
                <a:cubicBezTo>
                  <a:pt x="63" y="212"/>
                  <a:pt x="64" y="212"/>
                  <a:pt x="64" y="212"/>
                </a:cubicBezTo>
                <a:cubicBezTo>
                  <a:pt x="64" y="213"/>
                  <a:pt x="65" y="213"/>
                  <a:pt x="66" y="213"/>
                </a:cubicBezTo>
                <a:cubicBezTo>
                  <a:pt x="66" y="213"/>
                  <a:pt x="66" y="214"/>
                  <a:pt x="67" y="215"/>
                </a:cubicBezTo>
                <a:cubicBezTo>
                  <a:pt x="67" y="215"/>
                  <a:pt x="68" y="214"/>
                  <a:pt x="68" y="215"/>
                </a:cubicBezTo>
                <a:cubicBezTo>
                  <a:pt x="68" y="215"/>
                  <a:pt x="68" y="216"/>
                  <a:pt x="69" y="216"/>
                </a:cubicBezTo>
                <a:cubicBezTo>
                  <a:pt x="70" y="221"/>
                  <a:pt x="71" y="224"/>
                  <a:pt x="71" y="230"/>
                </a:cubicBezTo>
                <a:cubicBezTo>
                  <a:pt x="70" y="230"/>
                  <a:pt x="70" y="231"/>
                  <a:pt x="70" y="231"/>
                </a:cubicBezTo>
                <a:cubicBezTo>
                  <a:pt x="69" y="231"/>
                  <a:pt x="69" y="232"/>
                  <a:pt x="69" y="233"/>
                </a:cubicBezTo>
                <a:cubicBezTo>
                  <a:pt x="68" y="233"/>
                  <a:pt x="68" y="234"/>
                  <a:pt x="67" y="235"/>
                </a:cubicBezTo>
                <a:cubicBezTo>
                  <a:pt x="66" y="235"/>
                  <a:pt x="65" y="234"/>
                  <a:pt x="63" y="234"/>
                </a:cubicBezTo>
                <a:cubicBezTo>
                  <a:pt x="63" y="233"/>
                  <a:pt x="62" y="234"/>
                  <a:pt x="62" y="233"/>
                </a:cubicBezTo>
                <a:cubicBezTo>
                  <a:pt x="61" y="232"/>
                  <a:pt x="59" y="233"/>
                  <a:pt x="58" y="233"/>
                </a:cubicBezTo>
                <a:cubicBezTo>
                  <a:pt x="58" y="233"/>
                  <a:pt x="58" y="232"/>
                  <a:pt x="58" y="232"/>
                </a:cubicBezTo>
                <a:cubicBezTo>
                  <a:pt x="58" y="232"/>
                  <a:pt x="57" y="232"/>
                  <a:pt x="56" y="232"/>
                </a:cubicBezTo>
                <a:cubicBezTo>
                  <a:pt x="55" y="232"/>
                  <a:pt x="55" y="231"/>
                  <a:pt x="55" y="231"/>
                </a:cubicBezTo>
                <a:cubicBezTo>
                  <a:pt x="52" y="231"/>
                  <a:pt x="50" y="231"/>
                  <a:pt x="48" y="231"/>
                </a:cubicBezTo>
                <a:cubicBezTo>
                  <a:pt x="47" y="231"/>
                  <a:pt x="47" y="232"/>
                  <a:pt x="46" y="232"/>
                </a:cubicBezTo>
                <a:cubicBezTo>
                  <a:pt x="46" y="232"/>
                  <a:pt x="46" y="233"/>
                  <a:pt x="46" y="233"/>
                </a:cubicBezTo>
                <a:cubicBezTo>
                  <a:pt x="45" y="233"/>
                  <a:pt x="45" y="234"/>
                  <a:pt x="45" y="234"/>
                </a:cubicBezTo>
                <a:cubicBezTo>
                  <a:pt x="44" y="234"/>
                  <a:pt x="44" y="235"/>
                  <a:pt x="44" y="235"/>
                </a:cubicBezTo>
                <a:cubicBezTo>
                  <a:pt x="42" y="236"/>
                  <a:pt x="42" y="238"/>
                  <a:pt x="40" y="238"/>
                </a:cubicBezTo>
                <a:cubicBezTo>
                  <a:pt x="41" y="240"/>
                  <a:pt x="38" y="240"/>
                  <a:pt x="39" y="242"/>
                </a:cubicBezTo>
                <a:cubicBezTo>
                  <a:pt x="37" y="243"/>
                  <a:pt x="36" y="245"/>
                  <a:pt x="34" y="246"/>
                </a:cubicBezTo>
                <a:cubicBezTo>
                  <a:pt x="34" y="248"/>
                  <a:pt x="32" y="247"/>
                  <a:pt x="32" y="249"/>
                </a:cubicBezTo>
                <a:cubicBezTo>
                  <a:pt x="31" y="250"/>
                  <a:pt x="30" y="251"/>
                  <a:pt x="29" y="253"/>
                </a:cubicBezTo>
                <a:cubicBezTo>
                  <a:pt x="29" y="254"/>
                  <a:pt x="29" y="254"/>
                  <a:pt x="30" y="256"/>
                </a:cubicBezTo>
                <a:cubicBezTo>
                  <a:pt x="30" y="258"/>
                  <a:pt x="29" y="260"/>
                  <a:pt x="30" y="262"/>
                </a:cubicBezTo>
                <a:cubicBezTo>
                  <a:pt x="29" y="262"/>
                  <a:pt x="29" y="263"/>
                  <a:pt x="28" y="263"/>
                </a:cubicBezTo>
                <a:cubicBezTo>
                  <a:pt x="27" y="265"/>
                  <a:pt x="27" y="267"/>
                  <a:pt x="25" y="268"/>
                </a:cubicBezTo>
                <a:cubicBezTo>
                  <a:pt x="26" y="269"/>
                  <a:pt x="26" y="271"/>
                  <a:pt x="26" y="273"/>
                </a:cubicBezTo>
                <a:cubicBezTo>
                  <a:pt x="27" y="273"/>
                  <a:pt x="27" y="275"/>
                  <a:pt x="27" y="276"/>
                </a:cubicBezTo>
                <a:cubicBezTo>
                  <a:pt x="28" y="276"/>
                  <a:pt x="28" y="277"/>
                  <a:pt x="28" y="278"/>
                </a:cubicBezTo>
                <a:cubicBezTo>
                  <a:pt x="28" y="279"/>
                  <a:pt x="29" y="280"/>
                  <a:pt x="29" y="281"/>
                </a:cubicBezTo>
                <a:cubicBezTo>
                  <a:pt x="28" y="283"/>
                  <a:pt x="27" y="284"/>
                  <a:pt x="27" y="286"/>
                </a:cubicBezTo>
                <a:cubicBezTo>
                  <a:pt x="26" y="289"/>
                  <a:pt x="27" y="290"/>
                  <a:pt x="28" y="293"/>
                </a:cubicBezTo>
                <a:cubicBezTo>
                  <a:pt x="27" y="293"/>
                  <a:pt x="27" y="294"/>
                  <a:pt x="27" y="295"/>
                </a:cubicBezTo>
                <a:cubicBezTo>
                  <a:pt x="27" y="295"/>
                  <a:pt x="26" y="295"/>
                  <a:pt x="26" y="295"/>
                </a:cubicBezTo>
                <a:cubicBezTo>
                  <a:pt x="26" y="296"/>
                  <a:pt x="26" y="297"/>
                  <a:pt x="26" y="297"/>
                </a:cubicBezTo>
                <a:cubicBezTo>
                  <a:pt x="26" y="298"/>
                  <a:pt x="25" y="297"/>
                  <a:pt x="25" y="297"/>
                </a:cubicBezTo>
                <a:cubicBezTo>
                  <a:pt x="25" y="298"/>
                  <a:pt x="25" y="302"/>
                  <a:pt x="25" y="302"/>
                </a:cubicBezTo>
                <a:cubicBezTo>
                  <a:pt x="25" y="302"/>
                  <a:pt x="26" y="302"/>
                  <a:pt x="26" y="303"/>
                </a:cubicBezTo>
                <a:cubicBezTo>
                  <a:pt x="26" y="303"/>
                  <a:pt x="25" y="303"/>
                  <a:pt x="25" y="303"/>
                </a:cubicBezTo>
                <a:cubicBezTo>
                  <a:pt x="25" y="303"/>
                  <a:pt x="26" y="304"/>
                  <a:pt x="25" y="304"/>
                </a:cubicBezTo>
                <a:cubicBezTo>
                  <a:pt x="27" y="304"/>
                  <a:pt x="27" y="305"/>
                  <a:pt x="27" y="307"/>
                </a:cubicBezTo>
                <a:cubicBezTo>
                  <a:pt x="28" y="307"/>
                  <a:pt x="28" y="308"/>
                  <a:pt x="28" y="309"/>
                </a:cubicBezTo>
                <a:cubicBezTo>
                  <a:pt x="28" y="311"/>
                  <a:pt x="29" y="311"/>
                  <a:pt x="29" y="313"/>
                </a:cubicBezTo>
                <a:cubicBezTo>
                  <a:pt x="29" y="314"/>
                  <a:pt x="29" y="314"/>
                  <a:pt x="29" y="314"/>
                </a:cubicBezTo>
                <a:cubicBezTo>
                  <a:pt x="30" y="314"/>
                  <a:pt x="30" y="314"/>
                  <a:pt x="30" y="314"/>
                </a:cubicBezTo>
                <a:cubicBezTo>
                  <a:pt x="31" y="314"/>
                  <a:pt x="32" y="314"/>
                  <a:pt x="32" y="315"/>
                </a:cubicBezTo>
                <a:cubicBezTo>
                  <a:pt x="32" y="315"/>
                  <a:pt x="32" y="315"/>
                  <a:pt x="32" y="316"/>
                </a:cubicBezTo>
                <a:cubicBezTo>
                  <a:pt x="32" y="316"/>
                  <a:pt x="32" y="316"/>
                  <a:pt x="32" y="316"/>
                </a:cubicBezTo>
                <a:cubicBezTo>
                  <a:pt x="32" y="317"/>
                  <a:pt x="32" y="318"/>
                  <a:pt x="32" y="320"/>
                </a:cubicBezTo>
                <a:cubicBezTo>
                  <a:pt x="32" y="322"/>
                  <a:pt x="32" y="325"/>
                  <a:pt x="31" y="327"/>
                </a:cubicBezTo>
                <a:cubicBezTo>
                  <a:pt x="31" y="328"/>
                  <a:pt x="32" y="332"/>
                  <a:pt x="30" y="332"/>
                </a:cubicBezTo>
                <a:cubicBezTo>
                  <a:pt x="31" y="333"/>
                  <a:pt x="31" y="334"/>
                  <a:pt x="31" y="335"/>
                </a:cubicBezTo>
                <a:cubicBezTo>
                  <a:pt x="31" y="335"/>
                  <a:pt x="30" y="335"/>
                  <a:pt x="30" y="335"/>
                </a:cubicBezTo>
                <a:cubicBezTo>
                  <a:pt x="30" y="335"/>
                  <a:pt x="31" y="337"/>
                  <a:pt x="30" y="337"/>
                </a:cubicBezTo>
                <a:cubicBezTo>
                  <a:pt x="30" y="339"/>
                  <a:pt x="31" y="339"/>
                  <a:pt x="31" y="341"/>
                </a:cubicBezTo>
                <a:cubicBezTo>
                  <a:pt x="31" y="343"/>
                  <a:pt x="33" y="343"/>
                  <a:pt x="34" y="344"/>
                </a:cubicBezTo>
                <a:cubicBezTo>
                  <a:pt x="34" y="345"/>
                  <a:pt x="35" y="346"/>
                  <a:pt x="37" y="347"/>
                </a:cubicBezTo>
                <a:cubicBezTo>
                  <a:pt x="37" y="349"/>
                  <a:pt x="39" y="348"/>
                  <a:pt x="39" y="350"/>
                </a:cubicBezTo>
                <a:cubicBezTo>
                  <a:pt x="40" y="350"/>
                  <a:pt x="40" y="350"/>
                  <a:pt x="41" y="350"/>
                </a:cubicBezTo>
                <a:cubicBezTo>
                  <a:pt x="41" y="351"/>
                  <a:pt x="41" y="351"/>
                  <a:pt x="41" y="351"/>
                </a:cubicBezTo>
                <a:cubicBezTo>
                  <a:pt x="41" y="351"/>
                  <a:pt x="42" y="352"/>
                  <a:pt x="42" y="352"/>
                </a:cubicBezTo>
                <a:cubicBezTo>
                  <a:pt x="42" y="352"/>
                  <a:pt x="42" y="353"/>
                  <a:pt x="42" y="353"/>
                </a:cubicBezTo>
                <a:cubicBezTo>
                  <a:pt x="42" y="353"/>
                  <a:pt x="43" y="353"/>
                  <a:pt x="43" y="353"/>
                </a:cubicBezTo>
                <a:cubicBezTo>
                  <a:pt x="43" y="354"/>
                  <a:pt x="44" y="356"/>
                  <a:pt x="45" y="357"/>
                </a:cubicBezTo>
                <a:cubicBezTo>
                  <a:pt x="45" y="361"/>
                  <a:pt x="44" y="363"/>
                  <a:pt x="43" y="366"/>
                </a:cubicBezTo>
                <a:cubicBezTo>
                  <a:pt x="43" y="366"/>
                  <a:pt x="43" y="367"/>
                  <a:pt x="43" y="367"/>
                </a:cubicBezTo>
                <a:cubicBezTo>
                  <a:pt x="43" y="367"/>
                  <a:pt x="42" y="367"/>
                  <a:pt x="42" y="367"/>
                </a:cubicBezTo>
                <a:cubicBezTo>
                  <a:pt x="42" y="367"/>
                  <a:pt x="42" y="368"/>
                  <a:pt x="42" y="368"/>
                </a:cubicBezTo>
                <a:cubicBezTo>
                  <a:pt x="42" y="368"/>
                  <a:pt x="42" y="369"/>
                  <a:pt x="41" y="369"/>
                </a:cubicBezTo>
                <a:cubicBezTo>
                  <a:pt x="41" y="369"/>
                  <a:pt x="41" y="369"/>
                  <a:pt x="41" y="369"/>
                </a:cubicBezTo>
                <a:cubicBezTo>
                  <a:pt x="41" y="369"/>
                  <a:pt x="41" y="370"/>
                  <a:pt x="41" y="370"/>
                </a:cubicBezTo>
                <a:cubicBezTo>
                  <a:pt x="41" y="370"/>
                  <a:pt x="40" y="370"/>
                  <a:pt x="40" y="370"/>
                </a:cubicBezTo>
                <a:cubicBezTo>
                  <a:pt x="40" y="370"/>
                  <a:pt x="40" y="370"/>
                  <a:pt x="40" y="371"/>
                </a:cubicBezTo>
                <a:cubicBezTo>
                  <a:pt x="40" y="371"/>
                  <a:pt x="39" y="371"/>
                  <a:pt x="39" y="372"/>
                </a:cubicBezTo>
                <a:cubicBezTo>
                  <a:pt x="36" y="372"/>
                  <a:pt x="34" y="373"/>
                  <a:pt x="32" y="373"/>
                </a:cubicBezTo>
                <a:cubicBezTo>
                  <a:pt x="32" y="374"/>
                  <a:pt x="32" y="374"/>
                  <a:pt x="32" y="374"/>
                </a:cubicBezTo>
                <a:cubicBezTo>
                  <a:pt x="32" y="374"/>
                  <a:pt x="32" y="374"/>
                  <a:pt x="32" y="374"/>
                </a:cubicBezTo>
                <a:cubicBezTo>
                  <a:pt x="32" y="374"/>
                  <a:pt x="32" y="374"/>
                  <a:pt x="32" y="374"/>
                </a:cubicBezTo>
                <a:cubicBezTo>
                  <a:pt x="32" y="374"/>
                  <a:pt x="32" y="374"/>
                  <a:pt x="32" y="374"/>
                </a:cubicBezTo>
                <a:cubicBezTo>
                  <a:pt x="32" y="375"/>
                  <a:pt x="32" y="375"/>
                  <a:pt x="32" y="375"/>
                </a:cubicBezTo>
                <a:cubicBezTo>
                  <a:pt x="32" y="375"/>
                  <a:pt x="32" y="375"/>
                  <a:pt x="32" y="375"/>
                </a:cubicBezTo>
                <a:cubicBezTo>
                  <a:pt x="32" y="376"/>
                  <a:pt x="32" y="376"/>
                  <a:pt x="32" y="376"/>
                </a:cubicBezTo>
                <a:cubicBezTo>
                  <a:pt x="33" y="377"/>
                  <a:pt x="33" y="378"/>
                  <a:pt x="34" y="379"/>
                </a:cubicBezTo>
                <a:cubicBezTo>
                  <a:pt x="34" y="379"/>
                  <a:pt x="34" y="379"/>
                  <a:pt x="34" y="379"/>
                </a:cubicBezTo>
                <a:cubicBezTo>
                  <a:pt x="34" y="379"/>
                  <a:pt x="34" y="379"/>
                  <a:pt x="34" y="379"/>
                </a:cubicBezTo>
                <a:cubicBezTo>
                  <a:pt x="34" y="379"/>
                  <a:pt x="34" y="379"/>
                  <a:pt x="34" y="379"/>
                </a:cubicBezTo>
                <a:cubicBezTo>
                  <a:pt x="34" y="379"/>
                  <a:pt x="34" y="380"/>
                  <a:pt x="34" y="380"/>
                </a:cubicBezTo>
                <a:cubicBezTo>
                  <a:pt x="34" y="380"/>
                  <a:pt x="34" y="380"/>
                  <a:pt x="34" y="380"/>
                </a:cubicBezTo>
                <a:cubicBezTo>
                  <a:pt x="34" y="380"/>
                  <a:pt x="34" y="380"/>
                  <a:pt x="34" y="380"/>
                </a:cubicBezTo>
                <a:cubicBezTo>
                  <a:pt x="34" y="380"/>
                  <a:pt x="34" y="380"/>
                  <a:pt x="34" y="380"/>
                </a:cubicBezTo>
                <a:cubicBezTo>
                  <a:pt x="34" y="380"/>
                  <a:pt x="34" y="380"/>
                  <a:pt x="34" y="380"/>
                </a:cubicBezTo>
                <a:cubicBezTo>
                  <a:pt x="34" y="380"/>
                  <a:pt x="34" y="380"/>
                  <a:pt x="34" y="381"/>
                </a:cubicBezTo>
                <a:cubicBezTo>
                  <a:pt x="34" y="381"/>
                  <a:pt x="34" y="381"/>
                  <a:pt x="34" y="381"/>
                </a:cubicBezTo>
                <a:cubicBezTo>
                  <a:pt x="34" y="381"/>
                  <a:pt x="34" y="381"/>
                  <a:pt x="34" y="381"/>
                </a:cubicBezTo>
                <a:cubicBezTo>
                  <a:pt x="34" y="381"/>
                  <a:pt x="34" y="381"/>
                  <a:pt x="34" y="381"/>
                </a:cubicBezTo>
                <a:cubicBezTo>
                  <a:pt x="34" y="381"/>
                  <a:pt x="34" y="381"/>
                  <a:pt x="34" y="381"/>
                </a:cubicBezTo>
                <a:cubicBezTo>
                  <a:pt x="34" y="382"/>
                  <a:pt x="34" y="384"/>
                  <a:pt x="35" y="385"/>
                </a:cubicBezTo>
                <a:cubicBezTo>
                  <a:pt x="35" y="385"/>
                  <a:pt x="35" y="385"/>
                  <a:pt x="35" y="385"/>
                </a:cubicBezTo>
                <a:cubicBezTo>
                  <a:pt x="34" y="386"/>
                  <a:pt x="36" y="387"/>
                  <a:pt x="36" y="388"/>
                </a:cubicBezTo>
                <a:cubicBezTo>
                  <a:pt x="36" y="388"/>
                  <a:pt x="36" y="388"/>
                  <a:pt x="36" y="388"/>
                </a:cubicBezTo>
                <a:cubicBezTo>
                  <a:pt x="36" y="389"/>
                  <a:pt x="36" y="389"/>
                  <a:pt x="36" y="389"/>
                </a:cubicBezTo>
                <a:cubicBezTo>
                  <a:pt x="36" y="389"/>
                  <a:pt x="36" y="389"/>
                  <a:pt x="36" y="389"/>
                </a:cubicBezTo>
                <a:cubicBezTo>
                  <a:pt x="36" y="389"/>
                  <a:pt x="36" y="389"/>
                  <a:pt x="36" y="389"/>
                </a:cubicBezTo>
                <a:cubicBezTo>
                  <a:pt x="36" y="389"/>
                  <a:pt x="36" y="389"/>
                  <a:pt x="36" y="389"/>
                </a:cubicBezTo>
                <a:cubicBezTo>
                  <a:pt x="36" y="389"/>
                  <a:pt x="36" y="389"/>
                  <a:pt x="36" y="389"/>
                </a:cubicBezTo>
                <a:cubicBezTo>
                  <a:pt x="36" y="389"/>
                  <a:pt x="36" y="390"/>
                  <a:pt x="36" y="391"/>
                </a:cubicBezTo>
                <a:cubicBezTo>
                  <a:pt x="36" y="391"/>
                  <a:pt x="36" y="391"/>
                  <a:pt x="36" y="391"/>
                </a:cubicBezTo>
                <a:cubicBezTo>
                  <a:pt x="37" y="391"/>
                  <a:pt x="37" y="392"/>
                  <a:pt x="37" y="393"/>
                </a:cubicBezTo>
                <a:cubicBezTo>
                  <a:pt x="37" y="393"/>
                  <a:pt x="37" y="393"/>
                  <a:pt x="37" y="393"/>
                </a:cubicBezTo>
                <a:cubicBezTo>
                  <a:pt x="37" y="393"/>
                  <a:pt x="37" y="393"/>
                  <a:pt x="37" y="394"/>
                </a:cubicBezTo>
                <a:cubicBezTo>
                  <a:pt x="38" y="394"/>
                  <a:pt x="38" y="396"/>
                  <a:pt x="39" y="396"/>
                </a:cubicBezTo>
                <a:cubicBezTo>
                  <a:pt x="39" y="399"/>
                  <a:pt x="39" y="399"/>
                  <a:pt x="39" y="399"/>
                </a:cubicBezTo>
                <a:cubicBezTo>
                  <a:pt x="39" y="400"/>
                  <a:pt x="38" y="401"/>
                  <a:pt x="37" y="402"/>
                </a:cubicBezTo>
                <a:cubicBezTo>
                  <a:pt x="37" y="402"/>
                  <a:pt x="37" y="402"/>
                  <a:pt x="37" y="403"/>
                </a:cubicBezTo>
                <a:cubicBezTo>
                  <a:pt x="36" y="404"/>
                  <a:pt x="36" y="406"/>
                  <a:pt x="35" y="407"/>
                </a:cubicBezTo>
                <a:cubicBezTo>
                  <a:pt x="35" y="409"/>
                  <a:pt x="37" y="409"/>
                  <a:pt x="37" y="412"/>
                </a:cubicBezTo>
                <a:cubicBezTo>
                  <a:pt x="36" y="412"/>
                  <a:pt x="36" y="414"/>
                  <a:pt x="35" y="414"/>
                </a:cubicBezTo>
                <a:cubicBezTo>
                  <a:pt x="35" y="414"/>
                  <a:pt x="35" y="414"/>
                  <a:pt x="35" y="414"/>
                </a:cubicBezTo>
                <a:cubicBezTo>
                  <a:pt x="35" y="414"/>
                  <a:pt x="35" y="414"/>
                  <a:pt x="35" y="414"/>
                </a:cubicBezTo>
                <a:cubicBezTo>
                  <a:pt x="35" y="414"/>
                  <a:pt x="35" y="414"/>
                  <a:pt x="35" y="414"/>
                </a:cubicBezTo>
                <a:cubicBezTo>
                  <a:pt x="33" y="414"/>
                  <a:pt x="34" y="417"/>
                  <a:pt x="33" y="417"/>
                </a:cubicBezTo>
                <a:cubicBezTo>
                  <a:pt x="33" y="417"/>
                  <a:pt x="33" y="417"/>
                  <a:pt x="33" y="417"/>
                </a:cubicBezTo>
                <a:cubicBezTo>
                  <a:pt x="32" y="418"/>
                  <a:pt x="32" y="418"/>
                  <a:pt x="32" y="418"/>
                </a:cubicBezTo>
                <a:cubicBezTo>
                  <a:pt x="32" y="418"/>
                  <a:pt x="32" y="418"/>
                  <a:pt x="32" y="418"/>
                </a:cubicBezTo>
                <a:cubicBezTo>
                  <a:pt x="32" y="419"/>
                  <a:pt x="30" y="419"/>
                  <a:pt x="30" y="420"/>
                </a:cubicBezTo>
                <a:cubicBezTo>
                  <a:pt x="30" y="420"/>
                  <a:pt x="30" y="420"/>
                  <a:pt x="30" y="420"/>
                </a:cubicBezTo>
                <a:cubicBezTo>
                  <a:pt x="30" y="420"/>
                  <a:pt x="30" y="420"/>
                  <a:pt x="30" y="421"/>
                </a:cubicBezTo>
                <a:cubicBezTo>
                  <a:pt x="30" y="421"/>
                  <a:pt x="30" y="421"/>
                  <a:pt x="30" y="421"/>
                </a:cubicBezTo>
                <a:cubicBezTo>
                  <a:pt x="30" y="421"/>
                  <a:pt x="29" y="421"/>
                  <a:pt x="29" y="421"/>
                </a:cubicBezTo>
                <a:cubicBezTo>
                  <a:pt x="29" y="421"/>
                  <a:pt x="29" y="421"/>
                  <a:pt x="29" y="421"/>
                </a:cubicBezTo>
                <a:cubicBezTo>
                  <a:pt x="29" y="421"/>
                  <a:pt x="29" y="421"/>
                  <a:pt x="29" y="421"/>
                </a:cubicBezTo>
                <a:cubicBezTo>
                  <a:pt x="29" y="421"/>
                  <a:pt x="29" y="421"/>
                  <a:pt x="29" y="421"/>
                </a:cubicBezTo>
                <a:cubicBezTo>
                  <a:pt x="29" y="421"/>
                  <a:pt x="29" y="421"/>
                  <a:pt x="29" y="421"/>
                </a:cubicBezTo>
                <a:cubicBezTo>
                  <a:pt x="29" y="421"/>
                  <a:pt x="29" y="421"/>
                  <a:pt x="29" y="421"/>
                </a:cubicBezTo>
                <a:cubicBezTo>
                  <a:pt x="28" y="422"/>
                  <a:pt x="27" y="423"/>
                  <a:pt x="27" y="424"/>
                </a:cubicBezTo>
                <a:cubicBezTo>
                  <a:pt x="27" y="424"/>
                  <a:pt x="26" y="424"/>
                  <a:pt x="26" y="424"/>
                </a:cubicBezTo>
                <a:cubicBezTo>
                  <a:pt x="26" y="424"/>
                  <a:pt x="26" y="424"/>
                  <a:pt x="26" y="424"/>
                </a:cubicBezTo>
                <a:cubicBezTo>
                  <a:pt x="26" y="424"/>
                  <a:pt x="26" y="424"/>
                  <a:pt x="26" y="424"/>
                </a:cubicBezTo>
                <a:cubicBezTo>
                  <a:pt x="26" y="424"/>
                  <a:pt x="26" y="424"/>
                  <a:pt x="26" y="424"/>
                </a:cubicBezTo>
                <a:cubicBezTo>
                  <a:pt x="26" y="424"/>
                  <a:pt x="26" y="424"/>
                  <a:pt x="26" y="424"/>
                </a:cubicBezTo>
                <a:cubicBezTo>
                  <a:pt x="26" y="424"/>
                  <a:pt x="26" y="424"/>
                  <a:pt x="26" y="424"/>
                </a:cubicBezTo>
                <a:cubicBezTo>
                  <a:pt x="26" y="424"/>
                  <a:pt x="26" y="424"/>
                  <a:pt x="25" y="424"/>
                </a:cubicBezTo>
                <a:cubicBezTo>
                  <a:pt x="25" y="424"/>
                  <a:pt x="25" y="424"/>
                  <a:pt x="25" y="424"/>
                </a:cubicBezTo>
                <a:cubicBezTo>
                  <a:pt x="25" y="424"/>
                  <a:pt x="25" y="424"/>
                  <a:pt x="25" y="424"/>
                </a:cubicBezTo>
                <a:cubicBezTo>
                  <a:pt x="25" y="424"/>
                  <a:pt x="25" y="424"/>
                  <a:pt x="25" y="424"/>
                </a:cubicBezTo>
                <a:cubicBezTo>
                  <a:pt x="25" y="424"/>
                  <a:pt x="25" y="424"/>
                  <a:pt x="25" y="424"/>
                </a:cubicBezTo>
                <a:cubicBezTo>
                  <a:pt x="25" y="424"/>
                  <a:pt x="25" y="424"/>
                  <a:pt x="25" y="424"/>
                </a:cubicBezTo>
                <a:cubicBezTo>
                  <a:pt x="25" y="424"/>
                  <a:pt x="25" y="424"/>
                  <a:pt x="25" y="424"/>
                </a:cubicBezTo>
                <a:cubicBezTo>
                  <a:pt x="25" y="424"/>
                  <a:pt x="25" y="424"/>
                  <a:pt x="25" y="424"/>
                </a:cubicBezTo>
                <a:cubicBezTo>
                  <a:pt x="25" y="424"/>
                  <a:pt x="24" y="424"/>
                  <a:pt x="24" y="424"/>
                </a:cubicBezTo>
                <a:cubicBezTo>
                  <a:pt x="24" y="424"/>
                  <a:pt x="24" y="424"/>
                  <a:pt x="24" y="424"/>
                </a:cubicBezTo>
                <a:cubicBezTo>
                  <a:pt x="24" y="424"/>
                  <a:pt x="24" y="424"/>
                  <a:pt x="24" y="424"/>
                </a:cubicBezTo>
                <a:cubicBezTo>
                  <a:pt x="24" y="424"/>
                  <a:pt x="24" y="424"/>
                  <a:pt x="24" y="424"/>
                </a:cubicBezTo>
                <a:cubicBezTo>
                  <a:pt x="24" y="424"/>
                  <a:pt x="24" y="424"/>
                  <a:pt x="24" y="424"/>
                </a:cubicBezTo>
                <a:cubicBezTo>
                  <a:pt x="24" y="424"/>
                  <a:pt x="24" y="424"/>
                  <a:pt x="24" y="424"/>
                </a:cubicBezTo>
                <a:cubicBezTo>
                  <a:pt x="24" y="424"/>
                  <a:pt x="24" y="424"/>
                  <a:pt x="24" y="424"/>
                </a:cubicBezTo>
                <a:cubicBezTo>
                  <a:pt x="24" y="424"/>
                  <a:pt x="24" y="424"/>
                  <a:pt x="23" y="424"/>
                </a:cubicBezTo>
                <a:cubicBezTo>
                  <a:pt x="23" y="424"/>
                  <a:pt x="23" y="424"/>
                  <a:pt x="23" y="424"/>
                </a:cubicBezTo>
                <a:cubicBezTo>
                  <a:pt x="23" y="424"/>
                  <a:pt x="23" y="424"/>
                  <a:pt x="23" y="424"/>
                </a:cubicBezTo>
                <a:cubicBezTo>
                  <a:pt x="23" y="424"/>
                  <a:pt x="23" y="424"/>
                  <a:pt x="23" y="424"/>
                </a:cubicBezTo>
                <a:cubicBezTo>
                  <a:pt x="23" y="424"/>
                  <a:pt x="23" y="424"/>
                  <a:pt x="23" y="424"/>
                </a:cubicBezTo>
                <a:cubicBezTo>
                  <a:pt x="23" y="424"/>
                  <a:pt x="23" y="424"/>
                  <a:pt x="23" y="424"/>
                </a:cubicBezTo>
                <a:cubicBezTo>
                  <a:pt x="23" y="424"/>
                  <a:pt x="23" y="424"/>
                  <a:pt x="22" y="424"/>
                </a:cubicBezTo>
                <a:cubicBezTo>
                  <a:pt x="22" y="424"/>
                  <a:pt x="22" y="424"/>
                  <a:pt x="22" y="424"/>
                </a:cubicBezTo>
                <a:cubicBezTo>
                  <a:pt x="22" y="424"/>
                  <a:pt x="22" y="424"/>
                  <a:pt x="22" y="424"/>
                </a:cubicBezTo>
                <a:cubicBezTo>
                  <a:pt x="22" y="425"/>
                  <a:pt x="21" y="425"/>
                  <a:pt x="21" y="425"/>
                </a:cubicBezTo>
                <a:cubicBezTo>
                  <a:pt x="20" y="425"/>
                  <a:pt x="21" y="426"/>
                  <a:pt x="21" y="426"/>
                </a:cubicBezTo>
                <a:cubicBezTo>
                  <a:pt x="20" y="426"/>
                  <a:pt x="19" y="426"/>
                  <a:pt x="18" y="426"/>
                </a:cubicBezTo>
                <a:cubicBezTo>
                  <a:pt x="18" y="426"/>
                  <a:pt x="18" y="427"/>
                  <a:pt x="18" y="428"/>
                </a:cubicBezTo>
                <a:cubicBezTo>
                  <a:pt x="18" y="429"/>
                  <a:pt x="20" y="429"/>
                  <a:pt x="20" y="432"/>
                </a:cubicBezTo>
                <a:cubicBezTo>
                  <a:pt x="19" y="432"/>
                  <a:pt x="19" y="433"/>
                  <a:pt x="18" y="433"/>
                </a:cubicBezTo>
                <a:cubicBezTo>
                  <a:pt x="18" y="433"/>
                  <a:pt x="18" y="433"/>
                  <a:pt x="18" y="433"/>
                </a:cubicBezTo>
                <a:cubicBezTo>
                  <a:pt x="17" y="433"/>
                  <a:pt x="16" y="434"/>
                  <a:pt x="15" y="435"/>
                </a:cubicBezTo>
                <a:cubicBezTo>
                  <a:pt x="14" y="435"/>
                  <a:pt x="14" y="435"/>
                  <a:pt x="14" y="435"/>
                </a:cubicBezTo>
                <a:cubicBezTo>
                  <a:pt x="14" y="440"/>
                  <a:pt x="14" y="440"/>
                  <a:pt x="14" y="440"/>
                </a:cubicBezTo>
                <a:cubicBezTo>
                  <a:pt x="14" y="440"/>
                  <a:pt x="14" y="440"/>
                  <a:pt x="14" y="440"/>
                </a:cubicBezTo>
                <a:cubicBezTo>
                  <a:pt x="14" y="440"/>
                  <a:pt x="14" y="440"/>
                  <a:pt x="14" y="440"/>
                </a:cubicBezTo>
                <a:cubicBezTo>
                  <a:pt x="14" y="442"/>
                  <a:pt x="14" y="442"/>
                  <a:pt x="16" y="443"/>
                </a:cubicBezTo>
                <a:cubicBezTo>
                  <a:pt x="16" y="443"/>
                  <a:pt x="16" y="443"/>
                  <a:pt x="16" y="443"/>
                </a:cubicBezTo>
                <a:cubicBezTo>
                  <a:pt x="16" y="444"/>
                  <a:pt x="16" y="444"/>
                  <a:pt x="16" y="444"/>
                </a:cubicBezTo>
                <a:cubicBezTo>
                  <a:pt x="16" y="444"/>
                  <a:pt x="16" y="444"/>
                  <a:pt x="16" y="444"/>
                </a:cubicBezTo>
                <a:cubicBezTo>
                  <a:pt x="16" y="444"/>
                  <a:pt x="16" y="445"/>
                  <a:pt x="16" y="445"/>
                </a:cubicBezTo>
                <a:cubicBezTo>
                  <a:pt x="16" y="445"/>
                  <a:pt x="16" y="445"/>
                  <a:pt x="16" y="446"/>
                </a:cubicBezTo>
                <a:cubicBezTo>
                  <a:pt x="16" y="447"/>
                  <a:pt x="17" y="447"/>
                  <a:pt x="17" y="449"/>
                </a:cubicBezTo>
                <a:cubicBezTo>
                  <a:pt x="17" y="449"/>
                  <a:pt x="17" y="449"/>
                  <a:pt x="17" y="449"/>
                </a:cubicBezTo>
                <a:cubicBezTo>
                  <a:pt x="17" y="449"/>
                  <a:pt x="18" y="450"/>
                  <a:pt x="18" y="450"/>
                </a:cubicBezTo>
                <a:cubicBezTo>
                  <a:pt x="18" y="450"/>
                  <a:pt x="18" y="450"/>
                  <a:pt x="18" y="450"/>
                </a:cubicBezTo>
                <a:cubicBezTo>
                  <a:pt x="19" y="451"/>
                  <a:pt x="19" y="452"/>
                  <a:pt x="19" y="453"/>
                </a:cubicBezTo>
                <a:cubicBezTo>
                  <a:pt x="20" y="455"/>
                  <a:pt x="19" y="456"/>
                  <a:pt x="18" y="458"/>
                </a:cubicBezTo>
                <a:cubicBezTo>
                  <a:pt x="17" y="459"/>
                  <a:pt x="18" y="461"/>
                  <a:pt x="17" y="462"/>
                </a:cubicBezTo>
                <a:cubicBezTo>
                  <a:pt x="17" y="464"/>
                  <a:pt x="16" y="465"/>
                  <a:pt x="16" y="466"/>
                </a:cubicBezTo>
                <a:cubicBezTo>
                  <a:pt x="15" y="468"/>
                  <a:pt x="14" y="467"/>
                  <a:pt x="14" y="469"/>
                </a:cubicBezTo>
                <a:cubicBezTo>
                  <a:pt x="11" y="468"/>
                  <a:pt x="10" y="470"/>
                  <a:pt x="7" y="470"/>
                </a:cubicBezTo>
                <a:cubicBezTo>
                  <a:pt x="6" y="468"/>
                  <a:pt x="7" y="465"/>
                  <a:pt x="7" y="463"/>
                </a:cubicBezTo>
                <a:cubicBezTo>
                  <a:pt x="6" y="462"/>
                  <a:pt x="6" y="461"/>
                  <a:pt x="6" y="459"/>
                </a:cubicBezTo>
                <a:cubicBezTo>
                  <a:pt x="5" y="458"/>
                  <a:pt x="3" y="458"/>
                  <a:pt x="2" y="458"/>
                </a:cubicBezTo>
                <a:cubicBezTo>
                  <a:pt x="2" y="459"/>
                  <a:pt x="0" y="459"/>
                  <a:pt x="0" y="460"/>
                </a:cubicBezTo>
                <a:cubicBezTo>
                  <a:pt x="0" y="461"/>
                  <a:pt x="0" y="461"/>
                  <a:pt x="0" y="461"/>
                </a:cubicBezTo>
                <a:cubicBezTo>
                  <a:pt x="0" y="463"/>
                  <a:pt x="1" y="464"/>
                  <a:pt x="1" y="467"/>
                </a:cubicBezTo>
                <a:cubicBezTo>
                  <a:pt x="1" y="467"/>
                  <a:pt x="2" y="467"/>
                  <a:pt x="2" y="467"/>
                </a:cubicBezTo>
                <a:cubicBezTo>
                  <a:pt x="1" y="467"/>
                  <a:pt x="1" y="467"/>
                  <a:pt x="1" y="467"/>
                </a:cubicBezTo>
                <a:cubicBezTo>
                  <a:pt x="0" y="467"/>
                  <a:pt x="0" y="467"/>
                  <a:pt x="0" y="467"/>
                </a:cubicBezTo>
                <a:cubicBezTo>
                  <a:pt x="0" y="468"/>
                  <a:pt x="0" y="469"/>
                  <a:pt x="0" y="469"/>
                </a:cubicBezTo>
                <a:cubicBezTo>
                  <a:pt x="0" y="468"/>
                  <a:pt x="1" y="468"/>
                  <a:pt x="0" y="469"/>
                </a:cubicBezTo>
                <a:cubicBezTo>
                  <a:pt x="0" y="470"/>
                  <a:pt x="0" y="470"/>
                  <a:pt x="1" y="470"/>
                </a:cubicBezTo>
                <a:cubicBezTo>
                  <a:pt x="2" y="470"/>
                  <a:pt x="2" y="471"/>
                  <a:pt x="2" y="471"/>
                </a:cubicBezTo>
                <a:cubicBezTo>
                  <a:pt x="2" y="473"/>
                  <a:pt x="2" y="474"/>
                  <a:pt x="1" y="475"/>
                </a:cubicBezTo>
                <a:cubicBezTo>
                  <a:pt x="2" y="477"/>
                  <a:pt x="2" y="479"/>
                  <a:pt x="2" y="480"/>
                </a:cubicBezTo>
                <a:cubicBezTo>
                  <a:pt x="3" y="482"/>
                  <a:pt x="2" y="483"/>
                  <a:pt x="2" y="483"/>
                </a:cubicBezTo>
                <a:cubicBezTo>
                  <a:pt x="2" y="485"/>
                  <a:pt x="3" y="485"/>
                  <a:pt x="3" y="486"/>
                </a:cubicBezTo>
                <a:cubicBezTo>
                  <a:pt x="4" y="489"/>
                  <a:pt x="1" y="488"/>
                  <a:pt x="2" y="490"/>
                </a:cubicBezTo>
                <a:cubicBezTo>
                  <a:pt x="2" y="491"/>
                  <a:pt x="2" y="492"/>
                  <a:pt x="3" y="493"/>
                </a:cubicBezTo>
                <a:cubicBezTo>
                  <a:pt x="4" y="493"/>
                  <a:pt x="5" y="493"/>
                  <a:pt x="6" y="493"/>
                </a:cubicBezTo>
                <a:cubicBezTo>
                  <a:pt x="6" y="495"/>
                  <a:pt x="6" y="495"/>
                  <a:pt x="6" y="495"/>
                </a:cubicBezTo>
                <a:cubicBezTo>
                  <a:pt x="8" y="496"/>
                  <a:pt x="8" y="493"/>
                  <a:pt x="9" y="493"/>
                </a:cubicBezTo>
                <a:cubicBezTo>
                  <a:pt x="10" y="492"/>
                  <a:pt x="10" y="490"/>
                  <a:pt x="11" y="490"/>
                </a:cubicBezTo>
                <a:cubicBezTo>
                  <a:pt x="11" y="493"/>
                  <a:pt x="10" y="494"/>
                  <a:pt x="9" y="497"/>
                </a:cubicBezTo>
                <a:cubicBezTo>
                  <a:pt x="10" y="499"/>
                  <a:pt x="11" y="496"/>
                  <a:pt x="12" y="497"/>
                </a:cubicBezTo>
                <a:cubicBezTo>
                  <a:pt x="12" y="496"/>
                  <a:pt x="13" y="495"/>
                  <a:pt x="15" y="495"/>
                </a:cubicBezTo>
                <a:cubicBezTo>
                  <a:pt x="15" y="497"/>
                  <a:pt x="15" y="498"/>
                  <a:pt x="16" y="498"/>
                </a:cubicBezTo>
                <a:cubicBezTo>
                  <a:pt x="16" y="503"/>
                  <a:pt x="16" y="503"/>
                  <a:pt x="16" y="503"/>
                </a:cubicBezTo>
                <a:cubicBezTo>
                  <a:pt x="16" y="503"/>
                  <a:pt x="16" y="504"/>
                  <a:pt x="16" y="504"/>
                </a:cubicBezTo>
                <a:cubicBezTo>
                  <a:pt x="15" y="505"/>
                  <a:pt x="15" y="504"/>
                  <a:pt x="14" y="504"/>
                </a:cubicBezTo>
                <a:cubicBezTo>
                  <a:pt x="14" y="509"/>
                  <a:pt x="14" y="509"/>
                  <a:pt x="14" y="509"/>
                </a:cubicBezTo>
                <a:cubicBezTo>
                  <a:pt x="14" y="509"/>
                  <a:pt x="14" y="511"/>
                  <a:pt x="13" y="511"/>
                </a:cubicBezTo>
                <a:cubicBezTo>
                  <a:pt x="13" y="513"/>
                  <a:pt x="12" y="514"/>
                  <a:pt x="12" y="516"/>
                </a:cubicBezTo>
                <a:cubicBezTo>
                  <a:pt x="12" y="517"/>
                  <a:pt x="14" y="517"/>
                  <a:pt x="15" y="517"/>
                </a:cubicBezTo>
                <a:cubicBezTo>
                  <a:pt x="16" y="520"/>
                  <a:pt x="13" y="519"/>
                  <a:pt x="13" y="521"/>
                </a:cubicBezTo>
                <a:cubicBezTo>
                  <a:pt x="13" y="522"/>
                  <a:pt x="15" y="522"/>
                  <a:pt x="16" y="522"/>
                </a:cubicBezTo>
                <a:cubicBezTo>
                  <a:pt x="15" y="525"/>
                  <a:pt x="16" y="526"/>
                  <a:pt x="17" y="527"/>
                </a:cubicBezTo>
                <a:cubicBezTo>
                  <a:pt x="18" y="531"/>
                  <a:pt x="16" y="533"/>
                  <a:pt x="16" y="536"/>
                </a:cubicBezTo>
                <a:cubicBezTo>
                  <a:pt x="17" y="538"/>
                  <a:pt x="18" y="540"/>
                  <a:pt x="21" y="539"/>
                </a:cubicBezTo>
                <a:cubicBezTo>
                  <a:pt x="20" y="537"/>
                  <a:pt x="20" y="535"/>
                  <a:pt x="23" y="536"/>
                </a:cubicBezTo>
                <a:cubicBezTo>
                  <a:pt x="23" y="537"/>
                  <a:pt x="22" y="537"/>
                  <a:pt x="22" y="539"/>
                </a:cubicBezTo>
                <a:cubicBezTo>
                  <a:pt x="22" y="539"/>
                  <a:pt x="22" y="539"/>
                  <a:pt x="22" y="539"/>
                </a:cubicBezTo>
                <a:cubicBezTo>
                  <a:pt x="22" y="541"/>
                  <a:pt x="22" y="542"/>
                  <a:pt x="22" y="543"/>
                </a:cubicBezTo>
                <a:cubicBezTo>
                  <a:pt x="22" y="543"/>
                  <a:pt x="22" y="543"/>
                  <a:pt x="22" y="543"/>
                </a:cubicBezTo>
                <a:cubicBezTo>
                  <a:pt x="22" y="544"/>
                  <a:pt x="22" y="544"/>
                  <a:pt x="22" y="545"/>
                </a:cubicBezTo>
                <a:cubicBezTo>
                  <a:pt x="22" y="546"/>
                  <a:pt x="22" y="547"/>
                  <a:pt x="23" y="547"/>
                </a:cubicBezTo>
                <a:cubicBezTo>
                  <a:pt x="23" y="547"/>
                  <a:pt x="24" y="547"/>
                  <a:pt x="24" y="547"/>
                </a:cubicBezTo>
                <a:cubicBezTo>
                  <a:pt x="24" y="548"/>
                  <a:pt x="24" y="548"/>
                  <a:pt x="24" y="548"/>
                </a:cubicBezTo>
                <a:cubicBezTo>
                  <a:pt x="25" y="548"/>
                  <a:pt x="24" y="550"/>
                  <a:pt x="24" y="551"/>
                </a:cubicBezTo>
                <a:cubicBezTo>
                  <a:pt x="24" y="551"/>
                  <a:pt x="24" y="551"/>
                  <a:pt x="24" y="551"/>
                </a:cubicBezTo>
                <a:cubicBezTo>
                  <a:pt x="24" y="552"/>
                  <a:pt x="24" y="552"/>
                  <a:pt x="25" y="552"/>
                </a:cubicBezTo>
                <a:cubicBezTo>
                  <a:pt x="25" y="552"/>
                  <a:pt x="25" y="552"/>
                  <a:pt x="25" y="552"/>
                </a:cubicBezTo>
                <a:cubicBezTo>
                  <a:pt x="24" y="554"/>
                  <a:pt x="26" y="554"/>
                  <a:pt x="27" y="555"/>
                </a:cubicBezTo>
                <a:cubicBezTo>
                  <a:pt x="27" y="555"/>
                  <a:pt x="27" y="555"/>
                  <a:pt x="27" y="556"/>
                </a:cubicBezTo>
                <a:cubicBezTo>
                  <a:pt x="27" y="556"/>
                  <a:pt x="27" y="557"/>
                  <a:pt x="27" y="557"/>
                </a:cubicBezTo>
                <a:cubicBezTo>
                  <a:pt x="27" y="559"/>
                  <a:pt x="29" y="559"/>
                  <a:pt x="30" y="559"/>
                </a:cubicBezTo>
                <a:cubicBezTo>
                  <a:pt x="30" y="560"/>
                  <a:pt x="31" y="559"/>
                  <a:pt x="31" y="559"/>
                </a:cubicBezTo>
                <a:cubicBezTo>
                  <a:pt x="31" y="560"/>
                  <a:pt x="32" y="561"/>
                  <a:pt x="32" y="561"/>
                </a:cubicBezTo>
                <a:cubicBezTo>
                  <a:pt x="32" y="564"/>
                  <a:pt x="34" y="564"/>
                  <a:pt x="34" y="567"/>
                </a:cubicBezTo>
                <a:cubicBezTo>
                  <a:pt x="35" y="569"/>
                  <a:pt x="36" y="570"/>
                  <a:pt x="37" y="572"/>
                </a:cubicBezTo>
                <a:cubicBezTo>
                  <a:pt x="37" y="571"/>
                  <a:pt x="41" y="571"/>
                  <a:pt x="41" y="572"/>
                </a:cubicBezTo>
                <a:cubicBezTo>
                  <a:pt x="41" y="578"/>
                  <a:pt x="41" y="578"/>
                  <a:pt x="41" y="578"/>
                </a:cubicBezTo>
                <a:cubicBezTo>
                  <a:pt x="40" y="578"/>
                  <a:pt x="40" y="579"/>
                  <a:pt x="40" y="581"/>
                </a:cubicBezTo>
                <a:cubicBezTo>
                  <a:pt x="38" y="582"/>
                  <a:pt x="39" y="578"/>
                  <a:pt x="37" y="579"/>
                </a:cubicBezTo>
                <a:cubicBezTo>
                  <a:pt x="35" y="579"/>
                  <a:pt x="34" y="581"/>
                  <a:pt x="33" y="582"/>
                </a:cubicBezTo>
                <a:cubicBezTo>
                  <a:pt x="33" y="582"/>
                  <a:pt x="33" y="582"/>
                  <a:pt x="33" y="582"/>
                </a:cubicBezTo>
                <a:cubicBezTo>
                  <a:pt x="34" y="583"/>
                  <a:pt x="35" y="584"/>
                  <a:pt x="35" y="585"/>
                </a:cubicBezTo>
                <a:cubicBezTo>
                  <a:pt x="35" y="585"/>
                  <a:pt x="35" y="585"/>
                  <a:pt x="36" y="585"/>
                </a:cubicBezTo>
                <a:cubicBezTo>
                  <a:pt x="36" y="585"/>
                  <a:pt x="36" y="585"/>
                  <a:pt x="36" y="585"/>
                </a:cubicBezTo>
                <a:cubicBezTo>
                  <a:pt x="36" y="587"/>
                  <a:pt x="38" y="588"/>
                  <a:pt x="37" y="590"/>
                </a:cubicBezTo>
                <a:cubicBezTo>
                  <a:pt x="36" y="590"/>
                  <a:pt x="36" y="588"/>
                  <a:pt x="34" y="588"/>
                </a:cubicBezTo>
                <a:cubicBezTo>
                  <a:pt x="34" y="587"/>
                  <a:pt x="32" y="588"/>
                  <a:pt x="32" y="587"/>
                </a:cubicBezTo>
                <a:cubicBezTo>
                  <a:pt x="32" y="586"/>
                  <a:pt x="31" y="586"/>
                  <a:pt x="30" y="586"/>
                </a:cubicBezTo>
                <a:cubicBezTo>
                  <a:pt x="29" y="586"/>
                  <a:pt x="30" y="588"/>
                  <a:pt x="30" y="589"/>
                </a:cubicBezTo>
                <a:cubicBezTo>
                  <a:pt x="30" y="589"/>
                  <a:pt x="31" y="589"/>
                  <a:pt x="31" y="590"/>
                </a:cubicBezTo>
                <a:cubicBezTo>
                  <a:pt x="31" y="591"/>
                  <a:pt x="31" y="591"/>
                  <a:pt x="31" y="592"/>
                </a:cubicBezTo>
                <a:cubicBezTo>
                  <a:pt x="31" y="592"/>
                  <a:pt x="31" y="592"/>
                  <a:pt x="32" y="592"/>
                </a:cubicBezTo>
                <a:cubicBezTo>
                  <a:pt x="31" y="593"/>
                  <a:pt x="31" y="595"/>
                  <a:pt x="32" y="595"/>
                </a:cubicBezTo>
                <a:cubicBezTo>
                  <a:pt x="32" y="596"/>
                  <a:pt x="32" y="596"/>
                  <a:pt x="32" y="596"/>
                </a:cubicBezTo>
                <a:cubicBezTo>
                  <a:pt x="33" y="597"/>
                  <a:pt x="34" y="597"/>
                  <a:pt x="34" y="598"/>
                </a:cubicBezTo>
                <a:cubicBezTo>
                  <a:pt x="35" y="598"/>
                  <a:pt x="36" y="600"/>
                  <a:pt x="36" y="601"/>
                </a:cubicBezTo>
                <a:cubicBezTo>
                  <a:pt x="36" y="601"/>
                  <a:pt x="37" y="601"/>
                  <a:pt x="37" y="602"/>
                </a:cubicBezTo>
                <a:cubicBezTo>
                  <a:pt x="36" y="603"/>
                  <a:pt x="37" y="603"/>
                  <a:pt x="37" y="605"/>
                </a:cubicBezTo>
                <a:cubicBezTo>
                  <a:pt x="38" y="605"/>
                  <a:pt x="38" y="605"/>
                  <a:pt x="38" y="605"/>
                </a:cubicBezTo>
                <a:cubicBezTo>
                  <a:pt x="38" y="606"/>
                  <a:pt x="38" y="606"/>
                  <a:pt x="38" y="607"/>
                </a:cubicBezTo>
                <a:cubicBezTo>
                  <a:pt x="38" y="607"/>
                  <a:pt x="38" y="607"/>
                  <a:pt x="38" y="607"/>
                </a:cubicBezTo>
                <a:cubicBezTo>
                  <a:pt x="38" y="608"/>
                  <a:pt x="41" y="608"/>
                  <a:pt x="40" y="610"/>
                </a:cubicBezTo>
                <a:cubicBezTo>
                  <a:pt x="40" y="610"/>
                  <a:pt x="40" y="610"/>
                  <a:pt x="40" y="610"/>
                </a:cubicBezTo>
                <a:cubicBezTo>
                  <a:pt x="41" y="610"/>
                  <a:pt x="41" y="611"/>
                  <a:pt x="41" y="611"/>
                </a:cubicBezTo>
                <a:cubicBezTo>
                  <a:pt x="40" y="611"/>
                  <a:pt x="40" y="611"/>
                  <a:pt x="39" y="612"/>
                </a:cubicBezTo>
                <a:cubicBezTo>
                  <a:pt x="40" y="612"/>
                  <a:pt x="40" y="613"/>
                  <a:pt x="41" y="613"/>
                </a:cubicBezTo>
                <a:cubicBezTo>
                  <a:pt x="41" y="613"/>
                  <a:pt x="42" y="613"/>
                  <a:pt x="41" y="614"/>
                </a:cubicBezTo>
                <a:cubicBezTo>
                  <a:pt x="42" y="615"/>
                  <a:pt x="43" y="614"/>
                  <a:pt x="44" y="614"/>
                </a:cubicBezTo>
                <a:cubicBezTo>
                  <a:pt x="44" y="615"/>
                  <a:pt x="44" y="615"/>
                  <a:pt x="44" y="615"/>
                </a:cubicBezTo>
                <a:cubicBezTo>
                  <a:pt x="44" y="617"/>
                  <a:pt x="44" y="617"/>
                  <a:pt x="44" y="617"/>
                </a:cubicBezTo>
                <a:cubicBezTo>
                  <a:pt x="44" y="618"/>
                  <a:pt x="44" y="618"/>
                  <a:pt x="44" y="618"/>
                </a:cubicBezTo>
                <a:cubicBezTo>
                  <a:pt x="43" y="619"/>
                  <a:pt x="42" y="618"/>
                  <a:pt x="41" y="619"/>
                </a:cubicBezTo>
                <a:cubicBezTo>
                  <a:pt x="41" y="620"/>
                  <a:pt x="41" y="621"/>
                  <a:pt x="40" y="621"/>
                </a:cubicBezTo>
                <a:cubicBezTo>
                  <a:pt x="40" y="622"/>
                  <a:pt x="40" y="623"/>
                  <a:pt x="41" y="624"/>
                </a:cubicBezTo>
                <a:cubicBezTo>
                  <a:pt x="41" y="625"/>
                  <a:pt x="42" y="625"/>
                  <a:pt x="41" y="626"/>
                </a:cubicBezTo>
                <a:cubicBezTo>
                  <a:pt x="41" y="629"/>
                  <a:pt x="39" y="626"/>
                  <a:pt x="37" y="626"/>
                </a:cubicBezTo>
                <a:cubicBezTo>
                  <a:pt x="38" y="628"/>
                  <a:pt x="38" y="630"/>
                  <a:pt x="41" y="630"/>
                </a:cubicBezTo>
                <a:cubicBezTo>
                  <a:pt x="43" y="630"/>
                  <a:pt x="43" y="631"/>
                  <a:pt x="45" y="631"/>
                </a:cubicBezTo>
                <a:cubicBezTo>
                  <a:pt x="45" y="631"/>
                  <a:pt x="45" y="631"/>
                  <a:pt x="45" y="631"/>
                </a:cubicBezTo>
                <a:cubicBezTo>
                  <a:pt x="46" y="630"/>
                  <a:pt x="47" y="631"/>
                  <a:pt x="48" y="632"/>
                </a:cubicBezTo>
                <a:cubicBezTo>
                  <a:pt x="48" y="632"/>
                  <a:pt x="48" y="632"/>
                  <a:pt x="48" y="632"/>
                </a:cubicBezTo>
                <a:cubicBezTo>
                  <a:pt x="49" y="632"/>
                  <a:pt x="50" y="632"/>
                  <a:pt x="50" y="633"/>
                </a:cubicBezTo>
                <a:cubicBezTo>
                  <a:pt x="50" y="633"/>
                  <a:pt x="51" y="633"/>
                  <a:pt x="51" y="633"/>
                </a:cubicBezTo>
                <a:cubicBezTo>
                  <a:pt x="52" y="633"/>
                  <a:pt x="53" y="632"/>
                  <a:pt x="54" y="633"/>
                </a:cubicBezTo>
                <a:cubicBezTo>
                  <a:pt x="54" y="632"/>
                  <a:pt x="54" y="632"/>
                  <a:pt x="55" y="632"/>
                </a:cubicBezTo>
                <a:cubicBezTo>
                  <a:pt x="56" y="632"/>
                  <a:pt x="56" y="631"/>
                  <a:pt x="57" y="631"/>
                </a:cubicBezTo>
                <a:cubicBezTo>
                  <a:pt x="57" y="630"/>
                  <a:pt x="57" y="630"/>
                  <a:pt x="57" y="630"/>
                </a:cubicBezTo>
                <a:cubicBezTo>
                  <a:pt x="58" y="631"/>
                  <a:pt x="60" y="630"/>
                  <a:pt x="60" y="629"/>
                </a:cubicBezTo>
                <a:cubicBezTo>
                  <a:pt x="60" y="629"/>
                  <a:pt x="60" y="629"/>
                  <a:pt x="61" y="629"/>
                </a:cubicBezTo>
                <a:cubicBezTo>
                  <a:pt x="62" y="628"/>
                  <a:pt x="63" y="628"/>
                  <a:pt x="64" y="628"/>
                </a:cubicBezTo>
                <a:cubicBezTo>
                  <a:pt x="65" y="628"/>
                  <a:pt x="66" y="629"/>
                  <a:pt x="67" y="628"/>
                </a:cubicBezTo>
                <a:cubicBezTo>
                  <a:pt x="68" y="628"/>
                  <a:pt x="69" y="629"/>
                  <a:pt x="70" y="630"/>
                </a:cubicBezTo>
                <a:cubicBezTo>
                  <a:pt x="71" y="630"/>
                  <a:pt x="72" y="630"/>
                  <a:pt x="73" y="630"/>
                </a:cubicBezTo>
                <a:cubicBezTo>
                  <a:pt x="76" y="630"/>
                  <a:pt x="78" y="628"/>
                  <a:pt x="78" y="625"/>
                </a:cubicBezTo>
                <a:cubicBezTo>
                  <a:pt x="79" y="625"/>
                  <a:pt x="80" y="624"/>
                  <a:pt x="80" y="623"/>
                </a:cubicBezTo>
                <a:cubicBezTo>
                  <a:pt x="80" y="621"/>
                  <a:pt x="80" y="620"/>
                  <a:pt x="79" y="619"/>
                </a:cubicBezTo>
                <a:cubicBezTo>
                  <a:pt x="79" y="619"/>
                  <a:pt x="79" y="619"/>
                  <a:pt x="79" y="619"/>
                </a:cubicBezTo>
                <a:cubicBezTo>
                  <a:pt x="79" y="619"/>
                  <a:pt x="79" y="619"/>
                  <a:pt x="79" y="619"/>
                </a:cubicBezTo>
                <a:cubicBezTo>
                  <a:pt x="79" y="617"/>
                  <a:pt x="77" y="617"/>
                  <a:pt x="77" y="616"/>
                </a:cubicBezTo>
                <a:cubicBezTo>
                  <a:pt x="77" y="615"/>
                  <a:pt x="77" y="615"/>
                  <a:pt x="77" y="615"/>
                </a:cubicBezTo>
                <a:cubicBezTo>
                  <a:pt x="76" y="615"/>
                  <a:pt x="76" y="615"/>
                  <a:pt x="76" y="614"/>
                </a:cubicBezTo>
                <a:cubicBezTo>
                  <a:pt x="75" y="610"/>
                  <a:pt x="77" y="608"/>
                  <a:pt x="78" y="606"/>
                </a:cubicBezTo>
                <a:cubicBezTo>
                  <a:pt x="78" y="606"/>
                  <a:pt x="78" y="606"/>
                  <a:pt x="78" y="606"/>
                </a:cubicBezTo>
                <a:cubicBezTo>
                  <a:pt x="78" y="605"/>
                  <a:pt x="80" y="605"/>
                  <a:pt x="80" y="603"/>
                </a:cubicBezTo>
                <a:cubicBezTo>
                  <a:pt x="80" y="603"/>
                  <a:pt x="80" y="603"/>
                  <a:pt x="80" y="603"/>
                </a:cubicBezTo>
                <a:cubicBezTo>
                  <a:pt x="81" y="603"/>
                  <a:pt x="81" y="602"/>
                  <a:pt x="81" y="602"/>
                </a:cubicBezTo>
                <a:cubicBezTo>
                  <a:pt x="83" y="602"/>
                  <a:pt x="83" y="601"/>
                  <a:pt x="83" y="600"/>
                </a:cubicBezTo>
                <a:cubicBezTo>
                  <a:pt x="84" y="600"/>
                  <a:pt x="84" y="600"/>
                  <a:pt x="85" y="601"/>
                </a:cubicBezTo>
                <a:cubicBezTo>
                  <a:pt x="85" y="601"/>
                  <a:pt x="85" y="601"/>
                  <a:pt x="85" y="601"/>
                </a:cubicBezTo>
                <a:cubicBezTo>
                  <a:pt x="86" y="601"/>
                  <a:pt x="86" y="602"/>
                  <a:pt x="87" y="602"/>
                </a:cubicBezTo>
                <a:cubicBezTo>
                  <a:pt x="89" y="602"/>
                  <a:pt x="88" y="600"/>
                  <a:pt x="90" y="599"/>
                </a:cubicBezTo>
                <a:cubicBezTo>
                  <a:pt x="90" y="599"/>
                  <a:pt x="90" y="598"/>
                  <a:pt x="90" y="598"/>
                </a:cubicBezTo>
                <a:cubicBezTo>
                  <a:pt x="90" y="598"/>
                  <a:pt x="90" y="598"/>
                  <a:pt x="90" y="598"/>
                </a:cubicBezTo>
                <a:cubicBezTo>
                  <a:pt x="89" y="598"/>
                  <a:pt x="90" y="597"/>
                  <a:pt x="90" y="597"/>
                </a:cubicBezTo>
                <a:cubicBezTo>
                  <a:pt x="89" y="597"/>
                  <a:pt x="89" y="597"/>
                  <a:pt x="89" y="597"/>
                </a:cubicBezTo>
                <a:cubicBezTo>
                  <a:pt x="89" y="597"/>
                  <a:pt x="89" y="596"/>
                  <a:pt x="89" y="596"/>
                </a:cubicBezTo>
                <a:cubicBezTo>
                  <a:pt x="89" y="596"/>
                  <a:pt x="88" y="596"/>
                  <a:pt x="88" y="595"/>
                </a:cubicBezTo>
                <a:cubicBezTo>
                  <a:pt x="88" y="595"/>
                  <a:pt x="87" y="594"/>
                  <a:pt x="88" y="594"/>
                </a:cubicBezTo>
                <a:cubicBezTo>
                  <a:pt x="89" y="595"/>
                  <a:pt x="90" y="595"/>
                  <a:pt x="91" y="595"/>
                </a:cubicBezTo>
                <a:cubicBezTo>
                  <a:pt x="93" y="595"/>
                  <a:pt x="92" y="593"/>
                  <a:pt x="94" y="594"/>
                </a:cubicBezTo>
                <a:cubicBezTo>
                  <a:pt x="95" y="594"/>
                  <a:pt x="95" y="594"/>
                  <a:pt x="95" y="594"/>
                </a:cubicBezTo>
                <a:cubicBezTo>
                  <a:pt x="96" y="593"/>
                  <a:pt x="97" y="594"/>
                  <a:pt x="98" y="594"/>
                </a:cubicBezTo>
                <a:cubicBezTo>
                  <a:pt x="99" y="594"/>
                  <a:pt x="100" y="594"/>
                  <a:pt x="100" y="594"/>
                </a:cubicBezTo>
                <a:cubicBezTo>
                  <a:pt x="101" y="594"/>
                  <a:pt x="101" y="595"/>
                  <a:pt x="102" y="595"/>
                </a:cubicBezTo>
                <a:cubicBezTo>
                  <a:pt x="103" y="595"/>
                  <a:pt x="107" y="593"/>
                  <a:pt x="107" y="596"/>
                </a:cubicBezTo>
                <a:cubicBezTo>
                  <a:pt x="108" y="596"/>
                  <a:pt x="108" y="598"/>
                  <a:pt x="110" y="597"/>
                </a:cubicBezTo>
                <a:cubicBezTo>
                  <a:pt x="110" y="596"/>
                  <a:pt x="111" y="596"/>
                  <a:pt x="111" y="596"/>
                </a:cubicBezTo>
                <a:cubicBezTo>
                  <a:pt x="112" y="593"/>
                  <a:pt x="109" y="595"/>
                  <a:pt x="109" y="594"/>
                </a:cubicBezTo>
                <a:cubicBezTo>
                  <a:pt x="109" y="594"/>
                  <a:pt x="108" y="593"/>
                  <a:pt x="109" y="593"/>
                </a:cubicBezTo>
                <a:cubicBezTo>
                  <a:pt x="109" y="593"/>
                  <a:pt x="109" y="593"/>
                  <a:pt x="110" y="593"/>
                </a:cubicBezTo>
                <a:cubicBezTo>
                  <a:pt x="112" y="592"/>
                  <a:pt x="111" y="595"/>
                  <a:pt x="113" y="595"/>
                </a:cubicBezTo>
                <a:cubicBezTo>
                  <a:pt x="113" y="596"/>
                  <a:pt x="114" y="595"/>
                  <a:pt x="114" y="596"/>
                </a:cubicBezTo>
                <a:cubicBezTo>
                  <a:pt x="115" y="596"/>
                  <a:pt x="115" y="596"/>
                  <a:pt x="116" y="596"/>
                </a:cubicBezTo>
                <a:cubicBezTo>
                  <a:pt x="117" y="597"/>
                  <a:pt x="117" y="596"/>
                  <a:pt x="117" y="595"/>
                </a:cubicBezTo>
                <a:cubicBezTo>
                  <a:pt x="118" y="595"/>
                  <a:pt x="119" y="594"/>
                  <a:pt x="119" y="594"/>
                </a:cubicBezTo>
                <a:cubicBezTo>
                  <a:pt x="118" y="593"/>
                  <a:pt x="119" y="593"/>
                  <a:pt x="119" y="593"/>
                </a:cubicBezTo>
                <a:cubicBezTo>
                  <a:pt x="120" y="593"/>
                  <a:pt x="119" y="592"/>
                  <a:pt x="119" y="591"/>
                </a:cubicBezTo>
                <a:cubicBezTo>
                  <a:pt x="120" y="591"/>
                  <a:pt x="121" y="591"/>
                  <a:pt x="121" y="591"/>
                </a:cubicBezTo>
                <a:cubicBezTo>
                  <a:pt x="121" y="590"/>
                  <a:pt x="120" y="589"/>
                  <a:pt x="122" y="589"/>
                </a:cubicBezTo>
                <a:cubicBezTo>
                  <a:pt x="122" y="588"/>
                  <a:pt x="122" y="588"/>
                  <a:pt x="122" y="587"/>
                </a:cubicBezTo>
                <a:cubicBezTo>
                  <a:pt x="121" y="585"/>
                  <a:pt x="123" y="585"/>
                  <a:pt x="122" y="582"/>
                </a:cubicBezTo>
                <a:cubicBezTo>
                  <a:pt x="122" y="582"/>
                  <a:pt x="122" y="582"/>
                  <a:pt x="123" y="582"/>
                </a:cubicBezTo>
                <a:cubicBezTo>
                  <a:pt x="123" y="581"/>
                  <a:pt x="123" y="580"/>
                  <a:pt x="123" y="579"/>
                </a:cubicBezTo>
                <a:cubicBezTo>
                  <a:pt x="124" y="579"/>
                  <a:pt x="124" y="578"/>
                  <a:pt x="124" y="578"/>
                </a:cubicBezTo>
                <a:cubicBezTo>
                  <a:pt x="125" y="577"/>
                  <a:pt x="124" y="575"/>
                  <a:pt x="125" y="575"/>
                </a:cubicBezTo>
                <a:cubicBezTo>
                  <a:pt x="125" y="573"/>
                  <a:pt x="126" y="573"/>
                  <a:pt x="126" y="571"/>
                </a:cubicBezTo>
                <a:cubicBezTo>
                  <a:pt x="126" y="571"/>
                  <a:pt x="127" y="571"/>
                  <a:pt x="128" y="571"/>
                </a:cubicBezTo>
                <a:cubicBezTo>
                  <a:pt x="128" y="569"/>
                  <a:pt x="128" y="568"/>
                  <a:pt x="128" y="566"/>
                </a:cubicBezTo>
                <a:cubicBezTo>
                  <a:pt x="129" y="566"/>
                  <a:pt x="128" y="564"/>
                  <a:pt x="129" y="564"/>
                </a:cubicBezTo>
                <a:cubicBezTo>
                  <a:pt x="129" y="564"/>
                  <a:pt x="130" y="564"/>
                  <a:pt x="131" y="564"/>
                </a:cubicBezTo>
                <a:cubicBezTo>
                  <a:pt x="131" y="563"/>
                  <a:pt x="130" y="562"/>
                  <a:pt x="130" y="562"/>
                </a:cubicBezTo>
                <a:cubicBezTo>
                  <a:pt x="130" y="562"/>
                  <a:pt x="129" y="562"/>
                  <a:pt x="130" y="562"/>
                </a:cubicBezTo>
                <a:cubicBezTo>
                  <a:pt x="130" y="560"/>
                  <a:pt x="130" y="559"/>
                  <a:pt x="130" y="557"/>
                </a:cubicBezTo>
                <a:cubicBezTo>
                  <a:pt x="130" y="556"/>
                  <a:pt x="131" y="554"/>
                  <a:pt x="129" y="554"/>
                </a:cubicBezTo>
                <a:cubicBezTo>
                  <a:pt x="130" y="552"/>
                  <a:pt x="132" y="552"/>
                  <a:pt x="132" y="550"/>
                </a:cubicBezTo>
                <a:cubicBezTo>
                  <a:pt x="132" y="549"/>
                  <a:pt x="132" y="549"/>
                  <a:pt x="132" y="548"/>
                </a:cubicBezTo>
                <a:cubicBezTo>
                  <a:pt x="132" y="548"/>
                  <a:pt x="131" y="548"/>
                  <a:pt x="131" y="548"/>
                </a:cubicBezTo>
                <a:cubicBezTo>
                  <a:pt x="131" y="547"/>
                  <a:pt x="130" y="546"/>
                  <a:pt x="130" y="546"/>
                </a:cubicBezTo>
                <a:cubicBezTo>
                  <a:pt x="130" y="543"/>
                  <a:pt x="132" y="544"/>
                  <a:pt x="131" y="541"/>
                </a:cubicBezTo>
                <a:cubicBezTo>
                  <a:pt x="132" y="540"/>
                  <a:pt x="133" y="540"/>
                  <a:pt x="133" y="538"/>
                </a:cubicBezTo>
                <a:cubicBezTo>
                  <a:pt x="134" y="536"/>
                  <a:pt x="135" y="534"/>
                  <a:pt x="135" y="530"/>
                </a:cubicBezTo>
                <a:cubicBezTo>
                  <a:pt x="134" y="529"/>
                  <a:pt x="132" y="528"/>
                  <a:pt x="130" y="528"/>
                </a:cubicBezTo>
                <a:cubicBezTo>
                  <a:pt x="130" y="527"/>
                  <a:pt x="131" y="528"/>
                  <a:pt x="131" y="527"/>
                </a:cubicBezTo>
                <a:cubicBezTo>
                  <a:pt x="132" y="527"/>
                  <a:pt x="133" y="527"/>
                  <a:pt x="133" y="527"/>
                </a:cubicBezTo>
                <a:cubicBezTo>
                  <a:pt x="134" y="528"/>
                  <a:pt x="135" y="527"/>
                  <a:pt x="135" y="526"/>
                </a:cubicBezTo>
                <a:cubicBezTo>
                  <a:pt x="135" y="525"/>
                  <a:pt x="134" y="525"/>
                  <a:pt x="134" y="526"/>
                </a:cubicBezTo>
                <a:cubicBezTo>
                  <a:pt x="133" y="526"/>
                  <a:pt x="133" y="525"/>
                  <a:pt x="133" y="525"/>
                </a:cubicBezTo>
                <a:cubicBezTo>
                  <a:pt x="133" y="524"/>
                  <a:pt x="133" y="523"/>
                  <a:pt x="133" y="522"/>
                </a:cubicBezTo>
                <a:cubicBezTo>
                  <a:pt x="135" y="522"/>
                  <a:pt x="135" y="519"/>
                  <a:pt x="135" y="518"/>
                </a:cubicBezTo>
                <a:cubicBezTo>
                  <a:pt x="136" y="516"/>
                  <a:pt x="132" y="518"/>
                  <a:pt x="132" y="516"/>
                </a:cubicBezTo>
                <a:cubicBezTo>
                  <a:pt x="130" y="517"/>
                  <a:pt x="130" y="515"/>
                  <a:pt x="129" y="516"/>
                </a:cubicBezTo>
                <a:cubicBezTo>
                  <a:pt x="129" y="515"/>
                  <a:pt x="130" y="515"/>
                  <a:pt x="131" y="515"/>
                </a:cubicBezTo>
                <a:cubicBezTo>
                  <a:pt x="130" y="514"/>
                  <a:pt x="131" y="511"/>
                  <a:pt x="130" y="511"/>
                </a:cubicBezTo>
                <a:cubicBezTo>
                  <a:pt x="130" y="510"/>
                  <a:pt x="127" y="510"/>
                  <a:pt x="129" y="509"/>
                </a:cubicBezTo>
                <a:cubicBezTo>
                  <a:pt x="131" y="509"/>
                  <a:pt x="131" y="510"/>
                  <a:pt x="132" y="511"/>
                </a:cubicBezTo>
                <a:cubicBezTo>
                  <a:pt x="132" y="513"/>
                  <a:pt x="133" y="513"/>
                  <a:pt x="133" y="514"/>
                </a:cubicBezTo>
                <a:cubicBezTo>
                  <a:pt x="134" y="514"/>
                  <a:pt x="134" y="513"/>
                  <a:pt x="134" y="513"/>
                </a:cubicBezTo>
                <a:cubicBezTo>
                  <a:pt x="135" y="513"/>
                  <a:pt x="135" y="513"/>
                  <a:pt x="135" y="512"/>
                </a:cubicBezTo>
                <a:cubicBezTo>
                  <a:pt x="135" y="511"/>
                  <a:pt x="135" y="509"/>
                  <a:pt x="135" y="508"/>
                </a:cubicBezTo>
                <a:cubicBezTo>
                  <a:pt x="136" y="507"/>
                  <a:pt x="136" y="507"/>
                  <a:pt x="136" y="506"/>
                </a:cubicBezTo>
                <a:cubicBezTo>
                  <a:pt x="135" y="505"/>
                  <a:pt x="136" y="503"/>
                  <a:pt x="133" y="504"/>
                </a:cubicBezTo>
                <a:cubicBezTo>
                  <a:pt x="133" y="503"/>
                  <a:pt x="132" y="503"/>
                  <a:pt x="132" y="502"/>
                </a:cubicBezTo>
                <a:cubicBezTo>
                  <a:pt x="132" y="502"/>
                  <a:pt x="131" y="502"/>
                  <a:pt x="131" y="501"/>
                </a:cubicBezTo>
                <a:cubicBezTo>
                  <a:pt x="131" y="498"/>
                  <a:pt x="133" y="501"/>
                  <a:pt x="133" y="502"/>
                </a:cubicBezTo>
                <a:cubicBezTo>
                  <a:pt x="136" y="501"/>
                  <a:pt x="135" y="503"/>
                  <a:pt x="137" y="504"/>
                </a:cubicBezTo>
                <a:cubicBezTo>
                  <a:pt x="138" y="502"/>
                  <a:pt x="137" y="502"/>
                  <a:pt x="137" y="501"/>
                </a:cubicBezTo>
                <a:cubicBezTo>
                  <a:pt x="137" y="500"/>
                  <a:pt x="136" y="500"/>
                  <a:pt x="135" y="499"/>
                </a:cubicBezTo>
                <a:cubicBezTo>
                  <a:pt x="136" y="497"/>
                  <a:pt x="134" y="496"/>
                  <a:pt x="135" y="494"/>
                </a:cubicBezTo>
                <a:cubicBezTo>
                  <a:pt x="135" y="493"/>
                  <a:pt x="134" y="493"/>
                  <a:pt x="133" y="493"/>
                </a:cubicBezTo>
                <a:cubicBezTo>
                  <a:pt x="133" y="490"/>
                  <a:pt x="133" y="490"/>
                  <a:pt x="133" y="490"/>
                </a:cubicBezTo>
                <a:cubicBezTo>
                  <a:pt x="133" y="489"/>
                  <a:pt x="132" y="489"/>
                  <a:pt x="132" y="488"/>
                </a:cubicBezTo>
                <a:cubicBezTo>
                  <a:pt x="131" y="488"/>
                  <a:pt x="131" y="488"/>
                  <a:pt x="131" y="487"/>
                </a:cubicBezTo>
                <a:cubicBezTo>
                  <a:pt x="131" y="487"/>
                  <a:pt x="132" y="487"/>
                  <a:pt x="132" y="488"/>
                </a:cubicBezTo>
                <a:cubicBezTo>
                  <a:pt x="133" y="488"/>
                  <a:pt x="133" y="489"/>
                  <a:pt x="134" y="489"/>
                </a:cubicBezTo>
                <a:cubicBezTo>
                  <a:pt x="136" y="489"/>
                  <a:pt x="137" y="488"/>
                  <a:pt x="138" y="487"/>
                </a:cubicBezTo>
                <a:cubicBezTo>
                  <a:pt x="138" y="487"/>
                  <a:pt x="138" y="486"/>
                  <a:pt x="139" y="486"/>
                </a:cubicBezTo>
                <a:cubicBezTo>
                  <a:pt x="139" y="486"/>
                  <a:pt x="139" y="486"/>
                  <a:pt x="139" y="486"/>
                </a:cubicBezTo>
                <a:cubicBezTo>
                  <a:pt x="139" y="486"/>
                  <a:pt x="138" y="485"/>
                  <a:pt x="138" y="485"/>
                </a:cubicBezTo>
                <a:cubicBezTo>
                  <a:pt x="137" y="483"/>
                  <a:pt x="135" y="482"/>
                  <a:pt x="133" y="481"/>
                </a:cubicBezTo>
                <a:cubicBezTo>
                  <a:pt x="129" y="481"/>
                  <a:pt x="129" y="481"/>
                  <a:pt x="129" y="481"/>
                </a:cubicBezTo>
                <a:cubicBezTo>
                  <a:pt x="127" y="481"/>
                  <a:pt x="127" y="480"/>
                  <a:pt x="126" y="480"/>
                </a:cubicBezTo>
                <a:cubicBezTo>
                  <a:pt x="125" y="480"/>
                  <a:pt x="121" y="481"/>
                  <a:pt x="122" y="479"/>
                </a:cubicBezTo>
                <a:cubicBezTo>
                  <a:pt x="126" y="479"/>
                  <a:pt x="130" y="480"/>
                  <a:pt x="135" y="480"/>
                </a:cubicBezTo>
                <a:cubicBezTo>
                  <a:pt x="135" y="481"/>
                  <a:pt x="136" y="481"/>
                  <a:pt x="136" y="481"/>
                </a:cubicBezTo>
                <a:cubicBezTo>
                  <a:pt x="137" y="481"/>
                  <a:pt x="137" y="481"/>
                  <a:pt x="137" y="481"/>
                </a:cubicBezTo>
                <a:cubicBezTo>
                  <a:pt x="138" y="481"/>
                  <a:pt x="138" y="481"/>
                  <a:pt x="138" y="481"/>
                </a:cubicBezTo>
                <a:cubicBezTo>
                  <a:pt x="138" y="481"/>
                  <a:pt x="139" y="481"/>
                  <a:pt x="140" y="481"/>
                </a:cubicBezTo>
                <a:cubicBezTo>
                  <a:pt x="140" y="481"/>
                  <a:pt x="140" y="480"/>
                  <a:pt x="141" y="480"/>
                </a:cubicBezTo>
                <a:cubicBezTo>
                  <a:pt x="142" y="478"/>
                  <a:pt x="139" y="479"/>
                  <a:pt x="140" y="477"/>
                </a:cubicBezTo>
                <a:cubicBezTo>
                  <a:pt x="141" y="476"/>
                  <a:pt x="142" y="478"/>
                  <a:pt x="143" y="478"/>
                </a:cubicBezTo>
                <a:cubicBezTo>
                  <a:pt x="144" y="476"/>
                  <a:pt x="142" y="476"/>
                  <a:pt x="142" y="474"/>
                </a:cubicBezTo>
                <a:cubicBezTo>
                  <a:pt x="142" y="473"/>
                  <a:pt x="140" y="474"/>
                  <a:pt x="140" y="472"/>
                </a:cubicBezTo>
                <a:cubicBezTo>
                  <a:pt x="141" y="472"/>
                  <a:pt x="141" y="473"/>
                  <a:pt x="142" y="473"/>
                </a:cubicBezTo>
                <a:cubicBezTo>
                  <a:pt x="143" y="474"/>
                  <a:pt x="144" y="474"/>
                  <a:pt x="144" y="474"/>
                </a:cubicBezTo>
                <a:cubicBezTo>
                  <a:pt x="145" y="474"/>
                  <a:pt x="144" y="474"/>
                  <a:pt x="145" y="473"/>
                </a:cubicBezTo>
                <a:cubicBezTo>
                  <a:pt x="146" y="473"/>
                  <a:pt x="146" y="473"/>
                  <a:pt x="146" y="473"/>
                </a:cubicBezTo>
                <a:cubicBezTo>
                  <a:pt x="146" y="474"/>
                  <a:pt x="147" y="474"/>
                  <a:pt x="147" y="474"/>
                </a:cubicBezTo>
                <a:cubicBezTo>
                  <a:pt x="147" y="474"/>
                  <a:pt x="148" y="474"/>
                  <a:pt x="148" y="474"/>
                </a:cubicBezTo>
                <a:cubicBezTo>
                  <a:pt x="150" y="474"/>
                  <a:pt x="149" y="477"/>
                  <a:pt x="151" y="477"/>
                </a:cubicBezTo>
                <a:cubicBezTo>
                  <a:pt x="153" y="476"/>
                  <a:pt x="151" y="474"/>
                  <a:pt x="150" y="474"/>
                </a:cubicBezTo>
                <a:cubicBezTo>
                  <a:pt x="150" y="474"/>
                  <a:pt x="149" y="473"/>
                  <a:pt x="149" y="472"/>
                </a:cubicBezTo>
                <a:cubicBezTo>
                  <a:pt x="148" y="471"/>
                  <a:pt x="149" y="471"/>
                  <a:pt x="150" y="471"/>
                </a:cubicBezTo>
                <a:cubicBezTo>
                  <a:pt x="150" y="469"/>
                  <a:pt x="149" y="469"/>
                  <a:pt x="149" y="467"/>
                </a:cubicBezTo>
                <a:cubicBezTo>
                  <a:pt x="151" y="467"/>
                  <a:pt x="152" y="469"/>
                  <a:pt x="152" y="470"/>
                </a:cubicBezTo>
                <a:cubicBezTo>
                  <a:pt x="154" y="469"/>
                  <a:pt x="154" y="471"/>
                  <a:pt x="156" y="470"/>
                </a:cubicBezTo>
                <a:cubicBezTo>
                  <a:pt x="156" y="468"/>
                  <a:pt x="154" y="469"/>
                  <a:pt x="154" y="469"/>
                </a:cubicBezTo>
                <a:cubicBezTo>
                  <a:pt x="154" y="469"/>
                  <a:pt x="154" y="468"/>
                  <a:pt x="154" y="468"/>
                </a:cubicBezTo>
                <a:cubicBezTo>
                  <a:pt x="153" y="468"/>
                  <a:pt x="153" y="468"/>
                  <a:pt x="152" y="467"/>
                </a:cubicBezTo>
                <a:cubicBezTo>
                  <a:pt x="152" y="467"/>
                  <a:pt x="152" y="467"/>
                  <a:pt x="152" y="467"/>
                </a:cubicBezTo>
                <a:cubicBezTo>
                  <a:pt x="152" y="466"/>
                  <a:pt x="152" y="465"/>
                  <a:pt x="152" y="464"/>
                </a:cubicBezTo>
                <a:cubicBezTo>
                  <a:pt x="153" y="464"/>
                  <a:pt x="153" y="464"/>
                  <a:pt x="153" y="463"/>
                </a:cubicBezTo>
                <a:cubicBezTo>
                  <a:pt x="153" y="463"/>
                  <a:pt x="153" y="462"/>
                  <a:pt x="153" y="461"/>
                </a:cubicBezTo>
                <a:cubicBezTo>
                  <a:pt x="153" y="461"/>
                  <a:pt x="152" y="461"/>
                  <a:pt x="152" y="461"/>
                </a:cubicBezTo>
                <a:cubicBezTo>
                  <a:pt x="152" y="460"/>
                  <a:pt x="153" y="460"/>
                  <a:pt x="153" y="459"/>
                </a:cubicBezTo>
                <a:cubicBezTo>
                  <a:pt x="154" y="459"/>
                  <a:pt x="153" y="462"/>
                  <a:pt x="154" y="463"/>
                </a:cubicBezTo>
                <a:cubicBezTo>
                  <a:pt x="154" y="465"/>
                  <a:pt x="153" y="465"/>
                  <a:pt x="153" y="467"/>
                </a:cubicBezTo>
                <a:cubicBezTo>
                  <a:pt x="154" y="466"/>
                  <a:pt x="156" y="466"/>
                  <a:pt x="155" y="464"/>
                </a:cubicBezTo>
                <a:cubicBezTo>
                  <a:pt x="154" y="462"/>
                  <a:pt x="156" y="462"/>
                  <a:pt x="156" y="461"/>
                </a:cubicBezTo>
                <a:cubicBezTo>
                  <a:pt x="156" y="460"/>
                  <a:pt x="156" y="459"/>
                  <a:pt x="155" y="459"/>
                </a:cubicBezTo>
                <a:cubicBezTo>
                  <a:pt x="155" y="458"/>
                  <a:pt x="156" y="458"/>
                  <a:pt x="156" y="459"/>
                </a:cubicBezTo>
                <a:cubicBezTo>
                  <a:pt x="156" y="460"/>
                  <a:pt x="156" y="461"/>
                  <a:pt x="156" y="461"/>
                </a:cubicBezTo>
                <a:cubicBezTo>
                  <a:pt x="156" y="462"/>
                  <a:pt x="157" y="465"/>
                  <a:pt x="156" y="465"/>
                </a:cubicBezTo>
                <a:cubicBezTo>
                  <a:pt x="156" y="466"/>
                  <a:pt x="158" y="466"/>
                  <a:pt x="157" y="467"/>
                </a:cubicBezTo>
                <a:cubicBezTo>
                  <a:pt x="157" y="469"/>
                  <a:pt x="158" y="469"/>
                  <a:pt x="158" y="470"/>
                </a:cubicBezTo>
                <a:cubicBezTo>
                  <a:pt x="160" y="470"/>
                  <a:pt x="160" y="469"/>
                  <a:pt x="161" y="469"/>
                </a:cubicBezTo>
                <a:cubicBezTo>
                  <a:pt x="161" y="469"/>
                  <a:pt x="161" y="468"/>
                  <a:pt x="161" y="467"/>
                </a:cubicBezTo>
                <a:cubicBezTo>
                  <a:pt x="161" y="466"/>
                  <a:pt x="161" y="466"/>
                  <a:pt x="162" y="466"/>
                </a:cubicBezTo>
                <a:cubicBezTo>
                  <a:pt x="161" y="464"/>
                  <a:pt x="163" y="465"/>
                  <a:pt x="163" y="463"/>
                </a:cubicBezTo>
                <a:cubicBezTo>
                  <a:pt x="163" y="463"/>
                  <a:pt x="162" y="460"/>
                  <a:pt x="163" y="460"/>
                </a:cubicBezTo>
                <a:cubicBezTo>
                  <a:pt x="163" y="461"/>
                  <a:pt x="164" y="462"/>
                  <a:pt x="165" y="463"/>
                </a:cubicBezTo>
                <a:cubicBezTo>
                  <a:pt x="165" y="462"/>
                  <a:pt x="167" y="462"/>
                  <a:pt x="167" y="461"/>
                </a:cubicBezTo>
                <a:cubicBezTo>
                  <a:pt x="167" y="460"/>
                  <a:pt x="168" y="460"/>
                  <a:pt x="168" y="459"/>
                </a:cubicBezTo>
                <a:cubicBezTo>
                  <a:pt x="167" y="457"/>
                  <a:pt x="164" y="459"/>
                  <a:pt x="164" y="459"/>
                </a:cubicBezTo>
                <a:cubicBezTo>
                  <a:pt x="164" y="458"/>
                  <a:pt x="165" y="457"/>
                  <a:pt x="166" y="457"/>
                </a:cubicBezTo>
                <a:cubicBezTo>
                  <a:pt x="167" y="457"/>
                  <a:pt x="167" y="457"/>
                  <a:pt x="167" y="458"/>
                </a:cubicBezTo>
                <a:cubicBezTo>
                  <a:pt x="167" y="458"/>
                  <a:pt x="167" y="458"/>
                  <a:pt x="168" y="458"/>
                </a:cubicBezTo>
                <a:cubicBezTo>
                  <a:pt x="168" y="457"/>
                  <a:pt x="168" y="457"/>
                  <a:pt x="168" y="457"/>
                </a:cubicBezTo>
                <a:cubicBezTo>
                  <a:pt x="168" y="456"/>
                  <a:pt x="170" y="456"/>
                  <a:pt x="170" y="454"/>
                </a:cubicBezTo>
                <a:cubicBezTo>
                  <a:pt x="169" y="453"/>
                  <a:pt x="172" y="453"/>
                  <a:pt x="172" y="452"/>
                </a:cubicBezTo>
                <a:cubicBezTo>
                  <a:pt x="172" y="451"/>
                  <a:pt x="171" y="451"/>
                  <a:pt x="170" y="451"/>
                </a:cubicBezTo>
                <a:cubicBezTo>
                  <a:pt x="170" y="451"/>
                  <a:pt x="170" y="450"/>
                  <a:pt x="170" y="450"/>
                </a:cubicBezTo>
                <a:cubicBezTo>
                  <a:pt x="170" y="450"/>
                  <a:pt x="170" y="450"/>
                  <a:pt x="170" y="449"/>
                </a:cubicBezTo>
                <a:cubicBezTo>
                  <a:pt x="169" y="449"/>
                  <a:pt x="169" y="448"/>
                  <a:pt x="170" y="449"/>
                </a:cubicBezTo>
                <a:cubicBezTo>
                  <a:pt x="170" y="449"/>
                  <a:pt x="170" y="449"/>
                  <a:pt x="170" y="450"/>
                </a:cubicBezTo>
                <a:cubicBezTo>
                  <a:pt x="171" y="450"/>
                  <a:pt x="172" y="450"/>
                  <a:pt x="172" y="450"/>
                </a:cubicBezTo>
                <a:cubicBezTo>
                  <a:pt x="173" y="448"/>
                  <a:pt x="171" y="449"/>
                  <a:pt x="171" y="447"/>
                </a:cubicBezTo>
                <a:cubicBezTo>
                  <a:pt x="172" y="447"/>
                  <a:pt x="172" y="447"/>
                  <a:pt x="172" y="447"/>
                </a:cubicBezTo>
                <a:cubicBezTo>
                  <a:pt x="173" y="446"/>
                  <a:pt x="173" y="447"/>
                  <a:pt x="173" y="447"/>
                </a:cubicBezTo>
                <a:cubicBezTo>
                  <a:pt x="173" y="447"/>
                  <a:pt x="173" y="448"/>
                  <a:pt x="173" y="448"/>
                </a:cubicBezTo>
                <a:cubicBezTo>
                  <a:pt x="174" y="448"/>
                  <a:pt x="174" y="448"/>
                  <a:pt x="174" y="448"/>
                </a:cubicBezTo>
                <a:cubicBezTo>
                  <a:pt x="174" y="448"/>
                  <a:pt x="174" y="449"/>
                  <a:pt x="174" y="449"/>
                </a:cubicBezTo>
                <a:cubicBezTo>
                  <a:pt x="174" y="449"/>
                  <a:pt x="174" y="449"/>
                  <a:pt x="174" y="450"/>
                </a:cubicBezTo>
                <a:cubicBezTo>
                  <a:pt x="174" y="450"/>
                  <a:pt x="174" y="450"/>
                  <a:pt x="174" y="450"/>
                </a:cubicBezTo>
                <a:cubicBezTo>
                  <a:pt x="174" y="450"/>
                  <a:pt x="174" y="450"/>
                  <a:pt x="174" y="450"/>
                </a:cubicBezTo>
                <a:cubicBezTo>
                  <a:pt x="174" y="450"/>
                  <a:pt x="174" y="450"/>
                  <a:pt x="175" y="450"/>
                </a:cubicBezTo>
                <a:cubicBezTo>
                  <a:pt x="176" y="450"/>
                  <a:pt x="175" y="448"/>
                  <a:pt x="177" y="448"/>
                </a:cubicBezTo>
                <a:cubicBezTo>
                  <a:pt x="177" y="448"/>
                  <a:pt x="177" y="448"/>
                  <a:pt x="177" y="448"/>
                </a:cubicBezTo>
                <a:cubicBezTo>
                  <a:pt x="178" y="445"/>
                  <a:pt x="176" y="445"/>
                  <a:pt x="176" y="442"/>
                </a:cubicBezTo>
                <a:cubicBezTo>
                  <a:pt x="178" y="442"/>
                  <a:pt x="176" y="445"/>
                  <a:pt x="179" y="444"/>
                </a:cubicBezTo>
                <a:cubicBezTo>
                  <a:pt x="179" y="442"/>
                  <a:pt x="178" y="441"/>
                  <a:pt x="175" y="442"/>
                </a:cubicBezTo>
                <a:cubicBezTo>
                  <a:pt x="175" y="442"/>
                  <a:pt x="175" y="442"/>
                  <a:pt x="175" y="442"/>
                </a:cubicBezTo>
                <a:cubicBezTo>
                  <a:pt x="174" y="441"/>
                  <a:pt x="173" y="440"/>
                  <a:pt x="172" y="440"/>
                </a:cubicBezTo>
                <a:cubicBezTo>
                  <a:pt x="172" y="440"/>
                  <a:pt x="172" y="440"/>
                  <a:pt x="172" y="440"/>
                </a:cubicBezTo>
                <a:cubicBezTo>
                  <a:pt x="172" y="440"/>
                  <a:pt x="172" y="440"/>
                  <a:pt x="172" y="440"/>
                </a:cubicBezTo>
                <a:cubicBezTo>
                  <a:pt x="172" y="441"/>
                  <a:pt x="172" y="441"/>
                  <a:pt x="171" y="441"/>
                </a:cubicBezTo>
                <a:cubicBezTo>
                  <a:pt x="170" y="442"/>
                  <a:pt x="171" y="442"/>
                  <a:pt x="171" y="443"/>
                </a:cubicBezTo>
                <a:cubicBezTo>
                  <a:pt x="171" y="443"/>
                  <a:pt x="172" y="444"/>
                  <a:pt x="171" y="444"/>
                </a:cubicBezTo>
                <a:cubicBezTo>
                  <a:pt x="168" y="443"/>
                  <a:pt x="166" y="444"/>
                  <a:pt x="164" y="444"/>
                </a:cubicBezTo>
                <a:cubicBezTo>
                  <a:pt x="164" y="443"/>
                  <a:pt x="163" y="442"/>
                  <a:pt x="163" y="440"/>
                </a:cubicBezTo>
                <a:cubicBezTo>
                  <a:pt x="165" y="440"/>
                  <a:pt x="164" y="443"/>
                  <a:pt x="165" y="443"/>
                </a:cubicBezTo>
                <a:cubicBezTo>
                  <a:pt x="166" y="443"/>
                  <a:pt x="167" y="442"/>
                  <a:pt x="168" y="442"/>
                </a:cubicBezTo>
                <a:cubicBezTo>
                  <a:pt x="167" y="441"/>
                  <a:pt x="168" y="441"/>
                  <a:pt x="168" y="440"/>
                </a:cubicBezTo>
                <a:cubicBezTo>
                  <a:pt x="170" y="440"/>
                  <a:pt x="171" y="439"/>
                  <a:pt x="171" y="438"/>
                </a:cubicBezTo>
                <a:cubicBezTo>
                  <a:pt x="171" y="438"/>
                  <a:pt x="171" y="437"/>
                  <a:pt x="172" y="438"/>
                </a:cubicBezTo>
                <a:cubicBezTo>
                  <a:pt x="172" y="436"/>
                  <a:pt x="172" y="436"/>
                  <a:pt x="172" y="435"/>
                </a:cubicBezTo>
                <a:cubicBezTo>
                  <a:pt x="173" y="435"/>
                  <a:pt x="174" y="435"/>
                  <a:pt x="175" y="435"/>
                </a:cubicBezTo>
                <a:cubicBezTo>
                  <a:pt x="174" y="434"/>
                  <a:pt x="175" y="433"/>
                  <a:pt x="175" y="433"/>
                </a:cubicBezTo>
                <a:cubicBezTo>
                  <a:pt x="175" y="432"/>
                  <a:pt x="177" y="432"/>
                  <a:pt x="178" y="431"/>
                </a:cubicBezTo>
                <a:cubicBezTo>
                  <a:pt x="177" y="429"/>
                  <a:pt x="179" y="428"/>
                  <a:pt x="179" y="427"/>
                </a:cubicBezTo>
                <a:cubicBezTo>
                  <a:pt x="181" y="427"/>
                  <a:pt x="181" y="426"/>
                  <a:pt x="184" y="426"/>
                </a:cubicBezTo>
                <a:cubicBezTo>
                  <a:pt x="184" y="426"/>
                  <a:pt x="184" y="426"/>
                  <a:pt x="184" y="426"/>
                </a:cubicBezTo>
                <a:cubicBezTo>
                  <a:pt x="184" y="425"/>
                  <a:pt x="184" y="425"/>
                  <a:pt x="185" y="425"/>
                </a:cubicBezTo>
                <a:cubicBezTo>
                  <a:pt x="185" y="424"/>
                  <a:pt x="184" y="424"/>
                  <a:pt x="184" y="422"/>
                </a:cubicBezTo>
                <a:cubicBezTo>
                  <a:pt x="183" y="422"/>
                  <a:pt x="182" y="422"/>
                  <a:pt x="181" y="422"/>
                </a:cubicBezTo>
                <a:cubicBezTo>
                  <a:pt x="181" y="423"/>
                  <a:pt x="181" y="423"/>
                  <a:pt x="180" y="423"/>
                </a:cubicBezTo>
                <a:cubicBezTo>
                  <a:pt x="179" y="423"/>
                  <a:pt x="178" y="423"/>
                  <a:pt x="177" y="423"/>
                </a:cubicBezTo>
                <a:cubicBezTo>
                  <a:pt x="176" y="424"/>
                  <a:pt x="175" y="424"/>
                  <a:pt x="174" y="424"/>
                </a:cubicBezTo>
                <a:cubicBezTo>
                  <a:pt x="174" y="425"/>
                  <a:pt x="173" y="425"/>
                  <a:pt x="174" y="424"/>
                </a:cubicBezTo>
                <a:cubicBezTo>
                  <a:pt x="174" y="423"/>
                  <a:pt x="175" y="423"/>
                  <a:pt x="177" y="423"/>
                </a:cubicBezTo>
                <a:cubicBezTo>
                  <a:pt x="177" y="422"/>
                  <a:pt x="178" y="422"/>
                  <a:pt x="179" y="422"/>
                </a:cubicBezTo>
                <a:cubicBezTo>
                  <a:pt x="179" y="421"/>
                  <a:pt x="181" y="422"/>
                  <a:pt x="181" y="421"/>
                </a:cubicBezTo>
                <a:cubicBezTo>
                  <a:pt x="182" y="419"/>
                  <a:pt x="180" y="420"/>
                  <a:pt x="180" y="417"/>
                </a:cubicBezTo>
                <a:cubicBezTo>
                  <a:pt x="182" y="418"/>
                  <a:pt x="182" y="421"/>
                  <a:pt x="185" y="421"/>
                </a:cubicBezTo>
                <a:cubicBezTo>
                  <a:pt x="185" y="420"/>
                  <a:pt x="185" y="420"/>
                  <a:pt x="184" y="419"/>
                </a:cubicBezTo>
                <a:cubicBezTo>
                  <a:pt x="184" y="419"/>
                  <a:pt x="184" y="419"/>
                  <a:pt x="184" y="419"/>
                </a:cubicBezTo>
                <a:cubicBezTo>
                  <a:pt x="184" y="417"/>
                  <a:pt x="182" y="417"/>
                  <a:pt x="182" y="416"/>
                </a:cubicBezTo>
                <a:cubicBezTo>
                  <a:pt x="182" y="416"/>
                  <a:pt x="182" y="416"/>
                  <a:pt x="182" y="416"/>
                </a:cubicBezTo>
                <a:cubicBezTo>
                  <a:pt x="181" y="415"/>
                  <a:pt x="181" y="415"/>
                  <a:pt x="180" y="415"/>
                </a:cubicBezTo>
                <a:cubicBezTo>
                  <a:pt x="180" y="412"/>
                  <a:pt x="178" y="411"/>
                  <a:pt x="177" y="409"/>
                </a:cubicBezTo>
                <a:cubicBezTo>
                  <a:pt x="174" y="409"/>
                  <a:pt x="174" y="407"/>
                  <a:pt x="171" y="408"/>
                </a:cubicBezTo>
                <a:cubicBezTo>
                  <a:pt x="171" y="408"/>
                  <a:pt x="170" y="407"/>
                  <a:pt x="170" y="407"/>
                </a:cubicBezTo>
                <a:cubicBezTo>
                  <a:pt x="170" y="407"/>
                  <a:pt x="170" y="407"/>
                  <a:pt x="170" y="406"/>
                </a:cubicBezTo>
                <a:cubicBezTo>
                  <a:pt x="170" y="406"/>
                  <a:pt x="170" y="406"/>
                  <a:pt x="170" y="405"/>
                </a:cubicBezTo>
                <a:cubicBezTo>
                  <a:pt x="169" y="404"/>
                  <a:pt x="170" y="404"/>
                  <a:pt x="171" y="404"/>
                </a:cubicBezTo>
                <a:cubicBezTo>
                  <a:pt x="172" y="404"/>
                  <a:pt x="172" y="403"/>
                  <a:pt x="172" y="403"/>
                </a:cubicBezTo>
                <a:cubicBezTo>
                  <a:pt x="172" y="402"/>
                  <a:pt x="171" y="402"/>
                  <a:pt x="171" y="401"/>
                </a:cubicBezTo>
                <a:cubicBezTo>
                  <a:pt x="169" y="401"/>
                  <a:pt x="168" y="400"/>
                  <a:pt x="168" y="399"/>
                </a:cubicBezTo>
                <a:cubicBezTo>
                  <a:pt x="167" y="398"/>
                  <a:pt x="164" y="398"/>
                  <a:pt x="163" y="397"/>
                </a:cubicBezTo>
                <a:cubicBezTo>
                  <a:pt x="162" y="396"/>
                  <a:pt x="162" y="396"/>
                  <a:pt x="161" y="396"/>
                </a:cubicBezTo>
                <a:cubicBezTo>
                  <a:pt x="161" y="396"/>
                  <a:pt x="161" y="395"/>
                  <a:pt x="161" y="395"/>
                </a:cubicBezTo>
                <a:cubicBezTo>
                  <a:pt x="162" y="394"/>
                  <a:pt x="160" y="394"/>
                  <a:pt x="159" y="392"/>
                </a:cubicBezTo>
                <a:cubicBezTo>
                  <a:pt x="159" y="392"/>
                  <a:pt x="159" y="392"/>
                  <a:pt x="159" y="392"/>
                </a:cubicBezTo>
                <a:cubicBezTo>
                  <a:pt x="159" y="392"/>
                  <a:pt x="159" y="391"/>
                  <a:pt x="158" y="391"/>
                </a:cubicBezTo>
                <a:cubicBezTo>
                  <a:pt x="158" y="391"/>
                  <a:pt x="158" y="391"/>
                  <a:pt x="158" y="391"/>
                </a:cubicBezTo>
                <a:cubicBezTo>
                  <a:pt x="158" y="390"/>
                  <a:pt x="159" y="389"/>
                  <a:pt x="158" y="387"/>
                </a:cubicBezTo>
                <a:cubicBezTo>
                  <a:pt x="158" y="387"/>
                  <a:pt x="157" y="387"/>
                  <a:pt x="157" y="387"/>
                </a:cubicBezTo>
                <a:cubicBezTo>
                  <a:pt x="156" y="386"/>
                  <a:pt x="156" y="387"/>
                  <a:pt x="155" y="387"/>
                </a:cubicBezTo>
                <a:cubicBezTo>
                  <a:pt x="155" y="387"/>
                  <a:pt x="155" y="387"/>
                  <a:pt x="155" y="387"/>
                </a:cubicBezTo>
                <a:cubicBezTo>
                  <a:pt x="154" y="388"/>
                  <a:pt x="152" y="388"/>
                  <a:pt x="152" y="389"/>
                </a:cubicBezTo>
                <a:cubicBezTo>
                  <a:pt x="152" y="389"/>
                  <a:pt x="152" y="389"/>
                  <a:pt x="152" y="389"/>
                </a:cubicBezTo>
                <a:cubicBezTo>
                  <a:pt x="151" y="390"/>
                  <a:pt x="151" y="391"/>
                  <a:pt x="151" y="392"/>
                </a:cubicBezTo>
                <a:cubicBezTo>
                  <a:pt x="150" y="391"/>
                  <a:pt x="150" y="391"/>
                  <a:pt x="149" y="390"/>
                </a:cubicBezTo>
                <a:cubicBezTo>
                  <a:pt x="149" y="390"/>
                  <a:pt x="149" y="390"/>
                  <a:pt x="149" y="389"/>
                </a:cubicBezTo>
                <a:cubicBezTo>
                  <a:pt x="150" y="388"/>
                  <a:pt x="148" y="387"/>
                  <a:pt x="148" y="386"/>
                </a:cubicBezTo>
                <a:cubicBezTo>
                  <a:pt x="146" y="386"/>
                  <a:pt x="144" y="386"/>
                  <a:pt x="142" y="385"/>
                </a:cubicBezTo>
                <a:cubicBezTo>
                  <a:pt x="141" y="385"/>
                  <a:pt x="141" y="385"/>
                  <a:pt x="141" y="385"/>
                </a:cubicBezTo>
                <a:cubicBezTo>
                  <a:pt x="141" y="383"/>
                  <a:pt x="142" y="383"/>
                  <a:pt x="142" y="381"/>
                </a:cubicBezTo>
                <a:cubicBezTo>
                  <a:pt x="142" y="379"/>
                  <a:pt x="142" y="378"/>
                  <a:pt x="140" y="378"/>
                </a:cubicBezTo>
                <a:cubicBezTo>
                  <a:pt x="140" y="377"/>
                  <a:pt x="141" y="377"/>
                  <a:pt x="141" y="376"/>
                </a:cubicBezTo>
                <a:cubicBezTo>
                  <a:pt x="141" y="374"/>
                  <a:pt x="139" y="374"/>
                  <a:pt x="138" y="372"/>
                </a:cubicBezTo>
                <a:cubicBezTo>
                  <a:pt x="138" y="366"/>
                  <a:pt x="138" y="366"/>
                  <a:pt x="138" y="366"/>
                </a:cubicBezTo>
                <a:cubicBezTo>
                  <a:pt x="139" y="366"/>
                  <a:pt x="138" y="366"/>
                  <a:pt x="138" y="365"/>
                </a:cubicBezTo>
                <a:cubicBezTo>
                  <a:pt x="138" y="364"/>
                  <a:pt x="139" y="364"/>
                  <a:pt x="139" y="364"/>
                </a:cubicBezTo>
                <a:cubicBezTo>
                  <a:pt x="139" y="356"/>
                  <a:pt x="139" y="356"/>
                  <a:pt x="139" y="356"/>
                </a:cubicBezTo>
                <a:cubicBezTo>
                  <a:pt x="139" y="354"/>
                  <a:pt x="138" y="355"/>
                  <a:pt x="138" y="353"/>
                </a:cubicBezTo>
                <a:cubicBezTo>
                  <a:pt x="137" y="352"/>
                  <a:pt x="138" y="352"/>
                  <a:pt x="138" y="350"/>
                </a:cubicBezTo>
                <a:cubicBezTo>
                  <a:pt x="138" y="350"/>
                  <a:pt x="138" y="349"/>
                  <a:pt x="137" y="348"/>
                </a:cubicBezTo>
                <a:cubicBezTo>
                  <a:pt x="137" y="348"/>
                  <a:pt x="137" y="347"/>
                  <a:pt x="136" y="347"/>
                </a:cubicBezTo>
                <a:cubicBezTo>
                  <a:pt x="136" y="347"/>
                  <a:pt x="136" y="347"/>
                  <a:pt x="135" y="346"/>
                </a:cubicBezTo>
                <a:cubicBezTo>
                  <a:pt x="135" y="343"/>
                  <a:pt x="138" y="343"/>
                  <a:pt x="138" y="339"/>
                </a:cubicBezTo>
                <a:cubicBezTo>
                  <a:pt x="139" y="339"/>
                  <a:pt x="140" y="339"/>
                  <a:pt x="142" y="340"/>
                </a:cubicBezTo>
                <a:cubicBezTo>
                  <a:pt x="142" y="341"/>
                  <a:pt x="142" y="342"/>
                  <a:pt x="142" y="342"/>
                </a:cubicBezTo>
                <a:cubicBezTo>
                  <a:pt x="143" y="343"/>
                  <a:pt x="144" y="343"/>
                  <a:pt x="144" y="343"/>
                </a:cubicBezTo>
                <a:cubicBezTo>
                  <a:pt x="144" y="344"/>
                  <a:pt x="145" y="341"/>
                  <a:pt x="145" y="341"/>
                </a:cubicBezTo>
                <a:cubicBezTo>
                  <a:pt x="145" y="341"/>
                  <a:pt x="144" y="341"/>
                  <a:pt x="144" y="341"/>
                </a:cubicBezTo>
                <a:cubicBezTo>
                  <a:pt x="144" y="340"/>
                  <a:pt x="145" y="339"/>
                  <a:pt x="145" y="338"/>
                </a:cubicBezTo>
                <a:cubicBezTo>
                  <a:pt x="145" y="336"/>
                  <a:pt x="143" y="336"/>
                  <a:pt x="142" y="334"/>
                </a:cubicBezTo>
                <a:cubicBezTo>
                  <a:pt x="142" y="334"/>
                  <a:pt x="142" y="333"/>
                  <a:pt x="141" y="333"/>
                </a:cubicBezTo>
                <a:cubicBezTo>
                  <a:pt x="141" y="332"/>
                  <a:pt x="140" y="332"/>
                  <a:pt x="140" y="332"/>
                </a:cubicBezTo>
                <a:cubicBezTo>
                  <a:pt x="142" y="328"/>
                  <a:pt x="141" y="323"/>
                  <a:pt x="142" y="319"/>
                </a:cubicBezTo>
                <a:cubicBezTo>
                  <a:pt x="143" y="319"/>
                  <a:pt x="143" y="319"/>
                  <a:pt x="143" y="318"/>
                </a:cubicBezTo>
                <a:cubicBezTo>
                  <a:pt x="143" y="317"/>
                  <a:pt x="143" y="317"/>
                  <a:pt x="142" y="316"/>
                </a:cubicBezTo>
                <a:cubicBezTo>
                  <a:pt x="143" y="315"/>
                  <a:pt x="142" y="315"/>
                  <a:pt x="142" y="315"/>
                </a:cubicBezTo>
                <a:cubicBezTo>
                  <a:pt x="142" y="314"/>
                  <a:pt x="143" y="313"/>
                  <a:pt x="142" y="312"/>
                </a:cubicBezTo>
                <a:cubicBezTo>
                  <a:pt x="142" y="312"/>
                  <a:pt x="142" y="312"/>
                  <a:pt x="142" y="311"/>
                </a:cubicBezTo>
                <a:cubicBezTo>
                  <a:pt x="141" y="311"/>
                  <a:pt x="141" y="311"/>
                  <a:pt x="141" y="311"/>
                </a:cubicBezTo>
                <a:cubicBezTo>
                  <a:pt x="139" y="309"/>
                  <a:pt x="137" y="308"/>
                  <a:pt x="138" y="304"/>
                </a:cubicBezTo>
                <a:cubicBezTo>
                  <a:pt x="141" y="304"/>
                  <a:pt x="138" y="310"/>
                  <a:pt x="142" y="309"/>
                </a:cubicBezTo>
                <a:cubicBezTo>
                  <a:pt x="143" y="308"/>
                  <a:pt x="142" y="307"/>
                  <a:pt x="142" y="306"/>
                </a:cubicBezTo>
                <a:cubicBezTo>
                  <a:pt x="142" y="306"/>
                  <a:pt x="141" y="305"/>
                  <a:pt x="141" y="304"/>
                </a:cubicBezTo>
                <a:cubicBezTo>
                  <a:pt x="140" y="304"/>
                  <a:pt x="139" y="303"/>
                  <a:pt x="139" y="300"/>
                </a:cubicBezTo>
                <a:cubicBezTo>
                  <a:pt x="140" y="301"/>
                  <a:pt x="140" y="301"/>
                  <a:pt x="140" y="302"/>
                </a:cubicBezTo>
                <a:cubicBezTo>
                  <a:pt x="141" y="303"/>
                  <a:pt x="142" y="303"/>
                  <a:pt x="142" y="304"/>
                </a:cubicBezTo>
                <a:cubicBezTo>
                  <a:pt x="143" y="304"/>
                  <a:pt x="142" y="305"/>
                  <a:pt x="143" y="305"/>
                </a:cubicBezTo>
                <a:cubicBezTo>
                  <a:pt x="143" y="306"/>
                  <a:pt x="144" y="306"/>
                  <a:pt x="145" y="307"/>
                </a:cubicBezTo>
                <a:cubicBezTo>
                  <a:pt x="145" y="307"/>
                  <a:pt x="145" y="307"/>
                  <a:pt x="145" y="307"/>
                </a:cubicBezTo>
                <a:cubicBezTo>
                  <a:pt x="145" y="307"/>
                  <a:pt x="146" y="307"/>
                  <a:pt x="146" y="307"/>
                </a:cubicBezTo>
                <a:cubicBezTo>
                  <a:pt x="147" y="307"/>
                  <a:pt x="147" y="306"/>
                  <a:pt x="146" y="306"/>
                </a:cubicBezTo>
                <a:cubicBezTo>
                  <a:pt x="146" y="304"/>
                  <a:pt x="145" y="304"/>
                  <a:pt x="145" y="303"/>
                </a:cubicBezTo>
                <a:cubicBezTo>
                  <a:pt x="145" y="303"/>
                  <a:pt x="145" y="302"/>
                  <a:pt x="146" y="302"/>
                </a:cubicBezTo>
                <a:cubicBezTo>
                  <a:pt x="147" y="302"/>
                  <a:pt x="146" y="302"/>
                  <a:pt x="147" y="301"/>
                </a:cubicBezTo>
                <a:cubicBezTo>
                  <a:pt x="147" y="301"/>
                  <a:pt x="147" y="301"/>
                  <a:pt x="147" y="300"/>
                </a:cubicBezTo>
                <a:cubicBezTo>
                  <a:pt x="148" y="300"/>
                  <a:pt x="148" y="299"/>
                  <a:pt x="148" y="297"/>
                </a:cubicBezTo>
                <a:cubicBezTo>
                  <a:pt x="150" y="297"/>
                  <a:pt x="150" y="299"/>
                  <a:pt x="152" y="298"/>
                </a:cubicBezTo>
                <a:cubicBezTo>
                  <a:pt x="152" y="297"/>
                  <a:pt x="152" y="296"/>
                  <a:pt x="151" y="296"/>
                </a:cubicBezTo>
                <a:cubicBezTo>
                  <a:pt x="151" y="296"/>
                  <a:pt x="150" y="296"/>
                  <a:pt x="150" y="296"/>
                </a:cubicBezTo>
                <a:cubicBezTo>
                  <a:pt x="150" y="296"/>
                  <a:pt x="150" y="295"/>
                  <a:pt x="151" y="295"/>
                </a:cubicBezTo>
                <a:cubicBezTo>
                  <a:pt x="152" y="295"/>
                  <a:pt x="152" y="295"/>
                  <a:pt x="153" y="295"/>
                </a:cubicBezTo>
                <a:cubicBezTo>
                  <a:pt x="152" y="295"/>
                  <a:pt x="152" y="293"/>
                  <a:pt x="153" y="293"/>
                </a:cubicBezTo>
                <a:cubicBezTo>
                  <a:pt x="154" y="293"/>
                  <a:pt x="153" y="292"/>
                  <a:pt x="153" y="291"/>
                </a:cubicBezTo>
                <a:cubicBezTo>
                  <a:pt x="153" y="290"/>
                  <a:pt x="152" y="291"/>
                  <a:pt x="152" y="291"/>
                </a:cubicBezTo>
                <a:cubicBezTo>
                  <a:pt x="151" y="292"/>
                  <a:pt x="150" y="292"/>
                  <a:pt x="150" y="293"/>
                </a:cubicBezTo>
                <a:cubicBezTo>
                  <a:pt x="149" y="292"/>
                  <a:pt x="150" y="291"/>
                  <a:pt x="149" y="290"/>
                </a:cubicBezTo>
                <a:cubicBezTo>
                  <a:pt x="149" y="290"/>
                  <a:pt x="149" y="290"/>
                  <a:pt x="149" y="290"/>
                </a:cubicBezTo>
                <a:cubicBezTo>
                  <a:pt x="148" y="289"/>
                  <a:pt x="149" y="288"/>
                  <a:pt x="148" y="288"/>
                </a:cubicBezTo>
                <a:cubicBezTo>
                  <a:pt x="148" y="286"/>
                  <a:pt x="147" y="286"/>
                  <a:pt x="147" y="284"/>
                </a:cubicBezTo>
                <a:cubicBezTo>
                  <a:pt x="149" y="284"/>
                  <a:pt x="149" y="285"/>
                  <a:pt x="149" y="286"/>
                </a:cubicBezTo>
                <a:cubicBezTo>
                  <a:pt x="150" y="286"/>
                  <a:pt x="150" y="285"/>
                  <a:pt x="152" y="286"/>
                </a:cubicBezTo>
                <a:cubicBezTo>
                  <a:pt x="151" y="287"/>
                  <a:pt x="150" y="287"/>
                  <a:pt x="150" y="288"/>
                </a:cubicBezTo>
                <a:cubicBezTo>
                  <a:pt x="150" y="288"/>
                  <a:pt x="151" y="289"/>
                  <a:pt x="152" y="289"/>
                </a:cubicBezTo>
                <a:cubicBezTo>
                  <a:pt x="152" y="289"/>
                  <a:pt x="152" y="289"/>
                  <a:pt x="152" y="290"/>
                </a:cubicBezTo>
                <a:cubicBezTo>
                  <a:pt x="153" y="290"/>
                  <a:pt x="153" y="290"/>
                  <a:pt x="154" y="289"/>
                </a:cubicBezTo>
                <a:cubicBezTo>
                  <a:pt x="154" y="288"/>
                  <a:pt x="154" y="289"/>
                  <a:pt x="155" y="288"/>
                </a:cubicBezTo>
                <a:cubicBezTo>
                  <a:pt x="155" y="288"/>
                  <a:pt x="155" y="288"/>
                  <a:pt x="156" y="288"/>
                </a:cubicBezTo>
                <a:cubicBezTo>
                  <a:pt x="156" y="287"/>
                  <a:pt x="156" y="286"/>
                  <a:pt x="156" y="285"/>
                </a:cubicBezTo>
                <a:cubicBezTo>
                  <a:pt x="155" y="285"/>
                  <a:pt x="155" y="284"/>
                  <a:pt x="154" y="284"/>
                </a:cubicBezTo>
                <a:cubicBezTo>
                  <a:pt x="154" y="283"/>
                  <a:pt x="156" y="283"/>
                  <a:pt x="156" y="284"/>
                </a:cubicBezTo>
                <a:cubicBezTo>
                  <a:pt x="156" y="284"/>
                  <a:pt x="156" y="285"/>
                  <a:pt x="157" y="285"/>
                </a:cubicBezTo>
                <a:cubicBezTo>
                  <a:pt x="159" y="285"/>
                  <a:pt x="158" y="284"/>
                  <a:pt x="160" y="284"/>
                </a:cubicBezTo>
                <a:cubicBezTo>
                  <a:pt x="160" y="282"/>
                  <a:pt x="161" y="282"/>
                  <a:pt x="160" y="281"/>
                </a:cubicBezTo>
                <a:cubicBezTo>
                  <a:pt x="161" y="279"/>
                  <a:pt x="164" y="279"/>
                  <a:pt x="163" y="275"/>
                </a:cubicBezTo>
                <a:cubicBezTo>
                  <a:pt x="162" y="275"/>
                  <a:pt x="162" y="276"/>
                  <a:pt x="162" y="277"/>
                </a:cubicBezTo>
                <a:cubicBezTo>
                  <a:pt x="162" y="277"/>
                  <a:pt x="162" y="277"/>
                  <a:pt x="161" y="277"/>
                </a:cubicBezTo>
                <a:cubicBezTo>
                  <a:pt x="158" y="277"/>
                  <a:pt x="158" y="278"/>
                  <a:pt x="155" y="278"/>
                </a:cubicBezTo>
                <a:cubicBezTo>
                  <a:pt x="155" y="276"/>
                  <a:pt x="156" y="276"/>
                  <a:pt x="158" y="276"/>
                </a:cubicBezTo>
                <a:cubicBezTo>
                  <a:pt x="160" y="276"/>
                  <a:pt x="160" y="274"/>
                  <a:pt x="161" y="273"/>
                </a:cubicBezTo>
                <a:cubicBezTo>
                  <a:pt x="161" y="273"/>
                  <a:pt x="161" y="273"/>
                  <a:pt x="161" y="272"/>
                </a:cubicBezTo>
                <a:cubicBezTo>
                  <a:pt x="161" y="272"/>
                  <a:pt x="162" y="271"/>
                  <a:pt x="163" y="271"/>
                </a:cubicBezTo>
                <a:cubicBezTo>
                  <a:pt x="163" y="269"/>
                  <a:pt x="163" y="268"/>
                  <a:pt x="163" y="266"/>
                </a:cubicBezTo>
                <a:cubicBezTo>
                  <a:pt x="165" y="266"/>
                  <a:pt x="165" y="268"/>
                  <a:pt x="166" y="269"/>
                </a:cubicBezTo>
                <a:cubicBezTo>
                  <a:pt x="168" y="268"/>
                  <a:pt x="165" y="267"/>
                  <a:pt x="166" y="265"/>
                </a:cubicBezTo>
                <a:cubicBezTo>
                  <a:pt x="167" y="265"/>
                  <a:pt x="168" y="266"/>
                  <a:pt x="169" y="268"/>
                </a:cubicBezTo>
                <a:cubicBezTo>
                  <a:pt x="169" y="268"/>
                  <a:pt x="170" y="268"/>
                  <a:pt x="170" y="268"/>
                </a:cubicBezTo>
                <a:cubicBezTo>
                  <a:pt x="170" y="268"/>
                  <a:pt x="171" y="268"/>
                  <a:pt x="171" y="268"/>
                </a:cubicBezTo>
                <a:cubicBezTo>
                  <a:pt x="173" y="267"/>
                  <a:pt x="170" y="266"/>
                  <a:pt x="170" y="264"/>
                </a:cubicBezTo>
                <a:cubicBezTo>
                  <a:pt x="173" y="264"/>
                  <a:pt x="173" y="263"/>
                  <a:pt x="174" y="262"/>
                </a:cubicBezTo>
                <a:cubicBezTo>
                  <a:pt x="174" y="262"/>
                  <a:pt x="174" y="261"/>
                  <a:pt x="175" y="261"/>
                </a:cubicBezTo>
                <a:cubicBezTo>
                  <a:pt x="174" y="260"/>
                  <a:pt x="174" y="258"/>
                  <a:pt x="175" y="257"/>
                </a:cubicBezTo>
                <a:cubicBezTo>
                  <a:pt x="175" y="257"/>
                  <a:pt x="175" y="257"/>
                  <a:pt x="176" y="257"/>
                </a:cubicBezTo>
                <a:cubicBezTo>
                  <a:pt x="177" y="257"/>
                  <a:pt x="177" y="255"/>
                  <a:pt x="179" y="256"/>
                </a:cubicBezTo>
                <a:cubicBezTo>
                  <a:pt x="179" y="256"/>
                  <a:pt x="179" y="255"/>
                  <a:pt x="179" y="255"/>
                </a:cubicBezTo>
                <a:cubicBezTo>
                  <a:pt x="179" y="255"/>
                  <a:pt x="178" y="254"/>
                  <a:pt x="179" y="254"/>
                </a:cubicBezTo>
                <a:cubicBezTo>
                  <a:pt x="179" y="253"/>
                  <a:pt x="179" y="253"/>
                  <a:pt x="179" y="253"/>
                </a:cubicBezTo>
                <a:cubicBezTo>
                  <a:pt x="179" y="253"/>
                  <a:pt x="179" y="253"/>
                  <a:pt x="179" y="253"/>
                </a:cubicBezTo>
                <a:cubicBezTo>
                  <a:pt x="179" y="253"/>
                  <a:pt x="179" y="253"/>
                  <a:pt x="179" y="253"/>
                </a:cubicBezTo>
                <a:cubicBezTo>
                  <a:pt x="180" y="254"/>
                  <a:pt x="181" y="255"/>
                  <a:pt x="181" y="256"/>
                </a:cubicBezTo>
                <a:cubicBezTo>
                  <a:pt x="181" y="256"/>
                  <a:pt x="181" y="256"/>
                  <a:pt x="181" y="256"/>
                </a:cubicBezTo>
                <a:cubicBezTo>
                  <a:pt x="181" y="257"/>
                  <a:pt x="181" y="257"/>
                  <a:pt x="181" y="257"/>
                </a:cubicBezTo>
                <a:cubicBezTo>
                  <a:pt x="182" y="257"/>
                  <a:pt x="183" y="256"/>
                  <a:pt x="184" y="256"/>
                </a:cubicBezTo>
                <a:cubicBezTo>
                  <a:pt x="183" y="256"/>
                  <a:pt x="184" y="255"/>
                  <a:pt x="184" y="255"/>
                </a:cubicBezTo>
                <a:cubicBezTo>
                  <a:pt x="184" y="253"/>
                  <a:pt x="185" y="252"/>
                  <a:pt x="185" y="251"/>
                </a:cubicBezTo>
                <a:cubicBezTo>
                  <a:pt x="186" y="250"/>
                  <a:pt x="186" y="250"/>
                  <a:pt x="187" y="249"/>
                </a:cubicBezTo>
                <a:cubicBezTo>
                  <a:pt x="187" y="249"/>
                  <a:pt x="187" y="249"/>
                  <a:pt x="188" y="249"/>
                </a:cubicBezTo>
                <a:cubicBezTo>
                  <a:pt x="188" y="249"/>
                  <a:pt x="188" y="250"/>
                  <a:pt x="188" y="249"/>
                </a:cubicBezTo>
                <a:cubicBezTo>
                  <a:pt x="188" y="249"/>
                  <a:pt x="189" y="248"/>
                  <a:pt x="189" y="248"/>
                </a:cubicBezTo>
                <a:cubicBezTo>
                  <a:pt x="189" y="248"/>
                  <a:pt x="189" y="248"/>
                  <a:pt x="189" y="248"/>
                </a:cubicBezTo>
                <a:cubicBezTo>
                  <a:pt x="190" y="248"/>
                  <a:pt x="189" y="245"/>
                  <a:pt x="191" y="246"/>
                </a:cubicBezTo>
                <a:cubicBezTo>
                  <a:pt x="191" y="246"/>
                  <a:pt x="191" y="246"/>
                  <a:pt x="191" y="246"/>
                </a:cubicBezTo>
                <a:cubicBezTo>
                  <a:pt x="192" y="245"/>
                  <a:pt x="193" y="244"/>
                  <a:pt x="195" y="245"/>
                </a:cubicBezTo>
                <a:cubicBezTo>
                  <a:pt x="196" y="244"/>
                  <a:pt x="196" y="243"/>
                  <a:pt x="197" y="243"/>
                </a:cubicBezTo>
                <a:cubicBezTo>
                  <a:pt x="197" y="243"/>
                  <a:pt x="197" y="243"/>
                  <a:pt x="197" y="243"/>
                </a:cubicBezTo>
                <a:cubicBezTo>
                  <a:pt x="197" y="243"/>
                  <a:pt x="197" y="243"/>
                  <a:pt x="197" y="242"/>
                </a:cubicBezTo>
                <a:cubicBezTo>
                  <a:pt x="198" y="241"/>
                  <a:pt x="198" y="240"/>
                  <a:pt x="199" y="239"/>
                </a:cubicBezTo>
                <a:cubicBezTo>
                  <a:pt x="199" y="239"/>
                  <a:pt x="199" y="239"/>
                  <a:pt x="199" y="239"/>
                </a:cubicBezTo>
                <a:cubicBezTo>
                  <a:pt x="199" y="239"/>
                  <a:pt x="200" y="239"/>
                  <a:pt x="200" y="238"/>
                </a:cubicBezTo>
                <a:cubicBezTo>
                  <a:pt x="200" y="238"/>
                  <a:pt x="200" y="238"/>
                  <a:pt x="200" y="238"/>
                </a:cubicBezTo>
                <a:cubicBezTo>
                  <a:pt x="200" y="237"/>
                  <a:pt x="200" y="235"/>
                  <a:pt x="202" y="235"/>
                </a:cubicBezTo>
                <a:cubicBezTo>
                  <a:pt x="202" y="235"/>
                  <a:pt x="202" y="235"/>
                  <a:pt x="202" y="235"/>
                </a:cubicBezTo>
                <a:cubicBezTo>
                  <a:pt x="202" y="232"/>
                  <a:pt x="203" y="229"/>
                  <a:pt x="204" y="226"/>
                </a:cubicBezTo>
                <a:cubicBezTo>
                  <a:pt x="204" y="226"/>
                  <a:pt x="204" y="226"/>
                  <a:pt x="204" y="226"/>
                </a:cubicBezTo>
                <a:cubicBezTo>
                  <a:pt x="204" y="224"/>
                  <a:pt x="207" y="225"/>
                  <a:pt x="207" y="224"/>
                </a:cubicBezTo>
                <a:cubicBezTo>
                  <a:pt x="207" y="223"/>
                  <a:pt x="207" y="223"/>
                  <a:pt x="207" y="223"/>
                </a:cubicBezTo>
                <a:cubicBezTo>
                  <a:pt x="207" y="223"/>
                  <a:pt x="207" y="222"/>
                  <a:pt x="207" y="222"/>
                </a:cubicBezTo>
                <a:cubicBezTo>
                  <a:pt x="207" y="221"/>
                  <a:pt x="207" y="221"/>
                  <a:pt x="207" y="221"/>
                </a:cubicBezTo>
                <a:cubicBezTo>
                  <a:pt x="207" y="221"/>
                  <a:pt x="207" y="221"/>
                  <a:pt x="207" y="220"/>
                </a:cubicBezTo>
                <a:cubicBezTo>
                  <a:pt x="207" y="220"/>
                  <a:pt x="207" y="220"/>
                  <a:pt x="207" y="220"/>
                </a:cubicBezTo>
                <a:cubicBezTo>
                  <a:pt x="208" y="220"/>
                  <a:pt x="208" y="219"/>
                  <a:pt x="209" y="218"/>
                </a:cubicBezTo>
                <a:cubicBezTo>
                  <a:pt x="209" y="218"/>
                  <a:pt x="209" y="218"/>
                  <a:pt x="209" y="218"/>
                </a:cubicBezTo>
                <a:cubicBezTo>
                  <a:pt x="209" y="217"/>
                  <a:pt x="211" y="216"/>
                  <a:pt x="210" y="214"/>
                </a:cubicBezTo>
                <a:cubicBezTo>
                  <a:pt x="210" y="213"/>
                  <a:pt x="210" y="213"/>
                  <a:pt x="210" y="213"/>
                </a:cubicBezTo>
                <a:cubicBezTo>
                  <a:pt x="211" y="213"/>
                  <a:pt x="211" y="212"/>
                  <a:pt x="212" y="211"/>
                </a:cubicBezTo>
                <a:cubicBezTo>
                  <a:pt x="212" y="211"/>
                  <a:pt x="212" y="211"/>
                  <a:pt x="212" y="211"/>
                </a:cubicBezTo>
                <a:cubicBezTo>
                  <a:pt x="212" y="210"/>
                  <a:pt x="213" y="210"/>
                  <a:pt x="213" y="210"/>
                </a:cubicBezTo>
                <a:cubicBezTo>
                  <a:pt x="214" y="210"/>
                  <a:pt x="214" y="210"/>
                  <a:pt x="214" y="209"/>
                </a:cubicBezTo>
                <a:cubicBezTo>
                  <a:pt x="214" y="209"/>
                  <a:pt x="214" y="208"/>
                  <a:pt x="215" y="207"/>
                </a:cubicBezTo>
                <a:cubicBezTo>
                  <a:pt x="215" y="207"/>
                  <a:pt x="215" y="207"/>
                  <a:pt x="215" y="207"/>
                </a:cubicBezTo>
                <a:cubicBezTo>
                  <a:pt x="215" y="207"/>
                  <a:pt x="216" y="206"/>
                  <a:pt x="216" y="206"/>
                </a:cubicBezTo>
                <a:cubicBezTo>
                  <a:pt x="216" y="206"/>
                  <a:pt x="216" y="206"/>
                  <a:pt x="216" y="206"/>
                </a:cubicBezTo>
                <a:cubicBezTo>
                  <a:pt x="216" y="205"/>
                  <a:pt x="216" y="205"/>
                  <a:pt x="216" y="204"/>
                </a:cubicBezTo>
                <a:cubicBezTo>
                  <a:pt x="216" y="203"/>
                  <a:pt x="214" y="204"/>
                  <a:pt x="214" y="205"/>
                </a:cubicBezTo>
                <a:cubicBezTo>
                  <a:pt x="214" y="205"/>
                  <a:pt x="214" y="205"/>
                  <a:pt x="213" y="205"/>
                </a:cubicBezTo>
                <a:cubicBezTo>
                  <a:pt x="213" y="205"/>
                  <a:pt x="213" y="205"/>
                  <a:pt x="213" y="204"/>
                </a:cubicBezTo>
                <a:cubicBezTo>
                  <a:pt x="213" y="204"/>
                  <a:pt x="213" y="203"/>
                  <a:pt x="214" y="203"/>
                </a:cubicBezTo>
                <a:cubicBezTo>
                  <a:pt x="214" y="202"/>
                  <a:pt x="214" y="202"/>
                  <a:pt x="214" y="202"/>
                </a:cubicBezTo>
                <a:cubicBezTo>
                  <a:pt x="213" y="201"/>
                  <a:pt x="212" y="201"/>
                  <a:pt x="211" y="199"/>
                </a:cubicBezTo>
                <a:cubicBezTo>
                  <a:pt x="210" y="199"/>
                  <a:pt x="211" y="197"/>
                  <a:pt x="209" y="198"/>
                </a:cubicBezTo>
                <a:cubicBezTo>
                  <a:pt x="208" y="198"/>
                  <a:pt x="208" y="198"/>
                  <a:pt x="208" y="197"/>
                </a:cubicBezTo>
                <a:cubicBezTo>
                  <a:pt x="208" y="194"/>
                  <a:pt x="206" y="192"/>
                  <a:pt x="205" y="190"/>
                </a:cubicBezTo>
                <a:cubicBezTo>
                  <a:pt x="205" y="190"/>
                  <a:pt x="205" y="189"/>
                  <a:pt x="206" y="190"/>
                </a:cubicBezTo>
                <a:cubicBezTo>
                  <a:pt x="206" y="188"/>
                  <a:pt x="206" y="188"/>
                  <a:pt x="206" y="188"/>
                </a:cubicBezTo>
                <a:cubicBezTo>
                  <a:pt x="206" y="185"/>
                  <a:pt x="206" y="188"/>
                  <a:pt x="208" y="187"/>
                </a:cubicBezTo>
                <a:cubicBezTo>
                  <a:pt x="208" y="186"/>
                  <a:pt x="207" y="186"/>
                  <a:pt x="207" y="185"/>
                </a:cubicBezTo>
                <a:cubicBezTo>
                  <a:pt x="207" y="185"/>
                  <a:pt x="206" y="185"/>
                  <a:pt x="207" y="185"/>
                </a:cubicBezTo>
                <a:cubicBezTo>
                  <a:pt x="206" y="185"/>
                  <a:pt x="206" y="184"/>
                  <a:pt x="207" y="184"/>
                </a:cubicBezTo>
                <a:cubicBezTo>
                  <a:pt x="207" y="183"/>
                  <a:pt x="207" y="183"/>
                  <a:pt x="207" y="183"/>
                </a:cubicBezTo>
                <a:cubicBezTo>
                  <a:pt x="207" y="183"/>
                  <a:pt x="207" y="182"/>
                  <a:pt x="207" y="182"/>
                </a:cubicBezTo>
                <a:cubicBezTo>
                  <a:pt x="208" y="182"/>
                  <a:pt x="208" y="182"/>
                  <a:pt x="208" y="181"/>
                </a:cubicBezTo>
                <a:cubicBezTo>
                  <a:pt x="209" y="181"/>
                  <a:pt x="209" y="180"/>
                  <a:pt x="210" y="180"/>
                </a:cubicBezTo>
                <a:cubicBezTo>
                  <a:pt x="210" y="176"/>
                  <a:pt x="210" y="176"/>
                  <a:pt x="210" y="176"/>
                </a:cubicBezTo>
                <a:cubicBezTo>
                  <a:pt x="211" y="175"/>
                  <a:pt x="211" y="174"/>
                  <a:pt x="211" y="174"/>
                </a:cubicBezTo>
                <a:cubicBezTo>
                  <a:pt x="211" y="173"/>
                  <a:pt x="211" y="172"/>
                  <a:pt x="210" y="172"/>
                </a:cubicBezTo>
                <a:cubicBezTo>
                  <a:pt x="210" y="172"/>
                  <a:pt x="210" y="171"/>
                  <a:pt x="209" y="171"/>
                </a:cubicBezTo>
                <a:cubicBezTo>
                  <a:pt x="209" y="170"/>
                  <a:pt x="209" y="170"/>
                  <a:pt x="209" y="170"/>
                </a:cubicBezTo>
                <a:cubicBezTo>
                  <a:pt x="209" y="170"/>
                  <a:pt x="208" y="169"/>
                  <a:pt x="208" y="169"/>
                </a:cubicBezTo>
                <a:cubicBezTo>
                  <a:pt x="208" y="168"/>
                  <a:pt x="208" y="168"/>
                  <a:pt x="208" y="168"/>
                </a:cubicBezTo>
                <a:cubicBezTo>
                  <a:pt x="208" y="167"/>
                  <a:pt x="208" y="167"/>
                  <a:pt x="208" y="167"/>
                </a:cubicBezTo>
                <a:cubicBezTo>
                  <a:pt x="208" y="167"/>
                  <a:pt x="208" y="167"/>
                  <a:pt x="208" y="168"/>
                </a:cubicBezTo>
                <a:cubicBezTo>
                  <a:pt x="208" y="169"/>
                  <a:pt x="208" y="169"/>
                  <a:pt x="210" y="169"/>
                </a:cubicBezTo>
                <a:cubicBezTo>
                  <a:pt x="210" y="169"/>
                  <a:pt x="210" y="169"/>
                  <a:pt x="210" y="169"/>
                </a:cubicBezTo>
                <a:cubicBezTo>
                  <a:pt x="210" y="170"/>
                  <a:pt x="210" y="171"/>
                  <a:pt x="211" y="171"/>
                </a:cubicBezTo>
                <a:cubicBezTo>
                  <a:pt x="212" y="171"/>
                  <a:pt x="212" y="171"/>
                  <a:pt x="212" y="171"/>
                </a:cubicBezTo>
                <a:cubicBezTo>
                  <a:pt x="212" y="171"/>
                  <a:pt x="212" y="171"/>
                  <a:pt x="212" y="171"/>
                </a:cubicBezTo>
                <a:cubicBezTo>
                  <a:pt x="213" y="171"/>
                  <a:pt x="213" y="171"/>
                  <a:pt x="213" y="171"/>
                </a:cubicBezTo>
                <a:cubicBezTo>
                  <a:pt x="213" y="171"/>
                  <a:pt x="213" y="171"/>
                  <a:pt x="213" y="171"/>
                </a:cubicBezTo>
                <a:cubicBezTo>
                  <a:pt x="213" y="171"/>
                  <a:pt x="213" y="170"/>
                  <a:pt x="213" y="169"/>
                </a:cubicBezTo>
                <a:cubicBezTo>
                  <a:pt x="213" y="169"/>
                  <a:pt x="213" y="169"/>
                  <a:pt x="213" y="169"/>
                </a:cubicBezTo>
                <a:cubicBezTo>
                  <a:pt x="213" y="169"/>
                  <a:pt x="213" y="168"/>
                  <a:pt x="213" y="168"/>
                </a:cubicBezTo>
                <a:cubicBezTo>
                  <a:pt x="214" y="168"/>
                  <a:pt x="214" y="168"/>
                  <a:pt x="214" y="168"/>
                </a:cubicBezTo>
                <a:cubicBezTo>
                  <a:pt x="213" y="167"/>
                  <a:pt x="212" y="167"/>
                  <a:pt x="211" y="167"/>
                </a:cubicBezTo>
                <a:cubicBezTo>
                  <a:pt x="211" y="167"/>
                  <a:pt x="213" y="165"/>
                  <a:pt x="211" y="164"/>
                </a:cubicBezTo>
                <a:cubicBezTo>
                  <a:pt x="211" y="164"/>
                  <a:pt x="211" y="164"/>
                  <a:pt x="211" y="164"/>
                </a:cubicBezTo>
                <a:cubicBezTo>
                  <a:pt x="211" y="163"/>
                  <a:pt x="212" y="163"/>
                  <a:pt x="212" y="164"/>
                </a:cubicBezTo>
                <a:cubicBezTo>
                  <a:pt x="214" y="164"/>
                  <a:pt x="215" y="164"/>
                  <a:pt x="216" y="163"/>
                </a:cubicBezTo>
                <a:cubicBezTo>
                  <a:pt x="216" y="163"/>
                  <a:pt x="217" y="163"/>
                  <a:pt x="217" y="163"/>
                </a:cubicBezTo>
                <a:cubicBezTo>
                  <a:pt x="218" y="163"/>
                  <a:pt x="219" y="162"/>
                  <a:pt x="218" y="160"/>
                </a:cubicBezTo>
                <a:cubicBezTo>
                  <a:pt x="218" y="160"/>
                  <a:pt x="218" y="160"/>
                  <a:pt x="218" y="160"/>
                </a:cubicBezTo>
                <a:cubicBezTo>
                  <a:pt x="218" y="159"/>
                  <a:pt x="218" y="159"/>
                  <a:pt x="218" y="159"/>
                </a:cubicBezTo>
                <a:cubicBezTo>
                  <a:pt x="218" y="159"/>
                  <a:pt x="218" y="158"/>
                  <a:pt x="218" y="158"/>
                </a:cubicBezTo>
                <a:cubicBezTo>
                  <a:pt x="218" y="158"/>
                  <a:pt x="218" y="158"/>
                  <a:pt x="218" y="157"/>
                </a:cubicBezTo>
                <a:cubicBezTo>
                  <a:pt x="218" y="157"/>
                  <a:pt x="218" y="157"/>
                  <a:pt x="218" y="157"/>
                </a:cubicBezTo>
                <a:cubicBezTo>
                  <a:pt x="219" y="157"/>
                  <a:pt x="219" y="157"/>
                  <a:pt x="219" y="157"/>
                </a:cubicBezTo>
                <a:cubicBezTo>
                  <a:pt x="219" y="157"/>
                  <a:pt x="219" y="157"/>
                  <a:pt x="219" y="157"/>
                </a:cubicBezTo>
                <a:cubicBezTo>
                  <a:pt x="219" y="157"/>
                  <a:pt x="220" y="157"/>
                  <a:pt x="220" y="157"/>
                </a:cubicBezTo>
                <a:cubicBezTo>
                  <a:pt x="220" y="157"/>
                  <a:pt x="220" y="157"/>
                  <a:pt x="220" y="157"/>
                </a:cubicBezTo>
                <a:cubicBezTo>
                  <a:pt x="220" y="157"/>
                  <a:pt x="220" y="157"/>
                  <a:pt x="220" y="157"/>
                </a:cubicBezTo>
                <a:cubicBezTo>
                  <a:pt x="221" y="157"/>
                  <a:pt x="221" y="157"/>
                  <a:pt x="222" y="157"/>
                </a:cubicBezTo>
                <a:cubicBezTo>
                  <a:pt x="221" y="155"/>
                  <a:pt x="221" y="155"/>
                  <a:pt x="220" y="154"/>
                </a:cubicBezTo>
                <a:cubicBezTo>
                  <a:pt x="219" y="154"/>
                  <a:pt x="219" y="154"/>
                  <a:pt x="219" y="154"/>
                </a:cubicBezTo>
                <a:cubicBezTo>
                  <a:pt x="219" y="153"/>
                  <a:pt x="218" y="153"/>
                  <a:pt x="217" y="153"/>
                </a:cubicBezTo>
                <a:cubicBezTo>
                  <a:pt x="217" y="153"/>
                  <a:pt x="217" y="153"/>
                  <a:pt x="217" y="153"/>
                </a:cubicBezTo>
                <a:cubicBezTo>
                  <a:pt x="217" y="152"/>
                  <a:pt x="217" y="152"/>
                  <a:pt x="218" y="152"/>
                </a:cubicBezTo>
                <a:cubicBezTo>
                  <a:pt x="218" y="152"/>
                  <a:pt x="218" y="152"/>
                  <a:pt x="218" y="152"/>
                </a:cubicBezTo>
                <a:cubicBezTo>
                  <a:pt x="218" y="152"/>
                  <a:pt x="218" y="152"/>
                  <a:pt x="218" y="152"/>
                </a:cubicBezTo>
                <a:cubicBezTo>
                  <a:pt x="218" y="154"/>
                  <a:pt x="220" y="153"/>
                  <a:pt x="220" y="153"/>
                </a:cubicBezTo>
                <a:cubicBezTo>
                  <a:pt x="220" y="153"/>
                  <a:pt x="220" y="154"/>
                  <a:pt x="220" y="154"/>
                </a:cubicBezTo>
                <a:cubicBezTo>
                  <a:pt x="221" y="155"/>
                  <a:pt x="221" y="155"/>
                  <a:pt x="223" y="155"/>
                </a:cubicBezTo>
                <a:cubicBezTo>
                  <a:pt x="223" y="155"/>
                  <a:pt x="223" y="155"/>
                  <a:pt x="223" y="155"/>
                </a:cubicBezTo>
                <a:cubicBezTo>
                  <a:pt x="224" y="155"/>
                  <a:pt x="225" y="155"/>
                  <a:pt x="225" y="155"/>
                </a:cubicBezTo>
                <a:cubicBezTo>
                  <a:pt x="226" y="154"/>
                  <a:pt x="225" y="153"/>
                  <a:pt x="225" y="153"/>
                </a:cubicBezTo>
                <a:cubicBezTo>
                  <a:pt x="224" y="153"/>
                  <a:pt x="224" y="152"/>
                  <a:pt x="224" y="152"/>
                </a:cubicBezTo>
                <a:cubicBezTo>
                  <a:pt x="223" y="151"/>
                  <a:pt x="224" y="150"/>
                  <a:pt x="223" y="150"/>
                </a:cubicBezTo>
                <a:cubicBezTo>
                  <a:pt x="223" y="149"/>
                  <a:pt x="223" y="147"/>
                  <a:pt x="223" y="146"/>
                </a:cubicBezTo>
                <a:cubicBezTo>
                  <a:pt x="224" y="143"/>
                  <a:pt x="221" y="144"/>
                  <a:pt x="222" y="142"/>
                </a:cubicBezTo>
                <a:cubicBezTo>
                  <a:pt x="224" y="142"/>
                  <a:pt x="224" y="145"/>
                  <a:pt x="227" y="144"/>
                </a:cubicBezTo>
                <a:cubicBezTo>
                  <a:pt x="227" y="144"/>
                  <a:pt x="227" y="144"/>
                  <a:pt x="227" y="144"/>
                </a:cubicBezTo>
                <a:cubicBezTo>
                  <a:pt x="227" y="144"/>
                  <a:pt x="227" y="144"/>
                  <a:pt x="227" y="144"/>
                </a:cubicBezTo>
                <a:cubicBezTo>
                  <a:pt x="228" y="144"/>
                  <a:pt x="228" y="144"/>
                  <a:pt x="228" y="144"/>
                </a:cubicBezTo>
                <a:cubicBezTo>
                  <a:pt x="228" y="144"/>
                  <a:pt x="230" y="144"/>
                  <a:pt x="230" y="142"/>
                </a:cubicBezTo>
                <a:cubicBezTo>
                  <a:pt x="230" y="142"/>
                  <a:pt x="230" y="142"/>
                  <a:pt x="230" y="142"/>
                </a:cubicBezTo>
                <a:cubicBezTo>
                  <a:pt x="230" y="142"/>
                  <a:pt x="230" y="142"/>
                  <a:pt x="230" y="141"/>
                </a:cubicBezTo>
                <a:cubicBezTo>
                  <a:pt x="229" y="139"/>
                  <a:pt x="231" y="141"/>
                  <a:pt x="232" y="142"/>
                </a:cubicBezTo>
                <a:cubicBezTo>
                  <a:pt x="233" y="143"/>
                  <a:pt x="234" y="143"/>
                  <a:pt x="235" y="144"/>
                </a:cubicBezTo>
                <a:cubicBezTo>
                  <a:pt x="236" y="143"/>
                  <a:pt x="237" y="142"/>
                  <a:pt x="237" y="144"/>
                </a:cubicBezTo>
                <a:cubicBezTo>
                  <a:pt x="238" y="143"/>
                  <a:pt x="238" y="142"/>
                  <a:pt x="239" y="142"/>
                </a:cubicBezTo>
                <a:cubicBezTo>
                  <a:pt x="239" y="141"/>
                  <a:pt x="239" y="141"/>
                  <a:pt x="239" y="140"/>
                </a:cubicBezTo>
                <a:cubicBezTo>
                  <a:pt x="239" y="140"/>
                  <a:pt x="239" y="141"/>
                  <a:pt x="240" y="141"/>
                </a:cubicBezTo>
                <a:cubicBezTo>
                  <a:pt x="240" y="141"/>
                  <a:pt x="240" y="140"/>
                  <a:pt x="241" y="140"/>
                </a:cubicBezTo>
                <a:cubicBezTo>
                  <a:pt x="241" y="140"/>
                  <a:pt x="241" y="140"/>
                  <a:pt x="241" y="140"/>
                </a:cubicBezTo>
                <a:cubicBezTo>
                  <a:pt x="242" y="140"/>
                  <a:pt x="242" y="140"/>
                  <a:pt x="242" y="139"/>
                </a:cubicBezTo>
                <a:cubicBezTo>
                  <a:pt x="243" y="139"/>
                  <a:pt x="243" y="141"/>
                  <a:pt x="245" y="141"/>
                </a:cubicBezTo>
                <a:cubicBezTo>
                  <a:pt x="245" y="141"/>
                  <a:pt x="245" y="141"/>
                  <a:pt x="246" y="141"/>
                </a:cubicBezTo>
                <a:cubicBezTo>
                  <a:pt x="246" y="140"/>
                  <a:pt x="246" y="140"/>
                  <a:pt x="246" y="140"/>
                </a:cubicBezTo>
                <a:cubicBezTo>
                  <a:pt x="247" y="139"/>
                  <a:pt x="249" y="139"/>
                  <a:pt x="250" y="139"/>
                </a:cubicBezTo>
                <a:cubicBezTo>
                  <a:pt x="250" y="139"/>
                  <a:pt x="251" y="139"/>
                  <a:pt x="251" y="139"/>
                </a:cubicBezTo>
                <a:cubicBezTo>
                  <a:pt x="252" y="139"/>
                  <a:pt x="253" y="138"/>
                  <a:pt x="254" y="138"/>
                </a:cubicBezTo>
                <a:cubicBezTo>
                  <a:pt x="254" y="138"/>
                  <a:pt x="255" y="138"/>
                  <a:pt x="255" y="138"/>
                </a:cubicBezTo>
                <a:cubicBezTo>
                  <a:pt x="255" y="138"/>
                  <a:pt x="255" y="138"/>
                  <a:pt x="255" y="138"/>
                </a:cubicBezTo>
                <a:cubicBezTo>
                  <a:pt x="255" y="138"/>
                  <a:pt x="255" y="137"/>
                  <a:pt x="255" y="137"/>
                </a:cubicBezTo>
                <a:cubicBezTo>
                  <a:pt x="255" y="137"/>
                  <a:pt x="255" y="137"/>
                  <a:pt x="255" y="137"/>
                </a:cubicBezTo>
                <a:close/>
                <a:moveTo>
                  <a:pt x="136" y="438"/>
                </a:moveTo>
                <a:cubicBezTo>
                  <a:pt x="136" y="437"/>
                  <a:pt x="136" y="437"/>
                  <a:pt x="136" y="437"/>
                </a:cubicBezTo>
                <a:cubicBezTo>
                  <a:pt x="137" y="437"/>
                  <a:pt x="138" y="438"/>
                  <a:pt x="138" y="437"/>
                </a:cubicBezTo>
                <a:cubicBezTo>
                  <a:pt x="139" y="437"/>
                  <a:pt x="140" y="438"/>
                  <a:pt x="142" y="438"/>
                </a:cubicBezTo>
                <a:cubicBezTo>
                  <a:pt x="142" y="438"/>
                  <a:pt x="143" y="438"/>
                  <a:pt x="143" y="439"/>
                </a:cubicBezTo>
                <a:cubicBezTo>
                  <a:pt x="144" y="439"/>
                  <a:pt x="144" y="440"/>
                  <a:pt x="145" y="440"/>
                </a:cubicBezTo>
                <a:cubicBezTo>
                  <a:pt x="146" y="440"/>
                  <a:pt x="146" y="440"/>
                  <a:pt x="146" y="441"/>
                </a:cubicBezTo>
                <a:cubicBezTo>
                  <a:pt x="147" y="441"/>
                  <a:pt x="147" y="440"/>
                  <a:pt x="147" y="440"/>
                </a:cubicBezTo>
                <a:cubicBezTo>
                  <a:pt x="147" y="439"/>
                  <a:pt x="147" y="438"/>
                  <a:pt x="147" y="438"/>
                </a:cubicBezTo>
                <a:cubicBezTo>
                  <a:pt x="147" y="437"/>
                  <a:pt x="146" y="437"/>
                  <a:pt x="146" y="436"/>
                </a:cubicBezTo>
                <a:cubicBezTo>
                  <a:pt x="145" y="436"/>
                  <a:pt x="145" y="435"/>
                  <a:pt x="145" y="435"/>
                </a:cubicBezTo>
                <a:cubicBezTo>
                  <a:pt x="144" y="435"/>
                  <a:pt x="144" y="434"/>
                  <a:pt x="145" y="433"/>
                </a:cubicBezTo>
                <a:cubicBezTo>
                  <a:pt x="145" y="433"/>
                  <a:pt x="145" y="433"/>
                  <a:pt x="146" y="433"/>
                </a:cubicBezTo>
                <a:cubicBezTo>
                  <a:pt x="146" y="434"/>
                  <a:pt x="146" y="435"/>
                  <a:pt x="147" y="435"/>
                </a:cubicBezTo>
                <a:cubicBezTo>
                  <a:pt x="147" y="436"/>
                  <a:pt x="148" y="436"/>
                  <a:pt x="149" y="437"/>
                </a:cubicBezTo>
                <a:cubicBezTo>
                  <a:pt x="149" y="438"/>
                  <a:pt x="149" y="438"/>
                  <a:pt x="149" y="439"/>
                </a:cubicBezTo>
                <a:cubicBezTo>
                  <a:pt x="150" y="438"/>
                  <a:pt x="150" y="439"/>
                  <a:pt x="151" y="439"/>
                </a:cubicBezTo>
                <a:cubicBezTo>
                  <a:pt x="151" y="440"/>
                  <a:pt x="153" y="439"/>
                  <a:pt x="153" y="440"/>
                </a:cubicBezTo>
                <a:cubicBezTo>
                  <a:pt x="154" y="440"/>
                  <a:pt x="154" y="439"/>
                  <a:pt x="154" y="438"/>
                </a:cubicBezTo>
                <a:cubicBezTo>
                  <a:pt x="154" y="437"/>
                  <a:pt x="154" y="436"/>
                  <a:pt x="155" y="435"/>
                </a:cubicBezTo>
                <a:cubicBezTo>
                  <a:pt x="155" y="435"/>
                  <a:pt x="154" y="435"/>
                  <a:pt x="154" y="434"/>
                </a:cubicBezTo>
                <a:cubicBezTo>
                  <a:pt x="154" y="433"/>
                  <a:pt x="153" y="433"/>
                  <a:pt x="152" y="433"/>
                </a:cubicBezTo>
                <a:cubicBezTo>
                  <a:pt x="152" y="433"/>
                  <a:pt x="152" y="433"/>
                  <a:pt x="152" y="433"/>
                </a:cubicBezTo>
                <a:cubicBezTo>
                  <a:pt x="151" y="432"/>
                  <a:pt x="151" y="431"/>
                  <a:pt x="149" y="431"/>
                </a:cubicBezTo>
                <a:cubicBezTo>
                  <a:pt x="149" y="431"/>
                  <a:pt x="149" y="430"/>
                  <a:pt x="149" y="429"/>
                </a:cubicBezTo>
                <a:cubicBezTo>
                  <a:pt x="149" y="429"/>
                  <a:pt x="149" y="429"/>
                  <a:pt x="148" y="428"/>
                </a:cubicBezTo>
                <a:cubicBezTo>
                  <a:pt x="147" y="428"/>
                  <a:pt x="147" y="429"/>
                  <a:pt x="147" y="428"/>
                </a:cubicBezTo>
                <a:cubicBezTo>
                  <a:pt x="147" y="428"/>
                  <a:pt x="148" y="427"/>
                  <a:pt x="149" y="427"/>
                </a:cubicBezTo>
                <a:cubicBezTo>
                  <a:pt x="150" y="427"/>
                  <a:pt x="150" y="428"/>
                  <a:pt x="151" y="428"/>
                </a:cubicBezTo>
                <a:cubicBezTo>
                  <a:pt x="152" y="430"/>
                  <a:pt x="153" y="432"/>
                  <a:pt x="154" y="433"/>
                </a:cubicBezTo>
                <a:cubicBezTo>
                  <a:pt x="154" y="433"/>
                  <a:pt x="155" y="433"/>
                  <a:pt x="155" y="433"/>
                </a:cubicBezTo>
                <a:cubicBezTo>
                  <a:pt x="155" y="434"/>
                  <a:pt x="156" y="434"/>
                  <a:pt x="156" y="435"/>
                </a:cubicBezTo>
                <a:cubicBezTo>
                  <a:pt x="156" y="436"/>
                  <a:pt x="156" y="436"/>
                  <a:pt x="156" y="436"/>
                </a:cubicBezTo>
                <a:cubicBezTo>
                  <a:pt x="156" y="436"/>
                  <a:pt x="156" y="436"/>
                  <a:pt x="156" y="436"/>
                </a:cubicBezTo>
                <a:cubicBezTo>
                  <a:pt x="156" y="438"/>
                  <a:pt x="155" y="440"/>
                  <a:pt x="155" y="442"/>
                </a:cubicBezTo>
                <a:cubicBezTo>
                  <a:pt x="155" y="442"/>
                  <a:pt x="155" y="442"/>
                  <a:pt x="155" y="442"/>
                </a:cubicBezTo>
                <a:cubicBezTo>
                  <a:pt x="155" y="443"/>
                  <a:pt x="156" y="443"/>
                  <a:pt x="156" y="444"/>
                </a:cubicBezTo>
                <a:cubicBezTo>
                  <a:pt x="156" y="444"/>
                  <a:pt x="156" y="444"/>
                  <a:pt x="156" y="444"/>
                </a:cubicBezTo>
                <a:cubicBezTo>
                  <a:pt x="157" y="445"/>
                  <a:pt x="158" y="445"/>
                  <a:pt x="160" y="445"/>
                </a:cubicBezTo>
                <a:cubicBezTo>
                  <a:pt x="160" y="445"/>
                  <a:pt x="160" y="445"/>
                  <a:pt x="160" y="445"/>
                </a:cubicBezTo>
                <a:cubicBezTo>
                  <a:pt x="161" y="446"/>
                  <a:pt x="162" y="444"/>
                  <a:pt x="164" y="445"/>
                </a:cubicBezTo>
                <a:cubicBezTo>
                  <a:pt x="162" y="445"/>
                  <a:pt x="161" y="445"/>
                  <a:pt x="160" y="446"/>
                </a:cubicBezTo>
                <a:cubicBezTo>
                  <a:pt x="160" y="446"/>
                  <a:pt x="160" y="446"/>
                  <a:pt x="160" y="446"/>
                </a:cubicBezTo>
                <a:cubicBezTo>
                  <a:pt x="160" y="447"/>
                  <a:pt x="160" y="447"/>
                  <a:pt x="160" y="447"/>
                </a:cubicBezTo>
                <a:cubicBezTo>
                  <a:pt x="159" y="447"/>
                  <a:pt x="159" y="446"/>
                  <a:pt x="158" y="447"/>
                </a:cubicBezTo>
                <a:cubicBezTo>
                  <a:pt x="158" y="447"/>
                  <a:pt x="158" y="446"/>
                  <a:pt x="158" y="446"/>
                </a:cubicBezTo>
                <a:cubicBezTo>
                  <a:pt x="158" y="446"/>
                  <a:pt x="158" y="446"/>
                  <a:pt x="158" y="446"/>
                </a:cubicBezTo>
                <a:cubicBezTo>
                  <a:pt x="157" y="446"/>
                  <a:pt x="157" y="445"/>
                  <a:pt x="156" y="445"/>
                </a:cubicBezTo>
                <a:cubicBezTo>
                  <a:pt x="156" y="445"/>
                  <a:pt x="156" y="445"/>
                  <a:pt x="156" y="444"/>
                </a:cubicBezTo>
                <a:cubicBezTo>
                  <a:pt x="155" y="444"/>
                  <a:pt x="155" y="443"/>
                  <a:pt x="154" y="443"/>
                </a:cubicBezTo>
                <a:cubicBezTo>
                  <a:pt x="154" y="443"/>
                  <a:pt x="154" y="443"/>
                  <a:pt x="154" y="443"/>
                </a:cubicBezTo>
                <a:cubicBezTo>
                  <a:pt x="154" y="443"/>
                  <a:pt x="154" y="442"/>
                  <a:pt x="154" y="442"/>
                </a:cubicBezTo>
                <a:cubicBezTo>
                  <a:pt x="154" y="445"/>
                  <a:pt x="152" y="441"/>
                  <a:pt x="152" y="443"/>
                </a:cubicBezTo>
                <a:cubicBezTo>
                  <a:pt x="152" y="443"/>
                  <a:pt x="152" y="444"/>
                  <a:pt x="152" y="444"/>
                </a:cubicBezTo>
                <a:cubicBezTo>
                  <a:pt x="153" y="444"/>
                  <a:pt x="154" y="445"/>
                  <a:pt x="154" y="445"/>
                </a:cubicBezTo>
                <a:cubicBezTo>
                  <a:pt x="154" y="447"/>
                  <a:pt x="157" y="446"/>
                  <a:pt x="157" y="448"/>
                </a:cubicBezTo>
                <a:cubicBezTo>
                  <a:pt x="155" y="448"/>
                  <a:pt x="151" y="447"/>
                  <a:pt x="150" y="449"/>
                </a:cubicBezTo>
                <a:cubicBezTo>
                  <a:pt x="150" y="447"/>
                  <a:pt x="148" y="447"/>
                  <a:pt x="147" y="447"/>
                </a:cubicBezTo>
                <a:cubicBezTo>
                  <a:pt x="146" y="449"/>
                  <a:pt x="145" y="449"/>
                  <a:pt x="145" y="451"/>
                </a:cubicBezTo>
                <a:cubicBezTo>
                  <a:pt x="144" y="452"/>
                  <a:pt x="143" y="448"/>
                  <a:pt x="145" y="449"/>
                </a:cubicBezTo>
                <a:cubicBezTo>
                  <a:pt x="144" y="448"/>
                  <a:pt x="145" y="447"/>
                  <a:pt x="145" y="447"/>
                </a:cubicBezTo>
                <a:cubicBezTo>
                  <a:pt x="145" y="446"/>
                  <a:pt x="144" y="446"/>
                  <a:pt x="144" y="445"/>
                </a:cubicBezTo>
                <a:cubicBezTo>
                  <a:pt x="142" y="445"/>
                  <a:pt x="139" y="446"/>
                  <a:pt x="140" y="444"/>
                </a:cubicBezTo>
                <a:cubicBezTo>
                  <a:pt x="139" y="443"/>
                  <a:pt x="138" y="443"/>
                  <a:pt x="138" y="442"/>
                </a:cubicBezTo>
                <a:cubicBezTo>
                  <a:pt x="139" y="441"/>
                  <a:pt x="140" y="441"/>
                  <a:pt x="140" y="440"/>
                </a:cubicBezTo>
                <a:cubicBezTo>
                  <a:pt x="140" y="439"/>
                  <a:pt x="139" y="439"/>
                  <a:pt x="139" y="439"/>
                </a:cubicBezTo>
                <a:cubicBezTo>
                  <a:pt x="138" y="438"/>
                  <a:pt x="137" y="438"/>
                  <a:pt x="136" y="439"/>
                </a:cubicBezTo>
                <a:cubicBezTo>
                  <a:pt x="136" y="443"/>
                  <a:pt x="136" y="443"/>
                  <a:pt x="136" y="443"/>
                </a:cubicBezTo>
                <a:cubicBezTo>
                  <a:pt x="137" y="443"/>
                  <a:pt x="137" y="444"/>
                  <a:pt x="136" y="443"/>
                </a:cubicBezTo>
                <a:cubicBezTo>
                  <a:pt x="135" y="443"/>
                  <a:pt x="135" y="442"/>
                  <a:pt x="135" y="441"/>
                </a:cubicBezTo>
                <a:cubicBezTo>
                  <a:pt x="133" y="442"/>
                  <a:pt x="133" y="440"/>
                  <a:pt x="131" y="440"/>
                </a:cubicBezTo>
                <a:cubicBezTo>
                  <a:pt x="130" y="440"/>
                  <a:pt x="131" y="442"/>
                  <a:pt x="131" y="442"/>
                </a:cubicBezTo>
                <a:cubicBezTo>
                  <a:pt x="131" y="442"/>
                  <a:pt x="131" y="442"/>
                  <a:pt x="131" y="442"/>
                </a:cubicBezTo>
                <a:cubicBezTo>
                  <a:pt x="132" y="443"/>
                  <a:pt x="133" y="443"/>
                  <a:pt x="133" y="444"/>
                </a:cubicBezTo>
                <a:cubicBezTo>
                  <a:pt x="134" y="445"/>
                  <a:pt x="135" y="445"/>
                  <a:pt x="135" y="445"/>
                </a:cubicBezTo>
                <a:cubicBezTo>
                  <a:pt x="134" y="445"/>
                  <a:pt x="133" y="445"/>
                  <a:pt x="133" y="444"/>
                </a:cubicBezTo>
                <a:cubicBezTo>
                  <a:pt x="132" y="445"/>
                  <a:pt x="131" y="444"/>
                  <a:pt x="131" y="442"/>
                </a:cubicBezTo>
                <a:cubicBezTo>
                  <a:pt x="130" y="442"/>
                  <a:pt x="127" y="441"/>
                  <a:pt x="124" y="442"/>
                </a:cubicBezTo>
                <a:cubicBezTo>
                  <a:pt x="124" y="442"/>
                  <a:pt x="123" y="442"/>
                  <a:pt x="123" y="442"/>
                </a:cubicBezTo>
                <a:cubicBezTo>
                  <a:pt x="121" y="442"/>
                  <a:pt x="117" y="444"/>
                  <a:pt x="117" y="441"/>
                </a:cubicBezTo>
                <a:cubicBezTo>
                  <a:pt x="118" y="441"/>
                  <a:pt x="118" y="442"/>
                  <a:pt x="119" y="442"/>
                </a:cubicBezTo>
                <a:cubicBezTo>
                  <a:pt x="119" y="442"/>
                  <a:pt x="120" y="441"/>
                  <a:pt x="120" y="441"/>
                </a:cubicBezTo>
                <a:cubicBezTo>
                  <a:pt x="121" y="441"/>
                  <a:pt x="121" y="442"/>
                  <a:pt x="122" y="442"/>
                </a:cubicBezTo>
                <a:cubicBezTo>
                  <a:pt x="122" y="441"/>
                  <a:pt x="123" y="441"/>
                  <a:pt x="124" y="441"/>
                </a:cubicBezTo>
                <a:cubicBezTo>
                  <a:pt x="125" y="440"/>
                  <a:pt x="125" y="440"/>
                  <a:pt x="126" y="439"/>
                </a:cubicBezTo>
                <a:cubicBezTo>
                  <a:pt x="128" y="439"/>
                  <a:pt x="125" y="436"/>
                  <a:pt x="127" y="436"/>
                </a:cubicBezTo>
                <a:cubicBezTo>
                  <a:pt x="127" y="438"/>
                  <a:pt x="130" y="436"/>
                  <a:pt x="129" y="438"/>
                </a:cubicBezTo>
                <a:cubicBezTo>
                  <a:pt x="130" y="439"/>
                  <a:pt x="131" y="439"/>
                  <a:pt x="132" y="440"/>
                </a:cubicBezTo>
                <a:cubicBezTo>
                  <a:pt x="132" y="439"/>
                  <a:pt x="132" y="437"/>
                  <a:pt x="133" y="437"/>
                </a:cubicBezTo>
                <a:cubicBezTo>
                  <a:pt x="133" y="437"/>
                  <a:pt x="134" y="438"/>
                  <a:pt x="134" y="438"/>
                </a:cubicBezTo>
                <a:cubicBezTo>
                  <a:pt x="135" y="438"/>
                  <a:pt x="136" y="438"/>
                  <a:pt x="136" y="438"/>
                </a:cubicBezTo>
                <a:close/>
                <a:moveTo>
                  <a:pt x="207" y="168"/>
                </a:moveTo>
                <a:cubicBezTo>
                  <a:pt x="207" y="167"/>
                  <a:pt x="207" y="168"/>
                  <a:pt x="208" y="168"/>
                </a:cubicBezTo>
                <a:cubicBezTo>
                  <a:pt x="207" y="168"/>
                  <a:pt x="207" y="168"/>
                  <a:pt x="207" y="168"/>
                </a:cubicBezTo>
                <a:close/>
                <a:moveTo>
                  <a:pt x="218" y="158"/>
                </a:moveTo>
                <a:cubicBezTo>
                  <a:pt x="218" y="158"/>
                  <a:pt x="218" y="158"/>
                  <a:pt x="218" y="158"/>
                </a:cubicBezTo>
                <a:cubicBezTo>
                  <a:pt x="218" y="158"/>
                  <a:pt x="218" y="158"/>
                  <a:pt x="218" y="158"/>
                </a:cubicBezTo>
                <a:cubicBezTo>
                  <a:pt x="218" y="158"/>
                  <a:pt x="218" y="158"/>
                  <a:pt x="218" y="158"/>
                </a:cubicBezTo>
                <a:close/>
                <a:moveTo>
                  <a:pt x="218" y="158"/>
                </a:moveTo>
                <a:cubicBezTo>
                  <a:pt x="218" y="158"/>
                  <a:pt x="218" y="158"/>
                  <a:pt x="218" y="158"/>
                </a:cubicBezTo>
                <a:cubicBezTo>
                  <a:pt x="218" y="158"/>
                  <a:pt x="218" y="158"/>
                  <a:pt x="218" y="158"/>
                </a:cubicBezTo>
                <a:cubicBezTo>
                  <a:pt x="218" y="158"/>
                  <a:pt x="218" y="158"/>
                  <a:pt x="218" y="158"/>
                </a:cubicBezTo>
                <a:close/>
                <a:moveTo>
                  <a:pt x="218" y="156"/>
                </a:moveTo>
                <a:cubicBezTo>
                  <a:pt x="218" y="157"/>
                  <a:pt x="217" y="157"/>
                  <a:pt x="217" y="157"/>
                </a:cubicBezTo>
                <a:cubicBezTo>
                  <a:pt x="217" y="157"/>
                  <a:pt x="217" y="157"/>
                  <a:pt x="217" y="157"/>
                </a:cubicBezTo>
                <a:cubicBezTo>
                  <a:pt x="217" y="157"/>
                  <a:pt x="216" y="157"/>
                  <a:pt x="216" y="156"/>
                </a:cubicBezTo>
                <a:cubicBezTo>
                  <a:pt x="217" y="156"/>
                  <a:pt x="217" y="156"/>
                  <a:pt x="218" y="156"/>
                </a:cubicBezTo>
                <a:close/>
                <a:moveTo>
                  <a:pt x="34" y="605"/>
                </a:moveTo>
                <a:cubicBezTo>
                  <a:pt x="34" y="607"/>
                  <a:pt x="38" y="608"/>
                  <a:pt x="37" y="605"/>
                </a:cubicBezTo>
                <a:cubicBezTo>
                  <a:pt x="37" y="605"/>
                  <a:pt x="37" y="605"/>
                  <a:pt x="37" y="605"/>
                </a:cubicBezTo>
                <a:cubicBezTo>
                  <a:pt x="36" y="605"/>
                  <a:pt x="35" y="604"/>
                  <a:pt x="34" y="605"/>
                </a:cubicBezTo>
                <a:close/>
                <a:moveTo>
                  <a:pt x="250" y="148"/>
                </a:moveTo>
                <a:cubicBezTo>
                  <a:pt x="250" y="148"/>
                  <a:pt x="250" y="148"/>
                  <a:pt x="250" y="148"/>
                </a:cubicBezTo>
                <a:cubicBezTo>
                  <a:pt x="249" y="149"/>
                  <a:pt x="249" y="150"/>
                  <a:pt x="249" y="151"/>
                </a:cubicBezTo>
                <a:cubicBezTo>
                  <a:pt x="251" y="152"/>
                  <a:pt x="252" y="149"/>
                  <a:pt x="250" y="148"/>
                </a:cubicBezTo>
                <a:close/>
                <a:moveTo>
                  <a:pt x="127" y="438"/>
                </a:moveTo>
                <a:cubicBezTo>
                  <a:pt x="127" y="439"/>
                  <a:pt x="127" y="440"/>
                  <a:pt x="127" y="440"/>
                </a:cubicBezTo>
                <a:cubicBezTo>
                  <a:pt x="128" y="440"/>
                  <a:pt x="129" y="440"/>
                  <a:pt x="129" y="440"/>
                </a:cubicBezTo>
                <a:cubicBezTo>
                  <a:pt x="129" y="439"/>
                  <a:pt x="129" y="438"/>
                  <a:pt x="127" y="438"/>
                </a:cubicBezTo>
                <a:close/>
                <a:moveTo>
                  <a:pt x="150" y="447"/>
                </a:moveTo>
                <a:cubicBezTo>
                  <a:pt x="150" y="446"/>
                  <a:pt x="150" y="445"/>
                  <a:pt x="151" y="445"/>
                </a:cubicBezTo>
                <a:cubicBezTo>
                  <a:pt x="151" y="444"/>
                  <a:pt x="150" y="444"/>
                  <a:pt x="150" y="443"/>
                </a:cubicBezTo>
                <a:cubicBezTo>
                  <a:pt x="150" y="443"/>
                  <a:pt x="149" y="443"/>
                  <a:pt x="149" y="442"/>
                </a:cubicBezTo>
                <a:cubicBezTo>
                  <a:pt x="149" y="443"/>
                  <a:pt x="147" y="442"/>
                  <a:pt x="147" y="443"/>
                </a:cubicBezTo>
                <a:cubicBezTo>
                  <a:pt x="149" y="444"/>
                  <a:pt x="148" y="446"/>
                  <a:pt x="150" y="447"/>
                </a:cubicBezTo>
                <a:close/>
                <a:moveTo>
                  <a:pt x="220" y="160"/>
                </a:moveTo>
                <a:cubicBezTo>
                  <a:pt x="221" y="160"/>
                  <a:pt x="221" y="160"/>
                  <a:pt x="222" y="160"/>
                </a:cubicBezTo>
                <a:cubicBezTo>
                  <a:pt x="222" y="159"/>
                  <a:pt x="222" y="158"/>
                  <a:pt x="222" y="157"/>
                </a:cubicBezTo>
                <a:cubicBezTo>
                  <a:pt x="221" y="157"/>
                  <a:pt x="221" y="157"/>
                  <a:pt x="220" y="157"/>
                </a:cubicBezTo>
                <a:cubicBezTo>
                  <a:pt x="220" y="158"/>
                  <a:pt x="220" y="159"/>
                  <a:pt x="220" y="160"/>
                </a:cubicBezTo>
                <a:close/>
                <a:moveTo>
                  <a:pt x="140" y="443"/>
                </a:moveTo>
                <a:cubicBezTo>
                  <a:pt x="140" y="443"/>
                  <a:pt x="141" y="443"/>
                  <a:pt x="140" y="444"/>
                </a:cubicBezTo>
                <a:cubicBezTo>
                  <a:pt x="141" y="445"/>
                  <a:pt x="144" y="444"/>
                  <a:pt x="146" y="444"/>
                </a:cubicBezTo>
                <a:cubicBezTo>
                  <a:pt x="145" y="444"/>
                  <a:pt x="145" y="442"/>
                  <a:pt x="144" y="442"/>
                </a:cubicBezTo>
                <a:cubicBezTo>
                  <a:pt x="144" y="440"/>
                  <a:pt x="141" y="441"/>
                  <a:pt x="141" y="440"/>
                </a:cubicBezTo>
                <a:cubicBezTo>
                  <a:pt x="140" y="440"/>
                  <a:pt x="141" y="441"/>
                  <a:pt x="140" y="441"/>
                </a:cubicBezTo>
                <a:cubicBezTo>
                  <a:pt x="140" y="442"/>
                  <a:pt x="140" y="442"/>
                  <a:pt x="140" y="443"/>
                </a:cubicBezTo>
                <a:close/>
                <a:moveTo>
                  <a:pt x="169" y="399"/>
                </a:moveTo>
                <a:cubicBezTo>
                  <a:pt x="169" y="399"/>
                  <a:pt x="170" y="399"/>
                  <a:pt x="170" y="399"/>
                </a:cubicBezTo>
                <a:cubicBezTo>
                  <a:pt x="170" y="399"/>
                  <a:pt x="170" y="400"/>
                  <a:pt x="170" y="400"/>
                </a:cubicBezTo>
                <a:cubicBezTo>
                  <a:pt x="170" y="400"/>
                  <a:pt x="171" y="400"/>
                  <a:pt x="171" y="401"/>
                </a:cubicBezTo>
                <a:cubicBezTo>
                  <a:pt x="172" y="401"/>
                  <a:pt x="172" y="400"/>
                  <a:pt x="172" y="399"/>
                </a:cubicBezTo>
                <a:cubicBezTo>
                  <a:pt x="171" y="397"/>
                  <a:pt x="168" y="396"/>
                  <a:pt x="169" y="392"/>
                </a:cubicBezTo>
                <a:cubicBezTo>
                  <a:pt x="168" y="393"/>
                  <a:pt x="167" y="393"/>
                  <a:pt x="166" y="392"/>
                </a:cubicBezTo>
                <a:cubicBezTo>
                  <a:pt x="166" y="395"/>
                  <a:pt x="168" y="396"/>
                  <a:pt x="168" y="399"/>
                </a:cubicBezTo>
                <a:cubicBezTo>
                  <a:pt x="169" y="398"/>
                  <a:pt x="169" y="399"/>
                  <a:pt x="169" y="399"/>
                </a:cubicBezTo>
                <a:close/>
                <a:moveTo>
                  <a:pt x="226" y="157"/>
                </a:moveTo>
                <a:cubicBezTo>
                  <a:pt x="227" y="157"/>
                  <a:pt x="227" y="157"/>
                  <a:pt x="227" y="157"/>
                </a:cubicBezTo>
                <a:cubicBezTo>
                  <a:pt x="227" y="157"/>
                  <a:pt x="227" y="156"/>
                  <a:pt x="227" y="156"/>
                </a:cubicBezTo>
                <a:cubicBezTo>
                  <a:pt x="227" y="156"/>
                  <a:pt x="227" y="156"/>
                  <a:pt x="227" y="155"/>
                </a:cubicBezTo>
                <a:cubicBezTo>
                  <a:pt x="227" y="155"/>
                  <a:pt x="227" y="155"/>
                  <a:pt x="226" y="155"/>
                </a:cubicBezTo>
                <a:cubicBezTo>
                  <a:pt x="226" y="156"/>
                  <a:pt x="226" y="156"/>
                  <a:pt x="226" y="157"/>
                </a:cubicBezTo>
                <a:close/>
                <a:moveTo>
                  <a:pt x="227" y="147"/>
                </a:moveTo>
                <a:cubicBezTo>
                  <a:pt x="227" y="148"/>
                  <a:pt x="227" y="148"/>
                  <a:pt x="228" y="148"/>
                </a:cubicBezTo>
                <a:cubicBezTo>
                  <a:pt x="228" y="148"/>
                  <a:pt x="228" y="148"/>
                  <a:pt x="229" y="148"/>
                </a:cubicBezTo>
                <a:cubicBezTo>
                  <a:pt x="229" y="147"/>
                  <a:pt x="229" y="147"/>
                  <a:pt x="229" y="146"/>
                </a:cubicBezTo>
                <a:cubicBezTo>
                  <a:pt x="228" y="146"/>
                  <a:pt x="228" y="146"/>
                  <a:pt x="227" y="146"/>
                </a:cubicBezTo>
                <a:cubicBezTo>
                  <a:pt x="228" y="147"/>
                  <a:pt x="227" y="147"/>
                  <a:pt x="227" y="147"/>
                </a:cubicBezTo>
                <a:close/>
                <a:moveTo>
                  <a:pt x="228" y="153"/>
                </a:moveTo>
                <a:cubicBezTo>
                  <a:pt x="228" y="151"/>
                  <a:pt x="229" y="149"/>
                  <a:pt x="227" y="150"/>
                </a:cubicBezTo>
                <a:cubicBezTo>
                  <a:pt x="227" y="151"/>
                  <a:pt x="227" y="151"/>
                  <a:pt x="227" y="152"/>
                </a:cubicBezTo>
                <a:cubicBezTo>
                  <a:pt x="227" y="152"/>
                  <a:pt x="226" y="152"/>
                  <a:pt x="226" y="153"/>
                </a:cubicBezTo>
                <a:cubicBezTo>
                  <a:pt x="227" y="153"/>
                  <a:pt x="227" y="154"/>
                  <a:pt x="227" y="154"/>
                </a:cubicBezTo>
                <a:cubicBezTo>
                  <a:pt x="227" y="155"/>
                  <a:pt x="229" y="155"/>
                  <a:pt x="229" y="155"/>
                </a:cubicBezTo>
                <a:cubicBezTo>
                  <a:pt x="229" y="156"/>
                  <a:pt x="229" y="156"/>
                  <a:pt x="230" y="156"/>
                </a:cubicBezTo>
                <a:cubicBezTo>
                  <a:pt x="230" y="154"/>
                  <a:pt x="228" y="154"/>
                  <a:pt x="228" y="153"/>
                </a:cubicBezTo>
                <a:close/>
                <a:moveTo>
                  <a:pt x="225" y="158"/>
                </a:moveTo>
                <a:cubicBezTo>
                  <a:pt x="225" y="158"/>
                  <a:pt x="225" y="157"/>
                  <a:pt x="224" y="157"/>
                </a:cubicBezTo>
                <a:cubicBezTo>
                  <a:pt x="224" y="158"/>
                  <a:pt x="222" y="160"/>
                  <a:pt x="224" y="160"/>
                </a:cubicBezTo>
                <a:cubicBezTo>
                  <a:pt x="224" y="159"/>
                  <a:pt x="226" y="160"/>
                  <a:pt x="226" y="159"/>
                </a:cubicBezTo>
                <a:cubicBezTo>
                  <a:pt x="226" y="159"/>
                  <a:pt x="225" y="159"/>
                  <a:pt x="225" y="158"/>
                </a:cubicBezTo>
                <a:close/>
                <a:moveTo>
                  <a:pt x="234" y="144"/>
                </a:moveTo>
                <a:cubicBezTo>
                  <a:pt x="233" y="144"/>
                  <a:pt x="233" y="144"/>
                  <a:pt x="232" y="144"/>
                </a:cubicBezTo>
                <a:cubicBezTo>
                  <a:pt x="232" y="144"/>
                  <a:pt x="232" y="144"/>
                  <a:pt x="232" y="144"/>
                </a:cubicBezTo>
                <a:cubicBezTo>
                  <a:pt x="232" y="145"/>
                  <a:pt x="232" y="145"/>
                  <a:pt x="232" y="145"/>
                </a:cubicBezTo>
                <a:cubicBezTo>
                  <a:pt x="232" y="145"/>
                  <a:pt x="232" y="146"/>
                  <a:pt x="232" y="146"/>
                </a:cubicBezTo>
                <a:cubicBezTo>
                  <a:pt x="233" y="146"/>
                  <a:pt x="233" y="146"/>
                  <a:pt x="233" y="146"/>
                </a:cubicBezTo>
                <a:cubicBezTo>
                  <a:pt x="233" y="147"/>
                  <a:pt x="234" y="147"/>
                  <a:pt x="234" y="147"/>
                </a:cubicBezTo>
                <a:cubicBezTo>
                  <a:pt x="234" y="146"/>
                  <a:pt x="234" y="146"/>
                  <a:pt x="234" y="145"/>
                </a:cubicBezTo>
                <a:cubicBezTo>
                  <a:pt x="234" y="145"/>
                  <a:pt x="234" y="145"/>
                  <a:pt x="234" y="144"/>
                </a:cubicBezTo>
                <a:close/>
                <a:moveTo>
                  <a:pt x="236" y="145"/>
                </a:moveTo>
                <a:cubicBezTo>
                  <a:pt x="236" y="145"/>
                  <a:pt x="237" y="145"/>
                  <a:pt x="237" y="145"/>
                </a:cubicBezTo>
                <a:cubicBezTo>
                  <a:pt x="237" y="145"/>
                  <a:pt x="237" y="144"/>
                  <a:pt x="237" y="144"/>
                </a:cubicBezTo>
                <a:cubicBezTo>
                  <a:pt x="236" y="144"/>
                  <a:pt x="236" y="144"/>
                  <a:pt x="236" y="145"/>
                </a:cubicBezTo>
                <a:close/>
                <a:moveTo>
                  <a:pt x="249" y="144"/>
                </a:moveTo>
                <a:cubicBezTo>
                  <a:pt x="249" y="143"/>
                  <a:pt x="249" y="143"/>
                  <a:pt x="249" y="142"/>
                </a:cubicBezTo>
                <a:cubicBezTo>
                  <a:pt x="249" y="140"/>
                  <a:pt x="247" y="142"/>
                  <a:pt x="247" y="143"/>
                </a:cubicBezTo>
                <a:cubicBezTo>
                  <a:pt x="248" y="143"/>
                  <a:pt x="248" y="144"/>
                  <a:pt x="249" y="144"/>
                </a:cubicBezTo>
                <a:close/>
                <a:moveTo>
                  <a:pt x="249" y="148"/>
                </a:moveTo>
                <a:cubicBezTo>
                  <a:pt x="249" y="148"/>
                  <a:pt x="248" y="148"/>
                  <a:pt x="248" y="148"/>
                </a:cubicBezTo>
                <a:cubicBezTo>
                  <a:pt x="249" y="149"/>
                  <a:pt x="249" y="148"/>
                  <a:pt x="249" y="148"/>
                </a:cubicBezTo>
                <a:close/>
                <a:moveTo>
                  <a:pt x="231" y="145"/>
                </a:moveTo>
                <a:cubicBezTo>
                  <a:pt x="231" y="143"/>
                  <a:pt x="230" y="145"/>
                  <a:pt x="229" y="144"/>
                </a:cubicBezTo>
                <a:cubicBezTo>
                  <a:pt x="229" y="144"/>
                  <a:pt x="229" y="145"/>
                  <a:pt x="229" y="145"/>
                </a:cubicBezTo>
                <a:cubicBezTo>
                  <a:pt x="229" y="145"/>
                  <a:pt x="229" y="146"/>
                  <a:pt x="229" y="146"/>
                </a:cubicBezTo>
                <a:cubicBezTo>
                  <a:pt x="229" y="146"/>
                  <a:pt x="229" y="146"/>
                  <a:pt x="229" y="146"/>
                </a:cubicBezTo>
                <a:cubicBezTo>
                  <a:pt x="229" y="146"/>
                  <a:pt x="229" y="146"/>
                  <a:pt x="229" y="146"/>
                </a:cubicBezTo>
                <a:cubicBezTo>
                  <a:pt x="229" y="146"/>
                  <a:pt x="230" y="146"/>
                  <a:pt x="230" y="146"/>
                </a:cubicBezTo>
                <a:cubicBezTo>
                  <a:pt x="230" y="147"/>
                  <a:pt x="230" y="147"/>
                  <a:pt x="230" y="147"/>
                </a:cubicBezTo>
                <a:cubicBezTo>
                  <a:pt x="230" y="147"/>
                  <a:pt x="230" y="147"/>
                  <a:pt x="230" y="147"/>
                </a:cubicBezTo>
                <a:cubicBezTo>
                  <a:pt x="230" y="147"/>
                  <a:pt x="230" y="147"/>
                  <a:pt x="231" y="147"/>
                </a:cubicBezTo>
                <a:cubicBezTo>
                  <a:pt x="231" y="146"/>
                  <a:pt x="231" y="146"/>
                  <a:pt x="231" y="145"/>
                </a:cubicBezTo>
                <a:cubicBezTo>
                  <a:pt x="231" y="145"/>
                  <a:pt x="231" y="145"/>
                  <a:pt x="231" y="145"/>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90" name="Freeform 119"/>
          <p:cNvSpPr>
            <a:spLocks noEditPoints="1"/>
          </p:cNvSpPr>
          <p:nvPr/>
        </p:nvSpPr>
        <p:spPr bwMode="auto">
          <a:xfrm>
            <a:off x="6870992" y="3384853"/>
            <a:ext cx="454025" cy="495300"/>
          </a:xfrm>
          <a:custGeom>
            <a:avLst/>
            <a:gdLst>
              <a:gd name="T0" fmla="*/ 64 w 117"/>
              <a:gd name="T1" fmla="*/ 8 h 128"/>
              <a:gd name="T2" fmla="*/ 60 w 117"/>
              <a:gd name="T3" fmla="*/ 6 h 128"/>
              <a:gd name="T4" fmla="*/ 89 w 117"/>
              <a:gd name="T5" fmla="*/ 3 h 128"/>
              <a:gd name="T6" fmla="*/ 58 w 117"/>
              <a:gd name="T7" fmla="*/ 10 h 128"/>
              <a:gd name="T8" fmla="*/ 52 w 117"/>
              <a:gd name="T9" fmla="*/ 12 h 128"/>
              <a:gd name="T10" fmla="*/ 98 w 117"/>
              <a:gd name="T11" fmla="*/ 3 h 128"/>
              <a:gd name="T12" fmla="*/ 19 w 117"/>
              <a:gd name="T13" fmla="*/ 77 h 128"/>
              <a:gd name="T14" fmla="*/ 25 w 117"/>
              <a:gd name="T15" fmla="*/ 82 h 128"/>
              <a:gd name="T16" fmla="*/ 34 w 117"/>
              <a:gd name="T17" fmla="*/ 82 h 128"/>
              <a:gd name="T18" fmla="*/ 30 w 117"/>
              <a:gd name="T19" fmla="*/ 80 h 128"/>
              <a:gd name="T20" fmla="*/ 27 w 117"/>
              <a:gd name="T21" fmla="*/ 77 h 128"/>
              <a:gd name="T22" fmla="*/ 53 w 117"/>
              <a:gd name="T23" fmla="*/ 18 h 128"/>
              <a:gd name="T24" fmla="*/ 14 w 117"/>
              <a:gd name="T25" fmla="*/ 95 h 128"/>
              <a:gd name="T26" fmla="*/ 0 w 117"/>
              <a:gd name="T27" fmla="*/ 96 h 128"/>
              <a:gd name="T28" fmla="*/ 13 w 117"/>
              <a:gd name="T29" fmla="*/ 100 h 128"/>
              <a:gd name="T30" fmla="*/ 113 w 117"/>
              <a:gd name="T31" fmla="*/ 14 h 128"/>
              <a:gd name="T32" fmla="*/ 74 w 117"/>
              <a:gd name="T33" fmla="*/ 10 h 128"/>
              <a:gd name="T34" fmla="*/ 66 w 117"/>
              <a:gd name="T35" fmla="*/ 22 h 128"/>
              <a:gd name="T36" fmla="*/ 69 w 117"/>
              <a:gd name="T37" fmla="*/ 37 h 128"/>
              <a:gd name="T38" fmla="*/ 58 w 117"/>
              <a:gd name="T39" fmla="*/ 49 h 128"/>
              <a:gd name="T40" fmla="*/ 55 w 117"/>
              <a:gd name="T41" fmla="*/ 48 h 128"/>
              <a:gd name="T42" fmla="*/ 61 w 117"/>
              <a:gd name="T43" fmla="*/ 39 h 128"/>
              <a:gd name="T44" fmla="*/ 56 w 117"/>
              <a:gd name="T45" fmla="*/ 24 h 128"/>
              <a:gd name="T46" fmla="*/ 41 w 117"/>
              <a:gd name="T47" fmla="*/ 42 h 128"/>
              <a:gd name="T48" fmla="*/ 40 w 117"/>
              <a:gd name="T49" fmla="*/ 48 h 128"/>
              <a:gd name="T50" fmla="*/ 31 w 117"/>
              <a:gd name="T51" fmla="*/ 60 h 128"/>
              <a:gd name="T52" fmla="*/ 23 w 117"/>
              <a:gd name="T53" fmla="*/ 69 h 128"/>
              <a:gd name="T54" fmla="*/ 23 w 117"/>
              <a:gd name="T55" fmla="*/ 74 h 128"/>
              <a:gd name="T56" fmla="*/ 30 w 117"/>
              <a:gd name="T57" fmla="*/ 78 h 128"/>
              <a:gd name="T58" fmla="*/ 26 w 117"/>
              <a:gd name="T59" fmla="*/ 84 h 128"/>
              <a:gd name="T60" fmla="*/ 24 w 117"/>
              <a:gd name="T61" fmla="*/ 84 h 128"/>
              <a:gd name="T62" fmla="*/ 20 w 117"/>
              <a:gd name="T63" fmla="*/ 85 h 128"/>
              <a:gd name="T64" fmla="*/ 25 w 117"/>
              <a:gd name="T65" fmla="*/ 91 h 128"/>
              <a:gd name="T66" fmla="*/ 17 w 117"/>
              <a:gd name="T67" fmla="*/ 86 h 128"/>
              <a:gd name="T68" fmla="*/ 13 w 117"/>
              <a:gd name="T69" fmla="*/ 86 h 128"/>
              <a:gd name="T70" fmla="*/ 6 w 117"/>
              <a:gd name="T71" fmla="*/ 83 h 128"/>
              <a:gd name="T72" fmla="*/ 9 w 117"/>
              <a:gd name="T73" fmla="*/ 90 h 128"/>
              <a:gd name="T74" fmla="*/ 22 w 117"/>
              <a:gd name="T75" fmla="*/ 93 h 128"/>
              <a:gd name="T76" fmla="*/ 42 w 117"/>
              <a:gd name="T77" fmla="*/ 90 h 128"/>
              <a:gd name="T78" fmla="*/ 51 w 117"/>
              <a:gd name="T79" fmla="*/ 98 h 128"/>
              <a:gd name="T80" fmla="*/ 64 w 117"/>
              <a:gd name="T81" fmla="*/ 104 h 128"/>
              <a:gd name="T82" fmla="*/ 71 w 117"/>
              <a:gd name="T83" fmla="*/ 112 h 128"/>
              <a:gd name="T84" fmla="*/ 73 w 117"/>
              <a:gd name="T85" fmla="*/ 128 h 128"/>
              <a:gd name="T86" fmla="*/ 73 w 117"/>
              <a:gd name="T87" fmla="*/ 120 h 128"/>
              <a:gd name="T88" fmla="*/ 83 w 117"/>
              <a:gd name="T89" fmla="*/ 102 h 128"/>
              <a:gd name="T90" fmla="*/ 80 w 117"/>
              <a:gd name="T91" fmla="*/ 91 h 128"/>
              <a:gd name="T92" fmla="*/ 77 w 117"/>
              <a:gd name="T93" fmla="*/ 81 h 128"/>
              <a:gd name="T94" fmla="*/ 83 w 117"/>
              <a:gd name="T95" fmla="*/ 76 h 128"/>
              <a:gd name="T96" fmla="*/ 99 w 117"/>
              <a:gd name="T97" fmla="*/ 74 h 128"/>
              <a:gd name="T98" fmla="*/ 110 w 117"/>
              <a:gd name="T99" fmla="*/ 62 h 128"/>
              <a:gd name="T100" fmla="*/ 108 w 117"/>
              <a:gd name="T101" fmla="*/ 53 h 128"/>
              <a:gd name="T102" fmla="*/ 101 w 117"/>
              <a:gd name="T103" fmla="*/ 49 h 128"/>
              <a:gd name="T104" fmla="*/ 101 w 117"/>
              <a:gd name="T105" fmla="*/ 47 h 128"/>
              <a:gd name="T106" fmla="*/ 113 w 117"/>
              <a:gd name="T107" fmla="*/ 35 h 128"/>
              <a:gd name="T108" fmla="*/ 74 w 117"/>
              <a:gd name="T109" fmla="*/ 84 h 128"/>
              <a:gd name="T110" fmla="*/ 80 w 117"/>
              <a:gd name="T111" fmla="*/ 42 h 128"/>
              <a:gd name="T112" fmla="*/ 13 w 117"/>
              <a:gd name="T113" fmla="*/ 85 h 128"/>
              <a:gd name="T114" fmla="*/ 15 w 117"/>
              <a:gd name="T115" fmla="*/ 83 h 128"/>
              <a:gd name="T116" fmla="*/ 13 w 117"/>
              <a:gd name="T117" fmla="*/ 79 h 128"/>
              <a:gd name="T118" fmla="*/ 20 w 117"/>
              <a:gd name="T119" fmla="*/ 84 h 128"/>
              <a:gd name="T120" fmla="*/ 10 w 117"/>
              <a:gd name="T121" fmla="*/ 7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 h="128">
                <a:moveTo>
                  <a:pt x="78" y="5"/>
                </a:moveTo>
                <a:cubicBezTo>
                  <a:pt x="78" y="5"/>
                  <a:pt x="79" y="5"/>
                  <a:pt x="79" y="5"/>
                </a:cubicBezTo>
                <a:cubicBezTo>
                  <a:pt x="82" y="6"/>
                  <a:pt x="83" y="6"/>
                  <a:pt x="83" y="3"/>
                </a:cubicBezTo>
                <a:cubicBezTo>
                  <a:pt x="80" y="4"/>
                  <a:pt x="79" y="3"/>
                  <a:pt x="76" y="3"/>
                </a:cubicBezTo>
                <a:cubicBezTo>
                  <a:pt x="77" y="4"/>
                  <a:pt x="72" y="2"/>
                  <a:pt x="74" y="5"/>
                </a:cubicBezTo>
                <a:cubicBezTo>
                  <a:pt x="75" y="5"/>
                  <a:pt x="76" y="5"/>
                  <a:pt x="78" y="5"/>
                </a:cubicBezTo>
                <a:close/>
                <a:moveTo>
                  <a:pt x="64" y="8"/>
                </a:moveTo>
                <a:cubicBezTo>
                  <a:pt x="64" y="6"/>
                  <a:pt x="67" y="6"/>
                  <a:pt x="68" y="5"/>
                </a:cubicBezTo>
                <a:cubicBezTo>
                  <a:pt x="69" y="5"/>
                  <a:pt x="70" y="5"/>
                  <a:pt x="72" y="5"/>
                </a:cubicBezTo>
                <a:cubicBezTo>
                  <a:pt x="72" y="3"/>
                  <a:pt x="69" y="4"/>
                  <a:pt x="69" y="3"/>
                </a:cubicBezTo>
                <a:cubicBezTo>
                  <a:pt x="69" y="3"/>
                  <a:pt x="68" y="3"/>
                  <a:pt x="68" y="3"/>
                </a:cubicBezTo>
                <a:cubicBezTo>
                  <a:pt x="68" y="4"/>
                  <a:pt x="66" y="3"/>
                  <a:pt x="65" y="3"/>
                </a:cubicBezTo>
                <a:cubicBezTo>
                  <a:pt x="65" y="5"/>
                  <a:pt x="63" y="4"/>
                  <a:pt x="63" y="5"/>
                </a:cubicBezTo>
                <a:cubicBezTo>
                  <a:pt x="61" y="5"/>
                  <a:pt x="62" y="7"/>
                  <a:pt x="60" y="6"/>
                </a:cubicBezTo>
                <a:cubicBezTo>
                  <a:pt x="59" y="9"/>
                  <a:pt x="62" y="8"/>
                  <a:pt x="64" y="8"/>
                </a:cubicBezTo>
                <a:close/>
                <a:moveTo>
                  <a:pt x="91" y="5"/>
                </a:moveTo>
                <a:cubicBezTo>
                  <a:pt x="91" y="4"/>
                  <a:pt x="91" y="4"/>
                  <a:pt x="92" y="4"/>
                </a:cubicBezTo>
                <a:cubicBezTo>
                  <a:pt x="92" y="4"/>
                  <a:pt x="92" y="3"/>
                  <a:pt x="93" y="3"/>
                </a:cubicBezTo>
                <a:cubicBezTo>
                  <a:pt x="93" y="3"/>
                  <a:pt x="93" y="3"/>
                  <a:pt x="94" y="3"/>
                </a:cubicBezTo>
                <a:cubicBezTo>
                  <a:pt x="94" y="2"/>
                  <a:pt x="94" y="2"/>
                  <a:pt x="94" y="2"/>
                </a:cubicBezTo>
                <a:cubicBezTo>
                  <a:pt x="91" y="1"/>
                  <a:pt x="91" y="3"/>
                  <a:pt x="89" y="3"/>
                </a:cubicBezTo>
                <a:cubicBezTo>
                  <a:pt x="87" y="2"/>
                  <a:pt x="87" y="4"/>
                  <a:pt x="87" y="5"/>
                </a:cubicBezTo>
                <a:cubicBezTo>
                  <a:pt x="89" y="6"/>
                  <a:pt x="89" y="5"/>
                  <a:pt x="91" y="5"/>
                </a:cubicBezTo>
                <a:close/>
                <a:moveTo>
                  <a:pt x="51" y="14"/>
                </a:moveTo>
                <a:cubicBezTo>
                  <a:pt x="52" y="14"/>
                  <a:pt x="52" y="14"/>
                  <a:pt x="53" y="14"/>
                </a:cubicBezTo>
                <a:cubicBezTo>
                  <a:pt x="53" y="14"/>
                  <a:pt x="53" y="14"/>
                  <a:pt x="53" y="14"/>
                </a:cubicBezTo>
                <a:cubicBezTo>
                  <a:pt x="53" y="13"/>
                  <a:pt x="54" y="12"/>
                  <a:pt x="55" y="12"/>
                </a:cubicBezTo>
                <a:cubicBezTo>
                  <a:pt x="56" y="11"/>
                  <a:pt x="57" y="10"/>
                  <a:pt x="58" y="10"/>
                </a:cubicBezTo>
                <a:cubicBezTo>
                  <a:pt x="59" y="10"/>
                  <a:pt x="59" y="10"/>
                  <a:pt x="60" y="9"/>
                </a:cubicBezTo>
                <a:cubicBezTo>
                  <a:pt x="58" y="8"/>
                  <a:pt x="57" y="10"/>
                  <a:pt x="55" y="10"/>
                </a:cubicBezTo>
                <a:cubicBezTo>
                  <a:pt x="55" y="10"/>
                  <a:pt x="55" y="10"/>
                  <a:pt x="55" y="10"/>
                </a:cubicBezTo>
                <a:cubicBezTo>
                  <a:pt x="55" y="10"/>
                  <a:pt x="54" y="10"/>
                  <a:pt x="54" y="10"/>
                </a:cubicBezTo>
                <a:cubicBezTo>
                  <a:pt x="54" y="10"/>
                  <a:pt x="54" y="12"/>
                  <a:pt x="53" y="12"/>
                </a:cubicBezTo>
                <a:cubicBezTo>
                  <a:pt x="53" y="12"/>
                  <a:pt x="52" y="11"/>
                  <a:pt x="52" y="12"/>
                </a:cubicBezTo>
                <a:cubicBezTo>
                  <a:pt x="52" y="12"/>
                  <a:pt x="52" y="12"/>
                  <a:pt x="52" y="12"/>
                </a:cubicBezTo>
                <a:cubicBezTo>
                  <a:pt x="52" y="12"/>
                  <a:pt x="51" y="12"/>
                  <a:pt x="51" y="12"/>
                </a:cubicBezTo>
                <a:cubicBezTo>
                  <a:pt x="51" y="13"/>
                  <a:pt x="51" y="13"/>
                  <a:pt x="51" y="14"/>
                </a:cubicBezTo>
                <a:close/>
                <a:moveTo>
                  <a:pt x="98" y="3"/>
                </a:moveTo>
                <a:cubicBezTo>
                  <a:pt x="98" y="2"/>
                  <a:pt x="98" y="1"/>
                  <a:pt x="97" y="1"/>
                </a:cubicBezTo>
                <a:cubicBezTo>
                  <a:pt x="97" y="1"/>
                  <a:pt x="96" y="0"/>
                  <a:pt x="96" y="1"/>
                </a:cubicBezTo>
                <a:cubicBezTo>
                  <a:pt x="95" y="1"/>
                  <a:pt x="95" y="2"/>
                  <a:pt x="95" y="3"/>
                </a:cubicBezTo>
                <a:cubicBezTo>
                  <a:pt x="96" y="3"/>
                  <a:pt x="97" y="3"/>
                  <a:pt x="98" y="3"/>
                </a:cubicBezTo>
                <a:close/>
                <a:moveTo>
                  <a:pt x="101" y="1"/>
                </a:moveTo>
                <a:cubicBezTo>
                  <a:pt x="100" y="1"/>
                  <a:pt x="100" y="1"/>
                  <a:pt x="99" y="1"/>
                </a:cubicBezTo>
                <a:cubicBezTo>
                  <a:pt x="99" y="2"/>
                  <a:pt x="99" y="2"/>
                  <a:pt x="99" y="3"/>
                </a:cubicBezTo>
                <a:cubicBezTo>
                  <a:pt x="101" y="3"/>
                  <a:pt x="101" y="2"/>
                  <a:pt x="101" y="1"/>
                </a:cubicBezTo>
                <a:close/>
                <a:moveTo>
                  <a:pt x="17" y="76"/>
                </a:moveTo>
                <a:cubicBezTo>
                  <a:pt x="18" y="76"/>
                  <a:pt x="18" y="76"/>
                  <a:pt x="19" y="77"/>
                </a:cubicBezTo>
                <a:cubicBezTo>
                  <a:pt x="19" y="77"/>
                  <a:pt x="19" y="77"/>
                  <a:pt x="19" y="77"/>
                </a:cubicBezTo>
                <a:cubicBezTo>
                  <a:pt x="20" y="77"/>
                  <a:pt x="21" y="77"/>
                  <a:pt x="21" y="77"/>
                </a:cubicBezTo>
                <a:cubicBezTo>
                  <a:pt x="21" y="78"/>
                  <a:pt x="22" y="79"/>
                  <a:pt x="22" y="80"/>
                </a:cubicBezTo>
                <a:cubicBezTo>
                  <a:pt x="22" y="80"/>
                  <a:pt x="22" y="80"/>
                  <a:pt x="23" y="80"/>
                </a:cubicBezTo>
                <a:cubicBezTo>
                  <a:pt x="23" y="80"/>
                  <a:pt x="23" y="80"/>
                  <a:pt x="23" y="81"/>
                </a:cubicBezTo>
                <a:cubicBezTo>
                  <a:pt x="23" y="81"/>
                  <a:pt x="23" y="81"/>
                  <a:pt x="23" y="81"/>
                </a:cubicBezTo>
                <a:cubicBezTo>
                  <a:pt x="24" y="81"/>
                  <a:pt x="24" y="81"/>
                  <a:pt x="24" y="82"/>
                </a:cubicBezTo>
                <a:cubicBezTo>
                  <a:pt x="24" y="82"/>
                  <a:pt x="24" y="82"/>
                  <a:pt x="25" y="82"/>
                </a:cubicBezTo>
                <a:cubicBezTo>
                  <a:pt x="25" y="82"/>
                  <a:pt x="25" y="82"/>
                  <a:pt x="25" y="82"/>
                </a:cubicBezTo>
                <a:cubicBezTo>
                  <a:pt x="25" y="83"/>
                  <a:pt x="26" y="83"/>
                  <a:pt x="26" y="83"/>
                </a:cubicBezTo>
                <a:cubicBezTo>
                  <a:pt x="26" y="83"/>
                  <a:pt x="26" y="83"/>
                  <a:pt x="26" y="83"/>
                </a:cubicBezTo>
                <a:cubicBezTo>
                  <a:pt x="27" y="83"/>
                  <a:pt x="27" y="83"/>
                  <a:pt x="27" y="83"/>
                </a:cubicBezTo>
                <a:cubicBezTo>
                  <a:pt x="28" y="84"/>
                  <a:pt x="29" y="82"/>
                  <a:pt x="30" y="82"/>
                </a:cubicBezTo>
                <a:cubicBezTo>
                  <a:pt x="30" y="82"/>
                  <a:pt x="31" y="82"/>
                  <a:pt x="31" y="82"/>
                </a:cubicBezTo>
                <a:cubicBezTo>
                  <a:pt x="32" y="81"/>
                  <a:pt x="33" y="82"/>
                  <a:pt x="34" y="82"/>
                </a:cubicBezTo>
                <a:cubicBezTo>
                  <a:pt x="34" y="82"/>
                  <a:pt x="34" y="82"/>
                  <a:pt x="34" y="82"/>
                </a:cubicBezTo>
                <a:cubicBezTo>
                  <a:pt x="34" y="82"/>
                  <a:pt x="34" y="82"/>
                  <a:pt x="34" y="82"/>
                </a:cubicBezTo>
                <a:cubicBezTo>
                  <a:pt x="34" y="81"/>
                  <a:pt x="34" y="81"/>
                  <a:pt x="34" y="81"/>
                </a:cubicBezTo>
                <a:cubicBezTo>
                  <a:pt x="34" y="81"/>
                  <a:pt x="34" y="81"/>
                  <a:pt x="34" y="81"/>
                </a:cubicBezTo>
                <a:cubicBezTo>
                  <a:pt x="32" y="82"/>
                  <a:pt x="32" y="80"/>
                  <a:pt x="30" y="80"/>
                </a:cubicBezTo>
                <a:cubicBezTo>
                  <a:pt x="30" y="80"/>
                  <a:pt x="30" y="80"/>
                  <a:pt x="30" y="80"/>
                </a:cubicBezTo>
                <a:cubicBezTo>
                  <a:pt x="30" y="80"/>
                  <a:pt x="30" y="80"/>
                  <a:pt x="30" y="80"/>
                </a:cubicBezTo>
                <a:cubicBezTo>
                  <a:pt x="30" y="80"/>
                  <a:pt x="30" y="80"/>
                  <a:pt x="30" y="80"/>
                </a:cubicBezTo>
                <a:cubicBezTo>
                  <a:pt x="29" y="79"/>
                  <a:pt x="29" y="79"/>
                  <a:pt x="29" y="79"/>
                </a:cubicBezTo>
                <a:cubicBezTo>
                  <a:pt x="29" y="79"/>
                  <a:pt x="29" y="79"/>
                  <a:pt x="29" y="79"/>
                </a:cubicBezTo>
                <a:cubicBezTo>
                  <a:pt x="28" y="79"/>
                  <a:pt x="28" y="79"/>
                  <a:pt x="28" y="79"/>
                </a:cubicBezTo>
                <a:cubicBezTo>
                  <a:pt x="28" y="78"/>
                  <a:pt x="28" y="78"/>
                  <a:pt x="28" y="78"/>
                </a:cubicBezTo>
                <a:cubicBezTo>
                  <a:pt x="27" y="78"/>
                  <a:pt x="27" y="78"/>
                  <a:pt x="27" y="78"/>
                </a:cubicBezTo>
                <a:cubicBezTo>
                  <a:pt x="27" y="78"/>
                  <a:pt x="27" y="78"/>
                  <a:pt x="27" y="77"/>
                </a:cubicBezTo>
                <a:cubicBezTo>
                  <a:pt x="27" y="77"/>
                  <a:pt x="26" y="77"/>
                  <a:pt x="26" y="77"/>
                </a:cubicBezTo>
                <a:cubicBezTo>
                  <a:pt x="26" y="77"/>
                  <a:pt x="26" y="77"/>
                  <a:pt x="26" y="77"/>
                </a:cubicBezTo>
                <a:cubicBezTo>
                  <a:pt x="25" y="76"/>
                  <a:pt x="24" y="75"/>
                  <a:pt x="23" y="75"/>
                </a:cubicBezTo>
                <a:cubicBezTo>
                  <a:pt x="22" y="74"/>
                  <a:pt x="22" y="73"/>
                  <a:pt x="20" y="73"/>
                </a:cubicBezTo>
                <a:cubicBezTo>
                  <a:pt x="17" y="73"/>
                  <a:pt x="16" y="73"/>
                  <a:pt x="15" y="75"/>
                </a:cubicBezTo>
                <a:cubicBezTo>
                  <a:pt x="15" y="76"/>
                  <a:pt x="16" y="76"/>
                  <a:pt x="17" y="76"/>
                </a:cubicBezTo>
                <a:close/>
                <a:moveTo>
                  <a:pt x="53" y="18"/>
                </a:moveTo>
                <a:cubicBezTo>
                  <a:pt x="53" y="17"/>
                  <a:pt x="53" y="15"/>
                  <a:pt x="51" y="14"/>
                </a:cubicBezTo>
                <a:cubicBezTo>
                  <a:pt x="50" y="17"/>
                  <a:pt x="46" y="18"/>
                  <a:pt x="46" y="22"/>
                </a:cubicBezTo>
                <a:cubicBezTo>
                  <a:pt x="49" y="23"/>
                  <a:pt x="52" y="20"/>
                  <a:pt x="53" y="18"/>
                </a:cubicBezTo>
                <a:close/>
                <a:moveTo>
                  <a:pt x="21" y="97"/>
                </a:moveTo>
                <a:cubicBezTo>
                  <a:pt x="21" y="96"/>
                  <a:pt x="21" y="94"/>
                  <a:pt x="20" y="95"/>
                </a:cubicBezTo>
                <a:cubicBezTo>
                  <a:pt x="18" y="94"/>
                  <a:pt x="18" y="95"/>
                  <a:pt x="17" y="95"/>
                </a:cubicBezTo>
                <a:cubicBezTo>
                  <a:pt x="16" y="95"/>
                  <a:pt x="16" y="95"/>
                  <a:pt x="14" y="95"/>
                </a:cubicBezTo>
                <a:cubicBezTo>
                  <a:pt x="13" y="95"/>
                  <a:pt x="13" y="95"/>
                  <a:pt x="12" y="95"/>
                </a:cubicBezTo>
                <a:cubicBezTo>
                  <a:pt x="11" y="93"/>
                  <a:pt x="10" y="94"/>
                  <a:pt x="9" y="93"/>
                </a:cubicBezTo>
                <a:cubicBezTo>
                  <a:pt x="8" y="93"/>
                  <a:pt x="7" y="92"/>
                  <a:pt x="6" y="92"/>
                </a:cubicBezTo>
                <a:cubicBezTo>
                  <a:pt x="5" y="92"/>
                  <a:pt x="4" y="92"/>
                  <a:pt x="3" y="92"/>
                </a:cubicBezTo>
                <a:cubicBezTo>
                  <a:pt x="2" y="92"/>
                  <a:pt x="1" y="92"/>
                  <a:pt x="0" y="93"/>
                </a:cubicBezTo>
                <a:cubicBezTo>
                  <a:pt x="0" y="94"/>
                  <a:pt x="0" y="95"/>
                  <a:pt x="0" y="95"/>
                </a:cubicBezTo>
                <a:cubicBezTo>
                  <a:pt x="0" y="96"/>
                  <a:pt x="0" y="96"/>
                  <a:pt x="0" y="96"/>
                </a:cubicBezTo>
                <a:cubicBezTo>
                  <a:pt x="0" y="96"/>
                  <a:pt x="0" y="96"/>
                  <a:pt x="0" y="97"/>
                </a:cubicBezTo>
                <a:cubicBezTo>
                  <a:pt x="1" y="97"/>
                  <a:pt x="2" y="97"/>
                  <a:pt x="3" y="97"/>
                </a:cubicBezTo>
                <a:cubicBezTo>
                  <a:pt x="3" y="97"/>
                  <a:pt x="3" y="99"/>
                  <a:pt x="4" y="99"/>
                </a:cubicBezTo>
                <a:cubicBezTo>
                  <a:pt x="4" y="98"/>
                  <a:pt x="4" y="97"/>
                  <a:pt x="5" y="97"/>
                </a:cubicBezTo>
                <a:cubicBezTo>
                  <a:pt x="7" y="97"/>
                  <a:pt x="9" y="97"/>
                  <a:pt x="11" y="97"/>
                </a:cubicBezTo>
                <a:cubicBezTo>
                  <a:pt x="11" y="98"/>
                  <a:pt x="11" y="98"/>
                  <a:pt x="12" y="98"/>
                </a:cubicBezTo>
                <a:cubicBezTo>
                  <a:pt x="12" y="99"/>
                  <a:pt x="13" y="100"/>
                  <a:pt x="13" y="100"/>
                </a:cubicBezTo>
                <a:cubicBezTo>
                  <a:pt x="15" y="100"/>
                  <a:pt x="15" y="101"/>
                  <a:pt x="16" y="101"/>
                </a:cubicBezTo>
                <a:cubicBezTo>
                  <a:pt x="19" y="101"/>
                  <a:pt x="20" y="98"/>
                  <a:pt x="23" y="98"/>
                </a:cubicBezTo>
                <a:cubicBezTo>
                  <a:pt x="23" y="98"/>
                  <a:pt x="23" y="98"/>
                  <a:pt x="23" y="97"/>
                </a:cubicBezTo>
                <a:cubicBezTo>
                  <a:pt x="23" y="97"/>
                  <a:pt x="22" y="97"/>
                  <a:pt x="21" y="97"/>
                </a:cubicBezTo>
                <a:close/>
                <a:moveTo>
                  <a:pt x="117" y="17"/>
                </a:moveTo>
                <a:cubicBezTo>
                  <a:pt x="116" y="17"/>
                  <a:pt x="116" y="17"/>
                  <a:pt x="115" y="16"/>
                </a:cubicBezTo>
                <a:cubicBezTo>
                  <a:pt x="114" y="16"/>
                  <a:pt x="113" y="15"/>
                  <a:pt x="113" y="14"/>
                </a:cubicBezTo>
                <a:cubicBezTo>
                  <a:pt x="111" y="14"/>
                  <a:pt x="110" y="12"/>
                  <a:pt x="109" y="11"/>
                </a:cubicBezTo>
                <a:cubicBezTo>
                  <a:pt x="109" y="10"/>
                  <a:pt x="107" y="9"/>
                  <a:pt x="108" y="7"/>
                </a:cubicBezTo>
                <a:cubicBezTo>
                  <a:pt x="106" y="7"/>
                  <a:pt x="106" y="7"/>
                  <a:pt x="106" y="5"/>
                </a:cubicBezTo>
                <a:cubicBezTo>
                  <a:pt x="103" y="7"/>
                  <a:pt x="99" y="6"/>
                  <a:pt x="95" y="6"/>
                </a:cubicBezTo>
                <a:cubicBezTo>
                  <a:pt x="95" y="7"/>
                  <a:pt x="95" y="7"/>
                  <a:pt x="94" y="7"/>
                </a:cubicBezTo>
                <a:cubicBezTo>
                  <a:pt x="92" y="7"/>
                  <a:pt x="90" y="7"/>
                  <a:pt x="88" y="7"/>
                </a:cubicBezTo>
                <a:cubicBezTo>
                  <a:pt x="82" y="6"/>
                  <a:pt x="79" y="9"/>
                  <a:pt x="74" y="10"/>
                </a:cubicBezTo>
                <a:cubicBezTo>
                  <a:pt x="74" y="11"/>
                  <a:pt x="73" y="11"/>
                  <a:pt x="73" y="12"/>
                </a:cubicBezTo>
                <a:cubicBezTo>
                  <a:pt x="71" y="11"/>
                  <a:pt x="71" y="12"/>
                  <a:pt x="70" y="12"/>
                </a:cubicBezTo>
                <a:cubicBezTo>
                  <a:pt x="68" y="13"/>
                  <a:pt x="69" y="15"/>
                  <a:pt x="67" y="14"/>
                </a:cubicBezTo>
                <a:cubicBezTo>
                  <a:pt x="67" y="17"/>
                  <a:pt x="65" y="17"/>
                  <a:pt x="65" y="19"/>
                </a:cubicBezTo>
                <a:cubicBezTo>
                  <a:pt x="64" y="19"/>
                  <a:pt x="63" y="19"/>
                  <a:pt x="62" y="21"/>
                </a:cubicBezTo>
                <a:cubicBezTo>
                  <a:pt x="63" y="22"/>
                  <a:pt x="64" y="21"/>
                  <a:pt x="65" y="21"/>
                </a:cubicBezTo>
                <a:cubicBezTo>
                  <a:pt x="65" y="22"/>
                  <a:pt x="65" y="22"/>
                  <a:pt x="66" y="22"/>
                </a:cubicBezTo>
                <a:cubicBezTo>
                  <a:pt x="66" y="24"/>
                  <a:pt x="66" y="26"/>
                  <a:pt x="65" y="27"/>
                </a:cubicBezTo>
                <a:cubicBezTo>
                  <a:pt x="64" y="27"/>
                  <a:pt x="65" y="30"/>
                  <a:pt x="63" y="30"/>
                </a:cubicBezTo>
                <a:cubicBezTo>
                  <a:pt x="63" y="31"/>
                  <a:pt x="66" y="30"/>
                  <a:pt x="66" y="32"/>
                </a:cubicBezTo>
                <a:cubicBezTo>
                  <a:pt x="69" y="32"/>
                  <a:pt x="71" y="32"/>
                  <a:pt x="73" y="33"/>
                </a:cubicBezTo>
                <a:cubicBezTo>
                  <a:pt x="73" y="33"/>
                  <a:pt x="72" y="33"/>
                  <a:pt x="72" y="33"/>
                </a:cubicBezTo>
                <a:cubicBezTo>
                  <a:pt x="71" y="34"/>
                  <a:pt x="71" y="34"/>
                  <a:pt x="70" y="34"/>
                </a:cubicBezTo>
                <a:cubicBezTo>
                  <a:pt x="70" y="35"/>
                  <a:pt x="70" y="36"/>
                  <a:pt x="69" y="37"/>
                </a:cubicBezTo>
                <a:cubicBezTo>
                  <a:pt x="69" y="42"/>
                  <a:pt x="69" y="42"/>
                  <a:pt x="69" y="42"/>
                </a:cubicBezTo>
                <a:cubicBezTo>
                  <a:pt x="69" y="42"/>
                  <a:pt x="70" y="42"/>
                  <a:pt x="69" y="42"/>
                </a:cubicBezTo>
                <a:cubicBezTo>
                  <a:pt x="69" y="43"/>
                  <a:pt x="68" y="43"/>
                  <a:pt x="67" y="43"/>
                </a:cubicBezTo>
                <a:cubicBezTo>
                  <a:pt x="67" y="43"/>
                  <a:pt x="67" y="44"/>
                  <a:pt x="67" y="44"/>
                </a:cubicBezTo>
                <a:cubicBezTo>
                  <a:pt x="66" y="45"/>
                  <a:pt x="65" y="45"/>
                  <a:pt x="65" y="47"/>
                </a:cubicBezTo>
                <a:cubicBezTo>
                  <a:pt x="62" y="47"/>
                  <a:pt x="61" y="49"/>
                  <a:pt x="59" y="49"/>
                </a:cubicBezTo>
                <a:cubicBezTo>
                  <a:pt x="58" y="49"/>
                  <a:pt x="58" y="49"/>
                  <a:pt x="58" y="49"/>
                </a:cubicBezTo>
                <a:cubicBezTo>
                  <a:pt x="58" y="50"/>
                  <a:pt x="58" y="50"/>
                  <a:pt x="58" y="50"/>
                </a:cubicBezTo>
                <a:cubicBezTo>
                  <a:pt x="58" y="50"/>
                  <a:pt x="58" y="50"/>
                  <a:pt x="58" y="50"/>
                </a:cubicBezTo>
                <a:cubicBezTo>
                  <a:pt x="55" y="51"/>
                  <a:pt x="55" y="53"/>
                  <a:pt x="53" y="53"/>
                </a:cubicBezTo>
                <a:cubicBezTo>
                  <a:pt x="53" y="53"/>
                  <a:pt x="53" y="53"/>
                  <a:pt x="53" y="53"/>
                </a:cubicBezTo>
                <a:cubicBezTo>
                  <a:pt x="53" y="53"/>
                  <a:pt x="53" y="53"/>
                  <a:pt x="53" y="53"/>
                </a:cubicBezTo>
                <a:cubicBezTo>
                  <a:pt x="53" y="51"/>
                  <a:pt x="55" y="51"/>
                  <a:pt x="54" y="49"/>
                </a:cubicBezTo>
                <a:cubicBezTo>
                  <a:pt x="54" y="48"/>
                  <a:pt x="54" y="48"/>
                  <a:pt x="55" y="48"/>
                </a:cubicBezTo>
                <a:cubicBezTo>
                  <a:pt x="55" y="45"/>
                  <a:pt x="55" y="45"/>
                  <a:pt x="55" y="45"/>
                </a:cubicBezTo>
                <a:cubicBezTo>
                  <a:pt x="54" y="45"/>
                  <a:pt x="54" y="45"/>
                  <a:pt x="54" y="44"/>
                </a:cubicBezTo>
                <a:cubicBezTo>
                  <a:pt x="54" y="43"/>
                  <a:pt x="54" y="42"/>
                  <a:pt x="55" y="42"/>
                </a:cubicBezTo>
                <a:cubicBezTo>
                  <a:pt x="55" y="41"/>
                  <a:pt x="55" y="41"/>
                  <a:pt x="55" y="41"/>
                </a:cubicBezTo>
                <a:cubicBezTo>
                  <a:pt x="58" y="41"/>
                  <a:pt x="58" y="41"/>
                  <a:pt x="58" y="41"/>
                </a:cubicBezTo>
                <a:cubicBezTo>
                  <a:pt x="59" y="41"/>
                  <a:pt x="60" y="40"/>
                  <a:pt x="60" y="39"/>
                </a:cubicBezTo>
                <a:cubicBezTo>
                  <a:pt x="60" y="38"/>
                  <a:pt x="60" y="39"/>
                  <a:pt x="61" y="39"/>
                </a:cubicBezTo>
                <a:cubicBezTo>
                  <a:pt x="62" y="35"/>
                  <a:pt x="59" y="35"/>
                  <a:pt x="57" y="34"/>
                </a:cubicBezTo>
                <a:cubicBezTo>
                  <a:pt x="56" y="32"/>
                  <a:pt x="58" y="32"/>
                  <a:pt x="58" y="31"/>
                </a:cubicBezTo>
                <a:cubicBezTo>
                  <a:pt x="59" y="28"/>
                  <a:pt x="55" y="28"/>
                  <a:pt x="58" y="26"/>
                </a:cubicBezTo>
                <a:cubicBezTo>
                  <a:pt x="58" y="26"/>
                  <a:pt x="58" y="26"/>
                  <a:pt x="58" y="26"/>
                </a:cubicBezTo>
                <a:cubicBezTo>
                  <a:pt x="60" y="25"/>
                  <a:pt x="61" y="24"/>
                  <a:pt x="61" y="21"/>
                </a:cubicBezTo>
                <a:cubicBezTo>
                  <a:pt x="59" y="21"/>
                  <a:pt x="58" y="22"/>
                  <a:pt x="58" y="23"/>
                </a:cubicBezTo>
                <a:cubicBezTo>
                  <a:pt x="58" y="23"/>
                  <a:pt x="56" y="23"/>
                  <a:pt x="56" y="24"/>
                </a:cubicBezTo>
                <a:cubicBezTo>
                  <a:pt x="55" y="24"/>
                  <a:pt x="55" y="26"/>
                  <a:pt x="53" y="26"/>
                </a:cubicBezTo>
                <a:cubicBezTo>
                  <a:pt x="53" y="26"/>
                  <a:pt x="52" y="27"/>
                  <a:pt x="51" y="27"/>
                </a:cubicBezTo>
                <a:cubicBezTo>
                  <a:pt x="48" y="28"/>
                  <a:pt x="49" y="25"/>
                  <a:pt x="47" y="24"/>
                </a:cubicBezTo>
                <a:cubicBezTo>
                  <a:pt x="45" y="24"/>
                  <a:pt x="46" y="28"/>
                  <a:pt x="44" y="28"/>
                </a:cubicBezTo>
                <a:cubicBezTo>
                  <a:pt x="45" y="30"/>
                  <a:pt x="43" y="31"/>
                  <a:pt x="44" y="33"/>
                </a:cubicBezTo>
                <a:cubicBezTo>
                  <a:pt x="42" y="33"/>
                  <a:pt x="43" y="36"/>
                  <a:pt x="42" y="36"/>
                </a:cubicBezTo>
                <a:cubicBezTo>
                  <a:pt x="42" y="39"/>
                  <a:pt x="40" y="40"/>
                  <a:pt x="41" y="42"/>
                </a:cubicBezTo>
                <a:cubicBezTo>
                  <a:pt x="41" y="43"/>
                  <a:pt x="41" y="43"/>
                  <a:pt x="40" y="43"/>
                </a:cubicBezTo>
                <a:cubicBezTo>
                  <a:pt x="40" y="44"/>
                  <a:pt x="39" y="45"/>
                  <a:pt x="39" y="47"/>
                </a:cubicBezTo>
                <a:cubicBezTo>
                  <a:pt x="40" y="47"/>
                  <a:pt x="40" y="47"/>
                  <a:pt x="40" y="47"/>
                </a:cubicBezTo>
                <a:cubicBezTo>
                  <a:pt x="40" y="47"/>
                  <a:pt x="40" y="47"/>
                  <a:pt x="40" y="47"/>
                </a:cubicBezTo>
                <a:cubicBezTo>
                  <a:pt x="40" y="47"/>
                  <a:pt x="40" y="47"/>
                  <a:pt x="40" y="47"/>
                </a:cubicBezTo>
                <a:cubicBezTo>
                  <a:pt x="40" y="47"/>
                  <a:pt x="40" y="48"/>
                  <a:pt x="40" y="48"/>
                </a:cubicBezTo>
                <a:cubicBezTo>
                  <a:pt x="40" y="48"/>
                  <a:pt x="40" y="48"/>
                  <a:pt x="40" y="48"/>
                </a:cubicBezTo>
                <a:cubicBezTo>
                  <a:pt x="38" y="49"/>
                  <a:pt x="38" y="50"/>
                  <a:pt x="37" y="51"/>
                </a:cubicBezTo>
                <a:cubicBezTo>
                  <a:pt x="37" y="51"/>
                  <a:pt x="37" y="51"/>
                  <a:pt x="37" y="51"/>
                </a:cubicBezTo>
                <a:cubicBezTo>
                  <a:pt x="37" y="52"/>
                  <a:pt x="37" y="52"/>
                  <a:pt x="37" y="53"/>
                </a:cubicBezTo>
                <a:cubicBezTo>
                  <a:pt x="37" y="53"/>
                  <a:pt x="36" y="54"/>
                  <a:pt x="36" y="54"/>
                </a:cubicBezTo>
                <a:cubicBezTo>
                  <a:pt x="36" y="55"/>
                  <a:pt x="36" y="55"/>
                  <a:pt x="35" y="55"/>
                </a:cubicBezTo>
                <a:cubicBezTo>
                  <a:pt x="35" y="56"/>
                  <a:pt x="34" y="57"/>
                  <a:pt x="33" y="58"/>
                </a:cubicBezTo>
                <a:cubicBezTo>
                  <a:pt x="32" y="59"/>
                  <a:pt x="32" y="60"/>
                  <a:pt x="31" y="60"/>
                </a:cubicBezTo>
                <a:cubicBezTo>
                  <a:pt x="31" y="61"/>
                  <a:pt x="30" y="60"/>
                  <a:pt x="30" y="61"/>
                </a:cubicBezTo>
                <a:cubicBezTo>
                  <a:pt x="29" y="61"/>
                  <a:pt x="29" y="62"/>
                  <a:pt x="29" y="63"/>
                </a:cubicBezTo>
                <a:cubicBezTo>
                  <a:pt x="28" y="62"/>
                  <a:pt x="28" y="63"/>
                  <a:pt x="28" y="63"/>
                </a:cubicBezTo>
                <a:cubicBezTo>
                  <a:pt x="26" y="63"/>
                  <a:pt x="25" y="65"/>
                  <a:pt x="24" y="67"/>
                </a:cubicBezTo>
                <a:cubicBezTo>
                  <a:pt x="24" y="67"/>
                  <a:pt x="24" y="67"/>
                  <a:pt x="24" y="67"/>
                </a:cubicBezTo>
                <a:cubicBezTo>
                  <a:pt x="24" y="67"/>
                  <a:pt x="23" y="68"/>
                  <a:pt x="23" y="68"/>
                </a:cubicBezTo>
                <a:cubicBezTo>
                  <a:pt x="23" y="68"/>
                  <a:pt x="23" y="68"/>
                  <a:pt x="23" y="69"/>
                </a:cubicBezTo>
                <a:cubicBezTo>
                  <a:pt x="22" y="69"/>
                  <a:pt x="22" y="69"/>
                  <a:pt x="22" y="69"/>
                </a:cubicBezTo>
                <a:cubicBezTo>
                  <a:pt x="22" y="69"/>
                  <a:pt x="22" y="70"/>
                  <a:pt x="22" y="70"/>
                </a:cubicBezTo>
                <a:cubicBezTo>
                  <a:pt x="22" y="70"/>
                  <a:pt x="22" y="70"/>
                  <a:pt x="22" y="70"/>
                </a:cubicBezTo>
                <a:cubicBezTo>
                  <a:pt x="21" y="70"/>
                  <a:pt x="21" y="70"/>
                  <a:pt x="21" y="71"/>
                </a:cubicBezTo>
                <a:cubicBezTo>
                  <a:pt x="21" y="72"/>
                  <a:pt x="22" y="72"/>
                  <a:pt x="22" y="73"/>
                </a:cubicBezTo>
                <a:cubicBezTo>
                  <a:pt x="22" y="73"/>
                  <a:pt x="23" y="73"/>
                  <a:pt x="23" y="73"/>
                </a:cubicBezTo>
                <a:cubicBezTo>
                  <a:pt x="23" y="73"/>
                  <a:pt x="23" y="74"/>
                  <a:pt x="23" y="74"/>
                </a:cubicBezTo>
                <a:cubicBezTo>
                  <a:pt x="23" y="74"/>
                  <a:pt x="23" y="74"/>
                  <a:pt x="23" y="74"/>
                </a:cubicBezTo>
                <a:cubicBezTo>
                  <a:pt x="24" y="74"/>
                  <a:pt x="23" y="74"/>
                  <a:pt x="23" y="74"/>
                </a:cubicBezTo>
                <a:cubicBezTo>
                  <a:pt x="24" y="75"/>
                  <a:pt x="26" y="75"/>
                  <a:pt x="26" y="76"/>
                </a:cubicBezTo>
                <a:cubicBezTo>
                  <a:pt x="27" y="76"/>
                  <a:pt x="27" y="76"/>
                  <a:pt x="27" y="76"/>
                </a:cubicBezTo>
                <a:cubicBezTo>
                  <a:pt x="28" y="76"/>
                  <a:pt x="28" y="76"/>
                  <a:pt x="29" y="77"/>
                </a:cubicBezTo>
                <a:cubicBezTo>
                  <a:pt x="28" y="77"/>
                  <a:pt x="28" y="77"/>
                  <a:pt x="28" y="77"/>
                </a:cubicBezTo>
                <a:cubicBezTo>
                  <a:pt x="29" y="77"/>
                  <a:pt x="29" y="78"/>
                  <a:pt x="30" y="78"/>
                </a:cubicBezTo>
                <a:cubicBezTo>
                  <a:pt x="29" y="79"/>
                  <a:pt x="32" y="79"/>
                  <a:pt x="32" y="80"/>
                </a:cubicBezTo>
                <a:cubicBezTo>
                  <a:pt x="34" y="80"/>
                  <a:pt x="35" y="81"/>
                  <a:pt x="36" y="81"/>
                </a:cubicBezTo>
                <a:cubicBezTo>
                  <a:pt x="36" y="81"/>
                  <a:pt x="35" y="82"/>
                  <a:pt x="35" y="82"/>
                </a:cubicBezTo>
                <a:cubicBezTo>
                  <a:pt x="35" y="82"/>
                  <a:pt x="35" y="82"/>
                  <a:pt x="35" y="82"/>
                </a:cubicBezTo>
                <a:cubicBezTo>
                  <a:pt x="32" y="82"/>
                  <a:pt x="32" y="82"/>
                  <a:pt x="32" y="82"/>
                </a:cubicBezTo>
                <a:cubicBezTo>
                  <a:pt x="30" y="82"/>
                  <a:pt x="30" y="84"/>
                  <a:pt x="28" y="83"/>
                </a:cubicBezTo>
                <a:cubicBezTo>
                  <a:pt x="27" y="83"/>
                  <a:pt x="26" y="84"/>
                  <a:pt x="26" y="84"/>
                </a:cubicBezTo>
                <a:cubicBezTo>
                  <a:pt x="26" y="84"/>
                  <a:pt x="26" y="85"/>
                  <a:pt x="26" y="85"/>
                </a:cubicBezTo>
                <a:cubicBezTo>
                  <a:pt x="26" y="84"/>
                  <a:pt x="26" y="84"/>
                  <a:pt x="25" y="84"/>
                </a:cubicBezTo>
                <a:cubicBezTo>
                  <a:pt x="25" y="84"/>
                  <a:pt x="25" y="84"/>
                  <a:pt x="25" y="84"/>
                </a:cubicBezTo>
                <a:cubicBezTo>
                  <a:pt x="25" y="84"/>
                  <a:pt x="25" y="84"/>
                  <a:pt x="25" y="84"/>
                </a:cubicBezTo>
                <a:cubicBezTo>
                  <a:pt x="25" y="83"/>
                  <a:pt x="25" y="83"/>
                  <a:pt x="24" y="83"/>
                </a:cubicBezTo>
                <a:cubicBezTo>
                  <a:pt x="24" y="83"/>
                  <a:pt x="24" y="84"/>
                  <a:pt x="24" y="84"/>
                </a:cubicBezTo>
                <a:cubicBezTo>
                  <a:pt x="24" y="84"/>
                  <a:pt x="24" y="84"/>
                  <a:pt x="24" y="84"/>
                </a:cubicBezTo>
                <a:cubicBezTo>
                  <a:pt x="24" y="84"/>
                  <a:pt x="24" y="85"/>
                  <a:pt x="24" y="85"/>
                </a:cubicBezTo>
                <a:cubicBezTo>
                  <a:pt x="24" y="85"/>
                  <a:pt x="24" y="85"/>
                  <a:pt x="24" y="85"/>
                </a:cubicBezTo>
                <a:cubicBezTo>
                  <a:pt x="25" y="85"/>
                  <a:pt x="24" y="86"/>
                  <a:pt x="25" y="86"/>
                </a:cubicBezTo>
                <a:cubicBezTo>
                  <a:pt x="24" y="86"/>
                  <a:pt x="24" y="86"/>
                  <a:pt x="24" y="86"/>
                </a:cubicBezTo>
                <a:cubicBezTo>
                  <a:pt x="24" y="86"/>
                  <a:pt x="23" y="86"/>
                  <a:pt x="23" y="86"/>
                </a:cubicBezTo>
                <a:cubicBezTo>
                  <a:pt x="23" y="86"/>
                  <a:pt x="21" y="86"/>
                  <a:pt x="20" y="85"/>
                </a:cubicBezTo>
                <a:cubicBezTo>
                  <a:pt x="20" y="85"/>
                  <a:pt x="20" y="85"/>
                  <a:pt x="20" y="85"/>
                </a:cubicBezTo>
                <a:cubicBezTo>
                  <a:pt x="20" y="85"/>
                  <a:pt x="19" y="85"/>
                  <a:pt x="19" y="86"/>
                </a:cubicBezTo>
                <a:cubicBezTo>
                  <a:pt x="19" y="86"/>
                  <a:pt x="19" y="86"/>
                  <a:pt x="19" y="86"/>
                </a:cubicBezTo>
                <a:cubicBezTo>
                  <a:pt x="20" y="86"/>
                  <a:pt x="20" y="86"/>
                  <a:pt x="20" y="86"/>
                </a:cubicBezTo>
                <a:cubicBezTo>
                  <a:pt x="20" y="86"/>
                  <a:pt x="21" y="86"/>
                  <a:pt x="21" y="88"/>
                </a:cubicBezTo>
                <a:cubicBezTo>
                  <a:pt x="21" y="88"/>
                  <a:pt x="21" y="88"/>
                  <a:pt x="21" y="88"/>
                </a:cubicBezTo>
                <a:cubicBezTo>
                  <a:pt x="22" y="89"/>
                  <a:pt x="23" y="90"/>
                  <a:pt x="24" y="90"/>
                </a:cubicBezTo>
                <a:cubicBezTo>
                  <a:pt x="24" y="91"/>
                  <a:pt x="24" y="91"/>
                  <a:pt x="25" y="91"/>
                </a:cubicBezTo>
                <a:cubicBezTo>
                  <a:pt x="24" y="93"/>
                  <a:pt x="22" y="91"/>
                  <a:pt x="21" y="90"/>
                </a:cubicBezTo>
                <a:cubicBezTo>
                  <a:pt x="21" y="89"/>
                  <a:pt x="21" y="89"/>
                  <a:pt x="21" y="89"/>
                </a:cubicBezTo>
                <a:cubicBezTo>
                  <a:pt x="20" y="89"/>
                  <a:pt x="20" y="89"/>
                  <a:pt x="19" y="88"/>
                </a:cubicBezTo>
                <a:cubicBezTo>
                  <a:pt x="19" y="88"/>
                  <a:pt x="19" y="88"/>
                  <a:pt x="19" y="88"/>
                </a:cubicBezTo>
                <a:cubicBezTo>
                  <a:pt x="19" y="87"/>
                  <a:pt x="18" y="86"/>
                  <a:pt x="18" y="86"/>
                </a:cubicBezTo>
                <a:cubicBezTo>
                  <a:pt x="18" y="86"/>
                  <a:pt x="18" y="86"/>
                  <a:pt x="18" y="86"/>
                </a:cubicBezTo>
                <a:cubicBezTo>
                  <a:pt x="17" y="86"/>
                  <a:pt x="17" y="86"/>
                  <a:pt x="17" y="86"/>
                </a:cubicBezTo>
                <a:cubicBezTo>
                  <a:pt x="17" y="86"/>
                  <a:pt x="17" y="86"/>
                  <a:pt x="17" y="85"/>
                </a:cubicBezTo>
                <a:cubicBezTo>
                  <a:pt x="17" y="85"/>
                  <a:pt x="16" y="85"/>
                  <a:pt x="16" y="85"/>
                </a:cubicBezTo>
                <a:cubicBezTo>
                  <a:pt x="16" y="85"/>
                  <a:pt x="16" y="85"/>
                  <a:pt x="16" y="85"/>
                </a:cubicBezTo>
                <a:cubicBezTo>
                  <a:pt x="15" y="85"/>
                  <a:pt x="15" y="85"/>
                  <a:pt x="15" y="85"/>
                </a:cubicBezTo>
                <a:cubicBezTo>
                  <a:pt x="15" y="85"/>
                  <a:pt x="15" y="85"/>
                  <a:pt x="15" y="85"/>
                </a:cubicBezTo>
                <a:cubicBezTo>
                  <a:pt x="14" y="85"/>
                  <a:pt x="14" y="85"/>
                  <a:pt x="13" y="86"/>
                </a:cubicBezTo>
                <a:cubicBezTo>
                  <a:pt x="13" y="86"/>
                  <a:pt x="13" y="86"/>
                  <a:pt x="13" y="86"/>
                </a:cubicBezTo>
                <a:cubicBezTo>
                  <a:pt x="11" y="86"/>
                  <a:pt x="11" y="85"/>
                  <a:pt x="9" y="85"/>
                </a:cubicBezTo>
                <a:cubicBezTo>
                  <a:pt x="9" y="85"/>
                  <a:pt x="9" y="85"/>
                  <a:pt x="9" y="85"/>
                </a:cubicBezTo>
                <a:cubicBezTo>
                  <a:pt x="8" y="85"/>
                  <a:pt x="9" y="83"/>
                  <a:pt x="8" y="83"/>
                </a:cubicBezTo>
                <a:cubicBezTo>
                  <a:pt x="7" y="83"/>
                  <a:pt x="7" y="83"/>
                  <a:pt x="7" y="83"/>
                </a:cubicBezTo>
                <a:cubicBezTo>
                  <a:pt x="7" y="83"/>
                  <a:pt x="7" y="83"/>
                  <a:pt x="7" y="83"/>
                </a:cubicBezTo>
                <a:cubicBezTo>
                  <a:pt x="6" y="83"/>
                  <a:pt x="6" y="83"/>
                  <a:pt x="6" y="83"/>
                </a:cubicBezTo>
                <a:cubicBezTo>
                  <a:pt x="6" y="83"/>
                  <a:pt x="6" y="83"/>
                  <a:pt x="6" y="83"/>
                </a:cubicBezTo>
                <a:cubicBezTo>
                  <a:pt x="6" y="83"/>
                  <a:pt x="5" y="83"/>
                  <a:pt x="5" y="83"/>
                </a:cubicBezTo>
                <a:cubicBezTo>
                  <a:pt x="4" y="84"/>
                  <a:pt x="4" y="85"/>
                  <a:pt x="3" y="86"/>
                </a:cubicBezTo>
                <a:cubicBezTo>
                  <a:pt x="3" y="87"/>
                  <a:pt x="3" y="87"/>
                  <a:pt x="4" y="88"/>
                </a:cubicBezTo>
                <a:cubicBezTo>
                  <a:pt x="4" y="88"/>
                  <a:pt x="4" y="88"/>
                  <a:pt x="4" y="88"/>
                </a:cubicBezTo>
                <a:cubicBezTo>
                  <a:pt x="4" y="91"/>
                  <a:pt x="7" y="88"/>
                  <a:pt x="8" y="90"/>
                </a:cubicBezTo>
                <a:cubicBezTo>
                  <a:pt x="8" y="90"/>
                  <a:pt x="8" y="90"/>
                  <a:pt x="8" y="90"/>
                </a:cubicBezTo>
                <a:cubicBezTo>
                  <a:pt x="8" y="91"/>
                  <a:pt x="8" y="91"/>
                  <a:pt x="9" y="90"/>
                </a:cubicBezTo>
                <a:cubicBezTo>
                  <a:pt x="9" y="90"/>
                  <a:pt x="9" y="90"/>
                  <a:pt x="9" y="90"/>
                </a:cubicBezTo>
                <a:cubicBezTo>
                  <a:pt x="11" y="90"/>
                  <a:pt x="11" y="92"/>
                  <a:pt x="12" y="91"/>
                </a:cubicBezTo>
                <a:cubicBezTo>
                  <a:pt x="12" y="92"/>
                  <a:pt x="13" y="92"/>
                  <a:pt x="13" y="92"/>
                </a:cubicBezTo>
                <a:cubicBezTo>
                  <a:pt x="13" y="92"/>
                  <a:pt x="13" y="92"/>
                  <a:pt x="13" y="93"/>
                </a:cubicBezTo>
                <a:cubicBezTo>
                  <a:pt x="14" y="93"/>
                  <a:pt x="15" y="93"/>
                  <a:pt x="15" y="94"/>
                </a:cubicBezTo>
                <a:cubicBezTo>
                  <a:pt x="16" y="94"/>
                  <a:pt x="16" y="92"/>
                  <a:pt x="18" y="92"/>
                </a:cubicBezTo>
                <a:cubicBezTo>
                  <a:pt x="20" y="92"/>
                  <a:pt x="20" y="93"/>
                  <a:pt x="22" y="93"/>
                </a:cubicBezTo>
                <a:cubicBezTo>
                  <a:pt x="24" y="93"/>
                  <a:pt x="23" y="96"/>
                  <a:pt x="26" y="95"/>
                </a:cubicBezTo>
                <a:cubicBezTo>
                  <a:pt x="26" y="95"/>
                  <a:pt x="27" y="95"/>
                  <a:pt x="27" y="95"/>
                </a:cubicBezTo>
                <a:cubicBezTo>
                  <a:pt x="28" y="94"/>
                  <a:pt x="29" y="95"/>
                  <a:pt x="29" y="94"/>
                </a:cubicBezTo>
                <a:cubicBezTo>
                  <a:pt x="29" y="94"/>
                  <a:pt x="30" y="94"/>
                  <a:pt x="30" y="93"/>
                </a:cubicBezTo>
                <a:cubicBezTo>
                  <a:pt x="30" y="93"/>
                  <a:pt x="30" y="92"/>
                  <a:pt x="31" y="93"/>
                </a:cubicBezTo>
                <a:cubicBezTo>
                  <a:pt x="38" y="93"/>
                  <a:pt x="38" y="93"/>
                  <a:pt x="38" y="93"/>
                </a:cubicBezTo>
                <a:cubicBezTo>
                  <a:pt x="40" y="92"/>
                  <a:pt x="40" y="90"/>
                  <a:pt x="42" y="90"/>
                </a:cubicBezTo>
                <a:cubicBezTo>
                  <a:pt x="42" y="91"/>
                  <a:pt x="44" y="91"/>
                  <a:pt x="44" y="92"/>
                </a:cubicBezTo>
                <a:cubicBezTo>
                  <a:pt x="44" y="95"/>
                  <a:pt x="44" y="95"/>
                  <a:pt x="44" y="95"/>
                </a:cubicBezTo>
                <a:cubicBezTo>
                  <a:pt x="46" y="96"/>
                  <a:pt x="46" y="94"/>
                  <a:pt x="47" y="94"/>
                </a:cubicBezTo>
                <a:cubicBezTo>
                  <a:pt x="47" y="92"/>
                  <a:pt x="49" y="93"/>
                  <a:pt x="49" y="92"/>
                </a:cubicBezTo>
                <a:cubicBezTo>
                  <a:pt x="49" y="93"/>
                  <a:pt x="51" y="93"/>
                  <a:pt x="51" y="93"/>
                </a:cubicBezTo>
                <a:cubicBezTo>
                  <a:pt x="51" y="94"/>
                  <a:pt x="52" y="94"/>
                  <a:pt x="52" y="95"/>
                </a:cubicBezTo>
                <a:cubicBezTo>
                  <a:pt x="51" y="95"/>
                  <a:pt x="51" y="96"/>
                  <a:pt x="51" y="98"/>
                </a:cubicBezTo>
                <a:cubicBezTo>
                  <a:pt x="52" y="98"/>
                  <a:pt x="52" y="99"/>
                  <a:pt x="52" y="100"/>
                </a:cubicBezTo>
                <a:cubicBezTo>
                  <a:pt x="53" y="100"/>
                  <a:pt x="53" y="102"/>
                  <a:pt x="54" y="103"/>
                </a:cubicBezTo>
                <a:cubicBezTo>
                  <a:pt x="55" y="103"/>
                  <a:pt x="55" y="103"/>
                  <a:pt x="55" y="104"/>
                </a:cubicBezTo>
                <a:cubicBezTo>
                  <a:pt x="58" y="104"/>
                  <a:pt x="57" y="101"/>
                  <a:pt x="60" y="102"/>
                </a:cubicBezTo>
                <a:cubicBezTo>
                  <a:pt x="61" y="102"/>
                  <a:pt x="61" y="102"/>
                  <a:pt x="62" y="102"/>
                </a:cubicBezTo>
                <a:cubicBezTo>
                  <a:pt x="62" y="103"/>
                  <a:pt x="63" y="103"/>
                  <a:pt x="63" y="103"/>
                </a:cubicBezTo>
                <a:cubicBezTo>
                  <a:pt x="63" y="104"/>
                  <a:pt x="63" y="104"/>
                  <a:pt x="64" y="104"/>
                </a:cubicBezTo>
                <a:cubicBezTo>
                  <a:pt x="64" y="106"/>
                  <a:pt x="64" y="106"/>
                  <a:pt x="64" y="106"/>
                </a:cubicBezTo>
                <a:cubicBezTo>
                  <a:pt x="65" y="106"/>
                  <a:pt x="65" y="106"/>
                  <a:pt x="65" y="107"/>
                </a:cubicBezTo>
                <a:cubicBezTo>
                  <a:pt x="66" y="107"/>
                  <a:pt x="67" y="108"/>
                  <a:pt x="67" y="109"/>
                </a:cubicBezTo>
                <a:cubicBezTo>
                  <a:pt x="68" y="109"/>
                  <a:pt x="69" y="109"/>
                  <a:pt x="69" y="109"/>
                </a:cubicBezTo>
                <a:cubicBezTo>
                  <a:pt x="69" y="110"/>
                  <a:pt x="70" y="110"/>
                  <a:pt x="70" y="110"/>
                </a:cubicBezTo>
                <a:cubicBezTo>
                  <a:pt x="71" y="110"/>
                  <a:pt x="71" y="111"/>
                  <a:pt x="71" y="111"/>
                </a:cubicBezTo>
                <a:cubicBezTo>
                  <a:pt x="71" y="112"/>
                  <a:pt x="71" y="112"/>
                  <a:pt x="71" y="112"/>
                </a:cubicBezTo>
                <a:cubicBezTo>
                  <a:pt x="71" y="113"/>
                  <a:pt x="70" y="112"/>
                  <a:pt x="70" y="113"/>
                </a:cubicBezTo>
                <a:cubicBezTo>
                  <a:pt x="69" y="114"/>
                  <a:pt x="69" y="116"/>
                  <a:pt x="67" y="116"/>
                </a:cubicBezTo>
                <a:cubicBezTo>
                  <a:pt x="67" y="119"/>
                  <a:pt x="67" y="119"/>
                  <a:pt x="67" y="119"/>
                </a:cubicBezTo>
                <a:cubicBezTo>
                  <a:pt x="66" y="120"/>
                  <a:pt x="65" y="121"/>
                  <a:pt x="65" y="123"/>
                </a:cubicBezTo>
                <a:cubicBezTo>
                  <a:pt x="64" y="123"/>
                  <a:pt x="64" y="125"/>
                  <a:pt x="64" y="126"/>
                </a:cubicBezTo>
                <a:cubicBezTo>
                  <a:pt x="65" y="126"/>
                  <a:pt x="66" y="127"/>
                  <a:pt x="66" y="128"/>
                </a:cubicBezTo>
                <a:cubicBezTo>
                  <a:pt x="73" y="128"/>
                  <a:pt x="73" y="128"/>
                  <a:pt x="73" y="128"/>
                </a:cubicBezTo>
                <a:cubicBezTo>
                  <a:pt x="73" y="127"/>
                  <a:pt x="73" y="127"/>
                  <a:pt x="73" y="127"/>
                </a:cubicBezTo>
                <a:cubicBezTo>
                  <a:pt x="74" y="127"/>
                  <a:pt x="73" y="126"/>
                  <a:pt x="74" y="126"/>
                </a:cubicBezTo>
                <a:cubicBezTo>
                  <a:pt x="74" y="125"/>
                  <a:pt x="74" y="126"/>
                  <a:pt x="74" y="125"/>
                </a:cubicBezTo>
                <a:cubicBezTo>
                  <a:pt x="75" y="125"/>
                  <a:pt x="76" y="125"/>
                  <a:pt x="76" y="125"/>
                </a:cubicBezTo>
                <a:cubicBezTo>
                  <a:pt x="76" y="123"/>
                  <a:pt x="75" y="123"/>
                  <a:pt x="75" y="122"/>
                </a:cubicBezTo>
                <a:cubicBezTo>
                  <a:pt x="74" y="122"/>
                  <a:pt x="74" y="121"/>
                  <a:pt x="74" y="120"/>
                </a:cubicBezTo>
                <a:cubicBezTo>
                  <a:pt x="73" y="120"/>
                  <a:pt x="73" y="120"/>
                  <a:pt x="73" y="120"/>
                </a:cubicBezTo>
                <a:cubicBezTo>
                  <a:pt x="72" y="119"/>
                  <a:pt x="71" y="118"/>
                  <a:pt x="72" y="115"/>
                </a:cubicBezTo>
                <a:cubicBezTo>
                  <a:pt x="73" y="114"/>
                  <a:pt x="74" y="113"/>
                  <a:pt x="76" y="113"/>
                </a:cubicBezTo>
                <a:cubicBezTo>
                  <a:pt x="76" y="112"/>
                  <a:pt x="77" y="112"/>
                  <a:pt x="78" y="112"/>
                </a:cubicBezTo>
                <a:cubicBezTo>
                  <a:pt x="78" y="111"/>
                  <a:pt x="79" y="110"/>
                  <a:pt x="81" y="111"/>
                </a:cubicBezTo>
                <a:cubicBezTo>
                  <a:pt x="81" y="110"/>
                  <a:pt x="80" y="109"/>
                  <a:pt x="80" y="109"/>
                </a:cubicBezTo>
                <a:cubicBezTo>
                  <a:pt x="79" y="109"/>
                  <a:pt x="79" y="109"/>
                  <a:pt x="78" y="109"/>
                </a:cubicBezTo>
                <a:cubicBezTo>
                  <a:pt x="79" y="105"/>
                  <a:pt x="82" y="105"/>
                  <a:pt x="83" y="102"/>
                </a:cubicBezTo>
                <a:cubicBezTo>
                  <a:pt x="83" y="99"/>
                  <a:pt x="83" y="99"/>
                  <a:pt x="83" y="99"/>
                </a:cubicBezTo>
                <a:cubicBezTo>
                  <a:pt x="83" y="98"/>
                  <a:pt x="82" y="97"/>
                  <a:pt x="81" y="97"/>
                </a:cubicBezTo>
                <a:cubicBezTo>
                  <a:pt x="81" y="96"/>
                  <a:pt x="81" y="96"/>
                  <a:pt x="81" y="95"/>
                </a:cubicBezTo>
                <a:cubicBezTo>
                  <a:pt x="81" y="95"/>
                  <a:pt x="81" y="95"/>
                  <a:pt x="81" y="95"/>
                </a:cubicBezTo>
                <a:cubicBezTo>
                  <a:pt x="80" y="94"/>
                  <a:pt x="81" y="93"/>
                  <a:pt x="81" y="93"/>
                </a:cubicBezTo>
                <a:cubicBezTo>
                  <a:pt x="80" y="93"/>
                  <a:pt x="80" y="93"/>
                  <a:pt x="80" y="93"/>
                </a:cubicBezTo>
                <a:cubicBezTo>
                  <a:pt x="80" y="93"/>
                  <a:pt x="80" y="92"/>
                  <a:pt x="80" y="91"/>
                </a:cubicBezTo>
                <a:cubicBezTo>
                  <a:pt x="80" y="91"/>
                  <a:pt x="79" y="91"/>
                  <a:pt x="79" y="91"/>
                </a:cubicBezTo>
                <a:cubicBezTo>
                  <a:pt x="79" y="91"/>
                  <a:pt x="79" y="90"/>
                  <a:pt x="78" y="90"/>
                </a:cubicBezTo>
                <a:cubicBezTo>
                  <a:pt x="78" y="88"/>
                  <a:pt x="78" y="88"/>
                  <a:pt x="78" y="88"/>
                </a:cubicBezTo>
                <a:cubicBezTo>
                  <a:pt x="78" y="87"/>
                  <a:pt x="77" y="86"/>
                  <a:pt x="77" y="85"/>
                </a:cubicBezTo>
                <a:cubicBezTo>
                  <a:pt x="77" y="83"/>
                  <a:pt x="77" y="82"/>
                  <a:pt x="76" y="82"/>
                </a:cubicBezTo>
                <a:cubicBezTo>
                  <a:pt x="76" y="82"/>
                  <a:pt x="76" y="82"/>
                  <a:pt x="76" y="81"/>
                </a:cubicBezTo>
                <a:cubicBezTo>
                  <a:pt x="76" y="81"/>
                  <a:pt x="77" y="81"/>
                  <a:pt x="77" y="81"/>
                </a:cubicBezTo>
                <a:cubicBezTo>
                  <a:pt x="77" y="81"/>
                  <a:pt x="78" y="80"/>
                  <a:pt x="79" y="80"/>
                </a:cubicBezTo>
                <a:cubicBezTo>
                  <a:pt x="79" y="80"/>
                  <a:pt x="80" y="79"/>
                  <a:pt x="81" y="79"/>
                </a:cubicBezTo>
                <a:cubicBezTo>
                  <a:pt x="81" y="78"/>
                  <a:pt x="81" y="78"/>
                  <a:pt x="81" y="78"/>
                </a:cubicBezTo>
                <a:cubicBezTo>
                  <a:pt x="81" y="77"/>
                  <a:pt x="82" y="77"/>
                  <a:pt x="82" y="77"/>
                </a:cubicBezTo>
                <a:cubicBezTo>
                  <a:pt x="82" y="76"/>
                  <a:pt x="83" y="76"/>
                  <a:pt x="83" y="76"/>
                </a:cubicBezTo>
                <a:cubicBezTo>
                  <a:pt x="83" y="76"/>
                  <a:pt x="83" y="76"/>
                  <a:pt x="83" y="76"/>
                </a:cubicBezTo>
                <a:cubicBezTo>
                  <a:pt x="83" y="76"/>
                  <a:pt x="83" y="76"/>
                  <a:pt x="83" y="76"/>
                </a:cubicBezTo>
                <a:cubicBezTo>
                  <a:pt x="83" y="76"/>
                  <a:pt x="83" y="76"/>
                  <a:pt x="83" y="76"/>
                </a:cubicBezTo>
                <a:cubicBezTo>
                  <a:pt x="84" y="76"/>
                  <a:pt x="84" y="76"/>
                  <a:pt x="84" y="76"/>
                </a:cubicBezTo>
                <a:cubicBezTo>
                  <a:pt x="84" y="76"/>
                  <a:pt x="85" y="77"/>
                  <a:pt x="86" y="77"/>
                </a:cubicBezTo>
                <a:cubicBezTo>
                  <a:pt x="87" y="77"/>
                  <a:pt x="88" y="77"/>
                  <a:pt x="88" y="77"/>
                </a:cubicBezTo>
                <a:cubicBezTo>
                  <a:pt x="88" y="77"/>
                  <a:pt x="88" y="78"/>
                  <a:pt x="88" y="78"/>
                </a:cubicBezTo>
                <a:cubicBezTo>
                  <a:pt x="88" y="78"/>
                  <a:pt x="89" y="78"/>
                  <a:pt x="90" y="78"/>
                </a:cubicBezTo>
                <a:cubicBezTo>
                  <a:pt x="94" y="78"/>
                  <a:pt x="98" y="77"/>
                  <a:pt x="99" y="74"/>
                </a:cubicBezTo>
                <a:cubicBezTo>
                  <a:pt x="98" y="74"/>
                  <a:pt x="97" y="73"/>
                  <a:pt x="97" y="71"/>
                </a:cubicBezTo>
                <a:cubicBezTo>
                  <a:pt x="97" y="69"/>
                  <a:pt x="99" y="70"/>
                  <a:pt x="99" y="68"/>
                </a:cubicBezTo>
                <a:cubicBezTo>
                  <a:pt x="102" y="67"/>
                  <a:pt x="104" y="66"/>
                  <a:pt x="105" y="64"/>
                </a:cubicBezTo>
                <a:cubicBezTo>
                  <a:pt x="106" y="64"/>
                  <a:pt x="107" y="63"/>
                  <a:pt x="107" y="63"/>
                </a:cubicBezTo>
                <a:cubicBezTo>
                  <a:pt x="107" y="62"/>
                  <a:pt x="108" y="62"/>
                  <a:pt x="108" y="63"/>
                </a:cubicBezTo>
                <a:cubicBezTo>
                  <a:pt x="110" y="63"/>
                  <a:pt x="110" y="63"/>
                  <a:pt x="110" y="63"/>
                </a:cubicBezTo>
                <a:cubicBezTo>
                  <a:pt x="110" y="62"/>
                  <a:pt x="110" y="62"/>
                  <a:pt x="110" y="62"/>
                </a:cubicBezTo>
                <a:cubicBezTo>
                  <a:pt x="111" y="61"/>
                  <a:pt x="110" y="58"/>
                  <a:pt x="111" y="56"/>
                </a:cubicBezTo>
                <a:cubicBezTo>
                  <a:pt x="111" y="56"/>
                  <a:pt x="110" y="56"/>
                  <a:pt x="110" y="56"/>
                </a:cubicBezTo>
                <a:cubicBezTo>
                  <a:pt x="110" y="56"/>
                  <a:pt x="110" y="56"/>
                  <a:pt x="110" y="56"/>
                </a:cubicBezTo>
                <a:cubicBezTo>
                  <a:pt x="110" y="56"/>
                  <a:pt x="110" y="56"/>
                  <a:pt x="110" y="56"/>
                </a:cubicBezTo>
                <a:cubicBezTo>
                  <a:pt x="110" y="56"/>
                  <a:pt x="110" y="56"/>
                  <a:pt x="110" y="56"/>
                </a:cubicBezTo>
                <a:cubicBezTo>
                  <a:pt x="111" y="53"/>
                  <a:pt x="109" y="53"/>
                  <a:pt x="108" y="53"/>
                </a:cubicBezTo>
                <a:cubicBezTo>
                  <a:pt x="108" y="53"/>
                  <a:pt x="108" y="53"/>
                  <a:pt x="108" y="53"/>
                </a:cubicBezTo>
                <a:cubicBezTo>
                  <a:pt x="108" y="52"/>
                  <a:pt x="107" y="51"/>
                  <a:pt x="107" y="52"/>
                </a:cubicBezTo>
                <a:cubicBezTo>
                  <a:pt x="106" y="52"/>
                  <a:pt x="106" y="52"/>
                  <a:pt x="106" y="51"/>
                </a:cubicBezTo>
                <a:cubicBezTo>
                  <a:pt x="106" y="51"/>
                  <a:pt x="105" y="51"/>
                  <a:pt x="105" y="51"/>
                </a:cubicBezTo>
                <a:cubicBezTo>
                  <a:pt x="104" y="51"/>
                  <a:pt x="104" y="51"/>
                  <a:pt x="104" y="51"/>
                </a:cubicBezTo>
                <a:cubicBezTo>
                  <a:pt x="102" y="52"/>
                  <a:pt x="102" y="50"/>
                  <a:pt x="101" y="49"/>
                </a:cubicBezTo>
                <a:cubicBezTo>
                  <a:pt x="101" y="49"/>
                  <a:pt x="101" y="49"/>
                  <a:pt x="101" y="49"/>
                </a:cubicBezTo>
                <a:cubicBezTo>
                  <a:pt x="101" y="49"/>
                  <a:pt x="101" y="49"/>
                  <a:pt x="101" y="49"/>
                </a:cubicBezTo>
                <a:cubicBezTo>
                  <a:pt x="101" y="49"/>
                  <a:pt x="101" y="49"/>
                  <a:pt x="101" y="49"/>
                </a:cubicBezTo>
                <a:cubicBezTo>
                  <a:pt x="101" y="48"/>
                  <a:pt x="101" y="48"/>
                  <a:pt x="101" y="48"/>
                </a:cubicBezTo>
                <a:cubicBezTo>
                  <a:pt x="101" y="48"/>
                  <a:pt x="101" y="48"/>
                  <a:pt x="101" y="48"/>
                </a:cubicBezTo>
                <a:cubicBezTo>
                  <a:pt x="101" y="48"/>
                  <a:pt x="101" y="48"/>
                  <a:pt x="101" y="48"/>
                </a:cubicBezTo>
                <a:cubicBezTo>
                  <a:pt x="101" y="48"/>
                  <a:pt x="101" y="48"/>
                  <a:pt x="101" y="48"/>
                </a:cubicBezTo>
                <a:cubicBezTo>
                  <a:pt x="101" y="48"/>
                  <a:pt x="101" y="48"/>
                  <a:pt x="101" y="48"/>
                </a:cubicBezTo>
                <a:cubicBezTo>
                  <a:pt x="101" y="48"/>
                  <a:pt x="101" y="47"/>
                  <a:pt x="101" y="47"/>
                </a:cubicBezTo>
                <a:cubicBezTo>
                  <a:pt x="101" y="47"/>
                  <a:pt x="101" y="47"/>
                  <a:pt x="101" y="47"/>
                </a:cubicBezTo>
                <a:cubicBezTo>
                  <a:pt x="101" y="47"/>
                  <a:pt x="101" y="47"/>
                  <a:pt x="101" y="46"/>
                </a:cubicBezTo>
                <a:cubicBezTo>
                  <a:pt x="101" y="46"/>
                  <a:pt x="101" y="46"/>
                  <a:pt x="101" y="46"/>
                </a:cubicBezTo>
                <a:cubicBezTo>
                  <a:pt x="101" y="46"/>
                  <a:pt x="101" y="46"/>
                  <a:pt x="101" y="46"/>
                </a:cubicBezTo>
                <a:cubicBezTo>
                  <a:pt x="103" y="47"/>
                  <a:pt x="107" y="46"/>
                  <a:pt x="110" y="47"/>
                </a:cubicBezTo>
                <a:cubicBezTo>
                  <a:pt x="112" y="47"/>
                  <a:pt x="110" y="44"/>
                  <a:pt x="112" y="44"/>
                </a:cubicBezTo>
                <a:cubicBezTo>
                  <a:pt x="111" y="40"/>
                  <a:pt x="114" y="39"/>
                  <a:pt x="113" y="35"/>
                </a:cubicBezTo>
                <a:cubicBezTo>
                  <a:pt x="115" y="35"/>
                  <a:pt x="115" y="34"/>
                  <a:pt x="115" y="33"/>
                </a:cubicBezTo>
                <a:cubicBezTo>
                  <a:pt x="117" y="33"/>
                  <a:pt x="116" y="31"/>
                  <a:pt x="117" y="31"/>
                </a:cubicBezTo>
                <a:cubicBezTo>
                  <a:pt x="117" y="27"/>
                  <a:pt x="117" y="23"/>
                  <a:pt x="117" y="19"/>
                </a:cubicBezTo>
                <a:cubicBezTo>
                  <a:pt x="117" y="18"/>
                  <a:pt x="117" y="18"/>
                  <a:pt x="117" y="17"/>
                </a:cubicBezTo>
                <a:close/>
                <a:moveTo>
                  <a:pt x="74" y="84"/>
                </a:moveTo>
                <a:cubicBezTo>
                  <a:pt x="74" y="85"/>
                  <a:pt x="75" y="85"/>
                  <a:pt x="75" y="86"/>
                </a:cubicBezTo>
                <a:cubicBezTo>
                  <a:pt x="75" y="85"/>
                  <a:pt x="74" y="85"/>
                  <a:pt x="74" y="84"/>
                </a:cubicBezTo>
                <a:close/>
                <a:moveTo>
                  <a:pt x="81" y="44"/>
                </a:moveTo>
                <a:cubicBezTo>
                  <a:pt x="80" y="44"/>
                  <a:pt x="79" y="44"/>
                  <a:pt x="78" y="44"/>
                </a:cubicBezTo>
                <a:cubicBezTo>
                  <a:pt x="77" y="45"/>
                  <a:pt x="76" y="44"/>
                  <a:pt x="76" y="45"/>
                </a:cubicBezTo>
                <a:cubicBezTo>
                  <a:pt x="75" y="45"/>
                  <a:pt x="74" y="46"/>
                  <a:pt x="73" y="46"/>
                </a:cubicBezTo>
                <a:cubicBezTo>
                  <a:pt x="72" y="45"/>
                  <a:pt x="70" y="46"/>
                  <a:pt x="71" y="44"/>
                </a:cubicBezTo>
                <a:cubicBezTo>
                  <a:pt x="73" y="44"/>
                  <a:pt x="73" y="44"/>
                  <a:pt x="73" y="44"/>
                </a:cubicBezTo>
                <a:cubicBezTo>
                  <a:pt x="75" y="43"/>
                  <a:pt x="78" y="43"/>
                  <a:pt x="80" y="42"/>
                </a:cubicBezTo>
                <a:cubicBezTo>
                  <a:pt x="80" y="42"/>
                  <a:pt x="80" y="42"/>
                  <a:pt x="80" y="42"/>
                </a:cubicBezTo>
                <a:cubicBezTo>
                  <a:pt x="81" y="42"/>
                  <a:pt x="81" y="42"/>
                  <a:pt x="81" y="43"/>
                </a:cubicBezTo>
                <a:cubicBezTo>
                  <a:pt x="81" y="43"/>
                  <a:pt x="80" y="43"/>
                  <a:pt x="81" y="44"/>
                </a:cubicBezTo>
                <a:close/>
                <a:moveTo>
                  <a:pt x="8" y="83"/>
                </a:moveTo>
                <a:cubicBezTo>
                  <a:pt x="8" y="83"/>
                  <a:pt x="8" y="83"/>
                  <a:pt x="8" y="83"/>
                </a:cubicBezTo>
                <a:cubicBezTo>
                  <a:pt x="9" y="85"/>
                  <a:pt x="11" y="85"/>
                  <a:pt x="13" y="85"/>
                </a:cubicBezTo>
                <a:cubicBezTo>
                  <a:pt x="13" y="85"/>
                  <a:pt x="13" y="85"/>
                  <a:pt x="13" y="85"/>
                </a:cubicBezTo>
                <a:cubicBezTo>
                  <a:pt x="14" y="85"/>
                  <a:pt x="14" y="84"/>
                  <a:pt x="16" y="84"/>
                </a:cubicBezTo>
                <a:cubicBezTo>
                  <a:pt x="16" y="84"/>
                  <a:pt x="16" y="84"/>
                  <a:pt x="16" y="84"/>
                </a:cubicBezTo>
                <a:cubicBezTo>
                  <a:pt x="16" y="84"/>
                  <a:pt x="16" y="84"/>
                  <a:pt x="16" y="84"/>
                </a:cubicBezTo>
                <a:cubicBezTo>
                  <a:pt x="16" y="84"/>
                  <a:pt x="16" y="84"/>
                  <a:pt x="16" y="84"/>
                </a:cubicBezTo>
                <a:cubicBezTo>
                  <a:pt x="16" y="84"/>
                  <a:pt x="16" y="84"/>
                  <a:pt x="16" y="84"/>
                </a:cubicBezTo>
                <a:cubicBezTo>
                  <a:pt x="16" y="84"/>
                  <a:pt x="16" y="84"/>
                  <a:pt x="16" y="84"/>
                </a:cubicBezTo>
                <a:cubicBezTo>
                  <a:pt x="16" y="84"/>
                  <a:pt x="15" y="83"/>
                  <a:pt x="15" y="83"/>
                </a:cubicBezTo>
                <a:cubicBezTo>
                  <a:pt x="14" y="83"/>
                  <a:pt x="14" y="81"/>
                  <a:pt x="12" y="82"/>
                </a:cubicBezTo>
                <a:cubicBezTo>
                  <a:pt x="11" y="82"/>
                  <a:pt x="11" y="81"/>
                  <a:pt x="11" y="81"/>
                </a:cubicBezTo>
                <a:cubicBezTo>
                  <a:pt x="11" y="81"/>
                  <a:pt x="11" y="81"/>
                  <a:pt x="11" y="81"/>
                </a:cubicBezTo>
                <a:cubicBezTo>
                  <a:pt x="9" y="80"/>
                  <a:pt x="8" y="81"/>
                  <a:pt x="8" y="83"/>
                </a:cubicBezTo>
                <a:cubicBezTo>
                  <a:pt x="8" y="83"/>
                  <a:pt x="8" y="83"/>
                  <a:pt x="8" y="83"/>
                </a:cubicBezTo>
                <a:cubicBezTo>
                  <a:pt x="8" y="83"/>
                  <a:pt x="8" y="83"/>
                  <a:pt x="8" y="83"/>
                </a:cubicBezTo>
                <a:close/>
                <a:moveTo>
                  <a:pt x="13" y="79"/>
                </a:moveTo>
                <a:cubicBezTo>
                  <a:pt x="13" y="79"/>
                  <a:pt x="13" y="80"/>
                  <a:pt x="14" y="80"/>
                </a:cubicBezTo>
                <a:cubicBezTo>
                  <a:pt x="14" y="80"/>
                  <a:pt x="15" y="80"/>
                  <a:pt x="15" y="81"/>
                </a:cubicBezTo>
                <a:cubicBezTo>
                  <a:pt x="15" y="81"/>
                  <a:pt x="15" y="81"/>
                  <a:pt x="15" y="81"/>
                </a:cubicBezTo>
                <a:cubicBezTo>
                  <a:pt x="16" y="82"/>
                  <a:pt x="17" y="82"/>
                  <a:pt x="17" y="84"/>
                </a:cubicBezTo>
                <a:cubicBezTo>
                  <a:pt x="17" y="84"/>
                  <a:pt x="17" y="84"/>
                  <a:pt x="18" y="84"/>
                </a:cubicBezTo>
                <a:cubicBezTo>
                  <a:pt x="18" y="84"/>
                  <a:pt x="18" y="84"/>
                  <a:pt x="18" y="84"/>
                </a:cubicBezTo>
                <a:cubicBezTo>
                  <a:pt x="19" y="85"/>
                  <a:pt x="19" y="85"/>
                  <a:pt x="20" y="84"/>
                </a:cubicBezTo>
                <a:cubicBezTo>
                  <a:pt x="20" y="84"/>
                  <a:pt x="20" y="84"/>
                  <a:pt x="20" y="84"/>
                </a:cubicBezTo>
                <a:cubicBezTo>
                  <a:pt x="21" y="83"/>
                  <a:pt x="22" y="82"/>
                  <a:pt x="22" y="81"/>
                </a:cubicBezTo>
                <a:cubicBezTo>
                  <a:pt x="22" y="81"/>
                  <a:pt x="22" y="81"/>
                  <a:pt x="22" y="81"/>
                </a:cubicBezTo>
                <a:cubicBezTo>
                  <a:pt x="22" y="81"/>
                  <a:pt x="22" y="80"/>
                  <a:pt x="22" y="80"/>
                </a:cubicBezTo>
                <a:cubicBezTo>
                  <a:pt x="20" y="80"/>
                  <a:pt x="19" y="79"/>
                  <a:pt x="19" y="77"/>
                </a:cubicBezTo>
                <a:cubicBezTo>
                  <a:pt x="15" y="78"/>
                  <a:pt x="15" y="75"/>
                  <a:pt x="11" y="75"/>
                </a:cubicBezTo>
                <a:cubicBezTo>
                  <a:pt x="11" y="75"/>
                  <a:pt x="10" y="76"/>
                  <a:pt x="10" y="76"/>
                </a:cubicBezTo>
                <a:cubicBezTo>
                  <a:pt x="10" y="76"/>
                  <a:pt x="10" y="77"/>
                  <a:pt x="9" y="77"/>
                </a:cubicBezTo>
                <a:cubicBezTo>
                  <a:pt x="9" y="78"/>
                  <a:pt x="9" y="78"/>
                  <a:pt x="9" y="78"/>
                </a:cubicBezTo>
                <a:cubicBezTo>
                  <a:pt x="9" y="80"/>
                  <a:pt x="12" y="78"/>
                  <a:pt x="13" y="79"/>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92" name="Freeform 121"/>
          <p:cNvSpPr>
            <a:spLocks noEditPoints="1"/>
          </p:cNvSpPr>
          <p:nvPr/>
        </p:nvSpPr>
        <p:spPr bwMode="auto">
          <a:xfrm>
            <a:off x="7139279" y="4561190"/>
            <a:ext cx="1558925" cy="2071688"/>
          </a:xfrm>
          <a:custGeom>
            <a:avLst/>
            <a:gdLst>
              <a:gd name="T0" fmla="*/ 85 w 403"/>
              <a:gd name="T1" fmla="*/ 276 h 535"/>
              <a:gd name="T2" fmla="*/ 46 w 403"/>
              <a:gd name="T3" fmla="*/ 285 h 535"/>
              <a:gd name="T4" fmla="*/ 50 w 403"/>
              <a:gd name="T5" fmla="*/ 313 h 535"/>
              <a:gd name="T6" fmla="*/ 46 w 403"/>
              <a:gd name="T7" fmla="*/ 347 h 535"/>
              <a:gd name="T8" fmla="*/ 56 w 403"/>
              <a:gd name="T9" fmla="*/ 375 h 535"/>
              <a:gd name="T10" fmla="*/ 89 w 403"/>
              <a:gd name="T11" fmla="*/ 356 h 535"/>
              <a:gd name="T12" fmla="*/ 97 w 403"/>
              <a:gd name="T13" fmla="*/ 306 h 535"/>
              <a:gd name="T14" fmla="*/ 85 w 403"/>
              <a:gd name="T15" fmla="*/ 269 h 535"/>
              <a:gd name="T16" fmla="*/ 94 w 403"/>
              <a:gd name="T17" fmla="*/ 286 h 535"/>
              <a:gd name="T18" fmla="*/ 115 w 403"/>
              <a:gd name="T19" fmla="*/ 197 h 535"/>
              <a:gd name="T20" fmla="*/ 138 w 403"/>
              <a:gd name="T21" fmla="*/ 220 h 535"/>
              <a:gd name="T22" fmla="*/ 209 w 403"/>
              <a:gd name="T23" fmla="*/ 285 h 535"/>
              <a:gd name="T24" fmla="*/ 250 w 403"/>
              <a:gd name="T25" fmla="*/ 301 h 535"/>
              <a:gd name="T26" fmla="*/ 373 w 403"/>
              <a:gd name="T27" fmla="*/ 289 h 535"/>
              <a:gd name="T28" fmla="*/ 338 w 403"/>
              <a:gd name="T29" fmla="*/ 271 h 535"/>
              <a:gd name="T30" fmla="*/ 317 w 403"/>
              <a:gd name="T31" fmla="*/ 245 h 535"/>
              <a:gd name="T32" fmla="*/ 260 w 403"/>
              <a:gd name="T33" fmla="*/ 225 h 535"/>
              <a:gd name="T34" fmla="*/ 239 w 403"/>
              <a:gd name="T35" fmla="*/ 194 h 535"/>
              <a:gd name="T36" fmla="*/ 229 w 403"/>
              <a:gd name="T37" fmla="*/ 167 h 535"/>
              <a:gd name="T38" fmla="*/ 205 w 403"/>
              <a:gd name="T39" fmla="*/ 148 h 535"/>
              <a:gd name="T40" fmla="*/ 186 w 403"/>
              <a:gd name="T41" fmla="*/ 109 h 535"/>
              <a:gd name="T42" fmla="*/ 196 w 403"/>
              <a:gd name="T43" fmla="*/ 78 h 535"/>
              <a:gd name="T44" fmla="*/ 224 w 403"/>
              <a:gd name="T45" fmla="*/ 66 h 535"/>
              <a:gd name="T46" fmla="*/ 219 w 403"/>
              <a:gd name="T47" fmla="*/ 34 h 535"/>
              <a:gd name="T48" fmla="*/ 212 w 403"/>
              <a:gd name="T49" fmla="*/ 27 h 535"/>
              <a:gd name="T50" fmla="*/ 168 w 403"/>
              <a:gd name="T51" fmla="*/ 5 h 535"/>
              <a:gd name="T52" fmla="*/ 122 w 403"/>
              <a:gd name="T53" fmla="*/ 23 h 535"/>
              <a:gd name="T54" fmla="*/ 110 w 403"/>
              <a:gd name="T55" fmla="*/ 27 h 535"/>
              <a:gd name="T56" fmla="*/ 110 w 403"/>
              <a:gd name="T57" fmla="*/ 35 h 535"/>
              <a:gd name="T58" fmla="*/ 96 w 403"/>
              <a:gd name="T59" fmla="*/ 32 h 535"/>
              <a:gd name="T60" fmla="*/ 87 w 403"/>
              <a:gd name="T61" fmla="*/ 27 h 535"/>
              <a:gd name="T62" fmla="*/ 74 w 403"/>
              <a:gd name="T63" fmla="*/ 51 h 535"/>
              <a:gd name="T64" fmla="*/ 51 w 403"/>
              <a:gd name="T65" fmla="*/ 34 h 535"/>
              <a:gd name="T66" fmla="*/ 27 w 403"/>
              <a:gd name="T67" fmla="*/ 47 h 535"/>
              <a:gd name="T68" fmla="*/ 16 w 403"/>
              <a:gd name="T69" fmla="*/ 77 h 535"/>
              <a:gd name="T70" fmla="*/ 11 w 403"/>
              <a:gd name="T71" fmla="*/ 129 h 535"/>
              <a:gd name="T72" fmla="*/ 55 w 403"/>
              <a:gd name="T73" fmla="*/ 133 h 535"/>
              <a:gd name="T74" fmla="*/ 106 w 403"/>
              <a:gd name="T75" fmla="*/ 142 h 535"/>
              <a:gd name="T76" fmla="*/ 124 w 403"/>
              <a:gd name="T77" fmla="*/ 186 h 535"/>
              <a:gd name="T78" fmla="*/ 150 w 403"/>
              <a:gd name="T79" fmla="*/ 218 h 535"/>
              <a:gd name="T80" fmla="*/ 184 w 403"/>
              <a:gd name="T81" fmla="*/ 249 h 535"/>
              <a:gd name="T82" fmla="*/ 233 w 403"/>
              <a:gd name="T83" fmla="*/ 273 h 535"/>
              <a:gd name="T84" fmla="*/ 251 w 403"/>
              <a:gd name="T85" fmla="*/ 290 h 535"/>
              <a:gd name="T86" fmla="*/ 271 w 403"/>
              <a:gd name="T87" fmla="*/ 299 h 535"/>
              <a:gd name="T88" fmla="*/ 292 w 403"/>
              <a:gd name="T89" fmla="*/ 328 h 535"/>
              <a:gd name="T90" fmla="*/ 315 w 403"/>
              <a:gd name="T91" fmla="*/ 354 h 535"/>
              <a:gd name="T92" fmla="*/ 309 w 403"/>
              <a:gd name="T93" fmla="*/ 388 h 535"/>
              <a:gd name="T94" fmla="*/ 307 w 403"/>
              <a:gd name="T95" fmla="*/ 421 h 535"/>
              <a:gd name="T96" fmla="*/ 337 w 403"/>
              <a:gd name="T97" fmla="*/ 399 h 535"/>
              <a:gd name="T98" fmla="*/ 354 w 403"/>
              <a:gd name="T99" fmla="*/ 351 h 535"/>
              <a:gd name="T100" fmla="*/ 340 w 403"/>
              <a:gd name="T101" fmla="*/ 315 h 535"/>
              <a:gd name="T102" fmla="*/ 366 w 403"/>
              <a:gd name="T103" fmla="*/ 311 h 535"/>
              <a:gd name="T104" fmla="*/ 399 w 403"/>
              <a:gd name="T105" fmla="*/ 329 h 535"/>
              <a:gd name="T106" fmla="*/ 283 w 403"/>
              <a:gd name="T107" fmla="*/ 388 h 535"/>
              <a:gd name="T108" fmla="*/ 258 w 403"/>
              <a:gd name="T109" fmla="*/ 394 h 535"/>
              <a:gd name="T110" fmla="*/ 278 w 403"/>
              <a:gd name="T111" fmla="*/ 409 h 535"/>
              <a:gd name="T112" fmla="*/ 240 w 403"/>
              <a:gd name="T113" fmla="*/ 418 h 535"/>
              <a:gd name="T114" fmla="*/ 203 w 403"/>
              <a:gd name="T115" fmla="*/ 415 h 535"/>
              <a:gd name="T116" fmla="*/ 232 w 403"/>
              <a:gd name="T117" fmla="*/ 457 h 535"/>
              <a:gd name="T118" fmla="*/ 282 w 403"/>
              <a:gd name="T119" fmla="*/ 478 h 535"/>
              <a:gd name="T120" fmla="*/ 291 w 403"/>
              <a:gd name="T121" fmla="*/ 452 h 535"/>
              <a:gd name="T122" fmla="*/ 301 w 403"/>
              <a:gd name="T123" fmla="*/ 412 h 535"/>
              <a:gd name="T124" fmla="*/ 170 w 403"/>
              <a:gd name="T125" fmla="*/ 47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35">
                <a:moveTo>
                  <a:pt x="99" y="302"/>
                </a:moveTo>
                <a:cubicBezTo>
                  <a:pt x="99" y="302"/>
                  <a:pt x="99" y="302"/>
                  <a:pt x="99" y="302"/>
                </a:cubicBezTo>
                <a:cubicBezTo>
                  <a:pt x="98" y="300"/>
                  <a:pt x="97" y="299"/>
                  <a:pt x="96" y="297"/>
                </a:cubicBezTo>
                <a:cubicBezTo>
                  <a:pt x="96" y="296"/>
                  <a:pt x="96" y="295"/>
                  <a:pt x="97" y="294"/>
                </a:cubicBezTo>
                <a:cubicBezTo>
                  <a:pt x="96" y="294"/>
                  <a:pt x="96" y="293"/>
                  <a:pt x="96" y="293"/>
                </a:cubicBezTo>
                <a:cubicBezTo>
                  <a:pt x="96" y="293"/>
                  <a:pt x="96" y="293"/>
                  <a:pt x="96" y="293"/>
                </a:cubicBezTo>
                <a:cubicBezTo>
                  <a:pt x="95" y="293"/>
                  <a:pt x="95" y="293"/>
                  <a:pt x="95" y="293"/>
                </a:cubicBezTo>
                <a:cubicBezTo>
                  <a:pt x="95" y="291"/>
                  <a:pt x="95" y="291"/>
                  <a:pt x="94" y="289"/>
                </a:cubicBezTo>
                <a:cubicBezTo>
                  <a:pt x="94" y="289"/>
                  <a:pt x="94" y="289"/>
                  <a:pt x="94" y="289"/>
                </a:cubicBezTo>
                <a:cubicBezTo>
                  <a:pt x="94" y="288"/>
                  <a:pt x="94" y="288"/>
                  <a:pt x="94" y="288"/>
                </a:cubicBezTo>
                <a:cubicBezTo>
                  <a:pt x="94" y="288"/>
                  <a:pt x="93" y="287"/>
                  <a:pt x="92" y="287"/>
                </a:cubicBezTo>
                <a:cubicBezTo>
                  <a:pt x="92" y="286"/>
                  <a:pt x="92" y="286"/>
                  <a:pt x="91" y="286"/>
                </a:cubicBezTo>
                <a:cubicBezTo>
                  <a:pt x="91" y="285"/>
                  <a:pt x="91" y="285"/>
                  <a:pt x="91" y="285"/>
                </a:cubicBezTo>
                <a:cubicBezTo>
                  <a:pt x="90" y="285"/>
                  <a:pt x="89" y="285"/>
                  <a:pt x="88" y="285"/>
                </a:cubicBezTo>
                <a:cubicBezTo>
                  <a:pt x="89" y="284"/>
                  <a:pt x="89" y="283"/>
                  <a:pt x="90" y="282"/>
                </a:cubicBezTo>
                <a:cubicBezTo>
                  <a:pt x="90" y="281"/>
                  <a:pt x="93" y="282"/>
                  <a:pt x="92" y="280"/>
                </a:cubicBezTo>
                <a:cubicBezTo>
                  <a:pt x="91" y="280"/>
                  <a:pt x="89" y="280"/>
                  <a:pt x="88" y="278"/>
                </a:cubicBezTo>
                <a:cubicBezTo>
                  <a:pt x="88" y="276"/>
                  <a:pt x="90" y="277"/>
                  <a:pt x="90" y="275"/>
                </a:cubicBezTo>
                <a:cubicBezTo>
                  <a:pt x="89" y="275"/>
                  <a:pt x="88" y="275"/>
                  <a:pt x="87" y="275"/>
                </a:cubicBezTo>
                <a:cubicBezTo>
                  <a:pt x="86" y="275"/>
                  <a:pt x="86" y="276"/>
                  <a:pt x="85" y="276"/>
                </a:cubicBezTo>
                <a:cubicBezTo>
                  <a:pt x="86" y="275"/>
                  <a:pt x="85" y="274"/>
                  <a:pt x="85" y="273"/>
                </a:cubicBezTo>
                <a:cubicBezTo>
                  <a:pt x="84" y="272"/>
                  <a:pt x="84" y="272"/>
                  <a:pt x="83" y="272"/>
                </a:cubicBezTo>
                <a:cubicBezTo>
                  <a:pt x="81" y="272"/>
                  <a:pt x="81" y="271"/>
                  <a:pt x="81" y="271"/>
                </a:cubicBezTo>
                <a:cubicBezTo>
                  <a:pt x="81" y="271"/>
                  <a:pt x="81" y="270"/>
                  <a:pt x="81" y="269"/>
                </a:cubicBezTo>
                <a:cubicBezTo>
                  <a:pt x="79" y="269"/>
                  <a:pt x="78" y="268"/>
                  <a:pt x="76" y="269"/>
                </a:cubicBezTo>
                <a:cubicBezTo>
                  <a:pt x="75" y="269"/>
                  <a:pt x="75" y="270"/>
                  <a:pt x="75" y="271"/>
                </a:cubicBezTo>
                <a:cubicBezTo>
                  <a:pt x="76" y="271"/>
                  <a:pt x="76" y="272"/>
                  <a:pt x="76" y="273"/>
                </a:cubicBezTo>
                <a:cubicBezTo>
                  <a:pt x="75" y="274"/>
                  <a:pt x="73" y="273"/>
                  <a:pt x="71" y="273"/>
                </a:cubicBezTo>
                <a:cubicBezTo>
                  <a:pt x="71" y="274"/>
                  <a:pt x="71" y="274"/>
                  <a:pt x="71" y="274"/>
                </a:cubicBezTo>
                <a:cubicBezTo>
                  <a:pt x="71" y="274"/>
                  <a:pt x="71" y="275"/>
                  <a:pt x="71" y="275"/>
                </a:cubicBezTo>
                <a:cubicBezTo>
                  <a:pt x="69" y="275"/>
                  <a:pt x="68" y="276"/>
                  <a:pt x="68" y="278"/>
                </a:cubicBezTo>
                <a:cubicBezTo>
                  <a:pt x="68" y="278"/>
                  <a:pt x="67" y="278"/>
                  <a:pt x="67" y="278"/>
                </a:cubicBezTo>
                <a:cubicBezTo>
                  <a:pt x="67" y="278"/>
                  <a:pt x="66" y="279"/>
                  <a:pt x="65" y="279"/>
                </a:cubicBezTo>
                <a:cubicBezTo>
                  <a:pt x="64" y="280"/>
                  <a:pt x="65" y="282"/>
                  <a:pt x="63" y="282"/>
                </a:cubicBezTo>
                <a:cubicBezTo>
                  <a:pt x="61" y="283"/>
                  <a:pt x="60" y="283"/>
                  <a:pt x="58" y="283"/>
                </a:cubicBezTo>
                <a:cubicBezTo>
                  <a:pt x="57" y="284"/>
                  <a:pt x="57" y="285"/>
                  <a:pt x="56" y="286"/>
                </a:cubicBezTo>
                <a:cubicBezTo>
                  <a:pt x="55" y="286"/>
                  <a:pt x="53" y="287"/>
                  <a:pt x="52" y="287"/>
                </a:cubicBezTo>
                <a:cubicBezTo>
                  <a:pt x="51" y="287"/>
                  <a:pt x="50" y="286"/>
                  <a:pt x="49" y="286"/>
                </a:cubicBezTo>
                <a:cubicBezTo>
                  <a:pt x="49" y="286"/>
                  <a:pt x="49" y="286"/>
                  <a:pt x="49" y="286"/>
                </a:cubicBezTo>
                <a:cubicBezTo>
                  <a:pt x="48" y="285"/>
                  <a:pt x="47" y="287"/>
                  <a:pt x="46" y="285"/>
                </a:cubicBezTo>
                <a:cubicBezTo>
                  <a:pt x="46" y="284"/>
                  <a:pt x="46" y="284"/>
                  <a:pt x="46" y="284"/>
                </a:cubicBezTo>
                <a:cubicBezTo>
                  <a:pt x="45" y="284"/>
                  <a:pt x="45" y="283"/>
                  <a:pt x="44" y="283"/>
                </a:cubicBezTo>
                <a:cubicBezTo>
                  <a:pt x="44" y="283"/>
                  <a:pt x="44" y="282"/>
                  <a:pt x="44" y="281"/>
                </a:cubicBezTo>
                <a:cubicBezTo>
                  <a:pt x="44" y="280"/>
                  <a:pt x="43" y="281"/>
                  <a:pt x="42" y="280"/>
                </a:cubicBezTo>
                <a:cubicBezTo>
                  <a:pt x="42" y="281"/>
                  <a:pt x="42" y="282"/>
                  <a:pt x="42" y="282"/>
                </a:cubicBezTo>
                <a:cubicBezTo>
                  <a:pt x="41" y="284"/>
                  <a:pt x="42" y="284"/>
                  <a:pt x="42" y="285"/>
                </a:cubicBezTo>
                <a:cubicBezTo>
                  <a:pt x="42" y="285"/>
                  <a:pt x="42" y="285"/>
                  <a:pt x="42" y="286"/>
                </a:cubicBezTo>
                <a:cubicBezTo>
                  <a:pt x="41" y="287"/>
                  <a:pt x="40" y="288"/>
                  <a:pt x="40" y="289"/>
                </a:cubicBezTo>
                <a:cubicBezTo>
                  <a:pt x="39" y="292"/>
                  <a:pt x="41" y="294"/>
                  <a:pt x="41" y="295"/>
                </a:cubicBezTo>
                <a:cubicBezTo>
                  <a:pt x="40" y="295"/>
                  <a:pt x="40" y="295"/>
                  <a:pt x="40" y="295"/>
                </a:cubicBezTo>
                <a:cubicBezTo>
                  <a:pt x="41" y="296"/>
                  <a:pt x="40" y="298"/>
                  <a:pt x="43" y="299"/>
                </a:cubicBezTo>
                <a:cubicBezTo>
                  <a:pt x="43" y="299"/>
                  <a:pt x="43" y="299"/>
                  <a:pt x="43" y="299"/>
                </a:cubicBezTo>
                <a:cubicBezTo>
                  <a:pt x="43" y="299"/>
                  <a:pt x="43" y="299"/>
                  <a:pt x="43" y="299"/>
                </a:cubicBezTo>
                <a:cubicBezTo>
                  <a:pt x="43" y="299"/>
                  <a:pt x="43" y="299"/>
                  <a:pt x="43" y="299"/>
                </a:cubicBezTo>
                <a:cubicBezTo>
                  <a:pt x="43" y="300"/>
                  <a:pt x="45" y="300"/>
                  <a:pt x="46" y="301"/>
                </a:cubicBezTo>
                <a:cubicBezTo>
                  <a:pt x="46" y="301"/>
                  <a:pt x="46" y="301"/>
                  <a:pt x="46" y="302"/>
                </a:cubicBezTo>
                <a:cubicBezTo>
                  <a:pt x="46" y="302"/>
                  <a:pt x="46" y="302"/>
                  <a:pt x="46" y="302"/>
                </a:cubicBezTo>
                <a:cubicBezTo>
                  <a:pt x="46" y="303"/>
                  <a:pt x="47" y="303"/>
                  <a:pt x="47" y="304"/>
                </a:cubicBezTo>
                <a:cubicBezTo>
                  <a:pt x="47" y="306"/>
                  <a:pt x="47" y="308"/>
                  <a:pt x="47" y="310"/>
                </a:cubicBezTo>
                <a:cubicBezTo>
                  <a:pt x="48" y="311"/>
                  <a:pt x="50" y="311"/>
                  <a:pt x="50" y="313"/>
                </a:cubicBezTo>
                <a:cubicBezTo>
                  <a:pt x="50" y="314"/>
                  <a:pt x="49" y="315"/>
                  <a:pt x="49" y="317"/>
                </a:cubicBezTo>
                <a:cubicBezTo>
                  <a:pt x="49" y="318"/>
                  <a:pt x="50" y="320"/>
                  <a:pt x="49" y="321"/>
                </a:cubicBezTo>
                <a:cubicBezTo>
                  <a:pt x="49" y="322"/>
                  <a:pt x="48" y="321"/>
                  <a:pt x="48" y="321"/>
                </a:cubicBezTo>
                <a:cubicBezTo>
                  <a:pt x="48" y="322"/>
                  <a:pt x="48" y="323"/>
                  <a:pt x="48" y="323"/>
                </a:cubicBezTo>
                <a:cubicBezTo>
                  <a:pt x="48" y="324"/>
                  <a:pt x="48" y="324"/>
                  <a:pt x="48" y="324"/>
                </a:cubicBezTo>
                <a:cubicBezTo>
                  <a:pt x="49" y="324"/>
                  <a:pt x="49" y="325"/>
                  <a:pt x="49" y="325"/>
                </a:cubicBezTo>
                <a:cubicBezTo>
                  <a:pt x="49" y="326"/>
                  <a:pt x="48" y="327"/>
                  <a:pt x="47" y="327"/>
                </a:cubicBezTo>
                <a:cubicBezTo>
                  <a:pt x="47" y="328"/>
                  <a:pt x="47" y="329"/>
                  <a:pt x="47" y="331"/>
                </a:cubicBezTo>
                <a:cubicBezTo>
                  <a:pt x="48" y="331"/>
                  <a:pt x="49" y="331"/>
                  <a:pt x="50" y="331"/>
                </a:cubicBezTo>
                <a:cubicBezTo>
                  <a:pt x="50" y="329"/>
                  <a:pt x="51" y="330"/>
                  <a:pt x="52" y="331"/>
                </a:cubicBezTo>
                <a:cubicBezTo>
                  <a:pt x="52" y="333"/>
                  <a:pt x="50" y="333"/>
                  <a:pt x="51" y="335"/>
                </a:cubicBezTo>
                <a:cubicBezTo>
                  <a:pt x="51" y="336"/>
                  <a:pt x="51" y="337"/>
                  <a:pt x="51" y="337"/>
                </a:cubicBezTo>
                <a:cubicBezTo>
                  <a:pt x="53" y="337"/>
                  <a:pt x="53" y="338"/>
                  <a:pt x="52" y="338"/>
                </a:cubicBezTo>
                <a:cubicBezTo>
                  <a:pt x="50" y="339"/>
                  <a:pt x="51" y="337"/>
                  <a:pt x="50" y="336"/>
                </a:cubicBezTo>
                <a:cubicBezTo>
                  <a:pt x="49" y="336"/>
                  <a:pt x="50" y="334"/>
                  <a:pt x="48" y="334"/>
                </a:cubicBezTo>
                <a:cubicBezTo>
                  <a:pt x="47" y="336"/>
                  <a:pt x="49" y="338"/>
                  <a:pt x="48" y="342"/>
                </a:cubicBezTo>
                <a:cubicBezTo>
                  <a:pt x="48" y="342"/>
                  <a:pt x="48" y="342"/>
                  <a:pt x="48" y="343"/>
                </a:cubicBezTo>
                <a:cubicBezTo>
                  <a:pt x="48" y="343"/>
                  <a:pt x="48" y="343"/>
                  <a:pt x="48" y="343"/>
                </a:cubicBezTo>
                <a:cubicBezTo>
                  <a:pt x="48" y="344"/>
                  <a:pt x="47" y="345"/>
                  <a:pt x="46" y="347"/>
                </a:cubicBezTo>
                <a:cubicBezTo>
                  <a:pt x="46" y="347"/>
                  <a:pt x="46" y="347"/>
                  <a:pt x="46" y="347"/>
                </a:cubicBezTo>
                <a:cubicBezTo>
                  <a:pt x="46" y="347"/>
                  <a:pt x="46" y="348"/>
                  <a:pt x="45" y="348"/>
                </a:cubicBezTo>
                <a:cubicBezTo>
                  <a:pt x="45" y="349"/>
                  <a:pt x="46" y="349"/>
                  <a:pt x="46" y="351"/>
                </a:cubicBezTo>
                <a:cubicBezTo>
                  <a:pt x="46" y="351"/>
                  <a:pt x="45" y="351"/>
                  <a:pt x="45" y="351"/>
                </a:cubicBezTo>
                <a:cubicBezTo>
                  <a:pt x="45" y="352"/>
                  <a:pt x="45" y="352"/>
                  <a:pt x="45" y="352"/>
                </a:cubicBezTo>
                <a:cubicBezTo>
                  <a:pt x="45" y="352"/>
                  <a:pt x="45" y="352"/>
                  <a:pt x="45" y="352"/>
                </a:cubicBezTo>
                <a:cubicBezTo>
                  <a:pt x="44" y="353"/>
                  <a:pt x="45" y="354"/>
                  <a:pt x="46" y="356"/>
                </a:cubicBezTo>
                <a:cubicBezTo>
                  <a:pt x="46" y="356"/>
                  <a:pt x="46" y="356"/>
                  <a:pt x="46" y="356"/>
                </a:cubicBezTo>
                <a:cubicBezTo>
                  <a:pt x="46" y="356"/>
                  <a:pt x="46" y="356"/>
                  <a:pt x="46" y="357"/>
                </a:cubicBezTo>
                <a:cubicBezTo>
                  <a:pt x="45" y="357"/>
                  <a:pt x="45" y="359"/>
                  <a:pt x="44" y="360"/>
                </a:cubicBezTo>
                <a:cubicBezTo>
                  <a:pt x="45" y="361"/>
                  <a:pt x="45" y="362"/>
                  <a:pt x="45" y="363"/>
                </a:cubicBezTo>
                <a:cubicBezTo>
                  <a:pt x="46" y="363"/>
                  <a:pt x="46" y="363"/>
                  <a:pt x="46" y="364"/>
                </a:cubicBezTo>
                <a:cubicBezTo>
                  <a:pt x="47" y="364"/>
                  <a:pt x="48" y="364"/>
                  <a:pt x="48" y="365"/>
                </a:cubicBezTo>
                <a:cubicBezTo>
                  <a:pt x="49" y="367"/>
                  <a:pt x="50" y="368"/>
                  <a:pt x="51" y="370"/>
                </a:cubicBezTo>
                <a:cubicBezTo>
                  <a:pt x="51" y="371"/>
                  <a:pt x="52" y="371"/>
                  <a:pt x="52" y="372"/>
                </a:cubicBezTo>
                <a:cubicBezTo>
                  <a:pt x="52" y="373"/>
                  <a:pt x="52" y="375"/>
                  <a:pt x="52" y="376"/>
                </a:cubicBezTo>
                <a:cubicBezTo>
                  <a:pt x="53" y="376"/>
                  <a:pt x="53" y="376"/>
                  <a:pt x="53" y="377"/>
                </a:cubicBezTo>
                <a:cubicBezTo>
                  <a:pt x="53" y="377"/>
                  <a:pt x="54" y="377"/>
                  <a:pt x="54" y="377"/>
                </a:cubicBezTo>
                <a:cubicBezTo>
                  <a:pt x="54" y="377"/>
                  <a:pt x="54" y="377"/>
                  <a:pt x="54" y="377"/>
                </a:cubicBezTo>
                <a:cubicBezTo>
                  <a:pt x="56" y="377"/>
                  <a:pt x="56" y="376"/>
                  <a:pt x="56" y="375"/>
                </a:cubicBezTo>
                <a:cubicBezTo>
                  <a:pt x="56" y="375"/>
                  <a:pt x="56" y="375"/>
                  <a:pt x="56" y="375"/>
                </a:cubicBezTo>
                <a:cubicBezTo>
                  <a:pt x="57" y="374"/>
                  <a:pt x="57" y="374"/>
                  <a:pt x="57" y="374"/>
                </a:cubicBezTo>
                <a:cubicBezTo>
                  <a:pt x="58" y="375"/>
                  <a:pt x="58" y="375"/>
                  <a:pt x="59" y="376"/>
                </a:cubicBezTo>
                <a:cubicBezTo>
                  <a:pt x="60" y="376"/>
                  <a:pt x="61" y="375"/>
                  <a:pt x="61" y="377"/>
                </a:cubicBezTo>
                <a:cubicBezTo>
                  <a:pt x="63" y="377"/>
                  <a:pt x="63" y="374"/>
                  <a:pt x="65" y="374"/>
                </a:cubicBezTo>
                <a:cubicBezTo>
                  <a:pt x="66" y="373"/>
                  <a:pt x="67" y="372"/>
                  <a:pt x="69" y="372"/>
                </a:cubicBezTo>
                <a:cubicBezTo>
                  <a:pt x="68" y="370"/>
                  <a:pt x="69" y="369"/>
                  <a:pt x="69" y="367"/>
                </a:cubicBezTo>
                <a:cubicBezTo>
                  <a:pt x="69" y="366"/>
                  <a:pt x="67" y="367"/>
                  <a:pt x="68" y="365"/>
                </a:cubicBezTo>
                <a:cubicBezTo>
                  <a:pt x="69" y="365"/>
                  <a:pt x="69" y="364"/>
                  <a:pt x="69" y="364"/>
                </a:cubicBezTo>
                <a:cubicBezTo>
                  <a:pt x="69" y="364"/>
                  <a:pt x="69" y="364"/>
                  <a:pt x="69" y="364"/>
                </a:cubicBezTo>
                <a:cubicBezTo>
                  <a:pt x="70" y="362"/>
                  <a:pt x="72" y="362"/>
                  <a:pt x="73" y="363"/>
                </a:cubicBezTo>
                <a:cubicBezTo>
                  <a:pt x="73" y="363"/>
                  <a:pt x="73" y="363"/>
                  <a:pt x="73" y="363"/>
                </a:cubicBezTo>
                <a:cubicBezTo>
                  <a:pt x="73" y="363"/>
                  <a:pt x="73" y="363"/>
                  <a:pt x="74" y="363"/>
                </a:cubicBezTo>
                <a:cubicBezTo>
                  <a:pt x="74" y="362"/>
                  <a:pt x="74" y="361"/>
                  <a:pt x="76" y="361"/>
                </a:cubicBezTo>
                <a:cubicBezTo>
                  <a:pt x="76" y="362"/>
                  <a:pt x="77" y="362"/>
                  <a:pt x="78" y="362"/>
                </a:cubicBezTo>
                <a:cubicBezTo>
                  <a:pt x="80" y="364"/>
                  <a:pt x="81" y="366"/>
                  <a:pt x="85" y="365"/>
                </a:cubicBezTo>
                <a:cubicBezTo>
                  <a:pt x="85" y="366"/>
                  <a:pt x="85" y="367"/>
                  <a:pt x="85" y="367"/>
                </a:cubicBezTo>
                <a:cubicBezTo>
                  <a:pt x="86" y="366"/>
                  <a:pt x="87" y="365"/>
                  <a:pt x="88" y="365"/>
                </a:cubicBezTo>
                <a:cubicBezTo>
                  <a:pt x="88" y="363"/>
                  <a:pt x="88" y="361"/>
                  <a:pt x="88" y="359"/>
                </a:cubicBezTo>
                <a:cubicBezTo>
                  <a:pt x="89" y="358"/>
                  <a:pt x="91" y="359"/>
                  <a:pt x="90" y="357"/>
                </a:cubicBezTo>
                <a:cubicBezTo>
                  <a:pt x="90" y="356"/>
                  <a:pt x="89" y="356"/>
                  <a:pt x="89" y="356"/>
                </a:cubicBezTo>
                <a:cubicBezTo>
                  <a:pt x="89" y="356"/>
                  <a:pt x="89" y="355"/>
                  <a:pt x="89" y="355"/>
                </a:cubicBezTo>
                <a:cubicBezTo>
                  <a:pt x="89" y="355"/>
                  <a:pt x="89" y="355"/>
                  <a:pt x="89" y="355"/>
                </a:cubicBezTo>
                <a:cubicBezTo>
                  <a:pt x="90" y="354"/>
                  <a:pt x="91" y="353"/>
                  <a:pt x="91" y="351"/>
                </a:cubicBezTo>
                <a:cubicBezTo>
                  <a:pt x="91" y="351"/>
                  <a:pt x="91" y="351"/>
                  <a:pt x="91" y="351"/>
                </a:cubicBezTo>
                <a:cubicBezTo>
                  <a:pt x="91" y="351"/>
                  <a:pt x="91" y="350"/>
                  <a:pt x="91" y="350"/>
                </a:cubicBezTo>
                <a:cubicBezTo>
                  <a:pt x="91" y="348"/>
                  <a:pt x="90" y="349"/>
                  <a:pt x="90" y="347"/>
                </a:cubicBezTo>
                <a:cubicBezTo>
                  <a:pt x="90" y="347"/>
                  <a:pt x="91" y="347"/>
                  <a:pt x="91" y="347"/>
                </a:cubicBezTo>
                <a:cubicBezTo>
                  <a:pt x="91" y="347"/>
                  <a:pt x="91" y="347"/>
                  <a:pt x="91" y="347"/>
                </a:cubicBezTo>
                <a:cubicBezTo>
                  <a:pt x="91" y="346"/>
                  <a:pt x="91" y="345"/>
                  <a:pt x="91" y="344"/>
                </a:cubicBezTo>
                <a:cubicBezTo>
                  <a:pt x="91" y="344"/>
                  <a:pt x="91" y="344"/>
                  <a:pt x="91" y="344"/>
                </a:cubicBezTo>
                <a:cubicBezTo>
                  <a:pt x="91" y="343"/>
                  <a:pt x="91" y="342"/>
                  <a:pt x="91" y="342"/>
                </a:cubicBezTo>
                <a:cubicBezTo>
                  <a:pt x="91" y="340"/>
                  <a:pt x="92" y="340"/>
                  <a:pt x="92" y="338"/>
                </a:cubicBezTo>
                <a:cubicBezTo>
                  <a:pt x="92" y="333"/>
                  <a:pt x="94" y="330"/>
                  <a:pt x="92" y="326"/>
                </a:cubicBezTo>
                <a:cubicBezTo>
                  <a:pt x="93" y="325"/>
                  <a:pt x="94" y="325"/>
                  <a:pt x="94" y="322"/>
                </a:cubicBezTo>
                <a:cubicBezTo>
                  <a:pt x="93" y="321"/>
                  <a:pt x="91" y="320"/>
                  <a:pt x="91" y="318"/>
                </a:cubicBezTo>
                <a:cubicBezTo>
                  <a:pt x="91" y="317"/>
                  <a:pt x="91" y="316"/>
                  <a:pt x="91" y="315"/>
                </a:cubicBezTo>
                <a:cubicBezTo>
                  <a:pt x="92" y="313"/>
                  <a:pt x="93" y="312"/>
                  <a:pt x="94" y="310"/>
                </a:cubicBezTo>
                <a:cubicBezTo>
                  <a:pt x="95" y="310"/>
                  <a:pt x="95" y="308"/>
                  <a:pt x="97" y="309"/>
                </a:cubicBezTo>
                <a:cubicBezTo>
                  <a:pt x="97" y="308"/>
                  <a:pt x="97" y="307"/>
                  <a:pt x="97" y="307"/>
                </a:cubicBezTo>
                <a:cubicBezTo>
                  <a:pt x="97" y="307"/>
                  <a:pt x="97" y="307"/>
                  <a:pt x="97" y="306"/>
                </a:cubicBezTo>
                <a:cubicBezTo>
                  <a:pt x="98" y="305"/>
                  <a:pt x="100" y="304"/>
                  <a:pt x="99" y="303"/>
                </a:cubicBezTo>
                <a:cubicBezTo>
                  <a:pt x="99" y="303"/>
                  <a:pt x="99" y="302"/>
                  <a:pt x="99" y="302"/>
                </a:cubicBezTo>
                <a:close/>
                <a:moveTo>
                  <a:pt x="82" y="269"/>
                </a:moveTo>
                <a:cubicBezTo>
                  <a:pt x="82" y="269"/>
                  <a:pt x="81" y="270"/>
                  <a:pt x="81" y="271"/>
                </a:cubicBezTo>
                <a:cubicBezTo>
                  <a:pt x="82" y="271"/>
                  <a:pt x="82" y="271"/>
                  <a:pt x="83" y="271"/>
                </a:cubicBezTo>
                <a:cubicBezTo>
                  <a:pt x="83" y="270"/>
                  <a:pt x="83" y="269"/>
                  <a:pt x="82" y="269"/>
                </a:cubicBezTo>
                <a:close/>
                <a:moveTo>
                  <a:pt x="83" y="271"/>
                </a:moveTo>
                <a:cubicBezTo>
                  <a:pt x="84" y="271"/>
                  <a:pt x="84" y="271"/>
                  <a:pt x="84" y="271"/>
                </a:cubicBezTo>
                <a:cubicBezTo>
                  <a:pt x="84" y="272"/>
                  <a:pt x="85" y="272"/>
                  <a:pt x="85" y="273"/>
                </a:cubicBezTo>
                <a:cubicBezTo>
                  <a:pt x="85" y="273"/>
                  <a:pt x="85" y="273"/>
                  <a:pt x="86" y="273"/>
                </a:cubicBezTo>
                <a:cubicBezTo>
                  <a:pt x="86" y="274"/>
                  <a:pt x="87" y="273"/>
                  <a:pt x="88" y="273"/>
                </a:cubicBezTo>
                <a:cubicBezTo>
                  <a:pt x="88" y="273"/>
                  <a:pt x="86" y="272"/>
                  <a:pt x="87" y="271"/>
                </a:cubicBezTo>
                <a:cubicBezTo>
                  <a:pt x="87" y="271"/>
                  <a:pt x="87" y="271"/>
                  <a:pt x="87" y="271"/>
                </a:cubicBezTo>
                <a:cubicBezTo>
                  <a:pt x="87" y="271"/>
                  <a:pt x="87" y="270"/>
                  <a:pt x="87" y="269"/>
                </a:cubicBezTo>
                <a:cubicBezTo>
                  <a:pt x="87" y="269"/>
                  <a:pt x="86" y="269"/>
                  <a:pt x="86" y="270"/>
                </a:cubicBezTo>
                <a:cubicBezTo>
                  <a:pt x="86" y="270"/>
                  <a:pt x="86" y="270"/>
                  <a:pt x="86" y="270"/>
                </a:cubicBezTo>
                <a:cubicBezTo>
                  <a:pt x="86" y="270"/>
                  <a:pt x="86" y="270"/>
                  <a:pt x="86" y="270"/>
                </a:cubicBezTo>
                <a:cubicBezTo>
                  <a:pt x="86" y="271"/>
                  <a:pt x="86" y="271"/>
                  <a:pt x="85" y="271"/>
                </a:cubicBezTo>
                <a:cubicBezTo>
                  <a:pt x="85" y="271"/>
                  <a:pt x="85" y="270"/>
                  <a:pt x="85" y="270"/>
                </a:cubicBezTo>
                <a:cubicBezTo>
                  <a:pt x="85" y="270"/>
                  <a:pt x="85" y="269"/>
                  <a:pt x="85" y="269"/>
                </a:cubicBezTo>
                <a:cubicBezTo>
                  <a:pt x="83" y="268"/>
                  <a:pt x="84" y="271"/>
                  <a:pt x="83" y="271"/>
                </a:cubicBezTo>
                <a:cubicBezTo>
                  <a:pt x="83" y="271"/>
                  <a:pt x="83" y="271"/>
                  <a:pt x="83" y="271"/>
                </a:cubicBezTo>
                <a:close/>
                <a:moveTo>
                  <a:pt x="45" y="273"/>
                </a:moveTo>
                <a:cubicBezTo>
                  <a:pt x="45" y="274"/>
                  <a:pt x="45" y="275"/>
                  <a:pt x="45" y="275"/>
                </a:cubicBezTo>
                <a:cubicBezTo>
                  <a:pt x="45" y="277"/>
                  <a:pt x="41" y="278"/>
                  <a:pt x="44" y="279"/>
                </a:cubicBezTo>
                <a:cubicBezTo>
                  <a:pt x="44" y="278"/>
                  <a:pt x="44" y="278"/>
                  <a:pt x="45" y="278"/>
                </a:cubicBezTo>
                <a:cubicBezTo>
                  <a:pt x="45" y="278"/>
                  <a:pt x="45" y="277"/>
                  <a:pt x="46" y="277"/>
                </a:cubicBezTo>
                <a:cubicBezTo>
                  <a:pt x="47" y="277"/>
                  <a:pt x="47" y="277"/>
                  <a:pt x="48" y="276"/>
                </a:cubicBezTo>
                <a:cubicBezTo>
                  <a:pt x="48" y="275"/>
                  <a:pt x="49" y="275"/>
                  <a:pt x="48" y="273"/>
                </a:cubicBezTo>
                <a:cubicBezTo>
                  <a:pt x="47" y="273"/>
                  <a:pt x="46" y="273"/>
                  <a:pt x="45" y="273"/>
                </a:cubicBezTo>
                <a:close/>
                <a:moveTo>
                  <a:pt x="95" y="285"/>
                </a:moveTo>
                <a:cubicBezTo>
                  <a:pt x="97" y="284"/>
                  <a:pt x="94" y="282"/>
                  <a:pt x="95" y="285"/>
                </a:cubicBezTo>
                <a:close/>
                <a:moveTo>
                  <a:pt x="92" y="285"/>
                </a:moveTo>
                <a:cubicBezTo>
                  <a:pt x="93" y="286"/>
                  <a:pt x="94" y="286"/>
                  <a:pt x="94" y="285"/>
                </a:cubicBezTo>
                <a:cubicBezTo>
                  <a:pt x="95" y="285"/>
                  <a:pt x="95" y="285"/>
                  <a:pt x="95" y="285"/>
                </a:cubicBezTo>
                <a:cubicBezTo>
                  <a:pt x="94" y="285"/>
                  <a:pt x="93" y="284"/>
                  <a:pt x="92" y="285"/>
                </a:cubicBezTo>
                <a:close/>
                <a:moveTo>
                  <a:pt x="95" y="286"/>
                </a:moveTo>
                <a:cubicBezTo>
                  <a:pt x="95" y="286"/>
                  <a:pt x="95" y="286"/>
                  <a:pt x="95" y="286"/>
                </a:cubicBezTo>
                <a:cubicBezTo>
                  <a:pt x="95" y="286"/>
                  <a:pt x="95" y="286"/>
                  <a:pt x="94" y="286"/>
                </a:cubicBezTo>
                <a:cubicBezTo>
                  <a:pt x="94" y="286"/>
                  <a:pt x="94" y="286"/>
                  <a:pt x="94" y="286"/>
                </a:cubicBezTo>
                <a:cubicBezTo>
                  <a:pt x="94" y="286"/>
                  <a:pt x="94" y="286"/>
                  <a:pt x="94" y="286"/>
                </a:cubicBezTo>
                <a:cubicBezTo>
                  <a:pt x="94" y="288"/>
                  <a:pt x="96" y="287"/>
                  <a:pt x="96" y="288"/>
                </a:cubicBezTo>
                <a:cubicBezTo>
                  <a:pt x="96" y="287"/>
                  <a:pt x="97" y="285"/>
                  <a:pt x="95" y="286"/>
                </a:cubicBezTo>
                <a:close/>
                <a:moveTo>
                  <a:pt x="39" y="363"/>
                </a:moveTo>
                <a:cubicBezTo>
                  <a:pt x="40" y="364"/>
                  <a:pt x="40" y="366"/>
                  <a:pt x="42" y="366"/>
                </a:cubicBezTo>
                <a:cubicBezTo>
                  <a:pt x="43" y="364"/>
                  <a:pt x="43" y="363"/>
                  <a:pt x="43" y="360"/>
                </a:cubicBezTo>
                <a:cubicBezTo>
                  <a:pt x="40" y="360"/>
                  <a:pt x="40" y="362"/>
                  <a:pt x="39" y="363"/>
                </a:cubicBezTo>
                <a:close/>
                <a:moveTo>
                  <a:pt x="48" y="367"/>
                </a:moveTo>
                <a:cubicBezTo>
                  <a:pt x="47" y="366"/>
                  <a:pt x="47" y="365"/>
                  <a:pt x="44" y="365"/>
                </a:cubicBezTo>
                <a:cubicBezTo>
                  <a:pt x="44" y="366"/>
                  <a:pt x="43" y="367"/>
                  <a:pt x="44" y="368"/>
                </a:cubicBezTo>
                <a:cubicBezTo>
                  <a:pt x="45" y="369"/>
                  <a:pt x="44" y="373"/>
                  <a:pt x="47" y="372"/>
                </a:cubicBezTo>
                <a:cubicBezTo>
                  <a:pt x="48" y="372"/>
                  <a:pt x="48" y="371"/>
                  <a:pt x="48" y="370"/>
                </a:cubicBezTo>
                <a:cubicBezTo>
                  <a:pt x="48" y="369"/>
                  <a:pt x="49" y="368"/>
                  <a:pt x="48" y="367"/>
                </a:cubicBezTo>
                <a:close/>
                <a:moveTo>
                  <a:pt x="100" y="190"/>
                </a:moveTo>
                <a:cubicBezTo>
                  <a:pt x="103" y="190"/>
                  <a:pt x="102" y="189"/>
                  <a:pt x="101" y="187"/>
                </a:cubicBezTo>
                <a:cubicBezTo>
                  <a:pt x="102" y="187"/>
                  <a:pt x="103" y="186"/>
                  <a:pt x="103" y="186"/>
                </a:cubicBezTo>
                <a:cubicBezTo>
                  <a:pt x="100" y="185"/>
                  <a:pt x="100" y="187"/>
                  <a:pt x="100" y="190"/>
                </a:cubicBezTo>
                <a:close/>
                <a:moveTo>
                  <a:pt x="122" y="195"/>
                </a:moveTo>
                <a:cubicBezTo>
                  <a:pt x="119" y="195"/>
                  <a:pt x="120" y="197"/>
                  <a:pt x="118" y="197"/>
                </a:cubicBezTo>
                <a:cubicBezTo>
                  <a:pt x="118" y="197"/>
                  <a:pt x="117" y="197"/>
                  <a:pt x="115" y="197"/>
                </a:cubicBezTo>
                <a:cubicBezTo>
                  <a:pt x="115" y="198"/>
                  <a:pt x="115" y="198"/>
                  <a:pt x="115" y="198"/>
                </a:cubicBezTo>
                <a:cubicBezTo>
                  <a:pt x="115" y="197"/>
                  <a:pt x="112" y="198"/>
                  <a:pt x="110" y="197"/>
                </a:cubicBezTo>
                <a:cubicBezTo>
                  <a:pt x="110" y="199"/>
                  <a:pt x="108" y="201"/>
                  <a:pt x="110" y="202"/>
                </a:cubicBezTo>
                <a:cubicBezTo>
                  <a:pt x="111" y="202"/>
                  <a:pt x="111" y="202"/>
                  <a:pt x="111" y="202"/>
                </a:cubicBezTo>
                <a:cubicBezTo>
                  <a:pt x="112" y="203"/>
                  <a:pt x="113" y="203"/>
                  <a:pt x="113" y="204"/>
                </a:cubicBezTo>
                <a:cubicBezTo>
                  <a:pt x="115" y="204"/>
                  <a:pt x="115" y="202"/>
                  <a:pt x="117" y="202"/>
                </a:cubicBezTo>
                <a:cubicBezTo>
                  <a:pt x="117" y="203"/>
                  <a:pt x="119" y="203"/>
                  <a:pt x="119" y="204"/>
                </a:cubicBezTo>
                <a:cubicBezTo>
                  <a:pt x="119" y="204"/>
                  <a:pt x="120" y="204"/>
                  <a:pt x="121" y="204"/>
                </a:cubicBezTo>
                <a:cubicBezTo>
                  <a:pt x="122" y="203"/>
                  <a:pt x="122" y="201"/>
                  <a:pt x="122" y="200"/>
                </a:cubicBezTo>
                <a:cubicBezTo>
                  <a:pt x="122" y="198"/>
                  <a:pt x="123" y="198"/>
                  <a:pt x="123" y="197"/>
                </a:cubicBezTo>
                <a:cubicBezTo>
                  <a:pt x="122" y="196"/>
                  <a:pt x="122" y="196"/>
                  <a:pt x="122" y="195"/>
                </a:cubicBezTo>
                <a:close/>
                <a:moveTo>
                  <a:pt x="109" y="207"/>
                </a:moveTo>
                <a:cubicBezTo>
                  <a:pt x="109" y="208"/>
                  <a:pt x="108" y="210"/>
                  <a:pt x="110" y="209"/>
                </a:cubicBezTo>
                <a:cubicBezTo>
                  <a:pt x="111" y="208"/>
                  <a:pt x="110" y="207"/>
                  <a:pt x="109" y="207"/>
                </a:cubicBezTo>
                <a:close/>
                <a:moveTo>
                  <a:pt x="115" y="219"/>
                </a:moveTo>
                <a:cubicBezTo>
                  <a:pt x="116" y="219"/>
                  <a:pt x="116" y="219"/>
                  <a:pt x="116" y="220"/>
                </a:cubicBezTo>
                <a:cubicBezTo>
                  <a:pt x="116" y="220"/>
                  <a:pt x="116" y="221"/>
                  <a:pt x="116" y="221"/>
                </a:cubicBezTo>
                <a:cubicBezTo>
                  <a:pt x="118" y="222"/>
                  <a:pt x="118" y="220"/>
                  <a:pt x="117" y="218"/>
                </a:cubicBezTo>
                <a:cubicBezTo>
                  <a:pt x="116" y="218"/>
                  <a:pt x="115" y="218"/>
                  <a:pt x="115" y="219"/>
                </a:cubicBezTo>
                <a:close/>
                <a:moveTo>
                  <a:pt x="138" y="220"/>
                </a:moveTo>
                <a:cubicBezTo>
                  <a:pt x="137" y="220"/>
                  <a:pt x="137" y="219"/>
                  <a:pt x="138" y="219"/>
                </a:cubicBezTo>
                <a:cubicBezTo>
                  <a:pt x="138" y="219"/>
                  <a:pt x="138" y="219"/>
                  <a:pt x="138" y="218"/>
                </a:cubicBezTo>
                <a:cubicBezTo>
                  <a:pt x="136" y="218"/>
                  <a:pt x="134" y="218"/>
                  <a:pt x="134" y="220"/>
                </a:cubicBezTo>
                <a:cubicBezTo>
                  <a:pt x="136" y="220"/>
                  <a:pt x="136" y="222"/>
                  <a:pt x="137" y="222"/>
                </a:cubicBezTo>
                <a:cubicBezTo>
                  <a:pt x="137" y="221"/>
                  <a:pt x="137" y="221"/>
                  <a:pt x="138" y="221"/>
                </a:cubicBezTo>
                <a:cubicBezTo>
                  <a:pt x="138" y="221"/>
                  <a:pt x="138" y="220"/>
                  <a:pt x="138" y="220"/>
                </a:cubicBezTo>
                <a:close/>
                <a:moveTo>
                  <a:pt x="142" y="223"/>
                </a:moveTo>
                <a:cubicBezTo>
                  <a:pt x="142" y="224"/>
                  <a:pt x="142" y="225"/>
                  <a:pt x="142" y="225"/>
                </a:cubicBezTo>
                <a:cubicBezTo>
                  <a:pt x="142" y="225"/>
                  <a:pt x="143" y="225"/>
                  <a:pt x="143" y="225"/>
                </a:cubicBezTo>
                <a:cubicBezTo>
                  <a:pt x="143" y="224"/>
                  <a:pt x="144" y="224"/>
                  <a:pt x="144" y="223"/>
                </a:cubicBezTo>
                <a:cubicBezTo>
                  <a:pt x="143" y="223"/>
                  <a:pt x="143" y="223"/>
                  <a:pt x="142" y="223"/>
                </a:cubicBezTo>
                <a:close/>
                <a:moveTo>
                  <a:pt x="212" y="285"/>
                </a:moveTo>
                <a:cubicBezTo>
                  <a:pt x="211" y="284"/>
                  <a:pt x="210" y="283"/>
                  <a:pt x="209" y="285"/>
                </a:cubicBezTo>
                <a:cubicBezTo>
                  <a:pt x="209" y="285"/>
                  <a:pt x="209" y="285"/>
                  <a:pt x="209" y="285"/>
                </a:cubicBezTo>
                <a:cubicBezTo>
                  <a:pt x="210" y="285"/>
                  <a:pt x="211" y="285"/>
                  <a:pt x="212" y="285"/>
                </a:cubicBezTo>
                <a:close/>
                <a:moveTo>
                  <a:pt x="204" y="287"/>
                </a:moveTo>
                <a:cubicBezTo>
                  <a:pt x="204" y="286"/>
                  <a:pt x="204" y="285"/>
                  <a:pt x="204" y="285"/>
                </a:cubicBezTo>
                <a:cubicBezTo>
                  <a:pt x="201" y="284"/>
                  <a:pt x="201" y="288"/>
                  <a:pt x="204" y="287"/>
                </a:cubicBezTo>
                <a:close/>
                <a:moveTo>
                  <a:pt x="209" y="285"/>
                </a:moveTo>
                <a:cubicBezTo>
                  <a:pt x="209" y="285"/>
                  <a:pt x="209" y="285"/>
                  <a:pt x="209" y="285"/>
                </a:cubicBezTo>
                <a:cubicBezTo>
                  <a:pt x="208" y="285"/>
                  <a:pt x="208" y="286"/>
                  <a:pt x="208" y="286"/>
                </a:cubicBezTo>
                <a:cubicBezTo>
                  <a:pt x="209" y="286"/>
                  <a:pt x="209" y="286"/>
                  <a:pt x="209" y="285"/>
                </a:cubicBezTo>
                <a:close/>
                <a:moveTo>
                  <a:pt x="208" y="286"/>
                </a:moveTo>
                <a:cubicBezTo>
                  <a:pt x="207" y="286"/>
                  <a:pt x="206" y="286"/>
                  <a:pt x="206" y="287"/>
                </a:cubicBezTo>
                <a:cubicBezTo>
                  <a:pt x="206" y="287"/>
                  <a:pt x="205" y="287"/>
                  <a:pt x="205" y="288"/>
                </a:cubicBezTo>
                <a:cubicBezTo>
                  <a:pt x="205" y="288"/>
                  <a:pt x="205" y="289"/>
                  <a:pt x="205" y="289"/>
                </a:cubicBezTo>
                <a:cubicBezTo>
                  <a:pt x="207" y="290"/>
                  <a:pt x="208" y="288"/>
                  <a:pt x="208" y="286"/>
                </a:cubicBezTo>
                <a:close/>
                <a:moveTo>
                  <a:pt x="238" y="294"/>
                </a:moveTo>
                <a:cubicBezTo>
                  <a:pt x="238" y="294"/>
                  <a:pt x="238" y="294"/>
                  <a:pt x="237" y="294"/>
                </a:cubicBezTo>
                <a:cubicBezTo>
                  <a:pt x="237" y="295"/>
                  <a:pt x="237" y="295"/>
                  <a:pt x="237" y="294"/>
                </a:cubicBezTo>
                <a:cubicBezTo>
                  <a:pt x="236" y="294"/>
                  <a:pt x="236" y="294"/>
                  <a:pt x="236" y="294"/>
                </a:cubicBezTo>
                <a:cubicBezTo>
                  <a:pt x="235" y="296"/>
                  <a:pt x="237" y="296"/>
                  <a:pt x="237" y="297"/>
                </a:cubicBezTo>
                <a:cubicBezTo>
                  <a:pt x="239" y="297"/>
                  <a:pt x="239" y="295"/>
                  <a:pt x="241" y="296"/>
                </a:cubicBezTo>
                <a:cubicBezTo>
                  <a:pt x="242" y="295"/>
                  <a:pt x="241" y="295"/>
                  <a:pt x="241" y="294"/>
                </a:cubicBezTo>
                <a:cubicBezTo>
                  <a:pt x="240" y="294"/>
                  <a:pt x="239" y="292"/>
                  <a:pt x="238" y="294"/>
                </a:cubicBezTo>
                <a:close/>
                <a:moveTo>
                  <a:pt x="248" y="303"/>
                </a:moveTo>
                <a:cubicBezTo>
                  <a:pt x="249" y="303"/>
                  <a:pt x="250" y="303"/>
                  <a:pt x="251" y="304"/>
                </a:cubicBezTo>
                <a:cubicBezTo>
                  <a:pt x="250" y="304"/>
                  <a:pt x="250" y="305"/>
                  <a:pt x="251" y="305"/>
                </a:cubicBezTo>
                <a:cubicBezTo>
                  <a:pt x="251" y="304"/>
                  <a:pt x="253" y="304"/>
                  <a:pt x="252" y="302"/>
                </a:cubicBezTo>
                <a:cubicBezTo>
                  <a:pt x="251" y="302"/>
                  <a:pt x="250" y="302"/>
                  <a:pt x="250" y="301"/>
                </a:cubicBezTo>
                <a:cubicBezTo>
                  <a:pt x="250" y="303"/>
                  <a:pt x="247" y="301"/>
                  <a:pt x="248" y="303"/>
                </a:cubicBezTo>
                <a:close/>
                <a:moveTo>
                  <a:pt x="401" y="314"/>
                </a:moveTo>
                <a:cubicBezTo>
                  <a:pt x="401" y="314"/>
                  <a:pt x="401" y="313"/>
                  <a:pt x="401" y="313"/>
                </a:cubicBezTo>
                <a:cubicBezTo>
                  <a:pt x="401" y="313"/>
                  <a:pt x="401" y="313"/>
                  <a:pt x="400" y="313"/>
                </a:cubicBezTo>
                <a:cubicBezTo>
                  <a:pt x="400" y="311"/>
                  <a:pt x="400" y="310"/>
                  <a:pt x="400" y="309"/>
                </a:cubicBezTo>
                <a:cubicBezTo>
                  <a:pt x="399" y="307"/>
                  <a:pt x="397" y="308"/>
                  <a:pt x="398" y="305"/>
                </a:cubicBezTo>
                <a:cubicBezTo>
                  <a:pt x="396" y="305"/>
                  <a:pt x="395" y="304"/>
                  <a:pt x="394" y="303"/>
                </a:cubicBezTo>
                <a:cubicBezTo>
                  <a:pt x="394" y="302"/>
                  <a:pt x="392" y="302"/>
                  <a:pt x="391" y="301"/>
                </a:cubicBezTo>
                <a:cubicBezTo>
                  <a:pt x="391" y="301"/>
                  <a:pt x="390" y="301"/>
                  <a:pt x="390" y="300"/>
                </a:cubicBezTo>
                <a:cubicBezTo>
                  <a:pt x="390" y="300"/>
                  <a:pt x="390" y="300"/>
                  <a:pt x="390" y="300"/>
                </a:cubicBezTo>
                <a:cubicBezTo>
                  <a:pt x="389" y="300"/>
                  <a:pt x="389" y="300"/>
                  <a:pt x="389" y="300"/>
                </a:cubicBezTo>
                <a:cubicBezTo>
                  <a:pt x="389" y="299"/>
                  <a:pt x="388" y="299"/>
                  <a:pt x="388" y="298"/>
                </a:cubicBezTo>
                <a:cubicBezTo>
                  <a:pt x="387" y="298"/>
                  <a:pt x="387" y="298"/>
                  <a:pt x="387" y="298"/>
                </a:cubicBezTo>
                <a:cubicBezTo>
                  <a:pt x="386" y="298"/>
                  <a:pt x="385" y="296"/>
                  <a:pt x="385" y="296"/>
                </a:cubicBezTo>
                <a:cubicBezTo>
                  <a:pt x="385" y="296"/>
                  <a:pt x="385" y="295"/>
                  <a:pt x="385" y="295"/>
                </a:cubicBezTo>
                <a:cubicBezTo>
                  <a:pt x="384" y="294"/>
                  <a:pt x="383" y="294"/>
                  <a:pt x="384" y="292"/>
                </a:cubicBezTo>
                <a:cubicBezTo>
                  <a:pt x="382" y="292"/>
                  <a:pt x="382" y="292"/>
                  <a:pt x="381" y="291"/>
                </a:cubicBezTo>
                <a:cubicBezTo>
                  <a:pt x="377" y="291"/>
                  <a:pt x="377" y="291"/>
                  <a:pt x="377" y="291"/>
                </a:cubicBezTo>
                <a:cubicBezTo>
                  <a:pt x="377" y="290"/>
                  <a:pt x="375" y="290"/>
                  <a:pt x="375" y="289"/>
                </a:cubicBezTo>
                <a:cubicBezTo>
                  <a:pt x="373" y="289"/>
                  <a:pt x="373" y="289"/>
                  <a:pt x="373" y="289"/>
                </a:cubicBezTo>
                <a:cubicBezTo>
                  <a:pt x="373" y="289"/>
                  <a:pt x="373" y="289"/>
                  <a:pt x="373" y="289"/>
                </a:cubicBezTo>
                <a:cubicBezTo>
                  <a:pt x="372" y="288"/>
                  <a:pt x="371" y="288"/>
                  <a:pt x="369" y="287"/>
                </a:cubicBezTo>
                <a:cubicBezTo>
                  <a:pt x="369" y="287"/>
                  <a:pt x="369" y="287"/>
                  <a:pt x="369" y="287"/>
                </a:cubicBezTo>
                <a:cubicBezTo>
                  <a:pt x="369" y="287"/>
                  <a:pt x="369" y="287"/>
                  <a:pt x="369" y="287"/>
                </a:cubicBezTo>
                <a:cubicBezTo>
                  <a:pt x="368" y="287"/>
                  <a:pt x="366" y="286"/>
                  <a:pt x="365" y="286"/>
                </a:cubicBezTo>
                <a:cubicBezTo>
                  <a:pt x="365" y="286"/>
                  <a:pt x="365" y="286"/>
                  <a:pt x="365" y="286"/>
                </a:cubicBezTo>
                <a:cubicBezTo>
                  <a:pt x="365" y="285"/>
                  <a:pt x="364" y="285"/>
                  <a:pt x="363" y="285"/>
                </a:cubicBezTo>
                <a:cubicBezTo>
                  <a:pt x="363" y="284"/>
                  <a:pt x="361" y="284"/>
                  <a:pt x="361" y="282"/>
                </a:cubicBezTo>
                <a:cubicBezTo>
                  <a:pt x="360" y="282"/>
                  <a:pt x="359" y="281"/>
                  <a:pt x="358" y="281"/>
                </a:cubicBezTo>
                <a:cubicBezTo>
                  <a:pt x="358" y="280"/>
                  <a:pt x="358" y="280"/>
                  <a:pt x="358" y="280"/>
                </a:cubicBezTo>
                <a:cubicBezTo>
                  <a:pt x="357" y="279"/>
                  <a:pt x="355" y="280"/>
                  <a:pt x="355" y="278"/>
                </a:cubicBezTo>
                <a:cubicBezTo>
                  <a:pt x="355" y="278"/>
                  <a:pt x="355" y="278"/>
                  <a:pt x="354" y="278"/>
                </a:cubicBezTo>
                <a:cubicBezTo>
                  <a:pt x="354" y="277"/>
                  <a:pt x="353" y="277"/>
                  <a:pt x="353" y="277"/>
                </a:cubicBezTo>
                <a:cubicBezTo>
                  <a:pt x="352" y="277"/>
                  <a:pt x="352" y="277"/>
                  <a:pt x="352" y="277"/>
                </a:cubicBezTo>
                <a:cubicBezTo>
                  <a:pt x="351" y="276"/>
                  <a:pt x="350" y="275"/>
                  <a:pt x="349" y="275"/>
                </a:cubicBezTo>
                <a:cubicBezTo>
                  <a:pt x="349" y="275"/>
                  <a:pt x="349" y="275"/>
                  <a:pt x="349" y="275"/>
                </a:cubicBezTo>
                <a:cubicBezTo>
                  <a:pt x="349" y="275"/>
                  <a:pt x="349" y="275"/>
                  <a:pt x="348" y="275"/>
                </a:cubicBezTo>
                <a:cubicBezTo>
                  <a:pt x="348" y="273"/>
                  <a:pt x="345" y="274"/>
                  <a:pt x="345" y="273"/>
                </a:cubicBezTo>
                <a:cubicBezTo>
                  <a:pt x="343" y="273"/>
                  <a:pt x="342" y="272"/>
                  <a:pt x="340" y="272"/>
                </a:cubicBezTo>
                <a:cubicBezTo>
                  <a:pt x="339" y="272"/>
                  <a:pt x="338" y="271"/>
                  <a:pt x="338" y="271"/>
                </a:cubicBezTo>
                <a:cubicBezTo>
                  <a:pt x="337" y="271"/>
                  <a:pt x="336" y="271"/>
                  <a:pt x="336" y="270"/>
                </a:cubicBezTo>
                <a:cubicBezTo>
                  <a:pt x="333" y="270"/>
                  <a:pt x="332" y="268"/>
                  <a:pt x="329" y="269"/>
                </a:cubicBezTo>
                <a:cubicBezTo>
                  <a:pt x="329" y="267"/>
                  <a:pt x="327" y="268"/>
                  <a:pt x="327" y="266"/>
                </a:cubicBezTo>
                <a:cubicBezTo>
                  <a:pt x="326" y="266"/>
                  <a:pt x="325" y="266"/>
                  <a:pt x="325" y="265"/>
                </a:cubicBezTo>
                <a:cubicBezTo>
                  <a:pt x="320" y="265"/>
                  <a:pt x="318" y="262"/>
                  <a:pt x="315" y="262"/>
                </a:cubicBezTo>
                <a:cubicBezTo>
                  <a:pt x="314" y="262"/>
                  <a:pt x="314" y="261"/>
                  <a:pt x="314" y="261"/>
                </a:cubicBezTo>
                <a:cubicBezTo>
                  <a:pt x="313" y="261"/>
                  <a:pt x="313" y="261"/>
                  <a:pt x="313" y="261"/>
                </a:cubicBezTo>
                <a:cubicBezTo>
                  <a:pt x="312" y="260"/>
                  <a:pt x="311" y="260"/>
                  <a:pt x="310" y="260"/>
                </a:cubicBezTo>
                <a:cubicBezTo>
                  <a:pt x="309" y="258"/>
                  <a:pt x="308" y="257"/>
                  <a:pt x="307" y="255"/>
                </a:cubicBezTo>
                <a:cubicBezTo>
                  <a:pt x="307" y="253"/>
                  <a:pt x="308" y="253"/>
                  <a:pt x="309" y="251"/>
                </a:cubicBezTo>
                <a:cubicBezTo>
                  <a:pt x="310" y="251"/>
                  <a:pt x="310" y="250"/>
                  <a:pt x="310" y="250"/>
                </a:cubicBezTo>
                <a:cubicBezTo>
                  <a:pt x="310" y="250"/>
                  <a:pt x="311" y="251"/>
                  <a:pt x="311" y="250"/>
                </a:cubicBezTo>
                <a:cubicBezTo>
                  <a:pt x="311" y="250"/>
                  <a:pt x="311" y="250"/>
                  <a:pt x="312" y="250"/>
                </a:cubicBezTo>
                <a:cubicBezTo>
                  <a:pt x="312" y="250"/>
                  <a:pt x="312" y="250"/>
                  <a:pt x="312" y="250"/>
                </a:cubicBezTo>
                <a:cubicBezTo>
                  <a:pt x="312" y="250"/>
                  <a:pt x="312" y="250"/>
                  <a:pt x="312" y="250"/>
                </a:cubicBezTo>
                <a:cubicBezTo>
                  <a:pt x="313" y="250"/>
                  <a:pt x="313" y="249"/>
                  <a:pt x="314" y="248"/>
                </a:cubicBezTo>
                <a:cubicBezTo>
                  <a:pt x="314" y="248"/>
                  <a:pt x="314" y="248"/>
                  <a:pt x="315" y="248"/>
                </a:cubicBezTo>
                <a:cubicBezTo>
                  <a:pt x="315" y="248"/>
                  <a:pt x="315" y="248"/>
                  <a:pt x="315" y="248"/>
                </a:cubicBezTo>
                <a:cubicBezTo>
                  <a:pt x="315" y="248"/>
                  <a:pt x="315" y="248"/>
                  <a:pt x="315" y="248"/>
                </a:cubicBezTo>
                <a:cubicBezTo>
                  <a:pt x="316" y="248"/>
                  <a:pt x="317" y="247"/>
                  <a:pt x="317" y="245"/>
                </a:cubicBezTo>
                <a:cubicBezTo>
                  <a:pt x="317" y="245"/>
                  <a:pt x="317" y="245"/>
                  <a:pt x="317" y="245"/>
                </a:cubicBezTo>
                <a:cubicBezTo>
                  <a:pt x="317" y="242"/>
                  <a:pt x="315" y="240"/>
                  <a:pt x="314" y="238"/>
                </a:cubicBezTo>
                <a:cubicBezTo>
                  <a:pt x="313" y="238"/>
                  <a:pt x="313" y="238"/>
                  <a:pt x="313" y="237"/>
                </a:cubicBezTo>
                <a:cubicBezTo>
                  <a:pt x="308" y="237"/>
                  <a:pt x="308" y="237"/>
                  <a:pt x="308" y="237"/>
                </a:cubicBezTo>
                <a:cubicBezTo>
                  <a:pt x="305" y="237"/>
                  <a:pt x="303" y="238"/>
                  <a:pt x="299" y="239"/>
                </a:cubicBezTo>
                <a:cubicBezTo>
                  <a:pt x="298" y="238"/>
                  <a:pt x="298" y="239"/>
                  <a:pt x="297" y="239"/>
                </a:cubicBezTo>
                <a:cubicBezTo>
                  <a:pt x="294" y="239"/>
                  <a:pt x="290" y="240"/>
                  <a:pt x="287" y="239"/>
                </a:cubicBezTo>
                <a:cubicBezTo>
                  <a:pt x="287" y="239"/>
                  <a:pt x="286" y="239"/>
                  <a:pt x="285" y="239"/>
                </a:cubicBezTo>
                <a:cubicBezTo>
                  <a:pt x="285" y="239"/>
                  <a:pt x="285" y="239"/>
                  <a:pt x="285" y="239"/>
                </a:cubicBezTo>
                <a:cubicBezTo>
                  <a:pt x="283" y="238"/>
                  <a:pt x="283" y="239"/>
                  <a:pt x="282" y="239"/>
                </a:cubicBezTo>
                <a:cubicBezTo>
                  <a:pt x="280" y="239"/>
                  <a:pt x="280" y="237"/>
                  <a:pt x="278" y="237"/>
                </a:cubicBezTo>
                <a:cubicBezTo>
                  <a:pt x="277" y="236"/>
                  <a:pt x="275" y="236"/>
                  <a:pt x="275" y="234"/>
                </a:cubicBezTo>
                <a:cubicBezTo>
                  <a:pt x="273" y="234"/>
                  <a:pt x="271" y="235"/>
                  <a:pt x="270" y="234"/>
                </a:cubicBezTo>
                <a:cubicBezTo>
                  <a:pt x="270" y="234"/>
                  <a:pt x="269" y="234"/>
                  <a:pt x="269" y="233"/>
                </a:cubicBezTo>
                <a:cubicBezTo>
                  <a:pt x="269" y="233"/>
                  <a:pt x="269" y="233"/>
                  <a:pt x="269" y="233"/>
                </a:cubicBezTo>
                <a:cubicBezTo>
                  <a:pt x="269" y="232"/>
                  <a:pt x="267" y="232"/>
                  <a:pt x="267" y="230"/>
                </a:cubicBezTo>
                <a:cubicBezTo>
                  <a:pt x="267" y="230"/>
                  <a:pt x="266" y="230"/>
                  <a:pt x="267" y="230"/>
                </a:cubicBezTo>
                <a:cubicBezTo>
                  <a:pt x="267" y="228"/>
                  <a:pt x="267" y="228"/>
                  <a:pt x="267" y="228"/>
                </a:cubicBezTo>
                <a:cubicBezTo>
                  <a:pt x="266" y="227"/>
                  <a:pt x="264" y="227"/>
                  <a:pt x="263" y="227"/>
                </a:cubicBezTo>
                <a:cubicBezTo>
                  <a:pt x="262" y="227"/>
                  <a:pt x="262" y="225"/>
                  <a:pt x="260" y="225"/>
                </a:cubicBezTo>
                <a:cubicBezTo>
                  <a:pt x="259" y="224"/>
                  <a:pt x="258" y="223"/>
                  <a:pt x="257" y="221"/>
                </a:cubicBezTo>
                <a:cubicBezTo>
                  <a:pt x="256" y="221"/>
                  <a:pt x="256" y="219"/>
                  <a:pt x="254" y="218"/>
                </a:cubicBezTo>
                <a:cubicBezTo>
                  <a:pt x="254" y="218"/>
                  <a:pt x="254" y="217"/>
                  <a:pt x="253" y="217"/>
                </a:cubicBezTo>
                <a:cubicBezTo>
                  <a:pt x="253" y="217"/>
                  <a:pt x="253" y="217"/>
                  <a:pt x="253" y="217"/>
                </a:cubicBezTo>
                <a:cubicBezTo>
                  <a:pt x="251" y="217"/>
                  <a:pt x="252" y="213"/>
                  <a:pt x="250" y="214"/>
                </a:cubicBezTo>
                <a:cubicBezTo>
                  <a:pt x="250" y="214"/>
                  <a:pt x="250" y="214"/>
                  <a:pt x="250" y="213"/>
                </a:cubicBezTo>
                <a:cubicBezTo>
                  <a:pt x="250" y="213"/>
                  <a:pt x="249" y="212"/>
                  <a:pt x="248" y="211"/>
                </a:cubicBezTo>
                <a:cubicBezTo>
                  <a:pt x="248" y="211"/>
                  <a:pt x="248" y="211"/>
                  <a:pt x="248" y="211"/>
                </a:cubicBezTo>
                <a:cubicBezTo>
                  <a:pt x="248" y="211"/>
                  <a:pt x="248" y="211"/>
                  <a:pt x="248" y="211"/>
                </a:cubicBezTo>
                <a:cubicBezTo>
                  <a:pt x="248" y="211"/>
                  <a:pt x="247" y="211"/>
                  <a:pt x="247" y="211"/>
                </a:cubicBezTo>
                <a:cubicBezTo>
                  <a:pt x="247" y="209"/>
                  <a:pt x="245" y="209"/>
                  <a:pt x="245" y="207"/>
                </a:cubicBezTo>
                <a:cubicBezTo>
                  <a:pt x="245" y="207"/>
                  <a:pt x="245" y="207"/>
                  <a:pt x="245" y="207"/>
                </a:cubicBezTo>
                <a:cubicBezTo>
                  <a:pt x="245" y="207"/>
                  <a:pt x="244" y="207"/>
                  <a:pt x="244" y="207"/>
                </a:cubicBezTo>
                <a:cubicBezTo>
                  <a:pt x="244" y="206"/>
                  <a:pt x="243" y="206"/>
                  <a:pt x="243" y="206"/>
                </a:cubicBezTo>
                <a:cubicBezTo>
                  <a:pt x="243" y="206"/>
                  <a:pt x="243" y="206"/>
                  <a:pt x="243" y="206"/>
                </a:cubicBezTo>
                <a:cubicBezTo>
                  <a:pt x="243" y="204"/>
                  <a:pt x="242" y="204"/>
                  <a:pt x="241" y="202"/>
                </a:cubicBezTo>
                <a:cubicBezTo>
                  <a:pt x="241" y="202"/>
                  <a:pt x="241" y="202"/>
                  <a:pt x="241" y="202"/>
                </a:cubicBezTo>
                <a:cubicBezTo>
                  <a:pt x="241" y="200"/>
                  <a:pt x="240" y="198"/>
                  <a:pt x="239" y="195"/>
                </a:cubicBezTo>
                <a:cubicBezTo>
                  <a:pt x="239" y="195"/>
                  <a:pt x="239" y="195"/>
                  <a:pt x="239" y="195"/>
                </a:cubicBezTo>
                <a:cubicBezTo>
                  <a:pt x="239" y="194"/>
                  <a:pt x="239" y="194"/>
                  <a:pt x="239" y="194"/>
                </a:cubicBezTo>
                <a:cubicBezTo>
                  <a:pt x="239" y="192"/>
                  <a:pt x="237" y="192"/>
                  <a:pt x="238" y="190"/>
                </a:cubicBezTo>
                <a:cubicBezTo>
                  <a:pt x="238" y="190"/>
                  <a:pt x="238" y="190"/>
                  <a:pt x="238" y="190"/>
                </a:cubicBezTo>
                <a:cubicBezTo>
                  <a:pt x="237" y="189"/>
                  <a:pt x="237" y="188"/>
                  <a:pt x="237" y="186"/>
                </a:cubicBezTo>
                <a:cubicBezTo>
                  <a:pt x="237" y="186"/>
                  <a:pt x="237" y="186"/>
                  <a:pt x="237" y="186"/>
                </a:cubicBezTo>
                <a:cubicBezTo>
                  <a:pt x="237" y="185"/>
                  <a:pt x="237" y="185"/>
                  <a:pt x="237" y="185"/>
                </a:cubicBezTo>
                <a:cubicBezTo>
                  <a:pt x="237" y="185"/>
                  <a:pt x="237" y="184"/>
                  <a:pt x="237" y="184"/>
                </a:cubicBezTo>
                <a:cubicBezTo>
                  <a:pt x="236" y="183"/>
                  <a:pt x="235" y="182"/>
                  <a:pt x="235" y="181"/>
                </a:cubicBezTo>
                <a:cubicBezTo>
                  <a:pt x="235" y="181"/>
                  <a:pt x="235" y="181"/>
                  <a:pt x="235" y="180"/>
                </a:cubicBezTo>
                <a:cubicBezTo>
                  <a:pt x="235" y="180"/>
                  <a:pt x="235" y="179"/>
                  <a:pt x="234" y="179"/>
                </a:cubicBezTo>
                <a:cubicBezTo>
                  <a:pt x="234" y="179"/>
                  <a:pt x="234" y="179"/>
                  <a:pt x="234" y="179"/>
                </a:cubicBezTo>
                <a:cubicBezTo>
                  <a:pt x="234" y="178"/>
                  <a:pt x="234" y="178"/>
                  <a:pt x="234" y="178"/>
                </a:cubicBezTo>
                <a:cubicBezTo>
                  <a:pt x="234" y="178"/>
                  <a:pt x="234" y="178"/>
                  <a:pt x="234" y="178"/>
                </a:cubicBezTo>
                <a:cubicBezTo>
                  <a:pt x="234" y="176"/>
                  <a:pt x="234" y="175"/>
                  <a:pt x="232" y="174"/>
                </a:cubicBezTo>
                <a:cubicBezTo>
                  <a:pt x="232" y="174"/>
                  <a:pt x="232" y="174"/>
                  <a:pt x="232" y="174"/>
                </a:cubicBezTo>
                <a:cubicBezTo>
                  <a:pt x="232" y="173"/>
                  <a:pt x="231" y="172"/>
                  <a:pt x="231" y="171"/>
                </a:cubicBezTo>
                <a:cubicBezTo>
                  <a:pt x="231" y="171"/>
                  <a:pt x="231" y="171"/>
                  <a:pt x="231" y="171"/>
                </a:cubicBezTo>
                <a:cubicBezTo>
                  <a:pt x="231" y="171"/>
                  <a:pt x="231" y="171"/>
                  <a:pt x="230" y="171"/>
                </a:cubicBezTo>
                <a:cubicBezTo>
                  <a:pt x="230" y="170"/>
                  <a:pt x="230" y="170"/>
                  <a:pt x="230" y="170"/>
                </a:cubicBezTo>
                <a:cubicBezTo>
                  <a:pt x="230" y="169"/>
                  <a:pt x="230" y="168"/>
                  <a:pt x="229" y="167"/>
                </a:cubicBezTo>
                <a:cubicBezTo>
                  <a:pt x="229" y="167"/>
                  <a:pt x="229" y="167"/>
                  <a:pt x="229" y="167"/>
                </a:cubicBezTo>
                <a:cubicBezTo>
                  <a:pt x="229" y="167"/>
                  <a:pt x="229" y="166"/>
                  <a:pt x="229" y="166"/>
                </a:cubicBezTo>
                <a:cubicBezTo>
                  <a:pt x="229" y="166"/>
                  <a:pt x="228" y="166"/>
                  <a:pt x="228" y="166"/>
                </a:cubicBezTo>
                <a:cubicBezTo>
                  <a:pt x="228" y="166"/>
                  <a:pt x="228" y="165"/>
                  <a:pt x="228" y="165"/>
                </a:cubicBezTo>
                <a:cubicBezTo>
                  <a:pt x="228" y="165"/>
                  <a:pt x="228" y="165"/>
                  <a:pt x="228" y="165"/>
                </a:cubicBezTo>
                <a:cubicBezTo>
                  <a:pt x="228" y="164"/>
                  <a:pt x="228" y="164"/>
                  <a:pt x="227" y="163"/>
                </a:cubicBezTo>
                <a:cubicBezTo>
                  <a:pt x="227" y="163"/>
                  <a:pt x="227" y="163"/>
                  <a:pt x="227" y="163"/>
                </a:cubicBezTo>
                <a:cubicBezTo>
                  <a:pt x="226" y="162"/>
                  <a:pt x="225" y="160"/>
                  <a:pt x="223" y="162"/>
                </a:cubicBezTo>
                <a:cubicBezTo>
                  <a:pt x="223" y="162"/>
                  <a:pt x="223" y="162"/>
                  <a:pt x="223" y="162"/>
                </a:cubicBezTo>
                <a:cubicBezTo>
                  <a:pt x="223" y="162"/>
                  <a:pt x="223" y="162"/>
                  <a:pt x="223" y="162"/>
                </a:cubicBezTo>
                <a:cubicBezTo>
                  <a:pt x="220" y="162"/>
                  <a:pt x="221" y="159"/>
                  <a:pt x="218" y="160"/>
                </a:cubicBezTo>
                <a:cubicBezTo>
                  <a:pt x="219" y="159"/>
                  <a:pt x="219" y="159"/>
                  <a:pt x="218" y="159"/>
                </a:cubicBezTo>
                <a:cubicBezTo>
                  <a:pt x="218" y="159"/>
                  <a:pt x="218" y="159"/>
                  <a:pt x="218" y="159"/>
                </a:cubicBezTo>
                <a:cubicBezTo>
                  <a:pt x="217" y="158"/>
                  <a:pt x="216" y="158"/>
                  <a:pt x="215" y="157"/>
                </a:cubicBezTo>
                <a:cubicBezTo>
                  <a:pt x="215" y="157"/>
                  <a:pt x="215" y="157"/>
                  <a:pt x="215" y="157"/>
                </a:cubicBezTo>
                <a:cubicBezTo>
                  <a:pt x="215" y="157"/>
                  <a:pt x="214" y="157"/>
                  <a:pt x="214" y="157"/>
                </a:cubicBezTo>
                <a:cubicBezTo>
                  <a:pt x="214" y="155"/>
                  <a:pt x="212" y="155"/>
                  <a:pt x="211" y="154"/>
                </a:cubicBezTo>
                <a:cubicBezTo>
                  <a:pt x="211" y="154"/>
                  <a:pt x="211" y="154"/>
                  <a:pt x="211" y="154"/>
                </a:cubicBezTo>
                <a:cubicBezTo>
                  <a:pt x="210" y="153"/>
                  <a:pt x="210" y="152"/>
                  <a:pt x="209" y="151"/>
                </a:cubicBezTo>
                <a:cubicBezTo>
                  <a:pt x="208" y="152"/>
                  <a:pt x="208" y="150"/>
                  <a:pt x="207" y="150"/>
                </a:cubicBezTo>
                <a:cubicBezTo>
                  <a:pt x="206" y="150"/>
                  <a:pt x="205" y="149"/>
                  <a:pt x="205" y="148"/>
                </a:cubicBezTo>
                <a:cubicBezTo>
                  <a:pt x="202" y="148"/>
                  <a:pt x="202" y="146"/>
                  <a:pt x="199" y="147"/>
                </a:cubicBezTo>
                <a:cubicBezTo>
                  <a:pt x="199" y="146"/>
                  <a:pt x="199" y="146"/>
                  <a:pt x="198" y="146"/>
                </a:cubicBezTo>
                <a:cubicBezTo>
                  <a:pt x="199" y="143"/>
                  <a:pt x="196" y="144"/>
                  <a:pt x="195" y="143"/>
                </a:cubicBezTo>
                <a:cubicBezTo>
                  <a:pt x="194" y="141"/>
                  <a:pt x="192" y="140"/>
                  <a:pt x="191" y="139"/>
                </a:cubicBezTo>
                <a:cubicBezTo>
                  <a:pt x="191" y="138"/>
                  <a:pt x="190" y="138"/>
                  <a:pt x="189" y="138"/>
                </a:cubicBezTo>
                <a:cubicBezTo>
                  <a:pt x="189" y="137"/>
                  <a:pt x="189" y="136"/>
                  <a:pt x="189" y="135"/>
                </a:cubicBezTo>
                <a:cubicBezTo>
                  <a:pt x="188" y="135"/>
                  <a:pt x="188" y="136"/>
                  <a:pt x="188" y="135"/>
                </a:cubicBezTo>
                <a:cubicBezTo>
                  <a:pt x="187" y="135"/>
                  <a:pt x="188" y="134"/>
                  <a:pt x="187" y="134"/>
                </a:cubicBezTo>
                <a:cubicBezTo>
                  <a:pt x="187" y="132"/>
                  <a:pt x="185" y="132"/>
                  <a:pt x="185" y="131"/>
                </a:cubicBezTo>
                <a:cubicBezTo>
                  <a:pt x="185" y="128"/>
                  <a:pt x="185" y="128"/>
                  <a:pt x="185" y="128"/>
                </a:cubicBezTo>
                <a:cubicBezTo>
                  <a:pt x="184" y="126"/>
                  <a:pt x="185" y="124"/>
                  <a:pt x="184" y="122"/>
                </a:cubicBezTo>
                <a:cubicBezTo>
                  <a:pt x="184" y="120"/>
                  <a:pt x="184" y="120"/>
                  <a:pt x="184" y="117"/>
                </a:cubicBezTo>
                <a:cubicBezTo>
                  <a:pt x="184" y="117"/>
                  <a:pt x="183" y="117"/>
                  <a:pt x="182" y="117"/>
                </a:cubicBezTo>
                <a:cubicBezTo>
                  <a:pt x="182" y="117"/>
                  <a:pt x="182" y="116"/>
                  <a:pt x="181" y="116"/>
                </a:cubicBezTo>
                <a:cubicBezTo>
                  <a:pt x="181" y="115"/>
                  <a:pt x="180" y="112"/>
                  <a:pt x="182" y="112"/>
                </a:cubicBezTo>
                <a:cubicBezTo>
                  <a:pt x="181" y="111"/>
                  <a:pt x="182" y="111"/>
                  <a:pt x="182" y="110"/>
                </a:cubicBezTo>
                <a:cubicBezTo>
                  <a:pt x="182" y="109"/>
                  <a:pt x="182" y="108"/>
                  <a:pt x="183" y="108"/>
                </a:cubicBezTo>
                <a:cubicBezTo>
                  <a:pt x="183" y="108"/>
                  <a:pt x="184" y="108"/>
                  <a:pt x="185" y="108"/>
                </a:cubicBezTo>
                <a:cubicBezTo>
                  <a:pt x="185" y="108"/>
                  <a:pt x="186" y="109"/>
                  <a:pt x="186" y="109"/>
                </a:cubicBezTo>
                <a:cubicBezTo>
                  <a:pt x="186" y="109"/>
                  <a:pt x="186" y="109"/>
                  <a:pt x="186" y="109"/>
                </a:cubicBezTo>
                <a:cubicBezTo>
                  <a:pt x="187" y="109"/>
                  <a:pt x="187" y="108"/>
                  <a:pt x="187" y="108"/>
                </a:cubicBezTo>
                <a:cubicBezTo>
                  <a:pt x="189" y="109"/>
                  <a:pt x="189" y="106"/>
                  <a:pt x="191" y="106"/>
                </a:cubicBezTo>
                <a:cubicBezTo>
                  <a:pt x="190" y="104"/>
                  <a:pt x="191" y="103"/>
                  <a:pt x="192" y="101"/>
                </a:cubicBezTo>
                <a:cubicBezTo>
                  <a:pt x="191" y="101"/>
                  <a:pt x="192" y="99"/>
                  <a:pt x="191" y="99"/>
                </a:cubicBezTo>
                <a:cubicBezTo>
                  <a:pt x="190" y="99"/>
                  <a:pt x="189" y="97"/>
                  <a:pt x="189" y="97"/>
                </a:cubicBezTo>
                <a:cubicBezTo>
                  <a:pt x="189" y="96"/>
                  <a:pt x="186" y="97"/>
                  <a:pt x="185" y="96"/>
                </a:cubicBezTo>
                <a:cubicBezTo>
                  <a:pt x="185" y="93"/>
                  <a:pt x="185" y="93"/>
                  <a:pt x="185" y="93"/>
                </a:cubicBezTo>
                <a:cubicBezTo>
                  <a:pt x="185" y="92"/>
                  <a:pt x="185" y="90"/>
                  <a:pt x="184" y="90"/>
                </a:cubicBezTo>
                <a:cubicBezTo>
                  <a:pt x="182" y="91"/>
                  <a:pt x="181" y="90"/>
                  <a:pt x="180" y="88"/>
                </a:cubicBezTo>
                <a:cubicBezTo>
                  <a:pt x="181" y="85"/>
                  <a:pt x="182" y="82"/>
                  <a:pt x="182" y="79"/>
                </a:cubicBezTo>
                <a:cubicBezTo>
                  <a:pt x="183" y="79"/>
                  <a:pt x="184" y="79"/>
                  <a:pt x="184" y="78"/>
                </a:cubicBezTo>
                <a:cubicBezTo>
                  <a:pt x="184" y="78"/>
                  <a:pt x="184" y="78"/>
                  <a:pt x="184" y="78"/>
                </a:cubicBezTo>
                <a:cubicBezTo>
                  <a:pt x="185" y="77"/>
                  <a:pt x="186" y="78"/>
                  <a:pt x="186" y="77"/>
                </a:cubicBezTo>
                <a:cubicBezTo>
                  <a:pt x="188" y="77"/>
                  <a:pt x="187" y="74"/>
                  <a:pt x="190" y="75"/>
                </a:cubicBezTo>
                <a:cubicBezTo>
                  <a:pt x="193" y="75"/>
                  <a:pt x="193" y="75"/>
                  <a:pt x="193" y="75"/>
                </a:cubicBezTo>
                <a:cubicBezTo>
                  <a:pt x="193" y="77"/>
                  <a:pt x="190" y="77"/>
                  <a:pt x="190" y="80"/>
                </a:cubicBezTo>
                <a:cubicBezTo>
                  <a:pt x="192" y="80"/>
                  <a:pt x="192" y="80"/>
                  <a:pt x="192" y="80"/>
                </a:cubicBezTo>
                <a:cubicBezTo>
                  <a:pt x="192" y="80"/>
                  <a:pt x="193" y="79"/>
                  <a:pt x="193" y="79"/>
                </a:cubicBezTo>
                <a:cubicBezTo>
                  <a:pt x="193" y="79"/>
                  <a:pt x="193" y="79"/>
                  <a:pt x="193" y="79"/>
                </a:cubicBezTo>
                <a:cubicBezTo>
                  <a:pt x="194" y="80"/>
                  <a:pt x="195" y="78"/>
                  <a:pt x="196" y="78"/>
                </a:cubicBezTo>
                <a:cubicBezTo>
                  <a:pt x="196" y="78"/>
                  <a:pt x="197" y="77"/>
                  <a:pt x="197" y="77"/>
                </a:cubicBezTo>
                <a:cubicBezTo>
                  <a:pt x="197" y="77"/>
                  <a:pt x="197" y="77"/>
                  <a:pt x="198" y="77"/>
                </a:cubicBezTo>
                <a:cubicBezTo>
                  <a:pt x="198" y="76"/>
                  <a:pt x="199" y="76"/>
                  <a:pt x="199" y="76"/>
                </a:cubicBezTo>
                <a:cubicBezTo>
                  <a:pt x="200" y="75"/>
                  <a:pt x="200" y="75"/>
                  <a:pt x="200" y="75"/>
                </a:cubicBezTo>
                <a:cubicBezTo>
                  <a:pt x="200" y="74"/>
                  <a:pt x="200" y="74"/>
                  <a:pt x="201" y="74"/>
                </a:cubicBezTo>
                <a:cubicBezTo>
                  <a:pt x="202" y="75"/>
                  <a:pt x="203" y="73"/>
                  <a:pt x="204" y="72"/>
                </a:cubicBezTo>
                <a:cubicBezTo>
                  <a:pt x="204" y="72"/>
                  <a:pt x="204" y="72"/>
                  <a:pt x="204" y="72"/>
                </a:cubicBezTo>
                <a:cubicBezTo>
                  <a:pt x="205" y="72"/>
                  <a:pt x="206" y="71"/>
                  <a:pt x="206" y="71"/>
                </a:cubicBezTo>
                <a:cubicBezTo>
                  <a:pt x="206" y="71"/>
                  <a:pt x="207" y="71"/>
                  <a:pt x="207" y="71"/>
                </a:cubicBezTo>
                <a:cubicBezTo>
                  <a:pt x="207" y="71"/>
                  <a:pt x="207" y="70"/>
                  <a:pt x="207" y="70"/>
                </a:cubicBezTo>
                <a:cubicBezTo>
                  <a:pt x="207" y="70"/>
                  <a:pt x="208" y="70"/>
                  <a:pt x="208" y="70"/>
                </a:cubicBezTo>
                <a:cubicBezTo>
                  <a:pt x="209" y="70"/>
                  <a:pt x="209" y="70"/>
                  <a:pt x="209" y="70"/>
                </a:cubicBezTo>
                <a:cubicBezTo>
                  <a:pt x="210" y="70"/>
                  <a:pt x="211" y="68"/>
                  <a:pt x="211" y="67"/>
                </a:cubicBezTo>
                <a:cubicBezTo>
                  <a:pt x="211" y="66"/>
                  <a:pt x="212" y="66"/>
                  <a:pt x="212" y="65"/>
                </a:cubicBezTo>
                <a:cubicBezTo>
                  <a:pt x="213" y="65"/>
                  <a:pt x="212" y="67"/>
                  <a:pt x="214" y="67"/>
                </a:cubicBezTo>
                <a:cubicBezTo>
                  <a:pt x="217" y="67"/>
                  <a:pt x="217" y="67"/>
                  <a:pt x="217" y="67"/>
                </a:cubicBezTo>
                <a:cubicBezTo>
                  <a:pt x="218" y="67"/>
                  <a:pt x="219" y="67"/>
                  <a:pt x="218" y="66"/>
                </a:cubicBezTo>
                <a:cubicBezTo>
                  <a:pt x="218" y="65"/>
                  <a:pt x="219" y="66"/>
                  <a:pt x="220" y="66"/>
                </a:cubicBezTo>
                <a:cubicBezTo>
                  <a:pt x="220" y="67"/>
                  <a:pt x="220" y="68"/>
                  <a:pt x="221" y="68"/>
                </a:cubicBezTo>
                <a:cubicBezTo>
                  <a:pt x="223" y="68"/>
                  <a:pt x="223" y="66"/>
                  <a:pt x="224" y="66"/>
                </a:cubicBezTo>
                <a:cubicBezTo>
                  <a:pt x="224" y="65"/>
                  <a:pt x="225" y="65"/>
                  <a:pt x="224" y="64"/>
                </a:cubicBezTo>
                <a:cubicBezTo>
                  <a:pt x="224" y="64"/>
                  <a:pt x="224" y="63"/>
                  <a:pt x="225" y="63"/>
                </a:cubicBezTo>
                <a:cubicBezTo>
                  <a:pt x="225" y="60"/>
                  <a:pt x="223" y="60"/>
                  <a:pt x="223" y="58"/>
                </a:cubicBezTo>
                <a:cubicBezTo>
                  <a:pt x="224" y="57"/>
                  <a:pt x="224" y="56"/>
                  <a:pt x="225" y="55"/>
                </a:cubicBezTo>
                <a:cubicBezTo>
                  <a:pt x="221" y="55"/>
                  <a:pt x="221" y="55"/>
                  <a:pt x="221" y="55"/>
                </a:cubicBezTo>
                <a:cubicBezTo>
                  <a:pt x="221" y="53"/>
                  <a:pt x="220" y="53"/>
                  <a:pt x="220" y="52"/>
                </a:cubicBezTo>
                <a:cubicBezTo>
                  <a:pt x="220" y="50"/>
                  <a:pt x="221" y="50"/>
                  <a:pt x="222" y="49"/>
                </a:cubicBezTo>
                <a:cubicBezTo>
                  <a:pt x="223" y="48"/>
                  <a:pt x="223" y="47"/>
                  <a:pt x="223" y="45"/>
                </a:cubicBezTo>
                <a:cubicBezTo>
                  <a:pt x="222" y="45"/>
                  <a:pt x="222" y="43"/>
                  <a:pt x="221" y="43"/>
                </a:cubicBezTo>
                <a:cubicBezTo>
                  <a:pt x="221" y="42"/>
                  <a:pt x="218" y="43"/>
                  <a:pt x="217" y="43"/>
                </a:cubicBezTo>
                <a:cubicBezTo>
                  <a:pt x="217" y="43"/>
                  <a:pt x="217" y="43"/>
                  <a:pt x="216" y="43"/>
                </a:cubicBezTo>
                <a:cubicBezTo>
                  <a:pt x="216" y="43"/>
                  <a:pt x="216" y="44"/>
                  <a:pt x="216" y="43"/>
                </a:cubicBezTo>
                <a:cubicBezTo>
                  <a:pt x="215" y="44"/>
                  <a:pt x="215" y="43"/>
                  <a:pt x="214" y="43"/>
                </a:cubicBezTo>
                <a:cubicBezTo>
                  <a:pt x="215" y="39"/>
                  <a:pt x="215" y="36"/>
                  <a:pt x="218" y="34"/>
                </a:cubicBezTo>
                <a:cubicBezTo>
                  <a:pt x="218" y="34"/>
                  <a:pt x="218" y="34"/>
                  <a:pt x="218" y="34"/>
                </a:cubicBezTo>
                <a:cubicBezTo>
                  <a:pt x="218" y="34"/>
                  <a:pt x="218" y="34"/>
                  <a:pt x="218" y="34"/>
                </a:cubicBezTo>
                <a:cubicBezTo>
                  <a:pt x="219" y="35"/>
                  <a:pt x="219" y="34"/>
                  <a:pt x="219" y="34"/>
                </a:cubicBezTo>
                <a:cubicBezTo>
                  <a:pt x="219" y="34"/>
                  <a:pt x="219" y="34"/>
                  <a:pt x="219" y="34"/>
                </a:cubicBezTo>
                <a:cubicBezTo>
                  <a:pt x="219" y="34"/>
                  <a:pt x="219" y="34"/>
                  <a:pt x="219" y="34"/>
                </a:cubicBezTo>
                <a:cubicBezTo>
                  <a:pt x="219" y="34"/>
                  <a:pt x="219" y="34"/>
                  <a:pt x="219" y="34"/>
                </a:cubicBezTo>
                <a:cubicBezTo>
                  <a:pt x="219" y="34"/>
                  <a:pt x="219" y="34"/>
                  <a:pt x="219" y="34"/>
                </a:cubicBezTo>
                <a:cubicBezTo>
                  <a:pt x="219" y="34"/>
                  <a:pt x="220" y="34"/>
                  <a:pt x="220" y="34"/>
                </a:cubicBezTo>
                <a:cubicBezTo>
                  <a:pt x="220" y="34"/>
                  <a:pt x="220" y="34"/>
                  <a:pt x="220" y="34"/>
                </a:cubicBezTo>
                <a:cubicBezTo>
                  <a:pt x="220" y="34"/>
                  <a:pt x="220" y="34"/>
                  <a:pt x="220" y="34"/>
                </a:cubicBezTo>
                <a:cubicBezTo>
                  <a:pt x="220" y="34"/>
                  <a:pt x="220" y="34"/>
                  <a:pt x="220" y="34"/>
                </a:cubicBezTo>
                <a:cubicBezTo>
                  <a:pt x="220" y="34"/>
                  <a:pt x="220" y="34"/>
                  <a:pt x="220" y="34"/>
                </a:cubicBezTo>
                <a:cubicBezTo>
                  <a:pt x="220" y="34"/>
                  <a:pt x="220" y="34"/>
                  <a:pt x="220" y="34"/>
                </a:cubicBezTo>
                <a:cubicBezTo>
                  <a:pt x="221" y="33"/>
                  <a:pt x="221" y="32"/>
                  <a:pt x="223" y="32"/>
                </a:cubicBezTo>
                <a:cubicBezTo>
                  <a:pt x="223" y="31"/>
                  <a:pt x="223" y="31"/>
                  <a:pt x="224" y="31"/>
                </a:cubicBezTo>
                <a:cubicBezTo>
                  <a:pt x="224" y="31"/>
                  <a:pt x="224" y="30"/>
                  <a:pt x="225" y="30"/>
                </a:cubicBezTo>
                <a:cubicBezTo>
                  <a:pt x="225" y="30"/>
                  <a:pt x="225" y="30"/>
                  <a:pt x="225" y="30"/>
                </a:cubicBezTo>
                <a:cubicBezTo>
                  <a:pt x="225" y="30"/>
                  <a:pt x="225" y="30"/>
                  <a:pt x="225" y="30"/>
                </a:cubicBezTo>
                <a:cubicBezTo>
                  <a:pt x="225" y="30"/>
                  <a:pt x="225" y="30"/>
                  <a:pt x="225" y="30"/>
                </a:cubicBezTo>
                <a:cubicBezTo>
                  <a:pt x="225" y="30"/>
                  <a:pt x="225" y="30"/>
                  <a:pt x="225" y="30"/>
                </a:cubicBezTo>
                <a:cubicBezTo>
                  <a:pt x="224" y="30"/>
                  <a:pt x="223" y="29"/>
                  <a:pt x="223" y="29"/>
                </a:cubicBezTo>
                <a:cubicBezTo>
                  <a:pt x="223" y="29"/>
                  <a:pt x="222" y="29"/>
                  <a:pt x="222" y="29"/>
                </a:cubicBezTo>
                <a:cubicBezTo>
                  <a:pt x="222" y="29"/>
                  <a:pt x="222" y="28"/>
                  <a:pt x="222" y="28"/>
                </a:cubicBezTo>
                <a:cubicBezTo>
                  <a:pt x="221" y="28"/>
                  <a:pt x="220" y="28"/>
                  <a:pt x="219" y="28"/>
                </a:cubicBezTo>
                <a:cubicBezTo>
                  <a:pt x="218" y="28"/>
                  <a:pt x="218" y="27"/>
                  <a:pt x="216" y="27"/>
                </a:cubicBezTo>
                <a:cubicBezTo>
                  <a:pt x="212" y="27"/>
                  <a:pt x="212" y="27"/>
                  <a:pt x="212" y="27"/>
                </a:cubicBezTo>
                <a:cubicBezTo>
                  <a:pt x="212" y="27"/>
                  <a:pt x="211" y="27"/>
                  <a:pt x="211" y="27"/>
                </a:cubicBezTo>
                <a:cubicBezTo>
                  <a:pt x="211" y="28"/>
                  <a:pt x="210" y="28"/>
                  <a:pt x="209" y="28"/>
                </a:cubicBezTo>
                <a:cubicBezTo>
                  <a:pt x="209" y="27"/>
                  <a:pt x="207" y="27"/>
                  <a:pt x="206" y="26"/>
                </a:cubicBezTo>
                <a:cubicBezTo>
                  <a:pt x="202" y="26"/>
                  <a:pt x="200" y="26"/>
                  <a:pt x="198" y="25"/>
                </a:cubicBezTo>
                <a:cubicBezTo>
                  <a:pt x="197" y="24"/>
                  <a:pt x="196" y="24"/>
                  <a:pt x="195" y="23"/>
                </a:cubicBezTo>
                <a:cubicBezTo>
                  <a:pt x="193" y="23"/>
                  <a:pt x="193" y="23"/>
                  <a:pt x="193" y="23"/>
                </a:cubicBezTo>
                <a:cubicBezTo>
                  <a:pt x="193" y="23"/>
                  <a:pt x="192" y="23"/>
                  <a:pt x="192" y="23"/>
                </a:cubicBezTo>
                <a:cubicBezTo>
                  <a:pt x="191" y="21"/>
                  <a:pt x="189" y="21"/>
                  <a:pt x="189" y="20"/>
                </a:cubicBezTo>
                <a:cubicBezTo>
                  <a:pt x="188" y="20"/>
                  <a:pt x="188" y="19"/>
                  <a:pt x="186" y="19"/>
                </a:cubicBezTo>
                <a:cubicBezTo>
                  <a:pt x="185" y="19"/>
                  <a:pt x="185" y="18"/>
                  <a:pt x="185" y="17"/>
                </a:cubicBezTo>
                <a:cubicBezTo>
                  <a:pt x="184" y="17"/>
                  <a:pt x="184" y="16"/>
                  <a:pt x="183" y="16"/>
                </a:cubicBezTo>
                <a:cubicBezTo>
                  <a:pt x="182" y="15"/>
                  <a:pt x="182" y="14"/>
                  <a:pt x="182" y="13"/>
                </a:cubicBezTo>
                <a:cubicBezTo>
                  <a:pt x="181" y="11"/>
                  <a:pt x="178" y="11"/>
                  <a:pt x="179" y="8"/>
                </a:cubicBezTo>
                <a:cubicBezTo>
                  <a:pt x="179" y="6"/>
                  <a:pt x="179" y="5"/>
                  <a:pt x="180" y="5"/>
                </a:cubicBezTo>
                <a:cubicBezTo>
                  <a:pt x="180" y="4"/>
                  <a:pt x="182" y="5"/>
                  <a:pt x="182" y="2"/>
                </a:cubicBezTo>
                <a:cubicBezTo>
                  <a:pt x="182" y="2"/>
                  <a:pt x="181" y="2"/>
                  <a:pt x="180" y="2"/>
                </a:cubicBezTo>
                <a:cubicBezTo>
                  <a:pt x="180" y="0"/>
                  <a:pt x="178" y="1"/>
                  <a:pt x="177" y="1"/>
                </a:cubicBezTo>
                <a:cubicBezTo>
                  <a:pt x="175" y="2"/>
                  <a:pt x="174" y="2"/>
                  <a:pt x="172" y="2"/>
                </a:cubicBezTo>
                <a:cubicBezTo>
                  <a:pt x="172" y="3"/>
                  <a:pt x="171" y="3"/>
                  <a:pt x="170" y="4"/>
                </a:cubicBezTo>
                <a:cubicBezTo>
                  <a:pt x="169" y="4"/>
                  <a:pt x="169" y="5"/>
                  <a:pt x="168" y="5"/>
                </a:cubicBezTo>
                <a:cubicBezTo>
                  <a:pt x="166" y="5"/>
                  <a:pt x="163" y="5"/>
                  <a:pt x="160" y="5"/>
                </a:cubicBezTo>
                <a:cubicBezTo>
                  <a:pt x="158" y="5"/>
                  <a:pt x="157" y="4"/>
                  <a:pt x="155" y="4"/>
                </a:cubicBezTo>
                <a:cubicBezTo>
                  <a:pt x="153" y="4"/>
                  <a:pt x="152" y="5"/>
                  <a:pt x="149" y="5"/>
                </a:cubicBezTo>
                <a:cubicBezTo>
                  <a:pt x="148" y="6"/>
                  <a:pt x="146" y="7"/>
                  <a:pt x="145" y="7"/>
                </a:cubicBezTo>
                <a:cubicBezTo>
                  <a:pt x="144" y="7"/>
                  <a:pt x="144" y="8"/>
                  <a:pt x="144" y="9"/>
                </a:cubicBezTo>
                <a:cubicBezTo>
                  <a:pt x="143" y="9"/>
                  <a:pt x="143" y="9"/>
                  <a:pt x="143" y="9"/>
                </a:cubicBezTo>
                <a:cubicBezTo>
                  <a:pt x="143" y="10"/>
                  <a:pt x="142" y="11"/>
                  <a:pt x="142" y="11"/>
                </a:cubicBezTo>
                <a:cubicBezTo>
                  <a:pt x="141" y="12"/>
                  <a:pt x="141" y="13"/>
                  <a:pt x="140" y="14"/>
                </a:cubicBezTo>
                <a:cubicBezTo>
                  <a:pt x="140" y="14"/>
                  <a:pt x="139" y="14"/>
                  <a:pt x="139" y="15"/>
                </a:cubicBezTo>
                <a:cubicBezTo>
                  <a:pt x="135" y="15"/>
                  <a:pt x="133" y="12"/>
                  <a:pt x="131" y="10"/>
                </a:cubicBezTo>
                <a:cubicBezTo>
                  <a:pt x="128" y="11"/>
                  <a:pt x="126" y="12"/>
                  <a:pt x="123" y="14"/>
                </a:cubicBezTo>
                <a:cubicBezTo>
                  <a:pt x="123" y="14"/>
                  <a:pt x="123" y="14"/>
                  <a:pt x="122" y="14"/>
                </a:cubicBezTo>
                <a:cubicBezTo>
                  <a:pt x="122" y="14"/>
                  <a:pt x="122" y="15"/>
                  <a:pt x="122" y="15"/>
                </a:cubicBezTo>
                <a:cubicBezTo>
                  <a:pt x="122" y="15"/>
                  <a:pt x="122" y="16"/>
                  <a:pt x="122" y="16"/>
                </a:cubicBezTo>
                <a:cubicBezTo>
                  <a:pt x="122" y="17"/>
                  <a:pt x="122" y="18"/>
                  <a:pt x="122" y="19"/>
                </a:cubicBezTo>
                <a:cubicBezTo>
                  <a:pt x="122" y="20"/>
                  <a:pt x="122" y="20"/>
                  <a:pt x="122" y="20"/>
                </a:cubicBezTo>
                <a:cubicBezTo>
                  <a:pt x="122" y="20"/>
                  <a:pt x="122" y="21"/>
                  <a:pt x="122" y="21"/>
                </a:cubicBezTo>
                <a:cubicBezTo>
                  <a:pt x="122" y="22"/>
                  <a:pt x="122" y="22"/>
                  <a:pt x="121" y="22"/>
                </a:cubicBezTo>
                <a:cubicBezTo>
                  <a:pt x="121" y="22"/>
                  <a:pt x="121" y="22"/>
                  <a:pt x="121" y="23"/>
                </a:cubicBezTo>
                <a:cubicBezTo>
                  <a:pt x="121" y="23"/>
                  <a:pt x="122" y="23"/>
                  <a:pt x="122" y="23"/>
                </a:cubicBezTo>
                <a:cubicBezTo>
                  <a:pt x="122" y="23"/>
                  <a:pt x="122" y="23"/>
                  <a:pt x="122" y="24"/>
                </a:cubicBezTo>
                <a:cubicBezTo>
                  <a:pt x="123" y="24"/>
                  <a:pt x="123" y="24"/>
                  <a:pt x="123" y="25"/>
                </a:cubicBezTo>
                <a:cubicBezTo>
                  <a:pt x="123" y="25"/>
                  <a:pt x="122" y="25"/>
                  <a:pt x="122" y="24"/>
                </a:cubicBezTo>
                <a:cubicBezTo>
                  <a:pt x="122" y="24"/>
                  <a:pt x="122" y="24"/>
                  <a:pt x="122" y="24"/>
                </a:cubicBezTo>
                <a:cubicBezTo>
                  <a:pt x="119" y="25"/>
                  <a:pt x="119" y="23"/>
                  <a:pt x="118" y="23"/>
                </a:cubicBezTo>
                <a:cubicBezTo>
                  <a:pt x="118" y="21"/>
                  <a:pt x="116" y="22"/>
                  <a:pt x="115" y="22"/>
                </a:cubicBezTo>
                <a:cubicBezTo>
                  <a:pt x="114" y="22"/>
                  <a:pt x="113" y="22"/>
                  <a:pt x="113" y="23"/>
                </a:cubicBezTo>
                <a:cubicBezTo>
                  <a:pt x="112" y="23"/>
                  <a:pt x="112" y="23"/>
                  <a:pt x="112" y="23"/>
                </a:cubicBezTo>
                <a:cubicBezTo>
                  <a:pt x="112" y="23"/>
                  <a:pt x="112" y="23"/>
                  <a:pt x="112" y="23"/>
                </a:cubicBezTo>
                <a:cubicBezTo>
                  <a:pt x="112" y="23"/>
                  <a:pt x="112" y="23"/>
                  <a:pt x="112" y="23"/>
                </a:cubicBezTo>
                <a:cubicBezTo>
                  <a:pt x="112" y="23"/>
                  <a:pt x="112" y="23"/>
                  <a:pt x="112" y="23"/>
                </a:cubicBezTo>
                <a:cubicBezTo>
                  <a:pt x="112" y="23"/>
                  <a:pt x="112" y="23"/>
                  <a:pt x="112" y="23"/>
                </a:cubicBezTo>
                <a:cubicBezTo>
                  <a:pt x="112" y="24"/>
                  <a:pt x="112" y="24"/>
                  <a:pt x="111" y="24"/>
                </a:cubicBezTo>
                <a:cubicBezTo>
                  <a:pt x="111" y="24"/>
                  <a:pt x="111" y="24"/>
                  <a:pt x="111" y="24"/>
                </a:cubicBezTo>
                <a:cubicBezTo>
                  <a:pt x="111" y="24"/>
                  <a:pt x="111" y="24"/>
                  <a:pt x="111" y="24"/>
                </a:cubicBezTo>
                <a:cubicBezTo>
                  <a:pt x="110" y="24"/>
                  <a:pt x="109" y="25"/>
                  <a:pt x="110" y="26"/>
                </a:cubicBezTo>
                <a:cubicBezTo>
                  <a:pt x="110" y="26"/>
                  <a:pt x="110" y="26"/>
                  <a:pt x="110" y="26"/>
                </a:cubicBezTo>
                <a:cubicBezTo>
                  <a:pt x="110" y="26"/>
                  <a:pt x="110" y="26"/>
                  <a:pt x="110" y="26"/>
                </a:cubicBezTo>
                <a:cubicBezTo>
                  <a:pt x="110" y="26"/>
                  <a:pt x="110" y="26"/>
                  <a:pt x="110" y="26"/>
                </a:cubicBezTo>
                <a:cubicBezTo>
                  <a:pt x="110" y="27"/>
                  <a:pt x="110" y="27"/>
                  <a:pt x="110" y="27"/>
                </a:cubicBezTo>
                <a:cubicBezTo>
                  <a:pt x="110" y="27"/>
                  <a:pt x="110" y="27"/>
                  <a:pt x="110" y="28"/>
                </a:cubicBezTo>
                <a:cubicBezTo>
                  <a:pt x="110" y="28"/>
                  <a:pt x="110" y="28"/>
                  <a:pt x="110" y="28"/>
                </a:cubicBezTo>
                <a:cubicBezTo>
                  <a:pt x="110" y="28"/>
                  <a:pt x="110" y="28"/>
                  <a:pt x="110" y="29"/>
                </a:cubicBezTo>
                <a:cubicBezTo>
                  <a:pt x="110" y="29"/>
                  <a:pt x="110" y="29"/>
                  <a:pt x="110" y="29"/>
                </a:cubicBezTo>
                <a:cubicBezTo>
                  <a:pt x="110" y="29"/>
                  <a:pt x="110" y="29"/>
                  <a:pt x="110" y="30"/>
                </a:cubicBezTo>
                <a:cubicBezTo>
                  <a:pt x="110" y="30"/>
                  <a:pt x="110" y="30"/>
                  <a:pt x="110" y="30"/>
                </a:cubicBezTo>
                <a:cubicBezTo>
                  <a:pt x="110" y="30"/>
                  <a:pt x="111" y="30"/>
                  <a:pt x="111" y="30"/>
                </a:cubicBezTo>
                <a:cubicBezTo>
                  <a:pt x="111" y="30"/>
                  <a:pt x="111" y="31"/>
                  <a:pt x="111" y="31"/>
                </a:cubicBezTo>
                <a:cubicBezTo>
                  <a:pt x="111" y="31"/>
                  <a:pt x="111" y="31"/>
                  <a:pt x="111" y="31"/>
                </a:cubicBezTo>
                <a:cubicBezTo>
                  <a:pt x="111" y="31"/>
                  <a:pt x="111" y="31"/>
                  <a:pt x="111" y="31"/>
                </a:cubicBezTo>
                <a:cubicBezTo>
                  <a:pt x="111" y="32"/>
                  <a:pt x="111" y="32"/>
                  <a:pt x="112" y="32"/>
                </a:cubicBezTo>
                <a:cubicBezTo>
                  <a:pt x="112" y="32"/>
                  <a:pt x="112" y="32"/>
                  <a:pt x="112" y="32"/>
                </a:cubicBezTo>
                <a:cubicBezTo>
                  <a:pt x="112" y="32"/>
                  <a:pt x="112" y="32"/>
                  <a:pt x="112" y="32"/>
                </a:cubicBezTo>
                <a:cubicBezTo>
                  <a:pt x="112" y="32"/>
                  <a:pt x="112" y="33"/>
                  <a:pt x="113" y="33"/>
                </a:cubicBezTo>
                <a:cubicBezTo>
                  <a:pt x="113" y="33"/>
                  <a:pt x="113" y="33"/>
                  <a:pt x="113" y="33"/>
                </a:cubicBezTo>
                <a:cubicBezTo>
                  <a:pt x="113" y="36"/>
                  <a:pt x="113" y="36"/>
                  <a:pt x="113" y="36"/>
                </a:cubicBezTo>
                <a:cubicBezTo>
                  <a:pt x="113" y="38"/>
                  <a:pt x="115" y="37"/>
                  <a:pt x="114" y="39"/>
                </a:cubicBezTo>
                <a:cubicBezTo>
                  <a:pt x="113" y="39"/>
                  <a:pt x="112" y="39"/>
                  <a:pt x="112" y="38"/>
                </a:cubicBezTo>
                <a:cubicBezTo>
                  <a:pt x="111" y="38"/>
                  <a:pt x="110" y="37"/>
                  <a:pt x="110" y="37"/>
                </a:cubicBezTo>
                <a:cubicBezTo>
                  <a:pt x="110" y="35"/>
                  <a:pt x="110" y="35"/>
                  <a:pt x="110" y="35"/>
                </a:cubicBezTo>
                <a:cubicBezTo>
                  <a:pt x="110" y="34"/>
                  <a:pt x="109" y="33"/>
                  <a:pt x="109" y="32"/>
                </a:cubicBezTo>
                <a:cubicBezTo>
                  <a:pt x="109" y="32"/>
                  <a:pt x="108" y="32"/>
                  <a:pt x="108" y="32"/>
                </a:cubicBezTo>
                <a:cubicBezTo>
                  <a:pt x="108" y="32"/>
                  <a:pt x="108" y="32"/>
                  <a:pt x="107" y="33"/>
                </a:cubicBezTo>
                <a:cubicBezTo>
                  <a:pt x="107" y="33"/>
                  <a:pt x="107" y="33"/>
                  <a:pt x="106" y="33"/>
                </a:cubicBezTo>
                <a:cubicBezTo>
                  <a:pt x="106" y="33"/>
                  <a:pt x="106" y="33"/>
                  <a:pt x="106" y="33"/>
                </a:cubicBezTo>
                <a:cubicBezTo>
                  <a:pt x="106" y="33"/>
                  <a:pt x="105" y="33"/>
                  <a:pt x="105" y="33"/>
                </a:cubicBezTo>
                <a:cubicBezTo>
                  <a:pt x="105" y="33"/>
                  <a:pt x="105" y="33"/>
                  <a:pt x="105" y="33"/>
                </a:cubicBezTo>
                <a:cubicBezTo>
                  <a:pt x="105" y="33"/>
                  <a:pt x="104" y="33"/>
                  <a:pt x="104" y="33"/>
                </a:cubicBezTo>
                <a:cubicBezTo>
                  <a:pt x="104" y="33"/>
                  <a:pt x="104" y="33"/>
                  <a:pt x="104" y="33"/>
                </a:cubicBezTo>
                <a:cubicBezTo>
                  <a:pt x="103" y="33"/>
                  <a:pt x="103" y="34"/>
                  <a:pt x="103" y="34"/>
                </a:cubicBezTo>
                <a:cubicBezTo>
                  <a:pt x="103" y="34"/>
                  <a:pt x="103" y="34"/>
                  <a:pt x="103" y="34"/>
                </a:cubicBezTo>
                <a:cubicBezTo>
                  <a:pt x="102" y="34"/>
                  <a:pt x="102" y="34"/>
                  <a:pt x="102" y="34"/>
                </a:cubicBezTo>
                <a:cubicBezTo>
                  <a:pt x="101" y="34"/>
                  <a:pt x="101" y="34"/>
                  <a:pt x="101" y="34"/>
                </a:cubicBezTo>
                <a:cubicBezTo>
                  <a:pt x="101" y="34"/>
                  <a:pt x="101" y="34"/>
                  <a:pt x="101" y="34"/>
                </a:cubicBezTo>
                <a:cubicBezTo>
                  <a:pt x="100" y="34"/>
                  <a:pt x="99" y="35"/>
                  <a:pt x="98" y="33"/>
                </a:cubicBezTo>
                <a:cubicBezTo>
                  <a:pt x="98" y="33"/>
                  <a:pt x="98" y="33"/>
                  <a:pt x="98" y="33"/>
                </a:cubicBezTo>
                <a:cubicBezTo>
                  <a:pt x="98" y="33"/>
                  <a:pt x="97" y="33"/>
                  <a:pt x="97" y="33"/>
                </a:cubicBezTo>
                <a:cubicBezTo>
                  <a:pt x="97" y="33"/>
                  <a:pt x="97" y="33"/>
                  <a:pt x="97" y="33"/>
                </a:cubicBezTo>
                <a:cubicBezTo>
                  <a:pt x="97" y="33"/>
                  <a:pt x="97" y="33"/>
                  <a:pt x="96" y="33"/>
                </a:cubicBezTo>
                <a:cubicBezTo>
                  <a:pt x="96" y="32"/>
                  <a:pt x="96" y="32"/>
                  <a:pt x="96" y="32"/>
                </a:cubicBezTo>
                <a:cubicBezTo>
                  <a:pt x="96" y="32"/>
                  <a:pt x="96" y="32"/>
                  <a:pt x="96" y="32"/>
                </a:cubicBezTo>
                <a:cubicBezTo>
                  <a:pt x="96" y="32"/>
                  <a:pt x="96" y="32"/>
                  <a:pt x="96" y="32"/>
                </a:cubicBezTo>
                <a:cubicBezTo>
                  <a:pt x="96" y="32"/>
                  <a:pt x="95" y="32"/>
                  <a:pt x="95" y="32"/>
                </a:cubicBezTo>
                <a:cubicBezTo>
                  <a:pt x="95" y="27"/>
                  <a:pt x="95" y="27"/>
                  <a:pt x="95" y="27"/>
                </a:cubicBezTo>
                <a:cubicBezTo>
                  <a:pt x="95" y="27"/>
                  <a:pt x="94" y="26"/>
                  <a:pt x="93" y="26"/>
                </a:cubicBezTo>
                <a:cubicBezTo>
                  <a:pt x="93" y="26"/>
                  <a:pt x="93" y="26"/>
                  <a:pt x="93" y="26"/>
                </a:cubicBezTo>
                <a:cubicBezTo>
                  <a:pt x="93" y="26"/>
                  <a:pt x="93" y="26"/>
                  <a:pt x="93" y="26"/>
                </a:cubicBezTo>
                <a:cubicBezTo>
                  <a:pt x="93" y="26"/>
                  <a:pt x="93" y="26"/>
                  <a:pt x="93" y="26"/>
                </a:cubicBezTo>
                <a:cubicBezTo>
                  <a:pt x="93" y="26"/>
                  <a:pt x="93" y="26"/>
                  <a:pt x="93" y="26"/>
                </a:cubicBezTo>
                <a:cubicBezTo>
                  <a:pt x="93" y="26"/>
                  <a:pt x="93" y="26"/>
                  <a:pt x="93" y="26"/>
                </a:cubicBezTo>
                <a:cubicBezTo>
                  <a:pt x="93" y="26"/>
                  <a:pt x="93" y="26"/>
                  <a:pt x="93" y="26"/>
                </a:cubicBezTo>
                <a:cubicBezTo>
                  <a:pt x="92" y="26"/>
                  <a:pt x="92" y="26"/>
                  <a:pt x="92" y="25"/>
                </a:cubicBezTo>
                <a:cubicBezTo>
                  <a:pt x="92" y="25"/>
                  <a:pt x="91" y="25"/>
                  <a:pt x="91" y="25"/>
                </a:cubicBezTo>
                <a:cubicBezTo>
                  <a:pt x="91" y="25"/>
                  <a:pt x="91" y="25"/>
                  <a:pt x="91" y="25"/>
                </a:cubicBezTo>
                <a:cubicBezTo>
                  <a:pt x="91" y="25"/>
                  <a:pt x="91" y="25"/>
                  <a:pt x="91" y="25"/>
                </a:cubicBezTo>
                <a:cubicBezTo>
                  <a:pt x="91" y="25"/>
                  <a:pt x="91" y="26"/>
                  <a:pt x="91" y="26"/>
                </a:cubicBezTo>
                <a:cubicBezTo>
                  <a:pt x="91" y="26"/>
                  <a:pt x="90" y="26"/>
                  <a:pt x="90" y="26"/>
                </a:cubicBezTo>
                <a:cubicBezTo>
                  <a:pt x="90" y="26"/>
                  <a:pt x="90" y="26"/>
                  <a:pt x="90" y="26"/>
                </a:cubicBezTo>
                <a:cubicBezTo>
                  <a:pt x="89" y="26"/>
                  <a:pt x="88" y="26"/>
                  <a:pt x="87" y="27"/>
                </a:cubicBezTo>
                <a:cubicBezTo>
                  <a:pt x="87" y="27"/>
                  <a:pt x="87" y="27"/>
                  <a:pt x="87" y="27"/>
                </a:cubicBezTo>
                <a:cubicBezTo>
                  <a:pt x="87" y="27"/>
                  <a:pt x="87" y="27"/>
                  <a:pt x="87" y="27"/>
                </a:cubicBezTo>
                <a:cubicBezTo>
                  <a:pt x="86" y="30"/>
                  <a:pt x="87" y="31"/>
                  <a:pt x="87" y="32"/>
                </a:cubicBezTo>
                <a:cubicBezTo>
                  <a:pt x="87" y="33"/>
                  <a:pt x="87" y="33"/>
                  <a:pt x="87" y="33"/>
                </a:cubicBezTo>
                <a:cubicBezTo>
                  <a:pt x="87" y="33"/>
                  <a:pt x="87" y="33"/>
                  <a:pt x="87" y="33"/>
                </a:cubicBezTo>
                <a:cubicBezTo>
                  <a:pt x="87" y="33"/>
                  <a:pt x="87" y="33"/>
                  <a:pt x="87" y="34"/>
                </a:cubicBezTo>
                <a:cubicBezTo>
                  <a:pt x="87" y="34"/>
                  <a:pt x="87" y="35"/>
                  <a:pt x="86" y="35"/>
                </a:cubicBezTo>
                <a:cubicBezTo>
                  <a:pt x="86" y="36"/>
                  <a:pt x="86" y="36"/>
                  <a:pt x="86" y="36"/>
                </a:cubicBezTo>
                <a:cubicBezTo>
                  <a:pt x="86" y="36"/>
                  <a:pt x="86" y="37"/>
                  <a:pt x="85" y="37"/>
                </a:cubicBezTo>
                <a:cubicBezTo>
                  <a:pt x="85" y="37"/>
                  <a:pt x="85" y="37"/>
                  <a:pt x="85" y="37"/>
                </a:cubicBezTo>
                <a:cubicBezTo>
                  <a:pt x="84" y="38"/>
                  <a:pt x="84" y="38"/>
                  <a:pt x="84" y="40"/>
                </a:cubicBezTo>
                <a:cubicBezTo>
                  <a:pt x="84" y="40"/>
                  <a:pt x="84" y="40"/>
                  <a:pt x="84" y="40"/>
                </a:cubicBezTo>
                <a:cubicBezTo>
                  <a:pt x="84" y="40"/>
                  <a:pt x="84" y="40"/>
                  <a:pt x="83" y="40"/>
                </a:cubicBezTo>
                <a:cubicBezTo>
                  <a:pt x="83" y="40"/>
                  <a:pt x="83" y="40"/>
                  <a:pt x="83" y="40"/>
                </a:cubicBezTo>
                <a:cubicBezTo>
                  <a:pt x="83" y="40"/>
                  <a:pt x="83" y="40"/>
                  <a:pt x="83" y="41"/>
                </a:cubicBezTo>
                <a:cubicBezTo>
                  <a:pt x="83" y="41"/>
                  <a:pt x="83" y="41"/>
                  <a:pt x="83" y="41"/>
                </a:cubicBezTo>
                <a:cubicBezTo>
                  <a:pt x="83" y="41"/>
                  <a:pt x="83" y="41"/>
                  <a:pt x="83" y="41"/>
                </a:cubicBezTo>
                <a:cubicBezTo>
                  <a:pt x="82" y="42"/>
                  <a:pt x="81" y="42"/>
                  <a:pt x="80" y="43"/>
                </a:cubicBezTo>
                <a:cubicBezTo>
                  <a:pt x="79" y="48"/>
                  <a:pt x="78" y="52"/>
                  <a:pt x="79" y="57"/>
                </a:cubicBezTo>
                <a:cubicBezTo>
                  <a:pt x="77" y="57"/>
                  <a:pt x="76" y="56"/>
                  <a:pt x="76" y="54"/>
                </a:cubicBezTo>
                <a:cubicBezTo>
                  <a:pt x="76" y="53"/>
                  <a:pt x="74" y="53"/>
                  <a:pt x="74" y="51"/>
                </a:cubicBezTo>
                <a:cubicBezTo>
                  <a:pt x="74" y="50"/>
                  <a:pt x="75" y="50"/>
                  <a:pt x="75" y="48"/>
                </a:cubicBezTo>
                <a:cubicBezTo>
                  <a:pt x="75" y="47"/>
                  <a:pt x="74" y="47"/>
                  <a:pt x="74" y="46"/>
                </a:cubicBezTo>
                <a:cubicBezTo>
                  <a:pt x="74" y="45"/>
                  <a:pt x="73" y="46"/>
                  <a:pt x="71" y="46"/>
                </a:cubicBezTo>
                <a:cubicBezTo>
                  <a:pt x="71" y="45"/>
                  <a:pt x="71" y="45"/>
                  <a:pt x="70" y="45"/>
                </a:cubicBezTo>
                <a:cubicBezTo>
                  <a:pt x="69" y="43"/>
                  <a:pt x="67" y="41"/>
                  <a:pt x="65" y="40"/>
                </a:cubicBezTo>
                <a:cubicBezTo>
                  <a:pt x="65" y="39"/>
                  <a:pt x="65" y="39"/>
                  <a:pt x="65" y="39"/>
                </a:cubicBezTo>
                <a:cubicBezTo>
                  <a:pt x="65" y="37"/>
                  <a:pt x="64" y="36"/>
                  <a:pt x="64" y="35"/>
                </a:cubicBezTo>
                <a:cubicBezTo>
                  <a:pt x="64" y="35"/>
                  <a:pt x="64" y="35"/>
                  <a:pt x="64" y="35"/>
                </a:cubicBezTo>
                <a:cubicBezTo>
                  <a:pt x="64" y="35"/>
                  <a:pt x="64" y="35"/>
                  <a:pt x="64" y="35"/>
                </a:cubicBezTo>
                <a:cubicBezTo>
                  <a:pt x="64" y="35"/>
                  <a:pt x="64" y="34"/>
                  <a:pt x="64" y="34"/>
                </a:cubicBezTo>
                <a:cubicBezTo>
                  <a:pt x="64" y="34"/>
                  <a:pt x="64" y="34"/>
                  <a:pt x="64" y="34"/>
                </a:cubicBezTo>
                <a:cubicBezTo>
                  <a:pt x="64" y="34"/>
                  <a:pt x="64" y="34"/>
                  <a:pt x="64" y="34"/>
                </a:cubicBezTo>
                <a:cubicBezTo>
                  <a:pt x="64" y="34"/>
                  <a:pt x="64" y="34"/>
                  <a:pt x="64" y="34"/>
                </a:cubicBezTo>
                <a:cubicBezTo>
                  <a:pt x="64" y="34"/>
                  <a:pt x="64" y="34"/>
                  <a:pt x="64" y="34"/>
                </a:cubicBezTo>
                <a:cubicBezTo>
                  <a:pt x="64" y="32"/>
                  <a:pt x="65" y="31"/>
                  <a:pt x="65" y="30"/>
                </a:cubicBezTo>
                <a:cubicBezTo>
                  <a:pt x="64" y="29"/>
                  <a:pt x="63" y="28"/>
                  <a:pt x="63" y="27"/>
                </a:cubicBezTo>
                <a:cubicBezTo>
                  <a:pt x="60" y="26"/>
                  <a:pt x="60" y="28"/>
                  <a:pt x="57" y="27"/>
                </a:cubicBezTo>
                <a:cubicBezTo>
                  <a:pt x="57" y="28"/>
                  <a:pt x="57" y="28"/>
                  <a:pt x="56" y="28"/>
                </a:cubicBezTo>
                <a:cubicBezTo>
                  <a:pt x="57" y="31"/>
                  <a:pt x="54" y="31"/>
                  <a:pt x="54" y="32"/>
                </a:cubicBezTo>
                <a:cubicBezTo>
                  <a:pt x="52" y="32"/>
                  <a:pt x="52" y="33"/>
                  <a:pt x="51" y="34"/>
                </a:cubicBezTo>
                <a:cubicBezTo>
                  <a:pt x="51" y="35"/>
                  <a:pt x="49" y="34"/>
                  <a:pt x="49" y="35"/>
                </a:cubicBezTo>
                <a:cubicBezTo>
                  <a:pt x="48" y="35"/>
                  <a:pt x="49" y="36"/>
                  <a:pt x="48" y="37"/>
                </a:cubicBezTo>
                <a:cubicBezTo>
                  <a:pt x="47" y="38"/>
                  <a:pt x="48" y="39"/>
                  <a:pt x="49" y="40"/>
                </a:cubicBezTo>
                <a:cubicBezTo>
                  <a:pt x="49" y="40"/>
                  <a:pt x="49" y="40"/>
                  <a:pt x="49" y="40"/>
                </a:cubicBezTo>
                <a:cubicBezTo>
                  <a:pt x="49" y="40"/>
                  <a:pt x="49" y="40"/>
                  <a:pt x="49" y="40"/>
                </a:cubicBezTo>
                <a:cubicBezTo>
                  <a:pt x="49" y="40"/>
                  <a:pt x="49" y="40"/>
                  <a:pt x="49" y="40"/>
                </a:cubicBezTo>
                <a:cubicBezTo>
                  <a:pt x="49" y="40"/>
                  <a:pt x="49" y="40"/>
                  <a:pt x="49" y="40"/>
                </a:cubicBezTo>
                <a:cubicBezTo>
                  <a:pt x="49" y="41"/>
                  <a:pt x="49" y="41"/>
                  <a:pt x="49" y="41"/>
                </a:cubicBezTo>
                <a:cubicBezTo>
                  <a:pt x="49" y="41"/>
                  <a:pt x="49" y="41"/>
                  <a:pt x="49" y="41"/>
                </a:cubicBezTo>
                <a:cubicBezTo>
                  <a:pt x="49" y="41"/>
                  <a:pt x="49" y="41"/>
                  <a:pt x="49" y="41"/>
                </a:cubicBezTo>
                <a:cubicBezTo>
                  <a:pt x="47" y="41"/>
                  <a:pt x="48" y="43"/>
                  <a:pt x="46" y="43"/>
                </a:cubicBezTo>
                <a:cubicBezTo>
                  <a:pt x="45" y="44"/>
                  <a:pt x="46" y="45"/>
                  <a:pt x="45" y="45"/>
                </a:cubicBezTo>
                <a:cubicBezTo>
                  <a:pt x="45" y="46"/>
                  <a:pt x="45" y="46"/>
                  <a:pt x="44" y="47"/>
                </a:cubicBezTo>
                <a:cubicBezTo>
                  <a:pt x="43" y="47"/>
                  <a:pt x="42" y="47"/>
                  <a:pt x="42" y="48"/>
                </a:cubicBezTo>
                <a:cubicBezTo>
                  <a:pt x="40" y="48"/>
                  <a:pt x="41" y="50"/>
                  <a:pt x="39" y="49"/>
                </a:cubicBezTo>
                <a:cubicBezTo>
                  <a:pt x="38" y="48"/>
                  <a:pt x="38" y="48"/>
                  <a:pt x="37" y="48"/>
                </a:cubicBezTo>
                <a:cubicBezTo>
                  <a:pt x="36" y="47"/>
                  <a:pt x="36" y="46"/>
                  <a:pt x="35" y="46"/>
                </a:cubicBezTo>
                <a:cubicBezTo>
                  <a:pt x="34" y="46"/>
                  <a:pt x="32" y="46"/>
                  <a:pt x="31" y="46"/>
                </a:cubicBezTo>
                <a:cubicBezTo>
                  <a:pt x="31" y="46"/>
                  <a:pt x="30" y="46"/>
                  <a:pt x="29" y="46"/>
                </a:cubicBezTo>
                <a:cubicBezTo>
                  <a:pt x="28" y="46"/>
                  <a:pt x="28" y="47"/>
                  <a:pt x="27" y="47"/>
                </a:cubicBezTo>
                <a:cubicBezTo>
                  <a:pt x="27" y="48"/>
                  <a:pt x="25" y="47"/>
                  <a:pt x="25" y="48"/>
                </a:cubicBezTo>
                <a:cubicBezTo>
                  <a:pt x="23" y="48"/>
                  <a:pt x="22" y="49"/>
                  <a:pt x="21" y="50"/>
                </a:cubicBezTo>
                <a:cubicBezTo>
                  <a:pt x="19" y="50"/>
                  <a:pt x="19" y="50"/>
                  <a:pt x="19" y="50"/>
                </a:cubicBezTo>
                <a:cubicBezTo>
                  <a:pt x="15" y="50"/>
                  <a:pt x="15" y="50"/>
                  <a:pt x="15" y="50"/>
                </a:cubicBezTo>
                <a:cubicBezTo>
                  <a:pt x="13" y="51"/>
                  <a:pt x="12" y="52"/>
                  <a:pt x="10" y="53"/>
                </a:cubicBezTo>
                <a:cubicBezTo>
                  <a:pt x="10" y="53"/>
                  <a:pt x="9" y="53"/>
                  <a:pt x="9" y="53"/>
                </a:cubicBezTo>
                <a:cubicBezTo>
                  <a:pt x="9" y="54"/>
                  <a:pt x="8" y="54"/>
                  <a:pt x="8" y="54"/>
                </a:cubicBezTo>
                <a:cubicBezTo>
                  <a:pt x="8" y="55"/>
                  <a:pt x="7" y="55"/>
                  <a:pt x="7" y="55"/>
                </a:cubicBezTo>
                <a:cubicBezTo>
                  <a:pt x="7" y="58"/>
                  <a:pt x="6" y="58"/>
                  <a:pt x="6" y="60"/>
                </a:cubicBezTo>
                <a:cubicBezTo>
                  <a:pt x="6" y="61"/>
                  <a:pt x="7" y="60"/>
                  <a:pt x="8" y="60"/>
                </a:cubicBezTo>
                <a:cubicBezTo>
                  <a:pt x="8" y="59"/>
                  <a:pt x="9" y="60"/>
                  <a:pt x="9" y="60"/>
                </a:cubicBezTo>
                <a:cubicBezTo>
                  <a:pt x="10" y="62"/>
                  <a:pt x="11" y="63"/>
                  <a:pt x="12" y="64"/>
                </a:cubicBezTo>
                <a:cubicBezTo>
                  <a:pt x="12" y="66"/>
                  <a:pt x="12" y="66"/>
                  <a:pt x="12" y="66"/>
                </a:cubicBezTo>
                <a:cubicBezTo>
                  <a:pt x="13" y="67"/>
                  <a:pt x="13" y="67"/>
                  <a:pt x="14" y="68"/>
                </a:cubicBezTo>
                <a:cubicBezTo>
                  <a:pt x="14" y="69"/>
                  <a:pt x="15" y="70"/>
                  <a:pt x="16" y="70"/>
                </a:cubicBezTo>
                <a:cubicBezTo>
                  <a:pt x="16" y="71"/>
                  <a:pt x="16" y="71"/>
                  <a:pt x="16" y="71"/>
                </a:cubicBezTo>
                <a:cubicBezTo>
                  <a:pt x="17" y="72"/>
                  <a:pt x="18" y="72"/>
                  <a:pt x="19" y="73"/>
                </a:cubicBezTo>
                <a:cubicBezTo>
                  <a:pt x="19" y="74"/>
                  <a:pt x="19" y="74"/>
                  <a:pt x="19" y="74"/>
                </a:cubicBezTo>
                <a:cubicBezTo>
                  <a:pt x="18" y="74"/>
                  <a:pt x="18" y="76"/>
                  <a:pt x="17" y="76"/>
                </a:cubicBezTo>
                <a:cubicBezTo>
                  <a:pt x="17" y="76"/>
                  <a:pt x="16" y="76"/>
                  <a:pt x="16" y="77"/>
                </a:cubicBezTo>
                <a:cubicBezTo>
                  <a:pt x="16" y="79"/>
                  <a:pt x="17" y="79"/>
                  <a:pt x="17" y="80"/>
                </a:cubicBezTo>
                <a:cubicBezTo>
                  <a:pt x="15" y="80"/>
                  <a:pt x="15" y="82"/>
                  <a:pt x="12" y="82"/>
                </a:cubicBezTo>
                <a:cubicBezTo>
                  <a:pt x="12" y="83"/>
                  <a:pt x="9" y="82"/>
                  <a:pt x="9" y="84"/>
                </a:cubicBezTo>
                <a:cubicBezTo>
                  <a:pt x="8" y="84"/>
                  <a:pt x="7" y="83"/>
                  <a:pt x="6" y="83"/>
                </a:cubicBezTo>
                <a:cubicBezTo>
                  <a:pt x="5" y="84"/>
                  <a:pt x="4" y="84"/>
                  <a:pt x="3" y="85"/>
                </a:cubicBezTo>
                <a:cubicBezTo>
                  <a:pt x="3" y="86"/>
                  <a:pt x="0" y="84"/>
                  <a:pt x="1" y="87"/>
                </a:cubicBezTo>
                <a:cubicBezTo>
                  <a:pt x="1" y="88"/>
                  <a:pt x="1" y="89"/>
                  <a:pt x="3" y="89"/>
                </a:cubicBezTo>
                <a:cubicBezTo>
                  <a:pt x="3" y="91"/>
                  <a:pt x="4" y="91"/>
                  <a:pt x="4" y="92"/>
                </a:cubicBezTo>
                <a:cubicBezTo>
                  <a:pt x="4" y="94"/>
                  <a:pt x="3" y="94"/>
                  <a:pt x="3" y="96"/>
                </a:cubicBezTo>
                <a:cubicBezTo>
                  <a:pt x="6" y="98"/>
                  <a:pt x="10" y="99"/>
                  <a:pt x="12" y="102"/>
                </a:cubicBezTo>
                <a:cubicBezTo>
                  <a:pt x="11" y="104"/>
                  <a:pt x="13" y="104"/>
                  <a:pt x="12" y="106"/>
                </a:cubicBezTo>
                <a:cubicBezTo>
                  <a:pt x="11" y="107"/>
                  <a:pt x="9" y="109"/>
                  <a:pt x="7" y="110"/>
                </a:cubicBezTo>
                <a:cubicBezTo>
                  <a:pt x="7" y="111"/>
                  <a:pt x="7" y="111"/>
                  <a:pt x="7" y="111"/>
                </a:cubicBezTo>
                <a:cubicBezTo>
                  <a:pt x="7" y="112"/>
                  <a:pt x="7" y="112"/>
                  <a:pt x="6" y="112"/>
                </a:cubicBezTo>
                <a:cubicBezTo>
                  <a:pt x="6" y="115"/>
                  <a:pt x="8" y="116"/>
                  <a:pt x="7" y="118"/>
                </a:cubicBezTo>
                <a:cubicBezTo>
                  <a:pt x="7" y="120"/>
                  <a:pt x="6" y="120"/>
                  <a:pt x="7" y="122"/>
                </a:cubicBezTo>
                <a:cubicBezTo>
                  <a:pt x="7" y="123"/>
                  <a:pt x="8" y="124"/>
                  <a:pt x="7" y="125"/>
                </a:cubicBezTo>
                <a:cubicBezTo>
                  <a:pt x="9" y="125"/>
                  <a:pt x="8" y="126"/>
                  <a:pt x="9" y="127"/>
                </a:cubicBezTo>
                <a:cubicBezTo>
                  <a:pt x="9" y="127"/>
                  <a:pt x="10" y="128"/>
                  <a:pt x="10" y="128"/>
                </a:cubicBezTo>
                <a:cubicBezTo>
                  <a:pt x="11" y="128"/>
                  <a:pt x="10" y="129"/>
                  <a:pt x="11" y="129"/>
                </a:cubicBezTo>
                <a:cubicBezTo>
                  <a:pt x="12" y="129"/>
                  <a:pt x="12" y="131"/>
                  <a:pt x="12" y="131"/>
                </a:cubicBezTo>
                <a:cubicBezTo>
                  <a:pt x="13" y="132"/>
                  <a:pt x="14" y="132"/>
                  <a:pt x="14" y="133"/>
                </a:cubicBezTo>
                <a:cubicBezTo>
                  <a:pt x="18" y="133"/>
                  <a:pt x="18" y="133"/>
                  <a:pt x="18" y="133"/>
                </a:cubicBezTo>
                <a:cubicBezTo>
                  <a:pt x="18" y="135"/>
                  <a:pt x="20" y="134"/>
                  <a:pt x="21" y="135"/>
                </a:cubicBezTo>
                <a:cubicBezTo>
                  <a:pt x="22" y="135"/>
                  <a:pt x="23" y="136"/>
                  <a:pt x="25" y="135"/>
                </a:cubicBezTo>
                <a:cubicBezTo>
                  <a:pt x="27" y="135"/>
                  <a:pt x="28" y="134"/>
                  <a:pt x="30" y="134"/>
                </a:cubicBezTo>
                <a:cubicBezTo>
                  <a:pt x="31" y="134"/>
                  <a:pt x="31" y="134"/>
                  <a:pt x="32" y="135"/>
                </a:cubicBezTo>
                <a:cubicBezTo>
                  <a:pt x="32" y="137"/>
                  <a:pt x="32" y="139"/>
                  <a:pt x="30" y="139"/>
                </a:cubicBezTo>
                <a:cubicBezTo>
                  <a:pt x="30" y="140"/>
                  <a:pt x="29" y="141"/>
                  <a:pt x="28" y="142"/>
                </a:cubicBezTo>
                <a:cubicBezTo>
                  <a:pt x="28" y="143"/>
                  <a:pt x="28" y="144"/>
                  <a:pt x="27" y="144"/>
                </a:cubicBezTo>
                <a:cubicBezTo>
                  <a:pt x="27" y="147"/>
                  <a:pt x="27" y="150"/>
                  <a:pt x="26" y="152"/>
                </a:cubicBezTo>
                <a:cubicBezTo>
                  <a:pt x="27" y="152"/>
                  <a:pt x="30" y="153"/>
                  <a:pt x="29" y="151"/>
                </a:cubicBezTo>
                <a:cubicBezTo>
                  <a:pt x="32" y="151"/>
                  <a:pt x="34" y="150"/>
                  <a:pt x="36" y="149"/>
                </a:cubicBezTo>
                <a:cubicBezTo>
                  <a:pt x="38" y="149"/>
                  <a:pt x="40" y="149"/>
                  <a:pt x="42" y="148"/>
                </a:cubicBezTo>
                <a:cubicBezTo>
                  <a:pt x="43" y="148"/>
                  <a:pt x="43" y="147"/>
                  <a:pt x="44" y="147"/>
                </a:cubicBezTo>
                <a:cubicBezTo>
                  <a:pt x="45" y="147"/>
                  <a:pt x="45" y="146"/>
                  <a:pt x="46" y="145"/>
                </a:cubicBezTo>
                <a:cubicBezTo>
                  <a:pt x="47" y="145"/>
                  <a:pt x="46" y="143"/>
                  <a:pt x="48" y="143"/>
                </a:cubicBezTo>
                <a:cubicBezTo>
                  <a:pt x="47" y="141"/>
                  <a:pt x="49" y="142"/>
                  <a:pt x="48" y="140"/>
                </a:cubicBezTo>
                <a:cubicBezTo>
                  <a:pt x="51" y="139"/>
                  <a:pt x="51" y="136"/>
                  <a:pt x="52" y="135"/>
                </a:cubicBezTo>
                <a:cubicBezTo>
                  <a:pt x="53" y="134"/>
                  <a:pt x="53" y="133"/>
                  <a:pt x="55" y="133"/>
                </a:cubicBezTo>
                <a:cubicBezTo>
                  <a:pt x="56" y="131"/>
                  <a:pt x="59" y="132"/>
                  <a:pt x="58" y="128"/>
                </a:cubicBezTo>
                <a:cubicBezTo>
                  <a:pt x="60" y="129"/>
                  <a:pt x="59" y="127"/>
                  <a:pt x="61" y="127"/>
                </a:cubicBezTo>
                <a:cubicBezTo>
                  <a:pt x="62" y="127"/>
                  <a:pt x="62" y="126"/>
                  <a:pt x="62" y="126"/>
                </a:cubicBezTo>
                <a:cubicBezTo>
                  <a:pt x="63" y="126"/>
                  <a:pt x="64" y="125"/>
                  <a:pt x="65" y="126"/>
                </a:cubicBezTo>
                <a:cubicBezTo>
                  <a:pt x="65" y="125"/>
                  <a:pt x="65" y="125"/>
                  <a:pt x="65" y="125"/>
                </a:cubicBezTo>
                <a:cubicBezTo>
                  <a:pt x="66" y="124"/>
                  <a:pt x="67" y="125"/>
                  <a:pt x="67" y="124"/>
                </a:cubicBezTo>
                <a:cubicBezTo>
                  <a:pt x="68" y="124"/>
                  <a:pt x="69" y="124"/>
                  <a:pt x="70" y="124"/>
                </a:cubicBezTo>
                <a:cubicBezTo>
                  <a:pt x="71" y="124"/>
                  <a:pt x="71" y="124"/>
                  <a:pt x="71" y="125"/>
                </a:cubicBezTo>
                <a:cubicBezTo>
                  <a:pt x="72" y="125"/>
                  <a:pt x="73" y="125"/>
                  <a:pt x="73" y="126"/>
                </a:cubicBezTo>
                <a:cubicBezTo>
                  <a:pt x="76" y="126"/>
                  <a:pt x="76" y="126"/>
                  <a:pt x="76" y="126"/>
                </a:cubicBezTo>
                <a:cubicBezTo>
                  <a:pt x="77" y="126"/>
                  <a:pt x="78" y="126"/>
                  <a:pt x="78" y="127"/>
                </a:cubicBezTo>
                <a:cubicBezTo>
                  <a:pt x="82" y="126"/>
                  <a:pt x="82" y="129"/>
                  <a:pt x="85" y="128"/>
                </a:cubicBezTo>
                <a:cubicBezTo>
                  <a:pt x="85" y="131"/>
                  <a:pt x="88" y="131"/>
                  <a:pt x="89" y="133"/>
                </a:cubicBezTo>
                <a:cubicBezTo>
                  <a:pt x="91" y="133"/>
                  <a:pt x="93" y="134"/>
                  <a:pt x="95" y="135"/>
                </a:cubicBezTo>
                <a:cubicBezTo>
                  <a:pt x="96" y="136"/>
                  <a:pt x="96" y="137"/>
                  <a:pt x="98" y="137"/>
                </a:cubicBezTo>
                <a:cubicBezTo>
                  <a:pt x="98" y="138"/>
                  <a:pt x="98" y="139"/>
                  <a:pt x="99" y="139"/>
                </a:cubicBezTo>
                <a:cubicBezTo>
                  <a:pt x="99" y="142"/>
                  <a:pt x="99" y="142"/>
                  <a:pt x="99" y="142"/>
                </a:cubicBezTo>
                <a:cubicBezTo>
                  <a:pt x="102" y="142"/>
                  <a:pt x="102" y="142"/>
                  <a:pt x="102" y="142"/>
                </a:cubicBezTo>
                <a:cubicBezTo>
                  <a:pt x="103" y="142"/>
                  <a:pt x="103" y="141"/>
                  <a:pt x="104" y="140"/>
                </a:cubicBezTo>
                <a:cubicBezTo>
                  <a:pt x="104" y="141"/>
                  <a:pt x="105" y="142"/>
                  <a:pt x="106" y="142"/>
                </a:cubicBezTo>
                <a:cubicBezTo>
                  <a:pt x="106" y="142"/>
                  <a:pt x="108" y="143"/>
                  <a:pt x="108" y="142"/>
                </a:cubicBezTo>
                <a:cubicBezTo>
                  <a:pt x="108" y="142"/>
                  <a:pt x="108" y="142"/>
                  <a:pt x="109" y="142"/>
                </a:cubicBezTo>
                <a:cubicBezTo>
                  <a:pt x="109" y="144"/>
                  <a:pt x="112" y="144"/>
                  <a:pt x="111" y="146"/>
                </a:cubicBezTo>
                <a:cubicBezTo>
                  <a:pt x="112" y="147"/>
                  <a:pt x="113" y="148"/>
                  <a:pt x="115" y="148"/>
                </a:cubicBezTo>
                <a:cubicBezTo>
                  <a:pt x="115" y="149"/>
                  <a:pt x="115" y="149"/>
                  <a:pt x="115" y="149"/>
                </a:cubicBezTo>
                <a:cubicBezTo>
                  <a:pt x="115" y="150"/>
                  <a:pt x="116" y="151"/>
                  <a:pt x="116" y="151"/>
                </a:cubicBezTo>
                <a:cubicBezTo>
                  <a:pt x="117" y="155"/>
                  <a:pt x="117" y="161"/>
                  <a:pt x="117" y="166"/>
                </a:cubicBezTo>
                <a:cubicBezTo>
                  <a:pt x="117" y="167"/>
                  <a:pt x="117" y="167"/>
                  <a:pt x="117" y="167"/>
                </a:cubicBezTo>
                <a:cubicBezTo>
                  <a:pt x="117" y="167"/>
                  <a:pt x="117" y="167"/>
                  <a:pt x="117" y="167"/>
                </a:cubicBezTo>
                <a:cubicBezTo>
                  <a:pt x="118" y="168"/>
                  <a:pt x="118" y="169"/>
                  <a:pt x="118" y="169"/>
                </a:cubicBezTo>
                <a:cubicBezTo>
                  <a:pt x="118" y="170"/>
                  <a:pt x="118" y="170"/>
                  <a:pt x="119" y="170"/>
                </a:cubicBezTo>
                <a:cubicBezTo>
                  <a:pt x="120" y="170"/>
                  <a:pt x="120" y="172"/>
                  <a:pt x="120" y="173"/>
                </a:cubicBezTo>
                <a:cubicBezTo>
                  <a:pt x="121" y="173"/>
                  <a:pt x="121" y="173"/>
                  <a:pt x="121" y="173"/>
                </a:cubicBezTo>
                <a:cubicBezTo>
                  <a:pt x="121" y="173"/>
                  <a:pt x="121" y="174"/>
                  <a:pt x="121" y="174"/>
                </a:cubicBezTo>
                <a:cubicBezTo>
                  <a:pt x="121" y="174"/>
                  <a:pt x="121" y="174"/>
                  <a:pt x="121" y="174"/>
                </a:cubicBezTo>
                <a:cubicBezTo>
                  <a:pt x="122" y="175"/>
                  <a:pt x="122" y="176"/>
                  <a:pt x="123" y="177"/>
                </a:cubicBezTo>
                <a:cubicBezTo>
                  <a:pt x="123" y="177"/>
                  <a:pt x="123" y="177"/>
                  <a:pt x="123" y="178"/>
                </a:cubicBezTo>
                <a:cubicBezTo>
                  <a:pt x="123" y="178"/>
                  <a:pt x="124" y="179"/>
                  <a:pt x="124" y="179"/>
                </a:cubicBezTo>
                <a:cubicBezTo>
                  <a:pt x="124" y="179"/>
                  <a:pt x="124" y="180"/>
                  <a:pt x="124" y="180"/>
                </a:cubicBezTo>
                <a:cubicBezTo>
                  <a:pt x="124" y="182"/>
                  <a:pt x="125" y="184"/>
                  <a:pt x="124" y="186"/>
                </a:cubicBezTo>
                <a:cubicBezTo>
                  <a:pt x="124" y="188"/>
                  <a:pt x="123" y="189"/>
                  <a:pt x="122" y="190"/>
                </a:cubicBezTo>
                <a:cubicBezTo>
                  <a:pt x="123" y="191"/>
                  <a:pt x="123" y="192"/>
                  <a:pt x="123" y="194"/>
                </a:cubicBezTo>
                <a:cubicBezTo>
                  <a:pt x="126" y="194"/>
                  <a:pt x="127" y="193"/>
                  <a:pt x="131" y="193"/>
                </a:cubicBezTo>
                <a:cubicBezTo>
                  <a:pt x="131" y="194"/>
                  <a:pt x="131" y="195"/>
                  <a:pt x="132" y="195"/>
                </a:cubicBezTo>
                <a:cubicBezTo>
                  <a:pt x="133" y="198"/>
                  <a:pt x="131" y="198"/>
                  <a:pt x="131" y="200"/>
                </a:cubicBezTo>
                <a:cubicBezTo>
                  <a:pt x="132" y="201"/>
                  <a:pt x="133" y="200"/>
                  <a:pt x="133" y="201"/>
                </a:cubicBezTo>
                <a:cubicBezTo>
                  <a:pt x="135" y="201"/>
                  <a:pt x="135" y="202"/>
                  <a:pt x="136" y="202"/>
                </a:cubicBezTo>
                <a:cubicBezTo>
                  <a:pt x="137" y="204"/>
                  <a:pt x="140" y="204"/>
                  <a:pt x="140" y="207"/>
                </a:cubicBezTo>
                <a:cubicBezTo>
                  <a:pt x="141" y="208"/>
                  <a:pt x="142" y="208"/>
                  <a:pt x="143" y="209"/>
                </a:cubicBezTo>
                <a:cubicBezTo>
                  <a:pt x="143" y="209"/>
                  <a:pt x="143" y="209"/>
                  <a:pt x="143" y="209"/>
                </a:cubicBezTo>
                <a:cubicBezTo>
                  <a:pt x="143" y="211"/>
                  <a:pt x="143" y="212"/>
                  <a:pt x="145" y="212"/>
                </a:cubicBezTo>
                <a:cubicBezTo>
                  <a:pt x="145" y="213"/>
                  <a:pt x="145" y="213"/>
                  <a:pt x="145" y="213"/>
                </a:cubicBezTo>
                <a:cubicBezTo>
                  <a:pt x="145" y="213"/>
                  <a:pt x="146" y="213"/>
                  <a:pt x="145" y="213"/>
                </a:cubicBezTo>
                <a:cubicBezTo>
                  <a:pt x="146" y="216"/>
                  <a:pt x="142" y="214"/>
                  <a:pt x="143" y="216"/>
                </a:cubicBezTo>
                <a:cubicBezTo>
                  <a:pt x="142" y="219"/>
                  <a:pt x="144" y="219"/>
                  <a:pt x="145" y="220"/>
                </a:cubicBezTo>
                <a:cubicBezTo>
                  <a:pt x="146" y="221"/>
                  <a:pt x="146" y="220"/>
                  <a:pt x="147" y="220"/>
                </a:cubicBezTo>
                <a:cubicBezTo>
                  <a:pt x="147" y="220"/>
                  <a:pt x="147" y="220"/>
                  <a:pt x="147" y="220"/>
                </a:cubicBezTo>
                <a:cubicBezTo>
                  <a:pt x="148" y="220"/>
                  <a:pt x="148" y="220"/>
                  <a:pt x="149" y="220"/>
                </a:cubicBezTo>
                <a:cubicBezTo>
                  <a:pt x="149" y="218"/>
                  <a:pt x="149" y="218"/>
                  <a:pt x="149" y="218"/>
                </a:cubicBezTo>
                <a:cubicBezTo>
                  <a:pt x="149" y="218"/>
                  <a:pt x="150" y="218"/>
                  <a:pt x="150" y="218"/>
                </a:cubicBezTo>
                <a:cubicBezTo>
                  <a:pt x="150" y="218"/>
                  <a:pt x="150" y="218"/>
                  <a:pt x="151" y="218"/>
                </a:cubicBezTo>
                <a:cubicBezTo>
                  <a:pt x="152" y="219"/>
                  <a:pt x="153" y="219"/>
                  <a:pt x="154" y="220"/>
                </a:cubicBezTo>
                <a:cubicBezTo>
                  <a:pt x="156" y="219"/>
                  <a:pt x="156" y="221"/>
                  <a:pt x="158" y="220"/>
                </a:cubicBezTo>
                <a:cubicBezTo>
                  <a:pt x="158" y="222"/>
                  <a:pt x="158" y="222"/>
                  <a:pt x="159" y="222"/>
                </a:cubicBezTo>
                <a:cubicBezTo>
                  <a:pt x="159" y="223"/>
                  <a:pt x="159" y="223"/>
                  <a:pt x="160" y="223"/>
                </a:cubicBezTo>
                <a:cubicBezTo>
                  <a:pt x="160" y="225"/>
                  <a:pt x="162" y="225"/>
                  <a:pt x="163" y="225"/>
                </a:cubicBezTo>
                <a:cubicBezTo>
                  <a:pt x="162" y="227"/>
                  <a:pt x="164" y="227"/>
                  <a:pt x="163" y="229"/>
                </a:cubicBezTo>
                <a:cubicBezTo>
                  <a:pt x="164" y="229"/>
                  <a:pt x="164" y="230"/>
                  <a:pt x="164" y="230"/>
                </a:cubicBezTo>
                <a:cubicBezTo>
                  <a:pt x="164" y="230"/>
                  <a:pt x="165" y="230"/>
                  <a:pt x="165" y="230"/>
                </a:cubicBezTo>
                <a:cubicBezTo>
                  <a:pt x="165" y="231"/>
                  <a:pt x="165" y="231"/>
                  <a:pt x="166" y="232"/>
                </a:cubicBezTo>
                <a:cubicBezTo>
                  <a:pt x="166" y="232"/>
                  <a:pt x="165" y="232"/>
                  <a:pt x="166" y="232"/>
                </a:cubicBezTo>
                <a:cubicBezTo>
                  <a:pt x="166" y="232"/>
                  <a:pt x="166" y="232"/>
                  <a:pt x="166" y="232"/>
                </a:cubicBezTo>
                <a:cubicBezTo>
                  <a:pt x="166" y="232"/>
                  <a:pt x="166" y="233"/>
                  <a:pt x="166" y="233"/>
                </a:cubicBezTo>
                <a:cubicBezTo>
                  <a:pt x="167" y="233"/>
                  <a:pt x="168" y="233"/>
                  <a:pt x="168" y="234"/>
                </a:cubicBezTo>
                <a:cubicBezTo>
                  <a:pt x="168" y="235"/>
                  <a:pt x="171" y="235"/>
                  <a:pt x="171" y="236"/>
                </a:cubicBezTo>
                <a:cubicBezTo>
                  <a:pt x="173" y="237"/>
                  <a:pt x="173" y="238"/>
                  <a:pt x="175" y="239"/>
                </a:cubicBezTo>
                <a:cubicBezTo>
                  <a:pt x="176" y="241"/>
                  <a:pt x="178" y="242"/>
                  <a:pt x="180" y="243"/>
                </a:cubicBezTo>
                <a:cubicBezTo>
                  <a:pt x="180" y="245"/>
                  <a:pt x="182" y="246"/>
                  <a:pt x="182" y="248"/>
                </a:cubicBezTo>
                <a:cubicBezTo>
                  <a:pt x="182" y="248"/>
                  <a:pt x="182" y="248"/>
                  <a:pt x="183" y="248"/>
                </a:cubicBezTo>
                <a:cubicBezTo>
                  <a:pt x="184" y="248"/>
                  <a:pt x="184" y="249"/>
                  <a:pt x="184" y="249"/>
                </a:cubicBezTo>
                <a:cubicBezTo>
                  <a:pt x="184" y="250"/>
                  <a:pt x="184" y="250"/>
                  <a:pt x="185" y="250"/>
                </a:cubicBezTo>
                <a:cubicBezTo>
                  <a:pt x="185" y="251"/>
                  <a:pt x="186" y="251"/>
                  <a:pt x="186" y="251"/>
                </a:cubicBezTo>
                <a:cubicBezTo>
                  <a:pt x="187" y="251"/>
                  <a:pt x="187" y="252"/>
                  <a:pt x="187" y="253"/>
                </a:cubicBezTo>
                <a:cubicBezTo>
                  <a:pt x="187" y="253"/>
                  <a:pt x="188" y="252"/>
                  <a:pt x="189" y="253"/>
                </a:cubicBezTo>
                <a:cubicBezTo>
                  <a:pt x="189" y="253"/>
                  <a:pt x="189" y="254"/>
                  <a:pt x="190" y="254"/>
                </a:cubicBezTo>
                <a:cubicBezTo>
                  <a:pt x="190" y="255"/>
                  <a:pt x="191" y="257"/>
                  <a:pt x="191" y="258"/>
                </a:cubicBezTo>
                <a:cubicBezTo>
                  <a:pt x="192" y="259"/>
                  <a:pt x="192" y="259"/>
                  <a:pt x="193" y="260"/>
                </a:cubicBezTo>
                <a:cubicBezTo>
                  <a:pt x="193" y="261"/>
                  <a:pt x="195" y="261"/>
                  <a:pt x="196" y="262"/>
                </a:cubicBezTo>
                <a:cubicBezTo>
                  <a:pt x="196" y="264"/>
                  <a:pt x="199" y="263"/>
                  <a:pt x="199" y="265"/>
                </a:cubicBezTo>
                <a:cubicBezTo>
                  <a:pt x="201" y="265"/>
                  <a:pt x="202" y="265"/>
                  <a:pt x="204" y="265"/>
                </a:cubicBezTo>
                <a:cubicBezTo>
                  <a:pt x="204" y="266"/>
                  <a:pt x="206" y="266"/>
                  <a:pt x="207" y="267"/>
                </a:cubicBezTo>
                <a:cubicBezTo>
                  <a:pt x="207" y="269"/>
                  <a:pt x="208" y="271"/>
                  <a:pt x="208" y="273"/>
                </a:cubicBezTo>
                <a:cubicBezTo>
                  <a:pt x="210" y="273"/>
                  <a:pt x="212" y="273"/>
                  <a:pt x="212" y="271"/>
                </a:cubicBezTo>
                <a:cubicBezTo>
                  <a:pt x="213" y="271"/>
                  <a:pt x="213" y="272"/>
                  <a:pt x="213" y="273"/>
                </a:cubicBezTo>
                <a:cubicBezTo>
                  <a:pt x="215" y="273"/>
                  <a:pt x="215" y="270"/>
                  <a:pt x="217" y="271"/>
                </a:cubicBezTo>
                <a:cubicBezTo>
                  <a:pt x="220" y="270"/>
                  <a:pt x="220" y="272"/>
                  <a:pt x="223" y="271"/>
                </a:cubicBezTo>
                <a:cubicBezTo>
                  <a:pt x="223" y="272"/>
                  <a:pt x="224" y="272"/>
                  <a:pt x="225" y="272"/>
                </a:cubicBezTo>
                <a:cubicBezTo>
                  <a:pt x="225" y="273"/>
                  <a:pt x="226" y="273"/>
                  <a:pt x="226" y="273"/>
                </a:cubicBezTo>
                <a:cubicBezTo>
                  <a:pt x="229" y="273"/>
                  <a:pt x="229" y="271"/>
                  <a:pt x="232" y="271"/>
                </a:cubicBezTo>
                <a:cubicBezTo>
                  <a:pt x="232" y="272"/>
                  <a:pt x="232" y="273"/>
                  <a:pt x="233" y="273"/>
                </a:cubicBezTo>
                <a:cubicBezTo>
                  <a:pt x="234" y="273"/>
                  <a:pt x="234" y="273"/>
                  <a:pt x="234" y="274"/>
                </a:cubicBezTo>
                <a:cubicBezTo>
                  <a:pt x="235" y="275"/>
                  <a:pt x="236" y="276"/>
                  <a:pt x="237" y="277"/>
                </a:cubicBezTo>
                <a:cubicBezTo>
                  <a:pt x="237" y="277"/>
                  <a:pt x="237" y="277"/>
                  <a:pt x="237" y="278"/>
                </a:cubicBezTo>
                <a:cubicBezTo>
                  <a:pt x="237" y="278"/>
                  <a:pt x="238" y="278"/>
                  <a:pt x="238" y="279"/>
                </a:cubicBezTo>
                <a:cubicBezTo>
                  <a:pt x="238" y="279"/>
                  <a:pt x="239" y="279"/>
                  <a:pt x="239" y="280"/>
                </a:cubicBezTo>
                <a:cubicBezTo>
                  <a:pt x="239" y="282"/>
                  <a:pt x="239" y="283"/>
                  <a:pt x="240" y="284"/>
                </a:cubicBezTo>
                <a:cubicBezTo>
                  <a:pt x="240" y="284"/>
                  <a:pt x="241" y="284"/>
                  <a:pt x="241" y="284"/>
                </a:cubicBezTo>
                <a:cubicBezTo>
                  <a:pt x="241" y="284"/>
                  <a:pt x="241" y="284"/>
                  <a:pt x="241" y="285"/>
                </a:cubicBezTo>
                <a:cubicBezTo>
                  <a:pt x="241" y="285"/>
                  <a:pt x="241" y="284"/>
                  <a:pt x="241" y="285"/>
                </a:cubicBezTo>
                <a:cubicBezTo>
                  <a:pt x="242" y="285"/>
                  <a:pt x="242" y="287"/>
                  <a:pt x="243" y="287"/>
                </a:cubicBezTo>
                <a:cubicBezTo>
                  <a:pt x="243" y="289"/>
                  <a:pt x="244" y="290"/>
                  <a:pt x="244" y="292"/>
                </a:cubicBezTo>
                <a:cubicBezTo>
                  <a:pt x="243" y="292"/>
                  <a:pt x="243" y="292"/>
                  <a:pt x="243" y="292"/>
                </a:cubicBezTo>
                <a:cubicBezTo>
                  <a:pt x="243" y="293"/>
                  <a:pt x="243" y="293"/>
                  <a:pt x="242" y="293"/>
                </a:cubicBezTo>
                <a:cubicBezTo>
                  <a:pt x="242" y="293"/>
                  <a:pt x="242" y="293"/>
                  <a:pt x="242" y="294"/>
                </a:cubicBezTo>
                <a:cubicBezTo>
                  <a:pt x="242" y="294"/>
                  <a:pt x="242" y="294"/>
                  <a:pt x="242" y="294"/>
                </a:cubicBezTo>
                <a:cubicBezTo>
                  <a:pt x="243" y="294"/>
                  <a:pt x="243" y="294"/>
                  <a:pt x="244" y="294"/>
                </a:cubicBezTo>
                <a:cubicBezTo>
                  <a:pt x="244" y="294"/>
                  <a:pt x="244" y="293"/>
                  <a:pt x="244" y="294"/>
                </a:cubicBezTo>
                <a:cubicBezTo>
                  <a:pt x="244" y="293"/>
                  <a:pt x="245" y="293"/>
                  <a:pt x="246" y="292"/>
                </a:cubicBezTo>
                <a:cubicBezTo>
                  <a:pt x="247" y="291"/>
                  <a:pt x="247" y="292"/>
                  <a:pt x="248" y="292"/>
                </a:cubicBezTo>
                <a:cubicBezTo>
                  <a:pt x="250" y="292"/>
                  <a:pt x="249" y="290"/>
                  <a:pt x="251" y="290"/>
                </a:cubicBezTo>
                <a:cubicBezTo>
                  <a:pt x="251" y="291"/>
                  <a:pt x="254" y="291"/>
                  <a:pt x="253" y="292"/>
                </a:cubicBezTo>
                <a:cubicBezTo>
                  <a:pt x="254" y="293"/>
                  <a:pt x="255" y="293"/>
                  <a:pt x="255" y="294"/>
                </a:cubicBezTo>
                <a:cubicBezTo>
                  <a:pt x="255" y="294"/>
                  <a:pt x="255" y="294"/>
                  <a:pt x="255" y="294"/>
                </a:cubicBezTo>
                <a:cubicBezTo>
                  <a:pt x="255" y="294"/>
                  <a:pt x="255" y="294"/>
                  <a:pt x="255" y="294"/>
                </a:cubicBezTo>
                <a:cubicBezTo>
                  <a:pt x="256" y="294"/>
                  <a:pt x="258" y="294"/>
                  <a:pt x="258" y="294"/>
                </a:cubicBezTo>
                <a:cubicBezTo>
                  <a:pt x="258" y="296"/>
                  <a:pt x="257" y="296"/>
                  <a:pt x="256" y="297"/>
                </a:cubicBezTo>
                <a:cubicBezTo>
                  <a:pt x="256" y="297"/>
                  <a:pt x="256" y="297"/>
                  <a:pt x="256" y="297"/>
                </a:cubicBezTo>
                <a:cubicBezTo>
                  <a:pt x="255" y="298"/>
                  <a:pt x="255" y="298"/>
                  <a:pt x="255" y="298"/>
                </a:cubicBezTo>
                <a:cubicBezTo>
                  <a:pt x="255" y="299"/>
                  <a:pt x="254" y="300"/>
                  <a:pt x="254" y="298"/>
                </a:cubicBezTo>
                <a:cubicBezTo>
                  <a:pt x="253" y="298"/>
                  <a:pt x="253" y="299"/>
                  <a:pt x="253" y="299"/>
                </a:cubicBezTo>
                <a:cubicBezTo>
                  <a:pt x="252" y="301"/>
                  <a:pt x="252" y="302"/>
                  <a:pt x="254" y="303"/>
                </a:cubicBezTo>
                <a:cubicBezTo>
                  <a:pt x="254" y="303"/>
                  <a:pt x="254" y="303"/>
                  <a:pt x="255" y="303"/>
                </a:cubicBezTo>
                <a:cubicBezTo>
                  <a:pt x="255" y="302"/>
                  <a:pt x="255" y="301"/>
                  <a:pt x="256" y="301"/>
                </a:cubicBezTo>
                <a:cubicBezTo>
                  <a:pt x="256" y="301"/>
                  <a:pt x="257" y="301"/>
                  <a:pt x="257" y="300"/>
                </a:cubicBezTo>
                <a:cubicBezTo>
                  <a:pt x="259" y="300"/>
                  <a:pt x="259" y="301"/>
                  <a:pt x="261" y="301"/>
                </a:cubicBezTo>
                <a:cubicBezTo>
                  <a:pt x="263" y="301"/>
                  <a:pt x="262" y="299"/>
                  <a:pt x="264" y="300"/>
                </a:cubicBezTo>
                <a:cubicBezTo>
                  <a:pt x="266" y="300"/>
                  <a:pt x="266" y="298"/>
                  <a:pt x="267" y="298"/>
                </a:cubicBezTo>
                <a:cubicBezTo>
                  <a:pt x="268" y="298"/>
                  <a:pt x="268" y="298"/>
                  <a:pt x="269" y="298"/>
                </a:cubicBezTo>
                <a:cubicBezTo>
                  <a:pt x="269" y="298"/>
                  <a:pt x="269" y="298"/>
                  <a:pt x="269" y="298"/>
                </a:cubicBezTo>
                <a:cubicBezTo>
                  <a:pt x="270" y="298"/>
                  <a:pt x="271" y="298"/>
                  <a:pt x="271" y="299"/>
                </a:cubicBezTo>
                <a:cubicBezTo>
                  <a:pt x="271" y="299"/>
                  <a:pt x="271" y="299"/>
                  <a:pt x="271" y="299"/>
                </a:cubicBezTo>
                <a:cubicBezTo>
                  <a:pt x="272" y="300"/>
                  <a:pt x="273" y="300"/>
                  <a:pt x="273" y="301"/>
                </a:cubicBezTo>
                <a:cubicBezTo>
                  <a:pt x="273" y="301"/>
                  <a:pt x="273" y="301"/>
                  <a:pt x="273" y="301"/>
                </a:cubicBezTo>
                <a:cubicBezTo>
                  <a:pt x="273" y="301"/>
                  <a:pt x="274" y="302"/>
                  <a:pt x="274" y="303"/>
                </a:cubicBezTo>
                <a:cubicBezTo>
                  <a:pt x="275" y="303"/>
                  <a:pt x="274" y="307"/>
                  <a:pt x="276" y="308"/>
                </a:cubicBezTo>
                <a:cubicBezTo>
                  <a:pt x="276" y="309"/>
                  <a:pt x="276" y="309"/>
                  <a:pt x="276" y="310"/>
                </a:cubicBezTo>
                <a:cubicBezTo>
                  <a:pt x="276" y="310"/>
                  <a:pt x="276" y="310"/>
                  <a:pt x="276" y="310"/>
                </a:cubicBezTo>
                <a:cubicBezTo>
                  <a:pt x="276" y="310"/>
                  <a:pt x="275" y="310"/>
                  <a:pt x="275" y="310"/>
                </a:cubicBezTo>
                <a:cubicBezTo>
                  <a:pt x="275" y="311"/>
                  <a:pt x="275" y="312"/>
                  <a:pt x="275" y="313"/>
                </a:cubicBezTo>
                <a:cubicBezTo>
                  <a:pt x="275" y="314"/>
                  <a:pt x="273" y="314"/>
                  <a:pt x="274" y="316"/>
                </a:cubicBezTo>
                <a:cubicBezTo>
                  <a:pt x="274" y="316"/>
                  <a:pt x="274" y="318"/>
                  <a:pt x="275" y="318"/>
                </a:cubicBezTo>
                <a:cubicBezTo>
                  <a:pt x="276" y="318"/>
                  <a:pt x="277" y="319"/>
                  <a:pt x="278" y="320"/>
                </a:cubicBezTo>
                <a:cubicBezTo>
                  <a:pt x="279" y="320"/>
                  <a:pt x="280" y="320"/>
                  <a:pt x="280" y="320"/>
                </a:cubicBezTo>
                <a:cubicBezTo>
                  <a:pt x="281" y="320"/>
                  <a:pt x="281" y="320"/>
                  <a:pt x="281" y="320"/>
                </a:cubicBezTo>
                <a:cubicBezTo>
                  <a:pt x="283" y="320"/>
                  <a:pt x="283" y="321"/>
                  <a:pt x="284" y="322"/>
                </a:cubicBezTo>
                <a:cubicBezTo>
                  <a:pt x="284" y="322"/>
                  <a:pt x="284" y="322"/>
                  <a:pt x="285" y="323"/>
                </a:cubicBezTo>
                <a:cubicBezTo>
                  <a:pt x="286" y="323"/>
                  <a:pt x="287" y="324"/>
                  <a:pt x="287" y="326"/>
                </a:cubicBezTo>
                <a:cubicBezTo>
                  <a:pt x="288" y="326"/>
                  <a:pt x="288" y="326"/>
                  <a:pt x="288" y="326"/>
                </a:cubicBezTo>
                <a:cubicBezTo>
                  <a:pt x="288" y="329"/>
                  <a:pt x="292" y="327"/>
                  <a:pt x="291" y="329"/>
                </a:cubicBezTo>
                <a:cubicBezTo>
                  <a:pt x="291" y="329"/>
                  <a:pt x="292" y="328"/>
                  <a:pt x="292" y="328"/>
                </a:cubicBezTo>
                <a:cubicBezTo>
                  <a:pt x="292" y="328"/>
                  <a:pt x="292" y="328"/>
                  <a:pt x="292" y="328"/>
                </a:cubicBezTo>
                <a:cubicBezTo>
                  <a:pt x="292" y="326"/>
                  <a:pt x="294" y="327"/>
                  <a:pt x="295" y="325"/>
                </a:cubicBezTo>
                <a:cubicBezTo>
                  <a:pt x="295" y="325"/>
                  <a:pt x="295" y="325"/>
                  <a:pt x="295" y="325"/>
                </a:cubicBezTo>
                <a:cubicBezTo>
                  <a:pt x="296" y="325"/>
                  <a:pt x="296" y="324"/>
                  <a:pt x="297" y="324"/>
                </a:cubicBezTo>
                <a:cubicBezTo>
                  <a:pt x="298" y="324"/>
                  <a:pt x="298" y="324"/>
                  <a:pt x="298" y="324"/>
                </a:cubicBezTo>
                <a:cubicBezTo>
                  <a:pt x="298" y="324"/>
                  <a:pt x="298" y="324"/>
                  <a:pt x="298" y="324"/>
                </a:cubicBezTo>
                <a:cubicBezTo>
                  <a:pt x="300" y="324"/>
                  <a:pt x="299" y="326"/>
                  <a:pt x="301" y="326"/>
                </a:cubicBezTo>
                <a:cubicBezTo>
                  <a:pt x="300" y="328"/>
                  <a:pt x="303" y="327"/>
                  <a:pt x="303" y="329"/>
                </a:cubicBezTo>
                <a:cubicBezTo>
                  <a:pt x="303" y="329"/>
                  <a:pt x="304" y="329"/>
                  <a:pt x="303" y="330"/>
                </a:cubicBezTo>
                <a:cubicBezTo>
                  <a:pt x="303" y="330"/>
                  <a:pt x="304" y="330"/>
                  <a:pt x="304" y="331"/>
                </a:cubicBezTo>
                <a:cubicBezTo>
                  <a:pt x="304" y="331"/>
                  <a:pt x="304" y="332"/>
                  <a:pt x="305" y="332"/>
                </a:cubicBezTo>
                <a:cubicBezTo>
                  <a:pt x="305" y="333"/>
                  <a:pt x="305" y="334"/>
                  <a:pt x="305" y="335"/>
                </a:cubicBezTo>
                <a:cubicBezTo>
                  <a:pt x="306" y="336"/>
                  <a:pt x="306" y="339"/>
                  <a:pt x="307" y="341"/>
                </a:cubicBezTo>
                <a:cubicBezTo>
                  <a:pt x="307" y="341"/>
                  <a:pt x="308" y="341"/>
                  <a:pt x="308" y="342"/>
                </a:cubicBezTo>
                <a:cubicBezTo>
                  <a:pt x="308" y="342"/>
                  <a:pt x="309" y="344"/>
                  <a:pt x="308" y="345"/>
                </a:cubicBezTo>
                <a:cubicBezTo>
                  <a:pt x="309" y="347"/>
                  <a:pt x="310" y="349"/>
                  <a:pt x="312" y="349"/>
                </a:cubicBezTo>
                <a:cubicBezTo>
                  <a:pt x="312" y="349"/>
                  <a:pt x="312" y="349"/>
                  <a:pt x="312" y="350"/>
                </a:cubicBezTo>
                <a:cubicBezTo>
                  <a:pt x="311" y="351"/>
                  <a:pt x="313" y="351"/>
                  <a:pt x="314" y="353"/>
                </a:cubicBezTo>
                <a:cubicBezTo>
                  <a:pt x="314" y="353"/>
                  <a:pt x="314" y="353"/>
                  <a:pt x="314" y="353"/>
                </a:cubicBezTo>
                <a:cubicBezTo>
                  <a:pt x="314" y="353"/>
                  <a:pt x="314" y="354"/>
                  <a:pt x="315" y="354"/>
                </a:cubicBezTo>
                <a:cubicBezTo>
                  <a:pt x="315" y="355"/>
                  <a:pt x="314" y="355"/>
                  <a:pt x="315" y="356"/>
                </a:cubicBezTo>
                <a:cubicBezTo>
                  <a:pt x="315" y="357"/>
                  <a:pt x="315" y="358"/>
                  <a:pt x="315" y="360"/>
                </a:cubicBezTo>
                <a:cubicBezTo>
                  <a:pt x="316" y="361"/>
                  <a:pt x="315" y="362"/>
                  <a:pt x="316" y="363"/>
                </a:cubicBezTo>
                <a:cubicBezTo>
                  <a:pt x="316" y="364"/>
                  <a:pt x="317" y="363"/>
                  <a:pt x="317" y="364"/>
                </a:cubicBezTo>
                <a:cubicBezTo>
                  <a:pt x="317" y="365"/>
                  <a:pt x="316" y="366"/>
                  <a:pt x="317" y="367"/>
                </a:cubicBezTo>
                <a:cubicBezTo>
                  <a:pt x="317" y="368"/>
                  <a:pt x="317" y="368"/>
                  <a:pt x="317" y="369"/>
                </a:cubicBezTo>
                <a:cubicBezTo>
                  <a:pt x="317" y="369"/>
                  <a:pt x="317" y="369"/>
                  <a:pt x="317" y="369"/>
                </a:cubicBezTo>
                <a:cubicBezTo>
                  <a:pt x="317" y="370"/>
                  <a:pt x="318" y="371"/>
                  <a:pt x="319" y="372"/>
                </a:cubicBezTo>
                <a:cubicBezTo>
                  <a:pt x="319" y="372"/>
                  <a:pt x="319" y="372"/>
                  <a:pt x="319" y="372"/>
                </a:cubicBezTo>
                <a:cubicBezTo>
                  <a:pt x="319" y="372"/>
                  <a:pt x="319" y="373"/>
                  <a:pt x="319" y="373"/>
                </a:cubicBezTo>
                <a:cubicBezTo>
                  <a:pt x="320" y="373"/>
                  <a:pt x="320" y="373"/>
                  <a:pt x="320" y="374"/>
                </a:cubicBezTo>
                <a:cubicBezTo>
                  <a:pt x="320" y="375"/>
                  <a:pt x="322" y="375"/>
                  <a:pt x="322" y="377"/>
                </a:cubicBezTo>
                <a:cubicBezTo>
                  <a:pt x="322" y="378"/>
                  <a:pt x="322" y="379"/>
                  <a:pt x="322" y="381"/>
                </a:cubicBezTo>
                <a:cubicBezTo>
                  <a:pt x="321" y="381"/>
                  <a:pt x="321" y="382"/>
                  <a:pt x="320" y="383"/>
                </a:cubicBezTo>
                <a:cubicBezTo>
                  <a:pt x="319" y="383"/>
                  <a:pt x="317" y="383"/>
                  <a:pt x="315" y="383"/>
                </a:cubicBezTo>
                <a:cubicBezTo>
                  <a:pt x="314" y="383"/>
                  <a:pt x="313" y="384"/>
                  <a:pt x="313" y="384"/>
                </a:cubicBezTo>
                <a:cubicBezTo>
                  <a:pt x="312" y="384"/>
                  <a:pt x="312" y="384"/>
                  <a:pt x="312" y="384"/>
                </a:cubicBezTo>
                <a:cubicBezTo>
                  <a:pt x="312" y="385"/>
                  <a:pt x="309" y="385"/>
                  <a:pt x="310" y="387"/>
                </a:cubicBezTo>
                <a:cubicBezTo>
                  <a:pt x="310" y="387"/>
                  <a:pt x="309" y="387"/>
                  <a:pt x="309" y="387"/>
                </a:cubicBezTo>
                <a:cubicBezTo>
                  <a:pt x="309" y="387"/>
                  <a:pt x="309" y="387"/>
                  <a:pt x="309" y="388"/>
                </a:cubicBezTo>
                <a:cubicBezTo>
                  <a:pt x="309" y="390"/>
                  <a:pt x="312" y="390"/>
                  <a:pt x="313" y="393"/>
                </a:cubicBezTo>
                <a:cubicBezTo>
                  <a:pt x="313" y="395"/>
                  <a:pt x="312" y="395"/>
                  <a:pt x="311" y="397"/>
                </a:cubicBezTo>
                <a:cubicBezTo>
                  <a:pt x="311" y="397"/>
                  <a:pt x="311" y="397"/>
                  <a:pt x="311" y="397"/>
                </a:cubicBezTo>
                <a:cubicBezTo>
                  <a:pt x="310" y="398"/>
                  <a:pt x="311" y="399"/>
                  <a:pt x="310" y="400"/>
                </a:cubicBezTo>
                <a:cubicBezTo>
                  <a:pt x="310" y="400"/>
                  <a:pt x="310" y="400"/>
                  <a:pt x="310" y="401"/>
                </a:cubicBezTo>
                <a:cubicBezTo>
                  <a:pt x="310" y="401"/>
                  <a:pt x="310" y="401"/>
                  <a:pt x="310" y="401"/>
                </a:cubicBezTo>
                <a:cubicBezTo>
                  <a:pt x="310" y="401"/>
                  <a:pt x="309" y="401"/>
                  <a:pt x="309" y="401"/>
                </a:cubicBezTo>
                <a:cubicBezTo>
                  <a:pt x="309" y="402"/>
                  <a:pt x="309" y="402"/>
                  <a:pt x="309" y="402"/>
                </a:cubicBezTo>
                <a:cubicBezTo>
                  <a:pt x="309" y="403"/>
                  <a:pt x="309" y="404"/>
                  <a:pt x="307" y="404"/>
                </a:cubicBezTo>
                <a:cubicBezTo>
                  <a:pt x="307" y="404"/>
                  <a:pt x="307" y="404"/>
                  <a:pt x="307" y="404"/>
                </a:cubicBezTo>
                <a:cubicBezTo>
                  <a:pt x="306" y="405"/>
                  <a:pt x="306" y="405"/>
                  <a:pt x="306" y="405"/>
                </a:cubicBezTo>
                <a:cubicBezTo>
                  <a:pt x="305" y="406"/>
                  <a:pt x="304" y="406"/>
                  <a:pt x="303" y="408"/>
                </a:cubicBezTo>
                <a:cubicBezTo>
                  <a:pt x="303" y="408"/>
                  <a:pt x="303" y="409"/>
                  <a:pt x="303" y="409"/>
                </a:cubicBezTo>
                <a:cubicBezTo>
                  <a:pt x="303" y="409"/>
                  <a:pt x="303" y="410"/>
                  <a:pt x="303" y="410"/>
                </a:cubicBezTo>
                <a:cubicBezTo>
                  <a:pt x="303" y="412"/>
                  <a:pt x="303" y="413"/>
                  <a:pt x="303" y="415"/>
                </a:cubicBezTo>
                <a:cubicBezTo>
                  <a:pt x="303" y="416"/>
                  <a:pt x="303" y="417"/>
                  <a:pt x="303" y="417"/>
                </a:cubicBezTo>
                <a:cubicBezTo>
                  <a:pt x="303" y="417"/>
                  <a:pt x="303" y="417"/>
                  <a:pt x="303" y="418"/>
                </a:cubicBezTo>
                <a:cubicBezTo>
                  <a:pt x="303" y="419"/>
                  <a:pt x="304" y="420"/>
                  <a:pt x="305" y="421"/>
                </a:cubicBezTo>
                <a:cubicBezTo>
                  <a:pt x="305" y="421"/>
                  <a:pt x="305" y="421"/>
                  <a:pt x="305" y="421"/>
                </a:cubicBezTo>
                <a:cubicBezTo>
                  <a:pt x="306" y="421"/>
                  <a:pt x="306" y="421"/>
                  <a:pt x="307" y="421"/>
                </a:cubicBezTo>
                <a:cubicBezTo>
                  <a:pt x="307" y="421"/>
                  <a:pt x="307" y="421"/>
                  <a:pt x="307" y="421"/>
                </a:cubicBezTo>
                <a:cubicBezTo>
                  <a:pt x="307" y="421"/>
                  <a:pt x="308" y="421"/>
                  <a:pt x="308" y="422"/>
                </a:cubicBezTo>
                <a:cubicBezTo>
                  <a:pt x="310" y="422"/>
                  <a:pt x="313" y="422"/>
                  <a:pt x="316" y="422"/>
                </a:cubicBezTo>
                <a:cubicBezTo>
                  <a:pt x="317" y="421"/>
                  <a:pt x="318" y="421"/>
                  <a:pt x="319" y="420"/>
                </a:cubicBezTo>
                <a:cubicBezTo>
                  <a:pt x="321" y="421"/>
                  <a:pt x="320" y="419"/>
                  <a:pt x="322" y="419"/>
                </a:cubicBezTo>
                <a:cubicBezTo>
                  <a:pt x="322" y="416"/>
                  <a:pt x="323" y="413"/>
                  <a:pt x="323" y="409"/>
                </a:cubicBezTo>
                <a:cubicBezTo>
                  <a:pt x="323" y="409"/>
                  <a:pt x="324" y="409"/>
                  <a:pt x="324" y="408"/>
                </a:cubicBezTo>
                <a:cubicBezTo>
                  <a:pt x="324" y="408"/>
                  <a:pt x="324" y="408"/>
                  <a:pt x="324" y="408"/>
                </a:cubicBezTo>
                <a:cubicBezTo>
                  <a:pt x="325" y="407"/>
                  <a:pt x="327" y="407"/>
                  <a:pt x="327" y="406"/>
                </a:cubicBezTo>
                <a:cubicBezTo>
                  <a:pt x="327" y="406"/>
                  <a:pt x="327" y="406"/>
                  <a:pt x="327" y="406"/>
                </a:cubicBezTo>
                <a:cubicBezTo>
                  <a:pt x="327" y="406"/>
                  <a:pt x="327" y="405"/>
                  <a:pt x="327" y="405"/>
                </a:cubicBezTo>
                <a:cubicBezTo>
                  <a:pt x="328" y="405"/>
                  <a:pt x="329" y="404"/>
                  <a:pt x="330" y="404"/>
                </a:cubicBezTo>
                <a:cubicBezTo>
                  <a:pt x="330" y="404"/>
                  <a:pt x="331" y="404"/>
                  <a:pt x="331" y="404"/>
                </a:cubicBezTo>
                <a:cubicBezTo>
                  <a:pt x="331" y="404"/>
                  <a:pt x="331" y="404"/>
                  <a:pt x="331" y="404"/>
                </a:cubicBezTo>
                <a:cubicBezTo>
                  <a:pt x="332" y="404"/>
                  <a:pt x="333" y="402"/>
                  <a:pt x="334" y="402"/>
                </a:cubicBezTo>
                <a:cubicBezTo>
                  <a:pt x="334" y="402"/>
                  <a:pt x="334" y="402"/>
                  <a:pt x="334" y="401"/>
                </a:cubicBezTo>
                <a:cubicBezTo>
                  <a:pt x="334" y="401"/>
                  <a:pt x="334" y="401"/>
                  <a:pt x="334" y="401"/>
                </a:cubicBezTo>
                <a:cubicBezTo>
                  <a:pt x="334" y="401"/>
                  <a:pt x="334" y="401"/>
                  <a:pt x="334" y="401"/>
                </a:cubicBezTo>
                <a:cubicBezTo>
                  <a:pt x="336" y="401"/>
                  <a:pt x="336" y="399"/>
                  <a:pt x="337" y="399"/>
                </a:cubicBezTo>
                <a:cubicBezTo>
                  <a:pt x="337" y="399"/>
                  <a:pt x="337" y="399"/>
                  <a:pt x="337" y="399"/>
                </a:cubicBezTo>
                <a:cubicBezTo>
                  <a:pt x="337" y="398"/>
                  <a:pt x="337" y="397"/>
                  <a:pt x="338" y="397"/>
                </a:cubicBezTo>
                <a:cubicBezTo>
                  <a:pt x="339" y="393"/>
                  <a:pt x="337" y="392"/>
                  <a:pt x="338" y="388"/>
                </a:cubicBezTo>
                <a:cubicBezTo>
                  <a:pt x="337" y="388"/>
                  <a:pt x="337" y="388"/>
                  <a:pt x="337" y="388"/>
                </a:cubicBezTo>
                <a:cubicBezTo>
                  <a:pt x="335" y="384"/>
                  <a:pt x="337" y="380"/>
                  <a:pt x="340" y="379"/>
                </a:cubicBezTo>
                <a:cubicBezTo>
                  <a:pt x="339" y="378"/>
                  <a:pt x="342" y="379"/>
                  <a:pt x="342" y="377"/>
                </a:cubicBezTo>
                <a:cubicBezTo>
                  <a:pt x="343" y="377"/>
                  <a:pt x="343" y="376"/>
                  <a:pt x="344" y="375"/>
                </a:cubicBezTo>
                <a:cubicBezTo>
                  <a:pt x="346" y="376"/>
                  <a:pt x="347" y="374"/>
                  <a:pt x="349" y="374"/>
                </a:cubicBezTo>
                <a:cubicBezTo>
                  <a:pt x="351" y="374"/>
                  <a:pt x="353" y="375"/>
                  <a:pt x="355" y="375"/>
                </a:cubicBezTo>
                <a:cubicBezTo>
                  <a:pt x="355" y="375"/>
                  <a:pt x="355" y="374"/>
                  <a:pt x="356" y="374"/>
                </a:cubicBezTo>
                <a:cubicBezTo>
                  <a:pt x="356" y="374"/>
                  <a:pt x="356" y="373"/>
                  <a:pt x="357" y="373"/>
                </a:cubicBezTo>
                <a:cubicBezTo>
                  <a:pt x="358" y="371"/>
                  <a:pt x="359" y="370"/>
                  <a:pt x="359" y="368"/>
                </a:cubicBezTo>
                <a:cubicBezTo>
                  <a:pt x="359" y="368"/>
                  <a:pt x="358" y="368"/>
                  <a:pt x="359" y="367"/>
                </a:cubicBezTo>
                <a:cubicBezTo>
                  <a:pt x="358" y="367"/>
                  <a:pt x="357" y="367"/>
                  <a:pt x="356" y="366"/>
                </a:cubicBezTo>
                <a:cubicBezTo>
                  <a:pt x="356" y="364"/>
                  <a:pt x="356" y="363"/>
                  <a:pt x="356" y="361"/>
                </a:cubicBezTo>
                <a:cubicBezTo>
                  <a:pt x="357" y="359"/>
                  <a:pt x="354" y="359"/>
                  <a:pt x="354" y="357"/>
                </a:cubicBezTo>
                <a:cubicBezTo>
                  <a:pt x="355" y="357"/>
                  <a:pt x="355" y="356"/>
                  <a:pt x="355" y="355"/>
                </a:cubicBezTo>
                <a:cubicBezTo>
                  <a:pt x="355" y="354"/>
                  <a:pt x="355" y="354"/>
                  <a:pt x="356" y="354"/>
                </a:cubicBezTo>
                <a:cubicBezTo>
                  <a:pt x="356" y="353"/>
                  <a:pt x="357" y="353"/>
                  <a:pt x="357" y="352"/>
                </a:cubicBezTo>
                <a:cubicBezTo>
                  <a:pt x="357" y="351"/>
                  <a:pt x="356" y="352"/>
                  <a:pt x="356" y="351"/>
                </a:cubicBezTo>
                <a:cubicBezTo>
                  <a:pt x="355" y="351"/>
                  <a:pt x="355" y="351"/>
                  <a:pt x="354" y="351"/>
                </a:cubicBezTo>
                <a:cubicBezTo>
                  <a:pt x="354" y="349"/>
                  <a:pt x="352" y="349"/>
                  <a:pt x="352" y="347"/>
                </a:cubicBezTo>
                <a:cubicBezTo>
                  <a:pt x="350" y="348"/>
                  <a:pt x="348" y="347"/>
                  <a:pt x="347" y="347"/>
                </a:cubicBezTo>
                <a:cubicBezTo>
                  <a:pt x="346" y="346"/>
                  <a:pt x="345" y="345"/>
                  <a:pt x="345" y="344"/>
                </a:cubicBezTo>
                <a:cubicBezTo>
                  <a:pt x="345" y="344"/>
                  <a:pt x="345" y="344"/>
                  <a:pt x="345" y="343"/>
                </a:cubicBezTo>
                <a:cubicBezTo>
                  <a:pt x="344" y="343"/>
                  <a:pt x="344" y="343"/>
                  <a:pt x="344" y="343"/>
                </a:cubicBezTo>
                <a:cubicBezTo>
                  <a:pt x="343" y="342"/>
                  <a:pt x="342" y="341"/>
                  <a:pt x="341" y="342"/>
                </a:cubicBezTo>
                <a:cubicBezTo>
                  <a:pt x="341" y="342"/>
                  <a:pt x="341" y="342"/>
                  <a:pt x="340" y="342"/>
                </a:cubicBezTo>
                <a:cubicBezTo>
                  <a:pt x="338" y="342"/>
                  <a:pt x="337" y="343"/>
                  <a:pt x="334" y="342"/>
                </a:cubicBezTo>
                <a:cubicBezTo>
                  <a:pt x="334" y="341"/>
                  <a:pt x="334" y="340"/>
                  <a:pt x="333" y="340"/>
                </a:cubicBezTo>
                <a:cubicBezTo>
                  <a:pt x="334" y="337"/>
                  <a:pt x="331" y="338"/>
                  <a:pt x="331" y="335"/>
                </a:cubicBezTo>
                <a:cubicBezTo>
                  <a:pt x="333" y="335"/>
                  <a:pt x="332" y="332"/>
                  <a:pt x="334" y="332"/>
                </a:cubicBezTo>
                <a:cubicBezTo>
                  <a:pt x="334" y="331"/>
                  <a:pt x="335" y="330"/>
                  <a:pt x="336" y="330"/>
                </a:cubicBezTo>
                <a:cubicBezTo>
                  <a:pt x="335" y="329"/>
                  <a:pt x="336" y="329"/>
                  <a:pt x="336" y="328"/>
                </a:cubicBezTo>
                <a:cubicBezTo>
                  <a:pt x="336" y="325"/>
                  <a:pt x="334" y="324"/>
                  <a:pt x="335" y="320"/>
                </a:cubicBezTo>
                <a:cubicBezTo>
                  <a:pt x="335" y="320"/>
                  <a:pt x="335" y="320"/>
                  <a:pt x="335" y="320"/>
                </a:cubicBezTo>
                <a:cubicBezTo>
                  <a:pt x="335" y="320"/>
                  <a:pt x="335" y="320"/>
                  <a:pt x="336" y="320"/>
                </a:cubicBezTo>
                <a:cubicBezTo>
                  <a:pt x="336" y="319"/>
                  <a:pt x="337" y="319"/>
                  <a:pt x="338" y="318"/>
                </a:cubicBezTo>
                <a:cubicBezTo>
                  <a:pt x="338" y="318"/>
                  <a:pt x="338" y="318"/>
                  <a:pt x="338" y="317"/>
                </a:cubicBezTo>
                <a:cubicBezTo>
                  <a:pt x="338" y="316"/>
                  <a:pt x="339" y="315"/>
                  <a:pt x="339" y="315"/>
                </a:cubicBezTo>
                <a:cubicBezTo>
                  <a:pt x="339" y="315"/>
                  <a:pt x="340" y="315"/>
                  <a:pt x="340" y="315"/>
                </a:cubicBezTo>
                <a:cubicBezTo>
                  <a:pt x="340" y="313"/>
                  <a:pt x="341" y="314"/>
                  <a:pt x="342" y="312"/>
                </a:cubicBezTo>
                <a:cubicBezTo>
                  <a:pt x="342" y="312"/>
                  <a:pt x="342" y="312"/>
                  <a:pt x="342" y="312"/>
                </a:cubicBezTo>
                <a:cubicBezTo>
                  <a:pt x="342" y="311"/>
                  <a:pt x="342" y="311"/>
                  <a:pt x="342" y="310"/>
                </a:cubicBezTo>
                <a:cubicBezTo>
                  <a:pt x="342" y="310"/>
                  <a:pt x="342" y="310"/>
                  <a:pt x="342" y="310"/>
                </a:cubicBezTo>
                <a:cubicBezTo>
                  <a:pt x="343" y="308"/>
                  <a:pt x="344" y="307"/>
                  <a:pt x="345" y="305"/>
                </a:cubicBezTo>
                <a:cubicBezTo>
                  <a:pt x="345" y="305"/>
                  <a:pt x="345" y="304"/>
                  <a:pt x="345" y="303"/>
                </a:cubicBezTo>
                <a:cubicBezTo>
                  <a:pt x="346" y="303"/>
                  <a:pt x="346" y="303"/>
                  <a:pt x="346" y="303"/>
                </a:cubicBezTo>
                <a:cubicBezTo>
                  <a:pt x="348" y="302"/>
                  <a:pt x="351" y="302"/>
                  <a:pt x="352" y="301"/>
                </a:cubicBezTo>
                <a:cubicBezTo>
                  <a:pt x="354" y="302"/>
                  <a:pt x="354" y="302"/>
                  <a:pt x="356" y="301"/>
                </a:cubicBezTo>
                <a:cubicBezTo>
                  <a:pt x="357" y="302"/>
                  <a:pt x="356" y="303"/>
                  <a:pt x="356" y="303"/>
                </a:cubicBezTo>
                <a:cubicBezTo>
                  <a:pt x="355" y="303"/>
                  <a:pt x="355" y="303"/>
                  <a:pt x="355" y="303"/>
                </a:cubicBezTo>
                <a:cubicBezTo>
                  <a:pt x="354" y="304"/>
                  <a:pt x="354" y="304"/>
                  <a:pt x="354" y="305"/>
                </a:cubicBezTo>
                <a:cubicBezTo>
                  <a:pt x="354" y="307"/>
                  <a:pt x="356" y="306"/>
                  <a:pt x="358" y="306"/>
                </a:cubicBezTo>
                <a:cubicBezTo>
                  <a:pt x="358" y="307"/>
                  <a:pt x="358" y="307"/>
                  <a:pt x="359" y="307"/>
                </a:cubicBezTo>
                <a:cubicBezTo>
                  <a:pt x="359" y="308"/>
                  <a:pt x="359" y="308"/>
                  <a:pt x="359" y="308"/>
                </a:cubicBezTo>
                <a:cubicBezTo>
                  <a:pt x="359" y="310"/>
                  <a:pt x="363" y="307"/>
                  <a:pt x="362" y="309"/>
                </a:cubicBezTo>
                <a:cubicBezTo>
                  <a:pt x="363" y="309"/>
                  <a:pt x="363" y="309"/>
                  <a:pt x="363" y="309"/>
                </a:cubicBezTo>
                <a:cubicBezTo>
                  <a:pt x="363" y="310"/>
                  <a:pt x="364" y="310"/>
                  <a:pt x="366" y="311"/>
                </a:cubicBezTo>
                <a:cubicBezTo>
                  <a:pt x="366" y="311"/>
                  <a:pt x="366" y="311"/>
                  <a:pt x="366" y="311"/>
                </a:cubicBezTo>
                <a:cubicBezTo>
                  <a:pt x="366" y="311"/>
                  <a:pt x="366" y="311"/>
                  <a:pt x="366" y="311"/>
                </a:cubicBezTo>
                <a:cubicBezTo>
                  <a:pt x="370" y="311"/>
                  <a:pt x="373" y="310"/>
                  <a:pt x="377" y="310"/>
                </a:cubicBezTo>
                <a:cubicBezTo>
                  <a:pt x="377" y="311"/>
                  <a:pt x="378" y="311"/>
                  <a:pt x="379" y="311"/>
                </a:cubicBezTo>
                <a:cubicBezTo>
                  <a:pt x="379" y="312"/>
                  <a:pt x="379" y="312"/>
                  <a:pt x="379" y="312"/>
                </a:cubicBezTo>
                <a:cubicBezTo>
                  <a:pt x="379" y="313"/>
                  <a:pt x="379" y="314"/>
                  <a:pt x="380" y="314"/>
                </a:cubicBezTo>
                <a:cubicBezTo>
                  <a:pt x="380" y="315"/>
                  <a:pt x="381" y="315"/>
                  <a:pt x="381" y="316"/>
                </a:cubicBezTo>
                <a:cubicBezTo>
                  <a:pt x="382" y="316"/>
                  <a:pt x="382" y="317"/>
                  <a:pt x="383" y="317"/>
                </a:cubicBezTo>
                <a:cubicBezTo>
                  <a:pt x="383" y="319"/>
                  <a:pt x="383" y="321"/>
                  <a:pt x="383" y="322"/>
                </a:cubicBezTo>
                <a:cubicBezTo>
                  <a:pt x="383" y="322"/>
                  <a:pt x="383" y="322"/>
                  <a:pt x="383" y="322"/>
                </a:cubicBezTo>
                <a:cubicBezTo>
                  <a:pt x="383" y="323"/>
                  <a:pt x="384" y="324"/>
                  <a:pt x="385" y="326"/>
                </a:cubicBezTo>
                <a:cubicBezTo>
                  <a:pt x="385" y="326"/>
                  <a:pt x="385" y="326"/>
                  <a:pt x="385" y="326"/>
                </a:cubicBezTo>
                <a:cubicBezTo>
                  <a:pt x="385" y="326"/>
                  <a:pt x="385" y="326"/>
                  <a:pt x="385" y="326"/>
                </a:cubicBezTo>
                <a:cubicBezTo>
                  <a:pt x="386" y="326"/>
                  <a:pt x="386" y="328"/>
                  <a:pt x="388" y="328"/>
                </a:cubicBezTo>
                <a:cubicBezTo>
                  <a:pt x="388" y="329"/>
                  <a:pt x="389" y="329"/>
                  <a:pt x="389" y="330"/>
                </a:cubicBezTo>
                <a:cubicBezTo>
                  <a:pt x="393" y="330"/>
                  <a:pt x="393" y="330"/>
                  <a:pt x="393" y="330"/>
                </a:cubicBezTo>
                <a:cubicBezTo>
                  <a:pt x="394" y="331"/>
                  <a:pt x="395" y="329"/>
                  <a:pt x="395" y="331"/>
                </a:cubicBezTo>
                <a:cubicBezTo>
                  <a:pt x="395" y="331"/>
                  <a:pt x="395" y="331"/>
                  <a:pt x="396" y="331"/>
                </a:cubicBezTo>
                <a:cubicBezTo>
                  <a:pt x="396" y="331"/>
                  <a:pt x="396" y="331"/>
                  <a:pt x="396" y="331"/>
                </a:cubicBezTo>
                <a:cubicBezTo>
                  <a:pt x="396" y="330"/>
                  <a:pt x="397" y="333"/>
                  <a:pt x="398" y="332"/>
                </a:cubicBezTo>
                <a:cubicBezTo>
                  <a:pt x="398" y="331"/>
                  <a:pt x="399" y="330"/>
                  <a:pt x="399" y="329"/>
                </a:cubicBezTo>
                <a:cubicBezTo>
                  <a:pt x="399" y="329"/>
                  <a:pt x="399" y="329"/>
                  <a:pt x="399" y="329"/>
                </a:cubicBezTo>
                <a:cubicBezTo>
                  <a:pt x="399" y="324"/>
                  <a:pt x="399" y="324"/>
                  <a:pt x="399" y="324"/>
                </a:cubicBezTo>
                <a:cubicBezTo>
                  <a:pt x="399" y="324"/>
                  <a:pt x="399" y="324"/>
                  <a:pt x="399" y="324"/>
                </a:cubicBezTo>
                <a:cubicBezTo>
                  <a:pt x="398" y="323"/>
                  <a:pt x="401" y="322"/>
                  <a:pt x="400" y="321"/>
                </a:cubicBezTo>
                <a:cubicBezTo>
                  <a:pt x="400" y="321"/>
                  <a:pt x="400" y="320"/>
                  <a:pt x="400" y="320"/>
                </a:cubicBezTo>
                <a:cubicBezTo>
                  <a:pt x="400" y="320"/>
                  <a:pt x="400" y="320"/>
                  <a:pt x="400" y="319"/>
                </a:cubicBezTo>
                <a:cubicBezTo>
                  <a:pt x="400" y="319"/>
                  <a:pt x="400" y="319"/>
                  <a:pt x="401" y="319"/>
                </a:cubicBezTo>
                <a:cubicBezTo>
                  <a:pt x="401" y="318"/>
                  <a:pt x="402" y="317"/>
                  <a:pt x="402" y="316"/>
                </a:cubicBezTo>
                <a:cubicBezTo>
                  <a:pt x="402" y="316"/>
                  <a:pt x="402" y="316"/>
                  <a:pt x="402" y="316"/>
                </a:cubicBezTo>
                <a:cubicBezTo>
                  <a:pt x="403" y="314"/>
                  <a:pt x="403" y="314"/>
                  <a:pt x="401" y="314"/>
                </a:cubicBezTo>
                <a:close/>
                <a:moveTo>
                  <a:pt x="290" y="380"/>
                </a:moveTo>
                <a:cubicBezTo>
                  <a:pt x="289" y="380"/>
                  <a:pt x="288" y="380"/>
                  <a:pt x="287" y="381"/>
                </a:cubicBezTo>
                <a:cubicBezTo>
                  <a:pt x="287" y="382"/>
                  <a:pt x="287" y="383"/>
                  <a:pt x="287" y="383"/>
                </a:cubicBezTo>
                <a:cubicBezTo>
                  <a:pt x="290" y="384"/>
                  <a:pt x="290" y="382"/>
                  <a:pt x="290" y="380"/>
                </a:cubicBezTo>
                <a:close/>
                <a:moveTo>
                  <a:pt x="216" y="386"/>
                </a:moveTo>
                <a:cubicBezTo>
                  <a:pt x="215" y="386"/>
                  <a:pt x="215" y="385"/>
                  <a:pt x="214" y="386"/>
                </a:cubicBezTo>
                <a:cubicBezTo>
                  <a:pt x="214" y="387"/>
                  <a:pt x="213" y="387"/>
                  <a:pt x="214" y="388"/>
                </a:cubicBezTo>
                <a:cubicBezTo>
                  <a:pt x="215" y="389"/>
                  <a:pt x="217" y="388"/>
                  <a:pt x="216" y="386"/>
                </a:cubicBezTo>
                <a:close/>
                <a:moveTo>
                  <a:pt x="283" y="388"/>
                </a:moveTo>
                <a:cubicBezTo>
                  <a:pt x="282" y="389"/>
                  <a:pt x="282" y="389"/>
                  <a:pt x="282" y="390"/>
                </a:cubicBezTo>
                <a:cubicBezTo>
                  <a:pt x="284" y="391"/>
                  <a:pt x="285" y="388"/>
                  <a:pt x="283" y="388"/>
                </a:cubicBezTo>
                <a:close/>
                <a:moveTo>
                  <a:pt x="274" y="391"/>
                </a:moveTo>
                <a:cubicBezTo>
                  <a:pt x="274" y="391"/>
                  <a:pt x="274" y="391"/>
                  <a:pt x="274" y="391"/>
                </a:cubicBezTo>
                <a:cubicBezTo>
                  <a:pt x="273" y="391"/>
                  <a:pt x="272" y="392"/>
                  <a:pt x="273" y="394"/>
                </a:cubicBezTo>
                <a:cubicBezTo>
                  <a:pt x="274" y="393"/>
                  <a:pt x="275" y="394"/>
                  <a:pt x="276" y="393"/>
                </a:cubicBezTo>
                <a:cubicBezTo>
                  <a:pt x="276" y="392"/>
                  <a:pt x="276" y="392"/>
                  <a:pt x="276" y="392"/>
                </a:cubicBezTo>
                <a:cubicBezTo>
                  <a:pt x="276" y="392"/>
                  <a:pt x="276" y="391"/>
                  <a:pt x="276" y="391"/>
                </a:cubicBezTo>
                <a:cubicBezTo>
                  <a:pt x="275" y="390"/>
                  <a:pt x="275" y="390"/>
                  <a:pt x="274" y="391"/>
                </a:cubicBezTo>
                <a:close/>
                <a:moveTo>
                  <a:pt x="264" y="392"/>
                </a:moveTo>
                <a:cubicBezTo>
                  <a:pt x="264" y="392"/>
                  <a:pt x="264" y="392"/>
                  <a:pt x="264" y="393"/>
                </a:cubicBezTo>
                <a:cubicBezTo>
                  <a:pt x="265" y="393"/>
                  <a:pt x="267" y="394"/>
                  <a:pt x="266" y="391"/>
                </a:cubicBezTo>
                <a:cubicBezTo>
                  <a:pt x="266" y="391"/>
                  <a:pt x="266" y="391"/>
                  <a:pt x="266" y="391"/>
                </a:cubicBezTo>
                <a:cubicBezTo>
                  <a:pt x="265" y="390"/>
                  <a:pt x="264" y="390"/>
                  <a:pt x="263" y="391"/>
                </a:cubicBezTo>
                <a:cubicBezTo>
                  <a:pt x="263" y="391"/>
                  <a:pt x="263" y="391"/>
                  <a:pt x="263" y="391"/>
                </a:cubicBezTo>
                <a:cubicBezTo>
                  <a:pt x="264" y="391"/>
                  <a:pt x="264" y="391"/>
                  <a:pt x="264" y="391"/>
                </a:cubicBezTo>
                <a:cubicBezTo>
                  <a:pt x="264" y="391"/>
                  <a:pt x="264" y="392"/>
                  <a:pt x="264" y="392"/>
                </a:cubicBezTo>
                <a:close/>
                <a:moveTo>
                  <a:pt x="258" y="394"/>
                </a:moveTo>
                <a:cubicBezTo>
                  <a:pt x="258" y="394"/>
                  <a:pt x="257" y="392"/>
                  <a:pt x="256" y="393"/>
                </a:cubicBezTo>
                <a:cubicBezTo>
                  <a:pt x="256" y="393"/>
                  <a:pt x="256" y="393"/>
                  <a:pt x="256" y="394"/>
                </a:cubicBezTo>
                <a:cubicBezTo>
                  <a:pt x="256" y="395"/>
                  <a:pt x="256" y="395"/>
                  <a:pt x="258" y="395"/>
                </a:cubicBezTo>
                <a:cubicBezTo>
                  <a:pt x="257" y="395"/>
                  <a:pt x="259" y="395"/>
                  <a:pt x="258" y="394"/>
                </a:cubicBezTo>
                <a:close/>
                <a:moveTo>
                  <a:pt x="280" y="394"/>
                </a:moveTo>
                <a:cubicBezTo>
                  <a:pt x="279" y="394"/>
                  <a:pt x="278" y="393"/>
                  <a:pt x="277" y="393"/>
                </a:cubicBezTo>
                <a:cubicBezTo>
                  <a:pt x="277" y="394"/>
                  <a:pt x="276" y="395"/>
                  <a:pt x="276" y="396"/>
                </a:cubicBezTo>
                <a:cubicBezTo>
                  <a:pt x="277" y="397"/>
                  <a:pt x="277" y="397"/>
                  <a:pt x="278" y="398"/>
                </a:cubicBezTo>
                <a:cubicBezTo>
                  <a:pt x="278" y="399"/>
                  <a:pt x="278" y="401"/>
                  <a:pt x="280" y="400"/>
                </a:cubicBezTo>
                <a:cubicBezTo>
                  <a:pt x="282" y="400"/>
                  <a:pt x="278" y="399"/>
                  <a:pt x="279" y="397"/>
                </a:cubicBezTo>
                <a:cubicBezTo>
                  <a:pt x="280" y="397"/>
                  <a:pt x="280" y="396"/>
                  <a:pt x="280" y="394"/>
                </a:cubicBezTo>
                <a:close/>
                <a:moveTo>
                  <a:pt x="303" y="406"/>
                </a:moveTo>
                <a:cubicBezTo>
                  <a:pt x="304" y="405"/>
                  <a:pt x="305" y="405"/>
                  <a:pt x="305" y="404"/>
                </a:cubicBezTo>
                <a:cubicBezTo>
                  <a:pt x="303" y="404"/>
                  <a:pt x="303" y="403"/>
                  <a:pt x="300" y="403"/>
                </a:cubicBezTo>
                <a:cubicBezTo>
                  <a:pt x="299" y="403"/>
                  <a:pt x="298" y="403"/>
                  <a:pt x="298" y="404"/>
                </a:cubicBezTo>
                <a:cubicBezTo>
                  <a:pt x="297" y="404"/>
                  <a:pt x="297" y="405"/>
                  <a:pt x="296" y="405"/>
                </a:cubicBezTo>
                <a:cubicBezTo>
                  <a:pt x="294" y="406"/>
                  <a:pt x="294" y="407"/>
                  <a:pt x="292" y="407"/>
                </a:cubicBezTo>
                <a:cubicBezTo>
                  <a:pt x="290" y="407"/>
                  <a:pt x="290" y="405"/>
                  <a:pt x="289" y="404"/>
                </a:cubicBezTo>
                <a:cubicBezTo>
                  <a:pt x="289" y="407"/>
                  <a:pt x="288" y="407"/>
                  <a:pt x="287" y="409"/>
                </a:cubicBezTo>
                <a:cubicBezTo>
                  <a:pt x="287" y="410"/>
                  <a:pt x="286" y="411"/>
                  <a:pt x="285" y="411"/>
                </a:cubicBezTo>
                <a:cubicBezTo>
                  <a:pt x="284" y="411"/>
                  <a:pt x="283" y="410"/>
                  <a:pt x="282" y="410"/>
                </a:cubicBezTo>
                <a:cubicBezTo>
                  <a:pt x="282" y="410"/>
                  <a:pt x="282" y="410"/>
                  <a:pt x="282" y="410"/>
                </a:cubicBezTo>
                <a:cubicBezTo>
                  <a:pt x="281" y="410"/>
                  <a:pt x="280" y="408"/>
                  <a:pt x="278" y="409"/>
                </a:cubicBezTo>
                <a:cubicBezTo>
                  <a:pt x="278" y="409"/>
                  <a:pt x="278" y="409"/>
                  <a:pt x="278" y="409"/>
                </a:cubicBezTo>
                <a:cubicBezTo>
                  <a:pt x="278" y="409"/>
                  <a:pt x="278" y="409"/>
                  <a:pt x="278" y="409"/>
                </a:cubicBezTo>
                <a:cubicBezTo>
                  <a:pt x="276" y="408"/>
                  <a:pt x="276" y="410"/>
                  <a:pt x="275" y="410"/>
                </a:cubicBezTo>
                <a:cubicBezTo>
                  <a:pt x="274" y="410"/>
                  <a:pt x="272" y="410"/>
                  <a:pt x="271" y="410"/>
                </a:cubicBezTo>
                <a:cubicBezTo>
                  <a:pt x="271" y="411"/>
                  <a:pt x="271" y="411"/>
                  <a:pt x="270" y="411"/>
                </a:cubicBezTo>
                <a:cubicBezTo>
                  <a:pt x="269" y="411"/>
                  <a:pt x="270" y="414"/>
                  <a:pt x="268" y="413"/>
                </a:cubicBezTo>
                <a:cubicBezTo>
                  <a:pt x="267" y="414"/>
                  <a:pt x="267" y="415"/>
                  <a:pt x="266" y="415"/>
                </a:cubicBezTo>
                <a:cubicBezTo>
                  <a:pt x="264" y="415"/>
                  <a:pt x="263" y="416"/>
                  <a:pt x="261" y="416"/>
                </a:cubicBezTo>
                <a:cubicBezTo>
                  <a:pt x="260" y="416"/>
                  <a:pt x="260" y="416"/>
                  <a:pt x="259" y="416"/>
                </a:cubicBezTo>
                <a:cubicBezTo>
                  <a:pt x="259" y="416"/>
                  <a:pt x="259" y="416"/>
                  <a:pt x="259" y="416"/>
                </a:cubicBezTo>
                <a:cubicBezTo>
                  <a:pt x="258" y="415"/>
                  <a:pt x="256" y="417"/>
                  <a:pt x="255" y="417"/>
                </a:cubicBezTo>
                <a:cubicBezTo>
                  <a:pt x="255" y="417"/>
                  <a:pt x="255" y="417"/>
                  <a:pt x="254" y="417"/>
                </a:cubicBezTo>
                <a:cubicBezTo>
                  <a:pt x="254" y="417"/>
                  <a:pt x="253" y="418"/>
                  <a:pt x="252" y="418"/>
                </a:cubicBezTo>
                <a:cubicBezTo>
                  <a:pt x="252" y="418"/>
                  <a:pt x="252" y="418"/>
                  <a:pt x="252" y="418"/>
                </a:cubicBezTo>
                <a:cubicBezTo>
                  <a:pt x="251" y="417"/>
                  <a:pt x="250" y="415"/>
                  <a:pt x="250" y="417"/>
                </a:cubicBezTo>
                <a:cubicBezTo>
                  <a:pt x="248" y="417"/>
                  <a:pt x="248" y="416"/>
                  <a:pt x="246" y="416"/>
                </a:cubicBezTo>
                <a:cubicBezTo>
                  <a:pt x="245" y="416"/>
                  <a:pt x="245" y="417"/>
                  <a:pt x="245" y="417"/>
                </a:cubicBezTo>
                <a:cubicBezTo>
                  <a:pt x="244" y="417"/>
                  <a:pt x="244" y="417"/>
                  <a:pt x="244" y="417"/>
                </a:cubicBezTo>
                <a:cubicBezTo>
                  <a:pt x="243" y="416"/>
                  <a:pt x="242" y="418"/>
                  <a:pt x="241" y="418"/>
                </a:cubicBezTo>
                <a:cubicBezTo>
                  <a:pt x="241" y="418"/>
                  <a:pt x="241" y="418"/>
                  <a:pt x="241" y="418"/>
                </a:cubicBezTo>
                <a:cubicBezTo>
                  <a:pt x="241" y="418"/>
                  <a:pt x="240" y="418"/>
                  <a:pt x="240" y="418"/>
                </a:cubicBezTo>
                <a:cubicBezTo>
                  <a:pt x="239" y="418"/>
                  <a:pt x="236" y="418"/>
                  <a:pt x="234" y="418"/>
                </a:cubicBezTo>
                <a:cubicBezTo>
                  <a:pt x="234" y="418"/>
                  <a:pt x="233" y="418"/>
                  <a:pt x="233" y="418"/>
                </a:cubicBezTo>
                <a:cubicBezTo>
                  <a:pt x="233" y="418"/>
                  <a:pt x="233" y="418"/>
                  <a:pt x="233" y="418"/>
                </a:cubicBezTo>
                <a:cubicBezTo>
                  <a:pt x="233" y="415"/>
                  <a:pt x="231" y="415"/>
                  <a:pt x="230" y="414"/>
                </a:cubicBezTo>
                <a:cubicBezTo>
                  <a:pt x="230" y="414"/>
                  <a:pt x="230" y="414"/>
                  <a:pt x="230" y="414"/>
                </a:cubicBezTo>
                <a:cubicBezTo>
                  <a:pt x="229" y="414"/>
                  <a:pt x="229" y="413"/>
                  <a:pt x="229" y="413"/>
                </a:cubicBezTo>
                <a:cubicBezTo>
                  <a:pt x="228" y="413"/>
                  <a:pt x="226" y="413"/>
                  <a:pt x="225" y="413"/>
                </a:cubicBezTo>
                <a:cubicBezTo>
                  <a:pt x="223" y="412"/>
                  <a:pt x="223" y="410"/>
                  <a:pt x="221" y="410"/>
                </a:cubicBezTo>
                <a:cubicBezTo>
                  <a:pt x="221" y="410"/>
                  <a:pt x="221" y="410"/>
                  <a:pt x="221" y="410"/>
                </a:cubicBezTo>
                <a:cubicBezTo>
                  <a:pt x="219" y="411"/>
                  <a:pt x="219" y="408"/>
                  <a:pt x="217" y="410"/>
                </a:cubicBezTo>
                <a:cubicBezTo>
                  <a:pt x="217" y="410"/>
                  <a:pt x="217" y="410"/>
                  <a:pt x="217" y="410"/>
                </a:cubicBezTo>
                <a:cubicBezTo>
                  <a:pt x="215" y="410"/>
                  <a:pt x="214" y="410"/>
                  <a:pt x="212" y="410"/>
                </a:cubicBezTo>
                <a:cubicBezTo>
                  <a:pt x="212" y="411"/>
                  <a:pt x="211" y="411"/>
                  <a:pt x="211" y="412"/>
                </a:cubicBezTo>
                <a:cubicBezTo>
                  <a:pt x="211" y="412"/>
                  <a:pt x="211" y="412"/>
                  <a:pt x="210" y="412"/>
                </a:cubicBezTo>
                <a:cubicBezTo>
                  <a:pt x="210" y="413"/>
                  <a:pt x="210" y="415"/>
                  <a:pt x="209" y="415"/>
                </a:cubicBezTo>
                <a:cubicBezTo>
                  <a:pt x="209" y="415"/>
                  <a:pt x="209" y="415"/>
                  <a:pt x="209" y="415"/>
                </a:cubicBezTo>
                <a:cubicBezTo>
                  <a:pt x="208" y="416"/>
                  <a:pt x="207" y="416"/>
                  <a:pt x="206" y="416"/>
                </a:cubicBezTo>
                <a:cubicBezTo>
                  <a:pt x="206" y="417"/>
                  <a:pt x="206" y="417"/>
                  <a:pt x="206" y="417"/>
                </a:cubicBezTo>
                <a:cubicBezTo>
                  <a:pt x="205" y="416"/>
                  <a:pt x="204" y="415"/>
                  <a:pt x="203" y="415"/>
                </a:cubicBezTo>
                <a:cubicBezTo>
                  <a:pt x="203" y="415"/>
                  <a:pt x="203" y="415"/>
                  <a:pt x="203" y="415"/>
                </a:cubicBezTo>
                <a:cubicBezTo>
                  <a:pt x="203" y="415"/>
                  <a:pt x="202" y="414"/>
                  <a:pt x="202" y="414"/>
                </a:cubicBezTo>
                <a:cubicBezTo>
                  <a:pt x="202" y="413"/>
                  <a:pt x="201" y="412"/>
                  <a:pt x="201" y="411"/>
                </a:cubicBezTo>
                <a:cubicBezTo>
                  <a:pt x="201" y="410"/>
                  <a:pt x="201" y="410"/>
                  <a:pt x="200" y="410"/>
                </a:cubicBezTo>
                <a:cubicBezTo>
                  <a:pt x="198" y="410"/>
                  <a:pt x="199" y="412"/>
                  <a:pt x="199" y="413"/>
                </a:cubicBezTo>
                <a:cubicBezTo>
                  <a:pt x="195" y="413"/>
                  <a:pt x="196" y="416"/>
                  <a:pt x="193" y="416"/>
                </a:cubicBezTo>
                <a:cubicBezTo>
                  <a:pt x="193" y="417"/>
                  <a:pt x="191" y="418"/>
                  <a:pt x="190" y="419"/>
                </a:cubicBezTo>
                <a:cubicBezTo>
                  <a:pt x="191" y="422"/>
                  <a:pt x="188" y="421"/>
                  <a:pt x="188" y="424"/>
                </a:cubicBezTo>
                <a:cubicBezTo>
                  <a:pt x="189" y="426"/>
                  <a:pt x="189" y="429"/>
                  <a:pt x="189" y="433"/>
                </a:cubicBezTo>
                <a:cubicBezTo>
                  <a:pt x="190" y="433"/>
                  <a:pt x="189" y="436"/>
                  <a:pt x="191" y="435"/>
                </a:cubicBezTo>
                <a:cubicBezTo>
                  <a:pt x="191" y="437"/>
                  <a:pt x="193" y="436"/>
                  <a:pt x="193" y="437"/>
                </a:cubicBezTo>
                <a:cubicBezTo>
                  <a:pt x="195" y="438"/>
                  <a:pt x="195" y="440"/>
                  <a:pt x="198" y="440"/>
                </a:cubicBezTo>
                <a:cubicBezTo>
                  <a:pt x="199" y="439"/>
                  <a:pt x="202" y="439"/>
                  <a:pt x="205" y="439"/>
                </a:cubicBezTo>
                <a:cubicBezTo>
                  <a:pt x="205" y="440"/>
                  <a:pt x="206" y="440"/>
                  <a:pt x="207" y="441"/>
                </a:cubicBezTo>
                <a:cubicBezTo>
                  <a:pt x="208" y="441"/>
                  <a:pt x="208" y="442"/>
                  <a:pt x="208" y="442"/>
                </a:cubicBezTo>
                <a:cubicBezTo>
                  <a:pt x="208" y="442"/>
                  <a:pt x="210" y="442"/>
                  <a:pt x="209" y="443"/>
                </a:cubicBezTo>
                <a:cubicBezTo>
                  <a:pt x="212" y="443"/>
                  <a:pt x="214" y="444"/>
                  <a:pt x="216" y="444"/>
                </a:cubicBezTo>
                <a:cubicBezTo>
                  <a:pt x="217" y="447"/>
                  <a:pt x="220" y="448"/>
                  <a:pt x="221" y="450"/>
                </a:cubicBezTo>
                <a:cubicBezTo>
                  <a:pt x="225" y="451"/>
                  <a:pt x="226" y="453"/>
                  <a:pt x="230" y="453"/>
                </a:cubicBezTo>
                <a:cubicBezTo>
                  <a:pt x="230" y="454"/>
                  <a:pt x="230" y="454"/>
                  <a:pt x="231" y="455"/>
                </a:cubicBezTo>
                <a:cubicBezTo>
                  <a:pt x="231" y="456"/>
                  <a:pt x="231" y="457"/>
                  <a:pt x="232" y="457"/>
                </a:cubicBezTo>
                <a:cubicBezTo>
                  <a:pt x="232" y="456"/>
                  <a:pt x="232" y="456"/>
                  <a:pt x="232" y="457"/>
                </a:cubicBezTo>
                <a:cubicBezTo>
                  <a:pt x="233" y="457"/>
                  <a:pt x="233" y="457"/>
                  <a:pt x="234" y="457"/>
                </a:cubicBezTo>
                <a:cubicBezTo>
                  <a:pt x="234" y="458"/>
                  <a:pt x="235" y="458"/>
                  <a:pt x="237" y="458"/>
                </a:cubicBezTo>
                <a:cubicBezTo>
                  <a:pt x="238" y="459"/>
                  <a:pt x="239" y="460"/>
                  <a:pt x="241" y="460"/>
                </a:cubicBezTo>
                <a:cubicBezTo>
                  <a:pt x="244" y="460"/>
                  <a:pt x="247" y="460"/>
                  <a:pt x="249" y="460"/>
                </a:cubicBezTo>
                <a:cubicBezTo>
                  <a:pt x="250" y="461"/>
                  <a:pt x="250" y="461"/>
                  <a:pt x="251" y="461"/>
                </a:cubicBezTo>
                <a:cubicBezTo>
                  <a:pt x="251" y="461"/>
                  <a:pt x="252" y="461"/>
                  <a:pt x="252" y="461"/>
                </a:cubicBezTo>
                <a:cubicBezTo>
                  <a:pt x="253" y="461"/>
                  <a:pt x="253" y="463"/>
                  <a:pt x="255" y="463"/>
                </a:cubicBezTo>
                <a:cubicBezTo>
                  <a:pt x="255" y="463"/>
                  <a:pt x="255" y="463"/>
                  <a:pt x="255" y="463"/>
                </a:cubicBezTo>
                <a:cubicBezTo>
                  <a:pt x="256" y="463"/>
                  <a:pt x="256" y="463"/>
                  <a:pt x="257" y="464"/>
                </a:cubicBezTo>
                <a:cubicBezTo>
                  <a:pt x="257" y="466"/>
                  <a:pt x="259" y="466"/>
                  <a:pt x="260" y="469"/>
                </a:cubicBezTo>
                <a:cubicBezTo>
                  <a:pt x="260" y="469"/>
                  <a:pt x="260" y="469"/>
                  <a:pt x="260" y="469"/>
                </a:cubicBezTo>
                <a:cubicBezTo>
                  <a:pt x="259" y="471"/>
                  <a:pt x="260" y="471"/>
                  <a:pt x="261" y="472"/>
                </a:cubicBezTo>
                <a:cubicBezTo>
                  <a:pt x="261" y="472"/>
                  <a:pt x="261" y="472"/>
                  <a:pt x="261" y="472"/>
                </a:cubicBezTo>
                <a:cubicBezTo>
                  <a:pt x="263" y="472"/>
                  <a:pt x="262" y="475"/>
                  <a:pt x="264" y="474"/>
                </a:cubicBezTo>
                <a:cubicBezTo>
                  <a:pt x="264" y="474"/>
                  <a:pt x="264" y="474"/>
                  <a:pt x="264" y="474"/>
                </a:cubicBezTo>
                <a:cubicBezTo>
                  <a:pt x="266" y="474"/>
                  <a:pt x="267" y="476"/>
                  <a:pt x="269" y="475"/>
                </a:cubicBezTo>
                <a:cubicBezTo>
                  <a:pt x="270" y="476"/>
                  <a:pt x="270" y="478"/>
                  <a:pt x="272" y="478"/>
                </a:cubicBezTo>
                <a:cubicBezTo>
                  <a:pt x="275" y="478"/>
                  <a:pt x="276" y="477"/>
                  <a:pt x="279" y="477"/>
                </a:cubicBezTo>
                <a:cubicBezTo>
                  <a:pt x="280" y="477"/>
                  <a:pt x="281" y="478"/>
                  <a:pt x="282" y="478"/>
                </a:cubicBezTo>
                <a:cubicBezTo>
                  <a:pt x="283" y="478"/>
                  <a:pt x="284" y="479"/>
                  <a:pt x="285" y="480"/>
                </a:cubicBezTo>
                <a:cubicBezTo>
                  <a:pt x="285" y="480"/>
                  <a:pt x="285" y="480"/>
                  <a:pt x="285" y="480"/>
                </a:cubicBezTo>
                <a:cubicBezTo>
                  <a:pt x="285" y="480"/>
                  <a:pt x="285" y="480"/>
                  <a:pt x="285" y="480"/>
                </a:cubicBezTo>
                <a:cubicBezTo>
                  <a:pt x="286" y="479"/>
                  <a:pt x="288" y="480"/>
                  <a:pt x="288" y="478"/>
                </a:cubicBezTo>
                <a:cubicBezTo>
                  <a:pt x="288" y="478"/>
                  <a:pt x="288" y="478"/>
                  <a:pt x="287" y="478"/>
                </a:cubicBezTo>
                <a:cubicBezTo>
                  <a:pt x="287" y="475"/>
                  <a:pt x="286" y="474"/>
                  <a:pt x="287" y="471"/>
                </a:cubicBezTo>
                <a:cubicBezTo>
                  <a:pt x="287" y="470"/>
                  <a:pt x="288" y="469"/>
                  <a:pt x="288" y="467"/>
                </a:cubicBezTo>
                <a:cubicBezTo>
                  <a:pt x="290" y="467"/>
                  <a:pt x="289" y="465"/>
                  <a:pt x="292" y="465"/>
                </a:cubicBezTo>
                <a:cubicBezTo>
                  <a:pt x="293" y="465"/>
                  <a:pt x="292" y="462"/>
                  <a:pt x="294" y="463"/>
                </a:cubicBezTo>
                <a:cubicBezTo>
                  <a:pt x="294" y="461"/>
                  <a:pt x="293" y="461"/>
                  <a:pt x="294" y="459"/>
                </a:cubicBezTo>
                <a:cubicBezTo>
                  <a:pt x="294" y="459"/>
                  <a:pt x="294" y="459"/>
                  <a:pt x="294" y="459"/>
                </a:cubicBezTo>
                <a:cubicBezTo>
                  <a:pt x="295" y="458"/>
                  <a:pt x="292" y="459"/>
                  <a:pt x="293" y="458"/>
                </a:cubicBezTo>
                <a:cubicBezTo>
                  <a:pt x="292" y="458"/>
                  <a:pt x="292" y="458"/>
                  <a:pt x="292" y="458"/>
                </a:cubicBezTo>
                <a:cubicBezTo>
                  <a:pt x="291" y="459"/>
                  <a:pt x="292" y="456"/>
                  <a:pt x="291" y="457"/>
                </a:cubicBezTo>
                <a:cubicBezTo>
                  <a:pt x="291" y="457"/>
                  <a:pt x="291" y="456"/>
                  <a:pt x="291" y="456"/>
                </a:cubicBezTo>
                <a:cubicBezTo>
                  <a:pt x="290" y="456"/>
                  <a:pt x="290" y="456"/>
                  <a:pt x="290" y="456"/>
                </a:cubicBezTo>
                <a:cubicBezTo>
                  <a:pt x="289" y="456"/>
                  <a:pt x="289" y="456"/>
                  <a:pt x="289" y="456"/>
                </a:cubicBezTo>
                <a:cubicBezTo>
                  <a:pt x="289" y="455"/>
                  <a:pt x="288" y="454"/>
                  <a:pt x="289" y="453"/>
                </a:cubicBezTo>
                <a:cubicBezTo>
                  <a:pt x="289" y="453"/>
                  <a:pt x="290" y="453"/>
                  <a:pt x="290" y="453"/>
                </a:cubicBezTo>
                <a:cubicBezTo>
                  <a:pt x="290" y="453"/>
                  <a:pt x="291" y="452"/>
                  <a:pt x="291" y="452"/>
                </a:cubicBezTo>
                <a:cubicBezTo>
                  <a:pt x="289" y="452"/>
                  <a:pt x="289" y="450"/>
                  <a:pt x="288" y="449"/>
                </a:cubicBezTo>
                <a:cubicBezTo>
                  <a:pt x="288" y="448"/>
                  <a:pt x="285" y="449"/>
                  <a:pt x="285" y="447"/>
                </a:cubicBezTo>
                <a:cubicBezTo>
                  <a:pt x="285" y="445"/>
                  <a:pt x="284" y="445"/>
                  <a:pt x="285" y="443"/>
                </a:cubicBezTo>
                <a:cubicBezTo>
                  <a:pt x="285" y="441"/>
                  <a:pt x="285" y="440"/>
                  <a:pt x="287" y="439"/>
                </a:cubicBezTo>
                <a:cubicBezTo>
                  <a:pt x="287" y="435"/>
                  <a:pt x="289" y="432"/>
                  <a:pt x="289" y="428"/>
                </a:cubicBezTo>
                <a:cubicBezTo>
                  <a:pt x="290" y="428"/>
                  <a:pt x="290" y="427"/>
                  <a:pt x="291" y="426"/>
                </a:cubicBezTo>
                <a:cubicBezTo>
                  <a:pt x="291" y="426"/>
                  <a:pt x="292" y="426"/>
                  <a:pt x="292" y="426"/>
                </a:cubicBezTo>
                <a:cubicBezTo>
                  <a:pt x="292" y="426"/>
                  <a:pt x="292" y="425"/>
                  <a:pt x="293" y="425"/>
                </a:cubicBezTo>
                <a:cubicBezTo>
                  <a:pt x="293" y="425"/>
                  <a:pt x="293" y="425"/>
                  <a:pt x="293" y="425"/>
                </a:cubicBezTo>
                <a:cubicBezTo>
                  <a:pt x="295" y="424"/>
                  <a:pt x="293" y="422"/>
                  <a:pt x="294" y="421"/>
                </a:cubicBezTo>
                <a:cubicBezTo>
                  <a:pt x="295" y="421"/>
                  <a:pt x="295" y="421"/>
                  <a:pt x="295" y="421"/>
                </a:cubicBezTo>
                <a:cubicBezTo>
                  <a:pt x="296" y="421"/>
                  <a:pt x="296" y="421"/>
                  <a:pt x="296" y="419"/>
                </a:cubicBezTo>
                <a:cubicBezTo>
                  <a:pt x="296" y="419"/>
                  <a:pt x="296" y="419"/>
                  <a:pt x="296" y="419"/>
                </a:cubicBezTo>
                <a:cubicBezTo>
                  <a:pt x="296" y="419"/>
                  <a:pt x="296" y="419"/>
                  <a:pt x="296" y="419"/>
                </a:cubicBezTo>
                <a:cubicBezTo>
                  <a:pt x="297" y="419"/>
                  <a:pt x="297" y="419"/>
                  <a:pt x="297" y="419"/>
                </a:cubicBezTo>
                <a:cubicBezTo>
                  <a:pt x="297" y="418"/>
                  <a:pt x="297" y="418"/>
                  <a:pt x="297" y="418"/>
                </a:cubicBezTo>
                <a:cubicBezTo>
                  <a:pt x="298" y="418"/>
                  <a:pt x="298" y="417"/>
                  <a:pt x="299" y="417"/>
                </a:cubicBezTo>
                <a:cubicBezTo>
                  <a:pt x="299" y="416"/>
                  <a:pt x="299" y="416"/>
                  <a:pt x="299" y="416"/>
                </a:cubicBezTo>
                <a:cubicBezTo>
                  <a:pt x="299" y="415"/>
                  <a:pt x="301" y="414"/>
                  <a:pt x="301" y="413"/>
                </a:cubicBezTo>
                <a:cubicBezTo>
                  <a:pt x="301" y="412"/>
                  <a:pt x="301" y="412"/>
                  <a:pt x="301" y="412"/>
                </a:cubicBezTo>
                <a:cubicBezTo>
                  <a:pt x="301" y="411"/>
                  <a:pt x="302" y="410"/>
                  <a:pt x="302" y="408"/>
                </a:cubicBezTo>
                <a:cubicBezTo>
                  <a:pt x="303" y="408"/>
                  <a:pt x="303" y="407"/>
                  <a:pt x="303" y="406"/>
                </a:cubicBezTo>
                <a:cubicBezTo>
                  <a:pt x="303" y="406"/>
                  <a:pt x="304" y="406"/>
                  <a:pt x="303" y="406"/>
                </a:cubicBezTo>
                <a:close/>
                <a:moveTo>
                  <a:pt x="186" y="418"/>
                </a:moveTo>
                <a:cubicBezTo>
                  <a:pt x="185" y="418"/>
                  <a:pt x="185" y="418"/>
                  <a:pt x="184" y="418"/>
                </a:cubicBezTo>
                <a:cubicBezTo>
                  <a:pt x="184" y="419"/>
                  <a:pt x="184" y="420"/>
                  <a:pt x="184" y="420"/>
                </a:cubicBezTo>
                <a:cubicBezTo>
                  <a:pt x="184" y="419"/>
                  <a:pt x="186" y="420"/>
                  <a:pt x="186" y="418"/>
                </a:cubicBezTo>
                <a:close/>
                <a:moveTo>
                  <a:pt x="175" y="419"/>
                </a:moveTo>
                <a:cubicBezTo>
                  <a:pt x="174" y="421"/>
                  <a:pt x="176" y="423"/>
                  <a:pt x="178" y="422"/>
                </a:cubicBezTo>
                <a:cubicBezTo>
                  <a:pt x="178" y="420"/>
                  <a:pt x="177" y="419"/>
                  <a:pt x="175" y="419"/>
                </a:cubicBezTo>
                <a:close/>
                <a:moveTo>
                  <a:pt x="182" y="420"/>
                </a:moveTo>
                <a:cubicBezTo>
                  <a:pt x="181" y="423"/>
                  <a:pt x="184" y="422"/>
                  <a:pt x="184" y="424"/>
                </a:cubicBezTo>
                <a:cubicBezTo>
                  <a:pt x="185" y="424"/>
                  <a:pt x="187" y="424"/>
                  <a:pt x="187" y="422"/>
                </a:cubicBezTo>
                <a:cubicBezTo>
                  <a:pt x="184" y="423"/>
                  <a:pt x="184" y="421"/>
                  <a:pt x="182" y="420"/>
                </a:cubicBezTo>
                <a:close/>
                <a:moveTo>
                  <a:pt x="175" y="475"/>
                </a:moveTo>
                <a:cubicBezTo>
                  <a:pt x="174" y="475"/>
                  <a:pt x="175" y="475"/>
                  <a:pt x="175" y="475"/>
                </a:cubicBezTo>
                <a:cubicBezTo>
                  <a:pt x="174" y="474"/>
                  <a:pt x="173" y="474"/>
                  <a:pt x="172" y="474"/>
                </a:cubicBezTo>
                <a:cubicBezTo>
                  <a:pt x="172" y="474"/>
                  <a:pt x="173" y="473"/>
                  <a:pt x="172" y="473"/>
                </a:cubicBezTo>
                <a:cubicBezTo>
                  <a:pt x="172" y="473"/>
                  <a:pt x="171" y="474"/>
                  <a:pt x="171" y="473"/>
                </a:cubicBezTo>
                <a:cubicBezTo>
                  <a:pt x="171" y="473"/>
                  <a:pt x="170" y="473"/>
                  <a:pt x="170" y="473"/>
                </a:cubicBezTo>
                <a:cubicBezTo>
                  <a:pt x="170" y="474"/>
                  <a:pt x="170" y="475"/>
                  <a:pt x="170" y="476"/>
                </a:cubicBezTo>
                <a:cubicBezTo>
                  <a:pt x="170" y="477"/>
                  <a:pt x="171" y="477"/>
                  <a:pt x="171" y="478"/>
                </a:cubicBezTo>
                <a:cubicBezTo>
                  <a:pt x="171" y="478"/>
                  <a:pt x="171" y="478"/>
                  <a:pt x="171" y="478"/>
                </a:cubicBezTo>
                <a:cubicBezTo>
                  <a:pt x="171" y="478"/>
                  <a:pt x="172" y="478"/>
                  <a:pt x="172" y="478"/>
                </a:cubicBezTo>
                <a:cubicBezTo>
                  <a:pt x="172" y="478"/>
                  <a:pt x="172" y="479"/>
                  <a:pt x="172" y="479"/>
                </a:cubicBezTo>
                <a:cubicBezTo>
                  <a:pt x="173" y="479"/>
                  <a:pt x="173" y="480"/>
                  <a:pt x="175" y="480"/>
                </a:cubicBezTo>
                <a:cubicBezTo>
                  <a:pt x="175" y="478"/>
                  <a:pt x="175" y="477"/>
                  <a:pt x="175" y="476"/>
                </a:cubicBezTo>
                <a:cubicBezTo>
                  <a:pt x="175" y="475"/>
                  <a:pt x="175" y="476"/>
                  <a:pt x="175" y="475"/>
                </a:cubicBezTo>
                <a:close/>
                <a:moveTo>
                  <a:pt x="197" y="532"/>
                </a:moveTo>
                <a:cubicBezTo>
                  <a:pt x="196" y="532"/>
                  <a:pt x="195" y="532"/>
                  <a:pt x="193" y="532"/>
                </a:cubicBezTo>
                <a:cubicBezTo>
                  <a:pt x="193" y="533"/>
                  <a:pt x="194" y="534"/>
                  <a:pt x="195" y="533"/>
                </a:cubicBezTo>
                <a:cubicBezTo>
                  <a:pt x="195" y="534"/>
                  <a:pt x="196" y="534"/>
                  <a:pt x="197" y="534"/>
                </a:cubicBezTo>
                <a:cubicBezTo>
                  <a:pt x="197" y="535"/>
                  <a:pt x="198" y="535"/>
                  <a:pt x="199" y="535"/>
                </a:cubicBezTo>
                <a:cubicBezTo>
                  <a:pt x="199" y="534"/>
                  <a:pt x="200" y="534"/>
                  <a:pt x="200" y="533"/>
                </a:cubicBezTo>
                <a:cubicBezTo>
                  <a:pt x="200" y="532"/>
                  <a:pt x="198" y="532"/>
                  <a:pt x="197" y="53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94" name="Freeform 123"/>
          <p:cNvSpPr>
            <a:spLocks noEditPoints="1"/>
          </p:cNvSpPr>
          <p:nvPr/>
        </p:nvSpPr>
        <p:spPr bwMode="auto">
          <a:xfrm>
            <a:off x="7147217" y="3151490"/>
            <a:ext cx="996950" cy="1393825"/>
          </a:xfrm>
          <a:custGeom>
            <a:avLst/>
            <a:gdLst>
              <a:gd name="T0" fmla="*/ 152 w 258"/>
              <a:gd name="T1" fmla="*/ 31 h 360"/>
              <a:gd name="T2" fmla="*/ 212 w 258"/>
              <a:gd name="T3" fmla="*/ 24 h 360"/>
              <a:gd name="T4" fmla="*/ 206 w 258"/>
              <a:gd name="T5" fmla="*/ 29 h 360"/>
              <a:gd name="T6" fmla="*/ 237 w 258"/>
              <a:gd name="T7" fmla="*/ 56 h 360"/>
              <a:gd name="T8" fmla="*/ 208 w 258"/>
              <a:gd name="T9" fmla="*/ 31 h 360"/>
              <a:gd name="T10" fmla="*/ 220 w 258"/>
              <a:gd name="T11" fmla="*/ 23 h 360"/>
              <a:gd name="T12" fmla="*/ 47 w 258"/>
              <a:gd name="T13" fmla="*/ 58 h 360"/>
              <a:gd name="T14" fmla="*/ 251 w 258"/>
              <a:gd name="T15" fmla="*/ 163 h 360"/>
              <a:gd name="T16" fmla="*/ 245 w 258"/>
              <a:gd name="T17" fmla="*/ 121 h 360"/>
              <a:gd name="T18" fmla="*/ 237 w 258"/>
              <a:gd name="T19" fmla="*/ 91 h 360"/>
              <a:gd name="T20" fmla="*/ 238 w 258"/>
              <a:gd name="T21" fmla="*/ 64 h 360"/>
              <a:gd name="T22" fmla="*/ 214 w 258"/>
              <a:gd name="T23" fmla="*/ 47 h 360"/>
              <a:gd name="T24" fmla="*/ 196 w 258"/>
              <a:gd name="T25" fmla="*/ 35 h 360"/>
              <a:gd name="T26" fmla="*/ 173 w 258"/>
              <a:gd name="T27" fmla="*/ 43 h 360"/>
              <a:gd name="T28" fmla="*/ 155 w 258"/>
              <a:gd name="T29" fmla="*/ 51 h 360"/>
              <a:gd name="T30" fmla="*/ 153 w 258"/>
              <a:gd name="T31" fmla="*/ 40 h 360"/>
              <a:gd name="T32" fmla="*/ 122 w 258"/>
              <a:gd name="T33" fmla="*/ 27 h 360"/>
              <a:gd name="T34" fmla="*/ 99 w 258"/>
              <a:gd name="T35" fmla="*/ 8 h 360"/>
              <a:gd name="T36" fmla="*/ 80 w 258"/>
              <a:gd name="T37" fmla="*/ 8 h 360"/>
              <a:gd name="T38" fmla="*/ 85 w 258"/>
              <a:gd name="T39" fmla="*/ 9 h 360"/>
              <a:gd name="T40" fmla="*/ 91 w 258"/>
              <a:gd name="T41" fmla="*/ 19 h 360"/>
              <a:gd name="T42" fmla="*/ 97 w 258"/>
              <a:gd name="T43" fmla="*/ 28 h 360"/>
              <a:gd name="T44" fmla="*/ 92 w 258"/>
              <a:gd name="T45" fmla="*/ 45 h 360"/>
              <a:gd name="T46" fmla="*/ 84 w 258"/>
              <a:gd name="T47" fmla="*/ 54 h 360"/>
              <a:gd name="T48" fmla="*/ 75 w 258"/>
              <a:gd name="T49" fmla="*/ 71 h 360"/>
              <a:gd name="T50" fmla="*/ 41 w 258"/>
              <a:gd name="T51" fmla="*/ 67 h 360"/>
              <a:gd name="T52" fmla="*/ 30 w 258"/>
              <a:gd name="T53" fmla="*/ 106 h 360"/>
              <a:gd name="T54" fmla="*/ 30 w 258"/>
              <a:gd name="T55" fmla="*/ 109 h 360"/>
              <a:gd name="T56" fmla="*/ 39 w 258"/>
              <a:gd name="T57" fmla="*/ 123 h 360"/>
              <a:gd name="T58" fmla="*/ 12 w 258"/>
              <a:gd name="T59" fmla="*/ 136 h 360"/>
              <a:gd name="T60" fmla="*/ 8 w 258"/>
              <a:gd name="T61" fmla="*/ 151 h 360"/>
              <a:gd name="T62" fmla="*/ 1 w 258"/>
              <a:gd name="T63" fmla="*/ 175 h 360"/>
              <a:gd name="T64" fmla="*/ 9 w 258"/>
              <a:gd name="T65" fmla="*/ 197 h 360"/>
              <a:gd name="T66" fmla="*/ 4 w 258"/>
              <a:gd name="T67" fmla="*/ 228 h 360"/>
              <a:gd name="T68" fmla="*/ 5 w 258"/>
              <a:gd name="T69" fmla="*/ 247 h 360"/>
              <a:gd name="T70" fmla="*/ 40 w 258"/>
              <a:gd name="T71" fmla="*/ 270 h 360"/>
              <a:gd name="T72" fmla="*/ 56 w 258"/>
              <a:gd name="T73" fmla="*/ 284 h 360"/>
              <a:gd name="T74" fmla="*/ 49 w 258"/>
              <a:gd name="T75" fmla="*/ 293 h 360"/>
              <a:gd name="T76" fmla="*/ 37 w 258"/>
              <a:gd name="T77" fmla="*/ 328 h 360"/>
              <a:gd name="T78" fmla="*/ 68 w 258"/>
              <a:gd name="T79" fmla="*/ 337 h 360"/>
              <a:gd name="T80" fmla="*/ 65 w 258"/>
              <a:gd name="T81" fmla="*/ 334 h 360"/>
              <a:gd name="T82" fmla="*/ 68 w 258"/>
              <a:gd name="T83" fmla="*/ 331 h 360"/>
              <a:gd name="T84" fmla="*/ 70 w 258"/>
              <a:gd name="T85" fmla="*/ 332 h 360"/>
              <a:gd name="T86" fmla="*/ 78 w 258"/>
              <a:gd name="T87" fmla="*/ 338 h 360"/>
              <a:gd name="T88" fmla="*/ 89 w 258"/>
              <a:gd name="T89" fmla="*/ 341 h 360"/>
              <a:gd name="T90" fmla="*/ 97 w 258"/>
              <a:gd name="T91" fmla="*/ 347 h 360"/>
              <a:gd name="T92" fmla="*/ 109 w 258"/>
              <a:gd name="T93" fmla="*/ 351 h 360"/>
              <a:gd name="T94" fmla="*/ 145 w 258"/>
              <a:gd name="T95" fmla="*/ 350 h 360"/>
              <a:gd name="T96" fmla="*/ 187 w 258"/>
              <a:gd name="T97" fmla="*/ 341 h 360"/>
              <a:gd name="T98" fmla="*/ 200 w 258"/>
              <a:gd name="T99" fmla="*/ 332 h 360"/>
              <a:gd name="T100" fmla="*/ 216 w 258"/>
              <a:gd name="T101" fmla="*/ 305 h 360"/>
              <a:gd name="T102" fmla="*/ 216 w 258"/>
              <a:gd name="T103" fmla="*/ 299 h 360"/>
              <a:gd name="T104" fmla="*/ 224 w 258"/>
              <a:gd name="T105" fmla="*/ 301 h 360"/>
              <a:gd name="T106" fmla="*/ 223 w 258"/>
              <a:gd name="T107" fmla="*/ 283 h 360"/>
              <a:gd name="T108" fmla="*/ 196 w 258"/>
              <a:gd name="T109" fmla="*/ 263 h 360"/>
              <a:gd name="T110" fmla="*/ 184 w 258"/>
              <a:gd name="T111" fmla="*/ 234 h 360"/>
              <a:gd name="T112" fmla="*/ 186 w 258"/>
              <a:gd name="T113" fmla="*/ 218 h 360"/>
              <a:gd name="T114" fmla="*/ 197 w 258"/>
              <a:gd name="T115" fmla="*/ 213 h 360"/>
              <a:gd name="T116" fmla="*/ 214 w 258"/>
              <a:gd name="T117" fmla="*/ 204 h 360"/>
              <a:gd name="T118" fmla="*/ 233 w 258"/>
              <a:gd name="T119" fmla="*/ 195 h 360"/>
              <a:gd name="T120" fmla="*/ 251 w 258"/>
              <a:gd name="T121" fmla="*/ 187 h 360"/>
              <a:gd name="T122" fmla="*/ 83 w 258"/>
              <a:gd name="T123" fmla="*/ 14 h 360"/>
              <a:gd name="T124" fmla="*/ 90 w 258"/>
              <a:gd name="T125" fmla="*/ 23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8" h="360">
                <a:moveTo>
                  <a:pt x="72" y="59"/>
                </a:moveTo>
                <a:cubicBezTo>
                  <a:pt x="72" y="59"/>
                  <a:pt x="74" y="59"/>
                  <a:pt x="74" y="58"/>
                </a:cubicBezTo>
                <a:cubicBezTo>
                  <a:pt x="73" y="58"/>
                  <a:pt x="73" y="58"/>
                  <a:pt x="72" y="58"/>
                </a:cubicBezTo>
                <a:cubicBezTo>
                  <a:pt x="71" y="58"/>
                  <a:pt x="70" y="59"/>
                  <a:pt x="70" y="59"/>
                </a:cubicBezTo>
                <a:cubicBezTo>
                  <a:pt x="71" y="59"/>
                  <a:pt x="71" y="60"/>
                  <a:pt x="72" y="59"/>
                </a:cubicBezTo>
                <a:close/>
                <a:moveTo>
                  <a:pt x="152" y="31"/>
                </a:moveTo>
                <a:cubicBezTo>
                  <a:pt x="152" y="32"/>
                  <a:pt x="153" y="33"/>
                  <a:pt x="154" y="33"/>
                </a:cubicBezTo>
                <a:cubicBezTo>
                  <a:pt x="156" y="33"/>
                  <a:pt x="157" y="33"/>
                  <a:pt x="158" y="33"/>
                </a:cubicBezTo>
                <a:cubicBezTo>
                  <a:pt x="158" y="30"/>
                  <a:pt x="156" y="30"/>
                  <a:pt x="157" y="28"/>
                </a:cubicBezTo>
                <a:cubicBezTo>
                  <a:pt x="156" y="28"/>
                  <a:pt x="155" y="28"/>
                  <a:pt x="154" y="28"/>
                </a:cubicBezTo>
                <a:cubicBezTo>
                  <a:pt x="154" y="27"/>
                  <a:pt x="154" y="26"/>
                  <a:pt x="153" y="26"/>
                </a:cubicBezTo>
                <a:cubicBezTo>
                  <a:pt x="152" y="26"/>
                  <a:pt x="151" y="26"/>
                  <a:pt x="150" y="26"/>
                </a:cubicBezTo>
                <a:cubicBezTo>
                  <a:pt x="151" y="29"/>
                  <a:pt x="149" y="28"/>
                  <a:pt x="149" y="31"/>
                </a:cubicBezTo>
                <a:cubicBezTo>
                  <a:pt x="150" y="31"/>
                  <a:pt x="150" y="32"/>
                  <a:pt x="152" y="31"/>
                </a:cubicBezTo>
                <a:close/>
                <a:moveTo>
                  <a:pt x="63" y="57"/>
                </a:moveTo>
                <a:cubicBezTo>
                  <a:pt x="63" y="57"/>
                  <a:pt x="63" y="56"/>
                  <a:pt x="63" y="56"/>
                </a:cubicBezTo>
                <a:cubicBezTo>
                  <a:pt x="63" y="56"/>
                  <a:pt x="63" y="56"/>
                  <a:pt x="64" y="56"/>
                </a:cubicBezTo>
                <a:cubicBezTo>
                  <a:pt x="65" y="56"/>
                  <a:pt x="66" y="57"/>
                  <a:pt x="68" y="57"/>
                </a:cubicBezTo>
                <a:cubicBezTo>
                  <a:pt x="68" y="57"/>
                  <a:pt x="68" y="56"/>
                  <a:pt x="68" y="56"/>
                </a:cubicBezTo>
                <a:cubicBezTo>
                  <a:pt x="68" y="56"/>
                  <a:pt x="67" y="55"/>
                  <a:pt x="67" y="55"/>
                </a:cubicBezTo>
                <a:cubicBezTo>
                  <a:pt x="66" y="55"/>
                  <a:pt x="66" y="56"/>
                  <a:pt x="65" y="56"/>
                </a:cubicBezTo>
                <a:cubicBezTo>
                  <a:pt x="65" y="55"/>
                  <a:pt x="65" y="54"/>
                  <a:pt x="65" y="54"/>
                </a:cubicBezTo>
                <a:cubicBezTo>
                  <a:pt x="64" y="55"/>
                  <a:pt x="63" y="55"/>
                  <a:pt x="62" y="55"/>
                </a:cubicBezTo>
                <a:cubicBezTo>
                  <a:pt x="62" y="56"/>
                  <a:pt x="61" y="56"/>
                  <a:pt x="60" y="57"/>
                </a:cubicBezTo>
                <a:cubicBezTo>
                  <a:pt x="61" y="57"/>
                  <a:pt x="61" y="57"/>
                  <a:pt x="61" y="57"/>
                </a:cubicBezTo>
                <a:cubicBezTo>
                  <a:pt x="62" y="57"/>
                  <a:pt x="62" y="57"/>
                  <a:pt x="63" y="57"/>
                </a:cubicBezTo>
                <a:close/>
                <a:moveTo>
                  <a:pt x="212" y="24"/>
                </a:moveTo>
                <a:cubicBezTo>
                  <a:pt x="212" y="25"/>
                  <a:pt x="212" y="25"/>
                  <a:pt x="212" y="24"/>
                </a:cubicBezTo>
                <a:cubicBezTo>
                  <a:pt x="213" y="24"/>
                  <a:pt x="213" y="24"/>
                  <a:pt x="214" y="24"/>
                </a:cubicBezTo>
                <a:cubicBezTo>
                  <a:pt x="214" y="22"/>
                  <a:pt x="214" y="21"/>
                  <a:pt x="214" y="20"/>
                </a:cubicBezTo>
                <a:cubicBezTo>
                  <a:pt x="212" y="20"/>
                  <a:pt x="212" y="19"/>
                  <a:pt x="210" y="19"/>
                </a:cubicBezTo>
                <a:cubicBezTo>
                  <a:pt x="210" y="20"/>
                  <a:pt x="209" y="20"/>
                  <a:pt x="209" y="21"/>
                </a:cubicBezTo>
                <a:cubicBezTo>
                  <a:pt x="209" y="21"/>
                  <a:pt x="208" y="21"/>
                  <a:pt x="208" y="22"/>
                </a:cubicBezTo>
                <a:cubicBezTo>
                  <a:pt x="208" y="23"/>
                  <a:pt x="208" y="24"/>
                  <a:pt x="209" y="25"/>
                </a:cubicBezTo>
                <a:cubicBezTo>
                  <a:pt x="210" y="25"/>
                  <a:pt x="211" y="25"/>
                  <a:pt x="212" y="24"/>
                </a:cubicBezTo>
                <a:close/>
                <a:moveTo>
                  <a:pt x="58" y="58"/>
                </a:moveTo>
                <a:cubicBezTo>
                  <a:pt x="59" y="55"/>
                  <a:pt x="55" y="57"/>
                  <a:pt x="54" y="56"/>
                </a:cubicBezTo>
                <a:cubicBezTo>
                  <a:pt x="53" y="56"/>
                  <a:pt x="52" y="56"/>
                  <a:pt x="52" y="57"/>
                </a:cubicBezTo>
                <a:cubicBezTo>
                  <a:pt x="54" y="58"/>
                  <a:pt x="56" y="58"/>
                  <a:pt x="58" y="58"/>
                </a:cubicBezTo>
                <a:close/>
                <a:moveTo>
                  <a:pt x="203" y="30"/>
                </a:moveTo>
                <a:cubicBezTo>
                  <a:pt x="204" y="30"/>
                  <a:pt x="204" y="30"/>
                  <a:pt x="204" y="31"/>
                </a:cubicBezTo>
                <a:cubicBezTo>
                  <a:pt x="206" y="32"/>
                  <a:pt x="204" y="28"/>
                  <a:pt x="206" y="29"/>
                </a:cubicBezTo>
                <a:cubicBezTo>
                  <a:pt x="206" y="27"/>
                  <a:pt x="206" y="26"/>
                  <a:pt x="206" y="25"/>
                </a:cubicBezTo>
                <a:cubicBezTo>
                  <a:pt x="206" y="25"/>
                  <a:pt x="207" y="25"/>
                  <a:pt x="207" y="24"/>
                </a:cubicBezTo>
                <a:cubicBezTo>
                  <a:pt x="207" y="24"/>
                  <a:pt x="206" y="24"/>
                  <a:pt x="206" y="23"/>
                </a:cubicBezTo>
                <a:cubicBezTo>
                  <a:pt x="205" y="23"/>
                  <a:pt x="205" y="23"/>
                  <a:pt x="205" y="24"/>
                </a:cubicBezTo>
                <a:cubicBezTo>
                  <a:pt x="205" y="24"/>
                  <a:pt x="204" y="24"/>
                  <a:pt x="204" y="24"/>
                </a:cubicBezTo>
                <a:cubicBezTo>
                  <a:pt x="204" y="25"/>
                  <a:pt x="203" y="25"/>
                  <a:pt x="203" y="26"/>
                </a:cubicBezTo>
                <a:cubicBezTo>
                  <a:pt x="205" y="26"/>
                  <a:pt x="203" y="29"/>
                  <a:pt x="203" y="30"/>
                </a:cubicBezTo>
                <a:close/>
                <a:moveTo>
                  <a:pt x="228" y="49"/>
                </a:moveTo>
                <a:cubicBezTo>
                  <a:pt x="228" y="49"/>
                  <a:pt x="229" y="49"/>
                  <a:pt x="229" y="49"/>
                </a:cubicBezTo>
                <a:cubicBezTo>
                  <a:pt x="230" y="50"/>
                  <a:pt x="230" y="50"/>
                  <a:pt x="230" y="51"/>
                </a:cubicBezTo>
                <a:cubicBezTo>
                  <a:pt x="229" y="52"/>
                  <a:pt x="227" y="49"/>
                  <a:pt x="226" y="51"/>
                </a:cubicBezTo>
                <a:cubicBezTo>
                  <a:pt x="228" y="52"/>
                  <a:pt x="226" y="55"/>
                  <a:pt x="226" y="57"/>
                </a:cubicBezTo>
                <a:cubicBezTo>
                  <a:pt x="229" y="58"/>
                  <a:pt x="230" y="56"/>
                  <a:pt x="232" y="56"/>
                </a:cubicBezTo>
                <a:cubicBezTo>
                  <a:pt x="233" y="56"/>
                  <a:pt x="235" y="56"/>
                  <a:pt x="237" y="56"/>
                </a:cubicBezTo>
                <a:cubicBezTo>
                  <a:pt x="237" y="55"/>
                  <a:pt x="237" y="55"/>
                  <a:pt x="237" y="54"/>
                </a:cubicBezTo>
                <a:cubicBezTo>
                  <a:pt x="237" y="54"/>
                  <a:pt x="236" y="54"/>
                  <a:pt x="236" y="54"/>
                </a:cubicBezTo>
                <a:cubicBezTo>
                  <a:pt x="235" y="54"/>
                  <a:pt x="237" y="54"/>
                  <a:pt x="237" y="54"/>
                </a:cubicBezTo>
                <a:cubicBezTo>
                  <a:pt x="237" y="53"/>
                  <a:pt x="238" y="53"/>
                  <a:pt x="239" y="53"/>
                </a:cubicBezTo>
                <a:cubicBezTo>
                  <a:pt x="239" y="53"/>
                  <a:pt x="239" y="52"/>
                  <a:pt x="239" y="52"/>
                </a:cubicBezTo>
                <a:cubicBezTo>
                  <a:pt x="238" y="52"/>
                  <a:pt x="237" y="52"/>
                  <a:pt x="237" y="51"/>
                </a:cubicBezTo>
                <a:cubicBezTo>
                  <a:pt x="236" y="51"/>
                  <a:pt x="236" y="50"/>
                  <a:pt x="235" y="50"/>
                </a:cubicBezTo>
                <a:cubicBezTo>
                  <a:pt x="235" y="48"/>
                  <a:pt x="233" y="49"/>
                  <a:pt x="232" y="47"/>
                </a:cubicBezTo>
                <a:cubicBezTo>
                  <a:pt x="231" y="47"/>
                  <a:pt x="230" y="46"/>
                  <a:pt x="228" y="47"/>
                </a:cubicBezTo>
                <a:cubicBezTo>
                  <a:pt x="228" y="45"/>
                  <a:pt x="226" y="45"/>
                  <a:pt x="224" y="44"/>
                </a:cubicBezTo>
                <a:cubicBezTo>
                  <a:pt x="223" y="45"/>
                  <a:pt x="224" y="48"/>
                  <a:pt x="224" y="50"/>
                </a:cubicBezTo>
                <a:cubicBezTo>
                  <a:pt x="227" y="51"/>
                  <a:pt x="226" y="48"/>
                  <a:pt x="228" y="49"/>
                </a:cubicBezTo>
                <a:close/>
                <a:moveTo>
                  <a:pt x="209" y="29"/>
                </a:moveTo>
                <a:cubicBezTo>
                  <a:pt x="209" y="30"/>
                  <a:pt x="208" y="30"/>
                  <a:pt x="208" y="31"/>
                </a:cubicBezTo>
                <a:cubicBezTo>
                  <a:pt x="208" y="32"/>
                  <a:pt x="209" y="32"/>
                  <a:pt x="210" y="32"/>
                </a:cubicBezTo>
                <a:cubicBezTo>
                  <a:pt x="210" y="33"/>
                  <a:pt x="210" y="33"/>
                  <a:pt x="210" y="34"/>
                </a:cubicBezTo>
                <a:cubicBezTo>
                  <a:pt x="208" y="34"/>
                  <a:pt x="208" y="33"/>
                  <a:pt x="207" y="33"/>
                </a:cubicBezTo>
                <a:cubicBezTo>
                  <a:pt x="207" y="34"/>
                  <a:pt x="207" y="34"/>
                  <a:pt x="207" y="35"/>
                </a:cubicBezTo>
                <a:cubicBezTo>
                  <a:pt x="206" y="35"/>
                  <a:pt x="205" y="35"/>
                  <a:pt x="205" y="35"/>
                </a:cubicBezTo>
                <a:cubicBezTo>
                  <a:pt x="206" y="36"/>
                  <a:pt x="206" y="37"/>
                  <a:pt x="207" y="38"/>
                </a:cubicBezTo>
                <a:cubicBezTo>
                  <a:pt x="207" y="38"/>
                  <a:pt x="208" y="38"/>
                  <a:pt x="207" y="38"/>
                </a:cubicBezTo>
                <a:cubicBezTo>
                  <a:pt x="210" y="39"/>
                  <a:pt x="211" y="38"/>
                  <a:pt x="214" y="38"/>
                </a:cubicBezTo>
                <a:cubicBezTo>
                  <a:pt x="214" y="36"/>
                  <a:pt x="216" y="35"/>
                  <a:pt x="218" y="35"/>
                </a:cubicBezTo>
                <a:cubicBezTo>
                  <a:pt x="220" y="35"/>
                  <a:pt x="219" y="38"/>
                  <a:pt x="221" y="39"/>
                </a:cubicBezTo>
                <a:cubicBezTo>
                  <a:pt x="221" y="38"/>
                  <a:pt x="222" y="38"/>
                  <a:pt x="223" y="38"/>
                </a:cubicBezTo>
                <a:cubicBezTo>
                  <a:pt x="223" y="36"/>
                  <a:pt x="223" y="35"/>
                  <a:pt x="223" y="34"/>
                </a:cubicBezTo>
                <a:cubicBezTo>
                  <a:pt x="222" y="32"/>
                  <a:pt x="219" y="31"/>
                  <a:pt x="219" y="29"/>
                </a:cubicBezTo>
                <a:cubicBezTo>
                  <a:pt x="219" y="27"/>
                  <a:pt x="222" y="25"/>
                  <a:pt x="220" y="23"/>
                </a:cubicBezTo>
                <a:cubicBezTo>
                  <a:pt x="218" y="22"/>
                  <a:pt x="219" y="25"/>
                  <a:pt x="216" y="24"/>
                </a:cubicBezTo>
                <a:cubicBezTo>
                  <a:pt x="216" y="24"/>
                  <a:pt x="216" y="24"/>
                  <a:pt x="216" y="24"/>
                </a:cubicBezTo>
                <a:cubicBezTo>
                  <a:pt x="216" y="23"/>
                  <a:pt x="215" y="23"/>
                  <a:pt x="214" y="23"/>
                </a:cubicBezTo>
                <a:cubicBezTo>
                  <a:pt x="214" y="24"/>
                  <a:pt x="214" y="25"/>
                  <a:pt x="214" y="26"/>
                </a:cubicBezTo>
                <a:cubicBezTo>
                  <a:pt x="214" y="27"/>
                  <a:pt x="216" y="27"/>
                  <a:pt x="214" y="28"/>
                </a:cubicBezTo>
                <a:cubicBezTo>
                  <a:pt x="213" y="28"/>
                  <a:pt x="214" y="25"/>
                  <a:pt x="212" y="26"/>
                </a:cubicBezTo>
                <a:cubicBezTo>
                  <a:pt x="210" y="26"/>
                  <a:pt x="209" y="26"/>
                  <a:pt x="207" y="26"/>
                </a:cubicBezTo>
                <a:cubicBezTo>
                  <a:pt x="207" y="26"/>
                  <a:pt x="207" y="27"/>
                  <a:pt x="207" y="28"/>
                </a:cubicBezTo>
                <a:cubicBezTo>
                  <a:pt x="208" y="28"/>
                  <a:pt x="209" y="28"/>
                  <a:pt x="209" y="29"/>
                </a:cubicBezTo>
                <a:close/>
                <a:moveTo>
                  <a:pt x="47" y="58"/>
                </a:moveTo>
                <a:cubicBezTo>
                  <a:pt x="48" y="58"/>
                  <a:pt x="48" y="58"/>
                  <a:pt x="48" y="58"/>
                </a:cubicBezTo>
                <a:cubicBezTo>
                  <a:pt x="48" y="58"/>
                  <a:pt x="49" y="58"/>
                  <a:pt x="49" y="57"/>
                </a:cubicBezTo>
                <a:cubicBezTo>
                  <a:pt x="48" y="58"/>
                  <a:pt x="44" y="56"/>
                  <a:pt x="44" y="58"/>
                </a:cubicBezTo>
                <a:cubicBezTo>
                  <a:pt x="45" y="58"/>
                  <a:pt x="46" y="58"/>
                  <a:pt x="47" y="58"/>
                </a:cubicBezTo>
                <a:close/>
                <a:moveTo>
                  <a:pt x="40" y="60"/>
                </a:moveTo>
                <a:cubicBezTo>
                  <a:pt x="37" y="59"/>
                  <a:pt x="41" y="60"/>
                  <a:pt x="40" y="58"/>
                </a:cubicBezTo>
                <a:cubicBezTo>
                  <a:pt x="37" y="57"/>
                  <a:pt x="37" y="59"/>
                  <a:pt x="36" y="61"/>
                </a:cubicBezTo>
                <a:cubicBezTo>
                  <a:pt x="37" y="60"/>
                  <a:pt x="40" y="61"/>
                  <a:pt x="40" y="60"/>
                </a:cubicBezTo>
                <a:close/>
                <a:moveTo>
                  <a:pt x="82" y="26"/>
                </a:moveTo>
                <a:cubicBezTo>
                  <a:pt x="82" y="28"/>
                  <a:pt x="83" y="29"/>
                  <a:pt x="85" y="29"/>
                </a:cubicBezTo>
                <a:cubicBezTo>
                  <a:pt x="85" y="27"/>
                  <a:pt x="84" y="27"/>
                  <a:pt x="83" y="26"/>
                </a:cubicBezTo>
                <a:cubicBezTo>
                  <a:pt x="83" y="26"/>
                  <a:pt x="83" y="26"/>
                  <a:pt x="83" y="26"/>
                </a:cubicBezTo>
                <a:cubicBezTo>
                  <a:pt x="82" y="26"/>
                  <a:pt x="82" y="26"/>
                  <a:pt x="82" y="26"/>
                </a:cubicBezTo>
                <a:close/>
                <a:moveTo>
                  <a:pt x="257" y="170"/>
                </a:moveTo>
                <a:cubicBezTo>
                  <a:pt x="256" y="169"/>
                  <a:pt x="255" y="168"/>
                  <a:pt x="255" y="166"/>
                </a:cubicBezTo>
                <a:cubicBezTo>
                  <a:pt x="255" y="166"/>
                  <a:pt x="254" y="164"/>
                  <a:pt x="253" y="164"/>
                </a:cubicBezTo>
                <a:cubicBezTo>
                  <a:pt x="253" y="164"/>
                  <a:pt x="253" y="164"/>
                  <a:pt x="252" y="164"/>
                </a:cubicBezTo>
                <a:cubicBezTo>
                  <a:pt x="251" y="164"/>
                  <a:pt x="251" y="163"/>
                  <a:pt x="251" y="163"/>
                </a:cubicBezTo>
                <a:cubicBezTo>
                  <a:pt x="250" y="163"/>
                  <a:pt x="250" y="162"/>
                  <a:pt x="250" y="162"/>
                </a:cubicBezTo>
                <a:cubicBezTo>
                  <a:pt x="250" y="159"/>
                  <a:pt x="249" y="158"/>
                  <a:pt x="249" y="155"/>
                </a:cubicBezTo>
                <a:cubicBezTo>
                  <a:pt x="249" y="155"/>
                  <a:pt x="249" y="155"/>
                  <a:pt x="249" y="155"/>
                </a:cubicBezTo>
                <a:cubicBezTo>
                  <a:pt x="248" y="154"/>
                  <a:pt x="248" y="153"/>
                  <a:pt x="248" y="153"/>
                </a:cubicBezTo>
                <a:cubicBezTo>
                  <a:pt x="248" y="152"/>
                  <a:pt x="247" y="153"/>
                  <a:pt x="247" y="153"/>
                </a:cubicBezTo>
                <a:cubicBezTo>
                  <a:pt x="247" y="152"/>
                  <a:pt x="247" y="151"/>
                  <a:pt x="247" y="151"/>
                </a:cubicBezTo>
                <a:cubicBezTo>
                  <a:pt x="247" y="151"/>
                  <a:pt x="247" y="151"/>
                  <a:pt x="246" y="151"/>
                </a:cubicBezTo>
                <a:cubicBezTo>
                  <a:pt x="246" y="151"/>
                  <a:pt x="247" y="150"/>
                  <a:pt x="246" y="150"/>
                </a:cubicBezTo>
                <a:cubicBezTo>
                  <a:pt x="246" y="147"/>
                  <a:pt x="248" y="146"/>
                  <a:pt x="248" y="144"/>
                </a:cubicBezTo>
                <a:cubicBezTo>
                  <a:pt x="247" y="141"/>
                  <a:pt x="248" y="140"/>
                  <a:pt x="249" y="137"/>
                </a:cubicBezTo>
                <a:cubicBezTo>
                  <a:pt x="249" y="135"/>
                  <a:pt x="247" y="135"/>
                  <a:pt x="247" y="133"/>
                </a:cubicBezTo>
                <a:cubicBezTo>
                  <a:pt x="247" y="130"/>
                  <a:pt x="247" y="130"/>
                  <a:pt x="247" y="130"/>
                </a:cubicBezTo>
                <a:cubicBezTo>
                  <a:pt x="247" y="128"/>
                  <a:pt x="245" y="128"/>
                  <a:pt x="245" y="126"/>
                </a:cubicBezTo>
                <a:cubicBezTo>
                  <a:pt x="245" y="121"/>
                  <a:pt x="245" y="121"/>
                  <a:pt x="245" y="121"/>
                </a:cubicBezTo>
                <a:cubicBezTo>
                  <a:pt x="246" y="119"/>
                  <a:pt x="247" y="118"/>
                  <a:pt x="246" y="115"/>
                </a:cubicBezTo>
                <a:cubicBezTo>
                  <a:pt x="246" y="113"/>
                  <a:pt x="244" y="114"/>
                  <a:pt x="244" y="111"/>
                </a:cubicBezTo>
                <a:cubicBezTo>
                  <a:pt x="244" y="111"/>
                  <a:pt x="244" y="111"/>
                  <a:pt x="244" y="111"/>
                </a:cubicBezTo>
                <a:cubicBezTo>
                  <a:pt x="243" y="111"/>
                  <a:pt x="243" y="111"/>
                  <a:pt x="243" y="111"/>
                </a:cubicBezTo>
                <a:cubicBezTo>
                  <a:pt x="243" y="110"/>
                  <a:pt x="242" y="110"/>
                  <a:pt x="242" y="110"/>
                </a:cubicBezTo>
                <a:cubicBezTo>
                  <a:pt x="242" y="109"/>
                  <a:pt x="241" y="109"/>
                  <a:pt x="241" y="109"/>
                </a:cubicBezTo>
                <a:cubicBezTo>
                  <a:pt x="241" y="108"/>
                  <a:pt x="240" y="108"/>
                  <a:pt x="239" y="108"/>
                </a:cubicBezTo>
                <a:cubicBezTo>
                  <a:pt x="240" y="107"/>
                  <a:pt x="239" y="107"/>
                  <a:pt x="239" y="107"/>
                </a:cubicBezTo>
                <a:cubicBezTo>
                  <a:pt x="238" y="106"/>
                  <a:pt x="237" y="106"/>
                  <a:pt x="236" y="106"/>
                </a:cubicBezTo>
                <a:cubicBezTo>
                  <a:pt x="236" y="105"/>
                  <a:pt x="235" y="105"/>
                  <a:pt x="235" y="105"/>
                </a:cubicBezTo>
                <a:cubicBezTo>
                  <a:pt x="235" y="105"/>
                  <a:pt x="234" y="104"/>
                  <a:pt x="234" y="104"/>
                </a:cubicBezTo>
                <a:cubicBezTo>
                  <a:pt x="234" y="102"/>
                  <a:pt x="234" y="99"/>
                  <a:pt x="233" y="97"/>
                </a:cubicBezTo>
                <a:cubicBezTo>
                  <a:pt x="233" y="95"/>
                  <a:pt x="234" y="94"/>
                  <a:pt x="236" y="93"/>
                </a:cubicBezTo>
                <a:cubicBezTo>
                  <a:pt x="237" y="93"/>
                  <a:pt x="236" y="91"/>
                  <a:pt x="237" y="91"/>
                </a:cubicBezTo>
                <a:cubicBezTo>
                  <a:pt x="238" y="91"/>
                  <a:pt x="238" y="90"/>
                  <a:pt x="238" y="89"/>
                </a:cubicBezTo>
                <a:cubicBezTo>
                  <a:pt x="238" y="89"/>
                  <a:pt x="238" y="88"/>
                  <a:pt x="239" y="88"/>
                </a:cubicBezTo>
                <a:cubicBezTo>
                  <a:pt x="238" y="86"/>
                  <a:pt x="239" y="86"/>
                  <a:pt x="239" y="84"/>
                </a:cubicBezTo>
                <a:cubicBezTo>
                  <a:pt x="239" y="84"/>
                  <a:pt x="240" y="83"/>
                  <a:pt x="240" y="84"/>
                </a:cubicBezTo>
                <a:cubicBezTo>
                  <a:pt x="240" y="81"/>
                  <a:pt x="240" y="81"/>
                  <a:pt x="240" y="81"/>
                </a:cubicBezTo>
                <a:cubicBezTo>
                  <a:pt x="240" y="81"/>
                  <a:pt x="241" y="81"/>
                  <a:pt x="241" y="80"/>
                </a:cubicBezTo>
                <a:cubicBezTo>
                  <a:pt x="241" y="79"/>
                  <a:pt x="242" y="79"/>
                  <a:pt x="242" y="79"/>
                </a:cubicBezTo>
                <a:cubicBezTo>
                  <a:pt x="242" y="78"/>
                  <a:pt x="241" y="77"/>
                  <a:pt x="242" y="77"/>
                </a:cubicBezTo>
                <a:cubicBezTo>
                  <a:pt x="242" y="77"/>
                  <a:pt x="242" y="77"/>
                  <a:pt x="242" y="77"/>
                </a:cubicBezTo>
                <a:cubicBezTo>
                  <a:pt x="242" y="76"/>
                  <a:pt x="242" y="73"/>
                  <a:pt x="242" y="72"/>
                </a:cubicBezTo>
                <a:cubicBezTo>
                  <a:pt x="242" y="72"/>
                  <a:pt x="242" y="72"/>
                  <a:pt x="242" y="72"/>
                </a:cubicBezTo>
                <a:cubicBezTo>
                  <a:pt x="241" y="72"/>
                  <a:pt x="242" y="70"/>
                  <a:pt x="242" y="70"/>
                </a:cubicBezTo>
                <a:cubicBezTo>
                  <a:pt x="241" y="68"/>
                  <a:pt x="240" y="67"/>
                  <a:pt x="240" y="66"/>
                </a:cubicBezTo>
                <a:cubicBezTo>
                  <a:pt x="239" y="65"/>
                  <a:pt x="240" y="64"/>
                  <a:pt x="238" y="64"/>
                </a:cubicBezTo>
                <a:cubicBezTo>
                  <a:pt x="238" y="62"/>
                  <a:pt x="237" y="63"/>
                  <a:pt x="237" y="61"/>
                </a:cubicBezTo>
                <a:cubicBezTo>
                  <a:pt x="236" y="61"/>
                  <a:pt x="236" y="62"/>
                  <a:pt x="235" y="62"/>
                </a:cubicBezTo>
                <a:cubicBezTo>
                  <a:pt x="233" y="61"/>
                  <a:pt x="231" y="62"/>
                  <a:pt x="229" y="61"/>
                </a:cubicBezTo>
                <a:cubicBezTo>
                  <a:pt x="229" y="61"/>
                  <a:pt x="229" y="61"/>
                  <a:pt x="229" y="61"/>
                </a:cubicBezTo>
                <a:cubicBezTo>
                  <a:pt x="229" y="60"/>
                  <a:pt x="227" y="61"/>
                  <a:pt x="228" y="60"/>
                </a:cubicBezTo>
                <a:cubicBezTo>
                  <a:pt x="227" y="60"/>
                  <a:pt x="227" y="59"/>
                  <a:pt x="226" y="59"/>
                </a:cubicBezTo>
                <a:cubicBezTo>
                  <a:pt x="226" y="58"/>
                  <a:pt x="225" y="57"/>
                  <a:pt x="224" y="57"/>
                </a:cubicBezTo>
                <a:cubicBezTo>
                  <a:pt x="224" y="55"/>
                  <a:pt x="226" y="56"/>
                  <a:pt x="226" y="54"/>
                </a:cubicBezTo>
                <a:cubicBezTo>
                  <a:pt x="225" y="52"/>
                  <a:pt x="223" y="52"/>
                  <a:pt x="223" y="51"/>
                </a:cubicBezTo>
                <a:cubicBezTo>
                  <a:pt x="223" y="50"/>
                  <a:pt x="222" y="50"/>
                  <a:pt x="222" y="50"/>
                </a:cubicBezTo>
                <a:cubicBezTo>
                  <a:pt x="222" y="45"/>
                  <a:pt x="222" y="45"/>
                  <a:pt x="222" y="45"/>
                </a:cubicBezTo>
                <a:cubicBezTo>
                  <a:pt x="220" y="45"/>
                  <a:pt x="220" y="45"/>
                  <a:pt x="218" y="45"/>
                </a:cubicBezTo>
                <a:cubicBezTo>
                  <a:pt x="217" y="46"/>
                  <a:pt x="217" y="46"/>
                  <a:pt x="216" y="46"/>
                </a:cubicBezTo>
                <a:cubicBezTo>
                  <a:pt x="216" y="47"/>
                  <a:pt x="215" y="47"/>
                  <a:pt x="214" y="47"/>
                </a:cubicBezTo>
                <a:cubicBezTo>
                  <a:pt x="215" y="47"/>
                  <a:pt x="214" y="47"/>
                  <a:pt x="214" y="47"/>
                </a:cubicBezTo>
                <a:cubicBezTo>
                  <a:pt x="214" y="46"/>
                  <a:pt x="214" y="46"/>
                  <a:pt x="214" y="45"/>
                </a:cubicBezTo>
                <a:cubicBezTo>
                  <a:pt x="213" y="45"/>
                  <a:pt x="212" y="45"/>
                  <a:pt x="212" y="45"/>
                </a:cubicBezTo>
                <a:cubicBezTo>
                  <a:pt x="212" y="44"/>
                  <a:pt x="212" y="44"/>
                  <a:pt x="212" y="43"/>
                </a:cubicBezTo>
                <a:cubicBezTo>
                  <a:pt x="212" y="43"/>
                  <a:pt x="212" y="43"/>
                  <a:pt x="212" y="43"/>
                </a:cubicBezTo>
                <a:cubicBezTo>
                  <a:pt x="211" y="43"/>
                  <a:pt x="212" y="43"/>
                  <a:pt x="212" y="42"/>
                </a:cubicBezTo>
                <a:cubicBezTo>
                  <a:pt x="211" y="42"/>
                  <a:pt x="211" y="42"/>
                  <a:pt x="211" y="41"/>
                </a:cubicBezTo>
                <a:cubicBezTo>
                  <a:pt x="209" y="40"/>
                  <a:pt x="207" y="39"/>
                  <a:pt x="205" y="38"/>
                </a:cubicBezTo>
                <a:cubicBezTo>
                  <a:pt x="205" y="38"/>
                  <a:pt x="205" y="37"/>
                  <a:pt x="205" y="37"/>
                </a:cubicBezTo>
                <a:cubicBezTo>
                  <a:pt x="205" y="36"/>
                  <a:pt x="205" y="35"/>
                  <a:pt x="204" y="35"/>
                </a:cubicBezTo>
                <a:cubicBezTo>
                  <a:pt x="204" y="33"/>
                  <a:pt x="202" y="34"/>
                  <a:pt x="203" y="31"/>
                </a:cubicBezTo>
                <a:cubicBezTo>
                  <a:pt x="201" y="32"/>
                  <a:pt x="200" y="33"/>
                  <a:pt x="199" y="33"/>
                </a:cubicBezTo>
                <a:cubicBezTo>
                  <a:pt x="198" y="34"/>
                  <a:pt x="198" y="34"/>
                  <a:pt x="197" y="34"/>
                </a:cubicBezTo>
                <a:cubicBezTo>
                  <a:pt x="196" y="34"/>
                  <a:pt x="196" y="35"/>
                  <a:pt x="196" y="35"/>
                </a:cubicBezTo>
                <a:cubicBezTo>
                  <a:pt x="196" y="35"/>
                  <a:pt x="196" y="35"/>
                  <a:pt x="196" y="34"/>
                </a:cubicBezTo>
                <a:cubicBezTo>
                  <a:pt x="194" y="34"/>
                  <a:pt x="194" y="33"/>
                  <a:pt x="192" y="33"/>
                </a:cubicBezTo>
                <a:cubicBezTo>
                  <a:pt x="192" y="32"/>
                  <a:pt x="195" y="33"/>
                  <a:pt x="196" y="33"/>
                </a:cubicBezTo>
                <a:cubicBezTo>
                  <a:pt x="197" y="33"/>
                  <a:pt x="197" y="31"/>
                  <a:pt x="198" y="31"/>
                </a:cubicBezTo>
                <a:cubicBezTo>
                  <a:pt x="198" y="30"/>
                  <a:pt x="197" y="31"/>
                  <a:pt x="196" y="31"/>
                </a:cubicBezTo>
                <a:cubicBezTo>
                  <a:pt x="195" y="31"/>
                  <a:pt x="195" y="30"/>
                  <a:pt x="194" y="30"/>
                </a:cubicBezTo>
                <a:cubicBezTo>
                  <a:pt x="192" y="30"/>
                  <a:pt x="191" y="29"/>
                  <a:pt x="189" y="29"/>
                </a:cubicBezTo>
                <a:cubicBezTo>
                  <a:pt x="188" y="29"/>
                  <a:pt x="188" y="30"/>
                  <a:pt x="188" y="31"/>
                </a:cubicBezTo>
                <a:cubicBezTo>
                  <a:pt x="188" y="32"/>
                  <a:pt x="187" y="32"/>
                  <a:pt x="187" y="32"/>
                </a:cubicBezTo>
                <a:cubicBezTo>
                  <a:pt x="186" y="32"/>
                  <a:pt x="187" y="33"/>
                  <a:pt x="187" y="33"/>
                </a:cubicBezTo>
                <a:cubicBezTo>
                  <a:pt x="185" y="34"/>
                  <a:pt x="183" y="35"/>
                  <a:pt x="184" y="38"/>
                </a:cubicBezTo>
                <a:cubicBezTo>
                  <a:pt x="182" y="38"/>
                  <a:pt x="180" y="40"/>
                  <a:pt x="179" y="42"/>
                </a:cubicBezTo>
                <a:cubicBezTo>
                  <a:pt x="175" y="42"/>
                  <a:pt x="175" y="42"/>
                  <a:pt x="175" y="42"/>
                </a:cubicBezTo>
                <a:cubicBezTo>
                  <a:pt x="174" y="42"/>
                  <a:pt x="174" y="43"/>
                  <a:pt x="173" y="43"/>
                </a:cubicBezTo>
                <a:cubicBezTo>
                  <a:pt x="170" y="43"/>
                  <a:pt x="168" y="43"/>
                  <a:pt x="166" y="45"/>
                </a:cubicBezTo>
                <a:cubicBezTo>
                  <a:pt x="165" y="45"/>
                  <a:pt x="165" y="46"/>
                  <a:pt x="164" y="47"/>
                </a:cubicBezTo>
                <a:cubicBezTo>
                  <a:pt x="163" y="47"/>
                  <a:pt x="164" y="48"/>
                  <a:pt x="164" y="48"/>
                </a:cubicBezTo>
                <a:cubicBezTo>
                  <a:pt x="164" y="49"/>
                  <a:pt x="164" y="49"/>
                  <a:pt x="164" y="49"/>
                </a:cubicBezTo>
                <a:cubicBezTo>
                  <a:pt x="161" y="49"/>
                  <a:pt x="161" y="50"/>
                  <a:pt x="159" y="50"/>
                </a:cubicBezTo>
                <a:cubicBezTo>
                  <a:pt x="159" y="52"/>
                  <a:pt x="161" y="52"/>
                  <a:pt x="161" y="53"/>
                </a:cubicBezTo>
                <a:cubicBezTo>
                  <a:pt x="161" y="53"/>
                  <a:pt x="161" y="54"/>
                  <a:pt x="161" y="54"/>
                </a:cubicBezTo>
                <a:cubicBezTo>
                  <a:pt x="160" y="53"/>
                  <a:pt x="160" y="54"/>
                  <a:pt x="159" y="54"/>
                </a:cubicBezTo>
                <a:cubicBezTo>
                  <a:pt x="159" y="53"/>
                  <a:pt x="159" y="53"/>
                  <a:pt x="159" y="53"/>
                </a:cubicBezTo>
                <a:cubicBezTo>
                  <a:pt x="159" y="53"/>
                  <a:pt x="159" y="53"/>
                  <a:pt x="159" y="53"/>
                </a:cubicBezTo>
                <a:cubicBezTo>
                  <a:pt x="159" y="53"/>
                  <a:pt x="159" y="52"/>
                  <a:pt x="159" y="52"/>
                </a:cubicBezTo>
                <a:cubicBezTo>
                  <a:pt x="158" y="52"/>
                  <a:pt x="158" y="52"/>
                  <a:pt x="157" y="52"/>
                </a:cubicBezTo>
                <a:cubicBezTo>
                  <a:pt x="157" y="52"/>
                  <a:pt x="157" y="51"/>
                  <a:pt x="157" y="51"/>
                </a:cubicBezTo>
                <a:cubicBezTo>
                  <a:pt x="157" y="51"/>
                  <a:pt x="156" y="51"/>
                  <a:pt x="155" y="51"/>
                </a:cubicBezTo>
                <a:cubicBezTo>
                  <a:pt x="155" y="50"/>
                  <a:pt x="155" y="50"/>
                  <a:pt x="154" y="50"/>
                </a:cubicBezTo>
                <a:cubicBezTo>
                  <a:pt x="154" y="50"/>
                  <a:pt x="153" y="49"/>
                  <a:pt x="152" y="49"/>
                </a:cubicBezTo>
                <a:cubicBezTo>
                  <a:pt x="149" y="49"/>
                  <a:pt x="149" y="52"/>
                  <a:pt x="145" y="51"/>
                </a:cubicBezTo>
                <a:cubicBezTo>
                  <a:pt x="146" y="50"/>
                  <a:pt x="146" y="50"/>
                  <a:pt x="145" y="49"/>
                </a:cubicBezTo>
                <a:cubicBezTo>
                  <a:pt x="145" y="48"/>
                  <a:pt x="144" y="48"/>
                  <a:pt x="144" y="47"/>
                </a:cubicBezTo>
                <a:cubicBezTo>
                  <a:pt x="145" y="47"/>
                  <a:pt x="145" y="46"/>
                  <a:pt x="146" y="46"/>
                </a:cubicBezTo>
                <a:cubicBezTo>
                  <a:pt x="146" y="46"/>
                  <a:pt x="147" y="47"/>
                  <a:pt x="147" y="47"/>
                </a:cubicBezTo>
                <a:cubicBezTo>
                  <a:pt x="147" y="46"/>
                  <a:pt x="147" y="46"/>
                  <a:pt x="147" y="46"/>
                </a:cubicBezTo>
                <a:cubicBezTo>
                  <a:pt x="147" y="46"/>
                  <a:pt x="147" y="46"/>
                  <a:pt x="147" y="46"/>
                </a:cubicBezTo>
                <a:cubicBezTo>
                  <a:pt x="148" y="46"/>
                  <a:pt x="147" y="45"/>
                  <a:pt x="147" y="45"/>
                </a:cubicBezTo>
                <a:cubicBezTo>
                  <a:pt x="149" y="45"/>
                  <a:pt x="150" y="45"/>
                  <a:pt x="150" y="45"/>
                </a:cubicBezTo>
                <a:cubicBezTo>
                  <a:pt x="151" y="45"/>
                  <a:pt x="151" y="44"/>
                  <a:pt x="151" y="43"/>
                </a:cubicBezTo>
                <a:cubicBezTo>
                  <a:pt x="152" y="43"/>
                  <a:pt x="152" y="43"/>
                  <a:pt x="152" y="42"/>
                </a:cubicBezTo>
                <a:cubicBezTo>
                  <a:pt x="152" y="42"/>
                  <a:pt x="153" y="41"/>
                  <a:pt x="153" y="40"/>
                </a:cubicBezTo>
                <a:cubicBezTo>
                  <a:pt x="153" y="39"/>
                  <a:pt x="153" y="37"/>
                  <a:pt x="153" y="35"/>
                </a:cubicBezTo>
                <a:cubicBezTo>
                  <a:pt x="153" y="33"/>
                  <a:pt x="151" y="34"/>
                  <a:pt x="151" y="33"/>
                </a:cubicBezTo>
                <a:cubicBezTo>
                  <a:pt x="147" y="32"/>
                  <a:pt x="145" y="34"/>
                  <a:pt x="142" y="34"/>
                </a:cubicBezTo>
                <a:cubicBezTo>
                  <a:pt x="140" y="34"/>
                  <a:pt x="139" y="33"/>
                  <a:pt x="137" y="32"/>
                </a:cubicBezTo>
                <a:cubicBezTo>
                  <a:pt x="136" y="32"/>
                  <a:pt x="136" y="31"/>
                  <a:pt x="135" y="31"/>
                </a:cubicBezTo>
                <a:cubicBezTo>
                  <a:pt x="134" y="31"/>
                  <a:pt x="134" y="30"/>
                  <a:pt x="133" y="30"/>
                </a:cubicBezTo>
                <a:cubicBezTo>
                  <a:pt x="130" y="30"/>
                  <a:pt x="130" y="30"/>
                  <a:pt x="130" y="30"/>
                </a:cubicBezTo>
                <a:cubicBezTo>
                  <a:pt x="130" y="31"/>
                  <a:pt x="129" y="30"/>
                  <a:pt x="129" y="31"/>
                </a:cubicBezTo>
                <a:cubicBezTo>
                  <a:pt x="127" y="31"/>
                  <a:pt x="129" y="30"/>
                  <a:pt x="129" y="29"/>
                </a:cubicBezTo>
                <a:cubicBezTo>
                  <a:pt x="128" y="29"/>
                  <a:pt x="128" y="28"/>
                  <a:pt x="128" y="28"/>
                </a:cubicBezTo>
                <a:cubicBezTo>
                  <a:pt x="127" y="28"/>
                  <a:pt x="127" y="28"/>
                  <a:pt x="127" y="27"/>
                </a:cubicBezTo>
                <a:cubicBezTo>
                  <a:pt x="122" y="27"/>
                  <a:pt x="122" y="27"/>
                  <a:pt x="122" y="27"/>
                </a:cubicBezTo>
                <a:cubicBezTo>
                  <a:pt x="121" y="28"/>
                  <a:pt x="121" y="29"/>
                  <a:pt x="119" y="29"/>
                </a:cubicBezTo>
                <a:cubicBezTo>
                  <a:pt x="120" y="28"/>
                  <a:pt x="120" y="27"/>
                  <a:pt x="122" y="27"/>
                </a:cubicBezTo>
                <a:cubicBezTo>
                  <a:pt x="122" y="26"/>
                  <a:pt x="124" y="26"/>
                  <a:pt x="125" y="25"/>
                </a:cubicBezTo>
                <a:cubicBezTo>
                  <a:pt x="125" y="22"/>
                  <a:pt x="125" y="22"/>
                  <a:pt x="125" y="22"/>
                </a:cubicBezTo>
                <a:cubicBezTo>
                  <a:pt x="124" y="21"/>
                  <a:pt x="124" y="20"/>
                  <a:pt x="125" y="20"/>
                </a:cubicBezTo>
                <a:cubicBezTo>
                  <a:pt x="124" y="19"/>
                  <a:pt x="124" y="17"/>
                  <a:pt x="124" y="15"/>
                </a:cubicBezTo>
                <a:cubicBezTo>
                  <a:pt x="124" y="15"/>
                  <a:pt x="122" y="15"/>
                  <a:pt x="122" y="14"/>
                </a:cubicBezTo>
                <a:cubicBezTo>
                  <a:pt x="120" y="14"/>
                  <a:pt x="120" y="12"/>
                  <a:pt x="117" y="12"/>
                </a:cubicBezTo>
                <a:cubicBezTo>
                  <a:pt x="116" y="11"/>
                  <a:pt x="116" y="11"/>
                  <a:pt x="115" y="10"/>
                </a:cubicBezTo>
                <a:cubicBezTo>
                  <a:pt x="115" y="9"/>
                  <a:pt x="115" y="8"/>
                  <a:pt x="114" y="8"/>
                </a:cubicBezTo>
                <a:cubicBezTo>
                  <a:pt x="113" y="9"/>
                  <a:pt x="111" y="9"/>
                  <a:pt x="111" y="10"/>
                </a:cubicBezTo>
                <a:cubicBezTo>
                  <a:pt x="110" y="10"/>
                  <a:pt x="107" y="9"/>
                  <a:pt x="106" y="8"/>
                </a:cubicBezTo>
                <a:cubicBezTo>
                  <a:pt x="101" y="8"/>
                  <a:pt x="101" y="8"/>
                  <a:pt x="101" y="8"/>
                </a:cubicBezTo>
                <a:cubicBezTo>
                  <a:pt x="101" y="8"/>
                  <a:pt x="100" y="9"/>
                  <a:pt x="99" y="8"/>
                </a:cubicBezTo>
                <a:cubicBezTo>
                  <a:pt x="99" y="8"/>
                  <a:pt x="100" y="8"/>
                  <a:pt x="99" y="8"/>
                </a:cubicBezTo>
                <a:cubicBezTo>
                  <a:pt x="99" y="7"/>
                  <a:pt x="99" y="8"/>
                  <a:pt x="99" y="8"/>
                </a:cubicBezTo>
                <a:cubicBezTo>
                  <a:pt x="99" y="8"/>
                  <a:pt x="99" y="7"/>
                  <a:pt x="99" y="7"/>
                </a:cubicBezTo>
                <a:cubicBezTo>
                  <a:pt x="98" y="7"/>
                  <a:pt x="97" y="7"/>
                  <a:pt x="97" y="6"/>
                </a:cubicBezTo>
                <a:cubicBezTo>
                  <a:pt x="90" y="6"/>
                  <a:pt x="90" y="6"/>
                  <a:pt x="90" y="6"/>
                </a:cubicBezTo>
                <a:cubicBezTo>
                  <a:pt x="90" y="7"/>
                  <a:pt x="90" y="7"/>
                  <a:pt x="89" y="7"/>
                </a:cubicBezTo>
                <a:cubicBezTo>
                  <a:pt x="83" y="7"/>
                  <a:pt x="83" y="7"/>
                  <a:pt x="83" y="7"/>
                </a:cubicBezTo>
                <a:cubicBezTo>
                  <a:pt x="83" y="5"/>
                  <a:pt x="84" y="5"/>
                  <a:pt x="84" y="3"/>
                </a:cubicBezTo>
                <a:cubicBezTo>
                  <a:pt x="84" y="3"/>
                  <a:pt x="85" y="3"/>
                  <a:pt x="85" y="2"/>
                </a:cubicBezTo>
                <a:cubicBezTo>
                  <a:pt x="85" y="2"/>
                  <a:pt x="84" y="2"/>
                  <a:pt x="84" y="1"/>
                </a:cubicBezTo>
                <a:cubicBezTo>
                  <a:pt x="84" y="1"/>
                  <a:pt x="84" y="1"/>
                  <a:pt x="84" y="1"/>
                </a:cubicBezTo>
                <a:cubicBezTo>
                  <a:pt x="82" y="0"/>
                  <a:pt x="82" y="2"/>
                  <a:pt x="82" y="3"/>
                </a:cubicBezTo>
                <a:cubicBezTo>
                  <a:pt x="82" y="3"/>
                  <a:pt x="82" y="3"/>
                  <a:pt x="82" y="3"/>
                </a:cubicBezTo>
                <a:cubicBezTo>
                  <a:pt x="82" y="4"/>
                  <a:pt x="81" y="4"/>
                  <a:pt x="81" y="4"/>
                </a:cubicBezTo>
                <a:cubicBezTo>
                  <a:pt x="81" y="4"/>
                  <a:pt x="81" y="4"/>
                  <a:pt x="81" y="4"/>
                </a:cubicBezTo>
                <a:cubicBezTo>
                  <a:pt x="79" y="5"/>
                  <a:pt x="79" y="6"/>
                  <a:pt x="80" y="8"/>
                </a:cubicBezTo>
                <a:cubicBezTo>
                  <a:pt x="80" y="8"/>
                  <a:pt x="80" y="8"/>
                  <a:pt x="80" y="8"/>
                </a:cubicBezTo>
                <a:cubicBezTo>
                  <a:pt x="80" y="9"/>
                  <a:pt x="80" y="9"/>
                  <a:pt x="80" y="9"/>
                </a:cubicBezTo>
                <a:cubicBezTo>
                  <a:pt x="80" y="10"/>
                  <a:pt x="79" y="11"/>
                  <a:pt x="79" y="12"/>
                </a:cubicBezTo>
                <a:cubicBezTo>
                  <a:pt x="79" y="12"/>
                  <a:pt x="79" y="12"/>
                  <a:pt x="79" y="13"/>
                </a:cubicBezTo>
                <a:cubicBezTo>
                  <a:pt x="79" y="13"/>
                  <a:pt x="79" y="13"/>
                  <a:pt x="79" y="13"/>
                </a:cubicBezTo>
                <a:cubicBezTo>
                  <a:pt x="79" y="13"/>
                  <a:pt x="79" y="13"/>
                  <a:pt x="79" y="14"/>
                </a:cubicBezTo>
                <a:cubicBezTo>
                  <a:pt x="78" y="14"/>
                  <a:pt x="79" y="15"/>
                  <a:pt x="79" y="15"/>
                </a:cubicBezTo>
                <a:cubicBezTo>
                  <a:pt x="81" y="16"/>
                  <a:pt x="81" y="15"/>
                  <a:pt x="81" y="13"/>
                </a:cubicBezTo>
                <a:cubicBezTo>
                  <a:pt x="81" y="13"/>
                  <a:pt x="81" y="13"/>
                  <a:pt x="81" y="13"/>
                </a:cubicBezTo>
                <a:cubicBezTo>
                  <a:pt x="81" y="13"/>
                  <a:pt x="81" y="13"/>
                  <a:pt x="81" y="13"/>
                </a:cubicBezTo>
                <a:cubicBezTo>
                  <a:pt x="81" y="12"/>
                  <a:pt x="81" y="12"/>
                  <a:pt x="81" y="12"/>
                </a:cubicBezTo>
                <a:cubicBezTo>
                  <a:pt x="82" y="12"/>
                  <a:pt x="81" y="11"/>
                  <a:pt x="82" y="10"/>
                </a:cubicBezTo>
                <a:cubicBezTo>
                  <a:pt x="82" y="10"/>
                  <a:pt x="82" y="10"/>
                  <a:pt x="82" y="10"/>
                </a:cubicBezTo>
                <a:cubicBezTo>
                  <a:pt x="84" y="10"/>
                  <a:pt x="84" y="8"/>
                  <a:pt x="85" y="9"/>
                </a:cubicBezTo>
                <a:cubicBezTo>
                  <a:pt x="85" y="9"/>
                  <a:pt x="85" y="9"/>
                  <a:pt x="85" y="9"/>
                </a:cubicBezTo>
                <a:cubicBezTo>
                  <a:pt x="86" y="9"/>
                  <a:pt x="86" y="9"/>
                  <a:pt x="87" y="9"/>
                </a:cubicBezTo>
                <a:cubicBezTo>
                  <a:pt x="87" y="9"/>
                  <a:pt x="87" y="9"/>
                  <a:pt x="87" y="9"/>
                </a:cubicBezTo>
                <a:cubicBezTo>
                  <a:pt x="88" y="8"/>
                  <a:pt x="88" y="11"/>
                  <a:pt x="90" y="10"/>
                </a:cubicBezTo>
                <a:cubicBezTo>
                  <a:pt x="90" y="10"/>
                  <a:pt x="90" y="10"/>
                  <a:pt x="90" y="10"/>
                </a:cubicBezTo>
                <a:cubicBezTo>
                  <a:pt x="90" y="10"/>
                  <a:pt x="90" y="10"/>
                  <a:pt x="90" y="10"/>
                </a:cubicBezTo>
                <a:cubicBezTo>
                  <a:pt x="90" y="15"/>
                  <a:pt x="90" y="15"/>
                  <a:pt x="90" y="15"/>
                </a:cubicBezTo>
                <a:cubicBezTo>
                  <a:pt x="90" y="16"/>
                  <a:pt x="89" y="17"/>
                  <a:pt x="88" y="18"/>
                </a:cubicBezTo>
                <a:cubicBezTo>
                  <a:pt x="88" y="18"/>
                  <a:pt x="88" y="18"/>
                  <a:pt x="88" y="18"/>
                </a:cubicBezTo>
                <a:cubicBezTo>
                  <a:pt x="87" y="19"/>
                  <a:pt x="85" y="19"/>
                  <a:pt x="86" y="21"/>
                </a:cubicBezTo>
                <a:cubicBezTo>
                  <a:pt x="86" y="21"/>
                  <a:pt x="87" y="19"/>
                  <a:pt x="88" y="20"/>
                </a:cubicBezTo>
                <a:cubicBezTo>
                  <a:pt x="89" y="20"/>
                  <a:pt x="89" y="20"/>
                  <a:pt x="89" y="20"/>
                </a:cubicBezTo>
                <a:cubicBezTo>
                  <a:pt x="90" y="20"/>
                  <a:pt x="90" y="20"/>
                  <a:pt x="91" y="19"/>
                </a:cubicBezTo>
                <a:cubicBezTo>
                  <a:pt x="91" y="19"/>
                  <a:pt x="91" y="19"/>
                  <a:pt x="91" y="19"/>
                </a:cubicBezTo>
                <a:cubicBezTo>
                  <a:pt x="91" y="18"/>
                  <a:pt x="92" y="19"/>
                  <a:pt x="93" y="19"/>
                </a:cubicBezTo>
                <a:cubicBezTo>
                  <a:pt x="91" y="20"/>
                  <a:pt x="94" y="20"/>
                  <a:pt x="93" y="21"/>
                </a:cubicBezTo>
                <a:cubicBezTo>
                  <a:pt x="93" y="21"/>
                  <a:pt x="94" y="21"/>
                  <a:pt x="94" y="22"/>
                </a:cubicBezTo>
                <a:cubicBezTo>
                  <a:pt x="94" y="22"/>
                  <a:pt x="94" y="22"/>
                  <a:pt x="93" y="22"/>
                </a:cubicBezTo>
                <a:cubicBezTo>
                  <a:pt x="93" y="23"/>
                  <a:pt x="93" y="23"/>
                  <a:pt x="92" y="23"/>
                </a:cubicBezTo>
                <a:cubicBezTo>
                  <a:pt x="92" y="24"/>
                  <a:pt x="93" y="24"/>
                  <a:pt x="94" y="24"/>
                </a:cubicBezTo>
                <a:cubicBezTo>
                  <a:pt x="94" y="25"/>
                  <a:pt x="91" y="25"/>
                  <a:pt x="92" y="27"/>
                </a:cubicBezTo>
                <a:cubicBezTo>
                  <a:pt x="93" y="27"/>
                  <a:pt x="93" y="27"/>
                  <a:pt x="93" y="27"/>
                </a:cubicBezTo>
                <a:cubicBezTo>
                  <a:pt x="93" y="28"/>
                  <a:pt x="93" y="28"/>
                  <a:pt x="93" y="28"/>
                </a:cubicBezTo>
                <a:cubicBezTo>
                  <a:pt x="93" y="28"/>
                  <a:pt x="94" y="28"/>
                  <a:pt x="95" y="28"/>
                </a:cubicBezTo>
                <a:cubicBezTo>
                  <a:pt x="95" y="28"/>
                  <a:pt x="95" y="28"/>
                  <a:pt x="95" y="28"/>
                </a:cubicBezTo>
                <a:cubicBezTo>
                  <a:pt x="96" y="28"/>
                  <a:pt x="96" y="28"/>
                  <a:pt x="97" y="28"/>
                </a:cubicBezTo>
                <a:cubicBezTo>
                  <a:pt x="97" y="27"/>
                  <a:pt x="98" y="27"/>
                  <a:pt x="98" y="28"/>
                </a:cubicBezTo>
                <a:cubicBezTo>
                  <a:pt x="97" y="28"/>
                  <a:pt x="97" y="28"/>
                  <a:pt x="97" y="28"/>
                </a:cubicBezTo>
                <a:cubicBezTo>
                  <a:pt x="97" y="28"/>
                  <a:pt x="96" y="28"/>
                  <a:pt x="96" y="28"/>
                </a:cubicBezTo>
                <a:cubicBezTo>
                  <a:pt x="96" y="28"/>
                  <a:pt x="96" y="28"/>
                  <a:pt x="96" y="28"/>
                </a:cubicBezTo>
                <a:cubicBezTo>
                  <a:pt x="94" y="28"/>
                  <a:pt x="93" y="30"/>
                  <a:pt x="92" y="29"/>
                </a:cubicBezTo>
                <a:cubicBezTo>
                  <a:pt x="92" y="29"/>
                  <a:pt x="92" y="29"/>
                  <a:pt x="92" y="29"/>
                </a:cubicBezTo>
                <a:cubicBezTo>
                  <a:pt x="91" y="30"/>
                  <a:pt x="91" y="30"/>
                  <a:pt x="90" y="30"/>
                </a:cubicBezTo>
                <a:cubicBezTo>
                  <a:pt x="87" y="30"/>
                  <a:pt x="87" y="30"/>
                  <a:pt x="87" y="30"/>
                </a:cubicBezTo>
                <a:cubicBezTo>
                  <a:pt x="86" y="30"/>
                  <a:pt x="85" y="31"/>
                  <a:pt x="85" y="32"/>
                </a:cubicBezTo>
                <a:cubicBezTo>
                  <a:pt x="85" y="32"/>
                  <a:pt x="85" y="33"/>
                  <a:pt x="85" y="33"/>
                </a:cubicBezTo>
                <a:cubicBezTo>
                  <a:pt x="84" y="36"/>
                  <a:pt x="86" y="37"/>
                  <a:pt x="89" y="36"/>
                </a:cubicBezTo>
                <a:cubicBezTo>
                  <a:pt x="89" y="36"/>
                  <a:pt x="89" y="35"/>
                  <a:pt x="90" y="35"/>
                </a:cubicBezTo>
                <a:cubicBezTo>
                  <a:pt x="90" y="36"/>
                  <a:pt x="90" y="36"/>
                  <a:pt x="91" y="36"/>
                </a:cubicBezTo>
                <a:cubicBezTo>
                  <a:pt x="91" y="38"/>
                  <a:pt x="90" y="39"/>
                  <a:pt x="90" y="41"/>
                </a:cubicBezTo>
                <a:cubicBezTo>
                  <a:pt x="90" y="43"/>
                  <a:pt x="94" y="42"/>
                  <a:pt x="94" y="44"/>
                </a:cubicBezTo>
                <a:cubicBezTo>
                  <a:pt x="94" y="45"/>
                  <a:pt x="93" y="45"/>
                  <a:pt x="92" y="45"/>
                </a:cubicBezTo>
                <a:cubicBezTo>
                  <a:pt x="91" y="45"/>
                  <a:pt x="91" y="46"/>
                  <a:pt x="90" y="46"/>
                </a:cubicBezTo>
                <a:cubicBezTo>
                  <a:pt x="90" y="46"/>
                  <a:pt x="90" y="47"/>
                  <a:pt x="90" y="47"/>
                </a:cubicBezTo>
                <a:cubicBezTo>
                  <a:pt x="90" y="47"/>
                  <a:pt x="90" y="47"/>
                  <a:pt x="90" y="47"/>
                </a:cubicBezTo>
                <a:cubicBezTo>
                  <a:pt x="91" y="48"/>
                  <a:pt x="90" y="50"/>
                  <a:pt x="91" y="51"/>
                </a:cubicBezTo>
                <a:cubicBezTo>
                  <a:pt x="91" y="51"/>
                  <a:pt x="91" y="51"/>
                  <a:pt x="91" y="51"/>
                </a:cubicBezTo>
                <a:cubicBezTo>
                  <a:pt x="92" y="51"/>
                  <a:pt x="93" y="53"/>
                  <a:pt x="94" y="53"/>
                </a:cubicBezTo>
                <a:cubicBezTo>
                  <a:pt x="94" y="53"/>
                  <a:pt x="94" y="53"/>
                  <a:pt x="94" y="53"/>
                </a:cubicBezTo>
                <a:cubicBezTo>
                  <a:pt x="95" y="53"/>
                  <a:pt x="96" y="53"/>
                  <a:pt x="97" y="54"/>
                </a:cubicBezTo>
                <a:cubicBezTo>
                  <a:pt x="98" y="54"/>
                  <a:pt x="98" y="54"/>
                  <a:pt x="98" y="54"/>
                </a:cubicBezTo>
                <a:cubicBezTo>
                  <a:pt x="98" y="54"/>
                  <a:pt x="97" y="55"/>
                  <a:pt x="97" y="55"/>
                </a:cubicBezTo>
                <a:cubicBezTo>
                  <a:pt x="95" y="57"/>
                  <a:pt x="92" y="55"/>
                  <a:pt x="90" y="55"/>
                </a:cubicBezTo>
                <a:cubicBezTo>
                  <a:pt x="88" y="55"/>
                  <a:pt x="88" y="55"/>
                  <a:pt x="88" y="55"/>
                </a:cubicBezTo>
                <a:cubicBezTo>
                  <a:pt x="86" y="55"/>
                  <a:pt x="85" y="55"/>
                  <a:pt x="85" y="54"/>
                </a:cubicBezTo>
                <a:cubicBezTo>
                  <a:pt x="85" y="53"/>
                  <a:pt x="84" y="53"/>
                  <a:pt x="84" y="54"/>
                </a:cubicBezTo>
                <a:cubicBezTo>
                  <a:pt x="83" y="54"/>
                  <a:pt x="82" y="55"/>
                  <a:pt x="82" y="56"/>
                </a:cubicBezTo>
                <a:cubicBezTo>
                  <a:pt x="81" y="56"/>
                  <a:pt x="82" y="57"/>
                  <a:pt x="81" y="57"/>
                </a:cubicBezTo>
                <a:cubicBezTo>
                  <a:pt x="80" y="58"/>
                  <a:pt x="80" y="58"/>
                  <a:pt x="80" y="58"/>
                </a:cubicBezTo>
                <a:cubicBezTo>
                  <a:pt x="80" y="61"/>
                  <a:pt x="80" y="63"/>
                  <a:pt x="81" y="65"/>
                </a:cubicBezTo>
                <a:cubicBezTo>
                  <a:pt x="81" y="66"/>
                  <a:pt x="82" y="66"/>
                  <a:pt x="82" y="67"/>
                </a:cubicBezTo>
                <a:cubicBezTo>
                  <a:pt x="80" y="67"/>
                  <a:pt x="80" y="66"/>
                  <a:pt x="79" y="65"/>
                </a:cubicBezTo>
                <a:cubicBezTo>
                  <a:pt x="78" y="65"/>
                  <a:pt x="78" y="64"/>
                  <a:pt x="77" y="64"/>
                </a:cubicBezTo>
                <a:cubicBezTo>
                  <a:pt x="75" y="64"/>
                  <a:pt x="75" y="64"/>
                  <a:pt x="75" y="64"/>
                </a:cubicBezTo>
                <a:cubicBezTo>
                  <a:pt x="74" y="64"/>
                  <a:pt x="74" y="64"/>
                  <a:pt x="74" y="64"/>
                </a:cubicBezTo>
                <a:cubicBezTo>
                  <a:pt x="74" y="65"/>
                  <a:pt x="74" y="65"/>
                  <a:pt x="74" y="65"/>
                </a:cubicBezTo>
                <a:cubicBezTo>
                  <a:pt x="75" y="66"/>
                  <a:pt x="72" y="67"/>
                  <a:pt x="74" y="68"/>
                </a:cubicBezTo>
                <a:cubicBezTo>
                  <a:pt x="74" y="68"/>
                  <a:pt x="74" y="69"/>
                  <a:pt x="74" y="69"/>
                </a:cubicBezTo>
                <a:cubicBezTo>
                  <a:pt x="74" y="69"/>
                  <a:pt x="74" y="69"/>
                  <a:pt x="74" y="69"/>
                </a:cubicBezTo>
                <a:cubicBezTo>
                  <a:pt x="75" y="69"/>
                  <a:pt x="75" y="70"/>
                  <a:pt x="75" y="71"/>
                </a:cubicBezTo>
                <a:cubicBezTo>
                  <a:pt x="74" y="71"/>
                  <a:pt x="74" y="72"/>
                  <a:pt x="74" y="72"/>
                </a:cubicBezTo>
                <a:cubicBezTo>
                  <a:pt x="72" y="72"/>
                  <a:pt x="71" y="71"/>
                  <a:pt x="71" y="69"/>
                </a:cubicBezTo>
                <a:cubicBezTo>
                  <a:pt x="71" y="63"/>
                  <a:pt x="71" y="63"/>
                  <a:pt x="71" y="63"/>
                </a:cubicBezTo>
                <a:cubicBezTo>
                  <a:pt x="70" y="62"/>
                  <a:pt x="70" y="61"/>
                  <a:pt x="69" y="59"/>
                </a:cubicBezTo>
                <a:cubicBezTo>
                  <a:pt x="68" y="59"/>
                  <a:pt x="68" y="59"/>
                  <a:pt x="67" y="58"/>
                </a:cubicBezTo>
                <a:cubicBezTo>
                  <a:pt x="66" y="59"/>
                  <a:pt x="63" y="58"/>
                  <a:pt x="60" y="58"/>
                </a:cubicBezTo>
                <a:cubicBezTo>
                  <a:pt x="59" y="58"/>
                  <a:pt x="59" y="59"/>
                  <a:pt x="58" y="59"/>
                </a:cubicBezTo>
                <a:cubicBezTo>
                  <a:pt x="57" y="59"/>
                  <a:pt x="56" y="59"/>
                  <a:pt x="56" y="60"/>
                </a:cubicBezTo>
                <a:cubicBezTo>
                  <a:pt x="54" y="60"/>
                  <a:pt x="54" y="60"/>
                  <a:pt x="54" y="60"/>
                </a:cubicBezTo>
                <a:cubicBezTo>
                  <a:pt x="54" y="60"/>
                  <a:pt x="53" y="60"/>
                  <a:pt x="53" y="59"/>
                </a:cubicBezTo>
                <a:cubicBezTo>
                  <a:pt x="49" y="59"/>
                  <a:pt x="49" y="59"/>
                  <a:pt x="49" y="59"/>
                </a:cubicBezTo>
                <a:cubicBezTo>
                  <a:pt x="47" y="60"/>
                  <a:pt x="46" y="61"/>
                  <a:pt x="44" y="62"/>
                </a:cubicBezTo>
                <a:cubicBezTo>
                  <a:pt x="43" y="63"/>
                  <a:pt x="43" y="64"/>
                  <a:pt x="43" y="65"/>
                </a:cubicBezTo>
                <a:cubicBezTo>
                  <a:pt x="42" y="66"/>
                  <a:pt x="42" y="67"/>
                  <a:pt x="41" y="67"/>
                </a:cubicBezTo>
                <a:cubicBezTo>
                  <a:pt x="40" y="67"/>
                  <a:pt x="40" y="67"/>
                  <a:pt x="40" y="68"/>
                </a:cubicBezTo>
                <a:cubicBezTo>
                  <a:pt x="39" y="70"/>
                  <a:pt x="40" y="71"/>
                  <a:pt x="41" y="72"/>
                </a:cubicBezTo>
                <a:cubicBezTo>
                  <a:pt x="41" y="73"/>
                  <a:pt x="41" y="73"/>
                  <a:pt x="41" y="73"/>
                </a:cubicBezTo>
                <a:cubicBezTo>
                  <a:pt x="42" y="73"/>
                  <a:pt x="43" y="74"/>
                  <a:pt x="44" y="74"/>
                </a:cubicBezTo>
                <a:cubicBezTo>
                  <a:pt x="44" y="74"/>
                  <a:pt x="44" y="74"/>
                  <a:pt x="44" y="74"/>
                </a:cubicBezTo>
                <a:cubicBezTo>
                  <a:pt x="44" y="76"/>
                  <a:pt x="47" y="75"/>
                  <a:pt x="46" y="77"/>
                </a:cubicBezTo>
                <a:cubicBezTo>
                  <a:pt x="46" y="77"/>
                  <a:pt x="46" y="77"/>
                  <a:pt x="46" y="78"/>
                </a:cubicBezTo>
                <a:cubicBezTo>
                  <a:pt x="46" y="78"/>
                  <a:pt x="46" y="78"/>
                  <a:pt x="46" y="79"/>
                </a:cubicBezTo>
                <a:cubicBezTo>
                  <a:pt x="46" y="91"/>
                  <a:pt x="46" y="91"/>
                  <a:pt x="46" y="91"/>
                </a:cubicBezTo>
                <a:cubicBezTo>
                  <a:pt x="45" y="91"/>
                  <a:pt x="46" y="93"/>
                  <a:pt x="44" y="93"/>
                </a:cubicBezTo>
                <a:cubicBezTo>
                  <a:pt x="44" y="94"/>
                  <a:pt x="44" y="95"/>
                  <a:pt x="42" y="95"/>
                </a:cubicBezTo>
                <a:cubicBezTo>
                  <a:pt x="43" y="99"/>
                  <a:pt x="40" y="100"/>
                  <a:pt x="41" y="104"/>
                </a:cubicBezTo>
                <a:cubicBezTo>
                  <a:pt x="39" y="104"/>
                  <a:pt x="41" y="107"/>
                  <a:pt x="39" y="107"/>
                </a:cubicBezTo>
                <a:cubicBezTo>
                  <a:pt x="36" y="106"/>
                  <a:pt x="32" y="107"/>
                  <a:pt x="30" y="106"/>
                </a:cubicBezTo>
                <a:cubicBezTo>
                  <a:pt x="30" y="106"/>
                  <a:pt x="30" y="106"/>
                  <a:pt x="30" y="106"/>
                </a:cubicBezTo>
                <a:cubicBezTo>
                  <a:pt x="30" y="106"/>
                  <a:pt x="30" y="106"/>
                  <a:pt x="30" y="106"/>
                </a:cubicBezTo>
                <a:cubicBezTo>
                  <a:pt x="30" y="107"/>
                  <a:pt x="30" y="107"/>
                  <a:pt x="30" y="107"/>
                </a:cubicBezTo>
                <a:cubicBezTo>
                  <a:pt x="30" y="107"/>
                  <a:pt x="30" y="107"/>
                  <a:pt x="30" y="107"/>
                </a:cubicBezTo>
                <a:cubicBezTo>
                  <a:pt x="30" y="107"/>
                  <a:pt x="30" y="108"/>
                  <a:pt x="30" y="108"/>
                </a:cubicBezTo>
                <a:cubicBezTo>
                  <a:pt x="30" y="108"/>
                  <a:pt x="30" y="108"/>
                  <a:pt x="30" y="108"/>
                </a:cubicBezTo>
                <a:cubicBezTo>
                  <a:pt x="30" y="108"/>
                  <a:pt x="30" y="108"/>
                  <a:pt x="30" y="108"/>
                </a:cubicBezTo>
                <a:cubicBezTo>
                  <a:pt x="30" y="108"/>
                  <a:pt x="30" y="108"/>
                  <a:pt x="30" y="108"/>
                </a:cubicBezTo>
                <a:cubicBezTo>
                  <a:pt x="30" y="108"/>
                  <a:pt x="30" y="108"/>
                  <a:pt x="30" y="108"/>
                </a:cubicBezTo>
                <a:cubicBezTo>
                  <a:pt x="30" y="108"/>
                  <a:pt x="30" y="108"/>
                  <a:pt x="30" y="109"/>
                </a:cubicBezTo>
                <a:cubicBezTo>
                  <a:pt x="30" y="109"/>
                  <a:pt x="30" y="109"/>
                  <a:pt x="30" y="109"/>
                </a:cubicBezTo>
                <a:cubicBezTo>
                  <a:pt x="30" y="109"/>
                  <a:pt x="30" y="109"/>
                  <a:pt x="30" y="109"/>
                </a:cubicBezTo>
                <a:cubicBezTo>
                  <a:pt x="30" y="109"/>
                  <a:pt x="30" y="109"/>
                  <a:pt x="30" y="109"/>
                </a:cubicBezTo>
                <a:cubicBezTo>
                  <a:pt x="30" y="109"/>
                  <a:pt x="30" y="109"/>
                  <a:pt x="30" y="109"/>
                </a:cubicBezTo>
                <a:cubicBezTo>
                  <a:pt x="31" y="110"/>
                  <a:pt x="31" y="112"/>
                  <a:pt x="33" y="111"/>
                </a:cubicBezTo>
                <a:cubicBezTo>
                  <a:pt x="33" y="111"/>
                  <a:pt x="33" y="111"/>
                  <a:pt x="34" y="111"/>
                </a:cubicBezTo>
                <a:cubicBezTo>
                  <a:pt x="34" y="111"/>
                  <a:pt x="35" y="111"/>
                  <a:pt x="35" y="111"/>
                </a:cubicBezTo>
                <a:cubicBezTo>
                  <a:pt x="35" y="112"/>
                  <a:pt x="35" y="112"/>
                  <a:pt x="36" y="112"/>
                </a:cubicBezTo>
                <a:cubicBezTo>
                  <a:pt x="36" y="111"/>
                  <a:pt x="37" y="112"/>
                  <a:pt x="37" y="113"/>
                </a:cubicBezTo>
                <a:cubicBezTo>
                  <a:pt x="37" y="113"/>
                  <a:pt x="37" y="113"/>
                  <a:pt x="37" y="113"/>
                </a:cubicBezTo>
                <a:cubicBezTo>
                  <a:pt x="38" y="113"/>
                  <a:pt x="40" y="113"/>
                  <a:pt x="39" y="116"/>
                </a:cubicBezTo>
                <a:cubicBezTo>
                  <a:pt x="39" y="116"/>
                  <a:pt x="39" y="116"/>
                  <a:pt x="39" y="116"/>
                </a:cubicBezTo>
                <a:cubicBezTo>
                  <a:pt x="39" y="116"/>
                  <a:pt x="39" y="116"/>
                  <a:pt x="39" y="116"/>
                </a:cubicBezTo>
                <a:cubicBezTo>
                  <a:pt x="39" y="116"/>
                  <a:pt x="39" y="116"/>
                  <a:pt x="39" y="116"/>
                </a:cubicBezTo>
                <a:cubicBezTo>
                  <a:pt x="39" y="116"/>
                  <a:pt x="39" y="116"/>
                  <a:pt x="39" y="116"/>
                </a:cubicBezTo>
                <a:cubicBezTo>
                  <a:pt x="39" y="116"/>
                  <a:pt x="40" y="116"/>
                  <a:pt x="40" y="116"/>
                </a:cubicBezTo>
                <a:cubicBezTo>
                  <a:pt x="39" y="118"/>
                  <a:pt x="40" y="121"/>
                  <a:pt x="39" y="122"/>
                </a:cubicBezTo>
                <a:cubicBezTo>
                  <a:pt x="39" y="123"/>
                  <a:pt x="39" y="123"/>
                  <a:pt x="39" y="123"/>
                </a:cubicBezTo>
                <a:cubicBezTo>
                  <a:pt x="37" y="123"/>
                  <a:pt x="37" y="123"/>
                  <a:pt x="37" y="123"/>
                </a:cubicBezTo>
                <a:cubicBezTo>
                  <a:pt x="37" y="122"/>
                  <a:pt x="36" y="122"/>
                  <a:pt x="36" y="123"/>
                </a:cubicBezTo>
                <a:cubicBezTo>
                  <a:pt x="36" y="123"/>
                  <a:pt x="35" y="124"/>
                  <a:pt x="34" y="124"/>
                </a:cubicBezTo>
                <a:cubicBezTo>
                  <a:pt x="33" y="126"/>
                  <a:pt x="31" y="127"/>
                  <a:pt x="28" y="128"/>
                </a:cubicBezTo>
                <a:cubicBezTo>
                  <a:pt x="28" y="130"/>
                  <a:pt x="26" y="129"/>
                  <a:pt x="26" y="131"/>
                </a:cubicBezTo>
                <a:cubicBezTo>
                  <a:pt x="26" y="133"/>
                  <a:pt x="27" y="134"/>
                  <a:pt x="28" y="134"/>
                </a:cubicBezTo>
                <a:cubicBezTo>
                  <a:pt x="27" y="137"/>
                  <a:pt x="23" y="138"/>
                  <a:pt x="19" y="138"/>
                </a:cubicBezTo>
                <a:cubicBezTo>
                  <a:pt x="18" y="138"/>
                  <a:pt x="17" y="138"/>
                  <a:pt x="17" y="138"/>
                </a:cubicBezTo>
                <a:cubicBezTo>
                  <a:pt x="17" y="138"/>
                  <a:pt x="17" y="137"/>
                  <a:pt x="17" y="137"/>
                </a:cubicBezTo>
                <a:cubicBezTo>
                  <a:pt x="17" y="137"/>
                  <a:pt x="16" y="137"/>
                  <a:pt x="15" y="137"/>
                </a:cubicBezTo>
                <a:cubicBezTo>
                  <a:pt x="14" y="137"/>
                  <a:pt x="13" y="136"/>
                  <a:pt x="13" y="136"/>
                </a:cubicBezTo>
                <a:cubicBezTo>
                  <a:pt x="13" y="136"/>
                  <a:pt x="13" y="136"/>
                  <a:pt x="12" y="136"/>
                </a:cubicBezTo>
                <a:cubicBezTo>
                  <a:pt x="12" y="136"/>
                  <a:pt x="12" y="136"/>
                  <a:pt x="12" y="136"/>
                </a:cubicBezTo>
                <a:cubicBezTo>
                  <a:pt x="12" y="136"/>
                  <a:pt x="12" y="136"/>
                  <a:pt x="12" y="136"/>
                </a:cubicBezTo>
                <a:cubicBezTo>
                  <a:pt x="12" y="136"/>
                  <a:pt x="12" y="136"/>
                  <a:pt x="12" y="136"/>
                </a:cubicBezTo>
                <a:cubicBezTo>
                  <a:pt x="12" y="136"/>
                  <a:pt x="11" y="136"/>
                  <a:pt x="11" y="137"/>
                </a:cubicBezTo>
                <a:cubicBezTo>
                  <a:pt x="11" y="137"/>
                  <a:pt x="11" y="137"/>
                  <a:pt x="11" y="137"/>
                </a:cubicBezTo>
                <a:cubicBezTo>
                  <a:pt x="11" y="137"/>
                  <a:pt x="10" y="137"/>
                  <a:pt x="10" y="138"/>
                </a:cubicBezTo>
                <a:cubicBezTo>
                  <a:pt x="10" y="138"/>
                  <a:pt x="10" y="138"/>
                  <a:pt x="10" y="139"/>
                </a:cubicBezTo>
                <a:cubicBezTo>
                  <a:pt x="9" y="139"/>
                  <a:pt x="8" y="140"/>
                  <a:pt x="8" y="140"/>
                </a:cubicBezTo>
                <a:cubicBezTo>
                  <a:pt x="7" y="140"/>
                  <a:pt x="6" y="141"/>
                  <a:pt x="6" y="141"/>
                </a:cubicBezTo>
                <a:cubicBezTo>
                  <a:pt x="6" y="141"/>
                  <a:pt x="5" y="141"/>
                  <a:pt x="5" y="141"/>
                </a:cubicBezTo>
                <a:cubicBezTo>
                  <a:pt x="5" y="142"/>
                  <a:pt x="5" y="142"/>
                  <a:pt x="5" y="142"/>
                </a:cubicBezTo>
                <a:cubicBezTo>
                  <a:pt x="5" y="142"/>
                  <a:pt x="5" y="142"/>
                  <a:pt x="5" y="142"/>
                </a:cubicBezTo>
                <a:cubicBezTo>
                  <a:pt x="6" y="142"/>
                  <a:pt x="6" y="143"/>
                  <a:pt x="6" y="145"/>
                </a:cubicBezTo>
                <a:cubicBezTo>
                  <a:pt x="6" y="146"/>
                  <a:pt x="7" y="147"/>
                  <a:pt x="7" y="148"/>
                </a:cubicBezTo>
                <a:cubicBezTo>
                  <a:pt x="7" y="150"/>
                  <a:pt x="7" y="150"/>
                  <a:pt x="7" y="150"/>
                </a:cubicBezTo>
                <a:cubicBezTo>
                  <a:pt x="8" y="150"/>
                  <a:pt x="8" y="151"/>
                  <a:pt x="8" y="151"/>
                </a:cubicBezTo>
                <a:cubicBezTo>
                  <a:pt x="8" y="151"/>
                  <a:pt x="9" y="151"/>
                  <a:pt x="9" y="151"/>
                </a:cubicBezTo>
                <a:cubicBezTo>
                  <a:pt x="9" y="152"/>
                  <a:pt x="9" y="153"/>
                  <a:pt x="9" y="153"/>
                </a:cubicBezTo>
                <a:cubicBezTo>
                  <a:pt x="9" y="153"/>
                  <a:pt x="9" y="153"/>
                  <a:pt x="10" y="153"/>
                </a:cubicBezTo>
                <a:cubicBezTo>
                  <a:pt x="10" y="153"/>
                  <a:pt x="9" y="154"/>
                  <a:pt x="10" y="155"/>
                </a:cubicBezTo>
                <a:cubicBezTo>
                  <a:pt x="10" y="155"/>
                  <a:pt x="10" y="155"/>
                  <a:pt x="10" y="155"/>
                </a:cubicBezTo>
                <a:cubicBezTo>
                  <a:pt x="10" y="156"/>
                  <a:pt x="10" y="156"/>
                  <a:pt x="10" y="157"/>
                </a:cubicBezTo>
                <a:cubicBezTo>
                  <a:pt x="11" y="157"/>
                  <a:pt x="12" y="158"/>
                  <a:pt x="12" y="159"/>
                </a:cubicBezTo>
                <a:cubicBezTo>
                  <a:pt x="12" y="162"/>
                  <a:pt x="12" y="162"/>
                  <a:pt x="12" y="162"/>
                </a:cubicBezTo>
                <a:cubicBezTo>
                  <a:pt x="11" y="165"/>
                  <a:pt x="8" y="165"/>
                  <a:pt x="7" y="169"/>
                </a:cubicBezTo>
                <a:cubicBezTo>
                  <a:pt x="8" y="169"/>
                  <a:pt x="8" y="169"/>
                  <a:pt x="9" y="169"/>
                </a:cubicBezTo>
                <a:cubicBezTo>
                  <a:pt x="9" y="169"/>
                  <a:pt x="10" y="170"/>
                  <a:pt x="10" y="171"/>
                </a:cubicBezTo>
                <a:cubicBezTo>
                  <a:pt x="8" y="170"/>
                  <a:pt x="7" y="171"/>
                  <a:pt x="7" y="172"/>
                </a:cubicBezTo>
                <a:cubicBezTo>
                  <a:pt x="6" y="172"/>
                  <a:pt x="5" y="172"/>
                  <a:pt x="5" y="173"/>
                </a:cubicBezTo>
                <a:cubicBezTo>
                  <a:pt x="3" y="173"/>
                  <a:pt x="2" y="174"/>
                  <a:pt x="1" y="175"/>
                </a:cubicBezTo>
                <a:cubicBezTo>
                  <a:pt x="0" y="178"/>
                  <a:pt x="1" y="179"/>
                  <a:pt x="2" y="180"/>
                </a:cubicBezTo>
                <a:cubicBezTo>
                  <a:pt x="3" y="180"/>
                  <a:pt x="3" y="180"/>
                  <a:pt x="3" y="180"/>
                </a:cubicBezTo>
                <a:cubicBezTo>
                  <a:pt x="3" y="181"/>
                  <a:pt x="3" y="182"/>
                  <a:pt x="4" y="182"/>
                </a:cubicBezTo>
                <a:cubicBezTo>
                  <a:pt x="4" y="183"/>
                  <a:pt x="5" y="183"/>
                  <a:pt x="5" y="185"/>
                </a:cubicBezTo>
                <a:cubicBezTo>
                  <a:pt x="5" y="185"/>
                  <a:pt x="4" y="185"/>
                  <a:pt x="3" y="185"/>
                </a:cubicBezTo>
                <a:cubicBezTo>
                  <a:pt x="3" y="186"/>
                  <a:pt x="3" y="185"/>
                  <a:pt x="3" y="186"/>
                </a:cubicBezTo>
                <a:cubicBezTo>
                  <a:pt x="2" y="186"/>
                  <a:pt x="3" y="187"/>
                  <a:pt x="2" y="187"/>
                </a:cubicBezTo>
                <a:cubicBezTo>
                  <a:pt x="2" y="188"/>
                  <a:pt x="2" y="188"/>
                  <a:pt x="2" y="188"/>
                </a:cubicBezTo>
                <a:cubicBezTo>
                  <a:pt x="3" y="188"/>
                  <a:pt x="3" y="189"/>
                  <a:pt x="3" y="189"/>
                </a:cubicBezTo>
                <a:cubicBezTo>
                  <a:pt x="4" y="189"/>
                  <a:pt x="4" y="189"/>
                  <a:pt x="4" y="189"/>
                </a:cubicBezTo>
                <a:cubicBezTo>
                  <a:pt x="4" y="189"/>
                  <a:pt x="5" y="190"/>
                  <a:pt x="5" y="190"/>
                </a:cubicBezTo>
                <a:cubicBezTo>
                  <a:pt x="5" y="190"/>
                  <a:pt x="6" y="190"/>
                  <a:pt x="6" y="191"/>
                </a:cubicBezTo>
                <a:cubicBezTo>
                  <a:pt x="6" y="191"/>
                  <a:pt x="7" y="191"/>
                  <a:pt x="7" y="192"/>
                </a:cubicBezTo>
                <a:cubicBezTo>
                  <a:pt x="6" y="195"/>
                  <a:pt x="8" y="195"/>
                  <a:pt x="9" y="197"/>
                </a:cubicBezTo>
                <a:cubicBezTo>
                  <a:pt x="9" y="198"/>
                  <a:pt x="7" y="198"/>
                  <a:pt x="7" y="200"/>
                </a:cubicBezTo>
                <a:cubicBezTo>
                  <a:pt x="8" y="201"/>
                  <a:pt x="9" y="201"/>
                  <a:pt x="10" y="201"/>
                </a:cubicBezTo>
                <a:cubicBezTo>
                  <a:pt x="10" y="203"/>
                  <a:pt x="11" y="202"/>
                  <a:pt x="11" y="204"/>
                </a:cubicBezTo>
                <a:cubicBezTo>
                  <a:pt x="11" y="206"/>
                  <a:pt x="10" y="206"/>
                  <a:pt x="10" y="208"/>
                </a:cubicBezTo>
                <a:cubicBezTo>
                  <a:pt x="11" y="209"/>
                  <a:pt x="12" y="209"/>
                  <a:pt x="12" y="210"/>
                </a:cubicBezTo>
                <a:cubicBezTo>
                  <a:pt x="13" y="210"/>
                  <a:pt x="13" y="210"/>
                  <a:pt x="13" y="210"/>
                </a:cubicBezTo>
                <a:cubicBezTo>
                  <a:pt x="12" y="212"/>
                  <a:pt x="10" y="213"/>
                  <a:pt x="8" y="214"/>
                </a:cubicBezTo>
                <a:cubicBezTo>
                  <a:pt x="8" y="215"/>
                  <a:pt x="6" y="215"/>
                  <a:pt x="6" y="216"/>
                </a:cubicBezTo>
                <a:cubicBezTo>
                  <a:pt x="6" y="217"/>
                  <a:pt x="4" y="216"/>
                  <a:pt x="4" y="217"/>
                </a:cubicBezTo>
                <a:cubicBezTo>
                  <a:pt x="4" y="218"/>
                  <a:pt x="4" y="218"/>
                  <a:pt x="3" y="218"/>
                </a:cubicBezTo>
                <a:cubicBezTo>
                  <a:pt x="3" y="218"/>
                  <a:pt x="3" y="218"/>
                  <a:pt x="3" y="218"/>
                </a:cubicBezTo>
                <a:cubicBezTo>
                  <a:pt x="2" y="219"/>
                  <a:pt x="3" y="220"/>
                  <a:pt x="2" y="220"/>
                </a:cubicBezTo>
                <a:cubicBezTo>
                  <a:pt x="2" y="222"/>
                  <a:pt x="3" y="222"/>
                  <a:pt x="3" y="224"/>
                </a:cubicBezTo>
                <a:cubicBezTo>
                  <a:pt x="4" y="224"/>
                  <a:pt x="4" y="227"/>
                  <a:pt x="4" y="228"/>
                </a:cubicBezTo>
                <a:cubicBezTo>
                  <a:pt x="5" y="228"/>
                  <a:pt x="5" y="230"/>
                  <a:pt x="5" y="231"/>
                </a:cubicBezTo>
                <a:cubicBezTo>
                  <a:pt x="5" y="231"/>
                  <a:pt x="6" y="230"/>
                  <a:pt x="6" y="231"/>
                </a:cubicBezTo>
                <a:cubicBezTo>
                  <a:pt x="6" y="231"/>
                  <a:pt x="6" y="231"/>
                  <a:pt x="6" y="231"/>
                </a:cubicBezTo>
                <a:cubicBezTo>
                  <a:pt x="6" y="231"/>
                  <a:pt x="7" y="231"/>
                  <a:pt x="7" y="231"/>
                </a:cubicBezTo>
                <a:cubicBezTo>
                  <a:pt x="7" y="231"/>
                  <a:pt x="7" y="232"/>
                  <a:pt x="7" y="233"/>
                </a:cubicBezTo>
                <a:cubicBezTo>
                  <a:pt x="7" y="233"/>
                  <a:pt x="8" y="233"/>
                  <a:pt x="8" y="233"/>
                </a:cubicBezTo>
                <a:cubicBezTo>
                  <a:pt x="9" y="233"/>
                  <a:pt x="9" y="233"/>
                  <a:pt x="9" y="234"/>
                </a:cubicBezTo>
                <a:cubicBezTo>
                  <a:pt x="9" y="234"/>
                  <a:pt x="10" y="234"/>
                  <a:pt x="10" y="235"/>
                </a:cubicBezTo>
                <a:cubicBezTo>
                  <a:pt x="12" y="234"/>
                  <a:pt x="11" y="236"/>
                  <a:pt x="11" y="238"/>
                </a:cubicBezTo>
                <a:cubicBezTo>
                  <a:pt x="11" y="238"/>
                  <a:pt x="11" y="238"/>
                  <a:pt x="11" y="238"/>
                </a:cubicBezTo>
                <a:cubicBezTo>
                  <a:pt x="11" y="240"/>
                  <a:pt x="9" y="239"/>
                  <a:pt x="10" y="241"/>
                </a:cubicBezTo>
                <a:cubicBezTo>
                  <a:pt x="10" y="243"/>
                  <a:pt x="7" y="242"/>
                  <a:pt x="8" y="244"/>
                </a:cubicBezTo>
                <a:cubicBezTo>
                  <a:pt x="7" y="244"/>
                  <a:pt x="6" y="245"/>
                  <a:pt x="6" y="247"/>
                </a:cubicBezTo>
                <a:cubicBezTo>
                  <a:pt x="6" y="247"/>
                  <a:pt x="6" y="247"/>
                  <a:pt x="5" y="247"/>
                </a:cubicBezTo>
                <a:cubicBezTo>
                  <a:pt x="6" y="249"/>
                  <a:pt x="7" y="250"/>
                  <a:pt x="7" y="252"/>
                </a:cubicBezTo>
                <a:cubicBezTo>
                  <a:pt x="8" y="254"/>
                  <a:pt x="9" y="254"/>
                  <a:pt x="10" y="255"/>
                </a:cubicBezTo>
                <a:cubicBezTo>
                  <a:pt x="11" y="255"/>
                  <a:pt x="10" y="257"/>
                  <a:pt x="12" y="257"/>
                </a:cubicBezTo>
                <a:cubicBezTo>
                  <a:pt x="11" y="259"/>
                  <a:pt x="13" y="259"/>
                  <a:pt x="12" y="261"/>
                </a:cubicBezTo>
                <a:cubicBezTo>
                  <a:pt x="13" y="263"/>
                  <a:pt x="16" y="264"/>
                  <a:pt x="18" y="265"/>
                </a:cubicBezTo>
                <a:cubicBezTo>
                  <a:pt x="20" y="266"/>
                  <a:pt x="21" y="264"/>
                  <a:pt x="23" y="265"/>
                </a:cubicBezTo>
                <a:cubicBezTo>
                  <a:pt x="23" y="267"/>
                  <a:pt x="25" y="267"/>
                  <a:pt x="25" y="268"/>
                </a:cubicBezTo>
                <a:cubicBezTo>
                  <a:pt x="25" y="268"/>
                  <a:pt x="26" y="268"/>
                  <a:pt x="26" y="268"/>
                </a:cubicBezTo>
                <a:cubicBezTo>
                  <a:pt x="29" y="268"/>
                  <a:pt x="30" y="269"/>
                  <a:pt x="33" y="270"/>
                </a:cubicBezTo>
                <a:cubicBezTo>
                  <a:pt x="34" y="269"/>
                  <a:pt x="35" y="268"/>
                  <a:pt x="37" y="267"/>
                </a:cubicBezTo>
                <a:cubicBezTo>
                  <a:pt x="37" y="267"/>
                  <a:pt x="37" y="268"/>
                  <a:pt x="38" y="268"/>
                </a:cubicBezTo>
                <a:cubicBezTo>
                  <a:pt x="39" y="268"/>
                  <a:pt x="38" y="269"/>
                  <a:pt x="39" y="269"/>
                </a:cubicBezTo>
                <a:cubicBezTo>
                  <a:pt x="39" y="269"/>
                  <a:pt x="39" y="269"/>
                  <a:pt x="40" y="269"/>
                </a:cubicBezTo>
                <a:cubicBezTo>
                  <a:pt x="40" y="269"/>
                  <a:pt x="39" y="269"/>
                  <a:pt x="40" y="270"/>
                </a:cubicBezTo>
                <a:cubicBezTo>
                  <a:pt x="40" y="270"/>
                  <a:pt x="41" y="269"/>
                  <a:pt x="41" y="270"/>
                </a:cubicBezTo>
                <a:cubicBezTo>
                  <a:pt x="41" y="270"/>
                  <a:pt x="41" y="270"/>
                  <a:pt x="42" y="270"/>
                </a:cubicBezTo>
                <a:cubicBezTo>
                  <a:pt x="42" y="270"/>
                  <a:pt x="42" y="270"/>
                  <a:pt x="42" y="270"/>
                </a:cubicBezTo>
                <a:cubicBezTo>
                  <a:pt x="43" y="270"/>
                  <a:pt x="44" y="269"/>
                  <a:pt x="45" y="270"/>
                </a:cubicBezTo>
                <a:cubicBezTo>
                  <a:pt x="45" y="270"/>
                  <a:pt x="46" y="270"/>
                  <a:pt x="46" y="270"/>
                </a:cubicBezTo>
                <a:cubicBezTo>
                  <a:pt x="47" y="270"/>
                  <a:pt x="47" y="271"/>
                  <a:pt x="49" y="271"/>
                </a:cubicBezTo>
                <a:cubicBezTo>
                  <a:pt x="53" y="271"/>
                  <a:pt x="53" y="271"/>
                  <a:pt x="53" y="271"/>
                </a:cubicBezTo>
                <a:cubicBezTo>
                  <a:pt x="53" y="271"/>
                  <a:pt x="53" y="272"/>
                  <a:pt x="53" y="272"/>
                </a:cubicBezTo>
                <a:cubicBezTo>
                  <a:pt x="53" y="272"/>
                  <a:pt x="54" y="273"/>
                  <a:pt x="53" y="273"/>
                </a:cubicBezTo>
                <a:cubicBezTo>
                  <a:pt x="56" y="273"/>
                  <a:pt x="56" y="274"/>
                  <a:pt x="58" y="274"/>
                </a:cubicBezTo>
                <a:cubicBezTo>
                  <a:pt x="58" y="275"/>
                  <a:pt x="59" y="274"/>
                  <a:pt x="59" y="275"/>
                </a:cubicBezTo>
                <a:cubicBezTo>
                  <a:pt x="60" y="275"/>
                  <a:pt x="60" y="276"/>
                  <a:pt x="61" y="276"/>
                </a:cubicBezTo>
                <a:cubicBezTo>
                  <a:pt x="61" y="279"/>
                  <a:pt x="58" y="278"/>
                  <a:pt x="58" y="281"/>
                </a:cubicBezTo>
                <a:cubicBezTo>
                  <a:pt x="57" y="281"/>
                  <a:pt x="56" y="283"/>
                  <a:pt x="56" y="284"/>
                </a:cubicBezTo>
                <a:cubicBezTo>
                  <a:pt x="55" y="284"/>
                  <a:pt x="56" y="285"/>
                  <a:pt x="56" y="285"/>
                </a:cubicBezTo>
                <a:cubicBezTo>
                  <a:pt x="55" y="285"/>
                  <a:pt x="55" y="285"/>
                  <a:pt x="55" y="285"/>
                </a:cubicBezTo>
                <a:cubicBezTo>
                  <a:pt x="55" y="285"/>
                  <a:pt x="55" y="285"/>
                  <a:pt x="55" y="286"/>
                </a:cubicBezTo>
                <a:cubicBezTo>
                  <a:pt x="55" y="286"/>
                  <a:pt x="54" y="285"/>
                  <a:pt x="54" y="286"/>
                </a:cubicBezTo>
                <a:cubicBezTo>
                  <a:pt x="54" y="286"/>
                  <a:pt x="54" y="286"/>
                  <a:pt x="54" y="286"/>
                </a:cubicBezTo>
                <a:cubicBezTo>
                  <a:pt x="54" y="286"/>
                  <a:pt x="54" y="286"/>
                  <a:pt x="53" y="286"/>
                </a:cubicBezTo>
                <a:cubicBezTo>
                  <a:pt x="53" y="287"/>
                  <a:pt x="54" y="288"/>
                  <a:pt x="53" y="288"/>
                </a:cubicBezTo>
                <a:cubicBezTo>
                  <a:pt x="53" y="289"/>
                  <a:pt x="52" y="289"/>
                  <a:pt x="51" y="289"/>
                </a:cubicBezTo>
                <a:cubicBezTo>
                  <a:pt x="51" y="289"/>
                  <a:pt x="51" y="290"/>
                  <a:pt x="51" y="290"/>
                </a:cubicBezTo>
                <a:cubicBezTo>
                  <a:pt x="51" y="290"/>
                  <a:pt x="51" y="290"/>
                  <a:pt x="51" y="290"/>
                </a:cubicBezTo>
                <a:cubicBezTo>
                  <a:pt x="50" y="290"/>
                  <a:pt x="50" y="291"/>
                  <a:pt x="50" y="291"/>
                </a:cubicBezTo>
                <a:cubicBezTo>
                  <a:pt x="50" y="291"/>
                  <a:pt x="49" y="291"/>
                  <a:pt x="49" y="291"/>
                </a:cubicBezTo>
                <a:cubicBezTo>
                  <a:pt x="49" y="291"/>
                  <a:pt x="49" y="292"/>
                  <a:pt x="49" y="293"/>
                </a:cubicBezTo>
                <a:cubicBezTo>
                  <a:pt x="49" y="293"/>
                  <a:pt x="49" y="292"/>
                  <a:pt x="49" y="293"/>
                </a:cubicBezTo>
                <a:cubicBezTo>
                  <a:pt x="48" y="293"/>
                  <a:pt x="49" y="293"/>
                  <a:pt x="49" y="293"/>
                </a:cubicBezTo>
                <a:cubicBezTo>
                  <a:pt x="48" y="293"/>
                  <a:pt x="48" y="293"/>
                  <a:pt x="48" y="293"/>
                </a:cubicBezTo>
                <a:cubicBezTo>
                  <a:pt x="48" y="294"/>
                  <a:pt x="48" y="295"/>
                  <a:pt x="47" y="295"/>
                </a:cubicBezTo>
                <a:cubicBezTo>
                  <a:pt x="47" y="299"/>
                  <a:pt x="46" y="302"/>
                  <a:pt x="46" y="306"/>
                </a:cubicBezTo>
                <a:cubicBezTo>
                  <a:pt x="44" y="306"/>
                  <a:pt x="45" y="308"/>
                  <a:pt x="44" y="308"/>
                </a:cubicBezTo>
                <a:cubicBezTo>
                  <a:pt x="44" y="309"/>
                  <a:pt x="43" y="309"/>
                  <a:pt x="42" y="309"/>
                </a:cubicBezTo>
                <a:cubicBezTo>
                  <a:pt x="42" y="309"/>
                  <a:pt x="42" y="310"/>
                  <a:pt x="42" y="311"/>
                </a:cubicBezTo>
                <a:cubicBezTo>
                  <a:pt x="42" y="311"/>
                  <a:pt x="42" y="311"/>
                  <a:pt x="42" y="311"/>
                </a:cubicBezTo>
                <a:cubicBezTo>
                  <a:pt x="41" y="311"/>
                  <a:pt x="42" y="312"/>
                  <a:pt x="42" y="312"/>
                </a:cubicBezTo>
                <a:cubicBezTo>
                  <a:pt x="41" y="312"/>
                  <a:pt x="40" y="312"/>
                  <a:pt x="40" y="313"/>
                </a:cubicBezTo>
                <a:cubicBezTo>
                  <a:pt x="40" y="314"/>
                  <a:pt x="38" y="314"/>
                  <a:pt x="38" y="316"/>
                </a:cubicBezTo>
                <a:cubicBezTo>
                  <a:pt x="39" y="316"/>
                  <a:pt x="39" y="317"/>
                  <a:pt x="38" y="317"/>
                </a:cubicBezTo>
                <a:cubicBezTo>
                  <a:pt x="38" y="320"/>
                  <a:pt x="39" y="320"/>
                  <a:pt x="39" y="323"/>
                </a:cubicBezTo>
                <a:cubicBezTo>
                  <a:pt x="38" y="324"/>
                  <a:pt x="38" y="326"/>
                  <a:pt x="37" y="328"/>
                </a:cubicBezTo>
                <a:cubicBezTo>
                  <a:pt x="37" y="330"/>
                  <a:pt x="38" y="331"/>
                  <a:pt x="37" y="332"/>
                </a:cubicBezTo>
                <a:cubicBezTo>
                  <a:pt x="37" y="333"/>
                  <a:pt x="36" y="334"/>
                  <a:pt x="37" y="335"/>
                </a:cubicBezTo>
                <a:cubicBezTo>
                  <a:pt x="37" y="335"/>
                  <a:pt x="37" y="336"/>
                  <a:pt x="37" y="336"/>
                </a:cubicBezTo>
                <a:cubicBezTo>
                  <a:pt x="37" y="337"/>
                  <a:pt x="37" y="336"/>
                  <a:pt x="37" y="336"/>
                </a:cubicBezTo>
                <a:cubicBezTo>
                  <a:pt x="36" y="337"/>
                  <a:pt x="37" y="338"/>
                  <a:pt x="37" y="339"/>
                </a:cubicBezTo>
                <a:cubicBezTo>
                  <a:pt x="38" y="339"/>
                  <a:pt x="38" y="339"/>
                  <a:pt x="40" y="339"/>
                </a:cubicBezTo>
                <a:cubicBezTo>
                  <a:pt x="41" y="340"/>
                  <a:pt x="43" y="340"/>
                  <a:pt x="45" y="340"/>
                </a:cubicBezTo>
                <a:cubicBezTo>
                  <a:pt x="45" y="339"/>
                  <a:pt x="46" y="339"/>
                  <a:pt x="47" y="339"/>
                </a:cubicBezTo>
                <a:cubicBezTo>
                  <a:pt x="51" y="339"/>
                  <a:pt x="55" y="339"/>
                  <a:pt x="58" y="339"/>
                </a:cubicBezTo>
                <a:cubicBezTo>
                  <a:pt x="60" y="338"/>
                  <a:pt x="60" y="341"/>
                  <a:pt x="63" y="340"/>
                </a:cubicBezTo>
                <a:cubicBezTo>
                  <a:pt x="63" y="339"/>
                  <a:pt x="63" y="339"/>
                  <a:pt x="64" y="339"/>
                </a:cubicBezTo>
                <a:cubicBezTo>
                  <a:pt x="65" y="339"/>
                  <a:pt x="65" y="339"/>
                  <a:pt x="65" y="339"/>
                </a:cubicBezTo>
                <a:cubicBezTo>
                  <a:pt x="66" y="338"/>
                  <a:pt x="66" y="338"/>
                  <a:pt x="67" y="337"/>
                </a:cubicBezTo>
                <a:cubicBezTo>
                  <a:pt x="67" y="337"/>
                  <a:pt x="68" y="337"/>
                  <a:pt x="68" y="337"/>
                </a:cubicBezTo>
                <a:cubicBezTo>
                  <a:pt x="68" y="337"/>
                  <a:pt x="68" y="337"/>
                  <a:pt x="68" y="337"/>
                </a:cubicBezTo>
                <a:cubicBezTo>
                  <a:pt x="68" y="337"/>
                  <a:pt x="68" y="336"/>
                  <a:pt x="68" y="336"/>
                </a:cubicBezTo>
                <a:cubicBezTo>
                  <a:pt x="68" y="336"/>
                  <a:pt x="68" y="336"/>
                  <a:pt x="68" y="336"/>
                </a:cubicBezTo>
                <a:cubicBezTo>
                  <a:pt x="68" y="336"/>
                  <a:pt x="68" y="335"/>
                  <a:pt x="68" y="335"/>
                </a:cubicBezTo>
                <a:cubicBezTo>
                  <a:pt x="68" y="334"/>
                  <a:pt x="68" y="334"/>
                  <a:pt x="68" y="334"/>
                </a:cubicBezTo>
                <a:cubicBezTo>
                  <a:pt x="68" y="334"/>
                  <a:pt x="68" y="334"/>
                  <a:pt x="67" y="334"/>
                </a:cubicBezTo>
                <a:cubicBezTo>
                  <a:pt x="67" y="334"/>
                  <a:pt x="67" y="334"/>
                  <a:pt x="66" y="334"/>
                </a:cubicBezTo>
                <a:cubicBezTo>
                  <a:pt x="66" y="334"/>
                  <a:pt x="66" y="334"/>
                  <a:pt x="66" y="334"/>
                </a:cubicBezTo>
                <a:cubicBezTo>
                  <a:pt x="66" y="334"/>
                  <a:pt x="66" y="334"/>
                  <a:pt x="66" y="334"/>
                </a:cubicBezTo>
                <a:cubicBezTo>
                  <a:pt x="66" y="334"/>
                  <a:pt x="66" y="334"/>
                  <a:pt x="65" y="334"/>
                </a:cubicBezTo>
                <a:cubicBezTo>
                  <a:pt x="65" y="334"/>
                  <a:pt x="65" y="334"/>
                  <a:pt x="65" y="334"/>
                </a:cubicBezTo>
                <a:cubicBezTo>
                  <a:pt x="65" y="334"/>
                  <a:pt x="65" y="334"/>
                  <a:pt x="65" y="334"/>
                </a:cubicBezTo>
                <a:cubicBezTo>
                  <a:pt x="65" y="334"/>
                  <a:pt x="65" y="334"/>
                  <a:pt x="65" y="334"/>
                </a:cubicBezTo>
                <a:cubicBezTo>
                  <a:pt x="65" y="334"/>
                  <a:pt x="65" y="334"/>
                  <a:pt x="65" y="334"/>
                </a:cubicBezTo>
                <a:cubicBezTo>
                  <a:pt x="65" y="334"/>
                  <a:pt x="65" y="334"/>
                  <a:pt x="65" y="334"/>
                </a:cubicBezTo>
                <a:cubicBezTo>
                  <a:pt x="65" y="334"/>
                  <a:pt x="65" y="334"/>
                  <a:pt x="65" y="334"/>
                </a:cubicBezTo>
                <a:cubicBezTo>
                  <a:pt x="65" y="334"/>
                  <a:pt x="65" y="334"/>
                  <a:pt x="65" y="334"/>
                </a:cubicBezTo>
                <a:cubicBezTo>
                  <a:pt x="65" y="334"/>
                  <a:pt x="65" y="334"/>
                  <a:pt x="65" y="334"/>
                </a:cubicBezTo>
                <a:cubicBezTo>
                  <a:pt x="66" y="334"/>
                  <a:pt x="65" y="333"/>
                  <a:pt x="65" y="332"/>
                </a:cubicBezTo>
                <a:cubicBezTo>
                  <a:pt x="65" y="332"/>
                  <a:pt x="66" y="332"/>
                  <a:pt x="66" y="332"/>
                </a:cubicBezTo>
                <a:cubicBezTo>
                  <a:pt x="66" y="332"/>
                  <a:pt x="66" y="332"/>
                  <a:pt x="66" y="332"/>
                </a:cubicBezTo>
                <a:cubicBezTo>
                  <a:pt x="66" y="332"/>
                  <a:pt x="66" y="331"/>
                  <a:pt x="66" y="331"/>
                </a:cubicBezTo>
                <a:cubicBezTo>
                  <a:pt x="66" y="331"/>
                  <a:pt x="66" y="331"/>
                  <a:pt x="67" y="331"/>
                </a:cubicBezTo>
                <a:cubicBezTo>
                  <a:pt x="67" y="331"/>
                  <a:pt x="67" y="331"/>
                  <a:pt x="67" y="331"/>
                </a:cubicBezTo>
                <a:cubicBezTo>
                  <a:pt x="67" y="331"/>
                  <a:pt x="67" y="331"/>
                  <a:pt x="67" y="331"/>
                </a:cubicBezTo>
                <a:cubicBezTo>
                  <a:pt x="67" y="331"/>
                  <a:pt x="67" y="331"/>
                  <a:pt x="67" y="331"/>
                </a:cubicBezTo>
                <a:cubicBezTo>
                  <a:pt x="67" y="331"/>
                  <a:pt x="67" y="331"/>
                  <a:pt x="67" y="331"/>
                </a:cubicBezTo>
                <a:cubicBezTo>
                  <a:pt x="67" y="331"/>
                  <a:pt x="68" y="331"/>
                  <a:pt x="68" y="331"/>
                </a:cubicBezTo>
                <a:cubicBezTo>
                  <a:pt x="68" y="331"/>
                  <a:pt x="68" y="331"/>
                  <a:pt x="68" y="331"/>
                </a:cubicBezTo>
                <a:cubicBezTo>
                  <a:pt x="68" y="331"/>
                  <a:pt x="68" y="331"/>
                  <a:pt x="68" y="331"/>
                </a:cubicBezTo>
                <a:cubicBezTo>
                  <a:pt x="68" y="331"/>
                  <a:pt x="68" y="331"/>
                  <a:pt x="68" y="331"/>
                </a:cubicBezTo>
                <a:cubicBezTo>
                  <a:pt x="68" y="331"/>
                  <a:pt x="68" y="331"/>
                  <a:pt x="68" y="331"/>
                </a:cubicBezTo>
                <a:cubicBezTo>
                  <a:pt x="68" y="331"/>
                  <a:pt x="68" y="331"/>
                  <a:pt x="68" y="331"/>
                </a:cubicBezTo>
                <a:cubicBezTo>
                  <a:pt x="69" y="331"/>
                  <a:pt x="69" y="331"/>
                  <a:pt x="69" y="331"/>
                </a:cubicBezTo>
                <a:cubicBezTo>
                  <a:pt x="69" y="332"/>
                  <a:pt x="69" y="332"/>
                  <a:pt x="69" y="332"/>
                </a:cubicBezTo>
                <a:cubicBezTo>
                  <a:pt x="69" y="332"/>
                  <a:pt x="69" y="332"/>
                  <a:pt x="69" y="332"/>
                </a:cubicBezTo>
                <a:cubicBezTo>
                  <a:pt x="69" y="332"/>
                  <a:pt x="69" y="332"/>
                  <a:pt x="69" y="332"/>
                </a:cubicBezTo>
                <a:cubicBezTo>
                  <a:pt x="69" y="332"/>
                  <a:pt x="69" y="332"/>
                  <a:pt x="69" y="332"/>
                </a:cubicBezTo>
                <a:cubicBezTo>
                  <a:pt x="69" y="332"/>
                  <a:pt x="69" y="332"/>
                  <a:pt x="70" y="332"/>
                </a:cubicBezTo>
                <a:cubicBezTo>
                  <a:pt x="70" y="332"/>
                  <a:pt x="70" y="332"/>
                  <a:pt x="70" y="332"/>
                </a:cubicBezTo>
                <a:cubicBezTo>
                  <a:pt x="70" y="332"/>
                  <a:pt x="70" y="332"/>
                  <a:pt x="70" y="332"/>
                </a:cubicBezTo>
                <a:cubicBezTo>
                  <a:pt x="70" y="332"/>
                  <a:pt x="70" y="332"/>
                  <a:pt x="70" y="332"/>
                </a:cubicBezTo>
                <a:cubicBezTo>
                  <a:pt x="70" y="332"/>
                  <a:pt x="70" y="332"/>
                  <a:pt x="70" y="332"/>
                </a:cubicBezTo>
                <a:cubicBezTo>
                  <a:pt x="70" y="332"/>
                  <a:pt x="70" y="332"/>
                  <a:pt x="70" y="332"/>
                </a:cubicBezTo>
                <a:cubicBezTo>
                  <a:pt x="70" y="333"/>
                  <a:pt x="70" y="333"/>
                  <a:pt x="70" y="333"/>
                </a:cubicBezTo>
                <a:cubicBezTo>
                  <a:pt x="70" y="333"/>
                  <a:pt x="70" y="333"/>
                  <a:pt x="70" y="333"/>
                </a:cubicBezTo>
                <a:cubicBezTo>
                  <a:pt x="70" y="333"/>
                  <a:pt x="70" y="333"/>
                  <a:pt x="70" y="333"/>
                </a:cubicBezTo>
                <a:cubicBezTo>
                  <a:pt x="70" y="333"/>
                  <a:pt x="70" y="333"/>
                  <a:pt x="71" y="333"/>
                </a:cubicBezTo>
                <a:cubicBezTo>
                  <a:pt x="71" y="333"/>
                  <a:pt x="71" y="333"/>
                  <a:pt x="71" y="333"/>
                </a:cubicBezTo>
                <a:cubicBezTo>
                  <a:pt x="71" y="333"/>
                  <a:pt x="71" y="333"/>
                  <a:pt x="71" y="334"/>
                </a:cubicBezTo>
                <a:cubicBezTo>
                  <a:pt x="72" y="334"/>
                  <a:pt x="72" y="334"/>
                  <a:pt x="72" y="334"/>
                </a:cubicBezTo>
                <a:cubicBezTo>
                  <a:pt x="72" y="334"/>
                  <a:pt x="72" y="334"/>
                  <a:pt x="73" y="334"/>
                </a:cubicBezTo>
                <a:cubicBezTo>
                  <a:pt x="73" y="334"/>
                  <a:pt x="73" y="334"/>
                  <a:pt x="73" y="334"/>
                </a:cubicBezTo>
                <a:cubicBezTo>
                  <a:pt x="73" y="334"/>
                  <a:pt x="73" y="334"/>
                  <a:pt x="74" y="334"/>
                </a:cubicBezTo>
                <a:cubicBezTo>
                  <a:pt x="75" y="335"/>
                  <a:pt x="75" y="335"/>
                  <a:pt x="76" y="336"/>
                </a:cubicBezTo>
                <a:cubicBezTo>
                  <a:pt x="75" y="338"/>
                  <a:pt x="77" y="337"/>
                  <a:pt x="78" y="338"/>
                </a:cubicBezTo>
                <a:cubicBezTo>
                  <a:pt x="78" y="336"/>
                  <a:pt x="81" y="338"/>
                  <a:pt x="83" y="337"/>
                </a:cubicBezTo>
                <a:cubicBezTo>
                  <a:pt x="83" y="338"/>
                  <a:pt x="83" y="338"/>
                  <a:pt x="84" y="338"/>
                </a:cubicBezTo>
                <a:cubicBezTo>
                  <a:pt x="85" y="338"/>
                  <a:pt x="85" y="338"/>
                  <a:pt x="85" y="339"/>
                </a:cubicBezTo>
                <a:cubicBezTo>
                  <a:pt x="86" y="339"/>
                  <a:pt x="87" y="339"/>
                  <a:pt x="88" y="339"/>
                </a:cubicBezTo>
                <a:cubicBezTo>
                  <a:pt x="88" y="339"/>
                  <a:pt x="88" y="340"/>
                  <a:pt x="88" y="340"/>
                </a:cubicBezTo>
                <a:cubicBezTo>
                  <a:pt x="88" y="340"/>
                  <a:pt x="88" y="340"/>
                  <a:pt x="88" y="340"/>
                </a:cubicBezTo>
                <a:cubicBezTo>
                  <a:pt x="88" y="340"/>
                  <a:pt x="88" y="340"/>
                  <a:pt x="88" y="340"/>
                </a:cubicBezTo>
                <a:cubicBezTo>
                  <a:pt x="88" y="340"/>
                  <a:pt x="88" y="340"/>
                  <a:pt x="88" y="340"/>
                </a:cubicBezTo>
                <a:cubicBezTo>
                  <a:pt x="88" y="340"/>
                  <a:pt x="89" y="340"/>
                  <a:pt x="89" y="340"/>
                </a:cubicBezTo>
                <a:cubicBezTo>
                  <a:pt x="89" y="340"/>
                  <a:pt x="89" y="341"/>
                  <a:pt x="89" y="341"/>
                </a:cubicBezTo>
                <a:cubicBezTo>
                  <a:pt x="89" y="341"/>
                  <a:pt x="89" y="341"/>
                  <a:pt x="89" y="341"/>
                </a:cubicBezTo>
                <a:cubicBezTo>
                  <a:pt x="89" y="341"/>
                  <a:pt x="89" y="341"/>
                  <a:pt x="89" y="341"/>
                </a:cubicBezTo>
                <a:cubicBezTo>
                  <a:pt x="89" y="341"/>
                  <a:pt x="89" y="341"/>
                  <a:pt x="89" y="341"/>
                </a:cubicBezTo>
                <a:cubicBezTo>
                  <a:pt x="89" y="341"/>
                  <a:pt x="89" y="341"/>
                  <a:pt x="89" y="341"/>
                </a:cubicBezTo>
                <a:cubicBezTo>
                  <a:pt x="89" y="341"/>
                  <a:pt x="89" y="341"/>
                  <a:pt x="89" y="341"/>
                </a:cubicBezTo>
                <a:cubicBezTo>
                  <a:pt x="89" y="341"/>
                  <a:pt x="89" y="341"/>
                  <a:pt x="89" y="341"/>
                </a:cubicBezTo>
                <a:cubicBezTo>
                  <a:pt x="90" y="342"/>
                  <a:pt x="90" y="342"/>
                  <a:pt x="91" y="343"/>
                </a:cubicBezTo>
                <a:cubicBezTo>
                  <a:pt x="91" y="343"/>
                  <a:pt x="91" y="343"/>
                  <a:pt x="91" y="343"/>
                </a:cubicBezTo>
                <a:cubicBezTo>
                  <a:pt x="91" y="343"/>
                  <a:pt x="91" y="343"/>
                  <a:pt x="91" y="343"/>
                </a:cubicBezTo>
                <a:cubicBezTo>
                  <a:pt x="91" y="343"/>
                  <a:pt x="91" y="343"/>
                  <a:pt x="91" y="343"/>
                </a:cubicBezTo>
                <a:cubicBezTo>
                  <a:pt x="91" y="343"/>
                  <a:pt x="91" y="343"/>
                  <a:pt x="91" y="343"/>
                </a:cubicBezTo>
                <a:cubicBezTo>
                  <a:pt x="91" y="343"/>
                  <a:pt x="91" y="343"/>
                  <a:pt x="91" y="343"/>
                </a:cubicBezTo>
                <a:cubicBezTo>
                  <a:pt x="91" y="343"/>
                  <a:pt x="91" y="343"/>
                  <a:pt x="91" y="343"/>
                </a:cubicBezTo>
                <a:cubicBezTo>
                  <a:pt x="92" y="344"/>
                  <a:pt x="92" y="344"/>
                  <a:pt x="92" y="344"/>
                </a:cubicBezTo>
                <a:cubicBezTo>
                  <a:pt x="92" y="344"/>
                  <a:pt x="93" y="344"/>
                  <a:pt x="92" y="345"/>
                </a:cubicBezTo>
                <a:cubicBezTo>
                  <a:pt x="93" y="345"/>
                  <a:pt x="93" y="345"/>
                  <a:pt x="93" y="345"/>
                </a:cubicBezTo>
                <a:cubicBezTo>
                  <a:pt x="94" y="346"/>
                  <a:pt x="94" y="346"/>
                  <a:pt x="94" y="346"/>
                </a:cubicBezTo>
                <a:cubicBezTo>
                  <a:pt x="96" y="346"/>
                  <a:pt x="96" y="347"/>
                  <a:pt x="97" y="347"/>
                </a:cubicBezTo>
                <a:cubicBezTo>
                  <a:pt x="97" y="347"/>
                  <a:pt x="97" y="347"/>
                  <a:pt x="97" y="347"/>
                </a:cubicBezTo>
                <a:cubicBezTo>
                  <a:pt x="98" y="347"/>
                  <a:pt x="99" y="347"/>
                  <a:pt x="100" y="347"/>
                </a:cubicBezTo>
                <a:cubicBezTo>
                  <a:pt x="100" y="346"/>
                  <a:pt x="100" y="346"/>
                  <a:pt x="100" y="346"/>
                </a:cubicBezTo>
                <a:cubicBezTo>
                  <a:pt x="100" y="346"/>
                  <a:pt x="101" y="346"/>
                  <a:pt x="101" y="346"/>
                </a:cubicBezTo>
                <a:cubicBezTo>
                  <a:pt x="101" y="346"/>
                  <a:pt x="102" y="346"/>
                  <a:pt x="102" y="345"/>
                </a:cubicBezTo>
                <a:cubicBezTo>
                  <a:pt x="102" y="345"/>
                  <a:pt x="103" y="345"/>
                  <a:pt x="104" y="344"/>
                </a:cubicBezTo>
                <a:cubicBezTo>
                  <a:pt x="104" y="344"/>
                  <a:pt x="104" y="344"/>
                  <a:pt x="104" y="344"/>
                </a:cubicBezTo>
                <a:cubicBezTo>
                  <a:pt x="104" y="344"/>
                  <a:pt x="104" y="344"/>
                  <a:pt x="104" y="344"/>
                </a:cubicBezTo>
                <a:cubicBezTo>
                  <a:pt x="104" y="344"/>
                  <a:pt x="104" y="344"/>
                  <a:pt x="104" y="344"/>
                </a:cubicBezTo>
                <a:cubicBezTo>
                  <a:pt x="104" y="344"/>
                  <a:pt x="105" y="344"/>
                  <a:pt x="105" y="344"/>
                </a:cubicBezTo>
                <a:cubicBezTo>
                  <a:pt x="105" y="344"/>
                  <a:pt x="105" y="344"/>
                  <a:pt x="105" y="344"/>
                </a:cubicBezTo>
                <a:cubicBezTo>
                  <a:pt x="105" y="344"/>
                  <a:pt x="105" y="345"/>
                  <a:pt x="106" y="345"/>
                </a:cubicBezTo>
                <a:cubicBezTo>
                  <a:pt x="107" y="346"/>
                  <a:pt x="108" y="346"/>
                  <a:pt x="108" y="347"/>
                </a:cubicBezTo>
                <a:cubicBezTo>
                  <a:pt x="108" y="348"/>
                  <a:pt x="109" y="349"/>
                  <a:pt x="109" y="351"/>
                </a:cubicBezTo>
                <a:cubicBezTo>
                  <a:pt x="111" y="351"/>
                  <a:pt x="111" y="353"/>
                  <a:pt x="111" y="354"/>
                </a:cubicBezTo>
                <a:cubicBezTo>
                  <a:pt x="114" y="353"/>
                  <a:pt x="112" y="357"/>
                  <a:pt x="115" y="356"/>
                </a:cubicBezTo>
                <a:cubicBezTo>
                  <a:pt x="114" y="358"/>
                  <a:pt x="116" y="358"/>
                  <a:pt x="116" y="359"/>
                </a:cubicBezTo>
                <a:cubicBezTo>
                  <a:pt x="118" y="360"/>
                  <a:pt x="116" y="357"/>
                  <a:pt x="117" y="356"/>
                </a:cubicBezTo>
                <a:cubicBezTo>
                  <a:pt x="118" y="355"/>
                  <a:pt x="120" y="354"/>
                  <a:pt x="121" y="353"/>
                </a:cubicBezTo>
                <a:cubicBezTo>
                  <a:pt x="121" y="351"/>
                  <a:pt x="124" y="351"/>
                  <a:pt x="124" y="349"/>
                </a:cubicBezTo>
                <a:cubicBezTo>
                  <a:pt x="124" y="348"/>
                  <a:pt x="123" y="348"/>
                  <a:pt x="123" y="348"/>
                </a:cubicBezTo>
                <a:cubicBezTo>
                  <a:pt x="123" y="347"/>
                  <a:pt x="122" y="347"/>
                  <a:pt x="122" y="347"/>
                </a:cubicBezTo>
                <a:cubicBezTo>
                  <a:pt x="122" y="346"/>
                  <a:pt x="123" y="345"/>
                  <a:pt x="123" y="343"/>
                </a:cubicBezTo>
                <a:cubicBezTo>
                  <a:pt x="127" y="343"/>
                  <a:pt x="130" y="344"/>
                  <a:pt x="134" y="344"/>
                </a:cubicBezTo>
                <a:cubicBezTo>
                  <a:pt x="134" y="345"/>
                  <a:pt x="135" y="346"/>
                  <a:pt x="136" y="345"/>
                </a:cubicBezTo>
                <a:cubicBezTo>
                  <a:pt x="136" y="348"/>
                  <a:pt x="137" y="348"/>
                  <a:pt x="138" y="349"/>
                </a:cubicBezTo>
                <a:cubicBezTo>
                  <a:pt x="140" y="349"/>
                  <a:pt x="138" y="352"/>
                  <a:pt x="141" y="351"/>
                </a:cubicBezTo>
                <a:cubicBezTo>
                  <a:pt x="142" y="351"/>
                  <a:pt x="143" y="350"/>
                  <a:pt x="145" y="350"/>
                </a:cubicBezTo>
                <a:cubicBezTo>
                  <a:pt x="145" y="352"/>
                  <a:pt x="147" y="350"/>
                  <a:pt x="149" y="350"/>
                </a:cubicBezTo>
                <a:cubicBezTo>
                  <a:pt x="150" y="350"/>
                  <a:pt x="150" y="350"/>
                  <a:pt x="150" y="350"/>
                </a:cubicBezTo>
                <a:cubicBezTo>
                  <a:pt x="151" y="348"/>
                  <a:pt x="152" y="349"/>
                  <a:pt x="153" y="348"/>
                </a:cubicBezTo>
                <a:cubicBezTo>
                  <a:pt x="153" y="348"/>
                  <a:pt x="154" y="347"/>
                  <a:pt x="154" y="347"/>
                </a:cubicBezTo>
                <a:cubicBezTo>
                  <a:pt x="154" y="347"/>
                  <a:pt x="155" y="347"/>
                  <a:pt x="155" y="346"/>
                </a:cubicBezTo>
                <a:cubicBezTo>
                  <a:pt x="158" y="346"/>
                  <a:pt x="160" y="344"/>
                  <a:pt x="162" y="343"/>
                </a:cubicBezTo>
                <a:cubicBezTo>
                  <a:pt x="166" y="343"/>
                  <a:pt x="171" y="342"/>
                  <a:pt x="176" y="343"/>
                </a:cubicBezTo>
                <a:cubicBezTo>
                  <a:pt x="177" y="341"/>
                  <a:pt x="177" y="338"/>
                  <a:pt x="179" y="338"/>
                </a:cubicBezTo>
                <a:cubicBezTo>
                  <a:pt x="179" y="338"/>
                  <a:pt x="179" y="338"/>
                  <a:pt x="179" y="339"/>
                </a:cubicBezTo>
                <a:cubicBezTo>
                  <a:pt x="179" y="339"/>
                  <a:pt x="180" y="338"/>
                  <a:pt x="180" y="338"/>
                </a:cubicBezTo>
                <a:cubicBezTo>
                  <a:pt x="180" y="338"/>
                  <a:pt x="180" y="339"/>
                  <a:pt x="181" y="339"/>
                </a:cubicBezTo>
                <a:cubicBezTo>
                  <a:pt x="181" y="340"/>
                  <a:pt x="184" y="339"/>
                  <a:pt x="184" y="339"/>
                </a:cubicBezTo>
                <a:cubicBezTo>
                  <a:pt x="184" y="340"/>
                  <a:pt x="186" y="340"/>
                  <a:pt x="186" y="341"/>
                </a:cubicBezTo>
                <a:cubicBezTo>
                  <a:pt x="187" y="341"/>
                  <a:pt x="187" y="341"/>
                  <a:pt x="187" y="341"/>
                </a:cubicBezTo>
                <a:cubicBezTo>
                  <a:pt x="188" y="341"/>
                  <a:pt x="187" y="339"/>
                  <a:pt x="189" y="339"/>
                </a:cubicBezTo>
                <a:cubicBezTo>
                  <a:pt x="191" y="340"/>
                  <a:pt x="192" y="339"/>
                  <a:pt x="193" y="339"/>
                </a:cubicBezTo>
                <a:cubicBezTo>
                  <a:pt x="194" y="340"/>
                  <a:pt x="195" y="339"/>
                  <a:pt x="196" y="339"/>
                </a:cubicBezTo>
                <a:cubicBezTo>
                  <a:pt x="196" y="341"/>
                  <a:pt x="196" y="343"/>
                  <a:pt x="197" y="343"/>
                </a:cubicBezTo>
                <a:cubicBezTo>
                  <a:pt x="198" y="344"/>
                  <a:pt x="198" y="344"/>
                  <a:pt x="198" y="345"/>
                </a:cubicBezTo>
                <a:cubicBezTo>
                  <a:pt x="198" y="345"/>
                  <a:pt x="198" y="345"/>
                  <a:pt x="198" y="345"/>
                </a:cubicBezTo>
                <a:cubicBezTo>
                  <a:pt x="199" y="346"/>
                  <a:pt x="200" y="346"/>
                  <a:pt x="200" y="346"/>
                </a:cubicBezTo>
                <a:cubicBezTo>
                  <a:pt x="200" y="346"/>
                  <a:pt x="201" y="347"/>
                  <a:pt x="200" y="348"/>
                </a:cubicBezTo>
                <a:cubicBezTo>
                  <a:pt x="203" y="348"/>
                  <a:pt x="203" y="348"/>
                  <a:pt x="203" y="348"/>
                </a:cubicBezTo>
                <a:cubicBezTo>
                  <a:pt x="203" y="341"/>
                  <a:pt x="203" y="341"/>
                  <a:pt x="203" y="341"/>
                </a:cubicBezTo>
                <a:cubicBezTo>
                  <a:pt x="202" y="341"/>
                  <a:pt x="202" y="340"/>
                  <a:pt x="202" y="339"/>
                </a:cubicBezTo>
                <a:cubicBezTo>
                  <a:pt x="201" y="339"/>
                  <a:pt x="201" y="337"/>
                  <a:pt x="200" y="337"/>
                </a:cubicBezTo>
                <a:cubicBezTo>
                  <a:pt x="200" y="335"/>
                  <a:pt x="199" y="335"/>
                  <a:pt x="198" y="334"/>
                </a:cubicBezTo>
                <a:cubicBezTo>
                  <a:pt x="199" y="334"/>
                  <a:pt x="199" y="332"/>
                  <a:pt x="200" y="332"/>
                </a:cubicBezTo>
                <a:cubicBezTo>
                  <a:pt x="200" y="329"/>
                  <a:pt x="200" y="329"/>
                  <a:pt x="200" y="329"/>
                </a:cubicBezTo>
                <a:cubicBezTo>
                  <a:pt x="200" y="329"/>
                  <a:pt x="199" y="329"/>
                  <a:pt x="199" y="327"/>
                </a:cubicBezTo>
                <a:cubicBezTo>
                  <a:pt x="199" y="326"/>
                  <a:pt x="198" y="326"/>
                  <a:pt x="198" y="325"/>
                </a:cubicBezTo>
                <a:cubicBezTo>
                  <a:pt x="198" y="325"/>
                  <a:pt x="198" y="324"/>
                  <a:pt x="198" y="325"/>
                </a:cubicBezTo>
                <a:cubicBezTo>
                  <a:pt x="198" y="324"/>
                  <a:pt x="198" y="323"/>
                  <a:pt x="198" y="323"/>
                </a:cubicBezTo>
                <a:cubicBezTo>
                  <a:pt x="196" y="322"/>
                  <a:pt x="198" y="320"/>
                  <a:pt x="198" y="318"/>
                </a:cubicBezTo>
                <a:cubicBezTo>
                  <a:pt x="198" y="318"/>
                  <a:pt x="198" y="318"/>
                  <a:pt x="199" y="318"/>
                </a:cubicBezTo>
                <a:cubicBezTo>
                  <a:pt x="199" y="317"/>
                  <a:pt x="200" y="317"/>
                  <a:pt x="200" y="316"/>
                </a:cubicBezTo>
                <a:cubicBezTo>
                  <a:pt x="202" y="316"/>
                  <a:pt x="203" y="316"/>
                  <a:pt x="204" y="314"/>
                </a:cubicBezTo>
                <a:cubicBezTo>
                  <a:pt x="206" y="314"/>
                  <a:pt x="206" y="313"/>
                  <a:pt x="207" y="313"/>
                </a:cubicBezTo>
                <a:cubicBezTo>
                  <a:pt x="209" y="313"/>
                  <a:pt x="210" y="311"/>
                  <a:pt x="212" y="311"/>
                </a:cubicBezTo>
                <a:cubicBezTo>
                  <a:pt x="212" y="311"/>
                  <a:pt x="212" y="311"/>
                  <a:pt x="212" y="310"/>
                </a:cubicBezTo>
                <a:cubicBezTo>
                  <a:pt x="213" y="310"/>
                  <a:pt x="213" y="309"/>
                  <a:pt x="214" y="309"/>
                </a:cubicBezTo>
                <a:cubicBezTo>
                  <a:pt x="214" y="307"/>
                  <a:pt x="216" y="307"/>
                  <a:pt x="216" y="305"/>
                </a:cubicBezTo>
                <a:cubicBezTo>
                  <a:pt x="216" y="305"/>
                  <a:pt x="216" y="304"/>
                  <a:pt x="216" y="304"/>
                </a:cubicBezTo>
                <a:cubicBezTo>
                  <a:pt x="216" y="304"/>
                  <a:pt x="216" y="304"/>
                  <a:pt x="216" y="304"/>
                </a:cubicBezTo>
                <a:cubicBezTo>
                  <a:pt x="216" y="304"/>
                  <a:pt x="216" y="303"/>
                  <a:pt x="216" y="303"/>
                </a:cubicBezTo>
                <a:cubicBezTo>
                  <a:pt x="216" y="303"/>
                  <a:pt x="216" y="302"/>
                  <a:pt x="216" y="302"/>
                </a:cubicBezTo>
                <a:cubicBezTo>
                  <a:pt x="216" y="302"/>
                  <a:pt x="216" y="302"/>
                  <a:pt x="216" y="302"/>
                </a:cubicBezTo>
                <a:cubicBezTo>
                  <a:pt x="216" y="302"/>
                  <a:pt x="216" y="302"/>
                  <a:pt x="216" y="302"/>
                </a:cubicBezTo>
                <a:cubicBezTo>
                  <a:pt x="216" y="302"/>
                  <a:pt x="216" y="301"/>
                  <a:pt x="216" y="301"/>
                </a:cubicBezTo>
                <a:cubicBezTo>
                  <a:pt x="216" y="301"/>
                  <a:pt x="216" y="301"/>
                  <a:pt x="216" y="301"/>
                </a:cubicBezTo>
                <a:cubicBezTo>
                  <a:pt x="216" y="301"/>
                  <a:pt x="216" y="301"/>
                  <a:pt x="216" y="301"/>
                </a:cubicBezTo>
                <a:cubicBezTo>
                  <a:pt x="216" y="301"/>
                  <a:pt x="216" y="300"/>
                  <a:pt x="216" y="300"/>
                </a:cubicBezTo>
                <a:cubicBezTo>
                  <a:pt x="216" y="300"/>
                  <a:pt x="216" y="300"/>
                  <a:pt x="216" y="300"/>
                </a:cubicBezTo>
                <a:cubicBezTo>
                  <a:pt x="216" y="300"/>
                  <a:pt x="216" y="300"/>
                  <a:pt x="216" y="300"/>
                </a:cubicBezTo>
                <a:cubicBezTo>
                  <a:pt x="216" y="300"/>
                  <a:pt x="216" y="300"/>
                  <a:pt x="216" y="300"/>
                </a:cubicBezTo>
                <a:cubicBezTo>
                  <a:pt x="216" y="300"/>
                  <a:pt x="216" y="299"/>
                  <a:pt x="216" y="299"/>
                </a:cubicBezTo>
                <a:cubicBezTo>
                  <a:pt x="216" y="299"/>
                  <a:pt x="216" y="299"/>
                  <a:pt x="216" y="299"/>
                </a:cubicBezTo>
                <a:cubicBezTo>
                  <a:pt x="216" y="299"/>
                  <a:pt x="216" y="299"/>
                  <a:pt x="216" y="299"/>
                </a:cubicBezTo>
                <a:cubicBezTo>
                  <a:pt x="219" y="299"/>
                  <a:pt x="219" y="299"/>
                  <a:pt x="219" y="299"/>
                </a:cubicBezTo>
                <a:cubicBezTo>
                  <a:pt x="219" y="299"/>
                  <a:pt x="219" y="299"/>
                  <a:pt x="219" y="299"/>
                </a:cubicBezTo>
                <a:cubicBezTo>
                  <a:pt x="219" y="299"/>
                  <a:pt x="219" y="299"/>
                  <a:pt x="219" y="299"/>
                </a:cubicBezTo>
                <a:cubicBezTo>
                  <a:pt x="219" y="299"/>
                  <a:pt x="219" y="299"/>
                  <a:pt x="219" y="299"/>
                </a:cubicBezTo>
                <a:cubicBezTo>
                  <a:pt x="219" y="299"/>
                  <a:pt x="219" y="299"/>
                  <a:pt x="219" y="299"/>
                </a:cubicBezTo>
                <a:cubicBezTo>
                  <a:pt x="219" y="299"/>
                  <a:pt x="219" y="299"/>
                  <a:pt x="219" y="299"/>
                </a:cubicBezTo>
                <a:cubicBezTo>
                  <a:pt x="219" y="299"/>
                  <a:pt x="219" y="299"/>
                  <a:pt x="219" y="299"/>
                </a:cubicBezTo>
                <a:cubicBezTo>
                  <a:pt x="219" y="299"/>
                  <a:pt x="219" y="299"/>
                  <a:pt x="219" y="299"/>
                </a:cubicBezTo>
                <a:cubicBezTo>
                  <a:pt x="219" y="300"/>
                  <a:pt x="220" y="300"/>
                  <a:pt x="220" y="300"/>
                </a:cubicBezTo>
                <a:cubicBezTo>
                  <a:pt x="220" y="300"/>
                  <a:pt x="221" y="300"/>
                  <a:pt x="221" y="301"/>
                </a:cubicBezTo>
                <a:cubicBezTo>
                  <a:pt x="221" y="301"/>
                  <a:pt x="222" y="301"/>
                  <a:pt x="222" y="301"/>
                </a:cubicBezTo>
                <a:cubicBezTo>
                  <a:pt x="223" y="301"/>
                  <a:pt x="223" y="301"/>
                  <a:pt x="224" y="301"/>
                </a:cubicBezTo>
                <a:cubicBezTo>
                  <a:pt x="224" y="301"/>
                  <a:pt x="224" y="301"/>
                  <a:pt x="224" y="301"/>
                </a:cubicBezTo>
                <a:cubicBezTo>
                  <a:pt x="224" y="301"/>
                  <a:pt x="224" y="301"/>
                  <a:pt x="224" y="301"/>
                </a:cubicBezTo>
                <a:cubicBezTo>
                  <a:pt x="225" y="301"/>
                  <a:pt x="225" y="300"/>
                  <a:pt x="226" y="300"/>
                </a:cubicBezTo>
                <a:cubicBezTo>
                  <a:pt x="226" y="300"/>
                  <a:pt x="226" y="300"/>
                  <a:pt x="226" y="300"/>
                </a:cubicBezTo>
                <a:cubicBezTo>
                  <a:pt x="226" y="300"/>
                  <a:pt x="226" y="300"/>
                  <a:pt x="226" y="299"/>
                </a:cubicBezTo>
                <a:cubicBezTo>
                  <a:pt x="226" y="299"/>
                  <a:pt x="226" y="299"/>
                  <a:pt x="226" y="299"/>
                </a:cubicBezTo>
                <a:cubicBezTo>
                  <a:pt x="226" y="299"/>
                  <a:pt x="226" y="299"/>
                  <a:pt x="226" y="299"/>
                </a:cubicBezTo>
                <a:cubicBezTo>
                  <a:pt x="226" y="299"/>
                  <a:pt x="226" y="299"/>
                  <a:pt x="226" y="298"/>
                </a:cubicBezTo>
                <a:cubicBezTo>
                  <a:pt x="226" y="298"/>
                  <a:pt x="226" y="298"/>
                  <a:pt x="226" y="298"/>
                </a:cubicBezTo>
                <a:cubicBezTo>
                  <a:pt x="227" y="298"/>
                  <a:pt x="227" y="298"/>
                  <a:pt x="227" y="298"/>
                </a:cubicBezTo>
                <a:cubicBezTo>
                  <a:pt x="226" y="296"/>
                  <a:pt x="228" y="295"/>
                  <a:pt x="228" y="293"/>
                </a:cubicBezTo>
                <a:cubicBezTo>
                  <a:pt x="228" y="293"/>
                  <a:pt x="228" y="293"/>
                  <a:pt x="228" y="293"/>
                </a:cubicBezTo>
                <a:cubicBezTo>
                  <a:pt x="225" y="292"/>
                  <a:pt x="225" y="289"/>
                  <a:pt x="226" y="286"/>
                </a:cubicBezTo>
                <a:cubicBezTo>
                  <a:pt x="225" y="286"/>
                  <a:pt x="223" y="286"/>
                  <a:pt x="223" y="283"/>
                </a:cubicBezTo>
                <a:cubicBezTo>
                  <a:pt x="221" y="283"/>
                  <a:pt x="221" y="282"/>
                  <a:pt x="220" y="281"/>
                </a:cubicBezTo>
                <a:cubicBezTo>
                  <a:pt x="220" y="281"/>
                  <a:pt x="219" y="281"/>
                  <a:pt x="219" y="280"/>
                </a:cubicBezTo>
                <a:cubicBezTo>
                  <a:pt x="219" y="280"/>
                  <a:pt x="218" y="280"/>
                  <a:pt x="219" y="279"/>
                </a:cubicBezTo>
                <a:cubicBezTo>
                  <a:pt x="216" y="279"/>
                  <a:pt x="216" y="279"/>
                  <a:pt x="216" y="279"/>
                </a:cubicBezTo>
                <a:cubicBezTo>
                  <a:pt x="215" y="277"/>
                  <a:pt x="213" y="276"/>
                  <a:pt x="212" y="274"/>
                </a:cubicBezTo>
                <a:cubicBezTo>
                  <a:pt x="209" y="274"/>
                  <a:pt x="209" y="274"/>
                  <a:pt x="209" y="274"/>
                </a:cubicBezTo>
                <a:cubicBezTo>
                  <a:pt x="209" y="273"/>
                  <a:pt x="208" y="273"/>
                  <a:pt x="207" y="272"/>
                </a:cubicBezTo>
                <a:cubicBezTo>
                  <a:pt x="207" y="272"/>
                  <a:pt x="208" y="271"/>
                  <a:pt x="207" y="271"/>
                </a:cubicBezTo>
                <a:cubicBezTo>
                  <a:pt x="207" y="271"/>
                  <a:pt x="206" y="271"/>
                  <a:pt x="206" y="270"/>
                </a:cubicBezTo>
                <a:cubicBezTo>
                  <a:pt x="206" y="270"/>
                  <a:pt x="206" y="269"/>
                  <a:pt x="206" y="269"/>
                </a:cubicBezTo>
                <a:cubicBezTo>
                  <a:pt x="206" y="269"/>
                  <a:pt x="205" y="269"/>
                  <a:pt x="205" y="269"/>
                </a:cubicBezTo>
                <a:cubicBezTo>
                  <a:pt x="205" y="268"/>
                  <a:pt x="204" y="267"/>
                  <a:pt x="203" y="266"/>
                </a:cubicBezTo>
                <a:cubicBezTo>
                  <a:pt x="203" y="265"/>
                  <a:pt x="201" y="265"/>
                  <a:pt x="201" y="263"/>
                </a:cubicBezTo>
                <a:cubicBezTo>
                  <a:pt x="196" y="263"/>
                  <a:pt x="196" y="263"/>
                  <a:pt x="196" y="263"/>
                </a:cubicBezTo>
                <a:cubicBezTo>
                  <a:pt x="195" y="261"/>
                  <a:pt x="194" y="258"/>
                  <a:pt x="192" y="256"/>
                </a:cubicBezTo>
                <a:cubicBezTo>
                  <a:pt x="192" y="254"/>
                  <a:pt x="191" y="255"/>
                  <a:pt x="191" y="254"/>
                </a:cubicBezTo>
                <a:cubicBezTo>
                  <a:pt x="191" y="253"/>
                  <a:pt x="191" y="252"/>
                  <a:pt x="191" y="252"/>
                </a:cubicBezTo>
                <a:cubicBezTo>
                  <a:pt x="191" y="252"/>
                  <a:pt x="190" y="252"/>
                  <a:pt x="190" y="252"/>
                </a:cubicBezTo>
                <a:cubicBezTo>
                  <a:pt x="190" y="252"/>
                  <a:pt x="190" y="252"/>
                  <a:pt x="190" y="251"/>
                </a:cubicBezTo>
                <a:cubicBezTo>
                  <a:pt x="190" y="251"/>
                  <a:pt x="189" y="252"/>
                  <a:pt x="189" y="251"/>
                </a:cubicBezTo>
                <a:cubicBezTo>
                  <a:pt x="189" y="251"/>
                  <a:pt x="189" y="251"/>
                  <a:pt x="189" y="251"/>
                </a:cubicBezTo>
                <a:cubicBezTo>
                  <a:pt x="189" y="250"/>
                  <a:pt x="188" y="249"/>
                  <a:pt x="189" y="248"/>
                </a:cubicBezTo>
                <a:cubicBezTo>
                  <a:pt x="188" y="248"/>
                  <a:pt x="187" y="247"/>
                  <a:pt x="187" y="246"/>
                </a:cubicBezTo>
                <a:cubicBezTo>
                  <a:pt x="185" y="246"/>
                  <a:pt x="184" y="246"/>
                  <a:pt x="184" y="244"/>
                </a:cubicBezTo>
                <a:cubicBezTo>
                  <a:pt x="184" y="242"/>
                  <a:pt x="184" y="241"/>
                  <a:pt x="186" y="240"/>
                </a:cubicBezTo>
                <a:cubicBezTo>
                  <a:pt x="186" y="239"/>
                  <a:pt x="186" y="239"/>
                  <a:pt x="187" y="238"/>
                </a:cubicBezTo>
                <a:cubicBezTo>
                  <a:pt x="187" y="238"/>
                  <a:pt x="187" y="237"/>
                  <a:pt x="188" y="236"/>
                </a:cubicBezTo>
                <a:cubicBezTo>
                  <a:pt x="185" y="237"/>
                  <a:pt x="186" y="234"/>
                  <a:pt x="184" y="234"/>
                </a:cubicBezTo>
                <a:cubicBezTo>
                  <a:pt x="184" y="233"/>
                  <a:pt x="183" y="232"/>
                  <a:pt x="182" y="231"/>
                </a:cubicBezTo>
                <a:cubicBezTo>
                  <a:pt x="181" y="230"/>
                  <a:pt x="180" y="229"/>
                  <a:pt x="179" y="228"/>
                </a:cubicBezTo>
                <a:cubicBezTo>
                  <a:pt x="179" y="228"/>
                  <a:pt x="179" y="228"/>
                  <a:pt x="178" y="228"/>
                </a:cubicBezTo>
                <a:cubicBezTo>
                  <a:pt x="178" y="227"/>
                  <a:pt x="178" y="227"/>
                  <a:pt x="178" y="227"/>
                </a:cubicBezTo>
                <a:cubicBezTo>
                  <a:pt x="177" y="225"/>
                  <a:pt x="176" y="222"/>
                  <a:pt x="175" y="219"/>
                </a:cubicBezTo>
                <a:cubicBezTo>
                  <a:pt x="176" y="219"/>
                  <a:pt x="175" y="218"/>
                  <a:pt x="175" y="217"/>
                </a:cubicBezTo>
                <a:cubicBezTo>
                  <a:pt x="176" y="217"/>
                  <a:pt x="176" y="217"/>
                  <a:pt x="176" y="218"/>
                </a:cubicBezTo>
                <a:cubicBezTo>
                  <a:pt x="178" y="218"/>
                  <a:pt x="178" y="219"/>
                  <a:pt x="180" y="219"/>
                </a:cubicBezTo>
                <a:cubicBezTo>
                  <a:pt x="180" y="220"/>
                  <a:pt x="180" y="220"/>
                  <a:pt x="181" y="221"/>
                </a:cubicBezTo>
                <a:cubicBezTo>
                  <a:pt x="181" y="222"/>
                  <a:pt x="182" y="223"/>
                  <a:pt x="183" y="223"/>
                </a:cubicBezTo>
                <a:cubicBezTo>
                  <a:pt x="183" y="222"/>
                  <a:pt x="184" y="221"/>
                  <a:pt x="184" y="221"/>
                </a:cubicBezTo>
                <a:cubicBezTo>
                  <a:pt x="184" y="220"/>
                  <a:pt x="185" y="219"/>
                  <a:pt x="185" y="218"/>
                </a:cubicBezTo>
                <a:cubicBezTo>
                  <a:pt x="185" y="218"/>
                  <a:pt x="185" y="218"/>
                  <a:pt x="186" y="218"/>
                </a:cubicBezTo>
                <a:cubicBezTo>
                  <a:pt x="186" y="218"/>
                  <a:pt x="186" y="218"/>
                  <a:pt x="186" y="218"/>
                </a:cubicBezTo>
                <a:cubicBezTo>
                  <a:pt x="187" y="217"/>
                  <a:pt x="186" y="215"/>
                  <a:pt x="188" y="216"/>
                </a:cubicBezTo>
                <a:cubicBezTo>
                  <a:pt x="188" y="216"/>
                  <a:pt x="188" y="216"/>
                  <a:pt x="188" y="216"/>
                </a:cubicBezTo>
                <a:cubicBezTo>
                  <a:pt x="188" y="215"/>
                  <a:pt x="188" y="215"/>
                  <a:pt x="189" y="215"/>
                </a:cubicBezTo>
                <a:cubicBezTo>
                  <a:pt x="189" y="215"/>
                  <a:pt x="189" y="215"/>
                  <a:pt x="189" y="215"/>
                </a:cubicBezTo>
                <a:cubicBezTo>
                  <a:pt x="189" y="214"/>
                  <a:pt x="189" y="214"/>
                  <a:pt x="190" y="214"/>
                </a:cubicBezTo>
                <a:cubicBezTo>
                  <a:pt x="190" y="214"/>
                  <a:pt x="190" y="214"/>
                  <a:pt x="190" y="214"/>
                </a:cubicBezTo>
                <a:cubicBezTo>
                  <a:pt x="190" y="214"/>
                  <a:pt x="191" y="214"/>
                  <a:pt x="191" y="214"/>
                </a:cubicBezTo>
                <a:cubicBezTo>
                  <a:pt x="191" y="214"/>
                  <a:pt x="191" y="214"/>
                  <a:pt x="191" y="214"/>
                </a:cubicBezTo>
                <a:cubicBezTo>
                  <a:pt x="192" y="214"/>
                  <a:pt x="192" y="213"/>
                  <a:pt x="193" y="213"/>
                </a:cubicBezTo>
                <a:cubicBezTo>
                  <a:pt x="193" y="213"/>
                  <a:pt x="193" y="213"/>
                  <a:pt x="193" y="213"/>
                </a:cubicBezTo>
                <a:cubicBezTo>
                  <a:pt x="194" y="212"/>
                  <a:pt x="195" y="212"/>
                  <a:pt x="197" y="213"/>
                </a:cubicBezTo>
                <a:cubicBezTo>
                  <a:pt x="197" y="213"/>
                  <a:pt x="197" y="213"/>
                  <a:pt x="197" y="213"/>
                </a:cubicBezTo>
                <a:cubicBezTo>
                  <a:pt x="197" y="213"/>
                  <a:pt x="197" y="213"/>
                  <a:pt x="197" y="213"/>
                </a:cubicBezTo>
                <a:cubicBezTo>
                  <a:pt x="197" y="213"/>
                  <a:pt x="197" y="213"/>
                  <a:pt x="197" y="213"/>
                </a:cubicBezTo>
                <a:cubicBezTo>
                  <a:pt x="197" y="213"/>
                  <a:pt x="197" y="213"/>
                  <a:pt x="197" y="213"/>
                </a:cubicBezTo>
                <a:cubicBezTo>
                  <a:pt x="197" y="213"/>
                  <a:pt x="197" y="213"/>
                  <a:pt x="197" y="213"/>
                </a:cubicBezTo>
                <a:cubicBezTo>
                  <a:pt x="197" y="213"/>
                  <a:pt x="197" y="213"/>
                  <a:pt x="197" y="213"/>
                </a:cubicBezTo>
                <a:cubicBezTo>
                  <a:pt x="197" y="213"/>
                  <a:pt x="197" y="213"/>
                  <a:pt x="197" y="213"/>
                </a:cubicBezTo>
                <a:cubicBezTo>
                  <a:pt x="197" y="213"/>
                  <a:pt x="197" y="213"/>
                  <a:pt x="197" y="213"/>
                </a:cubicBezTo>
                <a:cubicBezTo>
                  <a:pt x="197" y="213"/>
                  <a:pt x="197" y="213"/>
                  <a:pt x="197" y="213"/>
                </a:cubicBezTo>
                <a:cubicBezTo>
                  <a:pt x="197" y="213"/>
                  <a:pt x="197" y="213"/>
                  <a:pt x="197" y="212"/>
                </a:cubicBezTo>
                <a:cubicBezTo>
                  <a:pt x="198" y="212"/>
                  <a:pt x="198" y="212"/>
                  <a:pt x="198" y="212"/>
                </a:cubicBezTo>
                <a:cubicBezTo>
                  <a:pt x="199" y="212"/>
                  <a:pt x="200" y="213"/>
                  <a:pt x="201" y="212"/>
                </a:cubicBezTo>
                <a:cubicBezTo>
                  <a:pt x="202" y="212"/>
                  <a:pt x="202" y="212"/>
                  <a:pt x="202" y="212"/>
                </a:cubicBezTo>
                <a:cubicBezTo>
                  <a:pt x="202" y="210"/>
                  <a:pt x="203" y="210"/>
                  <a:pt x="205" y="209"/>
                </a:cubicBezTo>
                <a:cubicBezTo>
                  <a:pt x="208" y="209"/>
                  <a:pt x="208" y="209"/>
                  <a:pt x="208" y="209"/>
                </a:cubicBezTo>
                <a:cubicBezTo>
                  <a:pt x="209" y="208"/>
                  <a:pt x="209" y="207"/>
                  <a:pt x="211" y="207"/>
                </a:cubicBezTo>
                <a:cubicBezTo>
                  <a:pt x="212" y="206"/>
                  <a:pt x="212" y="205"/>
                  <a:pt x="214" y="204"/>
                </a:cubicBezTo>
                <a:cubicBezTo>
                  <a:pt x="215" y="204"/>
                  <a:pt x="216" y="204"/>
                  <a:pt x="216" y="203"/>
                </a:cubicBezTo>
                <a:cubicBezTo>
                  <a:pt x="216" y="202"/>
                  <a:pt x="217" y="202"/>
                  <a:pt x="217" y="203"/>
                </a:cubicBezTo>
                <a:cubicBezTo>
                  <a:pt x="218" y="203"/>
                  <a:pt x="219" y="202"/>
                  <a:pt x="219" y="202"/>
                </a:cubicBezTo>
                <a:cubicBezTo>
                  <a:pt x="219" y="202"/>
                  <a:pt x="219" y="201"/>
                  <a:pt x="220" y="201"/>
                </a:cubicBezTo>
                <a:cubicBezTo>
                  <a:pt x="221" y="201"/>
                  <a:pt x="221" y="201"/>
                  <a:pt x="221" y="201"/>
                </a:cubicBezTo>
                <a:cubicBezTo>
                  <a:pt x="222" y="201"/>
                  <a:pt x="222" y="200"/>
                  <a:pt x="223" y="200"/>
                </a:cubicBezTo>
                <a:cubicBezTo>
                  <a:pt x="223" y="200"/>
                  <a:pt x="224" y="199"/>
                  <a:pt x="224" y="199"/>
                </a:cubicBezTo>
                <a:cubicBezTo>
                  <a:pt x="225" y="199"/>
                  <a:pt x="225" y="199"/>
                  <a:pt x="225" y="198"/>
                </a:cubicBezTo>
                <a:cubicBezTo>
                  <a:pt x="226" y="198"/>
                  <a:pt x="227" y="198"/>
                  <a:pt x="228" y="198"/>
                </a:cubicBezTo>
                <a:cubicBezTo>
                  <a:pt x="228" y="198"/>
                  <a:pt x="228" y="197"/>
                  <a:pt x="228" y="197"/>
                </a:cubicBezTo>
                <a:cubicBezTo>
                  <a:pt x="228" y="197"/>
                  <a:pt x="229" y="197"/>
                  <a:pt x="230" y="197"/>
                </a:cubicBezTo>
                <a:cubicBezTo>
                  <a:pt x="230" y="197"/>
                  <a:pt x="231" y="197"/>
                  <a:pt x="231" y="196"/>
                </a:cubicBezTo>
                <a:cubicBezTo>
                  <a:pt x="232" y="196"/>
                  <a:pt x="232" y="196"/>
                  <a:pt x="232" y="196"/>
                </a:cubicBezTo>
                <a:cubicBezTo>
                  <a:pt x="232" y="196"/>
                  <a:pt x="233" y="196"/>
                  <a:pt x="233" y="195"/>
                </a:cubicBezTo>
                <a:cubicBezTo>
                  <a:pt x="234" y="195"/>
                  <a:pt x="234" y="195"/>
                  <a:pt x="235" y="195"/>
                </a:cubicBezTo>
                <a:cubicBezTo>
                  <a:pt x="235" y="195"/>
                  <a:pt x="235" y="194"/>
                  <a:pt x="235" y="194"/>
                </a:cubicBezTo>
                <a:cubicBezTo>
                  <a:pt x="236" y="193"/>
                  <a:pt x="236" y="194"/>
                  <a:pt x="237" y="194"/>
                </a:cubicBezTo>
                <a:cubicBezTo>
                  <a:pt x="237" y="194"/>
                  <a:pt x="237" y="193"/>
                  <a:pt x="237" y="193"/>
                </a:cubicBezTo>
                <a:cubicBezTo>
                  <a:pt x="237" y="193"/>
                  <a:pt x="238" y="193"/>
                  <a:pt x="238" y="193"/>
                </a:cubicBezTo>
                <a:cubicBezTo>
                  <a:pt x="239" y="193"/>
                  <a:pt x="239" y="193"/>
                  <a:pt x="239" y="193"/>
                </a:cubicBezTo>
                <a:cubicBezTo>
                  <a:pt x="239" y="192"/>
                  <a:pt x="239" y="192"/>
                  <a:pt x="239" y="192"/>
                </a:cubicBezTo>
                <a:cubicBezTo>
                  <a:pt x="241" y="192"/>
                  <a:pt x="241" y="192"/>
                  <a:pt x="241" y="192"/>
                </a:cubicBezTo>
                <a:cubicBezTo>
                  <a:pt x="243" y="190"/>
                  <a:pt x="238" y="190"/>
                  <a:pt x="239" y="187"/>
                </a:cubicBezTo>
                <a:cubicBezTo>
                  <a:pt x="239" y="185"/>
                  <a:pt x="241" y="186"/>
                  <a:pt x="241" y="185"/>
                </a:cubicBezTo>
                <a:cubicBezTo>
                  <a:pt x="242" y="185"/>
                  <a:pt x="242" y="184"/>
                  <a:pt x="243" y="184"/>
                </a:cubicBezTo>
                <a:cubicBezTo>
                  <a:pt x="244" y="184"/>
                  <a:pt x="244" y="184"/>
                  <a:pt x="245" y="185"/>
                </a:cubicBezTo>
                <a:cubicBezTo>
                  <a:pt x="245" y="186"/>
                  <a:pt x="247" y="185"/>
                  <a:pt x="247" y="186"/>
                </a:cubicBezTo>
                <a:cubicBezTo>
                  <a:pt x="249" y="185"/>
                  <a:pt x="249" y="187"/>
                  <a:pt x="251" y="187"/>
                </a:cubicBezTo>
                <a:cubicBezTo>
                  <a:pt x="250" y="187"/>
                  <a:pt x="250" y="188"/>
                  <a:pt x="251" y="188"/>
                </a:cubicBezTo>
                <a:cubicBezTo>
                  <a:pt x="251" y="189"/>
                  <a:pt x="251" y="190"/>
                  <a:pt x="251" y="191"/>
                </a:cubicBezTo>
                <a:cubicBezTo>
                  <a:pt x="252" y="191"/>
                  <a:pt x="252" y="191"/>
                  <a:pt x="252" y="192"/>
                </a:cubicBezTo>
                <a:cubicBezTo>
                  <a:pt x="254" y="192"/>
                  <a:pt x="255" y="191"/>
                  <a:pt x="255" y="190"/>
                </a:cubicBezTo>
                <a:cubicBezTo>
                  <a:pt x="255" y="185"/>
                  <a:pt x="257" y="180"/>
                  <a:pt x="258" y="176"/>
                </a:cubicBezTo>
                <a:cubicBezTo>
                  <a:pt x="258" y="173"/>
                  <a:pt x="257" y="172"/>
                  <a:pt x="257" y="170"/>
                </a:cubicBezTo>
                <a:close/>
                <a:moveTo>
                  <a:pt x="83" y="14"/>
                </a:moveTo>
                <a:cubicBezTo>
                  <a:pt x="83" y="14"/>
                  <a:pt x="83" y="15"/>
                  <a:pt x="82" y="15"/>
                </a:cubicBezTo>
                <a:cubicBezTo>
                  <a:pt x="82" y="17"/>
                  <a:pt x="84" y="16"/>
                  <a:pt x="85" y="17"/>
                </a:cubicBezTo>
                <a:cubicBezTo>
                  <a:pt x="86" y="18"/>
                  <a:pt x="88" y="17"/>
                  <a:pt x="88" y="17"/>
                </a:cubicBezTo>
                <a:cubicBezTo>
                  <a:pt x="88" y="16"/>
                  <a:pt x="88" y="15"/>
                  <a:pt x="88" y="15"/>
                </a:cubicBezTo>
                <a:cubicBezTo>
                  <a:pt x="88" y="15"/>
                  <a:pt x="87" y="14"/>
                  <a:pt x="88" y="14"/>
                </a:cubicBezTo>
                <a:cubicBezTo>
                  <a:pt x="86" y="14"/>
                  <a:pt x="84" y="14"/>
                  <a:pt x="83" y="13"/>
                </a:cubicBezTo>
                <a:cubicBezTo>
                  <a:pt x="84" y="14"/>
                  <a:pt x="83" y="14"/>
                  <a:pt x="83" y="14"/>
                </a:cubicBezTo>
                <a:close/>
                <a:moveTo>
                  <a:pt x="34" y="63"/>
                </a:moveTo>
                <a:cubicBezTo>
                  <a:pt x="34" y="62"/>
                  <a:pt x="33" y="61"/>
                  <a:pt x="31" y="61"/>
                </a:cubicBezTo>
                <a:cubicBezTo>
                  <a:pt x="31" y="63"/>
                  <a:pt x="31" y="63"/>
                  <a:pt x="31" y="65"/>
                </a:cubicBezTo>
                <a:cubicBezTo>
                  <a:pt x="33" y="66"/>
                  <a:pt x="32" y="62"/>
                  <a:pt x="34" y="63"/>
                </a:cubicBezTo>
                <a:close/>
                <a:moveTo>
                  <a:pt x="81" y="16"/>
                </a:moveTo>
                <a:cubicBezTo>
                  <a:pt x="79" y="16"/>
                  <a:pt x="79" y="17"/>
                  <a:pt x="79" y="19"/>
                </a:cubicBezTo>
                <a:cubicBezTo>
                  <a:pt x="80" y="19"/>
                  <a:pt x="80" y="19"/>
                  <a:pt x="80" y="19"/>
                </a:cubicBezTo>
                <a:cubicBezTo>
                  <a:pt x="80" y="20"/>
                  <a:pt x="81" y="21"/>
                  <a:pt x="81" y="21"/>
                </a:cubicBezTo>
                <a:cubicBezTo>
                  <a:pt x="82" y="20"/>
                  <a:pt x="82" y="19"/>
                  <a:pt x="82" y="18"/>
                </a:cubicBezTo>
                <a:cubicBezTo>
                  <a:pt x="81" y="18"/>
                  <a:pt x="81" y="17"/>
                  <a:pt x="81" y="16"/>
                </a:cubicBezTo>
                <a:close/>
                <a:moveTo>
                  <a:pt x="90" y="26"/>
                </a:moveTo>
                <a:cubicBezTo>
                  <a:pt x="90" y="25"/>
                  <a:pt x="90" y="25"/>
                  <a:pt x="90" y="25"/>
                </a:cubicBezTo>
                <a:cubicBezTo>
                  <a:pt x="90" y="25"/>
                  <a:pt x="90" y="25"/>
                  <a:pt x="90" y="24"/>
                </a:cubicBezTo>
                <a:cubicBezTo>
                  <a:pt x="90" y="24"/>
                  <a:pt x="90" y="23"/>
                  <a:pt x="90" y="23"/>
                </a:cubicBezTo>
                <a:cubicBezTo>
                  <a:pt x="89" y="23"/>
                  <a:pt x="87" y="23"/>
                  <a:pt x="87" y="24"/>
                </a:cubicBezTo>
                <a:cubicBezTo>
                  <a:pt x="87" y="25"/>
                  <a:pt x="87" y="25"/>
                  <a:pt x="87" y="26"/>
                </a:cubicBezTo>
                <a:cubicBezTo>
                  <a:pt x="87" y="26"/>
                  <a:pt x="87" y="26"/>
                  <a:pt x="88" y="26"/>
                </a:cubicBezTo>
                <a:cubicBezTo>
                  <a:pt x="88" y="26"/>
                  <a:pt x="88" y="26"/>
                  <a:pt x="88" y="26"/>
                </a:cubicBezTo>
                <a:cubicBezTo>
                  <a:pt x="89" y="27"/>
                  <a:pt x="90" y="26"/>
                  <a:pt x="90" y="2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96" name="Freeform 125"/>
          <p:cNvSpPr>
            <a:spLocks noEditPoints="1"/>
          </p:cNvSpPr>
          <p:nvPr/>
        </p:nvSpPr>
        <p:spPr bwMode="auto">
          <a:xfrm>
            <a:off x="5831179" y="3783315"/>
            <a:ext cx="1666875" cy="1792288"/>
          </a:xfrm>
          <a:custGeom>
            <a:avLst/>
            <a:gdLst>
              <a:gd name="T0" fmla="*/ 44 w 431"/>
              <a:gd name="T1" fmla="*/ 138 h 463"/>
              <a:gd name="T2" fmla="*/ 2 w 431"/>
              <a:gd name="T3" fmla="*/ 79 h 463"/>
              <a:gd name="T4" fmla="*/ 95 w 431"/>
              <a:gd name="T5" fmla="*/ 219 h 463"/>
              <a:gd name="T6" fmla="*/ 428 w 431"/>
              <a:gd name="T7" fmla="*/ 394 h 463"/>
              <a:gd name="T8" fmla="*/ 396 w 431"/>
              <a:gd name="T9" fmla="*/ 419 h 463"/>
              <a:gd name="T10" fmla="*/ 403 w 431"/>
              <a:gd name="T11" fmla="*/ 444 h 463"/>
              <a:gd name="T12" fmla="*/ 423 w 431"/>
              <a:gd name="T13" fmla="*/ 454 h 463"/>
              <a:gd name="T14" fmla="*/ 95 w 431"/>
              <a:gd name="T15" fmla="*/ 205 h 463"/>
              <a:gd name="T16" fmla="*/ 89 w 431"/>
              <a:gd name="T17" fmla="*/ 200 h 463"/>
              <a:gd name="T18" fmla="*/ 393 w 431"/>
              <a:gd name="T19" fmla="*/ 109 h 463"/>
              <a:gd name="T20" fmla="*/ 365 w 431"/>
              <a:gd name="T21" fmla="*/ 105 h 463"/>
              <a:gd name="T22" fmla="*/ 321 w 431"/>
              <a:gd name="T23" fmla="*/ 82 h 463"/>
              <a:gd name="T24" fmla="*/ 304 w 431"/>
              <a:gd name="T25" fmla="*/ 54 h 463"/>
              <a:gd name="T26" fmla="*/ 285 w 431"/>
              <a:gd name="T27" fmla="*/ 51 h 463"/>
              <a:gd name="T28" fmla="*/ 260 w 431"/>
              <a:gd name="T29" fmla="*/ 19 h 463"/>
              <a:gd name="T30" fmla="*/ 237 w 431"/>
              <a:gd name="T31" fmla="*/ 2 h 463"/>
              <a:gd name="T32" fmla="*/ 212 w 431"/>
              <a:gd name="T33" fmla="*/ 26 h 463"/>
              <a:gd name="T34" fmla="*/ 187 w 431"/>
              <a:gd name="T35" fmla="*/ 49 h 463"/>
              <a:gd name="T36" fmla="*/ 160 w 431"/>
              <a:gd name="T37" fmla="*/ 66 h 463"/>
              <a:gd name="T38" fmla="*/ 133 w 431"/>
              <a:gd name="T39" fmla="*/ 61 h 463"/>
              <a:gd name="T40" fmla="*/ 114 w 431"/>
              <a:gd name="T41" fmla="*/ 46 h 463"/>
              <a:gd name="T42" fmla="*/ 109 w 431"/>
              <a:gd name="T43" fmla="*/ 65 h 463"/>
              <a:gd name="T44" fmla="*/ 95 w 431"/>
              <a:gd name="T45" fmla="*/ 93 h 463"/>
              <a:gd name="T46" fmla="*/ 70 w 431"/>
              <a:gd name="T47" fmla="*/ 79 h 463"/>
              <a:gd name="T48" fmla="*/ 46 w 431"/>
              <a:gd name="T49" fmla="*/ 75 h 463"/>
              <a:gd name="T50" fmla="*/ 10 w 431"/>
              <a:gd name="T51" fmla="*/ 84 h 463"/>
              <a:gd name="T52" fmla="*/ 15 w 431"/>
              <a:gd name="T53" fmla="*/ 92 h 463"/>
              <a:gd name="T54" fmla="*/ 10 w 431"/>
              <a:gd name="T55" fmla="*/ 101 h 463"/>
              <a:gd name="T56" fmla="*/ 35 w 431"/>
              <a:gd name="T57" fmla="*/ 117 h 463"/>
              <a:gd name="T58" fmla="*/ 65 w 431"/>
              <a:gd name="T59" fmla="*/ 132 h 463"/>
              <a:gd name="T60" fmla="*/ 74 w 431"/>
              <a:gd name="T61" fmla="*/ 151 h 463"/>
              <a:gd name="T62" fmla="*/ 83 w 431"/>
              <a:gd name="T63" fmla="*/ 185 h 463"/>
              <a:gd name="T64" fmla="*/ 99 w 431"/>
              <a:gd name="T65" fmla="*/ 223 h 463"/>
              <a:gd name="T66" fmla="*/ 109 w 431"/>
              <a:gd name="T67" fmla="*/ 258 h 463"/>
              <a:gd name="T68" fmla="*/ 103 w 431"/>
              <a:gd name="T69" fmla="*/ 242 h 463"/>
              <a:gd name="T70" fmla="*/ 94 w 431"/>
              <a:gd name="T71" fmla="*/ 250 h 463"/>
              <a:gd name="T72" fmla="*/ 88 w 431"/>
              <a:gd name="T73" fmla="*/ 274 h 463"/>
              <a:gd name="T74" fmla="*/ 83 w 431"/>
              <a:gd name="T75" fmla="*/ 291 h 463"/>
              <a:gd name="T76" fmla="*/ 71 w 431"/>
              <a:gd name="T77" fmla="*/ 320 h 463"/>
              <a:gd name="T78" fmla="*/ 72 w 431"/>
              <a:gd name="T79" fmla="*/ 347 h 463"/>
              <a:gd name="T80" fmla="*/ 92 w 431"/>
              <a:gd name="T81" fmla="*/ 362 h 463"/>
              <a:gd name="T82" fmla="*/ 125 w 431"/>
              <a:gd name="T83" fmla="*/ 371 h 463"/>
              <a:gd name="T84" fmla="*/ 169 w 431"/>
              <a:gd name="T85" fmla="*/ 383 h 463"/>
              <a:gd name="T86" fmla="*/ 194 w 431"/>
              <a:gd name="T87" fmla="*/ 398 h 463"/>
              <a:gd name="T88" fmla="*/ 216 w 431"/>
              <a:gd name="T89" fmla="*/ 370 h 463"/>
              <a:gd name="T90" fmla="*/ 251 w 431"/>
              <a:gd name="T91" fmla="*/ 351 h 463"/>
              <a:gd name="T92" fmla="*/ 280 w 431"/>
              <a:gd name="T93" fmla="*/ 360 h 463"/>
              <a:gd name="T94" fmla="*/ 315 w 431"/>
              <a:gd name="T95" fmla="*/ 381 h 463"/>
              <a:gd name="T96" fmla="*/ 337 w 431"/>
              <a:gd name="T97" fmla="*/ 373 h 463"/>
              <a:gd name="T98" fmla="*/ 358 w 431"/>
              <a:gd name="T99" fmla="*/ 355 h 463"/>
              <a:gd name="T100" fmla="*/ 347 w 431"/>
              <a:gd name="T101" fmla="*/ 328 h 463"/>
              <a:gd name="T102" fmla="*/ 347 w 431"/>
              <a:gd name="T103" fmla="*/ 285 h 463"/>
              <a:gd name="T104" fmla="*/ 345 w 431"/>
              <a:gd name="T105" fmla="*/ 256 h 463"/>
              <a:gd name="T106" fmla="*/ 356 w 431"/>
              <a:gd name="T107" fmla="*/ 248 h 463"/>
              <a:gd name="T108" fmla="*/ 338 w 431"/>
              <a:gd name="T109" fmla="*/ 228 h 463"/>
              <a:gd name="T110" fmla="*/ 329 w 431"/>
              <a:gd name="T111" fmla="*/ 224 h 463"/>
              <a:gd name="T112" fmla="*/ 357 w 431"/>
              <a:gd name="T113" fmla="*/ 188 h 463"/>
              <a:gd name="T114" fmla="*/ 374 w 431"/>
              <a:gd name="T115" fmla="*/ 180 h 463"/>
              <a:gd name="T116" fmla="*/ 382 w 431"/>
              <a:gd name="T117" fmla="*/ 146 h 463"/>
              <a:gd name="T118" fmla="*/ 394 w 431"/>
              <a:gd name="T119" fmla="*/ 123 h 463"/>
              <a:gd name="T120" fmla="*/ 72 w 431"/>
              <a:gd name="T121" fmla="*/ 164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1" h="463">
                <a:moveTo>
                  <a:pt x="328" y="382"/>
                </a:moveTo>
                <a:cubicBezTo>
                  <a:pt x="327" y="382"/>
                  <a:pt x="326" y="382"/>
                  <a:pt x="326" y="382"/>
                </a:cubicBezTo>
                <a:cubicBezTo>
                  <a:pt x="325" y="382"/>
                  <a:pt x="325" y="383"/>
                  <a:pt x="324" y="384"/>
                </a:cubicBezTo>
                <a:cubicBezTo>
                  <a:pt x="325" y="385"/>
                  <a:pt x="326" y="384"/>
                  <a:pt x="327" y="384"/>
                </a:cubicBezTo>
                <a:cubicBezTo>
                  <a:pt x="327" y="385"/>
                  <a:pt x="328" y="384"/>
                  <a:pt x="329" y="385"/>
                </a:cubicBezTo>
                <a:cubicBezTo>
                  <a:pt x="329" y="384"/>
                  <a:pt x="330" y="384"/>
                  <a:pt x="330" y="383"/>
                </a:cubicBezTo>
                <a:cubicBezTo>
                  <a:pt x="330" y="383"/>
                  <a:pt x="330" y="382"/>
                  <a:pt x="331" y="382"/>
                </a:cubicBezTo>
                <a:cubicBezTo>
                  <a:pt x="332" y="383"/>
                  <a:pt x="332" y="382"/>
                  <a:pt x="332" y="382"/>
                </a:cubicBezTo>
                <a:cubicBezTo>
                  <a:pt x="331" y="381"/>
                  <a:pt x="329" y="381"/>
                  <a:pt x="328" y="382"/>
                </a:cubicBezTo>
                <a:close/>
                <a:moveTo>
                  <a:pt x="51" y="141"/>
                </a:moveTo>
                <a:cubicBezTo>
                  <a:pt x="50" y="141"/>
                  <a:pt x="50" y="141"/>
                  <a:pt x="50" y="140"/>
                </a:cubicBezTo>
                <a:cubicBezTo>
                  <a:pt x="50" y="140"/>
                  <a:pt x="49" y="140"/>
                  <a:pt x="49" y="139"/>
                </a:cubicBezTo>
                <a:cubicBezTo>
                  <a:pt x="49" y="139"/>
                  <a:pt x="48" y="139"/>
                  <a:pt x="49" y="139"/>
                </a:cubicBezTo>
                <a:cubicBezTo>
                  <a:pt x="48" y="137"/>
                  <a:pt x="47" y="136"/>
                  <a:pt x="44" y="137"/>
                </a:cubicBezTo>
                <a:cubicBezTo>
                  <a:pt x="44" y="137"/>
                  <a:pt x="44" y="137"/>
                  <a:pt x="44" y="138"/>
                </a:cubicBezTo>
                <a:cubicBezTo>
                  <a:pt x="44" y="138"/>
                  <a:pt x="45" y="139"/>
                  <a:pt x="45" y="139"/>
                </a:cubicBezTo>
                <a:cubicBezTo>
                  <a:pt x="45" y="139"/>
                  <a:pt x="44" y="139"/>
                  <a:pt x="44" y="140"/>
                </a:cubicBezTo>
                <a:cubicBezTo>
                  <a:pt x="45" y="140"/>
                  <a:pt x="46" y="141"/>
                  <a:pt x="46" y="142"/>
                </a:cubicBezTo>
                <a:cubicBezTo>
                  <a:pt x="46" y="142"/>
                  <a:pt x="47" y="142"/>
                  <a:pt x="47" y="143"/>
                </a:cubicBezTo>
                <a:cubicBezTo>
                  <a:pt x="47" y="144"/>
                  <a:pt x="47" y="143"/>
                  <a:pt x="48" y="143"/>
                </a:cubicBezTo>
                <a:cubicBezTo>
                  <a:pt x="48" y="144"/>
                  <a:pt x="48" y="145"/>
                  <a:pt x="49" y="144"/>
                </a:cubicBezTo>
                <a:cubicBezTo>
                  <a:pt x="49" y="144"/>
                  <a:pt x="49" y="144"/>
                  <a:pt x="49" y="145"/>
                </a:cubicBezTo>
                <a:cubicBezTo>
                  <a:pt x="50" y="145"/>
                  <a:pt x="50" y="146"/>
                  <a:pt x="51" y="146"/>
                </a:cubicBezTo>
                <a:cubicBezTo>
                  <a:pt x="53" y="145"/>
                  <a:pt x="54" y="144"/>
                  <a:pt x="54" y="143"/>
                </a:cubicBezTo>
                <a:cubicBezTo>
                  <a:pt x="53" y="143"/>
                  <a:pt x="51" y="142"/>
                  <a:pt x="51" y="141"/>
                </a:cubicBezTo>
                <a:close/>
                <a:moveTo>
                  <a:pt x="5" y="77"/>
                </a:moveTo>
                <a:cubicBezTo>
                  <a:pt x="5" y="77"/>
                  <a:pt x="5" y="77"/>
                  <a:pt x="5" y="77"/>
                </a:cubicBezTo>
                <a:cubicBezTo>
                  <a:pt x="3" y="76"/>
                  <a:pt x="3" y="78"/>
                  <a:pt x="1" y="77"/>
                </a:cubicBezTo>
                <a:cubicBezTo>
                  <a:pt x="0" y="78"/>
                  <a:pt x="1" y="78"/>
                  <a:pt x="1" y="79"/>
                </a:cubicBezTo>
                <a:cubicBezTo>
                  <a:pt x="1" y="79"/>
                  <a:pt x="2" y="79"/>
                  <a:pt x="2" y="79"/>
                </a:cubicBezTo>
                <a:cubicBezTo>
                  <a:pt x="4" y="79"/>
                  <a:pt x="5" y="80"/>
                  <a:pt x="5" y="78"/>
                </a:cubicBezTo>
                <a:cubicBezTo>
                  <a:pt x="5" y="78"/>
                  <a:pt x="5" y="78"/>
                  <a:pt x="5" y="77"/>
                </a:cubicBezTo>
                <a:close/>
                <a:moveTo>
                  <a:pt x="45" y="128"/>
                </a:moveTo>
                <a:cubicBezTo>
                  <a:pt x="46" y="125"/>
                  <a:pt x="44" y="124"/>
                  <a:pt x="41" y="125"/>
                </a:cubicBezTo>
                <a:cubicBezTo>
                  <a:pt x="41" y="125"/>
                  <a:pt x="41" y="126"/>
                  <a:pt x="41" y="126"/>
                </a:cubicBezTo>
                <a:cubicBezTo>
                  <a:pt x="41" y="126"/>
                  <a:pt x="42" y="126"/>
                  <a:pt x="42" y="127"/>
                </a:cubicBezTo>
                <a:cubicBezTo>
                  <a:pt x="44" y="127"/>
                  <a:pt x="43" y="129"/>
                  <a:pt x="45" y="128"/>
                </a:cubicBezTo>
                <a:close/>
                <a:moveTo>
                  <a:pt x="97" y="213"/>
                </a:moveTo>
                <a:cubicBezTo>
                  <a:pt x="97" y="212"/>
                  <a:pt x="95" y="212"/>
                  <a:pt x="95" y="210"/>
                </a:cubicBezTo>
                <a:cubicBezTo>
                  <a:pt x="94" y="210"/>
                  <a:pt x="94" y="208"/>
                  <a:pt x="92" y="209"/>
                </a:cubicBezTo>
                <a:cubicBezTo>
                  <a:pt x="91" y="209"/>
                  <a:pt x="92" y="210"/>
                  <a:pt x="92" y="211"/>
                </a:cubicBezTo>
                <a:cubicBezTo>
                  <a:pt x="92" y="211"/>
                  <a:pt x="93" y="212"/>
                  <a:pt x="93" y="212"/>
                </a:cubicBezTo>
                <a:cubicBezTo>
                  <a:pt x="93" y="213"/>
                  <a:pt x="93" y="214"/>
                  <a:pt x="93" y="215"/>
                </a:cubicBezTo>
                <a:cubicBezTo>
                  <a:pt x="94" y="215"/>
                  <a:pt x="94" y="215"/>
                  <a:pt x="94" y="216"/>
                </a:cubicBezTo>
                <a:cubicBezTo>
                  <a:pt x="94" y="217"/>
                  <a:pt x="96" y="217"/>
                  <a:pt x="95" y="219"/>
                </a:cubicBezTo>
                <a:cubicBezTo>
                  <a:pt x="96" y="219"/>
                  <a:pt x="96" y="219"/>
                  <a:pt x="96" y="219"/>
                </a:cubicBezTo>
                <a:cubicBezTo>
                  <a:pt x="97" y="219"/>
                  <a:pt x="97" y="218"/>
                  <a:pt x="99" y="218"/>
                </a:cubicBezTo>
                <a:cubicBezTo>
                  <a:pt x="99" y="217"/>
                  <a:pt x="99" y="216"/>
                  <a:pt x="99" y="215"/>
                </a:cubicBezTo>
                <a:cubicBezTo>
                  <a:pt x="99" y="214"/>
                  <a:pt x="98" y="214"/>
                  <a:pt x="97" y="213"/>
                </a:cubicBezTo>
                <a:close/>
                <a:moveTo>
                  <a:pt x="430" y="420"/>
                </a:moveTo>
                <a:cubicBezTo>
                  <a:pt x="431" y="419"/>
                  <a:pt x="431" y="418"/>
                  <a:pt x="431" y="417"/>
                </a:cubicBezTo>
                <a:cubicBezTo>
                  <a:pt x="431" y="415"/>
                  <a:pt x="430" y="412"/>
                  <a:pt x="430" y="409"/>
                </a:cubicBezTo>
                <a:cubicBezTo>
                  <a:pt x="430" y="409"/>
                  <a:pt x="430" y="408"/>
                  <a:pt x="429" y="408"/>
                </a:cubicBezTo>
                <a:cubicBezTo>
                  <a:pt x="429" y="407"/>
                  <a:pt x="428" y="407"/>
                  <a:pt x="428" y="406"/>
                </a:cubicBezTo>
                <a:cubicBezTo>
                  <a:pt x="428" y="406"/>
                  <a:pt x="427" y="406"/>
                  <a:pt x="428" y="405"/>
                </a:cubicBezTo>
                <a:cubicBezTo>
                  <a:pt x="428" y="404"/>
                  <a:pt x="427" y="404"/>
                  <a:pt x="427" y="403"/>
                </a:cubicBezTo>
                <a:cubicBezTo>
                  <a:pt x="427" y="402"/>
                  <a:pt x="428" y="402"/>
                  <a:pt x="428" y="402"/>
                </a:cubicBezTo>
                <a:cubicBezTo>
                  <a:pt x="428" y="401"/>
                  <a:pt x="428" y="401"/>
                  <a:pt x="429" y="401"/>
                </a:cubicBezTo>
                <a:cubicBezTo>
                  <a:pt x="429" y="399"/>
                  <a:pt x="429" y="398"/>
                  <a:pt x="429" y="396"/>
                </a:cubicBezTo>
                <a:cubicBezTo>
                  <a:pt x="429" y="395"/>
                  <a:pt x="427" y="395"/>
                  <a:pt x="428" y="394"/>
                </a:cubicBezTo>
                <a:cubicBezTo>
                  <a:pt x="427" y="392"/>
                  <a:pt x="429" y="392"/>
                  <a:pt x="428" y="390"/>
                </a:cubicBezTo>
                <a:cubicBezTo>
                  <a:pt x="427" y="390"/>
                  <a:pt x="427" y="388"/>
                  <a:pt x="425" y="389"/>
                </a:cubicBezTo>
                <a:cubicBezTo>
                  <a:pt x="423" y="390"/>
                  <a:pt x="421" y="394"/>
                  <a:pt x="423" y="396"/>
                </a:cubicBezTo>
                <a:cubicBezTo>
                  <a:pt x="423" y="398"/>
                  <a:pt x="423" y="399"/>
                  <a:pt x="423" y="400"/>
                </a:cubicBezTo>
                <a:cubicBezTo>
                  <a:pt x="423" y="401"/>
                  <a:pt x="423" y="403"/>
                  <a:pt x="422" y="403"/>
                </a:cubicBezTo>
                <a:cubicBezTo>
                  <a:pt x="420" y="402"/>
                  <a:pt x="419" y="401"/>
                  <a:pt x="417" y="401"/>
                </a:cubicBezTo>
                <a:cubicBezTo>
                  <a:pt x="416" y="402"/>
                  <a:pt x="415" y="403"/>
                  <a:pt x="414" y="403"/>
                </a:cubicBezTo>
                <a:cubicBezTo>
                  <a:pt x="413" y="405"/>
                  <a:pt x="412" y="405"/>
                  <a:pt x="411" y="406"/>
                </a:cubicBezTo>
                <a:cubicBezTo>
                  <a:pt x="407" y="406"/>
                  <a:pt x="406" y="408"/>
                  <a:pt x="404" y="409"/>
                </a:cubicBezTo>
                <a:cubicBezTo>
                  <a:pt x="403" y="409"/>
                  <a:pt x="403" y="409"/>
                  <a:pt x="403" y="408"/>
                </a:cubicBezTo>
                <a:cubicBezTo>
                  <a:pt x="401" y="408"/>
                  <a:pt x="402" y="410"/>
                  <a:pt x="402" y="412"/>
                </a:cubicBezTo>
                <a:cubicBezTo>
                  <a:pt x="401" y="412"/>
                  <a:pt x="401" y="412"/>
                  <a:pt x="400" y="412"/>
                </a:cubicBezTo>
                <a:cubicBezTo>
                  <a:pt x="399" y="414"/>
                  <a:pt x="400" y="414"/>
                  <a:pt x="400" y="415"/>
                </a:cubicBezTo>
                <a:cubicBezTo>
                  <a:pt x="399" y="416"/>
                  <a:pt x="399" y="416"/>
                  <a:pt x="398" y="417"/>
                </a:cubicBezTo>
                <a:cubicBezTo>
                  <a:pt x="398" y="419"/>
                  <a:pt x="396" y="418"/>
                  <a:pt x="396" y="419"/>
                </a:cubicBezTo>
                <a:cubicBezTo>
                  <a:pt x="397" y="420"/>
                  <a:pt x="398" y="420"/>
                  <a:pt x="399" y="421"/>
                </a:cubicBezTo>
                <a:cubicBezTo>
                  <a:pt x="399" y="421"/>
                  <a:pt x="399" y="421"/>
                  <a:pt x="400" y="421"/>
                </a:cubicBezTo>
                <a:cubicBezTo>
                  <a:pt x="401" y="421"/>
                  <a:pt x="401" y="421"/>
                  <a:pt x="401" y="422"/>
                </a:cubicBezTo>
                <a:cubicBezTo>
                  <a:pt x="400" y="423"/>
                  <a:pt x="400" y="423"/>
                  <a:pt x="398" y="423"/>
                </a:cubicBezTo>
                <a:cubicBezTo>
                  <a:pt x="397" y="423"/>
                  <a:pt x="397" y="424"/>
                  <a:pt x="396" y="424"/>
                </a:cubicBezTo>
                <a:cubicBezTo>
                  <a:pt x="397" y="426"/>
                  <a:pt x="397" y="427"/>
                  <a:pt x="397" y="430"/>
                </a:cubicBezTo>
                <a:cubicBezTo>
                  <a:pt x="398" y="430"/>
                  <a:pt x="398" y="431"/>
                  <a:pt x="400" y="431"/>
                </a:cubicBezTo>
                <a:cubicBezTo>
                  <a:pt x="400" y="431"/>
                  <a:pt x="401" y="431"/>
                  <a:pt x="400" y="431"/>
                </a:cubicBezTo>
                <a:cubicBezTo>
                  <a:pt x="401" y="432"/>
                  <a:pt x="402" y="432"/>
                  <a:pt x="402" y="433"/>
                </a:cubicBezTo>
                <a:cubicBezTo>
                  <a:pt x="400" y="435"/>
                  <a:pt x="397" y="437"/>
                  <a:pt x="397" y="440"/>
                </a:cubicBezTo>
                <a:cubicBezTo>
                  <a:pt x="397" y="440"/>
                  <a:pt x="398" y="440"/>
                  <a:pt x="398" y="440"/>
                </a:cubicBezTo>
                <a:cubicBezTo>
                  <a:pt x="398" y="440"/>
                  <a:pt x="398" y="440"/>
                  <a:pt x="398" y="440"/>
                </a:cubicBezTo>
                <a:cubicBezTo>
                  <a:pt x="400" y="440"/>
                  <a:pt x="401" y="438"/>
                  <a:pt x="403" y="439"/>
                </a:cubicBezTo>
                <a:cubicBezTo>
                  <a:pt x="403" y="439"/>
                  <a:pt x="404" y="440"/>
                  <a:pt x="404" y="440"/>
                </a:cubicBezTo>
                <a:cubicBezTo>
                  <a:pt x="404" y="442"/>
                  <a:pt x="403" y="443"/>
                  <a:pt x="403" y="444"/>
                </a:cubicBezTo>
                <a:cubicBezTo>
                  <a:pt x="402" y="445"/>
                  <a:pt x="401" y="445"/>
                  <a:pt x="401" y="446"/>
                </a:cubicBezTo>
                <a:cubicBezTo>
                  <a:pt x="401" y="446"/>
                  <a:pt x="400" y="446"/>
                  <a:pt x="400" y="447"/>
                </a:cubicBezTo>
                <a:cubicBezTo>
                  <a:pt x="400" y="447"/>
                  <a:pt x="402" y="447"/>
                  <a:pt x="401" y="447"/>
                </a:cubicBezTo>
                <a:cubicBezTo>
                  <a:pt x="403" y="447"/>
                  <a:pt x="404" y="448"/>
                  <a:pt x="406" y="448"/>
                </a:cubicBezTo>
                <a:cubicBezTo>
                  <a:pt x="407" y="448"/>
                  <a:pt x="409" y="448"/>
                  <a:pt x="409" y="450"/>
                </a:cubicBezTo>
                <a:cubicBezTo>
                  <a:pt x="406" y="449"/>
                  <a:pt x="406" y="451"/>
                  <a:pt x="404" y="451"/>
                </a:cubicBezTo>
                <a:cubicBezTo>
                  <a:pt x="404" y="452"/>
                  <a:pt x="403" y="453"/>
                  <a:pt x="403" y="454"/>
                </a:cubicBezTo>
                <a:cubicBezTo>
                  <a:pt x="404" y="454"/>
                  <a:pt x="404" y="455"/>
                  <a:pt x="405" y="455"/>
                </a:cubicBezTo>
                <a:cubicBezTo>
                  <a:pt x="405" y="456"/>
                  <a:pt x="407" y="456"/>
                  <a:pt x="408" y="457"/>
                </a:cubicBezTo>
                <a:cubicBezTo>
                  <a:pt x="409" y="457"/>
                  <a:pt x="409" y="457"/>
                  <a:pt x="409" y="458"/>
                </a:cubicBezTo>
                <a:cubicBezTo>
                  <a:pt x="412" y="457"/>
                  <a:pt x="412" y="459"/>
                  <a:pt x="414" y="459"/>
                </a:cubicBezTo>
                <a:cubicBezTo>
                  <a:pt x="414" y="462"/>
                  <a:pt x="415" y="463"/>
                  <a:pt x="416" y="463"/>
                </a:cubicBezTo>
                <a:cubicBezTo>
                  <a:pt x="416" y="461"/>
                  <a:pt x="417" y="462"/>
                  <a:pt x="418" y="463"/>
                </a:cubicBezTo>
                <a:cubicBezTo>
                  <a:pt x="419" y="461"/>
                  <a:pt x="421" y="459"/>
                  <a:pt x="421" y="456"/>
                </a:cubicBezTo>
                <a:cubicBezTo>
                  <a:pt x="422" y="456"/>
                  <a:pt x="423" y="455"/>
                  <a:pt x="423" y="454"/>
                </a:cubicBezTo>
                <a:cubicBezTo>
                  <a:pt x="423" y="452"/>
                  <a:pt x="421" y="453"/>
                  <a:pt x="421" y="452"/>
                </a:cubicBezTo>
                <a:cubicBezTo>
                  <a:pt x="422" y="452"/>
                  <a:pt x="424" y="451"/>
                  <a:pt x="425" y="451"/>
                </a:cubicBezTo>
                <a:cubicBezTo>
                  <a:pt x="426" y="447"/>
                  <a:pt x="425" y="444"/>
                  <a:pt x="425" y="442"/>
                </a:cubicBezTo>
                <a:cubicBezTo>
                  <a:pt x="425" y="441"/>
                  <a:pt x="425" y="441"/>
                  <a:pt x="425" y="441"/>
                </a:cubicBezTo>
                <a:cubicBezTo>
                  <a:pt x="425" y="441"/>
                  <a:pt x="425" y="441"/>
                  <a:pt x="425" y="440"/>
                </a:cubicBezTo>
                <a:cubicBezTo>
                  <a:pt x="427" y="439"/>
                  <a:pt x="426" y="438"/>
                  <a:pt x="427" y="437"/>
                </a:cubicBezTo>
                <a:cubicBezTo>
                  <a:pt x="427" y="437"/>
                  <a:pt x="427" y="437"/>
                  <a:pt x="427" y="437"/>
                </a:cubicBezTo>
                <a:cubicBezTo>
                  <a:pt x="427" y="436"/>
                  <a:pt x="427" y="435"/>
                  <a:pt x="427" y="434"/>
                </a:cubicBezTo>
                <a:cubicBezTo>
                  <a:pt x="428" y="433"/>
                  <a:pt x="428" y="431"/>
                  <a:pt x="430" y="431"/>
                </a:cubicBezTo>
                <a:cubicBezTo>
                  <a:pt x="429" y="428"/>
                  <a:pt x="431" y="428"/>
                  <a:pt x="431" y="426"/>
                </a:cubicBezTo>
                <a:cubicBezTo>
                  <a:pt x="431" y="424"/>
                  <a:pt x="430" y="422"/>
                  <a:pt x="430" y="420"/>
                </a:cubicBezTo>
                <a:close/>
                <a:moveTo>
                  <a:pt x="92" y="203"/>
                </a:moveTo>
                <a:cubicBezTo>
                  <a:pt x="93" y="203"/>
                  <a:pt x="93" y="204"/>
                  <a:pt x="93" y="204"/>
                </a:cubicBezTo>
                <a:cubicBezTo>
                  <a:pt x="94" y="204"/>
                  <a:pt x="94" y="204"/>
                  <a:pt x="94" y="204"/>
                </a:cubicBezTo>
                <a:cubicBezTo>
                  <a:pt x="94" y="204"/>
                  <a:pt x="94" y="205"/>
                  <a:pt x="95" y="205"/>
                </a:cubicBezTo>
                <a:cubicBezTo>
                  <a:pt x="95" y="204"/>
                  <a:pt x="95" y="205"/>
                  <a:pt x="97" y="205"/>
                </a:cubicBezTo>
                <a:cubicBezTo>
                  <a:pt x="98" y="205"/>
                  <a:pt x="98" y="204"/>
                  <a:pt x="98" y="203"/>
                </a:cubicBezTo>
                <a:cubicBezTo>
                  <a:pt x="98" y="203"/>
                  <a:pt x="98" y="202"/>
                  <a:pt x="98" y="202"/>
                </a:cubicBezTo>
                <a:cubicBezTo>
                  <a:pt x="98" y="202"/>
                  <a:pt x="98" y="202"/>
                  <a:pt x="98" y="202"/>
                </a:cubicBezTo>
                <a:cubicBezTo>
                  <a:pt x="97" y="201"/>
                  <a:pt x="96" y="201"/>
                  <a:pt x="94" y="201"/>
                </a:cubicBezTo>
                <a:cubicBezTo>
                  <a:pt x="94" y="201"/>
                  <a:pt x="94" y="201"/>
                  <a:pt x="94" y="201"/>
                </a:cubicBezTo>
                <a:cubicBezTo>
                  <a:pt x="94" y="201"/>
                  <a:pt x="93" y="201"/>
                  <a:pt x="93" y="200"/>
                </a:cubicBezTo>
                <a:cubicBezTo>
                  <a:pt x="93" y="200"/>
                  <a:pt x="93" y="200"/>
                  <a:pt x="92" y="200"/>
                </a:cubicBezTo>
                <a:cubicBezTo>
                  <a:pt x="92" y="200"/>
                  <a:pt x="92" y="200"/>
                  <a:pt x="92" y="200"/>
                </a:cubicBezTo>
                <a:cubicBezTo>
                  <a:pt x="92" y="199"/>
                  <a:pt x="91" y="198"/>
                  <a:pt x="90" y="199"/>
                </a:cubicBezTo>
                <a:cubicBezTo>
                  <a:pt x="90" y="199"/>
                  <a:pt x="90" y="199"/>
                  <a:pt x="90" y="199"/>
                </a:cubicBezTo>
                <a:cubicBezTo>
                  <a:pt x="89" y="199"/>
                  <a:pt x="89" y="199"/>
                  <a:pt x="89" y="199"/>
                </a:cubicBezTo>
                <a:cubicBezTo>
                  <a:pt x="89" y="199"/>
                  <a:pt x="89" y="199"/>
                  <a:pt x="89" y="199"/>
                </a:cubicBezTo>
                <a:cubicBezTo>
                  <a:pt x="89" y="199"/>
                  <a:pt x="89" y="199"/>
                  <a:pt x="89" y="199"/>
                </a:cubicBezTo>
                <a:cubicBezTo>
                  <a:pt x="89" y="200"/>
                  <a:pt x="89" y="200"/>
                  <a:pt x="89" y="200"/>
                </a:cubicBezTo>
                <a:cubicBezTo>
                  <a:pt x="89" y="200"/>
                  <a:pt x="88" y="201"/>
                  <a:pt x="88" y="201"/>
                </a:cubicBezTo>
                <a:cubicBezTo>
                  <a:pt x="88" y="201"/>
                  <a:pt x="88" y="201"/>
                  <a:pt x="88" y="201"/>
                </a:cubicBezTo>
                <a:cubicBezTo>
                  <a:pt x="88" y="201"/>
                  <a:pt x="88" y="201"/>
                  <a:pt x="88" y="201"/>
                </a:cubicBezTo>
                <a:cubicBezTo>
                  <a:pt x="88" y="201"/>
                  <a:pt x="88" y="201"/>
                  <a:pt x="88" y="202"/>
                </a:cubicBezTo>
                <a:cubicBezTo>
                  <a:pt x="89" y="203"/>
                  <a:pt x="90" y="203"/>
                  <a:pt x="91" y="202"/>
                </a:cubicBezTo>
                <a:cubicBezTo>
                  <a:pt x="92" y="202"/>
                  <a:pt x="92" y="202"/>
                  <a:pt x="92" y="202"/>
                </a:cubicBezTo>
                <a:cubicBezTo>
                  <a:pt x="92" y="202"/>
                  <a:pt x="92" y="202"/>
                  <a:pt x="92" y="202"/>
                </a:cubicBezTo>
                <a:cubicBezTo>
                  <a:pt x="92" y="203"/>
                  <a:pt x="92" y="203"/>
                  <a:pt x="92" y="203"/>
                </a:cubicBezTo>
                <a:close/>
                <a:moveTo>
                  <a:pt x="396" y="121"/>
                </a:moveTo>
                <a:cubicBezTo>
                  <a:pt x="396" y="120"/>
                  <a:pt x="397" y="118"/>
                  <a:pt x="398" y="118"/>
                </a:cubicBezTo>
                <a:cubicBezTo>
                  <a:pt x="398" y="115"/>
                  <a:pt x="401" y="116"/>
                  <a:pt x="401" y="113"/>
                </a:cubicBezTo>
                <a:cubicBezTo>
                  <a:pt x="400" y="113"/>
                  <a:pt x="400" y="112"/>
                  <a:pt x="399" y="112"/>
                </a:cubicBezTo>
                <a:cubicBezTo>
                  <a:pt x="399" y="111"/>
                  <a:pt x="398" y="112"/>
                  <a:pt x="398" y="111"/>
                </a:cubicBezTo>
                <a:cubicBezTo>
                  <a:pt x="396" y="111"/>
                  <a:pt x="396" y="110"/>
                  <a:pt x="393" y="110"/>
                </a:cubicBezTo>
                <a:cubicBezTo>
                  <a:pt x="394" y="110"/>
                  <a:pt x="393" y="109"/>
                  <a:pt x="393" y="109"/>
                </a:cubicBezTo>
                <a:cubicBezTo>
                  <a:pt x="393" y="109"/>
                  <a:pt x="393" y="108"/>
                  <a:pt x="393" y="108"/>
                </a:cubicBezTo>
                <a:cubicBezTo>
                  <a:pt x="389" y="108"/>
                  <a:pt x="389" y="108"/>
                  <a:pt x="389" y="108"/>
                </a:cubicBezTo>
                <a:cubicBezTo>
                  <a:pt x="387" y="108"/>
                  <a:pt x="387" y="107"/>
                  <a:pt x="386" y="107"/>
                </a:cubicBezTo>
                <a:cubicBezTo>
                  <a:pt x="386" y="107"/>
                  <a:pt x="385" y="107"/>
                  <a:pt x="385" y="107"/>
                </a:cubicBezTo>
                <a:cubicBezTo>
                  <a:pt x="384" y="106"/>
                  <a:pt x="383" y="107"/>
                  <a:pt x="382" y="107"/>
                </a:cubicBezTo>
                <a:cubicBezTo>
                  <a:pt x="382" y="107"/>
                  <a:pt x="382" y="107"/>
                  <a:pt x="382" y="107"/>
                </a:cubicBezTo>
                <a:cubicBezTo>
                  <a:pt x="381" y="107"/>
                  <a:pt x="381" y="107"/>
                  <a:pt x="381" y="107"/>
                </a:cubicBezTo>
                <a:cubicBezTo>
                  <a:pt x="381" y="106"/>
                  <a:pt x="380" y="107"/>
                  <a:pt x="380" y="107"/>
                </a:cubicBezTo>
                <a:cubicBezTo>
                  <a:pt x="379" y="106"/>
                  <a:pt x="380" y="106"/>
                  <a:pt x="380" y="106"/>
                </a:cubicBezTo>
                <a:cubicBezTo>
                  <a:pt x="379" y="106"/>
                  <a:pt x="379" y="106"/>
                  <a:pt x="379" y="106"/>
                </a:cubicBezTo>
                <a:cubicBezTo>
                  <a:pt x="378" y="106"/>
                  <a:pt x="379" y="105"/>
                  <a:pt x="378" y="105"/>
                </a:cubicBezTo>
                <a:cubicBezTo>
                  <a:pt x="377" y="105"/>
                  <a:pt x="377" y="104"/>
                  <a:pt x="377" y="104"/>
                </a:cubicBezTo>
                <a:cubicBezTo>
                  <a:pt x="375" y="105"/>
                  <a:pt x="374" y="106"/>
                  <a:pt x="373" y="107"/>
                </a:cubicBezTo>
                <a:cubicBezTo>
                  <a:pt x="370" y="106"/>
                  <a:pt x="369" y="105"/>
                  <a:pt x="366" y="105"/>
                </a:cubicBezTo>
                <a:cubicBezTo>
                  <a:pt x="365" y="105"/>
                  <a:pt x="365" y="105"/>
                  <a:pt x="365" y="105"/>
                </a:cubicBezTo>
                <a:cubicBezTo>
                  <a:pt x="365" y="104"/>
                  <a:pt x="363" y="104"/>
                  <a:pt x="363" y="102"/>
                </a:cubicBezTo>
                <a:cubicBezTo>
                  <a:pt x="361" y="101"/>
                  <a:pt x="360" y="103"/>
                  <a:pt x="358" y="102"/>
                </a:cubicBezTo>
                <a:cubicBezTo>
                  <a:pt x="356" y="101"/>
                  <a:pt x="353" y="100"/>
                  <a:pt x="352" y="98"/>
                </a:cubicBezTo>
                <a:cubicBezTo>
                  <a:pt x="353" y="96"/>
                  <a:pt x="351" y="96"/>
                  <a:pt x="352" y="94"/>
                </a:cubicBezTo>
                <a:cubicBezTo>
                  <a:pt x="350" y="94"/>
                  <a:pt x="351" y="92"/>
                  <a:pt x="350" y="92"/>
                </a:cubicBezTo>
                <a:cubicBezTo>
                  <a:pt x="349" y="91"/>
                  <a:pt x="348" y="91"/>
                  <a:pt x="347" y="89"/>
                </a:cubicBezTo>
                <a:cubicBezTo>
                  <a:pt x="347" y="87"/>
                  <a:pt x="346" y="86"/>
                  <a:pt x="345" y="84"/>
                </a:cubicBezTo>
                <a:cubicBezTo>
                  <a:pt x="344" y="81"/>
                  <a:pt x="339" y="84"/>
                  <a:pt x="336" y="84"/>
                </a:cubicBezTo>
                <a:cubicBezTo>
                  <a:pt x="336" y="84"/>
                  <a:pt x="335" y="83"/>
                  <a:pt x="336" y="83"/>
                </a:cubicBezTo>
                <a:cubicBezTo>
                  <a:pt x="335" y="83"/>
                  <a:pt x="335" y="83"/>
                  <a:pt x="334" y="83"/>
                </a:cubicBezTo>
                <a:cubicBezTo>
                  <a:pt x="334" y="83"/>
                  <a:pt x="334" y="83"/>
                  <a:pt x="334" y="83"/>
                </a:cubicBezTo>
                <a:cubicBezTo>
                  <a:pt x="333" y="83"/>
                  <a:pt x="332" y="83"/>
                  <a:pt x="331" y="82"/>
                </a:cubicBezTo>
                <a:cubicBezTo>
                  <a:pt x="331" y="82"/>
                  <a:pt x="331" y="83"/>
                  <a:pt x="330" y="83"/>
                </a:cubicBezTo>
                <a:cubicBezTo>
                  <a:pt x="330" y="83"/>
                  <a:pt x="329" y="83"/>
                  <a:pt x="329" y="82"/>
                </a:cubicBezTo>
                <a:cubicBezTo>
                  <a:pt x="327" y="82"/>
                  <a:pt x="323" y="83"/>
                  <a:pt x="321" y="82"/>
                </a:cubicBezTo>
                <a:cubicBezTo>
                  <a:pt x="321" y="82"/>
                  <a:pt x="321" y="82"/>
                  <a:pt x="321" y="81"/>
                </a:cubicBezTo>
                <a:cubicBezTo>
                  <a:pt x="320" y="82"/>
                  <a:pt x="320" y="81"/>
                  <a:pt x="319" y="81"/>
                </a:cubicBezTo>
                <a:cubicBezTo>
                  <a:pt x="318" y="81"/>
                  <a:pt x="318" y="81"/>
                  <a:pt x="318" y="80"/>
                </a:cubicBezTo>
                <a:cubicBezTo>
                  <a:pt x="318" y="79"/>
                  <a:pt x="318" y="79"/>
                  <a:pt x="318" y="78"/>
                </a:cubicBezTo>
                <a:cubicBezTo>
                  <a:pt x="318" y="78"/>
                  <a:pt x="317" y="78"/>
                  <a:pt x="318" y="77"/>
                </a:cubicBezTo>
                <a:cubicBezTo>
                  <a:pt x="318" y="77"/>
                  <a:pt x="318" y="77"/>
                  <a:pt x="318" y="77"/>
                </a:cubicBezTo>
                <a:cubicBezTo>
                  <a:pt x="317" y="75"/>
                  <a:pt x="315" y="74"/>
                  <a:pt x="314" y="72"/>
                </a:cubicBezTo>
                <a:cubicBezTo>
                  <a:pt x="312" y="72"/>
                  <a:pt x="311" y="70"/>
                  <a:pt x="310" y="70"/>
                </a:cubicBezTo>
                <a:cubicBezTo>
                  <a:pt x="310" y="66"/>
                  <a:pt x="309" y="66"/>
                  <a:pt x="307" y="66"/>
                </a:cubicBezTo>
                <a:cubicBezTo>
                  <a:pt x="307" y="66"/>
                  <a:pt x="307" y="66"/>
                  <a:pt x="307" y="65"/>
                </a:cubicBezTo>
                <a:cubicBezTo>
                  <a:pt x="306" y="65"/>
                  <a:pt x="306" y="65"/>
                  <a:pt x="305" y="65"/>
                </a:cubicBezTo>
                <a:cubicBezTo>
                  <a:pt x="305" y="65"/>
                  <a:pt x="305" y="64"/>
                  <a:pt x="305" y="63"/>
                </a:cubicBezTo>
                <a:cubicBezTo>
                  <a:pt x="305" y="63"/>
                  <a:pt x="305" y="63"/>
                  <a:pt x="306" y="63"/>
                </a:cubicBezTo>
                <a:cubicBezTo>
                  <a:pt x="306" y="60"/>
                  <a:pt x="306" y="57"/>
                  <a:pt x="303" y="57"/>
                </a:cubicBezTo>
                <a:cubicBezTo>
                  <a:pt x="303" y="56"/>
                  <a:pt x="303" y="55"/>
                  <a:pt x="304" y="54"/>
                </a:cubicBezTo>
                <a:cubicBezTo>
                  <a:pt x="305" y="53"/>
                  <a:pt x="306" y="53"/>
                  <a:pt x="306" y="52"/>
                </a:cubicBezTo>
                <a:cubicBezTo>
                  <a:pt x="306" y="50"/>
                  <a:pt x="302" y="51"/>
                  <a:pt x="301" y="52"/>
                </a:cubicBezTo>
                <a:cubicBezTo>
                  <a:pt x="301" y="52"/>
                  <a:pt x="301" y="53"/>
                  <a:pt x="300" y="53"/>
                </a:cubicBezTo>
                <a:cubicBezTo>
                  <a:pt x="300" y="53"/>
                  <a:pt x="299" y="53"/>
                  <a:pt x="299" y="54"/>
                </a:cubicBezTo>
                <a:cubicBezTo>
                  <a:pt x="299" y="55"/>
                  <a:pt x="298" y="55"/>
                  <a:pt x="298" y="56"/>
                </a:cubicBezTo>
                <a:cubicBezTo>
                  <a:pt x="297" y="56"/>
                  <a:pt x="296" y="56"/>
                  <a:pt x="295" y="57"/>
                </a:cubicBezTo>
                <a:cubicBezTo>
                  <a:pt x="295" y="57"/>
                  <a:pt x="295" y="56"/>
                  <a:pt x="294" y="56"/>
                </a:cubicBezTo>
                <a:cubicBezTo>
                  <a:pt x="294" y="56"/>
                  <a:pt x="293" y="56"/>
                  <a:pt x="293" y="56"/>
                </a:cubicBezTo>
                <a:cubicBezTo>
                  <a:pt x="292" y="57"/>
                  <a:pt x="291" y="57"/>
                  <a:pt x="289" y="57"/>
                </a:cubicBezTo>
                <a:cubicBezTo>
                  <a:pt x="289" y="57"/>
                  <a:pt x="288" y="57"/>
                  <a:pt x="288" y="56"/>
                </a:cubicBezTo>
                <a:cubicBezTo>
                  <a:pt x="287" y="56"/>
                  <a:pt x="286" y="56"/>
                  <a:pt x="286" y="55"/>
                </a:cubicBezTo>
                <a:cubicBezTo>
                  <a:pt x="285" y="55"/>
                  <a:pt x="285" y="56"/>
                  <a:pt x="284" y="56"/>
                </a:cubicBezTo>
                <a:cubicBezTo>
                  <a:pt x="283" y="56"/>
                  <a:pt x="283" y="55"/>
                  <a:pt x="283" y="55"/>
                </a:cubicBezTo>
                <a:cubicBezTo>
                  <a:pt x="285" y="54"/>
                  <a:pt x="285" y="53"/>
                  <a:pt x="285" y="52"/>
                </a:cubicBezTo>
                <a:cubicBezTo>
                  <a:pt x="285" y="51"/>
                  <a:pt x="285" y="51"/>
                  <a:pt x="285" y="51"/>
                </a:cubicBezTo>
                <a:cubicBezTo>
                  <a:pt x="285" y="49"/>
                  <a:pt x="283" y="49"/>
                  <a:pt x="283" y="47"/>
                </a:cubicBezTo>
                <a:cubicBezTo>
                  <a:pt x="284" y="46"/>
                  <a:pt x="284" y="46"/>
                  <a:pt x="284" y="45"/>
                </a:cubicBezTo>
                <a:cubicBezTo>
                  <a:pt x="285" y="45"/>
                  <a:pt x="285" y="45"/>
                  <a:pt x="285" y="45"/>
                </a:cubicBezTo>
                <a:cubicBezTo>
                  <a:pt x="286" y="44"/>
                  <a:pt x="286" y="44"/>
                  <a:pt x="286" y="44"/>
                </a:cubicBezTo>
                <a:cubicBezTo>
                  <a:pt x="286" y="43"/>
                  <a:pt x="286" y="42"/>
                  <a:pt x="287" y="42"/>
                </a:cubicBezTo>
                <a:cubicBezTo>
                  <a:pt x="285" y="42"/>
                  <a:pt x="285" y="40"/>
                  <a:pt x="284" y="40"/>
                </a:cubicBezTo>
                <a:cubicBezTo>
                  <a:pt x="283" y="39"/>
                  <a:pt x="281" y="39"/>
                  <a:pt x="280" y="38"/>
                </a:cubicBezTo>
                <a:cubicBezTo>
                  <a:pt x="274" y="38"/>
                  <a:pt x="274" y="38"/>
                  <a:pt x="274" y="38"/>
                </a:cubicBezTo>
                <a:cubicBezTo>
                  <a:pt x="273" y="38"/>
                  <a:pt x="273" y="38"/>
                  <a:pt x="273" y="38"/>
                </a:cubicBezTo>
                <a:cubicBezTo>
                  <a:pt x="272" y="37"/>
                  <a:pt x="272" y="36"/>
                  <a:pt x="272" y="35"/>
                </a:cubicBezTo>
                <a:cubicBezTo>
                  <a:pt x="272" y="31"/>
                  <a:pt x="272" y="31"/>
                  <a:pt x="272" y="31"/>
                </a:cubicBezTo>
                <a:cubicBezTo>
                  <a:pt x="269" y="29"/>
                  <a:pt x="267" y="29"/>
                  <a:pt x="263" y="29"/>
                </a:cubicBezTo>
                <a:cubicBezTo>
                  <a:pt x="263" y="28"/>
                  <a:pt x="261" y="28"/>
                  <a:pt x="261" y="26"/>
                </a:cubicBezTo>
                <a:cubicBezTo>
                  <a:pt x="262" y="26"/>
                  <a:pt x="262" y="25"/>
                  <a:pt x="262" y="23"/>
                </a:cubicBezTo>
                <a:cubicBezTo>
                  <a:pt x="261" y="22"/>
                  <a:pt x="261" y="21"/>
                  <a:pt x="260" y="19"/>
                </a:cubicBezTo>
                <a:cubicBezTo>
                  <a:pt x="259" y="19"/>
                  <a:pt x="259" y="18"/>
                  <a:pt x="258" y="18"/>
                </a:cubicBezTo>
                <a:cubicBezTo>
                  <a:pt x="257" y="18"/>
                  <a:pt x="258" y="17"/>
                  <a:pt x="258" y="17"/>
                </a:cubicBezTo>
                <a:cubicBezTo>
                  <a:pt x="256" y="17"/>
                  <a:pt x="256" y="17"/>
                  <a:pt x="256" y="17"/>
                </a:cubicBezTo>
                <a:cubicBezTo>
                  <a:pt x="254" y="16"/>
                  <a:pt x="255" y="19"/>
                  <a:pt x="253" y="18"/>
                </a:cubicBezTo>
                <a:cubicBezTo>
                  <a:pt x="250" y="18"/>
                  <a:pt x="249" y="16"/>
                  <a:pt x="246" y="16"/>
                </a:cubicBezTo>
                <a:cubicBezTo>
                  <a:pt x="246" y="15"/>
                  <a:pt x="246" y="14"/>
                  <a:pt x="245" y="13"/>
                </a:cubicBezTo>
                <a:cubicBezTo>
                  <a:pt x="245" y="12"/>
                  <a:pt x="245" y="11"/>
                  <a:pt x="244" y="10"/>
                </a:cubicBezTo>
                <a:cubicBezTo>
                  <a:pt x="244" y="10"/>
                  <a:pt x="244" y="9"/>
                  <a:pt x="244" y="8"/>
                </a:cubicBezTo>
                <a:cubicBezTo>
                  <a:pt x="244" y="8"/>
                  <a:pt x="243" y="7"/>
                  <a:pt x="244" y="5"/>
                </a:cubicBezTo>
                <a:cubicBezTo>
                  <a:pt x="244" y="4"/>
                  <a:pt x="243" y="4"/>
                  <a:pt x="243" y="4"/>
                </a:cubicBezTo>
                <a:cubicBezTo>
                  <a:pt x="243" y="2"/>
                  <a:pt x="243" y="1"/>
                  <a:pt x="244" y="0"/>
                </a:cubicBezTo>
                <a:cubicBezTo>
                  <a:pt x="243" y="0"/>
                  <a:pt x="242" y="0"/>
                  <a:pt x="241" y="1"/>
                </a:cubicBezTo>
                <a:cubicBezTo>
                  <a:pt x="241" y="1"/>
                  <a:pt x="241" y="1"/>
                  <a:pt x="241" y="1"/>
                </a:cubicBezTo>
                <a:cubicBezTo>
                  <a:pt x="239" y="0"/>
                  <a:pt x="238" y="2"/>
                  <a:pt x="237" y="2"/>
                </a:cubicBezTo>
                <a:cubicBezTo>
                  <a:pt x="237" y="2"/>
                  <a:pt x="237" y="2"/>
                  <a:pt x="237" y="2"/>
                </a:cubicBezTo>
                <a:cubicBezTo>
                  <a:pt x="237" y="2"/>
                  <a:pt x="237" y="3"/>
                  <a:pt x="237" y="3"/>
                </a:cubicBezTo>
                <a:cubicBezTo>
                  <a:pt x="236" y="3"/>
                  <a:pt x="235" y="3"/>
                  <a:pt x="234" y="3"/>
                </a:cubicBezTo>
                <a:cubicBezTo>
                  <a:pt x="233" y="3"/>
                  <a:pt x="232" y="4"/>
                  <a:pt x="230" y="4"/>
                </a:cubicBezTo>
                <a:cubicBezTo>
                  <a:pt x="227" y="4"/>
                  <a:pt x="226" y="3"/>
                  <a:pt x="222" y="3"/>
                </a:cubicBezTo>
                <a:cubicBezTo>
                  <a:pt x="220" y="3"/>
                  <a:pt x="220" y="5"/>
                  <a:pt x="217" y="5"/>
                </a:cubicBezTo>
                <a:cubicBezTo>
                  <a:pt x="217" y="5"/>
                  <a:pt x="217" y="5"/>
                  <a:pt x="216" y="5"/>
                </a:cubicBezTo>
                <a:cubicBezTo>
                  <a:pt x="216" y="5"/>
                  <a:pt x="216" y="5"/>
                  <a:pt x="216" y="5"/>
                </a:cubicBezTo>
                <a:cubicBezTo>
                  <a:pt x="215" y="6"/>
                  <a:pt x="214" y="8"/>
                  <a:pt x="213" y="8"/>
                </a:cubicBezTo>
                <a:cubicBezTo>
                  <a:pt x="212" y="8"/>
                  <a:pt x="212" y="8"/>
                  <a:pt x="212" y="8"/>
                </a:cubicBezTo>
                <a:cubicBezTo>
                  <a:pt x="213" y="8"/>
                  <a:pt x="213" y="10"/>
                  <a:pt x="213" y="12"/>
                </a:cubicBezTo>
                <a:cubicBezTo>
                  <a:pt x="213" y="12"/>
                  <a:pt x="213" y="12"/>
                  <a:pt x="213" y="12"/>
                </a:cubicBezTo>
                <a:cubicBezTo>
                  <a:pt x="213" y="14"/>
                  <a:pt x="211" y="14"/>
                  <a:pt x="211" y="15"/>
                </a:cubicBezTo>
                <a:cubicBezTo>
                  <a:pt x="211" y="15"/>
                  <a:pt x="211" y="15"/>
                  <a:pt x="211" y="15"/>
                </a:cubicBezTo>
                <a:cubicBezTo>
                  <a:pt x="211" y="16"/>
                  <a:pt x="212" y="17"/>
                  <a:pt x="211" y="17"/>
                </a:cubicBezTo>
                <a:cubicBezTo>
                  <a:pt x="211" y="21"/>
                  <a:pt x="211" y="23"/>
                  <a:pt x="212" y="26"/>
                </a:cubicBezTo>
                <a:cubicBezTo>
                  <a:pt x="212" y="28"/>
                  <a:pt x="210" y="28"/>
                  <a:pt x="210" y="31"/>
                </a:cubicBezTo>
                <a:cubicBezTo>
                  <a:pt x="208" y="31"/>
                  <a:pt x="209" y="35"/>
                  <a:pt x="210" y="36"/>
                </a:cubicBezTo>
                <a:cubicBezTo>
                  <a:pt x="210" y="36"/>
                  <a:pt x="210" y="36"/>
                  <a:pt x="210" y="37"/>
                </a:cubicBezTo>
                <a:cubicBezTo>
                  <a:pt x="211" y="37"/>
                  <a:pt x="211" y="38"/>
                  <a:pt x="212" y="38"/>
                </a:cubicBezTo>
                <a:cubicBezTo>
                  <a:pt x="211" y="39"/>
                  <a:pt x="210" y="38"/>
                  <a:pt x="210" y="38"/>
                </a:cubicBezTo>
                <a:cubicBezTo>
                  <a:pt x="208" y="37"/>
                  <a:pt x="208" y="39"/>
                  <a:pt x="207" y="39"/>
                </a:cubicBezTo>
                <a:cubicBezTo>
                  <a:pt x="206" y="40"/>
                  <a:pt x="205" y="40"/>
                  <a:pt x="205" y="42"/>
                </a:cubicBezTo>
                <a:cubicBezTo>
                  <a:pt x="203" y="42"/>
                  <a:pt x="202" y="43"/>
                  <a:pt x="201" y="45"/>
                </a:cubicBezTo>
                <a:cubicBezTo>
                  <a:pt x="201" y="45"/>
                  <a:pt x="201" y="45"/>
                  <a:pt x="200" y="45"/>
                </a:cubicBezTo>
                <a:cubicBezTo>
                  <a:pt x="199" y="44"/>
                  <a:pt x="198" y="45"/>
                  <a:pt x="197" y="47"/>
                </a:cubicBezTo>
                <a:cubicBezTo>
                  <a:pt x="197" y="47"/>
                  <a:pt x="197" y="47"/>
                  <a:pt x="197" y="47"/>
                </a:cubicBezTo>
                <a:cubicBezTo>
                  <a:pt x="196" y="47"/>
                  <a:pt x="196" y="47"/>
                  <a:pt x="195" y="47"/>
                </a:cubicBezTo>
                <a:cubicBezTo>
                  <a:pt x="194" y="48"/>
                  <a:pt x="194" y="48"/>
                  <a:pt x="194" y="48"/>
                </a:cubicBezTo>
                <a:cubicBezTo>
                  <a:pt x="193" y="48"/>
                  <a:pt x="193" y="48"/>
                  <a:pt x="192" y="48"/>
                </a:cubicBezTo>
                <a:cubicBezTo>
                  <a:pt x="191" y="48"/>
                  <a:pt x="190" y="49"/>
                  <a:pt x="187" y="49"/>
                </a:cubicBezTo>
                <a:cubicBezTo>
                  <a:pt x="184" y="48"/>
                  <a:pt x="181" y="48"/>
                  <a:pt x="177" y="48"/>
                </a:cubicBezTo>
                <a:cubicBezTo>
                  <a:pt x="177" y="48"/>
                  <a:pt x="177" y="49"/>
                  <a:pt x="177" y="49"/>
                </a:cubicBezTo>
                <a:cubicBezTo>
                  <a:pt x="175" y="49"/>
                  <a:pt x="175" y="49"/>
                  <a:pt x="175" y="49"/>
                </a:cubicBezTo>
                <a:cubicBezTo>
                  <a:pt x="175" y="49"/>
                  <a:pt x="173" y="49"/>
                  <a:pt x="173" y="50"/>
                </a:cubicBezTo>
                <a:cubicBezTo>
                  <a:pt x="173" y="51"/>
                  <a:pt x="171" y="51"/>
                  <a:pt x="171" y="52"/>
                </a:cubicBezTo>
                <a:cubicBezTo>
                  <a:pt x="169" y="51"/>
                  <a:pt x="168" y="51"/>
                  <a:pt x="167" y="52"/>
                </a:cubicBezTo>
                <a:cubicBezTo>
                  <a:pt x="165" y="53"/>
                  <a:pt x="165" y="55"/>
                  <a:pt x="164" y="57"/>
                </a:cubicBezTo>
                <a:cubicBezTo>
                  <a:pt x="164" y="57"/>
                  <a:pt x="163" y="58"/>
                  <a:pt x="163" y="58"/>
                </a:cubicBezTo>
                <a:cubicBezTo>
                  <a:pt x="163" y="59"/>
                  <a:pt x="163" y="59"/>
                  <a:pt x="162" y="59"/>
                </a:cubicBezTo>
                <a:cubicBezTo>
                  <a:pt x="161" y="59"/>
                  <a:pt x="162" y="62"/>
                  <a:pt x="161" y="63"/>
                </a:cubicBezTo>
                <a:cubicBezTo>
                  <a:pt x="162" y="65"/>
                  <a:pt x="166" y="65"/>
                  <a:pt x="168" y="65"/>
                </a:cubicBezTo>
                <a:cubicBezTo>
                  <a:pt x="168" y="66"/>
                  <a:pt x="168" y="66"/>
                  <a:pt x="168" y="66"/>
                </a:cubicBezTo>
                <a:cubicBezTo>
                  <a:pt x="166" y="67"/>
                  <a:pt x="166" y="65"/>
                  <a:pt x="164" y="65"/>
                </a:cubicBezTo>
                <a:cubicBezTo>
                  <a:pt x="162" y="65"/>
                  <a:pt x="162" y="66"/>
                  <a:pt x="161" y="66"/>
                </a:cubicBezTo>
                <a:cubicBezTo>
                  <a:pt x="161" y="66"/>
                  <a:pt x="160" y="66"/>
                  <a:pt x="160" y="66"/>
                </a:cubicBezTo>
                <a:cubicBezTo>
                  <a:pt x="160" y="66"/>
                  <a:pt x="160" y="67"/>
                  <a:pt x="160" y="67"/>
                </a:cubicBezTo>
                <a:cubicBezTo>
                  <a:pt x="160" y="67"/>
                  <a:pt x="159" y="67"/>
                  <a:pt x="159" y="68"/>
                </a:cubicBezTo>
                <a:cubicBezTo>
                  <a:pt x="158" y="68"/>
                  <a:pt x="157" y="69"/>
                  <a:pt x="157" y="69"/>
                </a:cubicBezTo>
                <a:cubicBezTo>
                  <a:pt x="156" y="69"/>
                  <a:pt x="155" y="69"/>
                  <a:pt x="154" y="70"/>
                </a:cubicBezTo>
                <a:cubicBezTo>
                  <a:pt x="153" y="69"/>
                  <a:pt x="151" y="68"/>
                  <a:pt x="150" y="68"/>
                </a:cubicBezTo>
                <a:cubicBezTo>
                  <a:pt x="150" y="67"/>
                  <a:pt x="149" y="67"/>
                  <a:pt x="148" y="67"/>
                </a:cubicBezTo>
                <a:cubicBezTo>
                  <a:pt x="148" y="66"/>
                  <a:pt x="148" y="66"/>
                  <a:pt x="148" y="66"/>
                </a:cubicBezTo>
                <a:cubicBezTo>
                  <a:pt x="147" y="66"/>
                  <a:pt x="146" y="66"/>
                  <a:pt x="145" y="65"/>
                </a:cubicBezTo>
                <a:cubicBezTo>
                  <a:pt x="144" y="65"/>
                  <a:pt x="144" y="64"/>
                  <a:pt x="143" y="64"/>
                </a:cubicBezTo>
                <a:cubicBezTo>
                  <a:pt x="142" y="64"/>
                  <a:pt x="141" y="64"/>
                  <a:pt x="141" y="64"/>
                </a:cubicBezTo>
                <a:cubicBezTo>
                  <a:pt x="140" y="64"/>
                  <a:pt x="140" y="63"/>
                  <a:pt x="140" y="63"/>
                </a:cubicBezTo>
                <a:cubicBezTo>
                  <a:pt x="138" y="63"/>
                  <a:pt x="136" y="63"/>
                  <a:pt x="134" y="63"/>
                </a:cubicBezTo>
                <a:cubicBezTo>
                  <a:pt x="134" y="63"/>
                  <a:pt x="134" y="62"/>
                  <a:pt x="134" y="62"/>
                </a:cubicBezTo>
                <a:cubicBezTo>
                  <a:pt x="134" y="62"/>
                  <a:pt x="133" y="62"/>
                  <a:pt x="134" y="61"/>
                </a:cubicBezTo>
                <a:cubicBezTo>
                  <a:pt x="133" y="61"/>
                  <a:pt x="133" y="61"/>
                  <a:pt x="133" y="61"/>
                </a:cubicBezTo>
                <a:cubicBezTo>
                  <a:pt x="133" y="60"/>
                  <a:pt x="133" y="60"/>
                  <a:pt x="132" y="60"/>
                </a:cubicBezTo>
                <a:cubicBezTo>
                  <a:pt x="128" y="60"/>
                  <a:pt x="128" y="60"/>
                  <a:pt x="128" y="60"/>
                </a:cubicBezTo>
                <a:cubicBezTo>
                  <a:pt x="128" y="61"/>
                  <a:pt x="127" y="61"/>
                  <a:pt x="126" y="61"/>
                </a:cubicBezTo>
                <a:cubicBezTo>
                  <a:pt x="126" y="58"/>
                  <a:pt x="125" y="56"/>
                  <a:pt x="125" y="53"/>
                </a:cubicBezTo>
                <a:cubicBezTo>
                  <a:pt x="124" y="53"/>
                  <a:pt x="124" y="52"/>
                  <a:pt x="125" y="52"/>
                </a:cubicBezTo>
                <a:cubicBezTo>
                  <a:pt x="125" y="52"/>
                  <a:pt x="125" y="52"/>
                  <a:pt x="125" y="52"/>
                </a:cubicBezTo>
                <a:cubicBezTo>
                  <a:pt x="125" y="51"/>
                  <a:pt x="126" y="50"/>
                  <a:pt x="126" y="47"/>
                </a:cubicBezTo>
                <a:cubicBezTo>
                  <a:pt x="126" y="47"/>
                  <a:pt x="126" y="47"/>
                  <a:pt x="126" y="47"/>
                </a:cubicBezTo>
                <a:cubicBezTo>
                  <a:pt x="126" y="47"/>
                  <a:pt x="126" y="47"/>
                  <a:pt x="126" y="47"/>
                </a:cubicBezTo>
                <a:cubicBezTo>
                  <a:pt x="124" y="47"/>
                  <a:pt x="125" y="44"/>
                  <a:pt x="123" y="45"/>
                </a:cubicBezTo>
                <a:cubicBezTo>
                  <a:pt x="122" y="45"/>
                  <a:pt x="122" y="45"/>
                  <a:pt x="122" y="45"/>
                </a:cubicBezTo>
                <a:cubicBezTo>
                  <a:pt x="121" y="45"/>
                  <a:pt x="120" y="44"/>
                  <a:pt x="118" y="45"/>
                </a:cubicBezTo>
                <a:cubicBezTo>
                  <a:pt x="118" y="45"/>
                  <a:pt x="118" y="45"/>
                  <a:pt x="118" y="45"/>
                </a:cubicBezTo>
                <a:cubicBezTo>
                  <a:pt x="118" y="45"/>
                  <a:pt x="118" y="45"/>
                  <a:pt x="118" y="45"/>
                </a:cubicBezTo>
                <a:cubicBezTo>
                  <a:pt x="116" y="44"/>
                  <a:pt x="116" y="46"/>
                  <a:pt x="114" y="46"/>
                </a:cubicBezTo>
                <a:cubicBezTo>
                  <a:pt x="114" y="46"/>
                  <a:pt x="114" y="46"/>
                  <a:pt x="114" y="46"/>
                </a:cubicBezTo>
                <a:cubicBezTo>
                  <a:pt x="114" y="46"/>
                  <a:pt x="113" y="46"/>
                  <a:pt x="113" y="45"/>
                </a:cubicBezTo>
                <a:cubicBezTo>
                  <a:pt x="110" y="45"/>
                  <a:pt x="113" y="44"/>
                  <a:pt x="113" y="43"/>
                </a:cubicBezTo>
                <a:cubicBezTo>
                  <a:pt x="110" y="43"/>
                  <a:pt x="109" y="40"/>
                  <a:pt x="104" y="41"/>
                </a:cubicBezTo>
                <a:cubicBezTo>
                  <a:pt x="104" y="42"/>
                  <a:pt x="105" y="42"/>
                  <a:pt x="105" y="43"/>
                </a:cubicBezTo>
                <a:cubicBezTo>
                  <a:pt x="105" y="44"/>
                  <a:pt x="105" y="45"/>
                  <a:pt x="106" y="45"/>
                </a:cubicBezTo>
                <a:cubicBezTo>
                  <a:pt x="106" y="46"/>
                  <a:pt x="108" y="45"/>
                  <a:pt x="107" y="47"/>
                </a:cubicBezTo>
                <a:cubicBezTo>
                  <a:pt x="107" y="48"/>
                  <a:pt x="107" y="48"/>
                  <a:pt x="106" y="48"/>
                </a:cubicBezTo>
                <a:cubicBezTo>
                  <a:pt x="106" y="49"/>
                  <a:pt x="106" y="51"/>
                  <a:pt x="104" y="50"/>
                </a:cubicBezTo>
                <a:cubicBezTo>
                  <a:pt x="105" y="51"/>
                  <a:pt x="105" y="51"/>
                  <a:pt x="105" y="52"/>
                </a:cubicBezTo>
                <a:cubicBezTo>
                  <a:pt x="106" y="52"/>
                  <a:pt x="105" y="54"/>
                  <a:pt x="106" y="54"/>
                </a:cubicBezTo>
                <a:cubicBezTo>
                  <a:pt x="106" y="54"/>
                  <a:pt x="105" y="55"/>
                  <a:pt x="106" y="57"/>
                </a:cubicBezTo>
                <a:cubicBezTo>
                  <a:pt x="106" y="58"/>
                  <a:pt x="106" y="59"/>
                  <a:pt x="107" y="59"/>
                </a:cubicBezTo>
                <a:cubicBezTo>
                  <a:pt x="108" y="60"/>
                  <a:pt x="108" y="61"/>
                  <a:pt x="109" y="61"/>
                </a:cubicBezTo>
                <a:cubicBezTo>
                  <a:pt x="107" y="62"/>
                  <a:pt x="109" y="64"/>
                  <a:pt x="109" y="65"/>
                </a:cubicBezTo>
                <a:cubicBezTo>
                  <a:pt x="110" y="65"/>
                  <a:pt x="110" y="66"/>
                  <a:pt x="110" y="66"/>
                </a:cubicBezTo>
                <a:cubicBezTo>
                  <a:pt x="110" y="71"/>
                  <a:pt x="110" y="71"/>
                  <a:pt x="110" y="71"/>
                </a:cubicBezTo>
                <a:cubicBezTo>
                  <a:pt x="110" y="71"/>
                  <a:pt x="110" y="72"/>
                  <a:pt x="109" y="72"/>
                </a:cubicBezTo>
                <a:cubicBezTo>
                  <a:pt x="110" y="78"/>
                  <a:pt x="108" y="82"/>
                  <a:pt x="109" y="88"/>
                </a:cubicBezTo>
                <a:cubicBezTo>
                  <a:pt x="109" y="88"/>
                  <a:pt x="109" y="89"/>
                  <a:pt x="109" y="89"/>
                </a:cubicBezTo>
                <a:cubicBezTo>
                  <a:pt x="109" y="90"/>
                  <a:pt x="109" y="90"/>
                  <a:pt x="109" y="90"/>
                </a:cubicBezTo>
                <a:cubicBezTo>
                  <a:pt x="110" y="90"/>
                  <a:pt x="110" y="90"/>
                  <a:pt x="110" y="91"/>
                </a:cubicBezTo>
                <a:cubicBezTo>
                  <a:pt x="110" y="91"/>
                  <a:pt x="111" y="91"/>
                  <a:pt x="111" y="91"/>
                </a:cubicBezTo>
                <a:cubicBezTo>
                  <a:pt x="111" y="93"/>
                  <a:pt x="109" y="92"/>
                  <a:pt x="108" y="92"/>
                </a:cubicBezTo>
                <a:cubicBezTo>
                  <a:pt x="105" y="92"/>
                  <a:pt x="103" y="91"/>
                  <a:pt x="100" y="91"/>
                </a:cubicBezTo>
                <a:cubicBezTo>
                  <a:pt x="100" y="90"/>
                  <a:pt x="101" y="88"/>
                  <a:pt x="99" y="88"/>
                </a:cubicBezTo>
                <a:cubicBezTo>
                  <a:pt x="99" y="88"/>
                  <a:pt x="99" y="86"/>
                  <a:pt x="98" y="86"/>
                </a:cubicBezTo>
                <a:cubicBezTo>
                  <a:pt x="96" y="86"/>
                  <a:pt x="96" y="86"/>
                  <a:pt x="96" y="86"/>
                </a:cubicBezTo>
                <a:cubicBezTo>
                  <a:pt x="94" y="86"/>
                  <a:pt x="96" y="89"/>
                  <a:pt x="95" y="90"/>
                </a:cubicBezTo>
                <a:cubicBezTo>
                  <a:pt x="96" y="92"/>
                  <a:pt x="94" y="92"/>
                  <a:pt x="95" y="93"/>
                </a:cubicBezTo>
                <a:cubicBezTo>
                  <a:pt x="93" y="93"/>
                  <a:pt x="94" y="91"/>
                  <a:pt x="94" y="90"/>
                </a:cubicBezTo>
                <a:cubicBezTo>
                  <a:pt x="94" y="89"/>
                  <a:pt x="93" y="89"/>
                  <a:pt x="92" y="88"/>
                </a:cubicBezTo>
                <a:cubicBezTo>
                  <a:pt x="91" y="88"/>
                  <a:pt x="91" y="89"/>
                  <a:pt x="90" y="88"/>
                </a:cubicBezTo>
                <a:cubicBezTo>
                  <a:pt x="90" y="89"/>
                  <a:pt x="89" y="89"/>
                  <a:pt x="88" y="89"/>
                </a:cubicBezTo>
                <a:cubicBezTo>
                  <a:pt x="88" y="88"/>
                  <a:pt x="88" y="88"/>
                  <a:pt x="88" y="88"/>
                </a:cubicBezTo>
                <a:cubicBezTo>
                  <a:pt x="88" y="87"/>
                  <a:pt x="86" y="87"/>
                  <a:pt x="87" y="85"/>
                </a:cubicBezTo>
                <a:cubicBezTo>
                  <a:pt x="86" y="85"/>
                  <a:pt x="86" y="85"/>
                  <a:pt x="86" y="84"/>
                </a:cubicBezTo>
                <a:cubicBezTo>
                  <a:pt x="84" y="84"/>
                  <a:pt x="84" y="86"/>
                  <a:pt x="81" y="85"/>
                </a:cubicBezTo>
                <a:cubicBezTo>
                  <a:pt x="79" y="85"/>
                  <a:pt x="80" y="88"/>
                  <a:pt x="77" y="88"/>
                </a:cubicBezTo>
                <a:cubicBezTo>
                  <a:pt x="77" y="88"/>
                  <a:pt x="77" y="89"/>
                  <a:pt x="76" y="88"/>
                </a:cubicBezTo>
                <a:cubicBezTo>
                  <a:pt x="76" y="89"/>
                  <a:pt x="75" y="89"/>
                  <a:pt x="74" y="89"/>
                </a:cubicBezTo>
                <a:cubicBezTo>
                  <a:pt x="73" y="88"/>
                  <a:pt x="73" y="86"/>
                  <a:pt x="72" y="86"/>
                </a:cubicBezTo>
                <a:cubicBezTo>
                  <a:pt x="72" y="84"/>
                  <a:pt x="71" y="83"/>
                  <a:pt x="71" y="82"/>
                </a:cubicBezTo>
                <a:cubicBezTo>
                  <a:pt x="71" y="82"/>
                  <a:pt x="71" y="82"/>
                  <a:pt x="71" y="82"/>
                </a:cubicBezTo>
                <a:cubicBezTo>
                  <a:pt x="71" y="81"/>
                  <a:pt x="70" y="80"/>
                  <a:pt x="70" y="79"/>
                </a:cubicBezTo>
                <a:cubicBezTo>
                  <a:pt x="70" y="79"/>
                  <a:pt x="70" y="79"/>
                  <a:pt x="70" y="79"/>
                </a:cubicBezTo>
                <a:cubicBezTo>
                  <a:pt x="70" y="79"/>
                  <a:pt x="70" y="78"/>
                  <a:pt x="69" y="78"/>
                </a:cubicBezTo>
                <a:cubicBezTo>
                  <a:pt x="69" y="78"/>
                  <a:pt x="69" y="78"/>
                  <a:pt x="69" y="78"/>
                </a:cubicBezTo>
                <a:cubicBezTo>
                  <a:pt x="69" y="77"/>
                  <a:pt x="68" y="77"/>
                  <a:pt x="67" y="77"/>
                </a:cubicBezTo>
                <a:cubicBezTo>
                  <a:pt x="68" y="75"/>
                  <a:pt x="66" y="75"/>
                  <a:pt x="66" y="72"/>
                </a:cubicBezTo>
                <a:cubicBezTo>
                  <a:pt x="65" y="72"/>
                  <a:pt x="65" y="72"/>
                  <a:pt x="65" y="72"/>
                </a:cubicBezTo>
                <a:cubicBezTo>
                  <a:pt x="65" y="72"/>
                  <a:pt x="64" y="72"/>
                  <a:pt x="64" y="72"/>
                </a:cubicBezTo>
                <a:cubicBezTo>
                  <a:pt x="64" y="72"/>
                  <a:pt x="63" y="72"/>
                  <a:pt x="63" y="72"/>
                </a:cubicBezTo>
                <a:cubicBezTo>
                  <a:pt x="63" y="71"/>
                  <a:pt x="62" y="71"/>
                  <a:pt x="60" y="71"/>
                </a:cubicBezTo>
                <a:cubicBezTo>
                  <a:pt x="59" y="71"/>
                  <a:pt x="57" y="72"/>
                  <a:pt x="57" y="73"/>
                </a:cubicBezTo>
                <a:cubicBezTo>
                  <a:pt x="56" y="73"/>
                  <a:pt x="55" y="73"/>
                  <a:pt x="55" y="72"/>
                </a:cubicBezTo>
                <a:cubicBezTo>
                  <a:pt x="54" y="71"/>
                  <a:pt x="54" y="71"/>
                  <a:pt x="53" y="71"/>
                </a:cubicBezTo>
                <a:cubicBezTo>
                  <a:pt x="49" y="71"/>
                  <a:pt x="50" y="75"/>
                  <a:pt x="49" y="77"/>
                </a:cubicBezTo>
                <a:cubicBezTo>
                  <a:pt x="47" y="77"/>
                  <a:pt x="47" y="77"/>
                  <a:pt x="47" y="77"/>
                </a:cubicBezTo>
                <a:cubicBezTo>
                  <a:pt x="46" y="76"/>
                  <a:pt x="46" y="75"/>
                  <a:pt x="46" y="75"/>
                </a:cubicBezTo>
                <a:cubicBezTo>
                  <a:pt x="42" y="75"/>
                  <a:pt x="42" y="75"/>
                  <a:pt x="42" y="75"/>
                </a:cubicBezTo>
                <a:cubicBezTo>
                  <a:pt x="39" y="74"/>
                  <a:pt x="41" y="77"/>
                  <a:pt x="38" y="77"/>
                </a:cubicBezTo>
                <a:cubicBezTo>
                  <a:pt x="38" y="72"/>
                  <a:pt x="38" y="72"/>
                  <a:pt x="38" y="72"/>
                </a:cubicBezTo>
                <a:cubicBezTo>
                  <a:pt x="36" y="71"/>
                  <a:pt x="37" y="73"/>
                  <a:pt x="35" y="73"/>
                </a:cubicBezTo>
                <a:cubicBezTo>
                  <a:pt x="34" y="73"/>
                  <a:pt x="34" y="72"/>
                  <a:pt x="33" y="72"/>
                </a:cubicBezTo>
                <a:cubicBezTo>
                  <a:pt x="32" y="72"/>
                  <a:pt x="31" y="73"/>
                  <a:pt x="31" y="73"/>
                </a:cubicBezTo>
                <a:cubicBezTo>
                  <a:pt x="31" y="74"/>
                  <a:pt x="31" y="74"/>
                  <a:pt x="30" y="74"/>
                </a:cubicBezTo>
                <a:cubicBezTo>
                  <a:pt x="30" y="74"/>
                  <a:pt x="30" y="75"/>
                  <a:pt x="30" y="75"/>
                </a:cubicBezTo>
                <a:cubicBezTo>
                  <a:pt x="28" y="74"/>
                  <a:pt x="27" y="74"/>
                  <a:pt x="26" y="73"/>
                </a:cubicBezTo>
                <a:cubicBezTo>
                  <a:pt x="23" y="73"/>
                  <a:pt x="22" y="74"/>
                  <a:pt x="19" y="74"/>
                </a:cubicBezTo>
                <a:cubicBezTo>
                  <a:pt x="17" y="73"/>
                  <a:pt x="18" y="75"/>
                  <a:pt x="17" y="75"/>
                </a:cubicBezTo>
                <a:cubicBezTo>
                  <a:pt x="15" y="75"/>
                  <a:pt x="15" y="76"/>
                  <a:pt x="14" y="76"/>
                </a:cubicBezTo>
                <a:cubicBezTo>
                  <a:pt x="14" y="76"/>
                  <a:pt x="14" y="77"/>
                  <a:pt x="13" y="77"/>
                </a:cubicBezTo>
                <a:cubicBezTo>
                  <a:pt x="11" y="78"/>
                  <a:pt x="10" y="80"/>
                  <a:pt x="10" y="82"/>
                </a:cubicBezTo>
                <a:cubicBezTo>
                  <a:pt x="10" y="83"/>
                  <a:pt x="10" y="83"/>
                  <a:pt x="10" y="84"/>
                </a:cubicBezTo>
                <a:cubicBezTo>
                  <a:pt x="10" y="84"/>
                  <a:pt x="11" y="85"/>
                  <a:pt x="11" y="86"/>
                </a:cubicBezTo>
                <a:cubicBezTo>
                  <a:pt x="12" y="86"/>
                  <a:pt x="13" y="86"/>
                  <a:pt x="13" y="86"/>
                </a:cubicBezTo>
                <a:cubicBezTo>
                  <a:pt x="15" y="87"/>
                  <a:pt x="16" y="86"/>
                  <a:pt x="18" y="86"/>
                </a:cubicBezTo>
                <a:cubicBezTo>
                  <a:pt x="18" y="86"/>
                  <a:pt x="19" y="86"/>
                  <a:pt x="19" y="86"/>
                </a:cubicBezTo>
                <a:cubicBezTo>
                  <a:pt x="20" y="86"/>
                  <a:pt x="20" y="86"/>
                  <a:pt x="20" y="87"/>
                </a:cubicBezTo>
                <a:cubicBezTo>
                  <a:pt x="20" y="89"/>
                  <a:pt x="23" y="88"/>
                  <a:pt x="24" y="89"/>
                </a:cubicBezTo>
                <a:cubicBezTo>
                  <a:pt x="25" y="89"/>
                  <a:pt x="25" y="91"/>
                  <a:pt x="26" y="91"/>
                </a:cubicBezTo>
                <a:cubicBezTo>
                  <a:pt x="26" y="93"/>
                  <a:pt x="24" y="90"/>
                  <a:pt x="24" y="91"/>
                </a:cubicBezTo>
                <a:cubicBezTo>
                  <a:pt x="22" y="91"/>
                  <a:pt x="21" y="92"/>
                  <a:pt x="19" y="91"/>
                </a:cubicBezTo>
                <a:cubicBezTo>
                  <a:pt x="18" y="90"/>
                  <a:pt x="18" y="88"/>
                  <a:pt x="17" y="87"/>
                </a:cubicBezTo>
                <a:cubicBezTo>
                  <a:pt x="16" y="87"/>
                  <a:pt x="16" y="88"/>
                  <a:pt x="15" y="88"/>
                </a:cubicBezTo>
                <a:cubicBezTo>
                  <a:pt x="15" y="89"/>
                  <a:pt x="14" y="88"/>
                  <a:pt x="14" y="89"/>
                </a:cubicBezTo>
                <a:cubicBezTo>
                  <a:pt x="14" y="90"/>
                  <a:pt x="14" y="90"/>
                  <a:pt x="14" y="90"/>
                </a:cubicBezTo>
                <a:cubicBezTo>
                  <a:pt x="14" y="91"/>
                  <a:pt x="14" y="91"/>
                  <a:pt x="14" y="91"/>
                </a:cubicBezTo>
                <a:cubicBezTo>
                  <a:pt x="15" y="91"/>
                  <a:pt x="15" y="91"/>
                  <a:pt x="15" y="92"/>
                </a:cubicBezTo>
                <a:cubicBezTo>
                  <a:pt x="15" y="94"/>
                  <a:pt x="15" y="94"/>
                  <a:pt x="15" y="94"/>
                </a:cubicBezTo>
                <a:cubicBezTo>
                  <a:pt x="18" y="95"/>
                  <a:pt x="17" y="92"/>
                  <a:pt x="19" y="92"/>
                </a:cubicBezTo>
                <a:cubicBezTo>
                  <a:pt x="19" y="93"/>
                  <a:pt x="20" y="93"/>
                  <a:pt x="21" y="93"/>
                </a:cubicBezTo>
                <a:cubicBezTo>
                  <a:pt x="22" y="94"/>
                  <a:pt x="22" y="94"/>
                  <a:pt x="22" y="95"/>
                </a:cubicBezTo>
                <a:cubicBezTo>
                  <a:pt x="23" y="95"/>
                  <a:pt x="23" y="96"/>
                  <a:pt x="24" y="97"/>
                </a:cubicBezTo>
                <a:cubicBezTo>
                  <a:pt x="23" y="97"/>
                  <a:pt x="24" y="98"/>
                  <a:pt x="24" y="98"/>
                </a:cubicBezTo>
                <a:cubicBezTo>
                  <a:pt x="23" y="99"/>
                  <a:pt x="23" y="98"/>
                  <a:pt x="23" y="98"/>
                </a:cubicBezTo>
                <a:cubicBezTo>
                  <a:pt x="22" y="98"/>
                  <a:pt x="22" y="97"/>
                  <a:pt x="21" y="98"/>
                </a:cubicBezTo>
                <a:cubicBezTo>
                  <a:pt x="21" y="98"/>
                  <a:pt x="21" y="98"/>
                  <a:pt x="21" y="98"/>
                </a:cubicBezTo>
                <a:cubicBezTo>
                  <a:pt x="19" y="98"/>
                  <a:pt x="19" y="97"/>
                  <a:pt x="17" y="98"/>
                </a:cubicBezTo>
                <a:cubicBezTo>
                  <a:pt x="15" y="98"/>
                  <a:pt x="14" y="98"/>
                  <a:pt x="13" y="98"/>
                </a:cubicBezTo>
                <a:cubicBezTo>
                  <a:pt x="11" y="99"/>
                  <a:pt x="11" y="97"/>
                  <a:pt x="9" y="98"/>
                </a:cubicBezTo>
                <a:cubicBezTo>
                  <a:pt x="7" y="97"/>
                  <a:pt x="9" y="101"/>
                  <a:pt x="7" y="100"/>
                </a:cubicBezTo>
                <a:cubicBezTo>
                  <a:pt x="7" y="100"/>
                  <a:pt x="8" y="100"/>
                  <a:pt x="9" y="100"/>
                </a:cubicBezTo>
                <a:cubicBezTo>
                  <a:pt x="9" y="100"/>
                  <a:pt x="10" y="101"/>
                  <a:pt x="10" y="101"/>
                </a:cubicBezTo>
                <a:cubicBezTo>
                  <a:pt x="12" y="101"/>
                  <a:pt x="12" y="102"/>
                  <a:pt x="14" y="102"/>
                </a:cubicBezTo>
                <a:cubicBezTo>
                  <a:pt x="14" y="103"/>
                  <a:pt x="14" y="104"/>
                  <a:pt x="15" y="105"/>
                </a:cubicBezTo>
                <a:cubicBezTo>
                  <a:pt x="17" y="105"/>
                  <a:pt x="17" y="107"/>
                  <a:pt x="17" y="108"/>
                </a:cubicBezTo>
                <a:cubicBezTo>
                  <a:pt x="18" y="110"/>
                  <a:pt x="16" y="110"/>
                  <a:pt x="17" y="112"/>
                </a:cubicBezTo>
                <a:cubicBezTo>
                  <a:pt x="17" y="113"/>
                  <a:pt x="18" y="113"/>
                  <a:pt x="19" y="113"/>
                </a:cubicBezTo>
                <a:cubicBezTo>
                  <a:pt x="20" y="113"/>
                  <a:pt x="20" y="114"/>
                  <a:pt x="21" y="114"/>
                </a:cubicBezTo>
                <a:cubicBezTo>
                  <a:pt x="23" y="114"/>
                  <a:pt x="23" y="113"/>
                  <a:pt x="24" y="113"/>
                </a:cubicBezTo>
                <a:cubicBezTo>
                  <a:pt x="24" y="112"/>
                  <a:pt x="26" y="112"/>
                  <a:pt x="26" y="111"/>
                </a:cubicBezTo>
                <a:cubicBezTo>
                  <a:pt x="27" y="112"/>
                  <a:pt x="27" y="113"/>
                  <a:pt x="28" y="113"/>
                </a:cubicBezTo>
                <a:cubicBezTo>
                  <a:pt x="29" y="113"/>
                  <a:pt x="29" y="113"/>
                  <a:pt x="29" y="113"/>
                </a:cubicBezTo>
                <a:cubicBezTo>
                  <a:pt x="30" y="113"/>
                  <a:pt x="31" y="113"/>
                  <a:pt x="31" y="115"/>
                </a:cubicBezTo>
                <a:cubicBezTo>
                  <a:pt x="31" y="115"/>
                  <a:pt x="31" y="115"/>
                  <a:pt x="32" y="115"/>
                </a:cubicBezTo>
                <a:cubicBezTo>
                  <a:pt x="32" y="115"/>
                  <a:pt x="32" y="115"/>
                  <a:pt x="32" y="115"/>
                </a:cubicBezTo>
                <a:cubicBezTo>
                  <a:pt x="32" y="116"/>
                  <a:pt x="32" y="116"/>
                  <a:pt x="32" y="116"/>
                </a:cubicBezTo>
                <a:cubicBezTo>
                  <a:pt x="32" y="118"/>
                  <a:pt x="34" y="117"/>
                  <a:pt x="35" y="117"/>
                </a:cubicBezTo>
                <a:cubicBezTo>
                  <a:pt x="35" y="117"/>
                  <a:pt x="35" y="117"/>
                  <a:pt x="35" y="117"/>
                </a:cubicBezTo>
                <a:cubicBezTo>
                  <a:pt x="36" y="117"/>
                  <a:pt x="36" y="118"/>
                  <a:pt x="37" y="118"/>
                </a:cubicBezTo>
                <a:cubicBezTo>
                  <a:pt x="37" y="119"/>
                  <a:pt x="37" y="119"/>
                  <a:pt x="37" y="119"/>
                </a:cubicBezTo>
                <a:cubicBezTo>
                  <a:pt x="38" y="119"/>
                  <a:pt x="39" y="120"/>
                  <a:pt x="40" y="120"/>
                </a:cubicBezTo>
                <a:cubicBezTo>
                  <a:pt x="41" y="121"/>
                  <a:pt x="42" y="122"/>
                  <a:pt x="42" y="123"/>
                </a:cubicBezTo>
                <a:cubicBezTo>
                  <a:pt x="45" y="123"/>
                  <a:pt x="45" y="125"/>
                  <a:pt x="47" y="125"/>
                </a:cubicBezTo>
                <a:cubicBezTo>
                  <a:pt x="48" y="127"/>
                  <a:pt x="50" y="126"/>
                  <a:pt x="51" y="128"/>
                </a:cubicBezTo>
                <a:cubicBezTo>
                  <a:pt x="51" y="128"/>
                  <a:pt x="52" y="128"/>
                  <a:pt x="51" y="129"/>
                </a:cubicBezTo>
                <a:cubicBezTo>
                  <a:pt x="52" y="131"/>
                  <a:pt x="50" y="136"/>
                  <a:pt x="53" y="136"/>
                </a:cubicBezTo>
                <a:cubicBezTo>
                  <a:pt x="54" y="136"/>
                  <a:pt x="54" y="135"/>
                  <a:pt x="54" y="134"/>
                </a:cubicBezTo>
                <a:cubicBezTo>
                  <a:pt x="54" y="134"/>
                  <a:pt x="53" y="134"/>
                  <a:pt x="53" y="134"/>
                </a:cubicBezTo>
                <a:cubicBezTo>
                  <a:pt x="53" y="132"/>
                  <a:pt x="53" y="132"/>
                  <a:pt x="53" y="132"/>
                </a:cubicBezTo>
                <a:cubicBezTo>
                  <a:pt x="55" y="132"/>
                  <a:pt x="55" y="132"/>
                  <a:pt x="56" y="132"/>
                </a:cubicBezTo>
                <a:cubicBezTo>
                  <a:pt x="58" y="131"/>
                  <a:pt x="60" y="131"/>
                  <a:pt x="63" y="131"/>
                </a:cubicBezTo>
                <a:cubicBezTo>
                  <a:pt x="63" y="131"/>
                  <a:pt x="64" y="132"/>
                  <a:pt x="65" y="132"/>
                </a:cubicBezTo>
                <a:cubicBezTo>
                  <a:pt x="65" y="133"/>
                  <a:pt x="61" y="133"/>
                  <a:pt x="62" y="132"/>
                </a:cubicBezTo>
                <a:cubicBezTo>
                  <a:pt x="60" y="132"/>
                  <a:pt x="60" y="133"/>
                  <a:pt x="59" y="133"/>
                </a:cubicBezTo>
                <a:cubicBezTo>
                  <a:pt x="59" y="134"/>
                  <a:pt x="60" y="135"/>
                  <a:pt x="61" y="136"/>
                </a:cubicBezTo>
                <a:cubicBezTo>
                  <a:pt x="63" y="136"/>
                  <a:pt x="64" y="135"/>
                  <a:pt x="65" y="135"/>
                </a:cubicBezTo>
                <a:cubicBezTo>
                  <a:pt x="65" y="136"/>
                  <a:pt x="66" y="136"/>
                  <a:pt x="67" y="136"/>
                </a:cubicBezTo>
                <a:cubicBezTo>
                  <a:pt x="67" y="137"/>
                  <a:pt x="67" y="137"/>
                  <a:pt x="67" y="137"/>
                </a:cubicBezTo>
                <a:cubicBezTo>
                  <a:pt x="71" y="137"/>
                  <a:pt x="71" y="137"/>
                  <a:pt x="71" y="137"/>
                </a:cubicBezTo>
                <a:cubicBezTo>
                  <a:pt x="71" y="139"/>
                  <a:pt x="70" y="139"/>
                  <a:pt x="70" y="141"/>
                </a:cubicBezTo>
                <a:cubicBezTo>
                  <a:pt x="68" y="141"/>
                  <a:pt x="68" y="142"/>
                  <a:pt x="67" y="142"/>
                </a:cubicBezTo>
                <a:cubicBezTo>
                  <a:pt x="67" y="144"/>
                  <a:pt x="68" y="145"/>
                  <a:pt x="68" y="147"/>
                </a:cubicBezTo>
                <a:cubicBezTo>
                  <a:pt x="68" y="148"/>
                  <a:pt x="70" y="148"/>
                  <a:pt x="71" y="149"/>
                </a:cubicBezTo>
                <a:cubicBezTo>
                  <a:pt x="71" y="150"/>
                  <a:pt x="72" y="150"/>
                  <a:pt x="72" y="150"/>
                </a:cubicBezTo>
                <a:cubicBezTo>
                  <a:pt x="73" y="151"/>
                  <a:pt x="73" y="151"/>
                  <a:pt x="74" y="151"/>
                </a:cubicBezTo>
                <a:cubicBezTo>
                  <a:pt x="74" y="151"/>
                  <a:pt x="74" y="151"/>
                  <a:pt x="74" y="151"/>
                </a:cubicBezTo>
                <a:cubicBezTo>
                  <a:pt x="74" y="151"/>
                  <a:pt x="74" y="151"/>
                  <a:pt x="74" y="151"/>
                </a:cubicBezTo>
                <a:cubicBezTo>
                  <a:pt x="75" y="151"/>
                  <a:pt x="75" y="152"/>
                  <a:pt x="76" y="152"/>
                </a:cubicBezTo>
                <a:cubicBezTo>
                  <a:pt x="76" y="152"/>
                  <a:pt x="77" y="153"/>
                  <a:pt x="77" y="154"/>
                </a:cubicBezTo>
                <a:cubicBezTo>
                  <a:pt x="77" y="154"/>
                  <a:pt x="77" y="155"/>
                  <a:pt x="77" y="155"/>
                </a:cubicBezTo>
                <a:cubicBezTo>
                  <a:pt x="78" y="156"/>
                  <a:pt x="78" y="156"/>
                  <a:pt x="78" y="156"/>
                </a:cubicBezTo>
                <a:cubicBezTo>
                  <a:pt x="78" y="157"/>
                  <a:pt x="80" y="157"/>
                  <a:pt x="80" y="158"/>
                </a:cubicBezTo>
                <a:cubicBezTo>
                  <a:pt x="80" y="159"/>
                  <a:pt x="80" y="159"/>
                  <a:pt x="81" y="160"/>
                </a:cubicBezTo>
                <a:cubicBezTo>
                  <a:pt x="81" y="160"/>
                  <a:pt x="80" y="161"/>
                  <a:pt x="81" y="161"/>
                </a:cubicBezTo>
                <a:cubicBezTo>
                  <a:pt x="81" y="162"/>
                  <a:pt x="81" y="163"/>
                  <a:pt x="80" y="163"/>
                </a:cubicBezTo>
                <a:cubicBezTo>
                  <a:pt x="80" y="164"/>
                  <a:pt x="79" y="164"/>
                  <a:pt x="79" y="165"/>
                </a:cubicBezTo>
                <a:cubicBezTo>
                  <a:pt x="79" y="167"/>
                  <a:pt x="77" y="167"/>
                  <a:pt x="76" y="169"/>
                </a:cubicBezTo>
                <a:cubicBezTo>
                  <a:pt x="77" y="169"/>
                  <a:pt x="77" y="170"/>
                  <a:pt x="77" y="171"/>
                </a:cubicBezTo>
                <a:cubicBezTo>
                  <a:pt x="77" y="171"/>
                  <a:pt x="79" y="171"/>
                  <a:pt x="79" y="172"/>
                </a:cubicBezTo>
                <a:cubicBezTo>
                  <a:pt x="80" y="173"/>
                  <a:pt x="79" y="175"/>
                  <a:pt x="81" y="176"/>
                </a:cubicBezTo>
                <a:cubicBezTo>
                  <a:pt x="80" y="178"/>
                  <a:pt x="83" y="177"/>
                  <a:pt x="83" y="179"/>
                </a:cubicBezTo>
                <a:cubicBezTo>
                  <a:pt x="83" y="185"/>
                  <a:pt x="83" y="185"/>
                  <a:pt x="83" y="185"/>
                </a:cubicBezTo>
                <a:cubicBezTo>
                  <a:pt x="83" y="187"/>
                  <a:pt x="84" y="187"/>
                  <a:pt x="86" y="188"/>
                </a:cubicBezTo>
                <a:cubicBezTo>
                  <a:pt x="86" y="190"/>
                  <a:pt x="88" y="190"/>
                  <a:pt x="88" y="192"/>
                </a:cubicBezTo>
                <a:cubicBezTo>
                  <a:pt x="90" y="191"/>
                  <a:pt x="90" y="193"/>
                  <a:pt x="92" y="192"/>
                </a:cubicBezTo>
                <a:cubicBezTo>
                  <a:pt x="93" y="194"/>
                  <a:pt x="94" y="195"/>
                  <a:pt x="96" y="195"/>
                </a:cubicBezTo>
                <a:cubicBezTo>
                  <a:pt x="97" y="196"/>
                  <a:pt x="98" y="197"/>
                  <a:pt x="98" y="199"/>
                </a:cubicBezTo>
                <a:cubicBezTo>
                  <a:pt x="99" y="198"/>
                  <a:pt x="100" y="199"/>
                  <a:pt x="100" y="199"/>
                </a:cubicBezTo>
                <a:cubicBezTo>
                  <a:pt x="100" y="198"/>
                  <a:pt x="100" y="198"/>
                  <a:pt x="101" y="198"/>
                </a:cubicBezTo>
                <a:cubicBezTo>
                  <a:pt x="102" y="198"/>
                  <a:pt x="102" y="198"/>
                  <a:pt x="103" y="199"/>
                </a:cubicBezTo>
                <a:cubicBezTo>
                  <a:pt x="103" y="202"/>
                  <a:pt x="100" y="202"/>
                  <a:pt x="99" y="204"/>
                </a:cubicBezTo>
                <a:cubicBezTo>
                  <a:pt x="99" y="206"/>
                  <a:pt x="101" y="207"/>
                  <a:pt x="102" y="208"/>
                </a:cubicBezTo>
                <a:cubicBezTo>
                  <a:pt x="101" y="213"/>
                  <a:pt x="105" y="218"/>
                  <a:pt x="99" y="218"/>
                </a:cubicBezTo>
                <a:cubicBezTo>
                  <a:pt x="99" y="221"/>
                  <a:pt x="99" y="221"/>
                  <a:pt x="99" y="221"/>
                </a:cubicBezTo>
                <a:cubicBezTo>
                  <a:pt x="99" y="222"/>
                  <a:pt x="100" y="221"/>
                  <a:pt x="100" y="222"/>
                </a:cubicBezTo>
                <a:cubicBezTo>
                  <a:pt x="100" y="224"/>
                  <a:pt x="100" y="224"/>
                  <a:pt x="100" y="224"/>
                </a:cubicBezTo>
                <a:cubicBezTo>
                  <a:pt x="99" y="224"/>
                  <a:pt x="100" y="223"/>
                  <a:pt x="99" y="223"/>
                </a:cubicBezTo>
                <a:cubicBezTo>
                  <a:pt x="98" y="223"/>
                  <a:pt x="98" y="221"/>
                  <a:pt x="97" y="221"/>
                </a:cubicBezTo>
                <a:cubicBezTo>
                  <a:pt x="96" y="221"/>
                  <a:pt x="95" y="221"/>
                  <a:pt x="95" y="222"/>
                </a:cubicBezTo>
                <a:cubicBezTo>
                  <a:pt x="95" y="223"/>
                  <a:pt x="94" y="223"/>
                  <a:pt x="94" y="224"/>
                </a:cubicBezTo>
                <a:cubicBezTo>
                  <a:pt x="95" y="227"/>
                  <a:pt x="98" y="229"/>
                  <a:pt x="99" y="231"/>
                </a:cubicBezTo>
                <a:cubicBezTo>
                  <a:pt x="100" y="231"/>
                  <a:pt x="100" y="231"/>
                  <a:pt x="100" y="232"/>
                </a:cubicBezTo>
                <a:cubicBezTo>
                  <a:pt x="100" y="233"/>
                  <a:pt x="102" y="233"/>
                  <a:pt x="102" y="235"/>
                </a:cubicBezTo>
                <a:cubicBezTo>
                  <a:pt x="103" y="235"/>
                  <a:pt x="103" y="235"/>
                  <a:pt x="103" y="235"/>
                </a:cubicBezTo>
                <a:cubicBezTo>
                  <a:pt x="103" y="236"/>
                  <a:pt x="104" y="237"/>
                  <a:pt x="104" y="238"/>
                </a:cubicBezTo>
                <a:cubicBezTo>
                  <a:pt x="105" y="238"/>
                  <a:pt x="105" y="238"/>
                  <a:pt x="105" y="238"/>
                </a:cubicBezTo>
                <a:cubicBezTo>
                  <a:pt x="106" y="241"/>
                  <a:pt x="107" y="243"/>
                  <a:pt x="107" y="247"/>
                </a:cubicBezTo>
                <a:cubicBezTo>
                  <a:pt x="107" y="251"/>
                  <a:pt x="108" y="253"/>
                  <a:pt x="108" y="257"/>
                </a:cubicBezTo>
                <a:cubicBezTo>
                  <a:pt x="108" y="257"/>
                  <a:pt x="108" y="257"/>
                  <a:pt x="108" y="258"/>
                </a:cubicBezTo>
                <a:cubicBezTo>
                  <a:pt x="108" y="258"/>
                  <a:pt x="108" y="258"/>
                  <a:pt x="108" y="258"/>
                </a:cubicBezTo>
                <a:cubicBezTo>
                  <a:pt x="108" y="258"/>
                  <a:pt x="108" y="258"/>
                  <a:pt x="108" y="258"/>
                </a:cubicBezTo>
                <a:cubicBezTo>
                  <a:pt x="108" y="258"/>
                  <a:pt x="108" y="258"/>
                  <a:pt x="109" y="258"/>
                </a:cubicBezTo>
                <a:cubicBezTo>
                  <a:pt x="109" y="259"/>
                  <a:pt x="108" y="259"/>
                  <a:pt x="109" y="259"/>
                </a:cubicBezTo>
                <a:cubicBezTo>
                  <a:pt x="109" y="259"/>
                  <a:pt x="109" y="259"/>
                  <a:pt x="109" y="259"/>
                </a:cubicBezTo>
                <a:cubicBezTo>
                  <a:pt x="110" y="260"/>
                  <a:pt x="110" y="261"/>
                  <a:pt x="111" y="261"/>
                </a:cubicBezTo>
                <a:cubicBezTo>
                  <a:pt x="111" y="263"/>
                  <a:pt x="108" y="261"/>
                  <a:pt x="109" y="261"/>
                </a:cubicBezTo>
                <a:cubicBezTo>
                  <a:pt x="108" y="260"/>
                  <a:pt x="108" y="260"/>
                  <a:pt x="108" y="260"/>
                </a:cubicBezTo>
                <a:cubicBezTo>
                  <a:pt x="108" y="260"/>
                  <a:pt x="108" y="260"/>
                  <a:pt x="108" y="260"/>
                </a:cubicBezTo>
                <a:cubicBezTo>
                  <a:pt x="107" y="259"/>
                  <a:pt x="106" y="258"/>
                  <a:pt x="106" y="257"/>
                </a:cubicBezTo>
                <a:cubicBezTo>
                  <a:pt x="106" y="257"/>
                  <a:pt x="106" y="257"/>
                  <a:pt x="106" y="256"/>
                </a:cubicBezTo>
                <a:cubicBezTo>
                  <a:pt x="106" y="256"/>
                  <a:pt x="105" y="255"/>
                  <a:pt x="106" y="254"/>
                </a:cubicBezTo>
                <a:cubicBezTo>
                  <a:pt x="106" y="254"/>
                  <a:pt x="106" y="254"/>
                  <a:pt x="106" y="254"/>
                </a:cubicBezTo>
                <a:cubicBezTo>
                  <a:pt x="106" y="253"/>
                  <a:pt x="105" y="253"/>
                  <a:pt x="105" y="252"/>
                </a:cubicBezTo>
                <a:cubicBezTo>
                  <a:pt x="105" y="251"/>
                  <a:pt x="105" y="249"/>
                  <a:pt x="105" y="248"/>
                </a:cubicBezTo>
                <a:cubicBezTo>
                  <a:pt x="105" y="247"/>
                  <a:pt x="105" y="247"/>
                  <a:pt x="105" y="246"/>
                </a:cubicBezTo>
                <a:cubicBezTo>
                  <a:pt x="104" y="246"/>
                  <a:pt x="104" y="246"/>
                  <a:pt x="104" y="246"/>
                </a:cubicBezTo>
                <a:cubicBezTo>
                  <a:pt x="104" y="244"/>
                  <a:pt x="104" y="243"/>
                  <a:pt x="103" y="242"/>
                </a:cubicBezTo>
                <a:cubicBezTo>
                  <a:pt x="103" y="242"/>
                  <a:pt x="103" y="242"/>
                  <a:pt x="103" y="242"/>
                </a:cubicBezTo>
                <a:cubicBezTo>
                  <a:pt x="103" y="242"/>
                  <a:pt x="103" y="242"/>
                  <a:pt x="103" y="242"/>
                </a:cubicBezTo>
                <a:cubicBezTo>
                  <a:pt x="103" y="241"/>
                  <a:pt x="103" y="241"/>
                  <a:pt x="102" y="241"/>
                </a:cubicBezTo>
                <a:cubicBezTo>
                  <a:pt x="102" y="241"/>
                  <a:pt x="102" y="241"/>
                  <a:pt x="102" y="241"/>
                </a:cubicBezTo>
                <a:cubicBezTo>
                  <a:pt x="102" y="239"/>
                  <a:pt x="100" y="239"/>
                  <a:pt x="100" y="238"/>
                </a:cubicBezTo>
                <a:cubicBezTo>
                  <a:pt x="100" y="238"/>
                  <a:pt x="100" y="237"/>
                  <a:pt x="100" y="237"/>
                </a:cubicBezTo>
                <a:cubicBezTo>
                  <a:pt x="100" y="237"/>
                  <a:pt x="100" y="237"/>
                  <a:pt x="99" y="237"/>
                </a:cubicBezTo>
                <a:cubicBezTo>
                  <a:pt x="99" y="236"/>
                  <a:pt x="99" y="235"/>
                  <a:pt x="98" y="235"/>
                </a:cubicBezTo>
                <a:cubicBezTo>
                  <a:pt x="97" y="235"/>
                  <a:pt x="98" y="236"/>
                  <a:pt x="97" y="236"/>
                </a:cubicBezTo>
                <a:cubicBezTo>
                  <a:pt x="97" y="236"/>
                  <a:pt x="97" y="236"/>
                  <a:pt x="97" y="237"/>
                </a:cubicBezTo>
                <a:cubicBezTo>
                  <a:pt x="97" y="237"/>
                  <a:pt x="97" y="237"/>
                  <a:pt x="97" y="237"/>
                </a:cubicBezTo>
                <a:cubicBezTo>
                  <a:pt x="97" y="237"/>
                  <a:pt x="98" y="238"/>
                  <a:pt x="96" y="239"/>
                </a:cubicBezTo>
                <a:cubicBezTo>
                  <a:pt x="96" y="239"/>
                  <a:pt x="96" y="239"/>
                  <a:pt x="96" y="239"/>
                </a:cubicBezTo>
                <a:cubicBezTo>
                  <a:pt x="96" y="240"/>
                  <a:pt x="96" y="241"/>
                  <a:pt x="96" y="242"/>
                </a:cubicBezTo>
                <a:cubicBezTo>
                  <a:pt x="95" y="244"/>
                  <a:pt x="94" y="247"/>
                  <a:pt x="94" y="250"/>
                </a:cubicBezTo>
                <a:cubicBezTo>
                  <a:pt x="92" y="251"/>
                  <a:pt x="93" y="254"/>
                  <a:pt x="91" y="255"/>
                </a:cubicBezTo>
                <a:cubicBezTo>
                  <a:pt x="91" y="259"/>
                  <a:pt x="89" y="260"/>
                  <a:pt x="90" y="264"/>
                </a:cubicBezTo>
                <a:cubicBezTo>
                  <a:pt x="88" y="264"/>
                  <a:pt x="89" y="267"/>
                  <a:pt x="88" y="267"/>
                </a:cubicBezTo>
                <a:cubicBezTo>
                  <a:pt x="88" y="270"/>
                  <a:pt x="86" y="270"/>
                  <a:pt x="87" y="272"/>
                </a:cubicBezTo>
                <a:cubicBezTo>
                  <a:pt x="88" y="272"/>
                  <a:pt x="87" y="270"/>
                  <a:pt x="88" y="270"/>
                </a:cubicBezTo>
                <a:cubicBezTo>
                  <a:pt x="88" y="270"/>
                  <a:pt x="89" y="270"/>
                  <a:pt x="90" y="270"/>
                </a:cubicBezTo>
                <a:cubicBezTo>
                  <a:pt x="90" y="269"/>
                  <a:pt x="90" y="269"/>
                  <a:pt x="90" y="269"/>
                </a:cubicBezTo>
                <a:cubicBezTo>
                  <a:pt x="92" y="269"/>
                  <a:pt x="92" y="269"/>
                  <a:pt x="92" y="270"/>
                </a:cubicBezTo>
                <a:cubicBezTo>
                  <a:pt x="93" y="270"/>
                  <a:pt x="92" y="271"/>
                  <a:pt x="92" y="272"/>
                </a:cubicBezTo>
                <a:cubicBezTo>
                  <a:pt x="93" y="272"/>
                  <a:pt x="93" y="272"/>
                  <a:pt x="93" y="272"/>
                </a:cubicBezTo>
                <a:cubicBezTo>
                  <a:pt x="93" y="272"/>
                  <a:pt x="93" y="272"/>
                  <a:pt x="93" y="272"/>
                </a:cubicBezTo>
                <a:cubicBezTo>
                  <a:pt x="93" y="272"/>
                  <a:pt x="93" y="272"/>
                  <a:pt x="93" y="273"/>
                </a:cubicBezTo>
                <a:cubicBezTo>
                  <a:pt x="93" y="273"/>
                  <a:pt x="94" y="274"/>
                  <a:pt x="92" y="275"/>
                </a:cubicBezTo>
                <a:cubicBezTo>
                  <a:pt x="92" y="275"/>
                  <a:pt x="92" y="275"/>
                  <a:pt x="92" y="275"/>
                </a:cubicBezTo>
                <a:cubicBezTo>
                  <a:pt x="90" y="275"/>
                  <a:pt x="89" y="275"/>
                  <a:pt x="88" y="274"/>
                </a:cubicBezTo>
                <a:cubicBezTo>
                  <a:pt x="88" y="275"/>
                  <a:pt x="88" y="275"/>
                  <a:pt x="87" y="275"/>
                </a:cubicBezTo>
                <a:cubicBezTo>
                  <a:pt x="87" y="275"/>
                  <a:pt x="87" y="275"/>
                  <a:pt x="87" y="276"/>
                </a:cubicBezTo>
                <a:cubicBezTo>
                  <a:pt x="88" y="277"/>
                  <a:pt x="86" y="277"/>
                  <a:pt x="86" y="278"/>
                </a:cubicBezTo>
                <a:cubicBezTo>
                  <a:pt x="86" y="278"/>
                  <a:pt x="86" y="278"/>
                  <a:pt x="86" y="278"/>
                </a:cubicBezTo>
                <a:cubicBezTo>
                  <a:pt x="86" y="279"/>
                  <a:pt x="86" y="279"/>
                  <a:pt x="86" y="279"/>
                </a:cubicBezTo>
                <a:cubicBezTo>
                  <a:pt x="85" y="280"/>
                  <a:pt x="84" y="281"/>
                  <a:pt x="85" y="282"/>
                </a:cubicBezTo>
                <a:cubicBezTo>
                  <a:pt x="85" y="282"/>
                  <a:pt x="85" y="282"/>
                  <a:pt x="85" y="282"/>
                </a:cubicBezTo>
                <a:cubicBezTo>
                  <a:pt x="85" y="282"/>
                  <a:pt x="85" y="283"/>
                  <a:pt x="85" y="283"/>
                </a:cubicBezTo>
                <a:cubicBezTo>
                  <a:pt x="85" y="283"/>
                  <a:pt x="85" y="283"/>
                  <a:pt x="85" y="283"/>
                </a:cubicBezTo>
                <a:cubicBezTo>
                  <a:pt x="84" y="283"/>
                  <a:pt x="84" y="285"/>
                  <a:pt x="84" y="286"/>
                </a:cubicBezTo>
                <a:cubicBezTo>
                  <a:pt x="84" y="287"/>
                  <a:pt x="84" y="287"/>
                  <a:pt x="84" y="287"/>
                </a:cubicBezTo>
                <a:cubicBezTo>
                  <a:pt x="84" y="287"/>
                  <a:pt x="84" y="287"/>
                  <a:pt x="84" y="287"/>
                </a:cubicBezTo>
                <a:cubicBezTo>
                  <a:pt x="84" y="287"/>
                  <a:pt x="84" y="287"/>
                  <a:pt x="84" y="287"/>
                </a:cubicBezTo>
                <a:cubicBezTo>
                  <a:pt x="83" y="288"/>
                  <a:pt x="83" y="289"/>
                  <a:pt x="83" y="290"/>
                </a:cubicBezTo>
                <a:cubicBezTo>
                  <a:pt x="83" y="291"/>
                  <a:pt x="83" y="291"/>
                  <a:pt x="83" y="291"/>
                </a:cubicBezTo>
                <a:cubicBezTo>
                  <a:pt x="82" y="291"/>
                  <a:pt x="82" y="291"/>
                  <a:pt x="82" y="292"/>
                </a:cubicBezTo>
                <a:cubicBezTo>
                  <a:pt x="82" y="293"/>
                  <a:pt x="81" y="295"/>
                  <a:pt x="81" y="297"/>
                </a:cubicBezTo>
                <a:cubicBezTo>
                  <a:pt x="81" y="298"/>
                  <a:pt x="80" y="299"/>
                  <a:pt x="79" y="300"/>
                </a:cubicBezTo>
                <a:cubicBezTo>
                  <a:pt x="79" y="303"/>
                  <a:pt x="78" y="304"/>
                  <a:pt x="77" y="306"/>
                </a:cubicBezTo>
                <a:cubicBezTo>
                  <a:pt x="77" y="306"/>
                  <a:pt x="77" y="307"/>
                  <a:pt x="77" y="307"/>
                </a:cubicBezTo>
                <a:cubicBezTo>
                  <a:pt x="76" y="307"/>
                  <a:pt x="77" y="308"/>
                  <a:pt x="76" y="310"/>
                </a:cubicBezTo>
                <a:cubicBezTo>
                  <a:pt x="76" y="310"/>
                  <a:pt x="76" y="310"/>
                  <a:pt x="76" y="310"/>
                </a:cubicBezTo>
                <a:cubicBezTo>
                  <a:pt x="75" y="311"/>
                  <a:pt x="75" y="312"/>
                  <a:pt x="75" y="312"/>
                </a:cubicBezTo>
                <a:cubicBezTo>
                  <a:pt x="75" y="312"/>
                  <a:pt x="75" y="312"/>
                  <a:pt x="75" y="312"/>
                </a:cubicBezTo>
                <a:cubicBezTo>
                  <a:pt x="75" y="313"/>
                  <a:pt x="74" y="314"/>
                  <a:pt x="74" y="314"/>
                </a:cubicBezTo>
                <a:cubicBezTo>
                  <a:pt x="74" y="314"/>
                  <a:pt x="74" y="314"/>
                  <a:pt x="74" y="315"/>
                </a:cubicBezTo>
                <a:cubicBezTo>
                  <a:pt x="71" y="314"/>
                  <a:pt x="74" y="318"/>
                  <a:pt x="72" y="318"/>
                </a:cubicBezTo>
                <a:cubicBezTo>
                  <a:pt x="72" y="318"/>
                  <a:pt x="72" y="318"/>
                  <a:pt x="72" y="318"/>
                </a:cubicBezTo>
                <a:cubicBezTo>
                  <a:pt x="72" y="319"/>
                  <a:pt x="72" y="320"/>
                  <a:pt x="71" y="320"/>
                </a:cubicBezTo>
                <a:cubicBezTo>
                  <a:pt x="71" y="320"/>
                  <a:pt x="71" y="320"/>
                  <a:pt x="71" y="320"/>
                </a:cubicBezTo>
                <a:cubicBezTo>
                  <a:pt x="70" y="321"/>
                  <a:pt x="69" y="322"/>
                  <a:pt x="68" y="323"/>
                </a:cubicBezTo>
                <a:cubicBezTo>
                  <a:pt x="68" y="323"/>
                  <a:pt x="68" y="323"/>
                  <a:pt x="68" y="323"/>
                </a:cubicBezTo>
                <a:cubicBezTo>
                  <a:pt x="67" y="323"/>
                  <a:pt x="66" y="324"/>
                  <a:pt x="65" y="325"/>
                </a:cubicBezTo>
                <a:cubicBezTo>
                  <a:pt x="65" y="325"/>
                  <a:pt x="65" y="325"/>
                  <a:pt x="65" y="325"/>
                </a:cubicBezTo>
                <a:cubicBezTo>
                  <a:pt x="65" y="326"/>
                  <a:pt x="64" y="326"/>
                  <a:pt x="64" y="327"/>
                </a:cubicBezTo>
                <a:cubicBezTo>
                  <a:pt x="62" y="327"/>
                  <a:pt x="62" y="328"/>
                  <a:pt x="60" y="329"/>
                </a:cubicBezTo>
                <a:cubicBezTo>
                  <a:pt x="59" y="329"/>
                  <a:pt x="59" y="328"/>
                  <a:pt x="58" y="328"/>
                </a:cubicBezTo>
                <a:cubicBezTo>
                  <a:pt x="59" y="330"/>
                  <a:pt x="59" y="330"/>
                  <a:pt x="58" y="333"/>
                </a:cubicBezTo>
                <a:cubicBezTo>
                  <a:pt x="60" y="334"/>
                  <a:pt x="61" y="334"/>
                  <a:pt x="61" y="336"/>
                </a:cubicBezTo>
                <a:cubicBezTo>
                  <a:pt x="62" y="336"/>
                  <a:pt x="63" y="336"/>
                  <a:pt x="65" y="336"/>
                </a:cubicBezTo>
                <a:cubicBezTo>
                  <a:pt x="66" y="337"/>
                  <a:pt x="67" y="336"/>
                  <a:pt x="67" y="337"/>
                </a:cubicBezTo>
                <a:cubicBezTo>
                  <a:pt x="69" y="342"/>
                  <a:pt x="64" y="341"/>
                  <a:pt x="65" y="346"/>
                </a:cubicBezTo>
                <a:cubicBezTo>
                  <a:pt x="66" y="346"/>
                  <a:pt x="66" y="347"/>
                  <a:pt x="67" y="347"/>
                </a:cubicBezTo>
                <a:cubicBezTo>
                  <a:pt x="69" y="347"/>
                  <a:pt x="69" y="346"/>
                  <a:pt x="70" y="346"/>
                </a:cubicBezTo>
                <a:cubicBezTo>
                  <a:pt x="70" y="346"/>
                  <a:pt x="71" y="347"/>
                  <a:pt x="72" y="347"/>
                </a:cubicBezTo>
                <a:cubicBezTo>
                  <a:pt x="72" y="347"/>
                  <a:pt x="71" y="348"/>
                  <a:pt x="72" y="348"/>
                </a:cubicBezTo>
                <a:cubicBezTo>
                  <a:pt x="72" y="348"/>
                  <a:pt x="74" y="347"/>
                  <a:pt x="74" y="348"/>
                </a:cubicBezTo>
                <a:cubicBezTo>
                  <a:pt x="74" y="348"/>
                  <a:pt x="74" y="348"/>
                  <a:pt x="74" y="348"/>
                </a:cubicBezTo>
                <a:cubicBezTo>
                  <a:pt x="75" y="349"/>
                  <a:pt x="75" y="349"/>
                  <a:pt x="76" y="349"/>
                </a:cubicBezTo>
                <a:cubicBezTo>
                  <a:pt x="76" y="349"/>
                  <a:pt x="77" y="349"/>
                  <a:pt x="77" y="349"/>
                </a:cubicBezTo>
                <a:cubicBezTo>
                  <a:pt x="77" y="349"/>
                  <a:pt x="77" y="350"/>
                  <a:pt x="77" y="350"/>
                </a:cubicBezTo>
                <a:cubicBezTo>
                  <a:pt x="77" y="350"/>
                  <a:pt x="78" y="350"/>
                  <a:pt x="79" y="350"/>
                </a:cubicBezTo>
                <a:cubicBezTo>
                  <a:pt x="79" y="351"/>
                  <a:pt x="80" y="352"/>
                  <a:pt x="81" y="354"/>
                </a:cubicBezTo>
                <a:cubicBezTo>
                  <a:pt x="83" y="354"/>
                  <a:pt x="85" y="355"/>
                  <a:pt x="87" y="355"/>
                </a:cubicBezTo>
                <a:cubicBezTo>
                  <a:pt x="87" y="356"/>
                  <a:pt x="87" y="357"/>
                  <a:pt x="87" y="358"/>
                </a:cubicBezTo>
                <a:cubicBezTo>
                  <a:pt x="87" y="358"/>
                  <a:pt x="88" y="358"/>
                  <a:pt x="88" y="359"/>
                </a:cubicBezTo>
                <a:cubicBezTo>
                  <a:pt x="88" y="359"/>
                  <a:pt x="89" y="359"/>
                  <a:pt x="89" y="359"/>
                </a:cubicBezTo>
                <a:cubicBezTo>
                  <a:pt x="89" y="360"/>
                  <a:pt x="89" y="360"/>
                  <a:pt x="89" y="360"/>
                </a:cubicBezTo>
                <a:cubicBezTo>
                  <a:pt x="90" y="361"/>
                  <a:pt x="91" y="360"/>
                  <a:pt x="92" y="361"/>
                </a:cubicBezTo>
                <a:cubicBezTo>
                  <a:pt x="93" y="361"/>
                  <a:pt x="92" y="361"/>
                  <a:pt x="92" y="362"/>
                </a:cubicBezTo>
                <a:cubicBezTo>
                  <a:pt x="93" y="362"/>
                  <a:pt x="94" y="361"/>
                  <a:pt x="94" y="362"/>
                </a:cubicBezTo>
                <a:cubicBezTo>
                  <a:pt x="94" y="362"/>
                  <a:pt x="94" y="362"/>
                  <a:pt x="94" y="362"/>
                </a:cubicBezTo>
                <a:cubicBezTo>
                  <a:pt x="95" y="363"/>
                  <a:pt x="99" y="361"/>
                  <a:pt x="101" y="362"/>
                </a:cubicBezTo>
                <a:cubicBezTo>
                  <a:pt x="101" y="361"/>
                  <a:pt x="102" y="361"/>
                  <a:pt x="102" y="361"/>
                </a:cubicBezTo>
                <a:cubicBezTo>
                  <a:pt x="103" y="361"/>
                  <a:pt x="104" y="362"/>
                  <a:pt x="104" y="363"/>
                </a:cubicBezTo>
                <a:cubicBezTo>
                  <a:pt x="105" y="364"/>
                  <a:pt x="106" y="364"/>
                  <a:pt x="106" y="366"/>
                </a:cubicBezTo>
                <a:cubicBezTo>
                  <a:pt x="107" y="366"/>
                  <a:pt x="108" y="366"/>
                  <a:pt x="109" y="366"/>
                </a:cubicBezTo>
                <a:cubicBezTo>
                  <a:pt x="109" y="367"/>
                  <a:pt x="110" y="367"/>
                  <a:pt x="111" y="368"/>
                </a:cubicBezTo>
                <a:cubicBezTo>
                  <a:pt x="111" y="367"/>
                  <a:pt x="111" y="367"/>
                  <a:pt x="112" y="366"/>
                </a:cubicBezTo>
                <a:cubicBezTo>
                  <a:pt x="112" y="367"/>
                  <a:pt x="112" y="368"/>
                  <a:pt x="113" y="368"/>
                </a:cubicBezTo>
                <a:cubicBezTo>
                  <a:pt x="117" y="368"/>
                  <a:pt x="117" y="368"/>
                  <a:pt x="117" y="368"/>
                </a:cubicBezTo>
                <a:cubicBezTo>
                  <a:pt x="117" y="369"/>
                  <a:pt x="119" y="368"/>
                  <a:pt x="119" y="369"/>
                </a:cubicBezTo>
                <a:cubicBezTo>
                  <a:pt x="120" y="369"/>
                  <a:pt x="120" y="370"/>
                  <a:pt x="121" y="371"/>
                </a:cubicBezTo>
                <a:cubicBezTo>
                  <a:pt x="121" y="370"/>
                  <a:pt x="123" y="370"/>
                  <a:pt x="124" y="370"/>
                </a:cubicBezTo>
                <a:cubicBezTo>
                  <a:pt x="124" y="370"/>
                  <a:pt x="124" y="371"/>
                  <a:pt x="125" y="371"/>
                </a:cubicBezTo>
                <a:cubicBezTo>
                  <a:pt x="125" y="371"/>
                  <a:pt x="126" y="371"/>
                  <a:pt x="127" y="371"/>
                </a:cubicBezTo>
                <a:cubicBezTo>
                  <a:pt x="128" y="372"/>
                  <a:pt x="130" y="372"/>
                  <a:pt x="132" y="372"/>
                </a:cubicBezTo>
                <a:cubicBezTo>
                  <a:pt x="133" y="370"/>
                  <a:pt x="131" y="367"/>
                  <a:pt x="133" y="366"/>
                </a:cubicBezTo>
                <a:cubicBezTo>
                  <a:pt x="136" y="366"/>
                  <a:pt x="138" y="367"/>
                  <a:pt x="141" y="367"/>
                </a:cubicBezTo>
                <a:cubicBezTo>
                  <a:pt x="141" y="369"/>
                  <a:pt x="143" y="369"/>
                  <a:pt x="144" y="369"/>
                </a:cubicBezTo>
                <a:cubicBezTo>
                  <a:pt x="145" y="370"/>
                  <a:pt x="147" y="371"/>
                  <a:pt x="148" y="371"/>
                </a:cubicBezTo>
                <a:cubicBezTo>
                  <a:pt x="149" y="372"/>
                  <a:pt x="149" y="373"/>
                  <a:pt x="150" y="374"/>
                </a:cubicBezTo>
                <a:cubicBezTo>
                  <a:pt x="152" y="374"/>
                  <a:pt x="153" y="375"/>
                  <a:pt x="156" y="375"/>
                </a:cubicBezTo>
                <a:cubicBezTo>
                  <a:pt x="156" y="376"/>
                  <a:pt x="157" y="376"/>
                  <a:pt x="157" y="378"/>
                </a:cubicBezTo>
                <a:cubicBezTo>
                  <a:pt x="162" y="378"/>
                  <a:pt x="162" y="378"/>
                  <a:pt x="162" y="378"/>
                </a:cubicBezTo>
                <a:cubicBezTo>
                  <a:pt x="162" y="379"/>
                  <a:pt x="162" y="379"/>
                  <a:pt x="163" y="379"/>
                </a:cubicBezTo>
                <a:cubicBezTo>
                  <a:pt x="164" y="379"/>
                  <a:pt x="164" y="379"/>
                  <a:pt x="164" y="379"/>
                </a:cubicBezTo>
                <a:cubicBezTo>
                  <a:pt x="164" y="380"/>
                  <a:pt x="165" y="380"/>
                  <a:pt x="165" y="380"/>
                </a:cubicBezTo>
                <a:cubicBezTo>
                  <a:pt x="167" y="380"/>
                  <a:pt x="167" y="381"/>
                  <a:pt x="169" y="380"/>
                </a:cubicBezTo>
                <a:cubicBezTo>
                  <a:pt x="169" y="383"/>
                  <a:pt x="169" y="383"/>
                  <a:pt x="169" y="383"/>
                </a:cubicBezTo>
                <a:cubicBezTo>
                  <a:pt x="170" y="385"/>
                  <a:pt x="168" y="385"/>
                  <a:pt x="168" y="387"/>
                </a:cubicBezTo>
                <a:cubicBezTo>
                  <a:pt x="168" y="388"/>
                  <a:pt x="169" y="388"/>
                  <a:pt x="168" y="389"/>
                </a:cubicBezTo>
                <a:cubicBezTo>
                  <a:pt x="170" y="389"/>
                  <a:pt x="171" y="389"/>
                  <a:pt x="171" y="390"/>
                </a:cubicBezTo>
                <a:cubicBezTo>
                  <a:pt x="173" y="390"/>
                  <a:pt x="174" y="389"/>
                  <a:pt x="177" y="389"/>
                </a:cubicBezTo>
                <a:cubicBezTo>
                  <a:pt x="177" y="390"/>
                  <a:pt x="178" y="390"/>
                  <a:pt x="177" y="391"/>
                </a:cubicBezTo>
                <a:cubicBezTo>
                  <a:pt x="177" y="393"/>
                  <a:pt x="178" y="393"/>
                  <a:pt x="179" y="394"/>
                </a:cubicBezTo>
                <a:cubicBezTo>
                  <a:pt x="179" y="393"/>
                  <a:pt x="180" y="393"/>
                  <a:pt x="181" y="393"/>
                </a:cubicBezTo>
                <a:cubicBezTo>
                  <a:pt x="181" y="392"/>
                  <a:pt x="182" y="392"/>
                  <a:pt x="183" y="392"/>
                </a:cubicBezTo>
                <a:cubicBezTo>
                  <a:pt x="183" y="392"/>
                  <a:pt x="183" y="392"/>
                  <a:pt x="183" y="393"/>
                </a:cubicBezTo>
                <a:cubicBezTo>
                  <a:pt x="183" y="393"/>
                  <a:pt x="183" y="393"/>
                  <a:pt x="183" y="393"/>
                </a:cubicBezTo>
                <a:cubicBezTo>
                  <a:pt x="184" y="393"/>
                  <a:pt x="185" y="393"/>
                  <a:pt x="186" y="393"/>
                </a:cubicBezTo>
                <a:cubicBezTo>
                  <a:pt x="186" y="394"/>
                  <a:pt x="186" y="394"/>
                  <a:pt x="187" y="394"/>
                </a:cubicBezTo>
                <a:cubicBezTo>
                  <a:pt x="189" y="394"/>
                  <a:pt x="190" y="396"/>
                  <a:pt x="192" y="398"/>
                </a:cubicBezTo>
                <a:cubicBezTo>
                  <a:pt x="192" y="398"/>
                  <a:pt x="193" y="398"/>
                  <a:pt x="193" y="398"/>
                </a:cubicBezTo>
                <a:cubicBezTo>
                  <a:pt x="193" y="398"/>
                  <a:pt x="193" y="398"/>
                  <a:pt x="194" y="398"/>
                </a:cubicBezTo>
                <a:cubicBezTo>
                  <a:pt x="194" y="399"/>
                  <a:pt x="194" y="398"/>
                  <a:pt x="195" y="398"/>
                </a:cubicBezTo>
                <a:cubicBezTo>
                  <a:pt x="197" y="399"/>
                  <a:pt x="197" y="397"/>
                  <a:pt x="198" y="396"/>
                </a:cubicBezTo>
                <a:cubicBezTo>
                  <a:pt x="201" y="397"/>
                  <a:pt x="202" y="396"/>
                  <a:pt x="203" y="395"/>
                </a:cubicBezTo>
                <a:cubicBezTo>
                  <a:pt x="206" y="395"/>
                  <a:pt x="206" y="395"/>
                  <a:pt x="208" y="394"/>
                </a:cubicBezTo>
                <a:cubicBezTo>
                  <a:pt x="208" y="395"/>
                  <a:pt x="209" y="395"/>
                  <a:pt x="210" y="395"/>
                </a:cubicBezTo>
                <a:cubicBezTo>
                  <a:pt x="212" y="395"/>
                  <a:pt x="213" y="398"/>
                  <a:pt x="216" y="397"/>
                </a:cubicBezTo>
                <a:cubicBezTo>
                  <a:pt x="216" y="397"/>
                  <a:pt x="216" y="397"/>
                  <a:pt x="216" y="396"/>
                </a:cubicBezTo>
                <a:cubicBezTo>
                  <a:pt x="216" y="396"/>
                  <a:pt x="216" y="396"/>
                  <a:pt x="216" y="396"/>
                </a:cubicBezTo>
                <a:cubicBezTo>
                  <a:pt x="216" y="394"/>
                  <a:pt x="215" y="393"/>
                  <a:pt x="214" y="392"/>
                </a:cubicBezTo>
                <a:cubicBezTo>
                  <a:pt x="214" y="391"/>
                  <a:pt x="214" y="390"/>
                  <a:pt x="213" y="389"/>
                </a:cubicBezTo>
                <a:cubicBezTo>
                  <a:pt x="213" y="387"/>
                  <a:pt x="215" y="386"/>
                  <a:pt x="214" y="384"/>
                </a:cubicBezTo>
                <a:cubicBezTo>
                  <a:pt x="215" y="383"/>
                  <a:pt x="215" y="383"/>
                  <a:pt x="215" y="382"/>
                </a:cubicBezTo>
                <a:cubicBezTo>
                  <a:pt x="215" y="382"/>
                  <a:pt x="215" y="381"/>
                  <a:pt x="215" y="381"/>
                </a:cubicBezTo>
                <a:cubicBezTo>
                  <a:pt x="215" y="380"/>
                  <a:pt x="215" y="380"/>
                  <a:pt x="216" y="379"/>
                </a:cubicBezTo>
                <a:cubicBezTo>
                  <a:pt x="216" y="370"/>
                  <a:pt x="216" y="370"/>
                  <a:pt x="216" y="370"/>
                </a:cubicBezTo>
                <a:cubicBezTo>
                  <a:pt x="217" y="370"/>
                  <a:pt x="216" y="368"/>
                  <a:pt x="218" y="368"/>
                </a:cubicBezTo>
                <a:cubicBezTo>
                  <a:pt x="219" y="367"/>
                  <a:pt x="220" y="367"/>
                  <a:pt x="220" y="366"/>
                </a:cubicBezTo>
                <a:cubicBezTo>
                  <a:pt x="222" y="365"/>
                  <a:pt x="223" y="363"/>
                  <a:pt x="224" y="362"/>
                </a:cubicBezTo>
                <a:cubicBezTo>
                  <a:pt x="227" y="362"/>
                  <a:pt x="229" y="360"/>
                  <a:pt x="232" y="361"/>
                </a:cubicBezTo>
                <a:cubicBezTo>
                  <a:pt x="232" y="361"/>
                  <a:pt x="232" y="361"/>
                  <a:pt x="232" y="361"/>
                </a:cubicBezTo>
                <a:cubicBezTo>
                  <a:pt x="235" y="361"/>
                  <a:pt x="234" y="359"/>
                  <a:pt x="236" y="358"/>
                </a:cubicBezTo>
                <a:cubicBezTo>
                  <a:pt x="236" y="358"/>
                  <a:pt x="236" y="358"/>
                  <a:pt x="236" y="358"/>
                </a:cubicBezTo>
                <a:cubicBezTo>
                  <a:pt x="237" y="358"/>
                  <a:pt x="238" y="358"/>
                  <a:pt x="238" y="357"/>
                </a:cubicBezTo>
                <a:cubicBezTo>
                  <a:pt x="239" y="357"/>
                  <a:pt x="239" y="357"/>
                  <a:pt x="239" y="357"/>
                </a:cubicBezTo>
                <a:cubicBezTo>
                  <a:pt x="240" y="356"/>
                  <a:pt x="241" y="356"/>
                  <a:pt x="242" y="355"/>
                </a:cubicBezTo>
                <a:cubicBezTo>
                  <a:pt x="244" y="356"/>
                  <a:pt x="243" y="354"/>
                  <a:pt x="245" y="355"/>
                </a:cubicBezTo>
                <a:cubicBezTo>
                  <a:pt x="245" y="354"/>
                  <a:pt x="246" y="353"/>
                  <a:pt x="247" y="353"/>
                </a:cubicBezTo>
                <a:cubicBezTo>
                  <a:pt x="247" y="353"/>
                  <a:pt x="247" y="353"/>
                  <a:pt x="247" y="353"/>
                </a:cubicBezTo>
                <a:cubicBezTo>
                  <a:pt x="248" y="353"/>
                  <a:pt x="249" y="352"/>
                  <a:pt x="250" y="351"/>
                </a:cubicBezTo>
                <a:cubicBezTo>
                  <a:pt x="250" y="351"/>
                  <a:pt x="251" y="351"/>
                  <a:pt x="251" y="351"/>
                </a:cubicBezTo>
                <a:cubicBezTo>
                  <a:pt x="252" y="351"/>
                  <a:pt x="253" y="352"/>
                  <a:pt x="253" y="353"/>
                </a:cubicBezTo>
                <a:cubicBezTo>
                  <a:pt x="253" y="353"/>
                  <a:pt x="253" y="353"/>
                  <a:pt x="253" y="353"/>
                </a:cubicBezTo>
                <a:cubicBezTo>
                  <a:pt x="254" y="354"/>
                  <a:pt x="254" y="355"/>
                  <a:pt x="256" y="356"/>
                </a:cubicBezTo>
                <a:cubicBezTo>
                  <a:pt x="256" y="356"/>
                  <a:pt x="256" y="356"/>
                  <a:pt x="256" y="356"/>
                </a:cubicBezTo>
                <a:cubicBezTo>
                  <a:pt x="257" y="356"/>
                  <a:pt x="257" y="356"/>
                  <a:pt x="257" y="356"/>
                </a:cubicBezTo>
                <a:cubicBezTo>
                  <a:pt x="257" y="357"/>
                  <a:pt x="258" y="357"/>
                  <a:pt x="258" y="357"/>
                </a:cubicBezTo>
                <a:cubicBezTo>
                  <a:pt x="259" y="357"/>
                  <a:pt x="259" y="357"/>
                  <a:pt x="260" y="357"/>
                </a:cubicBezTo>
                <a:cubicBezTo>
                  <a:pt x="263" y="357"/>
                  <a:pt x="264" y="358"/>
                  <a:pt x="267" y="358"/>
                </a:cubicBezTo>
                <a:cubicBezTo>
                  <a:pt x="267" y="362"/>
                  <a:pt x="267" y="362"/>
                  <a:pt x="267" y="362"/>
                </a:cubicBezTo>
                <a:cubicBezTo>
                  <a:pt x="269" y="363"/>
                  <a:pt x="271" y="364"/>
                  <a:pt x="274" y="364"/>
                </a:cubicBezTo>
                <a:cubicBezTo>
                  <a:pt x="274" y="363"/>
                  <a:pt x="274" y="363"/>
                  <a:pt x="274" y="363"/>
                </a:cubicBezTo>
                <a:cubicBezTo>
                  <a:pt x="275" y="363"/>
                  <a:pt x="275" y="363"/>
                  <a:pt x="275" y="363"/>
                </a:cubicBezTo>
                <a:cubicBezTo>
                  <a:pt x="276" y="363"/>
                  <a:pt x="276" y="363"/>
                  <a:pt x="276" y="363"/>
                </a:cubicBezTo>
                <a:cubicBezTo>
                  <a:pt x="276" y="363"/>
                  <a:pt x="276" y="364"/>
                  <a:pt x="276" y="364"/>
                </a:cubicBezTo>
                <a:cubicBezTo>
                  <a:pt x="279" y="364"/>
                  <a:pt x="277" y="359"/>
                  <a:pt x="280" y="360"/>
                </a:cubicBezTo>
                <a:cubicBezTo>
                  <a:pt x="281" y="361"/>
                  <a:pt x="280" y="363"/>
                  <a:pt x="281" y="364"/>
                </a:cubicBezTo>
                <a:cubicBezTo>
                  <a:pt x="283" y="365"/>
                  <a:pt x="284" y="365"/>
                  <a:pt x="285" y="366"/>
                </a:cubicBezTo>
                <a:cubicBezTo>
                  <a:pt x="288" y="366"/>
                  <a:pt x="288" y="364"/>
                  <a:pt x="291" y="365"/>
                </a:cubicBezTo>
                <a:cubicBezTo>
                  <a:pt x="291" y="368"/>
                  <a:pt x="292" y="368"/>
                  <a:pt x="291" y="370"/>
                </a:cubicBezTo>
                <a:cubicBezTo>
                  <a:pt x="291" y="372"/>
                  <a:pt x="294" y="371"/>
                  <a:pt x="296" y="372"/>
                </a:cubicBezTo>
                <a:cubicBezTo>
                  <a:pt x="298" y="372"/>
                  <a:pt x="298" y="372"/>
                  <a:pt x="298" y="372"/>
                </a:cubicBezTo>
                <a:cubicBezTo>
                  <a:pt x="299" y="373"/>
                  <a:pt x="300" y="374"/>
                  <a:pt x="302" y="374"/>
                </a:cubicBezTo>
                <a:cubicBezTo>
                  <a:pt x="303" y="375"/>
                  <a:pt x="303" y="377"/>
                  <a:pt x="305" y="376"/>
                </a:cubicBezTo>
                <a:cubicBezTo>
                  <a:pt x="306" y="377"/>
                  <a:pt x="305" y="380"/>
                  <a:pt x="307" y="380"/>
                </a:cubicBezTo>
                <a:cubicBezTo>
                  <a:pt x="307" y="380"/>
                  <a:pt x="308" y="380"/>
                  <a:pt x="308" y="380"/>
                </a:cubicBezTo>
                <a:cubicBezTo>
                  <a:pt x="309" y="380"/>
                  <a:pt x="309" y="380"/>
                  <a:pt x="309" y="380"/>
                </a:cubicBezTo>
                <a:cubicBezTo>
                  <a:pt x="309" y="380"/>
                  <a:pt x="309" y="380"/>
                  <a:pt x="310" y="380"/>
                </a:cubicBezTo>
                <a:cubicBezTo>
                  <a:pt x="310" y="379"/>
                  <a:pt x="310" y="379"/>
                  <a:pt x="311" y="379"/>
                </a:cubicBezTo>
                <a:cubicBezTo>
                  <a:pt x="312" y="379"/>
                  <a:pt x="312" y="378"/>
                  <a:pt x="313" y="378"/>
                </a:cubicBezTo>
                <a:cubicBezTo>
                  <a:pt x="313" y="380"/>
                  <a:pt x="316" y="379"/>
                  <a:pt x="315" y="381"/>
                </a:cubicBezTo>
                <a:cubicBezTo>
                  <a:pt x="316" y="381"/>
                  <a:pt x="316" y="381"/>
                  <a:pt x="316" y="382"/>
                </a:cubicBezTo>
                <a:cubicBezTo>
                  <a:pt x="317" y="382"/>
                  <a:pt x="317" y="382"/>
                  <a:pt x="318" y="382"/>
                </a:cubicBezTo>
                <a:cubicBezTo>
                  <a:pt x="318" y="382"/>
                  <a:pt x="318" y="383"/>
                  <a:pt x="318" y="383"/>
                </a:cubicBezTo>
                <a:cubicBezTo>
                  <a:pt x="319" y="384"/>
                  <a:pt x="320" y="384"/>
                  <a:pt x="321" y="384"/>
                </a:cubicBezTo>
                <a:cubicBezTo>
                  <a:pt x="321" y="383"/>
                  <a:pt x="321" y="383"/>
                  <a:pt x="322" y="383"/>
                </a:cubicBezTo>
                <a:cubicBezTo>
                  <a:pt x="322" y="383"/>
                  <a:pt x="322" y="383"/>
                  <a:pt x="322" y="383"/>
                </a:cubicBezTo>
                <a:cubicBezTo>
                  <a:pt x="323" y="380"/>
                  <a:pt x="319" y="383"/>
                  <a:pt x="320" y="380"/>
                </a:cubicBezTo>
                <a:cubicBezTo>
                  <a:pt x="319" y="378"/>
                  <a:pt x="321" y="379"/>
                  <a:pt x="322" y="379"/>
                </a:cubicBezTo>
                <a:cubicBezTo>
                  <a:pt x="324" y="379"/>
                  <a:pt x="323" y="381"/>
                  <a:pt x="325" y="380"/>
                </a:cubicBezTo>
                <a:cubicBezTo>
                  <a:pt x="327" y="381"/>
                  <a:pt x="325" y="377"/>
                  <a:pt x="327" y="378"/>
                </a:cubicBezTo>
                <a:cubicBezTo>
                  <a:pt x="327" y="378"/>
                  <a:pt x="327" y="377"/>
                  <a:pt x="328" y="378"/>
                </a:cubicBezTo>
                <a:cubicBezTo>
                  <a:pt x="330" y="378"/>
                  <a:pt x="332" y="378"/>
                  <a:pt x="333" y="377"/>
                </a:cubicBezTo>
                <a:cubicBezTo>
                  <a:pt x="335" y="377"/>
                  <a:pt x="336" y="377"/>
                  <a:pt x="337" y="376"/>
                </a:cubicBezTo>
                <a:cubicBezTo>
                  <a:pt x="337" y="376"/>
                  <a:pt x="337" y="375"/>
                  <a:pt x="338" y="375"/>
                </a:cubicBezTo>
                <a:cubicBezTo>
                  <a:pt x="338" y="375"/>
                  <a:pt x="337" y="374"/>
                  <a:pt x="337" y="373"/>
                </a:cubicBezTo>
                <a:cubicBezTo>
                  <a:pt x="337" y="373"/>
                  <a:pt x="338" y="373"/>
                  <a:pt x="338" y="373"/>
                </a:cubicBezTo>
                <a:cubicBezTo>
                  <a:pt x="338" y="372"/>
                  <a:pt x="338" y="372"/>
                  <a:pt x="338" y="371"/>
                </a:cubicBezTo>
                <a:cubicBezTo>
                  <a:pt x="337" y="371"/>
                  <a:pt x="337" y="371"/>
                  <a:pt x="337" y="371"/>
                </a:cubicBezTo>
                <a:cubicBezTo>
                  <a:pt x="337" y="369"/>
                  <a:pt x="339" y="370"/>
                  <a:pt x="339" y="369"/>
                </a:cubicBezTo>
                <a:cubicBezTo>
                  <a:pt x="339" y="368"/>
                  <a:pt x="339" y="368"/>
                  <a:pt x="340" y="368"/>
                </a:cubicBezTo>
                <a:cubicBezTo>
                  <a:pt x="340" y="367"/>
                  <a:pt x="340" y="367"/>
                  <a:pt x="340" y="367"/>
                </a:cubicBezTo>
                <a:cubicBezTo>
                  <a:pt x="340" y="367"/>
                  <a:pt x="340" y="366"/>
                  <a:pt x="341" y="367"/>
                </a:cubicBezTo>
                <a:cubicBezTo>
                  <a:pt x="346" y="368"/>
                  <a:pt x="347" y="365"/>
                  <a:pt x="348" y="362"/>
                </a:cubicBezTo>
                <a:cubicBezTo>
                  <a:pt x="352" y="362"/>
                  <a:pt x="352" y="362"/>
                  <a:pt x="352" y="362"/>
                </a:cubicBezTo>
                <a:cubicBezTo>
                  <a:pt x="352" y="362"/>
                  <a:pt x="352" y="361"/>
                  <a:pt x="352" y="360"/>
                </a:cubicBezTo>
                <a:cubicBezTo>
                  <a:pt x="352" y="360"/>
                  <a:pt x="353" y="360"/>
                  <a:pt x="353" y="360"/>
                </a:cubicBezTo>
                <a:cubicBezTo>
                  <a:pt x="353" y="360"/>
                  <a:pt x="353" y="360"/>
                  <a:pt x="353" y="359"/>
                </a:cubicBezTo>
                <a:cubicBezTo>
                  <a:pt x="353" y="359"/>
                  <a:pt x="354" y="358"/>
                  <a:pt x="354" y="357"/>
                </a:cubicBezTo>
                <a:cubicBezTo>
                  <a:pt x="354" y="357"/>
                  <a:pt x="354" y="357"/>
                  <a:pt x="354" y="357"/>
                </a:cubicBezTo>
                <a:cubicBezTo>
                  <a:pt x="357" y="357"/>
                  <a:pt x="357" y="356"/>
                  <a:pt x="358" y="355"/>
                </a:cubicBezTo>
                <a:cubicBezTo>
                  <a:pt x="359" y="355"/>
                  <a:pt x="360" y="355"/>
                  <a:pt x="361" y="354"/>
                </a:cubicBezTo>
                <a:cubicBezTo>
                  <a:pt x="362" y="353"/>
                  <a:pt x="364" y="355"/>
                  <a:pt x="364" y="353"/>
                </a:cubicBezTo>
                <a:cubicBezTo>
                  <a:pt x="365" y="351"/>
                  <a:pt x="365" y="348"/>
                  <a:pt x="365" y="345"/>
                </a:cubicBezTo>
                <a:cubicBezTo>
                  <a:pt x="366" y="345"/>
                  <a:pt x="366" y="344"/>
                  <a:pt x="366" y="343"/>
                </a:cubicBezTo>
                <a:cubicBezTo>
                  <a:pt x="367" y="342"/>
                  <a:pt x="368" y="341"/>
                  <a:pt x="368" y="340"/>
                </a:cubicBezTo>
                <a:cubicBezTo>
                  <a:pt x="370" y="340"/>
                  <a:pt x="370" y="338"/>
                  <a:pt x="370" y="336"/>
                </a:cubicBezTo>
                <a:cubicBezTo>
                  <a:pt x="369" y="335"/>
                  <a:pt x="369" y="335"/>
                  <a:pt x="368" y="335"/>
                </a:cubicBezTo>
                <a:cubicBezTo>
                  <a:pt x="366" y="335"/>
                  <a:pt x="365" y="336"/>
                  <a:pt x="363" y="336"/>
                </a:cubicBezTo>
                <a:cubicBezTo>
                  <a:pt x="361" y="337"/>
                  <a:pt x="360" y="336"/>
                  <a:pt x="359" y="336"/>
                </a:cubicBezTo>
                <a:cubicBezTo>
                  <a:pt x="358" y="335"/>
                  <a:pt x="356" y="336"/>
                  <a:pt x="356" y="334"/>
                </a:cubicBezTo>
                <a:cubicBezTo>
                  <a:pt x="352" y="334"/>
                  <a:pt x="352" y="334"/>
                  <a:pt x="352" y="334"/>
                </a:cubicBezTo>
                <a:cubicBezTo>
                  <a:pt x="352" y="333"/>
                  <a:pt x="351" y="333"/>
                  <a:pt x="350" y="332"/>
                </a:cubicBezTo>
                <a:cubicBezTo>
                  <a:pt x="350" y="332"/>
                  <a:pt x="350" y="330"/>
                  <a:pt x="349" y="330"/>
                </a:cubicBezTo>
                <a:cubicBezTo>
                  <a:pt x="348" y="330"/>
                  <a:pt x="349" y="329"/>
                  <a:pt x="348" y="329"/>
                </a:cubicBezTo>
                <a:cubicBezTo>
                  <a:pt x="348" y="329"/>
                  <a:pt x="347" y="328"/>
                  <a:pt x="347" y="328"/>
                </a:cubicBezTo>
                <a:cubicBezTo>
                  <a:pt x="346" y="327"/>
                  <a:pt x="347" y="326"/>
                  <a:pt x="345" y="326"/>
                </a:cubicBezTo>
                <a:cubicBezTo>
                  <a:pt x="346" y="325"/>
                  <a:pt x="345" y="324"/>
                  <a:pt x="345" y="323"/>
                </a:cubicBezTo>
                <a:cubicBezTo>
                  <a:pt x="344" y="321"/>
                  <a:pt x="345" y="321"/>
                  <a:pt x="345" y="319"/>
                </a:cubicBezTo>
                <a:cubicBezTo>
                  <a:pt x="346" y="317"/>
                  <a:pt x="344" y="316"/>
                  <a:pt x="344" y="313"/>
                </a:cubicBezTo>
                <a:cubicBezTo>
                  <a:pt x="345" y="313"/>
                  <a:pt x="345" y="313"/>
                  <a:pt x="345" y="312"/>
                </a:cubicBezTo>
                <a:cubicBezTo>
                  <a:pt x="345" y="312"/>
                  <a:pt x="345" y="312"/>
                  <a:pt x="345" y="311"/>
                </a:cubicBezTo>
                <a:cubicBezTo>
                  <a:pt x="347" y="310"/>
                  <a:pt x="349" y="308"/>
                  <a:pt x="350" y="307"/>
                </a:cubicBezTo>
                <a:cubicBezTo>
                  <a:pt x="351" y="305"/>
                  <a:pt x="349" y="305"/>
                  <a:pt x="350" y="303"/>
                </a:cubicBezTo>
                <a:cubicBezTo>
                  <a:pt x="348" y="300"/>
                  <a:pt x="344" y="299"/>
                  <a:pt x="341" y="297"/>
                </a:cubicBezTo>
                <a:cubicBezTo>
                  <a:pt x="341" y="295"/>
                  <a:pt x="342" y="295"/>
                  <a:pt x="342" y="293"/>
                </a:cubicBezTo>
                <a:cubicBezTo>
                  <a:pt x="342" y="292"/>
                  <a:pt x="341" y="292"/>
                  <a:pt x="341" y="290"/>
                </a:cubicBezTo>
                <a:cubicBezTo>
                  <a:pt x="339" y="290"/>
                  <a:pt x="339" y="289"/>
                  <a:pt x="339" y="288"/>
                </a:cubicBezTo>
                <a:cubicBezTo>
                  <a:pt x="338" y="285"/>
                  <a:pt x="341" y="287"/>
                  <a:pt x="341" y="286"/>
                </a:cubicBezTo>
                <a:cubicBezTo>
                  <a:pt x="342" y="285"/>
                  <a:pt x="343" y="285"/>
                  <a:pt x="344" y="284"/>
                </a:cubicBezTo>
                <a:cubicBezTo>
                  <a:pt x="345" y="284"/>
                  <a:pt x="346" y="285"/>
                  <a:pt x="347" y="285"/>
                </a:cubicBezTo>
                <a:cubicBezTo>
                  <a:pt x="347" y="283"/>
                  <a:pt x="350" y="284"/>
                  <a:pt x="350" y="283"/>
                </a:cubicBezTo>
                <a:cubicBezTo>
                  <a:pt x="353" y="283"/>
                  <a:pt x="353" y="281"/>
                  <a:pt x="355" y="281"/>
                </a:cubicBezTo>
                <a:cubicBezTo>
                  <a:pt x="355" y="280"/>
                  <a:pt x="354" y="280"/>
                  <a:pt x="354" y="278"/>
                </a:cubicBezTo>
                <a:cubicBezTo>
                  <a:pt x="354" y="277"/>
                  <a:pt x="355" y="277"/>
                  <a:pt x="355" y="277"/>
                </a:cubicBezTo>
                <a:cubicBezTo>
                  <a:pt x="356" y="277"/>
                  <a:pt x="356" y="275"/>
                  <a:pt x="357" y="275"/>
                </a:cubicBezTo>
                <a:cubicBezTo>
                  <a:pt x="357" y="274"/>
                  <a:pt x="357" y="274"/>
                  <a:pt x="357" y="274"/>
                </a:cubicBezTo>
                <a:cubicBezTo>
                  <a:pt x="356" y="273"/>
                  <a:pt x="355" y="273"/>
                  <a:pt x="354" y="272"/>
                </a:cubicBezTo>
                <a:cubicBezTo>
                  <a:pt x="354" y="272"/>
                  <a:pt x="354" y="272"/>
                  <a:pt x="354" y="271"/>
                </a:cubicBezTo>
                <a:cubicBezTo>
                  <a:pt x="353" y="271"/>
                  <a:pt x="352" y="270"/>
                  <a:pt x="352" y="269"/>
                </a:cubicBezTo>
                <a:cubicBezTo>
                  <a:pt x="351" y="268"/>
                  <a:pt x="351" y="268"/>
                  <a:pt x="350" y="267"/>
                </a:cubicBezTo>
                <a:cubicBezTo>
                  <a:pt x="350" y="265"/>
                  <a:pt x="350" y="265"/>
                  <a:pt x="350" y="265"/>
                </a:cubicBezTo>
                <a:cubicBezTo>
                  <a:pt x="349" y="264"/>
                  <a:pt x="348" y="263"/>
                  <a:pt x="347" y="261"/>
                </a:cubicBezTo>
                <a:cubicBezTo>
                  <a:pt x="347" y="261"/>
                  <a:pt x="346" y="260"/>
                  <a:pt x="346" y="261"/>
                </a:cubicBezTo>
                <a:cubicBezTo>
                  <a:pt x="345" y="261"/>
                  <a:pt x="344" y="262"/>
                  <a:pt x="344" y="261"/>
                </a:cubicBezTo>
                <a:cubicBezTo>
                  <a:pt x="344" y="259"/>
                  <a:pt x="345" y="259"/>
                  <a:pt x="345" y="256"/>
                </a:cubicBezTo>
                <a:cubicBezTo>
                  <a:pt x="345" y="256"/>
                  <a:pt x="346" y="256"/>
                  <a:pt x="346" y="255"/>
                </a:cubicBezTo>
                <a:cubicBezTo>
                  <a:pt x="346" y="255"/>
                  <a:pt x="347" y="255"/>
                  <a:pt x="347" y="254"/>
                </a:cubicBezTo>
                <a:cubicBezTo>
                  <a:pt x="347" y="254"/>
                  <a:pt x="348" y="254"/>
                  <a:pt x="348" y="254"/>
                </a:cubicBezTo>
                <a:cubicBezTo>
                  <a:pt x="350" y="253"/>
                  <a:pt x="351" y="252"/>
                  <a:pt x="353" y="251"/>
                </a:cubicBezTo>
                <a:cubicBezTo>
                  <a:pt x="357" y="251"/>
                  <a:pt x="357" y="251"/>
                  <a:pt x="357" y="251"/>
                </a:cubicBezTo>
                <a:cubicBezTo>
                  <a:pt x="357" y="251"/>
                  <a:pt x="357" y="251"/>
                  <a:pt x="357" y="251"/>
                </a:cubicBezTo>
                <a:cubicBezTo>
                  <a:pt x="357" y="251"/>
                  <a:pt x="357" y="251"/>
                  <a:pt x="357" y="250"/>
                </a:cubicBezTo>
                <a:cubicBezTo>
                  <a:pt x="357" y="250"/>
                  <a:pt x="357" y="250"/>
                  <a:pt x="357" y="250"/>
                </a:cubicBezTo>
                <a:cubicBezTo>
                  <a:pt x="357" y="250"/>
                  <a:pt x="357" y="250"/>
                  <a:pt x="357" y="250"/>
                </a:cubicBezTo>
                <a:cubicBezTo>
                  <a:pt x="357" y="250"/>
                  <a:pt x="357" y="249"/>
                  <a:pt x="357" y="249"/>
                </a:cubicBezTo>
                <a:cubicBezTo>
                  <a:pt x="357" y="249"/>
                  <a:pt x="357" y="249"/>
                  <a:pt x="357" y="249"/>
                </a:cubicBezTo>
                <a:cubicBezTo>
                  <a:pt x="357" y="249"/>
                  <a:pt x="357" y="249"/>
                  <a:pt x="357" y="249"/>
                </a:cubicBezTo>
                <a:cubicBezTo>
                  <a:pt x="357" y="249"/>
                  <a:pt x="356" y="249"/>
                  <a:pt x="356" y="248"/>
                </a:cubicBezTo>
                <a:cubicBezTo>
                  <a:pt x="356" y="248"/>
                  <a:pt x="356" y="248"/>
                  <a:pt x="356" y="248"/>
                </a:cubicBezTo>
                <a:cubicBezTo>
                  <a:pt x="356" y="248"/>
                  <a:pt x="356" y="248"/>
                  <a:pt x="356" y="248"/>
                </a:cubicBezTo>
                <a:cubicBezTo>
                  <a:pt x="356" y="248"/>
                  <a:pt x="356" y="248"/>
                  <a:pt x="356" y="247"/>
                </a:cubicBezTo>
                <a:cubicBezTo>
                  <a:pt x="356" y="247"/>
                  <a:pt x="356" y="247"/>
                  <a:pt x="356" y="247"/>
                </a:cubicBezTo>
                <a:cubicBezTo>
                  <a:pt x="356" y="247"/>
                  <a:pt x="356" y="247"/>
                  <a:pt x="356" y="247"/>
                </a:cubicBezTo>
                <a:cubicBezTo>
                  <a:pt x="356" y="247"/>
                  <a:pt x="356" y="247"/>
                  <a:pt x="356" y="247"/>
                </a:cubicBezTo>
                <a:cubicBezTo>
                  <a:pt x="356" y="247"/>
                  <a:pt x="356" y="246"/>
                  <a:pt x="356" y="246"/>
                </a:cubicBezTo>
                <a:cubicBezTo>
                  <a:pt x="356" y="246"/>
                  <a:pt x="356" y="246"/>
                  <a:pt x="356" y="246"/>
                </a:cubicBezTo>
                <a:cubicBezTo>
                  <a:pt x="355" y="245"/>
                  <a:pt x="355" y="245"/>
                  <a:pt x="354" y="244"/>
                </a:cubicBezTo>
                <a:cubicBezTo>
                  <a:pt x="354" y="244"/>
                  <a:pt x="354" y="243"/>
                  <a:pt x="354" y="242"/>
                </a:cubicBezTo>
                <a:cubicBezTo>
                  <a:pt x="353" y="242"/>
                  <a:pt x="353" y="242"/>
                  <a:pt x="352" y="241"/>
                </a:cubicBezTo>
                <a:cubicBezTo>
                  <a:pt x="351" y="241"/>
                  <a:pt x="352" y="240"/>
                  <a:pt x="351" y="240"/>
                </a:cubicBezTo>
                <a:cubicBezTo>
                  <a:pt x="350" y="239"/>
                  <a:pt x="350" y="239"/>
                  <a:pt x="350" y="238"/>
                </a:cubicBezTo>
                <a:cubicBezTo>
                  <a:pt x="351" y="236"/>
                  <a:pt x="349" y="232"/>
                  <a:pt x="350" y="229"/>
                </a:cubicBezTo>
                <a:cubicBezTo>
                  <a:pt x="348" y="229"/>
                  <a:pt x="348" y="229"/>
                  <a:pt x="348" y="228"/>
                </a:cubicBezTo>
                <a:cubicBezTo>
                  <a:pt x="341" y="228"/>
                  <a:pt x="341" y="228"/>
                  <a:pt x="341" y="228"/>
                </a:cubicBezTo>
                <a:cubicBezTo>
                  <a:pt x="339" y="228"/>
                  <a:pt x="339" y="228"/>
                  <a:pt x="338" y="228"/>
                </a:cubicBezTo>
                <a:cubicBezTo>
                  <a:pt x="338" y="229"/>
                  <a:pt x="337" y="229"/>
                  <a:pt x="337" y="230"/>
                </a:cubicBezTo>
                <a:cubicBezTo>
                  <a:pt x="335" y="230"/>
                  <a:pt x="335" y="229"/>
                  <a:pt x="334" y="229"/>
                </a:cubicBezTo>
                <a:cubicBezTo>
                  <a:pt x="331" y="230"/>
                  <a:pt x="331" y="232"/>
                  <a:pt x="331" y="235"/>
                </a:cubicBezTo>
                <a:cubicBezTo>
                  <a:pt x="331" y="235"/>
                  <a:pt x="331" y="235"/>
                  <a:pt x="331" y="235"/>
                </a:cubicBezTo>
                <a:cubicBezTo>
                  <a:pt x="330" y="236"/>
                  <a:pt x="328" y="236"/>
                  <a:pt x="327" y="237"/>
                </a:cubicBezTo>
                <a:cubicBezTo>
                  <a:pt x="326" y="237"/>
                  <a:pt x="326" y="238"/>
                  <a:pt x="326" y="237"/>
                </a:cubicBezTo>
                <a:cubicBezTo>
                  <a:pt x="324" y="237"/>
                  <a:pt x="324" y="237"/>
                  <a:pt x="324" y="237"/>
                </a:cubicBezTo>
                <a:cubicBezTo>
                  <a:pt x="324" y="237"/>
                  <a:pt x="324" y="237"/>
                  <a:pt x="323" y="237"/>
                </a:cubicBezTo>
                <a:cubicBezTo>
                  <a:pt x="323" y="236"/>
                  <a:pt x="323" y="236"/>
                  <a:pt x="323" y="236"/>
                </a:cubicBezTo>
                <a:cubicBezTo>
                  <a:pt x="323" y="236"/>
                  <a:pt x="323" y="236"/>
                  <a:pt x="323" y="236"/>
                </a:cubicBezTo>
                <a:cubicBezTo>
                  <a:pt x="323" y="234"/>
                  <a:pt x="324" y="235"/>
                  <a:pt x="324" y="233"/>
                </a:cubicBezTo>
                <a:cubicBezTo>
                  <a:pt x="326" y="234"/>
                  <a:pt x="326" y="232"/>
                  <a:pt x="327" y="232"/>
                </a:cubicBezTo>
                <a:cubicBezTo>
                  <a:pt x="327" y="230"/>
                  <a:pt x="328" y="228"/>
                  <a:pt x="329" y="226"/>
                </a:cubicBezTo>
                <a:cubicBezTo>
                  <a:pt x="329" y="226"/>
                  <a:pt x="328" y="225"/>
                  <a:pt x="329" y="224"/>
                </a:cubicBezTo>
                <a:cubicBezTo>
                  <a:pt x="329" y="224"/>
                  <a:pt x="329" y="224"/>
                  <a:pt x="329" y="224"/>
                </a:cubicBezTo>
                <a:cubicBezTo>
                  <a:pt x="330" y="224"/>
                  <a:pt x="329" y="223"/>
                  <a:pt x="330" y="223"/>
                </a:cubicBezTo>
                <a:cubicBezTo>
                  <a:pt x="330" y="219"/>
                  <a:pt x="330" y="219"/>
                  <a:pt x="330" y="219"/>
                </a:cubicBezTo>
                <a:cubicBezTo>
                  <a:pt x="333" y="217"/>
                  <a:pt x="334" y="214"/>
                  <a:pt x="337" y="212"/>
                </a:cubicBezTo>
                <a:cubicBezTo>
                  <a:pt x="338" y="212"/>
                  <a:pt x="340" y="211"/>
                  <a:pt x="341" y="210"/>
                </a:cubicBezTo>
                <a:cubicBezTo>
                  <a:pt x="341" y="203"/>
                  <a:pt x="341" y="203"/>
                  <a:pt x="341" y="203"/>
                </a:cubicBezTo>
                <a:cubicBezTo>
                  <a:pt x="342" y="203"/>
                  <a:pt x="342" y="202"/>
                  <a:pt x="343" y="202"/>
                </a:cubicBezTo>
                <a:cubicBezTo>
                  <a:pt x="343" y="201"/>
                  <a:pt x="344" y="201"/>
                  <a:pt x="344" y="201"/>
                </a:cubicBezTo>
                <a:cubicBezTo>
                  <a:pt x="346" y="201"/>
                  <a:pt x="346" y="198"/>
                  <a:pt x="348" y="199"/>
                </a:cubicBezTo>
                <a:cubicBezTo>
                  <a:pt x="348" y="198"/>
                  <a:pt x="349" y="198"/>
                  <a:pt x="349" y="197"/>
                </a:cubicBezTo>
                <a:cubicBezTo>
                  <a:pt x="350" y="197"/>
                  <a:pt x="350" y="196"/>
                  <a:pt x="350" y="195"/>
                </a:cubicBezTo>
                <a:cubicBezTo>
                  <a:pt x="352" y="194"/>
                  <a:pt x="354" y="192"/>
                  <a:pt x="356" y="190"/>
                </a:cubicBezTo>
                <a:cubicBezTo>
                  <a:pt x="356" y="190"/>
                  <a:pt x="356" y="190"/>
                  <a:pt x="356" y="190"/>
                </a:cubicBezTo>
                <a:cubicBezTo>
                  <a:pt x="356" y="190"/>
                  <a:pt x="356" y="190"/>
                  <a:pt x="356" y="189"/>
                </a:cubicBezTo>
                <a:cubicBezTo>
                  <a:pt x="356" y="189"/>
                  <a:pt x="357" y="189"/>
                  <a:pt x="357" y="189"/>
                </a:cubicBezTo>
                <a:cubicBezTo>
                  <a:pt x="357" y="189"/>
                  <a:pt x="357" y="189"/>
                  <a:pt x="357" y="188"/>
                </a:cubicBezTo>
                <a:cubicBezTo>
                  <a:pt x="357" y="188"/>
                  <a:pt x="357" y="188"/>
                  <a:pt x="358" y="188"/>
                </a:cubicBezTo>
                <a:cubicBezTo>
                  <a:pt x="358" y="188"/>
                  <a:pt x="358" y="188"/>
                  <a:pt x="359" y="187"/>
                </a:cubicBezTo>
                <a:cubicBezTo>
                  <a:pt x="359" y="187"/>
                  <a:pt x="359" y="187"/>
                  <a:pt x="359" y="187"/>
                </a:cubicBezTo>
                <a:cubicBezTo>
                  <a:pt x="360" y="187"/>
                  <a:pt x="360" y="186"/>
                  <a:pt x="360" y="186"/>
                </a:cubicBezTo>
                <a:cubicBezTo>
                  <a:pt x="360" y="185"/>
                  <a:pt x="360" y="185"/>
                  <a:pt x="360" y="184"/>
                </a:cubicBezTo>
                <a:cubicBezTo>
                  <a:pt x="360" y="182"/>
                  <a:pt x="357" y="183"/>
                  <a:pt x="357" y="181"/>
                </a:cubicBezTo>
                <a:cubicBezTo>
                  <a:pt x="357" y="181"/>
                  <a:pt x="357" y="181"/>
                  <a:pt x="357" y="181"/>
                </a:cubicBezTo>
                <a:cubicBezTo>
                  <a:pt x="358" y="181"/>
                  <a:pt x="358" y="181"/>
                  <a:pt x="358" y="180"/>
                </a:cubicBezTo>
                <a:cubicBezTo>
                  <a:pt x="358" y="180"/>
                  <a:pt x="358" y="180"/>
                  <a:pt x="359" y="180"/>
                </a:cubicBezTo>
                <a:cubicBezTo>
                  <a:pt x="359" y="180"/>
                  <a:pt x="359" y="179"/>
                  <a:pt x="359" y="179"/>
                </a:cubicBezTo>
                <a:cubicBezTo>
                  <a:pt x="361" y="180"/>
                  <a:pt x="361" y="181"/>
                  <a:pt x="363" y="181"/>
                </a:cubicBezTo>
                <a:cubicBezTo>
                  <a:pt x="363" y="182"/>
                  <a:pt x="365" y="183"/>
                  <a:pt x="366" y="183"/>
                </a:cubicBezTo>
                <a:cubicBezTo>
                  <a:pt x="368" y="184"/>
                  <a:pt x="368" y="181"/>
                  <a:pt x="370" y="182"/>
                </a:cubicBezTo>
                <a:cubicBezTo>
                  <a:pt x="370" y="181"/>
                  <a:pt x="372" y="181"/>
                  <a:pt x="372" y="180"/>
                </a:cubicBezTo>
                <a:cubicBezTo>
                  <a:pt x="373" y="180"/>
                  <a:pt x="373" y="180"/>
                  <a:pt x="374" y="180"/>
                </a:cubicBezTo>
                <a:cubicBezTo>
                  <a:pt x="374" y="178"/>
                  <a:pt x="375" y="177"/>
                  <a:pt x="376" y="176"/>
                </a:cubicBezTo>
                <a:cubicBezTo>
                  <a:pt x="376" y="176"/>
                  <a:pt x="376" y="176"/>
                  <a:pt x="377" y="176"/>
                </a:cubicBezTo>
                <a:cubicBezTo>
                  <a:pt x="377" y="175"/>
                  <a:pt x="376" y="174"/>
                  <a:pt x="377" y="173"/>
                </a:cubicBezTo>
                <a:cubicBezTo>
                  <a:pt x="377" y="173"/>
                  <a:pt x="377" y="174"/>
                  <a:pt x="377" y="173"/>
                </a:cubicBezTo>
                <a:cubicBezTo>
                  <a:pt x="377" y="173"/>
                  <a:pt x="377" y="172"/>
                  <a:pt x="377" y="172"/>
                </a:cubicBezTo>
                <a:cubicBezTo>
                  <a:pt x="376" y="171"/>
                  <a:pt x="377" y="170"/>
                  <a:pt x="377" y="169"/>
                </a:cubicBezTo>
                <a:cubicBezTo>
                  <a:pt x="378" y="168"/>
                  <a:pt x="377" y="167"/>
                  <a:pt x="377" y="165"/>
                </a:cubicBezTo>
                <a:cubicBezTo>
                  <a:pt x="378" y="163"/>
                  <a:pt x="378" y="161"/>
                  <a:pt x="379" y="160"/>
                </a:cubicBezTo>
                <a:cubicBezTo>
                  <a:pt x="379" y="157"/>
                  <a:pt x="378" y="157"/>
                  <a:pt x="378" y="154"/>
                </a:cubicBezTo>
                <a:cubicBezTo>
                  <a:pt x="379" y="154"/>
                  <a:pt x="379" y="153"/>
                  <a:pt x="378" y="153"/>
                </a:cubicBezTo>
                <a:cubicBezTo>
                  <a:pt x="378" y="151"/>
                  <a:pt x="380" y="151"/>
                  <a:pt x="380" y="150"/>
                </a:cubicBezTo>
                <a:cubicBezTo>
                  <a:pt x="380" y="149"/>
                  <a:pt x="381" y="149"/>
                  <a:pt x="382" y="149"/>
                </a:cubicBezTo>
                <a:cubicBezTo>
                  <a:pt x="382" y="149"/>
                  <a:pt x="381" y="148"/>
                  <a:pt x="382" y="148"/>
                </a:cubicBezTo>
                <a:cubicBezTo>
                  <a:pt x="382" y="148"/>
                  <a:pt x="382" y="148"/>
                  <a:pt x="382" y="148"/>
                </a:cubicBezTo>
                <a:cubicBezTo>
                  <a:pt x="382" y="147"/>
                  <a:pt x="382" y="146"/>
                  <a:pt x="382" y="146"/>
                </a:cubicBezTo>
                <a:cubicBezTo>
                  <a:pt x="383" y="146"/>
                  <a:pt x="384" y="146"/>
                  <a:pt x="384" y="145"/>
                </a:cubicBezTo>
                <a:cubicBezTo>
                  <a:pt x="385" y="145"/>
                  <a:pt x="384" y="143"/>
                  <a:pt x="386" y="143"/>
                </a:cubicBezTo>
                <a:cubicBezTo>
                  <a:pt x="386" y="139"/>
                  <a:pt x="387" y="136"/>
                  <a:pt x="387" y="132"/>
                </a:cubicBezTo>
                <a:cubicBezTo>
                  <a:pt x="388" y="132"/>
                  <a:pt x="388" y="131"/>
                  <a:pt x="388" y="130"/>
                </a:cubicBezTo>
                <a:cubicBezTo>
                  <a:pt x="388" y="130"/>
                  <a:pt x="388" y="130"/>
                  <a:pt x="389" y="130"/>
                </a:cubicBezTo>
                <a:cubicBezTo>
                  <a:pt x="389" y="130"/>
                  <a:pt x="388" y="130"/>
                  <a:pt x="389" y="130"/>
                </a:cubicBezTo>
                <a:cubicBezTo>
                  <a:pt x="389" y="129"/>
                  <a:pt x="389" y="130"/>
                  <a:pt x="389" y="130"/>
                </a:cubicBezTo>
                <a:cubicBezTo>
                  <a:pt x="389" y="129"/>
                  <a:pt x="389" y="128"/>
                  <a:pt x="389" y="128"/>
                </a:cubicBezTo>
                <a:cubicBezTo>
                  <a:pt x="389" y="128"/>
                  <a:pt x="390" y="128"/>
                  <a:pt x="390" y="128"/>
                </a:cubicBezTo>
                <a:cubicBezTo>
                  <a:pt x="390" y="128"/>
                  <a:pt x="390" y="127"/>
                  <a:pt x="391" y="127"/>
                </a:cubicBezTo>
                <a:cubicBezTo>
                  <a:pt x="391" y="127"/>
                  <a:pt x="391" y="127"/>
                  <a:pt x="391" y="127"/>
                </a:cubicBezTo>
                <a:cubicBezTo>
                  <a:pt x="391" y="127"/>
                  <a:pt x="391" y="126"/>
                  <a:pt x="391" y="126"/>
                </a:cubicBezTo>
                <a:cubicBezTo>
                  <a:pt x="392" y="126"/>
                  <a:pt x="393" y="126"/>
                  <a:pt x="393" y="125"/>
                </a:cubicBezTo>
                <a:cubicBezTo>
                  <a:pt x="394" y="125"/>
                  <a:pt x="393" y="124"/>
                  <a:pt x="393" y="123"/>
                </a:cubicBezTo>
                <a:cubicBezTo>
                  <a:pt x="394" y="123"/>
                  <a:pt x="394" y="123"/>
                  <a:pt x="394" y="123"/>
                </a:cubicBezTo>
                <a:cubicBezTo>
                  <a:pt x="394" y="123"/>
                  <a:pt x="394" y="123"/>
                  <a:pt x="394" y="123"/>
                </a:cubicBezTo>
                <a:cubicBezTo>
                  <a:pt x="394" y="122"/>
                  <a:pt x="395" y="123"/>
                  <a:pt x="395" y="123"/>
                </a:cubicBezTo>
                <a:cubicBezTo>
                  <a:pt x="395" y="122"/>
                  <a:pt x="395" y="122"/>
                  <a:pt x="395" y="122"/>
                </a:cubicBezTo>
                <a:cubicBezTo>
                  <a:pt x="395" y="122"/>
                  <a:pt x="395" y="122"/>
                  <a:pt x="396" y="122"/>
                </a:cubicBezTo>
                <a:cubicBezTo>
                  <a:pt x="396" y="122"/>
                  <a:pt x="395" y="121"/>
                  <a:pt x="396" y="121"/>
                </a:cubicBezTo>
                <a:close/>
                <a:moveTo>
                  <a:pt x="70" y="172"/>
                </a:moveTo>
                <a:cubicBezTo>
                  <a:pt x="68" y="173"/>
                  <a:pt x="68" y="171"/>
                  <a:pt x="67" y="171"/>
                </a:cubicBezTo>
                <a:cubicBezTo>
                  <a:pt x="66" y="174"/>
                  <a:pt x="69" y="173"/>
                  <a:pt x="68" y="175"/>
                </a:cubicBezTo>
                <a:cubicBezTo>
                  <a:pt x="69" y="175"/>
                  <a:pt x="69" y="175"/>
                  <a:pt x="69" y="176"/>
                </a:cubicBezTo>
                <a:cubicBezTo>
                  <a:pt x="71" y="176"/>
                  <a:pt x="72" y="174"/>
                  <a:pt x="72" y="173"/>
                </a:cubicBezTo>
                <a:cubicBezTo>
                  <a:pt x="72" y="173"/>
                  <a:pt x="72" y="173"/>
                  <a:pt x="72" y="173"/>
                </a:cubicBezTo>
                <a:cubicBezTo>
                  <a:pt x="70" y="174"/>
                  <a:pt x="70" y="173"/>
                  <a:pt x="70" y="172"/>
                </a:cubicBezTo>
                <a:close/>
                <a:moveTo>
                  <a:pt x="73" y="160"/>
                </a:moveTo>
                <a:cubicBezTo>
                  <a:pt x="72" y="160"/>
                  <a:pt x="72" y="160"/>
                  <a:pt x="72" y="160"/>
                </a:cubicBezTo>
                <a:cubicBezTo>
                  <a:pt x="71" y="162"/>
                  <a:pt x="73" y="162"/>
                  <a:pt x="72" y="164"/>
                </a:cubicBezTo>
                <a:cubicBezTo>
                  <a:pt x="75" y="163"/>
                  <a:pt x="74" y="166"/>
                  <a:pt x="76" y="166"/>
                </a:cubicBezTo>
                <a:cubicBezTo>
                  <a:pt x="76" y="166"/>
                  <a:pt x="76" y="166"/>
                  <a:pt x="76" y="166"/>
                </a:cubicBezTo>
                <a:cubicBezTo>
                  <a:pt x="76" y="165"/>
                  <a:pt x="77" y="165"/>
                  <a:pt x="77" y="164"/>
                </a:cubicBezTo>
                <a:cubicBezTo>
                  <a:pt x="77" y="164"/>
                  <a:pt x="77" y="164"/>
                  <a:pt x="77" y="164"/>
                </a:cubicBezTo>
                <a:cubicBezTo>
                  <a:pt x="77" y="164"/>
                  <a:pt x="77" y="164"/>
                  <a:pt x="77" y="163"/>
                </a:cubicBezTo>
                <a:cubicBezTo>
                  <a:pt x="77" y="163"/>
                  <a:pt x="77" y="163"/>
                  <a:pt x="77" y="163"/>
                </a:cubicBezTo>
                <a:cubicBezTo>
                  <a:pt x="77" y="163"/>
                  <a:pt x="75" y="163"/>
                  <a:pt x="76" y="162"/>
                </a:cubicBezTo>
                <a:cubicBezTo>
                  <a:pt x="76" y="162"/>
                  <a:pt x="76" y="162"/>
                  <a:pt x="76" y="162"/>
                </a:cubicBezTo>
                <a:cubicBezTo>
                  <a:pt x="76" y="161"/>
                  <a:pt x="75" y="161"/>
                  <a:pt x="75" y="160"/>
                </a:cubicBezTo>
                <a:cubicBezTo>
                  <a:pt x="75" y="160"/>
                  <a:pt x="75" y="160"/>
                  <a:pt x="75" y="160"/>
                </a:cubicBezTo>
                <a:cubicBezTo>
                  <a:pt x="75" y="159"/>
                  <a:pt x="74" y="159"/>
                  <a:pt x="74" y="159"/>
                </a:cubicBezTo>
                <a:cubicBezTo>
                  <a:pt x="74" y="159"/>
                  <a:pt x="73" y="159"/>
                  <a:pt x="73" y="160"/>
                </a:cubicBezTo>
                <a:close/>
              </a:path>
            </a:pathLst>
          </a:custGeom>
          <a:solidFill>
            <a:schemeClr val="tx1">
              <a:alpha val="1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98" name="Freeform 127"/>
          <p:cNvSpPr>
            <a:spLocks noEditPoints="1"/>
          </p:cNvSpPr>
          <p:nvPr/>
        </p:nvSpPr>
        <p:spPr bwMode="auto">
          <a:xfrm>
            <a:off x="5723229" y="2018015"/>
            <a:ext cx="1031875" cy="2016125"/>
          </a:xfrm>
          <a:custGeom>
            <a:avLst/>
            <a:gdLst>
              <a:gd name="T0" fmla="*/ 93 w 267"/>
              <a:gd name="T1" fmla="*/ 96 h 521"/>
              <a:gd name="T2" fmla="*/ 118 w 267"/>
              <a:gd name="T3" fmla="*/ 78 h 521"/>
              <a:gd name="T4" fmla="*/ 194 w 267"/>
              <a:gd name="T5" fmla="*/ 82 h 521"/>
              <a:gd name="T6" fmla="*/ 80 w 267"/>
              <a:gd name="T7" fmla="*/ 218 h 521"/>
              <a:gd name="T8" fmla="*/ 113 w 267"/>
              <a:gd name="T9" fmla="*/ 133 h 521"/>
              <a:gd name="T10" fmla="*/ 95 w 267"/>
              <a:gd name="T11" fmla="*/ 120 h 521"/>
              <a:gd name="T12" fmla="*/ 109 w 267"/>
              <a:gd name="T13" fmla="*/ 142 h 521"/>
              <a:gd name="T14" fmla="*/ 202 w 267"/>
              <a:gd name="T15" fmla="*/ 73 h 521"/>
              <a:gd name="T16" fmla="*/ 79 w 267"/>
              <a:gd name="T17" fmla="*/ 198 h 521"/>
              <a:gd name="T18" fmla="*/ 260 w 267"/>
              <a:gd name="T19" fmla="*/ 5 h 521"/>
              <a:gd name="T20" fmla="*/ 88 w 267"/>
              <a:gd name="T21" fmla="*/ 154 h 521"/>
              <a:gd name="T22" fmla="*/ 255 w 267"/>
              <a:gd name="T23" fmla="*/ 22 h 521"/>
              <a:gd name="T24" fmla="*/ 232 w 267"/>
              <a:gd name="T25" fmla="*/ 28 h 521"/>
              <a:gd name="T26" fmla="*/ 204 w 267"/>
              <a:gd name="T27" fmla="*/ 60 h 521"/>
              <a:gd name="T28" fmla="*/ 212 w 267"/>
              <a:gd name="T29" fmla="*/ 63 h 521"/>
              <a:gd name="T30" fmla="*/ 72 w 267"/>
              <a:gd name="T31" fmla="*/ 132 h 521"/>
              <a:gd name="T32" fmla="*/ 67 w 267"/>
              <a:gd name="T33" fmla="*/ 133 h 521"/>
              <a:gd name="T34" fmla="*/ 75 w 267"/>
              <a:gd name="T35" fmla="*/ 106 h 521"/>
              <a:gd name="T36" fmla="*/ 86 w 267"/>
              <a:gd name="T37" fmla="*/ 104 h 521"/>
              <a:gd name="T38" fmla="*/ 88 w 267"/>
              <a:gd name="T39" fmla="*/ 99 h 521"/>
              <a:gd name="T40" fmla="*/ 97 w 267"/>
              <a:gd name="T41" fmla="*/ 158 h 521"/>
              <a:gd name="T42" fmla="*/ 96 w 267"/>
              <a:gd name="T43" fmla="*/ 191 h 521"/>
              <a:gd name="T44" fmla="*/ 107 w 267"/>
              <a:gd name="T45" fmla="*/ 127 h 521"/>
              <a:gd name="T46" fmla="*/ 256 w 267"/>
              <a:gd name="T47" fmla="*/ 373 h 521"/>
              <a:gd name="T48" fmla="*/ 220 w 267"/>
              <a:gd name="T49" fmla="*/ 365 h 521"/>
              <a:gd name="T50" fmla="*/ 217 w 267"/>
              <a:gd name="T51" fmla="*/ 329 h 521"/>
              <a:gd name="T52" fmla="*/ 222 w 267"/>
              <a:gd name="T53" fmla="*/ 309 h 521"/>
              <a:gd name="T54" fmla="*/ 200 w 267"/>
              <a:gd name="T55" fmla="*/ 263 h 521"/>
              <a:gd name="T56" fmla="*/ 178 w 267"/>
              <a:gd name="T57" fmla="*/ 209 h 521"/>
              <a:gd name="T58" fmla="*/ 180 w 267"/>
              <a:gd name="T59" fmla="*/ 197 h 521"/>
              <a:gd name="T60" fmla="*/ 198 w 267"/>
              <a:gd name="T61" fmla="*/ 169 h 521"/>
              <a:gd name="T62" fmla="*/ 190 w 267"/>
              <a:gd name="T63" fmla="*/ 132 h 521"/>
              <a:gd name="T64" fmla="*/ 162 w 267"/>
              <a:gd name="T65" fmla="*/ 126 h 521"/>
              <a:gd name="T66" fmla="*/ 192 w 267"/>
              <a:gd name="T67" fmla="*/ 97 h 521"/>
              <a:gd name="T68" fmla="*/ 151 w 267"/>
              <a:gd name="T69" fmla="*/ 80 h 521"/>
              <a:gd name="T70" fmla="*/ 131 w 267"/>
              <a:gd name="T71" fmla="*/ 112 h 521"/>
              <a:gd name="T72" fmla="*/ 114 w 267"/>
              <a:gd name="T73" fmla="*/ 129 h 521"/>
              <a:gd name="T74" fmla="*/ 105 w 267"/>
              <a:gd name="T75" fmla="*/ 149 h 521"/>
              <a:gd name="T76" fmla="*/ 108 w 267"/>
              <a:gd name="T77" fmla="*/ 175 h 521"/>
              <a:gd name="T78" fmla="*/ 94 w 267"/>
              <a:gd name="T79" fmla="*/ 212 h 521"/>
              <a:gd name="T80" fmla="*/ 110 w 267"/>
              <a:gd name="T81" fmla="*/ 190 h 521"/>
              <a:gd name="T82" fmla="*/ 124 w 267"/>
              <a:gd name="T83" fmla="*/ 198 h 521"/>
              <a:gd name="T84" fmla="*/ 103 w 267"/>
              <a:gd name="T85" fmla="*/ 238 h 521"/>
              <a:gd name="T86" fmla="*/ 127 w 267"/>
              <a:gd name="T87" fmla="*/ 255 h 521"/>
              <a:gd name="T88" fmla="*/ 138 w 267"/>
              <a:gd name="T89" fmla="*/ 275 h 521"/>
              <a:gd name="T90" fmla="*/ 146 w 267"/>
              <a:gd name="T91" fmla="*/ 311 h 521"/>
              <a:gd name="T92" fmla="*/ 111 w 267"/>
              <a:gd name="T93" fmla="*/ 324 h 521"/>
              <a:gd name="T94" fmla="*/ 100 w 267"/>
              <a:gd name="T95" fmla="*/ 359 h 521"/>
              <a:gd name="T96" fmla="*/ 65 w 267"/>
              <a:gd name="T97" fmla="*/ 388 h 521"/>
              <a:gd name="T98" fmla="*/ 100 w 267"/>
              <a:gd name="T99" fmla="*/ 403 h 521"/>
              <a:gd name="T100" fmla="*/ 104 w 267"/>
              <a:gd name="T101" fmla="*/ 418 h 521"/>
              <a:gd name="T102" fmla="*/ 48 w 267"/>
              <a:gd name="T103" fmla="*/ 446 h 521"/>
              <a:gd name="T104" fmla="*/ 70 w 267"/>
              <a:gd name="T105" fmla="*/ 454 h 521"/>
              <a:gd name="T106" fmla="*/ 100 w 267"/>
              <a:gd name="T107" fmla="*/ 444 h 521"/>
              <a:gd name="T108" fmla="*/ 166 w 267"/>
              <a:gd name="T109" fmla="*/ 452 h 521"/>
              <a:gd name="T110" fmla="*/ 203 w 267"/>
              <a:gd name="T111" fmla="*/ 462 h 521"/>
              <a:gd name="T112" fmla="*/ 227 w 267"/>
              <a:gd name="T113" fmla="*/ 434 h 521"/>
              <a:gd name="T114" fmla="*/ 234 w 267"/>
              <a:gd name="T115" fmla="*/ 417 h 521"/>
              <a:gd name="T116" fmla="*/ 254 w 267"/>
              <a:gd name="T117" fmla="*/ 400 h 521"/>
              <a:gd name="T118" fmla="*/ 111 w 267"/>
              <a:gd name="T119" fmla="*/ 280 h 521"/>
              <a:gd name="T120" fmla="*/ 3 w 267"/>
              <a:gd name="T121" fmla="*/ 461 h 521"/>
              <a:gd name="T122" fmla="*/ 161 w 267"/>
              <a:gd name="T123" fmla="*/ 461 h 521"/>
              <a:gd name="T124" fmla="*/ 120 w 267"/>
              <a:gd name="T125" fmla="*/ 516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7" h="521">
                <a:moveTo>
                  <a:pt x="98" y="324"/>
                </a:moveTo>
                <a:cubicBezTo>
                  <a:pt x="99" y="324"/>
                  <a:pt x="99" y="325"/>
                  <a:pt x="100" y="325"/>
                </a:cubicBezTo>
                <a:cubicBezTo>
                  <a:pt x="101" y="325"/>
                  <a:pt x="101" y="325"/>
                  <a:pt x="101" y="326"/>
                </a:cubicBezTo>
                <a:cubicBezTo>
                  <a:pt x="101" y="326"/>
                  <a:pt x="102" y="326"/>
                  <a:pt x="102" y="326"/>
                </a:cubicBezTo>
                <a:cubicBezTo>
                  <a:pt x="103" y="326"/>
                  <a:pt x="105" y="326"/>
                  <a:pt x="105" y="324"/>
                </a:cubicBezTo>
                <a:cubicBezTo>
                  <a:pt x="106" y="324"/>
                  <a:pt x="106" y="323"/>
                  <a:pt x="107" y="324"/>
                </a:cubicBezTo>
                <a:cubicBezTo>
                  <a:pt x="107" y="323"/>
                  <a:pt x="108" y="323"/>
                  <a:pt x="109" y="322"/>
                </a:cubicBezTo>
                <a:cubicBezTo>
                  <a:pt x="108" y="322"/>
                  <a:pt x="108" y="322"/>
                  <a:pt x="108" y="322"/>
                </a:cubicBezTo>
                <a:cubicBezTo>
                  <a:pt x="107" y="321"/>
                  <a:pt x="107" y="321"/>
                  <a:pt x="107" y="321"/>
                </a:cubicBezTo>
                <a:cubicBezTo>
                  <a:pt x="107" y="319"/>
                  <a:pt x="105" y="319"/>
                  <a:pt x="105" y="318"/>
                </a:cubicBezTo>
                <a:cubicBezTo>
                  <a:pt x="106" y="316"/>
                  <a:pt x="104" y="316"/>
                  <a:pt x="104" y="315"/>
                </a:cubicBezTo>
                <a:cubicBezTo>
                  <a:pt x="103" y="315"/>
                  <a:pt x="101" y="315"/>
                  <a:pt x="100" y="315"/>
                </a:cubicBezTo>
                <a:cubicBezTo>
                  <a:pt x="100" y="315"/>
                  <a:pt x="99" y="316"/>
                  <a:pt x="98" y="316"/>
                </a:cubicBezTo>
                <a:cubicBezTo>
                  <a:pt x="98" y="316"/>
                  <a:pt x="98" y="317"/>
                  <a:pt x="98" y="317"/>
                </a:cubicBezTo>
                <a:cubicBezTo>
                  <a:pt x="98" y="319"/>
                  <a:pt x="99" y="322"/>
                  <a:pt x="98" y="324"/>
                </a:cubicBezTo>
                <a:close/>
                <a:moveTo>
                  <a:pt x="192" y="83"/>
                </a:moveTo>
                <a:cubicBezTo>
                  <a:pt x="192" y="83"/>
                  <a:pt x="192" y="83"/>
                  <a:pt x="193" y="83"/>
                </a:cubicBezTo>
                <a:cubicBezTo>
                  <a:pt x="193" y="83"/>
                  <a:pt x="193" y="82"/>
                  <a:pt x="193" y="82"/>
                </a:cubicBezTo>
                <a:cubicBezTo>
                  <a:pt x="192" y="82"/>
                  <a:pt x="192" y="82"/>
                  <a:pt x="192" y="82"/>
                </a:cubicBezTo>
                <a:cubicBezTo>
                  <a:pt x="192" y="82"/>
                  <a:pt x="192" y="83"/>
                  <a:pt x="192" y="83"/>
                </a:cubicBezTo>
                <a:close/>
                <a:moveTo>
                  <a:pt x="101" y="85"/>
                </a:moveTo>
                <a:cubicBezTo>
                  <a:pt x="101" y="84"/>
                  <a:pt x="101" y="82"/>
                  <a:pt x="99" y="83"/>
                </a:cubicBezTo>
                <a:cubicBezTo>
                  <a:pt x="99" y="84"/>
                  <a:pt x="99" y="86"/>
                  <a:pt x="101" y="85"/>
                </a:cubicBezTo>
                <a:close/>
                <a:moveTo>
                  <a:pt x="93" y="96"/>
                </a:moveTo>
                <a:cubicBezTo>
                  <a:pt x="94" y="97"/>
                  <a:pt x="96" y="97"/>
                  <a:pt x="96" y="99"/>
                </a:cubicBezTo>
                <a:cubicBezTo>
                  <a:pt x="95" y="99"/>
                  <a:pt x="94" y="98"/>
                  <a:pt x="93" y="98"/>
                </a:cubicBezTo>
                <a:cubicBezTo>
                  <a:pt x="94" y="100"/>
                  <a:pt x="91" y="100"/>
                  <a:pt x="90" y="101"/>
                </a:cubicBezTo>
                <a:cubicBezTo>
                  <a:pt x="90" y="102"/>
                  <a:pt x="90" y="103"/>
                  <a:pt x="90" y="105"/>
                </a:cubicBezTo>
                <a:cubicBezTo>
                  <a:pt x="93" y="106"/>
                  <a:pt x="93" y="103"/>
                  <a:pt x="96" y="103"/>
                </a:cubicBezTo>
                <a:cubicBezTo>
                  <a:pt x="96" y="103"/>
                  <a:pt x="96" y="103"/>
                  <a:pt x="97" y="103"/>
                </a:cubicBezTo>
                <a:cubicBezTo>
                  <a:pt x="97" y="102"/>
                  <a:pt x="97" y="101"/>
                  <a:pt x="97" y="100"/>
                </a:cubicBezTo>
                <a:cubicBezTo>
                  <a:pt x="99" y="100"/>
                  <a:pt x="99" y="98"/>
                  <a:pt x="100" y="97"/>
                </a:cubicBezTo>
                <a:cubicBezTo>
                  <a:pt x="100" y="98"/>
                  <a:pt x="100" y="100"/>
                  <a:pt x="101" y="100"/>
                </a:cubicBezTo>
                <a:cubicBezTo>
                  <a:pt x="101" y="98"/>
                  <a:pt x="103" y="101"/>
                  <a:pt x="104" y="100"/>
                </a:cubicBezTo>
                <a:cubicBezTo>
                  <a:pt x="104" y="99"/>
                  <a:pt x="105" y="99"/>
                  <a:pt x="105" y="99"/>
                </a:cubicBezTo>
                <a:cubicBezTo>
                  <a:pt x="106" y="99"/>
                  <a:pt x="106" y="99"/>
                  <a:pt x="107" y="99"/>
                </a:cubicBezTo>
                <a:cubicBezTo>
                  <a:pt x="107" y="97"/>
                  <a:pt x="103" y="97"/>
                  <a:pt x="105" y="96"/>
                </a:cubicBezTo>
                <a:cubicBezTo>
                  <a:pt x="106" y="96"/>
                  <a:pt x="107" y="97"/>
                  <a:pt x="109" y="96"/>
                </a:cubicBezTo>
                <a:cubicBezTo>
                  <a:pt x="109" y="96"/>
                  <a:pt x="109" y="95"/>
                  <a:pt x="109" y="95"/>
                </a:cubicBezTo>
                <a:cubicBezTo>
                  <a:pt x="110" y="93"/>
                  <a:pt x="107" y="93"/>
                  <a:pt x="107" y="92"/>
                </a:cubicBezTo>
                <a:cubicBezTo>
                  <a:pt x="107" y="91"/>
                  <a:pt x="108" y="91"/>
                  <a:pt x="109" y="91"/>
                </a:cubicBezTo>
                <a:cubicBezTo>
                  <a:pt x="109" y="92"/>
                  <a:pt x="109" y="91"/>
                  <a:pt x="110" y="91"/>
                </a:cubicBezTo>
                <a:cubicBezTo>
                  <a:pt x="111" y="90"/>
                  <a:pt x="111" y="88"/>
                  <a:pt x="111" y="87"/>
                </a:cubicBezTo>
                <a:cubicBezTo>
                  <a:pt x="114" y="86"/>
                  <a:pt x="116" y="85"/>
                  <a:pt x="118" y="84"/>
                </a:cubicBezTo>
                <a:cubicBezTo>
                  <a:pt x="118" y="83"/>
                  <a:pt x="118" y="83"/>
                  <a:pt x="118" y="83"/>
                </a:cubicBezTo>
                <a:cubicBezTo>
                  <a:pt x="118" y="82"/>
                  <a:pt x="118" y="82"/>
                  <a:pt x="118" y="82"/>
                </a:cubicBezTo>
                <a:cubicBezTo>
                  <a:pt x="118" y="80"/>
                  <a:pt x="119" y="80"/>
                  <a:pt x="119" y="78"/>
                </a:cubicBezTo>
                <a:cubicBezTo>
                  <a:pt x="119" y="78"/>
                  <a:pt x="118" y="78"/>
                  <a:pt x="118" y="78"/>
                </a:cubicBezTo>
                <a:cubicBezTo>
                  <a:pt x="118" y="78"/>
                  <a:pt x="118" y="77"/>
                  <a:pt x="118" y="77"/>
                </a:cubicBezTo>
                <a:cubicBezTo>
                  <a:pt x="117" y="76"/>
                  <a:pt x="117" y="77"/>
                  <a:pt x="116" y="77"/>
                </a:cubicBezTo>
                <a:cubicBezTo>
                  <a:pt x="115" y="77"/>
                  <a:pt x="114" y="77"/>
                  <a:pt x="113" y="77"/>
                </a:cubicBezTo>
                <a:cubicBezTo>
                  <a:pt x="113" y="78"/>
                  <a:pt x="112" y="77"/>
                  <a:pt x="111" y="78"/>
                </a:cubicBezTo>
                <a:cubicBezTo>
                  <a:pt x="111" y="78"/>
                  <a:pt x="112" y="78"/>
                  <a:pt x="111" y="78"/>
                </a:cubicBezTo>
                <a:cubicBezTo>
                  <a:pt x="111" y="79"/>
                  <a:pt x="110" y="78"/>
                  <a:pt x="110" y="78"/>
                </a:cubicBezTo>
                <a:cubicBezTo>
                  <a:pt x="110" y="78"/>
                  <a:pt x="110" y="79"/>
                  <a:pt x="110" y="79"/>
                </a:cubicBezTo>
                <a:cubicBezTo>
                  <a:pt x="109" y="80"/>
                  <a:pt x="108" y="80"/>
                  <a:pt x="107" y="80"/>
                </a:cubicBezTo>
                <a:cubicBezTo>
                  <a:pt x="105" y="80"/>
                  <a:pt x="105" y="82"/>
                  <a:pt x="102" y="82"/>
                </a:cubicBezTo>
                <a:cubicBezTo>
                  <a:pt x="102" y="83"/>
                  <a:pt x="101" y="84"/>
                  <a:pt x="102" y="86"/>
                </a:cubicBezTo>
                <a:cubicBezTo>
                  <a:pt x="101" y="86"/>
                  <a:pt x="100" y="86"/>
                  <a:pt x="99" y="86"/>
                </a:cubicBezTo>
                <a:cubicBezTo>
                  <a:pt x="99" y="87"/>
                  <a:pt x="99" y="89"/>
                  <a:pt x="98" y="89"/>
                </a:cubicBezTo>
                <a:cubicBezTo>
                  <a:pt x="98" y="87"/>
                  <a:pt x="99" y="84"/>
                  <a:pt x="97" y="83"/>
                </a:cubicBezTo>
                <a:cubicBezTo>
                  <a:pt x="97" y="83"/>
                  <a:pt x="96" y="83"/>
                  <a:pt x="95" y="83"/>
                </a:cubicBezTo>
                <a:cubicBezTo>
                  <a:pt x="94" y="83"/>
                  <a:pt x="94" y="85"/>
                  <a:pt x="93" y="85"/>
                </a:cubicBezTo>
                <a:cubicBezTo>
                  <a:pt x="93" y="87"/>
                  <a:pt x="92" y="87"/>
                  <a:pt x="92" y="89"/>
                </a:cubicBezTo>
                <a:cubicBezTo>
                  <a:pt x="92" y="89"/>
                  <a:pt x="92" y="89"/>
                  <a:pt x="92" y="90"/>
                </a:cubicBezTo>
                <a:cubicBezTo>
                  <a:pt x="92" y="90"/>
                  <a:pt x="93" y="90"/>
                  <a:pt x="93" y="90"/>
                </a:cubicBezTo>
                <a:cubicBezTo>
                  <a:pt x="93" y="90"/>
                  <a:pt x="93" y="90"/>
                  <a:pt x="93" y="91"/>
                </a:cubicBezTo>
                <a:cubicBezTo>
                  <a:pt x="93" y="91"/>
                  <a:pt x="93" y="92"/>
                  <a:pt x="93" y="92"/>
                </a:cubicBezTo>
                <a:cubicBezTo>
                  <a:pt x="93" y="92"/>
                  <a:pt x="92" y="92"/>
                  <a:pt x="91" y="92"/>
                </a:cubicBezTo>
                <a:cubicBezTo>
                  <a:pt x="91" y="93"/>
                  <a:pt x="91" y="93"/>
                  <a:pt x="91" y="94"/>
                </a:cubicBezTo>
                <a:cubicBezTo>
                  <a:pt x="91" y="95"/>
                  <a:pt x="93" y="95"/>
                  <a:pt x="93" y="96"/>
                </a:cubicBezTo>
                <a:close/>
                <a:moveTo>
                  <a:pt x="194" y="82"/>
                </a:moveTo>
                <a:cubicBezTo>
                  <a:pt x="195" y="81"/>
                  <a:pt x="195" y="81"/>
                  <a:pt x="195" y="79"/>
                </a:cubicBezTo>
                <a:cubicBezTo>
                  <a:pt x="193" y="79"/>
                  <a:pt x="192" y="82"/>
                  <a:pt x="194" y="82"/>
                </a:cubicBezTo>
                <a:close/>
                <a:moveTo>
                  <a:pt x="200" y="80"/>
                </a:moveTo>
                <a:cubicBezTo>
                  <a:pt x="199" y="80"/>
                  <a:pt x="198" y="79"/>
                  <a:pt x="198" y="80"/>
                </a:cubicBezTo>
                <a:cubicBezTo>
                  <a:pt x="197" y="80"/>
                  <a:pt x="197" y="81"/>
                  <a:pt x="197" y="81"/>
                </a:cubicBezTo>
                <a:cubicBezTo>
                  <a:pt x="197" y="81"/>
                  <a:pt x="196" y="81"/>
                  <a:pt x="196" y="82"/>
                </a:cubicBezTo>
                <a:cubicBezTo>
                  <a:pt x="198" y="82"/>
                  <a:pt x="195" y="86"/>
                  <a:pt x="197" y="85"/>
                </a:cubicBezTo>
                <a:cubicBezTo>
                  <a:pt x="197" y="85"/>
                  <a:pt x="198" y="85"/>
                  <a:pt x="199" y="85"/>
                </a:cubicBezTo>
                <a:cubicBezTo>
                  <a:pt x="199" y="82"/>
                  <a:pt x="199" y="83"/>
                  <a:pt x="199" y="81"/>
                </a:cubicBezTo>
                <a:cubicBezTo>
                  <a:pt x="199" y="81"/>
                  <a:pt x="200" y="81"/>
                  <a:pt x="200" y="80"/>
                </a:cubicBezTo>
                <a:close/>
                <a:moveTo>
                  <a:pt x="242" y="21"/>
                </a:moveTo>
                <a:cubicBezTo>
                  <a:pt x="243" y="19"/>
                  <a:pt x="241" y="18"/>
                  <a:pt x="240" y="18"/>
                </a:cubicBezTo>
                <a:cubicBezTo>
                  <a:pt x="239" y="21"/>
                  <a:pt x="241" y="21"/>
                  <a:pt x="242" y="21"/>
                </a:cubicBezTo>
                <a:close/>
                <a:moveTo>
                  <a:pt x="91" y="92"/>
                </a:moveTo>
                <a:cubicBezTo>
                  <a:pt x="91" y="92"/>
                  <a:pt x="91" y="91"/>
                  <a:pt x="91" y="90"/>
                </a:cubicBezTo>
                <a:cubicBezTo>
                  <a:pt x="91" y="90"/>
                  <a:pt x="90" y="90"/>
                  <a:pt x="90" y="90"/>
                </a:cubicBezTo>
                <a:cubicBezTo>
                  <a:pt x="90" y="91"/>
                  <a:pt x="89" y="91"/>
                  <a:pt x="89" y="92"/>
                </a:cubicBezTo>
                <a:cubicBezTo>
                  <a:pt x="90" y="91"/>
                  <a:pt x="90" y="92"/>
                  <a:pt x="91" y="92"/>
                </a:cubicBezTo>
                <a:close/>
                <a:moveTo>
                  <a:pt x="80" y="218"/>
                </a:moveTo>
                <a:cubicBezTo>
                  <a:pt x="79" y="218"/>
                  <a:pt x="78" y="218"/>
                  <a:pt x="76" y="218"/>
                </a:cubicBezTo>
                <a:cubicBezTo>
                  <a:pt x="76" y="217"/>
                  <a:pt x="76" y="217"/>
                  <a:pt x="75" y="217"/>
                </a:cubicBezTo>
                <a:cubicBezTo>
                  <a:pt x="76" y="219"/>
                  <a:pt x="77" y="220"/>
                  <a:pt x="79" y="220"/>
                </a:cubicBezTo>
                <a:cubicBezTo>
                  <a:pt x="79" y="220"/>
                  <a:pt x="78" y="219"/>
                  <a:pt x="79" y="219"/>
                </a:cubicBezTo>
                <a:cubicBezTo>
                  <a:pt x="79" y="219"/>
                  <a:pt x="80" y="219"/>
                  <a:pt x="80" y="218"/>
                </a:cubicBezTo>
                <a:close/>
                <a:moveTo>
                  <a:pt x="93" y="136"/>
                </a:moveTo>
                <a:cubicBezTo>
                  <a:pt x="93" y="138"/>
                  <a:pt x="89" y="136"/>
                  <a:pt x="90" y="138"/>
                </a:cubicBezTo>
                <a:cubicBezTo>
                  <a:pt x="91" y="138"/>
                  <a:pt x="95" y="137"/>
                  <a:pt x="93" y="136"/>
                </a:cubicBezTo>
                <a:close/>
                <a:moveTo>
                  <a:pt x="92" y="142"/>
                </a:moveTo>
                <a:cubicBezTo>
                  <a:pt x="94" y="142"/>
                  <a:pt x="95" y="142"/>
                  <a:pt x="95" y="143"/>
                </a:cubicBezTo>
                <a:cubicBezTo>
                  <a:pt x="95" y="144"/>
                  <a:pt x="95" y="144"/>
                  <a:pt x="95" y="145"/>
                </a:cubicBezTo>
                <a:cubicBezTo>
                  <a:pt x="96" y="145"/>
                  <a:pt x="95" y="146"/>
                  <a:pt x="96" y="146"/>
                </a:cubicBezTo>
                <a:cubicBezTo>
                  <a:pt x="96" y="144"/>
                  <a:pt x="99" y="145"/>
                  <a:pt x="99" y="142"/>
                </a:cubicBezTo>
                <a:cubicBezTo>
                  <a:pt x="99" y="140"/>
                  <a:pt x="97" y="139"/>
                  <a:pt x="95" y="139"/>
                </a:cubicBezTo>
                <a:cubicBezTo>
                  <a:pt x="95" y="141"/>
                  <a:pt x="92" y="140"/>
                  <a:pt x="92" y="142"/>
                </a:cubicBezTo>
                <a:close/>
                <a:moveTo>
                  <a:pt x="75" y="161"/>
                </a:moveTo>
                <a:cubicBezTo>
                  <a:pt x="75" y="160"/>
                  <a:pt x="76" y="162"/>
                  <a:pt x="77" y="162"/>
                </a:cubicBezTo>
                <a:cubicBezTo>
                  <a:pt x="77" y="162"/>
                  <a:pt x="77" y="161"/>
                  <a:pt x="77" y="161"/>
                </a:cubicBezTo>
                <a:cubicBezTo>
                  <a:pt x="79" y="161"/>
                  <a:pt x="81" y="162"/>
                  <a:pt x="81" y="161"/>
                </a:cubicBezTo>
                <a:cubicBezTo>
                  <a:pt x="81" y="160"/>
                  <a:pt x="81" y="159"/>
                  <a:pt x="81" y="158"/>
                </a:cubicBezTo>
                <a:cubicBezTo>
                  <a:pt x="77" y="159"/>
                  <a:pt x="75" y="157"/>
                  <a:pt x="75" y="161"/>
                </a:cubicBezTo>
                <a:close/>
                <a:moveTo>
                  <a:pt x="102" y="146"/>
                </a:moveTo>
                <a:cubicBezTo>
                  <a:pt x="100" y="146"/>
                  <a:pt x="100" y="146"/>
                  <a:pt x="99" y="147"/>
                </a:cubicBezTo>
                <a:cubicBezTo>
                  <a:pt x="99" y="148"/>
                  <a:pt x="97" y="147"/>
                  <a:pt x="97" y="148"/>
                </a:cubicBezTo>
                <a:cubicBezTo>
                  <a:pt x="97" y="148"/>
                  <a:pt x="98" y="148"/>
                  <a:pt x="97" y="149"/>
                </a:cubicBezTo>
                <a:cubicBezTo>
                  <a:pt x="98" y="149"/>
                  <a:pt x="98" y="149"/>
                  <a:pt x="98" y="149"/>
                </a:cubicBezTo>
                <a:cubicBezTo>
                  <a:pt x="99" y="149"/>
                  <a:pt x="100" y="149"/>
                  <a:pt x="101" y="149"/>
                </a:cubicBezTo>
                <a:cubicBezTo>
                  <a:pt x="100" y="147"/>
                  <a:pt x="102" y="148"/>
                  <a:pt x="102" y="146"/>
                </a:cubicBezTo>
                <a:close/>
                <a:moveTo>
                  <a:pt x="113" y="133"/>
                </a:moveTo>
                <a:cubicBezTo>
                  <a:pt x="112" y="133"/>
                  <a:pt x="111" y="134"/>
                  <a:pt x="110" y="133"/>
                </a:cubicBezTo>
                <a:cubicBezTo>
                  <a:pt x="110" y="132"/>
                  <a:pt x="109" y="132"/>
                  <a:pt x="109" y="130"/>
                </a:cubicBezTo>
                <a:cubicBezTo>
                  <a:pt x="107" y="129"/>
                  <a:pt x="109" y="132"/>
                  <a:pt x="107" y="132"/>
                </a:cubicBezTo>
                <a:cubicBezTo>
                  <a:pt x="108" y="130"/>
                  <a:pt x="105" y="131"/>
                  <a:pt x="105" y="129"/>
                </a:cubicBezTo>
                <a:cubicBezTo>
                  <a:pt x="105" y="128"/>
                  <a:pt x="105" y="127"/>
                  <a:pt x="105" y="126"/>
                </a:cubicBezTo>
                <a:cubicBezTo>
                  <a:pt x="106" y="125"/>
                  <a:pt x="106" y="124"/>
                  <a:pt x="107" y="124"/>
                </a:cubicBezTo>
                <a:cubicBezTo>
                  <a:pt x="107" y="124"/>
                  <a:pt x="107" y="124"/>
                  <a:pt x="107" y="124"/>
                </a:cubicBezTo>
                <a:cubicBezTo>
                  <a:pt x="107" y="123"/>
                  <a:pt x="107" y="122"/>
                  <a:pt x="107" y="122"/>
                </a:cubicBezTo>
                <a:cubicBezTo>
                  <a:pt x="107" y="122"/>
                  <a:pt x="108" y="122"/>
                  <a:pt x="108" y="122"/>
                </a:cubicBezTo>
                <a:cubicBezTo>
                  <a:pt x="108" y="122"/>
                  <a:pt x="108" y="121"/>
                  <a:pt x="108" y="121"/>
                </a:cubicBezTo>
                <a:cubicBezTo>
                  <a:pt x="108" y="120"/>
                  <a:pt x="108" y="120"/>
                  <a:pt x="109" y="120"/>
                </a:cubicBezTo>
                <a:cubicBezTo>
                  <a:pt x="109" y="116"/>
                  <a:pt x="107" y="115"/>
                  <a:pt x="107" y="112"/>
                </a:cubicBezTo>
                <a:cubicBezTo>
                  <a:pt x="105" y="112"/>
                  <a:pt x="106" y="110"/>
                  <a:pt x="104" y="110"/>
                </a:cubicBezTo>
                <a:cubicBezTo>
                  <a:pt x="104" y="111"/>
                  <a:pt x="103" y="112"/>
                  <a:pt x="102" y="112"/>
                </a:cubicBezTo>
                <a:cubicBezTo>
                  <a:pt x="102" y="114"/>
                  <a:pt x="101" y="116"/>
                  <a:pt x="102" y="118"/>
                </a:cubicBezTo>
                <a:cubicBezTo>
                  <a:pt x="102" y="119"/>
                  <a:pt x="104" y="121"/>
                  <a:pt x="102" y="121"/>
                </a:cubicBezTo>
                <a:cubicBezTo>
                  <a:pt x="101" y="121"/>
                  <a:pt x="102" y="119"/>
                  <a:pt x="100" y="119"/>
                </a:cubicBezTo>
                <a:cubicBezTo>
                  <a:pt x="100" y="118"/>
                  <a:pt x="99" y="118"/>
                  <a:pt x="99" y="117"/>
                </a:cubicBezTo>
                <a:cubicBezTo>
                  <a:pt x="99" y="116"/>
                  <a:pt x="99" y="116"/>
                  <a:pt x="99" y="116"/>
                </a:cubicBezTo>
                <a:cubicBezTo>
                  <a:pt x="98" y="116"/>
                  <a:pt x="98" y="116"/>
                  <a:pt x="98" y="115"/>
                </a:cubicBezTo>
                <a:cubicBezTo>
                  <a:pt x="99" y="113"/>
                  <a:pt x="98" y="112"/>
                  <a:pt x="95" y="113"/>
                </a:cubicBezTo>
                <a:cubicBezTo>
                  <a:pt x="95" y="113"/>
                  <a:pt x="95" y="114"/>
                  <a:pt x="95" y="115"/>
                </a:cubicBezTo>
                <a:cubicBezTo>
                  <a:pt x="95" y="115"/>
                  <a:pt x="95" y="115"/>
                  <a:pt x="95" y="116"/>
                </a:cubicBezTo>
                <a:cubicBezTo>
                  <a:pt x="95" y="117"/>
                  <a:pt x="96" y="120"/>
                  <a:pt x="95" y="120"/>
                </a:cubicBezTo>
                <a:cubicBezTo>
                  <a:pt x="95" y="119"/>
                  <a:pt x="95" y="117"/>
                  <a:pt x="94" y="117"/>
                </a:cubicBezTo>
                <a:cubicBezTo>
                  <a:pt x="92" y="117"/>
                  <a:pt x="92" y="117"/>
                  <a:pt x="92" y="119"/>
                </a:cubicBezTo>
                <a:cubicBezTo>
                  <a:pt x="91" y="119"/>
                  <a:pt x="90" y="120"/>
                  <a:pt x="91" y="122"/>
                </a:cubicBezTo>
                <a:cubicBezTo>
                  <a:pt x="91" y="122"/>
                  <a:pt x="92" y="122"/>
                  <a:pt x="92" y="123"/>
                </a:cubicBezTo>
                <a:cubicBezTo>
                  <a:pt x="93" y="123"/>
                  <a:pt x="93" y="124"/>
                  <a:pt x="93" y="125"/>
                </a:cubicBezTo>
                <a:cubicBezTo>
                  <a:pt x="95" y="125"/>
                  <a:pt x="94" y="123"/>
                  <a:pt x="97" y="123"/>
                </a:cubicBezTo>
                <a:cubicBezTo>
                  <a:pt x="97" y="124"/>
                  <a:pt x="99" y="124"/>
                  <a:pt x="98" y="126"/>
                </a:cubicBezTo>
                <a:cubicBezTo>
                  <a:pt x="99" y="126"/>
                  <a:pt x="100" y="126"/>
                  <a:pt x="100" y="127"/>
                </a:cubicBezTo>
                <a:cubicBezTo>
                  <a:pt x="99" y="127"/>
                  <a:pt x="99" y="126"/>
                  <a:pt x="97" y="126"/>
                </a:cubicBezTo>
                <a:cubicBezTo>
                  <a:pt x="96" y="127"/>
                  <a:pt x="96" y="128"/>
                  <a:pt x="95" y="128"/>
                </a:cubicBezTo>
                <a:cubicBezTo>
                  <a:pt x="95" y="130"/>
                  <a:pt x="96" y="130"/>
                  <a:pt x="96" y="132"/>
                </a:cubicBezTo>
                <a:cubicBezTo>
                  <a:pt x="97" y="133"/>
                  <a:pt x="98" y="134"/>
                  <a:pt x="100" y="134"/>
                </a:cubicBezTo>
                <a:cubicBezTo>
                  <a:pt x="100" y="135"/>
                  <a:pt x="100" y="135"/>
                  <a:pt x="100" y="136"/>
                </a:cubicBezTo>
                <a:cubicBezTo>
                  <a:pt x="102" y="136"/>
                  <a:pt x="102" y="137"/>
                  <a:pt x="103" y="137"/>
                </a:cubicBezTo>
                <a:cubicBezTo>
                  <a:pt x="103" y="136"/>
                  <a:pt x="105" y="136"/>
                  <a:pt x="105" y="137"/>
                </a:cubicBezTo>
                <a:cubicBezTo>
                  <a:pt x="106" y="137"/>
                  <a:pt x="107" y="136"/>
                  <a:pt x="108" y="136"/>
                </a:cubicBezTo>
                <a:cubicBezTo>
                  <a:pt x="109" y="136"/>
                  <a:pt x="110" y="136"/>
                  <a:pt x="110" y="137"/>
                </a:cubicBezTo>
                <a:cubicBezTo>
                  <a:pt x="109" y="137"/>
                  <a:pt x="108" y="138"/>
                  <a:pt x="107" y="138"/>
                </a:cubicBezTo>
                <a:cubicBezTo>
                  <a:pt x="107" y="138"/>
                  <a:pt x="106" y="139"/>
                  <a:pt x="105" y="139"/>
                </a:cubicBezTo>
                <a:cubicBezTo>
                  <a:pt x="105" y="141"/>
                  <a:pt x="102" y="140"/>
                  <a:pt x="103" y="143"/>
                </a:cubicBezTo>
                <a:cubicBezTo>
                  <a:pt x="104" y="143"/>
                  <a:pt x="104" y="144"/>
                  <a:pt x="105" y="145"/>
                </a:cubicBezTo>
                <a:cubicBezTo>
                  <a:pt x="105" y="144"/>
                  <a:pt x="106" y="144"/>
                  <a:pt x="107" y="144"/>
                </a:cubicBezTo>
                <a:cubicBezTo>
                  <a:pt x="106" y="143"/>
                  <a:pt x="107" y="143"/>
                  <a:pt x="107" y="143"/>
                </a:cubicBezTo>
                <a:cubicBezTo>
                  <a:pt x="108" y="143"/>
                  <a:pt x="108" y="142"/>
                  <a:pt x="109" y="142"/>
                </a:cubicBezTo>
                <a:cubicBezTo>
                  <a:pt x="109" y="142"/>
                  <a:pt x="110" y="142"/>
                  <a:pt x="111" y="141"/>
                </a:cubicBezTo>
                <a:cubicBezTo>
                  <a:pt x="111" y="141"/>
                  <a:pt x="111" y="140"/>
                  <a:pt x="111" y="140"/>
                </a:cubicBezTo>
                <a:cubicBezTo>
                  <a:pt x="111" y="140"/>
                  <a:pt x="112" y="140"/>
                  <a:pt x="112" y="140"/>
                </a:cubicBezTo>
                <a:cubicBezTo>
                  <a:pt x="112" y="140"/>
                  <a:pt x="112" y="139"/>
                  <a:pt x="112" y="139"/>
                </a:cubicBezTo>
                <a:cubicBezTo>
                  <a:pt x="112" y="139"/>
                  <a:pt x="113" y="139"/>
                  <a:pt x="113" y="139"/>
                </a:cubicBezTo>
                <a:cubicBezTo>
                  <a:pt x="113" y="139"/>
                  <a:pt x="113" y="138"/>
                  <a:pt x="113" y="138"/>
                </a:cubicBezTo>
                <a:cubicBezTo>
                  <a:pt x="113" y="137"/>
                  <a:pt x="113" y="138"/>
                  <a:pt x="114" y="138"/>
                </a:cubicBezTo>
                <a:cubicBezTo>
                  <a:pt x="114" y="137"/>
                  <a:pt x="113" y="137"/>
                  <a:pt x="114" y="137"/>
                </a:cubicBezTo>
                <a:cubicBezTo>
                  <a:pt x="114" y="137"/>
                  <a:pt x="114" y="137"/>
                  <a:pt x="114" y="137"/>
                </a:cubicBezTo>
                <a:cubicBezTo>
                  <a:pt x="115" y="136"/>
                  <a:pt x="115" y="136"/>
                  <a:pt x="114" y="135"/>
                </a:cubicBezTo>
                <a:cubicBezTo>
                  <a:pt x="114" y="134"/>
                  <a:pt x="113" y="134"/>
                  <a:pt x="113" y="134"/>
                </a:cubicBezTo>
                <a:cubicBezTo>
                  <a:pt x="113" y="134"/>
                  <a:pt x="113" y="133"/>
                  <a:pt x="113" y="133"/>
                </a:cubicBezTo>
                <a:close/>
                <a:moveTo>
                  <a:pt x="191" y="74"/>
                </a:moveTo>
                <a:cubicBezTo>
                  <a:pt x="192" y="74"/>
                  <a:pt x="192" y="74"/>
                  <a:pt x="192" y="75"/>
                </a:cubicBezTo>
                <a:cubicBezTo>
                  <a:pt x="193" y="75"/>
                  <a:pt x="193" y="76"/>
                  <a:pt x="193" y="77"/>
                </a:cubicBezTo>
                <a:cubicBezTo>
                  <a:pt x="195" y="78"/>
                  <a:pt x="195" y="76"/>
                  <a:pt x="196" y="76"/>
                </a:cubicBezTo>
                <a:cubicBezTo>
                  <a:pt x="197" y="78"/>
                  <a:pt x="199" y="77"/>
                  <a:pt x="199" y="78"/>
                </a:cubicBezTo>
                <a:cubicBezTo>
                  <a:pt x="199" y="79"/>
                  <a:pt x="200" y="79"/>
                  <a:pt x="201" y="80"/>
                </a:cubicBezTo>
                <a:cubicBezTo>
                  <a:pt x="200" y="81"/>
                  <a:pt x="201" y="81"/>
                  <a:pt x="201" y="81"/>
                </a:cubicBezTo>
                <a:cubicBezTo>
                  <a:pt x="202" y="80"/>
                  <a:pt x="202" y="79"/>
                  <a:pt x="203" y="79"/>
                </a:cubicBezTo>
                <a:cubicBezTo>
                  <a:pt x="205" y="79"/>
                  <a:pt x="206" y="78"/>
                  <a:pt x="205" y="76"/>
                </a:cubicBezTo>
                <a:cubicBezTo>
                  <a:pt x="203" y="75"/>
                  <a:pt x="202" y="78"/>
                  <a:pt x="201" y="76"/>
                </a:cubicBezTo>
                <a:cubicBezTo>
                  <a:pt x="201" y="74"/>
                  <a:pt x="205" y="77"/>
                  <a:pt x="204" y="75"/>
                </a:cubicBezTo>
                <a:cubicBezTo>
                  <a:pt x="203" y="75"/>
                  <a:pt x="202" y="74"/>
                  <a:pt x="202" y="73"/>
                </a:cubicBezTo>
                <a:cubicBezTo>
                  <a:pt x="203" y="74"/>
                  <a:pt x="203" y="73"/>
                  <a:pt x="204" y="73"/>
                </a:cubicBezTo>
                <a:cubicBezTo>
                  <a:pt x="204" y="73"/>
                  <a:pt x="204" y="72"/>
                  <a:pt x="204" y="72"/>
                </a:cubicBezTo>
                <a:cubicBezTo>
                  <a:pt x="206" y="70"/>
                  <a:pt x="200" y="71"/>
                  <a:pt x="200" y="72"/>
                </a:cubicBezTo>
                <a:cubicBezTo>
                  <a:pt x="200" y="73"/>
                  <a:pt x="200" y="73"/>
                  <a:pt x="199" y="73"/>
                </a:cubicBezTo>
                <a:cubicBezTo>
                  <a:pt x="199" y="73"/>
                  <a:pt x="199" y="73"/>
                  <a:pt x="199" y="73"/>
                </a:cubicBezTo>
                <a:cubicBezTo>
                  <a:pt x="198" y="73"/>
                  <a:pt x="198" y="72"/>
                  <a:pt x="199" y="72"/>
                </a:cubicBezTo>
                <a:cubicBezTo>
                  <a:pt x="199" y="68"/>
                  <a:pt x="196" y="68"/>
                  <a:pt x="196" y="65"/>
                </a:cubicBezTo>
                <a:cubicBezTo>
                  <a:pt x="194" y="66"/>
                  <a:pt x="192" y="66"/>
                  <a:pt x="191" y="67"/>
                </a:cubicBezTo>
                <a:cubicBezTo>
                  <a:pt x="191" y="68"/>
                  <a:pt x="191" y="70"/>
                  <a:pt x="190" y="71"/>
                </a:cubicBezTo>
                <a:cubicBezTo>
                  <a:pt x="190" y="71"/>
                  <a:pt x="190" y="72"/>
                  <a:pt x="189" y="71"/>
                </a:cubicBezTo>
                <a:cubicBezTo>
                  <a:pt x="189" y="72"/>
                  <a:pt x="189" y="72"/>
                  <a:pt x="189" y="73"/>
                </a:cubicBezTo>
                <a:cubicBezTo>
                  <a:pt x="191" y="73"/>
                  <a:pt x="191" y="73"/>
                  <a:pt x="191" y="74"/>
                </a:cubicBezTo>
                <a:close/>
                <a:moveTo>
                  <a:pt x="88" y="190"/>
                </a:moveTo>
                <a:cubicBezTo>
                  <a:pt x="85" y="190"/>
                  <a:pt x="85" y="192"/>
                  <a:pt x="82" y="192"/>
                </a:cubicBezTo>
                <a:cubicBezTo>
                  <a:pt x="82" y="191"/>
                  <a:pt x="82" y="191"/>
                  <a:pt x="81" y="191"/>
                </a:cubicBezTo>
                <a:cubicBezTo>
                  <a:pt x="81" y="191"/>
                  <a:pt x="81" y="191"/>
                  <a:pt x="81" y="191"/>
                </a:cubicBezTo>
                <a:cubicBezTo>
                  <a:pt x="80" y="191"/>
                  <a:pt x="80" y="192"/>
                  <a:pt x="79" y="193"/>
                </a:cubicBezTo>
                <a:cubicBezTo>
                  <a:pt x="79" y="194"/>
                  <a:pt x="78" y="194"/>
                  <a:pt x="77" y="194"/>
                </a:cubicBezTo>
                <a:cubicBezTo>
                  <a:pt x="77" y="195"/>
                  <a:pt x="78" y="196"/>
                  <a:pt x="77" y="196"/>
                </a:cubicBezTo>
                <a:cubicBezTo>
                  <a:pt x="77" y="196"/>
                  <a:pt x="76" y="197"/>
                  <a:pt x="76" y="197"/>
                </a:cubicBezTo>
                <a:cubicBezTo>
                  <a:pt x="75" y="198"/>
                  <a:pt x="76" y="199"/>
                  <a:pt x="75" y="200"/>
                </a:cubicBezTo>
                <a:cubicBezTo>
                  <a:pt x="76" y="200"/>
                  <a:pt x="76" y="200"/>
                  <a:pt x="77" y="200"/>
                </a:cubicBezTo>
                <a:cubicBezTo>
                  <a:pt x="77" y="200"/>
                  <a:pt x="77" y="199"/>
                  <a:pt x="77" y="200"/>
                </a:cubicBezTo>
                <a:cubicBezTo>
                  <a:pt x="78" y="199"/>
                  <a:pt x="78" y="198"/>
                  <a:pt x="79" y="198"/>
                </a:cubicBezTo>
                <a:cubicBezTo>
                  <a:pt x="80" y="198"/>
                  <a:pt x="81" y="197"/>
                  <a:pt x="81" y="198"/>
                </a:cubicBezTo>
                <a:cubicBezTo>
                  <a:pt x="82" y="200"/>
                  <a:pt x="80" y="200"/>
                  <a:pt x="79" y="201"/>
                </a:cubicBezTo>
                <a:cubicBezTo>
                  <a:pt x="79" y="202"/>
                  <a:pt x="78" y="203"/>
                  <a:pt x="78" y="204"/>
                </a:cubicBezTo>
                <a:cubicBezTo>
                  <a:pt x="80" y="203"/>
                  <a:pt x="77" y="207"/>
                  <a:pt x="79" y="207"/>
                </a:cubicBezTo>
                <a:cubicBezTo>
                  <a:pt x="79" y="206"/>
                  <a:pt x="80" y="206"/>
                  <a:pt x="81" y="206"/>
                </a:cubicBezTo>
                <a:cubicBezTo>
                  <a:pt x="81" y="206"/>
                  <a:pt x="81" y="205"/>
                  <a:pt x="82" y="205"/>
                </a:cubicBezTo>
                <a:cubicBezTo>
                  <a:pt x="84" y="205"/>
                  <a:pt x="84" y="204"/>
                  <a:pt x="86" y="204"/>
                </a:cubicBezTo>
                <a:cubicBezTo>
                  <a:pt x="86" y="203"/>
                  <a:pt x="86" y="203"/>
                  <a:pt x="87" y="202"/>
                </a:cubicBezTo>
                <a:cubicBezTo>
                  <a:pt x="87" y="201"/>
                  <a:pt x="88" y="201"/>
                  <a:pt x="88" y="200"/>
                </a:cubicBezTo>
                <a:cubicBezTo>
                  <a:pt x="87" y="198"/>
                  <a:pt x="87" y="196"/>
                  <a:pt x="86" y="194"/>
                </a:cubicBezTo>
                <a:cubicBezTo>
                  <a:pt x="87" y="193"/>
                  <a:pt x="88" y="192"/>
                  <a:pt x="88" y="190"/>
                </a:cubicBezTo>
                <a:close/>
                <a:moveTo>
                  <a:pt x="188" y="78"/>
                </a:moveTo>
                <a:cubicBezTo>
                  <a:pt x="188" y="81"/>
                  <a:pt x="189" y="83"/>
                  <a:pt x="191" y="83"/>
                </a:cubicBezTo>
                <a:cubicBezTo>
                  <a:pt x="191" y="81"/>
                  <a:pt x="191" y="81"/>
                  <a:pt x="192" y="81"/>
                </a:cubicBezTo>
                <a:cubicBezTo>
                  <a:pt x="193" y="77"/>
                  <a:pt x="190" y="73"/>
                  <a:pt x="187" y="76"/>
                </a:cubicBezTo>
                <a:cubicBezTo>
                  <a:pt x="187" y="76"/>
                  <a:pt x="187" y="76"/>
                  <a:pt x="187" y="76"/>
                </a:cubicBezTo>
                <a:cubicBezTo>
                  <a:pt x="187" y="77"/>
                  <a:pt x="187" y="78"/>
                  <a:pt x="188" y="78"/>
                </a:cubicBezTo>
                <a:close/>
                <a:moveTo>
                  <a:pt x="201" y="70"/>
                </a:moveTo>
                <a:cubicBezTo>
                  <a:pt x="201" y="69"/>
                  <a:pt x="199" y="69"/>
                  <a:pt x="199" y="70"/>
                </a:cubicBezTo>
                <a:cubicBezTo>
                  <a:pt x="200" y="70"/>
                  <a:pt x="200" y="70"/>
                  <a:pt x="200" y="71"/>
                </a:cubicBezTo>
                <a:cubicBezTo>
                  <a:pt x="200" y="71"/>
                  <a:pt x="201" y="71"/>
                  <a:pt x="201" y="70"/>
                </a:cubicBezTo>
                <a:close/>
                <a:moveTo>
                  <a:pt x="256" y="16"/>
                </a:moveTo>
                <a:cubicBezTo>
                  <a:pt x="256" y="15"/>
                  <a:pt x="258" y="15"/>
                  <a:pt x="259" y="15"/>
                </a:cubicBezTo>
                <a:cubicBezTo>
                  <a:pt x="259" y="11"/>
                  <a:pt x="260" y="9"/>
                  <a:pt x="260" y="5"/>
                </a:cubicBezTo>
                <a:cubicBezTo>
                  <a:pt x="259" y="5"/>
                  <a:pt x="258" y="5"/>
                  <a:pt x="258" y="5"/>
                </a:cubicBezTo>
                <a:cubicBezTo>
                  <a:pt x="258" y="7"/>
                  <a:pt x="255" y="9"/>
                  <a:pt x="255" y="11"/>
                </a:cubicBezTo>
                <a:cubicBezTo>
                  <a:pt x="255" y="13"/>
                  <a:pt x="254" y="15"/>
                  <a:pt x="256" y="16"/>
                </a:cubicBezTo>
                <a:close/>
                <a:moveTo>
                  <a:pt x="236" y="57"/>
                </a:moveTo>
                <a:cubicBezTo>
                  <a:pt x="236" y="56"/>
                  <a:pt x="236" y="56"/>
                  <a:pt x="237" y="56"/>
                </a:cubicBezTo>
                <a:cubicBezTo>
                  <a:pt x="237" y="56"/>
                  <a:pt x="237" y="55"/>
                  <a:pt x="237" y="55"/>
                </a:cubicBezTo>
                <a:cubicBezTo>
                  <a:pt x="236" y="55"/>
                  <a:pt x="236" y="55"/>
                  <a:pt x="235" y="55"/>
                </a:cubicBezTo>
                <a:cubicBezTo>
                  <a:pt x="236" y="55"/>
                  <a:pt x="235" y="55"/>
                  <a:pt x="235" y="55"/>
                </a:cubicBezTo>
                <a:cubicBezTo>
                  <a:pt x="234" y="57"/>
                  <a:pt x="235" y="57"/>
                  <a:pt x="236" y="57"/>
                </a:cubicBezTo>
                <a:close/>
                <a:moveTo>
                  <a:pt x="88" y="154"/>
                </a:moveTo>
                <a:cubicBezTo>
                  <a:pt x="88" y="154"/>
                  <a:pt x="88" y="155"/>
                  <a:pt x="88" y="155"/>
                </a:cubicBezTo>
                <a:cubicBezTo>
                  <a:pt x="87" y="155"/>
                  <a:pt x="86" y="155"/>
                  <a:pt x="86" y="155"/>
                </a:cubicBezTo>
                <a:cubicBezTo>
                  <a:pt x="86" y="156"/>
                  <a:pt x="85" y="155"/>
                  <a:pt x="84" y="156"/>
                </a:cubicBezTo>
                <a:cubicBezTo>
                  <a:pt x="84" y="156"/>
                  <a:pt x="84" y="157"/>
                  <a:pt x="84" y="157"/>
                </a:cubicBezTo>
                <a:cubicBezTo>
                  <a:pt x="83" y="157"/>
                  <a:pt x="82" y="157"/>
                  <a:pt x="82" y="157"/>
                </a:cubicBezTo>
                <a:cubicBezTo>
                  <a:pt x="82" y="157"/>
                  <a:pt x="82" y="158"/>
                  <a:pt x="82" y="158"/>
                </a:cubicBezTo>
                <a:cubicBezTo>
                  <a:pt x="83" y="159"/>
                  <a:pt x="84" y="158"/>
                  <a:pt x="84" y="158"/>
                </a:cubicBezTo>
                <a:cubicBezTo>
                  <a:pt x="84" y="158"/>
                  <a:pt x="84" y="158"/>
                  <a:pt x="84" y="158"/>
                </a:cubicBezTo>
                <a:cubicBezTo>
                  <a:pt x="84" y="159"/>
                  <a:pt x="85" y="158"/>
                  <a:pt x="85" y="158"/>
                </a:cubicBezTo>
                <a:cubicBezTo>
                  <a:pt x="85" y="159"/>
                  <a:pt x="85" y="159"/>
                  <a:pt x="85" y="159"/>
                </a:cubicBezTo>
                <a:cubicBezTo>
                  <a:pt x="85" y="159"/>
                  <a:pt x="86" y="159"/>
                  <a:pt x="86" y="159"/>
                </a:cubicBezTo>
                <a:cubicBezTo>
                  <a:pt x="86" y="157"/>
                  <a:pt x="87" y="157"/>
                  <a:pt x="88" y="156"/>
                </a:cubicBezTo>
                <a:cubicBezTo>
                  <a:pt x="88" y="155"/>
                  <a:pt x="90" y="156"/>
                  <a:pt x="90" y="155"/>
                </a:cubicBezTo>
                <a:cubicBezTo>
                  <a:pt x="90" y="154"/>
                  <a:pt x="89" y="154"/>
                  <a:pt x="88" y="154"/>
                </a:cubicBezTo>
                <a:close/>
                <a:moveTo>
                  <a:pt x="241" y="25"/>
                </a:moveTo>
                <a:cubicBezTo>
                  <a:pt x="241" y="26"/>
                  <a:pt x="243" y="26"/>
                  <a:pt x="243" y="27"/>
                </a:cubicBezTo>
                <a:cubicBezTo>
                  <a:pt x="244" y="28"/>
                  <a:pt x="245" y="30"/>
                  <a:pt x="247" y="30"/>
                </a:cubicBezTo>
                <a:cubicBezTo>
                  <a:pt x="247" y="29"/>
                  <a:pt x="247" y="27"/>
                  <a:pt x="249" y="27"/>
                </a:cubicBezTo>
                <a:cubicBezTo>
                  <a:pt x="249" y="28"/>
                  <a:pt x="249" y="29"/>
                  <a:pt x="249" y="31"/>
                </a:cubicBezTo>
                <a:cubicBezTo>
                  <a:pt x="249" y="31"/>
                  <a:pt x="249" y="31"/>
                  <a:pt x="249" y="31"/>
                </a:cubicBezTo>
                <a:cubicBezTo>
                  <a:pt x="248" y="32"/>
                  <a:pt x="248" y="32"/>
                  <a:pt x="248" y="33"/>
                </a:cubicBezTo>
                <a:cubicBezTo>
                  <a:pt x="248" y="33"/>
                  <a:pt x="247" y="33"/>
                  <a:pt x="247" y="33"/>
                </a:cubicBezTo>
                <a:cubicBezTo>
                  <a:pt x="246" y="34"/>
                  <a:pt x="247" y="35"/>
                  <a:pt x="246" y="36"/>
                </a:cubicBezTo>
                <a:cubicBezTo>
                  <a:pt x="246" y="36"/>
                  <a:pt x="246" y="36"/>
                  <a:pt x="246" y="36"/>
                </a:cubicBezTo>
                <a:cubicBezTo>
                  <a:pt x="246" y="36"/>
                  <a:pt x="246" y="37"/>
                  <a:pt x="246" y="37"/>
                </a:cubicBezTo>
                <a:cubicBezTo>
                  <a:pt x="246" y="37"/>
                  <a:pt x="246" y="38"/>
                  <a:pt x="246" y="39"/>
                </a:cubicBezTo>
                <a:cubicBezTo>
                  <a:pt x="247" y="39"/>
                  <a:pt x="248" y="39"/>
                  <a:pt x="248" y="38"/>
                </a:cubicBezTo>
                <a:cubicBezTo>
                  <a:pt x="249" y="38"/>
                  <a:pt x="250" y="37"/>
                  <a:pt x="251" y="37"/>
                </a:cubicBezTo>
                <a:cubicBezTo>
                  <a:pt x="251" y="35"/>
                  <a:pt x="251" y="34"/>
                  <a:pt x="251" y="32"/>
                </a:cubicBezTo>
                <a:cubicBezTo>
                  <a:pt x="252" y="33"/>
                  <a:pt x="252" y="31"/>
                  <a:pt x="254" y="32"/>
                </a:cubicBezTo>
                <a:cubicBezTo>
                  <a:pt x="254" y="31"/>
                  <a:pt x="254" y="29"/>
                  <a:pt x="254" y="29"/>
                </a:cubicBezTo>
                <a:cubicBezTo>
                  <a:pt x="253" y="29"/>
                  <a:pt x="253" y="28"/>
                  <a:pt x="253" y="28"/>
                </a:cubicBezTo>
                <a:cubicBezTo>
                  <a:pt x="252" y="28"/>
                  <a:pt x="252" y="28"/>
                  <a:pt x="252" y="28"/>
                </a:cubicBezTo>
                <a:cubicBezTo>
                  <a:pt x="252" y="25"/>
                  <a:pt x="254" y="26"/>
                  <a:pt x="255" y="25"/>
                </a:cubicBezTo>
                <a:cubicBezTo>
                  <a:pt x="255" y="25"/>
                  <a:pt x="255" y="25"/>
                  <a:pt x="255" y="25"/>
                </a:cubicBezTo>
                <a:cubicBezTo>
                  <a:pt x="255" y="24"/>
                  <a:pt x="255" y="24"/>
                  <a:pt x="255" y="23"/>
                </a:cubicBezTo>
                <a:cubicBezTo>
                  <a:pt x="255" y="23"/>
                  <a:pt x="255" y="23"/>
                  <a:pt x="255" y="23"/>
                </a:cubicBezTo>
                <a:cubicBezTo>
                  <a:pt x="255" y="22"/>
                  <a:pt x="255" y="22"/>
                  <a:pt x="255" y="22"/>
                </a:cubicBezTo>
                <a:cubicBezTo>
                  <a:pt x="255" y="22"/>
                  <a:pt x="256" y="22"/>
                  <a:pt x="256" y="21"/>
                </a:cubicBezTo>
                <a:cubicBezTo>
                  <a:pt x="255" y="21"/>
                  <a:pt x="255" y="21"/>
                  <a:pt x="255" y="19"/>
                </a:cubicBezTo>
                <a:cubicBezTo>
                  <a:pt x="254" y="19"/>
                  <a:pt x="254" y="19"/>
                  <a:pt x="254" y="18"/>
                </a:cubicBezTo>
                <a:cubicBezTo>
                  <a:pt x="254" y="17"/>
                  <a:pt x="254" y="15"/>
                  <a:pt x="252" y="15"/>
                </a:cubicBezTo>
                <a:cubicBezTo>
                  <a:pt x="253" y="16"/>
                  <a:pt x="250" y="18"/>
                  <a:pt x="250" y="16"/>
                </a:cubicBezTo>
                <a:cubicBezTo>
                  <a:pt x="250" y="15"/>
                  <a:pt x="251" y="15"/>
                  <a:pt x="251" y="14"/>
                </a:cubicBezTo>
                <a:cubicBezTo>
                  <a:pt x="252" y="13"/>
                  <a:pt x="252" y="12"/>
                  <a:pt x="253" y="11"/>
                </a:cubicBezTo>
                <a:cubicBezTo>
                  <a:pt x="252" y="9"/>
                  <a:pt x="254" y="9"/>
                  <a:pt x="254" y="7"/>
                </a:cubicBezTo>
                <a:cubicBezTo>
                  <a:pt x="251" y="7"/>
                  <a:pt x="252" y="9"/>
                  <a:pt x="249" y="8"/>
                </a:cubicBezTo>
                <a:cubicBezTo>
                  <a:pt x="249" y="9"/>
                  <a:pt x="248" y="9"/>
                  <a:pt x="248" y="9"/>
                </a:cubicBezTo>
                <a:cubicBezTo>
                  <a:pt x="248" y="10"/>
                  <a:pt x="248" y="11"/>
                  <a:pt x="247" y="11"/>
                </a:cubicBezTo>
                <a:cubicBezTo>
                  <a:pt x="247" y="10"/>
                  <a:pt x="247" y="11"/>
                  <a:pt x="246" y="11"/>
                </a:cubicBezTo>
                <a:cubicBezTo>
                  <a:pt x="245" y="11"/>
                  <a:pt x="245" y="11"/>
                  <a:pt x="245" y="11"/>
                </a:cubicBezTo>
                <a:cubicBezTo>
                  <a:pt x="245" y="12"/>
                  <a:pt x="243" y="11"/>
                  <a:pt x="243" y="12"/>
                </a:cubicBezTo>
                <a:cubicBezTo>
                  <a:pt x="243" y="13"/>
                  <a:pt x="244" y="14"/>
                  <a:pt x="245" y="14"/>
                </a:cubicBezTo>
                <a:cubicBezTo>
                  <a:pt x="245" y="14"/>
                  <a:pt x="245" y="14"/>
                  <a:pt x="246" y="14"/>
                </a:cubicBezTo>
                <a:cubicBezTo>
                  <a:pt x="246" y="14"/>
                  <a:pt x="246" y="14"/>
                  <a:pt x="246" y="14"/>
                </a:cubicBezTo>
                <a:cubicBezTo>
                  <a:pt x="247" y="15"/>
                  <a:pt x="249" y="14"/>
                  <a:pt x="249" y="16"/>
                </a:cubicBezTo>
                <a:cubicBezTo>
                  <a:pt x="247" y="16"/>
                  <a:pt x="249" y="18"/>
                  <a:pt x="249" y="19"/>
                </a:cubicBezTo>
                <a:cubicBezTo>
                  <a:pt x="244" y="18"/>
                  <a:pt x="249" y="22"/>
                  <a:pt x="247" y="22"/>
                </a:cubicBezTo>
                <a:cubicBezTo>
                  <a:pt x="245" y="22"/>
                  <a:pt x="244" y="21"/>
                  <a:pt x="243" y="21"/>
                </a:cubicBezTo>
                <a:cubicBezTo>
                  <a:pt x="243" y="21"/>
                  <a:pt x="242" y="22"/>
                  <a:pt x="240" y="22"/>
                </a:cubicBezTo>
                <a:cubicBezTo>
                  <a:pt x="240" y="23"/>
                  <a:pt x="240" y="25"/>
                  <a:pt x="241" y="25"/>
                </a:cubicBezTo>
                <a:close/>
                <a:moveTo>
                  <a:pt x="232" y="28"/>
                </a:moveTo>
                <a:cubicBezTo>
                  <a:pt x="232" y="27"/>
                  <a:pt x="233" y="27"/>
                  <a:pt x="233" y="25"/>
                </a:cubicBezTo>
                <a:cubicBezTo>
                  <a:pt x="231" y="25"/>
                  <a:pt x="230" y="26"/>
                  <a:pt x="230" y="26"/>
                </a:cubicBezTo>
                <a:cubicBezTo>
                  <a:pt x="230" y="28"/>
                  <a:pt x="230" y="28"/>
                  <a:pt x="232" y="28"/>
                </a:cubicBezTo>
                <a:close/>
                <a:moveTo>
                  <a:pt x="258" y="23"/>
                </a:moveTo>
                <a:cubicBezTo>
                  <a:pt x="258" y="22"/>
                  <a:pt x="260" y="22"/>
                  <a:pt x="260" y="20"/>
                </a:cubicBezTo>
                <a:cubicBezTo>
                  <a:pt x="259" y="20"/>
                  <a:pt x="258" y="20"/>
                  <a:pt x="258" y="21"/>
                </a:cubicBezTo>
                <a:cubicBezTo>
                  <a:pt x="258" y="21"/>
                  <a:pt x="256" y="23"/>
                  <a:pt x="258" y="23"/>
                </a:cubicBezTo>
                <a:close/>
                <a:moveTo>
                  <a:pt x="254" y="14"/>
                </a:moveTo>
                <a:cubicBezTo>
                  <a:pt x="254" y="14"/>
                  <a:pt x="255" y="13"/>
                  <a:pt x="254" y="13"/>
                </a:cubicBezTo>
                <a:cubicBezTo>
                  <a:pt x="254" y="13"/>
                  <a:pt x="253" y="13"/>
                  <a:pt x="254" y="14"/>
                </a:cubicBezTo>
                <a:close/>
                <a:moveTo>
                  <a:pt x="257" y="17"/>
                </a:moveTo>
                <a:cubicBezTo>
                  <a:pt x="257" y="17"/>
                  <a:pt x="256" y="17"/>
                  <a:pt x="256" y="18"/>
                </a:cubicBezTo>
                <a:cubicBezTo>
                  <a:pt x="254" y="18"/>
                  <a:pt x="258" y="19"/>
                  <a:pt x="257" y="17"/>
                </a:cubicBezTo>
                <a:close/>
                <a:moveTo>
                  <a:pt x="201" y="61"/>
                </a:moveTo>
                <a:cubicBezTo>
                  <a:pt x="202" y="61"/>
                  <a:pt x="203" y="63"/>
                  <a:pt x="205" y="64"/>
                </a:cubicBezTo>
                <a:cubicBezTo>
                  <a:pt x="205" y="62"/>
                  <a:pt x="205" y="61"/>
                  <a:pt x="204" y="60"/>
                </a:cubicBezTo>
                <a:cubicBezTo>
                  <a:pt x="204" y="60"/>
                  <a:pt x="203" y="60"/>
                  <a:pt x="203" y="60"/>
                </a:cubicBezTo>
                <a:cubicBezTo>
                  <a:pt x="203" y="58"/>
                  <a:pt x="202" y="58"/>
                  <a:pt x="200" y="58"/>
                </a:cubicBezTo>
                <a:cubicBezTo>
                  <a:pt x="200" y="59"/>
                  <a:pt x="201" y="60"/>
                  <a:pt x="201" y="61"/>
                </a:cubicBezTo>
                <a:close/>
                <a:moveTo>
                  <a:pt x="205" y="59"/>
                </a:moveTo>
                <a:cubicBezTo>
                  <a:pt x="206" y="58"/>
                  <a:pt x="206" y="58"/>
                  <a:pt x="206" y="58"/>
                </a:cubicBezTo>
                <a:cubicBezTo>
                  <a:pt x="206" y="58"/>
                  <a:pt x="206" y="57"/>
                  <a:pt x="206" y="57"/>
                </a:cubicBezTo>
                <a:cubicBezTo>
                  <a:pt x="206" y="57"/>
                  <a:pt x="205" y="57"/>
                  <a:pt x="205" y="57"/>
                </a:cubicBezTo>
                <a:cubicBezTo>
                  <a:pt x="205" y="58"/>
                  <a:pt x="204" y="58"/>
                  <a:pt x="204" y="60"/>
                </a:cubicBezTo>
                <a:cubicBezTo>
                  <a:pt x="205" y="60"/>
                  <a:pt x="205" y="59"/>
                  <a:pt x="205" y="59"/>
                </a:cubicBezTo>
                <a:close/>
                <a:moveTo>
                  <a:pt x="216" y="60"/>
                </a:moveTo>
                <a:cubicBezTo>
                  <a:pt x="217" y="60"/>
                  <a:pt x="217" y="59"/>
                  <a:pt x="217" y="59"/>
                </a:cubicBezTo>
                <a:cubicBezTo>
                  <a:pt x="215" y="59"/>
                  <a:pt x="214" y="59"/>
                  <a:pt x="215" y="62"/>
                </a:cubicBezTo>
                <a:cubicBezTo>
                  <a:pt x="215" y="62"/>
                  <a:pt x="216" y="61"/>
                  <a:pt x="216" y="60"/>
                </a:cubicBezTo>
                <a:close/>
                <a:moveTo>
                  <a:pt x="202" y="68"/>
                </a:moveTo>
                <a:cubicBezTo>
                  <a:pt x="203" y="66"/>
                  <a:pt x="200" y="67"/>
                  <a:pt x="201" y="64"/>
                </a:cubicBezTo>
                <a:cubicBezTo>
                  <a:pt x="200" y="64"/>
                  <a:pt x="199" y="64"/>
                  <a:pt x="198" y="64"/>
                </a:cubicBezTo>
                <a:cubicBezTo>
                  <a:pt x="198" y="65"/>
                  <a:pt x="198" y="65"/>
                  <a:pt x="197" y="65"/>
                </a:cubicBezTo>
                <a:cubicBezTo>
                  <a:pt x="197" y="65"/>
                  <a:pt x="197" y="66"/>
                  <a:pt x="197" y="66"/>
                </a:cubicBezTo>
                <a:cubicBezTo>
                  <a:pt x="199" y="66"/>
                  <a:pt x="199" y="69"/>
                  <a:pt x="202" y="68"/>
                </a:cubicBezTo>
                <a:close/>
                <a:moveTo>
                  <a:pt x="205" y="65"/>
                </a:moveTo>
                <a:cubicBezTo>
                  <a:pt x="205" y="66"/>
                  <a:pt x="205" y="66"/>
                  <a:pt x="205" y="66"/>
                </a:cubicBezTo>
                <a:cubicBezTo>
                  <a:pt x="204" y="66"/>
                  <a:pt x="204" y="67"/>
                  <a:pt x="204" y="67"/>
                </a:cubicBezTo>
                <a:cubicBezTo>
                  <a:pt x="204" y="68"/>
                  <a:pt x="205" y="69"/>
                  <a:pt x="207" y="69"/>
                </a:cubicBezTo>
                <a:cubicBezTo>
                  <a:pt x="206" y="67"/>
                  <a:pt x="206" y="66"/>
                  <a:pt x="207" y="64"/>
                </a:cubicBezTo>
                <a:cubicBezTo>
                  <a:pt x="206" y="63"/>
                  <a:pt x="206" y="64"/>
                  <a:pt x="205" y="65"/>
                </a:cubicBezTo>
                <a:close/>
                <a:moveTo>
                  <a:pt x="208" y="67"/>
                </a:moveTo>
                <a:cubicBezTo>
                  <a:pt x="208" y="66"/>
                  <a:pt x="210" y="66"/>
                  <a:pt x="210" y="66"/>
                </a:cubicBezTo>
                <a:cubicBezTo>
                  <a:pt x="211" y="66"/>
                  <a:pt x="212" y="66"/>
                  <a:pt x="213" y="66"/>
                </a:cubicBezTo>
                <a:cubicBezTo>
                  <a:pt x="213" y="64"/>
                  <a:pt x="216" y="65"/>
                  <a:pt x="215" y="63"/>
                </a:cubicBezTo>
                <a:cubicBezTo>
                  <a:pt x="215" y="63"/>
                  <a:pt x="214" y="62"/>
                  <a:pt x="214" y="62"/>
                </a:cubicBezTo>
                <a:cubicBezTo>
                  <a:pt x="214" y="62"/>
                  <a:pt x="213" y="63"/>
                  <a:pt x="213" y="63"/>
                </a:cubicBezTo>
                <a:cubicBezTo>
                  <a:pt x="213" y="63"/>
                  <a:pt x="212" y="63"/>
                  <a:pt x="212" y="63"/>
                </a:cubicBezTo>
                <a:cubicBezTo>
                  <a:pt x="212" y="63"/>
                  <a:pt x="212" y="62"/>
                  <a:pt x="211" y="62"/>
                </a:cubicBezTo>
                <a:cubicBezTo>
                  <a:pt x="211" y="64"/>
                  <a:pt x="209" y="63"/>
                  <a:pt x="209" y="64"/>
                </a:cubicBezTo>
                <a:cubicBezTo>
                  <a:pt x="208" y="64"/>
                  <a:pt x="207" y="67"/>
                  <a:pt x="208" y="67"/>
                </a:cubicBezTo>
                <a:close/>
                <a:moveTo>
                  <a:pt x="209" y="73"/>
                </a:moveTo>
                <a:cubicBezTo>
                  <a:pt x="210" y="73"/>
                  <a:pt x="210" y="72"/>
                  <a:pt x="211" y="72"/>
                </a:cubicBezTo>
                <a:cubicBezTo>
                  <a:pt x="211" y="71"/>
                  <a:pt x="210" y="71"/>
                  <a:pt x="210" y="70"/>
                </a:cubicBezTo>
                <a:cubicBezTo>
                  <a:pt x="210" y="69"/>
                  <a:pt x="210" y="68"/>
                  <a:pt x="209" y="68"/>
                </a:cubicBezTo>
                <a:cubicBezTo>
                  <a:pt x="209" y="69"/>
                  <a:pt x="208" y="68"/>
                  <a:pt x="208" y="69"/>
                </a:cubicBezTo>
                <a:cubicBezTo>
                  <a:pt x="207" y="70"/>
                  <a:pt x="207" y="70"/>
                  <a:pt x="207" y="71"/>
                </a:cubicBezTo>
                <a:cubicBezTo>
                  <a:pt x="207" y="71"/>
                  <a:pt x="207" y="72"/>
                  <a:pt x="206" y="71"/>
                </a:cubicBezTo>
                <a:cubicBezTo>
                  <a:pt x="206" y="72"/>
                  <a:pt x="206" y="73"/>
                  <a:pt x="206" y="73"/>
                </a:cubicBezTo>
                <a:cubicBezTo>
                  <a:pt x="207" y="73"/>
                  <a:pt x="208" y="72"/>
                  <a:pt x="208" y="72"/>
                </a:cubicBezTo>
                <a:cubicBezTo>
                  <a:pt x="208" y="72"/>
                  <a:pt x="209" y="73"/>
                  <a:pt x="209" y="73"/>
                </a:cubicBezTo>
                <a:close/>
                <a:moveTo>
                  <a:pt x="77" y="114"/>
                </a:moveTo>
                <a:cubicBezTo>
                  <a:pt x="76" y="117"/>
                  <a:pt x="79" y="116"/>
                  <a:pt x="79" y="119"/>
                </a:cubicBezTo>
                <a:cubicBezTo>
                  <a:pt x="80" y="119"/>
                  <a:pt x="80" y="119"/>
                  <a:pt x="81" y="119"/>
                </a:cubicBezTo>
                <a:cubicBezTo>
                  <a:pt x="81" y="119"/>
                  <a:pt x="80" y="118"/>
                  <a:pt x="80" y="117"/>
                </a:cubicBezTo>
                <a:cubicBezTo>
                  <a:pt x="80" y="117"/>
                  <a:pt x="81" y="117"/>
                  <a:pt x="81" y="116"/>
                </a:cubicBezTo>
                <a:cubicBezTo>
                  <a:pt x="79" y="115"/>
                  <a:pt x="79" y="114"/>
                  <a:pt x="77" y="114"/>
                </a:cubicBezTo>
                <a:close/>
                <a:moveTo>
                  <a:pt x="72" y="130"/>
                </a:moveTo>
                <a:cubicBezTo>
                  <a:pt x="72" y="130"/>
                  <a:pt x="72" y="130"/>
                  <a:pt x="72" y="130"/>
                </a:cubicBezTo>
                <a:cubicBezTo>
                  <a:pt x="73" y="130"/>
                  <a:pt x="73" y="130"/>
                  <a:pt x="72" y="131"/>
                </a:cubicBezTo>
                <a:cubicBezTo>
                  <a:pt x="72" y="131"/>
                  <a:pt x="72" y="131"/>
                  <a:pt x="72" y="131"/>
                </a:cubicBezTo>
                <a:cubicBezTo>
                  <a:pt x="72" y="132"/>
                  <a:pt x="72" y="132"/>
                  <a:pt x="72" y="132"/>
                </a:cubicBezTo>
                <a:cubicBezTo>
                  <a:pt x="72" y="133"/>
                  <a:pt x="73" y="133"/>
                  <a:pt x="73" y="133"/>
                </a:cubicBezTo>
                <a:cubicBezTo>
                  <a:pt x="74" y="132"/>
                  <a:pt x="74" y="131"/>
                  <a:pt x="76" y="131"/>
                </a:cubicBezTo>
                <a:cubicBezTo>
                  <a:pt x="76" y="130"/>
                  <a:pt x="76" y="130"/>
                  <a:pt x="76" y="129"/>
                </a:cubicBezTo>
                <a:cubicBezTo>
                  <a:pt x="75" y="129"/>
                  <a:pt x="75" y="128"/>
                  <a:pt x="76" y="128"/>
                </a:cubicBezTo>
                <a:cubicBezTo>
                  <a:pt x="76" y="128"/>
                  <a:pt x="76" y="127"/>
                  <a:pt x="76" y="127"/>
                </a:cubicBezTo>
                <a:cubicBezTo>
                  <a:pt x="76" y="127"/>
                  <a:pt x="76" y="126"/>
                  <a:pt x="77" y="126"/>
                </a:cubicBezTo>
                <a:cubicBezTo>
                  <a:pt x="77" y="126"/>
                  <a:pt x="77" y="125"/>
                  <a:pt x="77" y="124"/>
                </a:cubicBezTo>
                <a:cubicBezTo>
                  <a:pt x="78" y="124"/>
                  <a:pt x="78" y="123"/>
                  <a:pt x="78" y="121"/>
                </a:cubicBezTo>
                <a:cubicBezTo>
                  <a:pt x="78" y="119"/>
                  <a:pt x="77" y="119"/>
                  <a:pt x="76" y="117"/>
                </a:cubicBezTo>
                <a:cubicBezTo>
                  <a:pt x="76" y="116"/>
                  <a:pt x="76" y="115"/>
                  <a:pt x="75" y="115"/>
                </a:cubicBezTo>
                <a:cubicBezTo>
                  <a:pt x="75" y="116"/>
                  <a:pt x="74" y="119"/>
                  <a:pt x="75" y="119"/>
                </a:cubicBezTo>
                <a:cubicBezTo>
                  <a:pt x="75" y="119"/>
                  <a:pt x="75" y="120"/>
                  <a:pt x="75" y="121"/>
                </a:cubicBezTo>
                <a:cubicBezTo>
                  <a:pt x="74" y="121"/>
                  <a:pt x="74" y="121"/>
                  <a:pt x="73" y="121"/>
                </a:cubicBezTo>
                <a:cubicBezTo>
                  <a:pt x="73" y="122"/>
                  <a:pt x="73" y="123"/>
                  <a:pt x="72" y="124"/>
                </a:cubicBezTo>
                <a:cubicBezTo>
                  <a:pt x="72" y="126"/>
                  <a:pt x="71" y="128"/>
                  <a:pt x="72" y="130"/>
                </a:cubicBezTo>
                <a:close/>
                <a:moveTo>
                  <a:pt x="68" y="140"/>
                </a:moveTo>
                <a:cubicBezTo>
                  <a:pt x="67" y="138"/>
                  <a:pt x="69" y="138"/>
                  <a:pt x="68" y="136"/>
                </a:cubicBezTo>
                <a:cubicBezTo>
                  <a:pt x="68" y="136"/>
                  <a:pt x="69" y="136"/>
                  <a:pt x="69" y="136"/>
                </a:cubicBezTo>
                <a:cubicBezTo>
                  <a:pt x="69" y="136"/>
                  <a:pt x="69" y="135"/>
                  <a:pt x="70" y="135"/>
                </a:cubicBezTo>
                <a:cubicBezTo>
                  <a:pt x="70" y="135"/>
                  <a:pt x="70" y="135"/>
                  <a:pt x="70" y="135"/>
                </a:cubicBezTo>
                <a:cubicBezTo>
                  <a:pt x="70" y="134"/>
                  <a:pt x="70" y="134"/>
                  <a:pt x="71" y="134"/>
                </a:cubicBezTo>
                <a:cubicBezTo>
                  <a:pt x="71" y="132"/>
                  <a:pt x="70" y="133"/>
                  <a:pt x="70" y="131"/>
                </a:cubicBezTo>
                <a:cubicBezTo>
                  <a:pt x="68" y="130"/>
                  <a:pt x="69" y="133"/>
                  <a:pt x="68" y="133"/>
                </a:cubicBezTo>
                <a:cubicBezTo>
                  <a:pt x="67" y="133"/>
                  <a:pt x="67" y="134"/>
                  <a:pt x="67" y="133"/>
                </a:cubicBezTo>
                <a:cubicBezTo>
                  <a:pt x="67" y="135"/>
                  <a:pt x="67" y="136"/>
                  <a:pt x="65" y="136"/>
                </a:cubicBezTo>
                <a:cubicBezTo>
                  <a:pt x="66" y="138"/>
                  <a:pt x="66" y="140"/>
                  <a:pt x="68" y="140"/>
                </a:cubicBezTo>
                <a:close/>
                <a:moveTo>
                  <a:pt x="86" y="102"/>
                </a:moveTo>
                <a:cubicBezTo>
                  <a:pt x="86" y="102"/>
                  <a:pt x="86" y="101"/>
                  <a:pt x="86" y="101"/>
                </a:cubicBezTo>
                <a:cubicBezTo>
                  <a:pt x="86" y="101"/>
                  <a:pt x="85" y="101"/>
                  <a:pt x="84" y="101"/>
                </a:cubicBezTo>
                <a:cubicBezTo>
                  <a:pt x="84" y="102"/>
                  <a:pt x="85" y="102"/>
                  <a:pt x="86" y="102"/>
                </a:cubicBezTo>
                <a:close/>
                <a:moveTo>
                  <a:pt x="77" y="108"/>
                </a:moveTo>
                <a:cubicBezTo>
                  <a:pt x="78" y="109"/>
                  <a:pt x="78" y="109"/>
                  <a:pt x="78" y="110"/>
                </a:cubicBezTo>
                <a:cubicBezTo>
                  <a:pt x="78" y="110"/>
                  <a:pt x="80" y="110"/>
                  <a:pt x="79" y="110"/>
                </a:cubicBezTo>
                <a:cubicBezTo>
                  <a:pt x="79" y="112"/>
                  <a:pt x="77" y="111"/>
                  <a:pt x="78" y="113"/>
                </a:cubicBezTo>
                <a:cubicBezTo>
                  <a:pt x="80" y="114"/>
                  <a:pt x="84" y="115"/>
                  <a:pt x="84" y="113"/>
                </a:cubicBezTo>
                <a:cubicBezTo>
                  <a:pt x="83" y="113"/>
                  <a:pt x="82" y="113"/>
                  <a:pt x="82" y="112"/>
                </a:cubicBezTo>
                <a:cubicBezTo>
                  <a:pt x="83" y="112"/>
                  <a:pt x="84" y="112"/>
                  <a:pt x="85" y="112"/>
                </a:cubicBezTo>
                <a:cubicBezTo>
                  <a:pt x="86" y="110"/>
                  <a:pt x="82" y="110"/>
                  <a:pt x="84" y="109"/>
                </a:cubicBezTo>
                <a:cubicBezTo>
                  <a:pt x="85" y="109"/>
                  <a:pt x="85" y="110"/>
                  <a:pt x="86" y="110"/>
                </a:cubicBezTo>
                <a:cubicBezTo>
                  <a:pt x="87" y="110"/>
                  <a:pt x="87" y="109"/>
                  <a:pt x="88" y="109"/>
                </a:cubicBezTo>
                <a:cubicBezTo>
                  <a:pt x="88" y="108"/>
                  <a:pt x="88" y="108"/>
                  <a:pt x="87" y="108"/>
                </a:cubicBezTo>
                <a:cubicBezTo>
                  <a:pt x="87" y="108"/>
                  <a:pt x="86" y="108"/>
                  <a:pt x="86" y="107"/>
                </a:cubicBezTo>
                <a:cubicBezTo>
                  <a:pt x="85" y="107"/>
                  <a:pt x="85" y="105"/>
                  <a:pt x="83" y="106"/>
                </a:cubicBezTo>
                <a:cubicBezTo>
                  <a:pt x="83" y="106"/>
                  <a:pt x="83" y="107"/>
                  <a:pt x="82" y="107"/>
                </a:cubicBezTo>
                <a:cubicBezTo>
                  <a:pt x="82" y="106"/>
                  <a:pt x="82" y="105"/>
                  <a:pt x="81" y="105"/>
                </a:cubicBezTo>
                <a:cubicBezTo>
                  <a:pt x="80" y="105"/>
                  <a:pt x="81" y="106"/>
                  <a:pt x="80" y="106"/>
                </a:cubicBezTo>
                <a:cubicBezTo>
                  <a:pt x="79" y="106"/>
                  <a:pt x="80" y="105"/>
                  <a:pt x="79" y="105"/>
                </a:cubicBezTo>
                <a:cubicBezTo>
                  <a:pt x="78" y="104"/>
                  <a:pt x="77" y="106"/>
                  <a:pt x="75" y="106"/>
                </a:cubicBezTo>
                <a:cubicBezTo>
                  <a:pt x="75" y="106"/>
                  <a:pt x="75" y="107"/>
                  <a:pt x="76" y="108"/>
                </a:cubicBezTo>
                <a:cubicBezTo>
                  <a:pt x="76" y="108"/>
                  <a:pt x="77" y="108"/>
                  <a:pt x="77" y="108"/>
                </a:cubicBezTo>
                <a:close/>
                <a:moveTo>
                  <a:pt x="65" y="142"/>
                </a:moveTo>
                <a:cubicBezTo>
                  <a:pt x="65" y="142"/>
                  <a:pt x="65" y="141"/>
                  <a:pt x="65" y="140"/>
                </a:cubicBezTo>
                <a:cubicBezTo>
                  <a:pt x="63" y="140"/>
                  <a:pt x="63" y="142"/>
                  <a:pt x="62" y="143"/>
                </a:cubicBezTo>
                <a:cubicBezTo>
                  <a:pt x="63" y="143"/>
                  <a:pt x="63" y="143"/>
                  <a:pt x="64" y="143"/>
                </a:cubicBezTo>
                <a:cubicBezTo>
                  <a:pt x="64" y="143"/>
                  <a:pt x="64" y="142"/>
                  <a:pt x="65" y="142"/>
                </a:cubicBezTo>
                <a:close/>
                <a:moveTo>
                  <a:pt x="112" y="168"/>
                </a:moveTo>
                <a:cubicBezTo>
                  <a:pt x="110" y="168"/>
                  <a:pt x="108" y="169"/>
                  <a:pt x="108" y="172"/>
                </a:cubicBezTo>
                <a:cubicBezTo>
                  <a:pt x="110" y="171"/>
                  <a:pt x="111" y="169"/>
                  <a:pt x="112" y="168"/>
                </a:cubicBezTo>
                <a:close/>
                <a:moveTo>
                  <a:pt x="265" y="11"/>
                </a:moveTo>
                <a:cubicBezTo>
                  <a:pt x="264" y="13"/>
                  <a:pt x="263" y="9"/>
                  <a:pt x="261" y="10"/>
                </a:cubicBezTo>
                <a:cubicBezTo>
                  <a:pt x="261" y="11"/>
                  <a:pt x="261" y="12"/>
                  <a:pt x="262" y="12"/>
                </a:cubicBezTo>
                <a:cubicBezTo>
                  <a:pt x="263" y="12"/>
                  <a:pt x="263" y="13"/>
                  <a:pt x="264" y="14"/>
                </a:cubicBezTo>
                <a:cubicBezTo>
                  <a:pt x="264" y="13"/>
                  <a:pt x="267" y="11"/>
                  <a:pt x="265" y="11"/>
                </a:cubicBezTo>
                <a:close/>
                <a:moveTo>
                  <a:pt x="267" y="1"/>
                </a:moveTo>
                <a:cubicBezTo>
                  <a:pt x="265" y="1"/>
                  <a:pt x="265" y="0"/>
                  <a:pt x="264" y="0"/>
                </a:cubicBezTo>
                <a:cubicBezTo>
                  <a:pt x="263" y="3"/>
                  <a:pt x="261" y="4"/>
                  <a:pt x="261" y="8"/>
                </a:cubicBezTo>
                <a:cubicBezTo>
                  <a:pt x="263" y="9"/>
                  <a:pt x="264" y="7"/>
                  <a:pt x="265" y="7"/>
                </a:cubicBezTo>
                <a:cubicBezTo>
                  <a:pt x="265" y="6"/>
                  <a:pt x="266" y="5"/>
                  <a:pt x="267" y="5"/>
                </a:cubicBezTo>
                <a:cubicBezTo>
                  <a:pt x="267" y="2"/>
                  <a:pt x="267" y="3"/>
                  <a:pt x="267" y="1"/>
                </a:cubicBezTo>
                <a:close/>
                <a:moveTo>
                  <a:pt x="84" y="105"/>
                </a:moveTo>
                <a:cubicBezTo>
                  <a:pt x="85" y="105"/>
                  <a:pt x="85" y="106"/>
                  <a:pt x="86" y="105"/>
                </a:cubicBezTo>
                <a:cubicBezTo>
                  <a:pt x="86" y="105"/>
                  <a:pt x="86" y="105"/>
                  <a:pt x="86" y="104"/>
                </a:cubicBezTo>
                <a:cubicBezTo>
                  <a:pt x="87" y="104"/>
                  <a:pt x="88" y="104"/>
                  <a:pt x="88" y="103"/>
                </a:cubicBezTo>
                <a:cubicBezTo>
                  <a:pt x="86" y="104"/>
                  <a:pt x="86" y="103"/>
                  <a:pt x="85" y="103"/>
                </a:cubicBezTo>
                <a:cubicBezTo>
                  <a:pt x="85" y="104"/>
                  <a:pt x="85" y="104"/>
                  <a:pt x="84" y="105"/>
                </a:cubicBezTo>
                <a:close/>
                <a:moveTo>
                  <a:pt x="102" y="211"/>
                </a:moveTo>
                <a:cubicBezTo>
                  <a:pt x="102" y="213"/>
                  <a:pt x="102" y="214"/>
                  <a:pt x="103" y="215"/>
                </a:cubicBezTo>
                <a:cubicBezTo>
                  <a:pt x="103" y="216"/>
                  <a:pt x="103" y="216"/>
                  <a:pt x="103" y="217"/>
                </a:cubicBezTo>
                <a:cubicBezTo>
                  <a:pt x="104" y="217"/>
                  <a:pt x="104" y="218"/>
                  <a:pt x="104" y="218"/>
                </a:cubicBezTo>
                <a:cubicBezTo>
                  <a:pt x="105" y="217"/>
                  <a:pt x="106" y="220"/>
                  <a:pt x="108" y="219"/>
                </a:cubicBezTo>
                <a:cubicBezTo>
                  <a:pt x="108" y="218"/>
                  <a:pt x="109" y="218"/>
                  <a:pt x="109" y="216"/>
                </a:cubicBezTo>
                <a:cubicBezTo>
                  <a:pt x="109" y="216"/>
                  <a:pt x="109" y="215"/>
                  <a:pt x="109" y="216"/>
                </a:cubicBezTo>
                <a:cubicBezTo>
                  <a:pt x="109" y="215"/>
                  <a:pt x="109" y="214"/>
                  <a:pt x="110" y="214"/>
                </a:cubicBezTo>
                <a:cubicBezTo>
                  <a:pt x="109" y="212"/>
                  <a:pt x="109" y="210"/>
                  <a:pt x="109" y="208"/>
                </a:cubicBezTo>
                <a:cubicBezTo>
                  <a:pt x="108" y="208"/>
                  <a:pt x="108" y="207"/>
                  <a:pt x="108" y="206"/>
                </a:cubicBezTo>
                <a:cubicBezTo>
                  <a:pt x="108" y="205"/>
                  <a:pt x="107" y="205"/>
                  <a:pt x="107" y="205"/>
                </a:cubicBezTo>
                <a:cubicBezTo>
                  <a:pt x="106" y="207"/>
                  <a:pt x="104" y="206"/>
                  <a:pt x="104" y="208"/>
                </a:cubicBezTo>
                <a:cubicBezTo>
                  <a:pt x="103" y="208"/>
                  <a:pt x="103" y="210"/>
                  <a:pt x="102" y="211"/>
                </a:cubicBezTo>
                <a:close/>
                <a:moveTo>
                  <a:pt x="100" y="103"/>
                </a:moveTo>
                <a:cubicBezTo>
                  <a:pt x="100" y="102"/>
                  <a:pt x="100" y="102"/>
                  <a:pt x="100" y="101"/>
                </a:cubicBezTo>
                <a:cubicBezTo>
                  <a:pt x="100" y="101"/>
                  <a:pt x="99" y="101"/>
                  <a:pt x="100" y="101"/>
                </a:cubicBezTo>
                <a:cubicBezTo>
                  <a:pt x="97" y="100"/>
                  <a:pt x="99" y="103"/>
                  <a:pt x="100" y="103"/>
                </a:cubicBezTo>
                <a:close/>
                <a:moveTo>
                  <a:pt x="88" y="99"/>
                </a:moveTo>
                <a:cubicBezTo>
                  <a:pt x="88" y="100"/>
                  <a:pt x="88" y="100"/>
                  <a:pt x="88" y="101"/>
                </a:cubicBezTo>
                <a:cubicBezTo>
                  <a:pt x="88" y="101"/>
                  <a:pt x="88" y="101"/>
                  <a:pt x="89" y="101"/>
                </a:cubicBezTo>
                <a:cubicBezTo>
                  <a:pt x="89" y="100"/>
                  <a:pt x="89" y="99"/>
                  <a:pt x="88" y="99"/>
                </a:cubicBezTo>
                <a:close/>
                <a:moveTo>
                  <a:pt x="91" y="198"/>
                </a:moveTo>
                <a:cubicBezTo>
                  <a:pt x="91" y="197"/>
                  <a:pt x="93" y="197"/>
                  <a:pt x="93" y="195"/>
                </a:cubicBezTo>
                <a:cubicBezTo>
                  <a:pt x="93" y="195"/>
                  <a:pt x="94" y="195"/>
                  <a:pt x="95" y="195"/>
                </a:cubicBezTo>
                <a:cubicBezTo>
                  <a:pt x="95" y="194"/>
                  <a:pt x="95" y="193"/>
                  <a:pt x="95" y="192"/>
                </a:cubicBezTo>
                <a:cubicBezTo>
                  <a:pt x="94" y="192"/>
                  <a:pt x="93" y="192"/>
                  <a:pt x="93" y="193"/>
                </a:cubicBezTo>
                <a:cubicBezTo>
                  <a:pt x="93" y="192"/>
                  <a:pt x="92" y="191"/>
                  <a:pt x="91" y="191"/>
                </a:cubicBezTo>
                <a:cubicBezTo>
                  <a:pt x="91" y="192"/>
                  <a:pt x="90" y="193"/>
                  <a:pt x="89" y="193"/>
                </a:cubicBezTo>
                <a:cubicBezTo>
                  <a:pt x="89" y="194"/>
                  <a:pt x="88" y="195"/>
                  <a:pt x="88" y="197"/>
                </a:cubicBezTo>
                <a:cubicBezTo>
                  <a:pt x="89" y="197"/>
                  <a:pt x="90" y="198"/>
                  <a:pt x="91" y="198"/>
                </a:cubicBezTo>
                <a:close/>
                <a:moveTo>
                  <a:pt x="95" y="207"/>
                </a:moveTo>
                <a:cubicBezTo>
                  <a:pt x="95" y="205"/>
                  <a:pt x="95" y="204"/>
                  <a:pt x="96" y="204"/>
                </a:cubicBezTo>
                <a:cubicBezTo>
                  <a:pt x="97" y="202"/>
                  <a:pt x="97" y="200"/>
                  <a:pt x="95" y="202"/>
                </a:cubicBezTo>
                <a:cubicBezTo>
                  <a:pt x="95" y="203"/>
                  <a:pt x="95" y="203"/>
                  <a:pt x="95" y="203"/>
                </a:cubicBezTo>
                <a:cubicBezTo>
                  <a:pt x="95" y="203"/>
                  <a:pt x="95" y="204"/>
                  <a:pt x="94" y="204"/>
                </a:cubicBezTo>
                <a:cubicBezTo>
                  <a:pt x="94" y="205"/>
                  <a:pt x="94" y="206"/>
                  <a:pt x="95" y="207"/>
                </a:cubicBezTo>
                <a:close/>
                <a:moveTo>
                  <a:pt x="104" y="175"/>
                </a:moveTo>
                <a:cubicBezTo>
                  <a:pt x="105" y="175"/>
                  <a:pt x="105" y="174"/>
                  <a:pt x="105" y="175"/>
                </a:cubicBezTo>
                <a:cubicBezTo>
                  <a:pt x="105" y="174"/>
                  <a:pt x="106" y="173"/>
                  <a:pt x="107" y="173"/>
                </a:cubicBezTo>
                <a:cubicBezTo>
                  <a:pt x="107" y="172"/>
                  <a:pt x="107" y="171"/>
                  <a:pt x="107" y="170"/>
                </a:cubicBezTo>
                <a:cubicBezTo>
                  <a:pt x="106" y="170"/>
                  <a:pt x="106" y="169"/>
                  <a:pt x="105" y="168"/>
                </a:cubicBezTo>
                <a:cubicBezTo>
                  <a:pt x="104" y="168"/>
                  <a:pt x="103" y="168"/>
                  <a:pt x="102" y="167"/>
                </a:cubicBezTo>
                <a:cubicBezTo>
                  <a:pt x="101" y="165"/>
                  <a:pt x="99" y="165"/>
                  <a:pt x="99" y="163"/>
                </a:cubicBezTo>
                <a:cubicBezTo>
                  <a:pt x="99" y="162"/>
                  <a:pt x="98" y="162"/>
                  <a:pt x="97" y="161"/>
                </a:cubicBezTo>
                <a:cubicBezTo>
                  <a:pt x="98" y="160"/>
                  <a:pt x="97" y="159"/>
                  <a:pt x="97" y="158"/>
                </a:cubicBezTo>
                <a:cubicBezTo>
                  <a:pt x="97" y="158"/>
                  <a:pt x="97" y="158"/>
                  <a:pt x="96" y="158"/>
                </a:cubicBezTo>
                <a:cubicBezTo>
                  <a:pt x="96" y="159"/>
                  <a:pt x="95" y="159"/>
                  <a:pt x="95" y="159"/>
                </a:cubicBezTo>
                <a:cubicBezTo>
                  <a:pt x="93" y="159"/>
                  <a:pt x="93" y="159"/>
                  <a:pt x="92" y="160"/>
                </a:cubicBezTo>
                <a:cubicBezTo>
                  <a:pt x="92" y="161"/>
                  <a:pt x="90" y="161"/>
                  <a:pt x="91" y="163"/>
                </a:cubicBezTo>
                <a:cubicBezTo>
                  <a:pt x="91" y="163"/>
                  <a:pt x="91" y="163"/>
                  <a:pt x="91" y="163"/>
                </a:cubicBezTo>
                <a:cubicBezTo>
                  <a:pt x="91" y="164"/>
                  <a:pt x="91" y="165"/>
                  <a:pt x="92" y="165"/>
                </a:cubicBezTo>
                <a:cubicBezTo>
                  <a:pt x="92" y="166"/>
                  <a:pt x="94" y="165"/>
                  <a:pt x="94" y="167"/>
                </a:cubicBezTo>
                <a:cubicBezTo>
                  <a:pt x="95" y="167"/>
                  <a:pt x="98" y="166"/>
                  <a:pt x="97" y="168"/>
                </a:cubicBezTo>
                <a:cubicBezTo>
                  <a:pt x="95" y="167"/>
                  <a:pt x="95" y="169"/>
                  <a:pt x="93" y="168"/>
                </a:cubicBezTo>
                <a:cubicBezTo>
                  <a:pt x="93" y="170"/>
                  <a:pt x="93" y="171"/>
                  <a:pt x="92" y="171"/>
                </a:cubicBezTo>
                <a:cubicBezTo>
                  <a:pt x="91" y="171"/>
                  <a:pt x="90" y="171"/>
                  <a:pt x="89" y="171"/>
                </a:cubicBezTo>
                <a:cubicBezTo>
                  <a:pt x="89" y="171"/>
                  <a:pt x="89" y="172"/>
                  <a:pt x="88" y="172"/>
                </a:cubicBezTo>
                <a:cubicBezTo>
                  <a:pt x="87" y="173"/>
                  <a:pt x="86" y="173"/>
                  <a:pt x="86" y="175"/>
                </a:cubicBezTo>
                <a:cubicBezTo>
                  <a:pt x="86" y="175"/>
                  <a:pt x="87" y="176"/>
                  <a:pt x="88" y="175"/>
                </a:cubicBezTo>
                <a:cubicBezTo>
                  <a:pt x="89" y="175"/>
                  <a:pt x="89" y="174"/>
                  <a:pt x="91" y="175"/>
                </a:cubicBezTo>
                <a:cubicBezTo>
                  <a:pt x="92" y="175"/>
                  <a:pt x="94" y="176"/>
                  <a:pt x="96" y="176"/>
                </a:cubicBezTo>
                <a:cubicBezTo>
                  <a:pt x="98" y="176"/>
                  <a:pt x="101" y="176"/>
                  <a:pt x="103" y="176"/>
                </a:cubicBezTo>
                <a:cubicBezTo>
                  <a:pt x="103" y="175"/>
                  <a:pt x="104" y="175"/>
                  <a:pt x="104" y="175"/>
                </a:cubicBezTo>
                <a:close/>
                <a:moveTo>
                  <a:pt x="102" y="184"/>
                </a:moveTo>
                <a:cubicBezTo>
                  <a:pt x="99" y="184"/>
                  <a:pt x="98" y="186"/>
                  <a:pt x="96" y="186"/>
                </a:cubicBezTo>
                <a:cubicBezTo>
                  <a:pt x="96" y="187"/>
                  <a:pt x="95" y="186"/>
                  <a:pt x="94" y="187"/>
                </a:cubicBezTo>
                <a:cubicBezTo>
                  <a:pt x="94" y="188"/>
                  <a:pt x="92" y="188"/>
                  <a:pt x="93" y="190"/>
                </a:cubicBezTo>
                <a:cubicBezTo>
                  <a:pt x="94" y="190"/>
                  <a:pt x="95" y="191"/>
                  <a:pt x="95" y="191"/>
                </a:cubicBezTo>
                <a:cubicBezTo>
                  <a:pt x="96" y="191"/>
                  <a:pt x="95" y="190"/>
                  <a:pt x="96" y="191"/>
                </a:cubicBezTo>
                <a:cubicBezTo>
                  <a:pt x="97" y="191"/>
                  <a:pt x="97" y="191"/>
                  <a:pt x="98" y="191"/>
                </a:cubicBezTo>
                <a:cubicBezTo>
                  <a:pt x="98" y="187"/>
                  <a:pt x="102" y="188"/>
                  <a:pt x="102" y="184"/>
                </a:cubicBezTo>
                <a:close/>
                <a:moveTo>
                  <a:pt x="91" y="99"/>
                </a:moveTo>
                <a:cubicBezTo>
                  <a:pt x="91" y="100"/>
                  <a:pt x="94" y="96"/>
                  <a:pt x="91" y="96"/>
                </a:cubicBezTo>
                <a:cubicBezTo>
                  <a:pt x="91" y="96"/>
                  <a:pt x="91" y="97"/>
                  <a:pt x="91" y="97"/>
                </a:cubicBezTo>
                <a:cubicBezTo>
                  <a:pt x="91" y="97"/>
                  <a:pt x="91" y="99"/>
                  <a:pt x="91" y="99"/>
                </a:cubicBezTo>
                <a:close/>
                <a:moveTo>
                  <a:pt x="116" y="90"/>
                </a:moveTo>
                <a:cubicBezTo>
                  <a:pt x="116" y="90"/>
                  <a:pt x="117" y="90"/>
                  <a:pt x="117" y="89"/>
                </a:cubicBezTo>
                <a:cubicBezTo>
                  <a:pt x="117" y="88"/>
                  <a:pt x="117" y="88"/>
                  <a:pt x="118" y="88"/>
                </a:cubicBezTo>
                <a:cubicBezTo>
                  <a:pt x="118" y="88"/>
                  <a:pt x="118" y="87"/>
                  <a:pt x="118" y="87"/>
                </a:cubicBezTo>
                <a:cubicBezTo>
                  <a:pt x="117" y="86"/>
                  <a:pt x="116" y="86"/>
                  <a:pt x="116" y="87"/>
                </a:cubicBezTo>
                <a:cubicBezTo>
                  <a:pt x="116" y="87"/>
                  <a:pt x="115" y="87"/>
                  <a:pt x="115" y="88"/>
                </a:cubicBezTo>
                <a:cubicBezTo>
                  <a:pt x="113" y="87"/>
                  <a:pt x="111" y="90"/>
                  <a:pt x="113" y="90"/>
                </a:cubicBezTo>
                <a:cubicBezTo>
                  <a:pt x="113" y="90"/>
                  <a:pt x="114" y="90"/>
                  <a:pt x="114" y="91"/>
                </a:cubicBezTo>
                <a:cubicBezTo>
                  <a:pt x="114" y="91"/>
                  <a:pt x="114" y="91"/>
                  <a:pt x="115" y="91"/>
                </a:cubicBezTo>
                <a:cubicBezTo>
                  <a:pt x="115" y="90"/>
                  <a:pt x="115" y="90"/>
                  <a:pt x="116" y="90"/>
                </a:cubicBezTo>
                <a:close/>
                <a:moveTo>
                  <a:pt x="114" y="117"/>
                </a:moveTo>
                <a:cubicBezTo>
                  <a:pt x="112" y="117"/>
                  <a:pt x="111" y="118"/>
                  <a:pt x="111" y="119"/>
                </a:cubicBezTo>
                <a:cubicBezTo>
                  <a:pt x="111" y="119"/>
                  <a:pt x="111" y="120"/>
                  <a:pt x="111" y="119"/>
                </a:cubicBezTo>
                <a:cubicBezTo>
                  <a:pt x="111" y="120"/>
                  <a:pt x="111" y="120"/>
                  <a:pt x="111" y="120"/>
                </a:cubicBezTo>
                <a:cubicBezTo>
                  <a:pt x="111" y="121"/>
                  <a:pt x="111" y="121"/>
                  <a:pt x="110" y="121"/>
                </a:cubicBezTo>
                <a:cubicBezTo>
                  <a:pt x="110" y="121"/>
                  <a:pt x="110" y="122"/>
                  <a:pt x="110" y="122"/>
                </a:cubicBezTo>
                <a:cubicBezTo>
                  <a:pt x="109" y="122"/>
                  <a:pt x="109" y="123"/>
                  <a:pt x="108" y="123"/>
                </a:cubicBezTo>
                <a:cubicBezTo>
                  <a:pt x="108" y="125"/>
                  <a:pt x="106" y="125"/>
                  <a:pt x="107" y="127"/>
                </a:cubicBezTo>
                <a:cubicBezTo>
                  <a:pt x="107" y="128"/>
                  <a:pt x="108" y="129"/>
                  <a:pt x="109" y="129"/>
                </a:cubicBezTo>
                <a:cubicBezTo>
                  <a:pt x="109" y="126"/>
                  <a:pt x="111" y="125"/>
                  <a:pt x="111" y="122"/>
                </a:cubicBezTo>
                <a:cubicBezTo>
                  <a:pt x="112" y="122"/>
                  <a:pt x="112" y="120"/>
                  <a:pt x="113" y="120"/>
                </a:cubicBezTo>
                <a:cubicBezTo>
                  <a:pt x="113" y="119"/>
                  <a:pt x="114" y="119"/>
                  <a:pt x="114" y="117"/>
                </a:cubicBezTo>
                <a:close/>
                <a:moveTo>
                  <a:pt x="97" y="149"/>
                </a:moveTo>
                <a:cubicBezTo>
                  <a:pt x="97" y="150"/>
                  <a:pt x="94" y="150"/>
                  <a:pt x="95" y="151"/>
                </a:cubicBezTo>
                <a:cubicBezTo>
                  <a:pt x="95" y="151"/>
                  <a:pt x="98" y="152"/>
                  <a:pt x="97" y="149"/>
                </a:cubicBezTo>
                <a:close/>
                <a:moveTo>
                  <a:pt x="90" y="182"/>
                </a:moveTo>
                <a:cubicBezTo>
                  <a:pt x="90" y="182"/>
                  <a:pt x="91" y="182"/>
                  <a:pt x="91" y="181"/>
                </a:cubicBezTo>
                <a:cubicBezTo>
                  <a:pt x="91" y="181"/>
                  <a:pt x="91" y="180"/>
                  <a:pt x="91" y="180"/>
                </a:cubicBezTo>
                <a:cubicBezTo>
                  <a:pt x="89" y="179"/>
                  <a:pt x="90" y="181"/>
                  <a:pt x="88" y="181"/>
                </a:cubicBezTo>
                <a:cubicBezTo>
                  <a:pt x="88" y="182"/>
                  <a:pt x="87" y="182"/>
                  <a:pt x="87" y="183"/>
                </a:cubicBezTo>
                <a:cubicBezTo>
                  <a:pt x="87" y="183"/>
                  <a:pt x="86" y="183"/>
                  <a:pt x="86" y="183"/>
                </a:cubicBezTo>
                <a:cubicBezTo>
                  <a:pt x="86" y="183"/>
                  <a:pt x="86" y="184"/>
                  <a:pt x="86" y="184"/>
                </a:cubicBezTo>
                <a:cubicBezTo>
                  <a:pt x="86" y="186"/>
                  <a:pt x="84" y="185"/>
                  <a:pt x="84" y="187"/>
                </a:cubicBezTo>
                <a:cubicBezTo>
                  <a:pt x="85" y="187"/>
                  <a:pt x="85" y="188"/>
                  <a:pt x="86" y="188"/>
                </a:cubicBezTo>
                <a:cubicBezTo>
                  <a:pt x="87" y="188"/>
                  <a:pt x="87" y="188"/>
                  <a:pt x="87" y="188"/>
                </a:cubicBezTo>
                <a:cubicBezTo>
                  <a:pt x="87" y="188"/>
                  <a:pt x="87" y="187"/>
                  <a:pt x="88" y="186"/>
                </a:cubicBezTo>
                <a:cubicBezTo>
                  <a:pt x="88" y="186"/>
                  <a:pt x="89" y="186"/>
                  <a:pt x="89" y="186"/>
                </a:cubicBezTo>
                <a:cubicBezTo>
                  <a:pt x="90" y="185"/>
                  <a:pt x="89" y="183"/>
                  <a:pt x="90" y="182"/>
                </a:cubicBezTo>
                <a:close/>
                <a:moveTo>
                  <a:pt x="261" y="381"/>
                </a:moveTo>
                <a:cubicBezTo>
                  <a:pt x="260" y="379"/>
                  <a:pt x="259" y="378"/>
                  <a:pt x="258" y="376"/>
                </a:cubicBezTo>
                <a:cubicBezTo>
                  <a:pt x="258" y="376"/>
                  <a:pt x="258" y="376"/>
                  <a:pt x="258" y="376"/>
                </a:cubicBezTo>
                <a:cubicBezTo>
                  <a:pt x="257" y="375"/>
                  <a:pt x="257" y="374"/>
                  <a:pt x="256" y="373"/>
                </a:cubicBezTo>
                <a:cubicBezTo>
                  <a:pt x="256" y="373"/>
                  <a:pt x="256" y="373"/>
                  <a:pt x="256" y="373"/>
                </a:cubicBezTo>
                <a:cubicBezTo>
                  <a:pt x="256" y="373"/>
                  <a:pt x="256" y="372"/>
                  <a:pt x="256" y="372"/>
                </a:cubicBezTo>
                <a:cubicBezTo>
                  <a:pt x="255" y="372"/>
                  <a:pt x="255" y="372"/>
                  <a:pt x="255" y="372"/>
                </a:cubicBezTo>
                <a:cubicBezTo>
                  <a:pt x="255" y="372"/>
                  <a:pt x="255" y="372"/>
                  <a:pt x="255" y="372"/>
                </a:cubicBezTo>
                <a:cubicBezTo>
                  <a:pt x="254" y="371"/>
                  <a:pt x="253" y="370"/>
                  <a:pt x="252" y="369"/>
                </a:cubicBezTo>
                <a:cubicBezTo>
                  <a:pt x="252" y="369"/>
                  <a:pt x="252" y="369"/>
                  <a:pt x="252" y="369"/>
                </a:cubicBezTo>
                <a:cubicBezTo>
                  <a:pt x="250" y="369"/>
                  <a:pt x="250" y="367"/>
                  <a:pt x="249" y="367"/>
                </a:cubicBezTo>
                <a:cubicBezTo>
                  <a:pt x="249" y="366"/>
                  <a:pt x="248" y="366"/>
                  <a:pt x="248" y="366"/>
                </a:cubicBezTo>
                <a:cubicBezTo>
                  <a:pt x="248" y="366"/>
                  <a:pt x="247" y="365"/>
                  <a:pt x="246" y="365"/>
                </a:cubicBezTo>
                <a:cubicBezTo>
                  <a:pt x="246" y="364"/>
                  <a:pt x="244" y="365"/>
                  <a:pt x="243" y="364"/>
                </a:cubicBezTo>
                <a:cubicBezTo>
                  <a:pt x="243" y="364"/>
                  <a:pt x="243" y="364"/>
                  <a:pt x="243" y="364"/>
                </a:cubicBezTo>
                <a:cubicBezTo>
                  <a:pt x="243" y="362"/>
                  <a:pt x="240" y="364"/>
                  <a:pt x="240" y="363"/>
                </a:cubicBezTo>
                <a:cubicBezTo>
                  <a:pt x="240" y="363"/>
                  <a:pt x="239" y="363"/>
                  <a:pt x="239" y="363"/>
                </a:cubicBezTo>
                <a:cubicBezTo>
                  <a:pt x="239" y="363"/>
                  <a:pt x="239" y="363"/>
                  <a:pt x="239" y="363"/>
                </a:cubicBezTo>
                <a:cubicBezTo>
                  <a:pt x="239" y="363"/>
                  <a:pt x="239" y="363"/>
                  <a:pt x="238" y="363"/>
                </a:cubicBezTo>
                <a:cubicBezTo>
                  <a:pt x="238" y="362"/>
                  <a:pt x="237" y="362"/>
                  <a:pt x="236" y="362"/>
                </a:cubicBezTo>
                <a:cubicBezTo>
                  <a:pt x="234" y="362"/>
                  <a:pt x="231" y="362"/>
                  <a:pt x="229" y="362"/>
                </a:cubicBezTo>
                <a:cubicBezTo>
                  <a:pt x="229" y="362"/>
                  <a:pt x="229" y="363"/>
                  <a:pt x="228" y="363"/>
                </a:cubicBezTo>
                <a:cubicBezTo>
                  <a:pt x="226" y="363"/>
                  <a:pt x="227" y="366"/>
                  <a:pt x="226" y="368"/>
                </a:cubicBezTo>
                <a:cubicBezTo>
                  <a:pt x="226" y="368"/>
                  <a:pt x="226" y="368"/>
                  <a:pt x="225" y="368"/>
                </a:cubicBezTo>
                <a:cubicBezTo>
                  <a:pt x="225" y="368"/>
                  <a:pt x="225" y="369"/>
                  <a:pt x="225" y="369"/>
                </a:cubicBezTo>
                <a:cubicBezTo>
                  <a:pt x="224" y="369"/>
                  <a:pt x="224" y="367"/>
                  <a:pt x="223" y="367"/>
                </a:cubicBezTo>
                <a:cubicBezTo>
                  <a:pt x="222" y="367"/>
                  <a:pt x="222" y="367"/>
                  <a:pt x="222" y="368"/>
                </a:cubicBezTo>
                <a:cubicBezTo>
                  <a:pt x="220" y="368"/>
                  <a:pt x="221" y="366"/>
                  <a:pt x="220" y="365"/>
                </a:cubicBezTo>
                <a:cubicBezTo>
                  <a:pt x="220" y="365"/>
                  <a:pt x="220" y="365"/>
                  <a:pt x="220" y="365"/>
                </a:cubicBezTo>
                <a:cubicBezTo>
                  <a:pt x="220" y="364"/>
                  <a:pt x="219" y="364"/>
                  <a:pt x="219" y="363"/>
                </a:cubicBezTo>
                <a:cubicBezTo>
                  <a:pt x="218" y="364"/>
                  <a:pt x="218" y="363"/>
                  <a:pt x="217" y="363"/>
                </a:cubicBezTo>
                <a:cubicBezTo>
                  <a:pt x="217" y="363"/>
                  <a:pt x="216" y="362"/>
                  <a:pt x="216" y="362"/>
                </a:cubicBezTo>
                <a:cubicBezTo>
                  <a:pt x="217" y="361"/>
                  <a:pt x="218" y="361"/>
                  <a:pt x="219" y="361"/>
                </a:cubicBezTo>
                <a:cubicBezTo>
                  <a:pt x="219" y="361"/>
                  <a:pt x="219" y="360"/>
                  <a:pt x="219" y="360"/>
                </a:cubicBezTo>
                <a:cubicBezTo>
                  <a:pt x="220" y="360"/>
                  <a:pt x="220" y="360"/>
                  <a:pt x="220" y="360"/>
                </a:cubicBezTo>
                <a:cubicBezTo>
                  <a:pt x="221" y="360"/>
                  <a:pt x="222" y="359"/>
                  <a:pt x="222" y="358"/>
                </a:cubicBezTo>
                <a:cubicBezTo>
                  <a:pt x="222" y="358"/>
                  <a:pt x="223" y="358"/>
                  <a:pt x="223" y="358"/>
                </a:cubicBezTo>
                <a:cubicBezTo>
                  <a:pt x="223" y="357"/>
                  <a:pt x="223" y="357"/>
                  <a:pt x="224" y="357"/>
                </a:cubicBezTo>
                <a:cubicBezTo>
                  <a:pt x="224" y="357"/>
                  <a:pt x="224" y="357"/>
                  <a:pt x="224" y="356"/>
                </a:cubicBezTo>
                <a:cubicBezTo>
                  <a:pt x="224" y="356"/>
                  <a:pt x="224" y="356"/>
                  <a:pt x="225" y="356"/>
                </a:cubicBezTo>
                <a:cubicBezTo>
                  <a:pt x="225" y="356"/>
                  <a:pt x="225" y="356"/>
                  <a:pt x="225" y="356"/>
                </a:cubicBezTo>
                <a:cubicBezTo>
                  <a:pt x="225" y="355"/>
                  <a:pt x="228" y="356"/>
                  <a:pt x="227" y="353"/>
                </a:cubicBezTo>
                <a:cubicBezTo>
                  <a:pt x="227" y="353"/>
                  <a:pt x="227" y="353"/>
                  <a:pt x="227" y="353"/>
                </a:cubicBezTo>
                <a:cubicBezTo>
                  <a:pt x="227" y="353"/>
                  <a:pt x="227" y="353"/>
                  <a:pt x="228" y="353"/>
                </a:cubicBezTo>
                <a:cubicBezTo>
                  <a:pt x="228" y="349"/>
                  <a:pt x="227" y="348"/>
                  <a:pt x="227" y="344"/>
                </a:cubicBezTo>
                <a:cubicBezTo>
                  <a:pt x="227" y="343"/>
                  <a:pt x="225" y="344"/>
                  <a:pt x="226" y="342"/>
                </a:cubicBezTo>
                <a:cubicBezTo>
                  <a:pt x="226" y="340"/>
                  <a:pt x="224" y="339"/>
                  <a:pt x="225" y="337"/>
                </a:cubicBezTo>
                <a:cubicBezTo>
                  <a:pt x="223" y="336"/>
                  <a:pt x="222" y="335"/>
                  <a:pt x="220" y="334"/>
                </a:cubicBezTo>
                <a:cubicBezTo>
                  <a:pt x="220" y="334"/>
                  <a:pt x="220" y="334"/>
                  <a:pt x="220" y="334"/>
                </a:cubicBezTo>
                <a:cubicBezTo>
                  <a:pt x="219" y="332"/>
                  <a:pt x="218" y="332"/>
                  <a:pt x="218" y="331"/>
                </a:cubicBezTo>
                <a:cubicBezTo>
                  <a:pt x="218" y="331"/>
                  <a:pt x="218" y="331"/>
                  <a:pt x="218" y="330"/>
                </a:cubicBezTo>
                <a:cubicBezTo>
                  <a:pt x="217" y="330"/>
                  <a:pt x="217" y="330"/>
                  <a:pt x="217" y="329"/>
                </a:cubicBezTo>
                <a:cubicBezTo>
                  <a:pt x="216" y="329"/>
                  <a:pt x="215" y="328"/>
                  <a:pt x="215" y="327"/>
                </a:cubicBezTo>
                <a:cubicBezTo>
                  <a:pt x="215" y="327"/>
                  <a:pt x="214" y="326"/>
                  <a:pt x="214" y="326"/>
                </a:cubicBezTo>
                <a:cubicBezTo>
                  <a:pt x="213" y="326"/>
                  <a:pt x="213" y="326"/>
                  <a:pt x="212" y="325"/>
                </a:cubicBezTo>
                <a:cubicBezTo>
                  <a:pt x="210" y="325"/>
                  <a:pt x="209" y="325"/>
                  <a:pt x="207" y="324"/>
                </a:cubicBezTo>
                <a:cubicBezTo>
                  <a:pt x="206" y="324"/>
                  <a:pt x="205" y="324"/>
                  <a:pt x="204" y="324"/>
                </a:cubicBezTo>
                <a:cubicBezTo>
                  <a:pt x="203" y="324"/>
                  <a:pt x="202" y="324"/>
                  <a:pt x="202" y="324"/>
                </a:cubicBezTo>
                <a:cubicBezTo>
                  <a:pt x="202" y="323"/>
                  <a:pt x="204" y="323"/>
                  <a:pt x="205" y="323"/>
                </a:cubicBezTo>
                <a:cubicBezTo>
                  <a:pt x="206" y="323"/>
                  <a:pt x="206" y="324"/>
                  <a:pt x="208" y="324"/>
                </a:cubicBezTo>
                <a:cubicBezTo>
                  <a:pt x="209" y="324"/>
                  <a:pt x="211" y="324"/>
                  <a:pt x="213" y="324"/>
                </a:cubicBezTo>
                <a:cubicBezTo>
                  <a:pt x="213" y="324"/>
                  <a:pt x="214" y="324"/>
                  <a:pt x="215" y="324"/>
                </a:cubicBezTo>
                <a:cubicBezTo>
                  <a:pt x="215" y="325"/>
                  <a:pt x="215" y="326"/>
                  <a:pt x="216" y="327"/>
                </a:cubicBezTo>
                <a:cubicBezTo>
                  <a:pt x="216" y="327"/>
                  <a:pt x="217" y="327"/>
                  <a:pt x="217" y="328"/>
                </a:cubicBezTo>
                <a:cubicBezTo>
                  <a:pt x="217" y="328"/>
                  <a:pt x="217" y="328"/>
                  <a:pt x="217" y="328"/>
                </a:cubicBezTo>
                <a:cubicBezTo>
                  <a:pt x="218" y="329"/>
                  <a:pt x="218" y="328"/>
                  <a:pt x="218" y="329"/>
                </a:cubicBezTo>
                <a:cubicBezTo>
                  <a:pt x="220" y="329"/>
                  <a:pt x="221" y="330"/>
                  <a:pt x="222" y="331"/>
                </a:cubicBezTo>
                <a:cubicBezTo>
                  <a:pt x="222" y="328"/>
                  <a:pt x="224" y="328"/>
                  <a:pt x="224" y="326"/>
                </a:cubicBezTo>
                <a:cubicBezTo>
                  <a:pt x="224" y="324"/>
                  <a:pt x="223" y="324"/>
                  <a:pt x="222" y="323"/>
                </a:cubicBezTo>
                <a:cubicBezTo>
                  <a:pt x="222" y="323"/>
                  <a:pt x="222" y="323"/>
                  <a:pt x="222" y="323"/>
                </a:cubicBezTo>
                <a:cubicBezTo>
                  <a:pt x="222" y="321"/>
                  <a:pt x="222" y="320"/>
                  <a:pt x="221" y="319"/>
                </a:cubicBezTo>
                <a:cubicBezTo>
                  <a:pt x="221" y="319"/>
                  <a:pt x="221" y="319"/>
                  <a:pt x="221" y="319"/>
                </a:cubicBezTo>
                <a:cubicBezTo>
                  <a:pt x="221" y="318"/>
                  <a:pt x="220" y="317"/>
                  <a:pt x="220" y="317"/>
                </a:cubicBezTo>
                <a:cubicBezTo>
                  <a:pt x="220" y="317"/>
                  <a:pt x="220" y="316"/>
                  <a:pt x="220" y="316"/>
                </a:cubicBezTo>
                <a:cubicBezTo>
                  <a:pt x="220" y="314"/>
                  <a:pt x="221" y="312"/>
                  <a:pt x="219" y="311"/>
                </a:cubicBezTo>
                <a:cubicBezTo>
                  <a:pt x="221" y="311"/>
                  <a:pt x="220" y="309"/>
                  <a:pt x="222" y="309"/>
                </a:cubicBezTo>
                <a:cubicBezTo>
                  <a:pt x="221" y="307"/>
                  <a:pt x="225" y="309"/>
                  <a:pt x="224" y="308"/>
                </a:cubicBezTo>
                <a:cubicBezTo>
                  <a:pt x="224" y="308"/>
                  <a:pt x="223" y="307"/>
                  <a:pt x="224" y="307"/>
                </a:cubicBezTo>
                <a:cubicBezTo>
                  <a:pt x="223" y="305"/>
                  <a:pt x="221" y="305"/>
                  <a:pt x="220" y="303"/>
                </a:cubicBezTo>
                <a:cubicBezTo>
                  <a:pt x="219" y="302"/>
                  <a:pt x="218" y="300"/>
                  <a:pt x="217" y="299"/>
                </a:cubicBezTo>
                <a:cubicBezTo>
                  <a:pt x="217" y="295"/>
                  <a:pt x="215" y="293"/>
                  <a:pt x="215" y="289"/>
                </a:cubicBezTo>
                <a:cubicBezTo>
                  <a:pt x="215" y="289"/>
                  <a:pt x="215" y="289"/>
                  <a:pt x="215" y="289"/>
                </a:cubicBezTo>
                <a:cubicBezTo>
                  <a:pt x="215" y="289"/>
                  <a:pt x="215" y="289"/>
                  <a:pt x="215" y="289"/>
                </a:cubicBezTo>
                <a:cubicBezTo>
                  <a:pt x="214" y="288"/>
                  <a:pt x="213" y="288"/>
                  <a:pt x="212" y="286"/>
                </a:cubicBezTo>
                <a:cubicBezTo>
                  <a:pt x="212" y="286"/>
                  <a:pt x="212" y="286"/>
                  <a:pt x="211" y="286"/>
                </a:cubicBezTo>
                <a:cubicBezTo>
                  <a:pt x="211" y="285"/>
                  <a:pt x="210" y="284"/>
                  <a:pt x="208" y="284"/>
                </a:cubicBezTo>
                <a:cubicBezTo>
                  <a:pt x="208" y="284"/>
                  <a:pt x="208" y="284"/>
                  <a:pt x="208" y="283"/>
                </a:cubicBezTo>
                <a:cubicBezTo>
                  <a:pt x="207" y="283"/>
                  <a:pt x="206" y="282"/>
                  <a:pt x="205" y="281"/>
                </a:cubicBezTo>
                <a:cubicBezTo>
                  <a:pt x="205" y="281"/>
                  <a:pt x="205" y="281"/>
                  <a:pt x="205" y="281"/>
                </a:cubicBezTo>
                <a:cubicBezTo>
                  <a:pt x="204" y="280"/>
                  <a:pt x="204" y="278"/>
                  <a:pt x="202" y="279"/>
                </a:cubicBezTo>
                <a:cubicBezTo>
                  <a:pt x="202" y="279"/>
                  <a:pt x="202" y="279"/>
                  <a:pt x="202" y="279"/>
                </a:cubicBezTo>
                <a:cubicBezTo>
                  <a:pt x="201" y="279"/>
                  <a:pt x="201" y="279"/>
                  <a:pt x="201" y="278"/>
                </a:cubicBezTo>
                <a:cubicBezTo>
                  <a:pt x="201" y="278"/>
                  <a:pt x="201" y="277"/>
                  <a:pt x="201" y="276"/>
                </a:cubicBezTo>
                <a:cubicBezTo>
                  <a:pt x="201" y="276"/>
                  <a:pt x="201" y="276"/>
                  <a:pt x="201" y="276"/>
                </a:cubicBezTo>
                <a:cubicBezTo>
                  <a:pt x="202" y="275"/>
                  <a:pt x="201" y="275"/>
                  <a:pt x="201" y="274"/>
                </a:cubicBezTo>
                <a:cubicBezTo>
                  <a:pt x="201" y="274"/>
                  <a:pt x="201" y="274"/>
                  <a:pt x="201" y="274"/>
                </a:cubicBezTo>
                <a:cubicBezTo>
                  <a:pt x="200" y="273"/>
                  <a:pt x="200" y="272"/>
                  <a:pt x="200" y="272"/>
                </a:cubicBezTo>
                <a:cubicBezTo>
                  <a:pt x="200" y="272"/>
                  <a:pt x="199" y="272"/>
                  <a:pt x="199" y="272"/>
                </a:cubicBezTo>
                <a:cubicBezTo>
                  <a:pt x="199" y="272"/>
                  <a:pt x="199" y="271"/>
                  <a:pt x="199" y="271"/>
                </a:cubicBezTo>
                <a:cubicBezTo>
                  <a:pt x="200" y="268"/>
                  <a:pt x="200" y="266"/>
                  <a:pt x="200" y="263"/>
                </a:cubicBezTo>
                <a:cubicBezTo>
                  <a:pt x="200" y="262"/>
                  <a:pt x="199" y="263"/>
                  <a:pt x="199" y="262"/>
                </a:cubicBezTo>
                <a:cubicBezTo>
                  <a:pt x="199" y="261"/>
                  <a:pt x="199" y="260"/>
                  <a:pt x="199" y="259"/>
                </a:cubicBezTo>
                <a:cubicBezTo>
                  <a:pt x="198" y="259"/>
                  <a:pt x="198" y="259"/>
                  <a:pt x="198" y="258"/>
                </a:cubicBezTo>
                <a:cubicBezTo>
                  <a:pt x="198" y="255"/>
                  <a:pt x="197" y="253"/>
                  <a:pt x="197" y="250"/>
                </a:cubicBezTo>
                <a:cubicBezTo>
                  <a:pt x="197" y="250"/>
                  <a:pt x="197" y="250"/>
                  <a:pt x="197" y="250"/>
                </a:cubicBezTo>
                <a:cubicBezTo>
                  <a:pt x="197" y="248"/>
                  <a:pt x="199" y="248"/>
                  <a:pt x="198" y="246"/>
                </a:cubicBezTo>
                <a:cubicBezTo>
                  <a:pt x="198" y="246"/>
                  <a:pt x="198" y="246"/>
                  <a:pt x="198" y="246"/>
                </a:cubicBezTo>
                <a:cubicBezTo>
                  <a:pt x="198" y="245"/>
                  <a:pt x="198" y="243"/>
                  <a:pt x="198" y="241"/>
                </a:cubicBezTo>
                <a:cubicBezTo>
                  <a:pt x="198" y="241"/>
                  <a:pt x="198" y="241"/>
                  <a:pt x="199" y="241"/>
                </a:cubicBezTo>
                <a:cubicBezTo>
                  <a:pt x="199" y="239"/>
                  <a:pt x="199" y="237"/>
                  <a:pt x="199" y="235"/>
                </a:cubicBezTo>
                <a:cubicBezTo>
                  <a:pt x="199" y="235"/>
                  <a:pt x="199" y="235"/>
                  <a:pt x="199" y="234"/>
                </a:cubicBezTo>
                <a:cubicBezTo>
                  <a:pt x="199" y="233"/>
                  <a:pt x="197" y="233"/>
                  <a:pt x="197" y="232"/>
                </a:cubicBezTo>
                <a:cubicBezTo>
                  <a:pt x="197" y="231"/>
                  <a:pt x="196" y="231"/>
                  <a:pt x="196" y="231"/>
                </a:cubicBezTo>
                <a:cubicBezTo>
                  <a:pt x="196" y="231"/>
                  <a:pt x="196" y="230"/>
                  <a:pt x="196" y="229"/>
                </a:cubicBezTo>
                <a:cubicBezTo>
                  <a:pt x="196" y="229"/>
                  <a:pt x="196" y="229"/>
                  <a:pt x="196" y="229"/>
                </a:cubicBezTo>
                <a:cubicBezTo>
                  <a:pt x="197" y="227"/>
                  <a:pt x="194" y="227"/>
                  <a:pt x="194" y="227"/>
                </a:cubicBezTo>
                <a:cubicBezTo>
                  <a:pt x="194" y="227"/>
                  <a:pt x="194" y="227"/>
                  <a:pt x="194" y="227"/>
                </a:cubicBezTo>
                <a:cubicBezTo>
                  <a:pt x="191" y="226"/>
                  <a:pt x="191" y="223"/>
                  <a:pt x="190" y="220"/>
                </a:cubicBezTo>
                <a:cubicBezTo>
                  <a:pt x="190" y="220"/>
                  <a:pt x="190" y="219"/>
                  <a:pt x="190" y="219"/>
                </a:cubicBezTo>
                <a:cubicBezTo>
                  <a:pt x="189" y="219"/>
                  <a:pt x="189" y="218"/>
                  <a:pt x="189" y="216"/>
                </a:cubicBezTo>
                <a:cubicBezTo>
                  <a:pt x="187" y="216"/>
                  <a:pt x="187" y="215"/>
                  <a:pt x="185" y="214"/>
                </a:cubicBezTo>
                <a:cubicBezTo>
                  <a:pt x="185" y="214"/>
                  <a:pt x="184" y="214"/>
                  <a:pt x="185" y="214"/>
                </a:cubicBezTo>
                <a:cubicBezTo>
                  <a:pt x="183" y="213"/>
                  <a:pt x="183" y="211"/>
                  <a:pt x="181" y="211"/>
                </a:cubicBezTo>
                <a:cubicBezTo>
                  <a:pt x="181" y="210"/>
                  <a:pt x="179" y="210"/>
                  <a:pt x="178" y="209"/>
                </a:cubicBezTo>
                <a:cubicBezTo>
                  <a:pt x="178" y="208"/>
                  <a:pt x="178" y="208"/>
                  <a:pt x="178" y="207"/>
                </a:cubicBezTo>
                <a:cubicBezTo>
                  <a:pt x="177" y="207"/>
                  <a:pt x="176" y="206"/>
                  <a:pt x="176" y="206"/>
                </a:cubicBezTo>
                <a:cubicBezTo>
                  <a:pt x="175" y="206"/>
                  <a:pt x="174" y="206"/>
                  <a:pt x="173" y="205"/>
                </a:cubicBezTo>
                <a:cubicBezTo>
                  <a:pt x="173" y="206"/>
                  <a:pt x="171" y="206"/>
                  <a:pt x="171" y="207"/>
                </a:cubicBezTo>
                <a:cubicBezTo>
                  <a:pt x="171" y="207"/>
                  <a:pt x="171" y="207"/>
                  <a:pt x="170" y="207"/>
                </a:cubicBezTo>
                <a:cubicBezTo>
                  <a:pt x="169" y="208"/>
                  <a:pt x="168" y="209"/>
                  <a:pt x="166" y="209"/>
                </a:cubicBezTo>
                <a:cubicBezTo>
                  <a:pt x="165" y="208"/>
                  <a:pt x="163" y="207"/>
                  <a:pt x="160" y="207"/>
                </a:cubicBezTo>
                <a:cubicBezTo>
                  <a:pt x="160" y="205"/>
                  <a:pt x="157" y="205"/>
                  <a:pt x="157" y="204"/>
                </a:cubicBezTo>
                <a:cubicBezTo>
                  <a:pt x="156" y="204"/>
                  <a:pt x="154" y="204"/>
                  <a:pt x="154" y="203"/>
                </a:cubicBezTo>
                <a:cubicBezTo>
                  <a:pt x="153" y="203"/>
                  <a:pt x="152" y="203"/>
                  <a:pt x="152" y="202"/>
                </a:cubicBezTo>
                <a:cubicBezTo>
                  <a:pt x="151" y="202"/>
                  <a:pt x="150" y="202"/>
                  <a:pt x="150" y="202"/>
                </a:cubicBezTo>
                <a:cubicBezTo>
                  <a:pt x="149" y="202"/>
                  <a:pt x="149" y="200"/>
                  <a:pt x="150" y="200"/>
                </a:cubicBezTo>
                <a:cubicBezTo>
                  <a:pt x="150" y="200"/>
                  <a:pt x="150" y="201"/>
                  <a:pt x="150" y="202"/>
                </a:cubicBezTo>
                <a:cubicBezTo>
                  <a:pt x="151" y="202"/>
                  <a:pt x="151" y="202"/>
                  <a:pt x="152" y="202"/>
                </a:cubicBezTo>
                <a:cubicBezTo>
                  <a:pt x="152" y="202"/>
                  <a:pt x="155" y="202"/>
                  <a:pt x="155" y="202"/>
                </a:cubicBezTo>
                <a:cubicBezTo>
                  <a:pt x="155" y="202"/>
                  <a:pt x="155" y="203"/>
                  <a:pt x="155" y="203"/>
                </a:cubicBezTo>
                <a:cubicBezTo>
                  <a:pt x="156" y="203"/>
                  <a:pt x="158" y="203"/>
                  <a:pt x="159" y="204"/>
                </a:cubicBezTo>
                <a:cubicBezTo>
                  <a:pt x="160" y="205"/>
                  <a:pt x="160" y="203"/>
                  <a:pt x="162" y="204"/>
                </a:cubicBezTo>
                <a:cubicBezTo>
                  <a:pt x="163" y="205"/>
                  <a:pt x="163" y="203"/>
                  <a:pt x="164" y="204"/>
                </a:cubicBezTo>
                <a:cubicBezTo>
                  <a:pt x="164" y="203"/>
                  <a:pt x="165" y="203"/>
                  <a:pt x="165" y="202"/>
                </a:cubicBezTo>
                <a:cubicBezTo>
                  <a:pt x="166" y="203"/>
                  <a:pt x="166" y="202"/>
                  <a:pt x="166" y="202"/>
                </a:cubicBezTo>
                <a:cubicBezTo>
                  <a:pt x="166" y="201"/>
                  <a:pt x="166" y="200"/>
                  <a:pt x="167" y="200"/>
                </a:cubicBezTo>
                <a:cubicBezTo>
                  <a:pt x="170" y="200"/>
                  <a:pt x="171" y="199"/>
                  <a:pt x="174" y="200"/>
                </a:cubicBezTo>
                <a:cubicBezTo>
                  <a:pt x="176" y="199"/>
                  <a:pt x="182" y="200"/>
                  <a:pt x="180" y="197"/>
                </a:cubicBezTo>
                <a:cubicBezTo>
                  <a:pt x="180" y="197"/>
                  <a:pt x="180" y="196"/>
                  <a:pt x="180" y="196"/>
                </a:cubicBezTo>
                <a:cubicBezTo>
                  <a:pt x="180" y="196"/>
                  <a:pt x="180" y="195"/>
                  <a:pt x="180" y="194"/>
                </a:cubicBezTo>
                <a:cubicBezTo>
                  <a:pt x="178" y="193"/>
                  <a:pt x="177" y="192"/>
                  <a:pt x="176" y="191"/>
                </a:cubicBezTo>
                <a:cubicBezTo>
                  <a:pt x="176" y="190"/>
                  <a:pt x="176" y="189"/>
                  <a:pt x="176" y="188"/>
                </a:cubicBezTo>
                <a:cubicBezTo>
                  <a:pt x="175" y="188"/>
                  <a:pt x="173" y="188"/>
                  <a:pt x="171" y="188"/>
                </a:cubicBezTo>
                <a:cubicBezTo>
                  <a:pt x="170" y="188"/>
                  <a:pt x="167" y="189"/>
                  <a:pt x="167" y="188"/>
                </a:cubicBezTo>
                <a:cubicBezTo>
                  <a:pt x="170" y="188"/>
                  <a:pt x="172" y="187"/>
                  <a:pt x="176" y="187"/>
                </a:cubicBezTo>
                <a:cubicBezTo>
                  <a:pt x="176" y="188"/>
                  <a:pt x="177" y="187"/>
                  <a:pt x="178" y="188"/>
                </a:cubicBezTo>
                <a:cubicBezTo>
                  <a:pt x="178" y="188"/>
                  <a:pt x="178" y="188"/>
                  <a:pt x="179" y="189"/>
                </a:cubicBezTo>
                <a:cubicBezTo>
                  <a:pt x="179" y="189"/>
                  <a:pt x="179" y="189"/>
                  <a:pt x="179" y="188"/>
                </a:cubicBezTo>
                <a:cubicBezTo>
                  <a:pt x="179" y="187"/>
                  <a:pt x="181" y="188"/>
                  <a:pt x="181" y="187"/>
                </a:cubicBezTo>
                <a:cubicBezTo>
                  <a:pt x="182" y="187"/>
                  <a:pt x="182" y="186"/>
                  <a:pt x="182" y="186"/>
                </a:cubicBezTo>
                <a:cubicBezTo>
                  <a:pt x="182" y="186"/>
                  <a:pt x="182" y="186"/>
                  <a:pt x="182" y="186"/>
                </a:cubicBezTo>
                <a:cubicBezTo>
                  <a:pt x="184" y="186"/>
                  <a:pt x="183" y="184"/>
                  <a:pt x="186" y="185"/>
                </a:cubicBezTo>
                <a:cubicBezTo>
                  <a:pt x="186" y="183"/>
                  <a:pt x="187" y="182"/>
                  <a:pt x="188" y="181"/>
                </a:cubicBezTo>
                <a:cubicBezTo>
                  <a:pt x="188" y="179"/>
                  <a:pt x="190" y="179"/>
                  <a:pt x="189" y="177"/>
                </a:cubicBezTo>
                <a:cubicBezTo>
                  <a:pt x="190" y="178"/>
                  <a:pt x="191" y="177"/>
                  <a:pt x="191" y="177"/>
                </a:cubicBezTo>
                <a:cubicBezTo>
                  <a:pt x="191" y="177"/>
                  <a:pt x="191" y="177"/>
                  <a:pt x="191" y="177"/>
                </a:cubicBezTo>
                <a:cubicBezTo>
                  <a:pt x="192" y="177"/>
                  <a:pt x="193" y="175"/>
                  <a:pt x="194" y="175"/>
                </a:cubicBezTo>
                <a:cubicBezTo>
                  <a:pt x="194" y="174"/>
                  <a:pt x="194" y="174"/>
                  <a:pt x="195" y="174"/>
                </a:cubicBezTo>
                <a:cubicBezTo>
                  <a:pt x="195" y="173"/>
                  <a:pt x="195" y="172"/>
                  <a:pt x="196" y="171"/>
                </a:cubicBezTo>
                <a:cubicBezTo>
                  <a:pt x="196" y="171"/>
                  <a:pt x="196" y="171"/>
                  <a:pt x="197" y="171"/>
                </a:cubicBezTo>
                <a:cubicBezTo>
                  <a:pt x="197" y="171"/>
                  <a:pt x="197" y="171"/>
                  <a:pt x="197" y="170"/>
                </a:cubicBezTo>
                <a:cubicBezTo>
                  <a:pt x="197" y="170"/>
                  <a:pt x="198" y="170"/>
                  <a:pt x="198" y="169"/>
                </a:cubicBezTo>
                <a:cubicBezTo>
                  <a:pt x="198" y="169"/>
                  <a:pt x="198" y="169"/>
                  <a:pt x="198" y="169"/>
                </a:cubicBezTo>
                <a:cubicBezTo>
                  <a:pt x="198" y="167"/>
                  <a:pt x="200" y="167"/>
                  <a:pt x="200" y="166"/>
                </a:cubicBezTo>
                <a:cubicBezTo>
                  <a:pt x="200" y="166"/>
                  <a:pt x="200" y="166"/>
                  <a:pt x="200" y="166"/>
                </a:cubicBezTo>
                <a:cubicBezTo>
                  <a:pt x="201" y="164"/>
                  <a:pt x="203" y="163"/>
                  <a:pt x="203" y="161"/>
                </a:cubicBezTo>
                <a:cubicBezTo>
                  <a:pt x="203" y="160"/>
                  <a:pt x="203" y="160"/>
                  <a:pt x="203" y="160"/>
                </a:cubicBezTo>
                <a:cubicBezTo>
                  <a:pt x="204" y="158"/>
                  <a:pt x="204" y="157"/>
                  <a:pt x="204" y="155"/>
                </a:cubicBezTo>
                <a:cubicBezTo>
                  <a:pt x="206" y="155"/>
                  <a:pt x="206" y="153"/>
                  <a:pt x="208" y="153"/>
                </a:cubicBezTo>
                <a:cubicBezTo>
                  <a:pt x="208" y="153"/>
                  <a:pt x="208" y="152"/>
                  <a:pt x="208" y="152"/>
                </a:cubicBezTo>
                <a:cubicBezTo>
                  <a:pt x="208" y="151"/>
                  <a:pt x="211" y="151"/>
                  <a:pt x="211" y="150"/>
                </a:cubicBezTo>
                <a:cubicBezTo>
                  <a:pt x="211" y="150"/>
                  <a:pt x="211" y="150"/>
                  <a:pt x="211" y="150"/>
                </a:cubicBezTo>
                <a:cubicBezTo>
                  <a:pt x="211" y="149"/>
                  <a:pt x="212" y="149"/>
                  <a:pt x="212" y="149"/>
                </a:cubicBezTo>
                <a:cubicBezTo>
                  <a:pt x="212" y="146"/>
                  <a:pt x="214" y="145"/>
                  <a:pt x="213" y="142"/>
                </a:cubicBezTo>
                <a:cubicBezTo>
                  <a:pt x="213" y="142"/>
                  <a:pt x="213" y="142"/>
                  <a:pt x="213" y="141"/>
                </a:cubicBezTo>
                <a:cubicBezTo>
                  <a:pt x="212" y="141"/>
                  <a:pt x="212" y="141"/>
                  <a:pt x="212" y="141"/>
                </a:cubicBezTo>
                <a:cubicBezTo>
                  <a:pt x="212" y="138"/>
                  <a:pt x="212" y="136"/>
                  <a:pt x="209" y="136"/>
                </a:cubicBezTo>
                <a:cubicBezTo>
                  <a:pt x="209" y="136"/>
                  <a:pt x="209" y="136"/>
                  <a:pt x="209" y="136"/>
                </a:cubicBezTo>
                <a:cubicBezTo>
                  <a:pt x="208" y="135"/>
                  <a:pt x="208" y="135"/>
                  <a:pt x="206" y="136"/>
                </a:cubicBezTo>
                <a:cubicBezTo>
                  <a:pt x="206" y="136"/>
                  <a:pt x="206" y="136"/>
                  <a:pt x="206" y="136"/>
                </a:cubicBezTo>
                <a:cubicBezTo>
                  <a:pt x="205" y="135"/>
                  <a:pt x="204" y="135"/>
                  <a:pt x="202" y="135"/>
                </a:cubicBezTo>
                <a:cubicBezTo>
                  <a:pt x="202" y="135"/>
                  <a:pt x="202" y="135"/>
                  <a:pt x="201" y="135"/>
                </a:cubicBezTo>
                <a:cubicBezTo>
                  <a:pt x="198" y="135"/>
                  <a:pt x="197" y="134"/>
                  <a:pt x="194" y="134"/>
                </a:cubicBezTo>
                <a:cubicBezTo>
                  <a:pt x="194" y="134"/>
                  <a:pt x="194" y="134"/>
                  <a:pt x="194" y="134"/>
                </a:cubicBezTo>
                <a:cubicBezTo>
                  <a:pt x="194" y="134"/>
                  <a:pt x="194" y="134"/>
                  <a:pt x="194" y="134"/>
                </a:cubicBezTo>
                <a:cubicBezTo>
                  <a:pt x="192" y="133"/>
                  <a:pt x="192" y="132"/>
                  <a:pt x="190" y="132"/>
                </a:cubicBezTo>
                <a:cubicBezTo>
                  <a:pt x="190" y="132"/>
                  <a:pt x="190" y="132"/>
                  <a:pt x="190" y="132"/>
                </a:cubicBezTo>
                <a:cubicBezTo>
                  <a:pt x="190" y="131"/>
                  <a:pt x="189" y="131"/>
                  <a:pt x="189" y="131"/>
                </a:cubicBezTo>
                <a:cubicBezTo>
                  <a:pt x="186" y="132"/>
                  <a:pt x="185" y="130"/>
                  <a:pt x="182" y="131"/>
                </a:cubicBezTo>
                <a:cubicBezTo>
                  <a:pt x="182" y="129"/>
                  <a:pt x="180" y="129"/>
                  <a:pt x="179" y="128"/>
                </a:cubicBezTo>
                <a:cubicBezTo>
                  <a:pt x="172" y="127"/>
                  <a:pt x="169" y="129"/>
                  <a:pt x="164" y="131"/>
                </a:cubicBezTo>
                <a:cubicBezTo>
                  <a:pt x="163" y="131"/>
                  <a:pt x="161" y="131"/>
                  <a:pt x="160" y="131"/>
                </a:cubicBezTo>
                <a:cubicBezTo>
                  <a:pt x="160" y="131"/>
                  <a:pt x="159" y="131"/>
                  <a:pt x="159" y="131"/>
                </a:cubicBezTo>
                <a:cubicBezTo>
                  <a:pt x="159" y="132"/>
                  <a:pt x="159" y="132"/>
                  <a:pt x="158" y="132"/>
                </a:cubicBezTo>
                <a:cubicBezTo>
                  <a:pt x="158" y="133"/>
                  <a:pt x="156" y="132"/>
                  <a:pt x="156" y="133"/>
                </a:cubicBezTo>
                <a:cubicBezTo>
                  <a:pt x="153" y="133"/>
                  <a:pt x="154" y="135"/>
                  <a:pt x="151" y="135"/>
                </a:cubicBezTo>
                <a:cubicBezTo>
                  <a:pt x="151" y="134"/>
                  <a:pt x="150" y="134"/>
                  <a:pt x="150" y="133"/>
                </a:cubicBezTo>
                <a:cubicBezTo>
                  <a:pt x="151" y="133"/>
                  <a:pt x="153" y="133"/>
                  <a:pt x="153" y="131"/>
                </a:cubicBezTo>
                <a:cubicBezTo>
                  <a:pt x="155" y="132"/>
                  <a:pt x="155" y="130"/>
                  <a:pt x="157" y="131"/>
                </a:cubicBezTo>
                <a:cubicBezTo>
                  <a:pt x="157" y="130"/>
                  <a:pt x="158" y="130"/>
                  <a:pt x="159" y="130"/>
                </a:cubicBezTo>
                <a:cubicBezTo>
                  <a:pt x="159" y="129"/>
                  <a:pt x="159" y="129"/>
                  <a:pt x="159" y="129"/>
                </a:cubicBezTo>
                <a:cubicBezTo>
                  <a:pt x="160" y="128"/>
                  <a:pt x="160" y="128"/>
                  <a:pt x="160" y="128"/>
                </a:cubicBezTo>
                <a:cubicBezTo>
                  <a:pt x="161" y="128"/>
                  <a:pt x="161" y="127"/>
                  <a:pt x="161" y="126"/>
                </a:cubicBezTo>
                <a:cubicBezTo>
                  <a:pt x="159" y="126"/>
                  <a:pt x="157" y="126"/>
                  <a:pt x="155" y="126"/>
                </a:cubicBezTo>
                <a:cubicBezTo>
                  <a:pt x="154" y="127"/>
                  <a:pt x="153" y="127"/>
                  <a:pt x="153" y="128"/>
                </a:cubicBezTo>
                <a:cubicBezTo>
                  <a:pt x="153" y="128"/>
                  <a:pt x="152" y="128"/>
                  <a:pt x="151" y="128"/>
                </a:cubicBezTo>
                <a:cubicBezTo>
                  <a:pt x="152" y="126"/>
                  <a:pt x="154" y="125"/>
                  <a:pt x="157" y="125"/>
                </a:cubicBezTo>
                <a:cubicBezTo>
                  <a:pt x="157" y="125"/>
                  <a:pt x="157" y="125"/>
                  <a:pt x="157" y="125"/>
                </a:cubicBezTo>
                <a:cubicBezTo>
                  <a:pt x="157" y="124"/>
                  <a:pt x="158" y="125"/>
                  <a:pt x="159" y="124"/>
                </a:cubicBezTo>
                <a:cubicBezTo>
                  <a:pt x="160" y="125"/>
                  <a:pt x="161" y="126"/>
                  <a:pt x="162" y="126"/>
                </a:cubicBezTo>
                <a:cubicBezTo>
                  <a:pt x="164" y="125"/>
                  <a:pt x="164" y="123"/>
                  <a:pt x="166" y="123"/>
                </a:cubicBezTo>
                <a:cubicBezTo>
                  <a:pt x="166" y="123"/>
                  <a:pt x="166" y="122"/>
                  <a:pt x="166" y="122"/>
                </a:cubicBezTo>
                <a:cubicBezTo>
                  <a:pt x="167" y="121"/>
                  <a:pt x="169" y="120"/>
                  <a:pt x="169" y="118"/>
                </a:cubicBezTo>
                <a:cubicBezTo>
                  <a:pt x="165" y="118"/>
                  <a:pt x="163" y="120"/>
                  <a:pt x="159" y="119"/>
                </a:cubicBezTo>
                <a:cubicBezTo>
                  <a:pt x="159" y="119"/>
                  <a:pt x="159" y="119"/>
                  <a:pt x="158" y="119"/>
                </a:cubicBezTo>
                <a:cubicBezTo>
                  <a:pt x="157" y="119"/>
                  <a:pt x="158" y="118"/>
                  <a:pt x="157" y="117"/>
                </a:cubicBezTo>
                <a:cubicBezTo>
                  <a:pt x="158" y="118"/>
                  <a:pt x="160" y="118"/>
                  <a:pt x="162" y="118"/>
                </a:cubicBezTo>
                <a:cubicBezTo>
                  <a:pt x="162" y="117"/>
                  <a:pt x="163" y="116"/>
                  <a:pt x="164" y="116"/>
                </a:cubicBezTo>
                <a:cubicBezTo>
                  <a:pt x="165" y="115"/>
                  <a:pt x="165" y="113"/>
                  <a:pt x="166" y="113"/>
                </a:cubicBezTo>
                <a:cubicBezTo>
                  <a:pt x="167" y="113"/>
                  <a:pt x="167" y="113"/>
                  <a:pt x="168" y="113"/>
                </a:cubicBezTo>
                <a:cubicBezTo>
                  <a:pt x="169" y="113"/>
                  <a:pt x="170" y="112"/>
                  <a:pt x="170" y="112"/>
                </a:cubicBezTo>
                <a:cubicBezTo>
                  <a:pt x="171" y="112"/>
                  <a:pt x="172" y="111"/>
                  <a:pt x="173" y="110"/>
                </a:cubicBezTo>
                <a:cubicBezTo>
                  <a:pt x="174" y="111"/>
                  <a:pt x="175" y="110"/>
                  <a:pt x="176" y="109"/>
                </a:cubicBezTo>
                <a:cubicBezTo>
                  <a:pt x="176" y="109"/>
                  <a:pt x="176" y="109"/>
                  <a:pt x="176" y="109"/>
                </a:cubicBezTo>
                <a:cubicBezTo>
                  <a:pt x="177" y="108"/>
                  <a:pt x="178" y="109"/>
                  <a:pt x="179" y="107"/>
                </a:cubicBezTo>
                <a:cubicBezTo>
                  <a:pt x="179" y="107"/>
                  <a:pt x="179" y="107"/>
                  <a:pt x="179" y="107"/>
                </a:cubicBezTo>
                <a:cubicBezTo>
                  <a:pt x="180" y="107"/>
                  <a:pt x="180" y="106"/>
                  <a:pt x="180" y="106"/>
                </a:cubicBezTo>
                <a:cubicBezTo>
                  <a:pt x="181" y="106"/>
                  <a:pt x="181" y="105"/>
                  <a:pt x="181" y="105"/>
                </a:cubicBezTo>
                <a:cubicBezTo>
                  <a:pt x="182" y="105"/>
                  <a:pt x="182" y="104"/>
                  <a:pt x="183" y="104"/>
                </a:cubicBezTo>
                <a:cubicBezTo>
                  <a:pt x="184" y="104"/>
                  <a:pt x="184" y="104"/>
                  <a:pt x="184" y="104"/>
                </a:cubicBezTo>
                <a:cubicBezTo>
                  <a:pt x="186" y="104"/>
                  <a:pt x="188" y="102"/>
                  <a:pt x="189" y="101"/>
                </a:cubicBezTo>
                <a:cubicBezTo>
                  <a:pt x="189" y="101"/>
                  <a:pt x="189" y="100"/>
                  <a:pt x="189" y="100"/>
                </a:cubicBezTo>
                <a:cubicBezTo>
                  <a:pt x="189" y="100"/>
                  <a:pt x="189" y="100"/>
                  <a:pt x="189" y="100"/>
                </a:cubicBezTo>
                <a:cubicBezTo>
                  <a:pt x="191" y="101"/>
                  <a:pt x="190" y="98"/>
                  <a:pt x="192" y="97"/>
                </a:cubicBezTo>
                <a:cubicBezTo>
                  <a:pt x="192" y="97"/>
                  <a:pt x="192" y="97"/>
                  <a:pt x="192" y="97"/>
                </a:cubicBezTo>
                <a:cubicBezTo>
                  <a:pt x="192" y="95"/>
                  <a:pt x="189" y="96"/>
                  <a:pt x="189" y="94"/>
                </a:cubicBezTo>
                <a:cubicBezTo>
                  <a:pt x="191" y="94"/>
                  <a:pt x="192" y="92"/>
                  <a:pt x="192" y="91"/>
                </a:cubicBezTo>
                <a:cubicBezTo>
                  <a:pt x="192" y="90"/>
                  <a:pt x="192" y="90"/>
                  <a:pt x="193" y="90"/>
                </a:cubicBezTo>
                <a:cubicBezTo>
                  <a:pt x="193" y="90"/>
                  <a:pt x="193" y="89"/>
                  <a:pt x="193" y="89"/>
                </a:cubicBezTo>
                <a:cubicBezTo>
                  <a:pt x="192" y="89"/>
                  <a:pt x="192" y="88"/>
                  <a:pt x="192" y="87"/>
                </a:cubicBezTo>
                <a:cubicBezTo>
                  <a:pt x="191" y="87"/>
                  <a:pt x="190" y="87"/>
                  <a:pt x="190" y="88"/>
                </a:cubicBezTo>
                <a:cubicBezTo>
                  <a:pt x="189" y="88"/>
                  <a:pt x="188" y="89"/>
                  <a:pt x="187" y="89"/>
                </a:cubicBezTo>
                <a:cubicBezTo>
                  <a:pt x="187" y="88"/>
                  <a:pt x="187" y="85"/>
                  <a:pt x="184" y="86"/>
                </a:cubicBezTo>
                <a:cubicBezTo>
                  <a:pt x="183" y="87"/>
                  <a:pt x="186" y="89"/>
                  <a:pt x="184" y="90"/>
                </a:cubicBezTo>
                <a:cubicBezTo>
                  <a:pt x="182" y="89"/>
                  <a:pt x="182" y="86"/>
                  <a:pt x="179" y="87"/>
                </a:cubicBezTo>
                <a:cubicBezTo>
                  <a:pt x="176" y="87"/>
                  <a:pt x="177" y="90"/>
                  <a:pt x="173" y="89"/>
                </a:cubicBezTo>
                <a:cubicBezTo>
                  <a:pt x="173" y="89"/>
                  <a:pt x="173" y="88"/>
                  <a:pt x="173" y="87"/>
                </a:cubicBezTo>
                <a:cubicBezTo>
                  <a:pt x="172" y="88"/>
                  <a:pt x="172" y="87"/>
                  <a:pt x="172" y="87"/>
                </a:cubicBezTo>
                <a:cubicBezTo>
                  <a:pt x="169" y="87"/>
                  <a:pt x="169" y="85"/>
                  <a:pt x="166" y="86"/>
                </a:cubicBezTo>
                <a:cubicBezTo>
                  <a:pt x="164" y="86"/>
                  <a:pt x="165" y="89"/>
                  <a:pt x="163" y="88"/>
                </a:cubicBezTo>
                <a:cubicBezTo>
                  <a:pt x="163" y="87"/>
                  <a:pt x="163" y="86"/>
                  <a:pt x="162" y="86"/>
                </a:cubicBezTo>
                <a:cubicBezTo>
                  <a:pt x="160" y="86"/>
                  <a:pt x="161" y="88"/>
                  <a:pt x="159" y="88"/>
                </a:cubicBezTo>
                <a:cubicBezTo>
                  <a:pt x="160" y="86"/>
                  <a:pt x="160" y="84"/>
                  <a:pt x="157" y="83"/>
                </a:cubicBezTo>
                <a:cubicBezTo>
                  <a:pt x="155" y="83"/>
                  <a:pt x="156" y="85"/>
                  <a:pt x="155" y="85"/>
                </a:cubicBezTo>
                <a:cubicBezTo>
                  <a:pt x="154" y="86"/>
                  <a:pt x="154" y="87"/>
                  <a:pt x="153" y="87"/>
                </a:cubicBezTo>
                <a:cubicBezTo>
                  <a:pt x="153" y="88"/>
                  <a:pt x="153" y="87"/>
                  <a:pt x="153" y="87"/>
                </a:cubicBezTo>
                <a:cubicBezTo>
                  <a:pt x="153" y="85"/>
                  <a:pt x="155" y="85"/>
                  <a:pt x="155" y="83"/>
                </a:cubicBezTo>
                <a:cubicBezTo>
                  <a:pt x="153" y="83"/>
                  <a:pt x="153" y="81"/>
                  <a:pt x="151" y="80"/>
                </a:cubicBezTo>
                <a:cubicBezTo>
                  <a:pt x="151" y="80"/>
                  <a:pt x="150" y="80"/>
                  <a:pt x="150" y="80"/>
                </a:cubicBezTo>
                <a:cubicBezTo>
                  <a:pt x="148" y="80"/>
                  <a:pt x="149" y="78"/>
                  <a:pt x="147" y="78"/>
                </a:cubicBezTo>
                <a:cubicBezTo>
                  <a:pt x="147" y="79"/>
                  <a:pt x="147" y="79"/>
                  <a:pt x="146" y="79"/>
                </a:cubicBezTo>
                <a:cubicBezTo>
                  <a:pt x="145" y="81"/>
                  <a:pt x="144" y="82"/>
                  <a:pt x="143" y="83"/>
                </a:cubicBezTo>
                <a:cubicBezTo>
                  <a:pt x="143" y="84"/>
                  <a:pt x="143" y="85"/>
                  <a:pt x="143" y="87"/>
                </a:cubicBezTo>
                <a:cubicBezTo>
                  <a:pt x="141" y="86"/>
                  <a:pt x="141" y="87"/>
                  <a:pt x="140" y="87"/>
                </a:cubicBezTo>
                <a:cubicBezTo>
                  <a:pt x="140" y="89"/>
                  <a:pt x="139" y="92"/>
                  <a:pt x="141" y="92"/>
                </a:cubicBezTo>
                <a:cubicBezTo>
                  <a:pt x="141" y="92"/>
                  <a:pt x="141" y="93"/>
                  <a:pt x="142" y="93"/>
                </a:cubicBezTo>
                <a:cubicBezTo>
                  <a:pt x="142" y="94"/>
                  <a:pt x="141" y="94"/>
                  <a:pt x="141" y="94"/>
                </a:cubicBezTo>
                <a:cubicBezTo>
                  <a:pt x="139" y="95"/>
                  <a:pt x="138" y="94"/>
                  <a:pt x="137" y="93"/>
                </a:cubicBezTo>
                <a:cubicBezTo>
                  <a:pt x="136" y="92"/>
                  <a:pt x="136" y="92"/>
                  <a:pt x="135" y="92"/>
                </a:cubicBezTo>
                <a:cubicBezTo>
                  <a:pt x="135" y="91"/>
                  <a:pt x="135" y="91"/>
                  <a:pt x="134" y="91"/>
                </a:cubicBezTo>
                <a:cubicBezTo>
                  <a:pt x="134" y="91"/>
                  <a:pt x="134" y="92"/>
                  <a:pt x="134" y="92"/>
                </a:cubicBezTo>
                <a:cubicBezTo>
                  <a:pt x="133" y="93"/>
                  <a:pt x="133" y="94"/>
                  <a:pt x="134" y="95"/>
                </a:cubicBezTo>
                <a:cubicBezTo>
                  <a:pt x="134" y="95"/>
                  <a:pt x="134" y="95"/>
                  <a:pt x="134" y="96"/>
                </a:cubicBezTo>
                <a:cubicBezTo>
                  <a:pt x="134" y="96"/>
                  <a:pt x="135" y="97"/>
                  <a:pt x="135" y="98"/>
                </a:cubicBezTo>
                <a:cubicBezTo>
                  <a:pt x="135" y="99"/>
                  <a:pt x="135" y="100"/>
                  <a:pt x="135" y="101"/>
                </a:cubicBezTo>
                <a:cubicBezTo>
                  <a:pt x="134" y="101"/>
                  <a:pt x="133" y="100"/>
                  <a:pt x="133" y="99"/>
                </a:cubicBezTo>
                <a:cubicBezTo>
                  <a:pt x="132" y="98"/>
                  <a:pt x="131" y="98"/>
                  <a:pt x="130" y="99"/>
                </a:cubicBezTo>
                <a:cubicBezTo>
                  <a:pt x="130" y="102"/>
                  <a:pt x="132" y="103"/>
                  <a:pt x="132" y="105"/>
                </a:cubicBezTo>
                <a:cubicBezTo>
                  <a:pt x="133" y="105"/>
                  <a:pt x="134" y="107"/>
                  <a:pt x="134" y="108"/>
                </a:cubicBezTo>
                <a:cubicBezTo>
                  <a:pt x="132" y="109"/>
                  <a:pt x="133" y="106"/>
                  <a:pt x="130" y="106"/>
                </a:cubicBezTo>
                <a:cubicBezTo>
                  <a:pt x="129" y="108"/>
                  <a:pt x="131" y="108"/>
                  <a:pt x="131" y="109"/>
                </a:cubicBezTo>
                <a:cubicBezTo>
                  <a:pt x="131" y="109"/>
                  <a:pt x="133" y="112"/>
                  <a:pt x="131" y="112"/>
                </a:cubicBezTo>
                <a:cubicBezTo>
                  <a:pt x="131" y="108"/>
                  <a:pt x="126" y="110"/>
                  <a:pt x="126" y="106"/>
                </a:cubicBezTo>
                <a:cubicBezTo>
                  <a:pt x="126" y="106"/>
                  <a:pt x="125" y="106"/>
                  <a:pt x="125" y="106"/>
                </a:cubicBezTo>
                <a:cubicBezTo>
                  <a:pt x="125" y="106"/>
                  <a:pt x="124" y="106"/>
                  <a:pt x="123" y="106"/>
                </a:cubicBezTo>
                <a:cubicBezTo>
                  <a:pt x="123" y="107"/>
                  <a:pt x="123" y="109"/>
                  <a:pt x="124" y="110"/>
                </a:cubicBezTo>
                <a:cubicBezTo>
                  <a:pt x="124" y="110"/>
                  <a:pt x="126" y="112"/>
                  <a:pt x="124" y="113"/>
                </a:cubicBezTo>
                <a:cubicBezTo>
                  <a:pt x="122" y="113"/>
                  <a:pt x="123" y="111"/>
                  <a:pt x="123" y="110"/>
                </a:cubicBezTo>
                <a:cubicBezTo>
                  <a:pt x="123" y="108"/>
                  <a:pt x="122" y="108"/>
                  <a:pt x="122" y="107"/>
                </a:cubicBezTo>
                <a:cubicBezTo>
                  <a:pt x="119" y="107"/>
                  <a:pt x="118" y="109"/>
                  <a:pt x="118" y="112"/>
                </a:cubicBezTo>
                <a:cubicBezTo>
                  <a:pt x="118" y="113"/>
                  <a:pt x="120" y="113"/>
                  <a:pt x="120" y="114"/>
                </a:cubicBezTo>
                <a:cubicBezTo>
                  <a:pt x="120" y="115"/>
                  <a:pt x="123" y="116"/>
                  <a:pt x="121" y="116"/>
                </a:cubicBezTo>
                <a:cubicBezTo>
                  <a:pt x="121" y="116"/>
                  <a:pt x="120" y="115"/>
                  <a:pt x="120" y="115"/>
                </a:cubicBezTo>
                <a:cubicBezTo>
                  <a:pt x="119" y="114"/>
                  <a:pt x="119" y="115"/>
                  <a:pt x="118" y="115"/>
                </a:cubicBezTo>
                <a:cubicBezTo>
                  <a:pt x="117" y="116"/>
                  <a:pt x="117" y="117"/>
                  <a:pt x="117" y="118"/>
                </a:cubicBezTo>
                <a:cubicBezTo>
                  <a:pt x="117" y="119"/>
                  <a:pt x="118" y="119"/>
                  <a:pt x="118" y="120"/>
                </a:cubicBezTo>
                <a:cubicBezTo>
                  <a:pt x="119" y="120"/>
                  <a:pt x="119" y="121"/>
                  <a:pt x="119" y="122"/>
                </a:cubicBezTo>
                <a:cubicBezTo>
                  <a:pt x="121" y="122"/>
                  <a:pt x="123" y="122"/>
                  <a:pt x="123" y="124"/>
                </a:cubicBezTo>
                <a:cubicBezTo>
                  <a:pt x="120" y="124"/>
                  <a:pt x="121" y="123"/>
                  <a:pt x="118" y="124"/>
                </a:cubicBezTo>
                <a:cubicBezTo>
                  <a:pt x="118" y="123"/>
                  <a:pt x="118" y="122"/>
                  <a:pt x="117" y="122"/>
                </a:cubicBezTo>
                <a:cubicBezTo>
                  <a:pt x="117" y="120"/>
                  <a:pt x="117" y="119"/>
                  <a:pt x="116" y="119"/>
                </a:cubicBezTo>
                <a:cubicBezTo>
                  <a:pt x="115" y="119"/>
                  <a:pt x="115" y="119"/>
                  <a:pt x="115" y="119"/>
                </a:cubicBezTo>
                <a:cubicBezTo>
                  <a:pt x="115" y="120"/>
                  <a:pt x="115" y="120"/>
                  <a:pt x="114" y="120"/>
                </a:cubicBezTo>
                <a:cubicBezTo>
                  <a:pt x="114" y="123"/>
                  <a:pt x="113" y="125"/>
                  <a:pt x="114" y="127"/>
                </a:cubicBezTo>
                <a:cubicBezTo>
                  <a:pt x="114" y="128"/>
                  <a:pt x="114" y="127"/>
                  <a:pt x="114" y="128"/>
                </a:cubicBezTo>
                <a:cubicBezTo>
                  <a:pt x="114" y="128"/>
                  <a:pt x="114" y="129"/>
                  <a:pt x="114" y="129"/>
                </a:cubicBezTo>
                <a:cubicBezTo>
                  <a:pt x="114" y="129"/>
                  <a:pt x="115" y="129"/>
                  <a:pt x="115" y="130"/>
                </a:cubicBezTo>
                <a:cubicBezTo>
                  <a:pt x="115" y="130"/>
                  <a:pt x="114" y="130"/>
                  <a:pt x="114" y="131"/>
                </a:cubicBezTo>
                <a:cubicBezTo>
                  <a:pt x="115" y="131"/>
                  <a:pt x="116" y="130"/>
                  <a:pt x="117" y="130"/>
                </a:cubicBezTo>
                <a:cubicBezTo>
                  <a:pt x="117" y="128"/>
                  <a:pt x="118" y="129"/>
                  <a:pt x="119" y="129"/>
                </a:cubicBezTo>
                <a:cubicBezTo>
                  <a:pt x="119" y="129"/>
                  <a:pt x="118" y="130"/>
                  <a:pt x="118" y="130"/>
                </a:cubicBezTo>
                <a:cubicBezTo>
                  <a:pt x="118" y="131"/>
                  <a:pt x="118" y="131"/>
                  <a:pt x="117" y="131"/>
                </a:cubicBezTo>
                <a:cubicBezTo>
                  <a:pt x="116" y="132"/>
                  <a:pt x="114" y="132"/>
                  <a:pt x="115" y="133"/>
                </a:cubicBezTo>
                <a:cubicBezTo>
                  <a:pt x="116" y="133"/>
                  <a:pt x="117" y="134"/>
                  <a:pt x="118" y="134"/>
                </a:cubicBezTo>
                <a:cubicBezTo>
                  <a:pt x="118" y="134"/>
                  <a:pt x="118" y="135"/>
                  <a:pt x="118" y="135"/>
                </a:cubicBezTo>
                <a:cubicBezTo>
                  <a:pt x="119" y="135"/>
                  <a:pt x="119" y="136"/>
                  <a:pt x="119" y="136"/>
                </a:cubicBezTo>
                <a:cubicBezTo>
                  <a:pt x="118" y="136"/>
                  <a:pt x="117" y="136"/>
                  <a:pt x="116" y="135"/>
                </a:cubicBezTo>
                <a:cubicBezTo>
                  <a:pt x="116" y="137"/>
                  <a:pt x="114" y="136"/>
                  <a:pt x="115" y="138"/>
                </a:cubicBezTo>
                <a:cubicBezTo>
                  <a:pt x="114" y="139"/>
                  <a:pt x="113" y="139"/>
                  <a:pt x="114" y="140"/>
                </a:cubicBezTo>
                <a:cubicBezTo>
                  <a:pt x="115" y="140"/>
                  <a:pt x="115" y="142"/>
                  <a:pt x="116" y="142"/>
                </a:cubicBezTo>
                <a:cubicBezTo>
                  <a:pt x="116" y="142"/>
                  <a:pt x="117" y="142"/>
                  <a:pt x="118" y="142"/>
                </a:cubicBezTo>
                <a:cubicBezTo>
                  <a:pt x="118" y="143"/>
                  <a:pt x="117" y="143"/>
                  <a:pt x="117" y="143"/>
                </a:cubicBezTo>
                <a:cubicBezTo>
                  <a:pt x="115" y="143"/>
                  <a:pt x="115" y="142"/>
                  <a:pt x="114" y="141"/>
                </a:cubicBezTo>
                <a:cubicBezTo>
                  <a:pt x="113" y="141"/>
                  <a:pt x="112" y="141"/>
                  <a:pt x="111" y="142"/>
                </a:cubicBezTo>
                <a:cubicBezTo>
                  <a:pt x="110" y="145"/>
                  <a:pt x="114" y="144"/>
                  <a:pt x="113" y="147"/>
                </a:cubicBezTo>
                <a:cubicBezTo>
                  <a:pt x="114" y="148"/>
                  <a:pt x="117" y="146"/>
                  <a:pt x="117" y="148"/>
                </a:cubicBezTo>
                <a:cubicBezTo>
                  <a:pt x="115" y="148"/>
                  <a:pt x="114" y="148"/>
                  <a:pt x="112" y="148"/>
                </a:cubicBezTo>
                <a:cubicBezTo>
                  <a:pt x="111" y="147"/>
                  <a:pt x="111" y="145"/>
                  <a:pt x="109" y="145"/>
                </a:cubicBezTo>
                <a:cubicBezTo>
                  <a:pt x="109" y="145"/>
                  <a:pt x="109" y="145"/>
                  <a:pt x="108" y="145"/>
                </a:cubicBezTo>
                <a:cubicBezTo>
                  <a:pt x="109" y="148"/>
                  <a:pt x="106" y="147"/>
                  <a:pt x="105" y="149"/>
                </a:cubicBezTo>
                <a:cubicBezTo>
                  <a:pt x="106" y="150"/>
                  <a:pt x="107" y="150"/>
                  <a:pt x="108" y="151"/>
                </a:cubicBezTo>
                <a:cubicBezTo>
                  <a:pt x="109" y="151"/>
                  <a:pt x="110" y="151"/>
                  <a:pt x="110" y="152"/>
                </a:cubicBezTo>
                <a:cubicBezTo>
                  <a:pt x="109" y="152"/>
                  <a:pt x="108" y="153"/>
                  <a:pt x="107" y="154"/>
                </a:cubicBezTo>
                <a:cubicBezTo>
                  <a:pt x="107" y="154"/>
                  <a:pt x="107" y="154"/>
                  <a:pt x="107" y="155"/>
                </a:cubicBezTo>
                <a:cubicBezTo>
                  <a:pt x="106" y="155"/>
                  <a:pt x="106" y="155"/>
                  <a:pt x="105" y="155"/>
                </a:cubicBezTo>
                <a:cubicBezTo>
                  <a:pt x="102" y="155"/>
                  <a:pt x="101" y="153"/>
                  <a:pt x="97" y="154"/>
                </a:cubicBezTo>
                <a:cubicBezTo>
                  <a:pt x="97" y="154"/>
                  <a:pt x="97" y="155"/>
                  <a:pt x="97" y="155"/>
                </a:cubicBezTo>
                <a:cubicBezTo>
                  <a:pt x="97" y="155"/>
                  <a:pt x="96" y="155"/>
                  <a:pt x="96" y="156"/>
                </a:cubicBezTo>
                <a:cubicBezTo>
                  <a:pt x="97" y="156"/>
                  <a:pt x="97" y="158"/>
                  <a:pt x="99" y="157"/>
                </a:cubicBezTo>
                <a:cubicBezTo>
                  <a:pt x="99" y="159"/>
                  <a:pt x="101" y="158"/>
                  <a:pt x="101" y="159"/>
                </a:cubicBezTo>
                <a:cubicBezTo>
                  <a:pt x="100" y="162"/>
                  <a:pt x="102" y="162"/>
                  <a:pt x="102" y="164"/>
                </a:cubicBezTo>
                <a:cubicBezTo>
                  <a:pt x="103" y="164"/>
                  <a:pt x="103" y="165"/>
                  <a:pt x="104" y="165"/>
                </a:cubicBezTo>
                <a:cubicBezTo>
                  <a:pt x="104" y="166"/>
                  <a:pt x="105" y="166"/>
                  <a:pt x="105" y="166"/>
                </a:cubicBezTo>
                <a:cubicBezTo>
                  <a:pt x="105" y="167"/>
                  <a:pt x="105" y="167"/>
                  <a:pt x="105" y="168"/>
                </a:cubicBezTo>
                <a:cubicBezTo>
                  <a:pt x="107" y="167"/>
                  <a:pt x="108" y="166"/>
                  <a:pt x="110" y="167"/>
                </a:cubicBezTo>
                <a:cubicBezTo>
                  <a:pt x="110" y="166"/>
                  <a:pt x="111" y="166"/>
                  <a:pt x="111" y="165"/>
                </a:cubicBezTo>
                <a:cubicBezTo>
                  <a:pt x="111" y="165"/>
                  <a:pt x="112" y="164"/>
                  <a:pt x="112" y="164"/>
                </a:cubicBezTo>
                <a:cubicBezTo>
                  <a:pt x="113" y="163"/>
                  <a:pt x="115" y="163"/>
                  <a:pt x="116" y="162"/>
                </a:cubicBezTo>
                <a:cubicBezTo>
                  <a:pt x="117" y="162"/>
                  <a:pt x="118" y="162"/>
                  <a:pt x="118" y="161"/>
                </a:cubicBezTo>
                <a:cubicBezTo>
                  <a:pt x="119" y="161"/>
                  <a:pt x="119" y="161"/>
                  <a:pt x="119" y="162"/>
                </a:cubicBezTo>
                <a:cubicBezTo>
                  <a:pt x="120" y="165"/>
                  <a:pt x="116" y="163"/>
                  <a:pt x="117" y="165"/>
                </a:cubicBezTo>
                <a:cubicBezTo>
                  <a:pt x="115" y="165"/>
                  <a:pt x="115" y="167"/>
                  <a:pt x="114" y="168"/>
                </a:cubicBezTo>
                <a:cubicBezTo>
                  <a:pt x="114" y="170"/>
                  <a:pt x="112" y="170"/>
                  <a:pt x="112" y="172"/>
                </a:cubicBezTo>
                <a:cubicBezTo>
                  <a:pt x="110" y="172"/>
                  <a:pt x="109" y="174"/>
                  <a:pt x="108" y="175"/>
                </a:cubicBezTo>
                <a:cubicBezTo>
                  <a:pt x="108" y="175"/>
                  <a:pt x="108" y="175"/>
                  <a:pt x="107" y="175"/>
                </a:cubicBezTo>
                <a:cubicBezTo>
                  <a:pt x="107" y="177"/>
                  <a:pt x="104" y="177"/>
                  <a:pt x="104" y="179"/>
                </a:cubicBezTo>
                <a:cubicBezTo>
                  <a:pt x="103" y="179"/>
                  <a:pt x="102" y="180"/>
                  <a:pt x="102" y="181"/>
                </a:cubicBezTo>
                <a:cubicBezTo>
                  <a:pt x="101" y="181"/>
                  <a:pt x="99" y="183"/>
                  <a:pt x="101" y="184"/>
                </a:cubicBezTo>
                <a:cubicBezTo>
                  <a:pt x="101" y="182"/>
                  <a:pt x="103" y="183"/>
                  <a:pt x="103" y="181"/>
                </a:cubicBezTo>
                <a:cubicBezTo>
                  <a:pt x="104" y="181"/>
                  <a:pt x="105" y="180"/>
                  <a:pt x="105" y="181"/>
                </a:cubicBezTo>
                <a:cubicBezTo>
                  <a:pt x="106" y="184"/>
                  <a:pt x="103" y="183"/>
                  <a:pt x="104" y="185"/>
                </a:cubicBezTo>
                <a:cubicBezTo>
                  <a:pt x="104" y="186"/>
                  <a:pt x="106" y="186"/>
                  <a:pt x="105" y="188"/>
                </a:cubicBezTo>
                <a:cubicBezTo>
                  <a:pt x="104" y="188"/>
                  <a:pt x="104" y="189"/>
                  <a:pt x="102" y="188"/>
                </a:cubicBezTo>
                <a:cubicBezTo>
                  <a:pt x="102" y="189"/>
                  <a:pt x="102" y="189"/>
                  <a:pt x="101" y="189"/>
                </a:cubicBezTo>
                <a:cubicBezTo>
                  <a:pt x="101" y="190"/>
                  <a:pt x="101" y="190"/>
                  <a:pt x="101" y="191"/>
                </a:cubicBezTo>
                <a:cubicBezTo>
                  <a:pt x="101" y="192"/>
                  <a:pt x="104" y="189"/>
                  <a:pt x="104" y="191"/>
                </a:cubicBezTo>
                <a:cubicBezTo>
                  <a:pt x="102" y="191"/>
                  <a:pt x="101" y="192"/>
                  <a:pt x="100" y="193"/>
                </a:cubicBezTo>
                <a:cubicBezTo>
                  <a:pt x="100" y="193"/>
                  <a:pt x="99" y="194"/>
                  <a:pt x="99" y="194"/>
                </a:cubicBezTo>
                <a:cubicBezTo>
                  <a:pt x="99" y="195"/>
                  <a:pt x="99" y="195"/>
                  <a:pt x="98" y="195"/>
                </a:cubicBezTo>
                <a:cubicBezTo>
                  <a:pt x="98" y="198"/>
                  <a:pt x="99" y="199"/>
                  <a:pt x="99" y="202"/>
                </a:cubicBezTo>
                <a:cubicBezTo>
                  <a:pt x="101" y="202"/>
                  <a:pt x="101" y="199"/>
                  <a:pt x="102" y="201"/>
                </a:cubicBezTo>
                <a:cubicBezTo>
                  <a:pt x="102" y="202"/>
                  <a:pt x="101" y="201"/>
                  <a:pt x="101" y="202"/>
                </a:cubicBezTo>
                <a:cubicBezTo>
                  <a:pt x="101" y="203"/>
                  <a:pt x="100" y="202"/>
                  <a:pt x="100" y="202"/>
                </a:cubicBezTo>
                <a:cubicBezTo>
                  <a:pt x="100" y="202"/>
                  <a:pt x="100" y="203"/>
                  <a:pt x="100" y="203"/>
                </a:cubicBezTo>
                <a:cubicBezTo>
                  <a:pt x="99" y="203"/>
                  <a:pt x="99" y="203"/>
                  <a:pt x="98" y="204"/>
                </a:cubicBezTo>
                <a:cubicBezTo>
                  <a:pt x="98" y="204"/>
                  <a:pt x="98" y="204"/>
                  <a:pt x="97" y="204"/>
                </a:cubicBezTo>
                <a:cubicBezTo>
                  <a:pt x="97" y="204"/>
                  <a:pt x="97" y="205"/>
                  <a:pt x="96" y="205"/>
                </a:cubicBezTo>
                <a:cubicBezTo>
                  <a:pt x="96" y="208"/>
                  <a:pt x="94" y="209"/>
                  <a:pt x="94" y="212"/>
                </a:cubicBezTo>
                <a:cubicBezTo>
                  <a:pt x="93" y="212"/>
                  <a:pt x="93" y="212"/>
                  <a:pt x="93" y="213"/>
                </a:cubicBezTo>
                <a:cubicBezTo>
                  <a:pt x="93" y="213"/>
                  <a:pt x="93" y="214"/>
                  <a:pt x="93" y="214"/>
                </a:cubicBezTo>
                <a:cubicBezTo>
                  <a:pt x="93" y="216"/>
                  <a:pt x="91" y="215"/>
                  <a:pt x="91" y="217"/>
                </a:cubicBezTo>
                <a:cubicBezTo>
                  <a:pt x="90" y="218"/>
                  <a:pt x="89" y="219"/>
                  <a:pt x="89" y="220"/>
                </a:cubicBezTo>
                <a:cubicBezTo>
                  <a:pt x="91" y="221"/>
                  <a:pt x="92" y="222"/>
                  <a:pt x="94" y="222"/>
                </a:cubicBezTo>
                <a:cubicBezTo>
                  <a:pt x="94" y="222"/>
                  <a:pt x="95" y="222"/>
                  <a:pt x="95" y="222"/>
                </a:cubicBezTo>
                <a:cubicBezTo>
                  <a:pt x="96" y="222"/>
                  <a:pt x="96" y="222"/>
                  <a:pt x="96" y="221"/>
                </a:cubicBezTo>
                <a:cubicBezTo>
                  <a:pt x="96" y="221"/>
                  <a:pt x="96" y="220"/>
                  <a:pt x="97" y="220"/>
                </a:cubicBezTo>
                <a:cubicBezTo>
                  <a:pt x="97" y="220"/>
                  <a:pt x="98" y="219"/>
                  <a:pt x="97" y="217"/>
                </a:cubicBezTo>
                <a:cubicBezTo>
                  <a:pt x="97" y="217"/>
                  <a:pt x="97" y="216"/>
                  <a:pt x="97" y="216"/>
                </a:cubicBezTo>
                <a:cubicBezTo>
                  <a:pt x="98" y="215"/>
                  <a:pt x="99" y="213"/>
                  <a:pt x="100" y="213"/>
                </a:cubicBezTo>
                <a:cubicBezTo>
                  <a:pt x="100" y="210"/>
                  <a:pt x="103" y="209"/>
                  <a:pt x="102" y="206"/>
                </a:cubicBezTo>
                <a:cubicBezTo>
                  <a:pt x="103" y="206"/>
                  <a:pt x="103" y="205"/>
                  <a:pt x="104" y="204"/>
                </a:cubicBezTo>
                <a:cubicBezTo>
                  <a:pt x="105" y="204"/>
                  <a:pt x="105" y="204"/>
                  <a:pt x="105" y="204"/>
                </a:cubicBezTo>
                <a:cubicBezTo>
                  <a:pt x="106" y="204"/>
                  <a:pt x="108" y="202"/>
                  <a:pt x="106" y="202"/>
                </a:cubicBezTo>
                <a:cubicBezTo>
                  <a:pt x="106" y="202"/>
                  <a:pt x="105" y="202"/>
                  <a:pt x="105" y="202"/>
                </a:cubicBezTo>
                <a:cubicBezTo>
                  <a:pt x="106" y="200"/>
                  <a:pt x="106" y="198"/>
                  <a:pt x="106" y="195"/>
                </a:cubicBezTo>
                <a:cubicBezTo>
                  <a:pt x="106" y="195"/>
                  <a:pt x="106" y="195"/>
                  <a:pt x="106" y="195"/>
                </a:cubicBezTo>
                <a:cubicBezTo>
                  <a:pt x="105" y="194"/>
                  <a:pt x="105" y="193"/>
                  <a:pt x="105" y="192"/>
                </a:cubicBezTo>
                <a:cubicBezTo>
                  <a:pt x="106" y="192"/>
                  <a:pt x="107" y="193"/>
                  <a:pt x="108" y="193"/>
                </a:cubicBezTo>
                <a:cubicBezTo>
                  <a:pt x="108" y="192"/>
                  <a:pt x="109" y="192"/>
                  <a:pt x="109" y="191"/>
                </a:cubicBezTo>
                <a:cubicBezTo>
                  <a:pt x="109" y="191"/>
                  <a:pt x="109" y="191"/>
                  <a:pt x="109" y="191"/>
                </a:cubicBezTo>
                <a:cubicBezTo>
                  <a:pt x="109" y="190"/>
                  <a:pt x="110" y="191"/>
                  <a:pt x="110" y="191"/>
                </a:cubicBezTo>
                <a:cubicBezTo>
                  <a:pt x="110" y="190"/>
                  <a:pt x="110" y="190"/>
                  <a:pt x="110" y="190"/>
                </a:cubicBezTo>
                <a:cubicBezTo>
                  <a:pt x="110" y="190"/>
                  <a:pt x="111" y="190"/>
                  <a:pt x="111" y="190"/>
                </a:cubicBezTo>
                <a:cubicBezTo>
                  <a:pt x="111" y="190"/>
                  <a:pt x="111" y="189"/>
                  <a:pt x="111" y="189"/>
                </a:cubicBezTo>
                <a:cubicBezTo>
                  <a:pt x="111" y="189"/>
                  <a:pt x="111" y="189"/>
                  <a:pt x="111" y="189"/>
                </a:cubicBezTo>
                <a:cubicBezTo>
                  <a:pt x="112" y="189"/>
                  <a:pt x="111" y="189"/>
                  <a:pt x="111" y="188"/>
                </a:cubicBezTo>
                <a:cubicBezTo>
                  <a:pt x="112" y="188"/>
                  <a:pt x="112" y="189"/>
                  <a:pt x="112" y="188"/>
                </a:cubicBezTo>
                <a:cubicBezTo>
                  <a:pt x="113" y="188"/>
                  <a:pt x="112" y="188"/>
                  <a:pt x="113" y="188"/>
                </a:cubicBezTo>
                <a:cubicBezTo>
                  <a:pt x="113" y="188"/>
                  <a:pt x="113" y="188"/>
                  <a:pt x="114" y="188"/>
                </a:cubicBezTo>
                <a:cubicBezTo>
                  <a:pt x="112" y="189"/>
                  <a:pt x="111" y="191"/>
                  <a:pt x="109" y="192"/>
                </a:cubicBezTo>
                <a:cubicBezTo>
                  <a:pt x="109" y="195"/>
                  <a:pt x="107" y="196"/>
                  <a:pt x="108" y="200"/>
                </a:cubicBezTo>
                <a:cubicBezTo>
                  <a:pt x="108" y="201"/>
                  <a:pt x="110" y="200"/>
                  <a:pt x="110" y="202"/>
                </a:cubicBezTo>
                <a:cubicBezTo>
                  <a:pt x="110" y="203"/>
                  <a:pt x="111" y="203"/>
                  <a:pt x="111" y="204"/>
                </a:cubicBezTo>
                <a:cubicBezTo>
                  <a:pt x="111" y="205"/>
                  <a:pt x="111" y="206"/>
                  <a:pt x="112" y="206"/>
                </a:cubicBezTo>
                <a:cubicBezTo>
                  <a:pt x="112" y="207"/>
                  <a:pt x="113" y="207"/>
                  <a:pt x="114" y="207"/>
                </a:cubicBezTo>
                <a:cubicBezTo>
                  <a:pt x="114" y="207"/>
                  <a:pt x="114" y="206"/>
                  <a:pt x="114" y="204"/>
                </a:cubicBezTo>
                <a:cubicBezTo>
                  <a:pt x="114" y="203"/>
                  <a:pt x="113" y="201"/>
                  <a:pt x="114" y="199"/>
                </a:cubicBezTo>
                <a:cubicBezTo>
                  <a:pt x="113" y="198"/>
                  <a:pt x="113" y="197"/>
                  <a:pt x="114" y="197"/>
                </a:cubicBezTo>
                <a:cubicBezTo>
                  <a:pt x="115" y="198"/>
                  <a:pt x="114" y="201"/>
                  <a:pt x="117" y="200"/>
                </a:cubicBezTo>
                <a:cubicBezTo>
                  <a:pt x="118" y="199"/>
                  <a:pt x="119" y="197"/>
                  <a:pt x="119" y="195"/>
                </a:cubicBezTo>
                <a:cubicBezTo>
                  <a:pt x="120" y="195"/>
                  <a:pt x="120" y="194"/>
                  <a:pt x="120" y="193"/>
                </a:cubicBezTo>
                <a:cubicBezTo>
                  <a:pt x="120" y="193"/>
                  <a:pt x="120" y="193"/>
                  <a:pt x="120" y="193"/>
                </a:cubicBezTo>
                <a:cubicBezTo>
                  <a:pt x="121" y="193"/>
                  <a:pt x="121" y="192"/>
                  <a:pt x="121" y="191"/>
                </a:cubicBezTo>
                <a:cubicBezTo>
                  <a:pt x="122" y="191"/>
                  <a:pt x="122" y="191"/>
                  <a:pt x="123" y="191"/>
                </a:cubicBezTo>
                <a:cubicBezTo>
                  <a:pt x="123" y="193"/>
                  <a:pt x="120" y="193"/>
                  <a:pt x="121" y="196"/>
                </a:cubicBezTo>
                <a:cubicBezTo>
                  <a:pt x="121" y="198"/>
                  <a:pt x="123" y="197"/>
                  <a:pt x="124" y="198"/>
                </a:cubicBezTo>
                <a:cubicBezTo>
                  <a:pt x="124" y="200"/>
                  <a:pt x="126" y="199"/>
                  <a:pt x="125" y="201"/>
                </a:cubicBezTo>
                <a:cubicBezTo>
                  <a:pt x="124" y="201"/>
                  <a:pt x="124" y="199"/>
                  <a:pt x="123" y="200"/>
                </a:cubicBezTo>
                <a:cubicBezTo>
                  <a:pt x="123" y="198"/>
                  <a:pt x="121" y="199"/>
                  <a:pt x="120" y="198"/>
                </a:cubicBezTo>
                <a:cubicBezTo>
                  <a:pt x="120" y="198"/>
                  <a:pt x="120" y="198"/>
                  <a:pt x="120" y="198"/>
                </a:cubicBezTo>
                <a:cubicBezTo>
                  <a:pt x="120" y="198"/>
                  <a:pt x="119" y="198"/>
                  <a:pt x="119" y="199"/>
                </a:cubicBezTo>
                <a:cubicBezTo>
                  <a:pt x="119" y="200"/>
                  <a:pt x="119" y="200"/>
                  <a:pt x="118" y="200"/>
                </a:cubicBezTo>
                <a:cubicBezTo>
                  <a:pt x="118" y="201"/>
                  <a:pt x="117" y="202"/>
                  <a:pt x="117" y="203"/>
                </a:cubicBezTo>
                <a:cubicBezTo>
                  <a:pt x="118" y="203"/>
                  <a:pt x="118" y="205"/>
                  <a:pt x="118" y="206"/>
                </a:cubicBezTo>
                <a:cubicBezTo>
                  <a:pt x="117" y="206"/>
                  <a:pt x="117" y="207"/>
                  <a:pt x="116" y="207"/>
                </a:cubicBezTo>
                <a:cubicBezTo>
                  <a:pt x="116" y="208"/>
                  <a:pt x="116" y="208"/>
                  <a:pt x="116" y="209"/>
                </a:cubicBezTo>
                <a:cubicBezTo>
                  <a:pt x="116" y="210"/>
                  <a:pt x="116" y="212"/>
                  <a:pt x="118" y="213"/>
                </a:cubicBezTo>
                <a:cubicBezTo>
                  <a:pt x="117" y="215"/>
                  <a:pt x="120" y="214"/>
                  <a:pt x="119" y="216"/>
                </a:cubicBezTo>
                <a:cubicBezTo>
                  <a:pt x="119" y="218"/>
                  <a:pt x="119" y="219"/>
                  <a:pt x="119" y="220"/>
                </a:cubicBezTo>
                <a:cubicBezTo>
                  <a:pt x="117" y="221"/>
                  <a:pt x="115" y="222"/>
                  <a:pt x="114" y="224"/>
                </a:cubicBezTo>
                <a:cubicBezTo>
                  <a:pt x="114" y="224"/>
                  <a:pt x="114" y="225"/>
                  <a:pt x="114" y="225"/>
                </a:cubicBezTo>
                <a:cubicBezTo>
                  <a:pt x="113" y="226"/>
                  <a:pt x="111" y="227"/>
                  <a:pt x="111" y="229"/>
                </a:cubicBezTo>
                <a:cubicBezTo>
                  <a:pt x="111" y="229"/>
                  <a:pt x="110" y="230"/>
                  <a:pt x="109" y="230"/>
                </a:cubicBezTo>
                <a:cubicBezTo>
                  <a:pt x="109" y="231"/>
                  <a:pt x="109" y="231"/>
                  <a:pt x="109" y="231"/>
                </a:cubicBezTo>
                <a:cubicBezTo>
                  <a:pt x="109" y="231"/>
                  <a:pt x="109" y="232"/>
                  <a:pt x="108" y="232"/>
                </a:cubicBezTo>
                <a:cubicBezTo>
                  <a:pt x="107" y="232"/>
                  <a:pt x="106" y="233"/>
                  <a:pt x="106" y="234"/>
                </a:cubicBezTo>
                <a:cubicBezTo>
                  <a:pt x="106" y="234"/>
                  <a:pt x="106" y="235"/>
                  <a:pt x="105" y="234"/>
                </a:cubicBezTo>
                <a:cubicBezTo>
                  <a:pt x="106" y="236"/>
                  <a:pt x="105" y="237"/>
                  <a:pt x="104" y="239"/>
                </a:cubicBezTo>
                <a:cubicBezTo>
                  <a:pt x="104" y="240"/>
                  <a:pt x="106" y="244"/>
                  <a:pt x="103" y="243"/>
                </a:cubicBezTo>
                <a:cubicBezTo>
                  <a:pt x="103" y="242"/>
                  <a:pt x="103" y="240"/>
                  <a:pt x="103" y="238"/>
                </a:cubicBezTo>
                <a:cubicBezTo>
                  <a:pt x="102" y="238"/>
                  <a:pt x="102" y="238"/>
                  <a:pt x="101" y="238"/>
                </a:cubicBezTo>
                <a:cubicBezTo>
                  <a:pt x="101" y="238"/>
                  <a:pt x="101" y="239"/>
                  <a:pt x="100" y="239"/>
                </a:cubicBezTo>
                <a:cubicBezTo>
                  <a:pt x="99" y="240"/>
                  <a:pt x="100" y="244"/>
                  <a:pt x="100" y="246"/>
                </a:cubicBezTo>
                <a:cubicBezTo>
                  <a:pt x="101" y="247"/>
                  <a:pt x="101" y="248"/>
                  <a:pt x="101" y="249"/>
                </a:cubicBezTo>
                <a:cubicBezTo>
                  <a:pt x="101" y="249"/>
                  <a:pt x="102" y="249"/>
                  <a:pt x="102" y="250"/>
                </a:cubicBezTo>
                <a:cubicBezTo>
                  <a:pt x="101" y="252"/>
                  <a:pt x="103" y="252"/>
                  <a:pt x="103" y="254"/>
                </a:cubicBezTo>
                <a:cubicBezTo>
                  <a:pt x="103" y="254"/>
                  <a:pt x="104" y="255"/>
                  <a:pt x="104" y="256"/>
                </a:cubicBezTo>
                <a:cubicBezTo>
                  <a:pt x="104" y="257"/>
                  <a:pt x="105" y="257"/>
                  <a:pt x="105" y="257"/>
                </a:cubicBezTo>
                <a:cubicBezTo>
                  <a:pt x="107" y="257"/>
                  <a:pt x="105" y="255"/>
                  <a:pt x="105" y="253"/>
                </a:cubicBezTo>
                <a:cubicBezTo>
                  <a:pt x="105" y="252"/>
                  <a:pt x="105" y="249"/>
                  <a:pt x="106" y="249"/>
                </a:cubicBezTo>
                <a:cubicBezTo>
                  <a:pt x="106" y="249"/>
                  <a:pt x="106" y="248"/>
                  <a:pt x="107" y="248"/>
                </a:cubicBezTo>
                <a:cubicBezTo>
                  <a:pt x="106" y="248"/>
                  <a:pt x="107" y="248"/>
                  <a:pt x="107" y="248"/>
                </a:cubicBezTo>
                <a:cubicBezTo>
                  <a:pt x="109" y="248"/>
                  <a:pt x="109" y="250"/>
                  <a:pt x="111" y="250"/>
                </a:cubicBezTo>
                <a:cubicBezTo>
                  <a:pt x="111" y="251"/>
                  <a:pt x="112" y="252"/>
                  <a:pt x="112" y="253"/>
                </a:cubicBezTo>
                <a:cubicBezTo>
                  <a:pt x="112" y="253"/>
                  <a:pt x="114" y="253"/>
                  <a:pt x="114" y="254"/>
                </a:cubicBezTo>
                <a:cubicBezTo>
                  <a:pt x="114" y="256"/>
                  <a:pt x="115" y="258"/>
                  <a:pt x="117" y="258"/>
                </a:cubicBezTo>
                <a:cubicBezTo>
                  <a:pt x="119" y="257"/>
                  <a:pt x="119" y="255"/>
                  <a:pt x="120" y="253"/>
                </a:cubicBezTo>
                <a:cubicBezTo>
                  <a:pt x="119" y="253"/>
                  <a:pt x="119" y="252"/>
                  <a:pt x="118" y="252"/>
                </a:cubicBezTo>
                <a:cubicBezTo>
                  <a:pt x="118" y="252"/>
                  <a:pt x="118" y="251"/>
                  <a:pt x="118" y="250"/>
                </a:cubicBezTo>
                <a:cubicBezTo>
                  <a:pt x="118" y="249"/>
                  <a:pt x="119" y="248"/>
                  <a:pt x="120" y="248"/>
                </a:cubicBezTo>
                <a:cubicBezTo>
                  <a:pt x="120" y="249"/>
                  <a:pt x="121" y="250"/>
                  <a:pt x="121" y="251"/>
                </a:cubicBezTo>
                <a:cubicBezTo>
                  <a:pt x="123" y="251"/>
                  <a:pt x="124" y="253"/>
                  <a:pt x="125" y="254"/>
                </a:cubicBezTo>
                <a:cubicBezTo>
                  <a:pt x="125" y="254"/>
                  <a:pt x="126" y="254"/>
                  <a:pt x="126" y="255"/>
                </a:cubicBezTo>
                <a:cubicBezTo>
                  <a:pt x="126" y="255"/>
                  <a:pt x="127" y="255"/>
                  <a:pt x="127" y="255"/>
                </a:cubicBezTo>
                <a:cubicBezTo>
                  <a:pt x="127" y="255"/>
                  <a:pt x="127" y="255"/>
                  <a:pt x="127" y="255"/>
                </a:cubicBezTo>
                <a:cubicBezTo>
                  <a:pt x="127" y="256"/>
                  <a:pt x="128" y="256"/>
                  <a:pt x="130" y="256"/>
                </a:cubicBezTo>
                <a:cubicBezTo>
                  <a:pt x="131" y="256"/>
                  <a:pt x="132" y="256"/>
                  <a:pt x="132" y="255"/>
                </a:cubicBezTo>
                <a:cubicBezTo>
                  <a:pt x="132" y="255"/>
                  <a:pt x="133" y="255"/>
                  <a:pt x="133" y="255"/>
                </a:cubicBezTo>
                <a:cubicBezTo>
                  <a:pt x="132" y="254"/>
                  <a:pt x="132" y="253"/>
                  <a:pt x="133" y="253"/>
                </a:cubicBezTo>
                <a:cubicBezTo>
                  <a:pt x="134" y="253"/>
                  <a:pt x="134" y="253"/>
                  <a:pt x="134" y="253"/>
                </a:cubicBezTo>
                <a:cubicBezTo>
                  <a:pt x="135" y="253"/>
                  <a:pt x="136" y="253"/>
                  <a:pt x="137" y="253"/>
                </a:cubicBezTo>
                <a:cubicBezTo>
                  <a:pt x="137" y="253"/>
                  <a:pt x="138" y="253"/>
                  <a:pt x="138" y="254"/>
                </a:cubicBezTo>
                <a:cubicBezTo>
                  <a:pt x="140" y="254"/>
                  <a:pt x="141" y="254"/>
                  <a:pt x="141" y="253"/>
                </a:cubicBezTo>
                <a:cubicBezTo>
                  <a:pt x="142" y="251"/>
                  <a:pt x="140" y="252"/>
                  <a:pt x="140" y="250"/>
                </a:cubicBezTo>
                <a:cubicBezTo>
                  <a:pt x="141" y="250"/>
                  <a:pt x="141" y="249"/>
                  <a:pt x="141" y="248"/>
                </a:cubicBezTo>
                <a:cubicBezTo>
                  <a:pt x="141" y="249"/>
                  <a:pt x="142" y="249"/>
                  <a:pt x="142" y="250"/>
                </a:cubicBezTo>
                <a:cubicBezTo>
                  <a:pt x="143" y="250"/>
                  <a:pt x="144" y="250"/>
                  <a:pt x="144" y="250"/>
                </a:cubicBezTo>
                <a:cubicBezTo>
                  <a:pt x="146" y="250"/>
                  <a:pt x="146" y="252"/>
                  <a:pt x="148" y="251"/>
                </a:cubicBezTo>
                <a:cubicBezTo>
                  <a:pt x="149" y="252"/>
                  <a:pt x="150" y="252"/>
                  <a:pt x="150" y="253"/>
                </a:cubicBezTo>
                <a:cubicBezTo>
                  <a:pt x="148" y="253"/>
                  <a:pt x="148" y="254"/>
                  <a:pt x="146" y="254"/>
                </a:cubicBezTo>
                <a:cubicBezTo>
                  <a:pt x="146" y="255"/>
                  <a:pt x="146" y="256"/>
                  <a:pt x="145" y="256"/>
                </a:cubicBezTo>
                <a:cubicBezTo>
                  <a:pt x="145" y="257"/>
                  <a:pt x="145" y="258"/>
                  <a:pt x="145" y="259"/>
                </a:cubicBezTo>
                <a:cubicBezTo>
                  <a:pt x="143" y="260"/>
                  <a:pt x="142" y="261"/>
                  <a:pt x="141" y="262"/>
                </a:cubicBezTo>
                <a:cubicBezTo>
                  <a:pt x="141" y="263"/>
                  <a:pt x="140" y="263"/>
                  <a:pt x="140" y="264"/>
                </a:cubicBezTo>
                <a:cubicBezTo>
                  <a:pt x="139" y="264"/>
                  <a:pt x="139" y="265"/>
                  <a:pt x="138" y="265"/>
                </a:cubicBezTo>
                <a:cubicBezTo>
                  <a:pt x="138" y="268"/>
                  <a:pt x="136" y="268"/>
                  <a:pt x="136" y="271"/>
                </a:cubicBezTo>
                <a:cubicBezTo>
                  <a:pt x="136" y="271"/>
                  <a:pt x="137" y="273"/>
                  <a:pt x="137" y="274"/>
                </a:cubicBezTo>
                <a:cubicBezTo>
                  <a:pt x="137" y="274"/>
                  <a:pt x="138" y="274"/>
                  <a:pt x="138" y="275"/>
                </a:cubicBezTo>
                <a:cubicBezTo>
                  <a:pt x="138" y="276"/>
                  <a:pt x="139" y="278"/>
                  <a:pt x="139" y="280"/>
                </a:cubicBezTo>
                <a:cubicBezTo>
                  <a:pt x="139" y="281"/>
                  <a:pt x="138" y="281"/>
                  <a:pt x="139" y="282"/>
                </a:cubicBezTo>
                <a:cubicBezTo>
                  <a:pt x="139" y="282"/>
                  <a:pt x="139" y="283"/>
                  <a:pt x="139" y="283"/>
                </a:cubicBezTo>
                <a:cubicBezTo>
                  <a:pt x="139" y="284"/>
                  <a:pt x="139" y="284"/>
                  <a:pt x="139" y="285"/>
                </a:cubicBezTo>
                <a:cubicBezTo>
                  <a:pt x="142" y="286"/>
                  <a:pt x="142" y="282"/>
                  <a:pt x="143" y="284"/>
                </a:cubicBezTo>
                <a:cubicBezTo>
                  <a:pt x="144" y="286"/>
                  <a:pt x="142" y="286"/>
                  <a:pt x="141" y="287"/>
                </a:cubicBezTo>
                <a:cubicBezTo>
                  <a:pt x="141" y="288"/>
                  <a:pt x="141" y="289"/>
                  <a:pt x="141" y="291"/>
                </a:cubicBezTo>
                <a:cubicBezTo>
                  <a:pt x="144" y="291"/>
                  <a:pt x="144" y="290"/>
                  <a:pt x="145" y="289"/>
                </a:cubicBezTo>
                <a:cubicBezTo>
                  <a:pt x="146" y="289"/>
                  <a:pt x="146" y="287"/>
                  <a:pt x="147" y="287"/>
                </a:cubicBezTo>
                <a:cubicBezTo>
                  <a:pt x="147" y="288"/>
                  <a:pt x="147" y="289"/>
                  <a:pt x="147" y="289"/>
                </a:cubicBezTo>
                <a:cubicBezTo>
                  <a:pt x="149" y="290"/>
                  <a:pt x="152" y="289"/>
                  <a:pt x="152" y="292"/>
                </a:cubicBezTo>
                <a:cubicBezTo>
                  <a:pt x="152" y="292"/>
                  <a:pt x="152" y="293"/>
                  <a:pt x="152" y="293"/>
                </a:cubicBezTo>
                <a:cubicBezTo>
                  <a:pt x="152" y="293"/>
                  <a:pt x="151" y="293"/>
                  <a:pt x="151" y="293"/>
                </a:cubicBezTo>
                <a:cubicBezTo>
                  <a:pt x="151" y="293"/>
                  <a:pt x="151" y="294"/>
                  <a:pt x="150" y="294"/>
                </a:cubicBezTo>
                <a:cubicBezTo>
                  <a:pt x="150" y="295"/>
                  <a:pt x="149" y="295"/>
                  <a:pt x="149" y="295"/>
                </a:cubicBezTo>
                <a:cubicBezTo>
                  <a:pt x="149" y="295"/>
                  <a:pt x="149" y="296"/>
                  <a:pt x="148" y="296"/>
                </a:cubicBezTo>
                <a:cubicBezTo>
                  <a:pt x="148" y="297"/>
                  <a:pt x="148" y="298"/>
                  <a:pt x="148" y="299"/>
                </a:cubicBezTo>
                <a:cubicBezTo>
                  <a:pt x="148" y="298"/>
                  <a:pt x="148" y="299"/>
                  <a:pt x="148" y="299"/>
                </a:cubicBezTo>
                <a:cubicBezTo>
                  <a:pt x="147" y="299"/>
                  <a:pt x="146" y="299"/>
                  <a:pt x="146" y="299"/>
                </a:cubicBezTo>
                <a:cubicBezTo>
                  <a:pt x="146" y="300"/>
                  <a:pt x="147" y="302"/>
                  <a:pt x="146" y="302"/>
                </a:cubicBezTo>
                <a:cubicBezTo>
                  <a:pt x="143" y="302"/>
                  <a:pt x="144" y="302"/>
                  <a:pt x="142" y="302"/>
                </a:cubicBezTo>
                <a:cubicBezTo>
                  <a:pt x="142" y="303"/>
                  <a:pt x="141" y="305"/>
                  <a:pt x="141" y="306"/>
                </a:cubicBezTo>
                <a:cubicBezTo>
                  <a:pt x="141" y="307"/>
                  <a:pt x="143" y="307"/>
                  <a:pt x="143" y="309"/>
                </a:cubicBezTo>
                <a:cubicBezTo>
                  <a:pt x="145" y="309"/>
                  <a:pt x="146" y="310"/>
                  <a:pt x="146" y="311"/>
                </a:cubicBezTo>
                <a:cubicBezTo>
                  <a:pt x="144" y="311"/>
                  <a:pt x="143" y="312"/>
                  <a:pt x="142" y="312"/>
                </a:cubicBezTo>
                <a:cubicBezTo>
                  <a:pt x="140" y="312"/>
                  <a:pt x="140" y="314"/>
                  <a:pt x="139" y="314"/>
                </a:cubicBezTo>
                <a:cubicBezTo>
                  <a:pt x="139" y="315"/>
                  <a:pt x="138" y="315"/>
                  <a:pt x="138" y="317"/>
                </a:cubicBezTo>
                <a:cubicBezTo>
                  <a:pt x="138" y="318"/>
                  <a:pt x="139" y="319"/>
                  <a:pt x="139" y="320"/>
                </a:cubicBezTo>
                <a:cubicBezTo>
                  <a:pt x="139" y="323"/>
                  <a:pt x="140" y="324"/>
                  <a:pt x="141" y="326"/>
                </a:cubicBezTo>
                <a:cubicBezTo>
                  <a:pt x="141" y="327"/>
                  <a:pt x="143" y="327"/>
                  <a:pt x="143" y="328"/>
                </a:cubicBezTo>
                <a:cubicBezTo>
                  <a:pt x="144" y="328"/>
                  <a:pt x="145" y="328"/>
                  <a:pt x="145" y="328"/>
                </a:cubicBezTo>
                <a:cubicBezTo>
                  <a:pt x="143" y="330"/>
                  <a:pt x="143" y="329"/>
                  <a:pt x="141" y="328"/>
                </a:cubicBezTo>
                <a:cubicBezTo>
                  <a:pt x="140" y="325"/>
                  <a:pt x="138" y="324"/>
                  <a:pt x="138" y="321"/>
                </a:cubicBezTo>
                <a:cubicBezTo>
                  <a:pt x="138" y="321"/>
                  <a:pt x="137" y="321"/>
                  <a:pt x="137" y="321"/>
                </a:cubicBezTo>
                <a:cubicBezTo>
                  <a:pt x="136" y="321"/>
                  <a:pt x="137" y="321"/>
                  <a:pt x="137" y="322"/>
                </a:cubicBezTo>
                <a:cubicBezTo>
                  <a:pt x="136" y="322"/>
                  <a:pt x="135" y="321"/>
                  <a:pt x="135" y="322"/>
                </a:cubicBezTo>
                <a:cubicBezTo>
                  <a:pt x="134" y="322"/>
                  <a:pt x="135" y="323"/>
                  <a:pt x="134" y="324"/>
                </a:cubicBezTo>
                <a:cubicBezTo>
                  <a:pt x="134" y="324"/>
                  <a:pt x="134" y="324"/>
                  <a:pt x="134" y="324"/>
                </a:cubicBezTo>
                <a:cubicBezTo>
                  <a:pt x="134" y="326"/>
                  <a:pt x="135" y="326"/>
                  <a:pt x="134" y="327"/>
                </a:cubicBezTo>
                <a:cubicBezTo>
                  <a:pt x="135" y="327"/>
                  <a:pt x="135" y="327"/>
                  <a:pt x="135" y="328"/>
                </a:cubicBezTo>
                <a:cubicBezTo>
                  <a:pt x="135" y="328"/>
                  <a:pt x="134" y="328"/>
                  <a:pt x="134" y="327"/>
                </a:cubicBezTo>
                <a:cubicBezTo>
                  <a:pt x="134" y="327"/>
                  <a:pt x="133" y="326"/>
                  <a:pt x="133" y="325"/>
                </a:cubicBezTo>
                <a:cubicBezTo>
                  <a:pt x="132" y="325"/>
                  <a:pt x="132" y="325"/>
                  <a:pt x="132" y="324"/>
                </a:cubicBezTo>
                <a:cubicBezTo>
                  <a:pt x="131" y="324"/>
                  <a:pt x="130" y="324"/>
                  <a:pt x="130" y="324"/>
                </a:cubicBezTo>
                <a:cubicBezTo>
                  <a:pt x="127" y="324"/>
                  <a:pt x="123" y="324"/>
                  <a:pt x="120" y="324"/>
                </a:cubicBezTo>
                <a:cubicBezTo>
                  <a:pt x="118" y="323"/>
                  <a:pt x="118" y="322"/>
                  <a:pt x="116" y="322"/>
                </a:cubicBezTo>
                <a:cubicBezTo>
                  <a:pt x="116" y="323"/>
                  <a:pt x="116" y="324"/>
                  <a:pt x="115" y="324"/>
                </a:cubicBezTo>
                <a:cubicBezTo>
                  <a:pt x="114" y="322"/>
                  <a:pt x="113" y="325"/>
                  <a:pt x="111" y="324"/>
                </a:cubicBezTo>
                <a:cubicBezTo>
                  <a:pt x="109" y="325"/>
                  <a:pt x="110" y="323"/>
                  <a:pt x="108" y="324"/>
                </a:cubicBezTo>
                <a:cubicBezTo>
                  <a:pt x="108" y="324"/>
                  <a:pt x="107" y="324"/>
                  <a:pt x="107" y="324"/>
                </a:cubicBezTo>
                <a:cubicBezTo>
                  <a:pt x="107" y="325"/>
                  <a:pt x="106" y="325"/>
                  <a:pt x="106" y="325"/>
                </a:cubicBezTo>
                <a:cubicBezTo>
                  <a:pt x="106" y="326"/>
                  <a:pt x="105" y="327"/>
                  <a:pt x="104" y="327"/>
                </a:cubicBezTo>
                <a:cubicBezTo>
                  <a:pt x="104" y="328"/>
                  <a:pt x="102" y="328"/>
                  <a:pt x="100" y="328"/>
                </a:cubicBezTo>
                <a:cubicBezTo>
                  <a:pt x="101" y="330"/>
                  <a:pt x="100" y="332"/>
                  <a:pt x="98" y="333"/>
                </a:cubicBezTo>
                <a:cubicBezTo>
                  <a:pt x="98" y="333"/>
                  <a:pt x="98" y="333"/>
                  <a:pt x="97" y="333"/>
                </a:cubicBezTo>
                <a:cubicBezTo>
                  <a:pt x="96" y="334"/>
                  <a:pt x="93" y="335"/>
                  <a:pt x="91" y="335"/>
                </a:cubicBezTo>
                <a:cubicBezTo>
                  <a:pt x="89" y="338"/>
                  <a:pt x="86" y="339"/>
                  <a:pt x="86" y="342"/>
                </a:cubicBezTo>
                <a:cubicBezTo>
                  <a:pt x="89" y="341"/>
                  <a:pt x="90" y="343"/>
                  <a:pt x="93" y="342"/>
                </a:cubicBezTo>
                <a:cubicBezTo>
                  <a:pt x="94" y="342"/>
                  <a:pt x="96" y="342"/>
                  <a:pt x="97" y="340"/>
                </a:cubicBezTo>
                <a:cubicBezTo>
                  <a:pt x="98" y="340"/>
                  <a:pt x="99" y="339"/>
                  <a:pt x="100" y="339"/>
                </a:cubicBezTo>
                <a:cubicBezTo>
                  <a:pt x="101" y="339"/>
                  <a:pt x="102" y="340"/>
                  <a:pt x="103" y="340"/>
                </a:cubicBezTo>
                <a:cubicBezTo>
                  <a:pt x="103" y="340"/>
                  <a:pt x="104" y="340"/>
                  <a:pt x="103" y="340"/>
                </a:cubicBezTo>
                <a:cubicBezTo>
                  <a:pt x="103" y="342"/>
                  <a:pt x="102" y="342"/>
                  <a:pt x="102" y="343"/>
                </a:cubicBezTo>
                <a:cubicBezTo>
                  <a:pt x="102" y="344"/>
                  <a:pt x="102" y="344"/>
                  <a:pt x="102" y="344"/>
                </a:cubicBezTo>
                <a:cubicBezTo>
                  <a:pt x="102" y="345"/>
                  <a:pt x="102" y="345"/>
                  <a:pt x="102" y="345"/>
                </a:cubicBezTo>
                <a:cubicBezTo>
                  <a:pt x="103" y="345"/>
                  <a:pt x="103" y="345"/>
                  <a:pt x="103" y="346"/>
                </a:cubicBezTo>
                <a:cubicBezTo>
                  <a:pt x="103" y="347"/>
                  <a:pt x="107" y="348"/>
                  <a:pt x="104" y="349"/>
                </a:cubicBezTo>
                <a:cubicBezTo>
                  <a:pt x="104" y="349"/>
                  <a:pt x="104" y="349"/>
                  <a:pt x="104" y="349"/>
                </a:cubicBezTo>
                <a:cubicBezTo>
                  <a:pt x="103" y="350"/>
                  <a:pt x="103" y="351"/>
                  <a:pt x="102" y="351"/>
                </a:cubicBezTo>
                <a:cubicBezTo>
                  <a:pt x="101" y="351"/>
                  <a:pt x="100" y="352"/>
                  <a:pt x="100" y="353"/>
                </a:cubicBezTo>
                <a:cubicBezTo>
                  <a:pt x="100" y="355"/>
                  <a:pt x="102" y="355"/>
                  <a:pt x="102" y="357"/>
                </a:cubicBezTo>
                <a:cubicBezTo>
                  <a:pt x="101" y="358"/>
                  <a:pt x="100" y="358"/>
                  <a:pt x="100" y="359"/>
                </a:cubicBezTo>
                <a:cubicBezTo>
                  <a:pt x="99" y="359"/>
                  <a:pt x="100" y="361"/>
                  <a:pt x="99" y="361"/>
                </a:cubicBezTo>
                <a:cubicBezTo>
                  <a:pt x="99" y="362"/>
                  <a:pt x="98" y="363"/>
                  <a:pt x="97" y="363"/>
                </a:cubicBezTo>
                <a:cubicBezTo>
                  <a:pt x="98" y="364"/>
                  <a:pt x="97" y="365"/>
                  <a:pt x="97" y="365"/>
                </a:cubicBezTo>
                <a:cubicBezTo>
                  <a:pt x="95" y="365"/>
                  <a:pt x="95" y="367"/>
                  <a:pt x="93" y="367"/>
                </a:cubicBezTo>
                <a:cubicBezTo>
                  <a:pt x="92" y="367"/>
                  <a:pt x="92" y="369"/>
                  <a:pt x="91" y="368"/>
                </a:cubicBezTo>
                <a:cubicBezTo>
                  <a:pt x="90" y="369"/>
                  <a:pt x="90" y="369"/>
                  <a:pt x="90" y="369"/>
                </a:cubicBezTo>
                <a:cubicBezTo>
                  <a:pt x="89" y="369"/>
                  <a:pt x="88" y="369"/>
                  <a:pt x="88" y="369"/>
                </a:cubicBezTo>
                <a:cubicBezTo>
                  <a:pt x="88" y="370"/>
                  <a:pt x="87" y="369"/>
                  <a:pt x="86" y="370"/>
                </a:cubicBezTo>
                <a:cubicBezTo>
                  <a:pt x="86" y="370"/>
                  <a:pt x="86" y="370"/>
                  <a:pt x="86" y="370"/>
                </a:cubicBezTo>
                <a:cubicBezTo>
                  <a:pt x="86" y="371"/>
                  <a:pt x="85" y="371"/>
                  <a:pt x="84" y="371"/>
                </a:cubicBezTo>
                <a:cubicBezTo>
                  <a:pt x="83" y="371"/>
                  <a:pt x="81" y="371"/>
                  <a:pt x="79" y="371"/>
                </a:cubicBezTo>
                <a:cubicBezTo>
                  <a:pt x="79" y="371"/>
                  <a:pt x="79" y="372"/>
                  <a:pt x="78" y="372"/>
                </a:cubicBezTo>
                <a:cubicBezTo>
                  <a:pt x="78" y="372"/>
                  <a:pt x="78" y="372"/>
                  <a:pt x="77" y="372"/>
                </a:cubicBezTo>
                <a:cubicBezTo>
                  <a:pt x="76" y="373"/>
                  <a:pt x="75" y="374"/>
                  <a:pt x="72" y="374"/>
                </a:cubicBezTo>
                <a:cubicBezTo>
                  <a:pt x="72" y="374"/>
                  <a:pt x="72" y="374"/>
                  <a:pt x="72" y="373"/>
                </a:cubicBezTo>
                <a:cubicBezTo>
                  <a:pt x="71" y="373"/>
                  <a:pt x="70" y="373"/>
                  <a:pt x="70" y="373"/>
                </a:cubicBezTo>
                <a:cubicBezTo>
                  <a:pt x="68" y="373"/>
                  <a:pt x="69" y="376"/>
                  <a:pt x="68" y="376"/>
                </a:cubicBezTo>
                <a:cubicBezTo>
                  <a:pt x="65" y="376"/>
                  <a:pt x="64" y="377"/>
                  <a:pt x="62" y="378"/>
                </a:cubicBezTo>
                <a:cubicBezTo>
                  <a:pt x="61" y="380"/>
                  <a:pt x="63" y="379"/>
                  <a:pt x="64" y="380"/>
                </a:cubicBezTo>
                <a:cubicBezTo>
                  <a:pt x="65" y="380"/>
                  <a:pt x="65" y="381"/>
                  <a:pt x="65" y="382"/>
                </a:cubicBezTo>
                <a:cubicBezTo>
                  <a:pt x="65" y="384"/>
                  <a:pt x="64" y="383"/>
                  <a:pt x="63" y="385"/>
                </a:cubicBezTo>
                <a:cubicBezTo>
                  <a:pt x="62" y="385"/>
                  <a:pt x="61" y="385"/>
                  <a:pt x="61" y="387"/>
                </a:cubicBezTo>
                <a:cubicBezTo>
                  <a:pt x="62" y="387"/>
                  <a:pt x="62" y="388"/>
                  <a:pt x="63" y="388"/>
                </a:cubicBezTo>
                <a:cubicBezTo>
                  <a:pt x="64" y="388"/>
                  <a:pt x="65" y="388"/>
                  <a:pt x="65" y="388"/>
                </a:cubicBezTo>
                <a:cubicBezTo>
                  <a:pt x="67" y="388"/>
                  <a:pt x="68" y="388"/>
                  <a:pt x="70" y="388"/>
                </a:cubicBezTo>
                <a:cubicBezTo>
                  <a:pt x="70" y="388"/>
                  <a:pt x="71" y="388"/>
                  <a:pt x="71" y="387"/>
                </a:cubicBezTo>
                <a:cubicBezTo>
                  <a:pt x="71" y="386"/>
                  <a:pt x="72" y="386"/>
                  <a:pt x="72" y="386"/>
                </a:cubicBezTo>
                <a:cubicBezTo>
                  <a:pt x="74" y="392"/>
                  <a:pt x="67" y="389"/>
                  <a:pt x="65" y="390"/>
                </a:cubicBezTo>
                <a:cubicBezTo>
                  <a:pt x="64" y="393"/>
                  <a:pt x="67" y="392"/>
                  <a:pt x="70" y="393"/>
                </a:cubicBezTo>
                <a:cubicBezTo>
                  <a:pt x="70" y="393"/>
                  <a:pt x="70" y="393"/>
                  <a:pt x="70" y="393"/>
                </a:cubicBezTo>
                <a:cubicBezTo>
                  <a:pt x="71" y="393"/>
                  <a:pt x="73" y="393"/>
                  <a:pt x="74" y="393"/>
                </a:cubicBezTo>
                <a:cubicBezTo>
                  <a:pt x="75" y="393"/>
                  <a:pt x="75" y="391"/>
                  <a:pt x="77" y="391"/>
                </a:cubicBezTo>
                <a:cubicBezTo>
                  <a:pt x="79" y="391"/>
                  <a:pt x="82" y="390"/>
                  <a:pt x="85" y="390"/>
                </a:cubicBezTo>
                <a:cubicBezTo>
                  <a:pt x="85" y="390"/>
                  <a:pt x="86" y="390"/>
                  <a:pt x="86" y="390"/>
                </a:cubicBezTo>
                <a:cubicBezTo>
                  <a:pt x="85" y="391"/>
                  <a:pt x="85" y="392"/>
                  <a:pt x="85" y="393"/>
                </a:cubicBezTo>
                <a:cubicBezTo>
                  <a:pt x="87" y="393"/>
                  <a:pt x="88" y="394"/>
                  <a:pt x="90" y="395"/>
                </a:cubicBezTo>
                <a:cubicBezTo>
                  <a:pt x="91" y="395"/>
                  <a:pt x="93" y="395"/>
                  <a:pt x="93" y="397"/>
                </a:cubicBezTo>
                <a:cubicBezTo>
                  <a:pt x="93" y="397"/>
                  <a:pt x="90" y="398"/>
                  <a:pt x="90" y="397"/>
                </a:cubicBezTo>
                <a:cubicBezTo>
                  <a:pt x="88" y="397"/>
                  <a:pt x="88" y="395"/>
                  <a:pt x="86" y="396"/>
                </a:cubicBezTo>
                <a:cubicBezTo>
                  <a:pt x="87" y="398"/>
                  <a:pt x="83" y="398"/>
                  <a:pt x="86" y="400"/>
                </a:cubicBezTo>
                <a:cubicBezTo>
                  <a:pt x="86" y="400"/>
                  <a:pt x="86" y="400"/>
                  <a:pt x="86" y="400"/>
                </a:cubicBezTo>
                <a:cubicBezTo>
                  <a:pt x="87" y="401"/>
                  <a:pt x="88" y="401"/>
                  <a:pt x="89" y="401"/>
                </a:cubicBezTo>
                <a:cubicBezTo>
                  <a:pt x="90" y="401"/>
                  <a:pt x="90" y="400"/>
                  <a:pt x="91" y="400"/>
                </a:cubicBezTo>
                <a:cubicBezTo>
                  <a:pt x="92" y="400"/>
                  <a:pt x="92" y="401"/>
                  <a:pt x="92" y="401"/>
                </a:cubicBezTo>
                <a:cubicBezTo>
                  <a:pt x="93" y="401"/>
                  <a:pt x="94" y="401"/>
                  <a:pt x="95" y="401"/>
                </a:cubicBezTo>
                <a:cubicBezTo>
                  <a:pt x="96" y="401"/>
                  <a:pt x="96" y="400"/>
                  <a:pt x="96" y="400"/>
                </a:cubicBezTo>
                <a:cubicBezTo>
                  <a:pt x="97" y="400"/>
                  <a:pt x="97" y="400"/>
                  <a:pt x="97" y="400"/>
                </a:cubicBezTo>
                <a:cubicBezTo>
                  <a:pt x="98" y="401"/>
                  <a:pt x="99" y="402"/>
                  <a:pt x="100" y="403"/>
                </a:cubicBezTo>
                <a:cubicBezTo>
                  <a:pt x="100" y="404"/>
                  <a:pt x="100" y="405"/>
                  <a:pt x="100" y="406"/>
                </a:cubicBezTo>
                <a:cubicBezTo>
                  <a:pt x="100" y="406"/>
                  <a:pt x="100" y="407"/>
                  <a:pt x="100" y="407"/>
                </a:cubicBezTo>
                <a:cubicBezTo>
                  <a:pt x="101" y="408"/>
                  <a:pt x="102" y="408"/>
                  <a:pt x="102" y="409"/>
                </a:cubicBezTo>
                <a:cubicBezTo>
                  <a:pt x="103" y="410"/>
                  <a:pt x="104" y="410"/>
                  <a:pt x="104" y="411"/>
                </a:cubicBezTo>
                <a:cubicBezTo>
                  <a:pt x="104" y="411"/>
                  <a:pt x="105" y="411"/>
                  <a:pt x="104" y="411"/>
                </a:cubicBezTo>
                <a:cubicBezTo>
                  <a:pt x="105" y="412"/>
                  <a:pt x="105" y="412"/>
                  <a:pt x="105" y="413"/>
                </a:cubicBezTo>
                <a:cubicBezTo>
                  <a:pt x="109" y="412"/>
                  <a:pt x="111" y="414"/>
                  <a:pt x="115" y="413"/>
                </a:cubicBezTo>
                <a:cubicBezTo>
                  <a:pt x="117" y="414"/>
                  <a:pt x="115" y="411"/>
                  <a:pt x="118" y="411"/>
                </a:cubicBezTo>
                <a:cubicBezTo>
                  <a:pt x="118" y="411"/>
                  <a:pt x="118" y="411"/>
                  <a:pt x="118" y="411"/>
                </a:cubicBezTo>
                <a:cubicBezTo>
                  <a:pt x="121" y="409"/>
                  <a:pt x="125" y="409"/>
                  <a:pt x="129" y="409"/>
                </a:cubicBezTo>
                <a:cubicBezTo>
                  <a:pt x="129" y="408"/>
                  <a:pt x="129" y="408"/>
                  <a:pt x="130" y="408"/>
                </a:cubicBezTo>
                <a:cubicBezTo>
                  <a:pt x="130" y="408"/>
                  <a:pt x="130" y="408"/>
                  <a:pt x="131" y="408"/>
                </a:cubicBezTo>
                <a:cubicBezTo>
                  <a:pt x="131" y="407"/>
                  <a:pt x="131" y="407"/>
                  <a:pt x="132" y="407"/>
                </a:cubicBezTo>
                <a:cubicBezTo>
                  <a:pt x="132" y="408"/>
                  <a:pt x="132" y="408"/>
                  <a:pt x="131" y="408"/>
                </a:cubicBezTo>
                <a:cubicBezTo>
                  <a:pt x="130" y="409"/>
                  <a:pt x="129" y="410"/>
                  <a:pt x="128" y="411"/>
                </a:cubicBezTo>
                <a:cubicBezTo>
                  <a:pt x="126" y="411"/>
                  <a:pt x="125" y="412"/>
                  <a:pt x="123" y="412"/>
                </a:cubicBezTo>
                <a:cubicBezTo>
                  <a:pt x="123" y="413"/>
                  <a:pt x="121" y="414"/>
                  <a:pt x="120" y="414"/>
                </a:cubicBezTo>
                <a:cubicBezTo>
                  <a:pt x="119" y="416"/>
                  <a:pt x="119" y="417"/>
                  <a:pt x="117" y="418"/>
                </a:cubicBezTo>
                <a:cubicBezTo>
                  <a:pt x="117" y="418"/>
                  <a:pt x="117" y="419"/>
                  <a:pt x="117" y="419"/>
                </a:cubicBezTo>
                <a:cubicBezTo>
                  <a:pt x="117" y="419"/>
                  <a:pt x="118" y="420"/>
                  <a:pt x="118" y="420"/>
                </a:cubicBezTo>
                <a:cubicBezTo>
                  <a:pt x="118" y="420"/>
                  <a:pt x="117" y="420"/>
                  <a:pt x="117" y="421"/>
                </a:cubicBezTo>
                <a:cubicBezTo>
                  <a:pt x="113" y="422"/>
                  <a:pt x="111" y="420"/>
                  <a:pt x="107" y="420"/>
                </a:cubicBezTo>
                <a:cubicBezTo>
                  <a:pt x="107" y="420"/>
                  <a:pt x="106" y="420"/>
                  <a:pt x="105" y="420"/>
                </a:cubicBezTo>
                <a:cubicBezTo>
                  <a:pt x="105" y="419"/>
                  <a:pt x="104" y="419"/>
                  <a:pt x="104" y="418"/>
                </a:cubicBezTo>
                <a:cubicBezTo>
                  <a:pt x="104" y="418"/>
                  <a:pt x="103" y="417"/>
                  <a:pt x="103" y="417"/>
                </a:cubicBezTo>
                <a:cubicBezTo>
                  <a:pt x="102" y="417"/>
                  <a:pt x="102" y="417"/>
                  <a:pt x="102" y="416"/>
                </a:cubicBezTo>
                <a:cubicBezTo>
                  <a:pt x="98" y="417"/>
                  <a:pt x="98" y="415"/>
                  <a:pt x="95" y="415"/>
                </a:cubicBezTo>
                <a:cubicBezTo>
                  <a:pt x="95" y="415"/>
                  <a:pt x="94" y="415"/>
                  <a:pt x="94" y="415"/>
                </a:cubicBezTo>
                <a:cubicBezTo>
                  <a:pt x="94" y="415"/>
                  <a:pt x="94" y="416"/>
                  <a:pt x="93" y="416"/>
                </a:cubicBezTo>
                <a:cubicBezTo>
                  <a:pt x="89" y="416"/>
                  <a:pt x="85" y="415"/>
                  <a:pt x="83" y="416"/>
                </a:cubicBezTo>
                <a:cubicBezTo>
                  <a:pt x="82" y="417"/>
                  <a:pt x="82" y="419"/>
                  <a:pt x="82" y="421"/>
                </a:cubicBezTo>
                <a:cubicBezTo>
                  <a:pt x="81" y="422"/>
                  <a:pt x="80" y="422"/>
                  <a:pt x="78" y="423"/>
                </a:cubicBezTo>
                <a:cubicBezTo>
                  <a:pt x="76" y="422"/>
                  <a:pt x="75" y="421"/>
                  <a:pt x="73" y="420"/>
                </a:cubicBezTo>
                <a:cubicBezTo>
                  <a:pt x="73" y="422"/>
                  <a:pt x="73" y="423"/>
                  <a:pt x="73" y="424"/>
                </a:cubicBezTo>
                <a:cubicBezTo>
                  <a:pt x="71" y="425"/>
                  <a:pt x="70" y="426"/>
                  <a:pt x="70" y="429"/>
                </a:cubicBezTo>
                <a:cubicBezTo>
                  <a:pt x="69" y="430"/>
                  <a:pt x="69" y="431"/>
                  <a:pt x="68" y="432"/>
                </a:cubicBezTo>
                <a:cubicBezTo>
                  <a:pt x="66" y="432"/>
                  <a:pt x="66" y="434"/>
                  <a:pt x="64" y="434"/>
                </a:cubicBezTo>
                <a:cubicBezTo>
                  <a:pt x="63" y="435"/>
                  <a:pt x="63" y="436"/>
                  <a:pt x="61" y="436"/>
                </a:cubicBezTo>
                <a:cubicBezTo>
                  <a:pt x="61" y="437"/>
                  <a:pt x="61" y="438"/>
                  <a:pt x="59" y="438"/>
                </a:cubicBezTo>
                <a:cubicBezTo>
                  <a:pt x="59" y="439"/>
                  <a:pt x="58" y="441"/>
                  <a:pt x="57" y="441"/>
                </a:cubicBezTo>
                <a:cubicBezTo>
                  <a:pt x="57" y="440"/>
                  <a:pt x="57" y="439"/>
                  <a:pt x="55" y="439"/>
                </a:cubicBezTo>
                <a:cubicBezTo>
                  <a:pt x="54" y="439"/>
                  <a:pt x="54" y="440"/>
                  <a:pt x="54" y="441"/>
                </a:cubicBezTo>
                <a:cubicBezTo>
                  <a:pt x="54" y="441"/>
                  <a:pt x="54" y="441"/>
                  <a:pt x="54" y="441"/>
                </a:cubicBezTo>
                <a:cubicBezTo>
                  <a:pt x="53" y="441"/>
                  <a:pt x="53" y="442"/>
                  <a:pt x="53" y="443"/>
                </a:cubicBezTo>
                <a:cubicBezTo>
                  <a:pt x="52" y="443"/>
                  <a:pt x="52" y="443"/>
                  <a:pt x="52" y="443"/>
                </a:cubicBezTo>
                <a:cubicBezTo>
                  <a:pt x="51" y="444"/>
                  <a:pt x="51" y="445"/>
                  <a:pt x="50" y="445"/>
                </a:cubicBezTo>
                <a:cubicBezTo>
                  <a:pt x="50" y="445"/>
                  <a:pt x="49" y="445"/>
                  <a:pt x="49" y="446"/>
                </a:cubicBezTo>
                <a:cubicBezTo>
                  <a:pt x="49" y="446"/>
                  <a:pt x="48" y="446"/>
                  <a:pt x="48" y="446"/>
                </a:cubicBezTo>
                <a:cubicBezTo>
                  <a:pt x="47" y="448"/>
                  <a:pt x="46" y="449"/>
                  <a:pt x="45" y="450"/>
                </a:cubicBezTo>
                <a:cubicBezTo>
                  <a:pt x="43" y="450"/>
                  <a:pt x="42" y="451"/>
                  <a:pt x="41" y="451"/>
                </a:cubicBezTo>
                <a:cubicBezTo>
                  <a:pt x="38" y="451"/>
                  <a:pt x="37" y="452"/>
                  <a:pt x="34" y="452"/>
                </a:cubicBezTo>
                <a:cubicBezTo>
                  <a:pt x="34" y="453"/>
                  <a:pt x="33" y="453"/>
                  <a:pt x="32" y="453"/>
                </a:cubicBezTo>
                <a:cubicBezTo>
                  <a:pt x="31" y="455"/>
                  <a:pt x="28" y="455"/>
                  <a:pt x="29" y="459"/>
                </a:cubicBezTo>
                <a:cubicBezTo>
                  <a:pt x="30" y="459"/>
                  <a:pt x="31" y="459"/>
                  <a:pt x="33" y="459"/>
                </a:cubicBezTo>
                <a:cubicBezTo>
                  <a:pt x="33" y="458"/>
                  <a:pt x="34" y="458"/>
                  <a:pt x="35" y="458"/>
                </a:cubicBezTo>
                <a:cubicBezTo>
                  <a:pt x="36" y="457"/>
                  <a:pt x="36" y="457"/>
                  <a:pt x="37" y="457"/>
                </a:cubicBezTo>
                <a:cubicBezTo>
                  <a:pt x="37" y="457"/>
                  <a:pt x="37" y="457"/>
                  <a:pt x="38" y="457"/>
                </a:cubicBezTo>
                <a:cubicBezTo>
                  <a:pt x="38" y="457"/>
                  <a:pt x="38" y="457"/>
                  <a:pt x="38" y="458"/>
                </a:cubicBezTo>
                <a:cubicBezTo>
                  <a:pt x="41" y="458"/>
                  <a:pt x="41" y="461"/>
                  <a:pt x="41" y="464"/>
                </a:cubicBezTo>
                <a:cubicBezTo>
                  <a:pt x="43" y="465"/>
                  <a:pt x="44" y="464"/>
                  <a:pt x="46" y="464"/>
                </a:cubicBezTo>
                <a:cubicBezTo>
                  <a:pt x="46" y="463"/>
                  <a:pt x="47" y="463"/>
                  <a:pt x="47" y="462"/>
                </a:cubicBezTo>
                <a:cubicBezTo>
                  <a:pt x="50" y="461"/>
                  <a:pt x="47" y="461"/>
                  <a:pt x="47" y="459"/>
                </a:cubicBezTo>
                <a:cubicBezTo>
                  <a:pt x="51" y="460"/>
                  <a:pt x="48" y="455"/>
                  <a:pt x="51" y="455"/>
                </a:cubicBezTo>
                <a:cubicBezTo>
                  <a:pt x="51" y="456"/>
                  <a:pt x="51" y="457"/>
                  <a:pt x="51" y="458"/>
                </a:cubicBezTo>
                <a:cubicBezTo>
                  <a:pt x="53" y="459"/>
                  <a:pt x="52" y="456"/>
                  <a:pt x="54" y="457"/>
                </a:cubicBezTo>
                <a:cubicBezTo>
                  <a:pt x="56" y="457"/>
                  <a:pt x="56" y="455"/>
                  <a:pt x="58" y="456"/>
                </a:cubicBezTo>
                <a:cubicBezTo>
                  <a:pt x="59" y="454"/>
                  <a:pt x="59" y="452"/>
                  <a:pt x="61" y="452"/>
                </a:cubicBezTo>
                <a:cubicBezTo>
                  <a:pt x="62" y="452"/>
                  <a:pt x="62" y="453"/>
                  <a:pt x="63" y="452"/>
                </a:cubicBezTo>
                <a:cubicBezTo>
                  <a:pt x="63" y="452"/>
                  <a:pt x="64" y="452"/>
                  <a:pt x="64" y="452"/>
                </a:cubicBezTo>
                <a:cubicBezTo>
                  <a:pt x="65" y="452"/>
                  <a:pt x="65" y="452"/>
                  <a:pt x="66" y="452"/>
                </a:cubicBezTo>
                <a:cubicBezTo>
                  <a:pt x="67" y="452"/>
                  <a:pt x="68" y="452"/>
                  <a:pt x="68" y="453"/>
                </a:cubicBezTo>
                <a:cubicBezTo>
                  <a:pt x="69" y="453"/>
                  <a:pt x="70" y="453"/>
                  <a:pt x="70" y="454"/>
                </a:cubicBezTo>
                <a:cubicBezTo>
                  <a:pt x="71" y="454"/>
                  <a:pt x="73" y="454"/>
                  <a:pt x="73" y="455"/>
                </a:cubicBezTo>
                <a:cubicBezTo>
                  <a:pt x="74" y="455"/>
                  <a:pt x="74" y="455"/>
                  <a:pt x="75" y="455"/>
                </a:cubicBezTo>
                <a:cubicBezTo>
                  <a:pt x="75" y="454"/>
                  <a:pt x="77" y="454"/>
                  <a:pt x="77" y="452"/>
                </a:cubicBezTo>
                <a:cubicBezTo>
                  <a:pt x="76" y="452"/>
                  <a:pt x="76" y="450"/>
                  <a:pt x="77" y="450"/>
                </a:cubicBezTo>
                <a:cubicBezTo>
                  <a:pt x="77" y="452"/>
                  <a:pt x="78" y="452"/>
                  <a:pt x="79" y="453"/>
                </a:cubicBezTo>
                <a:cubicBezTo>
                  <a:pt x="78" y="454"/>
                  <a:pt x="78" y="455"/>
                  <a:pt x="78" y="456"/>
                </a:cubicBezTo>
                <a:cubicBezTo>
                  <a:pt x="79" y="457"/>
                  <a:pt x="82" y="457"/>
                  <a:pt x="84" y="458"/>
                </a:cubicBezTo>
                <a:cubicBezTo>
                  <a:pt x="84" y="459"/>
                  <a:pt x="84" y="460"/>
                  <a:pt x="84" y="461"/>
                </a:cubicBezTo>
                <a:cubicBezTo>
                  <a:pt x="84" y="461"/>
                  <a:pt x="85" y="462"/>
                  <a:pt x="86" y="462"/>
                </a:cubicBezTo>
                <a:cubicBezTo>
                  <a:pt x="86" y="462"/>
                  <a:pt x="86" y="462"/>
                  <a:pt x="86" y="463"/>
                </a:cubicBezTo>
                <a:cubicBezTo>
                  <a:pt x="87" y="464"/>
                  <a:pt x="89" y="464"/>
                  <a:pt x="90" y="464"/>
                </a:cubicBezTo>
                <a:cubicBezTo>
                  <a:pt x="90" y="463"/>
                  <a:pt x="90" y="462"/>
                  <a:pt x="90" y="461"/>
                </a:cubicBezTo>
                <a:cubicBezTo>
                  <a:pt x="91" y="461"/>
                  <a:pt x="90" y="460"/>
                  <a:pt x="91" y="460"/>
                </a:cubicBezTo>
                <a:cubicBezTo>
                  <a:pt x="91" y="460"/>
                  <a:pt x="92" y="460"/>
                  <a:pt x="92" y="460"/>
                </a:cubicBezTo>
                <a:cubicBezTo>
                  <a:pt x="92" y="460"/>
                  <a:pt x="92" y="459"/>
                  <a:pt x="93" y="459"/>
                </a:cubicBezTo>
                <a:cubicBezTo>
                  <a:pt x="93" y="458"/>
                  <a:pt x="94" y="458"/>
                  <a:pt x="94" y="458"/>
                </a:cubicBezTo>
                <a:cubicBezTo>
                  <a:pt x="94" y="458"/>
                  <a:pt x="94" y="457"/>
                  <a:pt x="95" y="457"/>
                </a:cubicBezTo>
                <a:cubicBezTo>
                  <a:pt x="95" y="457"/>
                  <a:pt x="95" y="457"/>
                  <a:pt x="95" y="457"/>
                </a:cubicBezTo>
                <a:cubicBezTo>
                  <a:pt x="96" y="456"/>
                  <a:pt x="96" y="454"/>
                  <a:pt x="96" y="453"/>
                </a:cubicBezTo>
                <a:cubicBezTo>
                  <a:pt x="96" y="453"/>
                  <a:pt x="97" y="453"/>
                  <a:pt x="97" y="452"/>
                </a:cubicBezTo>
                <a:cubicBezTo>
                  <a:pt x="97" y="452"/>
                  <a:pt x="98" y="451"/>
                  <a:pt x="97" y="450"/>
                </a:cubicBezTo>
                <a:cubicBezTo>
                  <a:pt x="97" y="450"/>
                  <a:pt x="96" y="450"/>
                  <a:pt x="95" y="449"/>
                </a:cubicBezTo>
                <a:cubicBezTo>
                  <a:pt x="97" y="449"/>
                  <a:pt x="99" y="449"/>
                  <a:pt x="100" y="448"/>
                </a:cubicBezTo>
                <a:cubicBezTo>
                  <a:pt x="101" y="446"/>
                  <a:pt x="98" y="445"/>
                  <a:pt x="100" y="444"/>
                </a:cubicBezTo>
                <a:cubicBezTo>
                  <a:pt x="101" y="444"/>
                  <a:pt x="100" y="447"/>
                  <a:pt x="102" y="447"/>
                </a:cubicBezTo>
                <a:cubicBezTo>
                  <a:pt x="107" y="446"/>
                  <a:pt x="111" y="447"/>
                  <a:pt x="117" y="446"/>
                </a:cubicBezTo>
                <a:cubicBezTo>
                  <a:pt x="117" y="447"/>
                  <a:pt x="118" y="447"/>
                  <a:pt x="118" y="447"/>
                </a:cubicBezTo>
                <a:cubicBezTo>
                  <a:pt x="118" y="448"/>
                  <a:pt x="119" y="448"/>
                  <a:pt x="119" y="448"/>
                </a:cubicBezTo>
                <a:cubicBezTo>
                  <a:pt x="120" y="448"/>
                  <a:pt x="120" y="448"/>
                  <a:pt x="120" y="448"/>
                </a:cubicBezTo>
                <a:cubicBezTo>
                  <a:pt x="120" y="448"/>
                  <a:pt x="121" y="448"/>
                  <a:pt x="120" y="449"/>
                </a:cubicBezTo>
                <a:cubicBezTo>
                  <a:pt x="122" y="450"/>
                  <a:pt x="123" y="451"/>
                  <a:pt x="123" y="452"/>
                </a:cubicBezTo>
                <a:cubicBezTo>
                  <a:pt x="124" y="453"/>
                  <a:pt x="124" y="454"/>
                  <a:pt x="125" y="456"/>
                </a:cubicBezTo>
                <a:cubicBezTo>
                  <a:pt x="126" y="456"/>
                  <a:pt x="125" y="459"/>
                  <a:pt x="127" y="459"/>
                </a:cubicBezTo>
                <a:cubicBezTo>
                  <a:pt x="127" y="457"/>
                  <a:pt x="128" y="457"/>
                  <a:pt x="128" y="455"/>
                </a:cubicBezTo>
                <a:cubicBezTo>
                  <a:pt x="127" y="454"/>
                  <a:pt x="127" y="454"/>
                  <a:pt x="129" y="453"/>
                </a:cubicBezTo>
                <a:cubicBezTo>
                  <a:pt x="131" y="453"/>
                  <a:pt x="133" y="455"/>
                  <a:pt x="135" y="455"/>
                </a:cubicBezTo>
                <a:cubicBezTo>
                  <a:pt x="135" y="455"/>
                  <a:pt x="136" y="456"/>
                  <a:pt x="137" y="456"/>
                </a:cubicBezTo>
                <a:cubicBezTo>
                  <a:pt x="138" y="457"/>
                  <a:pt x="138" y="457"/>
                  <a:pt x="139" y="457"/>
                </a:cubicBezTo>
                <a:cubicBezTo>
                  <a:pt x="140" y="457"/>
                  <a:pt x="140" y="456"/>
                  <a:pt x="140" y="455"/>
                </a:cubicBezTo>
                <a:cubicBezTo>
                  <a:pt x="143" y="454"/>
                  <a:pt x="137" y="452"/>
                  <a:pt x="140" y="451"/>
                </a:cubicBezTo>
                <a:cubicBezTo>
                  <a:pt x="142" y="452"/>
                  <a:pt x="144" y="453"/>
                  <a:pt x="147" y="452"/>
                </a:cubicBezTo>
                <a:cubicBezTo>
                  <a:pt x="148" y="453"/>
                  <a:pt x="149" y="454"/>
                  <a:pt x="150" y="454"/>
                </a:cubicBezTo>
                <a:cubicBezTo>
                  <a:pt x="153" y="453"/>
                  <a:pt x="155" y="451"/>
                  <a:pt x="159" y="451"/>
                </a:cubicBezTo>
                <a:cubicBezTo>
                  <a:pt x="159" y="450"/>
                  <a:pt x="160" y="450"/>
                  <a:pt x="159" y="448"/>
                </a:cubicBezTo>
                <a:cubicBezTo>
                  <a:pt x="159" y="447"/>
                  <a:pt x="160" y="447"/>
                  <a:pt x="161" y="447"/>
                </a:cubicBezTo>
                <a:cubicBezTo>
                  <a:pt x="161" y="449"/>
                  <a:pt x="161" y="450"/>
                  <a:pt x="162" y="451"/>
                </a:cubicBezTo>
                <a:cubicBezTo>
                  <a:pt x="163" y="451"/>
                  <a:pt x="163" y="452"/>
                  <a:pt x="164" y="452"/>
                </a:cubicBezTo>
                <a:cubicBezTo>
                  <a:pt x="165" y="453"/>
                  <a:pt x="165" y="452"/>
                  <a:pt x="166" y="452"/>
                </a:cubicBezTo>
                <a:cubicBezTo>
                  <a:pt x="166" y="451"/>
                  <a:pt x="166" y="451"/>
                  <a:pt x="166" y="452"/>
                </a:cubicBezTo>
                <a:cubicBezTo>
                  <a:pt x="166" y="452"/>
                  <a:pt x="166" y="453"/>
                  <a:pt x="166" y="454"/>
                </a:cubicBezTo>
                <a:cubicBezTo>
                  <a:pt x="169" y="454"/>
                  <a:pt x="168" y="451"/>
                  <a:pt x="171" y="452"/>
                </a:cubicBezTo>
                <a:cubicBezTo>
                  <a:pt x="171" y="452"/>
                  <a:pt x="171" y="452"/>
                  <a:pt x="171" y="452"/>
                </a:cubicBezTo>
                <a:cubicBezTo>
                  <a:pt x="172" y="453"/>
                  <a:pt x="172" y="454"/>
                  <a:pt x="171" y="455"/>
                </a:cubicBezTo>
                <a:cubicBezTo>
                  <a:pt x="171" y="456"/>
                  <a:pt x="172" y="456"/>
                  <a:pt x="172" y="457"/>
                </a:cubicBezTo>
                <a:cubicBezTo>
                  <a:pt x="173" y="457"/>
                  <a:pt x="173" y="457"/>
                  <a:pt x="173" y="457"/>
                </a:cubicBezTo>
                <a:cubicBezTo>
                  <a:pt x="173" y="458"/>
                  <a:pt x="174" y="459"/>
                  <a:pt x="174" y="459"/>
                </a:cubicBezTo>
                <a:cubicBezTo>
                  <a:pt x="174" y="458"/>
                  <a:pt x="175" y="458"/>
                  <a:pt x="176" y="458"/>
                </a:cubicBezTo>
                <a:cubicBezTo>
                  <a:pt x="175" y="457"/>
                  <a:pt x="176" y="457"/>
                  <a:pt x="176" y="457"/>
                </a:cubicBezTo>
                <a:cubicBezTo>
                  <a:pt x="177" y="457"/>
                  <a:pt x="177" y="457"/>
                  <a:pt x="178" y="457"/>
                </a:cubicBezTo>
                <a:cubicBezTo>
                  <a:pt x="181" y="456"/>
                  <a:pt x="181" y="458"/>
                  <a:pt x="183" y="457"/>
                </a:cubicBezTo>
                <a:cubicBezTo>
                  <a:pt x="185" y="457"/>
                  <a:pt x="188" y="457"/>
                  <a:pt x="190" y="457"/>
                </a:cubicBezTo>
                <a:cubicBezTo>
                  <a:pt x="190" y="457"/>
                  <a:pt x="191" y="457"/>
                  <a:pt x="191" y="457"/>
                </a:cubicBezTo>
                <a:cubicBezTo>
                  <a:pt x="192" y="457"/>
                  <a:pt x="193" y="457"/>
                  <a:pt x="194" y="458"/>
                </a:cubicBezTo>
                <a:cubicBezTo>
                  <a:pt x="195" y="458"/>
                  <a:pt x="195" y="458"/>
                  <a:pt x="195" y="459"/>
                </a:cubicBezTo>
                <a:cubicBezTo>
                  <a:pt x="195" y="459"/>
                  <a:pt x="195" y="459"/>
                  <a:pt x="196" y="459"/>
                </a:cubicBezTo>
                <a:cubicBezTo>
                  <a:pt x="196" y="459"/>
                  <a:pt x="196" y="459"/>
                  <a:pt x="196" y="459"/>
                </a:cubicBezTo>
                <a:cubicBezTo>
                  <a:pt x="197" y="459"/>
                  <a:pt x="198" y="459"/>
                  <a:pt x="198" y="460"/>
                </a:cubicBezTo>
                <a:cubicBezTo>
                  <a:pt x="198" y="461"/>
                  <a:pt x="199" y="461"/>
                  <a:pt x="199" y="461"/>
                </a:cubicBezTo>
                <a:cubicBezTo>
                  <a:pt x="199" y="461"/>
                  <a:pt x="200" y="461"/>
                  <a:pt x="200" y="461"/>
                </a:cubicBezTo>
                <a:cubicBezTo>
                  <a:pt x="200" y="461"/>
                  <a:pt x="200" y="461"/>
                  <a:pt x="200" y="462"/>
                </a:cubicBezTo>
                <a:cubicBezTo>
                  <a:pt x="200" y="462"/>
                  <a:pt x="201" y="462"/>
                  <a:pt x="202" y="462"/>
                </a:cubicBezTo>
                <a:cubicBezTo>
                  <a:pt x="202" y="462"/>
                  <a:pt x="202" y="462"/>
                  <a:pt x="203" y="462"/>
                </a:cubicBezTo>
                <a:cubicBezTo>
                  <a:pt x="204" y="462"/>
                  <a:pt x="205" y="461"/>
                  <a:pt x="206" y="461"/>
                </a:cubicBezTo>
                <a:cubicBezTo>
                  <a:pt x="208" y="461"/>
                  <a:pt x="208" y="460"/>
                  <a:pt x="209" y="460"/>
                </a:cubicBezTo>
                <a:cubicBezTo>
                  <a:pt x="210" y="460"/>
                  <a:pt x="211" y="460"/>
                  <a:pt x="212" y="460"/>
                </a:cubicBezTo>
                <a:cubicBezTo>
                  <a:pt x="213" y="459"/>
                  <a:pt x="214" y="460"/>
                  <a:pt x="215" y="459"/>
                </a:cubicBezTo>
                <a:cubicBezTo>
                  <a:pt x="215" y="459"/>
                  <a:pt x="217" y="459"/>
                  <a:pt x="217" y="458"/>
                </a:cubicBezTo>
                <a:cubicBezTo>
                  <a:pt x="218" y="458"/>
                  <a:pt x="218" y="458"/>
                  <a:pt x="219" y="458"/>
                </a:cubicBezTo>
                <a:cubicBezTo>
                  <a:pt x="220" y="457"/>
                  <a:pt x="220" y="456"/>
                  <a:pt x="222" y="456"/>
                </a:cubicBezTo>
                <a:cubicBezTo>
                  <a:pt x="224" y="456"/>
                  <a:pt x="224" y="457"/>
                  <a:pt x="226" y="457"/>
                </a:cubicBezTo>
                <a:cubicBezTo>
                  <a:pt x="227" y="455"/>
                  <a:pt x="228" y="453"/>
                  <a:pt x="229" y="452"/>
                </a:cubicBezTo>
                <a:cubicBezTo>
                  <a:pt x="231" y="452"/>
                  <a:pt x="231" y="451"/>
                  <a:pt x="233" y="452"/>
                </a:cubicBezTo>
                <a:cubicBezTo>
                  <a:pt x="234" y="450"/>
                  <a:pt x="236" y="451"/>
                  <a:pt x="237" y="450"/>
                </a:cubicBezTo>
                <a:cubicBezTo>
                  <a:pt x="239" y="450"/>
                  <a:pt x="239" y="448"/>
                  <a:pt x="240" y="448"/>
                </a:cubicBezTo>
                <a:cubicBezTo>
                  <a:pt x="240" y="446"/>
                  <a:pt x="240" y="444"/>
                  <a:pt x="240" y="442"/>
                </a:cubicBezTo>
                <a:cubicBezTo>
                  <a:pt x="243" y="443"/>
                  <a:pt x="242" y="439"/>
                  <a:pt x="244" y="439"/>
                </a:cubicBezTo>
                <a:cubicBezTo>
                  <a:pt x="244" y="437"/>
                  <a:pt x="246" y="437"/>
                  <a:pt x="245" y="434"/>
                </a:cubicBezTo>
                <a:cubicBezTo>
                  <a:pt x="244" y="433"/>
                  <a:pt x="240" y="434"/>
                  <a:pt x="237" y="434"/>
                </a:cubicBezTo>
                <a:cubicBezTo>
                  <a:pt x="237" y="434"/>
                  <a:pt x="237" y="434"/>
                  <a:pt x="236" y="434"/>
                </a:cubicBezTo>
                <a:cubicBezTo>
                  <a:pt x="234" y="434"/>
                  <a:pt x="234" y="434"/>
                  <a:pt x="232" y="435"/>
                </a:cubicBezTo>
                <a:cubicBezTo>
                  <a:pt x="232" y="435"/>
                  <a:pt x="232" y="436"/>
                  <a:pt x="231" y="436"/>
                </a:cubicBezTo>
                <a:cubicBezTo>
                  <a:pt x="230" y="436"/>
                  <a:pt x="229" y="436"/>
                  <a:pt x="229" y="436"/>
                </a:cubicBezTo>
                <a:cubicBezTo>
                  <a:pt x="229" y="437"/>
                  <a:pt x="229" y="437"/>
                  <a:pt x="228" y="437"/>
                </a:cubicBezTo>
                <a:cubicBezTo>
                  <a:pt x="228" y="437"/>
                  <a:pt x="228" y="436"/>
                  <a:pt x="228" y="436"/>
                </a:cubicBezTo>
                <a:cubicBezTo>
                  <a:pt x="229" y="435"/>
                  <a:pt x="229" y="434"/>
                  <a:pt x="228" y="434"/>
                </a:cubicBezTo>
                <a:cubicBezTo>
                  <a:pt x="227" y="434"/>
                  <a:pt x="227" y="434"/>
                  <a:pt x="227" y="434"/>
                </a:cubicBezTo>
                <a:cubicBezTo>
                  <a:pt x="226" y="433"/>
                  <a:pt x="225" y="433"/>
                  <a:pt x="223" y="433"/>
                </a:cubicBezTo>
                <a:cubicBezTo>
                  <a:pt x="223" y="434"/>
                  <a:pt x="222" y="433"/>
                  <a:pt x="222" y="434"/>
                </a:cubicBezTo>
                <a:cubicBezTo>
                  <a:pt x="221" y="435"/>
                  <a:pt x="220" y="435"/>
                  <a:pt x="219" y="435"/>
                </a:cubicBezTo>
                <a:cubicBezTo>
                  <a:pt x="218" y="435"/>
                  <a:pt x="217" y="435"/>
                  <a:pt x="217" y="434"/>
                </a:cubicBezTo>
                <a:cubicBezTo>
                  <a:pt x="217" y="432"/>
                  <a:pt x="221" y="435"/>
                  <a:pt x="220" y="433"/>
                </a:cubicBezTo>
                <a:cubicBezTo>
                  <a:pt x="221" y="433"/>
                  <a:pt x="222" y="432"/>
                  <a:pt x="223" y="432"/>
                </a:cubicBezTo>
                <a:cubicBezTo>
                  <a:pt x="223" y="431"/>
                  <a:pt x="223" y="431"/>
                  <a:pt x="222" y="431"/>
                </a:cubicBezTo>
                <a:cubicBezTo>
                  <a:pt x="222" y="431"/>
                  <a:pt x="221" y="431"/>
                  <a:pt x="222" y="430"/>
                </a:cubicBezTo>
                <a:cubicBezTo>
                  <a:pt x="221" y="430"/>
                  <a:pt x="220" y="430"/>
                  <a:pt x="219" y="429"/>
                </a:cubicBezTo>
                <a:cubicBezTo>
                  <a:pt x="221" y="430"/>
                  <a:pt x="222" y="429"/>
                  <a:pt x="223" y="429"/>
                </a:cubicBezTo>
                <a:cubicBezTo>
                  <a:pt x="223" y="430"/>
                  <a:pt x="225" y="429"/>
                  <a:pt x="226" y="429"/>
                </a:cubicBezTo>
                <a:cubicBezTo>
                  <a:pt x="227" y="429"/>
                  <a:pt x="227" y="428"/>
                  <a:pt x="228" y="428"/>
                </a:cubicBezTo>
                <a:cubicBezTo>
                  <a:pt x="228" y="428"/>
                  <a:pt x="228" y="428"/>
                  <a:pt x="228" y="428"/>
                </a:cubicBezTo>
                <a:cubicBezTo>
                  <a:pt x="228" y="428"/>
                  <a:pt x="228" y="428"/>
                  <a:pt x="228" y="428"/>
                </a:cubicBezTo>
                <a:cubicBezTo>
                  <a:pt x="230" y="428"/>
                  <a:pt x="231" y="427"/>
                  <a:pt x="231" y="426"/>
                </a:cubicBezTo>
                <a:cubicBezTo>
                  <a:pt x="231" y="425"/>
                  <a:pt x="231" y="425"/>
                  <a:pt x="231" y="425"/>
                </a:cubicBezTo>
                <a:cubicBezTo>
                  <a:pt x="231" y="424"/>
                  <a:pt x="232" y="422"/>
                  <a:pt x="232" y="420"/>
                </a:cubicBezTo>
                <a:cubicBezTo>
                  <a:pt x="231" y="421"/>
                  <a:pt x="231" y="420"/>
                  <a:pt x="230" y="420"/>
                </a:cubicBezTo>
                <a:cubicBezTo>
                  <a:pt x="229" y="420"/>
                  <a:pt x="225" y="421"/>
                  <a:pt x="225" y="420"/>
                </a:cubicBezTo>
                <a:cubicBezTo>
                  <a:pt x="227" y="420"/>
                  <a:pt x="228" y="419"/>
                  <a:pt x="230" y="419"/>
                </a:cubicBezTo>
                <a:cubicBezTo>
                  <a:pt x="230" y="418"/>
                  <a:pt x="230" y="418"/>
                  <a:pt x="231" y="418"/>
                </a:cubicBezTo>
                <a:cubicBezTo>
                  <a:pt x="231" y="418"/>
                  <a:pt x="231" y="417"/>
                  <a:pt x="231" y="417"/>
                </a:cubicBezTo>
                <a:cubicBezTo>
                  <a:pt x="232" y="417"/>
                  <a:pt x="231" y="415"/>
                  <a:pt x="233" y="415"/>
                </a:cubicBezTo>
                <a:cubicBezTo>
                  <a:pt x="233" y="416"/>
                  <a:pt x="234" y="416"/>
                  <a:pt x="234" y="417"/>
                </a:cubicBezTo>
                <a:cubicBezTo>
                  <a:pt x="234" y="418"/>
                  <a:pt x="233" y="419"/>
                  <a:pt x="234" y="419"/>
                </a:cubicBezTo>
                <a:cubicBezTo>
                  <a:pt x="235" y="417"/>
                  <a:pt x="236" y="420"/>
                  <a:pt x="238" y="419"/>
                </a:cubicBezTo>
                <a:cubicBezTo>
                  <a:pt x="239" y="419"/>
                  <a:pt x="238" y="417"/>
                  <a:pt x="240" y="417"/>
                </a:cubicBezTo>
                <a:cubicBezTo>
                  <a:pt x="240" y="418"/>
                  <a:pt x="240" y="417"/>
                  <a:pt x="240" y="416"/>
                </a:cubicBezTo>
                <a:cubicBezTo>
                  <a:pt x="241" y="416"/>
                  <a:pt x="241" y="417"/>
                  <a:pt x="242" y="417"/>
                </a:cubicBezTo>
                <a:cubicBezTo>
                  <a:pt x="242" y="415"/>
                  <a:pt x="240" y="414"/>
                  <a:pt x="240" y="412"/>
                </a:cubicBezTo>
                <a:cubicBezTo>
                  <a:pt x="239" y="412"/>
                  <a:pt x="239" y="412"/>
                  <a:pt x="239" y="411"/>
                </a:cubicBezTo>
                <a:cubicBezTo>
                  <a:pt x="238" y="411"/>
                  <a:pt x="237" y="411"/>
                  <a:pt x="237" y="411"/>
                </a:cubicBezTo>
                <a:cubicBezTo>
                  <a:pt x="238" y="411"/>
                  <a:pt x="239" y="411"/>
                  <a:pt x="239" y="411"/>
                </a:cubicBezTo>
                <a:cubicBezTo>
                  <a:pt x="239" y="411"/>
                  <a:pt x="240" y="411"/>
                  <a:pt x="240" y="412"/>
                </a:cubicBezTo>
                <a:cubicBezTo>
                  <a:pt x="241" y="412"/>
                  <a:pt x="241" y="413"/>
                  <a:pt x="242" y="413"/>
                </a:cubicBezTo>
                <a:cubicBezTo>
                  <a:pt x="242" y="412"/>
                  <a:pt x="242" y="411"/>
                  <a:pt x="242" y="411"/>
                </a:cubicBezTo>
                <a:cubicBezTo>
                  <a:pt x="241" y="410"/>
                  <a:pt x="239" y="409"/>
                  <a:pt x="239" y="407"/>
                </a:cubicBezTo>
                <a:cubicBezTo>
                  <a:pt x="240" y="408"/>
                  <a:pt x="242" y="409"/>
                  <a:pt x="242" y="411"/>
                </a:cubicBezTo>
                <a:cubicBezTo>
                  <a:pt x="243" y="410"/>
                  <a:pt x="241" y="414"/>
                  <a:pt x="244" y="413"/>
                </a:cubicBezTo>
                <a:cubicBezTo>
                  <a:pt x="244" y="413"/>
                  <a:pt x="244" y="412"/>
                  <a:pt x="244" y="411"/>
                </a:cubicBezTo>
                <a:cubicBezTo>
                  <a:pt x="245" y="411"/>
                  <a:pt x="246" y="411"/>
                  <a:pt x="247" y="411"/>
                </a:cubicBezTo>
                <a:cubicBezTo>
                  <a:pt x="247" y="411"/>
                  <a:pt x="247" y="409"/>
                  <a:pt x="248" y="409"/>
                </a:cubicBezTo>
                <a:cubicBezTo>
                  <a:pt x="249" y="409"/>
                  <a:pt x="250" y="409"/>
                  <a:pt x="251" y="409"/>
                </a:cubicBezTo>
                <a:cubicBezTo>
                  <a:pt x="251" y="409"/>
                  <a:pt x="251" y="408"/>
                  <a:pt x="252" y="408"/>
                </a:cubicBezTo>
                <a:cubicBezTo>
                  <a:pt x="252" y="408"/>
                  <a:pt x="252" y="408"/>
                  <a:pt x="252" y="408"/>
                </a:cubicBezTo>
                <a:cubicBezTo>
                  <a:pt x="253" y="407"/>
                  <a:pt x="253" y="406"/>
                  <a:pt x="254" y="405"/>
                </a:cubicBezTo>
                <a:cubicBezTo>
                  <a:pt x="254" y="405"/>
                  <a:pt x="254" y="405"/>
                  <a:pt x="254" y="405"/>
                </a:cubicBezTo>
                <a:cubicBezTo>
                  <a:pt x="254" y="403"/>
                  <a:pt x="254" y="402"/>
                  <a:pt x="254" y="400"/>
                </a:cubicBezTo>
                <a:cubicBezTo>
                  <a:pt x="254" y="400"/>
                  <a:pt x="254" y="400"/>
                  <a:pt x="255" y="400"/>
                </a:cubicBezTo>
                <a:cubicBezTo>
                  <a:pt x="255" y="400"/>
                  <a:pt x="255" y="399"/>
                  <a:pt x="256" y="398"/>
                </a:cubicBezTo>
                <a:cubicBezTo>
                  <a:pt x="256" y="398"/>
                  <a:pt x="256" y="398"/>
                  <a:pt x="256" y="398"/>
                </a:cubicBezTo>
                <a:cubicBezTo>
                  <a:pt x="256" y="398"/>
                  <a:pt x="257" y="397"/>
                  <a:pt x="257" y="397"/>
                </a:cubicBezTo>
                <a:cubicBezTo>
                  <a:pt x="257" y="396"/>
                  <a:pt x="257" y="396"/>
                  <a:pt x="257" y="396"/>
                </a:cubicBezTo>
                <a:cubicBezTo>
                  <a:pt x="258" y="395"/>
                  <a:pt x="258" y="394"/>
                  <a:pt x="259" y="393"/>
                </a:cubicBezTo>
                <a:cubicBezTo>
                  <a:pt x="259" y="393"/>
                  <a:pt x="259" y="393"/>
                  <a:pt x="259" y="393"/>
                </a:cubicBezTo>
                <a:cubicBezTo>
                  <a:pt x="259" y="391"/>
                  <a:pt x="260" y="390"/>
                  <a:pt x="260" y="388"/>
                </a:cubicBezTo>
                <a:cubicBezTo>
                  <a:pt x="259" y="388"/>
                  <a:pt x="259" y="387"/>
                  <a:pt x="259" y="386"/>
                </a:cubicBezTo>
                <a:cubicBezTo>
                  <a:pt x="259" y="385"/>
                  <a:pt x="261" y="385"/>
                  <a:pt x="261" y="383"/>
                </a:cubicBezTo>
                <a:cubicBezTo>
                  <a:pt x="261" y="382"/>
                  <a:pt x="261" y="381"/>
                  <a:pt x="261" y="381"/>
                </a:cubicBezTo>
                <a:close/>
                <a:moveTo>
                  <a:pt x="115" y="270"/>
                </a:moveTo>
                <a:cubicBezTo>
                  <a:pt x="114" y="270"/>
                  <a:pt x="114" y="270"/>
                  <a:pt x="113" y="270"/>
                </a:cubicBezTo>
                <a:cubicBezTo>
                  <a:pt x="113" y="271"/>
                  <a:pt x="112" y="271"/>
                  <a:pt x="111" y="271"/>
                </a:cubicBezTo>
                <a:cubicBezTo>
                  <a:pt x="110" y="271"/>
                  <a:pt x="110" y="272"/>
                  <a:pt x="110" y="272"/>
                </a:cubicBezTo>
                <a:cubicBezTo>
                  <a:pt x="110" y="272"/>
                  <a:pt x="109" y="272"/>
                  <a:pt x="109" y="273"/>
                </a:cubicBezTo>
                <a:cubicBezTo>
                  <a:pt x="108" y="273"/>
                  <a:pt x="108" y="275"/>
                  <a:pt x="107" y="275"/>
                </a:cubicBezTo>
                <a:cubicBezTo>
                  <a:pt x="107" y="275"/>
                  <a:pt x="107" y="276"/>
                  <a:pt x="107" y="276"/>
                </a:cubicBezTo>
                <a:cubicBezTo>
                  <a:pt x="104" y="276"/>
                  <a:pt x="105" y="278"/>
                  <a:pt x="103" y="278"/>
                </a:cubicBezTo>
                <a:cubicBezTo>
                  <a:pt x="103" y="280"/>
                  <a:pt x="102" y="281"/>
                  <a:pt x="101" y="282"/>
                </a:cubicBezTo>
                <a:cubicBezTo>
                  <a:pt x="103" y="283"/>
                  <a:pt x="104" y="284"/>
                  <a:pt x="106" y="283"/>
                </a:cubicBezTo>
                <a:cubicBezTo>
                  <a:pt x="106" y="282"/>
                  <a:pt x="107" y="283"/>
                  <a:pt x="107" y="282"/>
                </a:cubicBezTo>
                <a:cubicBezTo>
                  <a:pt x="108" y="282"/>
                  <a:pt x="108" y="281"/>
                  <a:pt x="109" y="281"/>
                </a:cubicBezTo>
                <a:cubicBezTo>
                  <a:pt x="109" y="280"/>
                  <a:pt x="110" y="280"/>
                  <a:pt x="111" y="280"/>
                </a:cubicBezTo>
                <a:cubicBezTo>
                  <a:pt x="111" y="280"/>
                  <a:pt x="111" y="280"/>
                  <a:pt x="111" y="280"/>
                </a:cubicBezTo>
                <a:cubicBezTo>
                  <a:pt x="112" y="280"/>
                  <a:pt x="111" y="279"/>
                  <a:pt x="111" y="279"/>
                </a:cubicBezTo>
                <a:cubicBezTo>
                  <a:pt x="112" y="279"/>
                  <a:pt x="112" y="279"/>
                  <a:pt x="112" y="279"/>
                </a:cubicBezTo>
                <a:cubicBezTo>
                  <a:pt x="112" y="279"/>
                  <a:pt x="112" y="278"/>
                  <a:pt x="112" y="278"/>
                </a:cubicBezTo>
                <a:cubicBezTo>
                  <a:pt x="112" y="278"/>
                  <a:pt x="113" y="278"/>
                  <a:pt x="113" y="278"/>
                </a:cubicBezTo>
                <a:cubicBezTo>
                  <a:pt x="113" y="278"/>
                  <a:pt x="113" y="278"/>
                  <a:pt x="113" y="278"/>
                </a:cubicBezTo>
                <a:cubicBezTo>
                  <a:pt x="113" y="278"/>
                  <a:pt x="113" y="278"/>
                  <a:pt x="114" y="278"/>
                </a:cubicBezTo>
                <a:cubicBezTo>
                  <a:pt x="114" y="277"/>
                  <a:pt x="114" y="276"/>
                  <a:pt x="115" y="276"/>
                </a:cubicBezTo>
                <a:cubicBezTo>
                  <a:pt x="115" y="274"/>
                  <a:pt x="114" y="274"/>
                  <a:pt x="114" y="273"/>
                </a:cubicBezTo>
                <a:cubicBezTo>
                  <a:pt x="114" y="271"/>
                  <a:pt x="115" y="271"/>
                  <a:pt x="115" y="270"/>
                </a:cubicBezTo>
                <a:close/>
                <a:moveTo>
                  <a:pt x="169" y="453"/>
                </a:moveTo>
                <a:cubicBezTo>
                  <a:pt x="169" y="454"/>
                  <a:pt x="169" y="454"/>
                  <a:pt x="169" y="455"/>
                </a:cubicBezTo>
                <a:cubicBezTo>
                  <a:pt x="169" y="455"/>
                  <a:pt x="169" y="455"/>
                  <a:pt x="169" y="455"/>
                </a:cubicBezTo>
                <a:cubicBezTo>
                  <a:pt x="170" y="455"/>
                  <a:pt x="170" y="455"/>
                  <a:pt x="171" y="455"/>
                </a:cubicBezTo>
                <a:cubicBezTo>
                  <a:pt x="171" y="454"/>
                  <a:pt x="171" y="453"/>
                  <a:pt x="171" y="452"/>
                </a:cubicBezTo>
                <a:cubicBezTo>
                  <a:pt x="170" y="452"/>
                  <a:pt x="169" y="453"/>
                  <a:pt x="169" y="453"/>
                </a:cubicBezTo>
                <a:close/>
                <a:moveTo>
                  <a:pt x="3" y="461"/>
                </a:moveTo>
                <a:cubicBezTo>
                  <a:pt x="3" y="461"/>
                  <a:pt x="3" y="460"/>
                  <a:pt x="3" y="460"/>
                </a:cubicBezTo>
                <a:cubicBezTo>
                  <a:pt x="3" y="460"/>
                  <a:pt x="2" y="459"/>
                  <a:pt x="2" y="459"/>
                </a:cubicBezTo>
                <a:cubicBezTo>
                  <a:pt x="1" y="459"/>
                  <a:pt x="0" y="460"/>
                  <a:pt x="0" y="460"/>
                </a:cubicBezTo>
                <a:cubicBezTo>
                  <a:pt x="0" y="460"/>
                  <a:pt x="0" y="461"/>
                  <a:pt x="0" y="462"/>
                </a:cubicBezTo>
                <a:cubicBezTo>
                  <a:pt x="0" y="462"/>
                  <a:pt x="1" y="461"/>
                  <a:pt x="1" y="462"/>
                </a:cubicBezTo>
                <a:cubicBezTo>
                  <a:pt x="2" y="462"/>
                  <a:pt x="3" y="463"/>
                  <a:pt x="3" y="462"/>
                </a:cubicBezTo>
                <a:cubicBezTo>
                  <a:pt x="3" y="462"/>
                  <a:pt x="3" y="461"/>
                  <a:pt x="3" y="461"/>
                </a:cubicBezTo>
                <a:close/>
                <a:moveTo>
                  <a:pt x="3" y="456"/>
                </a:moveTo>
                <a:cubicBezTo>
                  <a:pt x="3" y="455"/>
                  <a:pt x="2" y="455"/>
                  <a:pt x="2" y="456"/>
                </a:cubicBezTo>
                <a:cubicBezTo>
                  <a:pt x="3" y="456"/>
                  <a:pt x="3" y="457"/>
                  <a:pt x="3" y="457"/>
                </a:cubicBezTo>
                <a:cubicBezTo>
                  <a:pt x="3" y="455"/>
                  <a:pt x="6" y="459"/>
                  <a:pt x="6" y="457"/>
                </a:cubicBezTo>
                <a:cubicBezTo>
                  <a:pt x="5" y="456"/>
                  <a:pt x="5" y="456"/>
                  <a:pt x="3" y="456"/>
                </a:cubicBezTo>
                <a:close/>
                <a:moveTo>
                  <a:pt x="166" y="456"/>
                </a:moveTo>
                <a:cubicBezTo>
                  <a:pt x="165" y="456"/>
                  <a:pt x="165" y="455"/>
                  <a:pt x="164" y="454"/>
                </a:cubicBezTo>
                <a:cubicBezTo>
                  <a:pt x="163" y="454"/>
                  <a:pt x="163" y="454"/>
                  <a:pt x="163" y="454"/>
                </a:cubicBezTo>
                <a:cubicBezTo>
                  <a:pt x="163" y="454"/>
                  <a:pt x="162" y="454"/>
                  <a:pt x="162" y="454"/>
                </a:cubicBezTo>
                <a:cubicBezTo>
                  <a:pt x="162" y="453"/>
                  <a:pt x="162" y="453"/>
                  <a:pt x="162" y="453"/>
                </a:cubicBezTo>
                <a:cubicBezTo>
                  <a:pt x="162" y="453"/>
                  <a:pt x="162" y="453"/>
                  <a:pt x="162" y="453"/>
                </a:cubicBezTo>
                <a:cubicBezTo>
                  <a:pt x="160" y="454"/>
                  <a:pt x="160" y="451"/>
                  <a:pt x="158" y="453"/>
                </a:cubicBezTo>
                <a:cubicBezTo>
                  <a:pt x="158" y="453"/>
                  <a:pt x="158" y="453"/>
                  <a:pt x="158" y="453"/>
                </a:cubicBezTo>
                <a:cubicBezTo>
                  <a:pt x="158" y="453"/>
                  <a:pt x="158" y="453"/>
                  <a:pt x="157" y="453"/>
                </a:cubicBezTo>
                <a:cubicBezTo>
                  <a:pt x="157" y="453"/>
                  <a:pt x="157" y="454"/>
                  <a:pt x="156" y="454"/>
                </a:cubicBezTo>
                <a:cubicBezTo>
                  <a:pt x="154" y="454"/>
                  <a:pt x="153" y="454"/>
                  <a:pt x="153" y="455"/>
                </a:cubicBezTo>
                <a:cubicBezTo>
                  <a:pt x="153" y="455"/>
                  <a:pt x="153" y="456"/>
                  <a:pt x="154" y="456"/>
                </a:cubicBezTo>
                <a:cubicBezTo>
                  <a:pt x="154" y="456"/>
                  <a:pt x="154" y="456"/>
                  <a:pt x="154" y="456"/>
                </a:cubicBezTo>
                <a:cubicBezTo>
                  <a:pt x="155" y="457"/>
                  <a:pt x="156" y="458"/>
                  <a:pt x="157" y="458"/>
                </a:cubicBezTo>
                <a:cubicBezTo>
                  <a:pt x="157" y="458"/>
                  <a:pt x="157" y="459"/>
                  <a:pt x="157" y="459"/>
                </a:cubicBezTo>
                <a:cubicBezTo>
                  <a:pt x="158" y="460"/>
                  <a:pt x="157" y="461"/>
                  <a:pt x="159" y="462"/>
                </a:cubicBezTo>
                <a:cubicBezTo>
                  <a:pt x="159" y="461"/>
                  <a:pt x="160" y="461"/>
                  <a:pt x="161" y="461"/>
                </a:cubicBezTo>
                <a:cubicBezTo>
                  <a:pt x="161" y="461"/>
                  <a:pt x="161" y="461"/>
                  <a:pt x="161" y="461"/>
                </a:cubicBezTo>
                <a:cubicBezTo>
                  <a:pt x="161" y="461"/>
                  <a:pt x="161" y="461"/>
                  <a:pt x="161" y="461"/>
                </a:cubicBezTo>
                <a:cubicBezTo>
                  <a:pt x="162" y="459"/>
                  <a:pt x="165" y="460"/>
                  <a:pt x="164" y="459"/>
                </a:cubicBezTo>
                <a:cubicBezTo>
                  <a:pt x="164" y="459"/>
                  <a:pt x="165" y="459"/>
                  <a:pt x="165" y="459"/>
                </a:cubicBezTo>
                <a:cubicBezTo>
                  <a:pt x="165" y="459"/>
                  <a:pt x="166" y="458"/>
                  <a:pt x="166" y="458"/>
                </a:cubicBezTo>
                <a:cubicBezTo>
                  <a:pt x="166" y="457"/>
                  <a:pt x="166" y="457"/>
                  <a:pt x="166" y="457"/>
                </a:cubicBezTo>
                <a:cubicBezTo>
                  <a:pt x="166" y="457"/>
                  <a:pt x="166" y="456"/>
                  <a:pt x="166" y="456"/>
                </a:cubicBezTo>
                <a:close/>
                <a:moveTo>
                  <a:pt x="114" y="502"/>
                </a:moveTo>
                <a:cubicBezTo>
                  <a:pt x="114" y="503"/>
                  <a:pt x="113" y="503"/>
                  <a:pt x="113" y="503"/>
                </a:cubicBezTo>
                <a:cubicBezTo>
                  <a:pt x="111" y="503"/>
                  <a:pt x="111" y="505"/>
                  <a:pt x="109" y="505"/>
                </a:cubicBezTo>
                <a:cubicBezTo>
                  <a:pt x="108" y="507"/>
                  <a:pt x="111" y="506"/>
                  <a:pt x="110" y="508"/>
                </a:cubicBezTo>
                <a:cubicBezTo>
                  <a:pt x="112" y="509"/>
                  <a:pt x="111" y="506"/>
                  <a:pt x="114" y="507"/>
                </a:cubicBezTo>
                <a:cubicBezTo>
                  <a:pt x="113" y="505"/>
                  <a:pt x="115" y="505"/>
                  <a:pt x="115" y="503"/>
                </a:cubicBezTo>
                <a:cubicBezTo>
                  <a:pt x="115" y="503"/>
                  <a:pt x="115" y="502"/>
                  <a:pt x="114" y="502"/>
                </a:cubicBezTo>
                <a:close/>
                <a:moveTo>
                  <a:pt x="3" y="459"/>
                </a:moveTo>
                <a:cubicBezTo>
                  <a:pt x="4" y="460"/>
                  <a:pt x="4" y="461"/>
                  <a:pt x="6" y="462"/>
                </a:cubicBezTo>
                <a:cubicBezTo>
                  <a:pt x="6" y="460"/>
                  <a:pt x="6" y="459"/>
                  <a:pt x="6" y="458"/>
                </a:cubicBezTo>
                <a:cubicBezTo>
                  <a:pt x="4" y="458"/>
                  <a:pt x="3" y="459"/>
                  <a:pt x="3" y="459"/>
                </a:cubicBezTo>
                <a:close/>
                <a:moveTo>
                  <a:pt x="116" y="507"/>
                </a:moveTo>
                <a:cubicBezTo>
                  <a:pt x="116" y="509"/>
                  <a:pt x="118" y="508"/>
                  <a:pt x="118" y="509"/>
                </a:cubicBezTo>
                <a:cubicBezTo>
                  <a:pt x="119" y="508"/>
                  <a:pt x="119" y="508"/>
                  <a:pt x="119" y="506"/>
                </a:cubicBezTo>
                <a:cubicBezTo>
                  <a:pt x="118" y="506"/>
                  <a:pt x="118" y="507"/>
                  <a:pt x="116" y="507"/>
                </a:cubicBezTo>
                <a:close/>
                <a:moveTo>
                  <a:pt x="126" y="518"/>
                </a:moveTo>
                <a:cubicBezTo>
                  <a:pt x="125" y="518"/>
                  <a:pt x="124" y="517"/>
                  <a:pt x="123" y="517"/>
                </a:cubicBezTo>
                <a:cubicBezTo>
                  <a:pt x="123" y="518"/>
                  <a:pt x="122" y="518"/>
                  <a:pt x="121" y="518"/>
                </a:cubicBezTo>
                <a:cubicBezTo>
                  <a:pt x="121" y="517"/>
                  <a:pt x="121" y="516"/>
                  <a:pt x="120" y="516"/>
                </a:cubicBezTo>
                <a:cubicBezTo>
                  <a:pt x="119" y="520"/>
                  <a:pt x="123" y="521"/>
                  <a:pt x="127" y="521"/>
                </a:cubicBezTo>
                <a:cubicBezTo>
                  <a:pt x="127" y="520"/>
                  <a:pt x="127" y="520"/>
                  <a:pt x="127" y="520"/>
                </a:cubicBezTo>
                <a:cubicBezTo>
                  <a:pt x="127" y="520"/>
                  <a:pt x="127" y="519"/>
                  <a:pt x="127" y="519"/>
                </a:cubicBezTo>
                <a:cubicBezTo>
                  <a:pt x="127" y="519"/>
                  <a:pt x="126" y="519"/>
                  <a:pt x="126" y="5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grpSp>
        <p:nvGrpSpPr>
          <p:cNvPr id="116" name="Group 115"/>
          <p:cNvGrpSpPr/>
          <p:nvPr/>
        </p:nvGrpSpPr>
        <p:grpSpPr>
          <a:xfrm>
            <a:off x="1168275" y="1449949"/>
            <a:ext cx="3116360" cy="598169"/>
            <a:chOff x="1667675" y="1418630"/>
            <a:chExt cx="3116360" cy="598169"/>
          </a:xfrm>
        </p:grpSpPr>
        <p:sp>
          <p:nvSpPr>
            <p:cNvPr id="103" name="TextBox 102"/>
            <p:cNvSpPr txBox="1"/>
            <p:nvPr/>
          </p:nvSpPr>
          <p:spPr>
            <a:xfrm>
              <a:off x="2409438" y="1418630"/>
              <a:ext cx="461665" cy="338554"/>
            </a:xfrm>
            <a:prstGeom prst="rect">
              <a:avLst/>
            </a:prstGeom>
            <a:noFill/>
          </p:spPr>
          <p:txBody>
            <a:bodyPr wrap="none" lIns="0" rIns="0" rtlCol="0">
              <a:spAutoFit/>
            </a:bodyPr>
            <a:lstStyle/>
            <a:p>
              <a:r>
                <a:rPr lang="en-US" sz="1600" b="1" dirty="0">
                  <a:latin typeface="RBC Text" panose="02000000000000000000" pitchFamily="2" charset="77"/>
                  <a:ea typeface="Open Sans" charset="0"/>
                  <a:cs typeface="Open Sans" charset="0"/>
                </a:rPr>
                <a:t>Italy</a:t>
              </a:r>
            </a:p>
          </p:txBody>
        </p:sp>
        <p:sp>
          <p:nvSpPr>
            <p:cNvPr id="104" name="TextBox 103"/>
            <p:cNvSpPr txBox="1"/>
            <p:nvPr/>
          </p:nvSpPr>
          <p:spPr>
            <a:xfrm>
              <a:off x="2409438" y="1734373"/>
              <a:ext cx="2374597" cy="269304"/>
            </a:xfrm>
            <a:prstGeom prst="rect">
              <a:avLst/>
            </a:prstGeom>
            <a:noFill/>
          </p:spPr>
          <p:txBody>
            <a:bodyPr wrap="square" lIns="0" rIns="0" rtlCol="0">
              <a:spAutoFit/>
            </a:bodyPr>
            <a:lstStyle/>
            <a:p>
              <a:pPr>
                <a:lnSpc>
                  <a:spcPct val="120000"/>
                </a:lnSpc>
              </a:pPr>
              <a:r>
                <a:rPr lang="en-US" sz="1000" dirty="0">
                  <a:solidFill>
                    <a:schemeClr val="tx1">
                      <a:alpha val="70000"/>
                    </a:schemeClr>
                  </a:solidFill>
                  <a:latin typeface="RBC Text" panose="02000000000000000000" pitchFamily="2" charset="77"/>
                </a:rPr>
                <a:t>A peep at some distant orb has power</a:t>
              </a:r>
            </a:p>
          </p:txBody>
        </p:sp>
        <p:sp>
          <p:nvSpPr>
            <p:cNvPr id="106" name="Oval 105"/>
            <p:cNvSpPr/>
            <p:nvPr/>
          </p:nvSpPr>
          <p:spPr>
            <a:xfrm>
              <a:off x="1667675" y="1457739"/>
              <a:ext cx="559060" cy="5590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bg1"/>
                  </a:solidFill>
                  <a:latin typeface="RBC Text" panose="02000000000000000000" pitchFamily="2" charset="77"/>
                  <a:ea typeface="Open Sans" charset="0"/>
                  <a:cs typeface="Open Sans" charset="0"/>
                </a:rPr>
                <a:t>01</a:t>
              </a:r>
            </a:p>
          </p:txBody>
        </p:sp>
      </p:grpSp>
      <p:grpSp>
        <p:nvGrpSpPr>
          <p:cNvPr id="117" name="Group 116"/>
          <p:cNvGrpSpPr/>
          <p:nvPr/>
        </p:nvGrpSpPr>
        <p:grpSpPr>
          <a:xfrm>
            <a:off x="1168275" y="2342694"/>
            <a:ext cx="3116360" cy="598169"/>
            <a:chOff x="1667675" y="1418630"/>
            <a:chExt cx="3116360" cy="598169"/>
          </a:xfrm>
        </p:grpSpPr>
        <p:sp>
          <p:nvSpPr>
            <p:cNvPr id="118" name="TextBox 117"/>
            <p:cNvSpPr txBox="1"/>
            <p:nvPr/>
          </p:nvSpPr>
          <p:spPr>
            <a:xfrm>
              <a:off x="2409438" y="1418630"/>
              <a:ext cx="574581" cy="338554"/>
            </a:xfrm>
            <a:prstGeom prst="rect">
              <a:avLst/>
            </a:prstGeom>
            <a:noFill/>
          </p:spPr>
          <p:txBody>
            <a:bodyPr wrap="none" lIns="0" rIns="0" rtlCol="0">
              <a:spAutoFit/>
            </a:bodyPr>
            <a:lstStyle/>
            <a:p>
              <a:r>
                <a:rPr lang="en-US" sz="1600" b="1" dirty="0">
                  <a:latin typeface="RBC Text" panose="02000000000000000000" pitchFamily="2" charset="77"/>
                  <a:ea typeface="Open Sans" charset="0"/>
                  <a:cs typeface="Open Sans" charset="0"/>
                </a:rPr>
                <a:t>Spain</a:t>
              </a:r>
            </a:p>
          </p:txBody>
        </p:sp>
        <p:sp>
          <p:nvSpPr>
            <p:cNvPr id="119" name="TextBox 118"/>
            <p:cNvSpPr txBox="1"/>
            <p:nvPr/>
          </p:nvSpPr>
          <p:spPr>
            <a:xfrm>
              <a:off x="2409438" y="1734373"/>
              <a:ext cx="2374597" cy="269304"/>
            </a:xfrm>
            <a:prstGeom prst="rect">
              <a:avLst/>
            </a:prstGeom>
            <a:noFill/>
          </p:spPr>
          <p:txBody>
            <a:bodyPr wrap="square" lIns="0" rIns="0" rtlCol="0">
              <a:spAutoFit/>
            </a:bodyPr>
            <a:lstStyle/>
            <a:p>
              <a:pPr>
                <a:lnSpc>
                  <a:spcPct val="120000"/>
                </a:lnSpc>
              </a:pPr>
              <a:r>
                <a:rPr lang="en-US" sz="1000" dirty="0">
                  <a:solidFill>
                    <a:schemeClr val="tx1">
                      <a:alpha val="70000"/>
                    </a:schemeClr>
                  </a:solidFill>
                  <a:latin typeface="RBC Text" panose="02000000000000000000" pitchFamily="2" charset="77"/>
                </a:rPr>
                <a:t>A peep at some distant orb has power</a:t>
              </a:r>
            </a:p>
          </p:txBody>
        </p:sp>
        <p:sp>
          <p:nvSpPr>
            <p:cNvPr id="120" name="Oval 119"/>
            <p:cNvSpPr/>
            <p:nvPr/>
          </p:nvSpPr>
          <p:spPr>
            <a:xfrm>
              <a:off x="1667675" y="1457739"/>
              <a:ext cx="559060" cy="5590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bg1"/>
                  </a:solidFill>
                  <a:latin typeface="RBC Text" panose="02000000000000000000" pitchFamily="2" charset="77"/>
                  <a:ea typeface="Open Sans" charset="0"/>
                  <a:cs typeface="Open Sans" charset="0"/>
                </a:rPr>
                <a:t>02</a:t>
              </a:r>
            </a:p>
          </p:txBody>
        </p:sp>
      </p:grpSp>
      <p:grpSp>
        <p:nvGrpSpPr>
          <p:cNvPr id="121" name="Group 120"/>
          <p:cNvGrpSpPr/>
          <p:nvPr/>
        </p:nvGrpSpPr>
        <p:grpSpPr>
          <a:xfrm>
            <a:off x="1168275" y="3235439"/>
            <a:ext cx="3116360" cy="598169"/>
            <a:chOff x="1667675" y="1418630"/>
            <a:chExt cx="3116360" cy="598169"/>
          </a:xfrm>
        </p:grpSpPr>
        <p:sp>
          <p:nvSpPr>
            <p:cNvPr id="122" name="TextBox 121"/>
            <p:cNvSpPr txBox="1"/>
            <p:nvPr/>
          </p:nvSpPr>
          <p:spPr>
            <a:xfrm>
              <a:off x="2409438" y="1418630"/>
              <a:ext cx="913712" cy="338554"/>
            </a:xfrm>
            <a:prstGeom prst="rect">
              <a:avLst/>
            </a:prstGeom>
            <a:noFill/>
          </p:spPr>
          <p:txBody>
            <a:bodyPr wrap="none" lIns="0" rIns="0" rtlCol="0">
              <a:spAutoFit/>
            </a:bodyPr>
            <a:lstStyle/>
            <a:p>
              <a:r>
                <a:rPr lang="en-US" sz="1600" b="1" dirty="0">
                  <a:latin typeface="RBC Text" panose="02000000000000000000" pitchFamily="2" charset="77"/>
                  <a:ea typeface="Open Sans" charset="0"/>
                  <a:cs typeface="Open Sans" charset="0"/>
                </a:rPr>
                <a:t>Germany</a:t>
              </a:r>
            </a:p>
          </p:txBody>
        </p:sp>
        <p:sp>
          <p:nvSpPr>
            <p:cNvPr id="123" name="TextBox 122"/>
            <p:cNvSpPr txBox="1"/>
            <p:nvPr/>
          </p:nvSpPr>
          <p:spPr>
            <a:xfrm>
              <a:off x="2409438" y="1734373"/>
              <a:ext cx="2374597" cy="269304"/>
            </a:xfrm>
            <a:prstGeom prst="rect">
              <a:avLst/>
            </a:prstGeom>
            <a:noFill/>
          </p:spPr>
          <p:txBody>
            <a:bodyPr wrap="square" lIns="0" rIns="0" rtlCol="0">
              <a:spAutoFit/>
            </a:bodyPr>
            <a:lstStyle/>
            <a:p>
              <a:pPr>
                <a:lnSpc>
                  <a:spcPct val="120000"/>
                </a:lnSpc>
              </a:pPr>
              <a:r>
                <a:rPr lang="en-US" sz="1000" dirty="0">
                  <a:solidFill>
                    <a:schemeClr val="tx1">
                      <a:alpha val="70000"/>
                    </a:schemeClr>
                  </a:solidFill>
                  <a:latin typeface="RBC Text" panose="02000000000000000000" pitchFamily="2" charset="77"/>
                </a:rPr>
                <a:t>A peep at some distant orb has power</a:t>
              </a:r>
            </a:p>
          </p:txBody>
        </p:sp>
        <p:sp>
          <p:nvSpPr>
            <p:cNvPr id="124" name="Oval 123"/>
            <p:cNvSpPr/>
            <p:nvPr/>
          </p:nvSpPr>
          <p:spPr>
            <a:xfrm>
              <a:off x="1667675" y="1457739"/>
              <a:ext cx="559060" cy="5590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bg1"/>
                  </a:solidFill>
                  <a:latin typeface="RBC Text" panose="02000000000000000000" pitchFamily="2" charset="77"/>
                  <a:ea typeface="Open Sans" charset="0"/>
                  <a:cs typeface="Open Sans" charset="0"/>
                </a:rPr>
                <a:t>03</a:t>
              </a:r>
            </a:p>
          </p:txBody>
        </p:sp>
      </p:grpSp>
      <p:grpSp>
        <p:nvGrpSpPr>
          <p:cNvPr id="125" name="Group 124"/>
          <p:cNvGrpSpPr/>
          <p:nvPr/>
        </p:nvGrpSpPr>
        <p:grpSpPr>
          <a:xfrm>
            <a:off x="1168275" y="4128184"/>
            <a:ext cx="3116360" cy="598169"/>
            <a:chOff x="1667675" y="1418630"/>
            <a:chExt cx="3116360" cy="598169"/>
          </a:xfrm>
        </p:grpSpPr>
        <p:sp>
          <p:nvSpPr>
            <p:cNvPr id="126" name="TextBox 125"/>
            <p:cNvSpPr txBox="1"/>
            <p:nvPr/>
          </p:nvSpPr>
          <p:spPr>
            <a:xfrm>
              <a:off x="2409438" y="1418630"/>
              <a:ext cx="1627305" cy="338554"/>
            </a:xfrm>
            <a:prstGeom prst="rect">
              <a:avLst/>
            </a:prstGeom>
            <a:noFill/>
          </p:spPr>
          <p:txBody>
            <a:bodyPr wrap="none" lIns="0" rIns="0" rtlCol="0">
              <a:spAutoFit/>
            </a:bodyPr>
            <a:lstStyle/>
            <a:p>
              <a:r>
                <a:rPr lang="en-US" sz="1600" b="1" dirty="0">
                  <a:latin typeface="RBC Text" panose="02000000000000000000" pitchFamily="2" charset="77"/>
                  <a:ea typeface="Open Sans" charset="0"/>
                  <a:cs typeface="Open Sans" charset="0"/>
                </a:rPr>
                <a:t>United Kingdom</a:t>
              </a:r>
            </a:p>
          </p:txBody>
        </p:sp>
        <p:sp>
          <p:nvSpPr>
            <p:cNvPr id="127" name="TextBox 126"/>
            <p:cNvSpPr txBox="1"/>
            <p:nvPr/>
          </p:nvSpPr>
          <p:spPr>
            <a:xfrm>
              <a:off x="2409438" y="1734373"/>
              <a:ext cx="2374597" cy="269304"/>
            </a:xfrm>
            <a:prstGeom prst="rect">
              <a:avLst/>
            </a:prstGeom>
            <a:noFill/>
          </p:spPr>
          <p:txBody>
            <a:bodyPr wrap="square" lIns="0" rIns="0" rtlCol="0">
              <a:spAutoFit/>
            </a:bodyPr>
            <a:lstStyle/>
            <a:p>
              <a:pPr>
                <a:lnSpc>
                  <a:spcPct val="120000"/>
                </a:lnSpc>
              </a:pPr>
              <a:r>
                <a:rPr lang="en-US" sz="1000" dirty="0">
                  <a:solidFill>
                    <a:schemeClr val="tx1">
                      <a:alpha val="70000"/>
                    </a:schemeClr>
                  </a:solidFill>
                  <a:latin typeface="RBC Text" panose="02000000000000000000" pitchFamily="2" charset="77"/>
                </a:rPr>
                <a:t>A peep at some distant orb has power</a:t>
              </a:r>
            </a:p>
          </p:txBody>
        </p:sp>
        <p:sp>
          <p:nvSpPr>
            <p:cNvPr id="128" name="Oval 127"/>
            <p:cNvSpPr/>
            <p:nvPr/>
          </p:nvSpPr>
          <p:spPr>
            <a:xfrm>
              <a:off x="1667675" y="1457739"/>
              <a:ext cx="559060" cy="5590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bg1"/>
                  </a:solidFill>
                  <a:latin typeface="RBC Text" panose="02000000000000000000" pitchFamily="2" charset="77"/>
                  <a:ea typeface="Open Sans" charset="0"/>
                  <a:cs typeface="Open Sans" charset="0"/>
                </a:rPr>
                <a:t>04</a:t>
              </a:r>
            </a:p>
          </p:txBody>
        </p:sp>
      </p:grpSp>
      <p:grpSp>
        <p:nvGrpSpPr>
          <p:cNvPr id="129" name="Group 128"/>
          <p:cNvGrpSpPr/>
          <p:nvPr/>
        </p:nvGrpSpPr>
        <p:grpSpPr>
          <a:xfrm>
            <a:off x="1168275" y="5020930"/>
            <a:ext cx="3116360" cy="598169"/>
            <a:chOff x="1667675" y="1418630"/>
            <a:chExt cx="3116360" cy="598169"/>
          </a:xfrm>
        </p:grpSpPr>
        <p:sp>
          <p:nvSpPr>
            <p:cNvPr id="130" name="TextBox 129"/>
            <p:cNvSpPr txBox="1"/>
            <p:nvPr/>
          </p:nvSpPr>
          <p:spPr>
            <a:xfrm>
              <a:off x="2409438" y="1418630"/>
              <a:ext cx="756617" cy="338554"/>
            </a:xfrm>
            <a:prstGeom prst="rect">
              <a:avLst/>
            </a:prstGeom>
            <a:noFill/>
          </p:spPr>
          <p:txBody>
            <a:bodyPr wrap="none" lIns="0" rIns="0" rtlCol="0">
              <a:spAutoFit/>
            </a:bodyPr>
            <a:lstStyle/>
            <a:p>
              <a:r>
                <a:rPr lang="en-US" sz="1600" b="1" dirty="0">
                  <a:latin typeface="RBC Text" panose="02000000000000000000" pitchFamily="2" charset="77"/>
                  <a:ea typeface="Open Sans" charset="0"/>
                  <a:cs typeface="Open Sans" charset="0"/>
                </a:rPr>
                <a:t>Finland</a:t>
              </a:r>
            </a:p>
          </p:txBody>
        </p:sp>
        <p:sp>
          <p:nvSpPr>
            <p:cNvPr id="131" name="TextBox 130"/>
            <p:cNvSpPr txBox="1"/>
            <p:nvPr/>
          </p:nvSpPr>
          <p:spPr>
            <a:xfrm>
              <a:off x="2409438" y="1734373"/>
              <a:ext cx="2374597" cy="269304"/>
            </a:xfrm>
            <a:prstGeom prst="rect">
              <a:avLst/>
            </a:prstGeom>
            <a:noFill/>
          </p:spPr>
          <p:txBody>
            <a:bodyPr wrap="square" lIns="0" rIns="0" rtlCol="0">
              <a:spAutoFit/>
            </a:bodyPr>
            <a:lstStyle/>
            <a:p>
              <a:pPr>
                <a:lnSpc>
                  <a:spcPct val="120000"/>
                </a:lnSpc>
              </a:pPr>
              <a:r>
                <a:rPr lang="en-US" sz="1000" dirty="0">
                  <a:solidFill>
                    <a:schemeClr val="tx1">
                      <a:alpha val="70000"/>
                    </a:schemeClr>
                  </a:solidFill>
                  <a:latin typeface="RBC Text" panose="02000000000000000000" pitchFamily="2" charset="77"/>
                </a:rPr>
                <a:t>A peep at some distant orb has power</a:t>
              </a:r>
            </a:p>
          </p:txBody>
        </p:sp>
        <p:sp>
          <p:nvSpPr>
            <p:cNvPr id="132" name="Oval 131"/>
            <p:cNvSpPr/>
            <p:nvPr/>
          </p:nvSpPr>
          <p:spPr>
            <a:xfrm>
              <a:off x="1667675" y="1457739"/>
              <a:ext cx="559060" cy="55906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bg1"/>
                  </a:solidFill>
                  <a:latin typeface="RBC Text" panose="02000000000000000000" pitchFamily="2" charset="77"/>
                  <a:ea typeface="Open Sans" charset="0"/>
                  <a:cs typeface="Open Sans" charset="0"/>
                </a:rPr>
                <a:t>05</a:t>
              </a:r>
            </a:p>
          </p:txBody>
        </p:sp>
      </p:grpSp>
      <p:sp>
        <p:nvSpPr>
          <p:cNvPr id="64" name="Text Placeholder 6">
            <a:extLst>
              <a:ext uri="{FF2B5EF4-FFF2-40B4-BE49-F238E27FC236}">
                <a16:creationId xmlns:a16="http://schemas.microsoft.com/office/drawing/2014/main" id="{95EE26E6-9289-DA43-8063-04AABC5694E4}"/>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8701283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FBA5CE-125C-DE47-87A5-A9FC9943EA5E}"/>
              </a:ext>
            </a:extLst>
          </p:cNvPr>
          <p:cNvSpPr>
            <a:spLocks noGrp="1"/>
          </p:cNvSpPr>
          <p:nvPr>
            <p:ph type="body" sz="quarter" idx="16"/>
          </p:nvPr>
        </p:nvSpPr>
        <p:spPr/>
        <p:txBody>
          <a:bodyPr/>
          <a:lstStyle/>
          <a:p>
            <a:endParaRPr lang="en-US" dirty="0"/>
          </a:p>
        </p:txBody>
      </p:sp>
      <p:sp>
        <p:nvSpPr>
          <p:cNvPr id="3" name="Text Placeholder 2">
            <a:extLst>
              <a:ext uri="{FF2B5EF4-FFF2-40B4-BE49-F238E27FC236}">
                <a16:creationId xmlns:a16="http://schemas.microsoft.com/office/drawing/2014/main" id="{DC49D79D-6ADA-E84A-8129-AB26640BC815}"/>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4652737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p:cNvSpPr>
            <a:spLocks noGrp="1"/>
          </p:cNvSpPr>
          <p:nvPr>
            <p:ph type="title"/>
          </p:nvPr>
        </p:nvSpPr>
        <p:spPr/>
        <p:txBody>
          <a:bodyPr/>
          <a:lstStyle/>
          <a:p>
            <a:r>
              <a:rPr lang="en-US"/>
              <a:t>North</a:t>
            </a:r>
            <a:br>
              <a:rPr lang="en-US"/>
            </a:br>
            <a:r>
              <a:rPr lang="en-US"/>
              <a:t>America</a:t>
            </a:r>
            <a:endParaRPr lang="en-US" dirty="0"/>
          </a:p>
        </p:txBody>
      </p:sp>
      <p:sp>
        <p:nvSpPr>
          <p:cNvPr id="3" name="Freeform 7"/>
          <p:cNvSpPr>
            <a:spLocks noEditPoints="1"/>
          </p:cNvSpPr>
          <p:nvPr/>
        </p:nvSpPr>
        <p:spPr bwMode="auto">
          <a:xfrm>
            <a:off x="9871982" y="5982154"/>
            <a:ext cx="109537" cy="36513"/>
          </a:xfrm>
          <a:custGeom>
            <a:avLst/>
            <a:gdLst>
              <a:gd name="T0" fmla="*/ 85725 w 69"/>
              <a:gd name="T1" fmla="*/ 28575 h 23"/>
              <a:gd name="T2" fmla="*/ 93662 w 69"/>
              <a:gd name="T3" fmla="*/ 20638 h 23"/>
              <a:gd name="T4" fmla="*/ 109537 w 69"/>
              <a:gd name="T5" fmla="*/ 23813 h 23"/>
              <a:gd name="T6" fmla="*/ 106362 w 69"/>
              <a:gd name="T7" fmla="*/ 28575 h 23"/>
              <a:gd name="T8" fmla="*/ 85725 w 69"/>
              <a:gd name="T9" fmla="*/ 28575 h 23"/>
              <a:gd name="T10" fmla="*/ 85725 w 69"/>
              <a:gd name="T11" fmla="*/ 28575 h 23"/>
              <a:gd name="T12" fmla="*/ 77787 w 69"/>
              <a:gd name="T13" fmla="*/ 3175 h 23"/>
              <a:gd name="T14" fmla="*/ 69850 w 69"/>
              <a:gd name="T15" fmla="*/ 0 h 23"/>
              <a:gd name="T16" fmla="*/ 49212 w 69"/>
              <a:gd name="T17" fmla="*/ 3175 h 23"/>
              <a:gd name="T18" fmla="*/ 17462 w 69"/>
              <a:gd name="T19" fmla="*/ 0 h 23"/>
              <a:gd name="T20" fmla="*/ 12700 w 69"/>
              <a:gd name="T21" fmla="*/ 7938 h 23"/>
              <a:gd name="T22" fmla="*/ 4762 w 69"/>
              <a:gd name="T23" fmla="*/ 11113 h 23"/>
              <a:gd name="T24" fmla="*/ 4762 w 69"/>
              <a:gd name="T25" fmla="*/ 20638 h 23"/>
              <a:gd name="T26" fmla="*/ 0 w 69"/>
              <a:gd name="T27" fmla="*/ 23813 h 23"/>
              <a:gd name="T28" fmla="*/ 4762 w 69"/>
              <a:gd name="T29" fmla="*/ 31750 h 23"/>
              <a:gd name="T30" fmla="*/ 28575 w 69"/>
              <a:gd name="T31" fmla="*/ 31750 h 23"/>
              <a:gd name="T32" fmla="*/ 36512 w 69"/>
              <a:gd name="T33" fmla="*/ 36513 h 23"/>
              <a:gd name="T34" fmla="*/ 53975 w 69"/>
              <a:gd name="T35" fmla="*/ 31750 h 23"/>
              <a:gd name="T36" fmla="*/ 61912 w 69"/>
              <a:gd name="T37" fmla="*/ 36513 h 23"/>
              <a:gd name="T38" fmla="*/ 77787 w 69"/>
              <a:gd name="T39" fmla="*/ 28575 h 23"/>
              <a:gd name="T40" fmla="*/ 90487 w 69"/>
              <a:gd name="T41" fmla="*/ 11113 h 23"/>
              <a:gd name="T42" fmla="*/ 82550 w 69"/>
              <a:gd name="T43" fmla="*/ 11113 h 23"/>
              <a:gd name="T44" fmla="*/ 77787 w 69"/>
              <a:gd name="T45" fmla="*/ 3175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9" h="23">
                <a:moveTo>
                  <a:pt x="54" y="18"/>
                </a:moveTo>
                <a:lnTo>
                  <a:pt x="59" y="13"/>
                </a:lnTo>
                <a:lnTo>
                  <a:pt x="69" y="15"/>
                </a:lnTo>
                <a:lnTo>
                  <a:pt x="67" y="18"/>
                </a:lnTo>
                <a:lnTo>
                  <a:pt x="54" y="18"/>
                </a:lnTo>
                <a:close/>
                <a:moveTo>
                  <a:pt x="49" y="2"/>
                </a:moveTo>
                <a:lnTo>
                  <a:pt x="44" y="0"/>
                </a:lnTo>
                <a:lnTo>
                  <a:pt x="31" y="2"/>
                </a:lnTo>
                <a:lnTo>
                  <a:pt x="11" y="0"/>
                </a:lnTo>
                <a:lnTo>
                  <a:pt x="8" y="5"/>
                </a:lnTo>
                <a:lnTo>
                  <a:pt x="3" y="7"/>
                </a:lnTo>
                <a:lnTo>
                  <a:pt x="3" y="13"/>
                </a:lnTo>
                <a:lnTo>
                  <a:pt x="0" y="15"/>
                </a:lnTo>
                <a:lnTo>
                  <a:pt x="3" y="20"/>
                </a:lnTo>
                <a:lnTo>
                  <a:pt x="18" y="20"/>
                </a:lnTo>
                <a:lnTo>
                  <a:pt x="23" y="23"/>
                </a:lnTo>
                <a:lnTo>
                  <a:pt x="34" y="20"/>
                </a:lnTo>
                <a:lnTo>
                  <a:pt x="39" y="23"/>
                </a:lnTo>
                <a:lnTo>
                  <a:pt x="49" y="18"/>
                </a:lnTo>
                <a:lnTo>
                  <a:pt x="57" y="7"/>
                </a:lnTo>
                <a:lnTo>
                  <a:pt x="52" y="7"/>
                </a:lnTo>
                <a:lnTo>
                  <a:pt x="49" y="2"/>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4" name="Freeform 8"/>
          <p:cNvSpPr>
            <a:spLocks noEditPoints="1"/>
          </p:cNvSpPr>
          <p:nvPr/>
        </p:nvSpPr>
        <p:spPr bwMode="auto">
          <a:xfrm>
            <a:off x="9637032" y="5909129"/>
            <a:ext cx="195262" cy="125413"/>
          </a:xfrm>
          <a:custGeom>
            <a:avLst/>
            <a:gdLst>
              <a:gd name="T0" fmla="*/ 177800 w 123"/>
              <a:gd name="T1" fmla="*/ 93663 h 79"/>
              <a:gd name="T2" fmla="*/ 177800 w 123"/>
              <a:gd name="T3" fmla="*/ 96838 h 79"/>
              <a:gd name="T4" fmla="*/ 169862 w 123"/>
              <a:gd name="T5" fmla="*/ 88900 h 79"/>
              <a:gd name="T6" fmla="*/ 174625 w 123"/>
              <a:gd name="T7" fmla="*/ 88900 h 79"/>
              <a:gd name="T8" fmla="*/ 23812 w 123"/>
              <a:gd name="T9" fmla="*/ 15875 h 79"/>
              <a:gd name="T10" fmla="*/ 23812 w 123"/>
              <a:gd name="T11" fmla="*/ 31750 h 79"/>
              <a:gd name="T12" fmla="*/ 11112 w 123"/>
              <a:gd name="T13" fmla="*/ 47625 h 79"/>
              <a:gd name="T14" fmla="*/ 15875 w 123"/>
              <a:gd name="T15" fmla="*/ 60325 h 79"/>
              <a:gd name="T16" fmla="*/ 11112 w 123"/>
              <a:gd name="T17" fmla="*/ 76200 h 79"/>
              <a:gd name="T18" fmla="*/ 3175 w 123"/>
              <a:gd name="T19" fmla="*/ 93663 h 79"/>
              <a:gd name="T20" fmla="*/ 11112 w 123"/>
              <a:gd name="T21" fmla="*/ 104775 h 79"/>
              <a:gd name="T22" fmla="*/ 19050 w 123"/>
              <a:gd name="T23" fmla="*/ 117475 h 79"/>
              <a:gd name="T24" fmla="*/ 26987 w 123"/>
              <a:gd name="T25" fmla="*/ 125413 h 79"/>
              <a:gd name="T26" fmla="*/ 44450 w 123"/>
              <a:gd name="T27" fmla="*/ 96838 h 79"/>
              <a:gd name="T28" fmla="*/ 47625 w 123"/>
              <a:gd name="T29" fmla="*/ 84138 h 79"/>
              <a:gd name="T30" fmla="*/ 60325 w 123"/>
              <a:gd name="T31" fmla="*/ 88900 h 79"/>
              <a:gd name="T32" fmla="*/ 73025 w 123"/>
              <a:gd name="T33" fmla="*/ 80963 h 79"/>
              <a:gd name="T34" fmla="*/ 80962 w 123"/>
              <a:gd name="T35" fmla="*/ 93663 h 79"/>
              <a:gd name="T36" fmla="*/ 109537 w 123"/>
              <a:gd name="T37" fmla="*/ 76200 h 79"/>
              <a:gd name="T38" fmla="*/ 138112 w 123"/>
              <a:gd name="T39" fmla="*/ 76200 h 79"/>
              <a:gd name="T40" fmla="*/ 153987 w 123"/>
              <a:gd name="T41" fmla="*/ 80963 h 79"/>
              <a:gd name="T42" fmla="*/ 177800 w 123"/>
              <a:gd name="T43" fmla="*/ 84138 h 79"/>
              <a:gd name="T44" fmla="*/ 185737 w 123"/>
              <a:gd name="T45" fmla="*/ 76200 h 79"/>
              <a:gd name="T46" fmla="*/ 190500 w 123"/>
              <a:gd name="T47" fmla="*/ 60325 h 79"/>
              <a:gd name="T48" fmla="*/ 161925 w 123"/>
              <a:gd name="T49" fmla="*/ 52388 h 79"/>
              <a:gd name="T50" fmla="*/ 141287 w 123"/>
              <a:gd name="T51" fmla="*/ 47625 h 79"/>
              <a:gd name="T52" fmla="*/ 112712 w 123"/>
              <a:gd name="T53" fmla="*/ 31750 h 79"/>
              <a:gd name="T54" fmla="*/ 109537 w 123"/>
              <a:gd name="T55" fmla="*/ 28575 h 79"/>
              <a:gd name="T56" fmla="*/ 146050 w 123"/>
              <a:gd name="T57" fmla="*/ 36513 h 79"/>
              <a:gd name="T58" fmla="*/ 149225 w 123"/>
              <a:gd name="T59" fmla="*/ 28575 h 79"/>
              <a:gd name="T60" fmla="*/ 125412 w 123"/>
              <a:gd name="T61" fmla="*/ 23813 h 79"/>
              <a:gd name="T62" fmla="*/ 109537 w 123"/>
              <a:gd name="T63" fmla="*/ 11113 h 79"/>
              <a:gd name="T64" fmla="*/ 96837 w 123"/>
              <a:gd name="T65" fmla="*/ 7938 h 79"/>
              <a:gd name="T66" fmla="*/ 52387 w 123"/>
              <a:gd name="T67" fmla="*/ 0 h 79"/>
              <a:gd name="T68" fmla="*/ 26987 w 123"/>
              <a:gd name="T69" fmla="*/ 0 h 7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3" h="79">
                <a:moveTo>
                  <a:pt x="110" y="56"/>
                </a:moveTo>
                <a:lnTo>
                  <a:pt x="112" y="59"/>
                </a:lnTo>
                <a:lnTo>
                  <a:pt x="117" y="59"/>
                </a:lnTo>
                <a:lnTo>
                  <a:pt x="112" y="61"/>
                </a:lnTo>
                <a:lnTo>
                  <a:pt x="110" y="61"/>
                </a:lnTo>
                <a:lnTo>
                  <a:pt x="107" y="56"/>
                </a:lnTo>
                <a:lnTo>
                  <a:pt x="110" y="56"/>
                </a:lnTo>
                <a:close/>
                <a:moveTo>
                  <a:pt x="15" y="7"/>
                </a:moveTo>
                <a:lnTo>
                  <a:pt x="15" y="10"/>
                </a:lnTo>
                <a:lnTo>
                  <a:pt x="12" y="15"/>
                </a:lnTo>
                <a:lnTo>
                  <a:pt x="15" y="20"/>
                </a:lnTo>
                <a:lnTo>
                  <a:pt x="12" y="28"/>
                </a:lnTo>
                <a:lnTo>
                  <a:pt x="7" y="30"/>
                </a:lnTo>
                <a:lnTo>
                  <a:pt x="7" y="33"/>
                </a:lnTo>
                <a:lnTo>
                  <a:pt x="10" y="38"/>
                </a:lnTo>
                <a:lnTo>
                  <a:pt x="10" y="43"/>
                </a:lnTo>
                <a:lnTo>
                  <a:pt x="7" y="48"/>
                </a:lnTo>
                <a:lnTo>
                  <a:pt x="0" y="56"/>
                </a:lnTo>
                <a:lnTo>
                  <a:pt x="2" y="59"/>
                </a:lnTo>
                <a:lnTo>
                  <a:pt x="5" y="59"/>
                </a:lnTo>
                <a:lnTo>
                  <a:pt x="7" y="66"/>
                </a:lnTo>
                <a:lnTo>
                  <a:pt x="7" y="71"/>
                </a:lnTo>
                <a:lnTo>
                  <a:pt x="12" y="74"/>
                </a:lnTo>
                <a:lnTo>
                  <a:pt x="12" y="77"/>
                </a:lnTo>
                <a:lnTo>
                  <a:pt x="17" y="79"/>
                </a:lnTo>
                <a:lnTo>
                  <a:pt x="20" y="71"/>
                </a:lnTo>
                <a:lnTo>
                  <a:pt x="28" y="61"/>
                </a:lnTo>
                <a:lnTo>
                  <a:pt x="28" y="56"/>
                </a:lnTo>
                <a:lnTo>
                  <a:pt x="30" y="53"/>
                </a:lnTo>
                <a:lnTo>
                  <a:pt x="35" y="56"/>
                </a:lnTo>
                <a:lnTo>
                  <a:pt x="38" y="56"/>
                </a:lnTo>
                <a:lnTo>
                  <a:pt x="43" y="48"/>
                </a:lnTo>
                <a:lnTo>
                  <a:pt x="46" y="51"/>
                </a:lnTo>
                <a:lnTo>
                  <a:pt x="48" y="56"/>
                </a:lnTo>
                <a:lnTo>
                  <a:pt x="51" y="59"/>
                </a:lnTo>
                <a:lnTo>
                  <a:pt x="59" y="56"/>
                </a:lnTo>
                <a:lnTo>
                  <a:pt x="69" y="48"/>
                </a:lnTo>
                <a:lnTo>
                  <a:pt x="76" y="48"/>
                </a:lnTo>
                <a:lnTo>
                  <a:pt x="87" y="48"/>
                </a:lnTo>
                <a:lnTo>
                  <a:pt x="92" y="48"/>
                </a:lnTo>
                <a:lnTo>
                  <a:pt x="97" y="51"/>
                </a:lnTo>
                <a:lnTo>
                  <a:pt x="105" y="51"/>
                </a:lnTo>
                <a:lnTo>
                  <a:pt x="112" y="53"/>
                </a:lnTo>
                <a:lnTo>
                  <a:pt x="115" y="48"/>
                </a:lnTo>
                <a:lnTo>
                  <a:pt x="117" y="48"/>
                </a:lnTo>
                <a:lnTo>
                  <a:pt x="123" y="43"/>
                </a:lnTo>
                <a:lnTo>
                  <a:pt x="120" y="38"/>
                </a:lnTo>
                <a:lnTo>
                  <a:pt x="107" y="33"/>
                </a:lnTo>
                <a:lnTo>
                  <a:pt x="102" y="33"/>
                </a:lnTo>
                <a:lnTo>
                  <a:pt x="94" y="30"/>
                </a:lnTo>
                <a:lnTo>
                  <a:pt x="89" y="30"/>
                </a:lnTo>
                <a:lnTo>
                  <a:pt x="82" y="25"/>
                </a:lnTo>
                <a:lnTo>
                  <a:pt x="71" y="20"/>
                </a:lnTo>
                <a:lnTo>
                  <a:pt x="66" y="20"/>
                </a:lnTo>
                <a:lnTo>
                  <a:pt x="69" y="18"/>
                </a:lnTo>
                <a:lnTo>
                  <a:pt x="79" y="20"/>
                </a:lnTo>
                <a:lnTo>
                  <a:pt x="92" y="23"/>
                </a:lnTo>
                <a:lnTo>
                  <a:pt x="97" y="20"/>
                </a:lnTo>
                <a:lnTo>
                  <a:pt x="94" y="18"/>
                </a:lnTo>
                <a:lnTo>
                  <a:pt x="89" y="18"/>
                </a:lnTo>
                <a:lnTo>
                  <a:pt x="79" y="15"/>
                </a:lnTo>
                <a:lnTo>
                  <a:pt x="74" y="7"/>
                </a:lnTo>
                <a:lnTo>
                  <a:pt x="69" y="7"/>
                </a:lnTo>
                <a:lnTo>
                  <a:pt x="66" y="7"/>
                </a:lnTo>
                <a:lnTo>
                  <a:pt x="61" y="5"/>
                </a:lnTo>
                <a:lnTo>
                  <a:pt x="35" y="0"/>
                </a:lnTo>
                <a:lnTo>
                  <a:pt x="33" y="0"/>
                </a:lnTo>
                <a:lnTo>
                  <a:pt x="28" y="0"/>
                </a:lnTo>
                <a:lnTo>
                  <a:pt x="17" y="0"/>
                </a:lnTo>
                <a:lnTo>
                  <a:pt x="15" y="7"/>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5" name="Freeform 9"/>
          <p:cNvSpPr>
            <a:spLocks noEditPoints="1"/>
          </p:cNvSpPr>
          <p:nvPr/>
        </p:nvSpPr>
        <p:spPr bwMode="auto">
          <a:xfrm>
            <a:off x="7068457" y="606879"/>
            <a:ext cx="4318000" cy="4008438"/>
          </a:xfrm>
          <a:custGeom>
            <a:avLst/>
            <a:gdLst>
              <a:gd name="T0" fmla="*/ 3158123 w 1061"/>
              <a:gd name="T1" fmla="*/ 277006 h 984"/>
              <a:gd name="T2" fmla="*/ 3166262 w 1061"/>
              <a:gd name="T3" fmla="*/ 676220 h 984"/>
              <a:gd name="T4" fmla="*/ 3154053 w 1061"/>
              <a:gd name="T5" fmla="*/ 749545 h 984"/>
              <a:gd name="T6" fmla="*/ 3369749 w 1061"/>
              <a:gd name="T7" fmla="*/ 464392 h 984"/>
              <a:gd name="T8" fmla="*/ 3381959 w 1061"/>
              <a:gd name="T9" fmla="*/ 268859 h 984"/>
              <a:gd name="T10" fmla="*/ 3650562 w 1061"/>
              <a:gd name="T11" fmla="*/ 118135 h 984"/>
              <a:gd name="T12" fmla="*/ 4248814 w 1061"/>
              <a:gd name="T13" fmla="*/ 150724 h 984"/>
              <a:gd name="T14" fmla="*/ 3703468 w 1061"/>
              <a:gd name="T15" fmla="*/ 574380 h 984"/>
              <a:gd name="T16" fmla="*/ 3324982 w 1061"/>
              <a:gd name="T17" fmla="*/ 831018 h 984"/>
              <a:gd name="T18" fmla="*/ 3451144 w 1061"/>
              <a:gd name="T19" fmla="*/ 1869790 h 984"/>
              <a:gd name="T20" fmla="*/ 3027891 w 1061"/>
              <a:gd name="T21" fmla="*/ 778061 h 984"/>
              <a:gd name="T22" fmla="*/ 2702311 w 1061"/>
              <a:gd name="T23" fmla="*/ 533644 h 984"/>
              <a:gd name="T24" fmla="*/ 2254639 w 1061"/>
              <a:gd name="T25" fmla="*/ 488834 h 984"/>
              <a:gd name="T26" fmla="*/ 2946496 w 1061"/>
              <a:gd name="T27" fmla="*/ 883975 h 984"/>
              <a:gd name="T28" fmla="*/ 3060449 w 1061"/>
              <a:gd name="T29" fmla="*/ 1213938 h 984"/>
              <a:gd name="T30" fmla="*/ 1859874 w 1061"/>
              <a:gd name="T31" fmla="*/ 643631 h 984"/>
              <a:gd name="T32" fmla="*/ 2681962 w 1061"/>
              <a:gd name="T33" fmla="*/ 998036 h 984"/>
              <a:gd name="T34" fmla="*/ 2490684 w 1061"/>
              <a:gd name="T35" fmla="*/ 879901 h 984"/>
              <a:gd name="T36" fmla="*/ 2397080 w 1061"/>
              <a:gd name="T37" fmla="*/ 916564 h 984"/>
              <a:gd name="T38" fmla="*/ 2258709 w 1061"/>
              <a:gd name="T39" fmla="*/ 778061 h 984"/>
              <a:gd name="T40" fmla="*/ 1631968 w 1061"/>
              <a:gd name="T41" fmla="*/ 863607 h 984"/>
              <a:gd name="T42" fmla="*/ 2323825 w 1061"/>
              <a:gd name="T43" fmla="*/ 1250600 h 984"/>
              <a:gd name="T44" fmla="*/ 2486615 w 1061"/>
              <a:gd name="T45" fmla="*/ 1307631 h 984"/>
              <a:gd name="T46" fmla="*/ 3113355 w 1061"/>
              <a:gd name="T47" fmla="*/ 1393177 h 984"/>
              <a:gd name="T48" fmla="*/ 2983123 w 1061"/>
              <a:gd name="T49" fmla="*/ 1800538 h 984"/>
              <a:gd name="T50" fmla="*/ 2140686 w 1061"/>
              <a:gd name="T51" fmla="*/ 1829054 h 984"/>
              <a:gd name="T52" fmla="*/ 2112198 w 1061"/>
              <a:gd name="T53" fmla="*/ 1348367 h 984"/>
              <a:gd name="T54" fmla="*/ 1815107 w 1061"/>
              <a:gd name="T55" fmla="*/ 1079508 h 984"/>
              <a:gd name="T56" fmla="*/ 1591270 w 1061"/>
              <a:gd name="T57" fmla="*/ 1609078 h 984"/>
              <a:gd name="T58" fmla="*/ 2047082 w 1061"/>
              <a:gd name="T59" fmla="*/ 1723140 h 984"/>
              <a:gd name="T60" fmla="*/ 3105216 w 1061"/>
              <a:gd name="T61" fmla="*/ 2411581 h 984"/>
              <a:gd name="T62" fmla="*/ 3145913 w 1061"/>
              <a:gd name="T63" fmla="*/ 1906452 h 984"/>
              <a:gd name="T64" fmla="*/ 2714520 w 1061"/>
              <a:gd name="T65" fmla="*/ 1674256 h 984"/>
              <a:gd name="T66" fmla="*/ 2897659 w 1061"/>
              <a:gd name="T67" fmla="*/ 1482796 h 984"/>
              <a:gd name="T68" fmla="*/ 3223238 w 1061"/>
              <a:gd name="T69" fmla="*/ 1490943 h 984"/>
              <a:gd name="T70" fmla="*/ 3324982 w 1061"/>
              <a:gd name="T71" fmla="*/ 1772023 h 984"/>
              <a:gd name="T72" fmla="*/ 3422656 w 1061"/>
              <a:gd name="T73" fmla="*/ 1955336 h 984"/>
              <a:gd name="T74" fmla="*/ 3589516 w 1061"/>
              <a:gd name="T75" fmla="*/ 2195679 h 984"/>
              <a:gd name="T76" fmla="*/ 3438935 w 1061"/>
              <a:gd name="T77" fmla="*/ 2207900 h 984"/>
              <a:gd name="T78" fmla="*/ 3345331 w 1061"/>
              <a:gd name="T79" fmla="*/ 2509347 h 984"/>
              <a:gd name="T80" fmla="*/ 2710451 w 1061"/>
              <a:gd name="T81" fmla="*/ 2297519 h 984"/>
              <a:gd name="T82" fmla="*/ 3170332 w 1061"/>
              <a:gd name="T83" fmla="*/ 2729323 h 984"/>
              <a:gd name="T84" fmla="*/ 2572079 w 1061"/>
              <a:gd name="T85" fmla="*/ 3034844 h 984"/>
              <a:gd name="T86" fmla="*/ 3418586 w 1061"/>
              <a:gd name="T87" fmla="*/ 3678475 h 984"/>
              <a:gd name="T88" fmla="*/ 3654631 w 1061"/>
              <a:gd name="T89" fmla="*/ 3682549 h 984"/>
              <a:gd name="T90" fmla="*/ 3565097 w 1061"/>
              <a:gd name="T91" fmla="*/ 3446279 h 984"/>
              <a:gd name="T92" fmla="*/ 398835 w 1061"/>
              <a:gd name="T93" fmla="*/ 3319997 h 984"/>
              <a:gd name="T94" fmla="*/ 231975 w 1061"/>
              <a:gd name="T95" fmla="*/ 2973740 h 984"/>
              <a:gd name="T96" fmla="*/ 736624 w 1061"/>
              <a:gd name="T97" fmla="*/ 1385029 h 984"/>
              <a:gd name="T98" fmla="*/ 313370 w 1061"/>
              <a:gd name="T99" fmla="*/ 3034844 h 984"/>
              <a:gd name="T100" fmla="*/ 761042 w 1061"/>
              <a:gd name="T101" fmla="*/ 1433913 h 984"/>
              <a:gd name="T102" fmla="*/ 1257551 w 1061"/>
              <a:gd name="T103" fmla="*/ 1446134 h 984"/>
              <a:gd name="T104" fmla="*/ 1896501 w 1061"/>
              <a:gd name="T105" fmla="*/ 1698698 h 984"/>
              <a:gd name="T106" fmla="*/ 2254639 w 1061"/>
              <a:gd name="T107" fmla="*/ 1939041 h 984"/>
              <a:gd name="T108" fmla="*/ 2527312 w 1061"/>
              <a:gd name="T109" fmla="*/ 1637594 h 984"/>
              <a:gd name="T110" fmla="*/ 2893589 w 1061"/>
              <a:gd name="T111" fmla="*/ 1837201 h 984"/>
              <a:gd name="T112" fmla="*/ 2425568 w 1061"/>
              <a:gd name="T113" fmla="*/ 2289372 h 984"/>
              <a:gd name="T114" fmla="*/ 2002315 w 1061"/>
              <a:gd name="T115" fmla="*/ 2900414 h 984"/>
              <a:gd name="T116" fmla="*/ 2759287 w 1061"/>
              <a:gd name="T117" fmla="*/ 2745617 h 984"/>
              <a:gd name="T118" fmla="*/ 3288354 w 1061"/>
              <a:gd name="T119" fmla="*/ 2774132 h 984"/>
              <a:gd name="T120" fmla="*/ 3504051 w 1061"/>
              <a:gd name="T121" fmla="*/ 3193715 h 984"/>
              <a:gd name="T122" fmla="*/ 3080797 w 1061"/>
              <a:gd name="T123" fmla="*/ 3487015 h 984"/>
              <a:gd name="T124" fmla="*/ 3149983 w 1061"/>
              <a:gd name="T125" fmla="*/ 3825125 h 98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61" h="984">
                <a:moveTo>
                  <a:pt x="768" y="173"/>
                </a:moveTo>
                <a:cubicBezTo>
                  <a:pt x="769" y="171"/>
                  <a:pt x="769" y="171"/>
                  <a:pt x="769" y="171"/>
                </a:cubicBezTo>
                <a:cubicBezTo>
                  <a:pt x="771" y="169"/>
                  <a:pt x="771" y="169"/>
                  <a:pt x="771" y="169"/>
                </a:cubicBezTo>
                <a:cubicBezTo>
                  <a:pt x="775" y="165"/>
                  <a:pt x="775" y="165"/>
                  <a:pt x="775" y="165"/>
                </a:cubicBezTo>
                <a:cubicBezTo>
                  <a:pt x="776" y="159"/>
                  <a:pt x="776" y="159"/>
                  <a:pt x="776" y="159"/>
                </a:cubicBezTo>
                <a:cubicBezTo>
                  <a:pt x="778" y="158"/>
                  <a:pt x="778" y="158"/>
                  <a:pt x="778" y="158"/>
                </a:cubicBezTo>
                <a:cubicBezTo>
                  <a:pt x="778" y="160"/>
                  <a:pt x="778" y="160"/>
                  <a:pt x="778" y="160"/>
                </a:cubicBezTo>
                <a:cubicBezTo>
                  <a:pt x="777" y="163"/>
                  <a:pt x="777" y="163"/>
                  <a:pt x="777" y="163"/>
                </a:cubicBezTo>
                <a:cubicBezTo>
                  <a:pt x="777" y="164"/>
                  <a:pt x="777" y="164"/>
                  <a:pt x="777" y="164"/>
                </a:cubicBezTo>
                <a:cubicBezTo>
                  <a:pt x="779" y="165"/>
                  <a:pt x="779" y="165"/>
                  <a:pt x="779" y="165"/>
                </a:cubicBezTo>
                <a:cubicBezTo>
                  <a:pt x="782" y="162"/>
                  <a:pt x="782" y="162"/>
                  <a:pt x="782" y="162"/>
                </a:cubicBezTo>
                <a:cubicBezTo>
                  <a:pt x="784" y="161"/>
                  <a:pt x="784" y="161"/>
                  <a:pt x="784" y="161"/>
                </a:cubicBezTo>
                <a:cubicBezTo>
                  <a:pt x="783" y="158"/>
                  <a:pt x="783" y="158"/>
                  <a:pt x="783" y="158"/>
                </a:cubicBezTo>
                <a:cubicBezTo>
                  <a:pt x="781" y="158"/>
                  <a:pt x="781" y="158"/>
                  <a:pt x="781" y="158"/>
                </a:cubicBezTo>
                <a:cubicBezTo>
                  <a:pt x="781" y="157"/>
                  <a:pt x="781" y="157"/>
                  <a:pt x="781" y="157"/>
                </a:cubicBezTo>
                <a:cubicBezTo>
                  <a:pt x="784" y="156"/>
                  <a:pt x="784" y="156"/>
                  <a:pt x="784" y="156"/>
                </a:cubicBezTo>
                <a:cubicBezTo>
                  <a:pt x="784" y="153"/>
                  <a:pt x="784" y="153"/>
                  <a:pt x="784" y="153"/>
                </a:cubicBezTo>
                <a:cubicBezTo>
                  <a:pt x="783" y="151"/>
                  <a:pt x="783" y="151"/>
                  <a:pt x="783" y="151"/>
                </a:cubicBezTo>
                <a:cubicBezTo>
                  <a:pt x="783" y="149"/>
                  <a:pt x="783" y="149"/>
                  <a:pt x="783" y="149"/>
                </a:cubicBezTo>
                <a:cubicBezTo>
                  <a:pt x="786" y="147"/>
                  <a:pt x="786" y="147"/>
                  <a:pt x="786" y="147"/>
                </a:cubicBezTo>
                <a:cubicBezTo>
                  <a:pt x="787" y="142"/>
                  <a:pt x="787" y="142"/>
                  <a:pt x="787" y="142"/>
                </a:cubicBezTo>
                <a:cubicBezTo>
                  <a:pt x="789" y="142"/>
                  <a:pt x="789" y="142"/>
                  <a:pt x="789" y="142"/>
                </a:cubicBezTo>
                <a:cubicBezTo>
                  <a:pt x="791" y="140"/>
                  <a:pt x="791" y="140"/>
                  <a:pt x="791" y="140"/>
                </a:cubicBezTo>
                <a:cubicBezTo>
                  <a:pt x="790" y="142"/>
                  <a:pt x="790" y="142"/>
                  <a:pt x="790" y="142"/>
                </a:cubicBezTo>
                <a:cubicBezTo>
                  <a:pt x="791" y="143"/>
                  <a:pt x="791" y="143"/>
                  <a:pt x="791" y="143"/>
                </a:cubicBezTo>
                <a:cubicBezTo>
                  <a:pt x="789" y="144"/>
                  <a:pt x="789" y="144"/>
                  <a:pt x="789" y="144"/>
                </a:cubicBezTo>
                <a:cubicBezTo>
                  <a:pt x="788" y="148"/>
                  <a:pt x="788" y="148"/>
                  <a:pt x="788" y="148"/>
                </a:cubicBezTo>
                <a:cubicBezTo>
                  <a:pt x="785" y="150"/>
                  <a:pt x="785" y="150"/>
                  <a:pt x="785" y="150"/>
                </a:cubicBezTo>
                <a:cubicBezTo>
                  <a:pt x="785" y="154"/>
                  <a:pt x="785" y="154"/>
                  <a:pt x="785" y="154"/>
                </a:cubicBezTo>
                <a:cubicBezTo>
                  <a:pt x="786" y="156"/>
                  <a:pt x="786" y="156"/>
                  <a:pt x="786" y="156"/>
                </a:cubicBezTo>
                <a:cubicBezTo>
                  <a:pt x="787" y="159"/>
                  <a:pt x="787" y="159"/>
                  <a:pt x="787" y="159"/>
                </a:cubicBezTo>
                <a:cubicBezTo>
                  <a:pt x="788" y="158"/>
                  <a:pt x="788" y="158"/>
                  <a:pt x="788" y="158"/>
                </a:cubicBezTo>
                <a:cubicBezTo>
                  <a:pt x="790" y="154"/>
                  <a:pt x="790" y="154"/>
                  <a:pt x="790" y="154"/>
                </a:cubicBezTo>
                <a:cubicBezTo>
                  <a:pt x="795" y="150"/>
                  <a:pt x="795" y="150"/>
                  <a:pt x="795" y="150"/>
                </a:cubicBezTo>
                <a:cubicBezTo>
                  <a:pt x="796" y="147"/>
                  <a:pt x="796" y="147"/>
                  <a:pt x="796" y="147"/>
                </a:cubicBezTo>
                <a:cubicBezTo>
                  <a:pt x="796" y="144"/>
                  <a:pt x="796" y="144"/>
                  <a:pt x="796" y="144"/>
                </a:cubicBezTo>
                <a:cubicBezTo>
                  <a:pt x="798" y="141"/>
                  <a:pt x="798" y="141"/>
                  <a:pt x="798" y="141"/>
                </a:cubicBezTo>
                <a:cubicBezTo>
                  <a:pt x="799" y="141"/>
                  <a:pt x="799" y="141"/>
                  <a:pt x="799" y="141"/>
                </a:cubicBezTo>
                <a:cubicBezTo>
                  <a:pt x="800" y="142"/>
                  <a:pt x="800" y="142"/>
                  <a:pt x="800" y="142"/>
                </a:cubicBezTo>
                <a:cubicBezTo>
                  <a:pt x="799" y="143"/>
                  <a:pt x="799" y="143"/>
                  <a:pt x="799" y="143"/>
                </a:cubicBezTo>
                <a:cubicBezTo>
                  <a:pt x="799" y="146"/>
                  <a:pt x="799" y="146"/>
                  <a:pt x="799" y="146"/>
                </a:cubicBezTo>
                <a:cubicBezTo>
                  <a:pt x="801" y="145"/>
                  <a:pt x="801" y="145"/>
                  <a:pt x="801" y="145"/>
                </a:cubicBezTo>
                <a:cubicBezTo>
                  <a:pt x="803" y="142"/>
                  <a:pt x="803" y="142"/>
                  <a:pt x="803" y="142"/>
                </a:cubicBezTo>
                <a:cubicBezTo>
                  <a:pt x="806" y="142"/>
                  <a:pt x="806" y="142"/>
                  <a:pt x="806" y="142"/>
                </a:cubicBezTo>
                <a:cubicBezTo>
                  <a:pt x="809" y="142"/>
                  <a:pt x="809" y="142"/>
                  <a:pt x="809" y="142"/>
                </a:cubicBezTo>
                <a:cubicBezTo>
                  <a:pt x="813" y="141"/>
                  <a:pt x="813" y="141"/>
                  <a:pt x="813" y="141"/>
                </a:cubicBezTo>
                <a:cubicBezTo>
                  <a:pt x="815" y="141"/>
                  <a:pt x="815" y="141"/>
                  <a:pt x="815" y="141"/>
                </a:cubicBezTo>
                <a:cubicBezTo>
                  <a:pt x="817" y="139"/>
                  <a:pt x="817" y="139"/>
                  <a:pt x="817" y="139"/>
                </a:cubicBezTo>
                <a:cubicBezTo>
                  <a:pt x="819" y="138"/>
                  <a:pt x="819" y="138"/>
                  <a:pt x="819" y="138"/>
                </a:cubicBezTo>
                <a:cubicBezTo>
                  <a:pt x="820" y="136"/>
                  <a:pt x="820" y="136"/>
                  <a:pt x="820" y="136"/>
                </a:cubicBezTo>
                <a:cubicBezTo>
                  <a:pt x="820" y="134"/>
                  <a:pt x="820" y="134"/>
                  <a:pt x="820" y="134"/>
                </a:cubicBezTo>
                <a:cubicBezTo>
                  <a:pt x="821" y="133"/>
                  <a:pt x="821" y="133"/>
                  <a:pt x="821" y="133"/>
                </a:cubicBezTo>
                <a:cubicBezTo>
                  <a:pt x="819" y="131"/>
                  <a:pt x="819" y="131"/>
                  <a:pt x="819" y="131"/>
                </a:cubicBezTo>
                <a:cubicBezTo>
                  <a:pt x="820" y="128"/>
                  <a:pt x="820" y="128"/>
                  <a:pt x="820" y="128"/>
                </a:cubicBezTo>
                <a:cubicBezTo>
                  <a:pt x="820" y="122"/>
                  <a:pt x="820" y="122"/>
                  <a:pt x="820" y="122"/>
                </a:cubicBezTo>
                <a:cubicBezTo>
                  <a:pt x="819" y="122"/>
                  <a:pt x="819" y="122"/>
                  <a:pt x="819" y="122"/>
                </a:cubicBezTo>
                <a:cubicBezTo>
                  <a:pt x="817" y="126"/>
                  <a:pt x="817" y="126"/>
                  <a:pt x="817" y="126"/>
                </a:cubicBezTo>
                <a:cubicBezTo>
                  <a:pt x="815" y="129"/>
                  <a:pt x="815" y="129"/>
                  <a:pt x="815" y="129"/>
                </a:cubicBezTo>
                <a:cubicBezTo>
                  <a:pt x="813" y="129"/>
                  <a:pt x="813" y="129"/>
                  <a:pt x="813" y="129"/>
                </a:cubicBezTo>
                <a:cubicBezTo>
                  <a:pt x="813" y="127"/>
                  <a:pt x="813" y="127"/>
                  <a:pt x="813" y="127"/>
                </a:cubicBezTo>
                <a:cubicBezTo>
                  <a:pt x="815" y="125"/>
                  <a:pt x="815" y="125"/>
                  <a:pt x="815" y="125"/>
                </a:cubicBezTo>
                <a:cubicBezTo>
                  <a:pt x="818" y="123"/>
                  <a:pt x="818" y="123"/>
                  <a:pt x="818" y="123"/>
                </a:cubicBezTo>
                <a:cubicBezTo>
                  <a:pt x="818" y="122"/>
                  <a:pt x="818" y="122"/>
                  <a:pt x="818" y="122"/>
                </a:cubicBezTo>
                <a:cubicBezTo>
                  <a:pt x="815" y="119"/>
                  <a:pt x="815" y="119"/>
                  <a:pt x="815" y="119"/>
                </a:cubicBezTo>
                <a:cubicBezTo>
                  <a:pt x="815" y="117"/>
                  <a:pt x="815" y="117"/>
                  <a:pt x="815" y="117"/>
                </a:cubicBezTo>
                <a:cubicBezTo>
                  <a:pt x="813" y="117"/>
                  <a:pt x="813" y="117"/>
                  <a:pt x="813" y="117"/>
                </a:cubicBezTo>
                <a:cubicBezTo>
                  <a:pt x="812" y="118"/>
                  <a:pt x="812" y="118"/>
                  <a:pt x="812" y="118"/>
                </a:cubicBezTo>
                <a:cubicBezTo>
                  <a:pt x="812" y="120"/>
                  <a:pt x="812" y="120"/>
                  <a:pt x="812" y="120"/>
                </a:cubicBezTo>
                <a:cubicBezTo>
                  <a:pt x="810" y="118"/>
                  <a:pt x="810" y="118"/>
                  <a:pt x="810" y="118"/>
                </a:cubicBezTo>
                <a:cubicBezTo>
                  <a:pt x="808" y="119"/>
                  <a:pt x="808" y="119"/>
                  <a:pt x="808" y="119"/>
                </a:cubicBezTo>
                <a:cubicBezTo>
                  <a:pt x="806" y="120"/>
                  <a:pt x="806" y="120"/>
                  <a:pt x="806" y="120"/>
                </a:cubicBezTo>
                <a:cubicBezTo>
                  <a:pt x="804" y="120"/>
                  <a:pt x="804" y="120"/>
                  <a:pt x="804" y="120"/>
                </a:cubicBezTo>
                <a:cubicBezTo>
                  <a:pt x="805" y="118"/>
                  <a:pt x="805" y="118"/>
                  <a:pt x="805" y="118"/>
                </a:cubicBezTo>
                <a:cubicBezTo>
                  <a:pt x="811" y="116"/>
                  <a:pt x="811" y="116"/>
                  <a:pt x="811" y="116"/>
                </a:cubicBezTo>
                <a:cubicBezTo>
                  <a:pt x="813" y="115"/>
                  <a:pt x="813" y="115"/>
                  <a:pt x="813" y="115"/>
                </a:cubicBezTo>
                <a:cubicBezTo>
                  <a:pt x="817" y="111"/>
                  <a:pt x="817" y="111"/>
                  <a:pt x="817" y="111"/>
                </a:cubicBezTo>
                <a:cubicBezTo>
                  <a:pt x="818" y="110"/>
                  <a:pt x="818" y="110"/>
                  <a:pt x="818" y="110"/>
                </a:cubicBezTo>
                <a:cubicBezTo>
                  <a:pt x="821" y="105"/>
                  <a:pt x="821" y="105"/>
                  <a:pt x="821" y="105"/>
                </a:cubicBezTo>
                <a:cubicBezTo>
                  <a:pt x="822" y="101"/>
                  <a:pt x="822" y="101"/>
                  <a:pt x="822" y="101"/>
                </a:cubicBezTo>
                <a:cubicBezTo>
                  <a:pt x="821" y="101"/>
                  <a:pt x="821" y="101"/>
                  <a:pt x="821" y="101"/>
                </a:cubicBezTo>
                <a:cubicBezTo>
                  <a:pt x="819" y="101"/>
                  <a:pt x="819" y="101"/>
                  <a:pt x="819" y="101"/>
                </a:cubicBezTo>
                <a:cubicBezTo>
                  <a:pt x="818" y="102"/>
                  <a:pt x="818" y="102"/>
                  <a:pt x="818" y="102"/>
                </a:cubicBezTo>
                <a:cubicBezTo>
                  <a:pt x="817" y="101"/>
                  <a:pt x="817" y="101"/>
                  <a:pt x="817" y="101"/>
                </a:cubicBezTo>
                <a:cubicBezTo>
                  <a:pt x="818" y="99"/>
                  <a:pt x="818" y="99"/>
                  <a:pt x="818" y="99"/>
                </a:cubicBezTo>
                <a:cubicBezTo>
                  <a:pt x="820" y="99"/>
                  <a:pt x="820" y="99"/>
                  <a:pt x="820" y="99"/>
                </a:cubicBezTo>
                <a:cubicBezTo>
                  <a:pt x="821" y="99"/>
                  <a:pt x="821" y="99"/>
                  <a:pt x="821" y="99"/>
                </a:cubicBezTo>
                <a:cubicBezTo>
                  <a:pt x="822" y="97"/>
                  <a:pt x="822" y="97"/>
                  <a:pt x="822" y="97"/>
                </a:cubicBezTo>
                <a:cubicBezTo>
                  <a:pt x="822" y="95"/>
                  <a:pt x="822" y="95"/>
                  <a:pt x="822" y="95"/>
                </a:cubicBezTo>
                <a:cubicBezTo>
                  <a:pt x="825" y="92"/>
                  <a:pt x="825" y="92"/>
                  <a:pt x="825" y="92"/>
                </a:cubicBezTo>
                <a:cubicBezTo>
                  <a:pt x="825" y="89"/>
                  <a:pt x="825" y="89"/>
                  <a:pt x="825" y="89"/>
                </a:cubicBezTo>
                <a:cubicBezTo>
                  <a:pt x="824" y="89"/>
                  <a:pt x="824" y="89"/>
                  <a:pt x="824" y="89"/>
                </a:cubicBezTo>
                <a:cubicBezTo>
                  <a:pt x="824" y="87"/>
                  <a:pt x="824" y="87"/>
                  <a:pt x="824" y="87"/>
                </a:cubicBezTo>
                <a:cubicBezTo>
                  <a:pt x="822" y="86"/>
                  <a:pt x="822" y="86"/>
                  <a:pt x="822" y="86"/>
                </a:cubicBezTo>
                <a:cubicBezTo>
                  <a:pt x="820" y="87"/>
                  <a:pt x="820" y="87"/>
                  <a:pt x="820" y="87"/>
                </a:cubicBezTo>
                <a:cubicBezTo>
                  <a:pt x="817" y="92"/>
                  <a:pt x="817" y="92"/>
                  <a:pt x="817" y="92"/>
                </a:cubicBezTo>
                <a:cubicBezTo>
                  <a:pt x="816" y="95"/>
                  <a:pt x="816" y="95"/>
                  <a:pt x="816" y="95"/>
                </a:cubicBezTo>
                <a:cubicBezTo>
                  <a:pt x="818" y="96"/>
                  <a:pt x="818" y="96"/>
                  <a:pt x="818" y="96"/>
                </a:cubicBezTo>
                <a:cubicBezTo>
                  <a:pt x="816" y="99"/>
                  <a:pt x="816" y="99"/>
                  <a:pt x="816" y="99"/>
                </a:cubicBezTo>
                <a:cubicBezTo>
                  <a:pt x="815" y="99"/>
                  <a:pt x="815" y="99"/>
                  <a:pt x="815" y="99"/>
                </a:cubicBezTo>
                <a:cubicBezTo>
                  <a:pt x="814" y="99"/>
                  <a:pt x="814" y="99"/>
                  <a:pt x="814" y="99"/>
                </a:cubicBezTo>
                <a:cubicBezTo>
                  <a:pt x="814" y="98"/>
                  <a:pt x="814" y="98"/>
                  <a:pt x="814" y="98"/>
                </a:cubicBezTo>
                <a:cubicBezTo>
                  <a:pt x="813" y="97"/>
                  <a:pt x="813" y="97"/>
                  <a:pt x="813" y="97"/>
                </a:cubicBezTo>
                <a:cubicBezTo>
                  <a:pt x="813" y="94"/>
                  <a:pt x="813" y="94"/>
                  <a:pt x="813" y="94"/>
                </a:cubicBezTo>
                <a:cubicBezTo>
                  <a:pt x="816" y="90"/>
                  <a:pt x="816" y="90"/>
                  <a:pt x="816" y="90"/>
                </a:cubicBezTo>
                <a:cubicBezTo>
                  <a:pt x="815" y="88"/>
                  <a:pt x="815" y="88"/>
                  <a:pt x="815" y="88"/>
                </a:cubicBezTo>
                <a:cubicBezTo>
                  <a:pt x="815" y="87"/>
                  <a:pt x="815" y="87"/>
                  <a:pt x="815" y="87"/>
                </a:cubicBezTo>
                <a:cubicBezTo>
                  <a:pt x="816" y="88"/>
                  <a:pt x="816" y="88"/>
                  <a:pt x="816" y="88"/>
                </a:cubicBezTo>
                <a:cubicBezTo>
                  <a:pt x="818" y="87"/>
                  <a:pt x="818" y="87"/>
                  <a:pt x="818" y="87"/>
                </a:cubicBezTo>
                <a:cubicBezTo>
                  <a:pt x="817" y="84"/>
                  <a:pt x="817" y="84"/>
                  <a:pt x="817" y="84"/>
                </a:cubicBezTo>
                <a:cubicBezTo>
                  <a:pt x="816" y="81"/>
                  <a:pt x="816" y="81"/>
                  <a:pt x="816" y="81"/>
                </a:cubicBezTo>
                <a:cubicBezTo>
                  <a:pt x="813" y="81"/>
                  <a:pt x="813" y="81"/>
                  <a:pt x="813" y="81"/>
                </a:cubicBezTo>
                <a:cubicBezTo>
                  <a:pt x="811" y="82"/>
                  <a:pt x="811" y="82"/>
                  <a:pt x="811" y="82"/>
                </a:cubicBezTo>
                <a:cubicBezTo>
                  <a:pt x="810" y="84"/>
                  <a:pt x="810" y="84"/>
                  <a:pt x="810" y="84"/>
                </a:cubicBezTo>
                <a:cubicBezTo>
                  <a:pt x="809" y="83"/>
                  <a:pt x="809" y="83"/>
                  <a:pt x="809" y="83"/>
                </a:cubicBezTo>
                <a:cubicBezTo>
                  <a:pt x="808" y="82"/>
                  <a:pt x="808" y="82"/>
                  <a:pt x="808" y="82"/>
                </a:cubicBezTo>
                <a:cubicBezTo>
                  <a:pt x="809" y="78"/>
                  <a:pt x="809" y="78"/>
                  <a:pt x="809" y="78"/>
                </a:cubicBezTo>
                <a:cubicBezTo>
                  <a:pt x="807" y="75"/>
                  <a:pt x="807" y="75"/>
                  <a:pt x="807" y="75"/>
                </a:cubicBezTo>
                <a:cubicBezTo>
                  <a:pt x="808" y="70"/>
                  <a:pt x="808" y="70"/>
                  <a:pt x="808" y="70"/>
                </a:cubicBezTo>
                <a:cubicBezTo>
                  <a:pt x="808" y="66"/>
                  <a:pt x="808" y="66"/>
                  <a:pt x="808" y="66"/>
                </a:cubicBezTo>
                <a:cubicBezTo>
                  <a:pt x="809" y="63"/>
                  <a:pt x="809" y="63"/>
                  <a:pt x="809" y="63"/>
                </a:cubicBezTo>
                <a:cubicBezTo>
                  <a:pt x="809" y="59"/>
                  <a:pt x="809" y="59"/>
                  <a:pt x="809" y="59"/>
                </a:cubicBezTo>
                <a:cubicBezTo>
                  <a:pt x="809" y="56"/>
                  <a:pt x="809" y="56"/>
                  <a:pt x="809" y="56"/>
                </a:cubicBezTo>
                <a:cubicBezTo>
                  <a:pt x="811" y="53"/>
                  <a:pt x="811" y="53"/>
                  <a:pt x="811" y="53"/>
                </a:cubicBezTo>
                <a:cubicBezTo>
                  <a:pt x="811" y="49"/>
                  <a:pt x="811" y="49"/>
                  <a:pt x="811" y="49"/>
                </a:cubicBezTo>
                <a:cubicBezTo>
                  <a:pt x="809" y="47"/>
                  <a:pt x="809" y="47"/>
                  <a:pt x="809" y="47"/>
                </a:cubicBezTo>
                <a:cubicBezTo>
                  <a:pt x="809" y="44"/>
                  <a:pt x="809" y="44"/>
                  <a:pt x="809" y="44"/>
                </a:cubicBezTo>
                <a:cubicBezTo>
                  <a:pt x="805" y="42"/>
                  <a:pt x="805" y="42"/>
                  <a:pt x="805" y="42"/>
                </a:cubicBezTo>
                <a:cubicBezTo>
                  <a:pt x="804" y="39"/>
                  <a:pt x="804" y="39"/>
                  <a:pt x="804" y="39"/>
                </a:cubicBezTo>
                <a:cubicBezTo>
                  <a:pt x="801" y="38"/>
                  <a:pt x="801" y="38"/>
                  <a:pt x="801" y="38"/>
                </a:cubicBezTo>
                <a:cubicBezTo>
                  <a:pt x="800" y="39"/>
                  <a:pt x="800" y="39"/>
                  <a:pt x="800" y="39"/>
                </a:cubicBezTo>
                <a:cubicBezTo>
                  <a:pt x="800" y="40"/>
                  <a:pt x="800" y="40"/>
                  <a:pt x="800" y="40"/>
                </a:cubicBezTo>
                <a:cubicBezTo>
                  <a:pt x="799" y="41"/>
                  <a:pt x="799" y="41"/>
                  <a:pt x="799" y="41"/>
                </a:cubicBezTo>
                <a:cubicBezTo>
                  <a:pt x="796" y="38"/>
                  <a:pt x="796" y="38"/>
                  <a:pt x="796" y="38"/>
                </a:cubicBezTo>
                <a:cubicBezTo>
                  <a:pt x="793" y="38"/>
                  <a:pt x="793" y="38"/>
                  <a:pt x="793" y="38"/>
                </a:cubicBezTo>
                <a:cubicBezTo>
                  <a:pt x="793" y="41"/>
                  <a:pt x="793" y="41"/>
                  <a:pt x="793" y="41"/>
                </a:cubicBezTo>
                <a:cubicBezTo>
                  <a:pt x="791" y="44"/>
                  <a:pt x="791" y="44"/>
                  <a:pt x="791" y="44"/>
                </a:cubicBezTo>
                <a:cubicBezTo>
                  <a:pt x="793" y="46"/>
                  <a:pt x="793" y="46"/>
                  <a:pt x="793" y="46"/>
                </a:cubicBezTo>
                <a:cubicBezTo>
                  <a:pt x="795" y="46"/>
                  <a:pt x="795" y="46"/>
                  <a:pt x="795" y="46"/>
                </a:cubicBezTo>
                <a:cubicBezTo>
                  <a:pt x="797" y="45"/>
                  <a:pt x="797" y="45"/>
                  <a:pt x="797" y="45"/>
                </a:cubicBezTo>
                <a:cubicBezTo>
                  <a:pt x="800" y="46"/>
                  <a:pt x="800" y="46"/>
                  <a:pt x="800" y="46"/>
                </a:cubicBezTo>
                <a:cubicBezTo>
                  <a:pt x="801" y="48"/>
                  <a:pt x="801" y="48"/>
                  <a:pt x="801" y="48"/>
                </a:cubicBezTo>
                <a:cubicBezTo>
                  <a:pt x="803" y="49"/>
                  <a:pt x="803" y="49"/>
                  <a:pt x="803" y="49"/>
                </a:cubicBezTo>
                <a:cubicBezTo>
                  <a:pt x="803" y="50"/>
                  <a:pt x="803" y="50"/>
                  <a:pt x="803" y="50"/>
                </a:cubicBezTo>
                <a:cubicBezTo>
                  <a:pt x="799" y="54"/>
                  <a:pt x="799" y="54"/>
                  <a:pt x="799" y="54"/>
                </a:cubicBezTo>
                <a:cubicBezTo>
                  <a:pt x="798" y="54"/>
                  <a:pt x="798" y="54"/>
                  <a:pt x="798" y="54"/>
                </a:cubicBezTo>
                <a:cubicBezTo>
                  <a:pt x="795" y="52"/>
                  <a:pt x="795" y="52"/>
                  <a:pt x="795" y="52"/>
                </a:cubicBezTo>
                <a:cubicBezTo>
                  <a:pt x="793" y="52"/>
                  <a:pt x="793" y="52"/>
                  <a:pt x="793" y="52"/>
                </a:cubicBezTo>
                <a:cubicBezTo>
                  <a:pt x="791" y="52"/>
                  <a:pt x="791" y="52"/>
                  <a:pt x="791" y="52"/>
                </a:cubicBezTo>
                <a:cubicBezTo>
                  <a:pt x="792" y="54"/>
                  <a:pt x="792" y="54"/>
                  <a:pt x="792" y="54"/>
                </a:cubicBezTo>
                <a:cubicBezTo>
                  <a:pt x="794" y="54"/>
                  <a:pt x="794" y="54"/>
                  <a:pt x="794" y="54"/>
                </a:cubicBezTo>
                <a:cubicBezTo>
                  <a:pt x="792" y="56"/>
                  <a:pt x="792" y="56"/>
                  <a:pt x="792" y="56"/>
                </a:cubicBezTo>
                <a:cubicBezTo>
                  <a:pt x="790" y="56"/>
                  <a:pt x="790" y="56"/>
                  <a:pt x="790" y="56"/>
                </a:cubicBezTo>
                <a:cubicBezTo>
                  <a:pt x="786" y="53"/>
                  <a:pt x="786" y="53"/>
                  <a:pt x="786" y="53"/>
                </a:cubicBezTo>
                <a:cubicBezTo>
                  <a:pt x="783" y="55"/>
                  <a:pt x="783" y="55"/>
                  <a:pt x="783" y="55"/>
                </a:cubicBezTo>
                <a:cubicBezTo>
                  <a:pt x="782" y="58"/>
                  <a:pt x="782" y="58"/>
                  <a:pt x="782" y="58"/>
                </a:cubicBezTo>
                <a:cubicBezTo>
                  <a:pt x="780" y="60"/>
                  <a:pt x="780" y="60"/>
                  <a:pt x="780" y="60"/>
                </a:cubicBezTo>
                <a:cubicBezTo>
                  <a:pt x="780" y="61"/>
                  <a:pt x="780" y="61"/>
                  <a:pt x="780" y="61"/>
                </a:cubicBezTo>
                <a:cubicBezTo>
                  <a:pt x="782" y="62"/>
                  <a:pt x="782" y="62"/>
                  <a:pt x="782" y="62"/>
                </a:cubicBezTo>
                <a:cubicBezTo>
                  <a:pt x="783" y="65"/>
                  <a:pt x="783" y="65"/>
                  <a:pt x="783" y="65"/>
                </a:cubicBezTo>
                <a:cubicBezTo>
                  <a:pt x="786" y="66"/>
                  <a:pt x="786" y="66"/>
                  <a:pt x="786" y="66"/>
                </a:cubicBezTo>
                <a:cubicBezTo>
                  <a:pt x="786" y="67"/>
                  <a:pt x="786" y="67"/>
                  <a:pt x="786" y="67"/>
                </a:cubicBezTo>
                <a:cubicBezTo>
                  <a:pt x="784" y="67"/>
                  <a:pt x="784" y="67"/>
                  <a:pt x="784" y="67"/>
                </a:cubicBezTo>
                <a:cubicBezTo>
                  <a:pt x="783" y="69"/>
                  <a:pt x="783" y="69"/>
                  <a:pt x="783" y="69"/>
                </a:cubicBezTo>
                <a:cubicBezTo>
                  <a:pt x="785" y="70"/>
                  <a:pt x="785" y="70"/>
                  <a:pt x="785" y="70"/>
                </a:cubicBezTo>
                <a:cubicBezTo>
                  <a:pt x="784" y="72"/>
                  <a:pt x="784" y="72"/>
                  <a:pt x="784" y="72"/>
                </a:cubicBezTo>
                <a:cubicBezTo>
                  <a:pt x="783" y="72"/>
                  <a:pt x="783" y="72"/>
                  <a:pt x="783" y="72"/>
                </a:cubicBezTo>
                <a:cubicBezTo>
                  <a:pt x="781" y="71"/>
                  <a:pt x="781" y="71"/>
                  <a:pt x="781" y="71"/>
                </a:cubicBezTo>
                <a:cubicBezTo>
                  <a:pt x="779" y="70"/>
                  <a:pt x="779" y="70"/>
                  <a:pt x="779" y="70"/>
                </a:cubicBezTo>
                <a:cubicBezTo>
                  <a:pt x="776" y="68"/>
                  <a:pt x="776" y="68"/>
                  <a:pt x="776" y="68"/>
                </a:cubicBezTo>
                <a:cubicBezTo>
                  <a:pt x="775" y="68"/>
                  <a:pt x="775" y="68"/>
                  <a:pt x="775" y="68"/>
                </a:cubicBezTo>
                <a:cubicBezTo>
                  <a:pt x="772" y="69"/>
                  <a:pt x="772" y="69"/>
                  <a:pt x="772" y="69"/>
                </a:cubicBezTo>
                <a:cubicBezTo>
                  <a:pt x="772" y="71"/>
                  <a:pt x="772" y="71"/>
                  <a:pt x="772" y="71"/>
                </a:cubicBezTo>
                <a:cubicBezTo>
                  <a:pt x="773" y="74"/>
                  <a:pt x="773" y="74"/>
                  <a:pt x="773" y="74"/>
                </a:cubicBezTo>
                <a:cubicBezTo>
                  <a:pt x="772" y="76"/>
                  <a:pt x="772" y="76"/>
                  <a:pt x="772" y="76"/>
                </a:cubicBezTo>
                <a:cubicBezTo>
                  <a:pt x="771" y="75"/>
                  <a:pt x="771" y="75"/>
                  <a:pt x="771" y="75"/>
                </a:cubicBezTo>
                <a:cubicBezTo>
                  <a:pt x="771" y="73"/>
                  <a:pt x="771" y="73"/>
                  <a:pt x="771" y="73"/>
                </a:cubicBezTo>
                <a:cubicBezTo>
                  <a:pt x="769" y="72"/>
                  <a:pt x="769" y="72"/>
                  <a:pt x="769" y="72"/>
                </a:cubicBezTo>
                <a:cubicBezTo>
                  <a:pt x="767" y="71"/>
                  <a:pt x="767" y="71"/>
                  <a:pt x="767" y="71"/>
                </a:cubicBezTo>
                <a:cubicBezTo>
                  <a:pt x="766" y="71"/>
                  <a:pt x="766" y="71"/>
                  <a:pt x="766" y="71"/>
                </a:cubicBezTo>
                <a:cubicBezTo>
                  <a:pt x="764" y="70"/>
                  <a:pt x="764" y="70"/>
                  <a:pt x="764" y="70"/>
                </a:cubicBezTo>
                <a:cubicBezTo>
                  <a:pt x="763" y="69"/>
                  <a:pt x="763" y="69"/>
                  <a:pt x="763" y="69"/>
                </a:cubicBezTo>
                <a:cubicBezTo>
                  <a:pt x="762" y="70"/>
                  <a:pt x="762" y="70"/>
                  <a:pt x="762" y="70"/>
                </a:cubicBezTo>
                <a:cubicBezTo>
                  <a:pt x="763" y="74"/>
                  <a:pt x="763" y="74"/>
                  <a:pt x="763" y="74"/>
                </a:cubicBezTo>
                <a:cubicBezTo>
                  <a:pt x="763" y="76"/>
                  <a:pt x="763" y="76"/>
                  <a:pt x="763" y="76"/>
                </a:cubicBezTo>
                <a:cubicBezTo>
                  <a:pt x="764" y="79"/>
                  <a:pt x="764" y="79"/>
                  <a:pt x="764" y="79"/>
                </a:cubicBezTo>
                <a:cubicBezTo>
                  <a:pt x="766" y="81"/>
                  <a:pt x="766" y="81"/>
                  <a:pt x="766" y="81"/>
                </a:cubicBezTo>
                <a:cubicBezTo>
                  <a:pt x="769" y="81"/>
                  <a:pt x="769" y="81"/>
                  <a:pt x="769" y="81"/>
                </a:cubicBezTo>
                <a:cubicBezTo>
                  <a:pt x="770" y="82"/>
                  <a:pt x="770" y="82"/>
                  <a:pt x="770" y="82"/>
                </a:cubicBezTo>
                <a:cubicBezTo>
                  <a:pt x="769" y="83"/>
                  <a:pt x="769" y="83"/>
                  <a:pt x="769" y="83"/>
                </a:cubicBezTo>
                <a:cubicBezTo>
                  <a:pt x="766" y="83"/>
                  <a:pt x="766" y="83"/>
                  <a:pt x="766" y="83"/>
                </a:cubicBezTo>
                <a:cubicBezTo>
                  <a:pt x="769" y="84"/>
                  <a:pt x="769" y="84"/>
                  <a:pt x="769" y="84"/>
                </a:cubicBezTo>
                <a:cubicBezTo>
                  <a:pt x="770" y="86"/>
                  <a:pt x="770" y="86"/>
                  <a:pt x="770" y="86"/>
                </a:cubicBezTo>
                <a:cubicBezTo>
                  <a:pt x="772" y="88"/>
                  <a:pt x="772" y="88"/>
                  <a:pt x="772" y="88"/>
                </a:cubicBezTo>
                <a:cubicBezTo>
                  <a:pt x="775" y="88"/>
                  <a:pt x="775" y="88"/>
                  <a:pt x="775" y="88"/>
                </a:cubicBezTo>
                <a:cubicBezTo>
                  <a:pt x="777" y="86"/>
                  <a:pt x="777" y="86"/>
                  <a:pt x="777" y="86"/>
                </a:cubicBezTo>
                <a:cubicBezTo>
                  <a:pt x="778" y="86"/>
                  <a:pt x="778" y="86"/>
                  <a:pt x="778" y="86"/>
                </a:cubicBezTo>
                <a:cubicBezTo>
                  <a:pt x="778" y="88"/>
                  <a:pt x="778" y="88"/>
                  <a:pt x="778" y="88"/>
                </a:cubicBezTo>
                <a:cubicBezTo>
                  <a:pt x="776" y="89"/>
                  <a:pt x="776" y="89"/>
                  <a:pt x="776" y="89"/>
                </a:cubicBezTo>
                <a:cubicBezTo>
                  <a:pt x="775" y="93"/>
                  <a:pt x="775" y="93"/>
                  <a:pt x="775" y="93"/>
                </a:cubicBezTo>
                <a:cubicBezTo>
                  <a:pt x="774" y="93"/>
                  <a:pt x="774" y="93"/>
                  <a:pt x="774" y="93"/>
                </a:cubicBezTo>
                <a:cubicBezTo>
                  <a:pt x="771" y="91"/>
                  <a:pt x="771" y="91"/>
                  <a:pt x="771" y="91"/>
                </a:cubicBezTo>
                <a:cubicBezTo>
                  <a:pt x="764" y="89"/>
                  <a:pt x="764" y="89"/>
                  <a:pt x="764" y="89"/>
                </a:cubicBezTo>
                <a:cubicBezTo>
                  <a:pt x="762" y="86"/>
                  <a:pt x="762" y="86"/>
                  <a:pt x="762" y="86"/>
                </a:cubicBezTo>
                <a:cubicBezTo>
                  <a:pt x="760" y="85"/>
                  <a:pt x="760" y="85"/>
                  <a:pt x="760" y="85"/>
                </a:cubicBezTo>
                <a:cubicBezTo>
                  <a:pt x="759" y="84"/>
                  <a:pt x="759" y="84"/>
                  <a:pt x="759" y="84"/>
                </a:cubicBezTo>
                <a:cubicBezTo>
                  <a:pt x="758" y="84"/>
                  <a:pt x="758" y="84"/>
                  <a:pt x="758" y="84"/>
                </a:cubicBezTo>
                <a:cubicBezTo>
                  <a:pt x="757" y="87"/>
                  <a:pt x="757" y="87"/>
                  <a:pt x="757" y="87"/>
                </a:cubicBezTo>
                <a:cubicBezTo>
                  <a:pt x="758" y="88"/>
                  <a:pt x="758" y="88"/>
                  <a:pt x="758" y="88"/>
                </a:cubicBezTo>
                <a:cubicBezTo>
                  <a:pt x="756" y="89"/>
                  <a:pt x="756" y="89"/>
                  <a:pt x="756" y="89"/>
                </a:cubicBezTo>
                <a:cubicBezTo>
                  <a:pt x="758" y="93"/>
                  <a:pt x="758" y="93"/>
                  <a:pt x="758" y="93"/>
                </a:cubicBezTo>
                <a:cubicBezTo>
                  <a:pt x="756" y="94"/>
                  <a:pt x="756" y="94"/>
                  <a:pt x="756" y="94"/>
                </a:cubicBezTo>
                <a:cubicBezTo>
                  <a:pt x="754" y="93"/>
                  <a:pt x="754" y="93"/>
                  <a:pt x="754" y="93"/>
                </a:cubicBezTo>
                <a:cubicBezTo>
                  <a:pt x="754" y="96"/>
                  <a:pt x="754" y="96"/>
                  <a:pt x="754" y="96"/>
                </a:cubicBezTo>
                <a:cubicBezTo>
                  <a:pt x="753" y="97"/>
                  <a:pt x="753" y="97"/>
                  <a:pt x="753" y="97"/>
                </a:cubicBezTo>
                <a:cubicBezTo>
                  <a:pt x="753" y="102"/>
                  <a:pt x="753" y="102"/>
                  <a:pt x="753" y="102"/>
                </a:cubicBezTo>
                <a:cubicBezTo>
                  <a:pt x="755" y="104"/>
                  <a:pt x="755" y="104"/>
                  <a:pt x="755" y="104"/>
                </a:cubicBezTo>
                <a:cubicBezTo>
                  <a:pt x="758" y="104"/>
                  <a:pt x="758" y="104"/>
                  <a:pt x="758" y="104"/>
                </a:cubicBezTo>
                <a:cubicBezTo>
                  <a:pt x="760" y="105"/>
                  <a:pt x="760" y="105"/>
                  <a:pt x="760" y="105"/>
                </a:cubicBezTo>
                <a:cubicBezTo>
                  <a:pt x="763" y="105"/>
                  <a:pt x="763" y="105"/>
                  <a:pt x="763" y="105"/>
                </a:cubicBezTo>
                <a:cubicBezTo>
                  <a:pt x="763" y="106"/>
                  <a:pt x="763" y="106"/>
                  <a:pt x="763" y="106"/>
                </a:cubicBezTo>
                <a:cubicBezTo>
                  <a:pt x="761" y="107"/>
                  <a:pt x="761" y="107"/>
                  <a:pt x="761" y="107"/>
                </a:cubicBezTo>
                <a:cubicBezTo>
                  <a:pt x="758" y="106"/>
                  <a:pt x="758" y="106"/>
                  <a:pt x="758" y="106"/>
                </a:cubicBezTo>
                <a:cubicBezTo>
                  <a:pt x="755" y="106"/>
                  <a:pt x="755" y="106"/>
                  <a:pt x="755" y="106"/>
                </a:cubicBezTo>
                <a:cubicBezTo>
                  <a:pt x="753" y="105"/>
                  <a:pt x="753" y="105"/>
                  <a:pt x="753" y="105"/>
                </a:cubicBezTo>
                <a:cubicBezTo>
                  <a:pt x="751" y="105"/>
                  <a:pt x="751" y="105"/>
                  <a:pt x="751" y="105"/>
                </a:cubicBezTo>
                <a:cubicBezTo>
                  <a:pt x="748" y="110"/>
                  <a:pt x="748" y="110"/>
                  <a:pt x="748" y="110"/>
                </a:cubicBezTo>
                <a:cubicBezTo>
                  <a:pt x="748" y="111"/>
                  <a:pt x="748" y="111"/>
                  <a:pt x="748" y="111"/>
                </a:cubicBezTo>
                <a:cubicBezTo>
                  <a:pt x="749" y="113"/>
                  <a:pt x="749" y="113"/>
                  <a:pt x="749" y="113"/>
                </a:cubicBezTo>
                <a:cubicBezTo>
                  <a:pt x="749" y="114"/>
                  <a:pt x="749" y="114"/>
                  <a:pt x="749" y="114"/>
                </a:cubicBezTo>
                <a:cubicBezTo>
                  <a:pt x="747" y="115"/>
                  <a:pt x="747" y="115"/>
                  <a:pt x="747" y="115"/>
                </a:cubicBezTo>
                <a:cubicBezTo>
                  <a:pt x="747" y="117"/>
                  <a:pt x="747" y="117"/>
                  <a:pt x="747" y="117"/>
                </a:cubicBezTo>
                <a:cubicBezTo>
                  <a:pt x="748" y="118"/>
                  <a:pt x="748" y="118"/>
                  <a:pt x="748" y="118"/>
                </a:cubicBezTo>
                <a:cubicBezTo>
                  <a:pt x="750" y="117"/>
                  <a:pt x="750" y="117"/>
                  <a:pt x="750" y="117"/>
                </a:cubicBezTo>
                <a:cubicBezTo>
                  <a:pt x="753" y="117"/>
                  <a:pt x="753" y="117"/>
                  <a:pt x="753" y="117"/>
                </a:cubicBezTo>
                <a:cubicBezTo>
                  <a:pt x="755" y="115"/>
                  <a:pt x="755" y="115"/>
                  <a:pt x="755" y="115"/>
                </a:cubicBezTo>
                <a:cubicBezTo>
                  <a:pt x="756" y="117"/>
                  <a:pt x="756" y="117"/>
                  <a:pt x="756" y="117"/>
                </a:cubicBezTo>
                <a:cubicBezTo>
                  <a:pt x="756" y="119"/>
                  <a:pt x="756" y="119"/>
                  <a:pt x="756" y="119"/>
                </a:cubicBezTo>
                <a:cubicBezTo>
                  <a:pt x="753" y="119"/>
                  <a:pt x="753" y="119"/>
                  <a:pt x="753" y="119"/>
                </a:cubicBezTo>
                <a:cubicBezTo>
                  <a:pt x="752" y="121"/>
                  <a:pt x="752" y="121"/>
                  <a:pt x="752" y="121"/>
                </a:cubicBezTo>
                <a:cubicBezTo>
                  <a:pt x="753" y="122"/>
                  <a:pt x="753" y="122"/>
                  <a:pt x="753" y="122"/>
                </a:cubicBezTo>
                <a:cubicBezTo>
                  <a:pt x="755" y="122"/>
                  <a:pt x="755" y="122"/>
                  <a:pt x="755" y="122"/>
                </a:cubicBezTo>
                <a:cubicBezTo>
                  <a:pt x="757" y="120"/>
                  <a:pt x="757" y="120"/>
                  <a:pt x="757" y="120"/>
                </a:cubicBezTo>
                <a:cubicBezTo>
                  <a:pt x="758" y="120"/>
                  <a:pt x="758" y="120"/>
                  <a:pt x="758" y="120"/>
                </a:cubicBezTo>
                <a:cubicBezTo>
                  <a:pt x="761" y="119"/>
                  <a:pt x="761" y="119"/>
                  <a:pt x="761" y="119"/>
                </a:cubicBezTo>
                <a:cubicBezTo>
                  <a:pt x="761" y="120"/>
                  <a:pt x="761" y="120"/>
                  <a:pt x="761" y="120"/>
                </a:cubicBezTo>
                <a:cubicBezTo>
                  <a:pt x="759" y="121"/>
                  <a:pt x="759" y="121"/>
                  <a:pt x="759" y="121"/>
                </a:cubicBezTo>
                <a:cubicBezTo>
                  <a:pt x="761" y="122"/>
                  <a:pt x="761" y="122"/>
                  <a:pt x="761" y="122"/>
                </a:cubicBezTo>
                <a:cubicBezTo>
                  <a:pt x="764" y="122"/>
                  <a:pt x="764" y="122"/>
                  <a:pt x="764" y="122"/>
                </a:cubicBezTo>
                <a:cubicBezTo>
                  <a:pt x="765" y="123"/>
                  <a:pt x="765" y="123"/>
                  <a:pt x="765" y="123"/>
                </a:cubicBezTo>
                <a:cubicBezTo>
                  <a:pt x="763" y="124"/>
                  <a:pt x="763" y="124"/>
                  <a:pt x="763" y="124"/>
                </a:cubicBezTo>
                <a:cubicBezTo>
                  <a:pt x="763" y="126"/>
                  <a:pt x="763" y="126"/>
                  <a:pt x="763" y="126"/>
                </a:cubicBezTo>
                <a:cubicBezTo>
                  <a:pt x="765" y="126"/>
                  <a:pt x="765" y="126"/>
                  <a:pt x="765" y="126"/>
                </a:cubicBezTo>
                <a:cubicBezTo>
                  <a:pt x="768" y="125"/>
                  <a:pt x="768" y="125"/>
                  <a:pt x="768" y="125"/>
                </a:cubicBezTo>
                <a:cubicBezTo>
                  <a:pt x="770" y="127"/>
                  <a:pt x="770" y="127"/>
                  <a:pt x="770" y="127"/>
                </a:cubicBezTo>
                <a:cubicBezTo>
                  <a:pt x="776" y="129"/>
                  <a:pt x="776" y="129"/>
                  <a:pt x="776" y="129"/>
                </a:cubicBezTo>
                <a:cubicBezTo>
                  <a:pt x="777" y="130"/>
                  <a:pt x="777" y="130"/>
                  <a:pt x="777" y="130"/>
                </a:cubicBezTo>
                <a:cubicBezTo>
                  <a:pt x="772" y="130"/>
                  <a:pt x="772" y="130"/>
                  <a:pt x="772" y="130"/>
                </a:cubicBezTo>
                <a:cubicBezTo>
                  <a:pt x="769" y="130"/>
                  <a:pt x="769" y="130"/>
                  <a:pt x="769" y="130"/>
                </a:cubicBezTo>
                <a:cubicBezTo>
                  <a:pt x="766" y="128"/>
                  <a:pt x="766" y="128"/>
                  <a:pt x="766" y="128"/>
                </a:cubicBezTo>
                <a:cubicBezTo>
                  <a:pt x="763" y="129"/>
                  <a:pt x="763" y="129"/>
                  <a:pt x="763" y="129"/>
                </a:cubicBezTo>
                <a:cubicBezTo>
                  <a:pt x="763" y="130"/>
                  <a:pt x="763" y="130"/>
                  <a:pt x="763" y="130"/>
                </a:cubicBezTo>
                <a:cubicBezTo>
                  <a:pt x="766" y="132"/>
                  <a:pt x="766" y="132"/>
                  <a:pt x="766" y="132"/>
                </a:cubicBezTo>
                <a:cubicBezTo>
                  <a:pt x="771" y="132"/>
                  <a:pt x="771" y="132"/>
                  <a:pt x="771" y="132"/>
                </a:cubicBezTo>
                <a:cubicBezTo>
                  <a:pt x="776" y="132"/>
                  <a:pt x="776" y="132"/>
                  <a:pt x="776" y="132"/>
                </a:cubicBezTo>
                <a:cubicBezTo>
                  <a:pt x="777" y="133"/>
                  <a:pt x="777" y="133"/>
                  <a:pt x="777" y="133"/>
                </a:cubicBezTo>
                <a:cubicBezTo>
                  <a:pt x="772" y="134"/>
                  <a:pt x="772" y="134"/>
                  <a:pt x="772" y="134"/>
                </a:cubicBezTo>
                <a:cubicBezTo>
                  <a:pt x="771" y="134"/>
                  <a:pt x="771" y="134"/>
                  <a:pt x="771" y="134"/>
                </a:cubicBezTo>
                <a:cubicBezTo>
                  <a:pt x="766" y="133"/>
                  <a:pt x="766" y="133"/>
                  <a:pt x="766" y="133"/>
                </a:cubicBezTo>
                <a:cubicBezTo>
                  <a:pt x="763" y="133"/>
                  <a:pt x="763" y="133"/>
                  <a:pt x="763" y="133"/>
                </a:cubicBezTo>
                <a:cubicBezTo>
                  <a:pt x="761" y="131"/>
                  <a:pt x="761" y="131"/>
                  <a:pt x="761" y="131"/>
                </a:cubicBezTo>
                <a:cubicBezTo>
                  <a:pt x="759" y="130"/>
                  <a:pt x="759" y="130"/>
                  <a:pt x="759" y="130"/>
                </a:cubicBezTo>
                <a:cubicBezTo>
                  <a:pt x="755" y="127"/>
                  <a:pt x="755" y="127"/>
                  <a:pt x="755" y="127"/>
                </a:cubicBezTo>
                <a:cubicBezTo>
                  <a:pt x="754" y="128"/>
                  <a:pt x="754" y="128"/>
                  <a:pt x="754" y="128"/>
                </a:cubicBezTo>
                <a:cubicBezTo>
                  <a:pt x="752" y="130"/>
                  <a:pt x="752" y="130"/>
                  <a:pt x="752" y="130"/>
                </a:cubicBezTo>
                <a:cubicBezTo>
                  <a:pt x="749" y="130"/>
                  <a:pt x="749" y="130"/>
                  <a:pt x="749" y="130"/>
                </a:cubicBezTo>
                <a:cubicBezTo>
                  <a:pt x="747" y="132"/>
                  <a:pt x="747" y="132"/>
                  <a:pt x="747" y="132"/>
                </a:cubicBezTo>
                <a:cubicBezTo>
                  <a:pt x="746" y="136"/>
                  <a:pt x="746" y="136"/>
                  <a:pt x="746" y="136"/>
                </a:cubicBezTo>
                <a:cubicBezTo>
                  <a:pt x="749" y="139"/>
                  <a:pt x="749" y="139"/>
                  <a:pt x="749" y="139"/>
                </a:cubicBezTo>
                <a:cubicBezTo>
                  <a:pt x="749" y="141"/>
                  <a:pt x="749" y="141"/>
                  <a:pt x="749" y="141"/>
                </a:cubicBezTo>
                <a:cubicBezTo>
                  <a:pt x="748" y="142"/>
                  <a:pt x="748" y="142"/>
                  <a:pt x="748" y="142"/>
                </a:cubicBezTo>
                <a:cubicBezTo>
                  <a:pt x="747" y="139"/>
                  <a:pt x="747" y="139"/>
                  <a:pt x="747" y="139"/>
                </a:cubicBezTo>
                <a:cubicBezTo>
                  <a:pt x="745" y="138"/>
                  <a:pt x="745" y="138"/>
                  <a:pt x="745" y="138"/>
                </a:cubicBezTo>
                <a:cubicBezTo>
                  <a:pt x="744" y="144"/>
                  <a:pt x="744" y="144"/>
                  <a:pt x="744" y="144"/>
                </a:cubicBezTo>
                <a:cubicBezTo>
                  <a:pt x="744" y="147"/>
                  <a:pt x="744" y="147"/>
                  <a:pt x="744" y="147"/>
                </a:cubicBezTo>
                <a:cubicBezTo>
                  <a:pt x="746" y="147"/>
                  <a:pt x="746" y="147"/>
                  <a:pt x="746" y="147"/>
                </a:cubicBezTo>
                <a:cubicBezTo>
                  <a:pt x="747" y="146"/>
                  <a:pt x="747" y="146"/>
                  <a:pt x="747" y="146"/>
                </a:cubicBezTo>
                <a:cubicBezTo>
                  <a:pt x="748" y="147"/>
                  <a:pt x="748" y="147"/>
                  <a:pt x="748" y="147"/>
                </a:cubicBezTo>
                <a:cubicBezTo>
                  <a:pt x="750" y="149"/>
                  <a:pt x="750" y="149"/>
                  <a:pt x="750" y="149"/>
                </a:cubicBezTo>
                <a:cubicBezTo>
                  <a:pt x="751" y="150"/>
                  <a:pt x="751" y="150"/>
                  <a:pt x="751" y="150"/>
                </a:cubicBezTo>
                <a:cubicBezTo>
                  <a:pt x="750" y="150"/>
                  <a:pt x="750" y="150"/>
                  <a:pt x="750" y="150"/>
                </a:cubicBezTo>
                <a:cubicBezTo>
                  <a:pt x="748" y="151"/>
                  <a:pt x="748" y="151"/>
                  <a:pt x="748" y="151"/>
                </a:cubicBezTo>
                <a:cubicBezTo>
                  <a:pt x="746" y="149"/>
                  <a:pt x="746" y="149"/>
                  <a:pt x="746" y="149"/>
                </a:cubicBezTo>
                <a:cubicBezTo>
                  <a:pt x="743" y="149"/>
                  <a:pt x="743" y="149"/>
                  <a:pt x="743" y="149"/>
                </a:cubicBezTo>
                <a:cubicBezTo>
                  <a:pt x="743" y="154"/>
                  <a:pt x="743" y="154"/>
                  <a:pt x="743" y="154"/>
                </a:cubicBezTo>
                <a:cubicBezTo>
                  <a:pt x="744" y="155"/>
                  <a:pt x="744" y="155"/>
                  <a:pt x="744" y="155"/>
                </a:cubicBezTo>
                <a:cubicBezTo>
                  <a:pt x="745" y="154"/>
                  <a:pt x="745" y="154"/>
                  <a:pt x="745" y="154"/>
                </a:cubicBezTo>
                <a:cubicBezTo>
                  <a:pt x="744" y="156"/>
                  <a:pt x="744" y="156"/>
                  <a:pt x="744" y="156"/>
                </a:cubicBezTo>
                <a:cubicBezTo>
                  <a:pt x="744" y="161"/>
                  <a:pt x="744" y="161"/>
                  <a:pt x="744" y="161"/>
                </a:cubicBezTo>
                <a:cubicBezTo>
                  <a:pt x="746" y="160"/>
                  <a:pt x="746" y="160"/>
                  <a:pt x="746" y="160"/>
                </a:cubicBezTo>
                <a:cubicBezTo>
                  <a:pt x="748" y="161"/>
                  <a:pt x="748" y="161"/>
                  <a:pt x="748" y="161"/>
                </a:cubicBezTo>
                <a:cubicBezTo>
                  <a:pt x="748" y="164"/>
                  <a:pt x="748" y="164"/>
                  <a:pt x="748" y="164"/>
                </a:cubicBezTo>
                <a:cubicBezTo>
                  <a:pt x="751" y="165"/>
                  <a:pt x="751" y="165"/>
                  <a:pt x="751" y="165"/>
                </a:cubicBezTo>
                <a:cubicBezTo>
                  <a:pt x="756" y="169"/>
                  <a:pt x="756" y="169"/>
                  <a:pt x="756" y="169"/>
                </a:cubicBezTo>
                <a:cubicBezTo>
                  <a:pt x="758" y="168"/>
                  <a:pt x="758" y="168"/>
                  <a:pt x="758" y="168"/>
                </a:cubicBezTo>
                <a:cubicBezTo>
                  <a:pt x="759" y="166"/>
                  <a:pt x="759" y="166"/>
                  <a:pt x="759" y="166"/>
                </a:cubicBezTo>
                <a:cubicBezTo>
                  <a:pt x="759" y="163"/>
                  <a:pt x="759" y="163"/>
                  <a:pt x="759" y="163"/>
                </a:cubicBezTo>
                <a:cubicBezTo>
                  <a:pt x="762" y="164"/>
                  <a:pt x="762" y="164"/>
                  <a:pt x="762" y="164"/>
                </a:cubicBezTo>
                <a:cubicBezTo>
                  <a:pt x="762" y="166"/>
                  <a:pt x="762" y="166"/>
                  <a:pt x="762" y="166"/>
                </a:cubicBezTo>
                <a:cubicBezTo>
                  <a:pt x="762" y="168"/>
                  <a:pt x="762" y="168"/>
                  <a:pt x="762" y="168"/>
                </a:cubicBezTo>
                <a:cubicBezTo>
                  <a:pt x="762" y="171"/>
                  <a:pt x="762" y="171"/>
                  <a:pt x="762" y="171"/>
                </a:cubicBezTo>
                <a:cubicBezTo>
                  <a:pt x="763" y="170"/>
                  <a:pt x="763" y="170"/>
                  <a:pt x="763" y="170"/>
                </a:cubicBezTo>
                <a:cubicBezTo>
                  <a:pt x="765" y="164"/>
                  <a:pt x="765" y="164"/>
                  <a:pt x="765" y="164"/>
                </a:cubicBezTo>
                <a:cubicBezTo>
                  <a:pt x="765" y="159"/>
                  <a:pt x="765" y="159"/>
                  <a:pt x="765" y="159"/>
                </a:cubicBezTo>
                <a:cubicBezTo>
                  <a:pt x="766" y="156"/>
                  <a:pt x="766" y="156"/>
                  <a:pt x="766" y="156"/>
                </a:cubicBezTo>
                <a:cubicBezTo>
                  <a:pt x="769" y="153"/>
                  <a:pt x="769" y="153"/>
                  <a:pt x="769" y="153"/>
                </a:cubicBezTo>
                <a:cubicBezTo>
                  <a:pt x="770" y="150"/>
                  <a:pt x="770" y="150"/>
                  <a:pt x="770" y="150"/>
                </a:cubicBezTo>
                <a:cubicBezTo>
                  <a:pt x="770" y="154"/>
                  <a:pt x="770" y="154"/>
                  <a:pt x="770" y="154"/>
                </a:cubicBezTo>
                <a:cubicBezTo>
                  <a:pt x="767" y="158"/>
                  <a:pt x="767" y="158"/>
                  <a:pt x="767" y="158"/>
                </a:cubicBezTo>
                <a:cubicBezTo>
                  <a:pt x="767" y="162"/>
                  <a:pt x="767" y="162"/>
                  <a:pt x="767" y="162"/>
                </a:cubicBezTo>
                <a:cubicBezTo>
                  <a:pt x="767" y="164"/>
                  <a:pt x="767" y="164"/>
                  <a:pt x="767" y="164"/>
                </a:cubicBezTo>
                <a:cubicBezTo>
                  <a:pt x="766" y="168"/>
                  <a:pt x="766" y="168"/>
                  <a:pt x="766" y="168"/>
                </a:cubicBezTo>
                <a:cubicBezTo>
                  <a:pt x="767" y="170"/>
                  <a:pt x="767" y="170"/>
                  <a:pt x="767" y="170"/>
                </a:cubicBezTo>
                <a:cubicBezTo>
                  <a:pt x="767" y="172"/>
                  <a:pt x="767" y="172"/>
                  <a:pt x="767" y="172"/>
                </a:cubicBezTo>
                <a:cubicBezTo>
                  <a:pt x="768" y="173"/>
                  <a:pt x="768" y="173"/>
                  <a:pt x="768" y="173"/>
                </a:cubicBezTo>
                <a:close/>
                <a:moveTo>
                  <a:pt x="774" y="65"/>
                </a:moveTo>
                <a:cubicBezTo>
                  <a:pt x="774" y="65"/>
                  <a:pt x="774" y="65"/>
                  <a:pt x="774" y="65"/>
                </a:cubicBezTo>
                <a:cubicBezTo>
                  <a:pt x="776" y="65"/>
                  <a:pt x="776" y="65"/>
                  <a:pt x="776" y="65"/>
                </a:cubicBezTo>
                <a:cubicBezTo>
                  <a:pt x="777" y="65"/>
                  <a:pt x="777" y="65"/>
                  <a:pt x="777" y="65"/>
                </a:cubicBezTo>
                <a:cubicBezTo>
                  <a:pt x="779" y="65"/>
                  <a:pt x="779" y="65"/>
                  <a:pt x="779" y="65"/>
                </a:cubicBezTo>
                <a:cubicBezTo>
                  <a:pt x="779" y="67"/>
                  <a:pt x="779" y="67"/>
                  <a:pt x="779" y="67"/>
                </a:cubicBezTo>
                <a:cubicBezTo>
                  <a:pt x="778" y="67"/>
                  <a:pt x="778" y="67"/>
                  <a:pt x="778" y="67"/>
                </a:cubicBezTo>
                <a:cubicBezTo>
                  <a:pt x="777" y="67"/>
                  <a:pt x="777" y="67"/>
                  <a:pt x="777" y="67"/>
                </a:cubicBezTo>
                <a:cubicBezTo>
                  <a:pt x="774" y="66"/>
                  <a:pt x="774" y="66"/>
                  <a:pt x="774" y="66"/>
                </a:cubicBezTo>
                <a:cubicBezTo>
                  <a:pt x="774" y="65"/>
                  <a:pt x="774" y="65"/>
                  <a:pt x="774" y="65"/>
                </a:cubicBezTo>
                <a:close/>
                <a:moveTo>
                  <a:pt x="775" y="172"/>
                </a:moveTo>
                <a:cubicBezTo>
                  <a:pt x="776" y="170"/>
                  <a:pt x="776" y="170"/>
                  <a:pt x="776" y="170"/>
                </a:cubicBezTo>
                <a:cubicBezTo>
                  <a:pt x="777" y="168"/>
                  <a:pt x="777" y="168"/>
                  <a:pt x="777" y="168"/>
                </a:cubicBezTo>
                <a:cubicBezTo>
                  <a:pt x="778" y="166"/>
                  <a:pt x="778" y="166"/>
                  <a:pt x="778" y="166"/>
                </a:cubicBezTo>
                <a:cubicBezTo>
                  <a:pt x="779" y="166"/>
                  <a:pt x="779" y="166"/>
                  <a:pt x="779" y="166"/>
                </a:cubicBezTo>
                <a:cubicBezTo>
                  <a:pt x="780" y="166"/>
                  <a:pt x="780" y="166"/>
                  <a:pt x="780" y="166"/>
                </a:cubicBezTo>
                <a:cubicBezTo>
                  <a:pt x="779" y="168"/>
                  <a:pt x="779" y="168"/>
                  <a:pt x="779" y="168"/>
                </a:cubicBezTo>
                <a:cubicBezTo>
                  <a:pt x="779" y="169"/>
                  <a:pt x="779" y="169"/>
                  <a:pt x="779" y="169"/>
                </a:cubicBezTo>
                <a:cubicBezTo>
                  <a:pt x="776" y="172"/>
                  <a:pt x="776" y="172"/>
                  <a:pt x="776" y="172"/>
                </a:cubicBezTo>
                <a:cubicBezTo>
                  <a:pt x="775" y="172"/>
                  <a:pt x="775" y="172"/>
                  <a:pt x="775" y="172"/>
                </a:cubicBezTo>
                <a:close/>
                <a:moveTo>
                  <a:pt x="801" y="148"/>
                </a:moveTo>
                <a:cubicBezTo>
                  <a:pt x="804" y="145"/>
                  <a:pt x="804" y="145"/>
                  <a:pt x="804" y="145"/>
                </a:cubicBezTo>
                <a:cubicBezTo>
                  <a:pt x="805" y="145"/>
                  <a:pt x="805" y="145"/>
                  <a:pt x="805" y="145"/>
                </a:cubicBezTo>
                <a:cubicBezTo>
                  <a:pt x="808" y="143"/>
                  <a:pt x="808" y="143"/>
                  <a:pt x="808" y="143"/>
                </a:cubicBezTo>
                <a:cubicBezTo>
                  <a:pt x="810" y="144"/>
                  <a:pt x="810" y="144"/>
                  <a:pt x="810" y="144"/>
                </a:cubicBezTo>
                <a:cubicBezTo>
                  <a:pt x="812" y="146"/>
                  <a:pt x="812" y="146"/>
                  <a:pt x="812" y="146"/>
                </a:cubicBezTo>
                <a:cubicBezTo>
                  <a:pt x="811" y="148"/>
                  <a:pt x="811" y="148"/>
                  <a:pt x="811" y="148"/>
                </a:cubicBezTo>
                <a:cubicBezTo>
                  <a:pt x="808" y="148"/>
                  <a:pt x="808" y="148"/>
                  <a:pt x="808" y="148"/>
                </a:cubicBezTo>
                <a:cubicBezTo>
                  <a:pt x="806" y="150"/>
                  <a:pt x="806" y="150"/>
                  <a:pt x="806" y="150"/>
                </a:cubicBezTo>
                <a:cubicBezTo>
                  <a:pt x="803" y="150"/>
                  <a:pt x="803" y="150"/>
                  <a:pt x="803" y="150"/>
                </a:cubicBezTo>
                <a:cubicBezTo>
                  <a:pt x="801" y="150"/>
                  <a:pt x="801" y="150"/>
                  <a:pt x="801" y="150"/>
                </a:cubicBezTo>
                <a:cubicBezTo>
                  <a:pt x="801" y="148"/>
                  <a:pt x="801" y="148"/>
                  <a:pt x="801" y="148"/>
                </a:cubicBezTo>
                <a:close/>
                <a:moveTo>
                  <a:pt x="985" y="5"/>
                </a:moveTo>
                <a:cubicBezTo>
                  <a:pt x="985" y="3"/>
                  <a:pt x="985" y="3"/>
                  <a:pt x="985" y="3"/>
                </a:cubicBezTo>
                <a:cubicBezTo>
                  <a:pt x="987" y="2"/>
                  <a:pt x="987" y="2"/>
                  <a:pt x="987" y="2"/>
                </a:cubicBezTo>
                <a:cubicBezTo>
                  <a:pt x="988" y="4"/>
                  <a:pt x="988" y="4"/>
                  <a:pt x="988" y="4"/>
                </a:cubicBezTo>
                <a:cubicBezTo>
                  <a:pt x="986" y="5"/>
                  <a:pt x="986" y="5"/>
                  <a:pt x="986" y="5"/>
                </a:cubicBezTo>
                <a:cubicBezTo>
                  <a:pt x="985" y="5"/>
                  <a:pt x="985" y="5"/>
                  <a:pt x="985" y="5"/>
                </a:cubicBezTo>
                <a:close/>
                <a:moveTo>
                  <a:pt x="896" y="177"/>
                </a:moveTo>
                <a:cubicBezTo>
                  <a:pt x="895" y="178"/>
                  <a:pt x="895" y="178"/>
                  <a:pt x="895" y="178"/>
                </a:cubicBezTo>
                <a:cubicBezTo>
                  <a:pt x="896" y="179"/>
                  <a:pt x="896" y="179"/>
                  <a:pt x="896" y="179"/>
                </a:cubicBezTo>
                <a:cubicBezTo>
                  <a:pt x="899" y="180"/>
                  <a:pt x="899" y="180"/>
                  <a:pt x="899" y="180"/>
                </a:cubicBezTo>
                <a:cubicBezTo>
                  <a:pt x="899" y="178"/>
                  <a:pt x="899" y="178"/>
                  <a:pt x="899" y="178"/>
                </a:cubicBezTo>
                <a:cubicBezTo>
                  <a:pt x="897" y="177"/>
                  <a:pt x="897" y="177"/>
                  <a:pt x="897" y="177"/>
                </a:cubicBezTo>
                <a:cubicBezTo>
                  <a:pt x="897" y="177"/>
                  <a:pt x="896" y="177"/>
                  <a:pt x="896" y="177"/>
                </a:cubicBezTo>
                <a:close/>
                <a:moveTo>
                  <a:pt x="852" y="204"/>
                </a:moveTo>
                <a:cubicBezTo>
                  <a:pt x="853" y="206"/>
                  <a:pt x="853" y="206"/>
                  <a:pt x="853" y="206"/>
                </a:cubicBezTo>
                <a:cubicBezTo>
                  <a:pt x="855" y="205"/>
                  <a:pt x="855" y="205"/>
                  <a:pt x="855" y="205"/>
                </a:cubicBezTo>
                <a:cubicBezTo>
                  <a:pt x="854" y="203"/>
                  <a:pt x="854" y="203"/>
                  <a:pt x="854" y="203"/>
                </a:cubicBezTo>
                <a:cubicBezTo>
                  <a:pt x="852" y="204"/>
                  <a:pt x="852" y="204"/>
                  <a:pt x="852" y="204"/>
                </a:cubicBezTo>
                <a:close/>
                <a:moveTo>
                  <a:pt x="790" y="203"/>
                </a:moveTo>
                <a:cubicBezTo>
                  <a:pt x="789" y="200"/>
                  <a:pt x="789" y="200"/>
                  <a:pt x="789" y="200"/>
                </a:cubicBezTo>
                <a:cubicBezTo>
                  <a:pt x="789" y="199"/>
                  <a:pt x="789" y="199"/>
                  <a:pt x="789" y="199"/>
                </a:cubicBezTo>
                <a:cubicBezTo>
                  <a:pt x="791" y="198"/>
                  <a:pt x="791" y="198"/>
                  <a:pt x="791" y="198"/>
                </a:cubicBezTo>
                <a:cubicBezTo>
                  <a:pt x="792" y="200"/>
                  <a:pt x="792" y="200"/>
                  <a:pt x="792" y="200"/>
                </a:cubicBezTo>
                <a:cubicBezTo>
                  <a:pt x="792" y="202"/>
                  <a:pt x="792" y="202"/>
                  <a:pt x="792" y="202"/>
                </a:cubicBezTo>
                <a:cubicBezTo>
                  <a:pt x="791" y="203"/>
                  <a:pt x="791" y="203"/>
                  <a:pt x="791" y="203"/>
                </a:cubicBezTo>
                <a:cubicBezTo>
                  <a:pt x="790" y="203"/>
                  <a:pt x="790" y="203"/>
                  <a:pt x="790" y="203"/>
                </a:cubicBezTo>
                <a:close/>
                <a:moveTo>
                  <a:pt x="773" y="240"/>
                </a:moveTo>
                <a:cubicBezTo>
                  <a:pt x="772" y="238"/>
                  <a:pt x="772" y="238"/>
                  <a:pt x="772" y="238"/>
                </a:cubicBezTo>
                <a:cubicBezTo>
                  <a:pt x="773" y="236"/>
                  <a:pt x="773" y="236"/>
                  <a:pt x="773" y="236"/>
                </a:cubicBezTo>
                <a:cubicBezTo>
                  <a:pt x="772" y="233"/>
                  <a:pt x="772" y="233"/>
                  <a:pt x="772" y="233"/>
                </a:cubicBezTo>
                <a:cubicBezTo>
                  <a:pt x="771" y="233"/>
                  <a:pt x="771" y="233"/>
                  <a:pt x="771" y="233"/>
                </a:cubicBezTo>
                <a:cubicBezTo>
                  <a:pt x="770" y="233"/>
                  <a:pt x="770" y="233"/>
                  <a:pt x="770" y="233"/>
                </a:cubicBezTo>
                <a:cubicBezTo>
                  <a:pt x="769" y="236"/>
                  <a:pt x="769" y="236"/>
                  <a:pt x="769" y="236"/>
                </a:cubicBezTo>
                <a:cubicBezTo>
                  <a:pt x="770" y="240"/>
                  <a:pt x="770" y="240"/>
                  <a:pt x="770" y="240"/>
                </a:cubicBezTo>
                <a:cubicBezTo>
                  <a:pt x="772" y="243"/>
                  <a:pt x="772" y="243"/>
                  <a:pt x="772" y="243"/>
                </a:cubicBezTo>
                <a:cubicBezTo>
                  <a:pt x="771" y="245"/>
                  <a:pt x="771" y="245"/>
                  <a:pt x="771" y="245"/>
                </a:cubicBezTo>
                <a:cubicBezTo>
                  <a:pt x="770" y="245"/>
                  <a:pt x="770" y="245"/>
                  <a:pt x="770" y="245"/>
                </a:cubicBezTo>
                <a:cubicBezTo>
                  <a:pt x="768" y="244"/>
                  <a:pt x="768" y="244"/>
                  <a:pt x="768" y="244"/>
                </a:cubicBezTo>
                <a:cubicBezTo>
                  <a:pt x="764" y="244"/>
                  <a:pt x="764" y="244"/>
                  <a:pt x="764" y="244"/>
                </a:cubicBezTo>
                <a:cubicBezTo>
                  <a:pt x="763" y="242"/>
                  <a:pt x="763" y="242"/>
                  <a:pt x="763" y="242"/>
                </a:cubicBezTo>
                <a:cubicBezTo>
                  <a:pt x="762" y="242"/>
                  <a:pt x="762" y="242"/>
                  <a:pt x="762" y="242"/>
                </a:cubicBezTo>
                <a:cubicBezTo>
                  <a:pt x="759" y="239"/>
                  <a:pt x="759" y="239"/>
                  <a:pt x="759" y="239"/>
                </a:cubicBezTo>
                <a:cubicBezTo>
                  <a:pt x="757" y="240"/>
                  <a:pt x="757" y="240"/>
                  <a:pt x="757" y="240"/>
                </a:cubicBezTo>
                <a:cubicBezTo>
                  <a:pt x="757" y="239"/>
                  <a:pt x="757" y="239"/>
                  <a:pt x="757" y="239"/>
                </a:cubicBezTo>
                <a:cubicBezTo>
                  <a:pt x="756" y="238"/>
                  <a:pt x="756" y="238"/>
                  <a:pt x="756" y="238"/>
                </a:cubicBezTo>
                <a:cubicBezTo>
                  <a:pt x="754" y="238"/>
                  <a:pt x="754" y="238"/>
                  <a:pt x="754" y="238"/>
                </a:cubicBezTo>
                <a:cubicBezTo>
                  <a:pt x="754" y="237"/>
                  <a:pt x="754" y="237"/>
                  <a:pt x="754" y="237"/>
                </a:cubicBezTo>
                <a:cubicBezTo>
                  <a:pt x="755" y="235"/>
                  <a:pt x="755" y="235"/>
                  <a:pt x="755" y="235"/>
                </a:cubicBezTo>
                <a:cubicBezTo>
                  <a:pt x="756" y="235"/>
                  <a:pt x="756" y="235"/>
                  <a:pt x="756" y="235"/>
                </a:cubicBezTo>
                <a:cubicBezTo>
                  <a:pt x="758" y="233"/>
                  <a:pt x="758" y="233"/>
                  <a:pt x="758" y="233"/>
                </a:cubicBezTo>
                <a:cubicBezTo>
                  <a:pt x="758" y="231"/>
                  <a:pt x="758" y="231"/>
                  <a:pt x="758" y="231"/>
                </a:cubicBezTo>
                <a:cubicBezTo>
                  <a:pt x="756" y="228"/>
                  <a:pt x="756" y="228"/>
                  <a:pt x="756" y="228"/>
                </a:cubicBezTo>
                <a:cubicBezTo>
                  <a:pt x="755" y="227"/>
                  <a:pt x="755" y="227"/>
                  <a:pt x="755" y="227"/>
                </a:cubicBezTo>
                <a:cubicBezTo>
                  <a:pt x="755" y="229"/>
                  <a:pt x="755" y="229"/>
                  <a:pt x="755" y="229"/>
                </a:cubicBezTo>
                <a:cubicBezTo>
                  <a:pt x="756" y="230"/>
                  <a:pt x="756" y="230"/>
                  <a:pt x="756" y="230"/>
                </a:cubicBezTo>
                <a:cubicBezTo>
                  <a:pt x="756" y="232"/>
                  <a:pt x="756" y="232"/>
                  <a:pt x="756" y="232"/>
                </a:cubicBezTo>
                <a:cubicBezTo>
                  <a:pt x="755" y="233"/>
                  <a:pt x="755" y="233"/>
                  <a:pt x="755" y="233"/>
                </a:cubicBezTo>
                <a:cubicBezTo>
                  <a:pt x="754" y="233"/>
                  <a:pt x="754" y="233"/>
                  <a:pt x="754" y="233"/>
                </a:cubicBezTo>
                <a:cubicBezTo>
                  <a:pt x="753" y="234"/>
                  <a:pt x="753" y="234"/>
                  <a:pt x="753" y="234"/>
                </a:cubicBezTo>
                <a:cubicBezTo>
                  <a:pt x="753" y="234"/>
                  <a:pt x="753" y="234"/>
                  <a:pt x="753" y="234"/>
                </a:cubicBezTo>
                <a:cubicBezTo>
                  <a:pt x="753" y="236"/>
                  <a:pt x="753" y="236"/>
                  <a:pt x="753" y="236"/>
                </a:cubicBezTo>
                <a:cubicBezTo>
                  <a:pt x="752" y="237"/>
                  <a:pt x="752" y="237"/>
                  <a:pt x="752" y="237"/>
                </a:cubicBezTo>
                <a:cubicBezTo>
                  <a:pt x="751" y="237"/>
                  <a:pt x="751" y="237"/>
                  <a:pt x="751" y="237"/>
                </a:cubicBezTo>
                <a:cubicBezTo>
                  <a:pt x="749" y="234"/>
                  <a:pt x="749" y="234"/>
                  <a:pt x="749" y="234"/>
                </a:cubicBezTo>
                <a:cubicBezTo>
                  <a:pt x="749" y="233"/>
                  <a:pt x="749" y="233"/>
                  <a:pt x="749" y="233"/>
                </a:cubicBezTo>
                <a:cubicBezTo>
                  <a:pt x="749" y="231"/>
                  <a:pt x="749" y="231"/>
                  <a:pt x="749" y="231"/>
                </a:cubicBezTo>
                <a:cubicBezTo>
                  <a:pt x="750" y="229"/>
                  <a:pt x="750" y="229"/>
                  <a:pt x="750" y="229"/>
                </a:cubicBezTo>
                <a:cubicBezTo>
                  <a:pt x="750" y="227"/>
                  <a:pt x="750" y="227"/>
                  <a:pt x="750" y="227"/>
                </a:cubicBezTo>
                <a:cubicBezTo>
                  <a:pt x="750" y="226"/>
                  <a:pt x="750" y="226"/>
                  <a:pt x="750" y="226"/>
                </a:cubicBezTo>
                <a:cubicBezTo>
                  <a:pt x="749" y="227"/>
                  <a:pt x="749" y="227"/>
                  <a:pt x="749" y="227"/>
                </a:cubicBezTo>
                <a:cubicBezTo>
                  <a:pt x="748" y="229"/>
                  <a:pt x="748" y="229"/>
                  <a:pt x="748" y="229"/>
                </a:cubicBezTo>
                <a:cubicBezTo>
                  <a:pt x="747" y="231"/>
                  <a:pt x="747" y="231"/>
                  <a:pt x="747" y="231"/>
                </a:cubicBezTo>
                <a:cubicBezTo>
                  <a:pt x="747" y="232"/>
                  <a:pt x="747" y="232"/>
                  <a:pt x="747" y="232"/>
                </a:cubicBezTo>
                <a:cubicBezTo>
                  <a:pt x="747" y="234"/>
                  <a:pt x="747" y="234"/>
                  <a:pt x="747" y="234"/>
                </a:cubicBezTo>
                <a:cubicBezTo>
                  <a:pt x="744" y="234"/>
                  <a:pt x="744" y="234"/>
                  <a:pt x="744" y="234"/>
                </a:cubicBezTo>
                <a:cubicBezTo>
                  <a:pt x="743" y="233"/>
                  <a:pt x="743" y="233"/>
                  <a:pt x="743" y="233"/>
                </a:cubicBezTo>
                <a:cubicBezTo>
                  <a:pt x="742" y="233"/>
                  <a:pt x="742" y="233"/>
                  <a:pt x="742" y="233"/>
                </a:cubicBezTo>
                <a:cubicBezTo>
                  <a:pt x="741" y="231"/>
                  <a:pt x="741" y="231"/>
                  <a:pt x="741" y="231"/>
                </a:cubicBezTo>
                <a:cubicBezTo>
                  <a:pt x="742" y="229"/>
                  <a:pt x="742" y="229"/>
                  <a:pt x="742" y="229"/>
                </a:cubicBezTo>
                <a:cubicBezTo>
                  <a:pt x="742" y="227"/>
                  <a:pt x="742" y="227"/>
                  <a:pt x="742" y="227"/>
                </a:cubicBezTo>
                <a:cubicBezTo>
                  <a:pt x="743" y="226"/>
                  <a:pt x="743" y="226"/>
                  <a:pt x="743" y="226"/>
                </a:cubicBezTo>
                <a:cubicBezTo>
                  <a:pt x="743" y="224"/>
                  <a:pt x="743" y="224"/>
                  <a:pt x="743" y="224"/>
                </a:cubicBezTo>
                <a:cubicBezTo>
                  <a:pt x="746" y="219"/>
                  <a:pt x="746" y="219"/>
                  <a:pt x="746" y="219"/>
                </a:cubicBezTo>
                <a:cubicBezTo>
                  <a:pt x="744" y="220"/>
                  <a:pt x="744" y="220"/>
                  <a:pt x="744" y="220"/>
                </a:cubicBezTo>
                <a:cubicBezTo>
                  <a:pt x="742" y="220"/>
                  <a:pt x="742" y="220"/>
                  <a:pt x="742" y="220"/>
                </a:cubicBezTo>
                <a:cubicBezTo>
                  <a:pt x="741" y="225"/>
                  <a:pt x="741" y="225"/>
                  <a:pt x="741" y="225"/>
                </a:cubicBezTo>
                <a:cubicBezTo>
                  <a:pt x="741" y="228"/>
                  <a:pt x="741" y="228"/>
                  <a:pt x="741" y="228"/>
                </a:cubicBezTo>
                <a:cubicBezTo>
                  <a:pt x="739" y="230"/>
                  <a:pt x="739" y="230"/>
                  <a:pt x="739" y="230"/>
                </a:cubicBezTo>
                <a:cubicBezTo>
                  <a:pt x="739" y="230"/>
                  <a:pt x="739" y="230"/>
                  <a:pt x="739" y="230"/>
                </a:cubicBezTo>
                <a:cubicBezTo>
                  <a:pt x="740" y="227"/>
                  <a:pt x="740" y="227"/>
                  <a:pt x="740" y="227"/>
                </a:cubicBezTo>
                <a:cubicBezTo>
                  <a:pt x="740" y="227"/>
                  <a:pt x="740" y="227"/>
                  <a:pt x="740" y="227"/>
                </a:cubicBezTo>
                <a:cubicBezTo>
                  <a:pt x="739" y="227"/>
                  <a:pt x="739" y="227"/>
                  <a:pt x="739" y="227"/>
                </a:cubicBezTo>
                <a:cubicBezTo>
                  <a:pt x="738" y="230"/>
                  <a:pt x="738" y="230"/>
                  <a:pt x="738" y="230"/>
                </a:cubicBezTo>
                <a:cubicBezTo>
                  <a:pt x="735" y="230"/>
                  <a:pt x="735" y="230"/>
                  <a:pt x="735" y="230"/>
                </a:cubicBezTo>
                <a:cubicBezTo>
                  <a:pt x="734" y="228"/>
                  <a:pt x="734" y="228"/>
                  <a:pt x="734" y="228"/>
                </a:cubicBezTo>
                <a:cubicBezTo>
                  <a:pt x="735" y="225"/>
                  <a:pt x="735" y="225"/>
                  <a:pt x="735" y="225"/>
                </a:cubicBezTo>
                <a:cubicBezTo>
                  <a:pt x="734" y="224"/>
                  <a:pt x="734" y="224"/>
                  <a:pt x="734" y="224"/>
                </a:cubicBezTo>
                <a:cubicBezTo>
                  <a:pt x="734" y="222"/>
                  <a:pt x="734" y="222"/>
                  <a:pt x="734" y="222"/>
                </a:cubicBezTo>
                <a:cubicBezTo>
                  <a:pt x="737" y="221"/>
                  <a:pt x="737" y="221"/>
                  <a:pt x="737" y="221"/>
                </a:cubicBezTo>
                <a:cubicBezTo>
                  <a:pt x="738" y="219"/>
                  <a:pt x="738" y="219"/>
                  <a:pt x="738" y="219"/>
                </a:cubicBezTo>
                <a:cubicBezTo>
                  <a:pt x="737" y="218"/>
                  <a:pt x="737" y="218"/>
                  <a:pt x="737" y="218"/>
                </a:cubicBezTo>
                <a:cubicBezTo>
                  <a:pt x="738" y="216"/>
                  <a:pt x="738" y="216"/>
                  <a:pt x="738" y="216"/>
                </a:cubicBezTo>
                <a:cubicBezTo>
                  <a:pt x="740" y="214"/>
                  <a:pt x="740" y="214"/>
                  <a:pt x="740" y="214"/>
                </a:cubicBezTo>
                <a:cubicBezTo>
                  <a:pt x="742" y="214"/>
                  <a:pt x="742" y="214"/>
                  <a:pt x="742" y="214"/>
                </a:cubicBezTo>
                <a:cubicBezTo>
                  <a:pt x="743" y="213"/>
                  <a:pt x="743" y="213"/>
                  <a:pt x="743" y="213"/>
                </a:cubicBezTo>
                <a:cubicBezTo>
                  <a:pt x="746" y="213"/>
                  <a:pt x="746" y="213"/>
                  <a:pt x="746" y="213"/>
                </a:cubicBezTo>
                <a:cubicBezTo>
                  <a:pt x="747" y="211"/>
                  <a:pt x="747" y="211"/>
                  <a:pt x="747" y="211"/>
                </a:cubicBezTo>
                <a:cubicBezTo>
                  <a:pt x="750" y="210"/>
                  <a:pt x="750" y="210"/>
                  <a:pt x="750" y="210"/>
                </a:cubicBezTo>
                <a:cubicBezTo>
                  <a:pt x="751" y="210"/>
                  <a:pt x="751" y="210"/>
                  <a:pt x="751" y="210"/>
                </a:cubicBezTo>
                <a:cubicBezTo>
                  <a:pt x="751" y="208"/>
                  <a:pt x="751" y="208"/>
                  <a:pt x="751" y="208"/>
                </a:cubicBezTo>
                <a:cubicBezTo>
                  <a:pt x="752" y="207"/>
                  <a:pt x="752" y="207"/>
                  <a:pt x="752" y="207"/>
                </a:cubicBezTo>
                <a:cubicBezTo>
                  <a:pt x="754" y="207"/>
                  <a:pt x="754" y="207"/>
                  <a:pt x="754" y="207"/>
                </a:cubicBezTo>
                <a:cubicBezTo>
                  <a:pt x="758" y="208"/>
                  <a:pt x="758" y="208"/>
                  <a:pt x="758" y="208"/>
                </a:cubicBezTo>
                <a:cubicBezTo>
                  <a:pt x="761" y="209"/>
                  <a:pt x="761" y="209"/>
                  <a:pt x="761" y="209"/>
                </a:cubicBezTo>
                <a:cubicBezTo>
                  <a:pt x="763" y="208"/>
                  <a:pt x="763" y="208"/>
                  <a:pt x="763" y="208"/>
                </a:cubicBezTo>
                <a:cubicBezTo>
                  <a:pt x="765" y="208"/>
                  <a:pt x="765" y="208"/>
                  <a:pt x="765" y="208"/>
                </a:cubicBezTo>
                <a:cubicBezTo>
                  <a:pt x="766" y="210"/>
                  <a:pt x="766" y="210"/>
                  <a:pt x="766" y="210"/>
                </a:cubicBezTo>
                <a:cubicBezTo>
                  <a:pt x="768" y="210"/>
                  <a:pt x="768" y="210"/>
                  <a:pt x="768" y="210"/>
                </a:cubicBezTo>
                <a:cubicBezTo>
                  <a:pt x="768" y="209"/>
                  <a:pt x="768" y="209"/>
                  <a:pt x="768" y="209"/>
                </a:cubicBezTo>
                <a:cubicBezTo>
                  <a:pt x="769" y="209"/>
                  <a:pt x="769" y="209"/>
                  <a:pt x="769" y="209"/>
                </a:cubicBezTo>
                <a:cubicBezTo>
                  <a:pt x="772" y="211"/>
                  <a:pt x="772" y="211"/>
                  <a:pt x="772" y="211"/>
                </a:cubicBezTo>
                <a:cubicBezTo>
                  <a:pt x="773" y="210"/>
                  <a:pt x="773" y="210"/>
                  <a:pt x="773" y="210"/>
                </a:cubicBezTo>
                <a:cubicBezTo>
                  <a:pt x="775" y="210"/>
                  <a:pt x="775" y="210"/>
                  <a:pt x="775" y="210"/>
                </a:cubicBezTo>
                <a:cubicBezTo>
                  <a:pt x="776" y="209"/>
                  <a:pt x="776" y="209"/>
                  <a:pt x="776" y="209"/>
                </a:cubicBezTo>
                <a:cubicBezTo>
                  <a:pt x="775" y="208"/>
                  <a:pt x="775" y="208"/>
                  <a:pt x="775" y="208"/>
                </a:cubicBezTo>
                <a:cubicBezTo>
                  <a:pt x="773" y="209"/>
                  <a:pt x="773" y="209"/>
                  <a:pt x="773" y="209"/>
                </a:cubicBezTo>
                <a:cubicBezTo>
                  <a:pt x="772" y="207"/>
                  <a:pt x="772" y="207"/>
                  <a:pt x="772" y="207"/>
                </a:cubicBezTo>
                <a:cubicBezTo>
                  <a:pt x="770" y="207"/>
                  <a:pt x="770" y="207"/>
                  <a:pt x="770" y="207"/>
                </a:cubicBezTo>
                <a:cubicBezTo>
                  <a:pt x="771" y="206"/>
                  <a:pt x="771" y="206"/>
                  <a:pt x="771" y="206"/>
                </a:cubicBezTo>
                <a:cubicBezTo>
                  <a:pt x="772" y="205"/>
                  <a:pt x="772" y="205"/>
                  <a:pt x="772" y="205"/>
                </a:cubicBezTo>
                <a:cubicBezTo>
                  <a:pt x="772" y="204"/>
                  <a:pt x="772" y="204"/>
                  <a:pt x="772" y="204"/>
                </a:cubicBezTo>
                <a:cubicBezTo>
                  <a:pt x="770" y="203"/>
                  <a:pt x="770" y="203"/>
                  <a:pt x="770" y="203"/>
                </a:cubicBezTo>
                <a:cubicBezTo>
                  <a:pt x="771" y="203"/>
                  <a:pt x="771" y="203"/>
                  <a:pt x="771" y="203"/>
                </a:cubicBezTo>
                <a:cubicBezTo>
                  <a:pt x="773" y="203"/>
                  <a:pt x="773" y="203"/>
                  <a:pt x="773" y="203"/>
                </a:cubicBezTo>
                <a:cubicBezTo>
                  <a:pt x="774" y="202"/>
                  <a:pt x="774" y="202"/>
                  <a:pt x="774" y="202"/>
                </a:cubicBezTo>
                <a:cubicBezTo>
                  <a:pt x="771" y="201"/>
                  <a:pt x="771" y="201"/>
                  <a:pt x="771" y="201"/>
                </a:cubicBezTo>
                <a:cubicBezTo>
                  <a:pt x="771" y="202"/>
                  <a:pt x="771" y="202"/>
                  <a:pt x="771" y="202"/>
                </a:cubicBezTo>
                <a:cubicBezTo>
                  <a:pt x="769" y="202"/>
                  <a:pt x="769" y="202"/>
                  <a:pt x="769" y="202"/>
                </a:cubicBezTo>
                <a:cubicBezTo>
                  <a:pt x="768" y="200"/>
                  <a:pt x="768" y="200"/>
                  <a:pt x="768" y="200"/>
                </a:cubicBezTo>
                <a:cubicBezTo>
                  <a:pt x="768" y="199"/>
                  <a:pt x="768" y="199"/>
                  <a:pt x="768" y="199"/>
                </a:cubicBezTo>
                <a:cubicBezTo>
                  <a:pt x="770" y="197"/>
                  <a:pt x="770" y="197"/>
                  <a:pt x="770" y="197"/>
                </a:cubicBezTo>
                <a:cubicBezTo>
                  <a:pt x="770" y="196"/>
                  <a:pt x="770" y="196"/>
                  <a:pt x="770" y="196"/>
                </a:cubicBezTo>
                <a:cubicBezTo>
                  <a:pt x="769" y="195"/>
                  <a:pt x="769" y="195"/>
                  <a:pt x="769" y="195"/>
                </a:cubicBezTo>
                <a:cubicBezTo>
                  <a:pt x="768" y="194"/>
                  <a:pt x="768" y="194"/>
                  <a:pt x="768" y="194"/>
                </a:cubicBezTo>
                <a:cubicBezTo>
                  <a:pt x="768" y="190"/>
                  <a:pt x="768" y="190"/>
                  <a:pt x="768" y="190"/>
                </a:cubicBezTo>
                <a:cubicBezTo>
                  <a:pt x="769" y="189"/>
                  <a:pt x="769" y="189"/>
                  <a:pt x="769" y="189"/>
                </a:cubicBezTo>
                <a:cubicBezTo>
                  <a:pt x="768" y="187"/>
                  <a:pt x="768" y="187"/>
                  <a:pt x="768" y="187"/>
                </a:cubicBezTo>
                <a:cubicBezTo>
                  <a:pt x="769" y="185"/>
                  <a:pt x="769" y="185"/>
                  <a:pt x="769" y="185"/>
                </a:cubicBezTo>
                <a:cubicBezTo>
                  <a:pt x="771" y="184"/>
                  <a:pt x="771" y="184"/>
                  <a:pt x="771" y="184"/>
                </a:cubicBezTo>
                <a:cubicBezTo>
                  <a:pt x="773" y="184"/>
                  <a:pt x="773" y="184"/>
                  <a:pt x="773" y="184"/>
                </a:cubicBezTo>
                <a:cubicBezTo>
                  <a:pt x="775" y="184"/>
                  <a:pt x="775" y="184"/>
                  <a:pt x="775" y="184"/>
                </a:cubicBezTo>
                <a:cubicBezTo>
                  <a:pt x="777" y="183"/>
                  <a:pt x="777" y="183"/>
                  <a:pt x="777" y="183"/>
                </a:cubicBezTo>
                <a:cubicBezTo>
                  <a:pt x="779" y="184"/>
                  <a:pt x="779" y="184"/>
                  <a:pt x="779" y="184"/>
                </a:cubicBezTo>
                <a:cubicBezTo>
                  <a:pt x="781" y="184"/>
                  <a:pt x="781" y="184"/>
                  <a:pt x="781" y="184"/>
                </a:cubicBezTo>
                <a:cubicBezTo>
                  <a:pt x="784" y="187"/>
                  <a:pt x="784" y="187"/>
                  <a:pt x="784" y="187"/>
                </a:cubicBezTo>
                <a:cubicBezTo>
                  <a:pt x="785" y="192"/>
                  <a:pt x="785" y="192"/>
                  <a:pt x="785" y="192"/>
                </a:cubicBezTo>
                <a:cubicBezTo>
                  <a:pt x="785" y="199"/>
                  <a:pt x="785" y="199"/>
                  <a:pt x="785" y="199"/>
                </a:cubicBezTo>
                <a:cubicBezTo>
                  <a:pt x="784" y="202"/>
                  <a:pt x="784" y="202"/>
                  <a:pt x="784" y="202"/>
                </a:cubicBezTo>
                <a:cubicBezTo>
                  <a:pt x="785" y="203"/>
                  <a:pt x="785" y="203"/>
                  <a:pt x="785" y="203"/>
                </a:cubicBezTo>
                <a:cubicBezTo>
                  <a:pt x="787" y="202"/>
                  <a:pt x="787" y="202"/>
                  <a:pt x="787" y="202"/>
                </a:cubicBezTo>
                <a:cubicBezTo>
                  <a:pt x="791" y="205"/>
                  <a:pt x="791" y="205"/>
                  <a:pt x="791" y="205"/>
                </a:cubicBezTo>
                <a:cubicBezTo>
                  <a:pt x="793" y="208"/>
                  <a:pt x="793" y="208"/>
                  <a:pt x="793" y="208"/>
                </a:cubicBezTo>
                <a:cubicBezTo>
                  <a:pt x="794" y="208"/>
                  <a:pt x="794" y="208"/>
                  <a:pt x="794" y="208"/>
                </a:cubicBezTo>
                <a:cubicBezTo>
                  <a:pt x="794" y="207"/>
                  <a:pt x="794" y="207"/>
                  <a:pt x="794" y="207"/>
                </a:cubicBezTo>
                <a:cubicBezTo>
                  <a:pt x="799" y="207"/>
                  <a:pt x="799" y="207"/>
                  <a:pt x="799" y="207"/>
                </a:cubicBezTo>
                <a:cubicBezTo>
                  <a:pt x="802" y="209"/>
                  <a:pt x="802" y="209"/>
                  <a:pt x="802" y="209"/>
                </a:cubicBezTo>
                <a:cubicBezTo>
                  <a:pt x="803" y="208"/>
                  <a:pt x="803" y="208"/>
                  <a:pt x="803" y="208"/>
                </a:cubicBezTo>
                <a:cubicBezTo>
                  <a:pt x="802" y="207"/>
                  <a:pt x="802" y="207"/>
                  <a:pt x="802" y="207"/>
                </a:cubicBezTo>
                <a:cubicBezTo>
                  <a:pt x="804" y="205"/>
                  <a:pt x="804" y="205"/>
                  <a:pt x="804" y="205"/>
                </a:cubicBezTo>
                <a:cubicBezTo>
                  <a:pt x="807" y="204"/>
                  <a:pt x="807" y="204"/>
                  <a:pt x="807" y="204"/>
                </a:cubicBezTo>
                <a:cubicBezTo>
                  <a:pt x="810" y="200"/>
                  <a:pt x="810" y="200"/>
                  <a:pt x="810" y="200"/>
                </a:cubicBezTo>
                <a:cubicBezTo>
                  <a:pt x="815" y="197"/>
                  <a:pt x="815" y="197"/>
                  <a:pt x="815" y="197"/>
                </a:cubicBezTo>
                <a:cubicBezTo>
                  <a:pt x="819" y="193"/>
                  <a:pt x="819" y="193"/>
                  <a:pt x="819" y="193"/>
                </a:cubicBezTo>
                <a:cubicBezTo>
                  <a:pt x="819" y="191"/>
                  <a:pt x="819" y="191"/>
                  <a:pt x="819" y="191"/>
                </a:cubicBezTo>
                <a:cubicBezTo>
                  <a:pt x="820" y="189"/>
                  <a:pt x="820" y="189"/>
                  <a:pt x="820" y="189"/>
                </a:cubicBezTo>
                <a:cubicBezTo>
                  <a:pt x="819" y="189"/>
                  <a:pt x="819" y="189"/>
                  <a:pt x="819" y="189"/>
                </a:cubicBezTo>
                <a:cubicBezTo>
                  <a:pt x="817" y="191"/>
                  <a:pt x="817" y="191"/>
                  <a:pt x="817" y="191"/>
                </a:cubicBezTo>
                <a:cubicBezTo>
                  <a:pt x="817" y="193"/>
                  <a:pt x="817" y="193"/>
                  <a:pt x="817" y="193"/>
                </a:cubicBezTo>
                <a:cubicBezTo>
                  <a:pt x="813" y="197"/>
                  <a:pt x="813" y="197"/>
                  <a:pt x="813" y="197"/>
                </a:cubicBezTo>
                <a:cubicBezTo>
                  <a:pt x="810" y="199"/>
                  <a:pt x="810" y="199"/>
                  <a:pt x="810" y="199"/>
                </a:cubicBezTo>
                <a:cubicBezTo>
                  <a:pt x="810" y="199"/>
                  <a:pt x="810" y="199"/>
                  <a:pt x="810" y="199"/>
                </a:cubicBezTo>
                <a:cubicBezTo>
                  <a:pt x="807" y="202"/>
                  <a:pt x="807" y="202"/>
                  <a:pt x="807" y="202"/>
                </a:cubicBezTo>
                <a:cubicBezTo>
                  <a:pt x="803" y="204"/>
                  <a:pt x="803" y="204"/>
                  <a:pt x="803" y="204"/>
                </a:cubicBezTo>
                <a:cubicBezTo>
                  <a:pt x="801" y="203"/>
                  <a:pt x="801" y="203"/>
                  <a:pt x="801" y="203"/>
                </a:cubicBezTo>
                <a:cubicBezTo>
                  <a:pt x="800" y="203"/>
                  <a:pt x="800" y="203"/>
                  <a:pt x="800" y="203"/>
                </a:cubicBezTo>
                <a:cubicBezTo>
                  <a:pt x="800" y="204"/>
                  <a:pt x="800" y="204"/>
                  <a:pt x="800" y="204"/>
                </a:cubicBezTo>
                <a:cubicBezTo>
                  <a:pt x="797" y="204"/>
                  <a:pt x="797" y="204"/>
                  <a:pt x="797" y="204"/>
                </a:cubicBezTo>
                <a:cubicBezTo>
                  <a:pt x="794" y="202"/>
                  <a:pt x="794" y="202"/>
                  <a:pt x="794" y="202"/>
                </a:cubicBezTo>
                <a:cubicBezTo>
                  <a:pt x="794" y="200"/>
                  <a:pt x="794" y="200"/>
                  <a:pt x="794" y="200"/>
                </a:cubicBezTo>
                <a:cubicBezTo>
                  <a:pt x="796" y="199"/>
                  <a:pt x="796" y="199"/>
                  <a:pt x="796" y="199"/>
                </a:cubicBezTo>
                <a:cubicBezTo>
                  <a:pt x="798" y="197"/>
                  <a:pt x="798" y="197"/>
                  <a:pt x="798" y="197"/>
                </a:cubicBezTo>
                <a:cubicBezTo>
                  <a:pt x="798" y="195"/>
                  <a:pt x="798" y="195"/>
                  <a:pt x="798" y="195"/>
                </a:cubicBezTo>
                <a:cubicBezTo>
                  <a:pt x="796" y="197"/>
                  <a:pt x="796" y="197"/>
                  <a:pt x="796" y="197"/>
                </a:cubicBezTo>
                <a:cubicBezTo>
                  <a:pt x="795" y="199"/>
                  <a:pt x="795" y="199"/>
                  <a:pt x="795" y="199"/>
                </a:cubicBezTo>
                <a:cubicBezTo>
                  <a:pt x="793" y="198"/>
                  <a:pt x="793" y="198"/>
                  <a:pt x="793" y="198"/>
                </a:cubicBezTo>
                <a:cubicBezTo>
                  <a:pt x="791" y="196"/>
                  <a:pt x="791" y="196"/>
                  <a:pt x="791" y="196"/>
                </a:cubicBezTo>
                <a:cubicBezTo>
                  <a:pt x="791" y="194"/>
                  <a:pt x="791" y="194"/>
                  <a:pt x="791" y="194"/>
                </a:cubicBezTo>
                <a:cubicBezTo>
                  <a:pt x="793" y="194"/>
                  <a:pt x="793" y="194"/>
                  <a:pt x="793" y="194"/>
                </a:cubicBezTo>
                <a:cubicBezTo>
                  <a:pt x="795" y="193"/>
                  <a:pt x="795" y="193"/>
                  <a:pt x="795" y="193"/>
                </a:cubicBezTo>
                <a:cubicBezTo>
                  <a:pt x="795" y="192"/>
                  <a:pt x="795" y="192"/>
                  <a:pt x="795" y="192"/>
                </a:cubicBezTo>
                <a:cubicBezTo>
                  <a:pt x="793" y="192"/>
                  <a:pt x="793" y="192"/>
                  <a:pt x="793" y="192"/>
                </a:cubicBezTo>
                <a:cubicBezTo>
                  <a:pt x="793" y="191"/>
                  <a:pt x="793" y="191"/>
                  <a:pt x="793" y="191"/>
                </a:cubicBezTo>
                <a:cubicBezTo>
                  <a:pt x="794" y="190"/>
                  <a:pt x="794" y="190"/>
                  <a:pt x="794" y="190"/>
                </a:cubicBezTo>
                <a:cubicBezTo>
                  <a:pt x="796" y="191"/>
                  <a:pt x="796" y="191"/>
                  <a:pt x="796" y="191"/>
                </a:cubicBezTo>
                <a:cubicBezTo>
                  <a:pt x="798" y="191"/>
                  <a:pt x="798" y="191"/>
                  <a:pt x="798" y="191"/>
                </a:cubicBezTo>
                <a:cubicBezTo>
                  <a:pt x="798" y="189"/>
                  <a:pt x="798" y="189"/>
                  <a:pt x="798" y="189"/>
                </a:cubicBezTo>
                <a:cubicBezTo>
                  <a:pt x="796" y="189"/>
                  <a:pt x="796" y="189"/>
                  <a:pt x="796" y="189"/>
                </a:cubicBezTo>
                <a:cubicBezTo>
                  <a:pt x="795" y="188"/>
                  <a:pt x="795" y="188"/>
                  <a:pt x="795" y="188"/>
                </a:cubicBezTo>
                <a:cubicBezTo>
                  <a:pt x="794" y="190"/>
                  <a:pt x="794" y="190"/>
                  <a:pt x="794" y="190"/>
                </a:cubicBezTo>
                <a:cubicBezTo>
                  <a:pt x="792" y="190"/>
                  <a:pt x="792" y="190"/>
                  <a:pt x="792" y="190"/>
                </a:cubicBezTo>
                <a:cubicBezTo>
                  <a:pt x="791" y="188"/>
                  <a:pt x="791" y="188"/>
                  <a:pt x="791" y="188"/>
                </a:cubicBezTo>
                <a:cubicBezTo>
                  <a:pt x="792" y="186"/>
                  <a:pt x="792" y="186"/>
                  <a:pt x="792" y="186"/>
                </a:cubicBezTo>
                <a:cubicBezTo>
                  <a:pt x="794" y="186"/>
                  <a:pt x="794" y="186"/>
                  <a:pt x="794" y="186"/>
                </a:cubicBezTo>
                <a:cubicBezTo>
                  <a:pt x="795" y="185"/>
                  <a:pt x="795" y="185"/>
                  <a:pt x="795" y="185"/>
                </a:cubicBezTo>
                <a:cubicBezTo>
                  <a:pt x="798" y="185"/>
                  <a:pt x="798" y="185"/>
                  <a:pt x="798" y="185"/>
                </a:cubicBezTo>
                <a:cubicBezTo>
                  <a:pt x="800" y="186"/>
                  <a:pt x="800" y="186"/>
                  <a:pt x="800" y="186"/>
                </a:cubicBezTo>
                <a:cubicBezTo>
                  <a:pt x="802" y="185"/>
                  <a:pt x="802" y="185"/>
                  <a:pt x="802" y="185"/>
                </a:cubicBezTo>
                <a:cubicBezTo>
                  <a:pt x="799" y="185"/>
                  <a:pt x="799" y="185"/>
                  <a:pt x="799" y="185"/>
                </a:cubicBezTo>
                <a:cubicBezTo>
                  <a:pt x="799" y="184"/>
                  <a:pt x="799" y="184"/>
                  <a:pt x="799" y="184"/>
                </a:cubicBezTo>
                <a:cubicBezTo>
                  <a:pt x="801" y="181"/>
                  <a:pt x="801" y="181"/>
                  <a:pt x="801" y="181"/>
                </a:cubicBezTo>
                <a:cubicBezTo>
                  <a:pt x="803" y="181"/>
                  <a:pt x="803" y="181"/>
                  <a:pt x="803" y="181"/>
                </a:cubicBezTo>
                <a:cubicBezTo>
                  <a:pt x="803" y="180"/>
                  <a:pt x="803" y="180"/>
                  <a:pt x="803" y="180"/>
                </a:cubicBezTo>
                <a:cubicBezTo>
                  <a:pt x="802" y="180"/>
                  <a:pt x="802" y="180"/>
                  <a:pt x="802" y="180"/>
                </a:cubicBezTo>
                <a:cubicBezTo>
                  <a:pt x="801" y="179"/>
                  <a:pt x="801" y="179"/>
                  <a:pt x="801" y="179"/>
                </a:cubicBezTo>
                <a:cubicBezTo>
                  <a:pt x="803" y="177"/>
                  <a:pt x="803" y="177"/>
                  <a:pt x="803" y="177"/>
                </a:cubicBezTo>
                <a:cubicBezTo>
                  <a:pt x="805" y="176"/>
                  <a:pt x="805" y="176"/>
                  <a:pt x="805" y="176"/>
                </a:cubicBezTo>
                <a:cubicBezTo>
                  <a:pt x="804" y="174"/>
                  <a:pt x="804" y="174"/>
                  <a:pt x="804" y="174"/>
                </a:cubicBezTo>
                <a:cubicBezTo>
                  <a:pt x="807" y="170"/>
                  <a:pt x="807" y="170"/>
                  <a:pt x="807" y="170"/>
                </a:cubicBezTo>
                <a:cubicBezTo>
                  <a:pt x="809" y="169"/>
                  <a:pt x="809" y="169"/>
                  <a:pt x="809" y="169"/>
                </a:cubicBezTo>
                <a:cubicBezTo>
                  <a:pt x="810" y="167"/>
                  <a:pt x="810" y="167"/>
                  <a:pt x="810" y="167"/>
                </a:cubicBezTo>
                <a:cubicBezTo>
                  <a:pt x="807" y="167"/>
                  <a:pt x="807" y="167"/>
                  <a:pt x="807" y="167"/>
                </a:cubicBezTo>
                <a:cubicBezTo>
                  <a:pt x="804" y="172"/>
                  <a:pt x="804" y="172"/>
                  <a:pt x="804" y="172"/>
                </a:cubicBezTo>
                <a:cubicBezTo>
                  <a:pt x="802" y="177"/>
                  <a:pt x="802" y="177"/>
                  <a:pt x="802" y="177"/>
                </a:cubicBezTo>
                <a:cubicBezTo>
                  <a:pt x="798" y="179"/>
                  <a:pt x="798" y="179"/>
                  <a:pt x="798" y="179"/>
                </a:cubicBezTo>
                <a:cubicBezTo>
                  <a:pt x="795" y="182"/>
                  <a:pt x="795" y="182"/>
                  <a:pt x="795" y="182"/>
                </a:cubicBezTo>
                <a:cubicBezTo>
                  <a:pt x="793" y="182"/>
                  <a:pt x="793" y="182"/>
                  <a:pt x="793" y="182"/>
                </a:cubicBezTo>
                <a:cubicBezTo>
                  <a:pt x="789" y="182"/>
                  <a:pt x="789" y="182"/>
                  <a:pt x="789" y="182"/>
                </a:cubicBezTo>
                <a:cubicBezTo>
                  <a:pt x="789" y="180"/>
                  <a:pt x="789" y="180"/>
                  <a:pt x="789" y="180"/>
                </a:cubicBezTo>
                <a:cubicBezTo>
                  <a:pt x="791" y="178"/>
                  <a:pt x="791" y="178"/>
                  <a:pt x="791" y="178"/>
                </a:cubicBezTo>
                <a:cubicBezTo>
                  <a:pt x="794" y="177"/>
                  <a:pt x="794" y="177"/>
                  <a:pt x="794" y="177"/>
                </a:cubicBezTo>
                <a:cubicBezTo>
                  <a:pt x="794" y="174"/>
                  <a:pt x="794" y="174"/>
                  <a:pt x="794" y="174"/>
                </a:cubicBezTo>
                <a:cubicBezTo>
                  <a:pt x="790" y="177"/>
                  <a:pt x="790" y="177"/>
                  <a:pt x="790" y="177"/>
                </a:cubicBezTo>
                <a:cubicBezTo>
                  <a:pt x="787" y="177"/>
                  <a:pt x="787" y="177"/>
                  <a:pt x="787" y="177"/>
                </a:cubicBezTo>
                <a:cubicBezTo>
                  <a:pt x="787" y="178"/>
                  <a:pt x="787" y="178"/>
                  <a:pt x="787" y="178"/>
                </a:cubicBezTo>
                <a:cubicBezTo>
                  <a:pt x="785" y="180"/>
                  <a:pt x="785" y="180"/>
                  <a:pt x="785" y="180"/>
                </a:cubicBezTo>
                <a:cubicBezTo>
                  <a:pt x="782" y="179"/>
                  <a:pt x="782" y="179"/>
                  <a:pt x="782" y="179"/>
                </a:cubicBezTo>
                <a:cubicBezTo>
                  <a:pt x="779" y="177"/>
                  <a:pt x="779" y="177"/>
                  <a:pt x="779" y="177"/>
                </a:cubicBezTo>
                <a:cubicBezTo>
                  <a:pt x="780" y="175"/>
                  <a:pt x="780" y="175"/>
                  <a:pt x="780" y="175"/>
                </a:cubicBezTo>
                <a:cubicBezTo>
                  <a:pt x="783" y="175"/>
                  <a:pt x="783" y="175"/>
                  <a:pt x="783" y="175"/>
                </a:cubicBezTo>
                <a:cubicBezTo>
                  <a:pt x="782" y="174"/>
                  <a:pt x="782" y="174"/>
                  <a:pt x="782" y="174"/>
                </a:cubicBezTo>
                <a:cubicBezTo>
                  <a:pt x="780" y="174"/>
                  <a:pt x="780" y="174"/>
                  <a:pt x="780" y="174"/>
                </a:cubicBezTo>
                <a:cubicBezTo>
                  <a:pt x="781" y="171"/>
                  <a:pt x="781" y="171"/>
                  <a:pt x="781" y="171"/>
                </a:cubicBezTo>
                <a:cubicBezTo>
                  <a:pt x="784" y="169"/>
                  <a:pt x="784" y="169"/>
                  <a:pt x="784" y="169"/>
                </a:cubicBezTo>
                <a:cubicBezTo>
                  <a:pt x="784" y="167"/>
                  <a:pt x="784" y="167"/>
                  <a:pt x="784" y="167"/>
                </a:cubicBezTo>
                <a:cubicBezTo>
                  <a:pt x="787" y="166"/>
                  <a:pt x="787" y="166"/>
                  <a:pt x="787" y="166"/>
                </a:cubicBezTo>
                <a:cubicBezTo>
                  <a:pt x="789" y="164"/>
                  <a:pt x="789" y="164"/>
                  <a:pt x="789" y="164"/>
                </a:cubicBezTo>
                <a:cubicBezTo>
                  <a:pt x="791" y="164"/>
                  <a:pt x="791" y="164"/>
                  <a:pt x="791" y="164"/>
                </a:cubicBezTo>
                <a:cubicBezTo>
                  <a:pt x="791" y="161"/>
                  <a:pt x="791" y="161"/>
                  <a:pt x="791" y="161"/>
                </a:cubicBezTo>
                <a:cubicBezTo>
                  <a:pt x="793" y="158"/>
                  <a:pt x="793" y="158"/>
                  <a:pt x="793" y="158"/>
                </a:cubicBezTo>
                <a:cubicBezTo>
                  <a:pt x="797" y="154"/>
                  <a:pt x="797" y="154"/>
                  <a:pt x="797" y="154"/>
                </a:cubicBezTo>
                <a:cubicBezTo>
                  <a:pt x="798" y="155"/>
                  <a:pt x="798" y="155"/>
                  <a:pt x="798" y="155"/>
                </a:cubicBezTo>
                <a:cubicBezTo>
                  <a:pt x="803" y="153"/>
                  <a:pt x="803" y="153"/>
                  <a:pt x="803" y="153"/>
                </a:cubicBezTo>
                <a:cubicBezTo>
                  <a:pt x="807" y="154"/>
                  <a:pt x="807" y="154"/>
                  <a:pt x="807" y="154"/>
                </a:cubicBezTo>
                <a:cubicBezTo>
                  <a:pt x="809" y="153"/>
                  <a:pt x="809" y="153"/>
                  <a:pt x="809" y="153"/>
                </a:cubicBezTo>
                <a:cubicBezTo>
                  <a:pt x="810" y="153"/>
                  <a:pt x="810" y="153"/>
                  <a:pt x="810" y="153"/>
                </a:cubicBezTo>
                <a:cubicBezTo>
                  <a:pt x="813" y="152"/>
                  <a:pt x="813" y="152"/>
                  <a:pt x="813" y="152"/>
                </a:cubicBezTo>
                <a:cubicBezTo>
                  <a:pt x="815" y="151"/>
                  <a:pt x="815" y="151"/>
                  <a:pt x="815" y="151"/>
                </a:cubicBezTo>
                <a:cubicBezTo>
                  <a:pt x="815" y="152"/>
                  <a:pt x="815" y="152"/>
                  <a:pt x="815" y="152"/>
                </a:cubicBezTo>
                <a:cubicBezTo>
                  <a:pt x="818" y="155"/>
                  <a:pt x="818" y="155"/>
                  <a:pt x="818" y="155"/>
                </a:cubicBezTo>
                <a:cubicBezTo>
                  <a:pt x="820" y="156"/>
                  <a:pt x="820" y="156"/>
                  <a:pt x="820" y="156"/>
                </a:cubicBezTo>
                <a:cubicBezTo>
                  <a:pt x="825" y="159"/>
                  <a:pt x="825" y="159"/>
                  <a:pt x="825" y="159"/>
                </a:cubicBezTo>
                <a:cubicBezTo>
                  <a:pt x="826" y="161"/>
                  <a:pt x="826" y="161"/>
                  <a:pt x="826" y="161"/>
                </a:cubicBezTo>
                <a:cubicBezTo>
                  <a:pt x="827" y="163"/>
                  <a:pt x="827" y="163"/>
                  <a:pt x="827" y="163"/>
                </a:cubicBezTo>
                <a:cubicBezTo>
                  <a:pt x="829" y="163"/>
                  <a:pt x="829" y="163"/>
                  <a:pt x="829" y="163"/>
                </a:cubicBezTo>
                <a:cubicBezTo>
                  <a:pt x="832" y="168"/>
                  <a:pt x="832" y="168"/>
                  <a:pt x="832" y="168"/>
                </a:cubicBezTo>
                <a:cubicBezTo>
                  <a:pt x="832" y="165"/>
                  <a:pt x="832" y="165"/>
                  <a:pt x="832" y="165"/>
                </a:cubicBezTo>
                <a:cubicBezTo>
                  <a:pt x="834" y="164"/>
                  <a:pt x="834" y="164"/>
                  <a:pt x="834" y="164"/>
                </a:cubicBezTo>
                <a:cubicBezTo>
                  <a:pt x="834" y="163"/>
                  <a:pt x="834" y="163"/>
                  <a:pt x="834" y="163"/>
                </a:cubicBezTo>
                <a:cubicBezTo>
                  <a:pt x="831" y="163"/>
                  <a:pt x="831" y="163"/>
                  <a:pt x="831" y="163"/>
                </a:cubicBezTo>
                <a:cubicBezTo>
                  <a:pt x="830" y="162"/>
                  <a:pt x="830" y="162"/>
                  <a:pt x="830" y="162"/>
                </a:cubicBezTo>
                <a:cubicBezTo>
                  <a:pt x="830" y="160"/>
                  <a:pt x="830" y="160"/>
                  <a:pt x="830" y="160"/>
                </a:cubicBezTo>
                <a:cubicBezTo>
                  <a:pt x="832" y="159"/>
                  <a:pt x="832" y="159"/>
                  <a:pt x="832" y="159"/>
                </a:cubicBezTo>
                <a:cubicBezTo>
                  <a:pt x="837" y="159"/>
                  <a:pt x="837" y="159"/>
                  <a:pt x="837" y="159"/>
                </a:cubicBezTo>
                <a:cubicBezTo>
                  <a:pt x="840" y="160"/>
                  <a:pt x="840" y="160"/>
                  <a:pt x="840" y="160"/>
                </a:cubicBezTo>
                <a:cubicBezTo>
                  <a:pt x="840" y="159"/>
                  <a:pt x="840" y="159"/>
                  <a:pt x="840" y="159"/>
                </a:cubicBezTo>
                <a:cubicBezTo>
                  <a:pt x="840" y="157"/>
                  <a:pt x="840" y="157"/>
                  <a:pt x="840" y="157"/>
                </a:cubicBezTo>
                <a:cubicBezTo>
                  <a:pt x="842" y="154"/>
                  <a:pt x="842" y="154"/>
                  <a:pt x="842" y="154"/>
                </a:cubicBezTo>
                <a:cubicBezTo>
                  <a:pt x="842" y="153"/>
                  <a:pt x="842" y="153"/>
                  <a:pt x="842" y="153"/>
                </a:cubicBezTo>
                <a:cubicBezTo>
                  <a:pt x="840" y="153"/>
                  <a:pt x="840" y="153"/>
                  <a:pt x="840" y="153"/>
                </a:cubicBezTo>
                <a:cubicBezTo>
                  <a:pt x="840" y="155"/>
                  <a:pt x="840" y="155"/>
                  <a:pt x="840" y="155"/>
                </a:cubicBezTo>
                <a:cubicBezTo>
                  <a:pt x="837" y="157"/>
                  <a:pt x="837" y="157"/>
                  <a:pt x="837" y="157"/>
                </a:cubicBezTo>
                <a:cubicBezTo>
                  <a:pt x="836" y="158"/>
                  <a:pt x="836" y="158"/>
                  <a:pt x="836" y="158"/>
                </a:cubicBezTo>
                <a:cubicBezTo>
                  <a:pt x="831" y="157"/>
                  <a:pt x="831" y="157"/>
                  <a:pt x="831" y="157"/>
                </a:cubicBezTo>
                <a:cubicBezTo>
                  <a:pt x="827" y="157"/>
                  <a:pt x="827" y="157"/>
                  <a:pt x="827" y="157"/>
                </a:cubicBezTo>
                <a:cubicBezTo>
                  <a:pt x="826" y="155"/>
                  <a:pt x="826" y="155"/>
                  <a:pt x="826" y="155"/>
                </a:cubicBezTo>
                <a:cubicBezTo>
                  <a:pt x="824" y="154"/>
                  <a:pt x="824" y="154"/>
                  <a:pt x="824" y="154"/>
                </a:cubicBezTo>
                <a:cubicBezTo>
                  <a:pt x="820" y="154"/>
                  <a:pt x="820" y="154"/>
                  <a:pt x="820" y="154"/>
                </a:cubicBezTo>
                <a:cubicBezTo>
                  <a:pt x="818" y="149"/>
                  <a:pt x="818" y="149"/>
                  <a:pt x="818" y="149"/>
                </a:cubicBezTo>
                <a:cubicBezTo>
                  <a:pt x="817" y="145"/>
                  <a:pt x="817" y="145"/>
                  <a:pt x="817" y="145"/>
                </a:cubicBezTo>
                <a:cubicBezTo>
                  <a:pt x="819" y="143"/>
                  <a:pt x="819" y="143"/>
                  <a:pt x="819" y="143"/>
                </a:cubicBezTo>
                <a:cubicBezTo>
                  <a:pt x="821" y="145"/>
                  <a:pt x="821" y="145"/>
                  <a:pt x="821" y="145"/>
                </a:cubicBezTo>
                <a:cubicBezTo>
                  <a:pt x="822" y="147"/>
                  <a:pt x="822" y="147"/>
                  <a:pt x="822" y="147"/>
                </a:cubicBezTo>
                <a:cubicBezTo>
                  <a:pt x="823" y="149"/>
                  <a:pt x="823" y="149"/>
                  <a:pt x="823" y="149"/>
                </a:cubicBezTo>
                <a:cubicBezTo>
                  <a:pt x="824" y="146"/>
                  <a:pt x="824" y="146"/>
                  <a:pt x="824" y="146"/>
                </a:cubicBezTo>
                <a:cubicBezTo>
                  <a:pt x="825" y="143"/>
                  <a:pt x="825" y="143"/>
                  <a:pt x="825" y="143"/>
                </a:cubicBezTo>
                <a:cubicBezTo>
                  <a:pt x="824" y="143"/>
                  <a:pt x="824" y="143"/>
                  <a:pt x="824" y="143"/>
                </a:cubicBezTo>
                <a:cubicBezTo>
                  <a:pt x="823" y="142"/>
                  <a:pt x="823" y="142"/>
                  <a:pt x="823" y="142"/>
                </a:cubicBezTo>
                <a:cubicBezTo>
                  <a:pt x="823" y="140"/>
                  <a:pt x="823" y="140"/>
                  <a:pt x="823" y="140"/>
                </a:cubicBezTo>
                <a:cubicBezTo>
                  <a:pt x="825" y="136"/>
                  <a:pt x="825" y="136"/>
                  <a:pt x="825" y="136"/>
                </a:cubicBezTo>
                <a:cubicBezTo>
                  <a:pt x="824" y="133"/>
                  <a:pt x="824" y="133"/>
                  <a:pt x="824" y="133"/>
                </a:cubicBezTo>
                <a:cubicBezTo>
                  <a:pt x="826" y="129"/>
                  <a:pt x="826" y="129"/>
                  <a:pt x="826" y="129"/>
                </a:cubicBezTo>
                <a:cubicBezTo>
                  <a:pt x="825" y="123"/>
                  <a:pt x="825" y="123"/>
                  <a:pt x="825" y="123"/>
                </a:cubicBezTo>
                <a:cubicBezTo>
                  <a:pt x="824" y="119"/>
                  <a:pt x="824" y="119"/>
                  <a:pt x="824" y="119"/>
                </a:cubicBezTo>
                <a:cubicBezTo>
                  <a:pt x="823" y="118"/>
                  <a:pt x="823" y="118"/>
                  <a:pt x="823" y="118"/>
                </a:cubicBezTo>
                <a:cubicBezTo>
                  <a:pt x="822" y="116"/>
                  <a:pt x="822" y="116"/>
                  <a:pt x="822" y="116"/>
                </a:cubicBezTo>
                <a:cubicBezTo>
                  <a:pt x="822" y="114"/>
                  <a:pt x="822" y="114"/>
                  <a:pt x="822" y="114"/>
                </a:cubicBezTo>
                <a:cubicBezTo>
                  <a:pt x="824" y="113"/>
                  <a:pt x="824" y="113"/>
                  <a:pt x="824" y="113"/>
                </a:cubicBezTo>
                <a:cubicBezTo>
                  <a:pt x="825" y="113"/>
                  <a:pt x="825" y="113"/>
                  <a:pt x="825" y="113"/>
                </a:cubicBezTo>
                <a:cubicBezTo>
                  <a:pt x="826" y="114"/>
                  <a:pt x="826" y="114"/>
                  <a:pt x="826" y="114"/>
                </a:cubicBezTo>
                <a:cubicBezTo>
                  <a:pt x="828" y="114"/>
                  <a:pt x="828" y="114"/>
                  <a:pt x="828" y="114"/>
                </a:cubicBezTo>
                <a:cubicBezTo>
                  <a:pt x="830" y="117"/>
                  <a:pt x="830" y="117"/>
                  <a:pt x="830" y="117"/>
                </a:cubicBezTo>
                <a:cubicBezTo>
                  <a:pt x="831" y="117"/>
                  <a:pt x="831" y="117"/>
                  <a:pt x="831" y="117"/>
                </a:cubicBezTo>
                <a:cubicBezTo>
                  <a:pt x="831" y="115"/>
                  <a:pt x="831" y="115"/>
                  <a:pt x="831" y="115"/>
                </a:cubicBezTo>
                <a:cubicBezTo>
                  <a:pt x="829" y="112"/>
                  <a:pt x="829" y="112"/>
                  <a:pt x="829" y="112"/>
                </a:cubicBezTo>
                <a:cubicBezTo>
                  <a:pt x="827" y="111"/>
                  <a:pt x="827" y="111"/>
                  <a:pt x="827" y="111"/>
                </a:cubicBezTo>
                <a:cubicBezTo>
                  <a:pt x="825" y="110"/>
                  <a:pt x="825" y="110"/>
                  <a:pt x="825" y="110"/>
                </a:cubicBezTo>
                <a:cubicBezTo>
                  <a:pt x="825" y="108"/>
                  <a:pt x="825" y="108"/>
                  <a:pt x="825" y="108"/>
                </a:cubicBezTo>
                <a:cubicBezTo>
                  <a:pt x="826" y="105"/>
                  <a:pt x="826" y="105"/>
                  <a:pt x="826" y="105"/>
                </a:cubicBezTo>
                <a:cubicBezTo>
                  <a:pt x="834" y="97"/>
                  <a:pt x="834" y="97"/>
                  <a:pt x="834" y="97"/>
                </a:cubicBezTo>
                <a:cubicBezTo>
                  <a:pt x="837" y="96"/>
                  <a:pt x="837" y="96"/>
                  <a:pt x="837" y="96"/>
                </a:cubicBezTo>
                <a:cubicBezTo>
                  <a:pt x="839" y="97"/>
                  <a:pt x="839" y="97"/>
                  <a:pt x="839" y="97"/>
                </a:cubicBezTo>
                <a:cubicBezTo>
                  <a:pt x="840" y="99"/>
                  <a:pt x="840" y="99"/>
                  <a:pt x="840" y="99"/>
                </a:cubicBezTo>
                <a:cubicBezTo>
                  <a:pt x="843" y="101"/>
                  <a:pt x="843" y="101"/>
                  <a:pt x="843" y="101"/>
                </a:cubicBezTo>
                <a:cubicBezTo>
                  <a:pt x="845" y="101"/>
                  <a:pt x="845" y="101"/>
                  <a:pt x="845" y="101"/>
                </a:cubicBezTo>
                <a:cubicBezTo>
                  <a:pt x="850" y="105"/>
                  <a:pt x="850" y="105"/>
                  <a:pt x="850" y="105"/>
                </a:cubicBezTo>
                <a:cubicBezTo>
                  <a:pt x="850" y="107"/>
                  <a:pt x="850" y="107"/>
                  <a:pt x="850" y="107"/>
                </a:cubicBezTo>
                <a:cubicBezTo>
                  <a:pt x="853" y="111"/>
                  <a:pt x="853" y="111"/>
                  <a:pt x="853" y="111"/>
                </a:cubicBezTo>
                <a:cubicBezTo>
                  <a:pt x="855" y="117"/>
                  <a:pt x="855" y="117"/>
                  <a:pt x="855" y="117"/>
                </a:cubicBezTo>
                <a:cubicBezTo>
                  <a:pt x="854" y="121"/>
                  <a:pt x="854" y="121"/>
                  <a:pt x="854" y="121"/>
                </a:cubicBezTo>
                <a:cubicBezTo>
                  <a:pt x="855" y="125"/>
                  <a:pt x="855" y="125"/>
                  <a:pt x="855" y="125"/>
                </a:cubicBezTo>
                <a:cubicBezTo>
                  <a:pt x="856" y="127"/>
                  <a:pt x="856" y="127"/>
                  <a:pt x="856" y="127"/>
                </a:cubicBezTo>
                <a:cubicBezTo>
                  <a:pt x="857" y="126"/>
                  <a:pt x="857" y="126"/>
                  <a:pt x="857" y="126"/>
                </a:cubicBezTo>
                <a:cubicBezTo>
                  <a:pt x="858" y="126"/>
                  <a:pt x="858" y="126"/>
                  <a:pt x="858" y="126"/>
                </a:cubicBezTo>
                <a:cubicBezTo>
                  <a:pt x="861" y="128"/>
                  <a:pt x="861" y="128"/>
                  <a:pt x="861" y="128"/>
                </a:cubicBezTo>
                <a:cubicBezTo>
                  <a:pt x="861" y="130"/>
                  <a:pt x="861" y="130"/>
                  <a:pt x="861" y="130"/>
                </a:cubicBezTo>
                <a:cubicBezTo>
                  <a:pt x="862" y="129"/>
                  <a:pt x="862" y="129"/>
                  <a:pt x="862" y="129"/>
                </a:cubicBezTo>
                <a:cubicBezTo>
                  <a:pt x="863" y="128"/>
                  <a:pt x="863" y="128"/>
                  <a:pt x="863" y="128"/>
                </a:cubicBezTo>
                <a:cubicBezTo>
                  <a:pt x="866" y="128"/>
                  <a:pt x="866" y="128"/>
                  <a:pt x="866" y="128"/>
                </a:cubicBezTo>
                <a:cubicBezTo>
                  <a:pt x="864" y="127"/>
                  <a:pt x="864" y="127"/>
                  <a:pt x="864" y="127"/>
                </a:cubicBezTo>
                <a:cubicBezTo>
                  <a:pt x="861" y="126"/>
                  <a:pt x="861" y="126"/>
                  <a:pt x="861" y="126"/>
                </a:cubicBezTo>
                <a:cubicBezTo>
                  <a:pt x="859" y="124"/>
                  <a:pt x="859" y="124"/>
                  <a:pt x="859" y="124"/>
                </a:cubicBezTo>
                <a:cubicBezTo>
                  <a:pt x="858" y="123"/>
                  <a:pt x="858" y="123"/>
                  <a:pt x="858" y="123"/>
                </a:cubicBezTo>
                <a:cubicBezTo>
                  <a:pt x="857" y="122"/>
                  <a:pt x="857" y="122"/>
                  <a:pt x="857" y="122"/>
                </a:cubicBezTo>
                <a:cubicBezTo>
                  <a:pt x="860" y="119"/>
                  <a:pt x="860" y="119"/>
                  <a:pt x="860" y="119"/>
                </a:cubicBezTo>
                <a:cubicBezTo>
                  <a:pt x="860" y="117"/>
                  <a:pt x="860" y="117"/>
                  <a:pt x="860" y="117"/>
                </a:cubicBezTo>
                <a:cubicBezTo>
                  <a:pt x="859" y="109"/>
                  <a:pt x="859" y="109"/>
                  <a:pt x="859" y="109"/>
                </a:cubicBezTo>
                <a:cubicBezTo>
                  <a:pt x="859" y="106"/>
                  <a:pt x="859" y="106"/>
                  <a:pt x="859" y="106"/>
                </a:cubicBezTo>
                <a:cubicBezTo>
                  <a:pt x="859" y="104"/>
                  <a:pt x="859" y="104"/>
                  <a:pt x="859" y="104"/>
                </a:cubicBezTo>
                <a:cubicBezTo>
                  <a:pt x="864" y="103"/>
                  <a:pt x="864" y="103"/>
                  <a:pt x="864" y="103"/>
                </a:cubicBezTo>
                <a:cubicBezTo>
                  <a:pt x="865" y="104"/>
                  <a:pt x="865" y="104"/>
                  <a:pt x="865" y="104"/>
                </a:cubicBezTo>
                <a:cubicBezTo>
                  <a:pt x="869" y="105"/>
                  <a:pt x="869" y="105"/>
                  <a:pt x="869" y="105"/>
                </a:cubicBezTo>
                <a:cubicBezTo>
                  <a:pt x="872" y="106"/>
                  <a:pt x="872" y="106"/>
                  <a:pt x="872" y="106"/>
                </a:cubicBezTo>
                <a:cubicBezTo>
                  <a:pt x="876" y="107"/>
                  <a:pt x="876" y="107"/>
                  <a:pt x="876" y="107"/>
                </a:cubicBezTo>
                <a:cubicBezTo>
                  <a:pt x="881" y="107"/>
                  <a:pt x="881" y="107"/>
                  <a:pt x="881" y="107"/>
                </a:cubicBezTo>
                <a:cubicBezTo>
                  <a:pt x="885" y="105"/>
                  <a:pt x="885" y="105"/>
                  <a:pt x="885" y="105"/>
                </a:cubicBezTo>
                <a:cubicBezTo>
                  <a:pt x="887" y="106"/>
                  <a:pt x="887" y="106"/>
                  <a:pt x="887" y="106"/>
                </a:cubicBezTo>
                <a:cubicBezTo>
                  <a:pt x="889" y="107"/>
                  <a:pt x="889" y="107"/>
                  <a:pt x="889" y="107"/>
                </a:cubicBezTo>
                <a:cubicBezTo>
                  <a:pt x="894" y="108"/>
                  <a:pt x="894" y="108"/>
                  <a:pt x="894" y="108"/>
                </a:cubicBezTo>
                <a:cubicBezTo>
                  <a:pt x="896" y="109"/>
                  <a:pt x="896" y="109"/>
                  <a:pt x="896" y="109"/>
                </a:cubicBezTo>
                <a:cubicBezTo>
                  <a:pt x="899" y="109"/>
                  <a:pt x="899" y="109"/>
                  <a:pt x="899" y="109"/>
                </a:cubicBezTo>
                <a:cubicBezTo>
                  <a:pt x="899" y="107"/>
                  <a:pt x="899" y="107"/>
                  <a:pt x="899" y="107"/>
                </a:cubicBezTo>
                <a:cubicBezTo>
                  <a:pt x="897" y="106"/>
                  <a:pt x="897" y="106"/>
                  <a:pt x="897" y="106"/>
                </a:cubicBezTo>
                <a:cubicBezTo>
                  <a:pt x="893" y="106"/>
                  <a:pt x="893" y="106"/>
                  <a:pt x="893" y="106"/>
                </a:cubicBezTo>
                <a:cubicBezTo>
                  <a:pt x="890" y="105"/>
                  <a:pt x="890" y="105"/>
                  <a:pt x="890" y="105"/>
                </a:cubicBezTo>
                <a:cubicBezTo>
                  <a:pt x="889" y="104"/>
                  <a:pt x="889" y="104"/>
                  <a:pt x="889" y="104"/>
                </a:cubicBezTo>
                <a:cubicBezTo>
                  <a:pt x="889" y="103"/>
                  <a:pt x="889" y="103"/>
                  <a:pt x="889" y="103"/>
                </a:cubicBezTo>
                <a:cubicBezTo>
                  <a:pt x="891" y="103"/>
                  <a:pt x="891" y="103"/>
                  <a:pt x="891" y="103"/>
                </a:cubicBezTo>
                <a:cubicBezTo>
                  <a:pt x="894" y="102"/>
                  <a:pt x="894" y="102"/>
                  <a:pt x="894" y="102"/>
                </a:cubicBezTo>
                <a:cubicBezTo>
                  <a:pt x="903" y="101"/>
                  <a:pt x="903" y="101"/>
                  <a:pt x="903" y="101"/>
                </a:cubicBezTo>
                <a:cubicBezTo>
                  <a:pt x="908" y="100"/>
                  <a:pt x="908" y="100"/>
                  <a:pt x="908" y="100"/>
                </a:cubicBezTo>
                <a:cubicBezTo>
                  <a:pt x="913" y="102"/>
                  <a:pt x="913" y="102"/>
                  <a:pt x="913" y="102"/>
                </a:cubicBezTo>
                <a:cubicBezTo>
                  <a:pt x="916" y="104"/>
                  <a:pt x="916" y="104"/>
                  <a:pt x="916" y="104"/>
                </a:cubicBezTo>
                <a:cubicBezTo>
                  <a:pt x="918" y="103"/>
                  <a:pt x="918" y="103"/>
                  <a:pt x="918" y="103"/>
                </a:cubicBezTo>
                <a:cubicBezTo>
                  <a:pt x="921" y="102"/>
                  <a:pt x="921" y="102"/>
                  <a:pt x="921" y="102"/>
                </a:cubicBezTo>
                <a:cubicBezTo>
                  <a:pt x="919" y="101"/>
                  <a:pt x="919" y="101"/>
                  <a:pt x="919" y="101"/>
                </a:cubicBezTo>
                <a:cubicBezTo>
                  <a:pt x="918" y="101"/>
                  <a:pt x="918" y="101"/>
                  <a:pt x="918" y="101"/>
                </a:cubicBezTo>
                <a:cubicBezTo>
                  <a:pt x="916" y="100"/>
                  <a:pt x="916" y="100"/>
                  <a:pt x="916" y="100"/>
                </a:cubicBezTo>
                <a:cubicBezTo>
                  <a:pt x="916" y="99"/>
                  <a:pt x="916" y="99"/>
                  <a:pt x="916" y="99"/>
                </a:cubicBezTo>
                <a:cubicBezTo>
                  <a:pt x="913" y="97"/>
                  <a:pt x="913" y="97"/>
                  <a:pt x="913" y="97"/>
                </a:cubicBezTo>
                <a:cubicBezTo>
                  <a:pt x="910" y="97"/>
                  <a:pt x="910" y="97"/>
                  <a:pt x="910" y="97"/>
                </a:cubicBezTo>
                <a:cubicBezTo>
                  <a:pt x="909" y="96"/>
                  <a:pt x="909" y="96"/>
                  <a:pt x="909" y="96"/>
                </a:cubicBezTo>
                <a:cubicBezTo>
                  <a:pt x="902" y="97"/>
                  <a:pt x="902" y="97"/>
                  <a:pt x="902" y="97"/>
                </a:cubicBezTo>
                <a:cubicBezTo>
                  <a:pt x="902" y="96"/>
                  <a:pt x="902" y="96"/>
                  <a:pt x="902" y="96"/>
                </a:cubicBezTo>
                <a:cubicBezTo>
                  <a:pt x="904" y="95"/>
                  <a:pt x="904" y="95"/>
                  <a:pt x="904" y="95"/>
                </a:cubicBezTo>
                <a:cubicBezTo>
                  <a:pt x="905" y="91"/>
                  <a:pt x="905" y="91"/>
                  <a:pt x="905" y="91"/>
                </a:cubicBezTo>
                <a:cubicBezTo>
                  <a:pt x="908" y="91"/>
                  <a:pt x="908" y="91"/>
                  <a:pt x="908" y="91"/>
                </a:cubicBezTo>
                <a:cubicBezTo>
                  <a:pt x="910" y="89"/>
                  <a:pt x="910" y="89"/>
                  <a:pt x="910" y="89"/>
                </a:cubicBezTo>
                <a:cubicBezTo>
                  <a:pt x="912" y="86"/>
                  <a:pt x="912" y="86"/>
                  <a:pt x="912" y="86"/>
                </a:cubicBezTo>
                <a:cubicBezTo>
                  <a:pt x="918" y="82"/>
                  <a:pt x="918" y="82"/>
                  <a:pt x="918" y="82"/>
                </a:cubicBezTo>
                <a:cubicBezTo>
                  <a:pt x="922" y="82"/>
                  <a:pt x="922" y="82"/>
                  <a:pt x="922" y="82"/>
                </a:cubicBezTo>
                <a:cubicBezTo>
                  <a:pt x="927" y="79"/>
                  <a:pt x="927" y="79"/>
                  <a:pt x="927" y="79"/>
                </a:cubicBezTo>
                <a:cubicBezTo>
                  <a:pt x="927" y="77"/>
                  <a:pt x="927" y="77"/>
                  <a:pt x="927" y="77"/>
                </a:cubicBezTo>
                <a:cubicBezTo>
                  <a:pt x="921" y="80"/>
                  <a:pt x="921" y="80"/>
                  <a:pt x="921" y="80"/>
                </a:cubicBezTo>
                <a:cubicBezTo>
                  <a:pt x="916" y="81"/>
                  <a:pt x="916" y="81"/>
                  <a:pt x="916" y="81"/>
                </a:cubicBezTo>
                <a:cubicBezTo>
                  <a:pt x="909" y="85"/>
                  <a:pt x="909" y="85"/>
                  <a:pt x="909" y="85"/>
                </a:cubicBezTo>
                <a:cubicBezTo>
                  <a:pt x="909" y="88"/>
                  <a:pt x="909" y="88"/>
                  <a:pt x="909" y="88"/>
                </a:cubicBezTo>
                <a:cubicBezTo>
                  <a:pt x="908" y="88"/>
                  <a:pt x="908" y="88"/>
                  <a:pt x="908" y="88"/>
                </a:cubicBezTo>
                <a:cubicBezTo>
                  <a:pt x="907" y="85"/>
                  <a:pt x="907" y="85"/>
                  <a:pt x="907" y="85"/>
                </a:cubicBezTo>
                <a:cubicBezTo>
                  <a:pt x="906" y="85"/>
                  <a:pt x="906" y="85"/>
                  <a:pt x="906" y="85"/>
                </a:cubicBezTo>
                <a:cubicBezTo>
                  <a:pt x="905" y="88"/>
                  <a:pt x="905" y="88"/>
                  <a:pt x="905" y="88"/>
                </a:cubicBezTo>
                <a:cubicBezTo>
                  <a:pt x="902" y="88"/>
                  <a:pt x="902" y="88"/>
                  <a:pt x="902" y="88"/>
                </a:cubicBezTo>
                <a:cubicBezTo>
                  <a:pt x="899" y="92"/>
                  <a:pt x="899" y="92"/>
                  <a:pt x="899" y="92"/>
                </a:cubicBezTo>
                <a:cubicBezTo>
                  <a:pt x="901" y="92"/>
                  <a:pt x="901" y="92"/>
                  <a:pt x="901" y="92"/>
                </a:cubicBezTo>
                <a:cubicBezTo>
                  <a:pt x="901" y="93"/>
                  <a:pt x="901" y="93"/>
                  <a:pt x="901" y="93"/>
                </a:cubicBezTo>
                <a:cubicBezTo>
                  <a:pt x="897" y="96"/>
                  <a:pt x="897" y="96"/>
                  <a:pt x="897" y="96"/>
                </a:cubicBezTo>
                <a:cubicBezTo>
                  <a:pt x="894" y="97"/>
                  <a:pt x="894" y="97"/>
                  <a:pt x="894" y="97"/>
                </a:cubicBezTo>
                <a:cubicBezTo>
                  <a:pt x="885" y="100"/>
                  <a:pt x="885" y="100"/>
                  <a:pt x="885" y="100"/>
                </a:cubicBezTo>
                <a:cubicBezTo>
                  <a:pt x="883" y="101"/>
                  <a:pt x="883" y="101"/>
                  <a:pt x="883" y="101"/>
                </a:cubicBezTo>
                <a:cubicBezTo>
                  <a:pt x="881" y="100"/>
                  <a:pt x="881" y="100"/>
                  <a:pt x="881" y="100"/>
                </a:cubicBezTo>
                <a:cubicBezTo>
                  <a:pt x="873" y="101"/>
                  <a:pt x="873" y="101"/>
                  <a:pt x="873" y="101"/>
                </a:cubicBezTo>
                <a:cubicBezTo>
                  <a:pt x="870" y="97"/>
                  <a:pt x="870" y="97"/>
                  <a:pt x="870" y="97"/>
                </a:cubicBezTo>
                <a:cubicBezTo>
                  <a:pt x="867" y="98"/>
                  <a:pt x="867" y="98"/>
                  <a:pt x="867" y="98"/>
                </a:cubicBezTo>
                <a:cubicBezTo>
                  <a:pt x="865" y="97"/>
                  <a:pt x="865" y="97"/>
                  <a:pt x="865" y="97"/>
                </a:cubicBezTo>
                <a:cubicBezTo>
                  <a:pt x="865" y="95"/>
                  <a:pt x="865" y="95"/>
                  <a:pt x="865" y="95"/>
                </a:cubicBezTo>
                <a:cubicBezTo>
                  <a:pt x="868" y="92"/>
                  <a:pt x="868" y="92"/>
                  <a:pt x="868" y="92"/>
                </a:cubicBezTo>
                <a:cubicBezTo>
                  <a:pt x="871" y="92"/>
                  <a:pt x="871" y="92"/>
                  <a:pt x="871" y="92"/>
                </a:cubicBezTo>
                <a:cubicBezTo>
                  <a:pt x="873" y="91"/>
                  <a:pt x="873" y="91"/>
                  <a:pt x="873" y="91"/>
                </a:cubicBezTo>
                <a:cubicBezTo>
                  <a:pt x="878" y="91"/>
                  <a:pt x="878" y="91"/>
                  <a:pt x="878" y="91"/>
                </a:cubicBezTo>
                <a:cubicBezTo>
                  <a:pt x="880" y="89"/>
                  <a:pt x="880" y="89"/>
                  <a:pt x="880" y="89"/>
                </a:cubicBezTo>
                <a:cubicBezTo>
                  <a:pt x="878" y="89"/>
                  <a:pt x="878" y="89"/>
                  <a:pt x="878" y="89"/>
                </a:cubicBezTo>
                <a:cubicBezTo>
                  <a:pt x="875" y="90"/>
                  <a:pt x="875" y="90"/>
                  <a:pt x="875" y="90"/>
                </a:cubicBezTo>
                <a:cubicBezTo>
                  <a:pt x="872" y="89"/>
                  <a:pt x="872" y="89"/>
                  <a:pt x="872" y="89"/>
                </a:cubicBezTo>
                <a:cubicBezTo>
                  <a:pt x="869" y="91"/>
                  <a:pt x="869" y="91"/>
                  <a:pt x="869" y="91"/>
                </a:cubicBezTo>
                <a:cubicBezTo>
                  <a:pt x="867" y="90"/>
                  <a:pt x="867" y="90"/>
                  <a:pt x="867" y="90"/>
                </a:cubicBezTo>
                <a:cubicBezTo>
                  <a:pt x="867" y="88"/>
                  <a:pt x="867" y="88"/>
                  <a:pt x="867" y="88"/>
                </a:cubicBezTo>
                <a:cubicBezTo>
                  <a:pt x="870" y="87"/>
                  <a:pt x="870" y="87"/>
                  <a:pt x="870" y="87"/>
                </a:cubicBezTo>
                <a:cubicBezTo>
                  <a:pt x="867" y="86"/>
                  <a:pt x="867" y="86"/>
                  <a:pt x="867" y="86"/>
                </a:cubicBezTo>
                <a:cubicBezTo>
                  <a:pt x="864" y="87"/>
                  <a:pt x="864" y="87"/>
                  <a:pt x="864" y="87"/>
                </a:cubicBezTo>
                <a:cubicBezTo>
                  <a:pt x="863" y="91"/>
                  <a:pt x="863" y="91"/>
                  <a:pt x="863" y="91"/>
                </a:cubicBezTo>
                <a:cubicBezTo>
                  <a:pt x="860" y="94"/>
                  <a:pt x="860" y="94"/>
                  <a:pt x="860" y="94"/>
                </a:cubicBezTo>
                <a:cubicBezTo>
                  <a:pt x="856" y="95"/>
                  <a:pt x="856" y="95"/>
                  <a:pt x="856" y="95"/>
                </a:cubicBezTo>
                <a:cubicBezTo>
                  <a:pt x="851" y="93"/>
                  <a:pt x="851" y="93"/>
                  <a:pt x="851" y="93"/>
                </a:cubicBezTo>
                <a:cubicBezTo>
                  <a:pt x="846" y="93"/>
                  <a:pt x="846" y="93"/>
                  <a:pt x="846" y="93"/>
                </a:cubicBezTo>
                <a:cubicBezTo>
                  <a:pt x="844" y="90"/>
                  <a:pt x="844" y="90"/>
                  <a:pt x="844" y="90"/>
                </a:cubicBezTo>
                <a:cubicBezTo>
                  <a:pt x="844" y="89"/>
                  <a:pt x="844" y="89"/>
                  <a:pt x="844" y="89"/>
                </a:cubicBezTo>
                <a:cubicBezTo>
                  <a:pt x="841" y="89"/>
                  <a:pt x="841" y="89"/>
                  <a:pt x="841" y="89"/>
                </a:cubicBezTo>
                <a:cubicBezTo>
                  <a:pt x="838" y="87"/>
                  <a:pt x="838" y="87"/>
                  <a:pt x="838" y="87"/>
                </a:cubicBezTo>
                <a:cubicBezTo>
                  <a:pt x="839" y="85"/>
                  <a:pt x="839" y="85"/>
                  <a:pt x="839" y="85"/>
                </a:cubicBezTo>
                <a:cubicBezTo>
                  <a:pt x="841" y="84"/>
                  <a:pt x="841" y="84"/>
                  <a:pt x="841" y="84"/>
                </a:cubicBezTo>
                <a:cubicBezTo>
                  <a:pt x="842" y="81"/>
                  <a:pt x="842" y="81"/>
                  <a:pt x="842" y="81"/>
                </a:cubicBezTo>
                <a:cubicBezTo>
                  <a:pt x="846" y="79"/>
                  <a:pt x="846" y="79"/>
                  <a:pt x="846" y="79"/>
                </a:cubicBezTo>
                <a:cubicBezTo>
                  <a:pt x="848" y="76"/>
                  <a:pt x="848" y="76"/>
                  <a:pt x="848" y="76"/>
                </a:cubicBezTo>
                <a:cubicBezTo>
                  <a:pt x="852" y="74"/>
                  <a:pt x="852" y="74"/>
                  <a:pt x="852" y="74"/>
                </a:cubicBezTo>
                <a:cubicBezTo>
                  <a:pt x="853" y="72"/>
                  <a:pt x="853" y="72"/>
                  <a:pt x="853" y="72"/>
                </a:cubicBezTo>
                <a:cubicBezTo>
                  <a:pt x="855" y="73"/>
                  <a:pt x="855" y="73"/>
                  <a:pt x="855" y="73"/>
                </a:cubicBezTo>
                <a:cubicBezTo>
                  <a:pt x="860" y="73"/>
                  <a:pt x="860" y="73"/>
                  <a:pt x="860" y="73"/>
                </a:cubicBezTo>
                <a:cubicBezTo>
                  <a:pt x="862" y="73"/>
                  <a:pt x="862" y="73"/>
                  <a:pt x="862" y="73"/>
                </a:cubicBezTo>
                <a:cubicBezTo>
                  <a:pt x="864" y="73"/>
                  <a:pt x="864" y="73"/>
                  <a:pt x="864" y="73"/>
                </a:cubicBezTo>
                <a:cubicBezTo>
                  <a:pt x="869" y="75"/>
                  <a:pt x="869" y="75"/>
                  <a:pt x="869" y="75"/>
                </a:cubicBezTo>
                <a:cubicBezTo>
                  <a:pt x="873" y="75"/>
                  <a:pt x="873" y="75"/>
                  <a:pt x="873" y="75"/>
                </a:cubicBezTo>
                <a:cubicBezTo>
                  <a:pt x="875" y="76"/>
                  <a:pt x="875" y="76"/>
                  <a:pt x="875" y="76"/>
                </a:cubicBezTo>
                <a:cubicBezTo>
                  <a:pt x="879" y="76"/>
                  <a:pt x="879" y="76"/>
                  <a:pt x="879" y="76"/>
                </a:cubicBezTo>
                <a:cubicBezTo>
                  <a:pt x="880" y="75"/>
                  <a:pt x="880" y="75"/>
                  <a:pt x="880" y="75"/>
                </a:cubicBezTo>
                <a:cubicBezTo>
                  <a:pt x="878" y="74"/>
                  <a:pt x="878" y="74"/>
                  <a:pt x="878" y="74"/>
                </a:cubicBezTo>
                <a:cubicBezTo>
                  <a:pt x="873" y="74"/>
                  <a:pt x="873" y="74"/>
                  <a:pt x="873" y="74"/>
                </a:cubicBezTo>
                <a:cubicBezTo>
                  <a:pt x="868" y="73"/>
                  <a:pt x="868" y="73"/>
                  <a:pt x="868" y="73"/>
                </a:cubicBezTo>
                <a:cubicBezTo>
                  <a:pt x="865" y="71"/>
                  <a:pt x="865" y="71"/>
                  <a:pt x="865" y="71"/>
                </a:cubicBezTo>
                <a:cubicBezTo>
                  <a:pt x="862" y="71"/>
                  <a:pt x="862" y="71"/>
                  <a:pt x="862" y="71"/>
                </a:cubicBezTo>
                <a:cubicBezTo>
                  <a:pt x="857" y="72"/>
                  <a:pt x="857" y="72"/>
                  <a:pt x="857" y="72"/>
                </a:cubicBezTo>
                <a:cubicBezTo>
                  <a:pt x="852" y="71"/>
                  <a:pt x="852" y="71"/>
                  <a:pt x="852" y="71"/>
                </a:cubicBezTo>
                <a:cubicBezTo>
                  <a:pt x="850" y="71"/>
                  <a:pt x="850" y="71"/>
                  <a:pt x="850" y="71"/>
                </a:cubicBezTo>
                <a:cubicBezTo>
                  <a:pt x="849" y="72"/>
                  <a:pt x="849" y="72"/>
                  <a:pt x="849" y="72"/>
                </a:cubicBezTo>
                <a:cubicBezTo>
                  <a:pt x="847" y="75"/>
                  <a:pt x="847" y="75"/>
                  <a:pt x="847" y="75"/>
                </a:cubicBezTo>
                <a:cubicBezTo>
                  <a:pt x="842" y="77"/>
                  <a:pt x="842" y="77"/>
                  <a:pt x="842" y="77"/>
                </a:cubicBezTo>
                <a:cubicBezTo>
                  <a:pt x="838" y="80"/>
                  <a:pt x="838" y="80"/>
                  <a:pt x="838" y="80"/>
                </a:cubicBezTo>
                <a:cubicBezTo>
                  <a:pt x="835" y="83"/>
                  <a:pt x="835" y="83"/>
                  <a:pt x="835" y="83"/>
                </a:cubicBezTo>
                <a:cubicBezTo>
                  <a:pt x="834" y="84"/>
                  <a:pt x="834" y="84"/>
                  <a:pt x="834" y="84"/>
                </a:cubicBezTo>
                <a:cubicBezTo>
                  <a:pt x="832" y="83"/>
                  <a:pt x="832" y="83"/>
                  <a:pt x="832" y="83"/>
                </a:cubicBezTo>
                <a:cubicBezTo>
                  <a:pt x="829" y="79"/>
                  <a:pt x="829" y="79"/>
                  <a:pt x="829" y="79"/>
                </a:cubicBezTo>
                <a:cubicBezTo>
                  <a:pt x="827" y="78"/>
                  <a:pt x="827" y="78"/>
                  <a:pt x="827" y="78"/>
                </a:cubicBezTo>
                <a:cubicBezTo>
                  <a:pt x="826" y="77"/>
                  <a:pt x="826" y="77"/>
                  <a:pt x="826" y="77"/>
                </a:cubicBezTo>
                <a:cubicBezTo>
                  <a:pt x="825" y="74"/>
                  <a:pt x="825" y="74"/>
                  <a:pt x="825" y="74"/>
                </a:cubicBezTo>
                <a:cubicBezTo>
                  <a:pt x="825" y="70"/>
                  <a:pt x="825" y="70"/>
                  <a:pt x="825" y="70"/>
                </a:cubicBezTo>
                <a:cubicBezTo>
                  <a:pt x="824" y="69"/>
                  <a:pt x="824" y="69"/>
                  <a:pt x="824" y="69"/>
                </a:cubicBezTo>
                <a:cubicBezTo>
                  <a:pt x="823" y="66"/>
                  <a:pt x="823" y="66"/>
                  <a:pt x="823" y="66"/>
                </a:cubicBezTo>
                <a:cubicBezTo>
                  <a:pt x="824" y="65"/>
                  <a:pt x="824" y="65"/>
                  <a:pt x="824" y="65"/>
                </a:cubicBezTo>
                <a:cubicBezTo>
                  <a:pt x="827" y="65"/>
                  <a:pt x="827" y="65"/>
                  <a:pt x="827" y="65"/>
                </a:cubicBezTo>
                <a:cubicBezTo>
                  <a:pt x="829" y="65"/>
                  <a:pt x="829" y="65"/>
                  <a:pt x="829" y="65"/>
                </a:cubicBezTo>
                <a:cubicBezTo>
                  <a:pt x="831" y="66"/>
                  <a:pt x="831" y="66"/>
                  <a:pt x="831" y="66"/>
                </a:cubicBezTo>
                <a:cubicBezTo>
                  <a:pt x="838" y="66"/>
                  <a:pt x="838" y="66"/>
                  <a:pt x="838" y="66"/>
                </a:cubicBezTo>
                <a:cubicBezTo>
                  <a:pt x="842" y="68"/>
                  <a:pt x="842" y="68"/>
                  <a:pt x="842" y="68"/>
                </a:cubicBezTo>
                <a:cubicBezTo>
                  <a:pt x="844" y="68"/>
                  <a:pt x="844" y="68"/>
                  <a:pt x="844" y="68"/>
                </a:cubicBezTo>
                <a:cubicBezTo>
                  <a:pt x="845" y="69"/>
                  <a:pt x="845" y="69"/>
                  <a:pt x="845" y="69"/>
                </a:cubicBezTo>
                <a:cubicBezTo>
                  <a:pt x="847" y="69"/>
                  <a:pt x="847" y="69"/>
                  <a:pt x="847" y="69"/>
                </a:cubicBezTo>
                <a:cubicBezTo>
                  <a:pt x="850" y="68"/>
                  <a:pt x="850" y="68"/>
                  <a:pt x="850" y="68"/>
                </a:cubicBezTo>
                <a:cubicBezTo>
                  <a:pt x="853" y="69"/>
                  <a:pt x="853" y="69"/>
                  <a:pt x="853" y="69"/>
                </a:cubicBezTo>
                <a:cubicBezTo>
                  <a:pt x="854" y="68"/>
                  <a:pt x="854" y="68"/>
                  <a:pt x="854" y="68"/>
                </a:cubicBezTo>
                <a:cubicBezTo>
                  <a:pt x="856" y="67"/>
                  <a:pt x="856" y="67"/>
                  <a:pt x="856" y="67"/>
                </a:cubicBezTo>
                <a:cubicBezTo>
                  <a:pt x="858" y="66"/>
                  <a:pt x="858" y="66"/>
                  <a:pt x="858" y="66"/>
                </a:cubicBezTo>
                <a:cubicBezTo>
                  <a:pt x="863" y="65"/>
                  <a:pt x="863" y="65"/>
                  <a:pt x="863" y="65"/>
                </a:cubicBezTo>
                <a:cubicBezTo>
                  <a:pt x="867" y="64"/>
                  <a:pt x="867" y="64"/>
                  <a:pt x="867" y="64"/>
                </a:cubicBezTo>
                <a:cubicBezTo>
                  <a:pt x="868" y="63"/>
                  <a:pt x="868" y="63"/>
                  <a:pt x="868" y="63"/>
                </a:cubicBezTo>
                <a:cubicBezTo>
                  <a:pt x="868" y="62"/>
                  <a:pt x="868" y="62"/>
                  <a:pt x="868" y="62"/>
                </a:cubicBezTo>
                <a:cubicBezTo>
                  <a:pt x="866" y="62"/>
                  <a:pt x="866" y="62"/>
                  <a:pt x="866" y="62"/>
                </a:cubicBezTo>
                <a:cubicBezTo>
                  <a:pt x="865" y="62"/>
                  <a:pt x="865" y="62"/>
                  <a:pt x="865" y="62"/>
                </a:cubicBezTo>
                <a:cubicBezTo>
                  <a:pt x="863" y="63"/>
                  <a:pt x="863" y="63"/>
                  <a:pt x="863" y="63"/>
                </a:cubicBezTo>
                <a:cubicBezTo>
                  <a:pt x="860" y="64"/>
                  <a:pt x="860" y="64"/>
                  <a:pt x="860" y="64"/>
                </a:cubicBezTo>
                <a:cubicBezTo>
                  <a:pt x="855" y="64"/>
                  <a:pt x="855" y="64"/>
                  <a:pt x="855" y="64"/>
                </a:cubicBezTo>
                <a:cubicBezTo>
                  <a:pt x="851" y="66"/>
                  <a:pt x="851" y="66"/>
                  <a:pt x="851" y="66"/>
                </a:cubicBezTo>
                <a:cubicBezTo>
                  <a:pt x="850" y="66"/>
                  <a:pt x="850" y="66"/>
                  <a:pt x="850" y="66"/>
                </a:cubicBezTo>
                <a:cubicBezTo>
                  <a:pt x="846" y="66"/>
                  <a:pt x="846" y="66"/>
                  <a:pt x="846" y="66"/>
                </a:cubicBezTo>
                <a:cubicBezTo>
                  <a:pt x="845" y="66"/>
                  <a:pt x="845" y="66"/>
                  <a:pt x="845" y="66"/>
                </a:cubicBezTo>
                <a:cubicBezTo>
                  <a:pt x="843" y="66"/>
                  <a:pt x="843" y="66"/>
                  <a:pt x="843" y="66"/>
                </a:cubicBezTo>
                <a:cubicBezTo>
                  <a:pt x="840" y="64"/>
                  <a:pt x="840" y="64"/>
                  <a:pt x="840" y="64"/>
                </a:cubicBezTo>
                <a:cubicBezTo>
                  <a:pt x="839" y="64"/>
                  <a:pt x="839" y="64"/>
                  <a:pt x="839" y="64"/>
                </a:cubicBezTo>
                <a:cubicBezTo>
                  <a:pt x="838" y="63"/>
                  <a:pt x="838" y="63"/>
                  <a:pt x="838" y="63"/>
                </a:cubicBezTo>
                <a:cubicBezTo>
                  <a:pt x="835" y="63"/>
                  <a:pt x="835" y="63"/>
                  <a:pt x="835" y="63"/>
                </a:cubicBezTo>
                <a:cubicBezTo>
                  <a:pt x="831" y="61"/>
                  <a:pt x="831" y="61"/>
                  <a:pt x="831" y="61"/>
                </a:cubicBezTo>
                <a:cubicBezTo>
                  <a:pt x="828" y="62"/>
                  <a:pt x="828" y="62"/>
                  <a:pt x="828" y="62"/>
                </a:cubicBezTo>
                <a:cubicBezTo>
                  <a:pt x="826" y="61"/>
                  <a:pt x="826" y="61"/>
                  <a:pt x="826" y="61"/>
                </a:cubicBezTo>
                <a:cubicBezTo>
                  <a:pt x="825" y="59"/>
                  <a:pt x="825" y="59"/>
                  <a:pt x="825" y="59"/>
                </a:cubicBezTo>
                <a:cubicBezTo>
                  <a:pt x="826" y="58"/>
                  <a:pt x="826" y="58"/>
                  <a:pt x="826" y="58"/>
                </a:cubicBezTo>
                <a:cubicBezTo>
                  <a:pt x="826" y="55"/>
                  <a:pt x="826" y="55"/>
                  <a:pt x="826" y="55"/>
                </a:cubicBezTo>
                <a:cubicBezTo>
                  <a:pt x="828" y="54"/>
                  <a:pt x="828" y="54"/>
                  <a:pt x="828" y="54"/>
                </a:cubicBezTo>
                <a:cubicBezTo>
                  <a:pt x="829" y="54"/>
                  <a:pt x="829" y="54"/>
                  <a:pt x="829" y="54"/>
                </a:cubicBezTo>
                <a:cubicBezTo>
                  <a:pt x="831" y="56"/>
                  <a:pt x="831" y="56"/>
                  <a:pt x="831" y="56"/>
                </a:cubicBezTo>
                <a:cubicBezTo>
                  <a:pt x="834" y="56"/>
                  <a:pt x="834" y="56"/>
                  <a:pt x="834" y="56"/>
                </a:cubicBezTo>
                <a:cubicBezTo>
                  <a:pt x="836" y="55"/>
                  <a:pt x="836" y="55"/>
                  <a:pt x="836" y="55"/>
                </a:cubicBezTo>
                <a:cubicBezTo>
                  <a:pt x="834" y="53"/>
                  <a:pt x="834" y="53"/>
                  <a:pt x="834" y="53"/>
                </a:cubicBezTo>
                <a:cubicBezTo>
                  <a:pt x="832" y="53"/>
                  <a:pt x="832" y="53"/>
                  <a:pt x="832" y="53"/>
                </a:cubicBezTo>
                <a:cubicBezTo>
                  <a:pt x="830" y="51"/>
                  <a:pt x="830" y="51"/>
                  <a:pt x="830" y="51"/>
                </a:cubicBezTo>
                <a:cubicBezTo>
                  <a:pt x="831" y="50"/>
                  <a:pt x="831" y="50"/>
                  <a:pt x="831" y="50"/>
                </a:cubicBezTo>
                <a:cubicBezTo>
                  <a:pt x="834" y="50"/>
                  <a:pt x="834" y="50"/>
                  <a:pt x="834" y="50"/>
                </a:cubicBezTo>
                <a:cubicBezTo>
                  <a:pt x="837" y="47"/>
                  <a:pt x="837" y="47"/>
                  <a:pt x="837" y="47"/>
                </a:cubicBezTo>
                <a:cubicBezTo>
                  <a:pt x="841" y="47"/>
                  <a:pt x="841" y="47"/>
                  <a:pt x="841" y="47"/>
                </a:cubicBezTo>
                <a:cubicBezTo>
                  <a:pt x="843" y="46"/>
                  <a:pt x="843" y="46"/>
                  <a:pt x="843" y="46"/>
                </a:cubicBezTo>
                <a:cubicBezTo>
                  <a:pt x="845" y="46"/>
                  <a:pt x="845" y="46"/>
                  <a:pt x="845" y="46"/>
                </a:cubicBezTo>
                <a:cubicBezTo>
                  <a:pt x="847" y="47"/>
                  <a:pt x="847" y="47"/>
                  <a:pt x="847" y="47"/>
                </a:cubicBezTo>
                <a:cubicBezTo>
                  <a:pt x="849" y="46"/>
                  <a:pt x="849" y="46"/>
                  <a:pt x="849" y="46"/>
                </a:cubicBezTo>
                <a:cubicBezTo>
                  <a:pt x="849" y="45"/>
                  <a:pt x="849" y="45"/>
                  <a:pt x="849" y="45"/>
                </a:cubicBezTo>
                <a:cubicBezTo>
                  <a:pt x="848" y="44"/>
                  <a:pt x="848" y="44"/>
                  <a:pt x="848" y="44"/>
                </a:cubicBezTo>
                <a:cubicBezTo>
                  <a:pt x="843" y="45"/>
                  <a:pt x="843" y="45"/>
                  <a:pt x="843" y="45"/>
                </a:cubicBezTo>
                <a:cubicBezTo>
                  <a:pt x="838" y="45"/>
                  <a:pt x="838" y="45"/>
                  <a:pt x="838" y="45"/>
                </a:cubicBezTo>
                <a:cubicBezTo>
                  <a:pt x="835" y="46"/>
                  <a:pt x="835" y="46"/>
                  <a:pt x="835" y="46"/>
                </a:cubicBezTo>
                <a:cubicBezTo>
                  <a:pt x="833" y="47"/>
                  <a:pt x="833" y="47"/>
                  <a:pt x="833" y="47"/>
                </a:cubicBezTo>
                <a:cubicBezTo>
                  <a:pt x="831" y="48"/>
                  <a:pt x="831" y="48"/>
                  <a:pt x="831" y="48"/>
                </a:cubicBezTo>
                <a:cubicBezTo>
                  <a:pt x="829" y="48"/>
                  <a:pt x="829" y="48"/>
                  <a:pt x="829" y="48"/>
                </a:cubicBezTo>
                <a:cubicBezTo>
                  <a:pt x="829" y="46"/>
                  <a:pt x="829" y="46"/>
                  <a:pt x="829" y="46"/>
                </a:cubicBezTo>
                <a:cubicBezTo>
                  <a:pt x="829" y="44"/>
                  <a:pt x="829" y="44"/>
                  <a:pt x="829" y="44"/>
                </a:cubicBezTo>
                <a:cubicBezTo>
                  <a:pt x="832" y="43"/>
                  <a:pt x="832" y="43"/>
                  <a:pt x="832" y="43"/>
                </a:cubicBezTo>
                <a:cubicBezTo>
                  <a:pt x="835" y="40"/>
                  <a:pt x="835" y="40"/>
                  <a:pt x="835" y="40"/>
                </a:cubicBezTo>
                <a:cubicBezTo>
                  <a:pt x="839" y="40"/>
                  <a:pt x="839" y="40"/>
                  <a:pt x="839" y="40"/>
                </a:cubicBezTo>
                <a:cubicBezTo>
                  <a:pt x="841" y="39"/>
                  <a:pt x="841" y="39"/>
                  <a:pt x="841" y="39"/>
                </a:cubicBezTo>
                <a:cubicBezTo>
                  <a:pt x="838" y="39"/>
                  <a:pt x="838" y="39"/>
                  <a:pt x="838" y="39"/>
                </a:cubicBezTo>
                <a:cubicBezTo>
                  <a:pt x="837" y="37"/>
                  <a:pt x="837" y="37"/>
                  <a:pt x="837" y="37"/>
                </a:cubicBezTo>
                <a:cubicBezTo>
                  <a:pt x="838" y="34"/>
                  <a:pt x="838" y="34"/>
                  <a:pt x="838" y="34"/>
                </a:cubicBezTo>
                <a:cubicBezTo>
                  <a:pt x="836" y="35"/>
                  <a:pt x="836" y="35"/>
                  <a:pt x="836" y="35"/>
                </a:cubicBezTo>
                <a:cubicBezTo>
                  <a:pt x="836" y="37"/>
                  <a:pt x="836" y="37"/>
                  <a:pt x="836" y="37"/>
                </a:cubicBezTo>
                <a:cubicBezTo>
                  <a:pt x="835" y="38"/>
                  <a:pt x="835" y="38"/>
                  <a:pt x="835" y="38"/>
                </a:cubicBezTo>
                <a:cubicBezTo>
                  <a:pt x="834" y="35"/>
                  <a:pt x="834" y="35"/>
                  <a:pt x="834" y="35"/>
                </a:cubicBezTo>
                <a:cubicBezTo>
                  <a:pt x="833" y="36"/>
                  <a:pt x="833" y="36"/>
                  <a:pt x="833" y="36"/>
                </a:cubicBezTo>
                <a:cubicBezTo>
                  <a:pt x="831" y="37"/>
                  <a:pt x="831" y="37"/>
                  <a:pt x="831" y="37"/>
                </a:cubicBezTo>
                <a:cubicBezTo>
                  <a:pt x="829" y="37"/>
                  <a:pt x="829" y="37"/>
                  <a:pt x="829" y="37"/>
                </a:cubicBezTo>
                <a:cubicBezTo>
                  <a:pt x="829" y="39"/>
                  <a:pt x="829" y="39"/>
                  <a:pt x="829" y="39"/>
                </a:cubicBezTo>
                <a:cubicBezTo>
                  <a:pt x="828" y="41"/>
                  <a:pt x="828" y="41"/>
                  <a:pt x="828" y="41"/>
                </a:cubicBezTo>
                <a:cubicBezTo>
                  <a:pt x="825" y="42"/>
                  <a:pt x="825" y="42"/>
                  <a:pt x="825" y="42"/>
                </a:cubicBezTo>
                <a:cubicBezTo>
                  <a:pt x="825" y="39"/>
                  <a:pt x="825" y="39"/>
                  <a:pt x="825" y="39"/>
                </a:cubicBezTo>
                <a:cubicBezTo>
                  <a:pt x="825" y="37"/>
                  <a:pt x="825" y="37"/>
                  <a:pt x="825" y="37"/>
                </a:cubicBezTo>
                <a:cubicBezTo>
                  <a:pt x="824" y="36"/>
                  <a:pt x="824" y="36"/>
                  <a:pt x="824" y="36"/>
                </a:cubicBezTo>
                <a:cubicBezTo>
                  <a:pt x="823" y="34"/>
                  <a:pt x="823" y="34"/>
                  <a:pt x="823" y="34"/>
                </a:cubicBezTo>
                <a:cubicBezTo>
                  <a:pt x="824" y="34"/>
                  <a:pt x="824" y="34"/>
                  <a:pt x="824" y="34"/>
                </a:cubicBezTo>
                <a:cubicBezTo>
                  <a:pt x="826" y="34"/>
                  <a:pt x="826" y="34"/>
                  <a:pt x="826" y="34"/>
                </a:cubicBezTo>
                <a:cubicBezTo>
                  <a:pt x="826" y="32"/>
                  <a:pt x="826" y="32"/>
                  <a:pt x="826" y="32"/>
                </a:cubicBezTo>
                <a:cubicBezTo>
                  <a:pt x="828" y="31"/>
                  <a:pt x="828" y="31"/>
                  <a:pt x="828" y="31"/>
                </a:cubicBezTo>
                <a:cubicBezTo>
                  <a:pt x="831" y="31"/>
                  <a:pt x="831" y="31"/>
                  <a:pt x="831" y="31"/>
                </a:cubicBezTo>
                <a:cubicBezTo>
                  <a:pt x="832" y="29"/>
                  <a:pt x="832" y="29"/>
                  <a:pt x="832" y="29"/>
                </a:cubicBezTo>
                <a:cubicBezTo>
                  <a:pt x="835" y="27"/>
                  <a:pt x="835" y="27"/>
                  <a:pt x="835" y="27"/>
                </a:cubicBezTo>
                <a:cubicBezTo>
                  <a:pt x="837" y="27"/>
                  <a:pt x="837" y="27"/>
                  <a:pt x="837" y="27"/>
                </a:cubicBezTo>
                <a:cubicBezTo>
                  <a:pt x="841" y="26"/>
                  <a:pt x="841" y="26"/>
                  <a:pt x="841" y="26"/>
                </a:cubicBezTo>
                <a:cubicBezTo>
                  <a:pt x="846" y="25"/>
                  <a:pt x="846" y="25"/>
                  <a:pt x="846" y="25"/>
                </a:cubicBezTo>
                <a:cubicBezTo>
                  <a:pt x="847" y="24"/>
                  <a:pt x="847" y="24"/>
                  <a:pt x="847" y="24"/>
                </a:cubicBezTo>
                <a:cubicBezTo>
                  <a:pt x="849" y="25"/>
                  <a:pt x="849" y="25"/>
                  <a:pt x="849" y="25"/>
                </a:cubicBezTo>
                <a:cubicBezTo>
                  <a:pt x="849" y="27"/>
                  <a:pt x="849" y="27"/>
                  <a:pt x="849" y="27"/>
                </a:cubicBezTo>
                <a:cubicBezTo>
                  <a:pt x="848" y="28"/>
                  <a:pt x="848" y="28"/>
                  <a:pt x="848" y="28"/>
                </a:cubicBezTo>
                <a:cubicBezTo>
                  <a:pt x="848" y="34"/>
                  <a:pt x="848" y="34"/>
                  <a:pt x="848" y="34"/>
                </a:cubicBezTo>
                <a:cubicBezTo>
                  <a:pt x="850" y="33"/>
                  <a:pt x="850" y="33"/>
                  <a:pt x="850" y="33"/>
                </a:cubicBezTo>
                <a:cubicBezTo>
                  <a:pt x="851" y="29"/>
                  <a:pt x="851" y="29"/>
                  <a:pt x="851" y="29"/>
                </a:cubicBezTo>
                <a:cubicBezTo>
                  <a:pt x="853" y="28"/>
                  <a:pt x="853" y="28"/>
                  <a:pt x="853" y="28"/>
                </a:cubicBezTo>
                <a:cubicBezTo>
                  <a:pt x="853" y="29"/>
                  <a:pt x="853" y="29"/>
                  <a:pt x="853" y="29"/>
                </a:cubicBezTo>
                <a:cubicBezTo>
                  <a:pt x="853" y="30"/>
                  <a:pt x="853" y="30"/>
                  <a:pt x="853" y="30"/>
                </a:cubicBezTo>
                <a:cubicBezTo>
                  <a:pt x="853" y="32"/>
                  <a:pt x="853" y="32"/>
                  <a:pt x="853" y="32"/>
                </a:cubicBezTo>
                <a:cubicBezTo>
                  <a:pt x="854" y="31"/>
                  <a:pt x="854" y="31"/>
                  <a:pt x="854" y="31"/>
                </a:cubicBezTo>
                <a:cubicBezTo>
                  <a:pt x="854" y="29"/>
                  <a:pt x="854" y="29"/>
                  <a:pt x="854" y="29"/>
                </a:cubicBezTo>
                <a:cubicBezTo>
                  <a:pt x="855" y="28"/>
                  <a:pt x="855" y="28"/>
                  <a:pt x="855" y="28"/>
                </a:cubicBezTo>
                <a:cubicBezTo>
                  <a:pt x="855" y="26"/>
                  <a:pt x="855" y="26"/>
                  <a:pt x="855" y="26"/>
                </a:cubicBezTo>
                <a:cubicBezTo>
                  <a:pt x="855" y="23"/>
                  <a:pt x="855" y="23"/>
                  <a:pt x="855" y="23"/>
                </a:cubicBezTo>
                <a:cubicBezTo>
                  <a:pt x="857" y="23"/>
                  <a:pt x="857" y="23"/>
                  <a:pt x="857" y="23"/>
                </a:cubicBezTo>
                <a:cubicBezTo>
                  <a:pt x="860" y="20"/>
                  <a:pt x="860" y="20"/>
                  <a:pt x="860" y="20"/>
                </a:cubicBezTo>
                <a:cubicBezTo>
                  <a:pt x="861" y="21"/>
                  <a:pt x="861" y="21"/>
                  <a:pt x="861" y="21"/>
                </a:cubicBezTo>
                <a:cubicBezTo>
                  <a:pt x="861" y="23"/>
                  <a:pt x="861" y="23"/>
                  <a:pt x="861" y="23"/>
                </a:cubicBezTo>
                <a:cubicBezTo>
                  <a:pt x="861" y="26"/>
                  <a:pt x="861" y="26"/>
                  <a:pt x="861" y="26"/>
                </a:cubicBezTo>
                <a:cubicBezTo>
                  <a:pt x="863" y="27"/>
                  <a:pt x="863" y="27"/>
                  <a:pt x="863" y="27"/>
                </a:cubicBezTo>
                <a:cubicBezTo>
                  <a:pt x="864" y="30"/>
                  <a:pt x="864" y="30"/>
                  <a:pt x="864" y="30"/>
                </a:cubicBezTo>
                <a:cubicBezTo>
                  <a:pt x="863" y="32"/>
                  <a:pt x="863" y="32"/>
                  <a:pt x="863" y="32"/>
                </a:cubicBezTo>
                <a:cubicBezTo>
                  <a:pt x="864" y="34"/>
                  <a:pt x="864" y="34"/>
                  <a:pt x="864" y="34"/>
                </a:cubicBezTo>
                <a:cubicBezTo>
                  <a:pt x="864" y="35"/>
                  <a:pt x="864" y="35"/>
                  <a:pt x="864" y="35"/>
                </a:cubicBezTo>
                <a:cubicBezTo>
                  <a:pt x="865" y="37"/>
                  <a:pt x="865" y="37"/>
                  <a:pt x="865" y="37"/>
                </a:cubicBezTo>
                <a:cubicBezTo>
                  <a:pt x="866" y="36"/>
                  <a:pt x="866" y="36"/>
                  <a:pt x="866" y="36"/>
                </a:cubicBezTo>
                <a:cubicBezTo>
                  <a:pt x="865" y="34"/>
                  <a:pt x="865" y="34"/>
                  <a:pt x="865" y="34"/>
                </a:cubicBezTo>
                <a:cubicBezTo>
                  <a:pt x="865" y="31"/>
                  <a:pt x="865" y="31"/>
                  <a:pt x="865" y="31"/>
                </a:cubicBezTo>
                <a:cubicBezTo>
                  <a:pt x="867" y="31"/>
                  <a:pt x="867" y="31"/>
                  <a:pt x="867" y="31"/>
                </a:cubicBezTo>
                <a:cubicBezTo>
                  <a:pt x="869" y="27"/>
                  <a:pt x="869" y="27"/>
                  <a:pt x="869" y="27"/>
                </a:cubicBezTo>
                <a:cubicBezTo>
                  <a:pt x="871" y="27"/>
                  <a:pt x="871" y="27"/>
                  <a:pt x="871" y="27"/>
                </a:cubicBezTo>
                <a:cubicBezTo>
                  <a:pt x="873" y="30"/>
                  <a:pt x="873" y="30"/>
                  <a:pt x="873" y="30"/>
                </a:cubicBezTo>
                <a:cubicBezTo>
                  <a:pt x="873" y="33"/>
                  <a:pt x="873" y="33"/>
                  <a:pt x="873" y="33"/>
                </a:cubicBezTo>
                <a:cubicBezTo>
                  <a:pt x="872" y="35"/>
                  <a:pt x="872" y="35"/>
                  <a:pt x="872" y="35"/>
                </a:cubicBezTo>
                <a:cubicBezTo>
                  <a:pt x="873" y="37"/>
                  <a:pt x="873" y="37"/>
                  <a:pt x="873" y="37"/>
                </a:cubicBezTo>
                <a:cubicBezTo>
                  <a:pt x="874" y="38"/>
                  <a:pt x="874" y="38"/>
                  <a:pt x="874" y="38"/>
                </a:cubicBezTo>
                <a:cubicBezTo>
                  <a:pt x="875" y="37"/>
                  <a:pt x="875" y="37"/>
                  <a:pt x="875" y="37"/>
                </a:cubicBezTo>
                <a:cubicBezTo>
                  <a:pt x="875" y="34"/>
                  <a:pt x="875" y="34"/>
                  <a:pt x="875" y="34"/>
                </a:cubicBezTo>
                <a:cubicBezTo>
                  <a:pt x="876" y="33"/>
                  <a:pt x="876" y="33"/>
                  <a:pt x="876" y="33"/>
                </a:cubicBezTo>
                <a:cubicBezTo>
                  <a:pt x="878" y="32"/>
                  <a:pt x="878" y="32"/>
                  <a:pt x="878" y="32"/>
                </a:cubicBezTo>
                <a:cubicBezTo>
                  <a:pt x="878" y="34"/>
                  <a:pt x="878" y="34"/>
                  <a:pt x="878" y="34"/>
                </a:cubicBezTo>
                <a:cubicBezTo>
                  <a:pt x="878" y="35"/>
                  <a:pt x="878" y="35"/>
                  <a:pt x="878" y="35"/>
                </a:cubicBezTo>
                <a:cubicBezTo>
                  <a:pt x="878" y="37"/>
                  <a:pt x="878" y="37"/>
                  <a:pt x="878" y="37"/>
                </a:cubicBezTo>
                <a:cubicBezTo>
                  <a:pt x="879" y="38"/>
                  <a:pt x="879" y="38"/>
                  <a:pt x="879" y="38"/>
                </a:cubicBezTo>
                <a:cubicBezTo>
                  <a:pt x="881" y="36"/>
                  <a:pt x="881" y="36"/>
                  <a:pt x="881" y="36"/>
                </a:cubicBezTo>
                <a:cubicBezTo>
                  <a:pt x="882" y="36"/>
                  <a:pt x="882" y="36"/>
                  <a:pt x="882" y="36"/>
                </a:cubicBezTo>
                <a:cubicBezTo>
                  <a:pt x="882" y="39"/>
                  <a:pt x="882" y="39"/>
                  <a:pt x="882" y="39"/>
                </a:cubicBezTo>
                <a:cubicBezTo>
                  <a:pt x="883" y="37"/>
                  <a:pt x="883" y="37"/>
                  <a:pt x="883" y="37"/>
                </a:cubicBezTo>
                <a:cubicBezTo>
                  <a:pt x="883" y="34"/>
                  <a:pt x="883" y="34"/>
                  <a:pt x="883" y="34"/>
                </a:cubicBezTo>
                <a:cubicBezTo>
                  <a:pt x="881" y="31"/>
                  <a:pt x="881" y="31"/>
                  <a:pt x="881" y="31"/>
                </a:cubicBezTo>
                <a:cubicBezTo>
                  <a:pt x="880" y="31"/>
                  <a:pt x="880" y="31"/>
                  <a:pt x="880" y="31"/>
                </a:cubicBezTo>
                <a:cubicBezTo>
                  <a:pt x="878" y="29"/>
                  <a:pt x="878" y="29"/>
                  <a:pt x="878" y="29"/>
                </a:cubicBezTo>
                <a:cubicBezTo>
                  <a:pt x="878" y="27"/>
                  <a:pt x="878" y="27"/>
                  <a:pt x="878" y="27"/>
                </a:cubicBezTo>
                <a:cubicBezTo>
                  <a:pt x="877" y="25"/>
                  <a:pt x="877" y="25"/>
                  <a:pt x="877" y="25"/>
                </a:cubicBezTo>
                <a:cubicBezTo>
                  <a:pt x="876" y="23"/>
                  <a:pt x="876" y="23"/>
                  <a:pt x="876" y="23"/>
                </a:cubicBezTo>
                <a:cubicBezTo>
                  <a:pt x="874" y="21"/>
                  <a:pt x="874" y="21"/>
                  <a:pt x="874" y="21"/>
                </a:cubicBezTo>
                <a:cubicBezTo>
                  <a:pt x="875" y="19"/>
                  <a:pt x="875" y="19"/>
                  <a:pt x="875" y="19"/>
                </a:cubicBezTo>
                <a:cubicBezTo>
                  <a:pt x="877" y="19"/>
                  <a:pt x="877" y="19"/>
                  <a:pt x="877" y="19"/>
                </a:cubicBezTo>
                <a:cubicBezTo>
                  <a:pt x="879" y="20"/>
                  <a:pt x="879" y="20"/>
                  <a:pt x="879" y="20"/>
                </a:cubicBezTo>
                <a:cubicBezTo>
                  <a:pt x="882" y="20"/>
                  <a:pt x="882" y="20"/>
                  <a:pt x="882" y="20"/>
                </a:cubicBezTo>
                <a:cubicBezTo>
                  <a:pt x="884" y="20"/>
                  <a:pt x="884" y="20"/>
                  <a:pt x="884" y="20"/>
                </a:cubicBezTo>
                <a:cubicBezTo>
                  <a:pt x="885" y="19"/>
                  <a:pt x="885" y="19"/>
                  <a:pt x="885" y="19"/>
                </a:cubicBezTo>
                <a:cubicBezTo>
                  <a:pt x="885" y="15"/>
                  <a:pt x="885" y="15"/>
                  <a:pt x="885" y="15"/>
                </a:cubicBezTo>
                <a:cubicBezTo>
                  <a:pt x="883" y="13"/>
                  <a:pt x="883" y="13"/>
                  <a:pt x="883" y="13"/>
                </a:cubicBezTo>
                <a:cubicBezTo>
                  <a:pt x="884" y="11"/>
                  <a:pt x="884" y="11"/>
                  <a:pt x="884" y="11"/>
                </a:cubicBezTo>
                <a:cubicBezTo>
                  <a:pt x="887" y="10"/>
                  <a:pt x="887" y="10"/>
                  <a:pt x="887" y="10"/>
                </a:cubicBezTo>
                <a:cubicBezTo>
                  <a:pt x="888" y="11"/>
                  <a:pt x="888" y="11"/>
                  <a:pt x="888" y="11"/>
                </a:cubicBezTo>
                <a:cubicBezTo>
                  <a:pt x="892" y="11"/>
                  <a:pt x="892" y="11"/>
                  <a:pt x="892" y="11"/>
                </a:cubicBezTo>
                <a:cubicBezTo>
                  <a:pt x="894" y="13"/>
                  <a:pt x="894" y="13"/>
                  <a:pt x="894" y="13"/>
                </a:cubicBezTo>
                <a:cubicBezTo>
                  <a:pt x="894" y="14"/>
                  <a:pt x="894" y="14"/>
                  <a:pt x="894" y="14"/>
                </a:cubicBezTo>
                <a:cubicBezTo>
                  <a:pt x="892" y="16"/>
                  <a:pt x="892" y="16"/>
                  <a:pt x="892" y="16"/>
                </a:cubicBezTo>
                <a:cubicBezTo>
                  <a:pt x="893" y="17"/>
                  <a:pt x="893" y="17"/>
                  <a:pt x="893" y="17"/>
                </a:cubicBezTo>
                <a:cubicBezTo>
                  <a:pt x="897" y="19"/>
                  <a:pt x="897" y="19"/>
                  <a:pt x="897" y="19"/>
                </a:cubicBezTo>
                <a:cubicBezTo>
                  <a:pt x="897" y="20"/>
                  <a:pt x="897" y="20"/>
                  <a:pt x="897" y="20"/>
                </a:cubicBezTo>
                <a:cubicBezTo>
                  <a:pt x="897" y="24"/>
                  <a:pt x="897" y="24"/>
                  <a:pt x="897" y="24"/>
                </a:cubicBezTo>
                <a:cubicBezTo>
                  <a:pt x="897" y="29"/>
                  <a:pt x="897" y="29"/>
                  <a:pt x="897" y="29"/>
                </a:cubicBezTo>
                <a:cubicBezTo>
                  <a:pt x="899" y="28"/>
                  <a:pt x="899" y="28"/>
                  <a:pt x="899" y="28"/>
                </a:cubicBezTo>
                <a:cubicBezTo>
                  <a:pt x="900" y="25"/>
                  <a:pt x="900" y="25"/>
                  <a:pt x="900" y="25"/>
                </a:cubicBezTo>
                <a:cubicBezTo>
                  <a:pt x="901" y="25"/>
                  <a:pt x="901" y="25"/>
                  <a:pt x="901" y="25"/>
                </a:cubicBezTo>
                <a:cubicBezTo>
                  <a:pt x="901" y="28"/>
                  <a:pt x="901" y="28"/>
                  <a:pt x="901" y="28"/>
                </a:cubicBezTo>
                <a:cubicBezTo>
                  <a:pt x="902" y="29"/>
                  <a:pt x="902" y="29"/>
                  <a:pt x="902" y="29"/>
                </a:cubicBezTo>
                <a:cubicBezTo>
                  <a:pt x="904" y="28"/>
                  <a:pt x="904" y="28"/>
                  <a:pt x="904" y="28"/>
                </a:cubicBezTo>
                <a:cubicBezTo>
                  <a:pt x="905" y="26"/>
                  <a:pt x="905" y="26"/>
                  <a:pt x="905" y="26"/>
                </a:cubicBezTo>
                <a:cubicBezTo>
                  <a:pt x="908" y="25"/>
                  <a:pt x="908" y="25"/>
                  <a:pt x="908" y="25"/>
                </a:cubicBezTo>
                <a:cubicBezTo>
                  <a:pt x="909" y="24"/>
                  <a:pt x="909" y="24"/>
                  <a:pt x="909" y="24"/>
                </a:cubicBezTo>
                <a:cubicBezTo>
                  <a:pt x="907" y="19"/>
                  <a:pt x="907" y="19"/>
                  <a:pt x="907" y="19"/>
                </a:cubicBezTo>
                <a:cubicBezTo>
                  <a:pt x="909" y="17"/>
                  <a:pt x="909" y="17"/>
                  <a:pt x="909" y="17"/>
                </a:cubicBezTo>
                <a:cubicBezTo>
                  <a:pt x="910" y="17"/>
                  <a:pt x="910" y="17"/>
                  <a:pt x="910" y="17"/>
                </a:cubicBezTo>
                <a:cubicBezTo>
                  <a:pt x="911" y="18"/>
                  <a:pt x="911" y="18"/>
                  <a:pt x="911" y="18"/>
                </a:cubicBezTo>
                <a:cubicBezTo>
                  <a:pt x="915" y="18"/>
                  <a:pt x="915" y="18"/>
                  <a:pt x="915" y="18"/>
                </a:cubicBezTo>
                <a:cubicBezTo>
                  <a:pt x="915" y="17"/>
                  <a:pt x="915" y="17"/>
                  <a:pt x="915" y="17"/>
                </a:cubicBezTo>
                <a:cubicBezTo>
                  <a:pt x="911" y="14"/>
                  <a:pt x="911" y="14"/>
                  <a:pt x="911" y="14"/>
                </a:cubicBezTo>
                <a:cubicBezTo>
                  <a:pt x="911" y="11"/>
                  <a:pt x="911" y="11"/>
                  <a:pt x="911" y="11"/>
                </a:cubicBezTo>
                <a:cubicBezTo>
                  <a:pt x="912" y="10"/>
                  <a:pt x="912" y="10"/>
                  <a:pt x="912" y="10"/>
                </a:cubicBezTo>
                <a:cubicBezTo>
                  <a:pt x="912" y="7"/>
                  <a:pt x="912" y="7"/>
                  <a:pt x="912" y="7"/>
                </a:cubicBezTo>
                <a:cubicBezTo>
                  <a:pt x="914" y="7"/>
                  <a:pt x="914" y="7"/>
                  <a:pt x="914" y="7"/>
                </a:cubicBezTo>
                <a:cubicBezTo>
                  <a:pt x="918" y="10"/>
                  <a:pt x="918" y="10"/>
                  <a:pt x="918" y="10"/>
                </a:cubicBezTo>
                <a:cubicBezTo>
                  <a:pt x="919" y="13"/>
                  <a:pt x="919" y="13"/>
                  <a:pt x="919" y="13"/>
                </a:cubicBezTo>
                <a:cubicBezTo>
                  <a:pt x="919" y="16"/>
                  <a:pt x="919" y="16"/>
                  <a:pt x="919" y="16"/>
                </a:cubicBezTo>
                <a:cubicBezTo>
                  <a:pt x="919" y="19"/>
                  <a:pt x="919" y="19"/>
                  <a:pt x="919" y="19"/>
                </a:cubicBezTo>
                <a:cubicBezTo>
                  <a:pt x="920" y="20"/>
                  <a:pt x="920" y="20"/>
                  <a:pt x="920" y="20"/>
                </a:cubicBezTo>
                <a:cubicBezTo>
                  <a:pt x="921" y="24"/>
                  <a:pt x="921" y="24"/>
                  <a:pt x="921" y="24"/>
                </a:cubicBezTo>
                <a:cubicBezTo>
                  <a:pt x="922" y="26"/>
                  <a:pt x="922" y="26"/>
                  <a:pt x="922" y="26"/>
                </a:cubicBezTo>
                <a:cubicBezTo>
                  <a:pt x="923" y="25"/>
                  <a:pt x="923" y="25"/>
                  <a:pt x="923" y="25"/>
                </a:cubicBezTo>
                <a:cubicBezTo>
                  <a:pt x="923" y="22"/>
                  <a:pt x="923" y="22"/>
                  <a:pt x="923" y="22"/>
                </a:cubicBezTo>
                <a:cubicBezTo>
                  <a:pt x="923" y="20"/>
                  <a:pt x="923" y="20"/>
                  <a:pt x="923" y="20"/>
                </a:cubicBezTo>
                <a:cubicBezTo>
                  <a:pt x="923" y="17"/>
                  <a:pt x="923" y="17"/>
                  <a:pt x="923" y="17"/>
                </a:cubicBezTo>
                <a:cubicBezTo>
                  <a:pt x="921" y="13"/>
                  <a:pt x="921" y="13"/>
                  <a:pt x="921" y="13"/>
                </a:cubicBezTo>
                <a:cubicBezTo>
                  <a:pt x="922" y="9"/>
                  <a:pt x="922" y="9"/>
                  <a:pt x="922" y="9"/>
                </a:cubicBezTo>
                <a:cubicBezTo>
                  <a:pt x="921" y="5"/>
                  <a:pt x="921" y="5"/>
                  <a:pt x="921" y="5"/>
                </a:cubicBezTo>
                <a:cubicBezTo>
                  <a:pt x="922" y="2"/>
                  <a:pt x="922" y="2"/>
                  <a:pt x="922" y="2"/>
                </a:cubicBezTo>
                <a:cubicBezTo>
                  <a:pt x="924" y="2"/>
                  <a:pt x="924" y="2"/>
                  <a:pt x="924" y="2"/>
                </a:cubicBezTo>
                <a:cubicBezTo>
                  <a:pt x="926" y="4"/>
                  <a:pt x="926" y="4"/>
                  <a:pt x="926" y="4"/>
                </a:cubicBezTo>
                <a:cubicBezTo>
                  <a:pt x="928" y="4"/>
                  <a:pt x="928" y="4"/>
                  <a:pt x="928" y="4"/>
                </a:cubicBezTo>
                <a:cubicBezTo>
                  <a:pt x="929" y="5"/>
                  <a:pt x="929" y="5"/>
                  <a:pt x="929" y="5"/>
                </a:cubicBezTo>
                <a:cubicBezTo>
                  <a:pt x="929" y="9"/>
                  <a:pt x="929" y="9"/>
                  <a:pt x="929" y="9"/>
                </a:cubicBezTo>
                <a:cubicBezTo>
                  <a:pt x="930" y="11"/>
                  <a:pt x="930" y="11"/>
                  <a:pt x="930" y="11"/>
                </a:cubicBezTo>
                <a:cubicBezTo>
                  <a:pt x="930" y="14"/>
                  <a:pt x="930" y="14"/>
                  <a:pt x="930" y="14"/>
                </a:cubicBezTo>
                <a:cubicBezTo>
                  <a:pt x="930" y="18"/>
                  <a:pt x="930" y="18"/>
                  <a:pt x="930" y="18"/>
                </a:cubicBezTo>
                <a:cubicBezTo>
                  <a:pt x="931" y="18"/>
                  <a:pt x="931" y="18"/>
                  <a:pt x="931" y="18"/>
                </a:cubicBezTo>
                <a:cubicBezTo>
                  <a:pt x="931" y="16"/>
                  <a:pt x="931" y="16"/>
                  <a:pt x="931" y="16"/>
                </a:cubicBezTo>
                <a:cubicBezTo>
                  <a:pt x="932" y="15"/>
                  <a:pt x="932" y="15"/>
                  <a:pt x="932" y="15"/>
                </a:cubicBezTo>
                <a:cubicBezTo>
                  <a:pt x="933" y="15"/>
                  <a:pt x="933" y="15"/>
                  <a:pt x="933" y="15"/>
                </a:cubicBezTo>
                <a:cubicBezTo>
                  <a:pt x="937" y="20"/>
                  <a:pt x="937" y="20"/>
                  <a:pt x="937" y="20"/>
                </a:cubicBezTo>
                <a:cubicBezTo>
                  <a:pt x="938" y="19"/>
                  <a:pt x="938" y="19"/>
                  <a:pt x="938" y="19"/>
                </a:cubicBezTo>
                <a:cubicBezTo>
                  <a:pt x="940" y="18"/>
                  <a:pt x="940" y="18"/>
                  <a:pt x="940" y="18"/>
                </a:cubicBezTo>
                <a:cubicBezTo>
                  <a:pt x="940" y="17"/>
                  <a:pt x="940" y="17"/>
                  <a:pt x="940" y="17"/>
                </a:cubicBezTo>
                <a:cubicBezTo>
                  <a:pt x="938" y="17"/>
                  <a:pt x="938" y="17"/>
                  <a:pt x="938" y="17"/>
                </a:cubicBezTo>
                <a:cubicBezTo>
                  <a:pt x="936" y="14"/>
                  <a:pt x="936" y="14"/>
                  <a:pt x="936" y="14"/>
                </a:cubicBezTo>
                <a:cubicBezTo>
                  <a:pt x="937" y="13"/>
                  <a:pt x="937" y="13"/>
                  <a:pt x="937" y="13"/>
                </a:cubicBezTo>
                <a:cubicBezTo>
                  <a:pt x="937" y="12"/>
                  <a:pt x="937" y="12"/>
                  <a:pt x="937" y="12"/>
                </a:cubicBezTo>
                <a:cubicBezTo>
                  <a:pt x="934" y="9"/>
                  <a:pt x="934" y="9"/>
                  <a:pt x="934" y="9"/>
                </a:cubicBezTo>
                <a:cubicBezTo>
                  <a:pt x="933" y="7"/>
                  <a:pt x="933" y="7"/>
                  <a:pt x="933" y="7"/>
                </a:cubicBezTo>
                <a:cubicBezTo>
                  <a:pt x="934" y="6"/>
                  <a:pt x="934" y="6"/>
                  <a:pt x="934" y="6"/>
                </a:cubicBezTo>
                <a:cubicBezTo>
                  <a:pt x="937" y="6"/>
                  <a:pt x="937" y="6"/>
                  <a:pt x="937" y="6"/>
                </a:cubicBezTo>
                <a:cubicBezTo>
                  <a:pt x="936" y="5"/>
                  <a:pt x="936" y="5"/>
                  <a:pt x="936" y="5"/>
                </a:cubicBezTo>
                <a:cubicBezTo>
                  <a:pt x="934" y="5"/>
                  <a:pt x="934" y="5"/>
                  <a:pt x="934" y="5"/>
                </a:cubicBezTo>
                <a:cubicBezTo>
                  <a:pt x="932" y="3"/>
                  <a:pt x="932" y="3"/>
                  <a:pt x="932" y="3"/>
                </a:cubicBezTo>
                <a:cubicBezTo>
                  <a:pt x="934" y="2"/>
                  <a:pt x="934" y="2"/>
                  <a:pt x="934" y="2"/>
                </a:cubicBezTo>
                <a:cubicBezTo>
                  <a:pt x="936" y="2"/>
                  <a:pt x="936" y="2"/>
                  <a:pt x="936" y="2"/>
                </a:cubicBezTo>
                <a:cubicBezTo>
                  <a:pt x="938" y="0"/>
                  <a:pt x="938" y="0"/>
                  <a:pt x="938" y="0"/>
                </a:cubicBezTo>
                <a:cubicBezTo>
                  <a:pt x="943" y="1"/>
                  <a:pt x="943" y="1"/>
                  <a:pt x="943" y="1"/>
                </a:cubicBezTo>
                <a:cubicBezTo>
                  <a:pt x="944" y="2"/>
                  <a:pt x="944" y="2"/>
                  <a:pt x="944" y="2"/>
                </a:cubicBezTo>
                <a:cubicBezTo>
                  <a:pt x="944" y="5"/>
                  <a:pt x="944" y="5"/>
                  <a:pt x="944" y="5"/>
                </a:cubicBezTo>
                <a:cubicBezTo>
                  <a:pt x="943" y="7"/>
                  <a:pt x="943" y="7"/>
                  <a:pt x="943" y="7"/>
                </a:cubicBezTo>
                <a:cubicBezTo>
                  <a:pt x="944" y="8"/>
                  <a:pt x="944" y="8"/>
                  <a:pt x="944" y="8"/>
                </a:cubicBezTo>
                <a:cubicBezTo>
                  <a:pt x="945" y="8"/>
                  <a:pt x="945" y="8"/>
                  <a:pt x="945" y="8"/>
                </a:cubicBezTo>
                <a:cubicBezTo>
                  <a:pt x="947" y="5"/>
                  <a:pt x="947" y="5"/>
                  <a:pt x="947" y="5"/>
                </a:cubicBezTo>
                <a:cubicBezTo>
                  <a:pt x="948" y="4"/>
                  <a:pt x="948" y="4"/>
                  <a:pt x="948" y="4"/>
                </a:cubicBezTo>
                <a:cubicBezTo>
                  <a:pt x="949" y="5"/>
                  <a:pt x="949" y="5"/>
                  <a:pt x="949" y="5"/>
                </a:cubicBezTo>
                <a:cubicBezTo>
                  <a:pt x="948" y="9"/>
                  <a:pt x="948" y="9"/>
                  <a:pt x="948" y="9"/>
                </a:cubicBezTo>
                <a:cubicBezTo>
                  <a:pt x="949" y="10"/>
                  <a:pt x="949" y="10"/>
                  <a:pt x="949" y="10"/>
                </a:cubicBezTo>
                <a:cubicBezTo>
                  <a:pt x="951" y="9"/>
                  <a:pt x="951" y="9"/>
                  <a:pt x="951" y="9"/>
                </a:cubicBezTo>
                <a:cubicBezTo>
                  <a:pt x="951" y="8"/>
                  <a:pt x="951" y="8"/>
                  <a:pt x="951" y="8"/>
                </a:cubicBezTo>
                <a:cubicBezTo>
                  <a:pt x="954" y="5"/>
                  <a:pt x="954" y="5"/>
                  <a:pt x="954" y="5"/>
                </a:cubicBezTo>
                <a:cubicBezTo>
                  <a:pt x="955" y="6"/>
                  <a:pt x="955" y="6"/>
                  <a:pt x="955" y="6"/>
                </a:cubicBezTo>
                <a:cubicBezTo>
                  <a:pt x="955" y="9"/>
                  <a:pt x="955" y="9"/>
                  <a:pt x="955" y="9"/>
                </a:cubicBezTo>
                <a:cubicBezTo>
                  <a:pt x="954" y="11"/>
                  <a:pt x="954" y="11"/>
                  <a:pt x="954" y="11"/>
                </a:cubicBezTo>
                <a:cubicBezTo>
                  <a:pt x="954" y="15"/>
                  <a:pt x="954" y="15"/>
                  <a:pt x="954" y="15"/>
                </a:cubicBezTo>
                <a:cubicBezTo>
                  <a:pt x="953" y="17"/>
                  <a:pt x="953" y="17"/>
                  <a:pt x="953" y="17"/>
                </a:cubicBezTo>
                <a:cubicBezTo>
                  <a:pt x="954" y="18"/>
                  <a:pt x="954" y="18"/>
                  <a:pt x="954" y="18"/>
                </a:cubicBezTo>
                <a:cubicBezTo>
                  <a:pt x="957" y="18"/>
                  <a:pt x="957" y="18"/>
                  <a:pt x="957" y="18"/>
                </a:cubicBezTo>
                <a:cubicBezTo>
                  <a:pt x="958" y="18"/>
                  <a:pt x="958" y="18"/>
                  <a:pt x="958" y="18"/>
                </a:cubicBezTo>
                <a:cubicBezTo>
                  <a:pt x="960" y="17"/>
                  <a:pt x="960" y="17"/>
                  <a:pt x="960" y="17"/>
                </a:cubicBezTo>
                <a:cubicBezTo>
                  <a:pt x="960" y="14"/>
                  <a:pt x="960" y="14"/>
                  <a:pt x="960" y="14"/>
                </a:cubicBezTo>
                <a:cubicBezTo>
                  <a:pt x="961" y="9"/>
                  <a:pt x="961" y="9"/>
                  <a:pt x="961" y="9"/>
                </a:cubicBezTo>
                <a:cubicBezTo>
                  <a:pt x="959" y="4"/>
                  <a:pt x="959" y="4"/>
                  <a:pt x="959" y="4"/>
                </a:cubicBezTo>
                <a:cubicBezTo>
                  <a:pt x="960" y="1"/>
                  <a:pt x="960" y="1"/>
                  <a:pt x="960" y="1"/>
                </a:cubicBezTo>
                <a:cubicBezTo>
                  <a:pt x="961" y="0"/>
                  <a:pt x="961" y="0"/>
                  <a:pt x="961" y="0"/>
                </a:cubicBezTo>
                <a:cubicBezTo>
                  <a:pt x="963" y="1"/>
                  <a:pt x="963" y="1"/>
                  <a:pt x="963" y="1"/>
                </a:cubicBezTo>
                <a:cubicBezTo>
                  <a:pt x="965" y="1"/>
                  <a:pt x="965" y="1"/>
                  <a:pt x="965" y="1"/>
                </a:cubicBezTo>
                <a:cubicBezTo>
                  <a:pt x="967" y="2"/>
                  <a:pt x="967" y="2"/>
                  <a:pt x="967" y="2"/>
                </a:cubicBezTo>
                <a:cubicBezTo>
                  <a:pt x="970" y="1"/>
                  <a:pt x="970" y="1"/>
                  <a:pt x="970" y="1"/>
                </a:cubicBezTo>
                <a:cubicBezTo>
                  <a:pt x="973" y="1"/>
                  <a:pt x="973" y="1"/>
                  <a:pt x="973" y="1"/>
                </a:cubicBezTo>
                <a:cubicBezTo>
                  <a:pt x="974" y="3"/>
                  <a:pt x="974" y="3"/>
                  <a:pt x="974" y="3"/>
                </a:cubicBezTo>
                <a:cubicBezTo>
                  <a:pt x="977" y="4"/>
                  <a:pt x="977" y="4"/>
                  <a:pt x="977" y="4"/>
                </a:cubicBezTo>
                <a:cubicBezTo>
                  <a:pt x="980" y="3"/>
                  <a:pt x="980" y="3"/>
                  <a:pt x="980" y="3"/>
                </a:cubicBezTo>
                <a:cubicBezTo>
                  <a:pt x="983" y="6"/>
                  <a:pt x="983" y="6"/>
                  <a:pt x="983" y="6"/>
                </a:cubicBezTo>
                <a:cubicBezTo>
                  <a:pt x="983" y="7"/>
                  <a:pt x="983" y="7"/>
                  <a:pt x="983" y="7"/>
                </a:cubicBezTo>
                <a:cubicBezTo>
                  <a:pt x="984" y="9"/>
                  <a:pt x="984" y="9"/>
                  <a:pt x="984" y="9"/>
                </a:cubicBezTo>
                <a:cubicBezTo>
                  <a:pt x="985" y="12"/>
                  <a:pt x="985" y="12"/>
                  <a:pt x="985" y="12"/>
                </a:cubicBezTo>
                <a:cubicBezTo>
                  <a:pt x="983" y="15"/>
                  <a:pt x="983" y="15"/>
                  <a:pt x="983" y="15"/>
                </a:cubicBezTo>
                <a:cubicBezTo>
                  <a:pt x="984" y="16"/>
                  <a:pt x="984" y="16"/>
                  <a:pt x="984" y="16"/>
                </a:cubicBezTo>
                <a:cubicBezTo>
                  <a:pt x="986" y="15"/>
                  <a:pt x="986" y="15"/>
                  <a:pt x="986" y="15"/>
                </a:cubicBezTo>
                <a:cubicBezTo>
                  <a:pt x="989" y="12"/>
                  <a:pt x="989" y="12"/>
                  <a:pt x="989" y="12"/>
                </a:cubicBezTo>
                <a:cubicBezTo>
                  <a:pt x="992" y="10"/>
                  <a:pt x="992" y="10"/>
                  <a:pt x="992" y="10"/>
                </a:cubicBezTo>
                <a:cubicBezTo>
                  <a:pt x="994" y="8"/>
                  <a:pt x="994" y="8"/>
                  <a:pt x="994" y="8"/>
                </a:cubicBezTo>
                <a:cubicBezTo>
                  <a:pt x="996" y="8"/>
                  <a:pt x="996" y="8"/>
                  <a:pt x="996" y="8"/>
                </a:cubicBezTo>
                <a:cubicBezTo>
                  <a:pt x="999" y="9"/>
                  <a:pt x="999" y="9"/>
                  <a:pt x="999" y="9"/>
                </a:cubicBezTo>
                <a:cubicBezTo>
                  <a:pt x="1002" y="9"/>
                  <a:pt x="1002" y="9"/>
                  <a:pt x="1002" y="9"/>
                </a:cubicBezTo>
                <a:cubicBezTo>
                  <a:pt x="1002" y="11"/>
                  <a:pt x="1002" y="11"/>
                  <a:pt x="1002" y="11"/>
                </a:cubicBezTo>
                <a:cubicBezTo>
                  <a:pt x="999" y="14"/>
                  <a:pt x="999" y="14"/>
                  <a:pt x="999" y="14"/>
                </a:cubicBezTo>
                <a:cubicBezTo>
                  <a:pt x="1001" y="16"/>
                  <a:pt x="1001" y="16"/>
                  <a:pt x="1001" y="16"/>
                </a:cubicBezTo>
                <a:cubicBezTo>
                  <a:pt x="1002" y="15"/>
                  <a:pt x="1002" y="15"/>
                  <a:pt x="1002" y="15"/>
                </a:cubicBezTo>
                <a:cubicBezTo>
                  <a:pt x="1002" y="13"/>
                  <a:pt x="1002" y="13"/>
                  <a:pt x="1002" y="13"/>
                </a:cubicBezTo>
                <a:cubicBezTo>
                  <a:pt x="1005" y="11"/>
                  <a:pt x="1005" y="11"/>
                  <a:pt x="1005" y="11"/>
                </a:cubicBezTo>
                <a:cubicBezTo>
                  <a:pt x="1007" y="10"/>
                  <a:pt x="1007" y="10"/>
                  <a:pt x="1007" y="10"/>
                </a:cubicBezTo>
                <a:cubicBezTo>
                  <a:pt x="1011" y="12"/>
                  <a:pt x="1011" y="12"/>
                  <a:pt x="1011" y="12"/>
                </a:cubicBezTo>
                <a:cubicBezTo>
                  <a:pt x="1016" y="13"/>
                  <a:pt x="1016" y="13"/>
                  <a:pt x="1016" y="13"/>
                </a:cubicBezTo>
                <a:cubicBezTo>
                  <a:pt x="1017" y="14"/>
                  <a:pt x="1017" y="14"/>
                  <a:pt x="1017" y="14"/>
                </a:cubicBezTo>
                <a:cubicBezTo>
                  <a:pt x="1016" y="16"/>
                  <a:pt x="1016" y="16"/>
                  <a:pt x="1016" y="16"/>
                </a:cubicBezTo>
                <a:cubicBezTo>
                  <a:pt x="1015" y="16"/>
                  <a:pt x="1015" y="16"/>
                  <a:pt x="1015" y="16"/>
                </a:cubicBezTo>
                <a:cubicBezTo>
                  <a:pt x="1015" y="18"/>
                  <a:pt x="1015" y="18"/>
                  <a:pt x="1015" y="18"/>
                </a:cubicBezTo>
                <a:cubicBezTo>
                  <a:pt x="1014" y="19"/>
                  <a:pt x="1014" y="19"/>
                  <a:pt x="1014" y="19"/>
                </a:cubicBezTo>
                <a:cubicBezTo>
                  <a:pt x="1015" y="21"/>
                  <a:pt x="1015" y="21"/>
                  <a:pt x="1015" y="21"/>
                </a:cubicBezTo>
                <a:cubicBezTo>
                  <a:pt x="1016" y="19"/>
                  <a:pt x="1016" y="19"/>
                  <a:pt x="1016" y="19"/>
                </a:cubicBezTo>
                <a:cubicBezTo>
                  <a:pt x="1019" y="18"/>
                  <a:pt x="1019" y="18"/>
                  <a:pt x="1019" y="18"/>
                </a:cubicBezTo>
                <a:cubicBezTo>
                  <a:pt x="1019" y="21"/>
                  <a:pt x="1019" y="21"/>
                  <a:pt x="1019" y="21"/>
                </a:cubicBezTo>
                <a:cubicBezTo>
                  <a:pt x="1021" y="22"/>
                  <a:pt x="1021" y="22"/>
                  <a:pt x="1021" y="22"/>
                </a:cubicBezTo>
                <a:cubicBezTo>
                  <a:pt x="1022" y="20"/>
                  <a:pt x="1022" y="20"/>
                  <a:pt x="1022" y="20"/>
                </a:cubicBezTo>
                <a:cubicBezTo>
                  <a:pt x="1026" y="19"/>
                  <a:pt x="1026" y="19"/>
                  <a:pt x="1026" y="19"/>
                </a:cubicBezTo>
                <a:cubicBezTo>
                  <a:pt x="1026" y="21"/>
                  <a:pt x="1026" y="21"/>
                  <a:pt x="1026" y="21"/>
                </a:cubicBezTo>
                <a:cubicBezTo>
                  <a:pt x="1025" y="22"/>
                  <a:pt x="1025" y="22"/>
                  <a:pt x="1025" y="22"/>
                </a:cubicBezTo>
                <a:cubicBezTo>
                  <a:pt x="1025" y="24"/>
                  <a:pt x="1025" y="24"/>
                  <a:pt x="1025" y="24"/>
                </a:cubicBezTo>
                <a:cubicBezTo>
                  <a:pt x="1027" y="25"/>
                  <a:pt x="1027" y="25"/>
                  <a:pt x="1027" y="25"/>
                </a:cubicBezTo>
                <a:cubicBezTo>
                  <a:pt x="1028" y="24"/>
                  <a:pt x="1028" y="24"/>
                  <a:pt x="1028" y="24"/>
                </a:cubicBezTo>
                <a:cubicBezTo>
                  <a:pt x="1030" y="22"/>
                  <a:pt x="1030" y="22"/>
                  <a:pt x="1030" y="22"/>
                </a:cubicBezTo>
                <a:cubicBezTo>
                  <a:pt x="1031" y="22"/>
                  <a:pt x="1031" y="22"/>
                  <a:pt x="1031" y="22"/>
                </a:cubicBezTo>
                <a:cubicBezTo>
                  <a:pt x="1032" y="24"/>
                  <a:pt x="1032" y="24"/>
                  <a:pt x="1032" y="24"/>
                </a:cubicBezTo>
                <a:cubicBezTo>
                  <a:pt x="1036" y="27"/>
                  <a:pt x="1036" y="27"/>
                  <a:pt x="1036" y="27"/>
                </a:cubicBezTo>
                <a:cubicBezTo>
                  <a:pt x="1038" y="27"/>
                  <a:pt x="1038" y="27"/>
                  <a:pt x="1038" y="27"/>
                </a:cubicBezTo>
                <a:cubicBezTo>
                  <a:pt x="1039" y="28"/>
                  <a:pt x="1039" y="28"/>
                  <a:pt x="1039" y="28"/>
                </a:cubicBezTo>
                <a:cubicBezTo>
                  <a:pt x="1038" y="29"/>
                  <a:pt x="1038" y="29"/>
                  <a:pt x="1038" y="29"/>
                </a:cubicBezTo>
                <a:cubicBezTo>
                  <a:pt x="1033" y="31"/>
                  <a:pt x="1033" y="31"/>
                  <a:pt x="1033" y="31"/>
                </a:cubicBezTo>
                <a:cubicBezTo>
                  <a:pt x="1031" y="34"/>
                  <a:pt x="1031" y="34"/>
                  <a:pt x="1031" y="34"/>
                </a:cubicBezTo>
                <a:cubicBezTo>
                  <a:pt x="1028" y="35"/>
                  <a:pt x="1028" y="35"/>
                  <a:pt x="1028" y="35"/>
                </a:cubicBezTo>
                <a:cubicBezTo>
                  <a:pt x="1025" y="36"/>
                  <a:pt x="1025" y="36"/>
                  <a:pt x="1025" y="36"/>
                </a:cubicBezTo>
                <a:cubicBezTo>
                  <a:pt x="1023" y="36"/>
                  <a:pt x="1023" y="36"/>
                  <a:pt x="1023" y="36"/>
                </a:cubicBezTo>
                <a:cubicBezTo>
                  <a:pt x="1021" y="36"/>
                  <a:pt x="1021" y="36"/>
                  <a:pt x="1021" y="36"/>
                </a:cubicBezTo>
                <a:cubicBezTo>
                  <a:pt x="1020" y="37"/>
                  <a:pt x="1020" y="37"/>
                  <a:pt x="1020" y="37"/>
                </a:cubicBezTo>
                <a:cubicBezTo>
                  <a:pt x="1016" y="38"/>
                  <a:pt x="1016" y="38"/>
                  <a:pt x="1016" y="38"/>
                </a:cubicBezTo>
                <a:cubicBezTo>
                  <a:pt x="1022" y="38"/>
                  <a:pt x="1022" y="38"/>
                  <a:pt x="1022" y="38"/>
                </a:cubicBezTo>
                <a:cubicBezTo>
                  <a:pt x="1026" y="38"/>
                  <a:pt x="1026" y="38"/>
                  <a:pt x="1026" y="38"/>
                </a:cubicBezTo>
                <a:cubicBezTo>
                  <a:pt x="1028" y="39"/>
                  <a:pt x="1028" y="39"/>
                  <a:pt x="1028" y="39"/>
                </a:cubicBezTo>
                <a:cubicBezTo>
                  <a:pt x="1030" y="39"/>
                  <a:pt x="1030" y="39"/>
                  <a:pt x="1030" y="39"/>
                </a:cubicBezTo>
                <a:cubicBezTo>
                  <a:pt x="1031" y="37"/>
                  <a:pt x="1031" y="37"/>
                  <a:pt x="1031" y="37"/>
                </a:cubicBezTo>
                <a:cubicBezTo>
                  <a:pt x="1032" y="36"/>
                  <a:pt x="1032" y="36"/>
                  <a:pt x="1032" y="36"/>
                </a:cubicBezTo>
                <a:cubicBezTo>
                  <a:pt x="1035" y="36"/>
                  <a:pt x="1035" y="36"/>
                  <a:pt x="1035" y="36"/>
                </a:cubicBezTo>
                <a:cubicBezTo>
                  <a:pt x="1036" y="34"/>
                  <a:pt x="1036" y="34"/>
                  <a:pt x="1036" y="34"/>
                </a:cubicBezTo>
                <a:cubicBezTo>
                  <a:pt x="1040" y="32"/>
                  <a:pt x="1040" y="32"/>
                  <a:pt x="1040" y="32"/>
                </a:cubicBezTo>
                <a:cubicBezTo>
                  <a:pt x="1042" y="32"/>
                  <a:pt x="1042" y="32"/>
                  <a:pt x="1042" y="32"/>
                </a:cubicBezTo>
                <a:cubicBezTo>
                  <a:pt x="1043" y="34"/>
                  <a:pt x="1043" y="34"/>
                  <a:pt x="1043" y="34"/>
                </a:cubicBezTo>
                <a:cubicBezTo>
                  <a:pt x="1042" y="37"/>
                  <a:pt x="1042" y="37"/>
                  <a:pt x="1042" y="37"/>
                </a:cubicBezTo>
                <a:cubicBezTo>
                  <a:pt x="1043" y="38"/>
                  <a:pt x="1043" y="38"/>
                  <a:pt x="1043" y="38"/>
                </a:cubicBezTo>
                <a:cubicBezTo>
                  <a:pt x="1044" y="37"/>
                  <a:pt x="1044" y="37"/>
                  <a:pt x="1044" y="37"/>
                </a:cubicBezTo>
                <a:cubicBezTo>
                  <a:pt x="1045" y="35"/>
                  <a:pt x="1045" y="35"/>
                  <a:pt x="1045" y="35"/>
                </a:cubicBezTo>
                <a:cubicBezTo>
                  <a:pt x="1048" y="33"/>
                  <a:pt x="1048" y="33"/>
                  <a:pt x="1048" y="33"/>
                </a:cubicBezTo>
                <a:cubicBezTo>
                  <a:pt x="1049" y="34"/>
                  <a:pt x="1049" y="34"/>
                  <a:pt x="1049" y="34"/>
                </a:cubicBezTo>
                <a:cubicBezTo>
                  <a:pt x="1047" y="36"/>
                  <a:pt x="1047" y="36"/>
                  <a:pt x="1047" y="36"/>
                </a:cubicBezTo>
                <a:cubicBezTo>
                  <a:pt x="1047" y="37"/>
                  <a:pt x="1047" y="37"/>
                  <a:pt x="1047" y="37"/>
                </a:cubicBezTo>
                <a:cubicBezTo>
                  <a:pt x="1046" y="39"/>
                  <a:pt x="1046" y="39"/>
                  <a:pt x="1046" y="39"/>
                </a:cubicBezTo>
                <a:cubicBezTo>
                  <a:pt x="1047" y="40"/>
                  <a:pt x="1047" y="40"/>
                  <a:pt x="1047" y="40"/>
                </a:cubicBezTo>
                <a:cubicBezTo>
                  <a:pt x="1049" y="39"/>
                  <a:pt x="1049" y="39"/>
                  <a:pt x="1049" y="39"/>
                </a:cubicBezTo>
                <a:cubicBezTo>
                  <a:pt x="1050" y="38"/>
                  <a:pt x="1050" y="38"/>
                  <a:pt x="1050" y="38"/>
                </a:cubicBezTo>
                <a:cubicBezTo>
                  <a:pt x="1050" y="36"/>
                  <a:pt x="1050" y="36"/>
                  <a:pt x="1050" y="36"/>
                </a:cubicBezTo>
                <a:cubicBezTo>
                  <a:pt x="1053" y="36"/>
                  <a:pt x="1053" y="36"/>
                  <a:pt x="1053" y="36"/>
                </a:cubicBezTo>
                <a:cubicBezTo>
                  <a:pt x="1055" y="36"/>
                  <a:pt x="1055" y="36"/>
                  <a:pt x="1055" y="36"/>
                </a:cubicBezTo>
                <a:cubicBezTo>
                  <a:pt x="1054" y="41"/>
                  <a:pt x="1054" y="41"/>
                  <a:pt x="1054" y="41"/>
                </a:cubicBezTo>
                <a:cubicBezTo>
                  <a:pt x="1052" y="42"/>
                  <a:pt x="1052" y="42"/>
                  <a:pt x="1052" y="42"/>
                </a:cubicBezTo>
                <a:cubicBezTo>
                  <a:pt x="1053" y="43"/>
                  <a:pt x="1053" y="43"/>
                  <a:pt x="1053" y="43"/>
                </a:cubicBezTo>
                <a:cubicBezTo>
                  <a:pt x="1054" y="45"/>
                  <a:pt x="1054" y="45"/>
                  <a:pt x="1054" y="45"/>
                </a:cubicBezTo>
                <a:cubicBezTo>
                  <a:pt x="1054" y="49"/>
                  <a:pt x="1054" y="49"/>
                  <a:pt x="1054" y="49"/>
                </a:cubicBezTo>
                <a:cubicBezTo>
                  <a:pt x="1052" y="50"/>
                  <a:pt x="1052" y="50"/>
                  <a:pt x="1052" y="50"/>
                </a:cubicBezTo>
                <a:cubicBezTo>
                  <a:pt x="1051" y="52"/>
                  <a:pt x="1051" y="52"/>
                  <a:pt x="1051" y="52"/>
                </a:cubicBezTo>
                <a:cubicBezTo>
                  <a:pt x="1048" y="56"/>
                  <a:pt x="1048" y="56"/>
                  <a:pt x="1048" y="56"/>
                </a:cubicBezTo>
                <a:cubicBezTo>
                  <a:pt x="1049" y="57"/>
                  <a:pt x="1049" y="57"/>
                  <a:pt x="1049" y="57"/>
                </a:cubicBezTo>
                <a:cubicBezTo>
                  <a:pt x="1051" y="56"/>
                  <a:pt x="1051" y="56"/>
                  <a:pt x="1051" y="56"/>
                </a:cubicBezTo>
                <a:cubicBezTo>
                  <a:pt x="1052" y="54"/>
                  <a:pt x="1052" y="54"/>
                  <a:pt x="1052" y="54"/>
                </a:cubicBezTo>
                <a:cubicBezTo>
                  <a:pt x="1055" y="53"/>
                  <a:pt x="1055" y="53"/>
                  <a:pt x="1055" y="53"/>
                </a:cubicBezTo>
                <a:cubicBezTo>
                  <a:pt x="1055" y="53"/>
                  <a:pt x="1055" y="53"/>
                  <a:pt x="1055" y="53"/>
                </a:cubicBezTo>
                <a:cubicBezTo>
                  <a:pt x="1057" y="53"/>
                  <a:pt x="1057" y="53"/>
                  <a:pt x="1057" y="53"/>
                </a:cubicBezTo>
                <a:cubicBezTo>
                  <a:pt x="1060" y="55"/>
                  <a:pt x="1060" y="55"/>
                  <a:pt x="1060" y="55"/>
                </a:cubicBezTo>
                <a:cubicBezTo>
                  <a:pt x="1061" y="58"/>
                  <a:pt x="1061" y="58"/>
                  <a:pt x="1061" y="58"/>
                </a:cubicBezTo>
                <a:cubicBezTo>
                  <a:pt x="1061" y="61"/>
                  <a:pt x="1061" y="61"/>
                  <a:pt x="1061" y="61"/>
                </a:cubicBezTo>
                <a:cubicBezTo>
                  <a:pt x="1060" y="67"/>
                  <a:pt x="1060" y="67"/>
                  <a:pt x="1060" y="67"/>
                </a:cubicBezTo>
                <a:cubicBezTo>
                  <a:pt x="1058" y="72"/>
                  <a:pt x="1058" y="72"/>
                  <a:pt x="1058" y="72"/>
                </a:cubicBezTo>
                <a:cubicBezTo>
                  <a:pt x="1053" y="75"/>
                  <a:pt x="1053" y="75"/>
                  <a:pt x="1053" y="75"/>
                </a:cubicBezTo>
                <a:cubicBezTo>
                  <a:pt x="1052" y="76"/>
                  <a:pt x="1052" y="76"/>
                  <a:pt x="1052" y="76"/>
                </a:cubicBezTo>
                <a:cubicBezTo>
                  <a:pt x="1049" y="75"/>
                  <a:pt x="1049" y="75"/>
                  <a:pt x="1049" y="75"/>
                </a:cubicBezTo>
                <a:cubicBezTo>
                  <a:pt x="1047" y="76"/>
                  <a:pt x="1047" y="76"/>
                  <a:pt x="1047" y="76"/>
                </a:cubicBezTo>
                <a:cubicBezTo>
                  <a:pt x="1047" y="78"/>
                  <a:pt x="1047" y="78"/>
                  <a:pt x="1047" y="78"/>
                </a:cubicBezTo>
                <a:cubicBezTo>
                  <a:pt x="1046" y="79"/>
                  <a:pt x="1046" y="79"/>
                  <a:pt x="1046" y="79"/>
                </a:cubicBezTo>
                <a:cubicBezTo>
                  <a:pt x="1038" y="82"/>
                  <a:pt x="1038" y="82"/>
                  <a:pt x="1038" y="82"/>
                </a:cubicBezTo>
                <a:cubicBezTo>
                  <a:pt x="1036" y="84"/>
                  <a:pt x="1036" y="84"/>
                  <a:pt x="1036" y="84"/>
                </a:cubicBezTo>
                <a:cubicBezTo>
                  <a:pt x="1033" y="85"/>
                  <a:pt x="1033" y="85"/>
                  <a:pt x="1033" y="85"/>
                </a:cubicBezTo>
                <a:cubicBezTo>
                  <a:pt x="1030" y="86"/>
                  <a:pt x="1030" y="86"/>
                  <a:pt x="1030" y="86"/>
                </a:cubicBezTo>
                <a:cubicBezTo>
                  <a:pt x="1026" y="86"/>
                  <a:pt x="1026" y="86"/>
                  <a:pt x="1026" y="86"/>
                </a:cubicBezTo>
                <a:cubicBezTo>
                  <a:pt x="1025" y="85"/>
                  <a:pt x="1025" y="85"/>
                  <a:pt x="1025" y="85"/>
                </a:cubicBezTo>
                <a:cubicBezTo>
                  <a:pt x="1024" y="87"/>
                  <a:pt x="1024" y="87"/>
                  <a:pt x="1024" y="87"/>
                </a:cubicBezTo>
                <a:cubicBezTo>
                  <a:pt x="1022" y="88"/>
                  <a:pt x="1022" y="88"/>
                  <a:pt x="1022" y="88"/>
                </a:cubicBezTo>
                <a:cubicBezTo>
                  <a:pt x="1020" y="86"/>
                  <a:pt x="1020" y="86"/>
                  <a:pt x="1020" y="86"/>
                </a:cubicBezTo>
                <a:cubicBezTo>
                  <a:pt x="1017" y="85"/>
                  <a:pt x="1017" y="85"/>
                  <a:pt x="1017" y="85"/>
                </a:cubicBezTo>
                <a:cubicBezTo>
                  <a:pt x="1013" y="84"/>
                  <a:pt x="1013" y="84"/>
                  <a:pt x="1013" y="84"/>
                </a:cubicBezTo>
                <a:cubicBezTo>
                  <a:pt x="1013" y="86"/>
                  <a:pt x="1013" y="86"/>
                  <a:pt x="1013" y="86"/>
                </a:cubicBezTo>
                <a:cubicBezTo>
                  <a:pt x="1016" y="86"/>
                  <a:pt x="1016" y="86"/>
                  <a:pt x="1016" y="86"/>
                </a:cubicBezTo>
                <a:cubicBezTo>
                  <a:pt x="1017" y="87"/>
                  <a:pt x="1017" y="87"/>
                  <a:pt x="1017" y="87"/>
                </a:cubicBezTo>
                <a:cubicBezTo>
                  <a:pt x="1016" y="88"/>
                  <a:pt x="1016" y="88"/>
                  <a:pt x="1016" y="88"/>
                </a:cubicBezTo>
                <a:cubicBezTo>
                  <a:pt x="1012" y="87"/>
                  <a:pt x="1012" y="87"/>
                  <a:pt x="1012" y="87"/>
                </a:cubicBezTo>
                <a:cubicBezTo>
                  <a:pt x="1011" y="88"/>
                  <a:pt x="1011" y="88"/>
                  <a:pt x="1011" y="88"/>
                </a:cubicBezTo>
                <a:cubicBezTo>
                  <a:pt x="1009" y="86"/>
                  <a:pt x="1009" y="86"/>
                  <a:pt x="1009" y="86"/>
                </a:cubicBezTo>
                <a:cubicBezTo>
                  <a:pt x="1005" y="86"/>
                  <a:pt x="1005" y="86"/>
                  <a:pt x="1005" y="86"/>
                </a:cubicBezTo>
                <a:cubicBezTo>
                  <a:pt x="1003" y="85"/>
                  <a:pt x="1003" y="85"/>
                  <a:pt x="1003" y="85"/>
                </a:cubicBezTo>
                <a:cubicBezTo>
                  <a:pt x="1002" y="85"/>
                  <a:pt x="1002" y="85"/>
                  <a:pt x="1002" y="85"/>
                </a:cubicBezTo>
                <a:cubicBezTo>
                  <a:pt x="1001" y="85"/>
                  <a:pt x="1001" y="85"/>
                  <a:pt x="1001" y="85"/>
                </a:cubicBezTo>
                <a:cubicBezTo>
                  <a:pt x="997" y="81"/>
                  <a:pt x="997" y="81"/>
                  <a:pt x="997" y="81"/>
                </a:cubicBezTo>
                <a:cubicBezTo>
                  <a:pt x="994" y="79"/>
                  <a:pt x="994" y="79"/>
                  <a:pt x="994" y="79"/>
                </a:cubicBezTo>
                <a:cubicBezTo>
                  <a:pt x="995" y="81"/>
                  <a:pt x="995" y="81"/>
                  <a:pt x="995" y="81"/>
                </a:cubicBezTo>
                <a:cubicBezTo>
                  <a:pt x="998" y="84"/>
                  <a:pt x="998" y="84"/>
                  <a:pt x="998" y="84"/>
                </a:cubicBezTo>
                <a:cubicBezTo>
                  <a:pt x="998" y="85"/>
                  <a:pt x="998" y="85"/>
                  <a:pt x="998" y="85"/>
                </a:cubicBezTo>
                <a:cubicBezTo>
                  <a:pt x="996" y="85"/>
                  <a:pt x="996" y="85"/>
                  <a:pt x="996" y="85"/>
                </a:cubicBezTo>
                <a:cubicBezTo>
                  <a:pt x="992" y="84"/>
                  <a:pt x="992" y="84"/>
                  <a:pt x="992" y="84"/>
                </a:cubicBezTo>
                <a:cubicBezTo>
                  <a:pt x="994" y="86"/>
                  <a:pt x="994" y="86"/>
                  <a:pt x="994" y="86"/>
                </a:cubicBezTo>
                <a:cubicBezTo>
                  <a:pt x="1002" y="87"/>
                  <a:pt x="1002" y="87"/>
                  <a:pt x="1002" y="87"/>
                </a:cubicBezTo>
                <a:cubicBezTo>
                  <a:pt x="1006" y="88"/>
                  <a:pt x="1006" y="88"/>
                  <a:pt x="1006" y="88"/>
                </a:cubicBezTo>
                <a:cubicBezTo>
                  <a:pt x="1008" y="90"/>
                  <a:pt x="1008" y="90"/>
                  <a:pt x="1008" y="90"/>
                </a:cubicBezTo>
                <a:cubicBezTo>
                  <a:pt x="1006" y="91"/>
                  <a:pt x="1006" y="91"/>
                  <a:pt x="1006" y="91"/>
                </a:cubicBezTo>
                <a:cubicBezTo>
                  <a:pt x="995" y="96"/>
                  <a:pt x="995" y="96"/>
                  <a:pt x="995" y="96"/>
                </a:cubicBezTo>
                <a:cubicBezTo>
                  <a:pt x="989" y="97"/>
                  <a:pt x="989" y="97"/>
                  <a:pt x="989" y="97"/>
                </a:cubicBezTo>
                <a:cubicBezTo>
                  <a:pt x="986" y="97"/>
                  <a:pt x="986" y="97"/>
                  <a:pt x="986" y="97"/>
                </a:cubicBezTo>
                <a:cubicBezTo>
                  <a:pt x="982" y="97"/>
                  <a:pt x="982" y="97"/>
                  <a:pt x="982" y="97"/>
                </a:cubicBezTo>
                <a:cubicBezTo>
                  <a:pt x="979" y="97"/>
                  <a:pt x="979" y="97"/>
                  <a:pt x="979" y="97"/>
                </a:cubicBezTo>
                <a:cubicBezTo>
                  <a:pt x="979" y="95"/>
                  <a:pt x="979" y="95"/>
                  <a:pt x="979" y="95"/>
                </a:cubicBezTo>
                <a:cubicBezTo>
                  <a:pt x="976" y="96"/>
                  <a:pt x="976" y="96"/>
                  <a:pt x="976" y="96"/>
                </a:cubicBezTo>
                <a:cubicBezTo>
                  <a:pt x="974" y="96"/>
                  <a:pt x="974" y="96"/>
                  <a:pt x="974" y="96"/>
                </a:cubicBezTo>
                <a:cubicBezTo>
                  <a:pt x="972" y="96"/>
                  <a:pt x="972" y="96"/>
                  <a:pt x="972" y="96"/>
                </a:cubicBezTo>
                <a:cubicBezTo>
                  <a:pt x="971" y="99"/>
                  <a:pt x="971" y="99"/>
                  <a:pt x="971" y="99"/>
                </a:cubicBezTo>
                <a:cubicBezTo>
                  <a:pt x="973" y="98"/>
                  <a:pt x="973" y="98"/>
                  <a:pt x="973" y="98"/>
                </a:cubicBezTo>
                <a:cubicBezTo>
                  <a:pt x="974" y="101"/>
                  <a:pt x="974" y="101"/>
                  <a:pt x="974" y="101"/>
                </a:cubicBezTo>
                <a:cubicBezTo>
                  <a:pt x="977" y="99"/>
                  <a:pt x="977" y="99"/>
                  <a:pt x="977" y="99"/>
                </a:cubicBezTo>
                <a:cubicBezTo>
                  <a:pt x="984" y="99"/>
                  <a:pt x="984" y="99"/>
                  <a:pt x="984" y="99"/>
                </a:cubicBezTo>
                <a:cubicBezTo>
                  <a:pt x="987" y="99"/>
                  <a:pt x="987" y="99"/>
                  <a:pt x="987" y="99"/>
                </a:cubicBezTo>
                <a:cubicBezTo>
                  <a:pt x="996" y="99"/>
                  <a:pt x="996" y="99"/>
                  <a:pt x="996" y="99"/>
                </a:cubicBezTo>
                <a:cubicBezTo>
                  <a:pt x="1002" y="98"/>
                  <a:pt x="1002" y="98"/>
                  <a:pt x="1002" y="98"/>
                </a:cubicBezTo>
                <a:cubicBezTo>
                  <a:pt x="1006" y="94"/>
                  <a:pt x="1006" y="94"/>
                  <a:pt x="1006" y="94"/>
                </a:cubicBezTo>
                <a:cubicBezTo>
                  <a:pt x="1009" y="94"/>
                  <a:pt x="1009" y="94"/>
                  <a:pt x="1009" y="94"/>
                </a:cubicBezTo>
                <a:cubicBezTo>
                  <a:pt x="1011" y="94"/>
                  <a:pt x="1011" y="94"/>
                  <a:pt x="1011" y="94"/>
                </a:cubicBezTo>
                <a:cubicBezTo>
                  <a:pt x="1014" y="94"/>
                  <a:pt x="1014" y="94"/>
                  <a:pt x="1014" y="94"/>
                </a:cubicBezTo>
                <a:cubicBezTo>
                  <a:pt x="1017" y="94"/>
                  <a:pt x="1017" y="94"/>
                  <a:pt x="1017" y="94"/>
                </a:cubicBezTo>
                <a:cubicBezTo>
                  <a:pt x="1016" y="97"/>
                  <a:pt x="1016" y="97"/>
                  <a:pt x="1016" y="97"/>
                </a:cubicBezTo>
                <a:cubicBezTo>
                  <a:pt x="1014" y="101"/>
                  <a:pt x="1014" y="101"/>
                  <a:pt x="1014" y="101"/>
                </a:cubicBezTo>
                <a:cubicBezTo>
                  <a:pt x="1010" y="103"/>
                  <a:pt x="1010" y="103"/>
                  <a:pt x="1010" y="103"/>
                </a:cubicBezTo>
                <a:cubicBezTo>
                  <a:pt x="1009" y="104"/>
                  <a:pt x="1009" y="104"/>
                  <a:pt x="1009" y="104"/>
                </a:cubicBezTo>
                <a:cubicBezTo>
                  <a:pt x="1004" y="105"/>
                  <a:pt x="1004" y="105"/>
                  <a:pt x="1004" y="105"/>
                </a:cubicBezTo>
                <a:cubicBezTo>
                  <a:pt x="1002" y="107"/>
                  <a:pt x="1002" y="107"/>
                  <a:pt x="1002" y="107"/>
                </a:cubicBezTo>
                <a:cubicBezTo>
                  <a:pt x="1000" y="108"/>
                  <a:pt x="1000" y="108"/>
                  <a:pt x="1000" y="108"/>
                </a:cubicBezTo>
                <a:cubicBezTo>
                  <a:pt x="998" y="110"/>
                  <a:pt x="998" y="110"/>
                  <a:pt x="998" y="110"/>
                </a:cubicBezTo>
                <a:cubicBezTo>
                  <a:pt x="994" y="112"/>
                  <a:pt x="994" y="112"/>
                  <a:pt x="994" y="112"/>
                </a:cubicBezTo>
                <a:cubicBezTo>
                  <a:pt x="991" y="112"/>
                  <a:pt x="991" y="112"/>
                  <a:pt x="991" y="112"/>
                </a:cubicBezTo>
                <a:cubicBezTo>
                  <a:pt x="990" y="113"/>
                  <a:pt x="990" y="113"/>
                  <a:pt x="990" y="113"/>
                </a:cubicBezTo>
                <a:cubicBezTo>
                  <a:pt x="987" y="113"/>
                  <a:pt x="987" y="113"/>
                  <a:pt x="987" y="113"/>
                </a:cubicBezTo>
                <a:cubicBezTo>
                  <a:pt x="985" y="115"/>
                  <a:pt x="985" y="115"/>
                  <a:pt x="985" y="115"/>
                </a:cubicBezTo>
                <a:cubicBezTo>
                  <a:pt x="980" y="116"/>
                  <a:pt x="980" y="116"/>
                  <a:pt x="980" y="116"/>
                </a:cubicBezTo>
                <a:cubicBezTo>
                  <a:pt x="979" y="118"/>
                  <a:pt x="979" y="118"/>
                  <a:pt x="979" y="118"/>
                </a:cubicBezTo>
                <a:cubicBezTo>
                  <a:pt x="974" y="119"/>
                  <a:pt x="974" y="119"/>
                  <a:pt x="974" y="119"/>
                </a:cubicBezTo>
                <a:cubicBezTo>
                  <a:pt x="972" y="120"/>
                  <a:pt x="972" y="120"/>
                  <a:pt x="972" y="120"/>
                </a:cubicBezTo>
                <a:cubicBezTo>
                  <a:pt x="970" y="120"/>
                  <a:pt x="970" y="120"/>
                  <a:pt x="970" y="120"/>
                </a:cubicBezTo>
                <a:cubicBezTo>
                  <a:pt x="968" y="122"/>
                  <a:pt x="968" y="122"/>
                  <a:pt x="968" y="122"/>
                </a:cubicBezTo>
                <a:cubicBezTo>
                  <a:pt x="966" y="121"/>
                  <a:pt x="966" y="121"/>
                  <a:pt x="966" y="121"/>
                </a:cubicBezTo>
                <a:cubicBezTo>
                  <a:pt x="965" y="122"/>
                  <a:pt x="965" y="122"/>
                  <a:pt x="965" y="122"/>
                </a:cubicBezTo>
                <a:cubicBezTo>
                  <a:pt x="965" y="125"/>
                  <a:pt x="965" y="125"/>
                  <a:pt x="965" y="125"/>
                </a:cubicBezTo>
                <a:cubicBezTo>
                  <a:pt x="963" y="127"/>
                  <a:pt x="963" y="127"/>
                  <a:pt x="963" y="127"/>
                </a:cubicBezTo>
                <a:cubicBezTo>
                  <a:pt x="961" y="129"/>
                  <a:pt x="961" y="129"/>
                  <a:pt x="961" y="129"/>
                </a:cubicBezTo>
                <a:cubicBezTo>
                  <a:pt x="955" y="129"/>
                  <a:pt x="955" y="129"/>
                  <a:pt x="955" y="129"/>
                </a:cubicBezTo>
                <a:cubicBezTo>
                  <a:pt x="954" y="130"/>
                  <a:pt x="954" y="130"/>
                  <a:pt x="954" y="130"/>
                </a:cubicBezTo>
                <a:cubicBezTo>
                  <a:pt x="952" y="130"/>
                  <a:pt x="952" y="130"/>
                  <a:pt x="952" y="130"/>
                </a:cubicBezTo>
                <a:cubicBezTo>
                  <a:pt x="951" y="128"/>
                  <a:pt x="951" y="128"/>
                  <a:pt x="951" y="128"/>
                </a:cubicBezTo>
                <a:cubicBezTo>
                  <a:pt x="953" y="127"/>
                  <a:pt x="953" y="127"/>
                  <a:pt x="953" y="127"/>
                </a:cubicBezTo>
                <a:cubicBezTo>
                  <a:pt x="953" y="125"/>
                  <a:pt x="953" y="125"/>
                  <a:pt x="953" y="125"/>
                </a:cubicBezTo>
                <a:cubicBezTo>
                  <a:pt x="951" y="123"/>
                  <a:pt x="951" y="123"/>
                  <a:pt x="951" y="123"/>
                </a:cubicBezTo>
                <a:cubicBezTo>
                  <a:pt x="951" y="127"/>
                  <a:pt x="951" y="127"/>
                  <a:pt x="951" y="127"/>
                </a:cubicBezTo>
                <a:cubicBezTo>
                  <a:pt x="950" y="128"/>
                  <a:pt x="950" y="128"/>
                  <a:pt x="950" y="128"/>
                </a:cubicBezTo>
                <a:cubicBezTo>
                  <a:pt x="949" y="130"/>
                  <a:pt x="949" y="130"/>
                  <a:pt x="949" y="130"/>
                </a:cubicBezTo>
                <a:cubicBezTo>
                  <a:pt x="952" y="132"/>
                  <a:pt x="952" y="132"/>
                  <a:pt x="952" y="132"/>
                </a:cubicBezTo>
                <a:cubicBezTo>
                  <a:pt x="953" y="133"/>
                  <a:pt x="953" y="133"/>
                  <a:pt x="953" y="133"/>
                </a:cubicBezTo>
                <a:cubicBezTo>
                  <a:pt x="950" y="136"/>
                  <a:pt x="950" y="136"/>
                  <a:pt x="950" y="136"/>
                </a:cubicBezTo>
                <a:cubicBezTo>
                  <a:pt x="949" y="136"/>
                  <a:pt x="949" y="136"/>
                  <a:pt x="949" y="136"/>
                </a:cubicBezTo>
                <a:cubicBezTo>
                  <a:pt x="947" y="134"/>
                  <a:pt x="947" y="134"/>
                  <a:pt x="947" y="134"/>
                </a:cubicBezTo>
                <a:cubicBezTo>
                  <a:pt x="945" y="135"/>
                  <a:pt x="945" y="135"/>
                  <a:pt x="945" y="135"/>
                </a:cubicBezTo>
                <a:cubicBezTo>
                  <a:pt x="941" y="134"/>
                  <a:pt x="941" y="134"/>
                  <a:pt x="941" y="134"/>
                </a:cubicBezTo>
                <a:cubicBezTo>
                  <a:pt x="940" y="135"/>
                  <a:pt x="940" y="135"/>
                  <a:pt x="940" y="135"/>
                </a:cubicBezTo>
                <a:cubicBezTo>
                  <a:pt x="938" y="135"/>
                  <a:pt x="938" y="135"/>
                  <a:pt x="938" y="135"/>
                </a:cubicBezTo>
                <a:cubicBezTo>
                  <a:pt x="938" y="133"/>
                  <a:pt x="938" y="133"/>
                  <a:pt x="938" y="133"/>
                </a:cubicBezTo>
                <a:cubicBezTo>
                  <a:pt x="937" y="132"/>
                  <a:pt x="937" y="132"/>
                  <a:pt x="937" y="132"/>
                </a:cubicBezTo>
                <a:cubicBezTo>
                  <a:pt x="936" y="134"/>
                  <a:pt x="936" y="134"/>
                  <a:pt x="936" y="134"/>
                </a:cubicBezTo>
                <a:cubicBezTo>
                  <a:pt x="934" y="134"/>
                  <a:pt x="934" y="134"/>
                  <a:pt x="934" y="134"/>
                </a:cubicBezTo>
                <a:cubicBezTo>
                  <a:pt x="933" y="136"/>
                  <a:pt x="933" y="136"/>
                  <a:pt x="933" y="136"/>
                </a:cubicBezTo>
                <a:cubicBezTo>
                  <a:pt x="938" y="137"/>
                  <a:pt x="938" y="137"/>
                  <a:pt x="938" y="137"/>
                </a:cubicBezTo>
                <a:cubicBezTo>
                  <a:pt x="944" y="137"/>
                  <a:pt x="944" y="137"/>
                  <a:pt x="944" y="137"/>
                </a:cubicBezTo>
                <a:cubicBezTo>
                  <a:pt x="946" y="139"/>
                  <a:pt x="946" y="139"/>
                  <a:pt x="946" y="139"/>
                </a:cubicBezTo>
                <a:cubicBezTo>
                  <a:pt x="945" y="141"/>
                  <a:pt x="945" y="141"/>
                  <a:pt x="945" y="141"/>
                </a:cubicBezTo>
                <a:cubicBezTo>
                  <a:pt x="943" y="142"/>
                  <a:pt x="943" y="142"/>
                  <a:pt x="943" y="142"/>
                </a:cubicBezTo>
                <a:cubicBezTo>
                  <a:pt x="940" y="142"/>
                  <a:pt x="940" y="142"/>
                  <a:pt x="940" y="142"/>
                </a:cubicBezTo>
                <a:cubicBezTo>
                  <a:pt x="936" y="143"/>
                  <a:pt x="936" y="143"/>
                  <a:pt x="936" y="143"/>
                </a:cubicBezTo>
                <a:cubicBezTo>
                  <a:pt x="935" y="143"/>
                  <a:pt x="935" y="143"/>
                  <a:pt x="935" y="143"/>
                </a:cubicBezTo>
                <a:cubicBezTo>
                  <a:pt x="937" y="144"/>
                  <a:pt x="937" y="144"/>
                  <a:pt x="937" y="144"/>
                </a:cubicBezTo>
                <a:cubicBezTo>
                  <a:pt x="938" y="144"/>
                  <a:pt x="938" y="144"/>
                  <a:pt x="938" y="144"/>
                </a:cubicBezTo>
                <a:cubicBezTo>
                  <a:pt x="939" y="145"/>
                  <a:pt x="939" y="145"/>
                  <a:pt x="939" y="145"/>
                </a:cubicBezTo>
                <a:cubicBezTo>
                  <a:pt x="939" y="147"/>
                  <a:pt x="939" y="147"/>
                  <a:pt x="939" y="147"/>
                </a:cubicBezTo>
                <a:cubicBezTo>
                  <a:pt x="935" y="151"/>
                  <a:pt x="935" y="151"/>
                  <a:pt x="935" y="151"/>
                </a:cubicBezTo>
                <a:cubicBezTo>
                  <a:pt x="932" y="150"/>
                  <a:pt x="932" y="150"/>
                  <a:pt x="932" y="150"/>
                </a:cubicBezTo>
                <a:cubicBezTo>
                  <a:pt x="926" y="150"/>
                  <a:pt x="926" y="150"/>
                  <a:pt x="926" y="150"/>
                </a:cubicBezTo>
                <a:cubicBezTo>
                  <a:pt x="925" y="149"/>
                  <a:pt x="925" y="149"/>
                  <a:pt x="925" y="149"/>
                </a:cubicBezTo>
                <a:cubicBezTo>
                  <a:pt x="922" y="149"/>
                  <a:pt x="922" y="149"/>
                  <a:pt x="922" y="149"/>
                </a:cubicBezTo>
                <a:cubicBezTo>
                  <a:pt x="922" y="147"/>
                  <a:pt x="922" y="147"/>
                  <a:pt x="922" y="147"/>
                </a:cubicBezTo>
                <a:cubicBezTo>
                  <a:pt x="921" y="143"/>
                  <a:pt x="921" y="143"/>
                  <a:pt x="921" y="143"/>
                </a:cubicBezTo>
                <a:cubicBezTo>
                  <a:pt x="918" y="143"/>
                  <a:pt x="918" y="143"/>
                  <a:pt x="918" y="143"/>
                </a:cubicBezTo>
                <a:cubicBezTo>
                  <a:pt x="917" y="142"/>
                  <a:pt x="917" y="142"/>
                  <a:pt x="917" y="142"/>
                </a:cubicBezTo>
                <a:cubicBezTo>
                  <a:pt x="917" y="139"/>
                  <a:pt x="917" y="139"/>
                  <a:pt x="917" y="139"/>
                </a:cubicBezTo>
                <a:cubicBezTo>
                  <a:pt x="916" y="138"/>
                  <a:pt x="916" y="138"/>
                  <a:pt x="916" y="138"/>
                </a:cubicBezTo>
                <a:cubicBezTo>
                  <a:pt x="914" y="139"/>
                  <a:pt x="914" y="139"/>
                  <a:pt x="914" y="139"/>
                </a:cubicBezTo>
                <a:cubicBezTo>
                  <a:pt x="912" y="138"/>
                  <a:pt x="912" y="138"/>
                  <a:pt x="912" y="138"/>
                </a:cubicBezTo>
                <a:cubicBezTo>
                  <a:pt x="909" y="139"/>
                  <a:pt x="909" y="139"/>
                  <a:pt x="909" y="139"/>
                </a:cubicBezTo>
                <a:cubicBezTo>
                  <a:pt x="908" y="140"/>
                  <a:pt x="908" y="140"/>
                  <a:pt x="908" y="140"/>
                </a:cubicBezTo>
                <a:cubicBezTo>
                  <a:pt x="910" y="141"/>
                  <a:pt x="910" y="141"/>
                  <a:pt x="910" y="141"/>
                </a:cubicBezTo>
                <a:cubicBezTo>
                  <a:pt x="911" y="140"/>
                  <a:pt x="911" y="140"/>
                  <a:pt x="911" y="140"/>
                </a:cubicBezTo>
                <a:cubicBezTo>
                  <a:pt x="913" y="140"/>
                  <a:pt x="913" y="140"/>
                  <a:pt x="913" y="140"/>
                </a:cubicBezTo>
                <a:cubicBezTo>
                  <a:pt x="918" y="145"/>
                  <a:pt x="918" y="145"/>
                  <a:pt x="918" y="145"/>
                </a:cubicBezTo>
                <a:cubicBezTo>
                  <a:pt x="918" y="152"/>
                  <a:pt x="918" y="152"/>
                  <a:pt x="918" y="152"/>
                </a:cubicBezTo>
                <a:cubicBezTo>
                  <a:pt x="917" y="153"/>
                  <a:pt x="917" y="153"/>
                  <a:pt x="917" y="153"/>
                </a:cubicBezTo>
                <a:cubicBezTo>
                  <a:pt x="914" y="153"/>
                  <a:pt x="914" y="153"/>
                  <a:pt x="914" y="153"/>
                </a:cubicBezTo>
                <a:cubicBezTo>
                  <a:pt x="912" y="151"/>
                  <a:pt x="912" y="151"/>
                  <a:pt x="912" y="151"/>
                </a:cubicBezTo>
                <a:cubicBezTo>
                  <a:pt x="911" y="151"/>
                  <a:pt x="911" y="151"/>
                  <a:pt x="911" y="151"/>
                </a:cubicBezTo>
                <a:cubicBezTo>
                  <a:pt x="911" y="153"/>
                  <a:pt x="911" y="153"/>
                  <a:pt x="911" y="153"/>
                </a:cubicBezTo>
                <a:cubicBezTo>
                  <a:pt x="910" y="154"/>
                  <a:pt x="910" y="154"/>
                  <a:pt x="910" y="154"/>
                </a:cubicBezTo>
                <a:cubicBezTo>
                  <a:pt x="907" y="152"/>
                  <a:pt x="907" y="152"/>
                  <a:pt x="907" y="152"/>
                </a:cubicBezTo>
                <a:cubicBezTo>
                  <a:pt x="906" y="152"/>
                  <a:pt x="906" y="152"/>
                  <a:pt x="906" y="152"/>
                </a:cubicBezTo>
                <a:cubicBezTo>
                  <a:pt x="904" y="154"/>
                  <a:pt x="904" y="154"/>
                  <a:pt x="904" y="154"/>
                </a:cubicBezTo>
                <a:cubicBezTo>
                  <a:pt x="903" y="153"/>
                  <a:pt x="903" y="153"/>
                  <a:pt x="903" y="153"/>
                </a:cubicBezTo>
                <a:cubicBezTo>
                  <a:pt x="902" y="152"/>
                  <a:pt x="902" y="152"/>
                  <a:pt x="902" y="152"/>
                </a:cubicBezTo>
                <a:cubicBezTo>
                  <a:pt x="899" y="151"/>
                  <a:pt x="899" y="151"/>
                  <a:pt x="899" y="151"/>
                </a:cubicBezTo>
                <a:cubicBezTo>
                  <a:pt x="898" y="149"/>
                  <a:pt x="898" y="149"/>
                  <a:pt x="898" y="149"/>
                </a:cubicBezTo>
                <a:cubicBezTo>
                  <a:pt x="896" y="150"/>
                  <a:pt x="896" y="150"/>
                  <a:pt x="896" y="150"/>
                </a:cubicBezTo>
                <a:cubicBezTo>
                  <a:pt x="896" y="147"/>
                  <a:pt x="896" y="147"/>
                  <a:pt x="896" y="147"/>
                </a:cubicBezTo>
                <a:cubicBezTo>
                  <a:pt x="894" y="146"/>
                  <a:pt x="894" y="146"/>
                  <a:pt x="894" y="146"/>
                </a:cubicBezTo>
                <a:cubicBezTo>
                  <a:pt x="891" y="146"/>
                  <a:pt x="891" y="146"/>
                  <a:pt x="891" y="146"/>
                </a:cubicBezTo>
                <a:cubicBezTo>
                  <a:pt x="889" y="144"/>
                  <a:pt x="889" y="144"/>
                  <a:pt x="889" y="144"/>
                </a:cubicBezTo>
                <a:cubicBezTo>
                  <a:pt x="888" y="145"/>
                  <a:pt x="888" y="145"/>
                  <a:pt x="888" y="145"/>
                </a:cubicBezTo>
                <a:cubicBezTo>
                  <a:pt x="889" y="146"/>
                  <a:pt x="889" y="146"/>
                  <a:pt x="889" y="146"/>
                </a:cubicBezTo>
                <a:cubicBezTo>
                  <a:pt x="891" y="148"/>
                  <a:pt x="891" y="148"/>
                  <a:pt x="891" y="148"/>
                </a:cubicBezTo>
                <a:cubicBezTo>
                  <a:pt x="894" y="149"/>
                  <a:pt x="894" y="149"/>
                  <a:pt x="894" y="149"/>
                </a:cubicBezTo>
                <a:cubicBezTo>
                  <a:pt x="897" y="153"/>
                  <a:pt x="897" y="153"/>
                  <a:pt x="897" y="153"/>
                </a:cubicBezTo>
                <a:cubicBezTo>
                  <a:pt x="896" y="154"/>
                  <a:pt x="896" y="154"/>
                  <a:pt x="896" y="154"/>
                </a:cubicBezTo>
                <a:cubicBezTo>
                  <a:pt x="889" y="153"/>
                  <a:pt x="889" y="153"/>
                  <a:pt x="889" y="153"/>
                </a:cubicBezTo>
                <a:cubicBezTo>
                  <a:pt x="887" y="151"/>
                  <a:pt x="887" y="151"/>
                  <a:pt x="887" y="151"/>
                </a:cubicBezTo>
                <a:cubicBezTo>
                  <a:pt x="887" y="149"/>
                  <a:pt x="887" y="149"/>
                  <a:pt x="887" y="149"/>
                </a:cubicBezTo>
                <a:cubicBezTo>
                  <a:pt x="886" y="147"/>
                  <a:pt x="886" y="147"/>
                  <a:pt x="886" y="147"/>
                </a:cubicBezTo>
                <a:cubicBezTo>
                  <a:pt x="885" y="148"/>
                  <a:pt x="885" y="148"/>
                  <a:pt x="885" y="148"/>
                </a:cubicBezTo>
                <a:cubicBezTo>
                  <a:pt x="885" y="150"/>
                  <a:pt x="885" y="150"/>
                  <a:pt x="885" y="150"/>
                </a:cubicBezTo>
                <a:cubicBezTo>
                  <a:pt x="884" y="151"/>
                  <a:pt x="884" y="151"/>
                  <a:pt x="884" y="151"/>
                </a:cubicBezTo>
                <a:cubicBezTo>
                  <a:pt x="882" y="151"/>
                  <a:pt x="882" y="151"/>
                  <a:pt x="882" y="151"/>
                </a:cubicBezTo>
                <a:cubicBezTo>
                  <a:pt x="881" y="149"/>
                  <a:pt x="881" y="149"/>
                  <a:pt x="881" y="149"/>
                </a:cubicBezTo>
                <a:cubicBezTo>
                  <a:pt x="879" y="150"/>
                  <a:pt x="879" y="150"/>
                  <a:pt x="879" y="150"/>
                </a:cubicBezTo>
                <a:cubicBezTo>
                  <a:pt x="879" y="151"/>
                  <a:pt x="879" y="151"/>
                  <a:pt x="879" y="151"/>
                </a:cubicBezTo>
                <a:cubicBezTo>
                  <a:pt x="882" y="153"/>
                  <a:pt x="882" y="153"/>
                  <a:pt x="882" y="153"/>
                </a:cubicBezTo>
                <a:cubicBezTo>
                  <a:pt x="882" y="155"/>
                  <a:pt x="882" y="155"/>
                  <a:pt x="882" y="155"/>
                </a:cubicBezTo>
                <a:cubicBezTo>
                  <a:pt x="884" y="155"/>
                  <a:pt x="884" y="155"/>
                  <a:pt x="884" y="155"/>
                </a:cubicBezTo>
                <a:cubicBezTo>
                  <a:pt x="885" y="154"/>
                  <a:pt x="885" y="154"/>
                  <a:pt x="885" y="154"/>
                </a:cubicBezTo>
                <a:cubicBezTo>
                  <a:pt x="886" y="154"/>
                  <a:pt x="886" y="154"/>
                  <a:pt x="886" y="154"/>
                </a:cubicBezTo>
                <a:cubicBezTo>
                  <a:pt x="888" y="156"/>
                  <a:pt x="888" y="156"/>
                  <a:pt x="888" y="156"/>
                </a:cubicBezTo>
                <a:cubicBezTo>
                  <a:pt x="891" y="157"/>
                  <a:pt x="891" y="157"/>
                  <a:pt x="891" y="157"/>
                </a:cubicBezTo>
                <a:cubicBezTo>
                  <a:pt x="893" y="159"/>
                  <a:pt x="893" y="159"/>
                  <a:pt x="893" y="159"/>
                </a:cubicBezTo>
                <a:cubicBezTo>
                  <a:pt x="894" y="159"/>
                  <a:pt x="894" y="159"/>
                  <a:pt x="894" y="159"/>
                </a:cubicBezTo>
                <a:cubicBezTo>
                  <a:pt x="896" y="158"/>
                  <a:pt x="896" y="158"/>
                  <a:pt x="896" y="158"/>
                </a:cubicBezTo>
                <a:cubicBezTo>
                  <a:pt x="903" y="160"/>
                  <a:pt x="903" y="160"/>
                  <a:pt x="903" y="160"/>
                </a:cubicBezTo>
                <a:cubicBezTo>
                  <a:pt x="905" y="161"/>
                  <a:pt x="905" y="161"/>
                  <a:pt x="905" y="161"/>
                </a:cubicBezTo>
                <a:cubicBezTo>
                  <a:pt x="902" y="163"/>
                  <a:pt x="902" y="163"/>
                  <a:pt x="902" y="163"/>
                </a:cubicBezTo>
                <a:cubicBezTo>
                  <a:pt x="903" y="164"/>
                  <a:pt x="903" y="164"/>
                  <a:pt x="903" y="164"/>
                </a:cubicBezTo>
                <a:cubicBezTo>
                  <a:pt x="903" y="166"/>
                  <a:pt x="903" y="166"/>
                  <a:pt x="903" y="166"/>
                </a:cubicBezTo>
                <a:cubicBezTo>
                  <a:pt x="903" y="168"/>
                  <a:pt x="903" y="168"/>
                  <a:pt x="903" y="168"/>
                </a:cubicBezTo>
                <a:cubicBezTo>
                  <a:pt x="902" y="170"/>
                  <a:pt x="902" y="170"/>
                  <a:pt x="902" y="170"/>
                </a:cubicBezTo>
                <a:cubicBezTo>
                  <a:pt x="901" y="170"/>
                  <a:pt x="901" y="170"/>
                  <a:pt x="901" y="170"/>
                </a:cubicBezTo>
                <a:cubicBezTo>
                  <a:pt x="899" y="168"/>
                  <a:pt x="899" y="168"/>
                  <a:pt x="899" y="168"/>
                </a:cubicBezTo>
                <a:cubicBezTo>
                  <a:pt x="896" y="167"/>
                  <a:pt x="896" y="167"/>
                  <a:pt x="896" y="167"/>
                </a:cubicBezTo>
                <a:cubicBezTo>
                  <a:pt x="893" y="165"/>
                  <a:pt x="893" y="165"/>
                  <a:pt x="893" y="165"/>
                </a:cubicBezTo>
                <a:cubicBezTo>
                  <a:pt x="892" y="163"/>
                  <a:pt x="892" y="163"/>
                  <a:pt x="892" y="163"/>
                </a:cubicBezTo>
                <a:cubicBezTo>
                  <a:pt x="892" y="160"/>
                  <a:pt x="892" y="160"/>
                  <a:pt x="892" y="160"/>
                </a:cubicBezTo>
                <a:cubicBezTo>
                  <a:pt x="891" y="158"/>
                  <a:pt x="891" y="158"/>
                  <a:pt x="891" y="158"/>
                </a:cubicBezTo>
                <a:cubicBezTo>
                  <a:pt x="887" y="158"/>
                  <a:pt x="887" y="158"/>
                  <a:pt x="887" y="158"/>
                </a:cubicBezTo>
                <a:cubicBezTo>
                  <a:pt x="882" y="157"/>
                  <a:pt x="882" y="157"/>
                  <a:pt x="882" y="157"/>
                </a:cubicBezTo>
                <a:cubicBezTo>
                  <a:pt x="880" y="156"/>
                  <a:pt x="880" y="156"/>
                  <a:pt x="880" y="156"/>
                </a:cubicBezTo>
                <a:cubicBezTo>
                  <a:pt x="878" y="156"/>
                  <a:pt x="878" y="156"/>
                  <a:pt x="878" y="156"/>
                </a:cubicBezTo>
                <a:cubicBezTo>
                  <a:pt x="877" y="157"/>
                  <a:pt x="877" y="157"/>
                  <a:pt x="877" y="157"/>
                </a:cubicBezTo>
                <a:cubicBezTo>
                  <a:pt x="880" y="158"/>
                  <a:pt x="880" y="158"/>
                  <a:pt x="880" y="158"/>
                </a:cubicBezTo>
                <a:cubicBezTo>
                  <a:pt x="885" y="159"/>
                  <a:pt x="885" y="159"/>
                  <a:pt x="885" y="159"/>
                </a:cubicBezTo>
                <a:cubicBezTo>
                  <a:pt x="890" y="161"/>
                  <a:pt x="890" y="161"/>
                  <a:pt x="890" y="161"/>
                </a:cubicBezTo>
                <a:cubicBezTo>
                  <a:pt x="890" y="163"/>
                  <a:pt x="890" y="163"/>
                  <a:pt x="890" y="163"/>
                </a:cubicBezTo>
                <a:cubicBezTo>
                  <a:pt x="889" y="163"/>
                  <a:pt x="889" y="163"/>
                  <a:pt x="889" y="163"/>
                </a:cubicBezTo>
                <a:cubicBezTo>
                  <a:pt x="887" y="162"/>
                  <a:pt x="887" y="162"/>
                  <a:pt x="887" y="162"/>
                </a:cubicBezTo>
                <a:cubicBezTo>
                  <a:pt x="882" y="162"/>
                  <a:pt x="882" y="162"/>
                  <a:pt x="882" y="162"/>
                </a:cubicBezTo>
                <a:cubicBezTo>
                  <a:pt x="878" y="163"/>
                  <a:pt x="878" y="163"/>
                  <a:pt x="878" y="163"/>
                </a:cubicBezTo>
                <a:cubicBezTo>
                  <a:pt x="878" y="161"/>
                  <a:pt x="878" y="161"/>
                  <a:pt x="878" y="161"/>
                </a:cubicBezTo>
                <a:cubicBezTo>
                  <a:pt x="877" y="160"/>
                  <a:pt x="877" y="160"/>
                  <a:pt x="877" y="160"/>
                </a:cubicBezTo>
                <a:cubicBezTo>
                  <a:pt x="873" y="159"/>
                  <a:pt x="873" y="159"/>
                  <a:pt x="873" y="159"/>
                </a:cubicBezTo>
                <a:cubicBezTo>
                  <a:pt x="871" y="158"/>
                  <a:pt x="871" y="158"/>
                  <a:pt x="871" y="158"/>
                </a:cubicBezTo>
                <a:cubicBezTo>
                  <a:pt x="872" y="159"/>
                  <a:pt x="872" y="159"/>
                  <a:pt x="872" y="159"/>
                </a:cubicBezTo>
                <a:cubicBezTo>
                  <a:pt x="876" y="161"/>
                  <a:pt x="876" y="161"/>
                  <a:pt x="876" y="161"/>
                </a:cubicBezTo>
                <a:cubicBezTo>
                  <a:pt x="875" y="162"/>
                  <a:pt x="875" y="162"/>
                  <a:pt x="875" y="162"/>
                </a:cubicBezTo>
                <a:cubicBezTo>
                  <a:pt x="875" y="164"/>
                  <a:pt x="875" y="164"/>
                  <a:pt x="875" y="164"/>
                </a:cubicBezTo>
                <a:cubicBezTo>
                  <a:pt x="877" y="164"/>
                  <a:pt x="877" y="164"/>
                  <a:pt x="877" y="164"/>
                </a:cubicBezTo>
                <a:cubicBezTo>
                  <a:pt x="878" y="164"/>
                  <a:pt x="878" y="164"/>
                  <a:pt x="878" y="164"/>
                </a:cubicBezTo>
                <a:cubicBezTo>
                  <a:pt x="879" y="165"/>
                  <a:pt x="879" y="165"/>
                  <a:pt x="879" y="165"/>
                </a:cubicBezTo>
                <a:cubicBezTo>
                  <a:pt x="881" y="164"/>
                  <a:pt x="881" y="164"/>
                  <a:pt x="881" y="164"/>
                </a:cubicBezTo>
                <a:cubicBezTo>
                  <a:pt x="881" y="163"/>
                  <a:pt x="881" y="163"/>
                  <a:pt x="881" y="163"/>
                </a:cubicBezTo>
                <a:cubicBezTo>
                  <a:pt x="883" y="164"/>
                  <a:pt x="883" y="164"/>
                  <a:pt x="883" y="164"/>
                </a:cubicBezTo>
                <a:cubicBezTo>
                  <a:pt x="885" y="164"/>
                  <a:pt x="885" y="164"/>
                  <a:pt x="885" y="164"/>
                </a:cubicBezTo>
                <a:cubicBezTo>
                  <a:pt x="887" y="164"/>
                  <a:pt x="887" y="164"/>
                  <a:pt x="887" y="164"/>
                </a:cubicBezTo>
                <a:cubicBezTo>
                  <a:pt x="890" y="167"/>
                  <a:pt x="890" y="167"/>
                  <a:pt x="890" y="167"/>
                </a:cubicBezTo>
                <a:cubicBezTo>
                  <a:pt x="890" y="169"/>
                  <a:pt x="890" y="169"/>
                  <a:pt x="890" y="169"/>
                </a:cubicBezTo>
                <a:cubicBezTo>
                  <a:pt x="887" y="169"/>
                  <a:pt x="887" y="169"/>
                  <a:pt x="887" y="169"/>
                </a:cubicBezTo>
                <a:cubicBezTo>
                  <a:pt x="885" y="170"/>
                  <a:pt x="885" y="170"/>
                  <a:pt x="885" y="170"/>
                </a:cubicBezTo>
                <a:cubicBezTo>
                  <a:pt x="884" y="171"/>
                  <a:pt x="884" y="171"/>
                  <a:pt x="884" y="171"/>
                </a:cubicBezTo>
                <a:cubicBezTo>
                  <a:pt x="886" y="171"/>
                  <a:pt x="886" y="171"/>
                  <a:pt x="886" y="171"/>
                </a:cubicBezTo>
                <a:cubicBezTo>
                  <a:pt x="889" y="171"/>
                  <a:pt x="889" y="171"/>
                  <a:pt x="889" y="171"/>
                </a:cubicBezTo>
                <a:cubicBezTo>
                  <a:pt x="891" y="170"/>
                  <a:pt x="891" y="170"/>
                  <a:pt x="891" y="170"/>
                </a:cubicBezTo>
                <a:cubicBezTo>
                  <a:pt x="893" y="172"/>
                  <a:pt x="893" y="172"/>
                  <a:pt x="893" y="172"/>
                </a:cubicBezTo>
                <a:cubicBezTo>
                  <a:pt x="895" y="174"/>
                  <a:pt x="895" y="174"/>
                  <a:pt x="895" y="174"/>
                </a:cubicBezTo>
                <a:cubicBezTo>
                  <a:pt x="895" y="176"/>
                  <a:pt x="895" y="176"/>
                  <a:pt x="895" y="176"/>
                </a:cubicBezTo>
                <a:cubicBezTo>
                  <a:pt x="892" y="180"/>
                  <a:pt x="892" y="180"/>
                  <a:pt x="892" y="180"/>
                </a:cubicBezTo>
                <a:cubicBezTo>
                  <a:pt x="891" y="184"/>
                  <a:pt x="891" y="184"/>
                  <a:pt x="891" y="184"/>
                </a:cubicBezTo>
                <a:cubicBezTo>
                  <a:pt x="890" y="184"/>
                  <a:pt x="890" y="184"/>
                  <a:pt x="890" y="184"/>
                </a:cubicBezTo>
                <a:cubicBezTo>
                  <a:pt x="887" y="187"/>
                  <a:pt x="887" y="187"/>
                  <a:pt x="887" y="187"/>
                </a:cubicBezTo>
                <a:cubicBezTo>
                  <a:pt x="885" y="186"/>
                  <a:pt x="885" y="186"/>
                  <a:pt x="885" y="186"/>
                </a:cubicBezTo>
                <a:cubicBezTo>
                  <a:pt x="883" y="186"/>
                  <a:pt x="883" y="186"/>
                  <a:pt x="883" y="186"/>
                </a:cubicBezTo>
                <a:cubicBezTo>
                  <a:pt x="881" y="185"/>
                  <a:pt x="881" y="185"/>
                  <a:pt x="881" y="185"/>
                </a:cubicBezTo>
                <a:cubicBezTo>
                  <a:pt x="881" y="184"/>
                  <a:pt x="881" y="184"/>
                  <a:pt x="881" y="184"/>
                </a:cubicBezTo>
                <a:cubicBezTo>
                  <a:pt x="879" y="183"/>
                  <a:pt x="879" y="183"/>
                  <a:pt x="879" y="183"/>
                </a:cubicBezTo>
                <a:cubicBezTo>
                  <a:pt x="876" y="183"/>
                  <a:pt x="876" y="183"/>
                  <a:pt x="876" y="183"/>
                </a:cubicBezTo>
                <a:cubicBezTo>
                  <a:pt x="877" y="184"/>
                  <a:pt x="877" y="184"/>
                  <a:pt x="877" y="184"/>
                </a:cubicBezTo>
                <a:cubicBezTo>
                  <a:pt x="879" y="185"/>
                  <a:pt x="879" y="185"/>
                  <a:pt x="879" y="185"/>
                </a:cubicBezTo>
                <a:cubicBezTo>
                  <a:pt x="880" y="186"/>
                  <a:pt x="880" y="186"/>
                  <a:pt x="880" y="186"/>
                </a:cubicBezTo>
                <a:cubicBezTo>
                  <a:pt x="881" y="187"/>
                  <a:pt x="881" y="187"/>
                  <a:pt x="881" y="187"/>
                </a:cubicBezTo>
                <a:cubicBezTo>
                  <a:pt x="884" y="189"/>
                  <a:pt x="884" y="189"/>
                  <a:pt x="884" y="189"/>
                </a:cubicBezTo>
                <a:cubicBezTo>
                  <a:pt x="885" y="192"/>
                  <a:pt x="885" y="192"/>
                  <a:pt x="885" y="192"/>
                </a:cubicBezTo>
                <a:cubicBezTo>
                  <a:pt x="884" y="193"/>
                  <a:pt x="884" y="193"/>
                  <a:pt x="884" y="193"/>
                </a:cubicBezTo>
                <a:cubicBezTo>
                  <a:pt x="882" y="193"/>
                  <a:pt x="882" y="193"/>
                  <a:pt x="882" y="193"/>
                </a:cubicBezTo>
                <a:cubicBezTo>
                  <a:pt x="879" y="196"/>
                  <a:pt x="879" y="196"/>
                  <a:pt x="879" y="196"/>
                </a:cubicBezTo>
                <a:cubicBezTo>
                  <a:pt x="878" y="196"/>
                  <a:pt x="878" y="196"/>
                  <a:pt x="878" y="196"/>
                </a:cubicBezTo>
                <a:cubicBezTo>
                  <a:pt x="874" y="193"/>
                  <a:pt x="874" y="193"/>
                  <a:pt x="874" y="193"/>
                </a:cubicBezTo>
                <a:cubicBezTo>
                  <a:pt x="872" y="194"/>
                  <a:pt x="872" y="194"/>
                  <a:pt x="872" y="194"/>
                </a:cubicBezTo>
                <a:cubicBezTo>
                  <a:pt x="871" y="192"/>
                  <a:pt x="871" y="192"/>
                  <a:pt x="871" y="192"/>
                </a:cubicBezTo>
                <a:cubicBezTo>
                  <a:pt x="868" y="192"/>
                  <a:pt x="868" y="192"/>
                  <a:pt x="868" y="192"/>
                </a:cubicBezTo>
                <a:cubicBezTo>
                  <a:pt x="867" y="193"/>
                  <a:pt x="867" y="193"/>
                  <a:pt x="867" y="193"/>
                </a:cubicBezTo>
                <a:cubicBezTo>
                  <a:pt x="867" y="195"/>
                  <a:pt x="867" y="195"/>
                  <a:pt x="867" y="195"/>
                </a:cubicBezTo>
                <a:cubicBezTo>
                  <a:pt x="874" y="199"/>
                  <a:pt x="874" y="199"/>
                  <a:pt x="874" y="199"/>
                </a:cubicBezTo>
                <a:cubicBezTo>
                  <a:pt x="877" y="199"/>
                  <a:pt x="877" y="199"/>
                  <a:pt x="877" y="199"/>
                </a:cubicBezTo>
                <a:cubicBezTo>
                  <a:pt x="877" y="200"/>
                  <a:pt x="877" y="200"/>
                  <a:pt x="877" y="200"/>
                </a:cubicBezTo>
                <a:cubicBezTo>
                  <a:pt x="875" y="201"/>
                  <a:pt x="875" y="201"/>
                  <a:pt x="875" y="201"/>
                </a:cubicBezTo>
                <a:cubicBezTo>
                  <a:pt x="873" y="204"/>
                  <a:pt x="873" y="204"/>
                  <a:pt x="873" y="204"/>
                </a:cubicBezTo>
                <a:cubicBezTo>
                  <a:pt x="871" y="204"/>
                  <a:pt x="871" y="204"/>
                  <a:pt x="871" y="204"/>
                </a:cubicBezTo>
                <a:cubicBezTo>
                  <a:pt x="869" y="202"/>
                  <a:pt x="869" y="202"/>
                  <a:pt x="869" y="202"/>
                </a:cubicBezTo>
                <a:cubicBezTo>
                  <a:pt x="867" y="202"/>
                  <a:pt x="867" y="202"/>
                  <a:pt x="867" y="202"/>
                </a:cubicBezTo>
                <a:cubicBezTo>
                  <a:pt x="865" y="204"/>
                  <a:pt x="865" y="204"/>
                  <a:pt x="865" y="204"/>
                </a:cubicBezTo>
                <a:cubicBezTo>
                  <a:pt x="861" y="204"/>
                  <a:pt x="861" y="204"/>
                  <a:pt x="861" y="204"/>
                </a:cubicBezTo>
                <a:cubicBezTo>
                  <a:pt x="860" y="202"/>
                  <a:pt x="860" y="202"/>
                  <a:pt x="860" y="202"/>
                </a:cubicBezTo>
                <a:cubicBezTo>
                  <a:pt x="855" y="201"/>
                  <a:pt x="855" y="201"/>
                  <a:pt x="855" y="201"/>
                </a:cubicBezTo>
                <a:cubicBezTo>
                  <a:pt x="852" y="201"/>
                  <a:pt x="852" y="201"/>
                  <a:pt x="852" y="201"/>
                </a:cubicBezTo>
                <a:cubicBezTo>
                  <a:pt x="851" y="206"/>
                  <a:pt x="851" y="206"/>
                  <a:pt x="851" y="206"/>
                </a:cubicBezTo>
                <a:cubicBezTo>
                  <a:pt x="849" y="208"/>
                  <a:pt x="849" y="208"/>
                  <a:pt x="849" y="208"/>
                </a:cubicBezTo>
                <a:cubicBezTo>
                  <a:pt x="851" y="208"/>
                  <a:pt x="851" y="208"/>
                  <a:pt x="851" y="208"/>
                </a:cubicBezTo>
                <a:cubicBezTo>
                  <a:pt x="852" y="209"/>
                  <a:pt x="852" y="209"/>
                  <a:pt x="852" y="209"/>
                </a:cubicBezTo>
                <a:cubicBezTo>
                  <a:pt x="852" y="211"/>
                  <a:pt x="852" y="211"/>
                  <a:pt x="852" y="211"/>
                </a:cubicBezTo>
                <a:cubicBezTo>
                  <a:pt x="848" y="213"/>
                  <a:pt x="848" y="213"/>
                  <a:pt x="848" y="213"/>
                </a:cubicBezTo>
                <a:cubicBezTo>
                  <a:pt x="848" y="216"/>
                  <a:pt x="848" y="216"/>
                  <a:pt x="848" y="216"/>
                </a:cubicBezTo>
                <a:cubicBezTo>
                  <a:pt x="845" y="217"/>
                  <a:pt x="845" y="217"/>
                  <a:pt x="845" y="217"/>
                </a:cubicBezTo>
                <a:cubicBezTo>
                  <a:pt x="844" y="216"/>
                  <a:pt x="844" y="216"/>
                  <a:pt x="844" y="216"/>
                </a:cubicBezTo>
                <a:cubicBezTo>
                  <a:pt x="844" y="217"/>
                  <a:pt x="844" y="217"/>
                  <a:pt x="844" y="217"/>
                </a:cubicBezTo>
                <a:cubicBezTo>
                  <a:pt x="843" y="219"/>
                  <a:pt x="843" y="219"/>
                  <a:pt x="843" y="219"/>
                </a:cubicBezTo>
                <a:cubicBezTo>
                  <a:pt x="841" y="220"/>
                  <a:pt x="841" y="220"/>
                  <a:pt x="841" y="220"/>
                </a:cubicBezTo>
                <a:cubicBezTo>
                  <a:pt x="839" y="219"/>
                  <a:pt x="839" y="219"/>
                  <a:pt x="839" y="219"/>
                </a:cubicBezTo>
                <a:cubicBezTo>
                  <a:pt x="840" y="218"/>
                  <a:pt x="840" y="218"/>
                  <a:pt x="840" y="218"/>
                </a:cubicBezTo>
                <a:cubicBezTo>
                  <a:pt x="839" y="218"/>
                  <a:pt x="839" y="218"/>
                  <a:pt x="839" y="218"/>
                </a:cubicBezTo>
                <a:cubicBezTo>
                  <a:pt x="838" y="219"/>
                  <a:pt x="838" y="219"/>
                  <a:pt x="838" y="219"/>
                </a:cubicBezTo>
                <a:cubicBezTo>
                  <a:pt x="836" y="222"/>
                  <a:pt x="836" y="222"/>
                  <a:pt x="836" y="222"/>
                </a:cubicBezTo>
                <a:cubicBezTo>
                  <a:pt x="835" y="223"/>
                  <a:pt x="835" y="223"/>
                  <a:pt x="835" y="223"/>
                </a:cubicBezTo>
                <a:cubicBezTo>
                  <a:pt x="829" y="220"/>
                  <a:pt x="829" y="220"/>
                  <a:pt x="829" y="220"/>
                </a:cubicBezTo>
                <a:cubicBezTo>
                  <a:pt x="826" y="220"/>
                  <a:pt x="826" y="220"/>
                  <a:pt x="826" y="220"/>
                </a:cubicBezTo>
                <a:cubicBezTo>
                  <a:pt x="825" y="221"/>
                  <a:pt x="825" y="221"/>
                  <a:pt x="825" y="221"/>
                </a:cubicBezTo>
                <a:cubicBezTo>
                  <a:pt x="822" y="220"/>
                  <a:pt x="822" y="220"/>
                  <a:pt x="822" y="220"/>
                </a:cubicBezTo>
                <a:cubicBezTo>
                  <a:pt x="817" y="214"/>
                  <a:pt x="817" y="214"/>
                  <a:pt x="817" y="214"/>
                </a:cubicBezTo>
                <a:cubicBezTo>
                  <a:pt x="816" y="209"/>
                  <a:pt x="816" y="209"/>
                  <a:pt x="816" y="209"/>
                </a:cubicBezTo>
                <a:cubicBezTo>
                  <a:pt x="818" y="208"/>
                  <a:pt x="818" y="208"/>
                  <a:pt x="818" y="208"/>
                </a:cubicBezTo>
                <a:cubicBezTo>
                  <a:pt x="818" y="206"/>
                  <a:pt x="818" y="206"/>
                  <a:pt x="818" y="206"/>
                </a:cubicBezTo>
                <a:cubicBezTo>
                  <a:pt x="817" y="204"/>
                  <a:pt x="817" y="204"/>
                  <a:pt x="817" y="204"/>
                </a:cubicBezTo>
                <a:cubicBezTo>
                  <a:pt x="817" y="203"/>
                  <a:pt x="817" y="203"/>
                  <a:pt x="817" y="203"/>
                </a:cubicBezTo>
                <a:cubicBezTo>
                  <a:pt x="815" y="206"/>
                  <a:pt x="815" y="206"/>
                  <a:pt x="815" y="206"/>
                </a:cubicBezTo>
                <a:cubicBezTo>
                  <a:pt x="815" y="207"/>
                  <a:pt x="815" y="207"/>
                  <a:pt x="815" y="207"/>
                </a:cubicBezTo>
                <a:cubicBezTo>
                  <a:pt x="814" y="211"/>
                  <a:pt x="814" y="211"/>
                  <a:pt x="814" y="211"/>
                </a:cubicBezTo>
                <a:cubicBezTo>
                  <a:pt x="813" y="213"/>
                  <a:pt x="813" y="213"/>
                  <a:pt x="813" y="213"/>
                </a:cubicBezTo>
                <a:cubicBezTo>
                  <a:pt x="815" y="215"/>
                  <a:pt x="815" y="215"/>
                  <a:pt x="815" y="215"/>
                </a:cubicBezTo>
                <a:cubicBezTo>
                  <a:pt x="815" y="216"/>
                  <a:pt x="815" y="216"/>
                  <a:pt x="815" y="216"/>
                </a:cubicBezTo>
                <a:cubicBezTo>
                  <a:pt x="813" y="216"/>
                  <a:pt x="813" y="216"/>
                  <a:pt x="813" y="216"/>
                </a:cubicBezTo>
                <a:cubicBezTo>
                  <a:pt x="810" y="217"/>
                  <a:pt x="810" y="217"/>
                  <a:pt x="810" y="217"/>
                </a:cubicBezTo>
                <a:cubicBezTo>
                  <a:pt x="810" y="216"/>
                  <a:pt x="810" y="216"/>
                  <a:pt x="810" y="216"/>
                </a:cubicBezTo>
                <a:cubicBezTo>
                  <a:pt x="807" y="217"/>
                  <a:pt x="807" y="217"/>
                  <a:pt x="807" y="217"/>
                </a:cubicBezTo>
                <a:cubicBezTo>
                  <a:pt x="809" y="218"/>
                  <a:pt x="809" y="218"/>
                  <a:pt x="809" y="218"/>
                </a:cubicBezTo>
                <a:cubicBezTo>
                  <a:pt x="808" y="222"/>
                  <a:pt x="808" y="222"/>
                  <a:pt x="808" y="222"/>
                </a:cubicBezTo>
                <a:cubicBezTo>
                  <a:pt x="810" y="222"/>
                  <a:pt x="810" y="222"/>
                  <a:pt x="810" y="222"/>
                </a:cubicBezTo>
                <a:cubicBezTo>
                  <a:pt x="813" y="219"/>
                  <a:pt x="813" y="219"/>
                  <a:pt x="813" y="219"/>
                </a:cubicBezTo>
                <a:cubicBezTo>
                  <a:pt x="814" y="219"/>
                  <a:pt x="814" y="219"/>
                  <a:pt x="814" y="219"/>
                </a:cubicBezTo>
                <a:cubicBezTo>
                  <a:pt x="815" y="218"/>
                  <a:pt x="815" y="218"/>
                  <a:pt x="815" y="218"/>
                </a:cubicBezTo>
                <a:cubicBezTo>
                  <a:pt x="817" y="217"/>
                  <a:pt x="817" y="217"/>
                  <a:pt x="817" y="217"/>
                </a:cubicBezTo>
                <a:cubicBezTo>
                  <a:pt x="819" y="219"/>
                  <a:pt x="819" y="219"/>
                  <a:pt x="819" y="219"/>
                </a:cubicBezTo>
                <a:cubicBezTo>
                  <a:pt x="821" y="222"/>
                  <a:pt x="821" y="222"/>
                  <a:pt x="821" y="222"/>
                </a:cubicBezTo>
                <a:cubicBezTo>
                  <a:pt x="820" y="225"/>
                  <a:pt x="820" y="225"/>
                  <a:pt x="820" y="225"/>
                </a:cubicBezTo>
                <a:cubicBezTo>
                  <a:pt x="823" y="223"/>
                  <a:pt x="823" y="223"/>
                  <a:pt x="823" y="223"/>
                </a:cubicBezTo>
                <a:cubicBezTo>
                  <a:pt x="827" y="221"/>
                  <a:pt x="827" y="221"/>
                  <a:pt x="827" y="221"/>
                </a:cubicBezTo>
                <a:cubicBezTo>
                  <a:pt x="830" y="223"/>
                  <a:pt x="830" y="223"/>
                  <a:pt x="830" y="223"/>
                </a:cubicBezTo>
                <a:cubicBezTo>
                  <a:pt x="831" y="225"/>
                  <a:pt x="831" y="225"/>
                  <a:pt x="831" y="225"/>
                </a:cubicBezTo>
                <a:cubicBezTo>
                  <a:pt x="830" y="227"/>
                  <a:pt x="830" y="227"/>
                  <a:pt x="830" y="227"/>
                </a:cubicBezTo>
                <a:cubicBezTo>
                  <a:pt x="828" y="231"/>
                  <a:pt x="828" y="231"/>
                  <a:pt x="828" y="231"/>
                </a:cubicBezTo>
                <a:cubicBezTo>
                  <a:pt x="827" y="231"/>
                  <a:pt x="827" y="231"/>
                  <a:pt x="827" y="231"/>
                </a:cubicBezTo>
                <a:cubicBezTo>
                  <a:pt x="826" y="233"/>
                  <a:pt x="826" y="233"/>
                  <a:pt x="826" y="233"/>
                </a:cubicBezTo>
                <a:cubicBezTo>
                  <a:pt x="827" y="233"/>
                  <a:pt x="827" y="233"/>
                  <a:pt x="827" y="233"/>
                </a:cubicBezTo>
                <a:cubicBezTo>
                  <a:pt x="829" y="233"/>
                  <a:pt x="829" y="233"/>
                  <a:pt x="829" y="233"/>
                </a:cubicBezTo>
                <a:cubicBezTo>
                  <a:pt x="829" y="235"/>
                  <a:pt x="829" y="235"/>
                  <a:pt x="829" y="235"/>
                </a:cubicBezTo>
                <a:cubicBezTo>
                  <a:pt x="827" y="237"/>
                  <a:pt x="827" y="237"/>
                  <a:pt x="827" y="237"/>
                </a:cubicBezTo>
                <a:cubicBezTo>
                  <a:pt x="829" y="237"/>
                  <a:pt x="829" y="237"/>
                  <a:pt x="829" y="237"/>
                </a:cubicBezTo>
                <a:cubicBezTo>
                  <a:pt x="830" y="235"/>
                  <a:pt x="830" y="235"/>
                  <a:pt x="830" y="235"/>
                </a:cubicBezTo>
                <a:cubicBezTo>
                  <a:pt x="833" y="234"/>
                  <a:pt x="833" y="234"/>
                  <a:pt x="833" y="234"/>
                </a:cubicBezTo>
                <a:cubicBezTo>
                  <a:pt x="835" y="233"/>
                  <a:pt x="835" y="233"/>
                  <a:pt x="835" y="233"/>
                </a:cubicBezTo>
                <a:cubicBezTo>
                  <a:pt x="836" y="233"/>
                  <a:pt x="836" y="233"/>
                  <a:pt x="836" y="233"/>
                </a:cubicBezTo>
                <a:cubicBezTo>
                  <a:pt x="837" y="234"/>
                  <a:pt x="837" y="234"/>
                  <a:pt x="837" y="234"/>
                </a:cubicBezTo>
                <a:cubicBezTo>
                  <a:pt x="836" y="236"/>
                  <a:pt x="836" y="236"/>
                  <a:pt x="836" y="236"/>
                </a:cubicBezTo>
                <a:cubicBezTo>
                  <a:pt x="837" y="238"/>
                  <a:pt x="837" y="238"/>
                  <a:pt x="837" y="238"/>
                </a:cubicBezTo>
                <a:cubicBezTo>
                  <a:pt x="836" y="242"/>
                  <a:pt x="836" y="242"/>
                  <a:pt x="836" y="242"/>
                </a:cubicBezTo>
                <a:cubicBezTo>
                  <a:pt x="834" y="246"/>
                  <a:pt x="834" y="246"/>
                  <a:pt x="834" y="246"/>
                </a:cubicBezTo>
                <a:cubicBezTo>
                  <a:pt x="831" y="246"/>
                  <a:pt x="831" y="246"/>
                  <a:pt x="831" y="246"/>
                </a:cubicBezTo>
                <a:cubicBezTo>
                  <a:pt x="829" y="248"/>
                  <a:pt x="829" y="248"/>
                  <a:pt x="829" y="248"/>
                </a:cubicBezTo>
                <a:cubicBezTo>
                  <a:pt x="827" y="251"/>
                  <a:pt x="827" y="251"/>
                  <a:pt x="827" y="251"/>
                </a:cubicBezTo>
                <a:cubicBezTo>
                  <a:pt x="825" y="252"/>
                  <a:pt x="825" y="252"/>
                  <a:pt x="825" y="252"/>
                </a:cubicBezTo>
                <a:cubicBezTo>
                  <a:pt x="824" y="252"/>
                  <a:pt x="824" y="252"/>
                  <a:pt x="824" y="252"/>
                </a:cubicBezTo>
                <a:cubicBezTo>
                  <a:pt x="825" y="249"/>
                  <a:pt x="825" y="249"/>
                  <a:pt x="825" y="249"/>
                </a:cubicBezTo>
                <a:cubicBezTo>
                  <a:pt x="825" y="246"/>
                  <a:pt x="825" y="246"/>
                  <a:pt x="825" y="246"/>
                </a:cubicBezTo>
                <a:cubicBezTo>
                  <a:pt x="825" y="245"/>
                  <a:pt x="825" y="245"/>
                  <a:pt x="825" y="245"/>
                </a:cubicBezTo>
                <a:cubicBezTo>
                  <a:pt x="823" y="246"/>
                  <a:pt x="823" y="246"/>
                  <a:pt x="823" y="246"/>
                </a:cubicBezTo>
                <a:cubicBezTo>
                  <a:pt x="821" y="250"/>
                  <a:pt x="821" y="250"/>
                  <a:pt x="821" y="250"/>
                </a:cubicBezTo>
                <a:cubicBezTo>
                  <a:pt x="819" y="250"/>
                  <a:pt x="819" y="250"/>
                  <a:pt x="819" y="250"/>
                </a:cubicBezTo>
                <a:cubicBezTo>
                  <a:pt x="816" y="253"/>
                  <a:pt x="816" y="253"/>
                  <a:pt x="816" y="253"/>
                </a:cubicBezTo>
                <a:cubicBezTo>
                  <a:pt x="815" y="253"/>
                  <a:pt x="815" y="253"/>
                  <a:pt x="815" y="253"/>
                </a:cubicBezTo>
                <a:cubicBezTo>
                  <a:pt x="813" y="253"/>
                  <a:pt x="813" y="253"/>
                  <a:pt x="813" y="253"/>
                </a:cubicBezTo>
                <a:cubicBezTo>
                  <a:pt x="809" y="256"/>
                  <a:pt x="809" y="256"/>
                  <a:pt x="809" y="256"/>
                </a:cubicBezTo>
                <a:cubicBezTo>
                  <a:pt x="808" y="255"/>
                  <a:pt x="808" y="255"/>
                  <a:pt x="808" y="255"/>
                </a:cubicBezTo>
                <a:cubicBezTo>
                  <a:pt x="806" y="256"/>
                  <a:pt x="806" y="256"/>
                  <a:pt x="806" y="256"/>
                </a:cubicBezTo>
                <a:cubicBezTo>
                  <a:pt x="803" y="256"/>
                  <a:pt x="803" y="256"/>
                  <a:pt x="803" y="256"/>
                </a:cubicBezTo>
                <a:cubicBezTo>
                  <a:pt x="802" y="254"/>
                  <a:pt x="802" y="254"/>
                  <a:pt x="802" y="254"/>
                </a:cubicBezTo>
                <a:cubicBezTo>
                  <a:pt x="801" y="253"/>
                  <a:pt x="801" y="253"/>
                  <a:pt x="801" y="253"/>
                </a:cubicBezTo>
                <a:cubicBezTo>
                  <a:pt x="804" y="252"/>
                  <a:pt x="804" y="252"/>
                  <a:pt x="804" y="252"/>
                </a:cubicBezTo>
                <a:cubicBezTo>
                  <a:pt x="805" y="249"/>
                  <a:pt x="805" y="249"/>
                  <a:pt x="805" y="249"/>
                </a:cubicBezTo>
                <a:cubicBezTo>
                  <a:pt x="805" y="248"/>
                  <a:pt x="805" y="248"/>
                  <a:pt x="805" y="248"/>
                </a:cubicBezTo>
                <a:cubicBezTo>
                  <a:pt x="803" y="244"/>
                  <a:pt x="803" y="244"/>
                  <a:pt x="803" y="244"/>
                </a:cubicBezTo>
                <a:cubicBezTo>
                  <a:pt x="801" y="245"/>
                  <a:pt x="801" y="245"/>
                  <a:pt x="801" y="245"/>
                </a:cubicBezTo>
                <a:cubicBezTo>
                  <a:pt x="798" y="244"/>
                  <a:pt x="798" y="244"/>
                  <a:pt x="798" y="244"/>
                </a:cubicBezTo>
                <a:cubicBezTo>
                  <a:pt x="797" y="243"/>
                  <a:pt x="797" y="243"/>
                  <a:pt x="797" y="243"/>
                </a:cubicBezTo>
                <a:cubicBezTo>
                  <a:pt x="798" y="240"/>
                  <a:pt x="798" y="240"/>
                  <a:pt x="798" y="240"/>
                </a:cubicBezTo>
                <a:cubicBezTo>
                  <a:pt x="800" y="239"/>
                  <a:pt x="800" y="239"/>
                  <a:pt x="800" y="239"/>
                </a:cubicBezTo>
                <a:cubicBezTo>
                  <a:pt x="799" y="239"/>
                  <a:pt x="799" y="239"/>
                  <a:pt x="799" y="239"/>
                </a:cubicBezTo>
                <a:cubicBezTo>
                  <a:pt x="797" y="238"/>
                  <a:pt x="797" y="238"/>
                  <a:pt x="797" y="238"/>
                </a:cubicBezTo>
                <a:cubicBezTo>
                  <a:pt x="796" y="235"/>
                  <a:pt x="796" y="235"/>
                  <a:pt x="796" y="235"/>
                </a:cubicBezTo>
                <a:cubicBezTo>
                  <a:pt x="796" y="233"/>
                  <a:pt x="796" y="233"/>
                  <a:pt x="796" y="233"/>
                </a:cubicBezTo>
                <a:cubicBezTo>
                  <a:pt x="797" y="231"/>
                  <a:pt x="797" y="231"/>
                  <a:pt x="797" y="231"/>
                </a:cubicBezTo>
                <a:cubicBezTo>
                  <a:pt x="795" y="229"/>
                  <a:pt x="795" y="229"/>
                  <a:pt x="795" y="229"/>
                </a:cubicBezTo>
                <a:cubicBezTo>
                  <a:pt x="795" y="231"/>
                  <a:pt x="795" y="231"/>
                  <a:pt x="795" y="231"/>
                </a:cubicBezTo>
                <a:cubicBezTo>
                  <a:pt x="794" y="235"/>
                  <a:pt x="794" y="235"/>
                  <a:pt x="794" y="235"/>
                </a:cubicBezTo>
                <a:cubicBezTo>
                  <a:pt x="796" y="239"/>
                  <a:pt x="796" y="239"/>
                  <a:pt x="796" y="239"/>
                </a:cubicBezTo>
                <a:cubicBezTo>
                  <a:pt x="796" y="240"/>
                  <a:pt x="796" y="240"/>
                  <a:pt x="796" y="240"/>
                </a:cubicBezTo>
                <a:cubicBezTo>
                  <a:pt x="795" y="242"/>
                  <a:pt x="795" y="242"/>
                  <a:pt x="795" y="242"/>
                </a:cubicBezTo>
                <a:cubicBezTo>
                  <a:pt x="795" y="244"/>
                  <a:pt x="795" y="244"/>
                  <a:pt x="795" y="244"/>
                </a:cubicBezTo>
                <a:cubicBezTo>
                  <a:pt x="793" y="245"/>
                  <a:pt x="793" y="245"/>
                  <a:pt x="793" y="245"/>
                </a:cubicBezTo>
                <a:cubicBezTo>
                  <a:pt x="791" y="245"/>
                  <a:pt x="791" y="245"/>
                  <a:pt x="791" y="245"/>
                </a:cubicBezTo>
                <a:cubicBezTo>
                  <a:pt x="789" y="245"/>
                  <a:pt x="789" y="245"/>
                  <a:pt x="789" y="245"/>
                </a:cubicBezTo>
                <a:cubicBezTo>
                  <a:pt x="787" y="244"/>
                  <a:pt x="787" y="244"/>
                  <a:pt x="787" y="244"/>
                </a:cubicBezTo>
                <a:cubicBezTo>
                  <a:pt x="787" y="242"/>
                  <a:pt x="787" y="242"/>
                  <a:pt x="787" y="242"/>
                </a:cubicBezTo>
                <a:cubicBezTo>
                  <a:pt x="789" y="238"/>
                  <a:pt x="789" y="238"/>
                  <a:pt x="789" y="238"/>
                </a:cubicBezTo>
                <a:cubicBezTo>
                  <a:pt x="788" y="235"/>
                  <a:pt x="788" y="235"/>
                  <a:pt x="788" y="235"/>
                </a:cubicBezTo>
                <a:cubicBezTo>
                  <a:pt x="788" y="233"/>
                  <a:pt x="788" y="233"/>
                  <a:pt x="788" y="233"/>
                </a:cubicBezTo>
                <a:cubicBezTo>
                  <a:pt x="791" y="231"/>
                  <a:pt x="791" y="231"/>
                  <a:pt x="791" y="231"/>
                </a:cubicBezTo>
                <a:cubicBezTo>
                  <a:pt x="788" y="231"/>
                  <a:pt x="788" y="231"/>
                  <a:pt x="788" y="231"/>
                </a:cubicBezTo>
                <a:cubicBezTo>
                  <a:pt x="786" y="233"/>
                  <a:pt x="786" y="233"/>
                  <a:pt x="786" y="233"/>
                </a:cubicBezTo>
                <a:cubicBezTo>
                  <a:pt x="786" y="236"/>
                  <a:pt x="786" y="236"/>
                  <a:pt x="786" y="236"/>
                </a:cubicBezTo>
                <a:cubicBezTo>
                  <a:pt x="787" y="238"/>
                  <a:pt x="787" y="238"/>
                  <a:pt x="787" y="238"/>
                </a:cubicBezTo>
                <a:cubicBezTo>
                  <a:pt x="785" y="242"/>
                  <a:pt x="785" y="242"/>
                  <a:pt x="785" y="242"/>
                </a:cubicBezTo>
                <a:cubicBezTo>
                  <a:pt x="783" y="243"/>
                  <a:pt x="783" y="243"/>
                  <a:pt x="783" y="243"/>
                </a:cubicBezTo>
                <a:cubicBezTo>
                  <a:pt x="781" y="241"/>
                  <a:pt x="781" y="241"/>
                  <a:pt x="781" y="241"/>
                </a:cubicBezTo>
                <a:cubicBezTo>
                  <a:pt x="781" y="239"/>
                  <a:pt x="781" y="239"/>
                  <a:pt x="781" y="239"/>
                </a:cubicBezTo>
                <a:cubicBezTo>
                  <a:pt x="780" y="238"/>
                  <a:pt x="780" y="238"/>
                  <a:pt x="780" y="238"/>
                </a:cubicBezTo>
                <a:cubicBezTo>
                  <a:pt x="780" y="237"/>
                  <a:pt x="780" y="237"/>
                  <a:pt x="780" y="237"/>
                </a:cubicBezTo>
                <a:cubicBezTo>
                  <a:pt x="781" y="235"/>
                  <a:pt x="781" y="235"/>
                  <a:pt x="781" y="235"/>
                </a:cubicBezTo>
                <a:cubicBezTo>
                  <a:pt x="782" y="234"/>
                  <a:pt x="782" y="234"/>
                  <a:pt x="782" y="234"/>
                </a:cubicBezTo>
                <a:cubicBezTo>
                  <a:pt x="781" y="231"/>
                  <a:pt x="781" y="231"/>
                  <a:pt x="781" y="231"/>
                </a:cubicBezTo>
                <a:cubicBezTo>
                  <a:pt x="780" y="231"/>
                  <a:pt x="780" y="231"/>
                  <a:pt x="780" y="231"/>
                </a:cubicBezTo>
                <a:cubicBezTo>
                  <a:pt x="780" y="232"/>
                  <a:pt x="780" y="232"/>
                  <a:pt x="780" y="232"/>
                </a:cubicBezTo>
                <a:cubicBezTo>
                  <a:pt x="779" y="234"/>
                  <a:pt x="779" y="234"/>
                  <a:pt x="779" y="234"/>
                </a:cubicBezTo>
                <a:cubicBezTo>
                  <a:pt x="778" y="236"/>
                  <a:pt x="778" y="236"/>
                  <a:pt x="778" y="236"/>
                </a:cubicBezTo>
                <a:cubicBezTo>
                  <a:pt x="778" y="238"/>
                  <a:pt x="778" y="238"/>
                  <a:pt x="778" y="238"/>
                </a:cubicBezTo>
                <a:cubicBezTo>
                  <a:pt x="777" y="239"/>
                  <a:pt x="777" y="239"/>
                  <a:pt x="777" y="239"/>
                </a:cubicBezTo>
                <a:cubicBezTo>
                  <a:pt x="775" y="239"/>
                  <a:pt x="775" y="239"/>
                  <a:pt x="775" y="239"/>
                </a:cubicBezTo>
                <a:cubicBezTo>
                  <a:pt x="775" y="239"/>
                  <a:pt x="775" y="239"/>
                  <a:pt x="775" y="239"/>
                </a:cubicBezTo>
                <a:cubicBezTo>
                  <a:pt x="773" y="240"/>
                  <a:pt x="773" y="240"/>
                  <a:pt x="773" y="240"/>
                </a:cubicBezTo>
                <a:close/>
                <a:moveTo>
                  <a:pt x="839" y="602"/>
                </a:moveTo>
                <a:cubicBezTo>
                  <a:pt x="838" y="606"/>
                  <a:pt x="838" y="606"/>
                  <a:pt x="838" y="606"/>
                </a:cubicBezTo>
                <a:cubicBezTo>
                  <a:pt x="838" y="609"/>
                  <a:pt x="838" y="609"/>
                  <a:pt x="838" y="609"/>
                </a:cubicBezTo>
                <a:cubicBezTo>
                  <a:pt x="839" y="611"/>
                  <a:pt x="839" y="611"/>
                  <a:pt x="839" y="611"/>
                </a:cubicBezTo>
                <a:cubicBezTo>
                  <a:pt x="840" y="610"/>
                  <a:pt x="840" y="610"/>
                  <a:pt x="840" y="610"/>
                </a:cubicBezTo>
                <a:cubicBezTo>
                  <a:pt x="839" y="608"/>
                  <a:pt x="839" y="608"/>
                  <a:pt x="839" y="608"/>
                </a:cubicBezTo>
                <a:cubicBezTo>
                  <a:pt x="840" y="605"/>
                  <a:pt x="840" y="605"/>
                  <a:pt x="840" y="605"/>
                </a:cubicBezTo>
                <a:cubicBezTo>
                  <a:pt x="840" y="603"/>
                  <a:pt x="840" y="603"/>
                  <a:pt x="840" y="603"/>
                </a:cubicBezTo>
                <a:cubicBezTo>
                  <a:pt x="839" y="602"/>
                  <a:pt x="839" y="602"/>
                  <a:pt x="839" y="602"/>
                </a:cubicBezTo>
                <a:close/>
                <a:moveTo>
                  <a:pt x="837" y="589"/>
                </a:moveTo>
                <a:cubicBezTo>
                  <a:pt x="836" y="588"/>
                  <a:pt x="836" y="588"/>
                  <a:pt x="836" y="588"/>
                </a:cubicBezTo>
                <a:cubicBezTo>
                  <a:pt x="837" y="587"/>
                  <a:pt x="837" y="587"/>
                  <a:pt x="837" y="587"/>
                </a:cubicBezTo>
                <a:cubicBezTo>
                  <a:pt x="838" y="587"/>
                  <a:pt x="838" y="587"/>
                  <a:pt x="838" y="587"/>
                </a:cubicBezTo>
                <a:cubicBezTo>
                  <a:pt x="838" y="589"/>
                  <a:pt x="838" y="589"/>
                  <a:pt x="838" y="589"/>
                </a:cubicBezTo>
                <a:cubicBezTo>
                  <a:pt x="837" y="589"/>
                  <a:pt x="837" y="589"/>
                  <a:pt x="837" y="589"/>
                </a:cubicBezTo>
                <a:close/>
                <a:moveTo>
                  <a:pt x="833" y="581"/>
                </a:moveTo>
                <a:cubicBezTo>
                  <a:pt x="835" y="579"/>
                  <a:pt x="835" y="579"/>
                  <a:pt x="835" y="579"/>
                </a:cubicBezTo>
                <a:cubicBezTo>
                  <a:pt x="836" y="578"/>
                  <a:pt x="836" y="578"/>
                  <a:pt x="836" y="578"/>
                </a:cubicBezTo>
                <a:cubicBezTo>
                  <a:pt x="837" y="579"/>
                  <a:pt x="837" y="579"/>
                  <a:pt x="837" y="579"/>
                </a:cubicBezTo>
                <a:cubicBezTo>
                  <a:pt x="835" y="580"/>
                  <a:pt x="835" y="580"/>
                  <a:pt x="835" y="580"/>
                </a:cubicBezTo>
                <a:cubicBezTo>
                  <a:pt x="834" y="582"/>
                  <a:pt x="834" y="582"/>
                  <a:pt x="834" y="582"/>
                </a:cubicBezTo>
                <a:cubicBezTo>
                  <a:pt x="833" y="581"/>
                  <a:pt x="833" y="581"/>
                  <a:pt x="833" y="581"/>
                </a:cubicBezTo>
                <a:close/>
                <a:moveTo>
                  <a:pt x="814" y="399"/>
                </a:moveTo>
                <a:cubicBezTo>
                  <a:pt x="813" y="397"/>
                  <a:pt x="813" y="397"/>
                  <a:pt x="813" y="397"/>
                </a:cubicBezTo>
                <a:cubicBezTo>
                  <a:pt x="814" y="396"/>
                  <a:pt x="814" y="396"/>
                  <a:pt x="814" y="396"/>
                </a:cubicBezTo>
                <a:cubicBezTo>
                  <a:pt x="814" y="399"/>
                  <a:pt x="814" y="399"/>
                  <a:pt x="814" y="399"/>
                </a:cubicBezTo>
                <a:cubicBezTo>
                  <a:pt x="814" y="399"/>
                  <a:pt x="814" y="399"/>
                  <a:pt x="814" y="399"/>
                </a:cubicBezTo>
                <a:close/>
                <a:moveTo>
                  <a:pt x="817" y="401"/>
                </a:moveTo>
                <a:cubicBezTo>
                  <a:pt x="816" y="400"/>
                  <a:pt x="816" y="400"/>
                  <a:pt x="816" y="400"/>
                </a:cubicBezTo>
                <a:cubicBezTo>
                  <a:pt x="816" y="398"/>
                  <a:pt x="816" y="398"/>
                  <a:pt x="816" y="398"/>
                </a:cubicBezTo>
                <a:cubicBezTo>
                  <a:pt x="818" y="397"/>
                  <a:pt x="818" y="397"/>
                  <a:pt x="818" y="397"/>
                </a:cubicBezTo>
                <a:cubicBezTo>
                  <a:pt x="819" y="399"/>
                  <a:pt x="819" y="399"/>
                  <a:pt x="819" y="399"/>
                </a:cubicBezTo>
                <a:cubicBezTo>
                  <a:pt x="818" y="401"/>
                  <a:pt x="818" y="401"/>
                  <a:pt x="818" y="401"/>
                </a:cubicBezTo>
                <a:cubicBezTo>
                  <a:pt x="817" y="401"/>
                  <a:pt x="817" y="401"/>
                  <a:pt x="817" y="401"/>
                </a:cubicBezTo>
                <a:close/>
                <a:moveTo>
                  <a:pt x="813" y="407"/>
                </a:moveTo>
                <a:cubicBezTo>
                  <a:pt x="812" y="405"/>
                  <a:pt x="812" y="405"/>
                  <a:pt x="812" y="405"/>
                </a:cubicBezTo>
                <a:cubicBezTo>
                  <a:pt x="813" y="404"/>
                  <a:pt x="813" y="404"/>
                  <a:pt x="813" y="404"/>
                </a:cubicBezTo>
                <a:cubicBezTo>
                  <a:pt x="812" y="402"/>
                  <a:pt x="812" y="402"/>
                  <a:pt x="812" y="402"/>
                </a:cubicBezTo>
                <a:cubicBezTo>
                  <a:pt x="813" y="401"/>
                  <a:pt x="813" y="401"/>
                  <a:pt x="813" y="401"/>
                </a:cubicBezTo>
                <a:cubicBezTo>
                  <a:pt x="814" y="403"/>
                  <a:pt x="814" y="403"/>
                  <a:pt x="814" y="403"/>
                </a:cubicBezTo>
                <a:cubicBezTo>
                  <a:pt x="815" y="402"/>
                  <a:pt x="815" y="402"/>
                  <a:pt x="815" y="402"/>
                </a:cubicBezTo>
                <a:cubicBezTo>
                  <a:pt x="816" y="403"/>
                  <a:pt x="816" y="403"/>
                  <a:pt x="816" y="403"/>
                </a:cubicBezTo>
                <a:cubicBezTo>
                  <a:pt x="815" y="405"/>
                  <a:pt x="815" y="405"/>
                  <a:pt x="815" y="405"/>
                </a:cubicBezTo>
                <a:cubicBezTo>
                  <a:pt x="814" y="407"/>
                  <a:pt x="814" y="407"/>
                  <a:pt x="814" y="407"/>
                </a:cubicBezTo>
                <a:cubicBezTo>
                  <a:pt x="813" y="407"/>
                  <a:pt x="813" y="407"/>
                  <a:pt x="813" y="407"/>
                </a:cubicBezTo>
                <a:close/>
                <a:moveTo>
                  <a:pt x="850" y="462"/>
                </a:moveTo>
                <a:cubicBezTo>
                  <a:pt x="851" y="460"/>
                  <a:pt x="851" y="460"/>
                  <a:pt x="851" y="460"/>
                </a:cubicBezTo>
                <a:cubicBezTo>
                  <a:pt x="853" y="461"/>
                  <a:pt x="853" y="461"/>
                  <a:pt x="853" y="461"/>
                </a:cubicBezTo>
                <a:cubicBezTo>
                  <a:pt x="852" y="462"/>
                  <a:pt x="852" y="462"/>
                  <a:pt x="852" y="462"/>
                </a:cubicBezTo>
                <a:cubicBezTo>
                  <a:pt x="850" y="462"/>
                  <a:pt x="850" y="462"/>
                  <a:pt x="850" y="462"/>
                </a:cubicBezTo>
                <a:cubicBezTo>
                  <a:pt x="850" y="462"/>
                  <a:pt x="850" y="462"/>
                  <a:pt x="850" y="462"/>
                </a:cubicBezTo>
                <a:close/>
                <a:moveTo>
                  <a:pt x="845" y="461"/>
                </a:moveTo>
                <a:cubicBezTo>
                  <a:pt x="845" y="459"/>
                  <a:pt x="845" y="459"/>
                  <a:pt x="845" y="459"/>
                </a:cubicBezTo>
                <a:cubicBezTo>
                  <a:pt x="848" y="459"/>
                  <a:pt x="848" y="459"/>
                  <a:pt x="848" y="459"/>
                </a:cubicBezTo>
                <a:cubicBezTo>
                  <a:pt x="849" y="458"/>
                  <a:pt x="849" y="458"/>
                  <a:pt x="849" y="458"/>
                </a:cubicBezTo>
                <a:cubicBezTo>
                  <a:pt x="849" y="459"/>
                  <a:pt x="849" y="459"/>
                  <a:pt x="849" y="459"/>
                </a:cubicBezTo>
                <a:cubicBezTo>
                  <a:pt x="848" y="462"/>
                  <a:pt x="848" y="462"/>
                  <a:pt x="848" y="462"/>
                </a:cubicBezTo>
                <a:cubicBezTo>
                  <a:pt x="846" y="462"/>
                  <a:pt x="846" y="462"/>
                  <a:pt x="846" y="462"/>
                </a:cubicBezTo>
                <a:cubicBezTo>
                  <a:pt x="845" y="461"/>
                  <a:pt x="845" y="461"/>
                  <a:pt x="845" y="461"/>
                </a:cubicBezTo>
                <a:close/>
                <a:moveTo>
                  <a:pt x="838" y="486"/>
                </a:moveTo>
                <a:cubicBezTo>
                  <a:pt x="840" y="487"/>
                  <a:pt x="840" y="487"/>
                  <a:pt x="840" y="487"/>
                </a:cubicBezTo>
                <a:cubicBezTo>
                  <a:pt x="841" y="487"/>
                  <a:pt x="841" y="487"/>
                  <a:pt x="841" y="487"/>
                </a:cubicBezTo>
                <a:cubicBezTo>
                  <a:pt x="840" y="486"/>
                  <a:pt x="840" y="486"/>
                  <a:pt x="840" y="486"/>
                </a:cubicBezTo>
                <a:cubicBezTo>
                  <a:pt x="838" y="486"/>
                  <a:pt x="838" y="486"/>
                  <a:pt x="838" y="486"/>
                </a:cubicBezTo>
                <a:close/>
                <a:moveTo>
                  <a:pt x="848" y="497"/>
                </a:moveTo>
                <a:cubicBezTo>
                  <a:pt x="850" y="499"/>
                  <a:pt x="850" y="499"/>
                  <a:pt x="850" y="499"/>
                </a:cubicBezTo>
                <a:cubicBezTo>
                  <a:pt x="851" y="498"/>
                  <a:pt x="851" y="498"/>
                  <a:pt x="851" y="498"/>
                </a:cubicBezTo>
                <a:cubicBezTo>
                  <a:pt x="851" y="496"/>
                  <a:pt x="851" y="496"/>
                  <a:pt x="851" y="496"/>
                </a:cubicBezTo>
                <a:cubicBezTo>
                  <a:pt x="850" y="496"/>
                  <a:pt x="850" y="496"/>
                  <a:pt x="850" y="496"/>
                </a:cubicBezTo>
                <a:cubicBezTo>
                  <a:pt x="850" y="496"/>
                  <a:pt x="848" y="497"/>
                  <a:pt x="848" y="497"/>
                </a:cubicBezTo>
                <a:close/>
                <a:moveTo>
                  <a:pt x="867" y="516"/>
                </a:moveTo>
                <a:cubicBezTo>
                  <a:pt x="866" y="513"/>
                  <a:pt x="866" y="513"/>
                  <a:pt x="866" y="513"/>
                </a:cubicBezTo>
                <a:cubicBezTo>
                  <a:pt x="868" y="511"/>
                  <a:pt x="868" y="511"/>
                  <a:pt x="868" y="511"/>
                </a:cubicBezTo>
                <a:cubicBezTo>
                  <a:pt x="869" y="513"/>
                  <a:pt x="869" y="513"/>
                  <a:pt x="869" y="513"/>
                </a:cubicBezTo>
                <a:cubicBezTo>
                  <a:pt x="870" y="515"/>
                  <a:pt x="870" y="515"/>
                  <a:pt x="870" y="515"/>
                </a:cubicBezTo>
                <a:cubicBezTo>
                  <a:pt x="868" y="516"/>
                  <a:pt x="868" y="516"/>
                  <a:pt x="868" y="516"/>
                </a:cubicBezTo>
                <a:cubicBezTo>
                  <a:pt x="867" y="516"/>
                  <a:pt x="867" y="516"/>
                  <a:pt x="867" y="516"/>
                </a:cubicBezTo>
                <a:close/>
                <a:moveTo>
                  <a:pt x="877" y="527"/>
                </a:moveTo>
                <a:cubicBezTo>
                  <a:pt x="877" y="525"/>
                  <a:pt x="877" y="525"/>
                  <a:pt x="877" y="525"/>
                </a:cubicBezTo>
                <a:cubicBezTo>
                  <a:pt x="878" y="524"/>
                  <a:pt x="878" y="524"/>
                  <a:pt x="878" y="524"/>
                </a:cubicBezTo>
                <a:cubicBezTo>
                  <a:pt x="879" y="523"/>
                  <a:pt x="879" y="523"/>
                  <a:pt x="879" y="523"/>
                </a:cubicBezTo>
                <a:cubicBezTo>
                  <a:pt x="880" y="524"/>
                  <a:pt x="880" y="524"/>
                  <a:pt x="880" y="524"/>
                </a:cubicBezTo>
                <a:cubicBezTo>
                  <a:pt x="879" y="526"/>
                  <a:pt x="879" y="526"/>
                  <a:pt x="879" y="526"/>
                </a:cubicBezTo>
                <a:cubicBezTo>
                  <a:pt x="877" y="527"/>
                  <a:pt x="877" y="527"/>
                  <a:pt x="877" y="527"/>
                </a:cubicBezTo>
                <a:cubicBezTo>
                  <a:pt x="877" y="527"/>
                  <a:pt x="877" y="527"/>
                  <a:pt x="877" y="527"/>
                </a:cubicBezTo>
                <a:close/>
                <a:moveTo>
                  <a:pt x="809" y="267"/>
                </a:moveTo>
                <a:cubicBezTo>
                  <a:pt x="809" y="264"/>
                  <a:pt x="809" y="264"/>
                  <a:pt x="809" y="264"/>
                </a:cubicBezTo>
                <a:cubicBezTo>
                  <a:pt x="810" y="263"/>
                  <a:pt x="810" y="263"/>
                  <a:pt x="810" y="263"/>
                </a:cubicBezTo>
                <a:cubicBezTo>
                  <a:pt x="812" y="261"/>
                  <a:pt x="812" y="261"/>
                  <a:pt x="812" y="261"/>
                </a:cubicBezTo>
                <a:cubicBezTo>
                  <a:pt x="817" y="257"/>
                  <a:pt x="817" y="257"/>
                  <a:pt x="817" y="257"/>
                </a:cubicBezTo>
                <a:cubicBezTo>
                  <a:pt x="819" y="257"/>
                  <a:pt x="819" y="257"/>
                  <a:pt x="819" y="257"/>
                </a:cubicBezTo>
                <a:cubicBezTo>
                  <a:pt x="818" y="259"/>
                  <a:pt x="818" y="259"/>
                  <a:pt x="818" y="259"/>
                </a:cubicBezTo>
                <a:cubicBezTo>
                  <a:pt x="814" y="262"/>
                  <a:pt x="814" y="262"/>
                  <a:pt x="814" y="262"/>
                </a:cubicBezTo>
                <a:cubicBezTo>
                  <a:pt x="814" y="264"/>
                  <a:pt x="814" y="264"/>
                  <a:pt x="814" y="264"/>
                </a:cubicBezTo>
                <a:cubicBezTo>
                  <a:pt x="814" y="265"/>
                  <a:pt x="814" y="265"/>
                  <a:pt x="814" y="265"/>
                </a:cubicBezTo>
                <a:cubicBezTo>
                  <a:pt x="814" y="267"/>
                  <a:pt x="814" y="267"/>
                  <a:pt x="814" y="267"/>
                </a:cubicBezTo>
                <a:cubicBezTo>
                  <a:pt x="813" y="266"/>
                  <a:pt x="813" y="266"/>
                  <a:pt x="813" y="266"/>
                </a:cubicBezTo>
                <a:cubicBezTo>
                  <a:pt x="812" y="265"/>
                  <a:pt x="812" y="265"/>
                  <a:pt x="812" y="265"/>
                </a:cubicBezTo>
                <a:cubicBezTo>
                  <a:pt x="811" y="266"/>
                  <a:pt x="811" y="266"/>
                  <a:pt x="811" y="266"/>
                </a:cubicBezTo>
                <a:cubicBezTo>
                  <a:pt x="810" y="267"/>
                  <a:pt x="810" y="267"/>
                  <a:pt x="810" y="267"/>
                </a:cubicBezTo>
                <a:cubicBezTo>
                  <a:pt x="809" y="267"/>
                  <a:pt x="809" y="267"/>
                  <a:pt x="809" y="267"/>
                </a:cubicBezTo>
                <a:close/>
                <a:moveTo>
                  <a:pt x="797" y="255"/>
                </a:moveTo>
                <a:cubicBezTo>
                  <a:pt x="797" y="255"/>
                  <a:pt x="798" y="256"/>
                  <a:pt x="798" y="256"/>
                </a:cubicBezTo>
                <a:cubicBezTo>
                  <a:pt x="799" y="257"/>
                  <a:pt x="799" y="257"/>
                  <a:pt x="799" y="257"/>
                </a:cubicBezTo>
                <a:cubicBezTo>
                  <a:pt x="800" y="255"/>
                  <a:pt x="800" y="255"/>
                  <a:pt x="800" y="255"/>
                </a:cubicBezTo>
                <a:cubicBezTo>
                  <a:pt x="799" y="254"/>
                  <a:pt x="799" y="254"/>
                  <a:pt x="799" y="254"/>
                </a:cubicBezTo>
                <a:cubicBezTo>
                  <a:pt x="797" y="255"/>
                  <a:pt x="797" y="255"/>
                  <a:pt x="797" y="255"/>
                </a:cubicBezTo>
                <a:close/>
                <a:moveTo>
                  <a:pt x="731" y="226"/>
                </a:moveTo>
                <a:cubicBezTo>
                  <a:pt x="728" y="225"/>
                  <a:pt x="728" y="225"/>
                  <a:pt x="728" y="225"/>
                </a:cubicBezTo>
                <a:cubicBezTo>
                  <a:pt x="728" y="222"/>
                  <a:pt x="728" y="222"/>
                  <a:pt x="728" y="222"/>
                </a:cubicBezTo>
                <a:cubicBezTo>
                  <a:pt x="728" y="218"/>
                  <a:pt x="728" y="218"/>
                  <a:pt x="728" y="218"/>
                </a:cubicBezTo>
                <a:cubicBezTo>
                  <a:pt x="728" y="217"/>
                  <a:pt x="728" y="217"/>
                  <a:pt x="728" y="217"/>
                </a:cubicBezTo>
                <a:cubicBezTo>
                  <a:pt x="727" y="214"/>
                  <a:pt x="727" y="214"/>
                  <a:pt x="727" y="214"/>
                </a:cubicBezTo>
                <a:cubicBezTo>
                  <a:pt x="727" y="213"/>
                  <a:pt x="727" y="213"/>
                  <a:pt x="727" y="213"/>
                </a:cubicBezTo>
                <a:cubicBezTo>
                  <a:pt x="729" y="212"/>
                  <a:pt x="729" y="212"/>
                  <a:pt x="729" y="212"/>
                </a:cubicBezTo>
                <a:cubicBezTo>
                  <a:pt x="733" y="214"/>
                  <a:pt x="733" y="214"/>
                  <a:pt x="733" y="214"/>
                </a:cubicBezTo>
                <a:cubicBezTo>
                  <a:pt x="733" y="217"/>
                  <a:pt x="733" y="217"/>
                  <a:pt x="733" y="217"/>
                </a:cubicBezTo>
                <a:cubicBezTo>
                  <a:pt x="732" y="222"/>
                  <a:pt x="732" y="222"/>
                  <a:pt x="732" y="222"/>
                </a:cubicBezTo>
                <a:cubicBezTo>
                  <a:pt x="731" y="223"/>
                  <a:pt x="731" y="223"/>
                  <a:pt x="731" y="223"/>
                </a:cubicBezTo>
                <a:cubicBezTo>
                  <a:pt x="732" y="224"/>
                  <a:pt x="732" y="224"/>
                  <a:pt x="732" y="224"/>
                </a:cubicBezTo>
                <a:cubicBezTo>
                  <a:pt x="732" y="226"/>
                  <a:pt x="732" y="226"/>
                  <a:pt x="732" y="226"/>
                </a:cubicBezTo>
                <a:cubicBezTo>
                  <a:pt x="731" y="226"/>
                  <a:pt x="731" y="226"/>
                  <a:pt x="731" y="226"/>
                </a:cubicBezTo>
                <a:close/>
                <a:moveTo>
                  <a:pt x="730" y="91"/>
                </a:moveTo>
                <a:cubicBezTo>
                  <a:pt x="733" y="88"/>
                  <a:pt x="733" y="88"/>
                  <a:pt x="733" y="88"/>
                </a:cubicBezTo>
                <a:cubicBezTo>
                  <a:pt x="735" y="85"/>
                  <a:pt x="735" y="85"/>
                  <a:pt x="735" y="85"/>
                </a:cubicBezTo>
                <a:cubicBezTo>
                  <a:pt x="735" y="83"/>
                  <a:pt x="735" y="83"/>
                  <a:pt x="735" y="83"/>
                </a:cubicBezTo>
                <a:cubicBezTo>
                  <a:pt x="738" y="81"/>
                  <a:pt x="738" y="81"/>
                  <a:pt x="738" y="81"/>
                </a:cubicBezTo>
                <a:cubicBezTo>
                  <a:pt x="739" y="78"/>
                  <a:pt x="739" y="78"/>
                  <a:pt x="739" y="78"/>
                </a:cubicBezTo>
                <a:cubicBezTo>
                  <a:pt x="739" y="76"/>
                  <a:pt x="739" y="76"/>
                  <a:pt x="739" y="76"/>
                </a:cubicBezTo>
                <a:cubicBezTo>
                  <a:pt x="736" y="76"/>
                  <a:pt x="736" y="76"/>
                  <a:pt x="736" y="76"/>
                </a:cubicBezTo>
                <a:cubicBezTo>
                  <a:pt x="734" y="75"/>
                  <a:pt x="734" y="75"/>
                  <a:pt x="734" y="75"/>
                </a:cubicBezTo>
                <a:cubicBezTo>
                  <a:pt x="735" y="73"/>
                  <a:pt x="735" y="73"/>
                  <a:pt x="735" y="73"/>
                </a:cubicBezTo>
                <a:cubicBezTo>
                  <a:pt x="734" y="73"/>
                  <a:pt x="734" y="73"/>
                  <a:pt x="734" y="73"/>
                </a:cubicBezTo>
                <a:cubicBezTo>
                  <a:pt x="731" y="75"/>
                  <a:pt x="731" y="75"/>
                  <a:pt x="731" y="75"/>
                </a:cubicBezTo>
                <a:cubicBezTo>
                  <a:pt x="728" y="76"/>
                  <a:pt x="728" y="76"/>
                  <a:pt x="728" y="76"/>
                </a:cubicBezTo>
                <a:cubicBezTo>
                  <a:pt x="727" y="78"/>
                  <a:pt x="727" y="78"/>
                  <a:pt x="727" y="78"/>
                </a:cubicBezTo>
                <a:cubicBezTo>
                  <a:pt x="726" y="80"/>
                  <a:pt x="726" y="80"/>
                  <a:pt x="726" y="80"/>
                </a:cubicBezTo>
                <a:cubicBezTo>
                  <a:pt x="726" y="82"/>
                  <a:pt x="726" y="82"/>
                  <a:pt x="726" y="82"/>
                </a:cubicBezTo>
                <a:cubicBezTo>
                  <a:pt x="729" y="83"/>
                  <a:pt x="729" y="83"/>
                  <a:pt x="729" y="83"/>
                </a:cubicBezTo>
                <a:cubicBezTo>
                  <a:pt x="731" y="82"/>
                  <a:pt x="731" y="82"/>
                  <a:pt x="731" y="82"/>
                </a:cubicBezTo>
                <a:cubicBezTo>
                  <a:pt x="731" y="84"/>
                  <a:pt x="731" y="84"/>
                  <a:pt x="731" y="84"/>
                </a:cubicBezTo>
                <a:cubicBezTo>
                  <a:pt x="729" y="86"/>
                  <a:pt x="729" y="86"/>
                  <a:pt x="729" y="86"/>
                </a:cubicBezTo>
                <a:cubicBezTo>
                  <a:pt x="729" y="88"/>
                  <a:pt x="729" y="88"/>
                  <a:pt x="729" y="88"/>
                </a:cubicBezTo>
                <a:cubicBezTo>
                  <a:pt x="730" y="89"/>
                  <a:pt x="730" y="89"/>
                  <a:pt x="730" y="89"/>
                </a:cubicBezTo>
                <a:cubicBezTo>
                  <a:pt x="730" y="91"/>
                  <a:pt x="730" y="91"/>
                  <a:pt x="730" y="91"/>
                </a:cubicBezTo>
                <a:close/>
                <a:moveTo>
                  <a:pt x="699" y="164"/>
                </a:moveTo>
                <a:cubicBezTo>
                  <a:pt x="699" y="161"/>
                  <a:pt x="699" y="161"/>
                  <a:pt x="699" y="161"/>
                </a:cubicBezTo>
                <a:cubicBezTo>
                  <a:pt x="700" y="160"/>
                  <a:pt x="700" y="160"/>
                  <a:pt x="700" y="160"/>
                </a:cubicBezTo>
                <a:cubicBezTo>
                  <a:pt x="699" y="158"/>
                  <a:pt x="699" y="158"/>
                  <a:pt x="699" y="158"/>
                </a:cubicBezTo>
                <a:cubicBezTo>
                  <a:pt x="699" y="155"/>
                  <a:pt x="699" y="155"/>
                  <a:pt x="699" y="155"/>
                </a:cubicBezTo>
                <a:cubicBezTo>
                  <a:pt x="697" y="154"/>
                  <a:pt x="697" y="154"/>
                  <a:pt x="697" y="154"/>
                </a:cubicBezTo>
                <a:cubicBezTo>
                  <a:pt x="697" y="152"/>
                  <a:pt x="697" y="152"/>
                  <a:pt x="697" y="152"/>
                </a:cubicBezTo>
                <a:cubicBezTo>
                  <a:pt x="698" y="151"/>
                  <a:pt x="698" y="151"/>
                  <a:pt x="698" y="151"/>
                </a:cubicBezTo>
                <a:cubicBezTo>
                  <a:pt x="701" y="151"/>
                  <a:pt x="701" y="151"/>
                  <a:pt x="701" y="151"/>
                </a:cubicBezTo>
                <a:cubicBezTo>
                  <a:pt x="704" y="153"/>
                  <a:pt x="704" y="153"/>
                  <a:pt x="704" y="153"/>
                </a:cubicBezTo>
                <a:cubicBezTo>
                  <a:pt x="704" y="153"/>
                  <a:pt x="704" y="153"/>
                  <a:pt x="704" y="153"/>
                </a:cubicBezTo>
                <a:cubicBezTo>
                  <a:pt x="705" y="151"/>
                  <a:pt x="705" y="151"/>
                  <a:pt x="705" y="151"/>
                </a:cubicBezTo>
                <a:cubicBezTo>
                  <a:pt x="702" y="147"/>
                  <a:pt x="702" y="147"/>
                  <a:pt x="702" y="147"/>
                </a:cubicBezTo>
                <a:cubicBezTo>
                  <a:pt x="700" y="146"/>
                  <a:pt x="700" y="146"/>
                  <a:pt x="700" y="146"/>
                </a:cubicBezTo>
                <a:cubicBezTo>
                  <a:pt x="699" y="145"/>
                  <a:pt x="699" y="145"/>
                  <a:pt x="699" y="145"/>
                </a:cubicBezTo>
                <a:cubicBezTo>
                  <a:pt x="702" y="145"/>
                  <a:pt x="702" y="145"/>
                  <a:pt x="702" y="145"/>
                </a:cubicBezTo>
                <a:cubicBezTo>
                  <a:pt x="700" y="142"/>
                  <a:pt x="700" y="142"/>
                  <a:pt x="700" y="142"/>
                </a:cubicBezTo>
                <a:cubicBezTo>
                  <a:pt x="702" y="140"/>
                  <a:pt x="702" y="140"/>
                  <a:pt x="702" y="140"/>
                </a:cubicBezTo>
                <a:cubicBezTo>
                  <a:pt x="702" y="136"/>
                  <a:pt x="702" y="136"/>
                  <a:pt x="702" y="136"/>
                </a:cubicBezTo>
                <a:cubicBezTo>
                  <a:pt x="703" y="133"/>
                  <a:pt x="703" y="133"/>
                  <a:pt x="703" y="133"/>
                </a:cubicBezTo>
                <a:cubicBezTo>
                  <a:pt x="705" y="133"/>
                  <a:pt x="705" y="133"/>
                  <a:pt x="705" y="133"/>
                </a:cubicBezTo>
                <a:cubicBezTo>
                  <a:pt x="707" y="132"/>
                  <a:pt x="707" y="132"/>
                  <a:pt x="707" y="132"/>
                </a:cubicBezTo>
                <a:cubicBezTo>
                  <a:pt x="707" y="128"/>
                  <a:pt x="707" y="128"/>
                  <a:pt x="707" y="128"/>
                </a:cubicBezTo>
                <a:cubicBezTo>
                  <a:pt x="709" y="127"/>
                  <a:pt x="709" y="127"/>
                  <a:pt x="709" y="127"/>
                </a:cubicBezTo>
                <a:cubicBezTo>
                  <a:pt x="712" y="124"/>
                  <a:pt x="712" y="124"/>
                  <a:pt x="712" y="124"/>
                </a:cubicBezTo>
                <a:cubicBezTo>
                  <a:pt x="714" y="124"/>
                  <a:pt x="714" y="124"/>
                  <a:pt x="714" y="124"/>
                </a:cubicBezTo>
                <a:cubicBezTo>
                  <a:pt x="717" y="128"/>
                  <a:pt x="717" y="128"/>
                  <a:pt x="717" y="128"/>
                </a:cubicBezTo>
                <a:cubicBezTo>
                  <a:pt x="718" y="131"/>
                  <a:pt x="718" y="131"/>
                  <a:pt x="718" y="131"/>
                </a:cubicBezTo>
                <a:cubicBezTo>
                  <a:pt x="718" y="133"/>
                  <a:pt x="718" y="133"/>
                  <a:pt x="718" y="133"/>
                </a:cubicBezTo>
                <a:cubicBezTo>
                  <a:pt x="718" y="134"/>
                  <a:pt x="718" y="134"/>
                  <a:pt x="718" y="134"/>
                </a:cubicBezTo>
                <a:cubicBezTo>
                  <a:pt x="720" y="135"/>
                  <a:pt x="720" y="135"/>
                  <a:pt x="720" y="135"/>
                </a:cubicBezTo>
                <a:cubicBezTo>
                  <a:pt x="720" y="137"/>
                  <a:pt x="720" y="137"/>
                  <a:pt x="720" y="137"/>
                </a:cubicBezTo>
                <a:cubicBezTo>
                  <a:pt x="721" y="138"/>
                  <a:pt x="721" y="138"/>
                  <a:pt x="721" y="138"/>
                </a:cubicBezTo>
                <a:cubicBezTo>
                  <a:pt x="722" y="139"/>
                  <a:pt x="722" y="139"/>
                  <a:pt x="722" y="139"/>
                </a:cubicBezTo>
                <a:cubicBezTo>
                  <a:pt x="723" y="142"/>
                  <a:pt x="723" y="142"/>
                  <a:pt x="723" y="142"/>
                </a:cubicBezTo>
                <a:cubicBezTo>
                  <a:pt x="725" y="142"/>
                  <a:pt x="725" y="142"/>
                  <a:pt x="725" y="142"/>
                </a:cubicBezTo>
                <a:cubicBezTo>
                  <a:pt x="725" y="144"/>
                  <a:pt x="725" y="144"/>
                  <a:pt x="725" y="144"/>
                </a:cubicBezTo>
                <a:cubicBezTo>
                  <a:pt x="726" y="146"/>
                  <a:pt x="726" y="146"/>
                  <a:pt x="726" y="146"/>
                </a:cubicBezTo>
                <a:cubicBezTo>
                  <a:pt x="727" y="150"/>
                  <a:pt x="727" y="150"/>
                  <a:pt x="727" y="150"/>
                </a:cubicBezTo>
                <a:cubicBezTo>
                  <a:pt x="725" y="152"/>
                  <a:pt x="725" y="152"/>
                  <a:pt x="725" y="152"/>
                </a:cubicBezTo>
                <a:cubicBezTo>
                  <a:pt x="723" y="154"/>
                  <a:pt x="723" y="154"/>
                  <a:pt x="723" y="154"/>
                </a:cubicBezTo>
                <a:cubicBezTo>
                  <a:pt x="721" y="153"/>
                  <a:pt x="721" y="153"/>
                  <a:pt x="721" y="153"/>
                </a:cubicBezTo>
                <a:cubicBezTo>
                  <a:pt x="720" y="154"/>
                  <a:pt x="720" y="154"/>
                  <a:pt x="720" y="154"/>
                </a:cubicBezTo>
                <a:cubicBezTo>
                  <a:pt x="721" y="155"/>
                  <a:pt x="721" y="155"/>
                  <a:pt x="721" y="155"/>
                </a:cubicBezTo>
                <a:cubicBezTo>
                  <a:pt x="722" y="155"/>
                  <a:pt x="722" y="155"/>
                  <a:pt x="722" y="155"/>
                </a:cubicBezTo>
                <a:cubicBezTo>
                  <a:pt x="723" y="159"/>
                  <a:pt x="723" y="159"/>
                  <a:pt x="723" y="159"/>
                </a:cubicBezTo>
                <a:cubicBezTo>
                  <a:pt x="722" y="161"/>
                  <a:pt x="722" y="161"/>
                  <a:pt x="722" y="161"/>
                </a:cubicBezTo>
                <a:cubicBezTo>
                  <a:pt x="718" y="164"/>
                  <a:pt x="718" y="164"/>
                  <a:pt x="718" y="164"/>
                </a:cubicBezTo>
                <a:cubicBezTo>
                  <a:pt x="717" y="165"/>
                  <a:pt x="717" y="165"/>
                  <a:pt x="717" y="165"/>
                </a:cubicBezTo>
                <a:cubicBezTo>
                  <a:pt x="715" y="165"/>
                  <a:pt x="715" y="165"/>
                  <a:pt x="715" y="165"/>
                </a:cubicBezTo>
                <a:cubicBezTo>
                  <a:pt x="715" y="163"/>
                  <a:pt x="715" y="163"/>
                  <a:pt x="715" y="163"/>
                </a:cubicBezTo>
                <a:cubicBezTo>
                  <a:pt x="714" y="162"/>
                  <a:pt x="714" y="162"/>
                  <a:pt x="714" y="162"/>
                </a:cubicBezTo>
                <a:cubicBezTo>
                  <a:pt x="711" y="164"/>
                  <a:pt x="711" y="164"/>
                  <a:pt x="711" y="164"/>
                </a:cubicBezTo>
                <a:cubicBezTo>
                  <a:pt x="709" y="163"/>
                  <a:pt x="709" y="163"/>
                  <a:pt x="709" y="163"/>
                </a:cubicBezTo>
                <a:cubicBezTo>
                  <a:pt x="706" y="165"/>
                  <a:pt x="706" y="165"/>
                  <a:pt x="706" y="165"/>
                </a:cubicBezTo>
                <a:cubicBezTo>
                  <a:pt x="704" y="164"/>
                  <a:pt x="704" y="164"/>
                  <a:pt x="704" y="164"/>
                </a:cubicBezTo>
                <a:cubicBezTo>
                  <a:pt x="704" y="162"/>
                  <a:pt x="704" y="162"/>
                  <a:pt x="704" y="162"/>
                </a:cubicBezTo>
                <a:cubicBezTo>
                  <a:pt x="702" y="161"/>
                  <a:pt x="702" y="161"/>
                  <a:pt x="702" y="161"/>
                </a:cubicBezTo>
                <a:cubicBezTo>
                  <a:pt x="701" y="163"/>
                  <a:pt x="701" y="163"/>
                  <a:pt x="701" y="163"/>
                </a:cubicBezTo>
                <a:cubicBezTo>
                  <a:pt x="699" y="164"/>
                  <a:pt x="699" y="164"/>
                  <a:pt x="699" y="164"/>
                </a:cubicBezTo>
                <a:close/>
                <a:moveTo>
                  <a:pt x="727" y="160"/>
                </a:moveTo>
                <a:cubicBezTo>
                  <a:pt x="728" y="160"/>
                  <a:pt x="728" y="160"/>
                  <a:pt x="728" y="160"/>
                </a:cubicBezTo>
                <a:cubicBezTo>
                  <a:pt x="729" y="158"/>
                  <a:pt x="729" y="158"/>
                  <a:pt x="729" y="158"/>
                </a:cubicBezTo>
                <a:cubicBezTo>
                  <a:pt x="728" y="154"/>
                  <a:pt x="728" y="154"/>
                  <a:pt x="728" y="154"/>
                </a:cubicBezTo>
                <a:cubicBezTo>
                  <a:pt x="727" y="154"/>
                  <a:pt x="727" y="154"/>
                  <a:pt x="727" y="154"/>
                </a:cubicBezTo>
                <a:cubicBezTo>
                  <a:pt x="726" y="156"/>
                  <a:pt x="726" y="156"/>
                  <a:pt x="726" y="156"/>
                </a:cubicBezTo>
                <a:cubicBezTo>
                  <a:pt x="726" y="158"/>
                  <a:pt x="726" y="158"/>
                  <a:pt x="726" y="158"/>
                </a:cubicBezTo>
                <a:cubicBezTo>
                  <a:pt x="727" y="160"/>
                  <a:pt x="727" y="160"/>
                  <a:pt x="727" y="160"/>
                </a:cubicBezTo>
                <a:close/>
                <a:moveTo>
                  <a:pt x="736" y="197"/>
                </a:moveTo>
                <a:cubicBezTo>
                  <a:pt x="736" y="199"/>
                  <a:pt x="736" y="199"/>
                  <a:pt x="736" y="199"/>
                </a:cubicBezTo>
                <a:cubicBezTo>
                  <a:pt x="738" y="201"/>
                  <a:pt x="738" y="201"/>
                  <a:pt x="738" y="201"/>
                </a:cubicBezTo>
                <a:cubicBezTo>
                  <a:pt x="740" y="201"/>
                  <a:pt x="740" y="201"/>
                  <a:pt x="740" y="201"/>
                </a:cubicBezTo>
                <a:cubicBezTo>
                  <a:pt x="743" y="200"/>
                  <a:pt x="743" y="200"/>
                  <a:pt x="743" y="200"/>
                </a:cubicBezTo>
                <a:cubicBezTo>
                  <a:pt x="746" y="196"/>
                  <a:pt x="746" y="196"/>
                  <a:pt x="746" y="196"/>
                </a:cubicBezTo>
                <a:cubicBezTo>
                  <a:pt x="746" y="194"/>
                  <a:pt x="746" y="194"/>
                  <a:pt x="746" y="194"/>
                </a:cubicBezTo>
                <a:cubicBezTo>
                  <a:pt x="745" y="193"/>
                  <a:pt x="745" y="193"/>
                  <a:pt x="745" y="193"/>
                </a:cubicBezTo>
                <a:cubicBezTo>
                  <a:pt x="745" y="192"/>
                  <a:pt x="745" y="192"/>
                  <a:pt x="745" y="192"/>
                </a:cubicBezTo>
                <a:cubicBezTo>
                  <a:pt x="744" y="191"/>
                  <a:pt x="744" y="191"/>
                  <a:pt x="744" y="191"/>
                </a:cubicBezTo>
                <a:cubicBezTo>
                  <a:pt x="742" y="190"/>
                  <a:pt x="742" y="190"/>
                  <a:pt x="742" y="190"/>
                </a:cubicBezTo>
                <a:cubicBezTo>
                  <a:pt x="741" y="188"/>
                  <a:pt x="741" y="188"/>
                  <a:pt x="741" y="188"/>
                </a:cubicBezTo>
                <a:cubicBezTo>
                  <a:pt x="739" y="188"/>
                  <a:pt x="739" y="188"/>
                  <a:pt x="739" y="188"/>
                </a:cubicBezTo>
                <a:cubicBezTo>
                  <a:pt x="737" y="190"/>
                  <a:pt x="737" y="190"/>
                  <a:pt x="737" y="190"/>
                </a:cubicBezTo>
                <a:cubicBezTo>
                  <a:pt x="736" y="192"/>
                  <a:pt x="736" y="192"/>
                  <a:pt x="736" y="192"/>
                </a:cubicBezTo>
                <a:cubicBezTo>
                  <a:pt x="735" y="195"/>
                  <a:pt x="735" y="195"/>
                  <a:pt x="735" y="195"/>
                </a:cubicBezTo>
                <a:cubicBezTo>
                  <a:pt x="736" y="197"/>
                  <a:pt x="736" y="197"/>
                  <a:pt x="736" y="197"/>
                </a:cubicBezTo>
                <a:close/>
                <a:moveTo>
                  <a:pt x="733" y="198"/>
                </a:moveTo>
                <a:cubicBezTo>
                  <a:pt x="732" y="200"/>
                  <a:pt x="732" y="200"/>
                  <a:pt x="732" y="200"/>
                </a:cubicBezTo>
                <a:cubicBezTo>
                  <a:pt x="733" y="202"/>
                  <a:pt x="733" y="202"/>
                  <a:pt x="733" y="202"/>
                </a:cubicBezTo>
                <a:cubicBezTo>
                  <a:pt x="734" y="203"/>
                  <a:pt x="734" y="203"/>
                  <a:pt x="734" y="203"/>
                </a:cubicBezTo>
                <a:cubicBezTo>
                  <a:pt x="735" y="202"/>
                  <a:pt x="735" y="202"/>
                  <a:pt x="735" y="202"/>
                </a:cubicBezTo>
                <a:cubicBezTo>
                  <a:pt x="735" y="200"/>
                  <a:pt x="735" y="200"/>
                  <a:pt x="735" y="200"/>
                </a:cubicBezTo>
                <a:cubicBezTo>
                  <a:pt x="734" y="200"/>
                  <a:pt x="734" y="200"/>
                  <a:pt x="734" y="200"/>
                </a:cubicBezTo>
                <a:cubicBezTo>
                  <a:pt x="733" y="198"/>
                  <a:pt x="733" y="198"/>
                  <a:pt x="733" y="198"/>
                </a:cubicBezTo>
                <a:cubicBezTo>
                  <a:pt x="733" y="198"/>
                  <a:pt x="733" y="198"/>
                  <a:pt x="733" y="198"/>
                </a:cubicBezTo>
                <a:close/>
                <a:moveTo>
                  <a:pt x="697" y="179"/>
                </a:moveTo>
                <a:cubicBezTo>
                  <a:pt x="697" y="176"/>
                  <a:pt x="697" y="176"/>
                  <a:pt x="697" y="176"/>
                </a:cubicBezTo>
                <a:cubicBezTo>
                  <a:pt x="698" y="172"/>
                  <a:pt x="698" y="172"/>
                  <a:pt x="698" y="172"/>
                </a:cubicBezTo>
                <a:cubicBezTo>
                  <a:pt x="700" y="170"/>
                  <a:pt x="700" y="170"/>
                  <a:pt x="700" y="170"/>
                </a:cubicBezTo>
                <a:cubicBezTo>
                  <a:pt x="702" y="170"/>
                  <a:pt x="702" y="170"/>
                  <a:pt x="702" y="170"/>
                </a:cubicBezTo>
                <a:cubicBezTo>
                  <a:pt x="704" y="170"/>
                  <a:pt x="704" y="170"/>
                  <a:pt x="704" y="170"/>
                </a:cubicBezTo>
                <a:cubicBezTo>
                  <a:pt x="706" y="170"/>
                  <a:pt x="706" y="170"/>
                  <a:pt x="706" y="170"/>
                </a:cubicBezTo>
                <a:cubicBezTo>
                  <a:pt x="708" y="170"/>
                  <a:pt x="708" y="170"/>
                  <a:pt x="708" y="170"/>
                </a:cubicBezTo>
                <a:cubicBezTo>
                  <a:pt x="709" y="170"/>
                  <a:pt x="709" y="170"/>
                  <a:pt x="709" y="170"/>
                </a:cubicBezTo>
                <a:cubicBezTo>
                  <a:pt x="709" y="172"/>
                  <a:pt x="709" y="172"/>
                  <a:pt x="709" y="172"/>
                </a:cubicBezTo>
                <a:cubicBezTo>
                  <a:pt x="711" y="172"/>
                  <a:pt x="711" y="172"/>
                  <a:pt x="711" y="172"/>
                </a:cubicBezTo>
                <a:cubicBezTo>
                  <a:pt x="712" y="171"/>
                  <a:pt x="712" y="171"/>
                  <a:pt x="712" y="171"/>
                </a:cubicBezTo>
                <a:cubicBezTo>
                  <a:pt x="714" y="172"/>
                  <a:pt x="714" y="172"/>
                  <a:pt x="714" y="172"/>
                </a:cubicBezTo>
                <a:cubicBezTo>
                  <a:pt x="716" y="172"/>
                  <a:pt x="716" y="172"/>
                  <a:pt x="716" y="172"/>
                </a:cubicBezTo>
                <a:cubicBezTo>
                  <a:pt x="718" y="175"/>
                  <a:pt x="718" y="175"/>
                  <a:pt x="718" y="175"/>
                </a:cubicBezTo>
                <a:cubicBezTo>
                  <a:pt x="720" y="176"/>
                  <a:pt x="720" y="176"/>
                  <a:pt x="720" y="176"/>
                </a:cubicBezTo>
                <a:cubicBezTo>
                  <a:pt x="719" y="177"/>
                  <a:pt x="719" y="177"/>
                  <a:pt x="719" y="177"/>
                </a:cubicBezTo>
                <a:cubicBezTo>
                  <a:pt x="720" y="179"/>
                  <a:pt x="720" y="179"/>
                  <a:pt x="720" y="179"/>
                </a:cubicBezTo>
                <a:cubicBezTo>
                  <a:pt x="721" y="179"/>
                  <a:pt x="721" y="179"/>
                  <a:pt x="721" y="179"/>
                </a:cubicBezTo>
                <a:cubicBezTo>
                  <a:pt x="723" y="178"/>
                  <a:pt x="723" y="178"/>
                  <a:pt x="723" y="178"/>
                </a:cubicBezTo>
                <a:cubicBezTo>
                  <a:pt x="725" y="180"/>
                  <a:pt x="725" y="180"/>
                  <a:pt x="725" y="180"/>
                </a:cubicBezTo>
                <a:cubicBezTo>
                  <a:pt x="726" y="181"/>
                  <a:pt x="726" y="181"/>
                  <a:pt x="726" y="181"/>
                </a:cubicBezTo>
                <a:cubicBezTo>
                  <a:pt x="726" y="182"/>
                  <a:pt x="726" y="182"/>
                  <a:pt x="726" y="182"/>
                </a:cubicBezTo>
                <a:cubicBezTo>
                  <a:pt x="726" y="183"/>
                  <a:pt x="726" y="183"/>
                  <a:pt x="726" y="183"/>
                </a:cubicBezTo>
                <a:cubicBezTo>
                  <a:pt x="725" y="184"/>
                  <a:pt x="725" y="184"/>
                  <a:pt x="725" y="184"/>
                </a:cubicBezTo>
                <a:cubicBezTo>
                  <a:pt x="723" y="184"/>
                  <a:pt x="723" y="184"/>
                  <a:pt x="723" y="184"/>
                </a:cubicBezTo>
                <a:cubicBezTo>
                  <a:pt x="720" y="187"/>
                  <a:pt x="720" y="187"/>
                  <a:pt x="720" y="187"/>
                </a:cubicBezTo>
                <a:cubicBezTo>
                  <a:pt x="718" y="187"/>
                  <a:pt x="718" y="187"/>
                  <a:pt x="718" y="187"/>
                </a:cubicBezTo>
                <a:cubicBezTo>
                  <a:pt x="715" y="185"/>
                  <a:pt x="715" y="185"/>
                  <a:pt x="715" y="185"/>
                </a:cubicBezTo>
                <a:cubicBezTo>
                  <a:pt x="711" y="185"/>
                  <a:pt x="711" y="185"/>
                  <a:pt x="711" y="185"/>
                </a:cubicBezTo>
                <a:cubicBezTo>
                  <a:pt x="708" y="183"/>
                  <a:pt x="708" y="183"/>
                  <a:pt x="708" y="183"/>
                </a:cubicBezTo>
                <a:cubicBezTo>
                  <a:pt x="705" y="183"/>
                  <a:pt x="705" y="183"/>
                  <a:pt x="705" y="183"/>
                </a:cubicBezTo>
                <a:cubicBezTo>
                  <a:pt x="703" y="181"/>
                  <a:pt x="703" y="181"/>
                  <a:pt x="703" y="181"/>
                </a:cubicBezTo>
                <a:cubicBezTo>
                  <a:pt x="701" y="179"/>
                  <a:pt x="701" y="179"/>
                  <a:pt x="701" y="179"/>
                </a:cubicBezTo>
                <a:cubicBezTo>
                  <a:pt x="698" y="180"/>
                  <a:pt x="698" y="180"/>
                  <a:pt x="698" y="180"/>
                </a:cubicBezTo>
                <a:cubicBezTo>
                  <a:pt x="697" y="179"/>
                  <a:pt x="697" y="179"/>
                  <a:pt x="697" y="179"/>
                </a:cubicBezTo>
                <a:close/>
                <a:moveTo>
                  <a:pt x="667" y="139"/>
                </a:moveTo>
                <a:cubicBezTo>
                  <a:pt x="668" y="138"/>
                  <a:pt x="668" y="138"/>
                  <a:pt x="668" y="138"/>
                </a:cubicBezTo>
                <a:cubicBezTo>
                  <a:pt x="669" y="137"/>
                  <a:pt x="669" y="137"/>
                  <a:pt x="669" y="137"/>
                </a:cubicBezTo>
                <a:cubicBezTo>
                  <a:pt x="670" y="138"/>
                  <a:pt x="670" y="138"/>
                  <a:pt x="670" y="138"/>
                </a:cubicBezTo>
                <a:cubicBezTo>
                  <a:pt x="669" y="139"/>
                  <a:pt x="669" y="139"/>
                  <a:pt x="669" y="139"/>
                </a:cubicBezTo>
                <a:cubicBezTo>
                  <a:pt x="668" y="139"/>
                  <a:pt x="668" y="139"/>
                  <a:pt x="668" y="139"/>
                </a:cubicBezTo>
                <a:cubicBezTo>
                  <a:pt x="667" y="139"/>
                  <a:pt x="667" y="139"/>
                  <a:pt x="667" y="139"/>
                </a:cubicBezTo>
                <a:close/>
                <a:moveTo>
                  <a:pt x="669" y="153"/>
                </a:moveTo>
                <a:cubicBezTo>
                  <a:pt x="670" y="156"/>
                  <a:pt x="670" y="156"/>
                  <a:pt x="670" y="156"/>
                </a:cubicBezTo>
                <a:cubicBezTo>
                  <a:pt x="672" y="159"/>
                  <a:pt x="672" y="159"/>
                  <a:pt x="672" y="159"/>
                </a:cubicBezTo>
                <a:cubicBezTo>
                  <a:pt x="673" y="159"/>
                  <a:pt x="673" y="159"/>
                  <a:pt x="673" y="159"/>
                </a:cubicBezTo>
                <a:cubicBezTo>
                  <a:pt x="675" y="158"/>
                  <a:pt x="675" y="158"/>
                  <a:pt x="675" y="158"/>
                </a:cubicBezTo>
                <a:cubicBezTo>
                  <a:pt x="676" y="159"/>
                  <a:pt x="676" y="159"/>
                  <a:pt x="676" y="159"/>
                </a:cubicBezTo>
                <a:cubicBezTo>
                  <a:pt x="678" y="159"/>
                  <a:pt x="678" y="159"/>
                  <a:pt x="678" y="159"/>
                </a:cubicBezTo>
                <a:cubicBezTo>
                  <a:pt x="682" y="157"/>
                  <a:pt x="682" y="157"/>
                  <a:pt x="682" y="157"/>
                </a:cubicBezTo>
                <a:cubicBezTo>
                  <a:pt x="682" y="156"/>
                  <a:pt x="682" y="156"/>
                  <a:pt x="682" y="156"/>
                </a:cubicBezTo>
                <a:cubicBezTo>
                  <a:pt x="684" y="154"/>
                  <a:pt x="684" y="154"/>
                  <a:pt x="684" y="154"/>
                </a:cubicBezTo>
                <a:cubicBezTo>
                  <a:pt x="686" y="152"/>
                  <a:pt x="686" y="152"/>
                  <a:pt x="686" y="152"/>
                </a:cubicBezTo>
                <a:cubicBezTo>
                  <a:pt x="686" y="149"/>
                  <a:pt x="686" y="149"/>
                  <a:pt x="686" y="149"/>
                </a:cubicBezTo>
                <a:cubicBezTo>
                  <a:pt x="687" y="145"/>
                  <a:pt x="687" y="145"/>
                  <a:pt x="687" y="145"/>
                </a:cubicBezTo>
                <a:cubicBezTo>
                  <a:pt x="688" y="142"/>
                  <a:pt x="688" y="142"/>
                  <a:pt x="688" y="142"/>
                </a:cubicBezTo>
                <a:cubicBezTo>
                  <a:pt x="687" y="141"/>
                  <a:pt x="687" y="141"/>
                  <a:pt x="687" y="141"/>
                </a:cubicBezTo>
                <a:cubicBezTo>
                  <a:pt x="687" y="140"/>
                  <a:pt x="687" y="140"/>
                  <a:pt x="687" y="140"/>
                </a:cubicBezTo>
                <a:cubicBezTo>
                  <a:pt x="689" y="138"/>
                  <a:pt x="689" y="138"/>
                  <a:pt x="689" y="138"/>
                </a:cubicBezTo>
                <a:cubicBezTo>
                  <a:pt x="690" y="135"/>
                  <a:pt x="690" y="135"/>
                  <a:pt x="690" y="135"/>
                </a:cubicBezTo>
                <a:cubicBezTo>
                  <a:pt x="692" y="135"/>
                  <a:pt x="692" y="135"/>
                  <a:pt x="692" y="135"/>
                </a:cubicBezTo>
                <a:cubicBezTo>
                  <a:pt x="694" y="133"/>
                  <a:pt x="694" y="133"/>
                  <a:pt x="694" y="133"/>
                </a:cubicBezTo>
                <a:cubicBezTo>
                  <a:pt x="697" y="131"/>
                  <a:pt x="697" y="131"/>
                  <a:pt x="697" y="131"/>
                </a:cubicBezTo>
                <a:cubicBezTo>
                  <a:pt x="697" y="128"/>
                  <a:pt x="697" y="128"/>
                  <a:pt x="697" y="128"/>
                </a:cubicBezTo>
                <a:cubicBezTo>
                  <a:pt x="697" y="126"/>
                  <a:pt x="697" y="126"/>
                  <a:pt x="697" y="126"/>
                </a:cubicBezTo>
                <a:cubicBezTo>
                  <a:pt x="699" y="124"/>
                  <a:pt x="699" y="124"/>
                  <a:pt x="699" y="124"/>
                </a:cubicBezTo>
                <a:cubicBezTo>
                  <a:pt x="699" y="122"/>
                  <a:pt x="699" y="122"/>
                  <a:pt x="699" y="122"/>
                </a:cubicBezTo>
                <a:cubicBezTo>
                  <a:pt x="698" y="120"/>
                  <a:pt x="698" y="120"/>
                  <a:pt x="698" y="120"/>
                </a:cubicBezTo>
                <a:cubicBezTo>
                  <a:pt x="698" y="117"/>
                  <a:pt x="698" y="117"/>
                  <a:pt x="698" y="117"/>
                </a:cubicBezTo>
                <a:cubicBezTo>
                  <a:pt x="696" y="118"/>
                  <a:pt x="696" y="118"/>
                  <a:pt x="696" y="118"/>
                </a:cubicBezTo>
                <a:cubicBezTo>
                  <a:pt x="694" y="117"/>
                  <a:pt x="694" y="117"/>
                  <a:pt x="694" y="117"/>
                </a:cubicBezTo>
                <a:cubicBezTo>
                  <a:pt x="692" y="117"/>
                  <a:pt x="692" y="117"/>
                  <a:pt x="692" y="117"/>
                </a:cubicBezTo>
                <a:cubicBezTo>
                  <a:pt x="691" y="115"/>
                  <a:pt x="691" y="115"/>
                  <a:pt x="691" y="115"/>
                </a:cubicBezTo>
                <a:cubicBezTo>
                  <a:pt x="692" y="113"/>
                  <a:pt x="692" y="113"/>
                  <a:pt x="692" y="113"/>
                </a:cubicBezTo>
                <a:cubicBezTo>
                  <a:pt x="695" y="111"/>
                  <a:pt x="695" y="111"/>
                  <a:pt x="695" y="111"/>
                </a:cubicBezTo>
                <a:cubicBezTo>
                  <a:pt x="695" y="110"/>
                  <a:pt x="695" y="110"/>
                  <a:pt x="695" y="110"/>
                </a:cubicBezTo>
                <a:cubicBezTo>
                  <a:pt x="694" y="108"/>
                  <a:pt x="694" y="108"/>
                  <a:pt x="694" y="108"/>
                </a:cubicBezTo>
                <a:cubicBezTo>
                  <a:pt x="694" y="105"/>
                  <a:pt x="694" y="105"/>
                  <a:pt x="694" y="105"/>
                </a:cubicBezTo>
                <a:cubicBezTo>
                  <a:pt x="695" y="103"/>
                  <a:pt x="695" y="103"/>
                  <a:pt x="695" y="103"/>
                </a:cubicBezTo>
                <a:cubicBezTo>
                  <a:pt x="693" y="101"/>
                  <a:pt x="693" y="101"/>
                  <a:pt x="693" y="101"/>
                </a:cubicBezTo>
                <a:cubicBezTo>
                  <a:pt x="691" y="101"/>
                  <a:pt x="691" y="101"/>
                  <a:pt x="691" y="101"/>
                </a:cubicBezTo>
                <a:cubicBezTo>
                  <a:pt x="688" y="103"/>
                  <a:pt x="688" y="103"/>
                  <a:pt x="688" y="103"/>
                </a:cubicBezTo>
                <a:cubicBezTo>
                  <a:pt x="684" y="104"/>
                  <a:pt x="684" y="104"/>
                  <a:pt x="684" y="104"/>
                </a:cubicBezTo>
                <a:cubicBezTo>
                  <a:pt x="684" y="106"/>
                  <a:pt x="684" y="106"/>
                  <a:pt x="684" y="106"/>
                </a:cubicBezTo>
                <a:cubicBezTo>
                  <a:pt x="682" y="108"/>
                  <a:pt x="682" y="108"/>
                  <a:pt x="682" y="108"/>
                </a:cubicBezTo>
                <a:cubicBezTo>
                  <a:pt x="680" y="107"/>
                  <a:pt x="680" y="107"/>
                  <a:pt x="680" y="107"/>
                </a:cubicBezTo>
                <a:cubicBezTo>
                  <a:pt x="680" y="105"/>
                  <a:pt x="680" y="105"/>
                  <a:pt x="680" y="105"/>
                </a:cubicBezTo>
                <a:cubicBezTo>
                  <a:pt x="682" y="104"/>
                  <a:pt x="682" y="104"/>
                  <a:pt x="682" y="104"/>
                </a:cubicBezTo>
                <a:cubicBezTo>
                  <a:pt x="684" y="102"/>
                  <a:pt x="684" y="102"/>
                  <a:pt x="684" y="102"/>
                </a:cubicBezTo>
                <a:cubicBezTo>
                  <a:pt x="684" y="99"/>
                  <a:pt x="684" y="99"/>
                  <a:pt x="684" y="99"/>
                </a:cubicBezTo>
                <a:cubicBezTo>
                  <a:pt x="685" y="95"/>
                  <a:pt x="685" y="95"/>
                  <a:pt x="685" y="95"/>
                </a:cubicBezTo>
                <a:cubicBezTo>
                  <a:pt x="684" y="92"/>
                  <a:pt x="684" y="92"/>
                  <a:pt x="684" y="92"/>
                </a:cubicBezTo>
                <a:cubicBezTo>
                  <a:pt x="683" y="91"/>
                  <a:pt x="683" y="91"/>
                  <a:pt x="683" y="91"/>
                </a:cubicBezTo>
                <a:cubicBezTo>
                  <a:pt x="682" y="89"/>
                  <a:pt x="682" y="89"/>
                  <a:pt x="682" y="89"/>
                </a:cubicBezTo>
                <a:cubicBezTo>
                  <a:pt x="679" y="87"/>
                  <a:pt x="679" y="87"/>
                  <a:pt x="679" y="87"/>
                </a:cubicBezTo>
                <a:cubicBezTo>
                  <a:pt x="677" y="88"/>
                  <a:pt x="677" y="88"/>
                  <a:pt x="677" y="88"/>
                </a:cubicBezTo>
                <a:cubicBezTo>
                  <a:pt x="674" y="87"/>
                  <a:pt x="674" y="87"/>
                  <a:pt x="674" y="87"/>
                </a:cubicBezTo>
                <a:cubicBezTo>
                  <a:pt x="671" y="89"/>
                  <a:pt x="671" y="89"/>
                  <a:pt x="671" y="89"/>
                </a:cubicBezTo>
                <a:cubicBezTo>
                  <a:pt x="669" y="89"/>
                  <a:pt x="669" y="89"/>
                  <a:pt x="669" y="89"/>
                </a:cubicBezTo>
                <a:cubicBezTo>
                  <a:pt x="669" y="85"/>
                  <a:pt x="669" y="85"/>
                  <a:pt x="669" y="85"/>
                </a:cubicBezTo>
                <a:cubicBezTo>
                  <a:pt x="668" y="84"/>
                  <a:pt x="668" y="84"/>
                  <a:pt x="668" y="84"/>
                </a:cubicBezTo>
                <a:cubicBezTo>
                  <a:pt x="666" y="86"/>
                  <a:pt x="666" y="86"/>
                  <a:pt x="666" y="86"/>
                </a:cubicBezTo>
                <a:cubicBezTo>
                  <a:pt x="665" y="88"/>
                  <a:pt x="665" y="88"/>
                  <a:pt x="665" y="88"/>
                </a:cubicBezTo>
                <a:cubicBezTo>
                  <a:pt x="663" y="89"/>
                  <a:pt x="663" y="89"/>
                  <a:pt x="663" y="89"/>
                </a:cubicBezTo>
                <a:cubicBezTo>
                  <a:pt x="662" y="92"/>
                  <a:pt x="662" y="92"/>
                  <a:pt x="662" y="92"/>
                </a:cubicBezTo>
                <a:cubicBezTo>
                  <a:pt x="660" y="95"/>
                  <a:pt x="660" y="95"/>
                  <a:pt x="660" y="95"/>
                </a:cubicBezTo>
                <a:cubicBezTo>
                  <a:pt x="660" y="97"/>
                  <a:pt x="660" y="97"/>
                  <a:pt x="660" y="97"/>
                </a:cubicBezTo>
                <a:cubicBezTo>
                  <a:pt x="662" y="98"/>
                  <a:pt x="662" y="98"/>
                  <a:pt x="662" y="98"/>
                </a:cubicBezTo>
                <a:cubicBezTo>
                  <a:pt x="663" y="98"/>
                  <a:pt x="663" y="98"/>
                  <a:pt x="663" y="98"/>
                </a:cubicBezTo>
                <a:cubicBezTo>
                  <a:pt x="666" y="97"/>
                  <a:pt x="666" y="97"/>
                  <a:pt x="666" y="97"/>
                </a:cubicBezTo>
                <a:cubicBezTo>
                  <a:pt x="666" y="98"/>
                  <a:pt x="666" y="98"/>
                  <a:pt x="666" y="98"/>
                </a:cubicBezTo>
                <a:cubicBezTo>
                  <a:pt x="664" y="101"/>
                  <a:pt x="664" y="101"/>
                  <a:pt x="664" y="101"/>
                </a:cubicBezTo>
                <a:cubicBezTo>
                  <a:pt x="660" y="102"/>
                  <a:pt x="660" y="102"/>
                  <a:pt x="660" y="102"/>
                </a:cubicBezTo>
                <a:cubicBezTo>
                  <a:pt x="658" y="106"/>
                  <a:pt x="658" y="106"/>
                  <a:pt x="658" y="106"/>
                </a:cubicBezTo>
                <a:cubicBezTo>
                  <a:pt x="658" y="107"/>
                  <a:pt x="658" y="107"/>
                  <a:pt x="658" y="107"/>
                </a:cubicBezTo>
                <a:cubicBezTo>
                  <a:pt x="662" y="105"/>
                  <a:pt x="662" y="105"/>
                  <a:pt x="662" y="105"/>
                </a:cubicBezTo>
                <a:cubicBezTo>
                  <a:pt x="665" y="102"/>
                  <a:pt x="665" y="102"/>
                  <a:pt x="665" y="102"/>
                </a:cubicBezTo>
                <a:cubicBezTo>
                  <a:pt x="666" y="102"/>
                  <a:pt x="666" y="102"/>
                  <a:pt x="666" y="102"/>
                </a:cubicBezTo>
                <a:cubicBezTo>
                  <a:pt x="668" y="101"/>
                  <a:pt x="668" y="101"/>
                  <a:pt x="668" y="101"/>
                </a:cubicBezTo>
                <a:cubicBezTo>
                  <a:pt x="669" y="103"/>
                  <a:pt x="669" y="103"/>
                  <a:pt x="669" y="103"/>
                </a:cubicBezTo>
                <a:cubicBezTo>
                  <a:pt x="669" y="106"/>
                  <a:pt x="669" y="106"/>
                  <a:pt x="669" y="106"/>
                </a:cubicBezTo>
                <a:cubicBezTo>
                  <a:pt x="667" y="106"/>
                  <a:pt x="667" y="106"/>
                  <a:pt x="667" y="106"/>
                </a:cubicBezTo>
                <a:cubicBezTo>
                  <a:pt x="664" y="108"/>
                  <a:pt x="664" y="108"/>
                  <a:pt x="664" y="108"/>
                </a:cubicBezTo>
                <a:cubicBezTo>
                  <a:pt x="664" y="110"/>
                  <a:pt x="664" y="110"/>
                  <a:pt x="664" y="110"/>
                </a:cubicBezTo>
                <a:cubicBezTo>
                  <a:pt x="664" y="112"/>
                  <a:pt x="664" y="112"/>
                  <a:pt x="664" y="112"/>
                </a:cubicBezTo>
                <a:cubicBezTo>
                  <a:pt x="668" y="111"/>
                  <a:pt x="668" y="111"/>
                  <a:pt x="668" y="111"/>
                </a:cubicBezTo>
                <a:cubicBezTo>
                  <a:pt x="670" y="112"/>
                  <a:pt x="670" y="112"/>
                  <a:pt x="670" y="112"/>
                </a:cubicBezTo>
                <a:cubicBezTo>
                  <a:pt x="667" y="114"/>
                  <a:pt x="667" y="114"/>
                  <a:pt x="667" y="114"/>
                </a:cubicBezTo>
                <a:cubicBezTo>
                  <a:pt x="664" y="115"/>
                  <a:pt x="664" y="115"/>
                  <a:pt x="664" y="115"/>
                </a:cubicBezTo>
                <a:cubicBezTo>
                  <a:pt x="662" y="115"/>
                  <a:pt x="662" y="115"/>
                  <a:pt x="662" y="115"/>
                </a:cubicBezTo>
                <a:cubicBezTo>
                  <a:pt x="662" y="116"/>
                  <a:pt x="662" y="116"/>
                  <a:pt x="662" y="116"/>
                </a:cubicBezTo>
                <a:cubicBezTo>
                  <a:pt x="664" y="117"/>
                  <a:pt x="664" y="117"/>
                  <a:pt x="664" y="117"/>
                </a:cubicBezTo>
                <a:cubicBezTo>
                  <a:pt x="664" y="119"/>
                  <a:pt x="664" y="119"/>
                  <a:pt x="664" y="119"/>
                </a:cubicBezTo>
                <a:cubicBezTo>
                  <a:pt x="660" y="122"/>
                  <a:pt x="660" y="122"/>
                  <a:pt x="660" y="122"/>
                </a:cubicBezTo>
                <a:cubicBezTo>
                  <a:pt x="659" y="122"/>
                  <a:pt x="659" y="122"/>
                  <a:pt x="659" y="122"/>
                </a:cubicBezTo>
                <a:cubicBezTo>
                  <a:pt x="658" y="119"/>
                  <a:pt x="658" y="119"/>
                  <a:pt x="658" y="119"/>
                </a:cubicBezTo>
                <a:cubicBezTo>
                  <a:pt x="656" y="118"/>
                  <a:pt x="656" y="118"/>
                  <a:pt x="656" y="118"/>
                </a:cubicBezTo>
                <a:cubicBezTo>
                  <a:pt x="654" y="115"/>
                  <a:pt x="654" y="115"/>
                  <a:pt x="654" y="115"/>
                </a:cubicBezTo>
                <a:cubicBezTo>
                  <a:pt x="649" y="117"/>
                  <a:pt x="649" y="117"/>
                  <a:pt x="649" y="117"/>
                </a:cubicBezTo>
                <a:cubicBezTo>
                  <a:pt x="649" y="119"/>
                  <a:pt x="649" y="119"/>
                  <a:pt x="649" y="119"/>
                </a:cubicBezTo>
                <a:cubicBezTo>
                  <a:pt x="647" y="123"/>
                  <a:pt x="647" y="123"/>
                  <a:pt x="647" y="123"/>
                </a:cubicBezTo>
                <a:cubicBezTo>
                  <a:pt x="649" y="126"/>
                  <a:pt x="649" y="126"/>
                  <a:pt x="649" y="126"/>
                </a:cubicBezTo>
                <a:cubicBezTo>
                  <a:pt x="649" y="128"/>
                  <a:pt x="649" y="128"/>
                  <a:pt x="649" y="128"/>
                </a:cubicBezTo>
                <a:cubicBezTo>
                  <a:pt x="651" y="129"/>
                  <a:pt x="651" y="129"/>
                  <a:pt x="651" y="129"/>
                </a:cubicBezTo>
                <a:cubicBezTo>
                  <a:pt x="653" y="127"/>
                  <a:pt x="653" y="127"/>
                  <a:pt x="653" y="127"/>
                </a:cubicBezTo>
                <a:cubicBezTo>
                  <a:pt x="655" y="127"/>
                  <a:pt x="655" y="127"/>
                  <a:pt x="655" y="127"/>
                </a:cubicBezTo>
                <a:cubicBezTo>
                  <a:pt x="658" y="128"/>
                  <a:pt x="658" y="128"/>
                  <a:pt x="658" y="128"/>
                </a:cubicBezTo>
                <a:cubicBezTo>
                  <a:pt x="662" y="128"/>
                  <a:pt x="662" y="128"/>
                  <a:pt x="662" y="128"/>
                </a:cubicBezTo>
                <a:cubicBezTo>
                  <a:pt x="663" y="129"/>
                  <a:pt x="663" y="129"/>
                  <a:pt x="663" y="129"/>
                </a:cubicBezTo>
                <a:cubicBezTo>
                  <a:pt x="667" y="128"/>
                  <a:pt x="667" y="128"/>
                  <a:pt x="667" y="128"/>
                </a:cubicBezTo>
                <a:cubicBezTo>
                  <a:pt x="666" y="130"/>
                  <a:pt x="666" y="130"/>
                  <a:pt x="666" y="130"/>
                </a:cubicBezTo>
                <a:cubicBezTo>
                  <a:pt x="664" y="131"/>
                  <a:pt x="664" y="131"/>
                  <a:pt x="664" y="131"/>
                </a:cubicBezTo>
                <a:cubicBezTo>
                  <a:pt x="664" y="132"/>
                  <a:pt x="664" y="132"/>
                  <a:pt x="664" y="132"/>
                </a:cubicBezTo>
                <a:cubicBezTo>
                  <a:pt x="664" y="134"/>
                  <a:pt x="664" y="134"/>
                  <a:pt x="664" y="134"/>
                </a:cubicBezTo>
                <a:cubicBezTo>
                  <a:pt x="667" y="134"/>
                  <a:pt x="667" y="134"/>
                  <a:pt x="667" y="134"/>
                </a:cubicBezTo>
                <a:cubicBezTo>
                  <a:pt x="670" y="136"/>
                  <a:pt x="670" y="136"/>
                  <a:pt x="670" y="136"/>
                </a:cubicBezTo>
                <a:cubicBezTo>
                  <a:pt x="672" y="140"/>
                  <a:pt x="672" y="140"/>
                  <a:pt x="672" y="140"/>
                </a:cubicBezTo>
                <a:cubicBezTo>
                  <a:pt x="673" y="140"/>
                  <a:pt x="673" y="140"/>
                  <a:pt x="673" y="140"/>
                </a:cubicBezTo>
                <a:cubicBezTo>
                  <a:pt x="674" y="141"/>
                  <a:pt x="674" y="141"/>
                  <a:pt x="674" y="141"/>
                </a:cubicBezTo>
                <a:cubicBezTo>
                  <a:pt x="673" y="143"/>
                  <a:pt x="673" y="143"/>
                  <a:pt x="673" y="143"/>
                </a:cubicBezTo>
                <a:cubicBezTo>
                  <a:pt x="673" y="145"/>
                  <a:pt x="673" y="145"/>
                  <a:pt x="673" y="145"/>
                </a:cubicBezTo>
                <a:cubicBezTo>
                  <a:pt x="669" y="153"/>
                  <a:pt x="669" y="153"/>
                  <a:pt x="669" y="153"/>
                </a:cubicBezTo>
                <a:close/>
                <a:moveTo>
                  <a:pt x="656" y="135"/>
                </a:moveTo>
                <a:cubicBezTo>
                  <a:pt x="657" y="133"/>
                  <a:pt x="657" y="133"/>
                  <a:pt x="657" y="133"/>
                </a:cubicBezTo>
                <a:cubicBezTo>
                  <a:pt x="660" y="131"/>
                  <a:pt x="660" y="131"/>
                  <a:pt x="660" y="131"/>
                </a:cubicBezTo>
                <a:cubicBezTo>
                  <a:pt x="662" y="131"/>
                  <a:pt x="662" y="131"/>
                  <a:pt x="662" y="131"/>
                </a:cubicBezTo>
                <a:cubicBezTo>
                  <a:pt x="661" y="132"/>
                  <a:pt x="661" y="132"/>
                  <a:pt x="661" y="132"/>
                </a:cubicBezTo>
                <a:cubicBezTo>
                  <a:pt x="660" y="134"/>
                  <a:pt x="660" y="134"/>
                  <a:pt x="660" y="134"/>
                </a:cubicBezTo>
                <a:cubicBezTo>
                  <a:pt x="658" y="135"/>
                  <a:pt x="658" y="135"/>
                  <a:pt x="658" y="135"/>
                </a:cubicBezTo>
                <a:cubicBezTo>
                  <a:pt x="656" y="135"/>
                  <a:pt x="656" y="135"/>
                  <a:pt x="656" y="135"/>
                </a:cubicBezTo>
                <a:close/>
                <a:moveTo>
                  <a:pt x="651" y="148"/>
                </a:moveTo>
                <a:cubicBezTo>
                  <a:pt x="652" y="146"/>
                  <a:pt x="652" y="146"/>
                  <a:pt x="652" y="146"/>
                </a:cubicBezTo>
                <a:cubicBezTo>
                  <a:pt x="657" y="146"/>
                  <a:pt x="657" y="146"/>
                  <a:pt x="657" y="146"/>
                </a:cubicBezTo>
                <a:cubicBezTo>
                  <a:pt x="660" y="147"/>
                  <a:pt x="660" y="147"/>
                  <a:pt x="660" y="147"/>
                </a:cubicBezTo>
                <a:cubicBezTo>
                  <a:pt x="663" y="151"/>
                  <a:pt x="663" y="151"/>
                  <a:pt x="663" y="151"/>
                </a:cubicBezTo>
                <a:cubicBezTo>
                  <a:pt x="663" y="153"/>
                  <a:pt x="663" y="153"/>
                  <a:pt x="663" y="153"/>
                </a:cubicBezTo>
                <a:cubicBezTo>
                  <a:pt x="664" y="157"/>
                  <a:pt x="664" y="157"/>
                  <a:pt x="664" y="157"/>
                </a:cubicBezTo>
                <a:cubicBezTo>
                  <a:pt x="662" y="157"/>
                  <a:pt x="662" y="157"/>
                  <a:pt x="662" y="157"/>
                </a:cubicBezTo>
                <a:cubicBezTo>
                  <a:pt x="659" y="156"/>
                  <a:pt x="659" y="156"/>
                  <a:pt x="659" y="156"/>
                </a:cubicBezTo>
                <a:cubicBezTo>
                  <a:pt x="657" y="157"/>
                  <a:pt x="657" y="157"/>
                  <a:pt x="657" y="157"/>
                </a:cubicBezTo>
                <a:cubicBezTo>
                  <a:pt x="655" y="157"/>
                  <a:pt x="655" y="157"/>
                  <a:pt x="655" y="157"/>
                </a:cubicBezTo>
                <a:cubicBezTo>
                  <a:pt x="654" y="154"/>
                  <a:pt x="654" y="154"/>
                  <a:pt x="654" y="154"/>
                </a:cubicBezTo>
                <a:cubicBezTo>
                  <a:pt x="651" y="152"/>
                  <a:pt x="651" y="152"/>
                  <a:pt x="651" y="152"/>
                </a:cubicBezTo>
                <a:cubicBezTo>
                  <a:pt x="651" y="148"/>
                  <a:pt x="651" y="148"/>
                  <a:pt x="651" y="148"/>
                </a:cubicBezTo>
                <a:close/>
                <a:moveTo>
                  <a:pt x="620" y="169"/>
                </a:moveTo>
                <a:cubicBezTo>
                  <a:pt x="622" y="168"/>
                  <a:pt x="622" y="168"/>
                  <a:pt x="622" y="168"/>
                </a:cubicBezTo>
                <a:cubicBezTo>
                  <a:pt x="626" y="168"/>
                  <a:pt x="626" y="168"/>
                  <a:pt x="626" y="168"/>
                </a:cubicBezTo>
                <a:cubicBezTo>
                  <a:pt x="625" y="169"/>
                  <a:pt x="625" y="169"/>
                  <a:pt x="625" y="169"/>
                </a:cubicBezTo>
                <a:cubicBezTo>
                  <a:pt x="622" y="170"/>
                  <a:pt x="622" y="170"/>
                  <a:pt x="622" y="170"/>
                </a:cubicBezTo>
                <a:cubicBezTo>
                  <a:pt x="620" y="169"/>
                  <a:pt x="620" y="169"/>
                  <a:pt x="620" y="169"/>
                </a:cubicBezTo>
                <a:close/>
                <a:moveTo>
                  <a:pt x="619" y="166"/>
                </a:moveTo>
                <a:cubicBezTo>
                  <a:pt x="617" y="163"/>
                  <a:pt x="617" y="163"/>
                  <a:pt x="617" y="163"/>
                </a:cubicBezTo>
                <a:cubicBezTo>
                  <a:pt x="618" y="160"/>
                  <a:pt x="618" y="160"/>
                  <a:pt x="618" y="160"/>
                </a:cubicBezTo>
                <a:cubicBezTo>
                  <a:pt x="619" y="157"/>
                  <a:pt x="619" y="157"/>
                  <a:pt x="619" y="157"/>
                </a:cubicBezTo>
                <a:cubicBezTo>
                  <a:pt x="619" y="155"/>
                  <a:pt x="619" y="155"/>
                  <a:pt x="619" y="155"/>
                </a:cubicBezTo>
                <a:cubicBezTo>
                  <a:pt x="622" y="153"/>
                  <a:pt x="622" y="153"/>
                  <a:pt x="622" y="153"/>
                </a:cubicBezTo>
                <a:cubicBezTo>
                  <a:pt x="622" y="151"/>
                  <a:pt x="622" y="151"/>
                  <a:pt x="622" y="151"/>
                </a:cubicBezTo>
                <a:cubicBezTo>
                  <a:pt x="623" y="150"/>
                  <a:pt x="623" y="150"/>
                  <a:pt x="623" y="150"/>
                </a:cubicBezTo>
                <a:cubicBezTo>
                  <a:pt x="623" y="149"/>
                  <a:pt x="623" y="149"/>
                  <a:pt x="623" y="149"/>
                </a:cubicBezTo>
                <a:cubicBezTo>
                  <a:pt x="624" y="145"/>
                  <a:pt x="624" y="145"/>
                  <a:pt x="624" y="145"/>
                </a:cubicBezTo>
                <a:cubicBezTo>
                  <a:pt x="624" y="143"/>
                  <a:pt x="624" y="143"/>
                  <a:pt x="624" y="143"/>
                </a:cubicBezTo>
                <a:cubicBezTo>
                  <a:pt x="626" y="142"/>
                  <a:pt x="626" y="142"/>
                  <a:pt x="626" y="142"/>
                </a:cubicBezTo>
                <a:cubicBezTo>
                  <a:pt x="627" y="143"/>
                  <a:pt x="627" y="143"/>
                  <a:pt x="627" y="143"/>
                </a:cubicBezTo>
                <a:cubicBezTo>
                  <a:pt x="628" y="146"/>
                  <a:pt x="628" y="146"/>
                  <a:pt x="628" y="146"/>
                </a:cubicBezTo>
                <a:cubicBezTo>
                  <a:pt x="628" y="148"/>
                  <a:pt x="628" y="148"/>
                  <a:pt x="628" y="148"/>
                </a:cubicBezTo>
                <a:cubicBezTo>
                  <a:pt x="627" y="152"/>
                  <a:pt x="627" y="152"/>
                  <a:pt x="627" y="152"/>
                </a:cubicBezTo>
                <a:cubicBezTo>
                  <a:pt x="627" y="155"/>
                  <a:pt x="627" y="155"/>
                  <a:pt x="627" y="155"/>
                </a:cubicBezTo>
                <a:cubicBezTo>
                  <a:pt x="625" y="157"/>
                  <a:pt x="625" y="157"/>
                  <a:pt x="625" y="157"/>
                </a:cubicBezTo>
                <a:cubicBezTo>
                  <a:pt x="627" y="159"/>
                  <a:pt x="627" y="159"/>
                  <a:pt x="627" y="159"/>
                </a:cubicBezTo>
                <a:cubicBezTo>
                  <a:pt x="625" y="165"/>
                  <a:pt x="625" y="165"/>
                  <a:pt x="625" y="165"/>
                </a:cubicBezTo>
                <a:cubicBezTo>
                  <a:pt x="622" y="166"/>
                  <a:pt x="622" y="166"/>
                  <a:pt x="622" y="166"/>
                </a:cubicBezTo>
                <a:cubicBezTo>
                  <a:pt x="619" y="166"/>
                  <a:pt x="619" y="166"/>
                  <a:pt x="619" y="166"/>
                </a:cubicBezTo>
                <a:close/>
                <a:moveTo>
                  <a:pt x="591" y="110"/>
                </a:moveTo>
                <a:cubicBezTo>
                  <a:pt x="589" y="108"/>
                  <a:pt x="589" y="108"/>
                  <a:pt x="589" y="108"/>
                </a:cubicBezTo>
                <a:cubicBezTo>
                  <a:pt x="589" y="105"/>
                  <a:pt x="589" y="105"/>
                  <a:pt x="589" y="105"/>
                </a:cubicBezTo>
                <a:cubicBezTo>
                  <a:pt x="590" y="103"/>
                  <a:pt x="590" y="103"/>
                  <a:pt x="590" y="103"/>
                </a:cubicBezTo>
                <a:cubicBezTo>
                  <a:pt x="588" y="102"/>
                  <a:pt x="588" y="102"/>
                  <a:pt x="588" y="102"/>
                </a:cubicBezTo>
                <a:cubicBezTo>
                  <a:pt x="586" y="102"/>
                  <a:pt x="586" y="102"/>
                  <a:pt x="586" y="102"/>
                </a:cubicBezTo>
                <a:cubicBezTo>
                  <a:pt x="585" y="102"/>
                  <a:pt x="585" y="102"/>
                  <a:pt x="585" y="102"/>
                </a:cubicBezTo>
                <a:cubicBezTo>
                  <a:pt x="583" y="102"/>
                  <a:pt x="583" y="102"/>
                  <a:pt x="583" y="102"/>
                </a:cubicBezTo>
                <a:cubicBezTo>
                  <a:pt x="580" y="102"/>
                  <a:pt x="580" y="102"/>
                  <a:pt x="580" y="102"/>
                </a:cubicBezTo>
                <a:cubicBezTo>
                  <a:pt x="578" y="103"/>
                  <a:pt x="578" y="103"/>
                  <a:pt x="578" y="103"/>
                </a:cubicBezTo>
                <a:cubicBezTo>
                  <a:pt x="578" y="101"/>
                  <a:pt x="578" y="101"/>
                  <a:pt x="578" y="101"/>
                </a:cubicBezTo>
                <a:cubicBezTo>
                  <a:pt x="580" y="98"/>
                  <a:pt x="580" y="98"/>
                  <a:pt x="580" y="98"/>
                </a:cubicBezTo>
                <a:cubicBezTo>
                  <a:pt x="581" y="97"/>
                  <a:pt x="581" y="97"/>
                  <a:pt x="581" y="97"/>
                </a:cubicBezTo>
                <a:cubicBezTo>
                  <a:pt x="583" y="97"/>
                  <a:pt x="583" y="97"/>
                  <a:pt x="583" y="97"/>
                </a:cubicBezTo>
                <a:cubicBezTo>
                  <a:pt x="586" y="97"/>
                  <a:pt x="586" y="97"/>
                  <a:pt x="586" y="97"/>
                </a:cubicBezTo>
                <a:cubicBezTo>
                  <a:pt x="593" y="95"/>
                  <a:pt x="593" y="95"/>
                  <a:pt x="593" y="95"/>
                </a:cubicBezTo>
                <a:cubicBezTo>
                  <a:pt x="595" y="95"/>
                  <a:pt x="595" y="95"/>
                  <a:pt x="595" y="95"/>
                </a:cubicBezTo>
                <a:cubicBezTo>
                  <a:pt x="597" y="97"/>
                  <a:pt x="597" y="97"/>
                  <a:pt x="597" y="97"/>
                </a:cubicBezTo>
                <a:cubicBezTo>
                  <a:pt x="599" y="96"/>
                  <a:pt x="599" y="96"/>
                  <a:pt x="599" y="96"/>
                </a:cubicBezTo>
                <a:cubicBezTo>
                  <a:pt x="601" y="96"/>
                  <a:pt x="601" y="96"/>
                  <a:pt x="601" y="96"/>
                </a:cubicBezTo>
                <a:cubicBezTo>
                  <a:pt x="604" y="94"/>
                  <a:pt x="604" y="94"/>
                  <a:pt x="604" y="94"/>
                </a:cubicBezTo>
                <a:cubicBezTo>
                  <a:pt x="608" y="94"/>
                  <a:pt x="608" y="94"/>
                  <a:pt x="608" y="94"/>
                </a:cubicBezTo>
                <a:cubicBezTo>
                  <a:pt x="610" y="94"/>
                  <a:pt x="610" y="94"/>
                  <a:pt x="610" y="94"/>
                </a:cubicBezTo>
                <a:cubicBezTo>
                  <a:pt x="611" y="93"/>
                  <a:pt x="611" y="93"/>
                  <a:pt x="611" y="93"/>
                </a:cubicBezTo>
                <a:cubicBezTo>
                  <a:pt x="613" y="94"/>
                  <a:pt x="613" y="94"/>
                  <a:pt x="613" y="94"/>
                </a:cubicBezTo>
                <a:cubicBezTo>
                  <a:pt x="612" y="95"/>
                  <a:pt x="612" y="95"/>
                  <a:pt x="612" y="95"/>
                </a:cubicBezTo>
                <a:cubicBezTo>
                  <a:pt x="614" y="98"/>
                  <a:pt x="614" y="98"/>
                  <a:pt x="614" y="98"/>
                </a:cubicBezTo>
                <a:cubicBezTo>
                  <a:pt x="614" y="100"/>
                  <a:pt x="614" y="100"/>
                  <a:pt x="614" y="100"/>
                </a:cubicBezTo>
                <a:cubicBezTo>
                  <a:pt x="612" y="103"/>
                  <a:pt x="612" y="103"/>
                  <a:pt x="612" y="103"/>
                </a:cubicBezTo>
                <a:cubicBezTo>
                  <a:pt x="613" y="107"/>
                  <a:pt x="613" y="107"/>
                  <a:pt x="613" y="107"/>
                </a:cubicBezTo>
                <a:cubicBezTo>
                  <a:pt x="612" y="112"/>
                  <a:pt x="612" y="112"/>
                  <a:pt x="612" y="112"/>
                </a:cubicBezTo>
                <a:cubicBezTo>
                  <a:pt x="609" y="113"/>
                  <a:pt x="609" y="113"/>
                  <a:pt x="609" y="113"/>
                </a:cubicBezTo>
                <a:cubicBezTo>
                  <a:pt x="607" y="115"/>
                  <a:pt x="607" y="115"/>
                  <a:pt x="607" y="115"/>
                </a:cubicBezTo>
                <a:cubicBezTo>
                  <a:pt x="605" y="115"/>
                  <a:pt x="605" y="115"/>
                  <a:pt x="605" y="115"/>
                </a:cubicBezTo>
                <a:cubicBezTo>
                  <a:pt x="602" y="115"/>
                  <a:pt x="602" y="115"/>
                  <a:pt x="602" y="115"/>
                </a:cubicBezTo>
                <a:cubicBezTo>
                  <a:pt x="601" y="113"/>
                  <a:pt x="601" y="113"/>
                  <a:pt x="601" y="113"/>
                </a:cubicBezTo>
                <a:cubicBezTo>
                  <a:pt x="599" y="114"/>
                  <a:pt x="599" y="114"/>
                  <a:pt x="599" y="114"/>
                </a:cubicBezTo>
                <a:cubicBezTo>
                  <a:pt x="596" y="111"/>
                  <a:pt x="596" y="111"/>
                  <a:pt x="596" y="111"/>
                </a:cubicBezTo>
                <a:cubicBezTo>
                  <a:pt x="596" y="108"/>
                  <a:pt x="596" y="108"/>
                  <a:pt x="596" y="108"/>
                </a:cubicBezTo>
                <a:cubicBezTo>
                  <a:pt x="594" y="105"/>
                  <a:pt x="594" y="105"/>
                  <a:pt x="594" y="105"/>
                </a:cubicBezTo>
                <a:cubicBezTo>
                  <a:pt x="593" y="106"/>
                  <a:pt x="593" y="106"/>
                  <a:pt x="593" y="106"/>
                </a:cubicBezTo>
                <a:cubicBezTo>
                  <a:pt x="593" y="108"/>
                  <a:pt x="593" y="108"/>
                  <a:pt x="593" y="108"/>
                </a:cubicBezTo>
                <a:cubicBezTo>
                  <a:pt x="591" y="110"/>
                  <a:pt x="591" y="110"/>
                  <a:pt x="591" y="110"/>
                </a:cubicBezTo>
                <a:close/>
                <a:moveTo>
                  <a:pt x="557" y="129"/>
                </a:moveTo>
                <a:cubicBezTo>
                  <a:pt x="559" y="126"/>
                  <a:pt x="559" y="126"/>
                  <a:pt x="559" y="126"/>
                </a:cubicBezTo>
                <a:cubicBezTo>
                  <a:pt x="559" y="125"/>
                  <a:pt x="559" y="125"/>
                  <a:pt x="559" y="125"/>
                </a:cubicBezTo>
                <a:cubicBezTo>
                  <a:pt x="562" y="122"/>
                  <a:pt x="562" y="122"/>
                  <a:pt x="562" y="122"/>
                </a:cubicBezTo>
                <a:cubicBezTo>
                  <a:pt x="562" y="119"/>
                  <a:pt x="562" y="119"/>
                  <a:pt x="562" y="119"/>
                </a:cubicBezTo>
                <a:cubicBezTo>
                  <a:pt x="565" y="118"/>
                  <a:pt x="565" y="118"/>
                  <a:pt x="565" y="118"/>
                </a:cubicBezTo>
                <a:cubicBezTo>
                  <a:pt x="567" y="117"/>
                  <a:pt x="567" y="117"/>
                  <a:pt x="567" y="117"/>
                </a:cubicBezTo>
                <a:cubicBezTo>
                  <a:pt x="569" y="117"/>
                  <a:pt x="569" y="117"/>
                  <a:pt x="569" y="117"/>
                </a:cubicBezTo>
                <a:cubicBezTo>
                  <a:pt x="575" y="115"/>
                  <a:pt x="575" y="115"/>
                  <a:pt x="575" y="115"/>
                </a:cubicBezTo>
                <a:cubicBezTo>
                  <a:pt x="576" y="116"/>
                  <a:pt x="576" y="116"/>
                  <a:pt x="576" y="116"/>
                </a:cubicBezTo>
                <a:cubicBezTo>
                  <a:pt x="578" y="116"/>
                  <a:pt x="578" y="116"/>
                  <a:pt x="578" y="116"/>
                </a:cubicBezTo>
                <a:cubicBezTo>
                  <a:pt x="580" y="117"/>
                  <a:pt x="580" y="117"/>
                  <a:pt x="580" y="117"/>
                </a:cubicBezTo>
                <a:cubicBezTo>
                  <a:pt x="582" y="117"/>
                  <a:pt x="582" y="117"/>
                  <a:pt x="582" y="117"/>
                </a:cubicBezTo>
                <a:cubicBezTo>
                  <a:pt x="584" y="117"/>
                  <a:pt x="584" y="117"/>
                  <a:pt x="584" y="117"/>
                </a:cubicBezTo>
                <a:cubicBezTo>
                  <a:pt x="588" y="118"/>
                  <a:pt x="588" y="118"/>
                  <a:pt x="588" y="118"/>
                </a:cubicBezTo>
                <a:cubicBezTo>
                  <a:pt x="588" y="118"/>
                  <a:pt x="588" y="118"/>
                  <a:pt x="588" y="118"/>
                </a:cubicBezTo>
                <a:cubicBezTo>
                  <a:pt x="591" y="118"/>
                  <a:pt x="591" y="118"/>
                  <a:pt x="591" y="118"/>
                </a:cubicBezTo>
                <a:cubicBezTo>
                  <a:pt x="594" y="119"/>
                  <a:pt x="594" y="119"/>
                  <a:pt x="594" y="119"/>
                </a:cubicBezTo>
                <a:cubicBezTo>
                  <a:pt x="595" y="120"/>
                  <a:pt x="595" y="120"/>
                  <a:pt x="595" y="120"/>
                </a:cubicBezTo>
                <a:cubicBezTo>
                  <a:pt x="598" y="120"/>
                  <a:pt x="598" y="120"/>
                  <a:pt x="598" y="120"/>
                </a:cubicBezTo>
                <a:cubicBezTo>
                  <a:pt x="598" y="122"/>
                  <a:pt x="598" y="122"/>
                  <a:pt x="598" y="122"/>
                </a:cubicBezTo>
                <a:cubicBezTo>
                  <a:pt x="596" y="126"/>
                  <a:pt x="596" y="126"/>
                  <a:pt x="596" y="126"/>
                </a:cubicBezTo>
                <a:cubicBezTo>
                  <a:pt x="594" y="125"/>
                  <a:pt x="594" y="125"/>
                  <a:pt x="594" y="125"/>
                </a:cubicBezTo>
                <a:cubicBezTo>
                  <a:pt x="588" y="127"/>
                  <a:pt x="588" y="127"/>
                  <a:pt x="588" y="127"/>
                </a:cubicBezTo>
                <a:cubicBezTo>
                  <a:pt x="586" y="127"/>
                  <a:pt x="586" y="127"/>
                  <a:pt x="586" y="127"/>
                </a:cubicBezTo>
                <a:cubicBezTo>
                  <a:pt x="583" y="130"/>
                  <a:pt x="583" y="130"/>
                  <a:pt x="583" y="130"/>
                </a:cubicBezTo>
                <a:cubicBezTo>
                  <a:pt x="583" y="131"/>
                  <a:pt x="583" y="131"/>
                  <a:pt x="583" y="131"/>
                </a:cubicBezTo>
                <a:cubicBezTo>
                  <a:pt x="586" y="131"/>
                  <a:pt x="586" y="131"/>
                  <a:pt x="586" y="131"/>
                </a:cubicBezTo>
                <a:cubicBezTo>
                  <a:pt x="587" y="131"/>
                  <a:pt x="587" y="131"/>
                  <a:pt x="587" y="131"/>
                </a:cubicBezTo>
                <a:cubicBezTo>
                  <a:pt x="587" y="133"/>
                  <a:pt x="587" y="133"/>
                  <a:pt x="587" y="133"/>
                </a:cubicBezTo>
                <a:cubicBezTo>
                  <a:pt x="584" y="136"/>
                  <a:pt x="584" y="136"/>
                  <a:pt x="584" y="136"/>
                </a:cubicBezTo>
                <a:cubicBezTo>
                  <a:pt x="583" y="138"/>
                  <a:pt x="583" y="138"/>
                  <a:pt x="583" y="138"/>
                </a:cubicBezTo>
                <a:cubicBezTo>
                  <a:pt x="581" y="139"/>
                  <a:pt x="581" y="139"/>
                  <a:pt x="581" y="139"/>
                </a:cubicBezTo>
                <a:cubicBezTo>
                  <a:pt x="581" y="140"/>
                  <a:pt x="581" y="140"/>
                  <a:pt x="581" y="140"/>
                </a:cubicBezTo>
                <a:cubicBezTo>
                  <a:pt x="580" y="142"/>
                  <a:pt x="580" y="142"/>
                  <a:pt x="580" y="142"/>
                </a:cubicBezTo>
                <a:cubicBezTo>
                  <a:pt x="577" y="142"/>
                  <a:pt x="577" y="142"/>
                  <a:pt x="577" y="142"/>
                </a:cubicBezTo>
                <a:cubicBezTo>
                  <a:pt x="575" y="143"/>
                  <a:pt x="575" y="143"/>
                  <a:pt x="575" y="143"/>
                </a:cubicBezTo>
                <a:cubicBezTo>
                  <a:pt x="572" y="143"/>
                  <a:pt x="572" y="143"/>
                  <a:pt x="572" y="143"/>
                </a:cubicBezTo>
                <a:cubicBezTo>
                  <a:pt x="570" y="141"/>
                  <a:pt x="570" y="141"/>
                  <a:pt x="570" y="141"/>
                </a:cubicBezTo>
                <a:cubicBezTo>
                  <a:pt x="568" y="142"/>
                  <a:pt x="568" y="142"/>
                  <a:pt x="568" y="142"/>
                </a:cubicBezTo>
                <a:cubicBezTo>
                  <a:pt x="566" y="142"/>
                  <a:pt x="566" y="142"/>
                  <a:pt x="566" y="142"/>
                </a:cubicBezTo>
                <a:cubicBezTo>
                  <a:pt x="563" y="142"/>
                  <a:pt x="563" y="142"/>
                  <a:pt x="563" y="142"/>
                </a:cubicBezTo>
                <a:cubicBezTo>
                  <a:pt x="563" y="141"/>
                  <a:pt x="563" y="141"/>
                  <a:pt x="563" y="141"/>
                </a:cubicBezTo>
                <a:cubicBezTo>
                  <a:pt x="564" y="139"/>
                  <a:pt x="564" y="139"/>
                  <a:pt x="564" y="139"/>
                </a:cubicBezTo>
                <a:cubicBezTo>
                  <a:pt x="562" y="136"/>
                  <a:pt x="562" y="136"/>
                  <a:pt x="562" y="136"/>
                </a:cubicBezTo>
                <a:cubicBezTo>
                  <a:pt x="560" y="135"/>
                  <a:pt x="560" y="135"/>
                  <a:pt x="560" y="135"/>
                </a:cubicBezTo>
                <a:cubicBezTo>
                  <a:pt x="558" y="134"/>
                  <a:pt x="558" y="134"/>
                  <a:pt x="558" y="134"/>
                </a:cubicBezTo>
                <a:cubicBezTo>
                  <a:pt x="558" y="131"/>
                  <a:pt x="558" y="131"/>
                  <a:pt x="558" y="131"/>
                </a:cubicBezTo>
                <a:cubicBezTo>
                  <a:pt x="557" y="129"/>
                  <a:pt x="557" y="129"/>
                  <a:pt x="557" y="129"/>
                </a:cubicBezTo>
                <a:close/>
                <a:moveTo>
                  <a:pt x="554" y="120"/>
                </a:moveTo>
                <a:cubicBezTo>
                  <a:pt x="556" y="121"/>
                  <a:pt x="556" y="121"/>
                  <a:pt x="556" y="121"/>
                </a:cubicBezTo>
                <a:cubicBezTo>
                  <a:pt x="559" y="120"/>
                  <a:pt x="559" y="120"/>
                  <a:pt x="559" y="120"/>
                </a:cubicBezTo>
                <a:cubicBezTo>
                  <a:pt x="561" y="117"/>
                  <a:pt x="561" y="117"/>
                  <a:pt x="561" y="117"/>
                </a:cubicBezTo>
                <a:cubicBezTo>
                  <a:pt x="561" y="114"/>
                  <a:pt x="561" y="114"/>
                  <a:pt x="561" y="114"/>
                </a:cubicBezTo>
                <a:cubicBezTo>
                  <a:pt x="561" y="113"/>
                  <a:pt x="561" y="113"/>
                  <a:pt x="561" y="113"/>
                </a:cubicBezTo>
                <a:cubicBezTo>
                  <a:pt x="561" y="111"/>
                  <a:pt x="561" y="111"/>
                  <a:pt x="561" y="111"/>
                </a:cubicBezTo>
                <a:cubicBezTo>
                  <a:pt x="562" y="108"/>
                  <a:pt x="562" y="108"/>
                  <a:pt x="562" y="108"/>
                </a:cubicBezTo>
                <a:cubicBezTo>
                  <a:pt x="560" y="108"/>
                  <a:pt x="560" y="108"/>
                  <a:pt x="560" y="108"/>
                </a:cubicBezTo>
                <a:cubicBezTo>
                  <a:pt x="559" y="109"/>
                  <a:pt x="559" y="109"/>
                  <a:pt x="559" y="109"/>
                </a:cubicBezTo>
                <a:cubicBezTo>
                  <a:pt x="557" y="107"/>
                  <a:pt x="557" y="107"/>
                  <a:pt x="557" y="107"/>
                </a:cubicBezTo>
                <a:cubicBezTo>
                  <a:pt x="555" y="109"/>
                  <a:pt x="555" y="109"/>
                  <a:pt x="555" y="109"/>
                </a:cubicBezTo>
                <a:cubicBezTo>
                  <a:pt x="554" y="109"/>
                  <a:pt x="554" y="109"/>
                  <a:pt x="554" y="109"/>
                </a:cubicBezTo>
                <a:cubicBezTo>
                  <a:pt x="553" y="111"/>
                  <a:pt x="553" y="111"/>
                  <a:pt x="553" y="111"/>
                </a:cubicBezTo>
                <a:cubicBezTo>
                  <a:pt x="553" y="114"/>
                  <a:pt x="553" y="114"/>
                  <a:pt x="553" y="114"/>
                </a:cubicBezTo>
                <a:cubicBezTo>
                  <a:pt x="552" y="117"/>
                  <a:pt x="552" y="117"/>
                  <a:pt x="552" y="117"/>
                </a:cubicBezTo>
                <a:cubicBezTo>
                  <a:pt x="554" y="120"/>
                  <a:pt x="554" y="120"/>
                  <a:pt x="554" y="120"/>
                </a:cubicBezTo>
                <a:close/>
                <a:moveTo>
                  <a:pt x="760" y="300"/>
                </a:moveTo>
                <a:cubicBezTo>
                  <a:pt x="760" y="300"/>
                  <a:pt x="763" y="301"/>
                  <a:pt x="763" y="301"/>
                </a:cubicBezTo>
                <a:cubicBezTo>
                  <a:pt x="765" y="300"/>
                  <a:pt x="765" y="300"/>
                  <a:pt x="765" y="300"/>
                </a:cubicBezTo>
                <a:cubicBezTo>
                  <a:pt x="765" y="302"/>
                  <a:pt x="765" y="302"/>
                  <a:pt x="765" y="302"/>
                </a:cubicBezTo>
                <a:cubicBezTo>
                  <a:pt x="768" y="302"/>
                  <a:pt x="768" y="302"/>
                  <a:pt x="768" y="302"/>
                </a:cubicBezTo>
                <a:cubicBezTo>
                  <a:pt x="768" y="303"/>
                  <a:pt x="768" y="303"/>
                  <a:pt x="768" y="303"/>
                </a:cubicBezTo>
                <a:cubicBezTo>
                  <a:pt x="770" y="303"/>
                  <a:pt x="770" y="303"/>
                  <a:pt x="770" y="303"/>
                </a:cubicBezTo>
                <a:cubicBezTo>
                  <a:pt x="775" y="301"/>
                  <a:pt x="775" y="301"/>
                  <a:pt x="775" y="301"/>
                </a:cubicBezTo>
                <a:cubicBezTo>
                  <a:pt x="777" y="300"/>
                  <a:pt x="777" y="300"/>
                  <a:pt x="777" y="300"/>
                </a:cubicBezTo>
                <a:cubicBezTo>
                  <a:pt x="780" y="302"/>
                  <a:pt x="780" y="302"/>
                  <a:pt x="780" y="302"/>
                </a:cubicBezTo>
                <a:cubicBezTo>
                  <a:pt x="783" y="302"/>
                  <a:pt x="783" y="302"/>
                  <a:pt x="783" y="302"/>
                </a:cubicBezTo>
                <a:cubicBezTo>
                  <a:pt x="784" y="303"/>
                  <a:pt x="784" y="303"/>
                  <a:pt x="784" y="303"/>
                </a:cubicBezTo>
                <a:cubicBezTo>
                  <a:pt x="785" y="301"/>
                  <a:pt x="785" y="301"/>
                  <a:pt x="785" y="301"/>
                </a:cubicBezTo>
                <a:cubicBezTo>
                  <a:pt x="785" y="300"/>
                  <a:pt x="785" y="300"/>
                  <a:pt x="785" y="300"/>
                </a:cubicBezTo>
                <a:cubicBezTo>
                  <a:pt x="787" y="297"/>
                  <a:pt x="787" y="297"/>
                  <a:pt x="787" y="297"/>
                </a:cubicBezTo>
                <a:cubicBezTo>
                  <a:pt x="788" y="297"/>
                  <a:pt x="788" y="297"/>
                  <a:pt x="788" y="297"/>
                </a:cubicBezTo>
                <a:cubicBezTo>
                  <a:pt x="788" y="296"/>
                  <a:pt x="788" y="296"/>
                  <a:pt x="788" y="296"/>
                </a:cubicBezTo>
                <a:cubicBezTo>
                  <a:pt x="787" y="293"/>
                  <a:pt x="787" y="293"/>
                  <a:pt x="787" y="293"/>
                </a:cubicBezTo>
                <a:cubicBezTo>
                  <a:pt x="787" y="290"/>
                  <a:pt x="787" y="290"/>
                  <a:pt x="787" y="290"/>
                </a:cubicBezTo>
                <a:cubicBezTo>
                  <a:pt x="789" y="292"/>
                  <a:pt x="789" y="292"/>
                  <a:pt x="789" y="292"/>
                </a:cubicBezTo>
                <a:cubicBezTo>
                  <a:pt x="788" y="293"/>
                  <a:pt x="788" y="293"/>
                  <a:pt x="788" y="293"/>
                </a:cubicBezTo>
                <a:cubicBezTo>
                  <a:pt x="791" y="296"/>
                  <a:pt x="791" y="296"/>
                  <a:pt x="791" y="296"/>
                </a:cubicBezTo>
                <a:cubicBezTo>
                  <a:pt x="792" y="294"/>
                  <a:pt x="792" y="294"/>
                  <a:pt x="792" y="294"/>
                </a:cubicBezTo>
                <a:cubicBezTo>
                  <a:pt x="793" y="295"/>
                  <a:pt x="793" y="295"/>
                  <a:pt x="793" y="295"/>
                </a:cubicBezTo>
                <a:cubicBezTo>
                  <a:pt x="795" y="294"/>
                  <a:pt x="795" y="294"/>
                  <a:pt x="795" y="294"/>
                </a:cubicBezTo>
                <a:cubicBezTo>
                  <a:pt x="796" y="295"/>
                  <a:pt x="796" y="295"/>
                  <a:pt x="796" y="295"/>
                </a:cubicBezTo>
                <a:cubicBezTo>
                  <a:pt x="796" y="294"/>
                  <a:pt x="796" y="294"/>
                  <a:pt x="796" y="294"/>
                </a:cubicBezTo>
                <a:cubicBezTo>
                  <a:pt x="796" y="291"/>
                  <a:pt x="796" y="291"/>
                  <a:pt x="796" y="291"/>
                </a:cubicBezTo>
                <a:cubicBezTo>
                  <a:pt x="796" y="289"/>
                  <a:pt x="796" y="289"/>
                  <a:pt x="796" y="289"/>
                </a:cubicBezTo>
                <a:cubicBezTo>
                  <a:pt x="794" y="288"/>
                  <a:pt x="794" y="288"/>
                  <a:pt x="794" y="288"/>
                </a:cubicBezTo>
                <a:cubicBezTo>
                  <a:pt x="792" y="289"/>
                  <a:pt x="792" y="289"/>
                  <a:pt x="792" y="289"/>
                </a:cubicBezTo>
                <a:cubicBezTo>
                  <a:pt x="789" y="289"/>
                  <a:pt x="789" y="289"/>
                  <a:pt x="789" y="289"/>
                </a:cubicBezTo>
                <a:cubicBezTo>
                  <a:pt x="788" y="287"/>
                  <a:pt x="788" y="287"/>
                  <a:pt x="788" y="287"/>
                </a:cubicBezTo>
                <a:cubicBezTo>
                  <a:pt x="789" y="287"/>
                  <a:pt x="789" y="287"/>
                  <a:pt x="789" y="287"/>
                </a:cubicBezTo>
                <a:cubicBezTo>
                  <a:pt x="791" y="287"/>
                  <a:pt x="791" y="287"/>
                  <a:pt x="791" y="287"/>
                </a:cubicBezTo>
                <a:cubicBezTo>
                  <a:pt x="793" y="286"/>
                  <a:pt x="793" y="286"/>
                  <a:pt x="793" y="286"/>
                </a:cubicBezTo>
                <a:cubicBezTo>
                  <a:pt x="795" y="284"/>
                  <a:pt x="795" y="284"/>
                  <a:pt x="795" y="284"/>
                </a:cubicBezTo>
                <a:cubicBezTo>
                  <a:pt x="796" y="285"/>
                  <a:pt x="796" y="285"/>
                  <a:pt x="796" y="285"/>
                </a:cubicBezTo>
                <a:cubicBezTo>
                  <a:pt x="798" y="285"/>
                  <a:pt x="798" y="285"/>
                  <a:pt x="798" y="285"/>
                </a:cubicBezTo>
                <a:cubicBezTo>
                  <a:pt x="799" y="283"/>
                  <a:pt x="799" y="283"/>
                  <a:pt x="799" y="283"/>
                </a:cubicBezTo>
                <a:cubicBezTo>
                  <a:pt x="799" y="281"/>
                  <a:pt x="799" y="281"/>
                  <a:pt x="799" y="281"/>
                </a:cubicBezTo>
                <a:cubicBezTo>
                  <a:pt x="800" y="279"/>
                  <a:pt x="800" y="279"/>
                  <a:pt x="800" y="279"/>
                </a:cubicBezTo>
                <a:cubicBezTo>
                  <a:pt x="799" y="278"/>
                  <a:pt x="799" y="278"/>
                  <a:pt x="799" y="278"/>
                </a:cubicBezTo>
                <a:cubicBezTo>
                  <a:pt x="801" y="277"/>
                  <a:pt x="801" y="277"/>
                  <a:pt x="801" y="277"/>
                </a:cubicBezTo>
                <a:cubicBezTo>
                  <a:pt x="801" y="276"/>
                  <a:pt x="801" y="276"/>
                  <a:pt x="801" y="276"/>
                </a:cubicBezTo>
                <a:cubicBezTo>
                  <a:pt x="798" y="275"/>
                  <a:pt x="798" y="275"/>
                  <a:pt x="798" y="275"/>
                </a:cubicBezTo>
                <a:cubicBezTo>
                  <a:pt x="796" y="276"/>
                  <a:pt x="796" y="276"/>
                  <a:pt x="796" y="276"/>
                </a:cubicBezTo>
                <a:cubicBezTo>
                  <a:pt x="797" y="274"/>
                  <a:pt x="797" y="274"/>
                  <a:pt x="797" y="274"/>
                </a:cubicBezTo>
                <a:cubicBezTo>
                  <a:pt x="798" y="273"/>
                  <a:pt x="798" y="273"/>
                  <a:pt x="798" y="273"/>
                </a:cubicBezTo>
                <a:cubicBezTo>
                  <a:pt x="798" y="271"/>
                  <a:pt x="798" y="271"/>
                  <a:pt x="798" y="271"/>
                </a:cubicBezTo>
                <a:cubicBezTo>
                  <a:pt x="796" y="270"/>
                  <a:pt x="796" y="270"/>
                  <a:pt x="796" y="270"/>
                </a:cubicBezTo>
                <a:cubicBezTo>
                  <a:pt x="791" y="270"/>
                  <a:pt x="791" y="270"/>
                  <a:pt x="791" y="270"/>
                </a:cubicBezTo>
                <a:cubicBezTo>
                  <a:pt x="791" y="268"/>
                  <a:pt x="791" y="268"/>
                  <a:pt x="791" y="268"/>
                </a:cubicBezTo>
                <a:cubicBezTo>
                  <a:pt x="791" y="267"/>
                  <a:pt x="791" y="267"/>
                  <a:pt x="791" y="267"/>
                </a:cubicBezTo>
                <a:cubicBezTo>
                  <a:pt x="792" y="266"/>
                  <a:pt x="792" y="266"/>
                  <a:pt x="792" y="266"/>
                </a:cubicBezTo>
                <a:cubicBezTo>
                  <a:pt x="791" y="264"/>
                  <a:pt x="791" y="264"/>
                  <a:pt x="791" y="264"/>
                </a:cubicBezTo>
                <a:cubicBezTo>
                  <a:pt x="787" y="261"/>
                  <a:pt x="787" y="261"/>
                  <a:pt x="787" y="261"/>
                </a:cubicBezTo>
                <a:cubicBezTo>
                  <a:pt x="785" y="261"/>
                  <a:pt x="785" y="261"/>
                  <a:pt x="785" y="261"/>
                </a:cubicBezTo>
                <a:cubicBezTo>
                  <a:pt x="784" y="262"/>
                  <a:pt x="784" y="262"/>
                  <a:pt x="784" y="262"/>
                </a:cubicBezTo>
                <a:cubicBezTo>
                  <a:pt x="780" y="262"/>
                  <a:pt x="780" y="262"/>
                  <a:pt x="780" y="262"/>
                </a:cubicBezTo>
                <a:cubicBezTo>
                  <a:pt x="777" y="263"/>
                  <a:pt x="777" y="263"/>
                  <a:pt x="777" y="263"/>
                </a:cubicBezTo>
                <a:cubicBezTo>
                  <a:pt x="773" y="260"/>
                  <a:pt x="773" y="260"/>
                  <a:pt x="773" y="260"/>
                </a:cubicBezTo>
                <a:cubicBezTo>
                  <a:pt x="772" y="258"/>
                  <a:pt x="772" y="258"/>
                  <a:pt x="772" y="258"/>
                </a:cubicBezTo>
                <a:cubicBezTo>
                  <a:pt x="771" y="258"/>
                  <a:pt x="771" y="258"/>
                  <a:pt x="771" y="258"/>
                </a:cubicBezTo>
                <a:cubicBezTo>
                  <a:pt x="768" y="259"/>
                  <a:pt x="768" y="259"/>
                  <a:pt x="768" y="259"/>
                </a:cubicBezTo>
                <a:cubicBezTo>
                  <a:pt x="767" y="259"/>
                  <a:pt x="767" y="259"/>
                  <a:pt x="767" y="259"/>
                </a:cubicBezTo>
                <a:cubicBezTo>
                  <a:pt x="765" y="260"/>
                  <a:pt x="765" y="260"/>
                  <a:pt x="765" y="260"/>
                </a:cubicBezTo>
                <a:cubicBezTo>
                  <a:pt x="763" y="260"/>
                  <a:pt x="763" y="260"/>
                  <a:pt x="763" y="260"/>
                </a:cubicBezTo>
                <a:cubicBezTo>
                  <a:pt x="762" y="262"/>
                  <a:pt x="762" y="262"/>
                  <a:pt x="762" y="262"/>
                </a:cubicBezTo>
                <a:cubicBezTo>
                  <a:pt x="761" y="260"/>
                  <a:pt x="761" y="260"/>
                  <a:pt x="761" y="260"/>
                </a:cubicBezTo>
                <a:cubicBezTo>
                  <a:pt x="759" y="259"/>
                  <a:pt x="759" y="259"/>
                  <a:pt x="759" y="259"/>
                </a:cubicBezTo>
                <a:cubicBezTo>
                  <a:pt x="756" y="260"/>
                  <a:pt x="756" y="260"/>
                  <a:pt x="756" y="260"/>
                </a:cubicBezTo>
                <a:cubicBezTo>
                  <a:pt x="753" y="261"/>
                  <a:pt x="753" y="261"/>
                  <a:pt x="753" y="261"/>
                </a:cubicBezTo>
                <a:cubicBezTo>
                  <a:pt x="754" y="262"/>
                  <a:pt x="754" y="262"/>
                  <a:pt x="754" y="262"/>
                </a:cubicBezTo>
                <a:cubicBezTo>
                  <a:pt x="753" y="263"/>
                  <a:pt x="753" y="263"/>
                  <a:pt x="753" y="263"/>
                </a:cubicBezTo>
                <a:cubicBezTo>
                  <a:pt x="753" y="261"/>
                  <a:pt x="753" y="261"/>
                  <a:pt x="753" y="261"/>
                </a:cubicBezTo>
                <a:cubicBezTo>
                  <a:pt x="752" y="260"/>
                  <a:pt x="752" y="260"/>
                  <a:pt x="752" y="260"/>
                </a:cubicBezTo>
                <a:cubicBezTo>
                  <a:pt x="749" y="261"/>
                  <a:pt x="749" y="261"/>
                  <a:pt x="749" y="261"/>
                </a:cubicBezTo>
                <a:cubicBezTo>
                  <a:pt x="744" y="260"/>
                  <a:pt x="744" y="260"/>
                  <a:pt x="744" y="260"/>
                </a:cubicBezTo>
                <a:cubicBezTo>
                  <a:pt x="743" y="261"/>
                  <a:pt x="743" y="261"/>
                  <a:pt x="743" y="261"/>
                </a:cubicBezTo>
                <a:cubicBezTo>
                  <a:pt x="745" y="263"/>
                  <a:pt x="745" y="263"/>
                  <a:pt x="745" y="263"/>
                </a:cubicBezTo>
                <a:cubicBezTo>
                  <a:pt x="745" y="264"/>
                  <a:pt x="745" y="264"/>
                  <a:pt x="745" y="264"/>
                </a:cubicBezTo>
                <a:cubicBezTo>
                  <a:pt x="747" y="266"/>
                  <a:pt x="747" y="266"/>
                  <a:pt x="747" y="266"/>
                </a:cubicBezTo>
                <a:cubicBezTo>
                  <a:pt x="744" y="266"/>
                  <a:pt x="744" y="266"/>
                  <a:pt x="744" y="266"/>
                </a:cubicBezTo>
                <a:cubicBezTo>
                  <a:pt x="743" y="264"/>
                  <a:pt x="743" y="264"/>
                  <a:pt x="743" y="264"/>
                </a:cubicBezTo>
                <a:cubicBezTo>
                  <a:pt x="742" y="264"/>
                  <a:pt x="742" y="264"/>
                  <a:pt x="742" y="264"/>
                </a:cubicBezTo>
                <a:cubicBezTo>
                  <a:pt x="738" y="264"/>
                  <a:pt x="738" y="264"/>
                  <a:pt x="738" y="264"/>
                </a:cubicBezTo>
                <a:cubicBezTo>
                  <a:pt x="737" y="264"/>
                  <a:pt x="737" y="264"/>
                  <a:pt x="737" y="264"/>
                </a:cubicBezTo>
                <a:cubicBezTo>
                  <a:pt x="740" y="263"/>
                  <a:pt x="740" y="263"/>
                  <a:pt x="740" y="263"/>
                </a:cubicBezTo>
                <a:cubicBezTo>
                  <a:pt x="740" y="261"/>
                  <a:pt x="740" y="261"/>
                  <a:pt x="740" y="261"/>
                </a:cubicBezTo>
                <a:cubicBezTo>
                  <a:pt x="737" y="258"/>
                  <a:pt x="737" y="258"/>
                  <a:pt x="737" y="258"/>
                </a:cubicBezTo>
                <a:cubicBezTo>
                  <a:pt x="737" y="256"/>
                  <a:pt x="737" y="256"/>
                  <a:pt x="737" y="256"/>
                </a:cubicBezTo>
                <a:cubicBezTo>
                  <a:pt x="737" y="255"/>
                  <a:pt x="737" y="255"/>
                  <a:pt x="737" y="255"/>
                </a:cubicBezTo>
                <a:cubicBezTo>
                  <a:pt x="734" y="257"/>
                  <a:pt x="734" y="257"/>
                  <a:pt x="734" y="257"/>
                </a:cubicBezTo>
                <a:cubicBezTo>
                  <a:pt x="734" y="258"/>
                  <a:pt x="734" y="258"/>
                  <a:pt x="734" y="258"/>
                </a:cubicBezTo>
                <a:cubicBezTo>
                  <a:pt x="734" y="260"/>
                  <a:pt x="734" y="260"/>
                  <a:pt x="734" y="260"/>
                </a:cubicBezTo>
                <a:cubicBezTo>
                  <a:pt x="732" y="259"/>
                  <a:pt x="732" y="259"/>
                  <a:pt x="732" y="259"/>
                </a:cubicBezTo>
                <a:cubicBezTo>
                  <a:pt x="732" y="258"/>
                  <a:pt x="732" y="258"/>
                  <a:pt x="732" y="258"/>
                </a:cubicBezTo>
                <a:cubicBezTo>
                  <a:pt x="732" y="256"/>
                  <a:pt x="732" y="256"/>
                  <a:pt x="732" y="256"/>
                </a:cubicBezTo>
                <a:cubicBezTo>
                  <a:pt x="730" y="255"/>
                  <a:pt x="730" y="255"/>
                  <a:pt x="730" y="255"/>
                </a:cubicBezTo>
                <a:cubicBezTo>
                  <a:pt x="729" y="256"/>
                  <a:pt x="729" y="256"/>
                  <a:pt x="729" y="256"/>
                </a:cubicBezTo>
                <a:cubicBezTo>
                  <a:pt x="727" y="256"/>
                  <a:pt x="727" y="256"/>
                  <a:pt x="727" y="256"/>
                </a:cubicBezTo>
                <a:cubicBezTo>
                  <a:pt x="728" y="254"/>
                  <a:pt x="728" y="254"/>
                  <a:pt x="728" y="254"/>
                </a:cubicBezTo>
                <a:cubicBezTo>
                  <a:pt x="727" y="253"/>
                  <a:pt x="727" y="253"/>
                  <a:pt x="727" y="253"/>
                </a:cubicBezTo>
                <a:cubicBezTo>
                  <a:pt x="727" y="250"/>
                  <a:pt x="727" y="250"/>
                  <a:pt x="727" y="250"/>
                </a:cubicBezTo>
                <a:cubicBezTo>
                  <a:pt x="725" y="251"/>
                  <a:pt x="725" y="251"/>
                  <a:pt x="725" y="251"/>
                </a:cubicBezTo>
                <a:cubicBezTo>
                  <a:pt x="722" y="254"/>
                  <a:pt x="722" y="254"/>
                  <a:pt x="722" y="254"/>
                </a:cubicBezTo>
                <a:cubicBezTo>
                  <a:pt x="722" y="257"/>
                  <a:pt x="722" y="257"/>
                  <a:pt x="722" y="257"/>
                </a:cubicBezTo>
                <a:cubicBezTo>
                  <a:pt x="721" y="257"/>
                  <a:pt x="721" y="257"/>
                  <a:pt x="721" y="257"/>
                </a:cubicBezTo>
                <a:cubicBezTo>
                  <a:pt x="720" y="255"/>
                  <a:pt x="720" y="255"/>
                  <a:pt x="720" y="255"/>
                </a:cubicBezTo>
                <a:cubicBezTo>
                  <a:pt x="721" y="253"/>
                  <a:pt x="721" y="253"/>
                  <a:pt x="721" y="253"/>
                </a:cubicBezTo>
                <a:cubicBezTo>
                  <a:pt x="721" y="251"/>
                  <a:pt x="721" y="251"/>
                  <a:pt x="721" y="251"/>
                </a:cubicBezTo>
                <a:cubicBezTo>
                  <a:pt x="722" y="248"/>
                  <a:pt x="722" y="248"/>
                  <a:pt x="722" y="248"/>
                </a:cubicBezTo>
                <a:cubicBezTo>
                  <a:pt x="721" y="246"/>
                  <a:pt x="721" y="246"/>
                  <a:pt x="721" y="246"/>
                </a:cubicBezTo>
                <a:cubicBezTo>
                  <a:pt x="718" y="247"/>
                  <a:pt x="718" y="247"/>
                  <a:pt x="718" y="247"/>
                </a:cubicBezTo>
                <a:cubicBezTo>
                  <a:pt x="718" y="246"/>
                  <a:pt x="718" y="246"/>
                  <a:pt x="718" y="246"/>
                </a:cubicBezTo>
                <a:cubicBezTo>
                  <a:pt x="720" y="245"/>
                  <a:pt x="720" y="245"/>
                  <a:pt x="720" y="245"/>
                </a:cubicBezTo>
                <a:cubicBezTo>
                  <a:pt x="721" y="242"/>
                  <a:pt x="721" y="242"/>
                  <a:pt x="721" y="242"/>
                </a:cubicBezTo>
                <a:cubicBezTo>
                  <a:pt x="721" y="240"/>
                  <a:pt x="721" y="240"/>
                  <a:pt x="721" y="240"/>
                </a:cubicBezTo>
                <a:cubicBezTo>
                  <a:pt x="719" y="241"/>
                  <a:pt x="719" y="241"/>
                  <a:pt x="719" y="241"/>
                </a:cubicBezTo>
                <a:cubicBezTo>
                  <a:pt x="717" y="240"/>
                  <a:pt x="717" y="240"/>
                  <a:pt x="717" y="240"/>
                </a:cubicBezTo>
                <a:cubicBezTo>
                  <a:pt x="716" y="241"/>
                  <a:pt x="716" y="241"/>
                  <a:pt x="716" y="241"/>
                </a:cubicBezTo>
                <a:cubicBezTo>
                  <a:pt x="714" y="241"/>
                  <a:pt x="714" y="241"/>
                  <a:pt x="714" y="241"/>
                </a:cubicBezTo>
                <a:cubicBezTo>
                  <a:pt x="715" y="240"/>
                  <a:pt x="715" y="240"/>
                  <a:pt x="715" y="240"/>
                </a:cubicBezTo>
                <a:cubicBezTo>
                  <a:pt x="715" y="239"/>
                  <a:pt x="715" y="239"/>
                  <a:pt x="715" y="239"/>
                </a:cubicBezTo>
                <a:cubicBezTo>
                  <a:pt x="713" y="239"/>
                  <a:pt x="713" y="239"/>
                  <a:pt x="713" y="239"/>
                </a:cubicBezTo>
                <a:cubicBezTo>
                  <a:pt x="711" y="241"/>
                  <a:pt x="711" y="241"/>
                  <a:pt x="711" y="241"/>
                </a:cubicBezTo>
                <a:cubicBezTo>
                  <a:pt x="708" y="241"/>
                  <a:pt x="708" y="241"/>
                  <a:pt x="708" y="241"/>
                </a:cubicBezTo>
                <a:cubicBezTo>
                  <a:pt x="708" y="240"/>
                  <a:pt x="708" y="240"/>
                  <a:pt x="708" y="240"/>
                </a:cubicBezTo>
                <a:cubicBezTo>
                  <a:pt x="710" y="239"/>
                  <a:pt x="710" y="239"/>
                  <a:pt x="710" y="239"/>
                </a:cubicBezTo>
                <a:cubicBezTo>
                  <a:pt x="711" y="237"/>
                  <a:pt x="711" y="237"/>
                  <a:pt x="711" y="237"/>
                </a:cubicBezTo>
                <a:cubicBezTo>
                  <a:pt x="712" y="235"/>
                  <a:pt x="712" y="235"/>
                  <a:pt x="712" y="235"/>
                </a:cubicBezTo>
                <a:cubicBezTo>
                  <a:pt x="713" y="235"/>
                  <a:pt x="713" y="235"/>
                  <a:pt x="713" y="235"/>
                </a:cubicBezTo>
                <a:cubicBezTo>
                  <a:pt x="715" y="237"/>
                  <a:pt x="715" y="237"/>
                  <a:pt x="715" y="237"/>
                </a:cubicBezTo>
                <a:cubicBezTo>
                  <a:pt x="718" y="237"/>
                  <a:pt x="718" y="237"/>
                  <a:pt x="718" y="237"/>
                </a:cubicBezTo>
                <a:cubicBezTo>
                  <a:pt x="718" y="236"/>
                  <a:pt x="718" y="236"/>
                  <a:pt x="718" y="236"/>
                </a:cubicBezTo>
                <a:cubicBezTo>
                  <a:pt x="716" y="234"/>
                  <a:pt x="716" y="234"/>
                  <a:pt x="716" y="234"/>
                </a:cubicBezTo>
                <a:cubicBezTo>
                  <a:pt x="714" y="233"/>
                  <a:pt x="714" y="233"/>
                  <a:pt x="714" y="233"/>
                </a:cubicBezTo>
                <a:cubicBezTo>
                  <a:pt x="715" y="233"/>
                  <a:pt x="715" y="233"/>
                  <a:pt x="715" y="233"/>
                </a:cubicBezTo>
                <a:cubicBezTo>
                  <a:pt x="712" y="230"/>
                  <a:pt x="712" y="230"/>
                  <a:pt x="712" y="230"/>
                </a:cubicBezTo>
                <a:cubicBezTo>
                  <a:pt x="710" y="228"/>
                  <a:pt x="710" y="228"/>
                  <a:pt x="710" y="228"/>
                </a:cubicBezTo>
                <a:cubicBezTo>
                  <a:pt x="711" y="228"/>
                  <a:pt x="711" y="228"/>
                  <a:pt x="711" y="228"/>
                </a:cubicBezTo>
                <a:cubicBezTo>
                  <a:pt x="711" y="226"/>
                  <a:pt x="711" y="226"/>
                  <a:pt x="711" y="226"/>
                </a:cubicBezTo>
                <a:cubicBezTo>
                  <a:pt x="713" y="226"/>
                  <a:pt x="713" y="226"/>
                  <a:pt x="713" y="226"/>
                </a:cubicBezTo>
                <a:cubicBezTo>
                  <a:pt x="714" y="229"/>
                  <a:pt x="714" y="229"/>
                  <a:pt x="714" y="229"/>
                </a:cubicBezTo>
                <a:cubicBezTo>
                  <a:pt x="716" y="231"/>
                  <a:pt x="716" y="231"/>
                  <a:pt x="716" y="231"/>
                </a:cubicBezTo>
                <a:cubicBezTo>
                  <a:pt x="719" y="232"/>
                  <a:pt x="719" y="232"/>
                  <a:pt x="719" y="232"/>
                </a:cubicBezTo>
                <a:cubicBezTo>
                  <a:pt x="721" y="234"/>
                  <a:pt x="721" y="234"/>
                  <a:pt x="721" y="234"/>
                </a:cubicBezTo>
                <a:cubicBezTo>
                  <a:pt x="722" y="233"/>
                  <a:pt x="722" y="233"/>
                  <a:pt x="722" y="233"/>
                </a:cubicBezTo>
                <a:cubicBezTo>
                  <a:pt x="724" y="234"/>
                  <a:pt x="724" y="234"/>
                  <a:pt x="724" y="234"/>
                </a:cubicBezTo>
                <a:cubicBezTo>
                  <a:pt x="727" y="235"/>
                  <a:pt x="727" y="235"/>
                  <a:pt x="727" y="235"/>
                </a:cubicBezTo>
                <a:cubicBezTo>
                  <a:pt x="730" y="235"/>
                  <a:pt x="730" y="235"/>
                  <a:pt x="730" y="235"/>
                </a:cubicBezTo>
                <a:cubicBezTo>
                  <a:pt x="731" y="233"/>
                  <a:pt x="731" y="233"/>
                  <a:pt x="731" y="233"/>
                </a:cubicBezTo>
                <a:cubicBezTo>
                  <a:pt x="730" y="230"/>
                  <a:pt x="730" y="230"/>
                  <a:pt x="730" y="230"/>
                </a:cubicBezTo>
                <a:cubicBezTo>
                  <a:pt x="725" y="227"/>
                  <a:pt x="725" y="227"/>
                  <a:pt x="725" y="227"/>
                </a:cubicBezTo>
                <a:cubicBezTo>
                  <a:pt x="723" y="224"/>
                  <a:pt x="723" y="224"/>
                  <a:pt x="723" y="224"/>
                </a:cubicBezTo>
                <a:cubicBezTo>
                  <a:pt x="722" y="225"/>
                  <a:pt x="722" y="225"/>
                  <a:pt x="722" y="225"/>
                </a:cubicBezTo>
                <a:cubicBezTo>
                  <a:pt x="721" y="223"/>
                  <a:pt x="721" y="223"/>
                  <a:pt x="721" y="223"/>
                </a:cubicBezTo>
                <a:cubicBezTo>
                  <a:pt x="719" y="220"/>
                  <a:pt x="719" y="220"/>
                  <a:pt x="719" y="220"/>
                </a:cubicBezTo>
                <a:cubicBezTo>
                  <a:pt x="718" y="220"/>
                  <a:pt x="718" y="220"/>
                  <a:pt x="718" y="220"/>
                </a:cubicBezTo>
                <a:cubicBezTo>
                  <a:pt x="717" y="219"/>
                  <a:pt x="717" y="219"/>
                  <a:pt x="717" y="219"/>
                </a:cubicBezTo>
                <a:cubicBezTo>
                  <a:pt x="717" y="218"/>
                  <a:pt x="717" y="218"/>
                  <a:pt x="717" y="218"/>
                </a:cubicBezTo>
                <a:cubicBezTo>
                  <a:pt x="719" y="218"/>
                  <a:pt x="719" y="218"/>
                  <a:pt x="719" y="218"/>
                </a:cubicBezTo>
                <a:cubicBezTo>
                  <a:pt x="721" y="220"/>
                  <a:pt x="721" y="220"/>
                  <a:pt x="721" y="220"/>
                </a:cubicBezTo>
                <a:cubicBezTo>
                  <a:pt x="723" y="220"/>
                  <a:pt x="723" y="220"/>
                  <a:pt x="723" y="220"/>
                </a:cubicBezTo>
                <a:cubicBezTo>
                  <a:pt x="723" y="222"/>
                  <a:pt x="723" y="222"/>
                  <a:pt x="723" y="222"/>
                </a:cubicBezTo>
                <a:cubicBezTo>
                  <a:pt x="724" y="223"/>
                  <a:pt x="724" y="223"/>
                  <a:pt x="724" y="223"/>
                </a:cubicBezTo>
                <a:cubicBezTo>
                  <a:pt x="725" y="221"/>
                  <a:pt x="725" y="221"/>
                  <a:pt x="725" y="221"/>
                </a:cubicBezTo>
                <a:cubicBezTo>
                  <a:pt x="724" y="217"/>
                  <a:pt x="724" y="217"/>
                  <a:pt x="724" y="217"/>
                </a:cubicBezTo>
                <a:cubicBezTo>
                  <a:pt x="722" y="213"/>
                  <a:pt x="722" y="213"/>
                  <a:pt x="722" y="213"/>
                </a:cubicBezTo>
                <a:cubicBezTo>
                  <a:pt x="720" y="214"/>
                  <a:pt x="720" y="214"/>
                  <a:pt x="720" y="214"/>
                </a:cubicBezTo>
                <a:cubicBezTo>
                  <a:pt x="719" y="213"/>
                  <a:pt x="719" y="213"/>
                  <a:pt x="719" y="213"/>
                </a:cubicBezTo>
                <a:cubicBezTo>
                  <a:pt x="717" y="213"/>
                  <a:pt x="717" y="213"/>
                  <a:pt x="717" y="213"/>
                </a:cubicBezTo>
                <a:cubicBezTo>
                  <a:pt x="714" y="215"/>
                  <a:pt x="714" y="215"/>
                  <a:pt x="714" y="215"/>
                </a:cubicBezTo>
                <a:cubicBezTo>
                  <a:pt x="712" y="215"/>
                  <a:pt x="712" y="215"/>
                  <a:pt x="712" y="215"/>
                </a:cubicBezTo>
                <a:cubicBezTo>
                  <a:pt x="710" y="213"/>
                  <a:pt x="710" y="213"/>
                  <a:pt x="710" y="213"/>
                </a:cubicBezTo>
                <a:cubicBezTo>
                  <a:pt x="708" y="214"/>
                  <a:pt x="708" y="214"/>
                  <a:pt x="708" y="214"/>
                </a:cubicBezTo>
                <a:cubicBezTo>
                  <a:pt x="706" y="212"/>
                  <a:pt x="706" y="212"/>
                  <a:pt x="706" y="212"/>
                </a:cubicBezTo>
                <a:cubicBezTo>
                  <a:pt x="704" y="215"/>
                  <a:pt x="704" y="215"/>
                  <a:pt x="704" y="215"/>
                </a:cubicBezTo>
                <a:cubicBezTo>
                  <a:pt x="701" y="217"/>
                  <a:pt x="701" y="217"/>
                  <a:pt x="701" y="217"/>
                </a:cubicBezTo>
                <a:cubicBezTo>
                  <a:pt x="700" y="219"/>
                  <a:pt x="700" y="219"/>
                  <a:pt x="700" y="219"/>
                </a:cubicBezTo>
                <a:cubicBezTo>
                  <a:pt x="698" y="220"/>
                  <a:pt x="698" y="220"/>
                  <a:pt x="698" y="220"/>
                </a:cubicBezTo>
                <a:cubicBezTo>
                  <a:pt x="698" y="218"/>
                  <a:pt x="698" y="218"/>
                  <a:pt x="698" y="218"/>
                </a:cubicBezTo>
                <a:cubicBezTo>
                  <a:pt x="700" y="216"/>
                  <a:pt x="700" y="216"/>
                  <a:pt x="700" y="216"/>
                </a:cubicBezTo>
                <a:cubicBezTo>
                  <a:pt x="701" y="216"/>
                  <a:pt x="701" y="216"/>
                  <a:pt x="701" y="216"/>
                </a:cubicBezTo>
                <a:cubicBezTo>
                  <a:pt x="706" y="211"/>
                  <a:pt x="706" y="211"/>
                  <a:pt x="706" y="211"/>
                </a:cubicBezTo>
                <a:cubicBezTo>
                  <a:pt x="707" y="209"/>
                  <a:pt x="707" y="209"/>
                  <a:pt x="707" y="209"/>
                </a:cubicBezTo>
                <a:cubicBezTo>
                  <a:pt x="705" y="207"/>
                  <a:pt x="705" y="207"/>
                  <a:pt x="705" y="207"/>
                </a:cubicBezTo>
                <a:cubicBezTo>
                  <a:pt x="705" y="202"/>
                  <a:pt x="705" y="202"/>
                  <a:pt x="705" y="202"/>
                </a:cubicBezTo>
                <a:cubicBezTo>
                  <a:pt x="706" y="201"/>
                  <a:pt x="706" y="201"/>
                  <a:pt x="706" y="201"/>
                </a:cubicBezTo>
                <a:cubicBezTo>
                  <a:pt x="704" y="199"/>
                  <a:pt x="704" y="199"/>
                  <a:pt x="704" y="199"/>
                </a:cubicBezTo>
                <a:cubicBezTo>
                  <a:pt x="703" y="200"/>
                  <a:pt x="703" y="200"/>
                  <a:pt x="703" y="200"/>
                </a:cubicBezTo>
                <a:cubicBezTo>
                  <a:pt x="701" y="200"/>
                  <a:pt x="701" y="200"/>
                  <a:pt x="701" y="200"/>
                </a:cubicBezTo>
                <a:cubicBezTo>
                  <a:pt x="699" y="199"/>
                  <a:pt x="699" y="199"/>
                  <a:pt x="699" y="199"/>
                </a:cubicBezTo>
                <a:cubicBezTo>
                  <a:pt x="699" y="196"/>
                  <a:pt x="699" y="196"/>
                  <a:pt x="699" y="196"/>
                </a:cubicBezTo>
                <a:cubicBezTo>
                  <a:pt x="699" y="195"/>
                  <a:pt x="699" y="195"/>
                  <a:pt x="699" y="195"/>
                </a:cubicBezTo>
                <a:cubicBezTo>
                  <a:pt x="695" y="194"/>
                  <a:pt x="695" y="194"/>
                  <a:pt x="695" y="194"/>
                </a:cubicBezTo>
                <a:cubicBezTo>
                  <a:pt x="693" y="191"/>
                  <a:pt x="693" y="191"/>
                  <a:pt x="693" y="191"/>
                </a:cubicBezTo>
                <a:cubicBezTo>
                  <a:pt x="691" y="191"/>
                  <a:pt x="691" y="191"/>
                  <a:pt x="691" y="191"/>
                </a:cubicBezTo>
                <a:cubicBezTo>
                  <a:pt x="688" y="190"/>
                  <a:pt x="688" y="190"/>
                  <a:pt x="688" y="190"/>
                </a:cubicBezTo>
                <a:cubicBezTo>
                  <a:pt x="687" y="191"/>
                  <a:pt x="687" y="191"/>
                  <a:pt x="687" y="191"/>
                </a:cubicBezTo>
                <a:cubicBezTo>
                  <a:pt x="683" y="192"/>
                  <a:pt x="683" y="192"/>
                  <a:pt x="683" y="192"/>
                </a:cubicBezTo>
                <a:cubicBezTo>
                  <a:pt x="682" y="193"/>
                  <a:pt x="682" y="193"/>
                  <a:pt x="682" y="193"/>
                </a:cubicBezTo>
                <a:cubicBezTo>
                  <a:pt x="681" y="193"/>
                  <a:pt x="681" y="193"/>
                  <a:pt x="681" y="193"/>
                </a:cubicBezTo>
                <a:cubicBezTo>
                  <a:pt x="680" y="195"/>
                  <a:pt x="680" y="195"/>
                  <a:pt x="680" y="195"/>
                </a:cubicBezTo>
                <a:cubicBezTo>
                  <a:pt x="681" y="197"/>
                  <a:pt x="681" y="197"/>
                  <a:pt x="681" y="197"/>
                </a:cubicBezTo>
                <a:cubicBezTo>
                  <a:pt x="683" y="199"/>
                  <a:pt x="683" y="199"/>
                  <a:pt x="683" y="199"/>
                </a:cubicBezTo>
                <a:cubicBezTo>
                  <a:pt x="681" y="199"/>
                  <a:pt x="681" y="199"/>
                  <a:pt x="681" y="199"/>
                </a:cubicBezTo>
                <a:cubicBezTo>
                  <a:pt x="678" y="195"/>
                  <a:pt x="678" y="195"/>
                  <a:pt x="678" y="195"/>
                </a:cubicBezTo>
                <a:cubicBezTo>
                  <a:pt x="678" y="198"/>
                  <a:pt x="678" y="198"/>
                  <a:pt x="678" y="198"/>
                </a:cubicBezTo>
                <a:cubicBezTo>
                  <a:pt x="678" y="200"/>
                  <a:pt x="678" y="200"/>
                  <a:pt x="678" y="200"/>
                </a:cubicBezTo>
                <a:cubicBezTo>
                  <a:pt x="681" y="201"/>
                  <a:pt x="681" y="201"/>
                  <a:pt x="681" y="201"/>
                </a:cubicBezTo>
                <a:cubicBezTo>
                  <a:pt x="683" y="205"/>
                  <a:pt x="683" y="205"/>
                  <a:pt x="683" y="205"/>
                </a:cubicBezTo>
                <a:cubicBezTo>
                  <a:pt x="685" y="205"/>
                  <a:pt x="685" y="205"/>
                  <a:pt x="685" y="205"/>
                </a:cubicBezTo>
                <a:cubicBezTo>
                  <a:pt x="684" y="207"/>
                  <a:pt x="684" y="207"/>
                  <a:pt x="684" y="207"/>
                </a:cubicBezTo>
                <a:cubicBezTo>
                  <a:pt x="682" y="207"/>
                  <a:pt x="682" y="207"/>
                  <a:pt x="682" y="207"/>
                </a:cubicBezTo>
                <a:cubicBezTo>
                  <a:pt x="681" y="209"/>
                  <a:pt x="681" y="209"/>
                  <a:pt x="681" y="209"/>
                </a:cubicBezTo>
                <a:cubicBezTo>
                  <a:pt x="684" y="213"/>
                  <a:pt x="684" y="213"/>
                  <a:pt x="684" y="213"/>
                </a:cubicBezTo>
                <a:cubicBezTo>
                  <a:pt x="687" y="214"/>
                  <a:pt x="687" y="214"/>
                  <a:pt x="687" y="214"/>
                </a:cubicBezTo>
                <a:cubicBezTo>
                  <a:pt x="687" y="216"/>
                  <a:pt x="687" y="216"/>
                  <a:pt x="687" y="216"/>
                </a:cubicBezTo>
                <a:cubicBezTo>
                  <a:pt x="686" y="215"/>
                  <a:pt x="686" y="215"/>
                  <a:pt x="686" y="215"/>
                </a:cubicBezTo>
                <a:cubicBezTo>
                  <a:pt x="682" y="214"/>
                  <a:pt x="682" y="214"/>
                  <a:pt x="682" y="214"/>
                </a:cubicBezTo>
                <a:cubicBezTo>
                  <a:pt x="682" y="216"/>
                  <a:pt x="682" y="216"/>
                  <a:pt x="682" y="216"/>
                </a:cubicBezTo>
                <a:cubicBezTo>
                  <a:pt x="681" y="217"/>
                  <a:pt x="681" y="217"/>
                  <a:pt x="681" y="217"/>
                </a:cubicBezTo>
                <a:cubicBezTo>
                  <a:pt x="680" y="218"/>
                  <a:pt x="680" y="218"/>
                  <a:pt x="680" y="218"/>
                </a:cubicBezTo>
                <a:cubicBezTo>
                  <a:pt x="683" y="217"/>
                  <a:pt x="683" y="217"/>
                  <a:pt x="683" y="217"/>
                </a:cubicBezTo>
                <a:cubicBezTo>
                  <a:pt x="685" y="218"/>
                  <a:pt x="685" y="218"/>
                  <a:pt x="685" y="218"/>
                </a:cubicBezTo>
                <a:cubicBezTo>
                  <a:pt x="689" y="217"/>
                  <a:pt x="689" y="217"/>
                  <a:pt x="689" y="217"/>
                </a:cubicBezTo>
                <a:cubicBezTo>
                  <a:pt x="689" y="219"/>
                  <a:pt x="689" y="219"/>
                  <a:pt x="689" y="219"/>
                </a:cubicBezTo>
                <a:cubicBezTo>
                  <a:pt x="692" y="219"/>
                  <a:pt x="692" y="219"/>
                  <a:pt x="692" y="219"/>
                </a:cubicBezTo>
                <a:cubicBezTo>
                  <a:pt x="692" y="221"/>
                  <a:pt x="692" y="221"/>
                  <a:pt x="692" y="221"/>
                </a:cubicBezTo>
                <a:cubicBezTo>
                  <a:pt x="695" y="223"/>
                  <a:pt x="695" y="223"/>
                  <a:pt x="695" y="223"/>
                </a:cubicBezTo>
                <a:cubicBezTo>
                  <a:pt x="697" y="223"/>
                  <a:pt x="697" y="223"/>
                  <a:pt x="697" y="223"/>
                </a:cubicBezTo>
                <a:cubicBezTo>
                  <a:pt x="697" y="222"/>
                  <a:pt x="697" y="222"/>
                  <a:pt x="697" y="222"/>
                </a:cubicBezTo>
                <a:cubicBezTo>
                  <a:pt x="698" y="223"/>
                  <a:pt x="698" y="223"/>
                  <a:pt x="698" y="223"/>
                </a:cubicBezTo>
                <a:cubicBezTo>
                  <a:pt x="700" y="221"/>
                  <a:pt x="700" y="221"/>
                  <a:pt x="700" y="221"/>
                </a:cubicBezTo>
                <a:cubicBezTo>
                  <a:pt x="702" y="222"/>
                  <a:pt x="702" y="222"/>
                  <a:pt x="702" y="222"/>
                </a:cubicBezTo>
                <a:cubicBezTo>
                  <a:pt x="702" y="223"/>
                  <a:pt x="702" y="223"/>
                  <a:pt x="702" y="223"/>
                </a:cubicBezTo>
                <a:cubicBezTo>
                  <a:pt x="701" y="226"/>
                  <a:pt x="701" y="226"/>
                  <a:pt x="701" y="226"/>
                </a:cubicBezTo>
                <a:cubicBezTo>
                  <a:pt x="701" y="230"/>
                  <a:pt x="701" y="230"/>
                  <a:pt x="701" y="230"/>
                </a:cubicBezTo>
                <a:cubicBezTo>
                  <a:pt x="700" y="233"/>
                  <a:pt x="700" y="233"/>
                  <a:pt x="700" y="233"/>
                </a:cubicBezTo>
                <a:cubicBezTo>
                  <a:pt x="700" y="235"/>
                  <a:pt x="700" y="235"/>
                  <a:pt x="700" y="235"/>
                </a:cubicBezTo>
                <a:cubicBezTo>
                  <a:pt x="702" y="237"/>
                  <a:pt x="702" y="237"/>
                  <a:pt x="702" y="237"/>
                </a:cubicBezTo>
                <a:cubicBezTo>
                  <a:pt x="701" y="240"/>
                  <a:pt x="701" y="240"/>
                  <a:pt x="701" y="240"/>
                </a:cubicBezTo>
                <a:cubicBezTo>
                  <a:pt x="701" y="242"/>
                  <a:pt x="701" y="242"/>
                  <a:pt x="701" y="242"/>
                </a:cubicBezTo>
                <a:cubicBezTo>
                  <a:pt x="700" y="245"/>
                  <a:pt x="700" y="245"/>
                  <a:pt x="700" y="245"/>
                </a:cubicBezTo>
                <a:cubicBezTo>
                  <a:pt x="697" y="247"/>
                  <a:pt x="697" y="247"/>
                  <a:pt x="697" y="247"/>
                </a:cubicBezTo>
                <a:cubicBezTo>
                  <a:pt x="694" y="248"/>
                  <a:pt x="694" y="248"/>
                  <a:pt x="694" y="248"/>
                </a:cubicBezTo>
                <a:cubicBezTo>
                  <a:pt x="693" y="250"/>
                  <a:pt x="693" y="250"/>
                  <a:pt x="693" y="250"/>
                </a:cubicBezTo>
                <a:cubicBezTo>
                  <a:pt x="691" y="253"/>
                  <a:pt x="691" y="253"/>
                  <a:pt x="691" y="253"/>
                </a:cubicBezTo>
                <a:cubicBezTo>
                  <a:pt x="691" y="255"/>
                  <a:pt x="691" y="255"/>
                  <a:pt x="691" y="255"/>
                </a:cubicBezTo>
                <a:cubicBezTo>
                  <a:pt x="689" y="256"/>
                  <a:pt x="689" y="256"/>
                  <a:pt x="689" y="256"/>
                </a:cubicBezTo>
                <a:cubicBezTo>
                  <a:pt x="687" y="258"/>
                  <a:pt x="687" y="258"/>
                  <a:pt x="687" y="258"/>
                </a:cubicBezTo>
                <a:cubicBezTo>
                  <a:pt x="688" y="261"/>
                  <a:pt x="688" y="261"/>
                  <a:pt x="688" y="261"/>
                </a:cubicBezTo>
                <a:cubicBezTo>
                  <a:pt x="689" y="261"/>
                  <a:pt x="689" y="261"/>
                  <a:pt x="689" y="261"/>
                </a:cubicBezTo>
                <a:cubicBezTo>
                  <a:pt x="689" y="263"/>
                  <a:pt x="689" y="263"/>
                  <a:pt x="689" y="263"/>
                </a:cubicBezTo>
                <a:cubicBezTo>
                  <a:pt x="687" y="264"/>
                  <a:pt x="687" y="264"/>
                  <a:pt x="687" y="264"/>
                </a:cubicBezTo>
                <a:cubicBezTo>
                  <a:pt x="687" y="265"/>
                  <a:pt x="687" y="265"/>
                  <a:pt x="687" y="265"/>
                </a:cubicBezTo>
                <a:cubicBezTo>
                  <a:pt x="688" y="267"/>
                  <a:pt x="688" y="267"/>
                  <a:pt x="688" y="267"/>
                </a:cubicBezTo>
                <a:cubicBezTo>
                  <a:pt x="686" y="269"/>
                  <a:pt x="686" y="269"/>
                  <a:pt x="686" y="269"/>
                </a:cubicBezTo>
                <a:cubicBezTo>
                  <a:pt x="685" y="271"/>
                  <a:pt x="685" y="271"/>
                  <a:pt x="685" y="271"/>
                </a:cubicBezTo>
                <a:cubicBezTo>
                  <a:pt x="686" y="274"/>
                  <a:pt x="686" y="274"/>
                  <a:pt x="686" y="274"/>
                </a:cubicBezTo>
                <a:cubicBezTo>
                  <a:pt x="688" y="274"/>
                  <a:pt x="688" y="274"/>
                  <a:pt x="688" y="274"/>
                </a:cubicBezTo>
                <a:cubicBezTo>
                  <a:pt x="688" y="276"/>
                  <a:pt x="688" y="276"/>
                  <a:pt x="688" y="276"/>
                </a:cubicBezTo>
                <a:cubicBezTo>
                  <a:pt x="690" y="277"/>
                  <a:pt x="690" y="277"/>
                  <a:pt x="690" y="277"/>
                </a:cubicBezTo>
                <a:cubicBezTo>
                  <a:pt x="691" y="277"/>
                  <a:pt x="691" y="277"/>
                  <a:pt x="691" y="277"/>
                </a:cubicBezTo>
                <a:cubicBezTo>
                  <a:pt x="691" y="275"/>
                  <a:pt x="691" y="275"/>
                  <a:pt x="691" y="275"/>
                </a:cubicBezTo>
                <a:cubicBezTo>
                  <a:pt x="692" y="274"/>
                  <a:pt x="692" y="274"/>
                  <a:pt x="692" y="274"/>
                </a:cubicBezTo>
                <a:cubicBezTo>
                  <a:pt x="693" y="275"/>
                  <a:pt x="693" y="275"/>
                  <a:pt x="693" y="275"/>
                </a:cubicBezTo>
                <a:cubicBezTo>
                  <a:pt x="694" y="274"/>
                  <a:pt x="694" y="274"/>
                  <a:pt x="694" y="274"/>
                </a:cubicBezTo>
                <a:cubicBezTo>
                  <a:pt x="697" y="272"/>
                  <a:pt x="697" y="272"/>
                  <a:pt x="697" y="272"/>
                </a:cubicBezTo>
                <a:cubicBezTo>
                  <a:pt x="697" y="273"/>
                  <a:pt x="697" y="273"/>
                  <a:pt x="697" y="273"/>
                </a:cubicBezTo>
                <a:cubicBezTo>
                  <a:pt x="696" y="276"/>
                  <a:pt x="696" y="276"/>
                  <a:pt x="696" y="276"/>
                </a:cubicBezTo>
                <a:cubicBezTo>
                  <a:pt x="694" y="276"/>
                  <a:pt x="694" y="276"/>
                  <a:pt x="694" y="276"/>
                </a:cubicBezTo>
                <a:cubicBezTo>
                  <a:pt x="694" y="277"/>
                  <a:pt x="694" y="277"/>
                  <a:pt x="694" y="277"/>
                </a:cubicBezTo>
                <a:cubicBezTo>
                  <a:pt x="695" y="279"/>
                  <a:pt x="695" y="279"/>
                  <a:pt x="695" y="279"/>
                </a:cubicBezTo>
                <a:cubicBezTo>
                  <a:pt x="695" y="280"/>
                  <a:pt x="695" y="280"/>
                  <a:pt x="695" y="280"/>
                </a:cubicBezTo>
                <a:cubicBezTo>
                  <a:pt x="697" y="283"/>
                  <a:pt x="697" y="283"/>
                  <a:pt x="697" y="283"/>
                </a:cubicBezTo>
                <a:cubicBezTo>
                  <a:pt x="699" y="282"/>
                  <a:pt x="699" y="282"/>
                  <a:pt x="699" y="282"/>
                </a:cubicBezTo>
                <a:cubicBezTo>
                  <a:pt x="700" y="283"/>
                  <a:pt x="700" y="283"/>
                  <a:pt x="700" y="283"/>
                </a:cubicBezTo>
                <a:cubicBezTo>
                  <a:pt x="703" y="283"/>
                  <a:pt x="703" y="283"/>
                  <a:pt x="703" y="283"/>
                </a:cubicBezTo>
                <a:cubicBezTo>
                  <a:pt x="704" y="282"/>
                  <a:pt x="704" y="282"/>
                  <a:pt x="704" y="282"/>
                </a:cubicBezTo>
                <a:cubicBezTo>
                  <a:pt x="707" y="281"/>
                  <a:pt x="707" y="281"/>
                  <a:pt x="707" y="281"/>
                </a:cubicBezTo>
                <a:cubicBezTo>
                  <a:pt x="707" y="278"/>
                  <a:pt x="707" y="278"/>
                  <a:pt x="707" y="278"/>
                </a:cubicBezTo>
                <a:cubicBezTo>
                  <a:pt x="709" y="278"/>
                  <a:pt x="709" y="278"/>
                  <a:pt x="709" y="278"/>
                </a:cubicBezTo>
                <a:cubicBezTo>
                  <a:pt x="710" y="277"/>
                  <a:pt x="710" y="277"/>
                  <a:pt x="710" y="277"/>
                </a:cubicBezTo>
                <a:cubicBezTo>
                  <a:pt x="710" y="278"/>
                  <a:pt x="710" y="278"/>
                  <a:pt x="710" y="278"/>
                </a:cubicBezTo>
                <a:cubicBezTo>
                  <a:pt x="710" y="279"/>
                  <a:pt x="710" y="279"/>
                  <a:pt x="710" y="279"/>
                </a:cubicBezTo>
                <a:cubicBezTo>
                  <a:pt x="710" y="281"/>
                  <a:pt x="710" y="281"/>
                  <a:pt x="710" y="281"/>
                </a:cubicBezTo>
                <a:cubicBezTo>
                  <a:pt x="711" y="281"/>
                  <a:pt x="711" y="281"/>
                  <a:pt x="711" y="281"/>
                </a:cubicBezTo>
                <a:cubicBezTo>
                  <a:pt x="712" y="277"/>
                  <a:pt x="712" y="277"/>
                  <a:pt x="712" y="277"/>
                </a:cubicBezTo>
                <a:cubicBezTo>
                  <a:pt x="714" y="276"/>
                  <a:pt x="714" y="276"/>
                  <a:pt x="714" y="276"/>
                </a:cubicBezTo>
                <a:cubicBezTo>
                  <a:pt x="714" y="278"/>
                  <a:pt x="714" y="278"/>
                  <a:pt x="714" y="278"/>
                </a:cubicBezTo>
                <a:cubicBezTo>
                  <a:pt x="714" y="280"/>
                  <a:pt x="714" y="280"/>
                  <a:pt x="714" y="280"/>
                </a:cubicBezTo>
                <a:cubicBezTo>
                  <a:pt x="711" y="284"/>
                  <a:pt x="711" y="284"/>
                  <a:pt x="711" y="284"/>
                </a:cubicBezTo>
                <a:cubicBezTo>
                  <a:pt x="709" y="286"/>
                  <a:pt x="709" y="286"/>
                  <a:pt x="709" y="286"/>
                </a:cubicBezTo>
                <a:cubicBezTo>
                  <a:pt x="709" y="288"/>
                  <a:pt x="709" y="288"/>
                  <a:pt x="709" y="288"/>
                </a:cubicBezTo>
                <a:cubicBezTo>
                  <a:pt x="712" y="289"/>
                  <a:pt x="712" y="289"/>
                  <a:pt x="712" y="289"/>
                </a:cubicBezTo>
                <a:cubicBezTo>
                  <a:pt x="714" y="290"/>
                  <a:pt x="714" y="290"/>
                  <a:pt x="714" y="290"/>
                </a:cubicBezTo>
                <a:cubicBezTo>
                  <a:pt x="716" y="290"/>
                  <a:pt x="716" y="290"/>
                  <a:pt x="716" y="290"/>
                </a:cubicBezTo>
                <a:cubicBezTo>
                  <a:pt x="717" y="291"/>
                  <a:pt x="717" y="291"/>
                  <a:pt x="717" y="291"/>
                </a:cubicBezTo>
                <a:cubicBezTo>
                  <a:pt x="719" y="291"/>
                  <a:pt x="719" y="291"/>
                  <a:pt x="719" y="291"/>
                </a:cubicBezTo>
                <a:cubicBezTo>
                  <a:pt x="720" y="289"/>
                  <a:pt x="720" y="289"/>
                  <a:pt x="720" y="289"/>
                </a:cubicBezTo>
                <a:cubicBezTo>
                  <a:pt x="722" y="290"/>
                  <a:pt x="722" y="290"/>
                  <a:pt x="722" y="290"/>
                </a:cubicBezTo>
                <a:cubicBezTo>
                  <a:pt x="722" y="291"/>
                  <a:pt x="722" y="291"/>
                  <a:pt x="722" y="291"/>
                </a:cubicBezTo>
                <a:cubicBezTo>
                  <a:pt x="722" y="292"/>
                  <a:pt x="722" y="292"/>
                  <a:pt x="722" y="292"/>
                </a:cubicBezTo>
                <a:cubicBezTo>
                  <a:pt x="724" y="293"/>
                  <a:pt x="724" y="293"/>
                  <a:pt x="724" y="293"/>
                </a:cubicBezTo>
                <a:cubicBezTo>
                  <a:pt x="725" y="294"/>
                  <a:pt x="725" y="294"/>
                  <a:pt x="725" y="294"/>
                </a:cubicBezTo>
                <a:cubicBezTo>
                  <a:pt x="727" y="293"/>
                  <a:pt x="727" y="293"/>
                  <a:pt x="727" y="293"/>
                </a:cubicBezTo>
                <a:cubicBezTo>
                  <a:pt x="726" y="291"/>
                  <a:pt x="726" y="291"/>
                  <a:pt x="726" y="291"/>
                </a:cubicBezTo>
                <a:cubicBezTo>
                  <a:pt x="726" y="289"/>
                  <a:pt x="726" y="289"/>
                  <a:pt x="726" y="289"/>
                </a:cubicBezTo>
                <a:cubicBezTo>
                  <a:pt x="728" y="287"/>
                  <a:pt x="728" y="287"/>
                  <a:pt x="728" y="287"/>
                </a:cubicBezTo>
                <a:cubicBezTo>
                  <a:pt x="728" y="289"/>
                  <a:pt x="728" y="289"/>
                  <a:pt x="728" y="289"/>
                </a:cubicBezTo>
                <a:cubicBezTo>
                  <a:pt x="728" y="291"/>
                  <a:pt x="728" y="291"/>
                  <a:pt x="728" y="291"/>
                </a:cubicBezTo>
                <a:cubicBezTo>
                  <a:pt x="728" y="294"/>
                  <a:pt x="728" y="294"/>
                  <a:pt x="728" y="294"/>
                </a:cubicBezTo>
                <a:cubicBezTo>
                  <a:pt x="730" y="294"/>
                  <a:pt x="730" y="294"/>
                  <a:pt x="730" y="294"/>
                </a:cubicBezTo>
                <a:cubicBezTo>
                  <a:pt x="730" y="291"/>
                  <a:pt x="730" y="291"/>
                  <a:pt x="730" y="291"/>
                </a:cubicBezTo>
                <a:cubicBezTo>
                  <a:pt x="731" y="290"/>
                  <a:pt x="731" y="290"/>
                  <a:pt x="731" y="290"/>
                </a:cubicBezTo>
                <a:cubicBezTo>
                  <a:pt x="733" y="290"/>
                  <a:pt x="733" y="290"/>
                  <a:pt x="733" y="290"/>
                </a:cubicBezTo>
                <a:cubicBezTo>
                  <a:pt x="733" y="291"/>
                  <a:pt x="733" y="291"/>
                  <a:pt x="733" y="291"/>
                </a:cubicBezTo>
                <a:cubicBezTo>
                  <a:pt x="732" y="292"/>
                  <a:pt x="732" y="292"/>
                  <a:pt x="732" y="292"/>
                </a:cubicBezTo>
                <a:cubicBezTo>
                  <a:pt x="732" y="294"/>
                  <a:pt x="732" y="294"/>
                  <a:pt x="732" y="294"/>
                </a:cubicBezTo>
                <a:cubicBezTo>
                  <a:pt x="735" y="294"/>
                  <a:pt x="735" y="294"/>
                  <a:pt x="735" y="294"/>
                </a:cubicBezTo>
                <a:cubicBezTo>
                  <a:pt x="737" y="293"/>
                  <a:pt x="737" y="293"/>
                  <a:pt x="737" y="293"/>
                </a:cubicBezTo>
                <a:cubicBezTo>
                  <a:pt x="739" y="289"/>
                  <a:pt x="739" y="289"/>
                  <a:pt x="739" y="289"/>
                </a:cubicBezTo>
                <a:cubicBezTo>
                  <a:pt x="739" y="291"/>
                  <a:pt x="739" y="291"/>
                  <a:pt x="739" y="291"/>
                </a:cubicBezTo>
                <a:cubicBezTo>
                  <a:pt x="738" y="293"/>
                  <a:pt x="738" y="293"/>
                  <a:pt x="738" y="293"/>
                </a:cubicBezTo>
                <a:cubicBezTo>
                  <a:pt x="738" y="294"/>
                  <a:pt x="738" y="294"/>
                  <a:pt x="738" y="294"/>
                </a:cubicBezTo>
                <a:cubicBezTo>
                  <a:pt x="741" y="294"/>
                  <a:pt x="741" y="294"/>
                  <a:pt x="741" y="294"/>
                </a:cubicBezTo>
                <a:cubicBezTo>
                  <a:pt x="742" y="290"/>
                  <a:pt x="742" y="290"/>
                  <a:pt x="742" y="290"/>
                </a:cubicBezTo>
                <a:cubicBezTo>
                  <a:pt x="743" y="289"/>
                  <a:pt x="743" y="289"/>
                  <a:pt x="743" y="289"/>
                </a:cubicBezTo>
                <a:cubicBezTo>
                  <a:pt x="742" y="294"/>
                  <a:pt x="742" y="294"/>
                  <a:pt x="742" y="294"/>
                </a:cubicBezTo>
                <a:cubicBezTo>
                  <a:pt x="742" y="296"/>
                  <a:pt x="742" y="296"/>
                  <a:pt x="742" y="296"/>
                </a:cubicBezTo>
                <a:cubicBezTo>
                  <a:pt x="745" y="296"/>
                  <a:pt x="745" y="296"/>
                  <a:pt x="745" y="296"/>
                </a:cubicBezTo>
                <a:cubicBezTo>
                  <a:pt x="748" y="298"/>
                  <a:pt x="748" y="298"/>
                  <a:pt x="748" y="298"/>
                </a:cubicBezTo>
                <a:cubicBezTo>
                  <a:pt x="750" y="297"/>
                  <a:pt x="750" y="297"/>
                  <a:pt x="750" y="297"/>
                </a:cubicBezTo>
                <a:cubicBezTo>
                  <a:pt x="752" y="296"/>
                  <a:pt x="752" y="296"/>
                  <a:pt x="752" y="296"/>
                </a:cubicBezTo>
                <a:cubicBezTo>
                  <a:pt x="752" y="298"/>
                  <a:pt x="752" y="298"/>
                  <a:pt x="752" y="298"/>
                </a:cubicBezTo>
                <a:cubicBezTo>
                  <a:pt x="755" y="297"/>
                  <a:pt x="755" y="297"/>
                  <a:pt x="755" y="297"/>
                </a:cubicBezTo>
                <a:cubicBezTo>
                  <a:pt x="757" y="296"/>
                  <a:pt x="757" y="296"/>
                  <a:pt x="757" y="296"/>
                </a:cubicBezTo>
                <a:cubicBezTo>
                  <a:pt x="757" y="293"/>
                  <a:pt x="757" y="293"/>
                  <a:pt x="757" y="293"/>
                </a:cubicBezTo>
                <a:cubicBezTo>
                  <a:pt x="759" y="291"/>
                  <a:pt x="759" y="291"/>
                  <a:pt x="759" y="291"/>
                </a:cubicBezTo>
                <a:cubicBezTo>
                  <a:pt x="760" y="290"/>
                  <a:pt x="760" y="290"/>
                  <a:pt x="760" y="290"/>
                </a:cubicBezTo>
                <a:cubicBezTo>
                  <a:pt x="759" y="287"/>
                  <a:pt x="759" y="287"/>
                  <a:pt x="759" y="287"/>
                </a:cubicBezTo>
                <a:cubicBezTo>
                  <a:pt x="760" y="285"/>
                  <a:pt x="760" y="285"/>
                  <a:pt x="760" y="285"/>
                </a:cubicBezTo>
                <a:cubicBezTo>
                  <a:pt x="761" y="286"/>
                  <a:pt x="761" y="286"/>
                  <a:pt x="761" y="286"/>
                </a:cubicBezTo>
                <a:cubicBezTo>
                  <a:pt x="761" y="289"/>
                  <a:pt x="761" y="289"/>
                  <a:pt x="761" y="289"/>
                </a:cubicBezTo>
                <a:cubicBezTo>
                  <a:pt x="762" y="289"/>
                  <a:pt x="762" y="289"/>
                  <a:pt x="762" y="289"/>
                </a:cubicBezTo>
                <a:cubicBezTo>
                  <a:pt x="763" y="290"/>
                  <a:pt x="763" y="290"/>
                  <a:pt x="763" y="290"/>
                </a:cubicBezTo>
                <a:cubicBezTo>
                  <a:pt x="761" y="292"/>
                  <a:pt x="761" y="292"/>
                  <a:pt x="761" y="292"/>
                </a:cubicBezTo>
                <a:cubicBezTo>
                  <a:pt x="760" y="295"/>
                  <a:pt x="760" y="295"/>
                  <a:pt x="760" y="295"/>
                </a:cubicBezTo>
                <a:cubicBezTo>
                  <a:pt x="760" y="300"/>
                  <a:pt x="760" y="300"/>
                  <a:pt x="760" y="300"/>
                </a:cubicBezTo>
                <a:close/>
                <a:moveTo>
                  <a:pt x="676" y="190"/>
                </a:moveTo>
                <a:cubicBezTo>
                  <a:pt x="678" y="189"/>
                  <a:pt x="678" y="189"/>
                  <a:pt x="678" y="189"/>
                </a:cubicBezTo>
                <a:cubicBezTo>
                  <a:pt x="678" y="188"/>
                  <a:pt x="678" y="188"/>
                  <a:pt x="678" y="188"/>
                </a:cubicBezTo>
                <a:cubicBezTo>
                  <a:pt x="677" y="188"/>
                  <a:pt x="677" y="188"/>
                  <a:pt x="677" y="188"/>
                </a:cubicBezTo>
                <a:cubicBezTo>
                  <a:pt x="675" y="189"/>
                  <a:pt x="675" y="189"/>
                  <a:pt x="675" y="189"/>
                </a:cubicBezTo>
                <a:cubicBezTo>
                  <a:pt x="676" y="190"/>
                  <a:pt x="676" y="190"/>
                  <a:pt x="676" y="190"/>
                </a:cubicBezTo>
                <a:close/>
                <a:moveTo>
                  <a:pt x="672" y="204"/>
                </a:moveTo>
                <a:cubicBezTo>
                  <a:pt x="673" y="203"/>
                  <a:pt x="673" y="203"/>
                  <a:pt x="673" y="203"/>
                </a:cubicBezTo>
                <a:cubicBezTo>
                  <a:pt x="674" y="201"/>
                  <a:pt x="674" y="201"/>
                  <a:pt x="674" y="201"/>
                </a:cubicBezTo>
                <a:cubicBezTo>
                  <a:pt x="674" y="203"/>
                  <a:pt x="674" y="203"/>
                  <a:pt x="674" y="203"/>
                </a:cubicBezTo>
                <a:cubicBezTo>
                  <a:pt x="673" y="204"/>
                  <a:pt x="673" y="204"/>
                  <a:pt x="673" y="204"/>
                </a:cubicBezTo>
                <a:cubicBezTo>
                  <a:pt x="672" y="204"/>
                  <a:pt x="672" y="204"/>
                  <a:pt x="672" y="204"/>
                </a:cubicBezTo>
                <a:close/>
                <a:moveTo>
                  <a:pt x="613" y="226"/>
                </a:moveTo>
                <a:cubicBezTo>
                  <a:pt x="613" y="227"/>
                  <a:pt x="613" y="227"/>
                  <a:pt x="613" y="227"/>
                </a:cubicBezTo>
                <a:cubicBezTo>
                  <a:pt x="614" y="228"/>
                  <a:pt x="614" y="228"/>
                  <a:pt x="614" y="228"/>
                </a:cubicBezTo>
                <a:cubicBezTo>
                  <a:pt x="614" y="227"/>
                  <a:pt x="614" y="227"/>
                  <a:pt x="614" y="227"/>
                </a:cubicBezTo>
                <a:cubicBezTo>
                  <a:pt x="613" y="226"/>
                  <a:pt x="613" y="226"/>
                  <a:pt x="613" y="226"/>
                </a:cubicBezTo>
                <a:close/>
                <a:moveTo>
                  <a:pt x="652" y="189"/>
                </a:moveTo>
                <a:cubicBezTo>
                  <a:pt x="652" y="190"/>
                  <a:pt x="652" y="190"/>
                  <a:pt x="652" y="190"/>
                </a:cubicBezTo>
                <a:cubicBezTo>
                  <a:pt x="653" y="192"/>
                  <a:pt x="653" y="192"/>
                  <a:pt x="653" y="192"/>
                </a:cubicBezTo>
                <a:cubicBezTo>
                  <a:pt x="653" y="193"/>
                  <a:pt x="653" y="193"/>
                  <a:pt x="653" y="193"/>
                </a:cubicBezTo>
                <a:cubicBezTo>
                  <a:pt x="655" y="193"/>
                  <a:pt x="655" y="193"/>
                  <a:pt x="655" y="193"/>
                </a:cubicBezTo>
                <a:cubicBezTo>
                  <a:pt x="654" y="190"/>
                  <a:pt x="654" y="190"/>
                  <a:pt x="654" y="190"/>
                </a:cubicBezTo>
                <a:cubicBezTo>
                  <a:pt x="653" y="189"/>
                  <a:pt x="653" y="189"/>
                  <a:pt x="653" y="189"/>
                </a:cubicBezTo>
                <a:cubicBezTo>
                  <a:pt x="652" y="189"/>
                  <a:pt x="652" y="189"/>
                  <a:pt x="652" y="189"/>
                </a:cubicBezTo>
                <a:close/>
                <a:moveTo>
                  <a:pt x="633" y="190"/>
                </a:moveTo>
                <a:cubicBezTo>
                  <a:pt x="633" y="191"/>
                  <a:pt x="633" y="191"/>
                  <a:pt x="633" y="191"/>
                </a:cubicBezTo>
                <a:cubicBezTo>
                  <a:pt x="634" y="192"/>
                  <a:pt x="634" y="192"/>
                  <a:pt x="634" y="192"/>
                </a:cubicBezTo>
                <a:cubicBezTo>
                  <a:pt x="636" y="191"/>
                  <a:pt x="636" y="191"/>
                  <a:pt x="636" y="191"/>
                </a:cubicBezTo>
                <a:cubicBezTo>
                  <a:pt x="638" y="190"/>
                  <a:pt x="638" y="190"/>
                  <a:pt x="638" y="190"/>
                </a:cubicBezTo>
                <a:cubicBezTo>
                  <a:pt x="640" y="191"/>
                  <a:pt x="640" y="191"/>
                  <a:pt x="640" y="191"/>
                </a:cubicBezTo>
                <a:cubicBezTo>
                  <a:pt x="644" y="189"/>
                  <a:pt x="644" y="189"/>
                  <a:pt x="644" y="189"/>
                </a:cubicBezTo>
                <a:cubicBezTo>
                  <a:pt x="646" y="189"/>
                  <a:pt x="646" y="189"/>
                  <a:pt x="646" y="189"/>
                </a:cubicBezTo>
                <a:cubicBezTo>
                  <a:pt x="648" y="188"/>
                  <a:pt x="648" y="188"/>
                  <a:pt x="648" y="188"/>
                </a:cubicBezTo>
                <a:cubicBezTo>
                  <a:pt x="647" y="187"/>
                  <a:pt x="647" y="187"/>
                  <a:pt x="647" y="187"/>
                </a:cubicBezTo>
                <a:cubicBezTo>
                  <a:pt x="643" y="187"/>
                  <a:pt x="643" y="187"/>
                  <a:pt x="643" y="187"/>
                </a:cubicBezTo>
                <a:cubicBezTo>
                  <a:pt x="641" y="187"/>
                  <a:pt x="641" y="187"/>
                  <a:pt x="641" y="187"/>
                </a:cubicBezTo>
                <a:cubicBezTo>
                  <a:pt x="641" y="187"/>
                  <a:pt x="639" y="188"/>
                  <a:pt x="639" y="188"/>
                </a:cubicBezTo>
                <a:cubicBezTo>
                  <a:pt x="638" y="188"/>
                  <a:pt x="637" y="188"/>
                  <a:pt x="637" y="188"/>
                </a:cubicBezTo>
                <a:cubicBezTo>
                  <a:pt x="635" y="189"/>
                  <a:pt x="635" y="189"/>
                  <a:pt x="635" y="189"/>
                </a:cubicBezTo>
                <a:cubicBezTo>
                  <a:pt x="633" y="190"/>
                  <a:pt x="633" y="190"/>
                  <a:pt x="633" y="190"/>
                </a:cubicBezTo>
                <a:close/>
                <a:moveTo>
                  <a:pt x="614" y="196"/>
                </a:moveTo>
                <a:cubicBezTo>
                  <a:pt x="613" y="195"/>
                  <a:pt x="613" y="195"/>
                  <a:pt x="613" y="195"/>
                </a:cubicBezTo>
                <a:cubicBezTo>
                  <a:pt x="610" y="194"/>
                  <a:pt x="610" y="194"/>
                  <a:pt x="610" y="194"/>
                </a:cubicBezTo>
                <a:cubicBezTo>
                  <a:pt x="607" y="193"/>
                  <a:pt x="607" y="193"/>
                  <a:pt x="607" y="193"/>
                </a:cubicBezTo>
                <a:cubicBezTo>
                  <a:pt x="607" y="190"/>
                  <a:pt x="607" y="190"/>
                  <a:pt x="607" y="190"/>
                </a:cubicBezTo>
                <a:cubicBezTo>
                  <a:pt x="608" y="188"/>
                  <a:pt x="608" y="188"/>
                  <a:pt x="608" y="188"/>
                </a:cubicBezTo>
                <a:cubicBezTo>
                  <a:pt x="609" y="187"/>
                  <a:pt x="609" y="187"/>
                  <a:pt x="609" y="187"/>
                </a:cubicBezTo>
                <a:cubicBezTo>
                  <a:pt x="608" y="185"/>
                  <a:pt x="608" y="185"/>
                  <a:pt x="608" y="185"/>
                </a:cubicBezTo>
                <a:cubicBezTo>
                  <a:pt x="609" y="183"/>
                  <a:pt x="609" y="183"/>
                  <a:pt x="609" y="183"/>
                </a:cubicBezTo>
                <a:cubicBezTo>
                  <a:pt x="610" y="182"/>
                  <a:pt x="610" y="182"/>
                  <a:pt x="610" y="182"/>
                </a:cubicBezTo>
                <a:cubicBezTo>
                  <a:pt x="613" y="182"/>
                  <a:pt x="613" y="182"/>
                  <a:pt x="613" y="182"/>
                </a:cubicBezTo>
                <a:cubicBezTo>
                  <a:pt x="614" y="183"/>
                  <a:pt x="614" y="183"/>
                  <a:pt x="614" y="183"/>
                </a:cubicBezTo>
                <a:cubicBezTo>
                  <a:pt x="615" y="183"/>
                  <a:pt x="615" y="183"/>
                  <a:pt x="615" y="183"/>
                </a:cubicBezTo>
                <a:cubicBezTo>
                  <a:pt x="616" y="184"/>
                  <a:pt x="616" y="184"/>
                  <a:pt x="616" y="184"/>
                </a:cubicBezTo>
                <a:cubicBezTo>
                  <a:pt x="614" y="185"/>
                  <a:pt x="614" y="185"/>
                  <a:pt x="614" y="185"/>
                </a:cubicBezTo>
                <a:cubicBezTo>
                  <a:pt x="614" y="187"/>
                  <a:pt x="614" y="187"/>
                  <a:pt x="614" y="187"/>
                </a:cubicBezTo>
                <a:cubicBezTo>
                  <a:pt x="615" y="187"/>
                  <a:pt x="615" y="187"/>
                  <a:pt x="615" y="187"/>
                </a:cubicBezTo>
                <a:cubicBezTo>
                  <a:pt x="617" y="187"/>
                  <a:pt x="617" y="187"/>
                  <a:pt x="617" y="187"/>
                </a:cubicBezTo>
                <a:cubicBezTo>
                  <a:pt x="617" y="188"/>
                  <a:pt x="617" y="188"/>
                  <a:pt x="617" y="188"/>
                </a:cubicBezTo>
                <a:cubicBezTo>
                  <a:pt x="616" y="189"/>
                  <a:pt x="616" y="189"/>
                  <a:pt x="616" y="189"/>
                </a:cubicBezTo>
                <a:cubicBezTo>
                  <a:pt x="617" y="191"/>
                  <a:pt x="617" y="191"/>
                  <a:pt x="617" y="191"/>
                </a:cubicBezTo>
                <a:cubicBezTo>
                  <a:pt x="617" y="193"/>
                  <a:pt x="617" y="193"/>
                  <a:pt x="617" y="193"/>
                </a:cubicBezTo>
                <a:cubicBezTo>
                  <a:pt x="616" y="195"/>
                  <a:pt x="616" y="195"/>
                  <a:pt x="616" y="195"/>
                </a:cubicBezTo>
                <a:cubicBezTo>
                  <a:pt x="614" y="196"/>
                  <a:pt x="614" y="196"/>
                  <a:pt x="614" y="196"/>
                </a:cubicBezTo>
                <a:close/>
                <a:moveTo>
                  <a:pt x="611" y="205"/>
                </a:moveTo>
                <a:cubicBezTo>
                  <a:pt x="616" y="205"/>
                  <a:pt x="616" y="205"/>
                  <a:pt x="616" y="205"/>
                </a:cubicBezTo>
                <a:cubicBezTo>
                  <a:pt x="618" y="204"/>
                  <a:pt x="618" y="204"/>
                  <a:pt x="618" y="204"/>
                </a:cubicBezTo>
                <a:cubicBezTo>
                  <a:pt x="619" y="200"/>
                  <a:pt x="619" y="200"/>
                  <a:pt x="619" y="200"/>
                </a:cubicBezTo>
                <a:cubicBezTo>
                  <a:pt x="618" y="198"/>
                  <a:pt x="618" y="198"/>
                  <a:pt x="618" y="198"/>
                </a:cubicBezTo>
                <a:cubicBezTo>
                  <a:pt x="616" y="199"/>
                  <a:pt x="616" y="199"/>
                  <a:pt x="616" y="199"/>
                </a:cubicBezTo>
                <a:cubicBezTo>
                  <a:pt x="613" y="197"/>
                  <a:pt x="613" y="197"/>
                  <a:pt x="613" y="197"/>
                </a:cubicBezTo>
                <a:cubicBezTo>
                  <a:pt x="610" y="197"/>
                  <a:pt x="610" y="197"/>
                  <a:pt x="610" y="197"/>
                </a:cubicBezTo>
                <a:cubicBezTo>
                  <a:pt x="607" y="197"/>
                  <a:pt x="607" y="197"/>
                  <a:pt x="607" y="197"/>
                </a:cubicBezTo>
                <a:cubicBezTo>
                  <a:pt x="606" y="197"/>
                  <a:pt x="606" y="197"/>
                  <a:pt x="606" y="197"/>
                </a:cubicBezTo>
                <a:cubicBezTo>
                  <a:pt x="604" y="198"/>
                  <a:pt x="604" y="198"/>
                  <a:pt x="604" y="198"/>
                </a:cubicBezTo>
                <a:cubicBezTo>
                  <a:pt x="603" y="199"/>
                  <a:pt x="603" y="199"/>
                  <a:pt x="603" y="199"/>
                </a:cubicBezTo>
                <a:cubicBezTo>
                  <a:pt x="602" y="200"/>
                  <a:pt x="602" y="200"/>
                  <a:pt x="602" y="200"/>
                </a:cubicBezTo>
                <a:cubicBezTo>
                  <a:pt x="603" y="201"/>
                  <a:pt x="603" y="201"/>
                  <a:pt x="603" y="201"/>
                </a:cubicBezTo>
                <a:cubicBezTo>
                  <a:pt x="604" y="202"/>
                  <a:pt x="604" y="202"/>
                  <a:pt x="604" y="202"/>
                </a:cubicBezTo>
                <a:cubicBezTo>
                  <a:pt x="604" y="203"/>
                  <a:pt x="604" y="203"/>
                  <a:pt x="604" y="203"/>
                </a:cubicBezTo>
                <a:cubicBezTo>
                  <a:pt x="606" y="203"/>
                  <a:pt x="606" y="203"/>
                  <a:pt x="606" y="203"/>
                </a:cubicBezTo>
                <a:cubicBezTo>
                  <a:pt x="608" y="205"/>
                  <a:pt x="608" y="205"/>
                  <a:pt x="608" y="205"/>
                </a:cubicBezTo>
                <a:cubicBezTo>
                  <a:pt x="611" y="205"/>
                  <a:pt x="611" y="205"/>
                  <a:pt x="611" y="205"/>
                </a:cubicBezTo>
                <a:close/>
                <a:moveTo>
                  <a:pt x="602" y="208"/>
                </a:moveTo>
                <a:cubicBezTo>
                  <a:pt x="608" y="210"/>
                  <a:pt x="608" y="210"/>
                  <a:pt x="608" y="210"/>
                </a:cubicBezTo>
                <a:cubicBezTo>
                  <a:pt x="610" y="209"/>
                  <a:pt x="610" y="209"/>
                  <a:pt x="610" y="209"/>
                </a:cubicBezTo>
                <a:cubicBezTo>
                  <a:pt x="612" y="209"/>
                  <a:pt x="612" y="209"/>
                  <a:pt x="612" y="209"/>
                </a:cubicBezTo>
                <a:cubicBezTo>
                  <a:pt x="613" y="210"/>
                  <a:pt x="613" y="210"/>
                  <a:pt x="613" y="210"/>
                </a:cubicBezTo>
                <a:cubicBezTo>
                  <a:pt x="615" y="209"/>
                  <a:pt x="615" y="209"/>
                  <a:pt x="615" y="209"/>
                </a:cubicBezTo>
                <a:cubicBezTo>
                  <a:pt x="617" y="208"/>
                  <a:pt x="617" y="208"/>
                  <a:pt x="617" y="208"/>
                </a:cubicBezTo>
                <a:cubicBezTo>
                  <a:pt x="617" y="207"/>
                  <a:pt x="617" y="207"/>
                  <a:pt x="617" y="207"/>
                </a:cubicBezTo>
                <a:cubicBezTo>
                  <a:pt x="615" y="206"/>
                  <a:pt x="615" y="206"/>
                  <a:pt x="615" y="206"/>
                </a:cubicBezTo>
                <a:cubicBezTo>
                  <a:pt x="610" y="207"/>
                  <a:pt x="610" y="207"/>
                  <a:pt x="610" y="207"/>
                </a:cubicBezTo>
                <a:cubicBezTo>
                  <a:pt x="608" y="208"/>
                  <a:pt x="608" y="208"/>
                  <a:pt x="608" y="208"/>
                </a:cubicBezTo>
                <a:cubicBezTo>
                  <a:pt x="607" y="207"/>
                  <a:pt x="607" y="207"/>
                  <a:pt x="607" y="207"/>
                </a:cubicBezTo>
                <a:cubicBezTo>
                  <a:pt x="604" y="206"/>
                  <a:pt x="604" y="206"/>
                  <a:pt x="604" y="206"/>
                </a:cubicBezTo>
                <a:cubicBezTo>
                  <a:pt x="602" y="207"/>
                  <a:pt x="602" y="207"/>
                  <a:pt x="602" y="207"/>
                </a:cubicBezTo>
                <a:cubicBezTo>
                  <a:pt x="602" y="208"/>
                  <a:pt x="602" y="208"/>
                  <a:pt x="602" y="208"/>
                </a:cubicBezTo>
                <a:close/>
                <a:moveTo>
                  <a:pt x="601" y="215"/>
                </a:moveTo>
                <a:cubicBezTo>
                  <a:pt x="603" y="214"/>
                  <a:pt x="603" y="214"/>
                  <a:pt x="603" y="214"/>
                </a:cubicBezTo>
                <a:cubicBezTo>
                  <a:pt x="605" y="214"/>
                  <a:pt x="605" y="214"/>
                  <a:pt x="605" y="214"/>
                </a:cubicBezTo>
                <a:cubicBezTo>
                  <a:pt x="608" y="212"/>
                  <a:pt x="608" y="212"/>
                  <a:pt x="608" y="212"/>
                </a:cubicBezTo>
                <a:cubicBezTo>
                  <a:pt x="613" y="211"/>
                  <a:pt x="613" y="211"/>
                  <a:pt x="613" y="211"/>
                </a:cubicBezTo>
                <a:cubicBezTo>
                  <a:pt x="614" y="211"/>
                  <a:pt x="614" y="211"/>
                  <a:pt x="614" y="211"/>
                </a:cubicBezTo>
                <a:cubicBezTo>
                  <a:pt x="615" y="211"/>
                  <a:pt x="615" y="211"/>
                  <a:pt x="615" y="211"/>
                </a:cubicBezTo>
                <a:cubicBezTo>
                  <a:pt x="617" y="211"/>
                  <a:pt x="617" y="211"/>
                  <a:pt x="617" y="211"/>
                </a:cubicBezTo>
                <a:cubicBezTo>
                  <a:pt x="617" y="212"/>
                  <a:pt x="617" y="212"/>
                  <a:pt x="617" y="212"/>
                </a:cubicBezTo>
                <a:cubicBezTo>
                  <a:pt x="615" y="213"/>
                  <a:pt x="615" y="213"/>
                  <a:pt x="615" y="213"/>
                </a:cubicBezTo>
                <a:cubicBezTo>
                  <a:pt x="614" y="214"/>
                  <a:pt x="614" y="214"/>
                  <a:pt x="614" y="214"/>
                </a:cubicBezTo>
                <a:cubicBezTo>
                  <a:pt x="611" y="214"/>
                  <a:pt x="611" y="214"/>
                  <a:pt x="611" y="214"/>
                </a:cubicBezTo>
                <a:cubicBezTo>
                  <a:pt x="610" y="215"/>
                  <a:pt x="610" y="215"/>
                  <a:pt x="610" y="215"/>
                </a:cubicBezTo>
                <a:cubicBezTo>
                  <a:pt x="608" y="217"/>
                  <a:pt x="608" y="217"/>
                  <a:pt x="608" y="217"/>
                </a:cubicBezTo>
                <a:cubicBezTo>
                  <a:pt x="605" y="216"/>
                  <a:pt x="605" y="216"/>
                  <a:pt x="605" y="216"/>
                </a:cubicBezTo>
                <a:cubicBezTo>
                  <a:pt x="603" y="215"/>
                  <a:pt x="603" y="215"/>
                  <a:pt x="603" y="215"/>
                </a:cubicBezTo>
                <a:cubicBezTo>
                  <a:pt x="602" y="216"/>
                  <a:pt x="602" y="216"/>
                  <a:pt x="602" y="216"/>
                </a:cubicBezTo>
                <a:cubicBezTo>
                  <a:pt x="601" y="216"/>
                  <a:pt x="601" y="216"/>
                  <a:pt x="601" y="216"/>
                </a:cubicBezTo>
                <a:cubicBezTo>
                  <a:pt x="601" y="215"/>
                  <a:pt x="601" y="215"/>
                  <a:pt x="601" y="215"/>
                </a:cubicBezTo>
                <a:close/>
                <a:moveTo>
                  <a:pt x="544" y="141"/>
                </a:moveTo>
                <a:cubicBezTo>
                  <a:pt x="543" y="140"/>
                  <a:pt x="543" y="140"/>
                  <a:pt x="543" y="140"/>
                </a:cubicBezTo>
                <a:cubicBezTo>
                  <a:pt x="544" y="139"/>
                  <a:pt x="544" y="139"/>
                  <a:pt x="544" y="139"/>
                </a:cubicBezTo>
                <a:cubicBezTo>
                  <a:pt x="547" y="139"/>
                  <a:pt x="547" y="139"/>
                  <a:pt x="547" y="139"/>
                </a:cubicBezTo>
                <a:cubicBezTo>
                  <a:pt x="545" y="140"/>
                  <a:pt x="545" y="140"/>
                  <a:pt x="545" y="140"/>
                </a:cubicBezTo>
                <a:cubicBezTo>
                  <a:pt x="544" y="141"/>
                  <a:pt x="544" y="141"/>
                  <a:pt x="544" y="141"/>
                </a:cubicBezTo>
                <a:close/>
                <a:moveTo>
                  <a:pt x="528" y="148"/>
                </a:moveTo>
                <a:cubicBezTo>
                  <a:pt x="530" y="148"/>
                  <a:pt x="530" y="148"/>
                  <a:pt x="530" y="148"/>
                </a:cubicBezTo>
                <a:cubicBezTo>
                  <a:pt x="531" y="147"/>
                  <a:pt x="531" y="147"/>
                  <a:pt x="531" y="147"/>
                </a:cubicBezTo>
                <a:cubicBezTo>
                  <a:pt x="534" y="149"/>
                  <a:pt x="534" y="149"/>
                  <a:pt x="534" y="149"/>
                </a:cubicBezTo>
                <a:cubicBezTo>
                  <a:pt x="536" y="148"/>
                  <a:pt x="536" y="148"/>
                  <a:pt x="536" y="148"/>
                </a:cubicBezTo>
                <a:cubicBezTo>
                  <a:pt x="538" y="149"/>
                  <a:pt x="538" y="149"/>
                  <a:pt x="538" y="149"/>
                </a:cubicBezTo>
                <a:cubicBezTo>
                  <a:pt x="538" y="151"/>
                  <a:pt x="538" y="151"/>
                  <a:pt x="538" y="151"/>
                </a:cubicBezTo>
                <a:cubicBezTo>
                  <a:pt x="539" y="152"/>
                  <a:pt x="539" y="152"/>
                  <a:pt x="539" y="152"/>
                </a:cubicBezTo>
                <a:cubicBezTo>
                  <a:pt x="538" y="154"/>
                  <a:pt x="538" y="154"/>
                  <a:pt x="538" y="154"/>
                </a:cubicBezTo>
                <a:cubicBezTo>
                  <a:pt x="536" y="155"/>
                  <a:pt x="536" y="155"/>
                  <a:pt x="536" y="155"/>
                </a:cubicBezTo>
                <a:cubicBezTo>
                  <a:pt x="534" y="154"/>
                  <a:pt x="534" y="154"/>
                  <a:pt x="534" y="154"/>
                </a:cubicBezTo>
                <a:cubicBezTo>
                  <a:pt x="532" y="154"/>
                  <a:pt x="532" y="154"/>
                  <a:pt x="532" y="154"/>
                </a:cubicBezTo>
                <a:cubicBezTo>
                  <a:pt x="531" y="151"/>
                  <a:pt x="531" y="151"/>
                  <a:pt x="531" y="151"/>
                </a:cubicBezTo>
                <a:cubicBezTo>
                  <a:pt x="529" y="150"/>
                  <a:pt x="529" y="150"/>
                  <a:pt x="529" y="150"/>
                </a:cubicBezTo>
                <a:cubicBezTo>
                  <a:pt x="528" y="149"/>
                  <a:pt x="528" y="149"/>
                  <a:pt x="528" y="149"/>
                </a:cubicBezTo>
                <a:cubicBezTo>
                  <a:pt x="528" y="149"/>
                  <a:pt x="528" y="148"/>
                  <a:pt x="528" y="148"/>
                </a:cubicBezTo>
                <a:close/>
                <a:moveTo>
                  <a:pt x="442" y="153"/>
                </a:moveTo>
                <a:cubicBezTo>
                  <a:pt x="440" y="152"/>
                  <a:pt x="440" y="152"/>
                  <a:pt x="440" y="152"/>
                </a:cubicBezTo>
                <a:cubicBezTo>
                  <a:pt x="439" y="151"/>
                  <a:pt x="439" y="151"/>
                  <a:pt x="439" y="151"/>
                </a:cubicBezTo>
                <a:cubicBezTo>
                  <a:pt x="440" y="150"/>
                  <a:pt x="440" y="150"/>
                  <a:pt x="440" y="150"/>
                </a:cubicBezTo>
                <a:cubicBezTo>
                  <a:pt x="442" y="151"/>
                  <a:pt x="442" y="151"/>
                  <a:pt x="442" y="151"/>
                </a:cubicBezTo>
                <a:cubicBezTo>
                  <a:pt x="443" y="152"/>
                  <a:pt x="443" y="152"/>
                  <a:pt x="443" y="152"/>
                </a:cubicBezTo>
                <a:cubicBezTo>
                  <a:pt x="442" y="153"/>
                  <a:pt x="442" y="153"/>
                  <a:pt x="442" y="153"/>
                </a:cubicBezTo>
                <a:close/>
                <a:moveTo>
                  <a:pt x="451" y="165"/>
                </a:moveTo>
                <a:cubicBezTo>
                  <a:pt x="453" y="163"/>
                  <a:pt x="453" y="163"/>
                  <a:pt x="453" y="163"/>
                </a:cubicBezTo>
                <a:cubicBezTo>
                  <a:pt x="453" y="164"/>
                  <a:pt x="453" y="164"/>
                  <a:pt x="453" y="164"/>
                </a:cubicBezTo>
                <a:cubicBezTo>
                  <a:pt x="451" y="166"/>
                  <a:pt x="451" y="166"/>
                  <a:pt x="451" y="166"/>
                </a:cubicBezTo>
                <a:cubicBezTo>
                  <a:pt x="451" y="166"/>
                  <a:pt x="451" y="165"/>
                  <a:pt x="451" y="165"/>
                </a:cubicBezTo>
                <a:close/>
                <a:moveTo>
                  <a:pt x="455" y="161"/>
                </a:moveTo>
                <a:cubicBezTo>
                  <a:pt x="456" y="160"/>
                  <a:pt x="456" y="160"/>
                  <a:pt x="456" y="160"/>
                </a:cubicBezTo>
                <a:cubicBezTo>
                  <a:pt x="457" y="158"/>
                  <a:pt x="457" y="158"/>
                  <a:pt x="457" y="158"/>
                </a:cubicBezTo>
                <a:cubicBezTo>
                  <a:pt x="457" y="158"/>
                  <a:pt x="457" y="158"/>
                  <a:pt x="457" y="158"/>
                </a:cubicBezTo>
                <a:cubicBezTo>
                  <a:pt x="458" y="154"/>
                  <a:pt x="458" y="154"/>
                  <a:pt x="458" y="154"/>
                </a:cubicBezTo>
                <a:cubicBezTo>
                  <a:pt x="460" y="154"/>
                  <a:pt x="460" y="154"/>
                  <a:pt x="460" y="154"/>
                </a:cubicBezTo>
                <a:cubicBezTo>
                  <a:pt x="462" y="153"/>
                  <a:pt x="462" y="153"/>
                  <a:pt x="462" y="153"/>
                </a:cubicBezTo>
                <a:cubicBezTo>
                  <a:pt x="464" y="154"/>
                  <a:pt x="464" y="154"/>
                  <a:pt x="464" y="154"/>
                </a:cubicBezTo>
                <a:cubicBezTo>
                  <a:pt x="464" y="155"/>
                  <a:pt x="464" y="155"/>
                  <a:pt x="464" y="155"/>
                </a:cubicBezTo>
                <a:cubicBezTo>
                  <a:pt x="461" y="157"/>
                  <a:pt x="461" y="157"/>
                  <a:pt x="461" y="157"/>
                </a:cubicBezTo>
                <a:cubicBezTo>
                  <a:pt x="460" y="160"/>
                  <a:pt x="460" y="160"/>
                  <a:pt x="460" y="160"/>
                </a:cubicBezTo>
                <a:cubicBezTo>
                  <a:pt x="461" y="162"/>
                  <a:pt x="461" y="162"/>
                  <a:pt x="461" y="162"/>
                </a:cubicBezTo>
                <a:cubicBezTo>
                  <a:pt x="459" y="163"/>
                  <a:pt x="459" y="163"/>
                  <a:pt x="459" y="163"/>
                </a:cubicBezTo>
                <a:cubicBezTo>
                  <a:pt x="458" y="165"/>
                  <a:pt x="458" y="165"/>
                  <a:pt x="458" y="165"/>
                </a:cubicBezTo>
                <a:cubicBezTo>
                  <a:pt x="459" y="166"/>
                  <a:pt x="459" y="166"/>
                  <a:pt x="459" y="166"/>
                </a:cubicBezTo>
                <a:cubicBezTo>
                  <a:pt x="461" y="165"/>
                  <a:pt x="461" y="165"/>
                  <a:pt x="461" y="165"/>
                </a:cubicBezTo>
                <a:cubicBezTo>
                  <a:pt x="462" y="165"/>
                  <a:pt x="462" y="165"/>
                  <a:pt x="462" y="165"/>
                </a:cubicBezTo>
                <a:cubicBezTo>
                  <a:pt x="462" y="167"/>
                  <a:pt x="462" y="167"/>
                  <a:pt x="462" y="167"/>
                </a:cubicBezTo>
                <a:cubicBezTo>
                  <a:pt x="463" y="167"/>
                  <a:pt x="463" y="167"/>
                  <a:pt x="463" y="167"/>
                </a:cubicBezTo>
                <a:cubicBezTo>
                  <a:pt x="467" y="165"/>
                  <a:pt x="467" y="165"/>
                  <a:pt x="467" y="165"/>
                </a:cubicBezTo>
                <a:cubicBezTo>
                  <a:pt x="469" y="163"/>
                  <a:pt x="469" y="163"/>
                  <a:pt x="469" y="163"/>
                </a:cubicBezTo>
                <a:cubicBezTo>
                  <a:pt x="470" y="163"/>
                  <a:pt x="470" y="163"/>
                  <a:pt x="470" y="163"/>
                </a:cubicBezTo>
                <a:cubicBezTo>
                  <a:pt x="472" y="161"/>
                  <a:pt x="472" y="161"/>
                  <a:pt x="472" y="161"/>
                </a:cubicBezTo>
                <a:cubicBezTo>
                  <a:pt x="472" y="158"/>
                  <a:pt x="472" y="158"/>
                  <a:pt x="472" y="158"/>
                </a:cubicBezTo>
                <a:cubicBezTo>
                  <a:pt x="473" y="158"/>
                  <a:pt x="473" y="158"/>
                  <a:pt x="473" y="158"/>
                </a:cubicBezTo>
                <a:cubicBezTo>
                  <a:pt x="475" y="156"/>
                  <a:pt x="475" y="156"/>
                  <a:pt x="475" y="156"/>
                </a:cubicBezTo>
                <a:cubicBezTo>
                  <a:pt x="475" y="153"/>
                  <a:pt x="475" y="153"/>
                  <a:pt x="475" y="153"/>
                </a:cubicBezTo>
                <a:cubicBezTo>
                  <a:pt x="476" y="152"/>
                  <a:pt x="476" y="152"/>
                  <a:pt x="476" y="152"/>
                </a:cubicBezTo>
                <a:cubicBezTo>
                  <a:pt x="477" y="153"/>
                  <a:pt x="477" y="153"/>
                  <a:pt x="477" y="153"/>
                </a:cubicBezTo>
                <a:cubicBezTo>
                  <a:pt x="476" y="155"/>
                  <a:pt x="476" y="155"/>
                  <a:pt x="476" y="155"/>
                </a:cubicBezTo>
                <a:cubicBezTo>
                  <a:pt x="477" y="157"/>
                  <a:pt x="477" y="157"/>
                  <a:pt x="477" y="157"/>
                </a:cubicBezTo>
                <a:cubicBezTo>
                  <a:pt x="476" y="160"/>
                  <a:pt x="476" y="160"/>
                  <a:pt x="476" y="160"/>
                </a:cubicBezTo>
                <a:cubicBezTo>
                  <a:pt x="477" y="162"/>
                  <a:pt x="477" y="162"/>
                  <a:pt x="477" y="162"/>
                </a:cubicBezTo>
                <a:cubicBezTo>
                  <a:pt x="478" y="162"/>
                  <a:pt x="478" y="162"/>
                  <a:pt x="478" y="162"/>
                </a:cubicBezTo>
                <a:cubicBezTo>
                  <a:pt x="480" y="159"/>
                  <a:pt x="480" y="159"/>
                  <a:pt x="480" y="159"/>
                </a:cubicBezTo>
                <a:cubicBezTo>
                  <a:pt x="480" y="157"/>
                  <a:pt x="480" y="157"/>
                  <a:pt x="480" y="157"/>
                </a:cubicBezTo>
                <a:cubicBezTo>
                  <a:pt x="481" y="156"/>
                  <a:pt x="481" y="156"/>
                  <a:pt x="481" y="156"/>
                </a:cubicBezTo>
                <a:cubicBezTo>
                  <a:pt x="483" y="155"/>
                  <a:pt x="483" y="155"/>
                  <a:pt x="483" y="155"/>
                </a:cubicBezTo>
                <a:cubicBezTo>
                  <a:pt x="485" y="152"/>
                  <a:pt x="485" y="152"/>
                  <a:pt x="485" y="152"/>
                </a:cubicBezTo>
                <a:cubicBezTo>
                  <a:pt x="486" y="149"/>
                  <a:pt x="486" y="149"/>
                  <a:pt x="486" y="149"/>
                </a:cubicBezTo>
                <a:cubicBezTo>
                  <a:pt x="485" y="147"/>
                  <a:pt x="485" y="147"/>
                  <a:pt x="485" y="147"/>
                </a:cubicBezTo>
                <a:cubicBezTo>
                  <a:pt x="486" y="145"/>
                  <a:pt x="486" y="145"/>
                  <a:pt x="486" y="145"/>
                </a:cubicBezTo>
                <a:cubicBezTo>
                  <a:pt x="488" y="147"/>
                  <a:pt x="488" y="147"/>
                  <a:pt x="488" y="147"/>
                </a:cubicBezTo>
                <a:cubicBezTo>
                  <a:pt x="492" y="144"/>
                  <a:pt x="492" y="144"/>
                  <a:pt x="492" y="144"/>
                </a:cubicBezTo>
                <a:cubicBezTo>
                  <a:pt x="493" y="141"/>
                  <a:pt x="493" y="141"/>
                  <a:pt x="493" y="141"/>
                </a:cubicBezTo>
                <a:cubicBezTo>
                  <a:pt x="494" y="139"/>
                  <a:pt x="494" y="139"/>
                  <a:pt x="494" y="139"/>
                </a:cubicBezTo>
                <a:cubicBezTo>
                  <a:pt x="496" y="138"/>
                  <a:pt x="496" y="138"/>
                  <a:pt x="496" y="138"/>
                </a:cubicBezTo>
                <a:cubicBezTo>
                  <a:pt x="497" y="138"/>
                  <a:pt x="497" y="138"/>
                  <a:pt x="497" y="138"/>
                </a:cubicBezTo>
                <a:cubicBezTo>
                  <a:pt x="499" y="139"/>
                  <a:pt x="499" y="139"/>
                  <a:pt x="499" y="139"/>
                </a:cubicBezTo>
                <a:cubicBezTo>
                  <a:pt x="501" y="137"/>
                  <a:pt x="501" y="137"/>
                  <a:pt x="501" y="137"/>
                </a:cubicBezTo>
                <a:cubicBezTo>
                  <a:pt x="502" y="138"/>
                  <a:pt x="502" y="138"/>
                  <a:pt x="502" y="138"/>
                </a:cubicBezTo>
                <a:cubicBezTo>
                  <a:pt x="501" y="142"/>
                  <a:pt x="501" y="142"/>
                  <a:pt x="501" y="142"/>
                </a:cubicBezTo>
                <a:cubicBezTo>
                  <a:pt x="498" y="145"/>
                  <a:pt x="498" y="145"/>
                  <a:pt x="498" y="145"/>
                </a:cubicBezTo>
                <a:cubicBezTo>
                  <a:pt x="497" y="148"/>
                  <a:pt x="497" y="148"/>
                  <a:pt x="497" y="148"/>
                </a:cubicBezTo>
                <a:cubicBezTo>
                  <a:pt x="496" y="149"/>
                  <a:pt x="496" y="149"/>
                  <a:pt x="496" y="149"/>
                </a:cubicBezTo>
                <a:cubicBezTo>
                  <a:pt x="495" y="151"/>
                  <a:pt x="495" y="151"/>
                  <a:pt x="495" y="151"/>
                </a:cubicBezTo>
                <a:cubicBezTo>
                  <a:pt x="493" y="152"/>
                  <a:pt x="493" y="152"/>
                  <a:pt x="493" y="152"/>
                </a:cubicBezTo>
                <a:cubicBezTo>
                  <a:pt x="490" y="156"/>
                  <a:pt x="490" y="156"/>
                  <a:pt x="490" y="156"/>
                </a:cubicBezTo>
                <a:cubicBezTo>
                  <a:pt x="490" y="158"/>
                  <a:pt x="490" y="158"/>
                  <a:pt x="490" y="158"/>
                </a:cubicBezTo>
                <a:cubicBezTo>
                  <a:pt x="491" y="160"/>
                  <a:pt x="491" y="160"/>
                  <a:pt x="491" y="160"/>
                </a:cubicBezTo>
                <a:cubicBezTo>
                  <a:pt x="491" y="162"/>
                  <a:pt x="491" y="162"/>
                  <a:pt x="491" y="162"/>
                </a:cubicBezTo>
                <a:cubicBezTo>
                  <a:pt x="493" y="163"/>
                  <a:pt x="493" y="163"/>
                  <a:pt x="493" y="163"/>
                </a:cubicBezTo>
                <a:cubicBezTo>
                  <a:pt x="495" y="163"/>
                  <a:pt x="495" y="163"/>
                  <a:pt x="495" y="163"/>
                </a:cubicBezTo>
                <a:cubicBezTo>
                  <a:pt x="496" y="162"/>
                  <a:pt x="496" y="162"/>
                  <a:pt x="496" y="162"/>
                </a:cubicBezTo>
                <a:cubicBezTo>
                  <a:pt x="499" y="161"/>
                  <a:pt x="499" y="161"/>
                  <a:pt x="499" y="161"/>
                </a:cubicBezTo>
                <a:cubicBezTo>
                  <a:pt x="499" y="159"/>
                  <a:pt x="499" y="159"/>
                  <a:pt x="499" y="159"/>
                </a:cubicBezTo>
                <a:cubicBezTo>
                  <a:pt x="499" y="156"/>
                  <a:pt x="499" y="156"/>
                  <a:pt x="499" y="156"/>
                </a:cubicBezTo>
                <a:cubicBezTo>
                  <a:pt x="501" y="155"/>
                  <a:pt x="501" y="155"/>
                  <a:pt x="501" y="155"/>
                </a:cubicBezTo>
                <a:cubicBezTo>
                  <a:pt x="502" y="153"/>
                  <a:pt x="502" y="153"/>
                  <a:pt x="502" y="153"/>
                </a:cubicBezTo>
                <a:cubicBezTo>
                  <a:pt x="504" y="153"/>
                  <a:pt x="504" y="153"/>
                  <a:pt x="504" y="153"/>
                </a:cubicBezTo>
                <a:cubicBezTo>
                  <a:pt x="505" y="152"/>
                  <a:pt x="505" y="152"/>
                  <a:pt x="505" y="152"/>
                </a:cubicBezTo>
                <a:cubicBezTo>
                  <a:pt x="506" y="153"/>
                  <a:pt x="506" y="153"/>
                  <a:pt x="506" y="153"/>
                </a:cubicBezTo>
                <a:cubicBezTo>
                  <a:pt x="509" y="153"/>
                  <a:pt x="509" y="153"/>
                  <a:pt x="509" y="153"/>
                </a:cubicBezTo>
                <a:cubicBezTo>
                  <a:pt x="510" y="152"/>
                  <a:pt x="510" y="152"/>
                  <a:pt x="510" y="152"/>
                </a:cubicBezTo>
                <a:cubicBezTo>
                  <a:pt x="514" y="152"/>
                  <a:pt x="514" y="152"/>
                  <a:pt x="514" y="152"/>
                </a:cubicBezTo>
                <a:cubicBezTo>
                  <a:pt x="515" y="150"/>
                  <a:pt x="515" y="150"/>
                  <a:pt x="515" y="150"/>
                </a:cubicBezTo>
                <a:cubicBezTo>
                  <a:pt x="516" y="146"/>
                  <a:pt x="516" y="146"/>
                  <a:pt x="516" y="146"/>
                </a:cubicBezTo>
                <a:cubicBezTo>
                  <a:pt x="519" y="142"/>
                  <a:pt x="519" y="142"/>
                  <a:pt x="519" y="142"/>
                </a:cubicBezTo>
                <a:cubicBezTo>
                  <a:pt x="519" y="140"/>
                  <a:pt x="519" y="140"/>
                  <a:pt x="519" y="140"/>
                </a:cubicBezTo>
                <a:cubicBezTo>
                  <a:pt x="519" y="139"/>
                  <a:pt x="519" y="139"/>
                  <a:pt x="519" y="139"/>
                </a:cubicBezTo>
                <a:cubicBezTo>
                  <a:pt x="521" y="142"/>
                  <a:pt x="521" y="142"/>
                  <a:pt x="521" y="142"/>
                </a:cubicBezTo>
                <a:cubicBezTo>
                  <a:pt x="523" y="142"/>
                  <a:pt x="523" y="142"/>
                  <a:pt x="523" y="142"/>
                </a:cubicBezTo>
                <a:cubicBezTo>
                  <a:pt x="524" y="141"/>
                  <a:pt x="524" y="141"/>
                  <a:pt x="524" y="141"/>
                </a:cubicBezTo>
                <a:cubicBezTo>
                  <a:pt x="524" y="139"/>
                  <a:pt x="524" y="139"/>
                  <a:pt x="524" y="139"/>
                </a:cubicBezTo>
                <a:cubicBezTo>
                  <a:pt x="521" y="136"/>
                  <a:pt x="521" y="136"/>
                  <a:pt x="521" y="136"/>
                </a:cubicBezTo>
                <a:cubicBezTo>
                  <a:pt x="521" y="134"/>
                  <a:pt x="521" y="134"/>
                  <a:pt x="521" y="134"/>
                </a:cubicBezTo>
                <a:cubicBezTo>
                  <a:pt x="524" y="132"/>
                  <a:pt x="524" y="132"/>
                  <a:pt x="524" y="132"/>
                </a:cubicBezTo>
                <a:cubicBezTo>
                  <a:pt x="526" y="132"/>
                  <a:pt x="526" y="132"/>
                  <a:pt x="526" y="132"/>
                </a:cubicBezTo>
                <a:cubicBezTo>
                  <a:pt x="529" y="130"/>
                  <a:pt x="529" y="130"/>
                  <a:pt x="529" y="130"/>
                </a:cubicBezTo>
                <a:cubicBezTo>
                  <a:pt x="530" y="131"/>
                  <a:pt x="530" y="131"/>
                  <a:pt x="530" y="131"/>
                </a:cubicBezTo>
                <a:cubicBezTo>
                  <a:pt x="532" y="131"/>
                  <a:pt x="532" y="131"/>
                  <a:pt x="532" y="131"/>
                </a:cubicBezTo>
                <a:cubicBezTo>
                  <a:pt x="534" y="128"/>
                  <a:pt x="534" y="128"/>
                  <a:pt x="534" y="128"/>
                </a:cubicBezTo>
                <a:cubicBezTo>
                  <a:pt x="533" y="126"/>
                  <a:pt x="533" y="126"/>
                  <a:pt x="533" y="126"/>
                </a:cubicBezTo>
                <a:cubicBezTo>
                  <a:pt x="533" y="122"/>
                  <a:pt x="533" y="122"/>
                  <a:pt x="533" y="122"/>
                </a:cubicBezTo>
                <a:cubicBezTo>
                  <a:pt x="534" y="120"/>
                  <a:pt x="534" y="120"/>
                  <a:pt x="534" y="120"/>
                </a:cubicBezTo>
                <a:cubicBezTo>
                  <a:pt x="533" y="119"/>
                  <a:pt x="533" y="119"/>
                  <a:pt x="533" y="119"/>
                </a:cubicBezTo>
                <a:cubicBezTo>
                  <a:pt x="533" y="116"/>
                  <a:pt x="533" y="116"/>
                  <a:pt x="533" y="116"/>
                </a:cubicBezTo>
                <a:cubicBezTo>
                  <a:pt x="532" y="116"/>
                  <a:pt x="532" y="116"/>
                  <a:pt x="532" y="116"/>
                </a:cubicBezTo>
                <a:cubicBezTo>
                  <a:pt x="530" y="116"/>
                  <a:pt x="530" y="116"/>
                  <a:pt x="530" y="116"/>
                </a:cubicBezTo>
                <a:cubicBezTo>
                  <a:pt x="527" y="118"/>
                  <a:pt x="527" y="118"/>
                  <a:pt x="527" y="118"/>
                </a:cubicBezTo>
                <a:cubicBezTo>
                  <a:pt x="527" y="121"/>
                  <a:pt x="527" y="121"/>
                  <a:pt x="527" y="121"/>
                </a:cubicBezTo>
                <a:cubicBezTo>
                  <a:pt x="526" y="123"/>
                  <a:pt x="526" y="123"/>
                  <a:pt x="526" y="123"/>
                </a:cubicBezTo>
                <a:cubicBezTo>
                  <a:pt x="527" y="124"/>
                  <a:pt x="527" y="124"/>
                  <a:pt x="527" y="124"/>
                </a:cubicBezTo>
                <a:cubicBezTo>
                  <a:pt x="525" y="125"/>
                  <a:pt x="525" y="125"/>
                  <a:pt x="525" y="125"/>
                </a:cubicBezTo>
                <a:cubicBezTo>
                  <a:pt x="524" y="122"/>
                  <a:pt x="524" y="122"/>
                  <a:pt x="524" y="122"/>
                </a:cubicBezTo>
                <a:cubicBezTo>
                  <a:pt x="523" y="122"/>
                  <a:pt x="523" y="122"/>
                  <a:pt x="523" y="122"/>
                </a:cubicBezTo>
                <a:cubicBezTo>
                  <a:pt x="523" y="124"/>
                  <a:pt x="523" y="124"/>
                  <a:pt x="523" y="124"/>
                </a:cubicBezTo>
                <a:cubicBezTo>
                  <a:pt x="522" y="125"/>
                  <a:pt x="522" y="125"/>
                  <a:pt x="522" y="125"/>
                </a:cubicBezTo>
                <a:cubicBezTo>
                  <a:pt x="521" y="123"/>
                  <a:pt x="521" y="123"/>
                  <a:pt x="521" y="123"/>
                </a:cubicBezTo>
                <a:cubicBezTo>
                  <a:pt x="521" y="120"/>
                  <a:pt x="521" y="120"/>
                  <a:pt x="521" y="120"/>
                </a:cubicBezTo>
                <a:cubicBezTo>
                  <a:pt x="518" y="117"/>
                  <a:pt x="518" y="117"/>
                  <a:pt x="518" y="117"/>
                </a:cubicBezTo>
                <a:cubicBezTo>
                  <a:pt x="517" y="117"/>
                  <a:pt x="517" y="117"/>
                  <a:pt x="517" y="117"/>
                </a:cubicBezTo>
                <a:cubicBezTo>
                  <a:pt x="516" y="118"/>
                  <a:pt x="516" y="118"/>
                  <a:pt x="516" y="118"/>
                </a:cubicBezTo>
                <a:cubicBezTo>
                  <a:pt x="513" y="118"/>
                  <a:pt x="513" y="118"/>
                  <a:pt x="513" y="118"/>
                </a:cubicBezTo>
                <a:cubicBezTo>
                  <a:pt x="511" y="117"/>
                  <a:pt x="511" y="117"/>
                  <a:pt x="511" y="117"/>
                </a:cubicBezTo>
                <a:cubicBezTo>
                  <a:pt x="509" y="117"/>
                  <a:pt x="509" y="117"/>
                  <a:pt x="509" y="117"/>
                </a:cubicBezTo>
                <a:cubicBezTo>
                  <a:pt x="504" y="117"/>
                  <a:pt x="504" y="117"/>
                  <a:pt x="504" y="117"/>
                </a:cubicBezTo>
                <a:cubicBezTo>
                  <a:pt x="501" y="118"/>
                  <a:pt x="501" y="118"/>
                  <a:pt x="501" y="118"/>
                </a:cubicBezTo>
                <a:cubicBezTo>
                  <a:pt x="501" y="121"/>
                  <a:pt x="501" y="121"/>
                  <a:pt x="501" y="121"/>
                </a:cubicBezTo>
                <a:cubicBezTo>
                  <a:pt x="499" y="122"/>
                  <a:pt x="499" y="122"/>
                  <a:pt x="499" y="122"/>
                </a:cubicBezTo>
                <a:cubicBezTo>
                  <a:pt x="498" y="122"/>
                  <a:pt x="498" y="122"/>
                  <a:pt x="498" y="122"/>
                </a:cubicBezTo>
                <a:cubicBezTo>
                  <a:pt x="497" y="122"/>
                  <a:pt x="497" y="122"/>
                  <a:pt x="497" y="122"/>
                </a:cubicBezTo>
                <a:cubicBezTo>
                  <a:pt x="491" y="126"/>
                  <a:pt x="491" y="126"/>
                  <a:pt x="491" y="126"/>
                </a:cubicBezTo>
                <a:cubicBezTo>
                  <a:pt x="489" y="128"/>
                  <a:pt x="489" y="128"/>
                  <a:pt x="489" y="128"/>
                </a:cubicBezTo>
                <a:cubicBezTo>
                  <a:pt x="487" y="128"/>
                  <a:pt x="487" y="128"/>
                  <a:pt x="487" y="128"/>
                </a:cubicBezTo>
                <a:cubicBezTo>
                  <a:pt x="484" y="130"/>
                  <a:pt x="484" y="130"/>
                  <a:pt x="484" y="130"/>
                </a:cubicBezTo>
                <a:cubicBezTo>
                  <a:pt x="482" y="130"/>
                  <a:pt x="482" y="130"/>
                  <a:pt x="482" y="130"/>
                </a:cubicBezTo>
                <a:cubicBezTo>
                  <a:pt x="480" y="132"/>
                  <a:pt x="480" y="132"/>
                  <a:pt x="480" y="132"/>
                </a:cubicBezTo>
                <a:cubicBezTo>
                  <a:pt x="480" y="134"/>
                  <a:pt x="480" y="134"/>
                  <a:pt x="480" y="134"/>
                </a:cubicBezTo>
                <a:cubicBezTo>
                  <a:pt x="476" y="134"/>
                  <a:pt x="476" y="134"/>
                  <a:pt x="476" y="134"/>
                </a:cubicBezTo>
                <a:cubicBezTo>
                  <a:pt x="475" y="134"/>
                  <a:pt x="475" y="134"/>
                  <a:pt x="475" y="134"/>
                </a:cubicBezTo>
                <a:cubicBezTo>
                  <a:pt x="472" y="134"/>
                  <a:pt x="472" y="134"/>
                  <a:pt x="472" y="134"/>
                </a:cubicBezTo>
                <a:cubicBezTo>
                  <a:pt x="471" y="135"/>
                  <a:pt x="471" y="135"/>
                  <a:pt x="471" y="135"/>
                </a:cubicBezTo>
                <a:cubicBezTo>
                  <a:pt x="469" y="135"/>
                  <a:pt x="469" y="135"/>
                  <a:pt x="469" y="135"/>
                </a:cubicBezTo>
                <a:cubicBezTo>
                  <a:pt x="465" y="138"/>
                  <a:pt x="465" y="138"/>
                  <a:pt x="465" y="138"/>
                </a:cubicBezTo>
                <a:cubicBezTo>
                  <a:pt x="463" y="140"/>
                  <a:pt x="463" y="140"/>
                  <a:pt x="463" y="140"/>
                </a:cubicBezTo>
                <a:cubicBezTo>
                  <a:pt x="460" y="139"/>
                  <a:pt x="460" y="139"/>
                  <a:pt x="460" y="139"/>
                </a:cubicBezTo>
                <a:cubicBezTo>
                  <a:pt x="458" y="140"/>
                  <a:pt x="458" y="140"/>
                  <a:pt x="458" y="140"/>
                </a:cubicBezTo>
                <a:cubicBezTo>
                  <a:pt x="452" y="141"/>
                  <a:pt x="452" y="141"/>
                  <a:pt x="452" y="141"/>
                </a:cubicBezTo>
                <a:cubicBezTo>
                  <a:pt x="450" y="145"/>
                  <a:pt x="450" y="145"/>
                  <a:pt x="450" y="145"/>
                </a:cubicBezTo>
                <a:cubicBezTo>
                  <a:pt x="448" y="145"/>
                  <a:pt x="448" y="145"/>
                  <a:pt x="448" y="145"/>
                </a:cubicBezTo>
                <a:cubicBezTo>
                  <a:pt x="444" y="146"/>
                  <a:pt x="444" y="146"/>
                  <a:pt x="444" y="146"/>
                </a:cubicBezTo>
                <a:cubicBezTo>
                  <a:pt x="443" y="148"/>
                  <a:pt x="443" y="148"/>
                  <a:pt x="443" y="148"/>
                </a:cubicBezTo>
                <a:cubicBezTo>
                  <a:pt x="445" y="148"/>
                  <a:pt x="445" y="148"/>
                  <a:pt x="445" y="148"/>
                </a:cubicBezTo>
                <a:cubicBezTo>
                  <a:pt x="446" y="149"/>
                  <a:pt x="446" y="149"/>
                  <a:pt x="446" y="149"/>
                </a:cubicBezTo>
                <a:cubicBezTo>
                  <a:pt x="444" y="149"/>
                  <a:pt x="444" y="149"/>
                  <a:pt x="444" y="149"/>
                </a:cubicBezTo>
                <a:cubicBezTo>
                  <a:pt x="444" y="150"/>
                  <a:pt x="444" y="150"/>
                  <a:pt x="444" y="150"/>
                </a:cubicBezTo>
                <a:cubicBezTo>
                  <a:pt x="445" y="152"/>
                  <a:pt x="445" y="152"/>
                  <a:pt x="445" y="152"/>
                </a:cubicBezTo>
                <a:cubicBezTo>
                  <a:pt x="445" y="153"/>
                  <a:pt x="445" y="153"/>
                  <a:pt x="445" y="153"/>
                </a:cubicBezTo>
                <a:cubicBezTo>
                  <a:pt x="441" y="155"/>
                  <a:pt x="441" y="155"/>
                  <a:pt x="441" y="155"/>
                </a:cubicBezTo>
                <a:cubicBezTo>
                  <a:pt x="441" y="156"/>
                  <a:pt x="441" y="156"/>
                  <a:pt x="441" y="156"/>
                </a:cubicBezTo>
                <a:cubicBezTo>
                  <a:pt x="444" y="157"/>
                  <a:pt x="444" y="157"/>
                  <a:pt x="444" y="157"/>
                </a:cubicBezTo>
                <a:cubicBezTo>
                  <a:pt x="446" y="156"/>
                  <a:pt x="446" y="156"/>
                  <a:pt x="446" y="156"/>
                </a:cubicBezTo>
                <a:cubicBezTo>
                  <a:pt x="447" y="154"/>
                  <a:pt x="447" y="154"/>
                  <a:pt x="447" y="154"/>
                </a:cubicBezTo>
                <a:cubicBezTo>
                  <a:pt x="449" y="154"/>
                  <a:pt x="449" y="154"/>
                  <a:pt x="449" y="154"/>
                </a:cubicBezTo>
                <a:cubicBezTo>
                  <a:pt x="451" y="155"/>
                  <a:pt x="451" y="155"/>
                  <a:pt x="451" y="155"/>
                </a:cubicBezTo>
                <a:cubicBezTo>
                  <a:pt x="453" y="158"/>
                  <a:pt x="453" y="158"/>
                  <a:pt x="453" y="158"/>
                </a:cubicBezTo>
                <a:cubicBezTo>
                  <a:pt x="453" y="160"/>
                  <a:pt x="453" y="160"/>
                  <a:pt x="453" y="160"/>
                </a:cubicBezTo>
                <a:cubicBezTo>
                  <a:pt x="455" y="161"/>
                  <a:pt x="455" y="161"/>
                  <a:pt x="455" y="161"/>
                </a:cubicBezTo>
                <a:close/>
                <a:moveTo>
                  <a:pt x="688" y="298"/>
                </a:moveTo>
                <a:cubicBezTo>
                  <a:pt x="689" y="297"/>
                  <a:pt x="689" y="297"/>
                  <a:pt x="689" y="297"/>
                </a:cubicBezTo>
                <a:cubicBezTo>
                  <a:pt x="692" y="298"/>
                  <a:pt x="692" y="298"/>
                  <a:pt x="692" y="298"/>
                </a:cubicBezTo>
                <a:cubicBezTo>
                  <a:pt x="692" y="299"/>
                  <a:pt x="692" y="299"/>
                  <a:pt x="692" y="299"/>
                </a:cubicBezTo>
                <a:cubicBezTo>
                  <a:pt x="691" y="300"/>
                  <a:pt x="691" y="300"/>
                  <a:pt x="691" y="300"/>
                </a:cubicBezTo>
                <a:cubicBezTo>
                  <a:pt x="690" y="300"/>
                  <a:pt x="690" y="300"/>
                  <a:pt x="690" y="300"/>
                </a:cubicBezTo>
                <a:cubicBezTo>
                  <a:pt x="688" y="298"/>
                  <a:pt x="688" y="298"/>
                  <a:pt x="688" y="298"/>
                </a:cubicBezTo>
                <a:close/>
                <a:moveTo>
                  <a:pt x="661" y="245"/>
                </a:moveTo>
                <a:cubicBezTo>
                  <a:pt x="659" y="243"/>
                  <a:pt x="659" y="243"/>
                  <a:pt x="659" y="243"/>
                </a:cubicBezTo>
                <a:cubicBezTo>
                  <a:pt x="657" y="243"/>
                  <a:pt x="657" y="243"/>
                  <a:pt x="657" y="243"/>
                </a:cubicBezTo>
                <a:cubicBezTo>
                  <a:pt x="656" y="244"/>
                  <a:pt x="656" y="244"/>
                  <a:pt x="656" y="244"/>
                </a:cubicBezTo>
                <a:cubicBezTo>
                  <a:pt x="659" y="245"/>
                  <a:pt x="659" y="245"/>
                  <a:pt x="659" y="245"/>
                </a:cubicBezTo>
                <a:cubicBezTo>
                  <a:pt x="659" y="245"/>
                  <a:pt x="659" y="245"/>
                  <a:pt x="659" y="245"/>
                </a:cubicBezTo>
                <a:cubicBezTo>
                  <a:pt x="659" y="246"/>
                  <a:pt x="659" y="246"/>
                  <a:pt x="659" y="246"/>
                </a:cubicBezTo>
                <a:cubicBezTo>
                  <a:pt x="656" y="247"/>
                  <a:pt x="656" y="247"/>
                  <a:pt x="656" y="247"/>
                </a:cubicBezTo>
                <a:cubicBezTo>
                  <a:pt x="655" y="248"/>
                  <a:pt x="655" y="248"/>
                  <a:pt x="655" y="248"/>
                </a:cubicBezTo>
                <a:cubicBezTo>
                  <a:pt x="656" y="250"/>
                  <a:pt x="656" y="250"/>
                  <a:pt x="656" y="250"/>
                </a:cubicBezTo>
                <a:cubicBezTo>
                  <a:pt x="657" y="250"/>
                  <a:pt x="657" y="250"/>
                  <a:pt x="657" y="250"/>
                </a:cubicBezTo>
                <a:cubicBezTo>
                  <a:pt x="656" y="251"/>
                  <a:pt x="656" y="251"/>
                  <a:pt x="656" y="251"/>
                </a:cubicBezTo>
                <a:cubicBezTo>
                  <a:pt x="654" y="250"/>
                  <a:pt x="654" y="250"/>
                  <a:pt x="654" y="250"/>
                </a:cubicBezTo>
                <a:cubicBezTo>
                  <a:pt x="651" y="251"/>
                  <a:pt x="651" y="251"/>
                  <a:pt x="651" y="251"/>
                </a:cubicBezTo>
                <a:cubicBezTo>
                  <a:pt x="649" y="253"/>
                  <a:pt x="649" y="253"/>
                  <a:pt x="649" y="253"/>
                </a:cubicBezTo>
                <a:cubicBezTo>
                  <a:pt x="648" y="255"/>
                  <a:pt x="648" y="255"/>
                  <a:pt x="648" y="255"/>
                </a:cubicBezTo>
                <a:cubicBezTo>
                  <a:pt x="648" y="256"/>
                  <a:pt x="648" y="256"/>
                  <a:pt x="648" y="256"/>
                </a:cubicBezTo>
                <a:cubicBezTo>
                  <a:pt x="648" y="256"/>
                  <a:pt x="648" y="256"/>
                  <a:pt x="648" y="256"/>
                </a:cubicBezTo>
                <a:cubicBezTo>
                  <a:pt x="649" y="257"/>
                  <a:pt x="649" y="257"/>
                  <a:pt x="649" y="257"/>
                </a:cubicBezTo>
                <a:cubicBezTo>
                  <a:pt x="649" y="258"/>
                  <a:pt x="649" y="258"/>
                  <a:pt x="649" y="258"/>
                </a:cubicBezTo>
                <a:cubicBezTo>
                  <a:pt x="648" y="259"/>
                  <a:pt x="648" y="259"/>
                  <a:pt x="648" y="259"/>
                </a:cubicBezTo>
                <a:cubicBezTo>
                  <a:pt x="649" y="259"/>
                  <a:pt x="649" y="259"/>
                  <a:pt x="649" y="259"/>
                </a:cubicBezTo>
                <a:cubicBezTo>
                  <a:pt x="650" y="258"/>
                  <a:pt x="650" y="258"/>
                  <a:pt x="650" y="258"/>
                </a:cubicBezTo>
                <a:cubicBezTo>
                  <a:pt x="651" y="258"/>
                  <a:pt x="651" y="258"/>
                  <a:pt x="651" y="258"/>
                </a:cubicBezTo>
                <a:cubicBezTo>
                  <a:pt x="650" y="260"/>
                  <a:pt x="650" y="260"/>
                  <a:pt x="650" y="260"/>
                </a:cubicBezTo>
                <a:cubicBezTo>
                  <a:pt x="650" y="262"/>
                  <a:pt x="650" y="262"/>
                  <a:pt x="650" y="262"/>
                </a:cubicBezTo>
                <a:cubicBezTo>
                  <a:pt x="652" y="263"/>
                  <a:pt x="652" y="263"/>
                  <a:pt x="652" y="263"/>
                </a:cubicBezTo>
                <a:cubicBezTo>
                  <a:pt x="653" y="262"/>
                  <a:pt x="653" y="262"/>
                  <a:pt x="653" y="262"/>
                </a:cubicBezTo>
                <a:cubicBezTo>
                  <a:pt x="654" y="263"/>
                  <a:pt x="654" y="263"/>
                  <a:pt x="654" y="263"/>
                </a:cubicBezTo>
                <a:cubicBezTo>
                  <a:pt x="654" y="265"/>
                  <a:pt x="654" y="265"/>
                  <a:pt x="654" y="265"/>
                </a:cubicBezTo>
                <a:cubicBezTo>
                  <a:pt x="655" y="265"/>
                  <a:pt x="655" y="265"/>
                  <a:pt x="655" y="265"/>
                </a:cubicBezTo>
                <a:cubicBezTo>
                  <a:pt x="656" y="263"/>
                  <a:pt x="656" y="263"/>
                  <a:pt x="656" y="263"/>
                </a:cubicBezTo>
                <a:cubicBezTo>
                  <a:pt x="657" y="264"/>
                  <a:pt x="657" y="264"/>
                  <a:pt x="657" y="264"/>
                </a:cubicBezTo>
                <a:cubicBezTo>
                  <a:pt x="657" y="267"/>
                  <a:pt x="657" y="267"/>
                  <a:pt x="657" y="267"/>
                </a:cubicBezTo>
                <a:cubicBezTo>
                  <a:pt x="658" y="268"/>
                  <a:pt x="658" y="268"/>
                  <a:pt x="658" y="268"/>
                </a:cubicBezTo>
                <a:cubicBezTo>
                  <a:pt x="660" y="268"/>
                  <a:pt x="660" y="268"/>
                  <a:pt x="660" y="268"/>
                </a:cubicBezTo>
                <a:cubicBezTo>
                  <a:pt x="660" y="270"/>
                  <a:pt x="660" y="270"/>
                  <a:pt x="660" y="270"/>
                </a:cubicBezTo>
                <a:cubicBezTo>
                  <a:pt x="663" y="270"/>
                  <a:pt x="663" y="270"/>
                  <a:pt x="663" y="270"/>
                </a:cubicBezTo>
                <a:cubicBezTo>
                  <a:pt x="666" y="272"/>
                  <a:pt x="666" y="272"/>
                  <a:pt x="666" y="272"/>
                </a:cubicBezTo>
                <a:cubicBezTo>
                  <a:pt x="668" y="272"/>
                  <a:pt x="668" y="272"/>
                  <a:pt x="668" y="272"/>
                </a:cubicBezTo>
                <a:cubicBezTo>
                  <a:pt x="669" y="272"/>
                  <a:pt x="669" y="272"/>
                  <a:pt x="669" y="272"/>
                </a:cubicBezTo>
                <a:cubicBezTo>
                  <a:pt x="669" y="272"/>
                  <a:pt x="669" y="272"/>
                  <a:pt x="669" y="272"/>
                </a:cubicBezTo>
                <a:cubicBezTo>
                  <a:pt x="669" y="270"/>
                  <a:pt x="669" y="270"/>
                  <a:pt x="669" y="270"/>
                </a:cubicBezTo>
                <a:cubicBezTo>
                  <a:pt x="671" y="269"/>
                  <a:pt x="671" y="269"/>
                  <a:pt x="671" y="269"/>
                </a:cubicBezTo>
                <a:cubicBezTo>
                  <a:pt x="672" y="266"/>
                  <a:pt x="672" y="266"/>
                  <a:pt x="672" y="266"/>
                </a:cubicBezTo>
                <a:cubicBezTo>
                  <a:pt x="671" y="264"/>
                  <a:pt x="671" y="264"/>
                  <a:pt x="671" y="264"/>
                </a:cubicBezTo>
                <a:cubicBezTo>
                  <a:pt x="673" y="260"/>
                  <a:pt x="673" y="260"/>
                  <a:pt x="673" y="260"/>
                </a:cubicBezTo>
                <a:cubicBezTo>
                  <a:pt x="674" y="259"/>
                  <a:pt x="674" y="259"/>
                  <a:pt x="674" y="259"/>
                </a:cubicBezTo>
                <a:cubicBezTo>
                  <a:pt x="675" y="255"/>
                  <a:pt x="675" y="255"/>
                  <a:pt x="675" y="255"/>
                </a:cubicBezTo>
                <a:cubicBezTo>
                  <a:pt x="675" y="252"/>
                  <a:pt x="675" y="252"/>
                  <a:pt x="675" y="252"/>
                </a:cubicBezTo>
                <a:cubicBezTo>
                  <a:pt x="676" y="251"/>
                  <a:pt x="676" y="251"/>
                  <a:pt x="676" y="251"/>
                </a:cubicBezTo>
                <a:cubicBezTo>
                  <a:pt x="675" y="249"/>
                  <a:pt x="675" y="249"/>
                  <a:pt x="675" y="249"/>
                </a:cubicBezTo>
                <a:cubicBezTo>
                  <a:pt x="674" y="247"/>
                  <a:pt x="674" y="247"/>
                  <a:pt x="674" y="247"/>
                </a:cubicBezTo>
                <a:cubicBezTo>
                  <a:pt x="674" y="245"/>
                  <a:pt x="674" y="245"/>
                  <a:pt x="674" y="245"/>
                </a:cubicBezTo>
                <a:cubicBezTo>
                  <a:pt x="673" y="244"/>
                  <a:pt x="673" y="244"/>
                  <a:pt x="673" y="244"/>
                </a:cubicBezTo>
                <a:cubicBezTo>
                  <a:pt x="672" y="242"/>
                  <a:pt x="672" y="242"/>
                  <a:pt x="672" y="242"/>
                </a:cubicBezTo>
                <a:cubicBezTo>
                  <a:pt x="669" y="240"/>
                  <a:pt x="669" y="240"/>
                  <a:pt x="669" y="240"/>
                </a:cubicBezTo>
                <a:cubicBezTo>
                  <a:pt x="666" y="241"/>
                  <a:pt x="666" y="241"/>
                  <a:pt x="666" y="241"/>
                </a:cubicBezTo>
                <a:cubicBezTo>
                  <a:pt x="664" y="240"/>
                  <a:pt x="664" y="240"/>
                  <a:pt x="664" y="240"/>
                </a:cubicBezTo>
                <a:cubicBezTo>
                  <a:pt x="661" y="241"/>
                  <a:pt x="661" y="241"/>
                  <a:pt x="661" y="241"/>
                </a:cubicBezTo>
                <a:cubicBezTo>
                  <a:pt x="661" y="242"/>
                  <a:pt x="661" y="242"/>
                  <a:pt x="661" y="242"/>
                </a:cubicBezTo>
                <a:cubicBezTo>
                  <a:pt x="662" y="244"/>
                  <a:pt x="662" y="244"/>
                  <a:pt x="662" y="244"/>
                </a:cubicBezTo>
                <a:cubicBezTo>
                  <a:pt x="662" y="245"/>
                  <a:pt x="662" y="245"/>
                  <a:pt x="662" y="245"/>
                </a:cubicBezTo>
                <a:cubicBezTo>
                  <a:pt x="661" y="245"/>
                  <a:pt x="661" y="245"/>
                  <a:pt x="661" y="245"/>
                </a:cubicBezTo>
                <a:close/>
                <a:moveTo>
                  <a:pt x="677" y="226"/>
                </a:moveTo>
                <a:cubicBezTo>
                  <a:pt x="675" y="225"/>
                  <a:pt x="675" y="225"/>
                  <a:pt x="675" y="225"/>
                </a:cubicBezTo>
                <a:cubicBezTo>
                  <a:pt x="676" y="224"/>
                  <a:pt x="676" y="224"/>
                  <a:pt x="676" y="224"/>
                </a:cubicBezTo>
                <a:cubicBezTo>
                  <a:pt x="678" y="223"/>
                  <a:pt x="678" y="223"/>
                  <a:pt x="678" y="223"/>
                </a:cubicBezTo>
                <a:cubicBezTo>
                  <a:pt x="678" y="223"/>
                  <a:pt x="677" y="226"/>
                  <a:pt x="677" y="226"/>
                </a:cubicBezTo>
                <a:close/>
                <a:moveTo>
                  <a:pt x="674" y="238"/>
                </a:moveTo>
                <a:cubicBezTo>
                  <a:pt x="674" y="236"/>
                  <a:pt x="674" y="236"/>
                  <a:pt x="674" y="236"/>
                </a:cubicBezTo>
                <a:cubicBezTo>
                  <a:pt x="673" y="235"/>
                  <a:pt x="673" y="235"/>
                  <a:pt x="673" y="235"/>
                </a:cubicBezTo>
                <a:cubicBezTo>
                  <a:pt x="673" y="234"/>
                  <a:pt x="673" y="234"/>
                  <a:pt x="673" y="234"/>
                </a:cubicBezTo>
                <a:cubicBezTo>
                  <a:pt x="674" y="233"/>
                  <a:pt x="674" y="233"/>
                  <a:pt x="674" y="233"/>
                </a:cubicBezTo>
                <a:cubicBezTo>
                  <a:pt x="674" y="231"/>
                  <a:pt x="674" y="231"/>
                  <a:pt x="674" y="231"/>
                </a:cubicBezTo>
                <a:cubicBezTo>
                  <a:pt x="674" y="230"/>
                  <a:pt x="674" y="230"/>
                  <a:pt x="674" y="230"/>
                </a:cubicBezTo>
                <a:cubicBezTo>
                  <a:pt x="678" y="230"/>
                  <a:pt x="678" y="230"/>
                  <a:pt x="678" y="230"/>
                </a:cubicBezTo>
                <a:cubicBezTo>
                  <a:pt x="676" y="235"/>
                  <a:pt x="676" y="235"/>
                  <a:pt x="676" y="235"/>
                </a:cubicBezTo>
                <a:cubicBezTo>
                  <a:pt x="675" y="237"/>
                  <a:pt x="675" y="237"/>
                  <a:pt x="675" y="237"/>
                </a:cubicBezTo>
                <a:cubicBezTo>
                  <a:pt x="675" y="237"/>
                  <a:pt x="674" y="238"/>
                  <a:pt x="674" y="238"/>
                </a:cubicBezTo>
                <a:close/>
                <a:moveTo>
                  <a:pt x="657" y="233"/>
                </a:moveTo>
                <a:cubicBezTo>
                  <a:pt x="656" y="232"/>
                  <a:pt x="656" y="232"/>
                  <a:pt x="656" y="232"/>
                </a:cubicBezTo>
                <a:cubicBezTo>
                  <a:pt x="657" y="230"/>
                  <a:pt x="657" y="230"/>
                  <a:pt x="657" y="230"/>
                </a:cubicBezTo>
                <a:cubicBezTo>
                  <a:pt x="660" y="230"/>
                  <a:pt x="660" y="230"/>
                  <a:pt x="660" y="230"/>
                </a:cubicBezTo>
                <a:cubicBezTo>
                  <a:pt x="660" y="231"/>
                  <a:pt x="660" y="231"/>
                  <a:pt x="660" y="231"/>
                </a:cubicBezTo>
                <a:cubicBezTo>
                  <a:pt x="659" y="231"/>
                  <a:pt x="659" y="231"/>
                  <a:pt x="659" y="231"/>
                </a:cubicBezTo>
                <a:cubicBezTo>
                  <a:pt x="658" y="232"/>
                  <a:pt x="658" y="232"/>
                  <a:pt x="658" y="232"/>
                </a:cubicBezTo>
                <a:cubicBezTo>
                  <a:pt x="657" y="233"/>
                  <a:pt x="657" y="233"/>
                  <a:pt x="657" y="233"/>
                </a:cubicBezTo>
                <a:close/>
                <a:moveTo>
                  <a:pt x="653" y="236"/>
                </a:moveTo>
                <a:cubicBezTo>
                  <a:pt x="652" y="235"/>
                  <a:pt x="652" y="235"/>
                  <a:pt x="652" y="235"/>
                </a:cubicBezTo>
                <a:cubicBezTo>
                  <a:pt x="654" y="234"/>
                  <a:pt x="654" y="234"/>
                  <a:pt x="654" y="234"/>
                </a:cubicBezTo>
                <a:cubicBezTo>
                  <a:pt x="655" y="234"/>
                  <a:pt x="655" y="234"/>
                  <a:pt x="655" y="234"/>
                </a:cubicBezTo>
                <a:cubicBezTo>
                  <a:pt x="654" y="235"/>
                  <a:pt x="654" y="235"/>
                  <a:pt x="654" y="235"/>
                </a:cubicBezTo>
                <a:cubicBezTo>
                  <a:pt x="653" y="236"/>
                  <a:pt x="653" y="236"/>
                  <a:pt x="653" y="236"/>
                </a:cubicBezTo>
                <a:close/>
                <a:moveTo>
                  <a:pt x="656" y="241"/>
                </a:moveTo>
                <a:cubicBezTo>
                  <a:pt x="656" y="240"/>
                  <a:pt x="656" y="240"/>
                  <a:pt x="656" y="240"/>
                </a:cubicBezTo>
                <a:cubicBezTo>
                  <a:pt x="656" y="239"/>
                  <a:pt x="656" y="239"/>
                  <a:pt x="656" y="239"/>
                </a:cubicBezTo>
                <a:cubicBezTo>
                  <a:pt x="656" y="237"/>
                  <a:pt x="656" y="237"/>
                  <a:pt x="656" y="237"/>
                </a:cubicBezTo>
                <a:cubicBezTo>
                  <a:pt x="657" y="237"/>
                  <a:pt x="657" y="237"/>
                  <a:pt x="657" y="237"/>
                </a:cubicBezTo>
                <a:cubicBezTo>
                  <a:pt x="658" y="238"/>
                  <a:pt x="658" y="238"/>
                  <a:pt x="658" y="238"/>
                </a:cubicBezTo>
                <a:cubicBezTo>
                  <a:pt x="659" y="239"/>
                  <a:pt x="659" y="239"/>
                  <a:pt x="659" y="239"/>
                </a:cubicBezTo>
                <a:cubicBezTo>
                  <a:pt x="657" y="241"/>
                  <a:pt x="657" y="241"/>
                  <a:pt x="657" y="241"/>
                </a:cubicBezTo>
                <a:cubicBezTo>
                  <a:pt x="656" y="241"/>
                  <a:pt x="656" y="241"/>
                  <a:pt x="656" y="241"/>
                </a:cubicBezTo>
                <a:close/>
                <a:moveTo>
                  <a:pt x="651" y="243"/>
                </a:moveTo>
                <a:cubicBezTo>
                  <a:pt x="650" y="243"/>
                  <a:pt x="650" y="243"/>
                  <a:pt x="650" y="243"/>
                </a:cubicBezTo>
                <a:cubicBezTo>
                  <a:pt x="649" y="239"/>
                  <a:pt x="649" y="239"/>
                  <a:pt x="649" y="239"/>
                </a:cubicBezTo>
                <a:cubicBezTo>
                  <a:pt x="650" y="239"/>
                  <a:pt x="650" y="239"/>
                  <a:pt x="650" y="239"/>
                </a:cubicBezTo>
                <a:cubicBezTo>
                  <a:pt x="651" y="238"/>
                  <a:pt x="651" y="238"/>
                  <a:pt x="651" y="238"/>
                </a:cubicBezTo>
                <a:cubicBezTo>
                  <a:pt x="653" y="237"/>
                  <a:pt x="653" y="237"/>
                  <a:pt x="653" y="237"/>
                </a:cubicBezTo>
                <a:cubicBezTo>
                  <a:pt x="654" y="238"/>
                  <a:pt x="654" y="238"/>
                  <a:pt x="654" y="238"/>
                </a:cubicBezTo>
                <a:cubicBezTo>
                  <a:pt x="655" y="239"/>
                  <a:pt x="655" y="239"/>
                  <a:pt x="655" y="239"/>
                </a:cubicBezTo>
                <a:cubicBezTo>
                  <a:pt x="654" y="240"/>
                  <a:pt x="654" y="240"/>
                  <a:pt x="654" y="240"/>
                </a:cubicBezTo>
                <a:cubicBezTo>
                  <a:pt x="654" y="242"/>
                  <a:pt x="654" y="242"/>
                  <a:pt x="654" y="242"/>
                </a:cubicBezTo>
                <a:cubicBezTo>
                  <a:pt x="653" y="242"/>
                  <a:pt x="653" y="242"/>
                  <a:pt x="653" y="242"/>
                </a:cubicBezTo>
                <a:cubicBezTo>
                  <a:pt x="652" y="243"/>
                  <a:pt x="652" y="243"/>
                  <a:pt x="652" y="243"/>
                </a:cubicBezTo>
                <a:cubicBezTo>
                  <a:pt x="651" y="243"/>
                  <a:pt x="651" y="243"/>
                  <a:pt x="651" y="243"/>
                </a:cubicBezTo>
                <a:close/>
                <a:moveTo>
                  <a:pt x="645" y="245"/>
                </a:moveTo>
                <a:cubicBezTo>
                  <a:pt x="645" y="243"/>
                  <a:pt x="645" y="243"/>
                  <a:pt x="645" y="243"/>
                </a:cubicBezTo>
                <a:cubicBezTo>
                  <a:pt x="646" y="242"/>
                  <a:pt x="646" y="242"/>
                  <a:pt x="646" y="242"/>
                </a:cubicBezTo>
                <a:cubicBezTo>
                  <a:pt x="646" y="243"/>
                  <a:pt x="646" y="243"/>
                  <a:pt x="646" y="243"/>
                </a:cubicBezTo>
                <a:cubicBezTo>
                  <a:pt x="646" y="244"/>
                  <a:pt x="646" y="244"/>
                  <a:pt x="646" y="244"/>
                </a:cubicBezTo>
                <a:cubicBezTo>
                  <a:pt x="645" y="245"/>
                  <a:pt x="645" y="245"/>
                  <a:pt x="645" y="245"/>
                </a:cubicBezTo>
                <a:close/>
                <a:moveTo>
                  <a:pt x="620" y="248"/>
                </a:moveTo>
                <a:cubicBezTo>
                  <a:pt x="619" y="247"/>
                  <a:pt x="619" y="247"/>
                  <a:pt x="619" y="247"/>
                </a:cubicBezTo>
                <a:cubicBezTo>
                  <a:pt x="616" y="247"/>
                  <a:pt x="616" y="247"/>
                  <a:pt x="616" y="247"/>
                </a:cubicBezTo>
                <a:cubicBezTo>
                  <a:pt x="615" y="245"/>
                  <a:pt x="615" y="245"/>
                  <a:pt x="615" y="245"/>
                </a:cubicBezTo>
                <a:cubicBezTo>
                  <a:pt x="615" y="243"/>
                  <a:pt x="615" y="243"/>
                  <a:pt x="615" y="243"/>
                </a:cubicBezTo>
                <a:cubicBezTo>
                  <a:pt x="616" y="242"/>
                  <a:pt x="616" y="242"/>
                  <a:pt x="616" y="242"/>
                </a:cubicBezTo>
                <a:cubicBezTo>
                  <a:pt x="615" y="241"/>
                  <a:pt x="615" y="241"/>
                  <a:pt x="615" y="241"/>
                </a:cubicBezTo>
                <a:cubicBezTo>
                  <a:pt x="616" y="238"/>
                  <a:pt x="616" y="238"/>
                  <a:pt x="616" y="238"/>
                </a:cubicBezTo>
                <a:cubicBezTo>
                  <a:pt x="617" y="239"/>
                  <a:pt x="617" y="239"/>
                  <a:pt x="617" y="239"/>
                </a:cubicBezTo>
                <a:cubicBezTo>
                  <a:pt x="618" y="240"/>
                  <a:pt x="618" y="240"/>
                  <a:pt x="618" y="240"/>
                </a:cubicBezTo>
                <a:cubicBezTo>
                  <a:pt x="620" y="240"/>
                  <a:pt x="620" y="240"/>
                  <a:pt x="620" y="240"/>
                </a:cubicBezTo>
                <a:cubicBezTo>
                  <a:pt x="618" y="238"/>
                  <a:pt x="618" y="238"/>
                  <a:pt x="618" y="238"/>
                </a:cubicBezTo>
                <a:cubicBezTo>
                  <a:pt x="619" y="237"/>
                  <a:pt x="619" y="237"/>
                  <a:pt x="619" y="237"/>
                </a:cubicBezTo>
                <a:cubicBezTo>
                  <a:pt x="617" y="236"/>
                  <a:pt x="617" y="236"/>
                  <a:pt x="617" y="236"/>
                </a:cubicBezTo>
                <a:cubicBezTo>
                  <a:pt x="616" y="235"/>
                  <a:pt x="616" y="235"/>
                  <a:pt x="616" y="235"/>
                </a:cubicBezTo>
                <a:cubicBezTo>
                  <a:pt x="616" y="234"/>
                  <a:pt x="616" y="234"/>
                  <a:pt x="616" y="234"/>
                </a:cubicBezTo>
                <a:cubicBezTo>
                  <a:pt x="615" y="233"/>
                  <a:pt x="615" y="233"/>
                  <a:pt x="615" y="233"/>
                </a:cubicBezTo>
                <a:cubicBezTo>
                  <a:pt x="616" y="233"/>
                  <a:pt x="616" y="233"/>
                  <a:pt x="616" y="233"/>
                </a:cubicBezTo>
                <a:cubicBezTo>
                  <a:pt x="617" y="234"/>
                  <a:pt x="617" y="234"/>
                  <a:pt x="617" y="234"/>
                </a:cubicBezTo>
                <a:cubicBezTo>
                  <a:pt x="618" y="233"/>
                  <a:pt x="618" y="233"/>
                  <a:pt x="618" y="233"/>
                </a:cubicBezTo>
                <a:cubicBezTo>
                  <a:pt x="618" y="232"/>
                  <a:pt x="618" y="232"/>
                  <a:pt x="618" y="232"/>
                </a:cubicBezTo>
                <a:cubicBezTo>
                  <a:pt x="619" y="231"/>
                  <a:pt x="619" y="231"/>
                  <a:pt x="619" y="231"/>
                </a:cubicBezTo>
                <a:cubicBezTo>
                  <a:pt x="621" y="232"/>
                  <a:pt x="621" y="232"/>
                  <a:pt x="621" y="232"/>
                </a:cubicBezTo>
                <a:cubicBezTo>
                  <a:pt x="625" y="233"/>
                  <a:pt x="625" y="233"/>
                  <a:pt x="625" y="233"/>
                </a:cubicBezTo>
                <a:cubicBezTo>
                  <a:pt x="626" y="232"/>
                  <a:pt x="626" y="232"/>
                  <a:pt x="626" y="232"/>
                </a:cubicBezTo>
                <a:cubicBezTo>
                  <a:pt x="625" y="231"/>
                  <a:pt x="625" y="231"/>
                  <a:pt x="625" y="231"/>
                </a:cubicBezTo>
                <a:cubicBezTo>
                  <a:pt x="623" y="231"/>
                  <a:pt x="623" y="231"/>
                  <a:pt x="623" y="231"/>
                </a:cubicBezTo>
                <a:cubicBezTo>
                  <a:pt x="624" y="231"/>
                  <a:pt x="624" y="231"/>
                  <a:pt x="624" y="231"/>
                </a:cubicBezTo>
                <a:cubicBezTo>
                  <a:pt x="628" y="230"/>
                  <a:pt x="628" y="230"/>
                  <a:pt x="628" y="230"/>
                </a:cubicBezTo>
                <a:cubicBezTo>
                  <a:pt x="630" y="229"/>
                  <a:pt x="630" y="229"/>
                  <a:pt x="630" y="229"/>
                </a:cubicBezTo>
                <a:cubicBezTo>
                  <a:pt x="633" y="229"/>
                  <a:pt x="633" y="229"/>
                  <a:pt x="633" y="229"/>
                </a:cubicBezTo>
                <a:cubicBezTo>
                  <a:pt x="636" y="229"/>
                  <a:pt x="636" y="229"/>
                  <a:pt x="636" y="229"/>
                </a:cubicBezTo>
                <a:cubicBezTo>
                  <a:pt x="637" y="228"/>
                  <a:pt x="637" y="228"/>
                  <a:pt x="637" y="228"/>
                </a:cubicBezTo>
                <a:cubicBezTo>
                  <a:pt x="636" y="227"/>
                  <a:pt x="636" y="227"/>
                  <a:pt x="636" y="227"/>
                </a:cubicBezTo>
                <a:cubicBezTo>
                  <a:pt x="626" y="225"/>
                  <a:pt x="626" y="225"/>
                  <a:pt x="626" y="225"/>
                </a:cubicBezTo>
                <a:cubicBezTo>
                  <a:pt x="624" y="225"/>
                  <a:pt x="624" y="225"/>
                  <a:pt x="624" y="225"/>
                </a:cubicBezTo>
                <a:cubicBezTo>
                  <a:pt x="622" y="224"/>
                  <a:pt x="622" y="224"/>
                  <a:pt x="622" y="224"/>
                </a:cubicBezTo>
                <a:cubicBezTo>
                  <a:pt x="619" y="225"/>
                  <a:pt x="619" y="225"/>
                  <a:pt x="619" y="225"/>
                </a:cubicBezTo>
                <a:cubicBezTo>
                  <a:pt x="616" y="224"/>
                  <a:pt x="616" y="224"/>
                  <a:pt x="616" y="224"/>
                </a:cubicBezTo>
                <a:cubicBezTo>
                  <a:pt x="615" y="224"/>
                  <a:pt x="615" y="224"/>
                  <a:pt x="615" y="224"/>
                </a:cubicBezTo>
                <a:cubicBezTo>
                  <a:pt x="613" y="223"/>
                  <a:pt x="613" y="223"/>
                  <a:pt x="613" y="223"/>
                </a:cubicBezTo>
                <a:cubicBezTo>
                  <a:pt x="611" y="223"/>
                  <a:pt x="611" y="223"/>
                  <a:pt x="611" y="223"/>
                </a:cubicBezTo>
                <a:cubicBezTo>
                  <a:pt x="610" y="224"/>
                  <a:pt x="610" y="224"/>
                  <a:pt x="610" y="224"/>
                </a:cubicBezTo>
                <a:cubicBezTo>
                  <a:pt x="609" y="223"/>
                  <a:pt x="609" y="223"/>
                  <a:pt x="609" y="223"/>
                </a:cubicBezTo>
                <a:cubicBezTo>
                  <a:pt x="607" y="224"/>
                  <a:pt x="607" y="224"/>
                  <a:pt x="607" y="224"/>
                </a:cubicBezTo>
                <a:cubicBezTo>
                  <a:pt x="606" y="223"/>
                  <a:pt x="606" y="223"/>
                  <a:pt x="606" y="223"/>
                </a:cubicBezTo>
                <a:cubicBezTo>
                  <a:pt x="606" y="220"/>
                  <a:pt x="606" y="220"/>
                  <a:pt x="606" y="220"/>
                </a:cubicBezTo>
                <a:cubicBezTo>
                  <a:pt x="608" y="220"/>
                  <a:pt x="608" y="220"/>
                  <a:pt x="608" y="220"/>
                </a:cubicBezTo>
                <a:cubicBezTo>
                  <a:pt x="609" y="219"/>
                  <a:pt x="609" y="219"/>
                  <a:pt x="609" y="219"/>
                </a:cubicBezTo>
                <a:cubicBezTo>
                  <a:pt x="611" y="220"/>
                  <a:pt x="611" y="220"/>
                  <a:pt x="611" y="220"/>
                </a:cubicBezTo>
                <a:cubicBezTo>
                  <a:pt x="612" y="219"/>
                  <a:pt x="612" y="219"/>
                  <a:pt x="612" y="219"/>
                </a:cubicBezTo>
                <a:cubicBezTo>
                  <a:pt x="611" y="218"/>
                  <a:pt x="611" y="218"/>
                  <a:pt x="611" y="218"/>
                </a:cubicBezTo>
                <a:cubicBezTo>
                  <a:pt x="612" y="216"/>
                  <a:pt x="612" y="216"/>
                  <a:pt x="612" y="216"/>
                </a:cubicBezTo>
                <a:cubicBezTo>
                  <a:pt x="613" y="215"/>
                  <a:pt x="613" y="215"/>
                  <a:pt x="613" y="215"/>
                </a:cubicBezTo>
                <a:cubicBezTo>
                  <a:pt x="616" y="215"/>
                  <a:pt x="616" y="215"/>
                  <a:pt x="616" y="215"/>
                </a:cubicBezTo>
                <a:cubicBezTo>
                  <a:pt x="617" y="215"/>
                  <a:pt x="617" y="215"/>
                  <a:pt x="617" y="215"/>
                </a:cubicBezTo>
                <a:cubicBezTo>
                  <a:pt x="617" y="217"/>
                  <a:pt x="617" y="217"/>
                  <a:pt x="617" y="217"/>
                </a:cubicBezTo>
                <a:cubicBezTo>
                  <a:pt x="618" y="218"/>
                  <a:pt x="618" y="218"/>
                  <a:pt x="618" y="218"/>
                </a:cubicBezTo>
                <a:cubicBezTo>
                  <a:pt x="618" y="221"/>
                  <a:pt x="618" y="221"/>
                  <a:pt x="618" y="221"/>
                </a:cubicBezTo>
                <a:cubicBezTo>
                  <a:pt x="619" y="221"/>
                  <a:pt x="619" y="221"/>
                  <a:pt x="619" y="221"/>
                </a:cubicBezTo>
                <a:cubicBezTo>
                  <a:pt x="620" y="220"/>
                  <a:pt x="620" y="220"/>
                  <a:pt x="620" y="220"/>
                </a:cubicBezTo>
                <a:cubicBezTo>
                  <a:pt x="620" y="218"/>
                  <a:pt x="620" y="218"/>
                  <a:pt x="620" y="218"/>
                </a:cubicBezTo>
                <a:cubicBezTo>
                  <a:pt x="619" y="216"/>
                  <a:pt x="619" y="216"/>
                  <a:pt x="619" y="216"/>
                </a:cubicBezTo>
                <a:cubicBezTo>
                  <a:pt x="620" y="214"/>
                  <a:pt x="620" y="214"/>
                  <a:pt x="620" y="214"/>
                </a:cubicBezTo>
                <a:cubicBezTo>
                  <a:pt x="622" y="213"/>
                  <a:pt x="622" y="213"/>
                  <a:pt x="622" y="213"/>
                </a:cubicBezTo>
                <a:cubicBezTo>
                  <a:pt x="622" y="212"/>
                  <a:pt x="622" y="212"/>
                  <a:pt x="622" y="212"/>
                </a:cubicBezTo>
                <a:cubicBezTo>
                  <a:pt x="620" y="211"/>
                  <a:pt x="620" y="211"/>
                  <a:pt x="620" y="211"/>
                </a:cubicBezTo>
                <a:cubicBezTo>
                  <a:pt x="621" y="208"/>
                  <a:pt x="621" y="208"/>
                  <a:pt x="621" y="208"/>
                </a:cubicBezTo>
                <a:cubicBezTo>
                  <a:pt x="623" y="207"/>
                  <a:pt x="623" y="207"/>
                  <a:pt x="623" y="207"/>
                </a:cubicBezTo>
                <a:cubicBezTo>
                  <a:pt x="624" y="206"/>
                  <a:pt x="624" y="206"/>
                  <a:pt x="624" y="206"/>
                </a:cubicBezTo>
                <a:cubicBezTo>
                  <a:pt x="626" y="205"/>
                  <a:pt x="626" y="205"/>
                  <a:pt x="626" y="205"/>
                </a:cubicBezTo>
                <a:cubicBezTo>
                  <a:pt x="625" y="203"/>
                  <a:pt x="625" y="203"/>
                  <a:pt x="625" y="203"/>
                </a:cubicBezTo>
                <a:cubicBezTo>
                  <a:pt x="624" y="203"/>
                  <a:pt x="624" y="203"/>
                  <a:pt x="624" y="203"/>
                </a:cubicBezTo>
                <a:cubicBezTo>
                  <a:pt x="623" y="203"/>
                  <a:pt x="623" y="203"/>
                  <a:pt x="623" y="203"/>
                </a:cubicBezTo>
                <a:cubicBezTo>
                  <a:pt x="623" y="201"/>
                  <a:pt x="623" y="201"/>
                  <a:pt x="623" y="201"/>
                </a:cubicBezTo>
                <a:cubicBezTo>
                  <a:pt x="625" y="199"/>
                  <a:pt x="625" y="199"/>
                  <a:pt x="625" y="199"/>
                </a:cubicBezTo>
                <a:cubicBezTo>
                  <a:pt x="626" y="198"/>
                  <a:pt x="626" y="198"/>
                  <a:pt x="626" y="198"/>
                </a:cubicBezTo>
                <a:cubicBezTo>
                  <a:pt x="628" y="197"/>
                  <a:pt x="628" y="197"/>
                  <a:pt x="628" y="197"/>
                </a:cubicBezTo>
                <a:cubicBezTo>
                  <a:pt x="629" y="198"/>
                  <a:pt x="629" y="198"/>
                  <a:pt x="629" y="198"/>
                </a:cubicBezTo>
                <a:cubicBezTo>
                  <a:pt x="630" y="200"/>
                  <a:pt x="630" y="200"/>
                  <a:pt x="630" y="200"/>
                </a:cubicBezTo>
                <a:cubicBezTo>
                  <a:pt x="631" y="201"/>
                  <a:pt x="631" y="201"/>
                  <a:pt x="631" y="201"/>
                </a:cubicBezTo>
                <a:cubicBezTo>
                  <a:pt x="631" y="203"/>
                  <a:pt x="631" y="203"/>
                  <a:pt x="631" y="203"/>
                </a:cubicBezTo>
                <a:cubicBezTo>
                  <a:pt x="630" y="204"/>
                  <a:pt x="630" y="204"/>
                  <a:pt x="630" y="204"/>
                </a:cubicBezTo>
                <a:cubicBezTo>
                  <a:pt x="631" y="206"/>
                  <a:pt x="631" y="206"/>
                  <a:pt x="631" y="206"/>
                </a:cubicBezTo>
                <a:cubicBezTo>
                  <a:pt x="632" y="208"/>
                  <a:pt x="632" y="208"/>
                  <a:pt x="632" y="208"/>
                </a:cubicBezTo>
                <a:cubicBezTo>
                  <a:pt x="633" y="214"/>
                  <a:pt x="633" y="214"/>
                  <a:pt x="633" y="214"/>
                </a:cubicBezTo>
                <a:cubicBezTo>
                  <a:pt x="633" y="216"/>
                  <a:pt x="633" y="216"/>
                  <a:pt x="633" y="216"/>
                </a:cubicBezTo>
                <a:cubicBezTo>
                  <a:pt x="633" y="218"/>
                  <a:pt x="633" y="218"/>
                  <a:pt x="633" y="218"/>
                </a:cubicBezTo>
                <a:cubicBezTo>
                  <a:pt x="635" y="219"/>
                  <a:pt x="635" y="219"/>
                  <a:pt x="635" y="219"/>
                </a:cubicBezTo>
                <a:cubicBezTo>
                  <a:pt x="637" y="217"/>
                  <a:pt x="637" y="217"/>
                  <a:pt x="637" y="217"/>
                </a:cubicBezTo>
                <a:cubicBezTo>
                  <a:pt x="636" y="216"/>
                  <a:pt x="636" y="216"/>
                  <a:pt x="636" y="216"/>
                </a:cubicBezTo>
                <a:cubicBezTo>
                  <a:pt x="637" y="212"/>
                  <a:pt x="637" y="212"/>
                  <a:pt x="637" y="212"/>
                </a:cubicBezTo>
                <a:cubicBezTo>
                  <a:pt x="639" y="212"/>
                  <a:pt x="639" y="212"/>
                  <a:pt x="639" y="212"/>
                </a:cubicBezTo>
                <a:cubicBezTo>
                  <a:pt x="639" y="210"/>
                  <a:pt x="639" y="210"/>
                  <a:pt x="639" y="210"/>
                </a:cubicBezTo>
                <a:cubicBezTo>
                  <a:pt x="635" y="207"/>
                  <a:pt x="635" y="207"/>
                  <a:pt x="635" y="207"/>
                </a:cubicBezTo>
                <a:cubicBezTo>
                  <a:pt x="636" y="206"/>
                  <a:pt x="636" y="206"/>
                  <a:pt x="636" y="206"/>
                </a:cubicBezTo>
                <a:cubicBezTo>
                  <a:pt x="637" y="206"/>
                  <a:pt x="637" y="206"/>
                  <a:pt x="637" y="206"/>
                </a:cubicBezTo>
                <a:cubicBezTo>
                  <a:pt x="640" y="207"/>
                  <a:pt x="640" y="207"/>
                  <a:pt x="640" y="207"/>
                </a:cubicBezTo>
                <a:cubicBezTo>
                  <a:pt x="639" y="206"/>
                  <a:pt x="639" y="206"/>
                  <a:pt x="639" y="206"/>
                </a:cubicBezTo>
                <a:cubicBezTo>
                  <a:pt x="637" y="203"/>
                  <a:pt x="637" y="203"/>
                  <a:pt x="637" y="203"/>
                </a:cubicBezTo>
                <a:cubicBezTo>
                  <a:pt x="636" y="200"/>
                  <a:pt x="636" y="200"/>
                  <a:pt x="636" y="200"/>
                </a:cubicBezTo>
                <a:cubicBezTo>
                  <a:pt x="637" y="199"/>
                  <a:pt x="637" y="199"/>
                  <a:pt x="637" y="199"/>
                </a:cubicBezTo>
                <a:cubicBezTo>
                  <a:pt x="637" y="196"/>
                  <a:pt x="637" y="196"/>
                  <a:pt x="637" y="196"/>
                </a:cubicBezTo>
                <a:cubicBezTo>
                  <a:pt x="639" y="195"/>
                  <a:pt x="639" y="195"/>
                  <a:pt x="639" y="195"/>
                </a:cubicBezTo>
                <a:cubicBezTo>
                  <a:pt x="641" y="194"/>
                  <a:pt x="641" y="194"/>
                  <a:pt x="641" y="194"/>
                </a:cubicBezTo>
                <a:cubicBezTo>
                  <a:pt x="641" y="193"/>
                  <a:pt x="641" y="193"/>
                  <a:pt x="641" y="193"/>
                </a:cubicBezTo>
                <a:cubicBezTo>
                  <a:pt x="644" y="193"/>
                  <a:pt x="644" y="193"/>
                  <a:pt x="644" y="193"/>
                </a:cubicBezTo>
                <a:cubicBezTo>
                  <a:pt x="644" y="193"/>
                  <a:pt x="646" y="192"/>
                  <a:pt x="646" y="192"/>
                </a:cubicBezTo>
                <a:cubicBezTo>
                  <a:pt x="646" y="192"/>
                  <a:pt x="648" y="192"/>
                  <a:pt x="648" y="192"/>
                </a:cubicBezTo>
                <a:cubicBezTo>
                  <a:pt x="648" y="194"/>
                  <a:pt x="648" y="194"/>
                  <a:pt x="648" y="194"/>
                </a:cubicBezTo>
                <a:cubicBezTo>
                  <a:pt x="650" y="195"/>
                  <a:pt x="650" y="195"/>
                  <a:pt x="650" y="195"/>
                </a:cubicBezTo>
                <a:cubicBezTo>
                  <a:pt x="652" y="194"/>
                  <a:pt x="652" y="194"/>
                  <a:pt x="652" y="194"/>
                </a:cubicBezTo>
                <a:cubicBezTo>
                  <a:pt x="653" y="195"/>
                  <a:pt x="653" y="195"/>
                  <a:pt x="653" y="195"/>
                </a:cubicBezTo>
                <a:cubicBezTo>
                  <a:pt x="652" y="200"/>
                  <a:pt x="652" y="200"/>
                  <a:pt x="652" y="200"/>
                </a:cubicBezTo>
                <a:cubicBezTo>
                  <a:pt x="651" y="202"/>
                  <a:pt x="651" y="202"/>
                  <a:pt x="651" y="202"/>
                </a:cubicBezTo>
                <a:cubicBezTo>
                  <a:pt x="651" y="204"/>
                  <a:pt x="651" y="204"/>
                  <a:pt x="651" y="204"/>
                </a:cubicBezTo>
                <a:cubicBezTo>
                  <a:pt x="652" y="204"/>
                  <a:pt x="652" y="204"/>
                  <a:pt x="652" y="204"/>
                </a:cubicBezTo>
                <a:cubicBezTo>
                  <a:pt x="653" y="203"/>
                  <a:pt x="653" y="203"/>
                  <a:pt x="653" y="203"/>
                </a:cubicBezTo>
                <a:cubicBezTo>
                  <a:pt x="654" y="203"/>
                  <a:pt x="654" y="203"/>
                  <a:pt x="654" y="203"/>
                </a:cubicBezTo>
                <a:cubicBezTo>
                  <a:pt x="656" y="202"/>
                  <a:pt x="656" y="202"/>
                  <a:pt x="656" y="202"/>
                </a:cubicBezTo>
                <a:cubicBezTo>
                  <a:pt x="656" y="198"/>
                  <a:pt x="656" y="198"/>
                  <a:pt x="656" y="198"/>
                </a:cubicBezTo>
                <a:cubicBezTo>
                  <a:pt x="657" y="196"/>
                  <a:pt x="657" y="196"/>
                  <a:pt x="657" y="196"/>
                </a:cubicBezTo>
                <a:cubicBezTo>
                  <a:pt x="659" y="198"/>
                  <a:pt x="659" y="198"/>
                  <a:pt x="659" y="198"/>
                </a:cubicBezTo>
                <a:cubicBezTo>
                  <a:pt x="661" y="197"/>
                  <a:pt x="661" y="197"/>
                  <a:pt x="661" y="197"/>
                </a:cubicBezTo>
                <a:cubicBezTo>
                  <a:pt x="661" y="195"/>
                  <a:pt x="661" y="195"/>
                  <a:pt x="661" y="195"/>
                </a:cubicBezTo>
                <a:cubicBezTo>
                  <a:pt x="660" y="194"/>
                  <a:pt x="660" y="194"/>
                  <a:pt x="660" y="194"/>
                </a:cubicBezTo>
                <a:cubicBezTo>
                  <a:pt x="662" y="194"/>
                  <a:pt x="662" y="194"/>
                  <a:pt x="662" y="194"/>
                </a:cubicBezTo>
                <a:cubicBezTo>
                  <a:pt x="663" y="196"/>
                  <a:pt x="663" y="196"/>
                  <a:pt x="663" y="196"/>
                </a:cubicBezTo>
                <a:cubicBezTo>
                  <a:pt x="662" y="198"/>
                  <a:pt x="662" y="198"/>
                  <a:pt x="662" y="198"/>
                </a:cubicBezTo>
                <a:cubicBezTo>
                  <a:pt x="663" y="199"/>
                  <a:pt x="663" y="199"/>
                  <a:pt x="663" y="199"/>
                </a:cubicBezTo>
                <a:cubicBezTo>
                  <a:pt x="662" y="200"/>
                  <a:pt x="662" y="200"/>
                  <a:pt x="662" y="200"/>
                </a:cubicBezTo>
                <a:cubicBezTo>
                  <a:pt x="661" y="200"/>
                  <a:pt x="661" y="200"/>
                  <a:pt x="661" y="200"/>
                </a:cubicBezTo>
                <a:cubicBezTo>
                  <a:pt x="662" y="202"/>
                  <a:pt x="662" y="202"/>
                  <a:pt x="662" y="202"/>
                </a:cubicBezTo>
                <a:cubicBezTo>
                  <a:pt x="665" y="203"/>
                  <a:pt x="665" y="203"/>
                  <a:pt x="665" y="203"/>
                </a:cubicBezTo>
                <a:cubicBezTo>
                  <a:pt x="666" y="205"/>
                  <a:pt x="666" y="205"/>
                  <a:pt x="666" y="205"/>
                </a:cubicBezTo>
                <a:cubicBezTo>
                  <a:pt x="665" y="207"/>
                  <a:pt x="665" y="207"/>
                  <a:pt x="665" y="207"/>
                </a:cubicBezTo>
                <a:cubicBezTo>
                  <a:pt x="663" y="209"/>
                  <a:pt x="663" y="209"/>
                  <a:pt x="663" y="209"/>
                </a:cubicBezTo>
                <a:cubicBezTo>
                  <a:pt x="661" y="212"/>
                  <a:pt x="661" y="212"/>
                  <a:pt x="661" y="212"/>
                </a:cubicBezTo>
                <a:cubicBezTo>
                  <a:pt x="661" y="215"/>
                  <a:pt x="661" y="215"/>
                  <a:pt x="661" y="215"/>
                </a:cubicBezTo>
                <a:cubicBezTo>
                  <a:pt x="660" y="217"/>
                  <a:pt x="660" y="217"/>
                  <a:pt x="660" y="217"/>
                </a:cubicBezTo>
                <a:cubicBezTo>
                  <a:pt x="658" y="218"/>
                  <a:pt x="658" y="218"/>
                  <a:pt x="658" y="218"/>
                </a:cubicBezTo>
                <a:cubicBezTo>
                  <a:pt x="655" y="221"/>
                  <a:pt x="655" y="221"/>
                  <a:pt x="655" y="221"/>
                </a:cubicBezTo>
                <a:cubicBezTo>
                  <a:pt x="655" y="222"/>
                  <a:pt x="655" y="222"/>
                  <a:pt x="655" y="222"/>
                </a:cubicBezTo>
                <a:cubicBezTo>
                  <a:pt x="652" y="225"/>
                  <a:pt x="652" y="225"/>
                  <a:pt x="652" y="225"/>
                </a:cubicBezTo>
                <a:cubicBezTo>
                  <a:pt x="652" y="226"/>
                  <a:pt x="652" y="226"/>
                  <a:pt x="652" y="226"/>
                </a:cubicBezTo>
                <a:cubicBezTo>
                  <a:pt x="652" y="228"/>
                  <a:pt x="652" y="228"/>
                  <a:pt x="652" y="228"/>
                </a:cubicBezTo>
                <a:cubicBezTo>
                  <a:pt x="650" y="228"/>
                  <a:pt x="650" y="228"/>
                  <a:pt x="650" y="228"/>
                </a:cubicBezTo>
                <a:cubicBezTo>
                  <a:pt x="649" y="228"/>
                  <a:pt x="649" y="228"/>
                  <a:pt x="649" y="228"/>
                </a:cubicBezTo>
                <a:cubicBezTo>
                  <a:pt x="647" y="229"/>
                  <a:pt x="647" y="229"/>
                  <a:pt x="647" y="229"/>
                </a:cubicBezTo>
                <a:cubicBezTo>
                  <a:pt x="647" y="230"/>
                  <a:pt x="647" y="230"/>
                  <a:pt x="647" y="230"/>
                </a:cubicBezTo>
                <a:cubicBezTo>
                  <a:pt x="650" y="232"/>
                  <a:pt x="650" y="232"/>
                  <a:pt x="650" y="232"/>
                </a:cubicBezTo>
                <a:cubicBezTo>
                  <a:pt x="650" y="233"/>
                  <a:pt x="650" y="233"/>
                  <a:pt x="650" y="233"/>
                </a:cubicBezTo>
                <a:cubicBezTo>
                  <a:pt x="647" y="237"/>
                  <a:pt x="647" y="237"/>
                  <a:pt x="647" y="237"/>
                </a:cubicBezTo>
                <a:cubicBezTo>
                  <a:pt x="646" y="238"/>
                  <a:pt x="646" y="238"/>
                  <a:pt x="646" y="238"/>
                </a:cubicBezTo>
                <a:cubicBezTo>
                  <a:pt x="646" y="237"/>
                  <a:pt x="646" y="237"/>
                  <a:pt x="646" y="237"/>
                </a:cubicBezTo>
                <a:cubicBezTo>
                  <a:pt x="646" y="235"/>
                  <a:pt x="646" y="235"/>
                  <a:pt x="646" y="235"/>
                </a:cubicBezTo>
                <a:cubicBezTo>
                  <a:pt x="645" y="235"/>
                  <a:pt x="645" y="235"/>
                  <a:pt x="645" y="235"/>
                </a:cubicBezTo>
                <a:cubicBezTo>
                  <a:pt x="643" y="235"/>
                  <a:pt x="643" y="235"/>
                  <a:pt x="643" y="235"/>
                </a:cubicBezTo>
                <a:cubicBezTo>
                  <a:pt x="643" y="237"/>
                  <a:pt x="643" y="237"/>
                  <a:pt x="643" y="237"/>
                </a:cubicBezTo>
                <a:cubicBezTo>
                  <a:pt x="642" y="238"/>
                  <a:pt x="642" y="238"/>
                  <a:pt x="642" y="238"/>
                </a:cubicBezTo>
                <a:cubicBezTo>
                  <a:pt x="641" y="239"/>
                  <a:pt x="641" y="239"/>
                  <a:pt x="641" y="239"/>
                </a:cubicBezTo>
                <a:cubicBezTo>
                  <a:pt x="638" y="240"/>
                  <a:pt x="638" y="240"/>
                  <a:pt x="638" y="240"/>
                </a:cubicBezTo>
                <a:cubicBezTo>
                  <a:pt x="637" y="242"/>
                  <a:pt x="637" y="242"/>
                  <a:pt x="637" y="242"/>
                </a:cubicBezTo>
                <a:cubicBezTo>
                  <a:pt x="639" y="242"/>
                  <a:pt x="639" y="242"/>
                  <a:pt x="639" y="242"/>
                </a:cubicBezTo>
                <a:cubicBezTo>
                  <a:pt x="641" y="242"/>
                  <a:pt x="641" y="242"/>
                  <a:pt x="641" y="242"/>
                </a:cubicBezTo>
                <a:cubicBezTo>
                  <a:pt x="640" y="243"/>
                  <a:pt x="640" y="243"/>
                  <a:pt x="640" y="243"/>
                </a:cubicBezTo>
                <a:cubicBezTo>
                  <a:pt x="639" y="245"/>
                  <a:pt x="639" y="245"/>
                  <a:pt x="639" y="245"/>
                </a:cubicBezTo>
                <a:cubicBezTo>
                  <a:pt x="639" y="246"/>
                  <a:pt x="639" y="246"/>
                  <a:pt x="639" y="246"/>
                </a:cubicBezTo>
                <a:cubicBezTo>
                  <a:pt x="639" y="248"/>
                  <a:pt x="639" y="248"/>
                  <a:pt x="639" y="248"/>
                </a:cubicBezTo>
                <a:cubicBezTo>
                  <a:pt x="639" y="249"/>
                  <a:pt x="639" y="249"/>
                  <a:pt x="639" y="249"/>
                </a:cubicBezTo>
                <a:cubicBezTo>
                  <a:pt x="637" y="247"/>
                  <a:pt x="637" y="247"/>
                  <a:pt x="637" y="247"/>
                </a:cubicBezTo>
                <a:cubicBezTo>
                  <a:pt x="637" y="244"/>
                  <a:pt x="637" y="244"/>
                  <a:pt x="637" y="244"/>
                </a:cubicBezTo>
                <a:cubicBezTo>
                  <a:pt x="636" y="243"/>
                  <a:pt x="636" y="243"/>
                  <a:pt x="636" y="243"/>
                </a:cubicBezTo>
                <a:cubicBezTo>
                  <a:pt x="636" y="244"/>
                  <a:pt x="636" y="244"/>
                  <a:pt x="636" y="244"/>
                </a:cubicBezTo>
                <a:cubicBezTo>
                  <a:pt x="635" y="246"/>
                  <a:pt x="635" y="246"/>
                  <a:pt x="635" y="246"/>
                </a:cubicBezTo>
                <a:cubicBezTo>
                  <a:pt x="636" y="248"/>
                  <a:pt x="636" y="248"/>
                  <a:pt x="636" y="248"/>
                </a:cubicBezTo>
                <a:cubicBezTo>
                  <a:pt x="634" y="250"/>
                  <a:pt x="634" y="250"/>
                  <a:pt x="634" y="250"/>
                </a:cubicBezTo>
                <a:cubicBezTo>
                  <a:pt x="628" y="250"/>
                  <a:pt x="628" y="250"/>
                  <a:pt x="628" y="250"/>
                </a:cubicBezTo>
                <a:cubicBezTo>
                  <a:pt x="627" y="248"/>
                  <a:pt x="627" y="248"/>
                  <a:pt x="627" y="248"/>
                </a:cubicBezTo>
                <a:cubicBezTo>
                  <a:pt x="627" y="247"/>
                  <a:pt x="627" y="247"/>
                  <a:pt x="627" y="247"/>
                </a:cubicBezTo>
                <a:cubicBezTo>
                  <a:pt x="625" y="248"/>
                  <a:pt x="625" y="248"/>
                  <a:pt x="625" y="248"/>
                </a:cubicBezTo>
                <a:cubicBezTo>
                  <a:pt x="623" y="248"/>
                  <a:pt x="623" y="248"/>
                  <a:pt x="623" y="248"/>
                </a:cubicBezTo>
                <a:cubicBezTo>
                  <a:pt x="623" y="247"/>
                  <a:pt x="623" y="247"/>
                  <a:pt x="623" y="247"/>
                </a:cubicBezTo>
                <a:cubicBezTo>
                  <a:pt x="625" y="245"/>
                  <a:pt x="625" y="245"/>
                  <a:pt x="625" y="245"/>
                </a:cubicBezTo>
                <a:cubicBezTo>
                  <a:pt x="622" y="246"/>
                  <a:pt x="622" y="246"/>
                  <a:pt x="622" y="246"/>
                </a:cubicBezTo>
                <a:cubicBezTo>
                  <a:pt x="621" y="248"/>
                  <a:pt x="621" y="248"/>
                  <a:pt x="621" y="248"/>
                </a:cubicBezTo>
                <a:cubicBezTo>
                  <a:pt x="620" y="248"/>
                  <a:pt x="620" y="248"/>
                  <a:pt x="620" y="248"/>
                </a:cubicBezTo>
                <a:close/>
                <a:moveTo>
                  <a:pt x="461" y="181"/>
                </a:moveTo>
                <a:cubicBezTo>
                  <a:pt x="460" y="180"/>
                  <a:pt x="460" y="180"/>
                  <a:pt x="460" y="180"/>
                </a:cubicBezTo>
                <a:cubicBezTo>
                  <a:pt x="461" y="177"/>
                  <a:pt x="461" y="177"/>
                  <a:pt x="461" y="177"/>
                </a:cubicBezTo>
                <a:cubicBezTo>
                  <a:pt x="466" y="173"/>
                  <a:pt x="466" y="173"/>
                  <a:pt x="466" y="173"/>
                </a:cubicBezTo>
                <a:cubicBezTo>
                  <a:pt x="469" y="172"/>
                  <a:pt x="469" y="172"/>
                  <a:pt x="469" y="172"/>
                </a:cubicBezTo>
                <a:cubicBezTo>
                  <a:pt x="471" y="171"/>
                  <a:pt x="471" y="171"/>
                  <a:pt x="471" y="171"/>
                </a:cubicBezTo>
                <a:cubicBezTo>
                  <a:pt x="473" y="171"/>
                  <a:pt x="473" y="171"/>
                  <a:pt x="473" y="171"/>
                </a:cubicBezTo>
                <a:cubicBezTo>
                  <a:pt x="476" y="168"/>
                  <a:pt x="476" y="168"/>
                  <a:pt x="476" y="168"/>
                </a:cubicBezTo>
                <a:cubicBezTo>
                  <a:pt x="480" y="168"/>
                  <a:pt x="480" y="168"/>
                  <a:pt x="480" y="168"/>
                </a:cubicBezTo>
                <a:cubicBezTo>
                  <a:pt x="482" y="167"/>
                  <a:pt x="482" y="167"/>
                  <a:pt x="482" y="167"/>
                </a:cubicBezTo>
                <a:cubicBezTo>
                  <a:pt x="483" y="167"/>
                  <a:pt x="483" y="167"/>
                  <a:pt x="483" y="167"/>
                </a:cubicBezTo>
                <a:cubicBezTo>
                  <a:pt x="487" y="166"/>
                  <a:pt x="487" y="166"/>
                  <a:pt x="487" y="166"/>
                </a:cubicBezTo>
                <a:cubicBezTo>
                  <a:pt x="488" y="166"/>
                  <a:pt x="488" y="166"/>
                  <a:pt x="488" y="166"/>
                </a:cubicBezTo>
                <a:cubicBezTo>
                  <a:pt x="487" y="168"/>
                  <a:pt x="487" y="168"/>
                  <a:pt x="487" y="168"/>
                </a:cubicBezTo>
                <a:cubicBezTo>
                  <a:pt x="484" y="171"/>
                  <a:pt x="484" y="171"/>
                  <a:pt x="484" y="171"/>
                </a:cubicBezTo>
                <a:cubicBezTo>
                  <a:pt x="480" y="173"/>
                  <a:pt x="480" y="173"/>
                  <a:pt x="480" y="173"/>
                </a:cubicBezTo>
                <a:cubicBezTo>
                  <a:pt x="473" y="178"/>
                  <a:pt x="473" y="178"/>
                  <a:pt x="473" y="178"/>
                </a:cubicBezTo>
                <a:cubicBezTo>
                  <a:pt x="470" y="181"/>
                  <a:pt x="470" y="181"/>
                  <a:pt x="470" y="181"/>
                </a:cubicBezTo>
                <a:cubicBezTo>
                  <a:pt x="468" y="182"/>
                  <a:pt x="468" y="182"/>
                  <a:pt x="468" y="182"/>
                </a:cubicBezTo>
                <a:cubicBezTo>
                  <a:pt x="467" y="182"/>
                  <a:pt x="467" y="182"/>
                  <a:pt x="467" y="182"/>
                </a:cubicBezTo>
                <a:cubicBezTo>
                  <a:pt x="466" y="184"/>
                  <a:pt x="466" y="184"/>
                  <a:pt x="466" y="184"/>
                </a:cubicBezTo>
                <a:cubicBezTo>
                  <a:pt x="465" y="184"/>
                  <a:pt x="465" y="184"/>
                  <a:pt x="465" y="184"/>
                </a:cubicBezTo>
                <a:cubicBezTo>
                  <a:pt x="464" y="181"/>
                  <a:pt x="464" y="181"/>
                  <a:pt x="464" y="181"/>
                </a:cubicBezTo>
                <a:cubicBezTo>
                  <a:pt x="462" y="181"/>
                  <a:pt x="462" y="181"/>
                  <a:pt x="462" y="181"/>
                </a:cubicBezTo>
                <a:cubicBezTo>
                  <a:pt x="461" y="181"/>
                  <a:pt x="461" y="181"/>
                  <a:pt x="461" y="181"/>
                </a:cubicBezTo>
                <a:close/>
                <a:moveTo>
                  <a:pt x="579" y="231"/>
                </a:moveTo>
                <a:cubicBezTo>
                  <a:pt x="578" y="230"/>
                  <a:pt x="578" y="230"/>
                  <a:pt x="578" y="230"/>
                </a:cubicBezTo>
                <a:cubicBezTo>
                  <a:pt x="579" y="229"/>
                  <a:pt x="579" y="229"/>
                  <a:pt x="579" y="229"/>
                </a:cubicBezTo>
                <a:cubicBezTo>
                  <a:pt x="581" y="228"/>
                  <a:pt x="581" y="228"/>
                  <a:pt x="581" y="228"/>
                </a:cubicBezTo>
                <a:cubicBezTo>
                  <a:pt x="582" y="226"/>
                  <a:pt x="582" y="226"/>
                  <a:pt x="582" y="226"/>
                </a:cubicBezTo>
                <a:cubicBezTo>
                  <a:pt x="582" y="225"/>
                  <a:pt x="582" y="225"/>
                  <a:pt x="582" y="225"/>
                </a:cubicBezTo>
                <a:cubicBezTo>
                  <a:pt x="586" y="223"/>
                  <a:pt x="586" y="223"/>
                  <a:pt x="586" y="223"/>
                </a:cubicBezTo>
                <a:cubicBezTo>
                  <a:pt x="586" y="222"/>
                  <a:pt x="586" y="222"/>
                  <a:pt x="586" y="222"/>
                </a:cubicBezTo>
                <a:cubicBezTo>
                  <a:pt x="589" y="222"/>
                  <a:pt x="589" y="222"/>
                  <a:pt x="589" y="222"/>
                </a:cubicBezTo>
                <a:cubicBezTo>
                  <a:pt x="589" y="225"/>
                  <a:pt x="589" y="225"/>
                  <a:pt x="589" y="225"/>
                </a:cubicBezTo>
                <a:cubicBezTo>
                  <a:pt x="589" y="226"/>
                  <a:pt x="589" y="226"/>
                  <a:pt x="589" y="226"/>
                </a:cubicBezTo>
                <a:cubicBezTo>
                  <a:pt x="589" y="229"/>
                  <a:pt x="589" y="229"/>
                  <a:pt x="589" y="229"/>
                </a:cubicBezTo>
                <a:cubicBezTo>
                  <a:pt x="588" y="231"/>
                  <a:pt x="588" y="231"/>
                  <a:pt x="588" y="231"/>
                </a:cubicBezTo>
                <a:cubicBezTo>
                  <a:pt x="586" y="233"/>
                  <a:pt x="586" y="233"/>
                  <a:pt x="586" y="233"/>
                </a:cubicBezTo>
                <a:cubicBezTo>
                  <a:pt x="584" y="233"/>
                  <a:pt x="584" y="233"/>
                  <a:pt x="584" y="233"/>
                </a:cubicBezTo>
                <a:cubicBezTo>
                  <a:pt x="583" y="234"/>
                  <a:pt x="583" y="234"/>
                  <a:pt x="583" y="234"/>
                </a:cubicBezTo>
                <a:cubicBezTo>
                  <a:pt x="581" y="234"/>
                  <a:pt x="581" y="234"/>
                  <a:pt x="581" y="234"/>
                </a:cubicBezTo>
                <a:cubicBezTo>
                  <a:pt x="580" y="232"/>
                  <a:pt x="580" y="232"/>
                  <a:pt x="580" y="232"/>
                </a:cubicBezTo>
                <a:cubicBezTo>
                  <a:pt x="579" y="231"/>
                  <a:pt x="579" y="231"/>
                  <a:pt x="579" y="231"/>
                </a:cubicBezTo>
                <a:close/>
                <a:moveTo>
                  <a:pt x="485" y="227"/>
                </a:moveTo>
                <a:cubicBezTo>
                  <a:pt x="485" y="225"/>
                  <a:pt x="485" y="225"/>
                  <a:pt x="485" y="225"/>
                </a:cubicBezTo>
                <a:cubicBezTo>
                  <a:pt x="485" y="223"/>
                  <a:pt x="485" y="223"/>
                  <a:pt x="485" y="223"/>
                </a:cubicBezTo>
                <a:cubicBezTo>
                  <a:pt x="485" y="219"/>
                  <a:pt x="485" y="219"/>
                  <a:pt x="485" y="219"/>
                </a:cubicBezTo>
                <a:cubicBezTo>
                  <a:pt x="489" y="218"/>
                  <a:pt x="489" y="218"/>
                  <a:pt x="489" y="218"/>
                </a:cubicBezTo>
                <a:cubicBezTo>
                  <a:pt x="493" y="219"/>
                  <a:pt x="493" y="219"/>
                  <a:pt x="493" y="219"/>
                </a:cubicBezTo>
                <a:cubicBezTo>
                  <a:pt x="494" y="218"/>
                  <a:pt x="494" y="218"/>
                  <a:pt x="494" y="218"/>
                </a:cubicBezTo>
                <a:cubicBezTo>
                  <a:pt x="497" y="219"/>
                  <a:pt x="497" y="219"/>
                  <a:pt x="497" y="219"/>
                </a:cubicBezTo>
                <a:cubicBezTo>
                  <a:pt x="499" y="218"/>
                  <a:pt x="499" y="218"/>
                  <a:pt x="499" y="218"/>
                </a:cubicBezTo>
                <a:cubicBezTo>
                  <a:pt x="503" y="217"/>
                  <a:pt x="503" y="217"/>
                  <a:pt x="503" y="217"/>
                </a:cubicBezTo>
                <a:cubicBezTo>
                  <a:pt x="507" y="217"/>
                  <a:pt x="507" y="217"/>
                  <a:pt x="507" y="217"/>
                </a:cubicBezTo>
                <a:cubicBezTo>
                  <a:pt x="510" y="218"/>
                  <a:pt x="510" y="218"/>
                  <a:pt x="510" y="218"/>
                </a:cubicBezTo>
                <a:cubicBezTo>
                  <a:pt x="513" y="218"/>
                  <a:pt x="513" y="218"/>
                  <a:pt x="513" y="218"/>
                </a:cubicBezTo>
                <a:cubicBezTo>
                  <a:pt x="515" y="219"/>
                  <a:pt x="515" y="219"/>
                  <a:pt x="515" y="219"/>
                </a:cubicBezTo>
                <a:cubicBezTo>
                  <a:pt x="517" y="217"/>
                  <a:pt x="517" y="217"/>
                  <a:pt x="517" y="217"/>
                </a:cubicBezTo>
                <a:cubicBezTo>
                  <a:pt x="523" y="217"/>
                  <a:pt x="523" y="217"/>
                  <a:pt x="523" y="217"/>
                </a:cubicBezTo>
                <a:cubicBezTo>
                  <a:pt x="523" y="215"/>
                  <a:pt x="523" y="215"/>
                  <a:pt x="523" y="215"/>
                </a:cubicBezTo>
                <a:cubicBezTo>
                  <a:pt x="525" y="214"/>
                  <a:pt x="525" y="214"/>
                  <a:pt x="525" y="214"/>
                </a:cubicBezTo>
                <a:cubicBezTo>
                  <a:pt x="524" y="213"/>
                  <a:pt x="524" y="213"/>
                  <a:pt x="524" y="213"/>
                </a:cubicBezTo>
                <a:cubicBezTo>
                  <a:pt x="522" y="215"/>
                  <a:pt x="522" y="215"/>
                  <a:pt x="522" y="215"/>
                </a:cubicBezTo>
                <a:cubicBezTo>
                  <a:pt x="519" y="215"/>
                  <a:pt x="519" y="215"/>
                  <a:pt x="519" y="215"/>
                </a:cubicBezTo>
                <a:cubicBezTo>
                  <a:pt x="519" y="213"/>
                  <a:pt x="519" y="213"/>
                  <a:pt x="519" y="213"/>
                </a:cubicBezTo>
                <a:cubicBezTo>
                  <a:pt x="515" y="215"/>
                  <a:pt x="515" y="215"/>
                  <a:pt x="515" y="215"/>
                </a:cubicBezTo>
                <a:cubicBezTo>
                  <a:pt x="512" y="215"/>
                  <a:pt x="512" y="215"/>
                  <a:pt x="512" y="215"/>
                </a:cubicBezTo>
                <a:cubicBezTo>
                  <a:pt x="512" y="213"/>
                  <a:pt x="512" y="213"/>
                  <a:pt x="512" y="213"/>
                </a:cubicBezTo>
                <a:cubicBezTo>
                  <a:pt x="511" y="212"/>
                  <a:pt x="511" y="212"/>
                  <a:pt x="511" y="212"/>
                </a:cubicBezTo>
                <a:cubicBezTo>
                  <a:pt x="509" y="213"/>
                  <a:pt x="509" y="213"/>
                  <a:pt x="509" y="213"/>
                </a:cubicBezTo>
                <a:cubicBezTo>
                  <a:pt x="506" y="213"/>
                  <a:pt x="506" y="213"/>
                  <a:pt x="506" y="213"/>
                </a:cubicBezTo>
                <a:cubicBezTo>
                  <a:pt x="504" y="214"/>
                  <a:pt x="504" y="214"/>
                  <a:pt x="504" y="214"/>
                </a:cubicBezTo>
                <a:cubicBezTo>
                  <a:pt x="503" y="213"/>
                  <a:pt x="503" y="213"/>
                  <a:pt x="503" y="213"/>
                </a:cubicBezTo>
                <a:cubicBezTo>
                  <a:pt x="501" y="214"/>
                  <a:pt x="501" y="214"/>
                  <a:pt x="501" y="214"/>
                </a:cubicBezTo>
                <a:cubicBezTo>
                  <a:pt x="498" y="213"/>
                  <a:pt x="498" y="213"/>
                  <a:pt x="498" y="213"/>
                </a:cubicBezTo>
                <a:cubicBezTo>
                  <a:pt x="498" y="211"/>
                  <a:pt x="498" y="211"/>
                  <a:pt x="498" y="211"/>
                </a:cubicBezTo>
                <a:cubicBezTo>
                  <a:pt x="500" y="209"/>
                  <a:pt x="500" y="209"/>
                  <a:pt x="500" y="209"/>
                </a:cubicBezTo>
                <a:cubicBezTo>
                  <a:pt x="503" y="206"/>
                  <a:pt x="503" y="206"/>
                  <a:pt x="503" y="206"/>
                </a:cubicBezTo>
                <a:cubicBezTo>
                  <a:pt x="502" y="206"/>
                  <a:pt x="502" y="206"/>
                  <a:pt x="502" y="206"/>
                </a:cubicBezTo>
                <a:cubicBezTo>
                  <a:pt x="499" y="207"/>
                  <a:pt x="499" y="207"/>
                  <a:pt x="499" y="207"/>
                </a:cubicBezTo>
                <a:cubicBezTo>
                  <a:pt x="497" y="209"/>
                  <a:pt x="497" y="209"/>
                  <a:pt x="497" y="209"/>
                </a:cubicBezTo>
                <a:cubicBezTo>
                  <a:pt x="496" y="206"/>
                  <a:pt x="496" y="206"/>
                  <a:pt x="496" y="206"/>
                </a:cubicBezTo>
                <a:cubicBezTo>
                  <a:pt x="495" y="207"/>
                  <a:pt x="495" y="207"/>
                  <a:pt x="495" y="207"/>
                </a:cubicBezTo>
                <a:cubicBezTo>
                  <a:pt x="495" y="209"/>
                  <a:pt x="495" y="209"/>
                  <a:pt x="495" y="209"/>
                </a:cubicBezTo>
                <a:cubicBezTo>
                  <a:pt x="491" y="212"/>
                  <a:pt x="491" y="212"/>
                  <a:pt x="491" y="212"/>
                </a:cubicBezTo>
                <a:cubicBezTo>
                  <a:pt x="490" y="213"/>
                  <a:pt x="490" y="213"/>
                  <a:pt x="490" y="213"/>
                </a:cubicBezTo>
                <a:cubicBezTo>
                  <a:pt x="488" y="214"/>
                  <a:pt x="488" y="214"/>
                  <a:pt x="488" y="214"/>
                </a:cubicBezTo>
                <a:cubicBezTo>
                  <a:pt x="485" y="212"/>
                  <a:pt x="485" y="212"/>
                  <a:pt x="485" y="212"/>
                </a:cubicBezTo>
                <a:cubicBezTo>
                  <a:pt x="485" y="210"/>
                  <a:pt x="485" y="210"/>
                  <a:pt x="485" y="210"/>
                </a:cubicBezTo>
                <a:cubicBezTo>
                  <a:pt x="487" y="208"/>
                  <a:pt x="487" y="208"/>
                  <a:pt x="487" y="208"/>
                </a:cubicBezTo>
                <a:cubicBezTo>
                  <a:pt x="485" y="208"/>
                  <a:pt x="485" y="208"/>
                  <a:pt x="485" y="208"/>
                </a:cubicBezTo>
                <a:cubicBezTo>
                  <a:pt x="483" y="207"/>
                  <a:pt x="483" y="207"/>
                  <a:pt x="483" y="207"/>
                </a:cubicBezTo>
                <a:cubicBezTo>
                  <a:pt x="483" y="211"/>
                  <a:pt x="483" y="211"/>
                  <a:pt x="483" y="211"/>
                </a:cubicBezTo>
                <a:cubicBezTo>
                  <a:pt x="482" y="212"/>
                  <a:pt x="482" y="212"/>
                  <a:pt x="482" y="212"/>
                </a:cubicBezTo>
                <a:cubicBezTo>
                  <a:pt x="479" y="211"/>
                  <a:pt x="479" y="211"/>
                  <a:pt x="479" y="211"/>
                </a:cubicBezTo>
                <a:cubicBezTo>
                  <a:pt x="479" y="208"/>
                  <a:pt x="479" y="208"/>
                  <a:pt x="479" y="208"/>
                </a:cubicBezTo>
                <a:cubicBezTo>
                  <a:pt x="477" y="206"/>
                  <a:pt x="477" y="206"/>
                  <a:pt x="477" y="206"/>
                </a:cubicBezTo>
                <a:cubicBezTo>
                  <a:pt x="477" y="204"/>
                  <a:pt x="477" y="204"/>
                  <a:pt x="477" y="204"/>
                </a:cubicBezTo>
                <a:cubicBezTo>
                  <a:pt x="476" y="204"/>
                  <a:pt x="476" y="204"/>
                  <a:pt x="476" y="204"/>
                </a:cubicBezTo>
                <a:cubicBezTo>
                  <a:pt x="476" y="206"/>
                  <a:pt x="476" y="206"/>
                  <a:pt x="476" y="206"/>
                </a:cubicBezTo>
                <a:cubicBezTo>
                  <a:pt x="474" y="206"/>
                  <a:pt x="474" y="206"/>
                  <a:pt x="474" y="206"/>
                </a:cubicBezTo>
                <a:cubicBezTo>
                  <a:pt x="472" y="202"/>
                  <a:pt x="472" y="202"/>
                  <a:pt x="472" y="202"/>
                </a:cubicBezTo>
                <a:cubicBezTo>
                  <a:pt x="468" y="200"/>
                  <a:pt x="468" y="200"/>
                  <a:pt x="468" y="200"/>
                </a:cubicBezTo>
                <a:cubicBezTo>
                  <a:pt x="468" y="199"/>
                  <a:pt x="468" y="199"/>
                  <a:pt x="468" y="199"/>
                </a:cubicBezTo>
                <a:cubicBezTo>
                  <a:pt x="470" y="198"/>
                  <a:pt x="470" y="198"/>
                  <a:pt x="470" y="198"/>
                </a:cubicBezTo>
                <a:cubicBezTo>
                  <a:pt x="470" y="196"/>
                  <a:pt x="470" y="196"/>
                  <a:pt x="470" y="196"/>
                </a:cubicBezTo>
                <a:cubicBezTo>
                  <a:pt x="469" y="195"/>
                  <a:pt x="469" y="195"/>
                  <a:pt x="469" y="195"/>
                </a:cubicBezTo>
                <a:cubicBezTo>
                  <a:pt x="474" y="191"/>
                  <a:pt x="474" y="191"/>
                  <a:pt x="474" y="191"/>
                </a:cubicBezTo>
                <a:cubicBezTo>
                  <a:pt x="477" y="191"/>
                  <a:pt x="477" y="191"/>
                  <a:pt x="477" y="191"/>
                </a:cubicBezTo>
                <a:cubicBezTo>
                  <a:pt x="478" y="191"/>
                  <a:pt x="478" y="191"/>
                  <a:pt x="478" y="191"/>
                </a:cubicBezTo>
                <a:cubicBezTo>
                  <a:pt x="482" y="191"/>
                  <a:pt x="482" y="191"/>
                  <a:pt x="482" y="191"/>
                </a:cubicBezTo>
                <a:cubicBezTo>
                  <a:pt x="485" y="193"/>
                  <a:pt x="485" y="193"/>
                  <a:pt x="485" y="193"/>
                </a:cubicBezTo>
                <a:cubicBezTo>
                  <a:pt x="488" y="193"/>
                  <a:pt x="488" y="193"/>
                  <a:pt x="488" y="193"/>
                </a:cubicBezTo>
                <a:cubicBezTo>
                  <a:pt x="490" y="192"/>
                  <a:pt x="490" y="192"/>
                  <a:pt x="490" y="192"/>
                </a:cubicBezTo>
                <a:cubicBezTo>
                  <a:pt x="493" y="192"/>
                  <a:pt x="493" y="192"/>
                  <a:pt x="493" y="192"/>
                </a:cubicBezTo>
                <a:cubicBezTo>
                  <a:pt x="496" y="190"/>
                  <a:pt x="496" y="190"/>
                  <a:pt x="496" y="190"/>
                </a:cubicBezTo>
                <a:cubicBezTo>
                  <a:pt x="494" y="189"/>
                  <a:pt x="494" y="189"/>
                  <a:pt x="494" y="189"/>
                </a:cubicBezTo>
                <a:cubicBezTo>
                  <a:pt x="493" y="188"/>
                  <a:pt x="493" y="188"/>
                  <a:pt x="493" y="188"/>
                </a:cubicBezTo>
                <a:cubicBezTo>
                  <a:pt x="490" y="188"/>
                  <a:pt x="490" y="188"/>
                  <a:pt x="490" y="188"/>
                </a:cubicBezTo>
                <a:cubicBezTo>
                  <a:pt x="488" y="188"/>
                  <a:pt x="488" y="188"/>
                  <a:pt x="488" y="188"/>
                </a:cubicBezTo>
                <a:cubicBezTo>
                  <a:pt x="484" y="187"/>
                  <a:pt x="484" y="187"/>
                  <a:pt x="484" y="187"/>
                </a:cubicBezTo>
                <a:cubicBezTo>
                  <a:pt x="481" y="187"/>
                  <a:pt x="481" y="187"/>
                  <a:pt x="481" y="187"/>
                </a:cubicBezTo>
                <a:cubicBezTo>
                  <a:pt x="480" y="186"/>
                  <a:pt x="480" y="186"/>
                  <a:pt x="480" y="186"/>
                </a:cubicBezTo>
                <a:cubicBezTo>
                  <a:pt x="484" y="183"/>
                  <a:pt x="484" y="183"/>
                  <a:pt x="484" y="183"/>
                </a:cubicBezTo>
                <a:cubicBezTo>
                  <a:pt x="487" y="179"/>
                  <a:pt x="487" y="179"/>
                  <a:pt x="487" y="179"/>
                </a:cubicBezTo>
                <a:cubicBezTo>
                  <a:pt x="489" y="179"/>
                  <a:pt x="489" y="179"/>
                  <a:pt x="489" y="179"/>
                </a:cubicBezTo>
                <a:cubicBezTo>
                  <a:pt x="491" y="179"/>
                  <a:pt x="491" y="179"/>
                  <a:pt x="491" y="179"/>
                </a:cubicBezTo>
                <a:cubicBezTo>
                  <a:pt x="495" y="178"/>
                  <a:pt x="495" y="178"/>
                  <a:pt x="495" y="178"/>
                </a:cubicBezTo>
                <a:cubicBezTo>
                  <a:pt x="501" y="179"/>
                  <a:pt x="501" y="179"/>
                  <a:pt x="501" y="179"/>
                </a:cubicBezTo>
                <a:cubicBezTo>
                  <a:pt x="504" y="180"/>
                  <a:pt x="504" y="180"/>
                  <a:pt x="504" y="180"/>
                </a:cubicBezTo>
                <a:cubicBezTo>
                  <a:pt x="505" y="179"/>
                  <a:pt x="505" y="179"/>
                  <a:pt x="505" y="179"/>
                </a:cubicBezTo>
                <a:cubicBezTo>
                  <a:pt x="504" y="178"/>
                  <a:pt x="504" y="178"/>
                  <a:pt x="504" y="178"/>
                </a:cubicBezTo>
                <a:cubicBezTo>
                  <a:pt x="503" y="178"/>
                  <a:pt x="503" y="178"/>
                  <a:pt x="503" y="178"/>
                </a:cubicBezTo>
                <a:cubicBezTo>
                  <a:pt x="500" y="177"/>
                  <a:pt x="500" y="177"/>
                  <a:pt x="500" y="177"/>
                </a:cubicBezTo>
                <a:cubicBezTo>
                  <a:pt x="498" y="177"/>
                  <a:pt x="498" y="177"/>
                  <a:pt x="498" y="177"/>
                </a:cubicBezTo>
                <a:cubicBezTo>
                  <a:pt x="493" y="175"/>
                  <a:pt x="493" y="175"/>
                  <a:pt x="493" y="175"/>
                </a:cubicBezTo>
                <a:cubicBezTo>
                  <a:pt x="491" y="173"/>
                  <a:pt x="491" y="173"/>
                  <a:pt x="491" y="173"/>
                </a:cubicBezTo>
                <a:cubicBezTo>
                  <a:pt x="494" y="171"/>
                  <a:pt x="494" y="171"/>
                  <a:pt x="494" y="171"/>
                </a:cubicBezTo>
                <a:cubicBezTo>
                  <a:pt x="496" y="169"/>
                  <a:pt x="496" y="169"/>
                  <a:pt x="496" y="169"/>
                </a:cubicBezTo>
                <a:cubicBezTo>
                  <a:pt x="497" y="168"/>
                  <a:pt x="497" y="168"/>
                  <a:pt x="497" y="168"/>
                </a:cubicBezTo>
                <a:cubicBezTo>
                  <a:pt x="499" y="168"/>
                  <a:pt x="499" y="168"/>
                  <a:pt x="499" y="168"/>
                </a:cubicBezTo>
                <a:cubicBezTo>
                  <a:pt x="502" y="166"/>
                  <a:pt x="502" y="166"/>
                  <a:pt x="502" y="166"/>
                </a:cubicBezTo>
                <a:cubicBezTo>
                  <a:pt x="504" y="166"/>
                  <a:pt x="504" y="166"/>
                  <a:pt x="504" y="166"/>
                </a:cubicBezTo>
                <a:cubicBezTo>
                  <a:pt x="505" y="168"/>
                  <a:pt x="505" y="168"/>
                  <a:pt x="505" y="168"/>
                </a:cubicBezTo>
                <a:cubicBezTo>
                  <a:pt x="507" y="168"/>
                  <a:pt x="507" y="168"/>
                  <a:pt x="507" y="168"/>
                </a:cubicBezTo>
                <a:cubicBezTo>
                  <a:pt x="509" y="170"/>
                  <a:pt x="509" y="170"/>
                  <a:pt x="509" y="170"/>
                </a:cubicBezTo>
                <a:cubicBezTo>
                  <a:pt x="511" y="171"/>
                  <a:pt x="511" y="171"/>
                  <a:pt x="511" y="171"/>
                </a:cubicBezTo>
                <a:cubicBezTo>
                  <a:pt x="510" y="168"/>
                  <a:pt x="510" y="168"/>
                  <a:pt x="510" y="168"/>
                </a:cubicBezTo>
                <a:cubicBezTo>
                  <a:pt x="507" y="166"/>
                  <a:pt x="507" y="166"/>
                  <a:pt x="507" y="166"/>
                </a:cubicBezTo>
                <a:cubicBezTo>
                  <a:pt x="507" y="164"/>
                  <a:pt x="507" y="164"/>
                  <a:pt x="507" y="164"/>
                </a:cubicBezTo>
                <a:cubicBezTo>
                  <a:pt x="506" y="163"/>
                  <a:pt x="506" y="163"/>
                  <a:pt x="506" y="163"/>
                </a:cubicBezTo>
                <a:cubicBezTo>
                  <a:pt x="507" y="162"/>
                  <a:pt x="507" y="162"/>
                  <a:pt x="507" y="162"/>
                </a:cubicBezTo>
                <a:cubicBezTo>
                  <a:pt x="514" y="161"/>
                  <a:pt x="514" y="161"/>
                  <a:pt x="514" y="161"/>
                </a:cubicBezTo>
                <a:cubicBezTo>
                  <a:pt x="516" y="161"/>
                  <a:pt x="516" y="161"/>
                  <a:pt x="516" y="161"/>
                </a:cubicBezTo>
                <a:cubicBezTo>
                  <a:pt x="520" y="161"/>
                  <a:pt x="520" y="161"/>
                  <a:pt x="520" y="161"/>
                </a:cubicBezTo>
                <a:cubicBezTo>
                  <a:pt x="522" y="163"/>
                  <a:pt x="522" y="163"/>
                  <a:pt x="522" y="163"/>
                </a:cubicBezTo>
                <a:cubicBezTo>
                  <a:pt x="523" y="167"/>
                  <a:pt x="523" y="167"/>
                  <a:pt x="523" y="167"/>
                </a:cubicBezTo>
                <a:cubicBezTo>
                  <a:pt x="521" y="168"/>
                  <a:pt x="521" y="168"/>
                  <a:pt x="521" y="168"/>
                </a:cubicBezTo>
                <a:cubicBezTo>
                  <a:pt x="519" y="171"/>
                  <a:pt x="519" y="171"/>
                  <a:pt x="519" y="171"/>
                </a:cubicBezTo>
                <a:cubicBezTo>
                  <a:pt x="520" y="173"/>
                  <a:pt x="520" y="173"/>
                  <a:pt x="520" y="173"/>
                </a:cubicBezTo>
                <a:cubicBezTo>
                  <a:pt x="525" y="173"/>
                  <a:pt x="525" y="173"/>
                  <a:pt x="525" y="173"/>
                </a:cubicBezTo>
                <a:cubicBezTo>
                  <a:pt x="526" y="172"/>
                  <a:pt x="526" y="172"/>
                  <a:pt x="526" y="172"/>
                </a:cubicBezTo>
                <a:cubicBezTo>
                  <a:pt x="528" y="173"/>
                  <a:pt x="528" y="173"/>
                  <a:pt x="528" y="173"/>
                </a:cubicBezTo>
                <a:cubicBezTo>
                  <a:pt x="529" y="173"/>
                  <a:pt x="529" y="173"/>
                  <a:pt x="529" y="173"/>
                </a:cubicBezTo>
                <a:cubicBezTo>
                  <a:pt x="530" y="174"/>
                  <a:pt x="530" y="174"/>
                  <a:pt x="530" y="174"/>
                </a:cubicBezTo>
                <a:cubicBezTo>
                  <a:pt x="530" y="176"/>
                  <a:pt x="530" y="176"/>
                  <a:pt x="530" y="176"/>
                </a:cubicBezTo>
                <a:cubicBezTo>
                  <a:pt x="532" y="177"/>
                  <a:pt x="532" y="177"/>
                  <a:pt x="532" y="177"/>
                </a:cubicBezTo>
                <a:cubicBezTo>
                  <a:pt x="532" y="179"/>
                  <a:pt x="532" y="179"/>
                  <a:pt x="532" y="179"/>
                </a:cubicBezTo>
                <a:cubicBezTo>
                  <a:pt x="530" y="179"/>
                  <a:pt x="530" y="179"/>
                  <a:pt x="530" y="179"/>
                </a:cubicBezTo>
                <a:cubicBezTo>
                  <a:pt x="529" y="181"/>
                  <a:pt x="529" y="181"/>
                  <a:pt x="529" y="181"/>
                </a:cubicBezTo>
                <a:cubicBezTo>
                  <a:pt x="531" y="184"/>
                  <a:pt x="531" y="184"/>
                  <a:pt x="531" y="184"/>
                </a:cubicBezTo>
                <a:cubicBezTo>
                  <a:pt x="532" y="189"/>
                  <a:pt x="532" y="189"/>
                  <a:pt x="532" y="189"/>
                </a:cubicBezTo>
                <a:cubicBezTo>
                  <a:pt x="531" y="190"/>
                  <a:pt x="531" y="190"/>
                  <a:pt x="531" y="190"/>
                </a:cubicBezTo>
                <a:cubicBezTo>
                  <a:pt x="528" y="190"/>
                  <a:pt x="528" y="190"/>
                  <a:pt x="528" y="190"/>
                </a:cubicBezTo>
                <a:cubicBezTo>
                  <a:pt x="526" y="191"/>
                  <a:pt x="526" y="191"/>
                  <a:pt x="526" y="191"/>
                </a:cubicBezTo>
                <a:cubicBezTo>
                  <a:pt x="527" y="192"/>
                  <a:pt x="527" y="192"/>
                  <a:pt x="527" y="192"/>
                </a:cubicBezTo>
                <a:cubicBezTo>
                  <a:pt x="529" y="192"/>
                  <a:pt x="529" y="192"/>
                  <a:pt x="529" y="192"/>
                </a:cubicBezTo>
                <a:cubicBezTo>
                  <a:pt x="532" y="193"/>
                  <a:pt x="532" y="193"/>
                  <a:pt x="532" y="193"/>
                </a:cubicBezTo>
                <a:cubicBezTo>
                  <a:pt x="533" y="193"/>
                  <a:pt x="533" y="193"/>
                  <a:pt x="533" y="193"/>
                </a:cubicBezTo>
                <a:cubicBezTo>
                  <a:pt x="532" y="198"/>
                  <a:pt x="532" y="198"/>
                  <a:pt x="532" y="198"/>
                </a:cubicBezTo>
                <a:cubicBezTo>
                  <a:pt x="530" y="199"/>
                  <a:pt x="530" y="199"/>
                  <a:pt x="530" y="199"/>
                </a:cubicBezTo>
                <a:cubicBezTo>
                  <a:pt x="530" y="204"/>
                  <a:pt x="530" y="204"/>
                  <a:pt x="530" y="204"/>
                </a:cubicBezTo>
                <a:cubicBezTo>
                  <a:pt x="531" y="204"/>
                  <a:pt x="531" y="204"/>
                  <a:pt x="531" y="204"/>
                </a:cubicBezTo>
                <a:cubicBezTo>
                  <a:pt x="534" y="204"/>
                  <a:pt x="534" y="204"/>
                  <a:pt x="534" y="204"/>
                </a:cubicBezTo>
                <a:cubicBezTo>
                  <a:pt x="535" y="202"/>
                  <a:pt x="535" y="202"/>
                  <a:pt x="535" y="202"/>
                </a:cubicBezTo>
                <a:cubicBezTo>
                  <a:pt x="536" y="203"/>
                  <a:pt x="536" y="203"/>
                  <a:pt x="536" y="203"/>
                </a:cubicBezTo>
                <a:cubicBezTo>
                  <a:pt x="537" y="205"/>
                  <a:pt x="537" y="205"/>
                  <a:pt x="537" y="205"/>
                </a:cubicBezTo>
                <a:cubicBezTo>
                  <a:pt x="539" y="205"/>
                  <a:pt x="539" y="205"/>
                  <a:pt x="539" y="205"/>
                </a:cubicBezTo>
                <a:cubicBezTo>
                  <a:pt x="541" y="205"/>
                  <a:pt x="541" y="205"/>
                  <a:pt x="541" y="205"/>
                </a:cubicBezTo>
                <a:cubicBezTo>
                  <a:pt x="545" y="206"/>
                  <a:pt x="545" y="206"/>
                  <a:pt x="545" y="206"/>
                </a:cubicBezTo>
                <a:cubicBezTo>
                  <a:pt x="547" y="209"/>
                  <a:pt x="547" y="209"/>
                  <a:pt x="547" y="209"/>
                </a:cubicBezTo>
                <a:cubicBezTo>
                  <a:pt x="549" y="208"/>
                  <a:pt x="549" y="208"/>
                  <a:pt x="549" y="208"/>
                </a:cubicBezTo>
                <a:cubicBezTo>
                  <a:pt x="548" y="207"/>
                  <a:pt x="548" y="207"/>
                  <a:pt x="548" y="207"/>
                </a:cubicBezTo>
                <a:cubicBezTo>
                  <a:pt x="547" y="206"/>
                  <a:pt x="547" y="206"/>
                  <a:pt x="547" y="206"/>
                </a:cubicBezTo>
                <a:cubicBezTo>
                  <a:pt x="551" y="204"/>
                  <a:pt x="551" y="204"/>
                  <a:pt x="551" y="204"/>
                </a:cubicBezTo>
                <a:cubicBezTo>
                  <a:pt x="550" y="200"/>
                  <a:pt x="550" y="200"/>
                  <a:pt x="550" y="200"/>
                </a:cubicBezTo>
                <a:cubicBezTo>
                  <a:pt x="548" y="198"/>
                  <a:pt x="548" y="198"/>
                  <a:pt x="548" y="198"/>
                </a:cubicBezTo>
                <a:cubicBezTo>
                  <a:pt x="548" y="196"/>
                  <a:pt x="548" y="196"/>
                  <a:pt x="548" y="196"/>
                </a:cubicBezTo>
                <a:cubicBezTo>
                  <a:pt x="547" y="194"/>
                  <a:pt x="547" y="194"/>
                  <a:pt x="547" y="194"/>
                </a:cubicBezTo>
                <a:cubicBezTo>
                  <a:pt x="548" y="193"/>
                  <a:pt x="548" y="193"/>
                  <a:pt x="548" y="193"/>
                </a:cubicBezTo>
                <a:cubicBezTo>
                  <a:pt x="549" y="193"/>
                  <a:pt x="549" y="193"/>
                  <a:pt x="549" y="193"/>
                </a:cubicBezTo>
                <a:cubicBezTo>
                  <a:pt x="553" y="191"/>
                  <a:pt x="553" y="191"/>
                  <a:pt x="553" y="191"/>
                </a:cubicBezTo>
                <a:cubicBezTo>
                  <a:pt x="555" y="191"/>
                  <a:pt x="555" y="191"/>
                  <a:pt x="555" y="191"/>
                </a:cubicBezTo>
                <a:cubicBezTo>
                  <a:pt x="557" y="188"/>
                  <a:pt x="557" y="188"/>
                  <a:pt x="557" y="188"/>
                </a:cubicBezTo>
                <a:cubicBezTo>
                  <a:pt x="555" y="184"/>
                  <a:pt x="555" y="184"/>
                  <a:pt x="555" y="184"/>
                </a:cubicBezTo>
                <a:cubicBezTo>
                  <a:pt x="554" y="183"/>
                  <a:pt x="554" y="183"/>
                  <a:pt x="554" y="183"/>
                </a:cubicBezTo>
                <a:cubicBezTo>
                  <a:pt x="554" y="180"/>
                  <a:pt x="554" y="180"/>
                  <a:pt x="554" y="180"/>
                </a:cubicBezTo>
                <a:cubicBezTo>
                  <a:pt x="553" y="178"/>
                  <a:pt x="553" y="178"/>
                  <a:pt x="553" y="178"/>
                </a:cubicBezTo>
                <a:cubicBezTo>
                  <a:pt x="555" y="174"/>
                  <a:pt x="555" y="174"/>
                  <a:pt x="555" y="174"/>
                </a:cubicBezTo>
                <a:cubicBezTo>
                  <a:pt x="557" y="173"/>
                  <a:pt x="557" y="173"/>
                  <a:pt x="557" y="173"/>
                </a:cubicBezTo>
                <a:cubicBezTo>
                  <a:pt x="558" y="174"/>
                  <a:pt x="558" y="174"/>
                  <a:pt x="558" y="174"/>
                </a:cubicBezTo>
                <a:cubicBezTo>
                  <a:pt x="561" y="174"/>
                  <a:pt x="561" y="174"/>
                  <a:pt x="561" y="174"/>
                </a:cubicBezTo>
                <a:cubicBezTo>
                  <a:pt x="560" y="172"/>
                  <a:pt x="560" y="172"/>
                  <a:pt x="560" y="172"/>
                </a:cubicBezTo>
                <a:cubicBezTo>
                  <a:pt x="561" y="170"/>
                  <a:pt x="561" y="170"/>
                  <a:pt x="561" y="170"/>
                </a:cubicBezTo>
                <a:cubicBezTo>
                  <a:pt x="564" y="169"/>
                  <a:pt x="564" y="169"/>
                  <a:pt x="564" y="169"/>
                </a:cubicBezTo>
                <a:cubicBezTo>
                  <a:pt x="570" y="164"/>
                  <a:pt x="570" y="164"/>
                  <a:pt x="570" y="164"/>
                </a:cubicBezTo>
                <a:cubicBezTo>
                  <a:pt x="571" y="164"/>
                  <a:pt x="571" y="164"/>
                  <a:pt x="571" y="164"/>
                </a:cubicBezTo>
                <a:cubicBezTo>
                  <a:pt x="575" y="166"/>
                  <a:pt x="575" y="166"/>
                  <a:pt x="575" y="166"/>
                </a:cubicBezTo>
                <a:cubicBezTo>
                  <a:pt x="574" y="167"/>
                  <a:pt x="574" y="167"/>
                  <a:pt x="574" y="167"/>
                </a:cubicBezTo>
                <a:cubicBezTo>
                  <a:pt x="575" y="169"/>
                  <a:pt x="575" y="169"/>
                  <a:pt x="575" y="169"/>
                </a:cubicBezTo>
                <a:cubicBezTo>
                  <a:pt x="574" y="171"/>
                  <a:pt x="574" y="171"/>
                  <a:pt x="574" y="171"/>
                </a:cubicBezTo>
                <a:cubicBezTo>
                  <a:pt x="572" y="171"/>
                  <a:pt x="572" y="171"/>
                  <a:pt x="572" y="171"/>
                </a:cubicBezTo>
                <a:cubicBezTo>
                  <a:pt x="571" y="172"/>
                  <a:pt x="571" y="172"/>
                  <a:pt x="571" y="172"/>
                </a:cubicBezTo>
                <a:cubicBezTo>
                  <a:pt x="571" y="174"/>
                  <a:pt x="571" y="174"/>
                  <a:pt x="571" y="174"/>
                </a:cubicBezTo>
                <a:cubicBezTo>
                  <a:pt x="570" y="177"/>
                  <a:pt x="570" y="177"/>
                  <a:pt x="570" y="177"/>
                </a:cubicBezTo>
                <a:cubicBezTo>
                  <a:pt x="570" y="180"/>
                  <a:pt x="570" y="180"/>
                  <a:pt x="570" y="180"/>
                </a:cubicBezTo>
                <a:cubicBezTo>
                  <a:pt x="571" y="181"/>
                  <a:pt x="571" y="181"/>
                  <a:pt x="571" y="181"/>
                </a:cubicBezTo>
                <a:cubicBezTo>
                  <a:pt x="571" y="186"/>
                  <a:pt x="571" y="186"/>
                  <a:pt x="571" y="186"/>
                </a:cubicBezTo>
                <a:cubicBezTo>
                  <a:pt x="570" y="188"/>
                  <a:pt x="570" y="188"/>
                  <a:pt x="570" y="188"/>
                </a:cubicBezTo>
                <a:cubicBezTo>
                  <a:pt x="568" y="188"/>
                  <a:pt x="568" y="188"/>
                  <a:pt x="568" y="188"/>
                </a:cubicBezTo>
                <a:cubicBezTo>
                  <a:pt x="565" y="191"/>
                  <a:pt x="565" y="191"/>
                  <a:pt x="565" y="191"/>
                </a:cubicBezTo>
                <a:cubicBezTo>
                  <a:pt x="563" y="192"/>
                  <a:pt x="563" y="192"/>
                  <a:pt x="563" y="192"/>
                </a:cubicBezTo>
                <a:cubicBezTo>
                  <a:pt x="563" y="193"/>
                  <a:pt x="563" y="193"/>
                  <a:pt x="563" y="193"/>
                </a:cubicBezTo>
                <a:cubicBezTo>
                  <a:pt x="564" y="193"/>
                  <a:pt x="564" y="193"/>
                  <a:pt x="564" y="193"/>
                </a:cubicBezTo>
                <a:cubicBezTo>
                  <a:pt x="566" y="192"/>
                  <a:pt x="566" y="192"/>
                  <a:pt x="566" y="192"/>
                </a:cubicBezTo>
                <a:cubicBezTo>
                  <a:pt x="570" y="193"/>
                  <a:pt x="570" y="193"/>
                  <a:pt x="570" y="193"/>
                </a:cubicBezTo>
                <a:cubicBezTo>
                  <a:pt x="570" y="194"/>
                  <a:pt x="570" y="194"/>
                  <a:pt x="570" y="194"/>
                </a:cubicBezTo>
                <a:cubicBezTo>
                  <a:pt x="569" y="196"/>
                  <a:pt x="569" y="196"/>
                  <a:pt x="569" y="196"/>
                </a:cubicBezTo>
                <a:cubicBezTo>
                  <a:pt x="565" y="199"/>
                  <a:pt x="565" y="199"/>
                  <a:pt x="565" y="199"/>
                </a:cubicBezTo>
                <a:cubicBezTo>
                  <a:pt x="561" y="202"/>
                  <a:pt x="561" y="202"/>
                  <a:pt x="561" y="202"/>
                </a:cubicBezTo>
                <a:cubicBezTo>
                  <a:pt x="561" y="204"/>
                  <a:pt x="561" y="204"/>
                  <a:pt x="561" y="204"/>
                </a:cubicBezTo>
                <a:cubicBezTo>
                  <a:pt x="562" y="205"/>
                  <a:pt x="562" y="205"/>
                  <a:pt x="562" y="205"/>
                </a:cubicBezTo>
                <a:cubicBezTo>
                  <a:pt x="563" y="203"/>
                  <a:pt x="563" y="203"/>
                  <a:pt x="563" y="203"/>
                </a:cubicBezTo>
                <a:cubicBezTo>
                  <a:pt x="567" y="201"/>
                  <a:pt x="567" y="201"/>
                  <a:pt x="567" y="201"/>
                </a:cubicBezTo>
                <a:cubicBezTo>
                  <a:pt x="569" y="199"/>
                  <a:pt x="569" y="199"/>
                  <a:pt x="569" y="199"/>
                </a:cubicBezTo>
                <a:cubicBezTo>
                  <a:pt x="570" y="199"/>
                  <a:pt x="570" y="199"/>
                  <a:pt x="570" y="199"/>
                </a:cubicBezTo>
                <a:cubicBezTo>
                  <a:pt x="573" y="200"/>
                  <a:pt x="573" y="200"/>
                  <a:pt x="573" y="200"/>
                </a:cubicBezTo>
                <a:cubicBezTo>
                  <a:pt x="573" y="203"/>
                  <a:pt x="573" y="203"/>
                  <a:pt x="573" y="203"/>
                </a:cubicBezTo>
                <a:cubicBezTo>
                  <a:pt x="571" y="207"/>
                  <a:pt x="571" y="207"/>
                  <a:pt x="571" y="207"/>
                </a:cubicBezTo>
                <a:cubicBezTo>
                  <a:pt x="572" y="208"/>
                  <a:pt x="572" y="208"/>
                  <a:pt x="572" y="208"/>
                </a:cubicBezTo>
                <a:cubicBezTo>
                  <a:pt x="574" y="206"/>
                  <a:pt x="574" y="206"/>
                  <a:pt x="574" y="206"/>
                </a:cubicBezTo>
                <a:cubicBezTo>
                  <a:pt x="576" y="206"/>
                  <a:pt x="576" y="206"/>
                  <a:pt x="576" y="206"/>
                </a:cubicBezTo>
                <a:cubicBezTo>
                  <a:pt x="576" y="205"/>
                  <a:pt x="576" y="205"/>
                  <a:pt x="576" y="205"/>
                </a:cubicBezTo>
                <a:cubicBezTo>
                  <a:pt x="576" y="204"/>
                  <a:pt x="576" y="204"/>
                  <a:pt x="576" y="204"/>
                </a:cubicBezTo>
                <a:cubicBezTo>
                  <a:pt x="577" y="202"/>
                  <a:pt x="577" y="202"/>
                  <a:pt x="577" y="202"/>
                </a:cubicBezTo>
                <a:cubicBezTo>
                  <a:pt x="578" y="199"/>
                  <a:pt x="578" y="199"/>
                  <a:pt x="578" y="199"/>
                </a:cubicBezTo>
                <a:cubicBezTo>
                  <a:pt x="581" y="196"/>
                  <a:pt x="581" y="196"/>
                  <a:pt x="581" y="196"/>
                </a:cubicBezTo>
                <a:cubicBezTo>
                  <a:pt x="583" y="196"/>
                  <a:pt x="583" y="196"/>
                  <a:pt x="583" y="196"/>
                </a:cubicBezTo>
                <a:cubicBezTo>
                  <a:pt x="586" y="198"/>
                  <a:pt x="586" y="198"/>
                  <a:pt x="586" y="198"/>
                </a:cubicBezTo>
                <a:cubicBezTo>
                  <a:pt x="587" y="202"/>
                  <a:pt x="587" y="202"/>
                  <a:pt x="587" y="202"/>
                </a:cubicBezTo>
                <a:cubicBezTo>
                  <a:pt x="588" y="204"/>
                  <a:pt x="588" y="204"/>
                  <a:pt x="588" y="204"/>
                </a:cubicBezTo>
                <a:cubicBezTo>
                  <a:pt x="588" y="207"/>
                  <a:pt x="588" y="207"/>
                  <a:pt x="588" y="207"/>
                </a:cubicBezTo>
                <a:cubicBezTo>
                  <a:pt x="585" y="213"/>
                  <a:pt x="585" y="213"/>
                  <a:pt x="585" y="213"/>
                </a:cubicBezTo>
                <a:cubicBezTo>
                  <a:pt x="582" y="216"/>
                  <a:pt x="582" y="216"/>
                  <a:pt x="582" y="216"/>
                </a:cubicBezTo>
                <a:cubicBezTo>
                  <a:pt x="579" y="217"/>
                  <a:pt x="579" y="217"/>
                  <a:pt x="579" y="217"/>
                </a:cubicBezTo>
                <a:cubicBezTo>
                  <a:pt x="578" y="217"/>
                  <a:pt x="578" y="217"/>
                  <a:pt x="578" y="217"/>
                </a:cubicBezTo>
                <a:cubicBezTo>
                  <a:pt x="577" y="218"/>
                  <a:pt x="577" y="218"/>
                  <a:pt x="577" y="218"/>
                </a:cubicBezTo>
                <a:cubicBezTo>
                  <a:pt x="577" y="220"/>
                  <a:pt x="577" y="220"/>
                  <a:pt x="577" y="220"/>
                </a:cubicBezTo>
                <a:cubicBezTo>
                  <a:pt x="575" y="223"/>
                  <a:pt x="575" y="223"/>
                  <a:pt x="575" y="223"/>
                </a:cubicBezTo>
                <a:cubicBezTo>
                  <a:pt x="573" y="223"/>
                  <a:pt x="573" y="223"/>
                  <a:pt x="573" y="223"/>
                </a:cubicBezTo>
                <a:cubicBezTo>
                  <a:pt x="571" y="225"/>
                  <a:pt x="571" y="225"/>
                  <a:pt x="571" y="225"/>
                </a:cubicBezTo>
                <a:cubicBezTo>
                  <a:pt x="571" y="227"/>
                  <a:pt x="571" y="227"/>
                  <a:pt x="571" y="227"/>
                </a:cubicBezTo>
                <a:cubicBezTo>
                  <a:pt x="570" y="228"/>
                  <a:pt x="570" y="228"/>
                  <a:pt x="570" y="228"/>
                </a:cubicBezTo>
                <a:cubicBezTo>
                  <a:pt x="569" y="228"/>
                  <a:pt x="569" y="228"/>
                  <a:pt x="569" y="228"/>
                </a:cubicBezTo>
                <a:cubicBezTo>
                  <a:pt x="567" y="229"/>
                  <a:pt x="567" y="229"/>
                  <a:pt x="567" y="229"/>
                </a:cubicBezTo>
                <a:cubicBezTo>
                  <a:pt x="567" y="230"/>
                  <a:pt x="567" y="230"/>
                  <a:pt x="567" y="230"/>
                </a:cubicBezTo>
                <a:cubicBezTo>
                  <a:pt x="566" y="231"/>
                  <a:pt x="566" y="231"/>
                  <a:pt x="566" y="231"/>
                </a:cubicBezTo>
                <a:cubicBezTo>
                  <a:pt x="565" y="230"/>
                  <a:pt x="565" y="230"/>
                  <a:pt x="565" y="230"/>
                </a:cubicBezTo>
                <a:cubicBezTo>
                  <a:pt x="562" y="230"/>
                  <a:pt x="562" y="230"/>
                  <a:pt x="562" y="230"/>
                </a:cubicBezTo>
                <a:cubicBezTo>
                  <a:pt x="561" y="230"/>
                  <a:pt x="561" y="230"/>
                  <a:pt x="561" y="230"/>
                </a:cubicBezTo>
                <a:cubicBezTo>
                  <a:pt x="557" y="232"/>
                  <a:pt x="557" y="232"/>
                  <a:pt x="557" y="232"/>
                </a:cubicBezTo>
                <a:cubicBezTo>
                  <a:pt x="553" y="233"/>
                  <a:pt x="553" y="233"/>
                  <a:pt x="553" y="233"/>
                </a:cubicBezTo>
                <a:cubicBezTo>
                  <a:pt x="550" y="231"/>
                  <a:pt x="550" y="231"/>
                  <a:pt x="550" y="231"/>
                </a:cubicBezTo>
                <a:cubicBezTo>
                  <a:pt x="550" y="230"/>
                  <a:pt x="550" y="230"/>
                  <a:pt x="550" y="230"/>
                </a:cubicBezTo>
                <a:cubicBezTo>
                  <a:pt x="551" y="228"/>
                  <a:pt x="551" y="228"/>
                  <a:pt x="551" y="228"/>
                </a:cubicBezTo>
                <a:cubicBezTo>
                  <a:pt x="551" y="226"/>
                  <a:pt x="551" y="226"/>
                  <a:pt x="551" y="226"/>
                </a:cubicBezTo>
                <a:cubicBezTo>
                  <a:pt x="550" y="226"/>
                  <a:pt x="550" y="226"/>
                  <a:pt x="550" y="226"/>
                </a:cubicBezTo>
                <a:cubicBezTo>
                  <a:pt x="548" y="227"/>
                  <a:pt x="548" y="227"/>
                  <a:pt x="548" y="227"/>
                </a:cubicBezTo>
                <a:cubicBezTo>
                  <a:pt x="547" y="229"/>
                  <a:pt x="547" y="229"/>
                  <a:pt x="547" y="229"/>
                </a:cubicBezTo>
                <a:cubicBezTo>
                  <a:pt x="545" y="230"/>
                  <a:pt x="545" y="230"/>
                  <a:pt x="545" y="230"/>
                </a:cubicBezTo>
                <a:cubicBezTo>
                  <a:pt x="542" y="229"/>
                  <a:pt x="542" y="229"/>
                  <a:pt x="542" y="229"/>
                </a:cubicBezTo>
                <a:cubicBezTo>
                  <a:pt x="542" y="227"/>
                  <a:pt x="542" y="227"/>
                  <a:pt x="542" y="227"/>
                </a:cubicBezTo>
                <a:cubicBezTo>
                  <a:pt x="543" y="226"/>
                  <a:pt x="543" y="226"/>
                  <a:pt x="543" y="226"/>
                </a:cubicBezTo>
                <a:cubicBezTo>
                  <a:pt x="542" y="224"/>
                  <a:pt x="542" y="224"/>
                  <a:pt x="542" y="224"/>
                </a:cubicBezTo>
                <a:cubicBezTo>
                  <a:pt x="541" y="224"/>
                  <a:pt x="541" y="224"/>
                  <a:pt x="541" y="224"/>
                </a:cubicBezTo>
                <a:cubicBezTo>
                  <a:pt x="541" y="225"/>
                  <a:pt x="541" y="225"/>
                  <a:pt x="541" y="225"/>
                </a:cubicBezTo>
                <a:cubicBezTo>
                  <a:pt x="539" y="226"/>
                  <a:pt x="539" y="226"/>
                  <a:pt x="539" y="226"/>
                </a:cubicBezTo>
                <a:cubicBezTo>
                  <a:pt x="537" y="226"/>
                  <a:pt x="537" y="226"/>
                  <a:pt x="537" y="226"/>
                </a:cubicBezTo>
                <a:cubicBezTo>
                  <a:pt x="533" y="228"/>
                  <a:pt x="533" y="228"/>
                  <a:pt x="533" y="228"/>
                </a:cubicBezTo>
                <a:cubicBezTo>
                  <a:pt x="532" y="229"/>
                  <a:pt x="532" y="229"/>
                  <a:pt x="532" y="229"/>
                </a:cubicBezTo>
                <a:cubicBezTo>
                  <a:pt x="530" y="229"/>
                  <a:pt x="530" y="229"/>
                  <a:pt x="530" y="229"/>
                </a:cubicBezTo>
                <a:cubicBezTo>
                  <a:pt x="529" y="228"/>
                  <a:pt x="529" y="228"/>
                  <a:pt x="529" y="228"/>
                </a:cubicBezTo>
                <a:cubicBezTo>
                  <a:pt x="526" y="228"/>
                  <a:pt x="526" y="228"/>
                  <a:pt x="526" y="228"/>
                </a:cubicBezTo>
                <a:cubicBezTo>
                  <a:pt x="524" y="227"/>
                  <a:pt x="524" y="227"/>
                  <a:pt x="524" y="227"/>
                </a:cubicBezTo>
                <a:cubicBezTo>
                  <a:pt x="523" y="228"/>
                  <a:pt x="523" y="228"/>
                  <a:pt x="523" y="228"/>
                </a:cubicBezTo>
                <a:cubicBezTo>
                  <a:pt x="522" y="228"/>
                  <a:pt x="522" y="228"/>
                  <a:pt x="522" y="228"/>
                </a:cubicBezTo>
                <a:cubicBezTo>
                  <a:pt x="520" y="229"/>
                  <a:pt x="520" y="229"/>
                  <a:pt x="520" y="229"/>
                </a:cubicBezTo>
                <a:cubicBezTo>
                  <a:pt x="519" y="231"/>
                  <a:pt x="519" y="231"/>
                  <a:pt x="519" y="231"/>
                </a:cubicBezTo>
                <a:cubicBezTo>
                  <a:pt x="518" y="232"/>
                  <a:pt x="518" y="232"/>
                  <a:pt x="518" y="232"/>
                </a:cubicBezTo>
                <a:cubicBezTo>
                  <a:pt x="515" y="232"/>
                  <a:pt x="515" y="232"/>
                  <a:pt x="515" y="232"/>
                </a:cubicBezTo>
                <a:cubicBezTo>
                  <a:pt x="515" y="233"/>
                  <a:pt x="515" y="233"/>
                  <a:pt x="515" y="233"/>
                </a:cubicBezTo>
                <a:cubicBezTo>
                  <a:pt x="512" y="234"/>
                  <a:pt x="512" y="234"/>
                  <a:pt x="512" y="234"/>
                </a:cubicBezTo>
                <a:cubicBezTo>
                  <a:pt x="511" y="234"/>
                  <a:pt x="511" y="234"/>
                  <a:pt x="511" y="234"/>
                </a:cubicBezTo>
                <a:cubicBezTo>
                  <a:pt x="509" y="235"/>
                  <a:pt x="509" y="235"/>
                  <a:pt x="509" y="235"/>
                </a:cubicBezTo>
                <a:cubicBezTo>
                  <a:pt x="506" y="235"/>
                  <a:pt x="506" y="235"/>
                  <a:pt x="506" y="235"/>
                </a:cubicBezTo>
                <a:cubicBezTo>
                  <a:pt x="505" y="234"/>
                  <a:pt x="505" y="234"/>
                  <a:pt x="505" y="234"/>
                </a:cubicBezTo>
                <a:cubicBezTo>
                  <a:pt x="502" y="234"/>
                  <a:pt x="502" y="234"/>
                  <a:pt x="502" y="234"/>
                </a:cubicBezTo>
                <a:cubicBezTo>
                  <a:pt x="499" y="235"/>
                  <a:pt x="499" y="235"/>
                  <a:pt x="499" y="235"/>
                </a:cubicBezTo>
                <a:cubicBezTo>
                  <a:pt x="495" y="235"/>
                  <a:pt x="495" y="235"/>
                  <a:pt x="495" y="235"/>
                </a:cubicBezTo>
                <a:cubicBezTo>
                  <a:pt x="492" y="233"/>
                  <a:pt x="492" y="233"/>
                  <a:pt x="492" y="233"/>
                </a:cubicBezTo>
                <a:cubicBezTo>
                  <a:pt x="488" y="232"/>
                  <a:pt x="488" y="232"/>
                  <a:pt x="488" y="232"/>
                </a:cubicBezTo>
                <a:cubicBezTo>
                  <a:pt x="487" y="230"/>
                  <a:pt x="487" y="230"/>
                  <a:pt x="487" y="230"/>
                </a:cubicBezTo>
                <a:cubicBezTo>
                  <a:pt x="485" y="227"/>
                  <a:pt x="485" y="227"/>
                  <a:pt x="485" y="227"/>
                </a:cubicBezTo>
                <a:close/>
                <a:moveTo>
                  <a:pt x="339" y="304"/>
                </a:moveTo>
                <a:cubicBezTo>
                  <a:pt x="339" y="299"/>
                  <a:pt x="339" y="299"/>
                  <a:pt x="339" y="299"/>
                </a:cubicBezTo>
                <a:cubicBezTo>
                  <a:pt x="341" y="295"/>
                  <a:pt x="341" y="295"/>
                  <a:pt x="341" y="295"/>
                </a:cubicBezTo>
                <a:cubicBezTo>
                  <a:pt x="340" y="292"/>
                  <a:pt x="340" y="292"/>
                  <a:pt x="340" y="292"/>
                </a:cubicBezTo>
                <a:cubicBezTo>
                  <a:pt x="341" y="289"/>
                  <a:pt x="341" y="289"/>
                  <a:pt x="341" y="289"/>
                </a:cubicBezTo>
                <a:cubicBezTo>
                  <a:pt x="341" y="286"/>
                  <a:pt x="341" y="286"/>
                  <a:pt x="341" y="286"/>
                </a:cubicBezTo>
                <a:cubicBezTo>
                  <a:pt x="340" y="285"/>
                  <a:pt x="340" y="285"/>
                  <a:pt x="340" y="285"/>
                </a:cubicBezTo>
                <a:cubicBezTo>
                  <a:pt x="338" y="278"/>
                  <a:pt x="338" y="278"/>
                  <a:pt x="338" y="278"/>
                </a:cubicBezTo>
                <a:cubicBezTo>
                  <a:pt x="341" y="279"/>
                  <a:pt x="341" y="279"/>
                  <a:pt x="341" y="279"/>
                </a:cubicBezTo>
                <a:cubicBezTo>
                  <a:pt x="341" y="277"/>
                  <a:pt x="341" y="277"/>
                  <a:pt x="341" y="277"/>
                </a:cubicBezTo>
                <a:cubicBezTo>
                  <a:pt x="337" y="277"/>
                  <a:pt x="337" y="277"/>
                  <a:pt x="337" y="277"/>
                </a:cubicBezTo>
                <a:cubicBezTo>
                  <a:pt x="332" y="276"/>
                  <a:pt x="332" y="276"/>
                  <a:pt x="332" y="276"/>
                </a:cubicBezTo>
                <a:cubicBezTo>
                  <a:pt x="332" y="273"/>
                  <a:pt x="332" y="273"/>
                  <a:pt x="332" y="273"/>
                </a:cubicBezTo>
                <a:cubicBezTo>
                  <a:pt x="334" y="274"/>
                  <a:pt x="334" y="274"/>
                  <a:pt x="334" y="274"/>
                </a:cubicBezTo>
                <a:cubicBezTo>
                  <a:pt x="337" y="272"/>
                  <a:pt x="337" y="272"/>
                  <a:pt x="337" y="272"/>
                </a:cubicBezTo>
                <a:cubicBezTo>
                  <a:pt x="340" y="271"/>
                  <a:pt x="340" y="271"/>
                  <a:pt x="340" y="271"/>
                </a:cubicBezTo>
                <a:cubicBezTo>
                  <a:pt x="340" y="269"/>
                  <a:pt x="340" y="269"/>
                  <a:pt x="340" y="269"/>
                </a:cubicBezTo>
                <a:cubicBezTo>
                  <a:pt x="342" y="269"/>
                  <a:pt x="342" y="269"/>
                  <a:pt x="342" y="269"/>
                </a:cubicBezTo>
                <a:cubicBezTo>
                  <a:pt x="344" y="266"/>
                  <a:pt x="344" y="266"/>
                  <a:pt x="344" y="266"/>
                </a:cubicBezTo>
                <a:cubicBezTo>
                  <a:pt x="346" y="266"/>
                  <a:pt x="346" y="266"/>
                  <a:pt x="346" y="266"/>
                </a:cubicBezTo>
                <a:cubicBezTo>
                  <a:pt x="347" y="263"/>
                  <a:pt x="347" y="263"/>
                  <a:pt x="347" y="263"/>
                </a:cubicBezTo>
                <a:cubicBezTo>
                  <a:pt x="351" y="261"/>
                  <a:pt x="351" y="261"/>
                  <a:pt x="351" y="261"/>
                </a:cubicBezTo>
                <a:cubicBezTo>
                  <a:pt x="352" y="260"/>
                  <a:pt x="352" y="260"/>
                  <a:pt x="352" y="260"/>
                </a:cubicBezTo>
                <a:cubicBezTo>
                  <a:pt x="353" y="260"/>
                  <a:pt x="353" y="260"/>
                  <a:pt x="353" y="260"/>
                </a:cubicBezTo>
                <a:cubicBezTo>
                  <a:pt x="356" y="257"/>
                  <a:pt x="356" y="257"/>
                  <a:pt x="356" y="257"/>
                </a:cubicBezTo>
                <a:cubicBezTo>
                  <a:pt x="356" y="252"/>
                  <a:pt x="356" y="252"/>
                  <a:pt x="356" y="252"/>
                </a:cubicBezTo>
                <a:cubicBezTo>
                  <a:pt x="357" y="254"/>
                  <a:pt x="357" y="254"/>
                  <a:pt x="357" y="254"/>
                </a:cubicBezTo>
                <a:cubicBezTo>
                  <a:pt x="363" y="255"/>
                  <a:pt x="363" y="255"/>
                  <a:pt x="363" y="255"/>
                </a:cubicBezTo>
                <a:cubicBezTo>
                  <a:pt x="363" y="251"/>
                  <a:pt x="363" y="251"/>
                  <a:pt x="363" y="251"/>
                </a:cubicBezTo>
                <a:cubicBezTo>
                  <a:pt x="362" y="248"/>
                  <a:pt x="362" y="248"/>
                  <a:pt x="362" y="248"/>
                </a:cubicBezTo>
                <a:cubicBezTo>
                  <a:pt x="362" y="246"/>
                  <a:pt x="362" y="246"/>
                  <a:pt x="362" y="246"/>
                </a:cubicBezTo>
                <a:cubicBezTo>
                  <a:pt x="365" y="245"/>
                  <a:pt x="365" y="245"/>
                  <a:pt x="365" y="245"/>
                </a:cubicBezTo>
                <a:cubicBezTo>
                  <a:pt x="370" y="241"/>
                  <a:pt x="370" y="241"/>
                  <a:pt x="370" y="241"/>
                </a:cubicBezTo>
                <a:cubicBezTo>
                  <a:pt x="372" y="238"/>
                  <a:pt x="372" y="238"/>
                  <a:pt x="372" y="238"/>
                </a:cubicBezTo>
                <a:cubicBezTo>
                  <a:pt x="377" y="236"/>
                  <a:pt x="377" y="236"/>
                  <a:pt x="377" y="236"/>
                </a:cubicBezTo>
                <a:cubicBezTo>
                  <a:pt x="378" y="234"/>
                  <a:pt x="378" y="234"/>
                  <a:pt x="378" y="234"/>
                </a:cubicBezTo>
                <a:cubicBezTo>
                  <a:pt x="382" y="231"/>
                  <a:pt x="382" y="231"/>
                  <a:pt x="382" y="231"/>
                </a:cubicBezTo>
                <a:cubicBezTo>
                  <a:pt x="384" y="231"/>
                  <a:pt x="384" y="231"/>
                  <a:pt x="384" y="231"/>
                </a:cubicBezTo>
                <a:cubicBezTo>
                  <a:pt x="386" y="229"/>
                  <a:pt x="386" y="229"/>
                  <a:pt x="386" y="229"/>
                </a:cubicBezTo>
                <a:cubicBezTo>
                  <a:pt x="384" y="226"/>
                  <a:pt x="384" y="226"/>
                  <a:pt x="384" y="226"/>
                </a:cubicBezTo>
                <a:cubicBezTo>
                  <a:pt x="385" y="221"/>
                  <a:pt x="385" y="221"/>
                  <a:pt x="385" y="221"/>
                </a:cubicBezTo>
                <a:cubicBezTo>
                  <a:pt x="385" y="218"/>
                  <a:pt x="385" y="218"/>
                  <a:pt x="385" y="218"/>
                </a:cubicBezTo>
                <a:cubicBezTo>
                  <a:pt x="386" y="216"/>
                  <a:pt x="386" y="216"/>
                  <a:pt x="386" y="216"/>
                </a:cubicBezTo>
                <a:cubicBezTo>
                  <a:pt x="385" y="215"/>
                  <a:pt x="385" y="215"/>
                  <a:pt x="385" y="215"/>
                </a:cubicBezTo>
                <a:cubicBezTo>
                  <a:pt x="386" y="213"/>
                  <a:pt x="386" y="213"/>
                  <a:pt x="386" y="213"/>
                </a:cubicBezTo>
                <a:cubicBezTo>
                  <a:pt x="390" y="212"/>
                  <a:pt x="390" y="212"/>
                  <a:pt x="390" y="212"/>
                </a:cubicBezTo>
                <a:cubicBezTo>
                  <a:pt x="392" y="212"/>
                  <a:pt x="392" y="212"/>
                  <a:pt x="392" y="212"/>
                </a:cubicBezTo>
                <a:cubicBezTo>
                  <a:pt x="399" y="212"/>
                  <a:pt x="399" y="212"/>
                  <a:pt x="399" y="212"/>
                </a:cubicBezTo>
                <a:cubicBezTo>
                  <a:pt x="401" y="212"/>
                  <a:pt x="401" y="212"/>
                  <a:pt x="401" y="212"/>
                </a:cubicBezTo>
                <a:cubicBezTo>
                  <a:pt x="409" y="212"/>
                  <a:pt x="409" y="212"/>
                  <a:pt x="409" y="212"/>
                </a:cubicBezTo>
                <a:cubicBezTo>
                  <a:pt x="415" y="210"/>
                  <a:pt x="415" y="210"/>
                  <a:pt x="415" y="210"/>
                </a:cubicBezTo>
                <a:cubicBezTo>
                  <a:pt x="421" y="212"/>
                  <a:pt x="421" y="212"/>
                  <a:pt x="421" y="212"/>
                </a:cubicBezTo>
                <a:cubicBezTo>
                  <a:pt x="421" y="215"/>
                  <a:pt x="421" y="215"/>
                  <a:pt x="421" y="215"/>
                </a:cubicBezTo>
                <a:cubicBezTo>
                  <a:pt x="422" y="216"/>
                  <a:pt x="422" y="216"/>
                  <a:pt x="422" y="216"/>
                </a:cubicBezTo>
                <a:cubicBezTo>
                  <a:pt x="424" y="219"/>
                  <a:pt x="424" y="219"/>
                  <a:pt x="424" y="219"/>
                </a:cubicBezTo>
                <a:cubicBezTo>
                  <a:pt x="430" y="222"/>
                  <a:pt x="430" y="222"/>
                  <a:pt x="430" y="222"/>
                </a:cubicBezTo>
                <a:cubicBezTo>
                  <a:pt x="430" y="224"/>
                  <a:pt x="430" y="224"/>
                  <a:pt x="430" y="224"/>
                </a:cubicBezTo>
                <a:cubicBezTo>
                  <a:pt x="429" y="226"/>
                  <a:pt x="429" y="226"/>
                  <a:pt x="429" y="226"/>
                </a:cubicBezTo>
                <a:cubicBezTo>
                  <a:pt x="431" y="225"/>
                  <a:pt x="431" y="225"/>
                  <a:pt x="431" y="225"/>
                </a:cubicBezTo>
                <a:cubicBezTo>
                  <a:pt x="433" y="224"/>
                  <a:pt x="433" y="224"/>
                  <a:pt x="433" y="224"/>
                </a:cubicBezTo>
                <a:cubicBezTo>
                  <a:pt x="435" y="226"/>
                  <a:pt x="435" y="226"/>
                  <a:pt x="435" y="226"/>
                </a:cubicBezTo>
                <a:cubicBezTo>
                  <a:pt x="434" y="229"/>
                  <a:pt x="434" y="229"/>
                  <a:pt x="434" y="229"/>
                </a:cubicBezTo>
                <a:cubicBezTo>
                  <a:pt x="431" y="232"/>
                  <a:pt x="431" y="232"/>
                  <a:pt x="431" y="232"/>
                </a:cubicBezTo>
                <a:cubicBezTo>
                  <a:pt x="431" y="234"/>
                  <a:pt x="431" y="234"/>
                  <a:pt x="431" y="234"/>
                </a:cubicBezTo>
                <a:cubicBezTo>
                  <a:pt x="436" y="231"/>
                  <a:pt x="436" y="231"/>
                  <a:pt x="436" y="231"/>
                </a:cubicBezTo>
                <a:cubicBezTo>
                  <a:pt x="436" y="228"/>
                  <a:pt x="436" y="228"/>
                  <a:pt x="436" y="228"/>
                </a:cubicBezTo>
                <a:cubicBezTo>
                  <a:pt x="438" y="226"/>
                  <a:pt x="438" y="226"/>
                  <a:pt x="438" y="226"/>
                </a:cubicBezTo>
                <a:cubicBezTo>
                  <a:pt x="441" y="227"/>
                  <a:pt x="441" y="227"/>
                  <a:pt x="441" y="227"/>
                </a:cubicBezTo>
                <a:cubicBezTo>
                  <a:pt x="444" y="226"/>
                  <a:pt x="444" y="226"/>
                  <a:pt x="444" y="226"/>
                </a:cubicBezTo>
                <a:cubicBezTo>
                  <a:pt x="446" y="226"/>
                  <a:pt x="446" y="226"/>
                  <a:pt x="446" y="226"/>
                </a:cubicBezTo>
                <a:cubicBezTo>
                  <a:pt x="446" y="228"/>
                  <a:pt x="446" y="228"/>
                  <a:pt x="446" y="228"/>
                </a:cubicBezTo>
                <a:cubicBezTo>
                  <a:pt x="451" y="233"/>
                  <a:pt x="451" y="233"/>
                  <a:pt x="451" y="233"/>
                </a:cubicBezTo>
                <a:cubicBezTo>
                  <a:pt x="452" y="239"/>
                  <a:pt x="452" y="239"/>
                  <a:pt x="452" y="239"/>
                </a:cubicBezTo>
                <a:cubicBezTo>
                  <a:pt x="451" y="241"/>
                  <a:pt x="451" y="241"/>
                  <a:pt x="451" y="241"/>
                </a:cubicBezTo>
                <a:cubicBezTo>
                  <a:pt x="452" y="245"/>
                  <a:pt x="452" y="245"/>
                  <a:pt x="452" y="245"/>
                </a:cubicBezTo>
                <a:cubicBezTo>
                  <a:pt x="452" y="249"/>
                  <a:pt x="452" y="249"/>
                  <a:pt x="452" y="249"/>
                </a:cubicBezTo>
                <a:cubicBezTo>
                  <a:pt x="451" y="250"/>
                  <a:pt x="451" y="250"/>
                  <a:pt x="451" y="250"/>
                </a:cubicBezTo>
                <a:cubicBezTo>
                  <a:pt x="452" y="252"/>
                  <a:pt x="452" y="252"/>
                  <a:pt x="452" y="252"/>
                </a:cubicBezTo>
                <a:cubicBezTo>
                  <a:pt x="452" y="254"/>
                  <a:pt x="452" y="254"/>
                  <a:pt x="452" y="254"/>
                </a:cubicBezTo>
                <a:cubicBezTo>
                  <a:pt x="453" y="257"/>
                  <a:pt x="453" y="257"/>
                  <a:pt x="453" y="257"/>
                </a:cubicBezTo>
                <a:cubicBezTo>
                  <a:pt x="451" y="259"/>
                  <a:pt x="451" y="259"/>
                  <a:pt x="451" y="259"/>
                </a:cubicBezTo>
                <a:cubicBezTo>
                  <a:pt x="446" y="260"/>
                  <a:pt x="446" y="260"/>
                  <a:pt x="446" y="260"/>
                </a:cubicBezTo>
                <a:cubicBezTo>
                  <a:pt x="445" y="262"/>
                  <a:pt x="445" y="262"/>
                  <a:pt x="445" y="262"/>
                </a:cubicBezTo>
                <a:cubicBezTo>
                  <a:pt x="439" y="262"/>
                  <a:pt x="439" y="262"/>
                  <a:pt x="439" y="262"/>
                </a:cubicBezTo>
                <a:cubicBezTo>
                  <a:pt x="436" y="262"/>
                  <a:pt x="436" y="262"/>
                  <a:pt x="436" y="262"/>
                </a:cubicBezTo>
                <a:cubicBezTo>
                  <a:pt x="429" y="265"/>
                  <a:pt x="429" y="265"/>
                  <a:pt x="429" y="265"/>
                </a:cubicBezTo>
                <a:cubicBezTo>
                  <a:pt x="425" y="265"/>
                  <a:pt x="425" y="265"/>
                  <a:pt x="425" y="265"/>
                </a:cubicBezTo>
                <a:cubicBezTo>
                  <a:pt x="419" y="268"/>
                  <a:pt x="419" y="268"/>
                  <a:pt x="419" y="268"/>
                </a:cubicBezTo>
                <a:cubicBezTo>
                  <a:pt x="417" y="268"/>
                  <a:pt x="417" y="268"/>
                  <a:pt x="417" y="268"/>
                </a:cubicBezTo>
                <a:cubicBezTo>
                  <a:pt x="415" y="270"/>
                  <a:pt x="415" y="270"/>
                  <a:pt x="415" y="270"/>
                </a:cubicBezTo>
                <a:cubicBezTo>
                  <a:pt x="410" y="270"/>
                  <a:pt x="410" y="270"/>
                  <a:pt x="410" y="270"/>
                </a:cubicBezTo>
                <a:cubicBezTo>
                  <a:pt x="409" y="271"/>
                  <a:pt x="409" y="271"/>
                  <a:pt x="409" y="271"/>
                </a:cubicBezTo>
                <a:cubicBezTo>
                  <a:pt x="408" y="270"/>
                  <a:pt x="408" y="270"/>
                  <a:pt x="408" y="270"/>
                </a:cubicBezTo>
                <a:cubicBezTo>
                  <a:pt x="406" y="270"/>
                  <a:pt x="406" y="270"/>
                  <a:pt x="406" y="270"/>
                </a:cubicBezTo>
                <a:cubicBezTo>
                  <a:pt x="402" y="271"/>
                  <a:pt x="402" y="271"/>
                  <a:pt x="402" y="271"/>
                </a:cubicBezTo>
                <a:cubicBezTo>
                  <a:pt x="401" y="274"/>
                  <a:pt x="401" y="274"/>
                  <a:pt x="401" y="274"/>
                </a:cubicBezTo>
                <a:cubicBezTo>
                  <a:pt x="399" y="277"/>
                  <a:pt x="399" y="277"/>
                  <a:pt x="399" y="277"/>
                </a:cubicBezTo>
                <a:cubicBezTo>
                  <a:pt x="397" y="277"/>
                  <a:pt x="397" y="277"/>
                  <a:pt x="397" y="277"/>
                </a:cubicBezTo>
                <a:cubicBezTo>
                  <a:pt x="396" y="280"/>
                  <a:pt x="396" y="280"/>
                  <a:pt x="396" y="280"/>
                </a:cubicBezTo>
                <a:cubicBezTo>
                  <a:pt x="393" y="281"/>
                  <a:pt x="393" y="281"/>
                  <a:pt x="393" y="281"/>
                </a:cubicBezTo>
                <a:cubicBezTo>
                  <a:pt x="390" y="283"/>
                  <a:pt x="390" y="283"/>
                  <a:pt x="390" y="283"/>
                </a:cubicBezTo>
                <a:cubicBezTo>
                  <a:pt x="387" y="283"/>
                  <a:pt x="387" y="283"/>
                  <a:pt x="387" y="283"/>
                </a:cubicBezTo>
                <a:cubicBezTo>
                  <a:pt x="385" y="280"/>
                  <a:pt x="385" y="280"/>
                  <a:pt x="385" y="280"/>
                </a:cubicBezTo>
                <a:cubicBezTo>
                  <a:pt x="384" y="283"/>
                  <a:pt x="384" y="283"/>
                  <a:pt x="384" y="283"/>
                </a:cubicBezTo>
                <a:cubicBezTo>
                  <a:pt x="383" y="285"/>
                  <a:pt x="383" y="285"/>
                  <a:pt x="383" y="285"/>
                </a:cubicBezTo>
                <a:cubicBezTo>
                  <a:pt x="380" y="287"/>
                  <a:pt x="380" y="287"/>
                  <a:pt x="380" y="287"/>
                </a:cubicBezTo>
                <a:cubicBezTo>
                  <a:pt x="377" y="290"/>
                  <a:pt x="377" y="290"/>
                  <a:pt x="377" y="290"/>
                </a:cubicBezTo>
                <a:cubicBezTo>
                  <a:pt x="377" y="292"/>
                  <a:pt x="377" y="292"/>
                  <a:pt x="377" y="292"/>
                </a:cubicBezTo>
                <a:cubicBezTo>
                  <a:pt x="374" y="295"/>
                  <a:pt x="374" y="295"/>
                  <a:pt x="374" y="295"/>
                </a:cubicBezTo>
                <a:cubicBezTo>
                  <a:pt x="374" y="296"/>
                  <a:pt x="374" y="296"/>
                  <a:pt x="374" y="296"/>
                </a:cubicBezTo>
                <a:cubicBezTo>
                  <a:pt x="371" y="300"/>
                  <a:pt x="371" y="300"/>
                  <a:pt x="371" y="300"/>
                </a:cubicBezTo>
                <a:cubicBezTo>
                  <a:pt x="369" y="302"/>
                  <a:pt x="369" y="302"/>
                  <a:pt x="369" y="302"/>
                </a:cubicBezTo>
                <a:cubicBezTo>
                  <a:pt x="365" y="302"/>
                  <a:pt x="365" y="302"/>
                  <a:pt x="365" y="302"/>
                </a:cubicBezTo>
                <a:cubicBezTo>
                  <a:pt x="362" y="304"/>
                  <a:pt x="362" y="304"/>
                  <a:pt x="362" y="304"/>
                </a:cubicBezTo>
                <a:cubicBezTo>
                  <a:pt x="360" y="304"/>
                  <a:pt x="360" y="304"/>
                  <a:pt x="360" y="304"/>
                </a:cubicBezTo>
                <a:cubicBezTo>
                  <a:pt x="358" y="301"/>
                  <a:pt x="358" y="301"/>
                  <a:pt x="358" y="301"/>
                </a:cubicBezTo>
                <a:cubicBezTo>
                  <a:pt x="360" y="300"/>
                  <a:pt x="360" y="300"/>
                  <a:pt x="360" y="300"/>
                </a:cubicBezTo>
                <a:cubicBezTo>
                  <a:pt x="360" y="297"/>
                  <a:pt x="360" y="297"/>
                  <a:pt x="360" y="297"/>
                </a:cubicBezTo>
                <a:cubicBezTo>
                  <a:pt x="359" y="296"/>
                  <a:pt x="359" y="296"/>
                  <a:pt x="359" y="296"/>
                </a:cubicBezTo>
                <a:cubicBezTo>
                  <a:pt x="357" y="297"/>
                  <a:pt x="357" y="297"/>
                  <a:pt x="357" y="297"/>
                </a:cubicBezTo>
                <a:cubicBezTo>
                  <a:pt x="357" y="299"/>
                  <a:pt x="357" y="299"/>
                  <a:pt x="357" y="299"/>
                </a:cubicBezTo>
                <a:cubicBezTo>
                  <a:pt x="355" y="299"/>
                  <a:pt x="355" y="299"/>
                  <a:pt x="355" y="299"/>
                </a:cubicBezTo>
                <a:cubicBezTo>
                  <a:pt x="352" y="302"/>
                  <a:pt x="352" y="302"/>
                  <a:pt x="352" y="302"/>
                </a:cubicBezTo>
                <a:cubicBezTo>
                  <a:pt x="349" y="303"/>
                  <a:pt x="349" y="303"/>
                  <a:pt x="349" y="303"/>
                </a:cubicBezTo>
                <a:cubicBezTo>
                  <a:pt x="347" y="303"/>
                  <a:pt x="347" y="303"/>
                  <a:pt x="347" y="303"/>
                </a:cubicBezTo>
                <a:cubicBezTo>
                  <a:pt x="344" y="304"/>
                  <a:pt x="344" y="304"/>
                  <a:pt x="344" y="304"/>
                </a:cubicBezTo>
                <a:cubicBezTo>
                  <a:pt x="342" y="305"/>
                  <a:pt x="342" y="305"/>
                  <a:pt x="342" y="305"/>
                </a:cubicBezTo>
                <a:cubicBezTo>
                  <a:pt x="341" y="305"/>
                  <a:pt x="341" y="305"/>
                  <a:pt x="341" y="305"/>
                </a:cubicBezTo>
                <a:cubicBezTo>
                  <a:pt x="339" y="305"/>
                  <a:pt x="339" y="305"/>
                  <a:pt x="339" y="305"/>
                </a:cubicBezTo>
                <a:cubicBezTo>
                  <a:pt x="339" y="304"/>
                  <a:pt x="339" y="304"/>
                  <a:pt x="339" y="304"/>
                </a:cubicBezTo>
                <a:close/>
                <a:moveTo>
                  <a:pt x="650" y="267"/>
                </a:moveTo>
                <a:cubicBezTo>
                  <a:pt x="651" y="268"/>
                  <a:pt x="651" y="268"/>
                  <a:pt x="651" y="268"/>
                </a:cubicBezTo>
                <a:cubicBezTo>
                  <a:pt x="652" y="270"/>
                  <a:pt x="652" y="270"/>
                  <a:pt x="652" y="270"/>
                </a:cubicBezTo>
                <a:cubicBezTo>
                  <a:pt x="651" y="272"/>
                  <a:pt x="651" y="272"/>
                  <a:pt x="651" y="272"/>
                </a:cubicBezTo>
                <a:cubicBezTo>
                  <a:pt x="650" y="272"/>
                  <a:pt x="650" y="272"/>
                  <a:pt x="650" y="272"/>
                </a:cubicBezTo>
                <a:cubicBezTo>
                  <a:pt x="649" y="271"/>
                  <a:pt x="649" y="271"/>
                  <a:pt x="649" y="271"/>
                </a:cubicBezTo>
                <a:cubicBezTo>
                  <a:pt x="649" y="268"/>
                  <a:pt x="649" y="268"/>
                  <a:pt x="649" y="268"/>
                </a:cubicBezTo>
                <a:cubicBezTo>
                  <a:pt x="650" y="267"/>
                  <a:pt x="650" y="267"/>
                  <a:pt x="650" y="267"/>
                </a:cubicBezTo>
                <a:close/>
                <a:moveTo>
                  <a:pt x="626" y="268"/>
                </a:moveTo>
                <a:cubicBezTo>
                  <a:pt x="627" y="265"/>
                  <a:pt x="627" y="265"/>
                  <a:pt x="627" y="265"/>
                </a:cubicBezTo>
                <a:cubicBezTo>
                  <a:pt x="630" y="264"/>
                  <a:pt x="630" y="264"/>
                  <a:pt x="630" y="264"/>
                </a:cubicBezTo>
                <a:cubicBezTo>
                  <a:pt x="632" y="265"/>
                  <a:pt x="632" y="265"/>
                  <a:pt x="632" y="265"/>
                </a:cubicBezTo>
                <a:cubicBezTo>
                  <a:pt x="631" y="266"/>
                  <a:pt x="631" y="266"/>
                  <a:pt x="631" y="266"/>
                </a:cubicBezTo>
                <a:cubicBezTo>
                  <a:pt x="629" y="267"/>
                  <a:pt x="629" y="267"/>
                  <a:pt x="629" y="267"/>
                </a:cubicBezTo>
                <a:cubicBezTo>
                  <a:pt x="628" y="268"/>
                  <a:pt x="628" y="268"/>
                  <a:pt x="628" y="268"/>
                </a:cubicBezTo>
                <a:cubicBezTo>
                  <a:pt x="626" y="268"/>
                  <a:pt x="626" y="268"/>
                  <a:pt x="626" y="268"/>
                </a:cubicBezTo>
                <a:close/>
                <a:moveTo>
                  <a:pt x="603" y="281"/>
                </a:moveTo>
                <a:cubicBezTo>
                  <a:pt x="604" y="283"/>
                  <a:pt x="604" y="283"/>
                  <a:pt x="604" y="283"/>
                </a:cubicBezTo>
                <a:cubicBezTo>
                  <a:pt x="607" y="283"/>
                  <a:pt x="607" y="283"/>
                  <a:pt x="607" y="283"/>
                </a:cubicBezTo>
                <a:cubicBezTo>
                  <a:pt x="610" y="286"/>
                  <a:pt x="610" y="286"/>
                  <a:pt x="610" y="286"/>
                </a:cubicBezTo>
                <a:cubicBezTo>
                  <a:pt x="611" y="284"/>
                  <a:pt x="611" y="284"/>
                  <a:pt x="611" y="284"/>
                </a:cubicBezTo>
                <a:cubicBezTo>
                  <a:pt x="613" y="285"/>
                  <a:pt x="613" y="285"/>
                  <a:pt x="613" y="285"/>
                </a:cubicBezTo>
                <a:cubicBezTo>
                  <a:pt x="616" y="284"/>
                  <a:pt x="616" y="284"/>
                  <a:pt x="616" y="284"/>
                </a:cubicBezTo>
                <a:cubicBezTo>
                  <a:pt x="618" y="284"/>
                  <a:pt x="618" y="284"/>
                  <a:pt x="618" y="284"/>
                </a:cubicBezTo>
                <a:cubicBezTo>
                  <a:pt x="620" y="284"/>
                  <a:pt x="620" y="284"/>
                  <a:pt x="620" y="284"/>
                </a:cubicBezTo>
                <a:cubicBezTo>
                  <a:pt x="621" y="282"/>
                  <a:pt x="621" y="282"/>
                  <a:pt x="621" y="282"/>
                </a:cubicBezTo>
                <a:cubicBezTo>
                  <a:pt x="624" y="282"/>
                  <a:pt x="624" y="282"/>
                  <a:pt x="624" y="282"/>
                </a:cubicBezTo>
                <a:cubicBezTo>
                  <a:pt x="624" y="281"/>
                  <a:pt x="624" y="281"/>
                  <a:pt x="624" y="281"/>
                </a:cubicBezTo>
                <a:cubicBezTo>
                  <a:pt x="620" y="278"/>
                  <a:pt x="620" y="278"/>
                  <a:pt x="620" y="278"/>
                </a:cubicBezTo>
                <a:cubicBezTo>
                  <a:pt x="618" y="280"/>
                  <a:pt x="618" y="280"/>
                  <a:pt x="618" y="280"/>
                </a:cubicBezTo>
                <a:cubicBezTo>
                  <a:pt x="616" y="280"/>
                  <a:pt x="616" y="280"/>
                  <a:pt x="616" y="280"/>
                </a:cubicBezTo>
                <a:cubicBezTo>
                  <a:pt x="614" y="279"/>
                  <a:pt x="614" y="279"/>
                  <a:pt x="614" y="279"/>
                </a:cubicBezTo>
                <a:cubicBezTo>
                  <a:pt x="612" y="281"/>
                  <a:pt x="612" y="281"/>
                  <a:pt x="612" y="281"/>
                </a:cubicBezTo>
                <a:cubicBezTo>
                  <a:pt x="609" y="279"/>
                  <a:pt x="609" y="279"/>
                  <a:pt x="609" y="279"/>
                </a:cubicBezTo>
                <a:cubicBezTo>
                  <a:pt x="606" y="281"/>
                  <a:pt x="606" y="281"/>
                  <a:pt x="606" y="281"/>
                </a:cubicBezTo>
                <a:cubicBezTo>
                  <a:pt x="603" y="281"/>
                  <a:pt x="603" y="281"/>
                  <a:pt x="603" y="281"/>
                </a:cubicBezTo>
                <a:cubicBezTo>
                  <a:pt x="603" y="281"/>
                  <a:pt x="603" y="281"/>
                  <a:pt x="603" y="281"/>
                </a:cubicBezTo>
                <a:close/>
                <a:moveTo>
                  <a:pt x="589" y="366"/>
                </a:moveTo>
                <a:cubicBezTo>
                  <a:pt x="588" y="365"/>
                  <a:pt x="588" y="365"/>
                  <a:pt x="588" y="365"/>
                </a:cubicBezTo>
                <a:cubicBezTo>
                  <a:pt x="589" y="364"/>
                  <a:pt x="589" y="364"/>
                  <a:pt x="589" y="364"/>
                </a:cubicBezTo>
                <a:cubicBezTo>
                  <a:pt x="590" y="363"/>
                  <a:pt x="590" y="363"/>
                  <a:pt x="590" y="363"/>
                </a:cubicBezTo>
                <a:cubicBezTo>
                  <a:pt x="590" y="366"/>
                  <a:pt x="590" y="366"/>
                  <a:pt x="590" y="366"/>
                </a:cubicBezTo>
                <a:cubicBezTo>
                  <a:pt x="589" y="366"/>
                  <a:pt x="589" y="366"/>
                  <a:pt x="589" y="366"/>
                </a:cubicBezTo>
                <a:close/>
                <a:moveTo>
                  <a:pt x="574" y="364"/>
                </a:moveTo>
                <a:cubicBezTo>
                  <a:pt x="573" y="362"/>
                  <a:pt x="573" y="362"/>
                  <a:pt x="573" y="362"/>
                </a:cubicBezTo>
                <a:cubicBezTo>
                  <a:pt x="573" y="360"/>
                  <a:pt x="573" y="360"/>
                  <a:pt x="573" y="360"/>
                </a:cubicBezTo>
                <a:cubicBezTo>
                  <a:pt x="572" y="359"/>
                  <a:pt x="572" y="359"/>
                  <a:pt x="572" y="359"/>
                </a:cubicBezTo>
                <a:cubicBezTo>
                  <a:pt x="570" y="360"/>
                  <a:pt x="570" y="360"/>
                  <a:pt x="570" y="360"/>
                </a:cubicBezTo>
                <a:cubicBezTo>
                  <a:pt x="570" y="359"/>
                  <a:pt x="570" y="359"/>
                  <a:pt x="570" y="359"/>
                </a:cubicBezTo>
                <a:cubicBezTo>
                  <a:pt x="570" y="356"/>
                  <a:pt x="570" y="356"/>
                  <a:pt x="570" y="356"/>
                </a:cubicBezTo>
                <a:cubicBezTo>
                  <a:pt x="570" y="354"/>
                  <a:pt x="570" y="354"/>
                  <a:pt x="570" y="354"/>
                </a:cubicBezTo>
                <a:cubicBezTo>
                  <a:pt x="568" y="352"/>
                  <a:pt x="568" y="352"/>
                  <a:pt x="568" y="352"/>
                </a:cubicBezTo>
                <a:cubicBezTo>
                  <a:pt x="570" y="349"/>
                  <a:pt x="570" y="349"/>
                  <a:pt x="570" y="349"/>
                </a:cubicBezTo>
                <a:cubicBezTo>
                  <a:pt x="569" y="346"/>
                  <a:pt x="569" y="346"/>
                  <a:pt x="569" y="346"/>
                </a:cubicBezTo>
                <a:cubicBezTo>
                  <a:pt x="570" y="344"/>
                  <a:pt x="570" y="344"/>
                  <a:pt x="570" y="344"/>
                </a:cubicBezTo>
                <a:cubicBezTo>
                  <a:pt x="568" y="343"/>
                  <a:pt x="568" y="343"/>
                  <a:pt x="568" y="343"/>
                </a:cubicBezTo>
                <a:cubicBezTo>
                  <a:pt x="567" y="341"/>
                  <a:pt x="567" y="341"/>
                  <a:pt x="567" y="341"/>
                </a:cubicBezTo>
                <a:cubicBezTo>
                  <a:pt x="567" y="339"/>
                  <a:pt x="567" y="339"/>
                  <a:pt x="567" y="339"/>
                </a:cubicBezTo>
                <a:cubicBezTo>
                  <a:pt x="565" y="337"/>
                  <a:pt x="565" y="337"/>
                  <a:pt x="565" y="337"/>
                </a:cubicBezTo>
                <a:cubicBezTo>
                  <a:pt x="565" y="333"/>
                  <a:pt x="565" y="333"/>
                  <a:pt x="565" y="333"/>
                </a:cubicBezTo>
                <a:cubicBezTo>
                  <a:pt x="564" y="330"/>
                  <a:pt x="564" y="330"/>
                  <a:pt x="564" y="330"/>
                </a:cubicBezTo>
                <a:cubicBezTo>
                  <a:pt x="563" y="330"/>
                  <a:pt x="563" y="330"/>
                  <a:pt x="563" y="330"/>
                </a:cubicBezTo>
                <a:cubicBezTo>
                  <a:pt x="562" y="329"/>
                  <a:pt x="562" y="329"/>
                  <a:pt x="562" y="329"/>
                </a:cubicBezTo>
                <a:cubicBezTo>
                  <a:pt x="562" y="326"/>
                  <a:pt x="562" y="326"/>
                  <a:pt x="562" y="326"/>
                </a:cubicBezTo>
                <a:cubicBezTo>
                  <a:pt x="561" y="326"/>
                  <a:pt x="561" y="326"/>
                  <a:pt x="561" y="326"/>
                </a:cubicBezTo>
                <a:cubicBezTo>
                  <a:pt x="559" y="327"/>
                  <a:pt x="559" y="327"/>
                  <a:pt x="559" y="327"/>
                </a:cubicBezTo>
                <a:cubicBezTo>
                  <a:pt x="558" y="326"/>
                  <a:pt x="558" y="326"/>
                  <a:pt x="558" y="326"/>
                </a:cubicBezTo>
                <a:cubicBezTo>
                  <a:pt x="556" y="326"/>
                  <a:pt x="556" y="326"/>
                  <a:pt x="556" y="326"/>
                </a:cubicBezTo>
                <a:cubicBezTo>
                  <a:pt x="555" y="325"/>
                  <a:pt x="555" y="325"/>
                  <a:pt x="555" y="325"/>
                </a:cubicBezTo>
                <a:cubicBezTo>
                  <a:pt x="555" y="322"/>
                  <a:pt x="555" y="322"/>
                  <a:pt x="555" y="322"/>
                </a:cubicBezTo>
                <a:cubicBezTo>
                  <a:pt x="557" y="321"/>
                  <a:pt x="557" y="321"/>
                  <a:pt x="557" y="321"/>
                </a:cubicBezTo>
                <a:cubicBezTo>
                  <a:pt x="558" y="318"/>
                  <a:pt x="558" y="318"/>
                  <a:pt x="558" y="318"/>
                </a:cubicBezTo>
                <a:cubicBezTo>
                  <a:pt x="556" y="316"/>
                  <a:pt x="556" y="316"/>
                  <a:pt x="556" y="316"/>
                </a:cubicBezTo>
                <a:cubicBezTo>
                  <a:pt x="557" y="314"/>
                  <a:pt x="557" y="314"/>
                  <a:pt x="557" y="314"/>
                </a:cubicBezTo>
                <a:cubicBezTo>
                  <a:pt x="557" y="310"/>
                  <a:pt x="557" y="310"/>
                  <a:pt x="557" y="310"/>
                </a:cubicBezTo>
                <a:cubicBezTo>
                  <a:pt x="556" y="309"/>
                  <a:pt x="556" y="309"/>
                  <a:pt x="556" y="309"/>
                </a:cubicBezTo>
                <a:cubicBezTo>
                  <a:pt x="559" y="305"/>
                  <a:pt x="559" y="305"/>
                  <a:pt x="559" y="305"/>
                </a:cubicBezTo>
                <a:cubicBezTo>
                  <a:pt x="561" y="304"/>
                  <a:pt x="561" y="304"/>
                  <a:pt x="561" y="304"/>
                </a:cubicBezTo>
                <a:cubicBezTo>
                  <a:pt x="562" y="302"/>
                  <a:pt x="562" y="302"/>
                  <a:pt x="562" y="302"/>
                </a:cubicBezTo>
                <a:cubicBezTo>
                  <a:pt x="564" y="302"/>
                  <a:pt x="564" y="302"/>
                  <a:pt x="564" y="302"/>
                </a:cubicBezTo>
                <a:cubicBezTo>
                  <a:pt x="564" y="303"/>
                  <a:pt x="564" y="303"/>
                  <a:pt x="564" y="303"/>
                </a:cubicBezTo>
                <a:cubicBezTo>
                  <a:pt x="568" y="302"/>
                  <a:pt x="568" y="302"/>
                  <a:pt x="568" y="302"/>
                </a:cubicBezTo>
                <a:cubicBezTo>
                  <a:pt x="570" y="303"/>
                  <a:pt x="570" y="303"/>
                  <a:pt x="570" y="303"/>
                </a:cubicBezTo>
                <a:cubicBezTo>
                  <a:pt x="571" y="304"/>
                  <a:pt x="571" y="304"/>
                  <a:pt x="571" y="304"/>
                </a:cubicBezTo>
                <a:cubicBezTo>
                  <a:pt x="570" y="305"/>
                  <a:pt x="570" y="305"/>
                  <a:pt x="570" y="305"/>
                </a:cubicBezTo>
                <a:cubicBezTo>
                  <a:pt x="569" y="306"/>
                  <a:pt x="569" y="306"/>
                  <a:pt x="569" y="306"/>
                </a:cubicBezTo>
                <a:cubicBezTo>
                  <a:pt x="569" y="307"/>
                  <a:pt x="569" y="307"/>
                  <a:pt x="569" y="307"/>
                </a:cubicBezTo>
                <a:cubicBezTo>
                  <a:pt x="571" y="307"/>
                  <a:pt x="571" y="307"/>
                  <a:pt x="571" y="307"/>
                </a:cubicBezTo>
                <a:cubicBezTo>
                  <a:pt x="571" y="309"/>
                  <a:pt x="571" y="309"/>
                  <a:pt x="571" y="309"/>
                </a:cubicBezTo>
                <a:cubicBezTo>
                  <a:pt x="571" y="311"/>
                  <a:pt x="571" y="311"/>
                  <a:pt x="571" y="311"/>
                </a:cubicBezTo>
                <a:cubicBezTo>
                  <a:pt x="574" y="314"/>
                  <a:pt x="574" y="314"/>
                  <a:pt x="574" y="314"/>
                </a:cubicBezTo>
                <a:cubicBezTo>
                  <a:pt x="574" y="316"/>
                  <a:pt x="574" y="316"/>
                  <a:pt x="574" y="316"/>
                </a:cubicBezTo>
                <a:cubicBezTo>
                  <a:pt x="576" y="318"/>
                  <a:pt x="576" y="318"/>
                  <a:pt x="576" y="318"/>
                </a:cubicBezTo>
                <a:cubicBezTo>
                  <a:pt x="578" y="319"/>
                  <a:pt x="578" y="319"/>
                  <a:pt x="578" y="319"/>
                </a:cubicBezTo>
                <a:cubicBezTo>
                  <a:pt x="579" y="318"/>
                  <a:pt x="579" y="318"/>
                  <a:pt x="579" y="318"/>
                </a:cubicBezTo>
                <a:cubicBezTo>
                  <a:pt x="579" y="316"/>
                  <a:pt x="579" y="316"/>
                  <a:pt x="579" y="316"/>
                </a:cubicBezTo>
                <a:cubicBezTo>
                  <a:pt x="580" y="315"/>
                  <a:pt x="580" y="315"/>
                  <a:pt x="580" y="315"/>
                </a:cubicBezTo>
                <a:cubicBezTo>
                  <a:pt x="582" y="312"/>
                  <a:pt x="582" y="312"/>
                  <a:pt x="582" y="312"/>
                </a:cubicBezTo>
                <a:cubicBezTo>
                  <a:pt x="581" y="310"/>
                  <a:pt x="581" y="310"/>
                  <a:pt x="581" y="310"/>
                </a:cubicBezTo>
                <a:cubicBezTo>
                  <a:pt x="583" y="309"/>
                  <a:pt x="583" y="309"/>
                  <a:pt x="583" y="309"/>
                </a:cubicBezTo>
                <a:cubicBezTo>
                  <a:pt x="583" y="307"/>
                  <a:pt x="583" y="307"/>
                  <a:pt x="583" y="307"/>
                </a:cubicBezTo>
                <a:cubicBezTo>
                  <a:pt x="582" y="305"/>
                  <a:pt x="582" y="305"/>
                  <a:pt x="582" y="305"/>
                </a:cubicBezTo>
                <a:cubicBezTo>
                  <a:pt x="583" y="304"/>
                  <a:pt x="583" y="304"/>
                  <a:pt x="583" y="304"/>
                </a:cubicBezTo>
                <a:cubicBezTo>
                  <a:pt x="585" y="303"/>
                  <a:pt x="585" y="303"/>
                  <a:pt x="585" y="303"/>
                </a:cubicBezTo>
                <a:cubicBezTo>
                  <a:pt x="587" y="304"/>
                  <a:pt x="587" y="304"/>
                  <a:pt x="587" y="304"/>
                </a:cubicBezTo>
                <a:cubicBezTo>
                  <a:pt x="588" y="307"/>
                  <a:pt x="588" y="307"/>
                  <a:pt x="588" y="307"/>
                </a:cubicBezTo>
                <a:cubicBezTo>
                  <a:pt x="590" y="307"/>
                  <a:pt x="590" y="307"/>
                  <a:pt x="590" y="307"/>
                </a:cubicBezTo>
                <a:cubicBezTo>
                  <a:pt x="589" y="305"/>
                  <a:pt x="589" y="305"/>
                  <a:pt x="589" y="305"/>
                </a:cubicBezTo>
                <a:cubicBezTo>
                  <a:pt x="588" y="302"/>
                  <a:pt x="588" y="302"/>
                  <a:pt x="588" y="302"/>
                </a:cubicBezTo>
                <a:cubicBezTo>
                  <a:pt x="587" y="300"/>
                  <a:pt x="587" y="300"/>
                  <a:pt x="587" y="300"/>
                </a:cubicBezTo>
                <a:cubicBezTo>
                  <a:pt x="586" y="300"/>
                  <a:pt x="586" y="300"/>
                  <a:pt x="586" y="300"/>
                </a:cubicBezTo>
                <a:cubicBezTo>
                  <a:pt x="585" y="302"/>
                  <a:pt x="585" y="302"/>
                  <a:pt x="585" y="302"/>
                </a:cubicBezTo>
                <a:cubicBezTo>
                  <a:pt x="583" y="302"/>
                  <a:pt x="583" y="302"/>
                  <a:pt x="583" y="302"/>
                </a:cubicBezTo>
                <a:cubicBezTo>
                  <a:pt x="580" y="299"/>
                  <a:pt x="580" y="299"/>
                  <a:pt x="580" y="299"/>
                </a:cubicBezTo>
                <a:cubicBezTo>
                  <a:pt x="580" y="298"/>
                  <a:pt x="580" y="298"/>
                  <a:pt x="580" y="298"/>
                </a:cubicBezTo>
                <a:cubicBezTo>
                  <a:pt x="579" y="295"/>
                  <a:pt x="579" y="295"/>
                  <a:pt x="579" y="295"/>
                </a:cubicBezTo>
                <a:cubicBezTo>
                  <a:pt x="578" y="292"/>
                  <a:pt x="578" y="292"/>
                  <a:pt x="578" y="292"/>
                </a:cubicBezTo>
                <a:cubicBezTo>
                  <a:pt x="580" y="291"/>
                  <a:pt x="580" y="291"/>
                  <a:pt x="580" y="291"/>
                </a:cubicBezTo>
                <a:cubicBezTo>
                  <a:pt x="582" y="291"/>
                  <a:pt x="582" y="291"/>
                  <a:pt x="582" y="291"/>
                </a:cubicBezTo>
                <a:cubicBezTo>
                  <a:pt x="582" y="289"/>
                  <a:pt x="582" y="289"/>
                  <a:pt x="582" y="289"/>
                </a:cubicBezTo>
                <a:cubicBezTo>
                  <a:pt x="584" y="290"/>
                  <a:pt x="584" y="290"/>
                  <a:pt x="584" y="290"/>
                </a:cubicBezTo>
                <a:cubicBezTo>
                  <a:pt x="585" y="292"/>
                  <a:pt x="585" y="292"/>
                  <a:pt x="585" y="292"/>
                </a:cubicBezTo>
                <a:cubicBezTo>
                  <a:pt x="586" y="297"/>
                  <a:pt x="586" y="297"/>
                  <a:pt x="586" y="297"/>
                </a:cubicBezTo>
                <a:cubicBezTo>
                  <a:pt x="587" y="297"/>
                  <a:pt x="587" y="297"/>
                  <a:pt x="587" y="297"/>
                </a:cubicBezTo>
                <a:cubicBezTo>
                  <a:pt x="587" y="295"/>
                  <a:pt x="587" y="295"/>
                  <a:pt x="587" y="295"/>
                </a:cubicBezTo>
                <a:cubicBezTo>
                  <a:pt x="588" y="294"/>
                  <a:pt x="588" y="294"/>
                  <a:pt x="588" y="294"/>
                </a:cubicBezTo>
                <a:cubicBezTo>
                  <a:pt x="588" y="291"/>
                  <a:pt x="588" y="291"/>
                  <a:pt x="588" y="291"/>
                </a:cubicBezTo>
                <a:cubicBezTo>
                  <a:pt x="586" y="290"/>
                  <a:pt x="586" y="290"/>
                  <a:pt x="586" y="290"/>
                </a:cubicBezTo>
                <a:cubicBezTo>
                  <a:pt x="586" y="288"/>
                  <a:pt x="586" y="288"/>
                  <a:pt x="586" y="288"/>
                </a:cubicBezTo>
                <a:cubicBezTo>
                  <a:pt x="585" y="285"/>
                  <a:pt x="585" y="285"/>
                  <a:pt x="585" y="285"/>
                </a:cubicBezTo>
                <a:cubicBezTo>
                  <a:pt x="587" y="285"/>
                  <a:pt x="587" y="285"/>
                  <a:pt x="587" y="285"/>
                </a:cubicBezTo>
                <a:cubicBezTo>
                  <a:pt x="587" y="282"/>
                  <a:pt x="587" y="282"/>
                  <a:pt x="587" y="282"/>
                </a:cubicBezTo>
                <a:cubicBezTo>
                  <a:pt x="590" y="281"/>
                  <a:pt x="590" y="281"/>
                  <a:pt x="590" y="281"/>
                </a:cubicBezTo>
                <a:cubicBezTo>
                  <a:pt x="591" y="282"/>
                  <a:pt x="591" y="282"/>
                  <a:pt x="591" y="282"/>
                </a:cubicBezTo>
                <a:cubicBezTo>
                  <a:pt x="592" y="282"/>
                  <a:pt x="592" y="282"/>
                  <a:pt x="592" y="282"/>
                </a:cubicBezTo>
                <a:cubicBezTo>
                  <a:pt x="593" y="284"/>
                  <a:pt x="593" y="284"/>
                  <a:pt x="593" y="284"/>
                </a:cubicBezTo>
                <a:cubicBezTo>
                  <a:pt x="596" y="285"/>
                  <a:pt x="596" y="285"/>
                  <a:pt x="596" y="285"/>
                </a:cubicBezTo>
                <a:cubicBezTo>
                  <a:pt x="598" y="283"/>
                  <a:pt x="598" y="283"/>
                  <a:pt x="598" y="283"/>
                </a:cubicBezTo>
                <a:cubicBezTo>
                  <a:pt x="595" y="283"/>
                  <a:pt x="595" y="283"/>
                  <a:pt x="595" y="283"/>
                </a:cubicBezTo>
                <a:cubicBezTo>
                  <a:pt x="594" y="282"/>
                  <a:pt x="594" y="282"/>
                  <a:pt x="594" y="282"/>
                </a:cubicBezTo>
                <a:cubicBezTo>
                  <a:pt x="595" y="281"/>
                  <a:pt x="595" y="281"/>
                  <a:pt x="595" y="281"/>
                </a:cubicBezTo>
                <a:cubicBezTo>
                  <a:pt x="597" y="280"/>
                  <a:pt x="597" y="280"/>
                  <a:pt x="597" y="280"/>
                </a:cubicBezTo>
                <a:cubicBezTo>
                  <a:pt x="600" y="280"/>
                  <a:pt x="600" y="280"/>
                  <a:pt x="600" y="280"/>
                </a:cubicBezTo>
                <a:cubicBezTo>
                  <a:pt x="601" y="281"/>
                  <a:pt x="601" y="281"/>
                  <a:pt x="601" y="281"/>
                </a:cubicBezTo>
                <a:cubicBezTo>
                  <a:pt x="600" y="282"/>
                  <a:pt x="600" y="282"/>
                  <a:pt x="600" y="282"/>
                </a:cubicBezTo>
                <a:cubicBezTo>
                  <a:pt x="600" y="284"/>
                  <a:pt x="600" y="284"/>
                  <a:pt x="600" y="284"/>
                </a:cubicBezTo>
                <a:cubicBezTo>
                  <a:pt x="602" y="285"/>
                  <a:pt x="602" y="285"/>
                  <a:pt x="602" y="285"/>
                </a:cubicBezTo>
                <a:cubicBezTo>
                  <a:pt x="603" y="287"/>
                  <a:pt x="603" y="287"/>
                  <a:pt x="603" y="287"/>
                </a:cubicBezTo>
                <a:cubicBezTo>
                  <a:pt x="605" y="287"/>
                  <a:pt x="605" y="287"/>
                  <a:pt x="605" y="287"/>
                </a:cubicBezTo>
                <a:cubicBezTo>
                  <a:pt x="608" y="288"/>
                  <a:pt x="608" y="288"/>
                  <a:pt x="608" y="288"/>
                </a:cubicBezTo>
                <a:cubicBezTo>
                  <a:pt x="611" y="288"/>
                  <a:pt x="611" y="288"/>
                  <a:pt x="611" y="288"/>
                </a:cubicBezTo>
                <a:cubicBezTo>
                  <a:pt x="612" y="287"/>
                  <a:pt x="612" y="287"/>
                  <a:pt x="612" y="287"/>
                </a:cubicBezTo>
                <a:cubicBezTo>
                  <a:pt x="614" y="287"/>
                  <a:pt x="614" y="287"/>
                  <a:pt x="614" y="287"/>
                </a:cubicBezTo>
                <a:cubicBezTo>
                  <a:pt x="620" y="287"/>
                  <a:pt x="620" y="287"/>
                  <a:pt x="620" y="287"/>
                </a:cubicBezTo>
                <a:cubicBezTo>
                  <a:pt x="621" y="289"/>
                  <a:pt x="621" y="289"/>
                  <a:pt x="621" y="289"/>
                </a:cubicBezTo>
                <a:cubicBezTo>
                  <a:pt x="623" y="289"/>
                  <a:pt x="623" y="289"/>
                  <a:pt x="623" y="289"/>
                </a:cubicBezTo>
                <a:cubicBezTo>
                  <a:pt x="623" y="290"/>
                  <a:pt x="623" y="290"/>
                  <a:pt x="623" y="290"/>
                </a:cubicBezTo>
                <a:cubicBezTo>
                  <a:pt x="623" y="292"/>
                  <a:pt x="623" y="292"/>
                  <a:pt x="623" y="292"/>
                </a:cubicBezTo>
                <a:cubicBezTo>
                  <a:pt x="624" y="293"/>
                  <a:pt x="624" y="293"/>
                  <a:pt x="624" y="293"/>
                </a:cubicBezTo>
                <a:cubicBezTo>
                  <a:pt x="623" y="295"/>
                  <a:pt x="623" y="295"/>
                  <a:pt x="623" y="295"/>
                </a:cubicBezTo>
                <a:cubicBezTo>
                  <a:pt x="619" y="297"/>
                  <a:pt x="619" y="297"/>
                  <a:pt x="619" y="297"/>
                </a:cubicBezTo>
                <a:cubicBezTo>
                  <a:pt x="618" y="296"/>
                  <a:pt x="618" y="296"/>
                  <a:pt x="618" y="296"/>
                </a:cubicBezTo>
                <a:cubicBezTo>
                  <a:pt x="617" y="295"/>
                  <a:pt x="617" y="295"/>
                  <a:pt x="617" y="295"/>
                </a:cubicBezTo>
                <a:cubicBezTo>
                  <a:pt x="616" y="296"/>
                  <a:pt x="616" y="296"/>
                  <a:pt x="616" y="296"/>
                </a:cubicBezTo>
                <a:cubicBezTo>
                  <a:pt x="614" y="297"/>
                  <a:pt x="614" y="297"/>
                  <a:pt x="614" y="297"/>
                </a:cubicBezTo>
                <a:cubicBezTo>
                  <a:pt x="615" y="298"/>
                  <a:pt x="615" y="298"/>
                  <a:pt x="615" y="298"/>
                </a:cubicBezTo>
                <a:cubicBezTo>
                  <a:pt x="618" y="300"/>
                  <a:pt x="618" y="300"/>
                  <a:pt x="618" y="300"/>
                </a:cubicBezTo>
                <a:cubicBezTo>
                  <a:pt x="617" y="301"/>
                  <a:pt x="617" y="301"/>
                  <a:pt x="617" y="301"/>
                </a:cubicBezTo>
                <a:cubicBezTo>
                  <a:pt x="616" y="304"/>
                  <a:pt x="616" y="304"/>
                  <a:pt x="616" y="304"/>
                </a:cubicBezTo>
                <a:cubicBezTo>
                  <a:pt x="615" y="305"/>
                  <a:pt x="615" y="305"/>
                  <a:pt x="615" y="305"/>
                </a:cubicBezTo>
                <a:cubicBezTo>
                  <a:pt x="614" y="304"/>
                  <a:pt x="614" y="304"/>
                  <a:pt x="614" y="304"/>
                </a:cubicBezTo>
                <a:cubicBezTo>
                  <a:pt x="612" y="304"/>
                  <a:pt x="612" y="304"/>
                  <a:pt x="612" y="304"/>
                </a:cubicBezTo>
                <a:cubicBezTo>
                  <a:pt x="610" y="305"/>
                  <a:pt x="610" y="305"/>
                  <a:pt x="610" y="305"/>
                </a:cubicBezTo>
                <a:cubicBezTo>
                  <a:pt x="609" y="306"/>
                  <a:pt x="609" y="306"/>
                  <a:pt x="609" y="306"/>
                </a:cubicBezTo>
                <a:cubicBezTo>
                  <a:pt x="604" y="307"/>
                  <a:pt x="604" y="307"/>
                  <a:pt x="604" y="307"/>
                </a:cubicBezTo>
                <a:cubicBezTo>
                  <a:pt x="601" y="310"/>
                  <a:pt x="601" y="310"/>
                  <a:pt x="601" y="310"/>
                </a:cubicBezTo>
                <a:cubicBezTo>
                  <a:pt x="600" y="310"/>
                  <a:pt x="600" y="310"/>
                  <a:pt x="600" y="310"/>
                </a:cubicBezTo>
                <a:cubicBezTo>
                  <a:pt x="598" y="313"/>
                  <a:pt x="598" y="313"/>
                  <a:pt x="598" y="313"/>
                </a:cubicBezTo>
                <a:cubicBezTo>
                  <a:pt x="598" y="314"/>
                  <a:pt x="598" y="314"/>
                  <a:pt x="598" y="314"/>
                </a:cubicBezTo>
                <a:cubicBezTo>
                  <a:pt x="600" y="314"/>
                  <a:pt x="600" y="314"/>
                  <a:pt x="600" y="314"/>
                </a:cubicBezTo>
                <a:cubicBezTo>
                  <a:pt x="600" y="313"/>
                  <a:pt x="600" y="313"/>
                  <a:pt x="600" y="313"/>
                </a:cubicBezTo>
                <a:cubicBezTo>
                  <a:pt x="604" y="312"/>
                  <a:pt x="604" y="312"/>
                  <a:pt x="604" y="312"/>
                </a:cubicBezTo>
                <a:cubicBezTo>
                  <a:pt x="605" y="312"/>
                  <a:pt x="605" y="312"/>
                  <a:pt x="605" y="312"/>
                </a:cubicBezTo>
                <a:cubicBezTo>
                  <a:pt x="609" y="314"/>
                  <a:pt x="609" y="314"/>
                  <a:pt x="609" y="314"/>
                </a:cubicBezTo>
                <a:cubicBezTo>
                  <a:pt x="610" y="316"/>
                  <a:pt x="610" y="316"/>
                  <a:pt x="610" y="316"/>
                </a:cubicBezTo>
                <a:cubicBezTo>
                  <a:pt x="609" y="317"/>
                  <a:pt x="609" y="317"/>
                  <a:pt x="609" y="317"/>
                </a:cubicBezTo>
                <a:cubicBezTo>
                  <a:pt x="607" y="317"/>
                  <a:pt x="607" y="317"/>
                  <a:pt x="607" y="317"/>
                </a:cubicBezTo>
                <a:cubicBezTo>
                  <a:pt x="609" y="318"/>
                  <a:pt x="609" y="318"/>
                  <a:pt x="609" y="318"/>
                </a:cubicBezTo>
                <a:cubicBezTo>
                  <a:pt x="609" y="320"/>
                  <a:pt x="609" y="320"/>
                  <a:pt x="609" y="320"/>
                </a:cubicBezTo>
                <a:cubicBezTo>
                  <a:pt x="609" y="322"/>
                  <a:pt x="609" y="322"/>
                  <a:pt x="609" y="322"/>
                </a:cubicBezTo>
                <a:cubicBezTo>
                  <a:pt x="607" y="324"/>
                  <a:pt x="607" y="324"/>
                  <a:pt x="607" y="324"/>
                </a:cubicBezTo>
                <a:cubicBezTo>
                  <a:pt x="607" y="326"/>
                  <a:pt x="607" y="326"/>
                  <a:pt x="607" y="326"/>
                </a:cubicBezTo>
                <a:cubicBezTo>
                  <a:pt x="608" y="327"/>
                  <a:pt x="608" y="327"/>
                  <a:pt x="608" y="327"/>
                </a:cubicBezTo>
                <a:cubicBezTo>
                  <a:pt x="609" y="324"/>
                  <a:pt x="609" y="324"/>
                  <a:pt x="609" y="324"/>
                </a:cubicBezTo>
                <a:cubicBezTo>
                  <a:pt x="612" y="323"/>
                  <a:pt x="612" y="323"/>
                  <a:pt x="612" y="323"/>
                </a:cubicBezTo>
                <a:cubicBezTo>
                  <a:pt x="613" y="322"/>
                  <a:pt x="613" y="322"/>
                  <a:pt x="613" y="322"/>
                </a:cubicBezTo>
                <a:cubicBezTo>
                  <a:pt x="614" y="323"/>
                  <a:pt x="614" y="323"/>
                  <a:pt x="614" y="323"/>
                </a:cubicBezTo>
                <a:cubicBezTo>
                  <a:pt x="613" y="324"/>
                  <a:pt x="613" y="324"/>
                  <a:pt x="613" y="324"/>
                </a:cubicBezTo>
                <a:cubicBezTo>
                  <a:pt x="613" y="328"/>
                  <a:pt x="613" y="328"/>
                  <a:pt x="613" y="328"/>
                </a:cubicBezTo>
                <a:cubicBezTo>
                  <a:pt x="612" y="331"/>
                  <a:pt x="612" y="331"/>
                  <a:pt x="612" y="331"/>
                </a:cubicBezTo>
                <a:cubicBezTo>
                  <a:pt x="612" y="334"/>
                  <a:pt x="612" y="334"/>
                  <a:pt x="612" y="334"/>
                </a:cubicBezTo>
                <a:cubicBezTo>
                  <a:pt x="608" y="336"/>
                  <a:pt x="608" y="336"/>
                  <a:pt x="608" y="336"/>
                </a:cubicBezTo>
                <a:cubicBezTo>
                  <a:pt x="606" y="336"/>
                  <a:pt x="606" y="336"/>
                  <a:pt x="606" y="336"/>
                </a:cubicBezTo>
                <a:cubicBezTo>
                  <a:pt x="605" y="337"/>
                  <a:pt x="605" y="337"/>
                  <a:pt x="605" y="337"/>
                </a:cubicBezTo>
                <a:cubicBezTo>
                  <a:pt x="606" y="338"/>
                  <a:pt x="606" y="338"/>
                  <a:pt x="606" y="338"/>
                </a:cubicBezTo>
                <a:cubicBezTo>
                  <a:pt x="605" y="342"/>
                  <a:pt x="605" y="342"/>
                  <a:pt x="605" y="342"/>
                </a:cubicBezTo>
                <a:cubicBezTo>
                  <a:pt x="604" y="342"/>
                  <a:pt x="604" y="342"/>
                  <a:pt x="604" y="342"/>
                </a:cubicBezTo>
                <a:cubicBezTo>
                  <a:pt x="603" y="341"/>
                  <a:pt x="603" y="341"/>
                  <a:pt x="603" y="341"/>
                </a:cubicBezTo>
                <a:cubicBezTo>
                  <a:pt x="601" y="342"/>
                  <a:pt x="601" y="342"/>
                  <a:pt x="601" y="342"/>
                </a:cubicBezTo>
                <a:cubicBezTo>
                  <a:pt x="601" y="343"/>
                  <a:pt x="601" y="343"/>
                  <a:pt x="601" y="343"/>
                </a:cubicBezTo>
                <a:cubicBezTo>
                  <a:pt x="604" y="345"/>
                  <a:pt x="604" y="345"/>
                  <a:pt x="604" y="345"/>
                </a:cubicBezTo>
                <a:cubicBezTo>
                  <a:pt x="604" y="346"/>
                  <a:pt x="604" y="346"/>
                  <a:pt x="604" y="346"/>
                </a:cubicBezTo>
                <a:cubicBezTo>
                  <a:pt x="601" y="346"/>
                  <a:pt x="601" y="346"/>
                  <a:pt x="601" y="346"/>
                </a:cubicBezTo>
                <a:cubicBezTo>
                  <a:pt x="603" y="348"/>
                  <a:pt x="603" y="348"/>
                  <a:pt x="603" y="348"/>
                </a:cubicBezTo>
                <a:cubicBezTo>
                  <a:pt x="600" y="350"/>
                  <a:pt x="600" y="350"/>
                  <a:pt x="600" y="350"/>
                </a:cubicBezTo>
                <a:cubicBezTo>
                  <a:pt x="599" y="349"/>
                  <a:pt x="599" y="349"/>
                  <a:pt x="599" y="349"/>
                </a:cubicBezTo>
                <a:cubicBezTo>
                  <a:pt x="598" y="351"/>
                  <a:pt x="598" y="351"/>
                  <a:pt x="598" y="351"/>
                </a:cubicBezTo>
                <a:cubicBezTo>
                  <a:pt x="595" y="351"/>
                  <a:pt x="595" y="351"/>
                  <a:pt x="595" y="351"/>
                </a:cubicBezTo>
                <a:cubicBezTo>
                  <a:pt x="593" y="352"/>
                  <a:pt x="593" y="352"/>
                  <a:pt x="593" y="352"/>
                </a:cubicBezTo>
                <a:cubicBezTo>
                  <a:pt x="593" y="354"/>
                  <a:pt x="593" y="354"/>
                  <a:pt x="593" y="354"/>
                </a:cubicBezTo>
                <a:cubicBezTo>
                  <a:pt x="589" y="355"/>
                  <a:pt x="589" y="355"/>
                  <a:pt x="589" y="355"/>
                </a:cubicBezTo>
                <a:cubicBezTo>
                  <a:pt x="586" y="353"/>
                  <a:pt x="586" y="353"/>
                  <a:pt x="586" y="353"/>
                </a:cubicBezTo>
                <a:cubicBezTo>
                  <a:pt x="584" y="354"/>
                  <a:pt x="584" y="354"/>
                  <a:pt x="584" y="354"/>
                </a:cubicBezTo>
                <a:cubicBezTo>
                  <a:pt x="582" y="354"/>
                  <a:pt x="582" y="354"/>
                  <a:pt x="582" y="354"/>
                </a:cubicBezTo>
                <a:cubicBezTo>
                  <a:pt x="581" y="349"/>
                  <a:pt x="581" y="349"/>
                  <a:pt x="581" y="349"/>
                </a:cubicBezTo>
                <a:cubicBezTo>
                  <a:pt x="584" y="346"/>
                  <a:pt x="584" y="346"/>
                  <a:pt x="584" y="346"/>
                </a:cubicBezTo>
                <a:cubicBezTo>
                  <a:pt x="584" y="344"/>
                  <a:pt x="584" y="344"/>
                  <a:pt x="584" y="344"/>
                </a:cubicBezTo>
                <a:cubicBezTo>
                  <a:pt x="580" y="348"/>
                  <a:pt x="580" y="348"/>
                  <a:pt x="580" y="348"/>
                </a:cubicBezTo>
                <a:cubicBezTo>
                  <a:pt x="579" y="350"/>
                  <a:pt x="579" y="350"/>
                  <a:pt x="579" y="350"/>
                </a:cubicBezTo>
                <a:cubicBezTo>
                  <a:pt x="581" y="355"/>
                  <a:pt x="581" y="355"/>
                  <a:pt x="581" y="355"/>
                </a:cubicBezTo>
                <a:cubicBezTo>
                  <a:pt x="582" y="356"/>
                  <a:pt x="582" y="356"/>
                  <a:pt x="582" y="356"/>
                </a:cubicBezTo>
                <a:cubicBezTo>
                  <a:pt x="582" y="358"/>
                  <a:pt x="582" y="358"/>
                  <a:pt x="582" y="358"/>
                </a:cubicBezTo>
                <a:cubicBezTo>
                  <a:pt x="579" y="360"/>
                  <a:pt x="579" y="360"/>
                  <a:pt x="579" y="360"/>
                </a:cubicBezTo>
                <a:cubicBezTo>
                  <a:pt x="578" y="363"/>
                  <a:pt x="578" y="363"/>
                  <a:pt x="578" y="363"/>
                </a:cubicBezTo>
                <a:cubicBezTo>
                  <a:pt x="578" y="363"/>
                  <a:pt x="575" y="364"/>
                  <a:pt x="574" y="364"/>
                </a:cubicBezTo>
                <a:close/>
                <a:moveTo>
                  <a:pt x="615" y="307"/>
                </a:moveTo>
                <a:cubicBezTo>
                  <a:pt x="615" y="308"/>
                  <a:pt x="615" y="308"/>
                  <a:pt x="615" y="308"/>
                </a:cubicBezTo>
                <a:cubicBezTo>
                  <a:pt x="616" y="308"/>
                  <a:pt x="616" y="308"/>
                  <a:pt x="616" y="308"/>
                </a:cubicBezTo>
                <a:cubicBezTo>
                  <a:pt x="617" y="307"/>
                  <a:pt x="617" y="307"/>
                  <a:pt x="617" y="307"/>
                </a:cubicBezTo>
                <a:cubicBezTo>
                  <a:pt x="615" y="307"/>
                  <a:pt x="615" y="307"/>
                  <a:pt x="615" y="307"/>
                </a:cubicBezTo>
                <a:close/>
                <a:moveTo>
                  <a:pt x="614" y="317"/>
                </a:moveTo>
                <a:cubicBezTo>
                  <a:pt x="615" y="317"/>
                  <a:pt x="615" y="317"/>
                  <a:pt x="615" y="317"/>
                </a:cubicBezTo>
                <a:cubicBezTo>
                  <a:pt x="617" y="314"/>
                  <a:pt x="617" y="314"/>
                  <a:pt x="617" y="314"/>
                </a:cubicBezTo>
                <a:cubicBezTo>
                  <a:pt x="617" y="312"/>
                  <a:pt x="617" y="312"/>
                  <a:pt x="617" y="312"/>
                </a:cubicBezTo>
                <a:cubicBezTo>
                  <a:pt x="616" y="311"/>
                  <a:pt x="616" y="311"/>
                  <a:pt x="616" y="311"/>
                </a:cubicBezTo>
                <a:cubicBezTo>
                  <a:pt x="616" y="309"/>
                  <a:pt x="616" y="309"/>
                  <a:pt x="616" y="309"/>
                </a:cubicBezTo>
                <a:cubicBezTo>
                  <a:pt x="614" y="310"/>
                  <a:pt x="614" y="310"/>
                  <a:pt x="614" y="310"/>
                </a:cubicBezTo>
                <a:cubicBezTo>
                  <a:pt x="613" y="312"/>
                  <a:pt x="613" y="312"/>
                  <a:pt x="613" y="312"/>
                </a:cubicBezTo>
                <a:cubicBezTo>
                  <a:pt x="612" y="313"/>
                  <a:pt x="612" y="313"/>
                  <a:pt x="612" y="313"/>
                </a:cubicBezTo>
                <a:cubicBezTo>
                  <a:pt x="612" y="315"/>
                  <a:pt x="612" y="315"/>
                  <a:pt x="612" y="315"/>
                </a:cubicBezTo>
                <a:cubicBezTo>
                  <a:pt x="614" y="317"/>
                  <a:pt x="614" y="317"/>
                  <a:pt x="614" y="317"/>
                </a:cubicBezTo>
                <a:close/>
                <a:moveTo>
                  <a:pt x="612" y="322"/>
                </a:moveTo>
                <a:cubicBezTo>
                  <a:pt x="613" y="321"/>
                  <a:pt x="613" y="321"/>
                  <a:pt x="613" y="321"/>
                </a:cubicBezTo>
                <a:cubicBezTo>
                  <a:pt x="614" y="318"/>
                  <a:pt x="614" y="318"/>
                  <a:pt x="614" y="318"/>
                </a:cubicBezTo>
                <a:cubicBezTo>
                  <a:pt x="613" y="318"/>
                  <a:pt x="613" y="318"/>
                  <a:pt x="613" y="318"/>
                </a:cubicBezTo>
                <a:cubicBezTo>
                  <a:pt x="611" y="320"/>
                  <a:pt x="611" y="320"/>
                  <a:pt x="611" y="320"/>
                </a:cubicBezTo>
                <a:cubicBezTo>
                  <a:pt x="611" y="321"/>
                  <a:pt x="611" y="321"/>
                  <a:pt x="611" y="321"/>
                </a:cubicBezTo>
                <a:cubicBezTo>
                  <a:pt x="612" y="322"/>
                  <a:pt x="612" y="322"/>
                  <a:pt x="612" y="322"/>
                </a:cubicBezTo>
                <a:close/>
                <a:moveTo>
                  <a:pt x="519" y="270"/>
                </a:moveTo>
                <a:cubicBezTo>
                  <a:pt x="519" y="271"/>
                  <a:pt x="519" y="271"/>
                  <a:pt x="519" y="271"/>
                </a:cubicBezTo>
                <a:cubicBezTo>
                  <a:pt x="520" y="272"/>
                  <a:pt x="520" y="272"/>
                  <a:pt x="520" y="272"/>
                </a:cubicBezTo>
                <a:cubicBezTo>
                  <a:pt x="521" y="271"/>
                  <a:pt x="521" y="271"/>
                  <a:pt x="521" y="271"/>
                </a:cubicBezTo>
                <a:cubicBezTo>
                  <a:pt x="523" y="272"/>
                  <a:pt x="523" y="272"/>
                  <a:pt x="523" y="272"/>
                </a:cubicBezTo>
                <a:cubicBezTo>
                  <a:pt x="524" y="271"/>
                  <a:pt x="524" y="271"/>
                  <a:pt x="524" y="271"/>
                </a:cubicBezTo>
                <a:cubicBezTo>
                  <a:pt x="523" y="270"/>
                  <a:pt x="523" y="270"/>
                  <a:pt x="523" y="270"/>
                </a:cubicBezTo>
                <a:cubicBezTo>
                  <a:pt x="520" y="269"/>
                  <a:pt x="520" y="269"/>
                  <a:pt x="520" y="269"/>
                </a:cubicBezTo>
                <a:cubicBezTo>
                  <a:pt x="519" y="270"/>
                  <a:pt x="519" y="270"/>
                  <a:pt x="519" y="270"/>
                </a:cubicBezTo>
                <a:close/>
                <a:moveTo>
                  <a:pt x="535" y="300"/>
                </a:moveTo>
                <a:cubicBezTo>
                  <a:pt x="533" y="298"/>
                  <a:pt x="533" y="298"/>
                  <a:pt x="533" y="298"/>
                </a:cubicBezTo>
                <a:cubicBezTo>
                  <a:pt x="533" y="293"/>
                  <a:pt x="533" y="293"/>
                  <a:pt x="533" y="293"/>
                </a:cubicBezTo>
                <a:cubicBezTo>
                  <a:pt x="531" y="291"/>
                  <a:pt x="531" y="291"/>
                  <a:pt x="531" y="291"/>
                </a:cubicBezTo>
                <a:cubicBezTo>
                  <a:pt x="531" y="289"/>
                  <a:pt x="531" y="289"/>
                  <a:pt x="531" y="289"/>
                </a:cubicBezTo>
                <a:cubicBezTo>
                  <a:pt x="532" y="287"/>
                  <a:pt x="532" y="287"/>
                  <a:pt x="532" y="287"/>
                </a:cubicBezTo>
                <a:cubicBezTo>
                  <a:pt x="531" y="285"/>
                  <a:pt x="531" y="285"/>
                  <a:pt x="531" y="285"/>
                </a:cubicBezTo>
                <a:cubicBezTo>
                  <a:pt x="531" y="282"/>
                  <a:pt x="531" y="282"/>
                  <a:pt x="531" y="282"/>
                </a:cubicBezTo>
                <a:cubicBezTo>
                  <a:pt x="529" y="279"/>
                  <a:pt x="529" y="279"/>
                  <a:pt x="529" y="279"/>
                </a:cubicBezTo>
                <a:cubicBezTo>
                  <a:pt x="527" y="277"/>
                  <a:pt x="527" y="277"/>
                  <a:pt x="527" y="277"/>
                </a:cubicBezTo>
                <a:cubicBezTo>
                  <a:pt x="527" y="276"/>
                  <a:pt x="527" y="276"/>
                  <a:pt x="527" y="276"/>
                </a:cubicBezTo>
                <a:cubicBezTo>
                  <a:pt x="531" y="273"/>
                  <a:pt x="531" y="273"/>
                  <a:pt x="531" y="273"/>
                </a:cubicBezTo>
                <a:cubicBezTo>
                  <a:pt x="533" y="272"/>
                  <a:pt x="533" y="272"/>
                  <a:pt x="533" y="272"/>
                </a:cubicBezTo>
                <a:cubicBezTo>
                  <a:pt x="535" y="270"/>
                  <a:pt x="535" y="270"/>
                  <a:pt x="535" y="270"/>
                </a:cubicBezTo>
                <a:cubicBezTo>
                  <a:pt x="538" y="270"/>
                  <a:pt x="538" y="270"/>
                  <a:pt x="538" y="270"/>
                </a:cubicBezTo>
                <a:cubicBezTo>
                  <a:pt x="540" y="271"/>
                  <a:pt x="540" y="271"/>
                  <a:pt x="540" y="271"/>
                </a:cubicBezTo>
                <a:cubicBezTo>
                  <a:pt x="542" y="271"/>
                  <a:pt x="542" y="271"/>
                  <a:pt x="542" y="271"/>
                </a:cubicBezTo>
                <a:cubicBezTo>
                  <a:pt x="544" y="273"/>
                  <a:pt x="544" y="273"/>
                  <a:pt x="544" y="273"/>
                </a:cubicBezTo>
                <a:cubicBezTo>
                  <a:pt x="545" y="272"/>
                  <a:pt x="545" y="272"/>
                  <a:pt x="545" y="272"/>
                </a:cubicBezTo>
                <a:cubicBezTo>
                  <a:pt x="548" y="273"/>
                  <a:pt x="548" y="273"/>
                  <a:pt x="548" y="273"/>
                </a:cubicBezTo>
                <a:cubicBezTo>
                  <a:pt x="549" y="273"/>
                  <a:pt x="549" y="273"/>
                  <a:pt x="549" y="273"/>
                </a:cubicBezTo>
                <a:cubicBezTo>
                  <a:pt x="551" y="273"/>
                  <a:pt x="551" y="273"/>
                  <a:pt x="551" y="273"/>
                </a:cubicBezTo>
                <a:cubicBezTo>
                  <a:pt x="553" y="276"/>
                  <a:pt x="553" y="276"/>
                  <a:pt x="553" y="276"/>
                </a:cubicBezTo>
                <a:cubicBezTo>
                  <a:pt x="553" y="278"/>
                  <a:pt x="553" y="278"/>
                  <a:pt x="553" y="278"/>
                </a:cubicBezTo>
                <a:cubicBezTo>
                  <a:pt x="552" y="279"/>
                  <a:pt x="552" y="279"/>
                  <a:pt x="552" y="279"/>
                </a:cubicBezTo>
                <a:cubicBezTo>
                  <a:pt x="554" y="281"/>
                  <a:pt x="554" y="281"/>
                  <a:pt x="554" y="281"/>
                </a:cubicBezTo>
                <a:cubicBezTo>
                  <a:pt x="554" y="283"/>
                  <a:pt x="554" y="283"/>
                  <a:pt x="554" y="283"/>
                </a:cubicBezTo>
                <a:cubicBezTo>
                  <a:pt x="553" y="284"/>
                  <a:pt x="553" y="284"/>
                  <a:pt x="553" y="284"/>
                </a:cubicBezTo>
                <a:cubicBezTo>
                  <a:pt x="552" y="285"/>
                  <a:pt x="552" y="285"/>
                  <a:pt x="552" y="285"/>
                </a:cubicBezTo>
                <a:cubicBezTo>
                  <a:pt x="550" y="288"/>
                  <a:pt x="550" y="288"/>
                  <a:pt x="550" y="288"/>
                </a:cubicBezTo>
                <a:cubicBezTo>
                  <a:pt x="548" y="288"/>
                  <a:pt x="548" y="288"/>
                  <a:pt x="548" y="288"/>
                </a:cubicBezTo>
                <a:cubicBezTo>
                  <a:pt x="545" y="291"/>
                  <a:pt x="545" y="291"/>
                  <a:pt x="545" y="291"/>
                </a:cubicBezTo>
                <a:cubicBezTo>
                  <a:pt x="542" y="293"/>
                  <a:pt x="542" y="293"/>
                  <a:pt x="542" y="293"/>
                </a:cubicBezTo>
                <a:cubicBezTo>
                  <a:pt x="539" y="297"/>
                  <a:pt x="539" y="297"/>
                  <a:pt x="539" y="297"/>
                </a:cubicBezTo>
                <a:cubicBezTo>
                  <a:pt x="537" y="297"/>
                  <a:pt x="537" y="297"/>
                  <a:pt x="537" y="297"/>
                </a:cubicBezTo>
                <a:cubicBezTo>
                  <a:pt x="535" y="298"/>
                  <a:pt x="535" y="298"/>
                  <a:pt x="535" y="298"/>
                </a:cubicBezTo>
                <a:cubicBezTo>
                  <a:pt x="536" y="300"/>
                  <a:pt x="536" y="300"/>
                  <a:pt x="536" y="300"/>
                </a:cubicBezTo>
                <a:cubicBezTo>
                  <a:pt x="535" y="300"/>
                  <a:pt x="535" y="300"/>
                  <a:pt x="535" y="300"/>
                </a:cubicBezTo>
                <a:close/>
                <a:moveTo>
                  <a:pt x="622" y="350"/>
                </a:moveTo>
                <a:cubicBezTo>
                  <a:pt x="619" y="347"/>
                  <a:pt x="619" y="347"/>
                  <a:pt x="619" y="347"/>
                </a:cubicBezTo>
                <a:cubicBezTo>
                  <a:pt x="617" y="348"/>
                  <a:pt x="617" y="348"/>
                  <a:pt x="617" y="348"/>
                </a:cubicBezTo>
                <a:cubicBezTo>
                  <a:pt x="613" y="347"/>
                  <a:pt x="613" y="347"/>
                  <a:pt x="613" y="347"/>
                </a:cubicBezTo>
                <a:cubicBezTo>
                  <a:pt x="614" y="345"/>
                  <a:pt x="614" y="345"/>
                  <a:pt x="614" y="345"/>
                </a:cubicBezTo>
                <a:cubicBezTo>
                  <a:pt x="616" y="344"/>
                  <a:pt x="616" y="344"/>
                  <a:pt x="616" y="344"/>
                </a:cubicBezTo>
                <a:cubicBezTo>
                  <a:pt x="618" y="345"/>
                  <a:pt x="618" y="345"/>
                  <a:pt x="618" y="345"/>
                </a:cubicBezTo>
                <a:cubicBezTo>
                  <a:pt x="618" y="344"/>
                  <a:pt x="618" y="344"/>
                  <a:pt x="618" y="344"/>
                </a:cubicBezTo>
                <a:cubicBezTo>
                  <a:pt x="618" y="343"/>
                  <a:pt x="618" y="343"/>
                  <a:pt x="618" y="343"/>
                </a:cubicBezTo>
                <a:cubicBezTo>
                  <a:pt x="616" y="343"/>
                  <a:pt x="616" y="343"/>
                  <a:pt x="616" y="343"/>
                </a:cubicBezTo>
                <a:cubicBezTo>
                  <a:pt x="615" y="342"/>
                  <a:pt x="615" y="342"/>
                  <a:pt x="615" y="342"/>
                </a:cubicBezTo>
                <a:cubicBezTo>
                  <a:pt x="618" y="338"/>
                  <a:pt x="618" y="338"/>
                  <a:pt x="618" y="338"/>
                </a:cubicBezTo>
                <a:cubicBezTo>
                  <a:pt x="620" y="334"/>
                  <a:pt x="620" y="334"/>
                  <a:pt x="620" y="334"/>
                </a:cubicBezTo>
                <a:cubicBezTo>
                  <a:pt x="620" y="332"/>
                  <a:pt x="620" y="332"/>
                  <a:pt x="620" y="332"/>
                </a:cubicBezTo>
                <a:cubicBezTo>
                  <a:pt x="621" y="331"/>
                  <a:pt x="621" y="331"/>
                  <a:pt x="621" y="331"/>
                </a:cubicBezTo>
                <a:cubicBezTo>
                  <a:pt x="621" y="330"/>
                  <a:pt x="621" y="330"/>
                  <a:pt x="621" y="330"/>
                </a:cubicBezTo>
                <a:cubicBezTo>
                  <a:pt x="619" y="328"/>
                  <a:pt x="619" y="328"/>
                  <a:pt x="619" y="328"/>
                </a:cubicBezTo>
                <a:cubicBezTo>
                  <a:pt x="620" y="326"/>
                  <a:pt x="620" y="326"/>
                  <a:pt x="620" y="326"/>
                </a:cubicBezTo>
                <a:cubicBezTo>
                  <a:pt x="620" y="324"/>
                  <a:pt x="620" y="324"/>
                  <a:pt x="620" y="324"/>
                </a:cubicBezTo>
                <a:cubicBezTo>
                  <a:pt x="622" y="319"/>
                  <a:pt x="622" y="319"/>
                  <a:pt x="622" y="319"/>
                </a:cubicBezTo>
                <a:cubicBezTo>
                  <a:pt x="624" y="318"/>
                  <a:pt x="624" y="318"/>
                  <a:pt x="624" y="318"/>
                </a:cubicBezTo>
                <a:cubicBezTo>
                  <a:pt x="624" y="315"/>
                  <a:pt x="624" y="315"/>
                  <a:pt x="624" y="315"/>
                </a:cubicBezTo>
                <a:cubicBezTo>
                  <a:pt x="626" y="314"/>
                  <a:pt x="626" y="314"/>
                  <a:pt x="626" y="314"/>
                </a:cubicBezTo>
                <a:cubicBezTo>
                  <a:pt x="627" y="311"/>
                  <a:pt x="627" y="311"/>
                  <a:pt x="627" y="311"/>
                </a:cubicBezTo>
                <a:cubicBezTo>
                  <a:pt x="628" y="310"/>
                  <a:pt x="628" y="310"/>
                  <a:pt x="628" y="310"/>
                </a:cubicBezTo>
                <a:cubicBezTo>
                  <a:pt x="628" y="307"/>
                  <a:pt x="628" y="307"/>
                  <a:pt x="628" y="307"/>
                </a:cubicBezTo>
                <a:cubicBezTo>
                  <a:pt x="631" y="304"/>
                  <a:pt x="631" y="304"/>
                  <a:pt x="631" y="304"/>
                </a:cubicBezTo>
                <a:cubicBezTo>
                  <a:pt x="632" y="300"/>
                  <a:pt x="632" y="300"/>
                  <a:pt x="632" y="300"/>
                </a:cubicBezTo>
                <a:cubicBezTo>
                  <a:pt x="634" y="300"/>
                  <a:pt x="634" y="300"/>
                  <a:pt x="634" y="300"/>
                </a:cubicBezTo>
                <a:cubicBezTo>
                  <a:pt x="634" y="298"/>
                  <a:pt x="634" y="298"/>
                  <a:pt x="634" y="298"/>
                </a:cubicBezTo>
                <a:cubicBezTo>
                  <a:pt x="634" y="297"/>
                  <a:pt x="634" y="297"/>
                  <a:pt x="634" y="297"/>
                </a:cubicBezTo>
                <a:cubicBezTo>
                  <a:pt x="636" y="294"/>
                  <a:pt x="636" y="294"/>
                  <a:pt x="636" y="294"/>
                </a:cubicBezTo>
                <a:cubicBezTo>
                  <a:pt x="637" y="295"/>
                  <a:pt x="637" y="295"/>
                  <a:pt x="637" y="295"/>
                </a:cubicBezTo>
                <a:cubicBezTo>
                  <a:pt x="639" y="298"/>
                  <a:pt x="639" y="298"/>
                  <a:pt x="639" y="298"/>
                </a:cubicBezTo>
                <a:cubicBezTo>
                  <a:pt x="640" y="300"/>
                  <a:pt x="640" y="300"/>
                  <a:pt x="640" y="300"/>
                </a:cubicBezTo>
                <a:cubicBezTo>
                  <a:pt x="642" y="300"/>
                  <a:pt x="642" y="300"/>
                  <a:pt x="642" y="300"/>
                </a:cubicBezTo>
                <a:cubicBezTo>
                  <a:pt x="642" y="298"/>
                  <a:pt x="642" y="298"/>
                  <a:pt x="642" y="298"/>
                </a:cubicBezTo>
                <a:cubicBezTo>
                  <a:pt x="640" y="296"/>
                  <a:pt x="640" y="296"/>
                  <a:pt x="640" y="296"/>
                </a:cubicBezTo>
                <a:cubicBezTo>
                  <a:pt x="640" y="295"/>
                  <a:pt x="640" y="295"/>
                  <a:pt x="640" y="295"/>
                </a:cubicBezTo>
                <a:cubicBezTo>
                  <a:pt x="642" y="294"/>
                  <a:pt x="642" y="294"/>
                  <a:pt x="642" y="294"/>
                </a:cubicBezTo>
                <a:cubicBezTo>
                  <a:pt x="640" y="292"/>
                  <a:pt x="640" y="292"/>
                  <a:pt x="640" y="292"/>
                </a:cubicBezTo>
                <a:cubicBezTo>
                  <a:pt x="642" y="288"/>
                  <a:pt x="642" y="288"/>
                  <a:pt x="642" y="288"/>
                </a:cubicBezTo>
                <a:cubicBezTo>
                  <a:pt x="647" y="287"/>
                  <a:pt x="647" y="287"/>
                  <a:pt x="647" y="287"/>
                </a:cubicBezTo>
                <a:cubicBezTo>
                  <a:pt x="651" y="287"/>
                  <a:pt x="651" y="287"/>
                  <a:pt x="651" y="287"/>
                </a:cubicBezTo>
                <a:cubicBezTo>
                  <a:pt x="653" y="286"/>
                  <a:pt x="653" y="286"/>
                  <a:pt x="653" y="286"/>
                </a:cubicBezTo>
                <a:cubicBezTo>
                  <a:pt x="654" y="287"/>
                  <a:pt x="654" y="287"/>
                  <a:pt x="654" y="287"/>
                </a:cubicBezTo>
                <a:cubicBezTo>
                  <a:pt x="656" y="287"/>
                  <a:pt x="656" y="287"/>
                  <a:pt x="656" y="287"/>
                </a:cubicBezTo>
                <a:cubicBezTo>
                  <a:pt x="657" y="289"/>
                  <a:pt x="657" y="289"/>
                  <a:pt x="657" y="289"/>
                </a:cubicBezTo>
                <a:cubicBezTo>
                  <a:pt x="659" y="287"/>
                  <a:pt x="659" y="287"/>
                  <a:pt x="659" y="287"/>
                </a:cubicBezTo>
                <a:cubicBezTo>
                  <a:pt x="662" y="288"/>
                  <a:pt x="662" y="288"/>
                  <a:pt x="662" y="288"/>
                </a:cubicBezTo>
                <a:cubicBezTo>
                  <a:pt x="663" y="290"/>
                  <a:pt x="663" y="290"/>
                  <a:pt x="663" y="290"/>
                </a:cubicBezTo>
                <a:cubicBezTo>
                  <a:pt x="666" y="291"/>
                  <a:pt x="666" y="291"/>
                  <a:pt x="666" y="291"/>
                </a:cubicBezTo>
                <a:cubicBezTo>
                  <a:pt x="666" y="292"/>
                  <a:pt x="666" y="292"/>
                  <a:pt x="666" y="292"/>
                </a:cubicBezTo>
                <a:cubicBezTo>
                  <a:pt x="667" y="292"/>
                  <a:pt x="667" y="292"/>
                  <a:pt x="667" y="292"/>
                </a:cubicBezTo>
                <a:cubicBezTo>
                  <a:pt x="669" y="294"/>
                  <a:pt x="669" y="294"/>
                  <a:pt x="669" y="294"/>
                </a:cubicBezTo>
                <a:cubicBezTo>
                  <a:pt x="669" y="296"/>
                  <a:pt x="669" y="296"/>
                  <a:pt x="669" y="296"/>
                </a:cubicBezTo>
                <a:cubicBezTo>
                  <a:pt x="669" y="297"/>
                  <a:pt x="669" y="297"/>
                  <a:pt x="669" y="297"/>
                </a:cubicBezTo>
                <a:cubicBezTo>
                  <a:pt x="671" y="296"/>
                  <a:pt x="671" y="296"/>
                  <a:pt x="671" y="296"/>
                </a:cubicBezTo>
                <a:cubicBezTo>
                  <a:pt x="675" y="296"/>
                  <a:pt x="675" y="296"/>
                  <a:pt x="675" y="296"/>
                </a:cubicBezTo>
                <a:cubicBezTo>
                  <a:pt x="680" y="297"/>
                  <a:pt x="680" y="297"/>
                  <a:pt x="680" y="297"/>
                </a:cubicBezTo>
                <a:cubicBezTo>
                  <a:pt x="683" y="299"/>
                  <a:pt x="683" y="299"/>
                  <a:pt x="683" y="299"/>
                </a:cubicBezTo>
                <a:cubicBezTo>
                  <a:pt x="683" y="301"/>
                  <a:pt x="683" y="301"/>
                  <a:pt x="683" y="301"/>
                </a:cubicBezTo>
                <a:cubicBezTo>
                  <a:pt x="685" y="302"/>
                  <a:pt x="685" y="302"/>
                  <a:pt x="685" y="302"/>
                </a:cubicBezTo>
                <a:cubicBezTo>
                  <a:pt x="686" y="304"/>
                  <a:pt x="686" y="304"/>
                  <a:pt x="686" y="304"/>
                </a:cubicBezTo>
                <a:cubicBezTo>
                  <a:pt x="685" y="303"/>
                  <a:pt x="685" y="303"/>
                  <a:pt x="685" y="303"/>
                </a:cubicBezTo>
                <a:cubicBezTo>
                  <a:pt x="684" y="303"/>
                  <a:pt x="684" y="303"/>
                  <a:pt x="684" y="303"/>
                </a:cubicBezTo>
                <a:cubicBezTo>
                  <a:pt x="682" y="306"/>
                  <a:pt x="682" y="306"/>
                  <a:pt x="682" y="306"/>
                </a:cubicBezTo>
                <a:cubicBezTo>
                  <a:pt x="679" y="309"/>
                  <a:pt x="679" y="309"/>
                  <a:pt x="679" y="309"/>
                </a:cubicBezTo>
                <a:cubicBezTo>
                  <a:pt x="677" y="312"/>
                  <a:pt x="677" y="312"/>
                  <a:pt x="677" y="312"/>
                </a:cubicBezTo>
                <a:cubicBezTo>
                  <a:pt x="675" y="313"/>
                  <a:pt x="675" y="313"/>
                  <a:pt x="675" y="313"/>
                </a:cubicBezTo>
                <a:cubicBezTo>
                  <a:pt x="675" y="314"/>
                  <a:pt x="675" y="314"/>
                  <a:pt x="675" y="314"/>
                </a:cubicBezTo>
                <a:cubicBezTo>
                  <a:pt x="670" y="317"/>
                  <a:pt x="670" y="317"/>
                  <a:pt x="670" y="317"/>
                </a:cubicBezTo>
                <a:cubicBezTo>
                  <a:pt x="667" y="321"/>
                  <a:pt x="667" y="321"/>
                  <a:pt x="667" y="321"/>
                </a:cubicBezTo>
                <a:cubicBezTo>
                  <a:pt x="665" y="321"/>
                  <a:pt x="665" y="321"/>
                  <a:pt x="665" y="321"/>
                </a:cubicBezTo>
                <a:cubicBezTo>
                  <a:pt x="664" y="322"/>
                  <a:pt x="664" y="322"/>
                  <a:pt x="664" y="322"/>
                </a:cubicBezTo>
                <a:cubicBezTo>
                  <a:pt x="665" y="323"/>
                  <a:pt x="665" y="323"/>
                  <a:pt x="665" y="323"/>
                </a:cubicBezTo>
                <a:cubicBezTo>
                  <a:pt x="664" y="325"/>
                  <a:pt x="664" y="325"/>
                  <a:pt x="664" y="325"/>
                </a:cubicBezTo>
                <a:cubicBezTo>
                  <a:pt x="660" y="327"/>
                  <a:pt x="660" y="327"/>
                  <a:pt x="660" y="327"/>
                </a:cubicBezTo>
                <a:cubicBezTo>
                  <a:pt x="657" y="330"/>
                  <a:pt x="657" y="330"/>
                  <a:pt x="657" y="330"/>
                </a:cubicBezTo>
                <a:cubicBezTo>
                  <a:pt x="653" y="333"/>
                  <a:pt x="653" y="333"/>
                  <a:pt x="653" y="333"/>
                </a:cubicBezTo>
                <a:cubicBezTo>
                  <a:pt x="650" y="335"/>
                  <a:pt x="650" y="335"/>
                  <a:pt x="650" y="335"/>
                </a:cubicBezTo>
                <a:cubicBezTo>
                  <a:pt x="649" y="334"/>
                  <a:pt x="649" y="334"/>
                  <a:pt x="649" y="334"/>
                </a:cubicBezTo>
                <a:cubicBezTo>
                  <a:pt x="648" y="333"/>
                  <a:pt x="648" y="333"/>
                  <a:pt x="648" y="333"/>
                </a:cubicBezTo>
                <a:cubicBezTo>
                  <a:pt x="647" y="333"/>
                  <a:pt x="647" y="333"/>
                  <a:pt x="647" y="333"/>
                </a:cubicBezTo>
                <a:cubicBezTo>
                  <a:pt x="643" y="330"/>
                  <a:pt x="643" y="330"/>
                  <a:pt x="643" y="330"/>
                </a:cubicBezTo>
                <a:cubicBezTo>
                  <a:pt x="643" y="328"/>
                  <a:pt x="643" y="328"/>
                  <a:pt x="643" y="328"/>
                </a:cubicBezTo>
                <a:cubicBezTo>
                  <a:pt x="641" y="328"/>
                  <a:pt x="641" y="328"/>
                  <a:pt x="641" y="328"/>
                </a:cubicBezTo>
                <a:cubicBezTo>
                  <a:pt x="640" y="329"/>
                  <a:pt x="640" y="329"/>
                  <a:pt x="640" y="329"/>
                </a:cubicBezTo>
                <a:cubicBezTo>
                  <a:pt x="637" y="328"/>
                  <a:pt x="637" y="328"/>
                  <a:pt x="637" y="328"/>
                </a:cubicBezTo>
                <a:cubicBezTo>
                  <a:pt x="635" y="328"/>
                  <a:pt x="635" y="328"/>
                  <a:pt x="635" y="328"/>
                </a:cubicBezTo>
                <a:cubicBezTo>
                  <a:pt x="633" y="327"/>
                  <a:pt x="633" y="327"/>
                  <a:pt x="633" y="327"/>
                </a:cubicBezTo>
                <a:cubicBezTo>
                  <a:pt x="632" y="327"/>
                  <a:pt x="632" y="327"/>
                  <a:pt x="632" y="327"/>
                </a:cubicBezTo>
                <a:cubicBezTo>
                  <a:pt x="631" y="328"/>
                  <a:pt x="631" y="328"/>
                  <a:pt x="631" y="328"/>
                </a:cubicBezTo>
                <a:cubicBezTo>
                  <a:pt x="632" y="330"/>
                  <a:pt x="632" y="330"/>
                  <a:pt x="632" y="330"/>
                </a:cubicBezTo>
                <a:cubicBezTo>
                  <a:pt x="637" y="330"/>
                  <a:pt x="637" y="330"/>
                  <a:pt x="637" y="330"/>
                </a:cubicBezTo>
                <a:cubicBezTo>
                  <a:pt x="636" y="332"/>
                  <a:pt x="636" y="332"/>
                  <a:pt x="636" y="332"/>
                </a:cubicBezTo>
                <a:cubicBezTo>
                  <a:pt x="634" y="333"/>
                  <a:pt x="634" y="333"/>
                  <a:pt x="634" y="333"/>
                </a:cubicBezTo>
                <a:cubicBezTo>
                  <a:pt x="636" y="335"/>
                  <a:pt x="636" y="335"/>
                  <a:pt x="636" y="335"/>
                </a:cubicBezTo>
                <a:cubicBezTo>
                  <a:pt x="636" y="337"/>
                  <a:pt x="636" y="337"/>
                  <a:pt x="636" y="337"/>
                </a:cubicBezTo>
                <a:cubicBezTo>
                  <a:pt x="635" y="340"/>
                  <a:pt x="635" y="340"/>
                  <a:pt x="635" y="340"/>
                </a:cubicBezTo>
                <a:cubicBezTo>
                  <a:pt x="633" y="341"/>
                  <a:pt x="633" y="341"/>
                  <a:pt x="633" y="341"/>
                </a:cubicBezTo>
                <a:cubicBezTo>
                  <a:pt x="632" y="342"/>
                  <a:pt x="632" y="342"/>
                  <a:pt x="632" y="342"/>
                </a:cubicBezTo>
                <a:cubicBezTo>
                  <a:pt x="629" y="342"/>
                  <a:pt x="629" y="342"/>
                  <a:pt x="629" y="342"/>
                </a:cubicBezTo>
                <a:cubicBezTo>
                  <a:pt x="628" y="343"/>
                  <a:pt x="628" y="343"/>
                  <a:pt x="628" y="343"/>
                </a:cubicBezTo>
                <a:cubicBezTo>
                  <a:pt x="627" y="346"/>
                  <a:pt x="627" y="346"/>
                  <a:pt x="627" y="346"/>
                </a:cubicBezTo>
                <a:cubicBezTo>
                  <a:pt x="625" y="347"/>
                  <a:pt x="625" y="347"/>
                  <a:pt x="625" y="347"/>
                </a:cubicBezTo>
                <a:cubicBezTo>
                  <a:pt x="623" y="347"/>
                  <a:pt x="623" y="347"/>
                  <a:pt x="623" y="347"/>
                </a:cubicBezTo>
                <a:cubicBezTo>
                  <a:pt x="623" y="350"/>
                  <a:pt x="623" y="350"/>
                  <a:pt x="623" y="350"/>
                </a:cubicBezTo>
                <a:cubicBezTo>
                  <a:pt x="623" y="350"/>
                  <a:pt x="622" y="350"/>
                  <a:pt x="622" y="350"/>
                </a:cubicBezTo>
                <a:close/>
                <a:moveTo>
                  <a:pt x="772" y="361"/>
                </a:moveTo>
                <a:cubicBezTo>
                  <a:pt x="769" y="359"/>
                  <a:pt x="769" y="359"/>
                  <a:pt x="769" y="359"/>
                </a:cubicBezTo>
                <a:cubicBezTo>
                  <a:pt x="767" y="358"/>
                  <a:pt x="767" y="358"/>
                  <a:pt x="767" y="358"/>
                </a:cubicBezTo>
                <a:cubicBezTo>
                  <a:pt x="766" y="355"/>
                  <a:pt x="766" y="355"/>
                  <a:pt x="766" y="355"/>
                </a:cubicBezTo>
                <a:cubicBezTo>
                  <a:pt x="764" y="355"/>
                  <a:pt x="764" y="355"/>
                  <a:pt x="764" y="355"/>
                </a:cubicBezTo>
                <a:cubicBezTo>
                  <a:pt x="763" y="352"/>
                  <a:pt x="763" y="352"/>
                  <a:pt x="763" y="352"/>
                </a:cubicBezTo>
                <a:cubicBezTo>
                  <a:pt x="764" y="349"/>
                  <a:pt x="764" y="349"/>
                  <a:pt x="764" y="349"/>
                </a:cubicBezTo>
                <a:cubicBezTo>
                  <a:pt x="766" y="348"/>
                  <a:pt x="766" y="348"/>
                  <a:pt x="766" y="348"/>
                </a:cubicBezTo>
                <a:cubicBezTo>
                  <a:pt x="766" y="346"/>
                  <a:pt x="766" y="346"/>
                  <a:pt x="766" y="346"/>
                </a:cubicBezTo>
                <a:cubicBezTo>
                  <a:pt x="767" y="344"/>
                  <a:pt x="767" y="344"/>
                  <a:pt x="767" y="344"/>
                </a:cubicBezTo>
                <a:cubicBezTo>
                  <a:pt x="767" y="342"/>
                  <a:pt x="767" y="342"/>
                  <a:pt x="767" y="342"/>
                </a:cubicBezTo>
                <a:cubicBezTo>
                  <a:pt x="765" y="342"/>
                  <a:pt x="765" y="342"/>
                  <a:pt x="765" y="342"/>
                </a:cubicBezTo>
                <a:cubicBezTo>
                  <a:pt x="763" y="340"/>
                  <a:pt x="763" y="340"/>
                  <a:pt x="763" y="340"/>
                </a:cubicBezTo>
                <a:cubicBezTo>
                  <a:pt x="765" y="335"/>
                  <a:pt x="765" y="335"/>
                  <a:pt x="765" y="335"/>
                </a:cubicBezTo>
                <a:cubicBezTo>
                  <a:pt x="766" y="335"/>
                  <a:pt x="766" y="335"/>
                  <a:pt x="766" y="335"/>
                </a:cubicBezTo>
                <a:cubicBezTo>
                  <a:pt x="767" y="334"/>
                  <a:pt x="767" y="334"/>
                  <a:pt x="767" y="334"/>
                </a:cubicBezTo>
                <a:cubicBezTo>
                  <a:pt x="767" y="331"/>
                  <a:pt x="767" y="331"/>
                  <a:pt x="767" y="331"/>
                </a:cubicBezTo>
                <a:cubicBezTo>
                  <a:pt x="768" y="330"/>
                  <a:pt x="768" y="330"/>
                  <a:pt x="768" y="330"/>
                </a:cubicBezTo>
                <a:cubicBezTo>
                  <a:pt x="769" y="326"/>
                  <a:pt x="769" y="326"/>
                  <a:pt x="769" y="326"/>
                </a:cubicBezTo>
                <a:cubicBezTo>
                  <a:pt x="771" y="326"/>
                  <a:pt x="771" y="326"/>
                  <a:pt x="771" y="326"/>
                </a:cubicBezTo>
                <a:cubicBezTo>
                  <a:pt x="773" y="327"/>
                  <a:pt x="773" y="327"/>
                  <a:pt x="773" y="327"/>
                </a:cubicBezTo>
                <a:cubicBezTo>
                  <a:pt x="773" y="329"/>
                  <a:pt x="773" y="329"/>
                  <a:pt x="773" y="329"/>
                </a:cubicBezTo>
                <a:cubicBezTo>
                  <a:pt x="778" y="331"/>
                  <a:pt x="778" y="331"/>
                  <a:pt x="778" y="331"/>
                </a:cubicBezTo>
                <a:cubicBezTo>
                  <a:pt x="780" y="333"/>
                  <a:pt x="780" y="333"/>
                  <a:pt x="780" y="333"/>
                </a:cubicBezTo>
                <a:cubicBezTo>
                  <a:pt x="782" y="333"/>
                  <a:pt x="782" y="333"/>
                  <a:pt x="782" y="333"/>
                </a:cubicBezTo>
                <a:cubicBezTo>
                  <a:pt x="783" y="332"/>
                  <a:pt x="783" y="332"/>
                  <a:pt x="783" y="332"/>
                </a:cubicBezTo>
                <a:cubicBezTo>
                  <a:pt x="788" y="334"/>
                  <a:pt x="788" y="334"/>
                  <a:pt x="788" y="334"/>
                </a:cubicBezTo>
                <a:cubicBezTo>
                  <a:pt x="791" y="334"/>
                  <a:pt x="791" y="334"/>
                  <a:pt x="791" y="334"/>
                </a:cubicBezTo>
                <a:cubicBezTo>
                  <a:pt x="793" y="335"/>
                  <a:pt x="793" y="335"/>
                  <a:pt x="793" y="335"/>
                </a:cubicBezTo>
                <a:cubicBezTo>
                  <a:pt x="793" y="337"/>
                  <a:pt x="793" y="337"/>
                  <a:pt x="793" y="337"/>
                </a:cubicBezTo>
                <a:cubicBezTo>
                  <a:pt x="797" y="339"/>
                  <a:pt x="797" y="339"/>
                  <a:pt x="797" y="339"/>
                </a:cubicBezTo>
                <a:cubicBezTo>
                  <a:pt x="798" y="342"/>
                  <a:pt x="798" y="342"/>
                  <a:pt x="798" y="342"/>
                </a:cubicBezTo>
                <a:cubicBezTo>
                  <a:pt x="797" y="344"/>
                  <a:pt x="797" y="344"/>
                  <a:pt x="797" y="344"/>
                </a:cubicBezTo>
                <a:cubicBezTo>
                  <a:pt x="797" y="346"/>
                  <a:pt x="797" y="346"/>
                  <a:pt x="797" y="346"/>
                </a:cubicBezTo>
                <a:cubicBezTo>
                  <a:pt x="799" y="347"/>
                  <a:pt x="799" y="347"/>
                  <a:pt x="799" y="347"/>
                </a:cubicBezTo>
                <a:cubicBezTo>
                  <a:pt x="799" y="349"/>
                  <a:pt x="799" y="349"/>
                  <a:pt x="799" y="349"/>
                </a:cubicBezTo>
                <a:cubicBezTo>
                  <a:pt x="799" y="351"/>
                  <a:pt x="799" y="351"/>
                  <a:pt x="799" y="351"/>
                </a:cubicBezTo>
                <a:cubicBezTo>
                  <a:pt x="799" y="352"/>
                  <a:pt x="799" y="352"/>
                  <a:pt x="799" y="352"/>
                </a:cubicBezTo>
                <a:cubicBezTo>
                  <a:pt x="800" y="355"/>
                  <a:pt x="800" y="355"/>
                  <a:pt x="800" y="355"/>
                </a:cubicBezTo>
                <a:cubicBezTo>
                  <a:pt x="800" y="357"/>
                  <a:pt x="800" y="357"/>
                  <a:pt x="800" y="357"/>
                </a:cubicBezTo>
                <a:cubicBezTo>
                  <a:pt x="799" y="358"/>
                  <a:pt x="799" y="358"/>
                  <a:pt x="799" y="358"/>
                </a:cubicBezTo>
                <a:cubicBezTo>
                  <a:pt x="802" y="359"/>
                  <a:pt x="802" y="359"/>
                  <a:pt x="802" y="359"/>
                </a:cubicBezTo>
                <a:cubicBezTo>
                  <a:pt x="802" y="360"/>
                  <a:pt x="802" y="360"/>
                  <a:pt x="802" y="360"/>
                </a:cubicBezTo>
                <a:cubicBezTo>
                  <a:pt x="800" y="362"/>
                  <a:pt x="800" y="362"/>
                  <a:pt x="800" y="362"/>
                </a:cubicBezTo>
                <a:cubicBezTo>
                  <a:pt x="799" y="363"/>
                  <a:pt x="799" y="363"/>
                  <a:pt x="799" y="363"/>
                </a:cubicBezTo>
                <a:cubicBezTo>
                  <a:pt x="795" y="362"/>
                  <a:pt x="795" y="362"/>
                  <a:pt x="795" y="362"/>
                </a:cubicBezTo>
                <a:cubicBezTo>
                  <a:pt x="794" y="361"/>
                  <a:pt x="794" y="361"/>
                  <a:pt x="794" y="361"/>
                </a:cubicBezTo>
                <a:cubicBezTo>
                  <a:pt x="789" y="360"/>
                  <a:pt x="789" y="360"/>
                  <a:pt x="789" y="360"/>
                </a:cubicBezTo>
                <a:cubicBezTo>
                  <a:pt x="788" y="359"/>
                  <a:pt x="788" y="359"/>
                  <a:pt x="788" y="359"/>
                </a:cubicBezTo>
                <a:cubicBezTo>
                  <a:pt x="785" y="358"/>
                  <a:pt x="785" y="358"/>
                  <a:pt x="785" y="358"/>
                </a:cubicBezTo>
                <a:cubicBezTo>
                  <a:pt x="784" y="358"/>
                  <a:pt x="784" y="358"/>
                  <a:pt x="784" y="358"/>
                </a:cubicBezTo>
                <a:cubicBezTo>
                  <a:pt x="782" y="357"/>
                  <a:pt x="782" y="357"/>
                  <a:pt x="782" y="357"/>
                </a:cubicBezTo>
                <a:cubicBezTo>
                  <a:pt x="778" y="358"/>
                  <a:pt x="778" y="358"/>
                  <a:pt x="778" y="358"/>
                </a:cubicBezTo>
                <a:cubicBezTo>
                  <a:pt x="776" y="358"/>
                  <a:pt x="776" y="358"/>
                  <a:pt x="776" y="358"/>
                </a:cubicBezTo>
                <a:cubicBezTo>
                  <a:pt x="774" y="360"/>
                  <a:pt x="774" y="360"/>
                  <a:pt x="774" y="360"/>
                </a:cubicBezTo>
                <a:cubicBezTo>
                  <a:pt x="772" y="361"/>
                  <a:pt x="772" y="361"/>
                  <a:pt x="772" y="361"/>
                </a:cubicBezTo>
                <a:close/>
                <a:moveTo>
                  <a:pt x="758" y="364"/>
                </a:moveTo>
                <a:cubicBezTo>
                  <a:pt x="758" y="362"/>
                  <a:pt x="758" y="362"/>
                  <a:pt x="758" y="362"/>
                </a:cubicBezTo>
                <a:cubicBezTo>
                  <a:pt x="759" y="361"/>
                  <a:pt x="759" y="361"/>
                  <a:pt x="759" y="361"/>
                </a:cubicBezTo>
                <a:cubicBezTo>
                  <a:pt x="760" y="362"/>
                  <a:pt x="760" y="362"/>
                  <a:pt x="760" y="362"/>
                </a:cubicBezTo>
                <a:cubicBezTo>
                  <a:pt x="760" y="363"/>
                  <a:pt x="760" y="363"/>
                  <a:pt x="760" y="363"/>
                </a:cubicBezTo>
                <a:cubicBezTo>
                  <a:pt x="758" y="364"/>
                  <a:pt x="758" y="364"/>
                  <a:pt x="758" y="364"/>
                </a:cubicBezTo>
                <a:close/>
                <a:moveTo>
                  <a:pt x="762" y="367"/>
                </a:moveTo>
                <a:cubicBezTo>
                  <a:pt x="761" y="365"/>
                  <a:pt x="761" y="365"/>
                  <a:pt x="761" y="365"/>
                </a:cubicBezTo>
                <a:cubicBezTo>
                  <a:pt x="762" y="364"/>
                  <a:pt x="762" y="364"/>
                  <a:pt x="762" y="364"/>
                </a:cubicBezTo>
                <a:cubicBezTo>
                  <a:pt x="763" y="364"/>
                  <a:pt x="763" y="364"/>
                  <a:pt x="763" y="364"/>
                </a:cubicBezTo>
                <a:cubicBezTo>
                  <a:pt x="763" y="366"/>
                  <a:pt x="763" y="366"/>
                  <a:pt x="763" y="366"/>
                </a:cubicBezTo>
                <a:cubicBezTo>
                  <a:pt x="762" y="367"/>
                  <a:pt x="762" y="367"/>
                  <a:pt x="762" y="367"/>
                </a:cubicBezTo>
                <a:close/>
                <a:moveTo>
                  <a:pt x="769" y="367"/>
                </a:moveTo>
                <a:cubicBezTo>
                  <a:pt x="767" y="366"/>
                  <a:pt x="767" y="366"/>
                  <a:pt x="767" y="366"/>
                </a:cubicBezTo>
                <a:cubicBezTo>
                  <a:pt x="767" y="365"/>
                  <a:pt x="767" y="365"/>
                  <a:pt x="767" y="365"/>
                </a:cubicBezTo>
                <a:cubicBezTo>
                  <a:pt x="768" y="365"/>
                  <a:pt x="768" y="365"/>
                  <a:pt x="768" y="365"/>
                </a:cubicBezTo>
                <a:cubicBezTo>
                  <a:pt x="769" y="366"/>
                  <a:pt x="769" y="366"/>
                  <a:pt x="769" y="366"/>
                </a:cubicBezTo>
                <a:cubicBezTo>
                  <a:pt x="769" y="367"/>
                  <a:pt x="769" y="367"/>
                  <a:pt x="769" y="367"/>
                </a:cubicBezTo>
                <a:close/>
                <a:moveTo>
                  <a:pt x="617" y="418"/>
                </a:moveTo>
                <a:cubicBezTo>
                  <a:pt x="617" y="417"/>
                  <a:pt x="617" y="417"/>
                  <a:pt x="617" y="417"/>
                </a:cubicBezTo>
                <a:cubicBezTo>
                  <a:pt x="617" y="416"/>
                  <a:pt x="617" y="416"/>
                  <a:pt x="617" y="416"/>
                </a:cubicBezTo>
                <a:cubicBezTo>
                  <a:pt x="619" y="416"/>
                  <a:pt x="619" y="416"/>
                  <a:pt x="619" y="416"/>
                </a:cubicBezTo>
                <a:cubicBezTo>
                  <a:pt x="620" y="417"/>
                  <a:pt x="620" y="417"/>
                  <a:pt x="620" y="417"/>
                </a:cubicBezTo>
                <a:cubicBezTo>
                  <a:pt x="619" y="418"/>
                  <a:pt x="619" y="418"/>
                  <a:pt x="619" y="418"/>
                </a:cubicBezTo>
                <a:cubicBezTo>
                  <a:pt x="618" y="418"/>
                  <a:pt x="618" y="418"/>
                  <a:pt x="618" y="418"/>
                </a:cubicBezTo>
                <a:cubicBezTo>
                  <a:pt x="617" y="418"/>
                  <a:pt x="617" y="418"/>
                  <a:pt x="617" y="418"/>
                </a:cubicBezTo>
                <a:close/>
                <a:moveTo>
                  <a:pt x="624" y="431"/>
                </a:moveTo>
                <a:cubicBezTo>
                  <a:pt x="625" y="434"/>
                  <a:pt x="625" y="434"/>
                  <a:pt x="625" y="434"/>
                </a:cubicBezTo>
                <a:cubicBezTo>
                  <a:pt x="626" y="432"/>
                  <a:pt x="626" y="432"/>
                  <a:pt x="626" y="432"/>
                </a:cubicBezTo>
                <a:cubicBezTo>
                  <a:pt x="627" y="432"/>
                  <a:pt x="627" y="432"/>
                  <a:pt x="627" y="432"/>
                </a:cubicBezTo>
                <a:cubicBezTo>
                  <a:pt x="627" y="430"/>
                  <a:pt x="627" y="430"/>
                  <a:pt x="627" y="430"/>
                </a:cubicBezTo>
                <a:cubicBezTo>
                  <a:pt x="626" y="430"/>
                  <a:pt x="626" y="430"/>
                  <a:pt x="626" y="430"/>
                </a:cubicBezTo>
                <a:cubicBezTo>
                  <a:pt x="624" y="431"/>
                  <a:pt x="624" y="431"/>
                  <a:pt x="624" y="431"/>
                </a:cubicBezTo>
                <a:close/>
                <a:moveTo>
                  <a:pt x="622" y="431"/>
                </a:moveTo>
                <a:cubicBezTo>
                  <a:pt x="621" y="432"/>
                  <a:pt x="621" y="432"/>
                  <a:pt x="621" y="432"/>
                </a:cubicBezTo>
                <a:cubicBezTo>
                  <a:pt x="622" y="434"/>
                  <a:pt x="622" y="434"/>
                  <a:pt x="622" y="434"/>
                </a:cubicBezTo>
                <a:cubicBezTo>
                  <a:pt x="622" y="435"/>
                  <a:pt x="622" y="435"/>
                  <a:pt x="622" y="435"/>
                </a:cubicBezTo>
                <a:cubicBezTo>
                  <a:pt x="623" y="435"/>
                  <a:pt x="623" y="435"/>
                  <a:pt x="623" y="435"/>
                </a:cubicBezTo>
                <a:cubicBezTo>
                  <a:pt x="624" y="435"/>
                  <a:pt x="624" y="435"/>
                  <a:pt x="624" y="435"/>
                </a:cubicBezTo>
                <a:cubicBezTo>
                  <a:pt x="623" y="431"/>
                  <a:pt x="623" y="431"/>
                  <a:pt x="623" y="431"/>
                </a:cubicBezTo>
                <a:cubicBezTo>
                  <a:pt x="623" y="430"/>
                  <a:pt x="623" y="430"/>
                  <a:pt x="623" y="430"/>
                </a:cubicBezTo>
                <a:cubicBezTo>
                  <a:pt x="622" y="431"/>
                  <a:pt x="622" y="431"/>
                  <a:pt x="622" y="431"/>
                </a:cubicBezTo>
                <a:close/>
                <a:moveTo>
                  <a:pt x="669" y="422"/>
                </a:moveTo>
                <a:cubicBezTo>
                  <a:pt x="668" y="421"/>
                  <a:pt x="668" y="421"/>
                  <a:pt x="668" y="421"/>
                </a:cubicBezTo>
                <a:cubicBezTo>
                  <a:pt x="667" y="421"/>
                  <a:pt x="667" y="421"/>
                  <a:pt x="667" y="421"/>
                </a:cubicBezTo>
                <a:cubicBezTo>
                  <a:pt x="665" y="420"/>
                  <a:pt x="665" y="420"/>
                  <a:pt x="665" y="420"/>
                </a:cubicBezTo>
                <a:cubicBezTo>
                  <a:pt x="665" y="421"/>
                  <a:pt x="665" y="421"/>
                  <a:pt x="665" y="421"/>
                </a:cubicBezTo>
                <a:cubicBezTo>
                  <a:pt x="663" y="420"/>
                  <a:pt x="663" y="420"/>
                  <a:pt x="663" y="420"/>
                </a:cubicBezTo>
                <a:cubicBezTo>
                  <a:pt x="663" y="418"/>
                  <a:pt x="663" y="418"/>
                  <a:pt x="663" y="418"/>
                </a:cubicBezTo>
                <a:cubicBezTo>
                  <a:pt x="662" y="418"/>
                  <a:pt x="662" y="418"/>
                  <a:pt x="662" y="418"/>
                </a:cubicBezTo>
                <a:cubicBezTo>
                  <a:pt x="665" y="417"/>
                  <a:pt x="665" y="417"/>
                  <a:pt x="665" y="417"/>
                </a:cubicBezTo>
                <a:cubicBezTo>
                  <a:pt x="665" y="416"/>
                  <a:pt x="665" y="416"/>
                  <a:pt x="665" y="416"/>
                </a:cubicBezTo>
                <a:cubicBezTo>
                  <a:pt x="667" y="416"/>
                  <a:pt x="667" y="416"/>
                  <a:pt x="667" y="416"/>
                </a:cubicBezTo>
                <a:cubicBezTo>
                  <a:pt x="668" y="418"/>
                  <a:pt x="668" y="418"/>
                  <a:pt x="668" y="418"/>
                </a:cubicBezTo>
                <a:cubicBezTo>
                  <a:pt x="671" y="419"/>
                  <a:pt x="671" y="419"/>
                  <a:pt x="671" y="419"/>
                </a:cubicBezTo>
                <a:cubicBezTo>
                  <a:pt x="671" y="421"/>
                  <a:pt x="671" y="421"/>
                  <a:pt x="671" y="421"/>
                </a:cubicBezTo>
                <a:cubicBezTo>
                  <a:pt x="671" y="422"/>
                  <a:pt x="671" y="422"/>
                  <a:pt x="671" y="422"/>
                </a:cubicBezTo>
                <a:cubicBezTo>
                  <a:pt x="671" y="422"/>
                  <a:pt x="669" y="422"/>
                  <a:pt x="669" y="422"/>
                </a:cubicBezTo>
                <a:close/>
                <a:moveTo>
                  <a:pt x="696" y="433"/>
                </a:moveTo>
                <a:cubicBezTo>
                  <a:pt x="694" y="433"/>
                  <a:pt x="694" y="433"/>
                  <a:pt x="694" y="433"/>
                </a:cubicBezTo>
                <a:cubicBezTo>
                  <a:pt x="693" y="431"/>
                  <a:pt x="693" y="431"/>
                  <a:pt x="693" y="431"/>
                </a:cubicBezTo>
                <a:cubicBezTo>
                  <a:pt x="695" y="431"/>
                  <a:pt x="695" y="431"/>
                  <a:pt x="695" y="431"/>
                </a:cubicBezTo>
                <a:cubicBezTo>
                  <a:pt x="696" y="431"/>
                  <a:pt x="696" y="431"/>
                  <a:pt x="696" y="431"/>
                </a:cubicBezTo>
                <a:cubicBezTo>
                  <a:pt x="696" y="432"/>
                  <a:pt x="696" y="432"/>
                  <a:pt x="696" y="432"/>
                </a:cubicBezTo>
                <a:cubicBezTo>
                  <a:pt x="696" y="433"/>
                  <a:pt x="696" y="433"/>
                  <a:pt x="696" y="433"/>
                </a:cubicBezTo>
                <a:close/>
                <a:moveTo>
                  <a:pt x="698" y="433"/>
                </a:moveTo>
                <a:cubicBezTo>
                  <a:pt x="700" y="434"/>
                  <a:pt x="700" y="434"/>
                  <a:pt x="700" y="434"/>
                </a:cubicBezTo>
                <a:cubicBezTo>
                  <a:pt x="700" y="433"/>
                  <a:pt x="700" y="433"/>
                  <a:pt x="700" y="433"/>
                </a:cubicBezTo>
                <a:cubicBezTo>
                  <a:pt x="698" y="433"/>
                  <a:pt x="698" y="433"/>
                  <a:pt x="698" y="433"/>
                </a:cubicBezTo>
                <a:close/>
                <a:moveTo>
                  <a:pt x="702" y="435"/>
                </a:moveTo>
                <a:cubicBezTo>
                  <a:pt x="704" y="435"/>
                  <a:pt x="704" y="435"/>
                  <a:pt x="704" y="435"/>
                </a:cubicBezTo>
                <a:cubicBezTo>
                  <a:pt x="705" y="436"/>
                  <a:pt x="705" y="436"/>
                  <a:pt x="705" y="436"/>
                </a:cubicBezTo>
                <a:cubicBezTo>
                  <a:pt x="706" y="436"/>
                  <a:pt x="706" y="436"/>
                  <a:pt x="706" y="436"/>
                </a:cubicBezTo>
                <a:cubicBezTo>
                  <a:pt x="706" y="434"/>
                  <a:pt x="706" y="434"/>
                  <a:pt x="706" y="434"/>
                </a:cubicBezTo>
                <a:cubicBezTo>
                  <a:pt x="704" y="433"/>
                  <a:pt x="704" y="433"/>
                  <a:pt x="704" y="433"/>
                </a:cubicBezTo>
                <a:cubicBezTo>
                  <a:pt x="704" y="433"/>
                  <a:pt x="704" y="433"/>
                  <a:pt x="704" y="433"/>
                </a:cubicBezTo>
                <a:cubicBezTo>
                  <a:pt x="702" y="433"/>
                  <a:pt x="702" y="433"/>
                  <a:pt x="702" y="433"/>
                </a:cubicBezTo>
                <a:cubicBezTo>
                  <a:pt x="702" y="434"/>
                  <a:pt x="702" y="434"/>
                  <a:pt x="702" y="434"/>
                </a:cubicBezTo>
                <a:cubicBezTo>
                  <a:pt x="702" y="435"/>
                  <a:pt x="702" y="435"/>
                  <a:pt x="702" y="435"/>
                </a:cubicBezTo>
                <a:close/>
                <a:moveTo>
                  <a:pt x="731" y="473"/>
                </a:moveTo>
                <a:cubicBezTo>
                  <a:pt x="731" y="471"/>
                  <a:pt x="731" y="471"/>
                  <a:pt x="731" y="471"/>
                </a:cubicBezTo>
                <a:cubicBezTo>
                  <a:pt x="732" y="470"/>
                  <a:pt x="732" y="470"/>
                  <a:pt x="732" y="470"/>
                </a:cubicBezTo>
                <a:cubicBezTo>
                  <a:pt x="731" y="468"/>
                  <a:pt x="731" y="468"/>
                  <a:pt x="731" y="468"/>
                </a:cubicBezTo>
                <a:cubicBezTo>
                  <a:pt x="732" y="468"/>
                  <a:pt x="732" y="468"/>
                  <a:pt x="732" y="468"/>
                </a:cubicBezTo>
                <a:cubicBezTo>
                  <a:pt x="733" y="469"/>
                  <a:pt x="733" y="469"/>
                  <a:pt x="733" y="469"/>
                </a:cubicBezTo>
                <a:cubicBezTo>
                  <a:pt x="733" y="471"/>
                  <a:pt x="733" y="471"/>
                  <a:pt x="733" y="471"/>
                </a:cubicBezTo>
                <a:cubicBezTo>
                  <a:pt x="733" y="473"/>
                  <a:pt x="733" y="473"/>
                  <a:pt x="733" y="473"/>
                </a:cubicBezTo>
                <a:cubicBezTo>
                  <a:pt x="731" y="473"/>
                  <a:pt x="731" y="473"/>
                  <a:pt x="731" y="473"/>
                </a:cubicBezTo>
                <a:close/>
                <a:moveTo>
                  <a:pt x="728" y="480"/>
                </a:moveTo>
                <a:cubicBezTo>
                  <a:pt x="727" y="477"/>
                  <a:pt x="727" y="477"/>
                  <a:pt x="727" y="477"/>
                </a:cubicBezTo>
                <a:cubicBezTo>
                  <a:pt x="728" y="475"/>
                  <a:pt x="728" y="475"/>
                  <a:pt x="728" y="475"/>
                </a:cubicBezTo>
                <a:cubicBezTo>
                  <a:pt x="729" y="476"/>
                  <a:pt x="729" y="476"/>
                  <a:pt x="729" y="476"/>
                </a:cubicBezTo>
                <a:cubicBezTo>
                  <a:pt x="731" y="476"/>
                  <a:pt x="731" y="476"/>
                  <a:pt x="731" y="476"/>
                </a:cubicBezTo>
                <a:cubicBezTo>
                  <a:pt x="731" y="478"/>
                  <a:pt x="731" y="478"/>
                  <a:pt x="731" y="478"/>
                </a:cubicBezTo>
                <a:cubicBezTo>
                  <a:pt x="729" y="478"/>
                  <a:pt x="729" y="478"/>
                  <a:pt x="729" y="478"/>
                </a:cubicBezTo>
                <a:cubicBezTo>
                  <a:pt x="729" y="480"/>
                  <a:pt x="729" y="480"/>
                  <a:pt x="729" y="480"/>
                </a:cubicBezTo>
                <a:cubicBezTo>
                  <a:pt x="728" y="480"/>
                  <a:pt x="728" y="480"/>
                  <a:pt x="728" y="480"/>
                </a:cubicBezTo>
                <a:close/>
                <a:moveTo>
                  <a:pt x="711" y="443"/>
                </a:moveTo>
                <a:cubicBezTo>
                  <a:pt x="711" y="442"/>
                  <a:pt x="711" y="442"/>
                  <a:pt x="711" y="442"/>
                </a:cubicBezTo>
                <a:cubicBezTo>
                  <a:pt x="712" y="442"/>
                  <a:pt x="712" y="442"/>
                  <a:pt x="712" y="442"/>
                </a:cubicBezTo>
                <a:cubicBezTo>
                  <a:pt x="711" y="443"/>
                  <a:pt x="711" y="443"/>
                  <a:pt x="711" y="443"/>
                </a:cubicBezTo>
                <a:close/>
                <a:moveTo>
                  <a:pt x="708" y="444"/>
                </a:moveTo>
                <a:cubicBezTo>
                  <a:pt x="707" y="442"/>
                  <a:pt x="707" y="442"/>
                  <a:pt x="707" y="442"/>
                </a:cubicBezTo>
                <a:cubicBezTo>
                  <a:pt x="708" y="442"/>
                  <a:pt x="708" y="442"/>
                  <a:pt x="708" y="442"/>
                </a:cubicBezTo>
                <a:cubicBezTo>
                  <a:pt x="708" y="443"/>
                  <a:pt x="708" y="443"/>
                  <a:pt x="708" y="443"/>
                </a:cubicBezTo>
                <a:cubicBezTo>
                  <a:pt x="708" y="444"/>
                  <a:pt x="708" y="444"/>
                  <a:pt x="708" y="444"/>
                </a:cubicBezTo>
                <a:close/>
                <a:moveTo>
                  <a:pt x="709" y="445"/>
                </a:moveTo>
                <a:cubicBezTo>
                  <a:pt x="710" y="446"/>
                  <a:pt x="710" y="446"/>
                  <a:pt x="710" y="446"/>
                </a:cubicBezTo>
                <a:cubicBezTo>
                  <a:pt x="711" y="446"/>
                  <a:pt x="711" y="446"/>
                  <a:pt x="711" y="446"/>
                </a:cubicBezTo>
                <a:cubicBezTo>
                  <a:pt x="712" y="447"/>
                  <a:pt x="712" y="447"/>
                  <a:pt x="712" y="447"/>
                </a:cubicBezTo>
                <a:cubicBezTo>
                  <a:pt x="712" y="446"/>
                  <a:pt x="712" y="446"/>
                  <a:pt x="712" y="446"/>
                </a:cubicBezTo>
                <a:cubicBezTo>
                  <a:pt x="711" y="445"/>
                  <a:pt x="711" y="445"/>
                  <a:pt x="711" y="445"/>
                </a:cubicBezTo>
                <a:cubicBezTo>
                  <a:pt x="709" y="445"/>
                  <a:pt x="709" y="445"/>
                  <a:pt x="709" y="445"/>
                </a:cubicBezTo>
                <a:cubicBezTo>
                  <a:pt x="709" y="445"/>
                  <a:pt x="709" y="445"/>
                  <a:pt x="709" y="445"/>
                </a:cubicBezTo>
                <a:close/>
                <a:moveTo>
                  <a:pt x="724" y="439"/>
                </a:moveTo>
                <a:cubicBezTo>
                  <a:pt x="726" y="439"/>
                  <a:pt x="726" y="439"/>
                  <a:pt x="726" y="439"/>
                </a:cubicBezTo>
                <a:cubicBezTo>
                  <a:pt x="727" y="441"/>
                  <a:pt x="727" y="441"/>
                  <a:pt x="727" y="441"/>
                </a:cubicBezTo>
                <a:cubicBezTo>
                  <a:pt x="727" y="441"/>
                  <a:pt x="727" y="441"/>
                  <a:pt x="727" y="441"/>
                </a:cubicBezTo>
                <a:cubicBezTo>
                  <a:pt x="727" y="442"/>
                  <a:pt x="727" y="442"/>
                  <a:pt x="727" y="442"/>
                </a:cubicBezTo>
                <a:cubicBezTo>
                  <a:pt x="728" y="444"/>
                  <a:pt x="728" y="444"/>
                  <a:pt x="728" y="444"/>
                </a:cubicBezTo>
                <a:cubicBezTo>
                  <a:pt x="729" y="443"/>
                  <a:pt x="729" y="443"/>
                  <a:pt x="729" y="443"/>
                </a:cubicBezTo>
                <a:cubicBezTo>
                  <a:pt x="729" y="441"/>
                  <a:pt x="729" y="441"/>
                  <a:pt x="729" y="441"/>
                </a:cubicBezTo>
                <a:cubicBezTo>
                  <a:pt x="731" y="442"/>
                  <a:pt x="731" y="442"/>
                  <a:pt x="731" y="442"/>
                </a:cubicBezTo>
                <a:cubicBezTo>
                  <a:pt x="732" y="442"/>
                  <a:pt x="732" y="442"/>
                  <a:pt x="732" y="442"/>
                </a:cubicBezTo>
                <a:cubicBezTo>
                  <a:pt x="733" y="442"/>
                  <a:pt x="733" y="442"/>
                  <a:pt x="733" y="442"/>
                </a:cubicBezTo>
                <a:cubicBezTo>
                  <a:pt x="735" y="440"/>
                  <a:pt x="735" y="440"/>
                  <a:pt x="735" y="440"/>
                </a:cubicBezTo>
                <a:cubicBezTo>
                  <a:pt x="734" y="439"/>
                  <a:pt x="734" y="439"/>
                  <a:pt x="734" y="439"/>
                </a:cubicBezTo>
                <a:cubicBezTo>
                  <a:pt x="731" y="438"/>
                  <a:pt x="731" y="438"/>
                  <a:pt x="731" y="438"/>
                </a:cubicBezTo>
                <a:cubicBezTo>
                  <a:pt x="729" y="437"/>
                  <a:pt x="729" y="437"/>
                  <a:pt x="729" y="437"/>
                </a:cubicBezTo>
                <a:cubicBezTo>
                  <a:pt x="727" y="436"/>
                  <a:pt x="727" y="436"/>
                  <a:pt x="727" y="436"/>
                </a:cubicBezTo>
                <a:cubicBezTo>
                  <a:pt x="726" y="438"/>
                  <a:pt x="726" y="438"/>
                  <a:pt x="726" y="438"/>
                </a:cubicBezTo>
                <a:cubicBezTo>
                  <a:pt x="726" y="438"/>
                  <a:pt x="724" y="439"/>
                  <a:pt x="724" y="439"/>
                </a:cubicBezTo>
                <a:close/>
                <a:moveTo>
                  <a:pt x="752" y="437"/>
                </a:moveTo>
                <a:cubicBezTo>
                  <a:pt x="752" y="435"/>
                  <a:pt x="752" y="435"/>
                  <a:pt x="752" y="435"/>
                </a:cubicBezTo>
                <a:cubicBezTo>
                  <a:pt x="754" y="435"/>
                  <a:pt x="754" y="435"/>
                  <a:pt x="754" y="435"/>
                </a:cubicBezTo>
                <a:cubicBezTo>
                  <a:pt x="753" y="437"/>
                  <a:pt x="753" y="437"/>
                  <a:pt x="753" y="437"/>
                </a:cubicBezTo>
                <a:cubicBezTo>
                  <a:pt x="752" y="437"/>
                  <a:pt x="752" y="437"/>
                  <a:pt x="752" y="437"/>
                </a:cubicBezTo>
                <a:close/>
                <a:moveTo>
                  <a:pt x="742" y="448"/>
                </a:moveTo>
                <a:cubicBezTo>
                  <a:pt x="744" y="447"/>
                  <a:pt x="744" y="447"/>
                  <a:pt x="744" y="447"/>
                </a:cubicBezTo>
                <a:cubicBezTo>
                  <a:pt x="745" y="445"/>
                  <a:pt x="745" y="445"/>
                  <a:pt x="745" y="445"/>
                </a:cubicBezTo>
                <a:cubicBezTo>
                  <a:pt x="747" y="445"/>
                  <a:pt x="747" y="445"/>
                  <a:pt x="747" y="445"/>
                </a:cubicBezTo>
                <a:cubicBezTo>
                  <a:pt x="748" y="443"/>
                  <a:pt x="748" y="443"/>
                  <a:pt x="748" y="443"/>
                </a:cubicBezTo>
                <a:cubicBezTo>
                  <a:pt x="749" y="443"/>
                  <a:pt x="749" y="443"/>
                  <a:pt x="749" y="443"/>
                </a:cubicBezTo>
                <a:cubicBezTo>
                  <a:pt x="750" y="444"/>
                  <a:pt x="750" y="444"/>
                  <a:pt x="750" y="444"/>
                </a:cubicBezTo>
                <a:cubicBezTo>
                  <a:pt x="750" y="445"/>
                  <a:pt x="750" y="445"/>
                  <a:pt x="750" y="445"/>
                </a:cubicBezTo>
                <a:cubicBezTo>
                  <a:pt x="747" y="446"/>
                  <a:pt x="747" y="446"/>
                  <a:pt x="747" y="446"/>
                </a:cubicBezTo>
                <a:cubicBezTo>
                  <a:pt x="745" y="448"/>
                  <a:pt x="745" y="448"/>
                  <a:pt x="745" y="448"/>
                </a:cubicBezTo>
                <a:cubicBezTo>
                  <a:pt x="744" y="448"/>
                  <a:pt x="744" y="448"/>
                  <a:pt x="744" y="448"/>
                </a:cubicBezTo>
                <a:cubicBezTo>
                  <a:pt x="742" y="448"/>
                  <a:pt x="742" y="448"/>
                  <a:pt x="742" y="448"/>
                </a:cubicBezTo>
                <a:close/>
                <a:moveTo>
                  <a:pt x="733" y="463"/>
                </a:moveTo>
                <a:cubicBezTo>
                  <a:pt x="738" y="459"/>
                  <a:pt x="738" y="459"/>
                  <a:pt x="738" y="459"/>
                </a:cubicBezTo>
                <a:cubicBezTo>
                  <a:pt x="739" y="458"/>
                  <a:pt x="739" y="458"/>
                  <a:pt x="739" y="458"/>
                </a:cubicBezTo>
                <a:cubicBezTo>
                  <a:pt x="740" y="458"/>
                  <a:pt x="740" y="458"/>
                  <a:pt x="740" y="458"/>
                </a:cubicBezTo>
                <a:cubicBezTo>
                  <a:pt x="742" y="456"/>
                  <a:pt x="742" y="456"/>
                  <a:pt x="742" y="456"/>
                </a:cubicBezTo>
                <a:cubicBezTo>
                  <a:pt x="744" y="454"/>
                  <a:pt x="744" y="454"/>
                  <a:pt x="744" y="454"/>
                </a:cubicBezTo>
                <a:cubicBezTo>
                  <a:pt x="744" y="452"/>
                  <a:pt x="744" y="452"/>
                  <a:pt x="744" y="452"/>
                </a:cubicBezTo>
                <a:cubicBezTo>
                  <a:pt x="743" y="451"/>
                  <a:pt x="743" y="451"/>
                  <a:pt x="743" y="451"/>
                </a:cubicBezTo>
                <a:cubicBezTo>
                  <a:pt x="741" y="451"/>
                  <a:pt x="741" y="451"/>
                  <a:pt x="741" y="451"/>
                </a:cubicBezTo>
                <a:cubicBezTo>
                  <a:pt x="741" y="453"/>
                  <a:pt x="741" y="453"/>
                  <a:pt x="741" y="453"/>
                </a:cubicBezTo>
                <a:cubicBezTo>
                  <a:pt x="740" y="453"/>
                  <a:pt x="740" y="453"/>
                  <a:pt x="740" y="453"/>
                </a:cubicBezTo>
                <a:cubicBezTo>
                  <a:pt x="737" y="456"/>
                  <a:pt x="737" y="456"/>
                  <a:pt x="737" y="456"/>
                </a:cubicBezTo>
                <a:cubicBezTo>
                  <a:pt x="736" y="457"/>
                  <a:pt x="736" y="457"/>
                  <a:pt x="736" y="457"/>
                </a:cubicBezTo>
                <a:cubicBezTo>
                  <a:pt x="732" y="456"/>
                  <a:pt x="732" y="456"/>
                  <a:pt x="732" y="456"/>
                </a:cubicBezTo>
                <a:cubicBezTo>
                  <a:pt x="731" y="457"/>
                  <a:pt x="731" y="457"/>
                  <a:pt x="731" y="457"/>
                </a:cubicBezTo>
                <a:cubicBezTo>
                  <a:pt x="730" y="459"/>
                  <a:pt x="730" y="459"/>
                  <a:pt x="730" y="459"/>
                </a:cubicBezTo>
                <a:cubicBezTo>
                  <a:pt x="728" y="461"/>
                  <a:pt x="728" y="461"/>
                  <a:pt x="728" y="461"/>
                </a:cubicBezTo>
                <a:cubicBezTo>
                  <a:pt x="729" y="463"/>
                  <a:pt x="729" y="463"/>
                  <a:pt x="729" y="463"/>
                </a:cubicBezTo>
                <a:cubicBezTo>
                  <a:pt x="730" y="463"/>
                  <a:pt x="730" y="463"/>
                  <a:pt x="730" y="463"/>
                </a:cubicBezTo>
                <a:cubicBezTo>
                  <a:pt x="732" y="463"/>
                  <a:pt x="732" y="463"/>
                  <a:pt x="732" y="463"/>
                </a:cubicBezTo>
                <a:cubicBezTo>
                  <a:pt x="733" y="463"/>
                  <a:pt x="733" y="463"/>
                  <a:pt x="733" y="463"/>
                </a:cubicBezTo>
                <a:close/>
                <a:moveTo>
                  <a:pt x="753" y="461"/>
                </a:moveTo>
                <a:cubicBezTo>
                  <a:pt x="752" y="457"/>
                  <a:pt x="752" y="457"/>
                  <a:pt x="752" y="457"/>
                </a:cubicBezTo>
                <a:cubicBezTo>
                  <a:pt x="753" y="456"/>
                  <a:pt x="753" y="456"/>
                  <a:pt x="753" y="456"/>
                </a:cubicBezTo>
                <a:cubicBezTo>
                  <a:pt x="755" y="454"/>
                  <a:pt x="755" y="454"/>
                  <a:pt x="755" y="454"/>
                </a:cubicBezTo>
                <a:cubicBezTo>
                  <a:pt x="756" y="454"/>
                  <a:pt x="756" y="454"/>
                  <a:pt x="756" y="454"/>
                </a:cubicBezTo>
                <a:cubicBezTo>
                  <a:pt x="759" y="454"/>
                  <a:pt x="759" y="454"/>
                  <a:pt x="759" y="454"/>
                </a:cubicBezTo>
                <a:cubicBezTo>
                  <a:pt x="759" y="457"/>
                  <a:pt x="759" y="457"/>
                  <a:pt x="759" y="457"/>
                </a:cubicBezTo>
                <a:cubicBezTo>
                  <a:pt x="758" y="459"/>
                  <a:pt x="758" y="459"/>
                  <a:pt x="758" y="459"/>
                </a:cubicBezTo>
                <a:cubicBezTo>
                  <a:pt x="756" y="459"/>
                  <a:pt x="756" y="459"/>
                  <a:pt x="756" y="459"/>
                </a:cubicBezTo>
                <a:cubicBezTo>
                  <a:pt x="755" y="461"/>
                  <a:pt x="755" y="461"/>
                  <a:pt x="755" y="461"/>
                </a:cubicBezTo>
                <a:cubicBezTo>
                  <a:pt x="753" y="461"/>
                  <a:pt x="753" y="461"/>
                  <a:pt x="753" y="461"/>
                </a:cubicBezTo>
                <a:close/>
                <a:moveTo>
                  <a:pt x="769" y="481"/>
                </a:moveTo>
                <a:cubicBezTo>
                  <a:pt x="769" y="477"/>
                  <a:pt x="769" y="477"/>
                  <a:pt x="769" y="477"/>
                </a:cubicBezTo>
                <a:cubicBezTo>
                  <a:pt x="769" y="474"/>
                  <a:pt x="769" y="474"/>
                  <a:pt x="769" y="474"/>
                </a:cubicBezTo>
                <a:cubicBezTo>
                  <a:pt x="768" y="472"/>
                  <a:pt x="768" y="472"/>
                  <a:pt x="768" y="472"/>
                </a:cubicBezTo>
                <a:cubicBezTo>
                  <a:pt x="767" y="472"/>
                  <a:pt x="767" y="472"/>
                  <a:pt x="767" y="472"/>
                </a:cubicBezTo>
                <a:cubicBezTo>
                  <a:pt x="766" y="475"/>
                  <a:pt x="766" y="475"/>
                  <a:pt x="766" y="475"/>
                </a:cubicBezTo>
                <a:cubicBezTo>
                  <a:pt x="765" y="477"/>
                  <a:pt x="765" y="477"/>
                  <a:pt x="765" y="477"/>
                </a:cubicBezTo>
                <a:cubicBezTo>
                  <a:pt x="766" y="479"/>
                  <a:pt x="766" y="479"/>
                  <a:pt x="766" y="479"/>
                </a:cubicBezTo>
                <a:cubicBezTo>
                  <a:pt x="766" y="480"/>
                  <a:pt x="766" y="480"/>
                  <a:pt x="766" y="480"/>
                </a:cubicBezTo>
                <a:cubicBezTo>
                  <a:pt x="767" y="482"/>
                  <a:pt x="767" y="482"/>
                  <a:pt x="767" y="482"/>
                </a:cubicBezTo>
                <a:cubicBezTo>
                  <a:pt x="768" y="481"/>
                  <a:pt x="768" y="481"/>
                  <a:pt x="768" y="481"/>
                </a:cubicBezTo>
                <a:cubicBezTo>
                  <a:pt x="769" y="481"/>
                  <a:pt x="769" y="481"/>
                  <a:pt x="769" y="481"/>
                </a:cubicBezTo>
                <a:close/>
                <a:moveTo>
                  <a:pt x="771" y="479"/>
                </a:moveTo>
                <a:cubicBezTo>
                  <a:pt x="770" y="477"/>
                  <a:pt x="770" y="477"/>
                  <a:pt x="770" y="477"/>
                </a:cubicBezTo>
                <a:cubicBezTo>
                  <a:pt x="771" y="474"/>
                  <a:pt x="771" y="474"/>
                  <a:pt x="771" y="474"/>
                </a:cubicBezTo>
                <a:cubicBezTo>
                  <a:pt x="772" y="477"/>
                  <a:pt x="772" y="477"/>
                  <a:pt x="772" y="477"/>
                </a:cubicBezTo>
                <a:cubicBezTo>
                  <a:pt x="772" y="478"/>
                  <a:pt x="772" y="478"/>
                  <a:pt x="772" y="478"/>
                </a:cubicBezTo>
                <a:cubicBezTo>
                  <a:pt x="772" y="479"/>
                  <a:pt x="772" y="479"/>
                  <a:pt x="772" y="479"/>
                </a:cubicBezTo>
                <a:cubicBezTo>
                  <a:pt x="771" y="479"/>
                  <a:pt x="771" y="479"/>
                  <a:pt x="771" y="479"/>
                </a:cubicBezTo>
                <a:close/>
                <a:moveTo>
                  <a:pt x="774" y="484"/>
                </a:moveTo>
                <a:cubicBezTo>
                  <a:pt x="773" y="483"/>
                  <a:pt x="773" y="483"/>
                  <a:pt x="773" y="483"/>
                </a:cubicBezTo>
                <a:cubicBezTo>
                  <a:pt x="774" y="481"/>
                  <a:pt x="774" y="481"/>
                  <a:pt x="774" y="481"/>
                </a:cubicBezTo>
                <a:cubicBezTo>
                  <a:pt x="775" y="482"/>
                  <a:pt x="775" y="482"/>
                  <a:pt x="775" y="482"/>
                </a:cubicBezTo>
                <a:cubicBezTo>
                  <a:pt x="775" y="483"/>
                  <a:pt x="775" y="483"/>
                  <a:pt x="775" y="483"/>
                </a:cubicBezTo>
                <a:cubicBezTo>
                  <a:pt x="774" y="484"/>
                  <a:pt x="774" y="484"/>
                  <a:pt x="774" y="484"/>
                </a:cubicBezTo>
                <a:close/>
                <a:moveTo>
                  <a:pt x="766" y="489"/>
                </a:moveTo>
                <a:cubicBezTo>
                  <a:pt x="766" y="490"/>
                  <a:pt x="766" y="490"/>
                  <a:pt x="766" y="490"/>
                </a:cubicBezTo>
                <a:cubicBezTo>
                  <a:pt x="766" y="492"/>
                  <a:pt x="766" y="492"/>
                  <a:pt x="766" y="492"/>
                </a:cubicBezTo>
                <a:cubicBezTo>
                  <a:pt x="767" y="495"/>
                  <a:pt x="767" y="495"/>
                  <a:pt x="767" y="495"/>
                </a:cubicBezTo>
                <a:cubicBezTo>
                  <a:pt x="768" y="496"/>
                  <a:pt x="768" y="496"/>
                  <a:pt x="768" y="496"/>
                </a:cubicBezTo>
                <a:cubicBezTo>
                  <a:pt x="769" y="495"/>
                  <a:pt x="769" y="495"/>
                  <a:pt x="769" y="495"/>
                </a:cubicBezTo>
                <a:cubicBezTo>
                  <a:pt x="771" y="496"/>
                  <a:pt x="771" y="496"/>
                  <a:pt x="771" y="496"/>
                </a:cubicBezTo>
                <a:cubicBezTo>
                  <a:pt x="773" y="496"/>
                  <a:pt x="773" y="496"/>
                  <a:pt x="773" y="496"/>
                </a:cubicBezTo>
                <a:cubicBezTo>
                  <a:pt x="775" y="496"/>
                  <a:pt x="775" y="496"/>
                  <a:pt x="775" y="496"/>
                </a:cubicBezTo>
                <a:cubicBezTo>
                  <a:pt x="777" y="497"/>
                  <a:pt x="777" y="497"/>
                  <a:pt x="777" y="497"/>
                </a:cubicBezTo>
                <a:cubicBezTo>
                  <a:pt x="778" y="495"/>
                  <a:pt x="778" y="495"/>
                  <a:pt x="778" y="495"/>
                </a:cubicBezTo>
                <a:cubicBezTo>
                  <a:pt x="777" y="494"/>
                  <a:pt x="777" y="494"/>
                  <a:pt x="777" y="494"/>
                </a:cubicBezTo>
                <a:cubicBezTo>
                  <a:pt x="777" y="491"/>
                  <a:pt x="777" y="491"/>
                  <a:pt x="777" y="491"/>
                </a:cubicBezTo>
                <a:cubicBezTo>
                  <a:pt x="775" y="491"/>
                  <a:pt x="775" y="491"/>
                  <a:pt x="775" y="491"/>
                </a:cubicBezTo>
                <a:cubicBezTo>
                  <a:pt x="774" y="489"/>
                  <a:pt x="774" y="489"/>
                  <a:pt x="774" y="489"/>
                </a:cubicBezTo>
                <a:cubicBezTo>
                  <a:pt x="772" y="489"/>
                  <a:pt x="772" y="489"/>
                  <a:pt x="772" y="489"/>
                </a:cubicBezTo>
                <a:cubicBezTo>
                  <a:pt x="771" y="490"/>
                  <a:pt x="771" y="490"/>
                  <a:pt x="771" y="490"/>
                </a:cubicBezTo>
                <a:cubicBezTo>
                  <a:pt x="771" y="488"/>
                  <a:pt x="771" y="488"/>
                  <a:pt x="771" y="488"/>
                </a:cubicBezTo>
                <a:cubicBezTo>
                  <a:pt x="771" y="487"/>
                  <a:pt x="771" y="487"/>
                  <a:pt x="771" y="487"/>
                </a:cubicBezTo>
                <a:cubicBezTo>
                  <a:pt x="770" y="487"/>
                  <a:pt x="770" y="487"/>
                  <a:pt x="770" y="487"/>
                </a:cubicBezTo>
                <a:cubicBezTo>
                  <a:pt x="769" y="489"/>
                  <a:pt x="769" y="489"/>
                  <a:pt x="769" y="489"/>
                </a:cubicBezTo>
                <a:cubicBezTo>
                  <a:pt x="768" y="489"/>
                  <a:pt x="768" y="489"/>
                  <a:pt x="768" y="489"/>
                </a:cubicBezTo>
                <a:cubicBezTo>
                  <a:pt x="766" y="489"/>
                  <a:pt x="766" y="489"/>
                  <a:pt x="766" y="489"/>
                </a:cubicBezTo>
                <a:close/>
                <a:moveTo>
                  <a:pt x="702" y="579"/>
                </a:moveTo>
                <a:cubicBezTo>
                  <a:pt x="705" y="579"/>
                  <a:pt x="705" y="579"/>
                  <a:pt x="705" y="579"/>
                </a:cubicBezTo>
                <a:cubicBezTo>
                  <a:pt x="706" y="578"/>
                  <a:pt x="706" y="578"/>
                  <a:pt x="706" y="578"/>
                </a:cubicBezTo>
                <a:cubicBezTo>
                  <a:pt x="705" y="577"/>
                  <a:pt x="705" y="577"/>
                  <a:pt x="705" y="577"/>
                </a:cubicBezTo>
                <a:cubicBezTo>
                  <a:pt x="703" y="577"/>
                  <a:pt x="703" y="577"/>
                  <a:pt x="703" y="577"/>
                </a:cubicBezTo>
                <a:cubicBezTo>
                  <a:pt x="702" y="579"/>
                  <a:pt x="702" y="579"/>
                  <a:pt x="702" y="579"/>
                </a:cubicBezTo>
                <a:close/>
                <a:moveTo>
                  <a:pt x="666" y="519"/>
                </a:moveTo>
                <a:cubicBezTo>
                  <a:pt x="668" y="521"/>
                  <a:pt x="668" y="521"/>
                  <a:pt x="668" y="521"/>
                </a:cubicBezTo>
                <a:cubicBezTo>
                  <a:pt x="669" y="521"/>
                  <a:pt x="669" y="521"/>
                  <a:pt x="669" y="521"/>
                </a:cubicBezTo>
                <a:cubicBezTo>
                  <a:pt x="670" y="520"/>
                  <a:pt x="670" y="520"/>
                  <a:pt x="670" y="520"/>
                </a:cubicBezTo>
                <a:cubicBezTo>
                  <a:pt x="668" y="519"/>
                  <a:pt x="668" y="519"/>
                  <a:pt x="668" y="519"/>
                </a:cubicBezTo>
                <a:cubicBezTo>
                  <a:pt x="667" y="519"/>
                  <a:pt x="667" y="519"/>
                  <a:pt x="667" y="519"/>
                </a:cubicBezTo>
                <a:cubicBezTo>
                  <a:pt x="666" y="519"/>
                  <a:pt x="666" y="519"/>
                  <a:pt x="666" y="519"/>
                </a:cubicBezTo>
                <a:close/>
                <a:moveTo>
                  <a:pt x="658" y="533"/>
                </a:moveTo>
                <a:cubicBezTo>
                  <a:pt x="658" y="531"/>
                  <a:pt x="658" y="531"/>
                  <a:pt x="658" y="531"/>
                </a:cubicBezTo>
                <a:cubicBezTo>
                  <a:pt x="657" y="530"/>
                  <a:pt x="657" y="530"/>
                  <a:pt x="657" y="530"/>
                </a:cubicBezTo>
                <a:cubicBezTo>
                  <a:pt x="655" y="529"/>
                  <a:pt x="655" y="529"/>
                  <a:pt x="655" y="529"/>
                </a:cubicBezTo>
                <a:cubicBezTo>
                  <a:pt x="655" y="527"/>
                  <a:pt x="655" y="527"/>
                  <a:pt x="655" y="527"/>
                </a:cubicBezTo>
                <a:cubicBezTo>
                  <a:pt x="655" y="525"/>
                  <a:pt x="655" y="525"/>
                  <a:pt x="655" y="525"/>
                </a:cubicBezTo>
                <a:cubicBezTo>
                  <a:pt x="653" y="524"/>
                  <a:pt x="653" y="524"/>
                  <a:pt x="653" y="524"/>
                </a:cubicBezTo>
                <a:cubicBezTo>
                  <a:pt x="653" y="520"/>
                  <a:pt x="653" y="520"/>
                  <a:pt x="653" y="520"/>
                </a:cubicBezTo>
                <a:cubicBezTo>
                  <a:pt x="654" y="520"/>
                  <a:pt x="654" y="520"/>
                  <a:pt x="654" y="520"/>
                </a:cubicBezTo>
                <a:cubicBezTo>
                  <a:pt x="655" y="522"/>
                  <a:pt x="655" y="522"/>
                  <a:pt x="655" y="522"/>
                </a:cubicBezTo>
                <a:cubicBezTo>
                  <a:pt x="657" y="523"/>
                  <a:pt x="657" y="523"/>
                  <a:pt x="657" y="523"/>
                </a:cubicBezTo>
                <a:cubicBezTo>
                  <a:pt x="657" y="524"/>
                  <a:pt x="657" y="524"/>
                  <a:pt x="657" y="524"/>
                </a:cubicBezTo>
                <a:cubicBezTo>
                  <a:pt x="659" y="526"/>
                  <a:pt x="659" y="526"/>
                  <a:pt x="659" y="526"/>
                </a:cubicBezTo>
                <a:cubicBezTo>
                  <a:pt x="659" y="529"/>
                  <a:pt x="659" y="529"/>
                  <a:pt x="659" y="529"/>
                </a:cubicBezTo>
                <a:cubicBezTo>
                  <a:pt x="661" y="530"/>
                  <a:pt x="661" y="530"/>
                  <a:pt x="661" y="530"/>
                </a:cubicBezTo>
                <a:cubicBezTo>
                  <a:pt x="663" y="530"/>
                  <a:pt x="663" y="530"/>
                  <a:pt x="663" y="530"/>
                </a:cubicBezTo>
                <a:cubicBezTo>
                  <a:pt x="663" y="533"/>
                  <a:pt x="663" y="533"/>
                  <a:pt x="663" y="533"/>
                </a:cubicBezTo>
                <a:cubicBezTo>
                  <a:pt x="660" y="532"/>
                  <a:pt x="660" y="532"/>
                  <a:pt x="660" y="532"/>
                </a:cubicBezTo>
                <a:cubicBezTo>
                  <a:pt x="658" y="533"/>
                  <a:pt x="658" y="533"/>
                  <a:pt x="658" y="533"/>
                </a:cubicBezTo>
                <a:close/>
                <a:moveTo>
                  <a:pt x="644" y="532"/>
                </a:moveTo>
                <a:cubicBezTo>
                  <a:pt x="645" y="530"/>
                  <a:pt x="645" y="530"/>
                  <a:pt x="645" y="530"/>
                </a:cubicBezTo>
                <a:cubicBezTo>
                  <a:pt x="644" y="529"/>
                  <a:pt x="644" y="529"/>
                  <a:pt x="644" y="529"/>
                </a:cubicBezTo>
                <a:cubicBezTo>
                  <a:pt x="644" y="527"/>
                  <a:pt x="644" y="527"/>
                  <a:pt x="644" y="527"/>
                </a:cubicBezTo>
                <a:cubicBezTo>
                  <a:pt x="644" y="524"/>
                  <a:pt x="644" y="524"/>
                  <a:pt x="644" y="524"/>
                </a:cubicBezTo>
                <a:cubicBezTo>
                  <a:pt x="645" y="522"/>
                  <a:pt x="645" y="522"/>
                  <a:pt x="645" y="522"/>
                </a:cubicBezTo>
                <a:cubicBezTo>
                  <a:pt x="647" y="522"/>
                  <a:pt x="647" y="522"/>
                  <a:pt x="647" y="522"/>
                </a:cubicBezTo>
                <a:cubicBezTo>
                  <a:pt x="647" y="524"/>
                  <a:pt x="647" y="524"/>
                  <a:pt x="647" y="524"/>
                </a:cubicBezTo>
                <a:cubicBezTo>
                  <a:pt x="646" y="524"/>
                  <a:pt x="646" y="524"/>
                  <a:pt x="646" y="524"/>
                </a:cubicBezTo>
                <a:cubicBezTo>
                  <a:pt x="646" y="526"/>
                  <a:pt x="646" y="526"/>
                  <a:pt x="646" y="526"/>
                </a:cubicBezTo>
                <a:cubicBezTo>
                  <a:pt x="647" y="528"/>
                  <a:pt x="647" y="528"/>
                  <a:pt x="647" y="528"/>
                </a:cubicBezTo>
                <a:cubicBezTo>
                  <a:pt x="646" y="532"/>
                  <a:pt x="646" y="532"/>
                  <a:pt x="646" y="532"/>
                </a:cubicBezTo>
                <a:cubicBezTo>
                  <a:pt x="644" y="532"/>
                  <a:pt x="644" y="532"/>
                  <a:pt x="644" y="532"/>
                </a:cubicBezTo>
                <a:close/>
                <a:moveTo>
                  <a:pt x="643" y="474"/>
                </a:moveTo>
                <a:cubicBezTo>
                  <a:pt x="643" y="476"/>
                  <a:pt x="643" y="476"/>
                  <a:pt x="643" y="476"/>
                </a:cubicBezTo>
                <a:cubicBezTo>
                  <a:pt x="644" y="477"/>
                  <a:pt x="644" y="477"/>
                  <a:pt x="644" y="477"/>
                </a:cubicBezTo>
                <a:cubicBezTo>
                  <a:pt x="646" y="477"/>
                  <a:pt x="646" y="477"/>
                  <a:pt x="646" y="477"/>
                </a:cubicBezTo>
                <a:cubicBezTo>
                  <a:pt x="648" y="475"/>
                  <a:pt x="648" y="475"/>
                  <a:pt x="648" y="475"/>
                </a:cubicBezTo>
                <a:cubicBezTo>
                  <a:pt x="647" y="475"/>
                  <a:pt x="647" y="475"/>
                  <a:pt x="647" y="475"/>
                </a:cubicBezTo>
                <a:cubicBezTo>
                  <a:pt x="645" y="474"/>
                  <a:pt x="645" y="474"/>
                  <a:pt x="645" y="474"/>
                </a:cubicBezTo>
                <a:cubicBezTo>
                  <a:pt x="643" y="474"/>
                  <a:pt x="643" y="474"/>
                  <a:pt x="643" y="474"/>
                </a:cubicBezTo>
                <a:close/>
                <a:moveTo>
                  <a:pt x="644" y="473"/>
                </a:moveTo>
                <a:cubicBezTo>
                  <a:pt x="645" y="471"/>
                  <a:pt x="645" y="471"/>
                  <a:pt x="645" y="471"/>
                </a:cubicBezTo>
                <a:cubicBezTo>
                  <a:pt x="645" y="469"/>
                  <a:pt x="645" y="469"/>
                  <a:pt x="645" y="469"/>
                </a:cubicBezTo>
                <a:cubicBezTo>
                  <a:pt x="648" y="466"/>
                  <a:pt x="648" y="466"/>
                  <a:pt x="648" y="466"/>
                </a:cubicBezTo>
                <a:cubicBezTo>
                  <a:pt x="649" y="465"/>
                  <a:pt x="649" y="465"/>
                  <a:pt x="649" y="465"/>
                </a:cubicBezTo>
                <a:cubicBezTo>
                  <a:pt x="650" y="466"/>
                  <a:pt x="650" y="466"/>
                  <a:pt x="650" y="466"/>
                </a:cubicBezTo>
                <a:cubicBezTo>
                  <a:pt x="650" y="468"/>
                  <a:pt x="650" y="468"/>
                  <a:pt x="650" y="468"/>
                </a:cubicBezTo>
                <a:cubicBezTo>
                  <a:pt x="649" y="470"/>
                  <a:pt x="649" y="470"/>
                  <a:pt x="649" y="470"/>
                </a:cubicBezTo>
                <a:cubicBezTo>
                  <a:pt x="649" y="473"/>
                  <a:pt x="649" y="473"/>
                  <a:pt x="649" y="473"/>
                </a:cubicBezTo>
                <a:cubicBezTo>
                  <a:pt x="647" y="473"/>
                  <a:pt x="647" y="473"/>
                  <a:pt x="647" y="473"/>
                </a:cubicBezTo>
                <a:cubicBezTo>
                  <a:pt x="644" y="473"/>
                  <a:pt x="644" y="473"/>
                  <a:pt x="644" y="473"/>
                </a:cubicBezTo>
                <a:close/>
                <a:moveTo>
                  <a:pt x="526" y="449"/>
                </a:moveTo>
                <a:cubicBezTo>
                  <a:pt x="528" y="448"/>
                  <a:pt x="528" y="448"/>
                  <a:pt x="528" y="448"/>
                </a:cubicBezTo>
                <a:cubicBezTo>
                  <a:pt x="528" y="446"/>
                  <a:pt x="528" y="446"/>
                  <a:pt x="528" y="446"/>
                </a:cubicBezTo>
                <a:cubicBezTo>
                  <a:pt x="526" y="446"/>
                  <a:pt x="526" y="446"/>
                  <a:pt x="526" y="446"/>
                </a:cubicBezTo>
                <a:cubicBezTo>
                  <a:pt x="526" y="448"/>
                  <a:pt x="526" y="448"/>
                  <a:pt x="526" y="448"/>
                </a:cubicBezTo>
                <a:cubicBezTo>
                  <a:pt x="526" y="449"/>
                  <a:pt x="526" y="449"/>
                  <a:pt x="526" y="449"/>
                </a:cubicBezTo>
                <a:close/>
                <a:moveTo>
                  <a:pt x="427" y="421"/>
                </a:moveTo>
                <a:cubicBezTo>
                  <a:pt x="428" y="420"/>
                  <a:pt x="428" y="420"/>
                  <a:pt x="428" y="420"/>
                </a:cubicBezTo>
                <a:cubicBezTo>
                  <a:pt x="430" y="420"/>
                  <a:pt x="430" y="420"/>
                  <a:pt x="430" y="420"/>
                </a:cubicBezTo>
                <a:cubicBezTo>
                  <a:pt x="428" y="421"/>
                  <a:pt x="428" y="421"/>
                  <a:pt x="428" y="421"/>
                </a:cubicBezTo>
                <a:cubicBezTo>
                  <a:pt x="428" y="421"/>
                  <a:pt x="426" y="421"/>
                  <a:pt x="427" y="421"/>
                </a:cubicBezTo>
                <a:close/>
                <a:moveTo>
                  <a:pt x="419" y="425"/>
                </a:moveTo>
                <a:cubicBezTo>
                  <a:pt x="421" y="425"/>
                  <a:pt x="421" y="425"/>
                  <a:pt x="421" y="425"/>
                </a:cubicBezTo>
                <a:cubicBezTo>
                  <a:pt x="421" y="424"/>
                  <a:pt x="421" y="424"/>
                  <a:pt x="421" y="424"/>
                </a:cubicBezTo>
                <a:cubicBezTo>
                  <a:pt x="419" y="423"/>
                  <a:pt x="419" y="423"/>
                  <a:pt x="419" y="423"/>
                </a:cubicBezTo>
                <a:cubicBezTo>
                  <a:pt x="419" y="425"/>
                  <a:pt x="419" y="425"/>
                  <a:pt x="419" y="425"/>
                </a:cubicBezTo>
                <a:close/>
                <a:moveTo>
                  <a:pt x="422" y="433"/>
                </a:moveTo>
                <a:cubicBezTo>
                  <a:pt x="422" y="432"/>
                  <a:pt x="422" y="432"/>
                  <a:pt x="422" y="432"/>
                </a:cubicBezTo>
                <a:cubicBezTo>
                  <a:pt x="422" y="431"/>
                  <a:pt x="422" y="431"/>
                  <a:pt x="422" y="431"/>
                </a:cubicBezTo>
                <a:cubicBezTo>
                  <a:pt x="423" y="433"/>
                  <a:pt x="423" y="433"/>
                  <a:pt x="423" y="433"/>
                </a:cubicBezTo>
                <a:cubicBezTo>
                  <a:pt x="422" y="433"/>
                  <a:pt x="422" y="433"/>
                  <a:pt x="422" y="433"/>
                </a:cubicBezTo>
                <a:close/>
                <a:moveTo>
                  <a:pt x="422" y="434"/>
                </a:moveTo>
                <a:cubicBezTo>
                  <a:pt x="421" y="431"/>
                  <a:pt x="421" y="431"/>
                  <a:pt x="421" y="431"/>
                </a:cubicBezTo>
                <a:cubicBezTo>
                  <a:pt x="420" y="432"/>
                  <a:pt x="420" y="432"/>
                  <a:pt x="420" y="432"/>
                </a:cubicBezTo>
                <a:cubicBezTo>
                  <a:pt x="421" y="434"/>
                  <a:pt x="421" y="434"/>
                  <a:pt x="421" y="434"/>
                </a:cubicBezTo>
                <a:cubicBezTo>
                  <a:pt x="422" y="434"/>
                  <a:pt x="422" y="434"/>
                  <a:pt x="422" y="434"/>
                </a:cubicBezTo>
                <a:close/>
                <a:moveTo>
                  <a:pt x="426" y="440"/>
                </a:moveTo>
                <a:cubicBezTo>
                  <a:pt x="427" y="443"/>
                  <a:pt x="427" y="443"/>
                  <a:pt x="427" y="443"/>
                </a:cubicBezTo>
                <a:cubicBezTo>
                  <a:pt x="428" y="443"/>
                  <a:pt x="428" y="443"/>
                  <a:pt x="428" y="443"/>
                </a:cubicBezTo>
                <a:cubicBezTo>
                  <a:pt x="430" y="441"/>
                  <a:pt x="430" y="441"/>
                  <a:pt x="430" y="441"/>
                </a:cubicBezTo>
                <a:cubicBezTo>
                  <a:pt x="429" y="440"/>
                  <a:pt x="429" y="440"/>
                  <a:pt x="429" y="440"/>
                </a:cubicBezTo>
                <a:cubicBezTo>
                  <a:pt x="430" y="439"/>
                  <a:pt x="430" y="439"/>
                  <a:pt x="430" y="439"/>
                </a:cubicBezTo>
                <a:cubicBezTo>
                  <a:pt x="429" y="439"/>
                  <a:pt x="429" y="439"/>
                  <a:pt x="429" y="439"/>
                </a:cubicBezTo>
                <a:cubicBezTo>
                  <a:pt x="428" y="440"/>
                  <a:pt x="428" y="440"/>
                  <a:pt x="428" y="440"/>
                </a:cubicBezTo>
                <a:cubicBezTo>
                  <a:pt x="427" y="440"/>
                  <a:pt x="427" y="440"/>
                  <a:pt x="427" y="440"/>
                </a:cubicBezTo>
                <a:cubicBezTo>
                  <a:pt x="426" y="440"/>
                  <a:pt x="426" y="440"/>
                  <a:pt x="426" y="440"/>
                </a:cubicBezTo>
                <a:close/>
                <a:moveTo>
                  <a:pt x="423" y="455"/>
                </a:moveTo>
                <a:cubicBezTo>
                  <a:pt x="422" y="451"/>
                  <a:pt x="422" y="451"/>
                  <a:pt x="422" y="451"/>
                </a:cubicBezTo>
                <a:cubicBezTo>
                  <a:pt x="423" y="450"/>
                  <a:pt x="423" y="450"/>
                  <a:pt x="423" y="450"/>
                </a:cubicBezTo>
                <a:cubicBezTo>
                  <a:pt x="423" y="448"/>
                  <a:pt x="423" y="448"/>
                  <a:pt x="423" y="448"/>
                </a:cubicBezTo>
                <a:cubicBezTo>
                  <a:pt x="425" y="445"/>
                  <a:pt x="425" y="445"/>
                  <a:pt x="425" y="445"/>
                </a:cubicBezTo>
                <a:cubicBezTo>
                  <a:pt x="426" y="446"/>
                  <a:pt x="426" y="446"/>
                  <a:pt x="426" y="446"/>
                </a:cubicBezTo>
                <a:cubicBezTo>
                  <a:pt x="425" y="448"/>
                  <a:pt x="425" y="448"/>
                  <a:pt x="425" y="448"/>
                </a:cubicBezTo>
                <a:cubicBezTo>
                  <a:pt x="426" y="449"/>
                  <a:pt x="426" y="449"/>
                  <a:pt x="426" y="449"/>
                </a:cubicBezTo>
                <a:cubicBezTo>
                  <a:pt x="425" y="450"/>
                  <a:pt x="425" y="450"/>
                  <a:pt x="425" y="450"/>
                </a:cubicBezTo>
                <a:cubicBezTo>
                  <a:pt x="426" y="452"/>
                  <a:pt x="426" y="452"/>
                  <a:pt x="426" y="452"/>
                </a:cubicBezTo>
                <a:cubicBezTo>
                  <a:pt x="424" y="453"/>
                  <a:pt x="424" y="453"/>
                  <a:pt x="424" y="453"/>
                </a:cubicBezTo>
                <a:cubicBezTo>
                  <a:pt x="424" y="454"/>
                  <a:pt x="424" y="454"/>
                  <a:pt x="424" y="454"/>
                </a:cubicBezTo>
                <a:cubicBezTo>
                  <a:pt x="423" y="455"/>
                  <a:pt x="423" y="455"/>
                  <a:pt x="423" y="455"/>
                </a:cubicBezTo>
                <a:close/>
                <a:moveTo>
                  <a:pt x="513" y="399"/>
                </a:moveTo>
                <a:cubicBezTo>
                  <a:pt x="513" y="398"/>
                  <a:pt x="513" y="398"/>
                  <a:pt x="513" y="398"/>
                </a:cubicBezTo>
                <a:cubicBezTo>
                  <a:pt x="514" y="397"/>
                  <a:pt x="514" y="397"/>
                  <a:pt x="514" y="397"/>
                </a:cubicBezTo>
                <a:cubicBezTo>
                  <a:pt x="515" y="398"/>
                  <a:pt x="515" y="398"/>
                  <a:pt x="515" y="398"/>
                </a:cubicBezTo>
                <a:cubicBezTo>
                  <a:pt x="514" y="399"/>
                  <a:pt x="514" y="399"/>
                  <a:pt x="514" y="399"/>
                </a:cubicBezTo>
                <a:cubicBezTo>
                  <a:pt x="513" y="399"/>
                  <a:pt x="513" y="399"/>
                  <a:pt x="513" y="399"/>
                </a:cubicBezTo>
                <a:close/>
                <a:moveTo>
                  <a:pt x="544" y="381"/>
                </a:moveTo>
                <a:cubicBezTo>
                  <a:pt x="543" y="378"/>
                  <a:pt x="543" y="378"/>
                  <a:pt x="543" y="378"/>
                </a:cubicBezTo>
                <a:cubicBezTo>
                  <a:pt x="542" y="377"/>
                  <a:pt x="542" y="377"/>
                  <a:pt x="542" y="377"/>
                </a:cubicBezTo>
                <a:cubicBezTo>
                  <a:pt x="543" y="374"/>
                  <a:pt x="543" y="374"/>
                  <a:pt x="543" y="374"/>
                </a:cubicBezTo>
                <a:cubicBezTo>
                  <a:pt x="544" y="373"/>
                  <a:pt x="544" y="373"/>
                  <a:pt x="544" y="373"/>
                </a:cubicBezTo>
                <a:cubicBezTo>
                  <a:pt x="545" y="374"/>
                  <a:pt x="545" y="374"/>
                  <a:pt x="545" y="374"/>
                </a:cubicBezTo>
                <a:cubicBezTo>
                  <a:pt x="545" y="375"/>
                  <a:pt x="545" y="375"/>
                  <a:pt x="545" y="375"/>
                </a:cubicBezTo>
                <a:cubicBezTo>
                  <a:pt x="546" y="377"/>
                  <a:pt x="546" y="377"/>
                  <a:pt x="546" y="377"/>
                </a:cubicBezTo>
                <a:cubicBezTo>
                  <a:pt x="545" y="378"/>
                  <a:pt x="545" y="378"/>
                  <a:pt x="545" y="378"/>
                </a:cubicBezTo>
                <a:cubicBezTo>
                  <a:pt x="545" y="381"/>
                  <a:pt x="545" y="381"/>
                  <a:pt x="545" y="381"/>
                </a:cubicBezTo>
                <a:cubicBezTo>
                  <a:pt x="544" y="381"/>
                  <a:pt x="544" y="381"/>
                  <a:pt x="544" y="381"/>
                </a:cubicBezTo>
                <a:close/>
                <a:moveTo>
                  <a:pt x="510" y="417"/>
                </a:moveTo>
                <a:cubicBezTo>
                  <a:pt x="510" y="417"/>
                  <a:pt x="510" y="417"/>
                  <a:pt x="510" y="417"/>
                </a:cubicBezTo>
                <a:cubicBezTo>
                  <a:pt x="509" y="415"/>
                  <a:pt x="509" y="415"/>
                  <a:pt x="509" y="415"/>
                </a:cubicBezTo>
                <a:cubicBezTo>
                  <a:pt x="511" y="413"/>
                  <a:pt x="511" y="413"/>
                  <a:pt x="511" y="413"/>
                </a:cubicBezTo>
                <a:cubicBezTo>
                  <a:pt x="511" y="412"/>
                  <a:pt x="511" y="412"/>
                  <a:pt x="511" y="412"/>
                </a:cubicBezTo>
                <a:cubicBezTo>
                  <a:pt x="512" y="411"/>
                  <a:pt x="512" y="411"/>
                  <a:pt x="512" y="411"/>
                </a:cubicBezTo>
                <a:cubicBezTo>
                  <a:pt x="512" y="409"/>
                  <a:pt x="512" y="409"/>
                  <a:pt x="512" y="409"/>
                </a:cubicBezTo>
                <a:cubicBezTo>
                  <a:pt x="510" y="409"/>
                  <a:pt x="510" y="409"/>
                  <a:pt x="510" y="409"/>
                </a:cubicBezTo>
                <a:cubicBezTo>
                  <a:pt x="510" y="408"/>
                  <a:pt x="510" y="408"/>
                  <a:pt x="510" y="408"/>
                </a:cubicBezTo>
                <a:cubicBezTo>
                  <a:pt x="510" y="406"/>
                  <a:pt x="510" y="406"/>
                  <a:pt x="510" y="406"/>
                </a:cubicBezTo>
                <a:cubicBezTo>
                  <a:pt x="512" y="405"/>
                  <a:pt x="512" y="405"/>
                  <a:pt x="512" y="405"/>
                </a:cubicBezTo>
                <a:cubicBezTo>
                  <a:pt x="513" y="403"/>
                  <a:pt x="513" y="403"/>
                  <a:pt x="513" y="403"/>
                </a:cubicBezTo>
                <a:cubicBezTo>
                  <a:pt x="510" y="402"/>
                  <a:pt x="510" y="402"/>
                  <a:pt x="510" y="402"/>
                </a:cubicBezTo>
                <a:cubicBezTo>
                  <a:pt x="509" y="402"/>
                  <a:pt x="509" y="402"/>
                  <a:pt x="509" y="402"/>
                </a:cubicBezTo>
                <a:cubicBezTo>
                  <a:pt x="508" y="404"/>
                  <a:pt x="508" y="404"/>
                  <a:pt x="508" y="404"/>
                </a:cubicBezTo>
                <a:cubicBezTo>
                  <a:pt x="507" y="405"/>
                  <a:pt x="507" y="405"/>
                  <a:pt x="507" y="405"/>
                </a:cubicBezTo>
                <a:cubicBezTo>
                  <a:pt x="506" y="404"/>
                  <a:pt x="506" y="404"/>
                  <a:pt x="506" y="404"/>
                </a:cubicBezTo>
                <a:cubicBezTo>
                  <a:pt x="503" y="404"/>
                  <a:pt x="503" y="404"/>
                  <a:pt x="503" y="404"/>
                </a:cubicBezTo>
                <a:cubicBezTo>
                  <a:pt x="500" y="407"/>
                  <a:pt x="500" y="407"/>
                  <a:pt x="500" y="407"/>
                </a:cubicBezTo>
                <a:cubicBezTo>
                  <a:pt x="498" y="408"/>
                  <a:pt x="498" y="408"/>
                  <a:pt x="498" y="408"/>
                </a:cubicBezTo>
                <a:cubicBezTo>
                  <a:pt x="498" y="407"/>
                  <a:pt x="498" y="407"/>
                  <a:pt x="498" y="407"/>
                </a:cubicBezTo>
                <a:cubicBezTo>
                  <a:pt x="501" y="406"/>
                  <a:pt x="501" y="406"/>
                  <a:pt x="501" y="406"/>
                </a:cubicBezTo>
                <a:cubicBezTo>
                  <a:pt x="502" y="404"/>
                  <a:pt x="502" y="404"/>
                  <a:pt x="502" y="404"/>
                </a:cubicBezTo>
                <a:cubicBezTo>
                  <a:pt x="502" y="401"/>
                  <a:pt x="502" y="401"/>
                  <a:pt x="502" y="401"/>
                </a:cubicBezTo>
                <a:cubicBezTo>
                  <a:pt x="501" y="403"/>
                  <a:pt x="501" y="403"/>
                  <a:pt x="501" y="403"/>
                </a:cubicBezTo>
                <a:cubicBezTo>
                  <a:pt x="500" y="402"/>
                  <a:pt x="500" y="402"/>
                  <a:pt x="500" y="402"/>
                </a:cubicBezTo>
                <a:cubicBezTo>
                  <a:pt x="500" y="400"/>
                  <a:pt x="500" y="400"/>
                  <a:pt x="500" y="400"/>
                </a:cubicBezTo>
                <a:cubicBezTo>
                  <a:pt x="502" y="399"/>
                  <a:pt x="502" y="399"/>
                  <a:pt x="502" y="399"/>
                </a:cubicBezTo>
                <a:cubicBezTo>
                  <a:pt x="500" y="396"/>
                  <a:pt x="500" y="396"/>
                  <a:pt x="500" y="396"/>
                </a:cubicBezTo>
                <a:cubicBezTo>
                  <a:pt x="502" y="394"/>
                  <a:pt x="502" y="394"/>
                  <a:pt x="502" y="394"/>
                </a:cubicBezTo>
                <a:cubicBezTo>
                  <a:pt x="503" y="394"/>
                  <a:pt x="503" y="394"/>
                  <a:pt x="503" y="394"/>
                </a:cubicBezTo>
                <a:cubicBezTo>
                  <a:pt x="503" y="395"/>
                  <a:pt x="503" y="395"/>
                  <a:pt x="503" y="395"/>
                </a:cubicBezTo>
                <a:cubicBezTo>
                  <a:pt x="504" y="399"/>
                  <a:pt x="504" y="399"/>
                  <a:pt x="504" y="399"/>
                </a:cubicBezTo>
                <a:cubicBezTo>
                  <a:pt x="506" y="400"/>
                  <a:pt x="506" y="400"/>
                  <a:pt x="506" y="400"/>
                </a:cubicBezTo>
                <a:cubicBezTo>
                  <a:pt x="507" y="400"/>
                  <a:pt x="507" y="400"/>
                  <a:pt x="507" y="400"/>
                </a:cubicBezTo>
                <a:cubicBezTo>
                  <a:pt x="509" y="400"/>
                  <a:pt x="509" y="400"/>
                  <a:pt x="509" y="400"/>
                </a:cubicBezTo>
                <a:cubicBezTo>
                  <a:pt x="510" y="397"/>
                  <a:pt x="510" y="397"/>
                  <a:pt x="510" y="397"/>
                </a:cubicBezTo>
                <a:cubicBezTo>
                  <a:pt x="509" y="396"/>
                  <a:pt x="509" y="396"/>
                  <a:pt x="509" y="396"/>
                </a:cubicBezTo>
                <a:cubicBezTo>
                  <a:pt x="509" y="395"/>
                  <a:pt x="509" y="395"/>
                  <a:pt x="509" y="395"/>
                </a:cubicBezTo>
                <a:cubicBezTo>
                  <a:pt x="511" y="395"/>
                  <a:pt x="511" y="395"/>
                  <a:pt x="511" y="395"/>
                </a:cubicBezTo>
                <a:cubicBezTo>
                  <a:pt x="512" y="396"/>
                  <a:pt x="512" y="396"/>
                  <a:pt x="512" y="396"/>
                </a:cubicBezTo>
                <a:cubicBezTo>
                  <a:pt x="513" y="395"/>
                  <a:pt x="513" y="395"/>
                  <a:pt x="513" y="395"/>
                </a:cubicBezTo>
                <a:cubicBezTo>
                  <a:pt x="515" y="393"/>
                  <a:pt x="515" y="393"/>
                  <a:pt x="515" y="393"/>
                </a:cubicBezTo>
                <a:cubicBezTo>
                  <a:pt x="515" y="391"/>
                  <a:pt x="515" y="391"/>
                  <a:pt x="515" y="391"/>
                </a:cubicBezTo>
                <a:cubicBezTo>
                  <a:pt x="516" y="393"/>
                  <a:pt x="516" y="393"/>
                  <a:pt x="516" y="393"/>
                </a:cubicBezTo>
                <a:cubicBezTo>
                  <a:pt x="517" y="393"/>
                  <a:pt x="517" y="393"/>
                  <a:pt x="517" y="393"/>
                </a:cubicBezTo>
                <a:cubicBezTo>
                  <a:pt x="519" y="391"/>
                  <a:pt x="519" y="391"/>
                  <a:pt x="519" y="391"/>
                </a:cubicBezTo>
                <a:cubicBezTo>
                  <a:pt x="517" y="395"/>
                  <a:pt x="517" y="395"/>
                  <a:pt x="517" y="395"/>
                </a:cubicBezTo>
                <a:cubicBezTo>
                  <a:pt x="517" y="398"/>
                  <a:pt x="517" y="398"/>
                  <a:pt x="517" y="398"/>
                </a:cubicBezTo>
                <a:cubicBezTo>
                  <a:pt x="518" y="398"/>
                  <a:pt x="518" y="398"/>
                  <a:pt x="518" y="398"/>
                </a:cubicBezTo>
                <a:cubicBezTo>
                  <a:pt x="519" y="398"/>
                  <a:pt x="519" y="398"/>
                  <a:pt x="519" y="398"/>
                </a:cubicBezTo>
                <a:cubicBezTo>
                  <a:pt x="518" y="400"/>
                  <a:pt x="518" y="400"/>
                  <a:pt x="518" y="400"/>
                </a:cubicBezTo>
                <a:cubicBezTo>
                  <a:pt x="520" y="400"/>
                  <a:pt x="520" y="400"/>
                  <a:pt x="520" y="400"/>
                </a:cubicBezTo>
                <a:cubicBezTo>
                  <a:pt x="521" y="398"/>
                  <a:pt x="521" y="398"/>
                  <a:pt x="521" y="398"/>
                </a:cubicBezTo>
                <a:cubicBezTo>
                  <a:pt x="522" y="397"/>
                  <a:pt x="522" y="397"/>
                  <a:pt x="522" y="397"/>
                </a:cubicBezTo>
                <a:cubicBezTo>
                  <a:pt x="524" y="393"/>
                  <a:pt x="524" y="393"/>
                  <a:pt x="524" y="393"/>
                </a:cubicBezTo>
                <a:cubicBezTo>
                  <a:pt x="525" y="392"/>
                  <a:pt x="525" y="392"/>
                  <a:pt x="525" y="392"/>
                </a:cubicBezTo>
                <a:cubicBezTo>
                  <a:pt x="525" y="395"/>
                  <a:pt x="525" y="395"/>
                  <a:pt x="525" y="395"/>
                </a:cubicBezTo>
                <a:cubicBezTo>
                  <a:pt x="523" y="397"/>
                  <a:pt x="523" y="397"/>
                  <a:pt x="523" y="397"/>
                </a:cubicBezTo>
                <a:cubicBezTo>
                  <a:pt x="523" y="401"/>
                  <a:pt x="523" y="401"/>
                  <a:pt x="523" y="401"/>
                </a:cubicBezTo>
                <a:cubicBezTo>
                  <a:pt x="525" y="401"/>
                  <a:pt x="525" y="401"/>
                  <a:pt x="525" y="401"/>
                </a:cubicBezTo>
                <a:cubicBezTo>
                  <a:pt x="527" y="402"/>
                  <a:pt x="527" y="402"/>
                  <a:pt x="527" y="402"/>
                </a:cubicBezTo>
                <a:cubicBezTo>
                  <a:pt x="528" y="400"/>
                  <a:pt x="528" y="400"/>
                  <a:pt x="528" y="400"/>
                </a:cubicBezTo>
                <a:cubicBezTo>
                  <a:pt x="530" y="398"/>
                  <a:pt x="530" y="398"/>
                  <a:pt x="530" y="398"/>
                </a:cubicBezTo>
                <a:cubicBezTo>
                  <a:pt x="531" y="395"/>
                  <a:pt x="531" y="395"/>
                  <a:pt x="531" y="395"/>
                </a:cubicBezTo>
                <a:cubicBezTo>
                  <a:pt x="532" y="392"/>
                  <a:pt x="532" y="392"/>
                  <a:pt x="532" y="392"/>
                </a:cubicBezTo>
                <a:cubicBezTo>
                  <a:pt x="532" y="389"/>
                  <a:pt x="532" y="389"/>
                  <a:pt x="532" y="389"/>
                </a:cubicBezTo>
                <a:cubicBezTo>
                  <a:pt x="533" y="388"/>
                  <a:pt x="533" y="388"/>
                  <a:pt x="533" y="388"/>
                </a:cubicBezTo>
                <a:cubicBezTo>
                  <a:pt x="532" y="387"/>
                  <a:pt x="532" y="387"/>
                  <a:pt x="532" y="387"/>
                </a:cubicBezTo>
                <a:cubicBezTo>
                  <a:pt x="531" y="387"/>
                  <a:pt x="531" y="387"/>
                  <a:pt x="531" y="387"/>
                </a:cubicBezTo>
                <a:cubicBezTo>
                  <a:pt x="530" y="387"/>
                  <a:pt x="530" y="387"/>
                  <a:pt x="530" y="387"/>
                </a:cubicBezTo>
                <a:cubicBezTo>
                  <a:pt x="528" y="388"/>
                  <a:pt x="528" y="388"/>
                  <a:pt x="528" y="388"/>
                </a:cubicBezTo>
                <a:cubicBezTo>
                  <a:pt x="528" y="385"/>
                  <a:pt x="528" y="385"/>
                  <a:pt x="528" y="385"/>
                </a:cubicBezTo>
                <a:cubicBezTo>
                  <a:pt x="529" y="384"/>
                  <a:pt x="529" y="384"/>
                  <a:pt x="529" y="384"/>
                </a:cubicBezTo>
                <a:cubicBezTo>
                  <a:pt x="529" y="383"/>
                  <a:pt x="529" y="383"/>
                  <a:pt x="529" y="383"/>
                </a:cubicBezTo>
                <a:cubicBezTo>
                  <a:pt x="526" y="383"/>
                  <a:pt x="526" y="383"/>
                  <a:pt x="526" y="383"/>
                </a:cubicBezTo>
                <a:cubicBezTo>
                  <a:pt x="526" y="382"/>
                  <a:pt x="526" y="382"/>
                  <a:pt x="526" y="382"/>
                </a:cubicBezTo>
                <a:cubicBezTo>
                  <a:pt x="524" y="381"/>
                  <a:pt x="524" y="381"/>
                  <a:pt x="524" y="381"/>
                </a:cubicBezTo>
                <a:cubicBezTo>
                  <a:pt x="524" y="379"/>
                  <a:pt x="524" y="379"/>
                  <a:pt x="524" y="379"/>
                </a:cubicBezTo>
                <a:cubicBezTo>
                  <a:pt x="522" y="375"/>
                  <a:pt x="522" y="375"/>
                  <a:pt x="522" y="375"/>
                </a:cubicBezTo>
                <a:cubicBezTo>
                  <a:pt x="522" y="372"/>
                  <a:pt x="522" y="372"/>
                  <a:pt x="522" y="372"/>
                </a:cubicBezTo>
                <a:cubicBezTo>
                  <a:pt x="523" y="369"/>
                  <a:pt x="523" y="369"/>
                  <a:pt x="523" y="369"/>
                </a:cubicBezTo>
                <a:cubicBezTo>
                  <a:pt x="522" y="366"/>
                  <a:pt x="522" y="366"/>
                  <a:pt x="522" y="366"/>
                </a:cubicBezTo>
                <a:cubicBezTo>
                  <a:pt x="520" y="369"/>
                  <a:pt x="520" y="369"/>
                  <a:pt x="520" y="369"/>
                </a:cubicBezTo>
                <a:cubicBezTo>
                  <a:pt x="520" y="371"/>
                  <a:pt x="520" y="371"/>
                  <a:pt x="520" y="371"/>
                </a:cubicBezTo>
                <a:cubicBezTo>
                  <a:pt x="519" y="369"/>
                  <a:pt x="519" y="369"/>
                  <a:pt x="519" y="369"/>
                </a:cubicBezTo>
                <a:cubicBezTo>
                  <a:pt x="516" y="367"/>
                  <a:pt x="516" y="367"/>
                  <a:pt x="516" y="367"/>
                </a:cubicBezTo>
                <a:cubicBezTo>
                  <a:pt x="515" y="362"/>
                  <a:pt x="515" y="362"/>
                  <a:pt x="515" y="362"/>
                </a:cubicBezTo>
                <a:cubicBezTo>
                  <a:pt x="514" y="361"/>
                  <a:pt x="514" y="361"/>
                  <a:pt x="514" y="361"/>
                </a:cubicBezTo>
                <a:cubicBezTo>
                  <a:pt x="513" y="357"/>
                  <a:pt x="513" y="357"/>
                  <a:pt x="513" y="357"/>
                </a:cubicBezTo>
                <a:cubicBezTo>
                  <a:pt x="512" y="355"/>
                  <a:pt x="512" y="355"/>
                  <a:pt x="512" y="355"/>
                </a:cubicBezTo>
                <a:cubicBezTo>
                  <a:pt x="512" y="353"/>
                  <a:pt x="512" y="353"/>
                  <a:pt x="512" y="353"/>
                </a:cubicBezTo>
                <a:cubicBezTo>
                  <a:pt x="511" y="351"/>
                  <a:pt x="511" y="351"/>
                  <a:pt x="511" y="351"/>
                </a:cubicBezTo>
                <a:cubicBezTo>
                  <a:pt x="511" y="349"/>
                  <a:pt x="511" y="349"/>
                  <a:pt x="511" y="349"/>
                </a:cubicBezTo>
                <a:cubicBezTo>
                  <a:pt x="513" y="349"/>
                  <a:pt x="513" y="349"/>
                  <a:pt x="513" y="349"/>
                </a:cubicBezTo>
                <a:cubicBezTo>
                  <a:pt x="514" y="347"/>
                  <a:pt x="514" y="347"/>
                  <a:pt x="514" y="347"/>
                </a:cubicBezTo>
                <a:cubicBezTo>
                  <a:pt x="516" y="347"/>
                  <a:pt x="516" y="347"/>
                  <a:pt x="516" y="347"/>
                </a:cubicBezTo>
                <a:cubicBezTo>
                  <a:pt x="516" y="347"/>
                  <a:pt x="516" y="347"/>
                  <a:pt x="516" y="347"/>
                </a:cubicBezTo>
                <a:cubicBezTo>
                  <a:pt x="518" y="346"/>
                  <a:pt x="518" y="346"/>
                  <a:pt x="518" y="346"/>
                </a:cubicBezTo>
                <a:cubicBezTo>
                  <a:pt x="518" y="344"/>
                  <a:pt x="518" y="344"/>
                  <a:pt x="518" y="344"/>
                </a:cubicBezTo>
                <a:cubicBezTo>
                  <a:pt x="520" y="339"/>
                  <a:pt x="520" y="339"/>
                  <a:pt x="520" y="339"/>
                </a:cubicBezTo>
                <a:cubicBezTo>
                  <a:pt x="520" y="336"/>
                  <a:pt x="520" y="336"/>
                  <a:pt x="520" y="336"/>
                </a:cubicBezTo>
                <a:cubicBezTo>
                  <a:pt x="520" y="335"/>
                  <a:pt x="520" y="335"/>
                  <a:pt x="520" y="335"/>
                </a:cubicBezTo>
                <a:cubicBezTo>
                  <a:pt x="519" y="331"/>
                  <a:pt x="519" y="331"/>
                  <a:pt x="519" y="331"/>
                </a:cubicBezTo>
                <a:cubicBezTo>
                  <a:pt x="520" y="328"/>
                  <a:pt x="520" y="328"/>
                  <a:pt x="520" y="328"/>
                </a:cubicBezTo>
                <a:cubicBezTo>
                  <a:pt x="521" y="328"/>
                  <a:pt x="521" y="328"/>
                  <a:pt x="521" y="328"/>
                </a:cubicBezTo>
                <a:cubicBezTo>
                  <a:pt x="521" y="324"/>
                  <a:pt x="521" y="324"/>
                  <a:pt x="521" y="324"/>
                </a:cubicBezTo>
                <a:cubicBezTo>
                  <a:pt x="524" y="321"/>
                  <a:pt x="524" y="321"/>
                  <a:pt x="524" y="321"/>
                </a:cubicBezTo>
                <a:cubicBezTo>
                  <a:pt x="524" y="319"/>
                  <a:pt x="524" y="319"/>
                  <a:pt x="524" y="319"/>
                </a:cubicBezTo>
                <a:cubicBezTo>
                  <a:pt x="525" y="317"/>
                  <a:pt x="525" y="317"/>
                  <a:pt x="525" y="317"/>
                </a:cubicBezTo>
                <a:cubicBezTo>
                  <a:pt x="525" y="313"/>
                  <a:pt x="525" y="313"/>
                  <a:pt x="525" y="313"/>
                </a:cubicBezTo>
                <a:cubicBezTo>
                  <a:pt x="527" y="312"/>
                  <a:pt x="527" y="312"/>
                  <a:pt x="527" y="312"/>
                </a:cubicBezTo>
                <a:cubicBezTo>
                  <a:pt x="527" y="310"/>
                  <a:pt x="527" y="310"/>
                  <a:pt x="527" y="310"/>
                </a:cubicBezTo>
                <a:cubicBezTo>
                  <a:pt x="529" y="307"/>
                  <a:pt x="529" y="307"/>
                  <a:pt x="529" y="307"/>
                </a:cubicBezTo>
                <a:cubicBezTo>
                  <a:pt x="529" y="304"/>
                  <a:pt x="529" y="304"/>
                  <a:pt x="529" y="304"/>
                </a:cubicBezTo>
                <a:cubicBezTo>
                  <a:pt x="529" y="303"/>
                  <a:pt x="529" y="303"/>
                  <a:pt x="529" y="303"/>
                </a:cubicBezTo>
                <a:cubicBezTo>
                  <a:pt x="531" y="302"/>
                  <a:pt x="531" y="302"/>
                  <a:pt x="531" y="302"/>
                </a:cubicBezTo>
                <a:cubicBezTo>
                  <a:pt x="531" y="300"/>
                  <a:pt x="531" y="300"/>
                  <a:pt x="531" y="300"/>
                </a:cubicBezTo>
                <a:cubicBezTo>
                  <a:pt x="530" y="297"/>
                  <a:pt x="530" y="297"/>
                  <a:pt x="530" y="297"/>
                </a:cubicBezTo>
                <a:cubicBezTo>
                  <a:pt x="530" y="296"/>
                  <a:pt x="530" y="296"/>
                  <a:pt x="530" y="296"/>
                </a:cubicBezTo>
                <a:cubicBezTo>
                  <a:pt x="530" y="294"/>
                  <a:pt x="530" y="294"/>
                  <a:pt x="530" y="294"/>
                </a:cubicBezTo>
                <a:cubicBezTo>
                  <a:pt x="528" y="293"/>
                  <a:pt x="528" y="293"/>
                  <a:pt x="528" y="293"/>
                </a:cubicBezTo>
                <a:cubicBezTo>
                  <a:pt x="527" y="289"/>
                  <a:pt x="527" y="289"/>
                  <a:pt x="527" y="289"/>
                </a:cubicBezTo>
                <a:cubicBezTo>
                  <a:pt x="528" y="288"/>
                  <a:pt x="528" y="288"/>
                  <a:pt x="528" y="288"/>
                </a:cubicBezTo>
                <a:cubicBezTo>
                  <a:pt x="526" y="284"/>
                  <a:pt x="526" y="284"/>
                  <a:pt x="526" y="284"/>
                </a:cubicBezTo>
                <a:cubicBezTo>
                  <a:pt x="524" y="283"/>
                  <a:pt x="524" y="283"/>
                  <a:pt x="524" y="283"/>
                </a:cubicBezTo>
                <a:cubicBezTo>
                  <a:pt x="523" y="282"/>
                  <a:pt x="523" y="282"/>
                  <a:pt x="523" y="282"/>
                </a:cubicBezTo>
                <a:cubicBezTo>
                  <a:pt x="522" y="283"/>
                  <a:pt x="522" y="283"/>
                  <a:pt x="522" y="283"/>
                </a:cubicBezTo>
                <a:cubicBezTo>
                  <a:pt x="522" y="286"/>
                  <a:pt x="522" y="286"/>
                  <a:pt x="522" y="286"/>
                </a:cubicBezTo>
                <a:cubicBezTo>
                  <a:pt x="521" y="286"/>
                  <a:pt x="521" y="286"/>
                  <a:pt x="521" y="286"/>
                </a:cubicBezTo>
                <a:cubicBezTo>
                  <a:pt x="518" y="281"/>
                  <a:pt x="518" y="281"/>
                  <a:pt x="518" y="281"/>
                </a:cubicBezTo>
                <a:cubicBezTo>
                  <a:pt x="516" y="281"/>
                  <a:pt x="516" y="281"/>
                  <a:pt x="516" y="281"/>
                </a:cubicBezTo>
                <a:cubicBezTo>
                  <a:pt x="515" y="279"/>
                  <a:pt x="515" y="279"/>
                  <a:pt x="515" y="279"/>
                </a:cubicBezTo>
                <a:cubicBezTo>
                  <a:pt x="513" y="280"/>
                  <a:pt x="513" y="280"/>
                  <a:pt x="513" y="280"/>
                </a:cubicBezTo>
                <a:cubicBezTo>
                  <a:pt x="514" y="283"/>
                  <a:pt x="514" y="283"/>
                  <a:pt x="514" y="283"/>
                </a:cubicBezTo>
                <a:cubicBezTo>
                  <a:pt x="513" y="283"/>
                  <a:pt x="513" y="283"/>
                  <a:pt x="513" y="283"/>
                </a:cubicBezTo>
                <a:cubicBezTo>
                  <a:pt x="511" y="283"/>
                  <a:pt x="511" y="283"/>
                  <a:pt x="511" y="283"/>
                </a:cubicBezTo>
                <a:cubicBezTo>
                  <a:pt x="510" y="286"/>
                  <a:pt x="510" y="286"/>
                  <a:pt x="510" y="286"/>
                </a:cubicBezTo>
                <a:cubicBezTo>
                  <a:pt x="510" y="287"/>
                  <a:pt x="510" y="287"/>
                  <a:pt x="510" y="287"/>
                </a:cubicBezTo>
                <a:cubicBezTo>
                  <a:pt x="508" y="288"/>
                  <a:pt x="508" y="288"/>
                  <a:pt x="508" y="288"/>
                </a:cubicBezTo>
                <a:cubicBezTo>
                  <a:pt x="506" y="294"/>
                  <a:pt x="506" y="294"/>
                  <a:pt x="506" y="294"/>
                </a:cubicBezTo>
                <a:cubicBezTo>
                  <a:pt x="506" y="297"/>
                  <a:pt x="506" y="297"/>
                  <a:pt x="506" y="297"/>
                </a:cubicBezTo>
                <a:cubicBezTo>
                  <a:pt x="505" y="299"/>
                  <a:pt x="505" y="299"/>
                  <a:pt x="505" y="299"/>
                </a:cubicBezTo>
                <a:cubicBezTo>
                  <a:pt x="505" y="301"/>
                  <a:pt x="505" y="301"/>
                  <a:pt x="505" y="301"/>
                </a:cubicBezTo>
                <a:cubicBezTo>
                  <a:pt x="504" y="302"/>
                  <a:pt x="504" y="302"/>
                  <a:pt x="504" y="302"/>
                </a:cubicBezTo>
                <a:cubicBezTo>
                  <a:pt x="504" y="304"/>
                  <a:pt x="504" y="304"/>
                  <a:pt x="504" y="304"/>
                </a:cubicBezTo>
                <a:cubicBezTo>
                  <a:pt x="502" y="305"/>
                  <a:pt x="502" y="305"/>
                  <a:pt x="502" y="305"/>
                </a:cubicBezTo>
                <a:cubicBezTo>
                  <a:pt x="502" y="310"/>
                  <a:pt x="502" y="310"/>
                  <a:pt x="502" y="310"/>
                </a:cubicBezTo>
                <a:cubicBezTo>
                  <a:pt x="500" y="311"/>
                  <a:pt x="500" y="311"/>
                  <a:pt x="500" y="311"/>
                </a:cubicBezTo>
                <a:cubicBezTo>
                  <a:pt x="499" y="311"/>
                  <a:pt x="499" y="311"/>
                  <a:pt x="499" y="311"/>
                </a:cubicBezTo>
                <a:cubicBezTo>
                  <a:pt x="497" y="315"/>
                  <a:pt x="497" y="315"/>
                  <a:pt x="497" y="315"/>
                </a:cubicBezTo>
                <a:cubicBezTo>
                  <a:pt x="498" y="316"/>
                  <a:pt x="498" y="316"/>
                  <a:pt x="498" y="316"/>
                </a:cubicBezTo>
                <a:cubicBezTo>
                  <a:pt x="497" y="319"/>
                  <a:pt x="497" y="319"/>
                  <a:pt x="497" y="319"/>
                </a:cubicBezTo>
                <a:cubicBezTo>
                  <a:pt x="497" y="321"/>
                  <a:pt x="497" y="321"/>
                  <a:pt x="497" y="321"/>
                </a:cubicBezTo>
                <a:cubicBezTo>
                  <a:pt x="495" y="323"/>
                  <a:pt x="495" y="323"/>
                  <a:pt x="495" y="323"/>
                </a:cubicBezTo>
                <a:cubicBezTo>
                  <a:pt x="497" y="325"/>
                  <a:pt x="497" y="325"/>
                  <a:pt x="497" y="325"/>
                </a:cubicBezTo>
                <a:cubicBezTo>
                  <a:pt x="496" y="327"/>
                  <a:pt x="496" y="327"/>
                  <a:pt x="496" y="327"/>
                </a:cubicBezTo>
                <a:cubicBezTo>
                  <a:pt x="494" y="327"/>
                  <a:pt x="494" y="327"/>
                  <a:pt x="494" y="327"/>
                </a:cubicBezTo>
                <a:cubicBezTo>
                  <a:pt x="495" y="328"/>
                  <a:pt x="495" y="328"/>
                  <a:pt x="495" y="328"/>
                </a:cubicBezTo>
                <a:cubicBezTo>
                  <a:pt x="497" y="329"/>
                  <a:pt x="497" y="329"/>
                  <a:pt x="497" y="329"/>
                </a:cubicBezTo>
                <a:cubicBezTo>
                  <a:pt x="497" y="331"/>
                  <a:pt x="497" y="331"/>
                  <a:pt x="497" y="331"/>
                </a:cubicBezTo>
                <a:cubicBezTo>
                  <a:pt x="495" y="331"/>
                  <a:pt x="495" y="331"/>
                  <a:pt x="495" y="331"/>
                </a:cubicBezTo>
                <a:cubicBezTo>
                  <a:pt x="494" y="331"/>
                  <a:pt x="494" y="331"/>
                  <a:pt x="494" y="331"/>
                </a:cubicBezTo>
                <a:cubicBezTo>
                  <a:pt x="492" y="332"/>
                  <a:pt x="492" y="332"/>
                  <a:pt x="492" y="332"/>
                </a:cubicBezTo>
                <a:cubicBezTo>
                  <a:pt x="490" y="332"/>
                  <a:pt x="490" y="332"/>
                  <a:pt x="490" y="332"/>
                </a:cubicBezTo>
                <a:cubicBezTo>
                  <a:pt x="489" y="333"/>
                  <a:pt x="489" y="333"/>
                  <a:pt x="489" y="333"/>
                </a:cubicBezTo>
                <a:cubicBezTo>
                  <a:pt x="489" y="335"/>
                  <a:pt x="489" y="335"/>
                  <a:pt x="489" y="335"/>
                </a:cubicBezTo>
                <a:cubicBezTo>
                  <a:pt x="488" y="336"/>
                  <a:pt x="488" y="336"/>
                  <a:pt x="488" y="336"/>
                </a:cubicBezTo>
                <a:cubicBezTo>
                  <a:pt x="487" y="335"/>
                  <a:pt x="487" y="335"/>
                  <a:pt x="487" y="335"/>
                </a:cubicBezTo>
                <a:cubicBezTo>
                  <a:pt x="486" y="333"/>
                  <a:pt x="486" y="333"/>
                  <a:pt x="486" y="333"/>
                </a:cubicBezTo>
                <a:cubicBezTo>
                  <a:pt x="487" y="331"/>
                  <a:pt x="487" y="331"/>
                  <a:pt x="487" y="331"/>
                </a:cubicBezTo>
                <a:cubicBezTo>
                  <a:pt x="486" y="329"/>
                  <a:pt x="486" y="329"/>
                  <a:pt x="486" y="329"/>
                </a:cubicBezTo>
                <a:cubicBezTo>
                  <a:pt x="486" y="326"/>
                  <a:pt x="486" y="326"/>
                  <a:pt x="486" y="326"/>
                </a:cubicBezTo>
                <a:cubicBezTo>
                  <a:pt x="487" y="322"/>
                  <a:pt x="487" y="322"/>
                  <a:pt x="487" y="322"/>
                </a:cubicBezTo>
                <a:cubicBezTo>
                  <a:pt x="488" y="319"/>
                  <a:pt x="488" y="319"/>
                  <a:pt x="488" y="319"/>
                </a:cubicBezTo>
                <a:cubicBezTo>
                  <a:pt x="490" y="318"/>
                  <a:pt x="490" y="318"/>
                  <a:pt x="490" y="318"/>
                </a:cubicBezTo>
                <a:cubicBezTo>
                  <a:pt x="490" y="316"/>
                  <a:pt x="490" y="316"/>
                  <a:pt x="490" y="316"/>
                </a:cubicBezTo>
                <a:cubicBezTo>
                  <a:pt x="490" y="314"/>
                  <a:pt x="490" y="314"/>
                  <a:pt x="490" y="314"/>
                </a:cubicBezTo>
                <a:cubicBezTo>
                  <a:pt x="492" y="309"/>
                  <a:pt x="492" y="309"/>
                  <a:pt x="492" y="309"/>
                </a:cubicBezTo>
                <a:cubicBezTo>
                  <a:pt x="495" y="307"/>
                  <a:pt x="495" y="307"/>
                  <a:pt x="495" y="307"/>
                </a:cubicBezTo>
                <a:cubicBezTo>
                  <a:pt x="495" y="304"/>
                  <a:pt x="495" y="304"/>
                  <a:pt x="495" y="304"/>
                </a:cubicBezTo>
                <a:cubicBezTo>
                  <a:pt x="493" y="304"/>
                  <a:pt x="493" y="304"/>
                  <a:pt x="493" y="304"/>
                </a:cubicBezTo>
                <a:cubicBezTo>
                  <a:pt x="492" y="304"/>
                  <a:pt x="492" y="304"/>
                  <a:pt x="492" y="304"/>
                </a:cubicBezTo>
                <a:cubicBezTo>
                  <a:pt x="492" y="302"/>
                  <a:pt x="492" y="302"/>
                  <a:pt x="492" y="302"/>
                </a:cubicBezTo>
                <a:cubicBezTo>
                  <a:pt x="494" y="301"/>
                  <a:pt x="494" y="301"/>
                  <a:pt x="494" y="301"/>
                </a:cubicBezTo>
                <a:cubicBezTo>
                  <a:pt x="494" y="296"/>
                  <a:pt x="494" y="296"/>
                  <a:pt x="494" y="296"/>
                </a:cubicBezTo>
                <a:cubicBezTo>
                  <a:pt x="493" y="295"/>
                  <a:pt x="493" y="295"/>
                  <a:pt x="493" y="295"/>
                </a:cubicBezTo>
                <a:cubicBezTo>
                  <a:pt x="492" y="292"/>
                  <a:pt x="492" y="292"/>
                  <a:pt x="492" y="292"/>
                </a:cubicBezTo>
                <a:cubicBezTo>
                  <a:pt x="493" y="291"/>
                  <a:pt x="493" y="291"/>
                  <a:pt x="493" y="291"/>
                </a:cubicBezTo>
                <a:cubicBezTo>
                  <a:pt x="493" y="288"/>
                  <a:pt x="493" y="288"/>
                  <a:pt x="493" y="288"/>
                </a:cubicBezTo>
                <a:cubicBezTo>
                  <a:pt x="491" y="288"/>
                  <a:pt x="491" y="288"/>
                  <a:pt x="491" y="288"/>
                </a:cubicBezTo>
                <a:cubicBezTo>
                  <a:pt x="489" y="285"/>
                  <a:pt x="489" y="285"/>
                  <a:pt x="489" y="285"/>
                </a:cubicBezTo>
                <a:cubicBezTo>
                  <a:pt x="486" y="286"/>
                  <a:pt x="486" y="286"/>
                  <a:pt x="486" y="286"/>
                </a:cubicBezTo>
                <a:cubicBezTo>
                  <a:pt x="485" y="289"/>
                  <a:pt x="485" y="289"/>
                  <a:pt x="485" y="289"/>
                </a:cubicBezTo>
                <a:cubicBezTo>
                  <a:pt x="487" y="291"/>
                  <a:pt x="487" y="291"/>
                  <a:pt x="487" y="291"/>
                </a:cubicBezTo>
                <a:cubicBezTo>
                  <a:pt x="487" y="293"/>
                  <a:pt x="487" y="293"/>
                  <a:pt x="487" y="293"/>
                </a:cubicBezTo>
                <a:cubicBezTo>
                  <a:pt x="488" y="294"/>
                  <a:pt x="488" y="294"/>
                  <a:pt x="488" y="294"/>
                </a:cubicBezTo>
                <a:cubicBezTo>
                  <a:pt x="488" y="296"/>
                  <a:pt x="488" y="296"/>
                  <a:pt x="488" y="296"/>
                </a:cubicBezTo>
                <a:cubicBezTo>
                  <a:pt x="487" y="296"/>
                  <a:pt x="487" y="296"/>
                  <a:pt x="487" y="296"/>
                </a:cubicBezTo>
                <a:cubicBezTo>
                  <a:pt x="486" y="294"/>
                  <a:pt x="486" y="294"/>
                  <a:pt x="486" y="294"/>
                </a:cubicBezTo>
                <a:cubicBezTo>
                  <a:pt x="484" y="294"/>
                  <a:pt x="484" y="294"/>
                  <a:pt x="484" y="294"/>
                </a:cubicBezTo>
                <a:cubicBezTo>
                  <a:pt x="483" y="296"/>
                  <a:pt x="483" y="296"/>
                  <a:pt x="483" y="296"/>
                </a:cubicBezTo>
                <a:cubicBezTo>
                  <a:pt x="484" y="297"/>
                  <a:pt x="484" y="297"/>
                  <a:pt x="484" y="297"/>
                </a:cubicBezTo>
                <a:cubicBezTo>
                  <a:pt x="485" y="299"/>
                  <a:pt x="485" y="299"/>
                  <a:pt x="485" y="299"/>
                </a:cubicBezTo>
                <a:cubicBezTo>
                  <a:pt x="486" y="302"/>
                  <a:pt x="486" y="302"/>
                  <a:pt x="486" y="302"/>
                </a:cubicBezTo>
                <a:cubicBezTo>
                  <a:pt x="485" y="303"/>
                  <a:pt x="485" y="303"/>
                  <a:pt x="485" y="303"/>
                </a:cubicBezTo>
                <a:cubicBezTo>
                  <a:pt x="484" y="302"/>
                  <a:pt x="484" y="302"/>
                  <a:pt x="484" y="302"/>
                </a:cubicBezTo>
                <a:cubicBezTo>
                  <a:pt x="483" y="301"/>
                  <a:pt x="483" y="301"/>
                  <a:pt x="483" y="301"/>
                </a:cubicBezTo>
                <a:cubicBezTo>
                  <a:pt x="483" y="304"/>
                  <a:pt x="483" y="304"/>
                  <a:pt x="483" y="304"/>
                </a:cubicBezTo>
                <a:cubicBezTo>
                  <a:pt x="481" y="302"/>
                  <a:pt x="481" y="302"/>
                  <a:pt x="481" y="302"/>
                </a:cubicBezTo>
                <a:cubicBezTo>
                  <a:pt x="481" y="300"/>
                  <a:pt x="481" y="300"/>
                  <a:pt x="481" y="300"/>
                </a:cubicBezTo>
                <a:cubicBezTo>
                  <a:pt x="479" y="300"/>
                  <a:pt x="479" y="300"/>
                  <a:pt x="479" y="300"/>
                </a:cubicBezTo>
                <a:cubicBezTo>
                  <a:pt x="478" y="303"/>
                  <a:pt x="478" y="303"/>
                  <a:pt x="478" y="303"/>
                </a:cubicBezTo>
                <a:cubicBezTo>
                  <a:pt x="477" y="302"/>
                  <a:pt x="477" y="302"/>
                  <a:pt x="477" y="302"/>
                </a:cubicBezTo>
                <a:cubicBezTo>
                  <a:pt x="477" y="300"/>
                  <a:pt x="477" y="300"/>
                  <a:pt x="477" y="300"/>
                </a:cubicBezTo>
                <a:cubicBezTo>
                  <a:pt x="478" y="298"/>
                  <a:pt x="478" y="298"/>
                  <a:pt x="478" y="298"/>
                </a:cubicBezTo>
                <a:cubicBezTo>
                  <a:pt x="478" y="298"/>
                  <a:pt x="478" y="298"/>
                  <a:pt x="478" y="298"/>
                </a:cubicBezTo>
                <a:cubicBezTo>
                  <a:pt x="474" y="299"/>
                  <a:pt x="474" y="299"/>
                  <a:pt x="474" y="299"/>
                </a:cubicBezTo>
                <a:cubicBezTo>
                  <a:pt x="472" y="302"/>
                  <a:pt x="472" y="302"/>
                  <a:pt x="472" y="302"/>
                </a:cubicBezTo>
                <a:cubicBezTo>
                  <a:pt x="470" y="299"/>
                  <a:pt x="470" y="299"/>
                  <a:pt x="470" y="299"/>
                </a:cubicBezTo>
                <a:cubicBezTo>
                  <a:pt x="468" y="299"/>
                  <a:pt x="468" y="299"/>
                  <a:pt x="468" y="299"/>
                </a:cubicBezTo>
                <a:cubicBezTo>
                  <a:pt x="467" y="300"/>
                  <a:pt x="467" y="300"/>
                  <a:pt x="467" y="300"/>
                </a:cubicBezTo>
                <a:cubicBezTo>
                  <a:pt x="464" y="300"/>
                  <a:pt x="464" y="300"/>
                  <a:pt x="464" y="300"/>
                </a:cubicBezTo>
                <a:cubicBezTo>
                  <a:pt x="464" y="299"/>
                  <a:pt x="464" y="299"/>
                  <a:pt x="464" y="299"/>
                </a:cubicBezTo>
                <a:cubicBezTo>
                  <a:pt x="461" y="300"/>
                  <a:pt x="461" y="300"/>
                  <a:pt x="461" y="300"/>
                </a:cubicBezTo>
                <a:cubicBezTo>
                  <a:pt x="460" y="299"/>
                  <a:pt x="460" y="299"/>
                  <a:pt x="460" y="299"/>
                </a:cubicBezTo>
                <a:cubicBezTo>
                  <a:pt x="462" y="297"/>
                  <a:pt x="462" y="297"/>
                  <a:pt x="462" y="297"/>
                </a:cubicBezTo>
                <a:cubicBezTo>
                  <a:pt x="465" y="296"/>
                  <a:pt x="465" y="296"/>
                  <a:pt x="465" y="296"/>
                </a:cubicBezTo>
                <a:cubicBezTo>
                  <a:pt x="466" y="297"/>
                  <a:pt x="466" y="297"/>
                  <a:pt x="466" y="297"/>
                </a:cubicBezTo>
                <a:cubicBezTo>
                  <a:pt x="469" y="296"/>
                  <a:pt x="469" y="296"/>
                  <a:pt x="469" y="296"/>
                </a:cubicBezTo>
                <a:cubicBezTo>
                  <a:pt x="469" y="295"/>
                  <a:pt x="469" y="295"/>
                  <a:pt x="469" y="295"/>
                </a:cubicBezTo>
                <a:cubicBezTo>
                  <a:pt x="471" y="294"/>
                  <a:pt x="471" y="294"/>
                  <a:pt x="471" y="294"/>
                </a:cubicBezTo>
                <a:cubicBezTo>
                  <a:pt x="473" y="295"/>
                  <a:pt x="473" y="295"/>
                  <a:pt x="473" y="295"/>
                </a:cubicBezTo>
                <a:cubicBezTo>
                  <a:pt x="475" y="293"/>
                  <a:pt x="475" y="293"/>
                  <a:pt x="475" y="293"/>
                </a:cubicBezTo>
                <a:cubicBezTo>
                  <a:pt x="475" y="291"/>
                  <a:pt x="475" y="291"/>
                  <a:pt x="475" y="291"/>
                </a:cubicBezTo>
                <a:cubicBezTo>
                  <a:pt x="475" y="289"/>
                  <a:pt x="475" y="289"/>
                  <a:pt x="475" y="289"/>
                </a:cubicBezTo>
                <a:cubicBezTo>
                  <a:pt x="474" y="288"/>
                  <a:pt x="474" y="288"/>
                  <a:pt x="474" y="288"/>
                </a:cubicBezTo>
                <a:cubicBezTo>
                  <a:pt x="472" y="284"/>
                  <a:pt x="472" y="284"/>
                  <a:pt x="472" y="284"/>
                </a:cubicBezTo>
                <a:cubicBezTo>
                  <a:pt x="469" y="283"/>
                  <a:pt x="469" y="283"/>
                  <a:pt x="469" y="283"/>
                </a:cubicBezTo>
                <a:cubicBezTo>
                  <a:pt x="469" y="281"/>
                  <a:pt x="469" y="281"/>
                  <a:pt x="469" y="281"/>
                </a:cubicBezTo>
                <a:cubicBezTo>
                  <a:pt x="465" y="278"/>
                  <a:pt x="465" y="278"/>
                  <a:pt x="465" y="278"/>
                </a:cubicBezTo>
                <a:cubicBezTo>
                  <a:pt x="465" y="276"/>
                  <a:pt x="465" y="276"/>
                  <a:pt x="465" y="276"/>
                </a:cubicBezTo>
                <a:cubicBezTo>
                  <a:pt x="463" y="276"/>
                  <a:pt x="463" y="276"/>
                  <a:pt x="463" y="276"/>
                </a:cubicBezTo>
                <a:cubicBezTo>
                  <a:pt x="460" y="278"/>
                  <a:pt x="460" y="278"/>
                  <a:pt x="460" y="278"/>
                </a:cubicBezTo>
                <a:cubicBezTo>
                  <a:pt x="458" y="279"/>
                  <a:pt x="458" y="279"/>
                  <a:pt x="458" y="279"/>
                </a:cubicBezTo>
                <a:cubicBezTo>
                  <a:pt x="454" y="283"/>
                  <a:pt x="454" y="283"/>
                  <a:pt x="454" y="283"/>
                </a:cubicBezTo>
                <a:cubicBezTo>
                  <a:pt x="455" y="283"/>
                  <a:pt x="455" y="283"/>
                  <a:pt x="455" y="283"/>
                </a:cubicBezTo>
                <a:cubicBezTo>
                  <a:pt x="455" y="285"/>
                  <a:pt x="455" y="285"/>
                  <a:pt x="455" y="285"/>
                </a:cubicBezTo>
                <a:cubicBezTo>
                  <a:pt x="454" y="285"/>
                  <a:pt x="454" y="285"/>
                  <a:pt x="454" y="285"/>
                </a:cubicBezTo>
                <a:cubicBezTo>
                  <a:pt x="452" y="286"/>
                  <a:pt x="452" y="286"/>
                  <a:pt x="452" y="286"/>
                </a:cubicBezTo>
                <a:cubicBezTo>
                  <a:pt x="452" y="285"/>
                  <a:pt x="452" y="285"/>
                  <a:pt x="452" y="285"/>
                </a:cubicBezTo>
                <a:cubicBezTo>
                  <a:pt x="450" y="286"/>
                  <a:pt x="450" y="286"/>
                  <a:pt x="450" y="286"/>
                </a:cubicBezTo>
                <a:cubicBezTo>
                  <a:pt x="448" y="284"/>
                  <a:pt x="448" y="284"/>
                  <a:pt x="448" y="284"/>
                </a:cubicBezTo>
                <a:cubicBezTo>
                  <a:pt x="446" y="285"/>
                  <a:pt x="446" y="285"/>
                  <a:pt x="446" y="285"/>
                </a:cubicBezTo>
                <a:cubicBezTo>
                  <a:pt x="445" y="285"/>
                  <a:pt x="445" y="285"/>
                  <a:pt x="445" y="285"/>
                </a:cubicBezTo>
                <a:cubicBezTo>
                  <a:pt x="443" y="285"/>
                  <a:pt x="443" y="285"/>
                  <a:pt x="443" y="285"/>
                </a:cubicBezTo>
                <a:cubicBezTo>
                  <a:pt x="442" y="285"/>
                  <a:pt x="442" y="285"/>
                  <a:pt x="442" y="285"/>
                </a:cubicBezTo>
                <a:cubicBezTo>
                  <a:pt x="442" y="284"/>
                  <a:pt x="442" y="284"/>
                  <a:pt x="442" y="284"/>
                </a:cubicBezTo>
                <a:cubicBezTo>
                  <a:pt x="446" y="283"/>
                  <a:pt x="446" y="283"/>
                  <a:pt x="446" y="283"/>
                </a:cubicBezTo>
                <a:cubicBezTo>
                  <a:pt x="447" y="281"/>
                  <a:pt x="447" y="281"/>
                  <a:pt x="447" y="281"/>
                </a:cubicBezTo>
                <a:cubicBezTo>
                  <a:pt x="449" y="280"/>
                  <a:pt x="449" y="280"/>
                  <a:pt x="449" y="280"/>
                </a:cubicBezTo>
                <a:cubicBezTo>
                  <a:pt x="450" y="280"/>
                  <a:pt x="450" y="280"/>
                  <a:pt x="450" y="280"/>
                </a:cubicBezTo>
                <a:cubicBezTo>
                  <a:pt x="452" y="278"/>
                  <a:pt x="452" y="278"/>
                  <a:pt x="452" y="278"/>
                </a:cubicBezTo>
                <a:cubicBezTo>
                  <a:pt x="452" y="275"/>
                  <a:pt x="452" y="275"/>
                  <a:pt x="452" y="275"/>
                </a:cubicBezTo>
                <a:cubicBezTo>
                  <a:pt x="453" y="274"/>
                  <a:pt x="453" y="274"/>
                  <a:pt x="453" y="274"/>
                </a:cubicBezTo>
                <a:cubicBezTo>
                  <a:pt x="455" y="274"/>
                  <a:pt x="455" y="274"/>
                  <a:pt x="455" y="274"/>
                </a:cubicBezTo>
                <a:cubicBezTo>
                  <a:pt x="457" y="270"/>
                  <a:pt x="457" y="270"/>
                  <a:pt x="457" y="270"/>
                </a:cubicBezTo>
                <a:cubicBezTo>
                  <a:pt x="457" y="267"/>
                  <a:pt x="457" y="267"/>
                  <a:pt x="457" y="267"/>
                </a:cubicBezTo>
                <a:cubicBezTo>
                  <a:pt x="457" y="265"/>
                  <a:pt x="457" y="265"/>
                  <a:pt x="457" y="265"/>
                </a:cubicBezTo>
                <a:cubicBezTo>
                  <a:pt x="457" y="263"/>
                  <a:pt x="457" y="263"/>
                  <a:pt x="457" y="263"/>
                </a:cubicBezTo>
                <a:cubicBezTo>
                  <a:pt x="455" y="263"/>
                  <a:pt x="455" y="263"/>
                  <a:pt x="455" y="263"/>
                </a:cubicBezTo>
                <a:cubicBezTo>
                  <a:pt x="451" y="264"/>
                  <a:pt x="451" y="264"/>
                  <a:pt x="451" y="264"/>
                </a:cubicBezTo>
                <a:cubicBezTo>
                  <a:pt x="446" y="265"/>
                  <a:pt x="446" y="265"/>
                  <a:pt x="446" y="265"/>
                </a:cubicBezTo>
                <a:cubicBezTo>
                  <a:pt x="442" y="266"/>
                  <a:pt x="442" y="266"/>
                  <a:pt x="442" y="266"/>
                </a:cubicBezTo>
                <a:cubicBezTo>
                  <a:pt x="433" y="268"/>
                  <a:pt x="433" y="268"/>
                  <a:pt x="433" y="268"/>
                </a:cubicBezTo>
                <a:cubicBezTo>
                  <a:pt x="422" y="272"/>
                  <a:pt x="422" y="272"/>
                  <a:pt x="422" y="272"/>
                </a:cubicBezTo>
                <a:cubicBezTo>
                  <a:pt x="419" y="275"/>
                  <a:pt x="419" y="275"/>
                  <a:pt x="419" y="275"/>
                </a:cubicBezTo>
                <a:cubicBezTo>
                  <a:pt x="412" y="276"/>
                  <a:pt x="412" y="276"/>
                  <a:pt x="412" y="276"/>
                </a:cubicBezTo>
                <a:cubicBezTo>
                  <a:pt x="404" y="280"/>
                  <a:pt x="404" y="280"/>
                  <a:pt x="404" y="280"/>
                </a:cubicBezTo>
                <a:cubicBezTo>
                  <a:pt x="400" y="283"/>
                  <a:pt x="400" y="283"/>
                  <a:pt x="400" y="283"/>
                </a:cubicBezTo>
                <a:cubicBezTo>
                  <a:pt x="400" y="285"/>
                  <a:pt x="400" y="285"/>
                  <a:pt x="400" y="285"/>
                </a:cubicBezTo>
                <a:cubicBezTo>
                  <a:pt x="402" y="285"/>
                  <a:pt x="402" y="285"/>
                  <a:pt x="402" y="285"/>
                </a:cubicBezTo>
                <a:cubicBezTo>
                  <a:pt x="403" y="286"/>
                  <a:pt x="403" y="286"/>
                  <a:pt x="403" y="286"/>
                </a:cubicBezTo>
                <a:cubicBezTo>
                  <a:pt x="401" y="288"/>
                  <a:pt x="401" y="288"/>
                  <a:pt x="401" y="288"/>
                </a:cubicBezTo>
                <a:cubicBezTo>
                  <a:pt x="399" y="288"/>
                  <a:pt x="399" y="288"/>
                  <a:pt x="399" y="288"/>
                </a:cubicBezTo>
                <a:cubicBezTo>
                  <a:pt x="395" y="291"/>
                  <a:pt x="395" y="291"/>
                  <a:pt x="395" y="291"/>
                </a:cubicBezTo>
                <a:cubicBezTo>
                  <a:pt x="392" y="292"/>
                  <a:pt x="392" y="292"/>
                  <a:pt x="392" y="292"/>
                </a:cubicBezTo>
                <a:cubicBezTo>
                  <a:pt x="390" y="293"/>
                  <a:pt x="390" y="293"/>
                  <a:pt x="390" y="293"/>
                </a:cubicBezTo>
                <a:cubicBezTo>
                  <a:pt x="389" y="295"/>
                  <a:pt x="389" y="295"/>
                  <a:pt x="389" y="295"/>
                </a:cubicBezTo>
                <a:cubicBezTo>
                  <a:pt x="386" y="298"/>
                  <a:pt x="386" y="298"/>
                  <a:pt x="386" y="298"/>
                </a:cubicBezTo>
                <a:cubicBezTo>
                  <a:pt x="385" y="300"/>
                  <a:pt x="385" y="300"/>
                  <a:pt x="385" y="300"/>
                </a:cubicBezTo>
                <a:cubicBezTo>
                  <a:pt x="384" y="303"/>
                  <a:pt x="384" y="303"/>
                  <a:pt x="384" y="303"/>
                </a:cubicBezTo>
                <a:cubicBezTo>
                  <a:pt x="386" y="302"/>
                  <a:pt x="386" y="302"/>
                  <a:pt x="386" y="302"/>
                </a:cubicBezTo>
                <a:cubicBezTo>
                  <a:pt x="388" y="303"/>
                  <a:pt x="388" y="303"/>
                  <a:pt x="388" y="303"/>
                </a:cubicBezTo>
                <a:cubicBezTo>
                  <a:pt x="387" y="305"/>
                  <a:pt x="387" y="305"/>
                  <a:pt x="387" y="305"/>
                </a:cubicBezTo>
                <a:cubicBezTo>
                  <a:pt x="388" y="305"/>
                  <a:pt x="388" y="305"/>
                  <a:pt x="388" y="305"/>
                </a:cubicBezTo>
                <a:cubicBezTo>
                  <a:pt x="389" y="305"/>
                  <a:pt x="389" y="305"/>
                  <a:pt x="389" y="305"/>
                </a:cubicBezTo>
                <a:cubicBezTo>
                  <a:pt x="391" y="304"/>
                  <a:pt x="391" y="304"/>
                  <a:pt x="391" y="304"/>
                </a:cubicBezTo>
                <a:cubicBezTo>
                  <a:pt x="393" y="304"/>
                  <a:pt x="393" y="304"/>
                  <a:pt x="393" y="304"/>
                </a:cubicBezTo>
                <a:cubicBezTo>
                  <a:pt x="395" y="305"/>
                  <a:pt x="395" y="305"/>
                  <a:pt x="395" y="305"/>
                </a:cubicBezTo>
                <a:cubicBezTo>
                  <a:pt x="395" y="307"/>
                  <a:pt x="395" y="307"/>
                  <a:pt x="395" y="307"/>
                </a:cubicBezTo>
                <a:cubicBezTo>
                  <a:pt x="392" y="308"/>
                  <a:pt x="392" y="308"/>
                  <a:pt x="392" y="308"/>
                </a:cubicBezTo>
                <a:cubicBezTo>
                  <a:pt x="389" y="307"/>
                  <a:pt x="389" y="307"/>
                  <a:pt x="389" y="307"/>
                </a:cubicBezTo>
                <a:cubicBezTo>
                  <a:pt x="387" y="308"/>
                  <a:pt x="387" y="308"/>
                  <a:pt x="387" y="308"/>
                </a:cubicBezTo>
                <a:cubicBezTo>
                  <a:pt x="388" y="310"/>
                  <a:pt x="388" y="310"/>
                  <a:pt x="388" y="310"/>
                </a:cubicBezTo>
                <a:cubicBezTo>
                  <a:pt x="392" y="312"/>
                  <a:pt x="392" y="312"/>
                  <a:pt x="392" y="312"/>
                </a:cubicBezTo>
                <a:cubicBezTo>
                  <a:pt x="393" y="311"/>
                  <a:pt x="393" y="311"/>
                  <a:pt x="393" y="311"/>
                </a:cubicBezTo>
                <a:cubicBezTo>
                  <a:pt x="394" y="309"/>
                  <a:pt x="394" y="309"/>
                  <a:pt x="394" y="309"/>
                </a:cubicBezTo>
                <a:cubicBezTo>
                  <a:pt x="395" y="309"/>
                  <a:pt x="395" y="309"/>
                  <a:pt x="395" y="309"/>
                </a:cubicBezTo>
                <a:cubicBezTo>
                  <a:pt x="396" y="310"/>
                  <a:pt x="396" y="310"/>
                  <a:pt x="396" y="310"/>
                </a:cubicBezTo>
                <a:cubicBezTo>
                  <a:pt x="395" y="312"/>
                  <a:pt x="395" y="312"/>
                  <a:pt x="395" y="312"/>
                </a:cubicBezTo>
                <a:cubicBezTo>
                  <a:pt x="397" y="312"/>
                  <a:pt x="397" y="312"/>
                  <a:pt x="397" y="312"/>
                </a:cubicBezTo>
                <a:cubicBezTo>
                  <a:pt x="401" y="313"/>
                  <a:pt x="401" y="313"/>
                  <a:pt x="401" y="313"/>
                </a:cubicBezTo>
                <a:cubicBezTo>
                  <a:pt x="405" y="312"/>
                  <a:pt x="405" y="312"/>
                  <a:pt x="405" y="312"/>
                </a:cubicBezTo>
                <a:cubicBezTo>
                  <a:pt x="407" y="312"/>
                  <a:pt x="407" y="312"/>
                  <a:pt x="407" y="312"/>
                </a:cubicBezTo>
                <a:cubicBezTo>
                  <a:pt x="411" y="313"/>
                  <a:pt x="411" y="313"/>
                  <a:pt x="411" y="313"/>
                </a:cubicBezTo>
                <a:cubicBezTo>
                  <a:pt x="413" y="313"/>
                  <a:pt x="413" y="313"/>
                  <a:pt x="413" y="313"/>
                </a:cubicBezTo>
                <a:cubicBezTo>
                  <a:pt x="416" y="314"/>
                  <a:pt x="416" y="314"/>
                  <a:pt x="416" y="314"/>
                </a:cubicBezTo>
                <a:cubicBezTo>
                  <a:pt x="417" y="316"/>
                  <a:pt x="417" y="316"/>
                  <a:pt x="417" y="316"/>
                </a:cubicBezTo>
                <a:cubicBezTo>
                  <a:pt x="419" y="316"/>
                  <a:pt x="419" y="316"/>
                  <a:pt x="419" y="316"/>
                </a:cubicBezTo>
                <a:cubicBezTo>
                  <a:pt x="418" y="317"/>
                  <a:pt x="418" y="317"/>
                  <a:pt x="418" y="317"/>
                </a:cubicBezTo>
                <a:cubicBezTo>
                  <a:pt x="416" y="317"/>
                  <a:pt x="416" y="317"/>
                  <a:pt x="416" y="317"/>
                </a:cubicBezTo>
                <a:cubicBezTo>
                  <a:pt x="413" y="315"/>
                  <a:pt x="413" y="315"/>
                  <a:pt x="413" y="315"/>
                </a:cubicBezTo>
                <a:cubicBezTo>
                  <a:pt x="408" y="315"/>
                  <a:pt x="408" y="315"/>
                  <a:pt x="408" y="315"/>
                </a:cubicBezTo>
                <a:cubicBezTo>
                  <a:pt x="407" y="316"/>
                  <a:pt x="407" y="316"/>
                  <a:pt x="407" y="316"/>
                </a:cubicBezTo>
                <a:cubicBezTo>
                  <a:pt x="410" y="317"/>
                  <a:pt x="410" y="317"/>
                  <a:pt x="410" y="317"/>
                </a:cubicBezTo>
                <a:cubicBezTo>
                  <a:pt x="411" y="318"/>
                  <a:pt x="411" y="318"/>
                  <a:pt x="411" y="318"/>
                </a:cubicBezTo>
                <a:cubicBezTo>
                  <a:pt x="407" y="318"/>
                  <a:pt x="407" y="318"/>
                  <a:pt x="407" y="318"/>
                </a:cubicBezTo>
                <a:cubicBezTo>
                  <a:pt x="405" y="317"/>
                  <a:pt x="405" y="317"/>
                  <a:pt x="405" y="317"/>
                </a:cubicBezTo>
                <a:cubicBezTo>
                  <a:pt x="400" y="317"/>
                  <a:pt x="400" y="317"/>
                  <a:pt x="400" y="317"/>
                </a:cubicBezTo>
                <a:cubicBezTo>
                  <a:pt x="399" y="318"/>
                  <a:pt x="399" y="318"/>
                  <a:pt x="399" y="318"/>
                </a:cubicBezTo>
                <a:cubicBezTo>
                  <a:pt x="397" y="318"/>
                  <a:pt x="397" y="318"/>
                  <a:pt x="397" y="318"/>
                </a:cubicBezTo>
                <a:cubicBezTo>
                  <a:pt x="396" y="318"/>
                  <a:pt x="396" y="318"/>
                  <a:pt x="396" y="318"/>
                </a:cubicBezTo>
                <a:cubicBezTo>
                  <a:pt x="394" y="318"/>
                  <a:pt x="394" y="318"/>
                  <a:pt x="394" y="318"/>
                </a:cubicBezTo>
                <a:cubicBezTo>
                  <a:pt x="392" y="318"/>
                  <a:pt x="392" y="318"/>
                  <a:pt x="392" y="318"/>
                </a:cubicBezTo>
                <a:cubicBezTo>
                  <a:pt x="386" y="318"/>
                  <a:pt x="386" y="318"/>
                  <a:pt x="386" y="318"/>
                </a:cubicBezTo>
                <a:cubicBezTo>
                  <a:pt x="385" y="319"/>
                  <a:pt x="385" y="319"/>
                  <a:pt x="385" y="319"/>
                </a:cubicBezTo>
                <a:cubicBezTo>
                  <a:pt x="381" y="320"/>
                  <a:pt x="381" y="320"/>
                  <a:pt x="381" y="320"/>
                </a:cubicBezTo>
                <a:cubicBezTo>
                  <a:pt x="380" y="322"/>
                  <a:pt x="380" y="322"/>
                  <a:pt x="380" y="322"/>
                </a:cubicBezTo>
                <a:cubicBezTo>
                  <a:pt x="381" y="329"/>
                  <a:pt x="381" y="329"/>
                  <a:pt x="381" y="329"/>
                </a:cubicBezTo>
                <a:cubicBezTo>
                  <a:pt x="381" y="330"/>
                  <a:pt x="381" y="330"/>
                  <a:pt x="381" y="330"/>
                </a:cubicBezTo>
                <a:cubicBezTo>
                  <a:pt x="381" y="333"/>
                  <a:pt x="381" y="333"/>
                  <a:pt x="381" y="333"/>
                </a:cubicBezTo>
                <a:cubicBezTo>
                  <a:pt x="380" y="334"/>
                  <a:pt x="380" y="334"/>
                  <a:pt x="380" y="334"/>
                </a:cubicBezTo>
                <a:cubicBezTo>
                  <a:pt x="380" y="335"/>
                  <a:pt x="380" y="335"/>
                  <a:pt x="380" y="335"/>
                </a:cubicBezTo>
                <a:cubicBezTo>
                  <a:pt x="382" y="336"/>
                  <a:pt x="382" y="336"/>
                  <a:pt x="382" y="336"/>
                </a:cubicBezTo>
                <a:cubicBezTo>
                  <a:pt x="384" y="336"/>
                  <a:pt x="384" y="336"/>
                  <a:pt x="384" y="336"/>
                </a:cubicBezTo>
                <a:cubicBezTo>
                  <a:pt x="385" y="336"/>
                  <a:pt x="385" y="336"/>
                  <a:pt x="385" y="336"/>
                </a:cubicBezTo>
                <a:cubicBezTo>
                  <a:pt x="386" y="337"/>
                  <a:pt x="386" y="337"/>
                  <a:pt x="386" y="337"/>
                </a:cubicBezTo>
                <a:cubicBezTo>
                  <a:pt x="388" y="337"/>
                  <a:pt x="388" y="337"/>
                  <a:pt x="388" y="337"/>
                </a:cubicBezTo>
                <a:cubicBezTo>
                  <a:pt x="389" y="336"/>
                  <a:pt x="389" y="336"/>
                  <a:pt x="389" y="336"/>
                </a:cubicBezTo>
                <a:cubicBezTo>
                  <a:pt x="390" y="336"/>
                  <a:pt x="390" y="336"/>
                  <a:pt x="390" y="336"/>
                </a:cubicBezTo>
                <a:cubicBezTo>
                  <a:pt x="391" y="337"/>
                  <a:pt x="391" y="337"/>
                  <a:pt x="391" y="337"/>
                </a:cubicBezTo>
                <a:cubicBezTo>
                  <a:pt x="392" y="338"/>
                  <a:pt x="392" y="338"/>
                  <a:pt x="392" y="338"/>
                </a:cubicBezTo>
                <a:cubicBezTo>
                  <a:pt x="393" y="337"/>
                  <a:pt x="393" y="337"/>
                  <a:pt x="393" y="337"/>
                </a:cubicBezTo>
                <a:cubicBezTo>
                  <a:pt x="395" y="338"/>
                  <a:pt x="395" y="338"/>
                  <a:pt x="395" y="338"/>
                </a:cubicBezTo>
                <a:cubicBezTo>
                  <a:pt x="395" y="340"/>
                  <a:pt x="395" y="340"/>
                  <a:pt x="395" y="340"/>
                </a:cubicBezTo>
                <a:cubicBezTo>
                  <a:pt x="396" y="340"/>
                  <a:pt x="396" y="340"/>
                  <a:pt x="396" y="340"/>
                </a:cubicBezTo>
                <a:cubicBezTo>
                  <a:pt x="398" y="340"/>
                  <a:pt x="398" y="340"/>
                  <a:pt x="398" y="340"/>
                </a:cubicBezTo>
                <a:cubicBezTo>
                  <a:pt x="400" y="340"/>
                  <a:pt x="400" y="340"/>
                  <a:pt x="400" y="340"/>
                </a:cubicBezTo>
                <a:cubicBezTo>
                  <a:pt x="401" y="341"/>
                  <a:pt x="401" y="341"/>
                  <a:pt x="401" y="341"/>
                </a:cubicBezTo>
                <a:cubicBezTo>
                  <a:pt x="403" y="341"/>
                  <a:pt x="403" y="341"/>
                  <a:pt x="403" y="341"/>
                </a:cubicBezTo>
                <a:cubicBezTo>
                  <a:pt x="405" y="340"/>
                  <a:pt x="405" y="340"/>
                  <a:pt x="405" y="340"/>
                </a:cubicBezTo>
                <a:cubicBezTo>
                  <a:pt x="407" y="341"/>
                  <a:pt x="407" y="341"/>
                  <a:pt x="407" y="341"/>
                </a:cubicBezTo>
                <a:cubicBezTo>
                  <a:pt x="409" y="340"/>
                  <a:pt x="409" y="340"/>
                  <a:pt x="409" y="340"/>
                </a:cubicBezTo>
                <a:cubicBezTo>
                  <a:pt x="411" y="341"/>
                  <a:pt x="411" y="341"/>
                  <a:pt x="411" y="341"/>
                </a:cubicBezTo>
                <a:cubicBezTo>
                  <a:pt x="414" y="341"/>
                  <a:pt x="414" y="341"/>
                  <a:pt x="414" y="341"/>
                </a:cubicBezTo>
                <a:cubicBezTo>
                  <a:pt x="416" y="341"/>
                  <a:pt x="416" y="341"/>
                  <a:pt x="416" y="341"/>
                </a:cubicBezTo>
                <a:cubicBezTo>
                  <a:pt x="418" y="342"/>
                  <a:pt x="418" y="342"/>
                  <a:pt x="418" y="342"/>
                </a:cubicBezTo>
                <a:cubicBezTo>
                  <a:pt x="419" y="343"/>
                  <a:pt x="419" y="343"/>
                  <a:pt x="419" y="343"/>
                </a:cubicBezTo>
                <a:cubicBezTo>
                  <a:pt x="420" y="342"/>
                  <a:pt x="420" y="342"/>
                  <a:pt x="420" y="342"/>
                </a:cubicBezTo>
                <a:cubicBezTo>
                  <a:pt x="421" y="344"/>
                  <a:pt x="421" y="344"/>
                  <a:pt x="421" y="344"/>
                </a:cubicBezTo>
                <a:cubicBezTo>
                  <a:pt x="423" y="346"/>
                  <a:pt x="423" y="346"/>
                  <a:pt x="423" y="346"/>
                </a:cubicBezTo>
                <a:cubicBezTo>
                  <a:pt x="423" y="347"/>
                  <a:pt x="423" y="347"/>
                  <a:pt x="423" y="347"/>
                </a:cubicBezTo>
                <a:cubicBezTo>
                  <a:pt x="424" y="348"/>
                  <a:pt x="424" y="348"/>
                  <a:pt x="424" y="348"/>
                </a:cubicBezTo>
                <a:cubicBezTo>
                  <a:pt x="426" y="348"/>
                  <a:pt x="426" y="348"/>
                  <a:pt x="426" y="348"/>
                </a:cubicBezTo>
                <a:cubicBezTo>
                  <a:pt x="427" y="349"/>
                  <a:pt x="427" y="349"/>
                  <a:pt x="427" y="349"/>
                </a:cubicBezTo>
                <a:cubicBezTo>
                  <a:pt x="428" y="350"/>
                  <a:pt x="428" y="350"/>
                  <a:pt x="428" y="350"/>
                </a:cubicBezTo>
                <a:cubicBezTo>
                  <a:pt x="429" y="351"/>
                  <a:pt x="429" y="351"/>
                  <a:pt x="429" y="351"/>
                </a:cubicBezTo>
                <a:cubicBezTo>
                  <a:pt x="431" y="352"/>
                  <a:pt x="431" y="352"/>
                  <a:pt x="431" y="352"/>
                </a:cubicBezTo>
                <a:cubicBezTo>
                  <a:pt x="430" y="353"/>
                  <a:pt x="430" y="353"/>
                  <a:pt x="430" y="353"/>
                </a:cubicBezTo>
                <a:cubicBezTo>
                  <a:pt x="430" y="355"/>
                  <a:pt x="430" y="355"/>
                  <a:pt x="430" y="355"/>
                </a:cubicBezTo>
                <a:cubicBezTo>
                  <a:pt x="432" y="357"/>
                  <a:pt x="432" y="357"/>
                  <a:pt x="432" y="357"/>
                </a:cubicBezTo>
                <a:cubicBezTo>
                  <a:pt x="435" y="359"/>
                  <a:pt x="435" y="359"/>
                  <a:pt x="435" y="359"/>
                </a:cubicBezTo>
                <a:cubicBezTo>
                  <a:pt x="435" y="361"/>
                  <a:pt x="435" y="361"/>
                  <a:pt x="435" y="361"/>
                </a:cubicBezTo>
                <a:cubicBezTo>
                  <a:pt x="435" y="361"/>
                  <a:pt x="435" y="361"/>
                  <a:pt x="435" y="361"/>
                </a:cubicBezTo>
                <a:cubicBezTo>
                  <a:pt x="435" y="363"/>
                  <a:pt x="435" y="363"/>
                  <a:pt x="435" y="363"/>
                </a:cubicBezTo>
                <a:cubicBezTo>
                  <a:pt x="434" y="362"/>
                  <a:pt x="434" y="362"/>
                  <a:pt x="434" y="362"/>
                </a:cubicBezTo>
                <a:cubicBezTo>
                  <a:pt x="430" y="361"/>
                  <a:pt x="430" y="361"/>
                  <a:pt x="430" y="361"/>
                </a:cubicBezTo>
                <a:cubicBezTo>
                  <a:pt x="426" y="360"/>
                  <a:pt x="426" y="360"/>
                  <a:pt x="426" y="360"/>
                </a:cubicBezTo>
                <a:cubicBezTo>
                  <a:pt x="425" y="360"/>
                  <a:pt x="425" y="360"/>
                  <a:pt x="425" y="360"/>
                </a:cubicBezTo>
                <a:cubicBezTo>
                  <a:pt x="423" y="360"/>
                  <a:pt x="423" y="360"/>
                  <a:pt x="423" y="360"/>
                </a:cubicBezTo>
                <a:cubicBezTo>
                  <a:pt x="422" y="360"/>
                  <a:pt x="422" y="360"/>
                  <a:pt x="422" y="360"/>
                </a:cubicBezTo>
                <a:cubicBezTo>
                  <a:pt x="420" y="360"/>
                  <a:pt x="420" y="360"/>
                  <a:pt x="420" y="360"/>
                </a:cubicBezTo>
                <a:cubicBezTo>
                  <a:pt x="419" y="358"/>
                  <a:pt x="419" y="358"/>
                  <a:pt x="419" y="358"/>
                </a:cubicBezTo>
                <a:cubicBezTo>
                  <a:pt x="417" y="358"/>
                  <a:pt x="417" y="358"/>
                  <a:pt x="417" y="358"/>
                </a:cubicBezTo>
                <a:cubicBezTo>
                  <a:pt x="416" y="356"/>
                  <a:pt x="416" y="356"/>
                  <a:pt x="416" y="356"/>
                </a:cubicBezTo>
                <a:cubicBezTo>
                  <a:pt x="415" y="356"/>
                  <a:pt x="415" y="356"/>
                  <a:pt x="415" y="356"/>
                </a:cubicBezTo>
                <a:cubicBezTo>
                  <a:pt x="412" y="356"/>
                  <a:pt x="412" y="356"/>
                  <a:pt x="412" y="356"/>
                </a:cubicBezTo>
                <a:cubicBezTo>
                  <a:pt x="411" y="356"/>
                  <a:pt x="411" y="356"/>
                  <a:pt x="411" y="356"/>
                </a:cubicBezTo>
                <a:cubicBezTo>
                  <a:pt x="410" y="355"/>
                  <a:pt x="410" y="355"/>
                  <a:pt x="410" y="355"/>
                </a:cubicBezTo>
                <a:cubicBezTo>
                  <a:pt x="407" y="354"/>
                  <a:pt x="407" y="354"/>
                  <a:pt x="407" y="354"/>
                </a:cubicBezTo>
                <a:cubicBezTo>
                  <a:pt x="407" y="352"/>
                  <a:pt x="407" y="352"/>
                  <a:pt x="407" y="352"/>
                </a:cubicBezTo>
                <a:cubicBezTo>
                  <a:pt x="406" y="352"/>
                  <a:pt x="406" y="352"/>
                  <a:pt x="406" y="352"/>
                </a:cubicBezTo>
                <a:cubicBezTo>
                  <a:pt x="404" y="351"/>
                  <a:pt x="404" y="351"/>
                  <a:pt x="404" y="351"/>
                </a:cubicBezTo>
                <a:cubicBezTo>
                  <a:pt x="402" y="352"/>
                  <a:pt x="402" y="352"/>
                  <a:pt x="402" y="352"/>
                </a:cubicBezTo>
                <a:cubicBezTo>
                  <a:pt x="401" y="351"/>
                  <a:pt x="401" y="351"/>
                  <a:pt x="401" y="351"/>
                </a:cubicBezTo>
                <a:cubicBezTo>
                  <a:pt x="395" y="351"/>
                  <a:pt x="395" y="351"/>
                  <a:pt x="395" y="351"/>
                </a:cubicBezTo>
                <a:cubicBezTo>
                  <a:pt x="392" y="351"/>
                  <a:pt x="392" y="351"/>
                  <a:pt x="392" y="351"/>
                </a:cubicBezTo>
                <a:cubicBezTo>
                  <a:pt x="390" y="350"/>
                  <a:pt x="390" y="350"/>
                  <a:pt x="390" y="350"/>
                </a:cubicBezTo>
                <a:cubicBezTo>
                  <a:pt x="380" y="350"/>
                  <a:pt x="380" y="350"/>
                  <a:pt x="380" y="350"/>
                </a:cubicBezTo>
                <a:cubicBezTo>
                  <a:pt x="378" y="351"/>
                  <a:pt x="378" y="351"/>
                  <a:pt x="378" y="351"/>
                </a:cubicBezTo>
                <a:cubicBezTo>
                  <a:pt x="376" y="351"/>
                  <a:pt x="376" y="351"/>
                  <a:pt x="376" y="351"/>
                </a:cubicBezTo>
                <a:cubicBezTo>
                  <a:pt x="374" y="353"/>
                  <a:pt x="374" y="353"/>
                  <a:pt x="374" y="353"/>
                </a:cubicBezTo>
                <a:cubicBezTo>
                  <a:pt x="374" y="357"/>
                  <a:pt x="374" y="357"/>
                  <a:pt x="374" y="357"/>
                </a:cubicBezTo>
                <a:cubicBezTo>
                  <a:pt x="372" y="360"/>
                  <a:pt x="372" y="360"/>
                  <a:pt x="372" y="360"/>
                </a:cubicBezTo>
                <a:cubicBezTo>
                  <a:pt x="373" y="364"/>
                  <a:pt x="373" y="364"/>
                  <a:pt x="373" y="364"/>
                </a:cubicBezTo>
                <a:cubicBezTo>
                  <a:pt x="372" y="365"/>
                  <a:pt x="372" y="365"/>
                  <a:pt x="372" y="365"/>
                </a:cubicBezTo>
                <a:cubicBezTo>
                  <a:pt x="372" y="367"/>
                  <a:pt x="372" y="367"/>
                  <a:pt x="372" y="367"/>
                </a:cubicBezTo>
                <a:cubicBezTo>
                  <a:pt x="374" y="367"/>
                  <a:pt x="374" y="367"/>
                  <a:pt x="374" y="367"/>
                </a:cubicBezTo>
                <a:cubicBezTo>
                  <a:pt x="374" y="369"/>
                  <a:pt x="374" y="369"/>
                  <a:pt x="374" y="369"/>
                </a:cubicBezTo>
                <a:cubicBezTo>
                  <a:pt x="373" y="369"/>
                  <a:pt x="373" y="369"/>
                  <a:pt x="373" y="369"/>
                </a:cubicBezTo>
                <a:cubicBezTo>
                  <a:pt x="374" y="374"/>
                  <a:pt x="374" y="374"/>
                  <a:pt x="374" y="374"/>
                </a:cubicBezTo>
                <a:cubicBezTo>
                  <a:pt x="376" y="376"/>
                  <a:pt x="376" y="376"/>
                  <a:pt x="376" y="376"/>
                </a:cubicBezTo>
                <a:cubicBezTo>
                  <a:pt x="377" y="377"/>
                  <a:pt x="377" y="377"/>
                  <a:pt x="377" y="377"/>
                </a:cubicBezTo>
                <a:cubicBezTo>
                  <a:pt x="380" y="379"/>
                  <a:pt x="380" y="379"/>
                  <a:pt x="380" y="379"/>
                </a:cubicBezTo>
                <a:cubicBezTo>
                  <a:pt x="381" y="380"/>
                  <a:pt x="381" y="380"/>
                  <a:pt x="381" y="380"/>
                </a:cubicBezTo>
                <a:cubicBezTo>
                  <a:pt x="383" y="380"/>
                  <a:pt x="383" y="380"/>
                  <a:pt x="383" y="380"/>
                </a:cubicBezTo>
                <a:cubicBezTo>
                  <a:pt x="384" y="381"/>
                  <a:pt x="384" y="381"/>
                  <a:pt x="384" y="381"/>
                </a:cubicBezTo>
                <a:cubicBezTo>
                  <a:pt x="386" y="382"/>
                  <a:pt x="386" y="382"/>
                  <a:pt x="386" y="382"/>
                </a:cubicBezTo>
                <a:cubicBezTo>
                  <a:pt x="389" y="380"/>
                  <a:pt x="389" y="380"/>
                  <a:pt x="389" y="380"/>
                </a:cubicBezTo>
                <a:cubicBezTo>
                  <a:pt x="390" y="381"/>
                  <a:pt x="390" y="381"/>
                  <a:pt x="390" y="381"/>
                </a:cubicBezTo>
                <a:cubicBezTo>
                  <a:pt x="392" y="382"/>
                  <a:pt x="392" y="382"/>
                  <a:pt x="392" y="382"/>
                </a:cubicBezTo>
                <a:cubicBezTo>
                  <a:pt x="394" y="382"/>
                  <a:pt x="394" y="382"/>
                  <a:pt x="394" y="382"/>
                </a:cubicBezTo>
                <a:cubicBezTo>
                  <a:pt x="396" y="385"/>
                  <a:pt x="396" y="385"/>
                  <a:pt x="396" y="385"/>
                </a:cubicBezTo>
                <a:cubicBezTo>
                  <a:pt x="397" y="386"/>
                  <a:pt x="397" y="386"/>
                  <a:pt x="397" y="386"/>
                </a:cubicBezTo>
                <a:cubicBezTo>
                  <a:pt x="398" y="387"/>
                  <a:pt x="398" y="387"/>
                  <a:pt x="398" y="387"/>
                </a:cubicBezTo>
                <a:cubicBezTo>
                  <a:pt x="395" y="388"/>
                  <a:pt x="395" y="388"/>
                  <a:pt x="395" y="388"/>
                </a:cubicBezTo>
                <a:cubicBezTo>
                  <a:pt x="396" y="389"/>
                  <a:pt x="396" y="389"/>
                  <a:pt x="396" y="389"/>
                </a:cubicBezTo>
                <a:cubicBezTo>
                  <a:pt x="394" y="390"/>
                  <a:pt x="394" y="390"/>
                  <a:pt x="394" y="390"/>
                </a:cubicBezTo>
                <a:cubicBezTo>
                  <a:pt x="395" y="392"/>
                  <a:pt x="395" y="392"/>
                  <a:pt x="395" y="392"/>
                </a:cubicBezTo>
                <a:cubicBezTo>
                  <a:pt x="394" y="393"/>
                  <a:pt x="394" y="393"/>
                  <a:pt x="394" y="393"/>
                </a:cubicBezTo>
                <a:cubicBezTo>
                  <a:pt x="391" y="395"/>
                  <a:pt x="391" y="395"/>
                  <a:pt x="391" y="395"/>
                </a:cubicBezTo>
                <a:cubicBezTo>
                  <a:pt x="391" y="396"/>
                  <a:pt x="391" y="396"/>
                  <a:pt x="391" y="396"/>
                </a:cubicBezTo>
                <a:cubicBezTo>
                  <a:pt x="390" y="397"/>
                  <a:pt x="390" y="397"/>
                  <a:pt x="390" y="397"/>
                </a:cubicBezTo>
                <a:cubicBezTo>
                  <a:pt x="392" y="399"/>
                  <a:pt x="392" y="399"/>
                  <a:pt x="392" y="399"/>
                </a:cubicBezTo>
                <a:cubicBezTo>
                  <a:pt x="392" y="402"/>
                  <a:pt x="392" y="402"/>
                  <a:pt x="392" y="402"/>
                </a:cubicBezTo>
                <a:cubicBezTo>
                  <a:pt x="393" y="404"/>
                  <a:pt x="393" y="404"/>
                  <a:pt x="393" y="404"/>
                </a:cubicBezTo>
                <a:cubicBezTo>
                  <a:pt x="393" y="406"/>
                  <a:pt x="393" y="406"/>
                  <a:pt x="393" y="406"/>
                </a:cubicBezTo>
                <a:cubicBezTo>
                  <a:pt x="390" y="407"/>
                  <a:pt x="390" y="407"/>
                  <a:pt x="390" y="407"/>
                </a:cubicBezTo>
                <a:cubicBezTo>
                  <a:pt x="391" y="408"/>
                  <a:pt x="391" y="408"/>
                  <a:pt x="391" y="408"/>
                </a:cubicBezTo>
                <a:cubicBezTo>
                  <a:pt x="395" y="408"/>
                  <a:pt x="395" y="408"/>
                  <a:pt x="395" y="408"/>
                </a:cubicBezTo>
                <a:cubicBezTo>
                  <a:pt x="396" y="408"/>
                  <a:pt x="396" y="408"/>
                  <a:pt x="396" y="408"/>
                </a:cubicBezTo>
                <a:cubicBezTo>
                  <a:pt x="398" y="408"/>
                  <a:pt x="398" y="408"/>
                  <a:pt x="398" y="408"/>
                </a:cubicBezTo>
                <a:cubicBezTo>
                  <a:pt x="398" y="409"/>
                  <a:pt x="398" y="409"/>
                  <a:pt x="398" y="409"/>
                </a:cubicBezTo>
                <a:cubicBezTo>
                  <a:pt x="399" y="407"/>
                  <a:pt x="399" y="407"/>
                  <a:pt x="399" y="407"/>
                </a:cubicBezTo>
                <a:cubicBezTo>
                  <a:pt x="401" y="407"/>
                  <a:pt x="401" y="407"/>
                  <a:pt x="401" y="407"/>
                </a:cubicBezTo>
                <a:cubicBezTo>
                  <a:pt x="402" y="408"/>
                  <a:pt x="402" y="408"/>
                  <a:pt x="402" y="408"/>
                </a:cubicBezTo>
                <a:cubicBezTo>
                  <a:pt x="405" y="408"/>
                  <a:pt x="405" y="408"/>
                  <a:pt x="405" y="408"/>
                </a:cubicBezTo>
                <a:cubicBezTo>
                  <a:pt x="409" y="410"/>
                  <a:pt x="409" y="410"/>
                  <a:pt x="409" y="410"/>
                </a:cubicBezTo>
                <a:cubicBezTo>
                  <a:pt x="410" y="408"/>
                  <a:pt x="410" y="408"/>
                  <a:pt x="410" y="408"/>
                </a:cubicBezTo>
                <a:cubicBezTo>
                  <a:pt x="413" y="408"/>
                  <a:pt x="413" y="408"/>
                  <a:pt x="413" y="408"/>
                </a:cubicBezTo>
                <a:cubicBezTo>
                  <a:pt x="414" y="409"/>
                  <a:pt x="414" y="409"/>
                  <a:pt x="414" y="409"/>
                </a:cubicBezTo>
                <a:cubicBezTo>
                  <a:pt x="415" y="409"/>
                  <a:pt x="415" y="409"/>
                  <a:pt x="415" y="409"/>
                </a:cubicBezTo>
                <a:cubicBezTo>
                  <a:pt x="415" y="409"/>
                  <a:pt x="415" y="409"/>
                  <a:pt x="415" y="409"/>
                </a:cubicBezTo>
                <a:cubicBezTo>
                  <a:pt x="417" y="408"/>
                  <a:pt x="417" y="408"/>
                  <a:pt x="417" y="408"/>
                </a:cubicBezTo>
                <a:cubicBezTo>
                  <a:pt x="418" y="409"/>
                  <a:pt x="418" y="409"/>
                  <a:pt x="418" y="409"/>
                </a:cubicBezTo>
                <a:cubicBezTo>
                  <a:pt x="419" y="410"/>
                  <a:pt x="419" y="410"/>
                  <a:pt x="419" y="410"/>
                </a:cubicBezTo>
                <a:cubicBezTo>
                  <a:pt x="420" y="410"/>
                  <a:pt x="420" y="410"/>
                  <a:pt x="420" y="410"/>
                </a:cubicBezTo>
                <a:cubicBezTo>
                  <a:pt x="421" y="409"/>
                  <a:pt x="421" y="409"/>
                  <a:pt x="421" y="409"/>
                </a:cubicBezTo>
                <a:cubicBezTo>
                  <a:pt x="422" y="410"/>
                  <a:pt x="422" y="410"/>
                  <a:pt x="422" y="410"/>
                </a:cubicBezTo>
                <a:cubicBezTo>
                  <a:pt x="422" y="412"/>
                  <a:pt x="422" y="412"/>
                  <a:pt x="422" y="412"/>
                </a:cubicBezTo>
                <a:cubicBezTo>
                  <a:pt x="424" y="412"/>
                  <a:pt x="424" y="412"/>
                  <a:pt x="424" y="412"/>
                </a:cubicBezTo>
                <a:cubicBezTo>
                  <a:pt x="425" y="411"/>
                  <a:pt x="425" y="411"/>
                  <a:pt x="425" y="411"/>
                </a:cubicBezTo>
                <a:cubicBezTo>
                  <a:pt x="428" y="411"/>
                  <a:pt x="428" y="411"/>
                  <a:pt x="428" y="411"/>
                </a:cubicBezTo>
                <a:cubicBezTo>
                  <a:pt x="429" y="409"/>
                  <a:pt x="429" y="409"/>
                  <a:pt x="429" y="409"/>
                </a:cubicBezTo>
                <a:cubicBezTo>
                  <a:pt x="431" y="408"/>
                  <a:pt x="431" y="408"/>
                  <a:pt x="431" y="408"/>
                </a:cubicBezTo>
                <a:cubicBezTo>
                  <a:pt x="433" y="408"/>
                  <a:pt x="433" y="408"/>
                  <a:pt x="433" y="408"/>
                </a:cubicBezTo>
                <a:cubicBezTo>
                  <a:pt x="435" y="406"/>
                  <a:pt x="435" y="406"/>
                  <a:pt x="435" y="406"/>
                </a:cubicBezTo>
                <a:cubicBezTo>
                  <a:pt x="438" y="405"/>
                  <a:pt x="438" y="405"/>
                  <a:pt x="438" y="405"/>
                </a:cubicBezTo>
                <a:cubicBezTo>
                  <a:pt x="440" y="404"/>
                  <a:pt x="440" y="404"/>
                  <a:pt x="440" y="404"/>
                </a:cubicBezTo>
                <a:cubicBezTo>
                  <a:pt x="441" y="403"/>
                  <a:pt x="441" y="403"/>
                  <a:pt x="441" y="403"/>
                </a:cubicBezTo>
                <a:cubicBezTo>
                  <a:pt x="442" y="403"/>
                  <a:pt x="442" y="403"/>
                  <a:pt x="442" y="403"/>
                </a:cubicBezTo>
                <a:cubicBezTo>
                  <a:pt x="445" y="404"/>
                  <a:pt x="445" y="404"/>
                  <a:pt x="445" y="404"/>
                </a:cubicBezTo>
                <a:cubicBezTo>
                  <a:pt x="447" y="403"/>
                  <a:pt x="447" y="403"/>
                  <a:pt x="447" y="403"/>
                </a:cubicBezTo>
                <a:cubicBezTo>
                  <a:pt x="448" y="404"/>
                  <a:pt x="448" y="404"/>
                  <a:pt x="448" y="404"/>
                </a:cubicBezTo>
                <a:cubicBezTo>
                  <a:pt x="453" y="404"/>
                  <a:pt x="453" y="404"/>
                  <a:pt x="453" y="404"/>
                </a:cubicBezTo>
                <a:cubicBezTo>
                  <a:pt x="458" y="401"/>
                  <a:pt x="458" y="401"/>
                  <a:pt x="458" y="401"/>
                </a:cubicBezTo>
                <a:cubicBezTo>
                  <a:pt x="458" y="400"/>
                  <a:pt x="458" y="400"/>
                  <a:pt x="458" y="400"/>
                </a:cubicBezTo>
                <a:cubicBezTo>
                  <a:pt x="459" y="400"/>
                  <a:pt x="459" y="400"/>
                  <a:pt x="459" y="400"/>
                </a:cubicBezTo>
                <a:cubicBezTo>
                  <a:pt x="460" y="400"/>
                  <a:pt x="460" y="400"/>
                  <a:pt x="460" y="400"/>
                </a:cubicBezTo>
                <a:cubicBezTo>
                  <a:pt x="461" y="399"/>
                  <a:pt x="461" y="399"/>
                  <a:pt x="461" y="399"/>
                </a:cubicBezTo>
                <a:cubicBezTo>
                  <a:pt x="463" y="398"/>
                  <a:pt x="463" y="398"/>
                  <a:pt x="463" y="398"/>
                </a:cubicBezTo>
                <a:cubicBezTo>
                  <a:pt x="463" y="396"/>
                  <a:pt x="463" y="396"/>
                  <a:pt x="463" y="396"/>
                </a:cubicBezTo>
                <a:cubicBezTo>
                  <a:pt x="463" y="396"/>
                  <a:pt x="463" y="396"/>
                  <a:pt x="463" y="396"/>
                </a:cubicBezTo>
                <a:cubicBezTo>
                  <a:pt x="464" y="396"/>
                  <a:pt x="464" y="396"/>
                  <a:pt x="464" y="396"/>
                </a:cubicBezTo>
                <a:cubicBezTo>
                  <a:pt x="466" y="396"/>
                  <a:pt x="466" y="396"/>
                  <a:pt x="466" y="396"/>
                </a:cubicBezTo>
                <a:cubicBezTo>
                  <a:pt x="467" y="394"/>
                  <a:pt x="467" y="394"/>
                  <a:pt x="467" y="394"/>
                </a:cubicBezTo>
                <a:cubicBezTo>
                  <a:pt x="466" y="393"/>
                  <a:pt x="466" y="393"/>
                  <a:pt x="466" y="393"/>
                </a:cubicBezTo>
                <a:cubicBezTo>
                  <a:pt x="467" y="394"/>
                  <a:pt x="467" y="394"/>
                  <a:pt x="467" y="394"/>
                </a:cubicBezTo>
                <a:cubicBezTo>
                  <a:pt x="469" y="393"/>
                  <a:pt x="469" y="393"/>
                  <a:pt x="469" y="393"/>
                </a:cubicBezTo>
                <a:cubicBezTo>
                  <a:pt x="469" y="395"/>
                  <a:pt x="469" y="395"/>
                  <a:pt x="469" y="395"/>
                </a:cubicBezTo>
                <a:cubicBezTo>
                  <a:pt x="469" y="396"/>
                  <a:pt x="469" y="396"/>
                  <a:pt x="469" y="396"/>
                </a:cubicBezTo>
                <a:cubicBezTo>
                  <a:pt x="470" y="397"/>
                  <a:pt x="470" y="397"/>
                  <a:pt x="470" y="397"/>
                </a:cubicBezTo>
                <a:cubicBezTo>
                  <a:pt x="468" y="398"/>
                  <a:pt x="468" y="398"/>
                  <a:pt x="468" y="398"/>
                </a:cubicBezTo>
                <a:cubicBezTo>
                  <a:pt x="468" y="400"/>
                  <a:pt x="468" y="400"/>
                  <a:pt x="468" y="400"/>
                </a:cubicBezTo>
                <a:cubicBezTo>
                  <a:pt x="467" y="401"/>
                  <a:pt x="467" y="401"/>
                  <a:pt x="467" y="401"/>
                </a:cubicBezTo>
                <a:cubicBezTo>
                  <a:pt x="466" y="402"/>
                  <a:pt x="466" y="402"/>
                  <a:pt x="466" y="402"/>
                </a:cubicBezTo>
                <a:cubicBezTo>
                  <a:pt x="466" y="403"/>
                  <a:pt x="466" y="403"/>
                  <a:pt x="466" y="403"/>
                </a:cubicBezTo>
                <a:cubicBezTo>
                  <a:pt x="468" y="403"/>
                  <a:pt x="468" y="403"/>
                  <a:pt x="468" y="403"/>
                </a:cubicBezTo>
                <a:cubicBezTo>
                  <a:pt x="470" y="405"/>
                  <a:pt x="470" y="405"/>
                  <a:pt x="470" y="405"/>
                </a:cubicBezTo>
                <a:cubicBezTo>
                  <a:pt x="471" y="404"/>
                  <a:pt x="471" y="404"/>
                  <a:pt x="471" y="404"/>
                </a:cubicBezTo>
                <a:cubicBezTo>
                  <a:pt x="472" y="404"/>
                  <a:pt x="472" y="404"/>
                  <a:pt x="472" y="404"/>
                </a:cubicBezTo>
                <a:cubicBezTo>
                  <a:pt x="474" y="405"/>
                  <a:pt x="474" y="405"/>
                  <a:pt x="474" y="405"/>
                </a:cubicBezTo>
                <a:cubicBezTo>
                  <a:pt x="475" y="407"/>
                  <a:pt x="475" y="407"/>
                  <a:pt x="475" y="407"/>
                </a:cubicBezTo>
                <a:cubicBezTo>
                  <a:pt x="476" y="408"/>
                  <a:pt x="476" y="408"/>
                  <a:pt x="476" y="408"/>
                </a:cubicBezTo>
                <a:cubicBezTo>
                  <a:pt x="476" y="407"/>
                  <a:pt x="476" y="407"/>
                  <a:pt x="476" y="407"/>
                </a:cubicBezTo>
                <a:cubicBezTo>
                  <a:pt x="477" y="406"/>
                  <a:pt x="477" y="406"/>
                  <a:pt x="477" y="406"/>
                </a:cubicBezTo>
                <a:cubicBezTo>
                  <a:pt x="478" y="407"/>
                  <a:pt x="478" y="407"/>
                  <a:pt x="478" y="407"/>
                </a:cubicBezTo>
                <a:cubicBezTo>
                  <a:pt x="478" y="409"/>
                  <a:pt x="478" y="409"/>
                  <a:pt x="478" y="409"/>
                </a:cubicBezTo>
                <a:cubicBezTo>
                  <a:pt x="477" y="410"/>
                  <a:pt x="477" y="410"/>
                  <a:pt x="477" y="410"/>
                </a:cubicBezTo>
                <a:cubicBezTo>
                  <a:pt x="475" y="410"/>
                  <a:pt x="475" y="410"/>
                  <a:pt x="475" y="410"/>
                </a:cubicBezTo>
                <a:cubicBezTo>
                  <a:pt x="473" y="412"/>
                  <a:pt x="473" y="412"/>
                  <a:pt x="473" y="412"/>
                </a:cubicBezTo>
                <a:cubicBezTo>
                  <a:pt x="474" y="413"/>
                  <a:pt x="474" y="413"/>
                  <a:pt x="474" y="413"/>
                </a:cubicBezTo>
                <a:cubicBezTo>
                  <a:pt x="475" y="413"/>
                  <a:pt x="475" y="413"/>
                  <a:pt x="475" y="413"/>
                </a:cubicBezTo>
                <a:cubicBezTo>
                  <a:pt x="477" y="413"/>
                  <a:pt x="477" y="413"/>
                  <a:pt x="477" y="413"/>
                </a:cubicBezTo>
                <a:cubicBezTo>
                  <a:pt x="478" y="415"/>
                  <a:pt x="478" y="415"/>
                  <a:pt x="478" y="415"/>
                </a:cubicBezTo>
                <a:cubicBezTo>
                  <a:pt x="480" y="414"/>
                  <a:pt x="480" y="414"/>
                  <a:pt x="480" y="414"/>
                </a:cubicBezTo>
                <a:cubicBezTo>
                  <a:pt x="482" y="412"/>
                  <a:pt x="482" y="412"/>
                  <a:pt x="482" y="412"/>
                </a:cubicBezTo>
                <a:cubicBezTo>
                  <a:pt x="482" y="412"/>
                  <a:pt x="482" y="412"/>
                  <a:pt x="482" y="412"/>
                </a:cubicBezTo>
                <a:cubicBezTo>
                  <a:pt x="482" y="414"/>
                  <a:pt x="482" y="414"/>
                  <a:pt x="482" y="414"/>
                </a:cubicBezTo>
                <a:cubicBezTo>
                  <a:pt x="484" y="416"/>
                  <a:pt x="484" y="416"/>
                  <a:pt x="484" y="416"/>
                </a:cubicBezTo>
                <a:cubicBezTo>
                  <a:pt x="485" y="417"/>
                  <a:pt x="485" y="417"/>
                  <a:pt x="485" y="417"/>
                </a:cubicBezTo>
                <a:cubicBezTo>
                  <a:pt x="486" y="416"/>
                  <a:pt x="486" y="416"/>
                  <a:pt x="486" y="416"/>
                </a:cubicBezTo>
                <a:cubicBezTo>
                  <a:pt x="488" y="416"/>
                  <a:pt x="488" y="416"/>
                  <a:pt x="488" y="416"/>
                </a:cubicBezTo>
                <a:cubicBezTo>
                  <a:pt x="489" y="418"/>
                  <a:pt x="489" y="418"/>
                  <a:pt x="489" y="418"/>
                </a:cubicBezTo>
                <a:cubicBezTo>
                  <a:pt x="491" y="418"/>
                  <a:pt x="491" y="418"/>
                  <a:pt x="491" y="418"/>
                </a:cubicBezTo>
                <a:cubicBezTo>
                  <a:pt x="492" y="419"/>
                  <a:pt x="492" y="419"/>
                  <a:pt x="492" y="419"/>
                </a:cubicBezTo>
                <a:cubicBezTo>
                  <a:pt x="493" y="419"/>
                  <a:pt x="493" y="419"/>
                  <a:pt x="493" y="419"/>
                </a:cubicBezTo>
                <a:cubicBezTo>
                  <a:pt x="493" y="417"/>
                  <a:pt x="493" y="417"/>
                  <a:pt x="493" y="417"/>
                </a:cubicBezTo>
                <a:cubicBezTo>
                  <a:pt x="494" y="417"/>
                  <a:pt x="494" y="417"/>
                  <a:pt x="494" y="417"/>
                </a:cubicBezTo>
                <a:cubicBezTo>
                  <a:pt x="496" y="417"/>
                  <a:pt x="496" y="417"/>
                  <a:pt x="496" y="417"/>
                </a:cubicBezTo>
                <a:cubicBezTo>
                  <a:pt x="497" y="417"/>
                  <a:pt x="497" y="417"/>
                  <a:pt x="497" y="417"/>
                </a:cubicBezTo>
                <a:cubicBezTo>
                  <a:pt x="497" y="419"/>
                  <a:pt x="497" y="419"/>
                  <a:pt x="497" y="419"/>
                </a:cubicBezTo>
                <a:cubicBezTo>
                  <a:pt x="497" y="420"/>
                  <a:pt x="497" y="420"/>
                  <a:pt x="497" y="420"/>
                </a:cubicBezTo>
                <a:cubicBezTo>
                  <a:pt x="499" y="419"/>
                  <a:pt x="499" y="419"/>
                  <a:pt x="499" y="419"/>
                </a:cubicBezTo>
                <a:cubicBezTo>
                  <a:pt x="501" y="417"/>
                  <a:pt x="501" y="417"/>
                  <a:pt x="501" y="417"/>
                </a:cubicBezTo>
                <a:cubicBezTo>
                  <a:pt x="501" y="418"/>
                  <a:pt x="501" y="418"/>
                  <a:pt x="501" y="418"/>
                </a:cubicBezTo>
                <a:cubicBezTo>
                  <a:pt x="502" y="419"/>
                  <a:pt x="502" y="419"/>
                  <a:pt x="502" y="419"/>
                </a:cubicBezTo>
                <a:cubicBezTo>
                  <a:pt x="503" y="419"/>
                  <a:pt x="503" y="419"/>
                  <a:pt x="503" y="419"/>
                </a:cubicBezTo>
                <a:cubicBezTo>
                  <a:pt x="504" y="418"/>
                  <a:pt x="504" y="418"/>
                  <a:pt x="504" y="418"/>
                </a:cubicBezTo>
                <a:cubicBezTo>
                  <a:pt x="504" y="418"/>
                  <a:pt x="504" y="418"/>
                  <a:pt x="504" y="418"/>
                </a:cubicBezTo>
                <a:cubicBezTo>
                  <a:pt x="506" y="416"/>
                  <a:pt x="506" y="416"/>
                  <a:pt x="506" y="416"/>
                </a:cubicBezTo>
                <a:cubicBezTo>
                  <a:pt x="507" y="417"/>
                  <a:pt x="507" y="417"/>
                  <a:pt x="507" y="417"/>
                </a:cubicBezTo>
                <a:cubicBezTo>
                  <a:pt x="508" y="417"/>
                  <a:pt x="508" y="417"/>
                  <a:pt x="508" y="417"/>
                </a:cubicBezTo>
                <a:cubicBezTo>
                  <a:pt x="509" y="418"/>
                  <a:pt x="509" y="418"/>
                  <a:pt x="509" y="418"/>
                </a:cubicBezTo>
                <a:cubicBezTo>
                  <a:pt x="510" y="417"/>
                  <a:pt x="510" y="417"/>
                  <a:pt x="510" y="417"/>
                </a:cubicBezTo>
                <a:close/>
                <a:moveTo>
                  <a:pt x="738" y="503"/>
                </a:moveTo>
                <a:cubicBezTo>
                  <a:pt x="738" y="501"/>
                  <a:pt x="738" y="501"/>
                  <a:pt x="738" y="501"/>
                </a:cubicBezTo>
                <a:cubicBezTo>
                  <a:pt x="738" y="500"/>
                  <a:pt x="738" y="500"/>
                  <a:pt x="738" y="500"/>
                </a:cubicBezTo>
                <a:cubicBezTo>
                  <a:pt x="738" y="497"/>
                  <a:pt x="738" y="497"/>
                  <a:pt x="738" y="497"/>
                </a:cubicBezTo>
                <a:cubicBezTo>
                  <a:pt x="738" y="494"/>
                  <a:pt x="738" y="494"/>
                  <a:pt x="738" y="494"/>
                </a:cubicBezTo>
                <a:cubicBezTo>
                  <a:pt x="741" y="491"/>
                  <a:pt x="741" y="491"/>
                  <a:pt x="741" y="491"/>
                </a:cubicBezTo>
                <a:cubicBezTo>
                  <a:pt x="743" y="488"/>
                  <a:pt x="743" y="488"/>
                  <a:pt x="743" y="488"/>
                </a:cubicBezTo>
                <a:cubicBezTo>
                  <a:pt x="745" y="487"/>
                  <a:pt x="745" y="487"/>
                  <a:pt x="745" y="487"/>
                </a:cubicBezTo>
                <a:cubicBezTo>
                  <a:pt x="748" y="482"/>
                  <a:pt x="748" y="482"/>
                  <a:pt x="748" y="482"/>
                </a:cubicBezTo>
                <a:cubicBezTo>
                  <a:pt x="750" y="481"/>
                  <a:pt x="750" y="481"/>
                  <a:pt x="750" y="481"/>
                </a:cubicBezTo>
                <a:cubicBezTo>
                  <a:pt x="752" y="481"/>
                  <a:pt x="752" y="481"/>
                  <a:pt x="752" y="481"/>
                </a:cubicBezTo>
                <a:cubicBezTo>
                  <a:pt x="753" y="480"/>
                  <a:pt x="753" y="480"/>
                  <a:pt x="753" y="480"/>
                </a:cubicBezTo>
                <a:cubicBezTo>
                  <a:pt x="754" y="480"/>
                  <a:pt x="754" y="480"/>
                  <a:pt x="754" y="480"/>
                </a:cubicBezTo>
                <a:cubicBezTo>
                  <a:pt x="756" y="479"/>
                  <a:pt x="756" y="479"/>
                  <a:pt x="756" y="479"/>
                </a:cubicBezTo>
                <a:cubicBezTo>
                  <a:pt x="759" y="480"/>
                  <a:pt x="759" y="480"/>
                  <a:pt x="759" y="480"/>
                </a:cubicBezTo>
                <a:cubicBezTo>
                  <a:pt x="760" y="481"/>
                  <a:pt x="760" y="481"/>
                  <a:pt x="760" y="481"/>
                </a:cubicBezTo>
                <a:cubicBezTo>
                  <a:pt x="761" y="481"/>
                  <a:pt x="761" y="481"/>
                  <a:pt x="761" y="481"/>
                </a:cubicBezTo>
                <a:cubicBezTo>
                  <a:pt x="763" y="483"/>
                  <a:pt x="763" y="483"/>
                  <a:pt x="763" y="483"/>
                </a:cubicBezTo>
                <a:cubicBezTo>
                  <a:pt x="764" y="486"/>
                  <a:pt x="764" y="486"/>
                  <a:pt x="764" y="486"/>
                </a:cubicBezTo>
                <a:cubicBezTo>
                  <a:pt x="764" y="487"/>
                  <a:pt x="764" y="487"/>
                  <a:pt x="764" y="487"/>
                </a:cubicBezTo>
                <a:cubicBezTo>
                  <a:pt x="762" y="489"/>
                  <a:pt x="762" y="489"/>
                  <a:pt x="762" y="489"/>
                </a:cubicBezTo>
                <a:cubicBezTo>
                  <a:pt x="761" y="492"/>
                  <a:pt x="761" y="492"/>
                  <a:pt x="761" y="492"/>
                </a:cubicBezTo>
                <a:cubicBezTo>
                  <a:pt x="760" y="494"/>
                  <a:pt x="760" y="494"/>
                  <a:pt x="760" y="494"/>
                </a:cubicBezTo>
                <a:cubicBezTo>
                  <a:pt x="757" y="499"/>
                  <a:pt x="757" y="499"/>
                  <a:pt x="757" y="499"/>
                </a:cubicBezTo>
                <a:cubicBezTo>
                  <a:pt x="756" y="501"/>
                  <a:pt x="756" y="501"/>
                  <a:pt x="756" y="501"/>
                </a:cubicBezTo>
                <a:cubicBezTo>
                  <a:pt x="754" y="501"/>
                  <a:pt x="754" y="501"/>
                  <a:pt x="754" y="501"/>
                </a:cubicBezTo>
                <a:cubicBezTo>
                  <a:pt x="751" y="503"/>
                  <a:pt x="751" y="503"/>
                  <a:pt x="751" y="503"/>
                </a:cubicBezTo>
                <a:cubicBezTo>
                  <a:pt x="751" y="504"/>
                  <a:pt x="751" y="504"/>
                  <a:pt x="751" y="504"/>
                </a:cubicBezTo>
                <a:cubicBezTo>
                  <a:pt x="749" y="504"/>
                  <a:pt x="749" y="504"/>
                  <a:pt x="749" y="504"/>
                </a:cubicBezTo>
                <a:cubicBezTo>
                  <a:pt x="746" y="505"/>
                  <a:pt x="746" y="505"/>
                  <a:pt x="746" y="505"/>
                </a:cubicBezTo>
                <a:cubicBezTo>
                  <a:pt x="745" y="504"/>
                  <a:pt x="745" y="504"/>
                  <a:pt x="745" y="504"/>
                </a:cubicBezTo>
                <a:cubicBezTo>
                  <a:pt x="741" y="505"/>
                  <a:pt x="741" y="505"/>
                  <a:pt x="741" y="505"/>
                </a:cubicBezTo>
                <a:cubicBezTo>
                  <a:pt x="739" y="504"/>
                  <a:pt x="739" y="504"/>
                  <a:pt x="739" y="504"/>
                </a:cubicBezTo>
                <a:cubicBezTo>
                  <a:pt x="738" y="504"/>
                  <a:pt x="738" y="504"/>
                  <a:pt x="738" y="504"/>
                </a:cubicBezTo>
                <a:cubicBezTo>
                  <a:pt x="738" y="503"/>
                  <a:pt x="738" y="503"/>
                  <a:pt x="738" y="503"/>
                </a:cubicBezTo>
                <a:close/>
                <a:moveTo>
                  <a:pt x="521" y="410"/>
                </a:moveTo>
                <a:cubicBezTo>
                  <a:pt x="521" y="409"/>
                  <a:pt x="521" y="409"/>
                  <a:pt x="521" y="409"/>
                </a:cubicBezTo>
                <a:cubicBezTo>
                  <a:pt x="521" y="407"/>
                  <a:pt x="521" y="407"/>
                  <a:pt x="521" y="407"/>
                </a:cubicBezTo>
                <a:cubicBezTo>
                  <a:pt x="523" y="407"/>
                  <a:pt x="523" y="407"/>
                  <a:pt x="523" y="407"/>
                </a:cubicBezTo>
                <a:cubicBezTo>
                  <a:pt x="522" y="405"/>
                  <a:pt x="522" y="405"/>
                  <a:pt x="522" y="405"/>
                </a:cubicBezTo>
                <a:cubicBezTo>
                  <a:pt x="522" y="403"/>
                  <a:pt x="522" y="403"/>
                  <a:pt x="522" y="403"/>
                </a:cubicBezTo>
                <a:cubicBezTo>
                  <a:pt x="523" y="403"/>
                  <a:pt x="523" y="403"/>
                  <a:pt x="523" y="403"/>
                </a:cubicBezTo>
                <a:cubicBezTo>
                  <a:pt x="523" y="405"/>
                  <a:pt x="523" y="405"/>
                  <a:pt x="523" y="405"/>
                </a:cubicBezTo>
                <a:cubicBezTo>
                  <a:pt x="525" y="406"/>
                  <a:pt x="525" y="406"/>
                  <a:pt x="525" y="406"/>
                </a:cubicBezTo>
                <a:cubicBezTo>
                  <a:pt x="525" y="407"/>
                  <a:pt x="525" y="407"/>
                  <a:pt x="525" y="407"/>
                </a:cubicBezTo>
                <a:cubicBezTo>
                  <a:pt x="524" y="409"/>
                  <a:pt x="524" y="409"/>
                  <a:pt x="524" y="409"/>
                </a:cubicBezTo>
                <a:cubicBezTo>
                  <a:pt x="523" y="409"/>
                  <a:pt x="523" y="409"/>
                  <a:pt x="523" y="409"/>
                </a:cubicBezTo>
                <a:cubicBezTo>
                  <a:pt x="522" y="410"/>
                  <a:pt x="522" y="410"/>
                  <a:pt x="522" y="410"/>
                </a:cubicBezTo>
                <a:cubicBezTo>
                  <a:pt x="521" y="410"/>
                  <a:pt x="521" y="410"/>
                  <a:pt x="521" y="410"/>
                </a:cubicBezTo>
                <a:close/>
                <a:moveTo>
                  <a:pt x="500" y="429"/>
                </a:moveTo>
                <a:cubicBezTo>
                  <a:pt x="502" y="428"/>
                  <a:pt x="502" y="428"/>
                  <a:pt x="502" y="428"/>
                </a:cubicBezTo>
                <a:cubicBezTo>
                  <a:pt x="503" y="426"/>
                  <a:pt x="503" y="426"/>
                  <a:pt x="503" y="426"/>
                </a:cubicBezTo>
                <a:cubicBezTo>
                  <a:pt x="503" y="425"/>
                  <a:pt x="503" y="425"/>
                  <a:pt x="503" y="425"/>
                </a:cubicBezTo>
                <a:cubicBezTo>
                  <a:pt x="503" y="423"/>
                  <a:pt x="503" y="423"/>
                  <a:pt x="503" y="423"/>
                </a:cubicBezTo>
                <a:cubicBezTo>
                  <a:pt x="503" y="423"/>
                  <a:pt x="503" y="423"/>
                  <a:pt x="503" y="423"/>
                </a:cubicBezTo>
                <a:cubicBezTo>
                  <a:pt x="501" y="424"/>
                  <a:pt x="501" y="424"/>
                  <a:pt x="501" y="424"/>
                </a:cubicBezTo>
                <a:cubicBezTo>
                  <a:pt x="501" y="425"/>
                  <a:pt x="501" y="425"/>
                  <a:pt x="501" y="425"/>
                </a:cubicBezTo>
                <a:cubicBezTo>
                  <a:pt x="498" y="425"/>
                  <a:pt x="498" y="425"/>
                  <a:pt x="498" y="425"/>
                </a:cubicBezTo>
                <a:cubicBezTo>
                  <a:pt x="498" y="426"/>
                  <a:pt x="498" y="426"/>
                  <a:pt x="498" y="426"/>
                </a:cubicBezTo>
                <a:cubicBezTo>
                  <a:pt x="499" y="428"/>
                  <a:pt x="499" y="428"/>
                  <a:pt x="499" y="428"/>
                </a:cubicBezTo>
                <a:cubicBezTo>
                  <a:pt x="500" y="429"/>
                  <a:pt x="500" y="429"/>
                  <a:pt x="500" y="429"/>
                </a:cubicBezTo>
                <a:close/>
                <a:moveTo>
                  <a:pt x="525" y="424"/>
                </a:moveTo>
                <a:cubicBezTo>
                  <a:pt x="523" y="426"/>
                  <a:pt x="523" y="426"/>
                  <a:pt x="523" y="426"/>
                </a:cubicBezTo>
                <a:cubicBezTo>
                  <a:pt x="522" y="427"/>
                  <a:pt x="522" y="427"/>
                  <a:pt x="522" y="427"/>
                </a:cubicBezTo>
                <a:cubicBezTo>
                  <a:pt x="521" y="428"/>
                  <a:pt x="521" y="428"/>
                  <a:pt x="521" y="428"/>
                </a:cubicBezTo>
                <a:cubicBezTo>
                  <a:pt x="520" y="426"/>
                  <a:pt x="520" y="426"/>
                  <a:pt x="520" y="426"/>
                </a:cubicBezTo>
                <a:cubicBezTo>
                  <a:pt x="520" y="425"/>
                  <a:pt x="520" y="425"/>
                  <a:pt x="520" y="425"/>
                </a:cubicBezTo>
                <a:cubicBezTo>
                  <a:pt x="522" y="421"/>
                  <a:pt x="522" y="421"/>
                  <a:pt x="522" y="421"/>
                </a:cubicBezTo>
                <a:cubicBezTo>
                  <a:pt x="522" y="420"/>
                  <a:pt x="522" y="420"/>
                  <a:pt x="522" y="420"/>
                </a:cubicBezTo>
                <a:cubicBezTo>
                  <a:pt x="523" y="418"/>
                  <a:pt x="523" y="418"/>
                  <a:pt x="523" y="418"/>
                </a:cubicBezTo>
                <a:cubicBezTo>
                  <a:pt x="524" y="419"/>
                  <a:pt x="524" y="419"/>
                  <a:pt x="524" y="419"/>
                </a:cubicBezTo>
                <a:cubicBezTo>
                  <a:pt x="525" y="420"/>
                  <a:pt x="525" y="420"/>
                  <a:pt x="525" y="420"/>
                </a:cubicBezTo>
                <a:cubicBezTo>
                  <a:pt x="526" y="422"/>
                  <a:pt x="526" y="422"/>
                  <a:pt x="526" y="422"/>
                </a:cubicBezTo>
                <a:cubicBezTo>
                  <a:pt x="525" y="424"/>
                  <a:pt x="525" y="424"/>
                  <a:pt x="525" y="424"/>
                </a:cubicBezTo>
                <a:close/>
                <a:moveTo>
                  <a:pt x="528" y="421"/>
                </a:moveTo>
                <a:cubicBezTo>
                  <a:pt x="527" y="420"/>
                  <a:pt x="527" y="420"/>
                  <a:pt x="527" y="420"/>
                </a:cubicBezTo>
                <a:cubicBezTo>
                  <a:pt x="527" y="419"/>
                  <a:pt x="527" y="419"/>
                  <a:pt x="527" y="419"/>
                </a:cubicBezTo>
                <a:cubicBezTo>
                  <a:pt x="528" y="416"/>
                  <a:pt x="528" y="416"/>
                  <a:pt x="528" y="416"/>
                </a:cubicBezTo>
                <a:cubicBezTo>
                  <a:pt x="529" y="415"/>
                  <a:pt x="529" y="415"/>
                  <a:pt x="529" y="415"/>
                </a:cubicBezTo>
                <a:cubicBezTo>
                  <a:pt x="530" y="417"/>
                  <a:pt x="530" y="417"/>
                  <a:pt x="530" y="417"/>
                </a:cubicBezTo>
                <a:cubicBezTo>
                  <a:pt x="529" y="419"/>
                  <a:pt x="529" y="419"/>
                  <a:pt x="529" y="419"/>
                </a:cubicBezTo>
                <a:cubicBezTo>
                  <a:pt x="529" y="421"/>
                  <a:pt x="529" y="421"/>
                  <a:pt x="529" y="421"/>
                </a:cubicBezTo>
                <a:cubicBezTo>
                  <a:pt x="529" y="421"/>
                  <a:pt x="528" y="421"/>
                  <a:pt x="528" y="421"/>
                </a:cubicBezTo>
                <a:close/>
                <a:moveTo>
                  <a:pt x="573" y="422"/>
                </a:moveTo>
                <a:cubicBezTo>
                  <a:pt x="574" y="418"/>
                  <a:pt x="574" y="418"/>
                  <a:pt x="574" y="418"/>
                </a:cubicBezTo>
                <a:cubicBezTo>
                  <a:pt x="576" y="416"/>
                  <a:pt x="576" y="416"/>
                  <a:pt x="576" y="416"/>
                </a:cubicBezTo>
                <a:cubicBezTo>
                  <a:pt x="579" y="417"/>
                  <a:pt x="579" y="417"/>
                  <a:pt x="579" y="417"/>
                </a:cubicBezTo>
                <a:cubicBezTo>
                  <a:pt x="579" y="419"/>
                  <a:pt x="579" y="419"/>
                  <a:pt x="579" y="419"/>
                </a:cubicBezTo>
                <a:cubicBezTo>
                  <a:pt x="577" y="423"/>
                  <a:pt x="577" y="423"/>
                  <a:pt x="577" y="423"/>
                </a:cubicBezTo>
                <a:cubicBezTo>
                  <a:pt x="575" y="423"/>
                  <a:pt x="575" y="423"/>
                  <a:pt x="575" y="423"/>
                </a:cubicBezTo>
                <a:cubicBezTo>
                  <a:pt x="576" y="422"/>
                  <a:pt x="576" y="422"/>
                  <a:pt x="576" y="422"/>
                </a:cubicBezTo>
                <a:cubicBezTo>
                  <a:pt x="576" y="419"/>
                  <a:pt x="576" y="419"/>
                  <a:pt x="576" y="419"/>
                </a:cubicBezTo>
                <a:cubicBezTo>
                  <a:pt x="575" y="421"/>
                  <a:pt x="575" y="421"/>
                  <a:pt x="575" y="421"/>
                </a:cubicBezTo>
                <a:cubicBezTo>
                  <a:pt x="574" y="422"/>
                  <a:pt x="574" y="422"/>
                  <a:pt x="574" y="422"/>
                </a:cubicBezTo>
                <a:cubicBezTo>
                  <a:pt x="574" y="422"/>
                  <a:pt x="573" y="422"/>
                  <a:pt x="573" y="422"/>
                </a:cubicBezTo>
                <a:close/>
                <a:moveTo>
                  <a:pt x="571" y="419"/>
                </a:moveTo>
                <a:cubicBezTo>
                  <a:pt x="572" y="419"/>
                  <a:pt x="572" y="419"/>
                  <a:pt x="572" y="419"/>
                </a:cubicBezTo>
                <a:cubicBezTo>
                  <a:pt x="573" y="417"/>
                  <a:pt x="573" y="417"/>
                  <a:pt x="573" y="417"/>
                </a:cubicBezTo>
                <a:cubicBezTo>
                  <a:pt x="572" y="414"/>
                  <a:pt x="572" y="414"/>
                  <a:pt x="572" y="414"/>
                </a:cubicBezTo>
                <a:cubicBezTo>
                  <a:pt x="571" y="416"/>
                  <a:pt x="571" y="416"/>
                  <a:pt x="571" y="416"/>
                </a:cubicBezTo>
                <a:cubicBezTo>
                  <a:pt x="571" y="419"/>
                  <a:pt x="571" y="419"/>
                  <a:pt x="571" y="419"/>
                </a:cubicBezTo>
                <a:close/>
                <a:moveTo>
                  <a:pt x="569" y="440"/>
                </a:moveTo>
                <a:cubicBezTo>
                  <a:pt x="570" y="439"/>
                  <a:pt x="570" y="439"/>
                  <a:pt x="570" y="439"/>
                </a:cubicBezTo>
                <a:cubicBezTo>
                  <a:pt x="574" y="437"/>
                  <a:pt x="574" y="437"/>
                  <a:pt x="574" y="437"/>
                </a:cubicBezTo>
                <a:cubicBezTo>
                  <a:pt x="574" y="435"/>
                  <a:pt x="574" y="435"/>
                  <a:pt x="574" y="435"/>
                </a:cubicBezTo>
                <a:cubicBezTo>
                  <a:pt x="571" y="436"/>
                  <a:pt x="571" y="436"/>
                  <a:pt x="571" y="436"/>
                </a:cubicBezTo>
                <a:cubicBezTo>
                  <a:pt x="570" y="434"/>
                  <a:pt x="570" y="434"/>
                  <a:pt x="570" y="434"/>
                </a:cubicBezTo>
                <a:cubicBezTo>
                  <a:pt x="572" y="429"/>
                  <a:pt x="572" y="429"/>
                  <a:pt x="572" y="429"/>
                </a:cubicBezTo>
                <a:cubicBezTo>
                  <a:pt x="573" y="427"/>
                  <a:pt x="573" y="427"/>
                  <a:pt x="573" y="427"/>
                </a:cubicBezTo>
                <a:cubicBezTo>
                  <a:pt x="570" y="428"/>
                  <a:pt x="570" y="428"/>
                  <a:pt x="570" y="428"/>
                </a:cubicBezTo>
                <a:cubicBezTo>
                  <a:pt x="569" y="432"/>
                  <a:pt x="569" y="432"/>
                  <a:pt x="569" y="432"/>
                </a:cubicBezTo>
                <a:cubicBezTo>
                  <a:pt x="568" y="429"/>
                  <a:pt x="568" y="429"/>
                  <a:pt x="568" y="429"/>
                </a:cubicBezTo>
                <a:cubicBezTo>
                  <a:pt x="570" y="424"/>
                  <a:pt x="570" y="424"/>
                  <a:pt x="570" y="424"/>
                </a:cubicBezTo>
                <a:cubicBezTo>
                  <a:pt x="569" y="416"/>
                  <a:pt x="569" y="416"/>
                  <a:pt x="569" y="416"/>
                </a:cubicBezTo>
                <a:cubicBezTo>
                  <a:pt x="566" y="413"/>
                  <a:pt x="566" y="413"/>
                  <a:pt x="566" y="413"/>
                </a:cubicBezTo>
                <a:cubicBezTo>
                  <a:pt x="566" y="411"/>
                  <a:pt x="566" y="411"/>
                  <a:pt x="566" y="411"/>
                </a:cubicBezTo>
                <a:cubicBezTo>
                  <a:pt x="564" y="411"/>
                  <a:pt x="564" y="411"/>
                  <a:pt x="564" y="411"/>
                </a:cubicBezTo>
                <a:cubicBezTo>
                  <a:pt x="562" y="413"/>
                  <a:pt x="562" y="413"/>
                  <a:pt x="562" y="413"/>
                </a:cubicBezTo>
                <a:cubicBezTo>
                  <a:pt x="562" y="410"/>
                  <a:pt x="562" y="410"/>
                  <a:pt x="562" y="410"/>
                </a:cubicBezTo>
                <a:cubicBezTo>
                  <a:pt x="564" y="409"/>
                  <a:pt x="564" y="409"/>
                  <a:pt x="564" y="409"/>
                </a:cubicBezTo>
                <a:cubicBezTo>
                  <a:pt x="563" y="406"/>
                  <a:pt x="563" y="406"/>
                  <a:pt x="563" y="406"/>
                </a:cubicBezTo>
                <a:cubicBezTo>
                  <a:pt x="563" y="404"/>
                  <a:pt x="563" y="404"/>
                  <a:pt x="563" y="404"/>
                </a:cubicBezTo>
                <a:cubicBezTo>
                  <a:pt x="563" y="402"/>
                  <a:pt x="563" y="402"/>
                  <a:pt x="563" y="402"/>
                </a:cubicBezTo>
                <a:cubicBezTo>
                  <a:pt x="559" y="403"/>
                  <a:pt x="559" y="403"/>
                  <a:pt x="559" y="403"/>
                </a:cubicBezTo>
                <a:cubicBezTo>
                  <a:pt x="556" y="406"/>
                  <a:pt x="556" y="406"/>
                  <a:pt x="556" y="406"/>
                </a:cubicBezTo>
                <a:cubicBezTo>
                  <a:pt x="554" y="410"/>
                  <a:pt x="554" y="410"/>
                  <a:pt x="554" y="410"/>
                </a:cubicBezTo>
                <a:cubicBezTo>
                  <a:pt x="555" y="414"/>
                  <a:pt x="555" y="414"/>
                  <a:pt x="555" y="414"/>
                </a:cubicBezTo>
                <a:cubicBezTo>
                  <a:pt x="553" y="413"/>
                  <a:pt x="553" y="413"/>
                  <a:pt x="553" y="413"/>
                </a:cubicBezTo>
                <a:cubicBezTo>
                  <a:pt x="552" y="410"/>
                  <a:pt x="552" y="410"/>
                  <a:pt x="552" y="410"/>
                </a:cubicBezTo>
                <a:cubicBezTo>
                  <a:pt x="551" y="410"/>
                  <a:pt x="551" y="410"/>
                  <a:pt x="551" y="410"/>
                </a:cubicBezTo>
                <a:cubicBezTo>
                  <a:pt x="551" y="412"/>
                  <a:pt x="551" y="412"/>
                  <a:pt x="551" y="412"/>
                </a:cubicBezTo>
                <a:cubicBezTo>
                  <a:pt x="549" y="413"/>
                  <a:pt x="549" y="413"/>
                  <a:pt x="549" y="413"/>
                </a:cubicBezTo>
                <a:cubicBezTo>
                  <a:pt x="550" y="415"/>
                  <a:pt x="550" y="415"/>
                  <a:pt x="550" y="415"/>
                </a:cubicBezTo>
                <a:cubicBezTo>
                  <a:pt x="549" y="417"/>
                  <a:pt x="549" y="417"/>
                  <a:pt x="549" y="417"/>
                </a:cubicBezTo>
                <a:cubicBezTo>
                  <a:pt x="547" y="417"/>
                  <a:pt x="547" y="417"/>
                  <a:pt x="547" y="417"/>
                </a:cubicBezTo>
                <a:cubicBezTo>
                  <a:pt x="546" y="419"/>
                  <a:pt x="546" y="419"/>
                  <a:pt x="546" y="419"/>
                </a:cubicBezTo>
                <a:cubicBezTo>
                  <a:pt x="542" y="419"/>
                  <a:pt x="542" y="419"/>
                  <a:pt x="542" y="419"/>
                </a:cubicBezTo>
                <a:cubicBezTo>
                  <a:pt x="540" y="420"/>
                  <a:pt x="540" y="420"/>
                  <a:pt x="540" y="420"/>
                </a:cubicBezTo>
                <a:cubicBezTo>
                  <a:pt x="539" y="419"/>
                  <a:pt x="539" y="419"/>
                  <a:pt x="539" y="419"/>
                </a:cubicBezTo>
                <a:cubicBezTo>
                  <a:pt x="533" y="422"/>
                  <a:pt x="533" y="422"/>
                  <a:pt x="533" y="422"/>
                </a:cubicBezTo>
                <a:cubicBezTo>
                  <a:pt x="534" y="425"/>
                  <a:pt x="534" y="425"/>
                  <a:pt x="534" y="425"/>
                </a:cubicBezTo>
                <a:cubicBezTo>
                  <a:pt x="536" y="428"/>
                  <a:pt x="536" y="428"/>
                  <a:pt x="536" y="428"/>
                </a:cubicBezTo>
                <a:cubicBezTo>
                  <a:pt x="538" y="427"/>
                  <a:pt x="538" y="427"/>
                  <a:pt x="538" y="427"/>
                </a:cubicBezTo>
                <a:cubicBezTo>
                  <a:pt x="538" y="425"/>
                  <a:pt x="538" y="425"/>
                  <a:pt x="538" y="425"/>
                </a:cubicBezTo>
                <a:cubicBezTo>
                  <a:pt x="538" y="424"/>
                  <a:pt x="538" y="424"/>
                  <a:pt x="538" y="424"/>
                </a:cubicBezTo>
                <a:cubicBezTo>
                  <a:pt x="541" y="426"/>
                  <a:pt x="541" y="426"/>
                  <a:pt x="541" y="426"/>
                </a:cubicBezTo>
                <a:cubicBezTo>
                  <a:pt x="540" y="429"/>
                  <a:pt x="540" y="429"/>
                  <a:pt x="540" y="429"/>
                </a:cubicBezTo>
                <a:cubicBezTo>
                  <a:pt x="542" y="431"/>
                  <a:pt x="542" y="431"/>
                  <a:pt x="542" y="431"/>
                </a:cubicBezTo>
                <a:cubicBezTo>
                  <a:pt x="544" y="429"/>
                  <a:pt x="544" y="429"/>
                  <a:pt x="544" y="429"/>
                </a:cubicBezTo>
                <a:cubicBezTo>
                  <a:pt x="545" y="430"/>
                  <a:pt x="545" y="430"/>
                  <a:pt x="545" y="430"/>
                </a:cubicBezTo>
                <a:cubicBezTo>
                  <a:pt x="544" y="432"/>
                  <a:pt x="544" y="432"/>
                  <a:pt x="544" y="432"/>
                </a:cubicBezTo>
                <a:cubicBezTo>
                  <a:pt x="547" y="436"/>
                  <a:pt x="547" y="436"/>
                  <a:pt x="547" y="436"/>
                </a:cubicBezTo>
                <a:cubicBezTo>
                  <a:pt x="549" y="436"/>
                  <a:pt x="549" y="436"/>
                  <a:pt x="549" y="436"/>
                </a:cubicBezTo>
                <a:cubicBezTo>
                  <a:pt x="550" y="440"/>
                  <a:pt x="550" y="440"/>
                  <a:pt x="550" y="440"/>
                </a:cubicBezTo>
                <a:cubicBezTo>
                  <a:pt x="552" y="441"/>
                  <a:pt x="552" y="441"/>
                  <a:pt x="552" y="441"/>
                </a:cubicBezTo>
                <a:cubicBezTo>
                  <a:pt x="554" y="438"/>
                  <a:pt x="554" y="438"/>
                  <a:pt x="554" y="438"/>
                </a:cubicBezTo>
                <a:cubicBezTo>
                  <a:pt x="554" y="441"/>
                  <a:pt x="554" y="441"/>
                  <a:pt x="554" y="441"/>
                </a:cubicBezTo>
                <a:cubicBezTo>
                  <a:pt x="557" y="443"/>
                  <a:pt x="557" y="443"/>
                  <a:pt x="557" y="443"/>
                </a:cubicBezTo>
                <a:cubicBezTo>
                  <a:pt x="559" y="443"/>
                  <a:pt x="559" y="443"/>
                  <a:pt x="559" y="443"/>
                </a:cubicBezTo>
                <a:cubicBezTo>
                  <a:pt x="561" y="443"/>
                  <a:pt x="561" y="443"/>
                  <a:pt x="561" y="443"/>
                </a:cubicBezTo>
                <a:cubicBezTo>
                  <a:pt x="564" y="441"/>
                  <a:pt x="564" y="441"/>
                  <a:pt x="564" y="441"/>
                </a:cubicBezTo>
                <a:cubicBezTo>
                  <a:pt x="565" y="440"/>
                  <a:pt x="565" y="440"/>
                  <a:pt x="565" y="440"/>
                </a:cubicBezTo>
                <a:cubicBezTo>
                  <a:pt x="568" y="438"/>
                  <a:pt x="568" y="438"/>
                  <a:pt x="568" y="438"/>
                </a:cubicBezTo>
                <a:cubicBezTo>
                  <a:pt x="569" y="440"/>
                  <a:pt x="569" y="440"/>
                  <a:pt x="569" y="440"/>
                </a:cubicBezTo>
                <a:close/>
                <a:moveTo>
                  <a:pt x="819" y="423"/>
                </a:moveTo>
                <a:cubicBezTo>
                  <a:pt x="819" y="421"/>
                  <a:pt x="819" y="421"/>
                  <a:pt x="819" y="421"/>
                </a:cubicBezTo>
                <a:cubicBezTo>
                  <a:pt x="818" y="420"/>
                  <a:pt x="818" y="420"/>
                  <a:pt x="818" y="420"/>
                </a:cubicBezTo>
                <a:cubicBezTo>
                  <a:pt x="819" y="418"/>
                  <a:pt x="819" y="418"/>
                  <a:pt x="819" y="418"/>
                </a:cubicBezTo>
                <a:cubicBezTo>
                  <a:pt x="821" y="417"/>
                  <a:pt x="821" y="417"/>
                  <a:pt x="821" y="417"/>
                </a:cubicBezTo>
                <a:cubicBezTo>
                  <a:pt x="823" y="417"/>
                  <a:pt x="823" y="417"/>
                  <a:pt x="823" y="417"/>
                </a:cubicBezTo>
                <a:cubicBezTo>
                  <a:pt x="823" y="419"/>
                  <a:pt x="823" y="419"/>
                  <a:pt x="823" y="419"/>
                </a:cubicBezTo>
                <a:cubicBezTo>
                  <a:pt x="825" y="419"/>
                  <a:pt x="825" y="419"/>
                  <a:pt x="825" y="419"/>
                </a:cubicBezTo>
                <a:cubicBezTo>
                  <a:pt x="826" y="420"/>
                  <a:pt x="826" y="420"/>
                  <a:pt x="826" y="420"/>
                </a:cubicBezTo>
                <a:cubicBezTo>
                  <a:pt x="825" y="422"/>
                  <a:pt x="825" y="422"/>
                  <a:pt x="825" y="422"/>
                </a:cubicBezTo>
                <a:cubicBezTo>
                  <a:pt x="823" y="422"/>
                  <a:pt x="823" y="422"/>
                  <a:pt x="823" y="422"/>
                </a:cubicBezTo>
                <a:cubicBezTo>
                  <a:pt x="822" y="422"/>
                  <a:pt x="822" y="422"/>
                  <a:pt x="822" y="422"/>
                </a:cubicBezTo>
                <a:cubicBezTo>
                  <a:pt x="820" y="423"/>
                  <a:pt x="820" y="423"/>
                  <a:pt x="820" y="423"/>
                </a:cubicBezTo>
                <a:cubicBezTo>
                  <a:pt x="820" y="424"/>
                  <a:pt x="820" y="424"/>
                  <a:pt x="820" y="424"/>
                </a:cubicBezTo>
                <a:cubicBezTo>
                  <a:pt x="820" y="424"/>
                  <a:pt x="819" y="423"/>
                  <a:pt x="819" y="423"/>
                </a:cubicBezTo>
                <a:close/>
                <a:moveTo>
                  <a:pt x="813" y="637"/>
                </a:moveTo>
                <a:cubicBezTo>
                  <a:pt x="811" y="637"/>
                  <a:pt x="811" y="637"/>
                  <a:pt x="811" y="637"/>
                </a:cubicBezTo>
                <a:cubicBezTo>
                  <a:pt x="809" y="636"/>
                  <a:pt x="809" y="636"/>
                  <a:pt x="809" y="636"/>
                </a:cubicBezTo>
                <a:cubicBezTo>
                  <a:pt x="805" y="635"/>
                  <a:pt x="805" y="635"/>
                  <a:pt x="805" y="635"/>
                </a:cubicBezTo>
                <a:cubicBezTo>
                  <a:pt x="804" y="633"/>
                  <a:pt x="804" y="633"/>
                  <a:pt x="804" y="633"/>
                </a:cubicBezTo>
                <a:cubicBezTo>
                  <a:pt x="802" y="633"/>
                  <a:pt x="802" y="633"/>
                  <a:pt x="802" y="633"/>
                </a:cubicBezTo>
                <a:cubicBezTo>
                  <a:pt x="799" y="630"/>
                  <a:pt x="799" y="630"/>
                  <a:pt x="799" y="630"/>
                </a:cubicBezTo>
                <a:cubicBezTo>
                  <a:pt x="798" y="629"/>
                  <a:pt x="798" y="629"/>
                  <a:pt x="798" y="629"/>
                </a:cubicBezTo>
                <a:cubicBezTo>
                  <a:pt x="796" y="628"/>
                  <a:pt x="796" y="628"/>
                  <a:pt x="796" y="628"/>
                </a:cubicBezTo>
                <a:cubicBezTo>
                  <a:pt x="795" y="628"/>
                  <a:pt x="795" y="628"/>
                  <a:pt x="795" y="628"/>
                </a:cubicBezTo>
                <a:cubicBezTo>
                  <a:pt x="793" y="627"/>
                  <a:pt x="793" y="627"/>
                  <a:pt x="793" y="627"/>
                </a:cubicBezTo>
                <a:cubicBezTo>
                  <a:pt x="793" y="628"/>
                  <a:pt x="793" y="628"/>
                  <a:pt x="793" y="628"/>
                </a:cubicBezTo>
                <a:cubicBezTo>
                  <a:pt x="789" y="627"/>
                  <a:pt x="789" y="627"/>
                  <a:pt x="789" y="627"/>
                </a:cubicBezTo>
                <a:cubicBezTo>
                  <a:pt x="788" y="625"/>
                  <a:pt x="788" y="625"/>
                  <a:pt x="788" y="625"/>
                </a:cubicBezTo>
                <a:cubicBezTo>
                  <a:pt x="787" y="624"/>
                  <a:pt x="787" y="624"/>
                  <a:pt x="787" y="624"/>
                </a:cubicBezTo>
                <a:cubicBezTo>
                  <a:pt x="785" y="624"/>
                  <a:pt x="785" y="624"/>
                  <a:pt x="785" y="624"/>
                </a:cubicBezTo>
                <a:cubicBezTo>
                  <a:pt x="783" y="621"/>
                  <a:pt x="783" y="621"/>
                  <a:pt x="783" y="621"/>
                </a:cubicBezTo>
                <a:cubicBezTo>
                  <a:pt x="783" y="620"/>
                  <a:pt x="783" y="620"/>
                  <a:pt x="783" y="620"/>
                </a:cubicBezTo>
                <a:cubicBezTo>
                  <a:pt x="782" y="620"/>
                  <a:pt x="782" y="620"/>
                  <a:pt x="782" y="620"/>
                </a:cubicBezTo>
                <a:cubicBezTo>
                  <a:pt x="780" y="619"/>
                  <a:pt x="780" y="619"/>
                  <a:pt x="780" y="619"/>
                </a:cubicBezTo>
                <a:cubicBezTo>
                  <a:pt x="779" y="617"/>
                  <a:pt x="779" y="617"/>
                  <a:pt x="779" y="617"/>
                </a:cubicBezTo>
                <a:cubicBezTo>
                  <a:pt x="780" y="616"/>
                  <a:pt x="780" y="616"/>
                  <a:pt x="780" y="616"/>
                </a:cubicBezTo>
                <a:cubicBezTo>
                  <a:pt x="782" y="615"/>
                  <a:pt x="782" y="615"/>
                  <a:pt x="782" y="615"/>
                </a:cubicBezTo>
                <a:cubicBezTo>
                  <a:pt x="779" y="614"/>
                  <a:pt x="779" y="614"/>
                  <a:pt x="779" y="614"/>
                </a:cubicBezTo>
                <a:cubicBezTo>
                  <a:pt x="779" y="615"/>
                  <a:pt x="779" y="615"/>
                  <a:pt x="779" y="615"/>
                </a:cubicBezTo>
                <a:cubicBezTo>
                  <a:pt x="778" y="615"/>
                  <a:pt x="778" y="615"/>
                  <a:pt x="778" y="615"/>
                </a:cubicBezTo>
                <a:cubicBezTo>
                  <a:pt x="777" y="615"/>
                  <a:pt x="777" y="615"/>
                  <a:pt x="777" y="615"/>
                </a:cubicBezTo>
                <a:cubicBezTo>
                  <a:pt x="777" y="614"/>
                  <a:pt x="777" y="614"/>
                  <a:pt x="777" y="614"/>
                </a:cubicBezTo>
                <a:cubicBezTo>
                  <a:pt x="775" y="614"/>
                  <a:pt x="775" y="614"/>
                  <a:pt x="775" y="614"/>
                </a:cubicBezTo>
                <a:cubicBezTo>
                  <a:pt x="771" y="611"/>
                  <a:pt x="771" y="611"/>
                  <a:pt x="771" y="611"/>
                </a:cubicBezTo>
                <a:cubicBezTo>
                  <a:pt x="769" y="611"/>
                  <a:pt x="769" y="611"/>
                  <a:pt x="769" y="611"/>
                </a:cubicBezTo>
                <a:cubicBezTo>
                  <a:pt x="768" y="610"/>
                  <a:pt x="768" y="610"/>
                  <a:pt x="768" y="610"/>
                </a:cubicBezTo>
                <a:cubicBezTo>
                  <a:pt x="766" y="608"/>
                  <a:pt x="766" y="608"/>
                  <a:pt x="766" y="608"/>
                </a:cubicBezTo>
                <a:cubicBezTo>
                  <a:pt x="766" y="607"/>
                  <a:pt x="766" y="607"/>
                  <a:pt x="766" y="607"/>
                </a:cubicBezTo>
                <a:cubicBezTo>
                  <a:pt x="765" y="606"/>
                  <a:pt x="765" y="606"/>
                  <a:pt x="765" y="606"/>
                </a:cubicBezTo>
                <a:cubicBezTo>
                  <a:pt x="763" y="605"/>
                  <a:pt x="763" y="605"/>
                  <a:pt x="763" y="605"/>
                </a:cubicBezTo>
                <a:cubicBezTo>
                  <a:pt x="762" y="603"/>
                  <a:pt x="762" y="603"/>
                  <a:pt x="762" y="603"/>
                </a:cubicBezTo>
                <a:cubicBezTo>
                  <a:pt x="761" y="600"/>
                  <a:pt x="761" y="600"/>
                  <a:pt x="761" y="600"/>
                </a:cubicBezTo>
                <a:cubicBezTo>
                  <a:pt x="759" y="599"/>
                  <a:pt x="759" y="599"/>
                  <a:pt x="759" y="599"/>
                </a:cubicBezTo>
                <a:cubicBezTo>
                  <a:pt x="760" y="598"/>
                  <a:pt x="760" y="598"/>
                  <a:pt x="760" y="598"/>
                </a:cubicBezTo>
                <a:cubicBezTo>
                  <a:pt x="763" y="598"/>
                  <a:pt x="763" y="598"/>
                  <a:pt x="763" y="598"/>
                </a:cubicBezTo>
                <a:cubicBezTo>
                  <a:pt x="768" y="595"/>
                  <a:pt x="768" y="595"/>
                  <a:pt x="768" y="595"/>
                </a:cubicBezTo>
                <a:cubicBezTo>
                  <a:pt x="769" y="594"/>
                  <a:pt x="769" y="594"/>
                  <a:pt x="769" y="594"/>
                </a:cubicBezTo>
                <a:cubicBezTo>
                  <a:pt x="765" y="594"/>
                  <a:pt x="765" y="594"/>
                  <a:pt x="765" y="594"/>
                </a:cubicBezTo>
                <a:cubicBezTo>
                  <a:pt x="763" y="592"/>
                  <a:pt x="763" y="592"/>
                  <a:pt x="763" y="592"/>
                </a:cubicBezTo>
                <a:cubicBezTo>
                  <a:pt x="763" y="589"/>
                  <a:pt x="763" y="589"/>
                  <a:pt x="763" y="589"/>
                </a:cubicBezTo>
                <a:cubicBezTo>
                  <a:pt x="763" y="588"/>
                  <a:pt x="763" y="588"/>
                  <a:pt x="763" y="588"/>
                </a:cubicBezTo>
                <a:cubicBezTo>
                  <a:pt x="762" y="589"/>
                  <a:pt x="762" y="589"/>
                  <a:pt x="762" y="589"/>
                </a:cubicBezTo>
                <a:cubicBezTo>
                  <a:pt x="761" y="591"/>
                  <a:pt x="761" y="591"/>
                  <a:pt x="761" y="591"/>
                </a:cubicBezTo>
                <a:cubicBezTo>
                  <a:pt x="760" y="593"/>
                  <a:pt x="760" y="593"/>
                  <a:pt x="760" y="593"/>
                </a:cubicBezTo>
                <a:cubicBezTo>
                  <a:pt x="758" y="591"/>
                  <a:pt x="758" y="591"/>
                  <a:pt x="758" y="591"/>
                </a:cubicBezTo>
                <a:cubicBezTo>
                  <a:pt x="760" y="589"/>
                  <a:pt x="760" y="589"/>
                  <a:pt x="760" y="589"/>
                </a:cubicBezTo>
                <a:cubicBezTo>
                  <a:pt x="760" y="585"/>
                  <a:pt x="760" y="585"/>
                  <a:pt x="760" y="585"/>
                </a:cubicBezTo>
                <a:cubicBezTo>
                  <a:pt x="759" y="588"/>
                  <a:pt x="759" y="588"/>
                  <a:pt x="759" y="588"/>
                </a:cubicBezTo>
                <a:cubicBezTo>
                  <a:pt x="758" y="587"/>
                  <a:pt x="758" y="587"/>
                  <a:pt x="758" y="587"/>
                </a:cubicBezTo>
                <a:cubicBezTo>
                  <a:pt x="758" y="584"/>
                  <a:pt x="758" y="584"/>
                  <a:pt x="758" y="584"/>
                </a:cubicBezTo>
                <a:cubicBezTo>
                  <a:pt x="756" y="584"/>
                  <a:pt x="756" y="584"/>
                  <a:pt x="756" y="584"/>
                </a:cubicBezTo>
                <a:cubicBezTo>
                  <a:pt x="755" y="582"/>
                  <a:pt x="755" y="582"/>
                  <a:pt x="755" y="582"/>
                </a:cubicBezTo>
                <a:cubicBezTo>
                  <a:pt x="755" y="580"/>
                  <a:pt x="755" y="580"/>
                  <a:pt x="755" y="580"/>
                </a:cubicBezTo>
                <a:cubicBezTo>
                  <a:pt x="754" y="577"/>
                  <a:pt x="754" y="577"/>
                  <a:pt x="754" y="577"/>
                </a:cubicBezTo>
                <a:cubicBezTo>
                  <a:pt x="752" y="576"/>
                  <a:pt x="752" y="576"/>
                  <a:pt x="752" y="576"/>
                </a:cubicBezTo>
                <a:cubicBezTo>
                  <a:pt x="752" y="574"/>
                  <a:pt x="752" y="574"/>
                  <a:pt x="752" y="574"/>
                </a:cubicBezTo>
                <a:cubicBezTo>
                  <a:pt x="755" y="572"/>
                  <a:pt x="755" y="572"/>
                  <a:pt x="755" y="572"/>
                </a:cubicBezTo>
                <a:cubicBezTo>
                  <a:pt x="754" y="570"/>
                  <a:pt x="754" y="570"/>
                  <a:pt x="754" y="570"/>
                </a:cubicBezTo>
                <a:cubicBezTo>
                  <a:pt x="750" y="574"/>
                  <a:pt x="750" y="574"/>
                  <a:pt x="750" y="574"/>
                </a:cubicBezTo>
                <a:cubicBezTo>
                  <a:pt x="750" y="576"/>
                  <a:pt x="750" y="576"/>
                  <a:pt x="750" y="576"/>
                </a:cubicBezTo>
                <a:cubicBezTo>
                  <a:pt x="749" y="574"/>
                  <a:pt x="749" y="574"/>
                  <a:pt x="749" y="574"/>
                </a:cubicBezTo>
                <a:cubicBezTo>
                  <a:pt x="751" y="572"/>
                  <a:pt x="751" y="572"/>
                  <a:pt x="751" y="572"/>
                </a:cubicBezTo>
                <a:cubicBezTo>
                  <a:pt x="749" y="571"/>
                  <a:pt x="749" y="571"/>
                  <a:pt x="749" y="571"/>
                </a:cubicBezTo>
                <a:cubicBezTo>
                  <a:pt x="748" y="572"/>
                  <a:pt x="748" y="572"/>
                  <a:pt x="748" y="572"/>
                </a:cubicBezTo>
                <a:cubicBezTo>
                  <a:pt x="747" y="571"/>
                  <a:pt x="747" y="571"/>
                  <a:pt x="747" y="571"/>
                </a:cubicBezTo>
                <a:cubicBezTo>
                  <a:pt x="746" y="575"/>
                  <a:pt x="746" y="575"/>
                  <a:pt x="746" y="575"/>
                </a:cubicBezTo>
                <a:cubicBezTo>
                  <a:pt x="744" y="576"/>
                  <a:pt x="744" y="576"/>
                  <a:pt x="744" y="576"/>
                </a:cubicBezTo>
                <a:cubicBezTo>
                  <a:pt x="744" y="574"/>
                  <a:pt x="744" y="574"/>
                  <a:pt x="744" y="574"/>
                </a:cubicBezTo>
                <a:cubicBezTo>
                  <a:pt x="745" y="572"/>
                  <a:pt x="745" y="572"/>
                  <a:pt x="745" y="572"/>
                </a:cubicBezTo>
                <a:cubicBezTo>
                  <a:pt x="745" y="569"/>
                  <a:pt x="745" y="569"/>
                  <a:pt x="745" y="569"/>
                </a:cubicBezTo>
                <a:cubicBezTo>
                  <a:pt x="746" y="568"/>
                  <a:pt x="746" y="568"/>
                  <a:pt x="746" y="568"/>
                </a:cubicBezTo>
                <a:cubicBezTo>
                  <a:pt x="744" y="569"/>
                  <a:pt x="744" y="569"/>
                  <a:pt x="744" y="569"/>
                </a:cubicBezTo>
                <a:cubicBezTo>
                  <a:pt x="742" y="570"/>
                  <a:pt x="742" y="570"/>
                  <a:pt x="742" y="570"/>
                </a:cubicBezTo>
                <a:cubicBezTo>
                  <a:pt x="741" y="570"/>
                  <a:pt x="741" y="570"/>
                  <a:pt x="741" y="570"/>
                </a:cubicBezTo>
                <a:cubicBezTo>
                  <a:pt x="739" y="572"/>
                  <a:pt x="739" y="572"/>
                  <a:pt x="739" y="572"/>
                </a:cubicBezTo>
                <a:cubicBezTo>
                  <a:pt x="738" y="574"/>
                  <a:pt x="738" y="574"/>
                  <a:pt x="738" y="574"/>
                </a:cubicBezTo>
                <a:cubicBezTo>
                  <a:pt x="735" y="573"/>
                  <a:pt x="735" y="573"/>
                  <a:pt x="735" y="573"/>
                </a:cubicBezTo>
                <a:cubicBezTo>
                  <a:pt x="734" y="571"/>
                  <a:pt x="734" y="571"/>
                  <a:pt x="734" y="571"/>
                </a:cubicBezTo>
                <a:cubicBezTo>
                  <a:pt x="732" y="571"/>
                  <a:pt x="732" y="571"/>
                  <a:pt x="732" y="571"/>
                </a:cubicBezTo>
                <a:cubicBezTo>
                  <a:pt x="730" y="568"/>
                  <a:pt x="730" y="568"/>
                  <a:pt x="730" y="568"/>
                </a:cubicBezTo>
                <a:cubicBezTo>
                  <a:pt x="729" y="567"/>
                  <a:pt x="729" y="567"/>
                  <a:pt x="729" y="567"/>
                </a:cubicBezTo>
                <a:cubicBezTo>
                  <a:pt x="728" y="569"/>
                  <a:pt x="728" y="569"/>
                  <a:pt x="728" y="569"/>
                </a:cubicBezTo>
                <a:cubicBezTo>
                  <a:pt x="728" y="572"/>
                  <a:pt x="728" y="572"/>
                  <a:pt x="728" y="572"/>
                </a:cubicBezTo>
                <a:cubicBezTo>
                  <a:pt x="727" y="573"/>
                  <a:pt x="727" y="573"/>
                  <a:pt x="727" y="573"/>
                </a:cubicBezTo>
                <a:cubicBezTo>
                  <a:pt x="725" y="572"/>
                  <a:pt x="725" y="572"/>
                  <a:pt x="725" y="572"/>
                </a:cubicBezTo>
                <a:cubicBezTo>
                  <a:pt x="724" y="573"/>
                  <a:pt x="724" y="573"/>
                  <a:pt x="724" y="573"/>
                </a:cubicBezTo>
                <a:cubicBezTo>
                  <a:pt x="721" y="573"/>
                  <a:pt x="721" y="573"/>
                  <a:pt x="721" y="573"/>
                </a:cubicBezTo>
                <a:cubicBezTo>
                  <a:pt x="720" y="574"/>
                  <a:pt x="720" y="574"/>
                  <a:pt x="720" y="574"/>
                </a:cubicBezTo>
                <a:cubicBezTo>
                  <a:pt x="718" y="574"/>
                  <a:pt x="718" y="574"/>
                  <a:pt x="718" y="574"/>
                </a:cubicBezTo>
                <a:cubicBezTo>
                  <a:pt x="717" y="575"/>
                  <a:pt x="717" y="575"/>
                  <a:pt x="717" y="575"/>
                </a:cubicBezTo>
                <a:cubicBezTo>
                  <a:pt x="715" y="574"/>
                  <a:pt x="715" y="574"/>
                  <a:pt x="715" y="574"/>
                </a:cubicBezTo>
                <a:cubicBezTo>
                  <a:pt x="711" y="574"/>
                  <a:pt x="711" y="574"/>
                  <a:pt x="711" y="574"/>
                </a:cubicBezTo>
                <a:cubicBezTo>
                  <a:pt x="711" y="572"/>
                  <a:pt x="711" y="572"/>
                  <a:pt x="711" y="572"/>
                </a:cubicBezTo>
                <a:cubicBezTo>
                  <a:pt x="709" y="570"/>
                  <a:pt x="709" y="570"/>
                  <a:pt x="709" y="570"/>
                </a:cubicBezTo>
                <a:cubicBezTo>
                  <a:pt x="708" y="570"/>
                  <a:pt x="708" y="570"/>
                  <a:pt x="708" y="570"/>
                </a:cubicBezTo>
                <a:cubicBezTo>
                  <a:pt x="706" y="568"/>
                  <a:pt x="706" y="568"/>
                  <a:pt x="706" y="568"/>
                </a:cubicBezTo>
                <a:cubicBezTo>
                  <a:pt x="704" y="564"/>
                  <a:pt x="704" y="564"/>
                  <a:pt x="704" y="564"/>
                </a:cubicBezTo>
                <a:cubicBezTo>
                  <a:pt x="705" y="561"/>
                  <a:pt x="705" y="561"/>
                  <a:pt x="705" y="561"/>
                </a:cubicBezTo>
                <a:cubicBezTo>
                  <a:pt x="707" y="560"/>
                  <a:pt x="707" y="560"/>
                  <a:pt x="707" y="560"/>
                </a:cubicBezTo>
                <a:cubicBezTo>
                  <a:pt x="707" y="557"/>
                  <a:pt x="707" y="557"/>
                  <a:pt x="707" y="557"/>
                </a:cubicBezTo>
                <a:cubicBezTo>
                  <a:pt x="709" y="556"/>
                  <a:pt x="709" y="556"/>
                  <a:pt x="709" y="556"/>
                </a:cubicBezTo>
                <a:cubicBezTo>
                  <a:pt x="711" y="555"/>
                  <a:pt x="711" y="555"/>
                  <a:pt x="711" y="555"/>
                </a:cubicBezTo>
                <a:cubicBezTo>
                  <a:pt x="713" y="554"/>
                  <a:pt x="713" y="554"/>
                  <a:pt x="713" y="554"/>
                </a:cubicBezTo>
                <a:cubicBezTo>
                  <a:pt x="715" y="553"/>
                  <a:pt x="715" y="553"/>
                  <a:pt x="715" y="553"/>
                </a:cubicBezTo>
                <a:cubicBezTo>
                  <a:pt x="716" y="553"/>
                  <a:pt x="716" y="553"/>
                  <a:pt x="716" y="553"/>
                </a:cubicBezTo>
                <a:cubicBezTo>
                  <a:pt x="716" y="551"/>
                  <a:pt x="716" y="551"/>
                  <a:pt x="716" y="551"/>
                </a:cubicBezTo>
                <a:cubicBezTo>
                  <a:pt x="715" y="550"/>
                  <a:pt x="715" y="550"/>
                  <a:pt x="715" y="550"/>
                </a:cubicBezTo>
                <a:cubicBezTo>
                  <a:pt x="715" y="548"/>
                  <a:pt x="715" y="548"/>
                  <a:pt x="715" y="548"/>
                </a:cubicBezTo>
                <a:cubicBezTo>
                  <a:pt x="716" y="548"/>
                  <a:pt x="716" y="548"/>
                  <a:pt x="716" y="548"/>
                </a:cubicBezTo>
                <a:cubicBezTo>
                  <a:pt x="717" y="548"/>
                  <a:pt x="717" y="548"/>
                  <a:pt x="717" y="548"/>
                </a:cubicBezTo>
                <a:cubicBezTo>
                  <a:pt x="717" y="547"/>
                  <a:pt x="717" y="547"/>
                  <a:pt x="717" y="547"/>
                </a:cubicBezTo>
                <a:cubicBezTo>
                  <a:pt x="717" y="546"/>
                  <a:pt x="717" y="546"/>
                  <a:pt x="717" y="546"/>
                </a:cubicBezTo>
                <a:cubicBezTo>
                  <a:pt x="718" y="545"/>
                  <a:pt x="718" y="545"/>
                  <a:pt x="718" y="545"/>
                </a:cubicBezTo>
                <a:cubicBezTo>
                  <a:pt x="721" y="549"/>
                  <a:pt x="721" y="549"/>
                  <a:pt x="721" y="549"/>
                </a:cubicBezTo>
                <a:cubicBezTo>
                  <a:pt x="723" y="549"/>
                  <a:pt x="723" y="549"/>
                  <a:pt x="723" y="549"/>
                </a:cubicBezTo>
                <a:cubicBezTo>
                  <a:pt x="726" y="551"/>
                  <a:pt x="726" y="551"/>
                  <a:pt x="726" y="551"/>
                </a:cubicBezTo>
                <a:cubicBezTo>
                  <a:pt x="727" y="553"/>
                  <a:pt x="727" y="553"/>
                  <a:pt x="727" y="553"/>
                </a:cubicBezTo>
                <a:cubicBezTo>
                  <a:pt x="729" y="553"/>
                  <a:pt x="729" y="553"/>
                  <a:pt x="729" y="553"/>
                </a:cubicBezTo>
                <a:cubicBezTo>
                  <a:pt x="731" y="555"/>
                  <a:pt x="731" y="555"/>
                  <a:pt x="731" y="555"/>
                </a:cubicBezTo>
                <a:cubicBezTo>
                  <a:pt x="733" y="553"/>
                  <a:pt x="733" y="553"/>
                  <a:pt x="733" y="553"/>
                </a:cubicBezTo>
                <a:cubicBezTo>
                  <a:pt x="735" y="553"/>
                  <a:pt x="735" y="553"/>
                  <a:pt x="735" y="553"/>
                </a:cubicBezTo>
                <a:cubicBezTo>
                  <a:pt x="736" y="555"/>
                  <a:pt x="736" y="555"/>
                  <a:pt x="736" y="555"/>
                </a:cubicBezTo>
                <a:cubicBezTo>
                  <a:pt x="737" y="555"/>
                  <a:pt x="737" y="555"/>
                  <a:pt x="737" y="555"/>
                </a:cubicBezTo>
                <a:cubicBezTo>
                  <a:pt x="740" y="555"/>
                  <a:pt x="740" y="555"/>
                  <a:pt x="740" y="555"/>
                </a:cubicBezTo>
                <a:cubicBezTo>
                  <a:pt x="742" y="553"/>
                  <a:pt x="742" y="553"/>
                  <a:pt x="742" y="553"/>
                </a:cubicBezTo>
                <a:cubicBezTo>
                  <a:pt x="743" y="551"/>
                  <a:pt x="743" y="551"/>
                  <a:pt x="743" y="551"/>
                </a:cubicBezTo>
                <a:cubicBezTo>
                  <a:pt x="746" y="551"/>
                  <a:pt x="746" y="551"/>
                  <a:pt x="746" y="551"/>
                </a:cubicBezTo>
                <a:cubicBezTo>
                  <a:pt x="746" y="552"/>
                  <a:pt x="746" y="552"/>
                  <a:pt x="746" y="552"/>
                </a:cubicBezTo>
                <a:cubicBezTo>
                  <a:pt x="745" y="553"/>
                  <a:pt x="745" y="553"/>
                  <a:pt x="745" y="553"/>
                </a:cubicBezTo>
                <a:cubicBezTo>
                  <a:pt x="747" y="554"/>
                  <a:pt x="747" y="554"/>
                  <a:pt x="747" y="554"/>
                </a:cubicBezTo>
                <a:cubicBezTo>
                  <a:pt x="749" y="552"/>
                  <a:pt x="749" y="552"/>
                  <a:pt x="749" y="552"/>
                </a:cubicBezTo>
                <a:cubicBezTo>
                  <a:pt x="750" y="550"/>
                  <a:pt x="750" y="550"/>
                  <a:pt x="750" y="550"/>
                </a:cubicBezTo>
                <a:cubicBezTo>
                  <a:pt x="752" y="549"/>
                  <a:pt x="752" y="549"/>
                  <a:pt x="752" y="549"/>
                </a:cubicBezTo>
                <a:cubicBezTo>
                  <a:pt x="753" y="550"/>
                  <a:pt x="753" y="550"/>
                  <a:pt x="753" y="550"/>
                </a:cubicBezTo>
                <a:cubicBezTo>
                  <a:pt x="753" y="553"/>
                  <a:pt x="753" y="553"/>
                  <a:pt x="753" y="553"/>
                </a:cubicBezTo>
                <a:cubicBezTo>
                  <a:pt x="754" y="555"/>
                  <a:pt x="754" y="555"/>
                  <a:pt x="754" y="555"/>
                </a:cubicBezTo>
                <a:cubicBezTo>
                  <a:pt x="754" y="553"/>
                  <a:pt x="754" y="553"/>
                  <a:pt x="754" y="553"/>
                </a:cubicBezTo>
                <a:cubicBezTo>
                  <a:pt x="756" y="552"/>
                  <a:pt x="756" y="552"/>
                  <a:pt x="756" y="552"/>
                </a:cubicBezTo>
                <a:cubicBezTo>
                  <a:pt x="757" y="552"/>
                  <a:pt x="757" y="552"/>
                  <a:pt x="757" y="552"/>
                </a:cubicBezTo>
                <a:cubicBezTo>
                  <a:pt x="758" y="551"/>
                  <a:pt x="758" y="551"/>
                  <a:pt x="758" y="551"/>
                </a:cubicBezTo>
                <a:cubicBezTo>
                  <a:pt x="757" y="545"/>
                  <a:pt x="757" y="545"/>
                  <a:pt x="757" y="545"/>
                </a:cubicBezTo>
                <a:cubicBezTo>
                  <a:pt x="755" y="542"/>
                  <a:pt x="755" y="542"/>
                  <a:pt x="755" y="542"/>
                </a:cubicBezTo>
                <a:cubicBezTo>
                  <a:pt x="755" y="540"/>
                  <a:pt x="755" y="540"/>
                  <a:pt x="755" y="540"/>
                </a:cubicBezTo>
                <a:cubicBezTo>
                  <a:pt x="754" y="538"/>
                  <a:pt x="754" y="538"/>
                  <a:pt x="754" y="538"/>
                </a:cubicBezTo>
                <a:cubicBezTo>
                  <a:pt x="754" y="535"/>
                  <a:pt x="754" y="535"/>
                  <a:pt x="754" y="535"/>
                </a:cubicBezTo>
                <a:cubicBezTo>
                  <a:pt x="755" y="534"/>
                  <a:pt x="755" y="534"/>
                  <a:pt x="755" y="534"/>
                </a:cubicBezTo>
                <a:cubicBezTo>
                  <a:pt x="757" y="534"/>
                  <a:pt x="757" y="534"/>
                  <a:pt x="757" y="534"/>
                </a:cubicBezTo>
                <a:cubicBezTo>
                  <a:pt x="760" y="531"/>
                  <a:pt x="760" y="531"/>
                  <a:pt x="760" y="531"/>
                </a:cubicBezTo>
                <a:cubicBezTo>
                  <a:pt x="764" y="528"/>
                  <a:pt x="764" y="528"/>
                  <a:pt x="764" y="528"/>
                </a:cubicBezTo>
                <a:cubicBezTo>
                  <a:pt x="766" y="527"/>
                  <a:pt x="766" y="527"/>
                  <a:pt x="766" y="527"/>
                </a:cubicBezTo>
                <a:cubicBezTo>
                  <a:pt x="769" y="524"/>
                  <a:pt x="769" y="524"/>
                  <a:pt x="769" y="524"/>
                </a:cubicBezTo>
                <a:cubicBezTo>
                  <a:pt x="770" y="524"/>
                  <a:pt x="770" y="524"/>
                  <a:pt x="770" y="524"/>
                </a:cubicBezTo>
                <a:cubicBezTo>
                  <a:pt x="772" y="526"/>
                  <a:pt x="772" y="526"/>
                  <a:pt x="772" y="526"/>
                </a:cubicBezTo>
                <a:cubicBezTo>
                  <a:pt x="773" y="525"/>
                  <a:pt x="773" y="525"/>
                  <a:pt x="773" y="525"/>
                </a:cubicBezTo>
                <a:cubicBezTo>
                  <a:pt x="775" y="525"/>
                  <a:pt x="775" y="525"/>
                  <a:pt x="775" y="525"/>
                </a:cubicBezTo>
                <a:cubicBezTo>
                  <a:pt x="771" y="523"/>
                  <a:pt x="771" y="523"/>
                  <a:pt x="771" y="523"/>
                </a:cubicBezTo>
                <a:cubicBezTo>
                  <a:pt x="771" y="521"/>
                  <a:pt x="771" y="521"/>
                  <a:pt x="771" y="521"/>
                </a:cubicBezTo>
                <a:cubicBezTo>
                  <a:pt x="776" y="518"/>
                  <a:pt x="776" y="518"/>
                  <a:pt x="776" y="518"/>
                </a:cubicBezTo>
                <a:cubicBezTo>
                  <a:pt x="776" y="516"/>
                  <a:pt x="776" y="516"/>
                  <a:pt x="776" y="516"/>
                </a:cubicBezTo>
                <a:cubicBezTo>
                  <a:pt x="778" y="515"/>
                  <a:pt x="778" y="515"/>
                  <a:pt x="778" y="515"/>
                </a:cubicBezTo>
                <a:cubicBezTo>
                  <a:pt x="781" y="516"/>
                  <a:pt x="781" y="516"/>
                  <a:pt x="781" y="516"/>
                </a:cubicBezTo>
                <a:cubicBezTo>
                  <a:pt x="785" y="515"/>
                  <a:pt x="785" y="515"/>
                  <a:pt x="785" y="515"/>
                </a:cubicBezTo>
                <a:cubicBezTo>
                  <a:pt x="785" y="513"/>
                  <a:pt x="785" y="513"/>
                  <a:pt x="785" y="513"/>
                </a:cubicBezTo>
                <a:cubicBezTo>
                  <a:pt x="784" y="511"/>
                  <a:pt x="784" y="511"/>
                  <a:pt x="784" y="511"/>
                </a:cubicBezTo>
                <a:cubicBezTo>
                  <a:pt x="785" y="509"/>
                  <a:pt x="785" y="509"/>
                  <a:pt x="785" y="509"/>
                </a:cubicBezTo>
                <a:cubicBezTo>
                  <a:pt x="786" y="505"/>
                  <a:pt x="786" y="505"/>
                  <a:pt x="786" y="505"/>
                </a:cubicBezTo>
                <a:cubicBezTo>
                  <a:pt x="786" y="504"/>
                  <a:pt x="786" y="504"/>
                  <a:pt x="786" y="504"/>
                </a:cubicBezTo>
                <a:cubicBezTo>
                  <a:pt x="785" y="503"/>
                  <a:pt x="785" y="503"/>
                  <a:pt x="785" y="503"/>
                </a:cubicBezTo>
                <a:cubicBezTo>
                  <a:pt x="785" y="501"/>
                  <a:pt x="785" y="501"/>
                  <a:pt x="785" y="501"/>
                </a:cubicBezTo>
                <a:cubicBezTo>
                  <a:pt x="787" y="499"/>
                  <a:pt x="787" y="499"/>
                  <a:pt x="787" y="499"/>
                </a:cubicBezTo>
                <a:cubicBezTo>
                  <a:pt x="787" y="497"/>
                  <a:pt x="787" y="497"/>
                  <a:pt x="787" y="497"/>
                </a:cubicBezTo>
                <a:cubicBezTo>
                  <a:pt x="785" y="496"/>
                  <a:pt x="785" y="496"/>
                  <a:pt x="785" y="496"/>
                </a:cubicBezTo>
                <a:cubicBezTo>
                  <a:pt x="785" y="495"/>
                  <a:pt x="785" y="495"/>
                  <a:pt x="785" y="495"/>
                </a:cubicBezTo>
                <a:cubicBezTo>
                  <a:pt x="786" y="492"/>
                  <a:pt x="786" y="492"/>
                  <a:pt x="786" y="492"/>
                </a:cubicBezTo>
                <a:cubicBezTo>
                  <a:pt x="788" y="492"/>
                  <a:pt x="788" y="492"/>
                  <a:pt x="788" y="492"/>
                </a:cubicBezTo>
                <a:cubicBezTo>
                  <a:pt x="788" y="490"/>
                  <a:pt x="788" y="490"/>
                  <a:pt x="788" y="490"/>
                </a:cubicBezTo>
                <a:cubicBezTo>
                  <a:pt x="789" y="488"/>
                  <a:pt x="789" y="488"/>
                  <a:pt x="789" y="488"/>
                </a:cubicBezTo>
                <a:cubicBezTo>
                  <a:pt x="789" y="486"/>
                  <a:pt x="789" y="486"/>
                  <a:pt x="789" y="486"/>
                </a:cubicBezTo>
                <a:cubicBezTo>
                  <a:pt x="788" y="487"/>
                  <a:pt x="788" y="487"/>
                  <a:pt x="788" y="487"/>
                </a:cubicBezTo>
                <a:cubicBezTo>
                  <a:pt x="786" y="488"/>
                  <a:pt x="786" y="488"/>
                  <a:pt x="786" y="488"/>
                </a:cubicBezTo>
                <a:cubicBezTo>
                  <a:pt x="786" y="489"/>
                  <a:pt x="786" y="489"/>
                  <a:pt x="786" y="489"/>
                </a:cubicBezTo>
                <a:cubicBezTo>
                  <a:pt x="785" y="490"/>
                  <a:pt x="785" y="490"/>
                  <a:pt x="785" y="490"/>
                </a:cubicBezTo>
                <a:cubicBezTo>
                  <a:pt x="785" y="488"/>
                  <a:pt x="785" y="488"/>
                  <a:pt x="785" y="488"/>
                </a:cubicBezTo>
                <a:cubicBezTo>
                  <a:pt x="785" y="486"/>
                  <a:pt x="785" y="486"/>
                  <a:pt x="785" y="486"/>
                </a:cubicBezTo>
                <a:cubicBezTo>
                  <a:pt x="784" y="486"/>
                  <a:pt x="784" y="486"/>
                  <a:pt x="784" y="486"/>
                </a:cubicBezTo>
                <a:cubicBezTo>
                  <a:pt x="780" y="485"/>
                  <a:pt x="780" y="485"/>
                  <a:pt x="780" y="485"/>
                </a:cubicBezTo>
                <a:cubicBezTo>
                  <a:pt x="778" y="484"/>
                  <a:pt x="778" y="484"/>
                  <a:pt x="778" y="484"/>
                </a:cubicBezTo>
                <a:cubicBezTo>
                  <a:pt x="778" y="483"/>
                  <a:pt x="778" y="483"/>
                  <a:pt x="778" y="483"/>
                </a:cubicBezTo>
                <a:cubicBezTo>
                  <a:pt x="782" y="481"/>
                  <a:pt x="782" y="481"/>
                  <a:pt x="782" y="481"/>
                </a:cubicBezTo>
                <a:cubicBezTo>
                  <a:pt x="782" y="480"/>
                  <a:pt x="782" y="480"/>
                  <a:pt x="782" y="480"/>
                </a:cubicBezTo>
                <a:cubicBezTo>
                  <a:pt x="780" y="479"/>
                  <a:pt x="780" y="479"/>
                  <a:pt x="780" y="479"/>
                </a:cubicBezTo>
                <a:cubicBezTo>
                  <a:pt x="781" y="477"/>
                  <a:pt x="781" y="477"/>
                  <a:pt x="781" y="477"/>
                </a:cubicBezTo>
                <a:cubicBezTo>
                  <a:pt x="781" y="475"/>
                  <a:pt x="781" y="475"/>
                  <a:pt x="781" y="475"/>
                </a:cubicBezTo>
                <a:cubicBezTo>
                  <a:pt x="778" y="474"/>
                  <a:pt x="778" y="474"/>
                  <a:pt x="778" y="474"/>
                </a:cubicBezTo>
                <a:cubicBezTo>
                  <a:pt x="777" y="474"/>
                  <a:pt x="777" y="474"/>
                  <a:pt x="777" y="474"/>
                </a:cubicBezTo>
                <a:cubicBezTo>
                  <a:pt x="777" y="475"/>
                  <a:pt x="777" y="475"/>
                  <a:pt x="777" y="475"/>
                </a:cubicBezTo>
                <a:cubicBezTo>
                  <a:pt x="778" y="477"/>
                  <a:pt x="778" y="477"/>
                  <a:pt x="778" y="477"/>
                </a:cubicBezTo>
                <a:cubicBezTo>
                  <a:pt x="777" y="478"/>
                  <a:pt x="777" y="478"/>
                  <a:pt x="777" y="478"/>
                </a:cubicBezTo>
                <a:cubicBezTo>
                  <a:pt x="775" y="479"/>
                  <a:pt x="775" y="479"/>
                  <a:pt x="775" y="479"/>
                </a:cubicBezTo>
                <a:cubicBezTo>
                  <a:pt x="774" y="477"/>
                  <a:pt x="774" y="477"/>
                  <a:pt x="774" y="477"/>
                </a:cubicBezTo>
                <a:cubicBezTo>
                  <a:pt x="773" y="476"/>
                  <a:pt x="773" y="476"/>
                  <a:pt x="773" y="476"/>
                </a:cubicBezTo>
                <a:cubicBezTo>
                  <a:pt x="772" y="473"/>
                  <a:pt x="772" y="473"/>
                  <a:pt x="772" y="473"/>
                </a:cubicBezTo>
                <a:cubicBezTo>
                  <a:pt x="774" y="472"/>
                  <a:pt x="774" y="472"/>
                  <a:pt x="774" y="472"/>
                </a:cubicBezTo>
                <a:cubicBezTo>
                  <a:pt x="773" y="470"/>
                  <a:pt x="773" y="470"/>
                  <a:pt x="773" y="470"/>
                </a:cubicBezTo>
                <a:cubicBezTo>
                  <a:pt x="770" y="470"/>
                  <a:pt x="770" y="470"/>
                  <a:pt x="770" y="470"/>
                </a:cubicBezTo>
                <a:cubicBezTo>
                  <a:pt x="771" y="470"/>
                  <a:pt x="771" y="470"/>
                  <a:pt x="771" y="470"/>
                </a:cubicBezTo>
                <a:cubicBezTo>
                  <a:pt x="773" y="469"/>
                  <a:pt x="773" y="469"/>
                  <a:pt x="773" y="469"/>
                </a:cubicBezTo>
                <a:cubicBezTo>
                  <a:pt x="773" y="468"/>
                  <a:pt x="773" y="468"/>
                  <a:pt x="773" y="468"/>
                </a:cubicBezTo>
                <a:cubicBezTo>
                  <a:pt x="772" y="467"/>
                  <a:pt x="772" y="467"/>
                  <a:pt x="772" y="467"/>
                </a:cubicBezTo>
                <a:cubicBezTo>
                  <a:pt x="773" y="466"/>
                  <a:pt x="773" y="466"/>
                  <a:pt x="773" y="466"/>
                </a:cubicBezTo>
                <a:cubicBezTo>
                  <a:pt x="775" y="466"/>
                  <a:pt x="775" y="466"/>
                  <a:pt x="775" y="466"/>
                </a:cubicBezTo>
                <a:cubicBezTo>
                  <a:pt x="775" y="464"/>
                  <a:pt x="775" y="464"/>
                  <a:pt x="775" y="464"/>
                </a:cubicBezTo>
                <a:cubicBezTo>
                  <a:pt x="774" y="463"/>
                  <a:pt x="774" y="463"/>
                  <a:pt x="774" y="463"/>
                </a:cubicBezTo>
                <a:cubicBezTo>
                  <a:pt x="772" y="465"/>
                  <a:pt x="772" y="465"/>
                  <a:pt x="772" y="465"/>
                </a:cubicBezTo>
                <a:cubicBezTo>
                  <a:pt x="770" y="468"/>
                  <a:pt x="770" y="468"/>
                  <a:pt x="770" y="468"/>
                </a:cubicBezTo>
                <a:cubicBezTo>
                  <a:pt x="768" y="469"/>
                  <a:pt x="768" y="469"/>
                  <a:pt x="768" y="469"/>
                </a:cubicBezTo>
                <a:cubicBezTo>
                  <a:pt x="768" y="468"/>
                  <a:pt x="768" y="468"/>
                  <a:pt x="768" y="468"/>
                </a:cubicBezTo>
                <a:cubicBezTo>
                  <a:pt x="767" y="465"/>
                  <a:pt x="767" y="465"/>
                  <a:pt x="767" y="465"/>
                </a:cubicBezTo>
                <a:cubicBezTo>
                  <a:pt x="766" y="466"/>
                  <a:pt x="766" y="466"/>
                  <a:pt x="766" y="466"/>
                </a:cubicBezTo>
                <a:cubicBezTo>
                  <a:pt x="765" y="468"/>
                  <a:pt x="765" y="468"/>
                  <a:pt x="765" y="468"/>
                </a:cubicBezTo>
                <a:cubicBezTo>
                  <a:pt x="763" y="468"/>
                  <a:pt x="763" y="468"/>
                  <a:pt x="763" y="468"/>
                </a:cubicBezTo>
                <a:cubicBezTo>
                  <a:pt x="762" y="469"/>
                  <a:pt x="762" y="469"/>
                  <a:pt x="762" y="469"/>
                </a:cubicBezTo>
                <a:cubicBezTo>
                  <a:pt x="759" y="469"/>
                  <a:pt x="759" y="469"/>
                  <a:pt x="759" y="469"/>
                </a:cubicBezTo>
                <a:cubicBezTo>
                  <a:pt x="758" y="470"/>
                  <a:pt x="758" y="470"/>
                  <a:pt x="758" y="470"/>
                </a:cubicBezTo>
                <a:cubicBezTo>
                  <a:pt x="758" y="470"/>
                  <a:pt x="758" y="470"/>
                  <a:pt x="758" y="470"/>
                </a:cubicBezTo>
                <a:cubicBezTo>
                  <a:pt x="756" y="470"/>
                  <a:pt x="756" y="470"/>
                  <a:pt x="756" y="470"/>
                </a:cubicBezTo>
                <a:cubicBezTo>
                  <a:pt x="756" y="469"/>
                  <a:pt x="756" y="469"/>
                  <a:pt x="756" y="469"/>
                </a:cubicBezTo>
                <a:cubicBezTo>
                  <a:pt x="757" y="468"/>
                  <a:pt x="757" y="468"/>
                  <a:pt x="757" y="468"/>
                </a:cubicBezTo>
                <a:cubicBezTo>
                  <a:pt x="757" y="466"/>
                  <a:pt x="757" y="466"/>
                  <a:pt x="757" y="466"/>
                </a:cubicBezTo>
                <a:cubicBezTo>
                  <a:pt x="756" y="466"/>
                  <a:pt x="756" y="466"/>
                  <a:pt x="756" y="466"/>
                </a:cubicBezTo>
                <a:cubicBezTo>
                  <a:pt x="758" y="463"/>
                  <a:pt x="758" y="463"/>
                  <a:pt x="758" y="463"/>
                </a:cubicBezTo>
                <a:cubicBezTo>
                  <a:pt x="759" y="463"/>
                  <a:pt x="759" y="463"/>
                  <a:pt x="759" y="463"/>
                </a:cubicBezTo>
                <a:cubicBezTo>
                  <a:pt x="760" y="464"/>
                  <a:pt x="760" y="464"/>
                  <a:pt x="760" y="464"/>
                </a:cubicBezTo>
                <a:cubicBezTo>
                  <a:pt x="762" y="465"/>
                  <a:pt x="762" y="465"/>
                  <a:pt x="762" y="465"/>
                </a:cubicBezTo>
                <a:cubicBezTo>
                  <a:pt x="763" y="464"/>
                  <a:pt x="763" y="464"/>
                  <a:pt x="763" y="464"/>
                </a:cubicBezTo>
                <a:cubicBezTo>
                  <a:pt x="764" y="464"/>
                  <a:pt x="764" y="464"/>
                  <a:pt x="764" y="464"/>
                </a:cubicBezTo>
                <a:cubicBezTo>
                  <a:pt x="766" y="462"/>
                  <a:pt x="766" y="462"/>
                  <a:pt x="766" y="462"/>
                </a:cubicBezTo>
                <a:cubicBezTo>
                  <a:pt x="767" y="460"/>
                  <a:pt x="767" y="460"/>
                  <a:pt x="767" y="460"/>
                </a:cubicBezTo>
                <a:cubicBezTo>
                  <a:pt x="766" y="458"/>
                  <a:pt x="766" y="458"/>
                  <a:pt x="766" y="458"/>
                </a:cubicBezTo>
                <a:cubicBezTo>
                  <a:pt x="765" y="457"/>
                  <a:pt x="765" y="457"/>
                  <a:pt x="765" y="457"/>
                </a:cubicBezTo>
                <a:cubicBezTo>
                  <a:pt x="762" y="456"/>
                  <a:pt x="762" y="456"/>
                  <a:pt x="762" y="456"/>
                </a:cubicBezTo>
                <a:cubicBezTo>
                  <a:pt x="761" y="455"/>
                  <a:pt x="761" y="455"/>
                  <a:pt x="761" y="455"/>
                </a:cubicBezTo>
                <a:cubicBezTo>
                  <a:pt x="761" y="453"/>
                  <a:pt x="761" y="453"/>
                  <a:pt x="761" y="453"/>
                </a:cubicBezTo>
                <a:cubicBezTo>
                  <a:pt x="761" y="452"/>
                  <a:pt x="761" y="452"/>
                  <a:pt x="761" y="452"/>
                </a:cubicBezTo>
                <a:cubicBezTo>
                  <a:pt x="761" y="450"/>
                  <a:pt x="761" y="450"/>
                  <a:pt x="761" y="450"/>
                </a:cubicBezTo>
                <a:cubicBezTo>
                  <a:pt x="758" y="450"/>
                  <a:pt x="758" y="450"/>
                  <a:pt x="758" y="450"/>
                </a:cubicBezTo>
                <a:cubicBezTo>
                  <a:pt x="758" y="449"/>
                  <a:pt x="758" y="449"/>
                  <a:pt x="758" y="449"/>
                </a:cubicBezTo>
                <a:cubicBezTo>
                  <a:pt x="757" y="449"/>
                  <a:pt x="757" y="449"/>
                  <a:pt x="757" y="449"/>
                </a:cubicBezTo>
                <a:cubicBezTo>
                  <a:pt x="756" y="447"/>
                  <a:pt x="756" y="447"/>
                  <a:pt x="756" y="447"/>
                </a:cubicBezTo>
                <a:cubicBezTo>
                  <a:pt x="758" y="446"/>
                  <a:pt x="758" y="446"/>
                  <a:pt x="758" y="446"/>
                </a:cubicBezTo>
                <a:cubicBezTo>
                  <a:pt x="759" y="448"/>
                  <a:pt x="759" y="448"/>
                  <a:pt x="759" y="448"/>
                </a:cubicBezTo>
                <a:cubicBezTo>
                  <a:pt x="760" y="447"/>
                  <a:pt x="760" y="447"/>
                  <a:pt x="760" y="447"/>
                </a:cubicBezTo>
                <a:cubicBezTo>
                  <a:pt x="760" y="446"/>
                  <a:pt x="760" y="446"/>
                  <a:pt x="760" y="446"/>
                </a:cubicBezTo>
                <a:cubicBezTo>
                  <a:pt x="762" y="445"/>
                  <a:pt x="762" y="445"/>
                  <a:pt x="762" y="445"/>
                </a:cubicBezTo>
                <a:cubicBezTo>
                  <a:pt x="759" y="444"/>
                  <a:pt x="759" y="444"/>
                  <a:pt x="759" y="444"/>
                </a:cubicBezTo>
                <a:cubicBezTo>
                  <a:pt x="758" y="442"/>
                  <a:pt x="758" y="442"/>
                  <a:pt x="758" y="442"/>
                </a:cubicBezTo>
                <a:cubicBezTo>
                  <a:pt x="756" y="442"/>
                  <a:pt x="756" y="442"/>
                  <a:pt x="756" y="442"/>
                </a:cubicBezTo>
                <a:cubicBezTo>
                  <a:pt x="756" y="442"/>
                  <a:pt x="756" y="442"/>
                  <a:pt x="756" y="442"/>
                </a:cubicBezTo>
                <a:cubicBezTo>
                  <a:pt x="754" y="441"/>
                  <a:pt x="754" y="441"/>
                  <a:pt x="754" y="441"/>
                </a:cubicBezTo>
                <a:cubicBezTo>
                  <a:pt x="753" y="443"/>
                  <a:pt x="753" y="443"/>
                  <a:pt x="753" y="443"/>
                </a:cubicBezTo>
                <a:cubicBezTo>
                  <a:pt x="752" y="443"/>
                  <a:pt x="752" y="443"/>
                  <a:pt x="752" y="443"/>
                </a:cubicBezTo>
                <a:cubicBezTo>
                  <a:pt x="752" y="442"/>
                  <a:pt x="752" y="442"/>
                  <a:pt x="752" y="442"/>
                </a:cubicBezTo>
                <a:cubicBezTo>
                  <a:pt x="754" y="438"/>
                  <a:pt x="754" y="438"/>
                  <a:pt x="754" y="438"/>
                </a:cubicBezTo>
                <a:cubicBezTo>
                  <a:pt x="756" y="435"/>
                  <a:pt x="756" y="435"/>
                  <a:pt x="756" y="435"/>
                </a:cubicBezTo>
                <a:cubicBezTo>
                  <a:pt x="756" y="434"/>
                  <a:pt x="756" y="434"/>
                  <a:pt x="756" y="434"/>
                </a:cubicBezTo>
                <a:cubicBezTo>
                  <a:pt x="758" y="431"/>
                  <a:pt x="758" y="431"/>
                  <a:pt x="758" y="431"/>
                </a:cubicBezTo>
                <a:cubicBezTo>
                  <a:pt x="758" y="429"/>
                  <a:pt x="758" y="429"/>
                  <a:pt x="758" y="429"/>
                </a:cubicBezTo>
                <a:cubicBezTo>
                  <a:pt x="758" y="427"/>
                  <a:pt x="758" y="427"/>
                  <a:pt x="758" y="427"/>
                </a:cubicBezTo>
                <a:cubicBezTo>
                  <a:pt x="758" y="426"/>
                  <a:pt x="758" y="426"/>
                  <a:pt x="758" y="426"/>
                </a:cubicBezTo>
                <a:cubicBezTo>
                  <a:pt x="756" y="427"/>
                  <a:pt x="756" y="427"/>
                  <a:pt x="756" y="427"/>
                </a:cubicBezTo>
                <a:cubicBezTo>
                  <a:pt x="754" y="426"/>
                  <a:pt x="754" y="426"/>
                  <a:pt x="754" y="426"/>
                </a:cubicBezTo>
                <a:cubicBezTo>
                  <a:pt x="753" y="427"/>
                  <a:pt x="753" y="427"/>
                  <a:pt x="753" y="427"/>
                </a:cubicBezTo>
                <a:cubicBezTo>
                  <a:pt x="753" y="428"/>
                  <a:pt x="753" y="428"/>
                  <a:pt x="753" y="428"/>
                </a:cubicBezTo>
                <a:cubicBezTo>
                  <a:pt x="752" y="428"/>
                  <a:pt x="752" y="428"/>
                  <a:pt x="752" y="428"/>
                </a:cubicBezTo>
                <a:cubicBezTo>
                  <a:pt x="749" y="425"/>
                  <a:pt x="749" y="425"/>
                  <a:pt x="749" y="425"/>
                </a:cubicBezTo>
                <a:cubicBezTo>
                  <a:pt x="749" y="423"/>
                  <a:pt x="749" y="423"/>
                  <a:pt x="749" y="423"/>
                </a:cubicBezTo>
                <a:cubicBezTo>
                  <a:pt x="748" y="421"/>
                  <a:pt x="748" y="421"/>
                  <a:pt x="748" y="421"/>
                </a:cubicBezTo>
                <a:cubicBezTo>
                  <a:pt x="747" y="421"/>
                  <a:pt x="747" y="421"/>
                  <a:pt x="747" y="421"/>
                </a:cubicBezTo>
                <a:cubicBezTo>
                  <a:pt x="747" y="418"/>
                  <a:pt x="747" y="418"/>
                  <a:pt x="747" y="418"/>
                </a:cubicBezTo>
                <a:cubicBezTo>
                  <a:pt x="749" y="417"/>
                  <a:pt x="749" y="417"/>
                  <a:pt x="749" y="417"/>
                </a:cubicBezTo>
                <a:cubicBezTo>
                  <a:pt x="750" y="416"/>
                  <a:pt x="750" y="416"/>
                  <a:pt x="750" y="416"/>
                </a:cubicBezTo>
                <a:cubicBezTo>
                  <a:pt x="749" y="415"/>
                  <a:pt x="749" y="415"/>
                  <a:pt x="749" y="415"/>
                </a:cubicBezTo>
                <a:cubicBezTo>
                  <a:pt x="749" y="412"/>
                  <a:pt x="749" y="412"/>
                  <a:pt x="749" y="412"/>
                </a:cubicBezTo>
                <a:cubicBezTo>
                  <a:pt x="747" y="413"/>
                  <a:pt x="747" y="413"/>
                  <a:pt x="747" y="413"/>
                </a:cubicBezTo>
                <a:cubicBezTo>
                  <a:pt x="746" y="414"/>
                  <a:pt x="746" y="414"/>
                  <a:pt x="746" y="414"/>
                </a:cubicBezTo>
                <a:cubicBezTo>
                  <a:pt x="746" y="417"/>
                  <a:pt x="746" y="417"/>
                  <a:pt x="746" y="417"/>
                </a:cubicBezTo>
                <a:cubicBezTo>
                  <a:pt x="745" y="419"/>
                  <a:pt x="745" y="419"/>
                  <a:pt x="745" y="419"/>
                </a:cubicBezTo>
                <a:cubicBezTo>
                  <a:pt x="744" y="417"/>
                  <a:pt x="744" y="417"/>
                  <a:pt x="744" y="417"/>
                </a:cubicBezTo>
                <a:cubicBezTo>
                  <a:pt x="743" y="416"/>
                  <a:pt x="743" y="416"/>
                  <a:pt x="743" y="416"/>
                </a:cubicBezTo>
                <a:cubicBezTo>
                  <a:pt x="742" y="417"/>
                  <a:pt x="742" y="417"/>
                  <a:pt x="742" y="417"/>
                </a:cubicBezTo>
                <a:cubicBezTo>
                  <a:pt x="742" y="418"/>
                  <a:pt x="742" y="418"/>
                  <a:pt x="742" y="418"/>
                </a:cubicBezTo>
                <a:cubicBezTo>
                  <a:pt x="741" y="419"/>
                  <a:pt x="741" y="419"/>
                  <a:pt x="741" y="419"/>
                </a:cubicBezTo>
                <a:cubicBezTo>
                  <a:pt x="741" y="421"/>
                  <a:pt x="741" y="421"/>
                  <a:pt x="741" y="421"/>
                </a:cubicBezTo>
                <a:cubicBezTo>
                  <a:pt x="743" y="424"/>
                  <a:pt x="743" y="424"/>
                  <a:pt x="743" y="424"/>
                </a:cubicBezTo>
                <a:cubicBezTo>
                  <a:pt x="744" y="424"/>
                  <a:pt x="744" y="424"/>
                  <a:pt x="744" y="424"/>
                </a:cubicBezTo>
                <a:cubicBezTo>
                  <a:pt x="746" y="428"/>
                  <a:pt x="746" y="428"/>
                  <a:pt x="746" y="428"/>
                </a:cubicBezTo>
                <a:cubicBezTo>
                  <a:pt x="747" y="429"/>
                  <a:pt x="747" y="429"/>
                  <a:pt x="747" y="429"/>
                </a:cubicBezTo>
                <a:cubicBezTo>
                  <a:pt x="746" y="432"/>
                  <a:pt x="746" y="432"/>
                  <a:pt x="746" y="432"/>
                </a:cubicBezTo>
                <a:cubicBezTo>
                  <a:pt x="746" y="434"/>
                  <a:pt x="746" y="434"/>
                  <a:pt x="746" y="434"/>
                </a:cubicBezTo>
                <a:cubicBezTo>
                  <a:pt x="744" y="436"/>
                  <a:pt x="744" y="436"/>
                  <a:pt x="744" y="436"/>
                </a:cubicBezTo>
                <a:cubicBezTo>
                  <a:pt x="743" y="437"/>
                  <a:pt x="743" y="437"/>
                  <a:pt x="743" y="437"/>
                </a:cubicBezTo>
                <a:cubicBezTo>
                  <a:pt x="737" y="437"/>
                  <a:pt x="737" y="437"/>
                  <a:pt x="737" y="437"/>
                </a:cubicBezTo>
                <a:cubicBezTo>
                  <a:pt x="737" y="437"/>
                  <a:pt x="737" y="437"/>
                  <a:pt x="737" y="437"/>
                </a:cubicBezTo>
                <a:cubicBezTo>
                  <a:pt x="735" y="437"/>
                  <a:pt x="735" y="437"/>
                  <a:pt x="735" y="437"/>
                </a:cubicBezTo>
                <a:cubicBezTo>
                  <a:pt x="732" y="435"/>
                  <a:pt x="732" y="435"/>
                  <a:pt x="732" y="435"/>
                </a:cubicBezTo>
                <a:cubicBezTo>
                  <a:pt x="733" y="434"/>
                  <a:pt x="733" y="434"/>
                  <a:pt x="733" y="434"/>
                </a:cubicBezTo>
                <a:cubicBezTo>
                  <a:pt x="733" y="432"/>
                  <a:pt x="733" y="432"/>
                  <a:pt x="733" y="432"/>
                </a:cubicBezTo>
                <a:cubicBezTo>
                  <a:pt x="729" y="432"/>
                  <a:pt x="729" y="432"/>
                  <a:pt x="729" y="432"/>
                </a:cubicBezTo>
                <a:cubicBezTo>
                  <a:pt x="725" y="430"/>
                  <a:pt x="725" y="430"/>
                  <a:pt x="725" y="430"/>
                </a:cubicBezTo>
                <a:cubicBezTo>
                  <a:pt x="722" y="430"/>
                  <a:pt x="722" y="430"/>
                  <a:pt x="722" y="430"/>
                </a:cubicBezTo>
                <a:cubicBezTo>
                  <a:pt x="723" y="434"/>
                  <a:pt x="723" y="434"/>
                  <a:pt x="723" y="434"/>
                </a:cubicBezTo>
                <a:cubicBezTo>
                  <a:pt x="724" y="437"/>
                  <a:pt x="724" y="437"/>
                  <a:pt x="724" y="437"/>
                </a:cubicBezTo>
                <a:cubicBezTo>
                  <a:pt x="724" y="437"/>
                  <a:pt x="724" y="437"/>
                  <a:pt x="724" y="437"/>
                </a:cubicBezTo>
                <a:cubicBezTo>
                  <a:pt x="722" y="437"/>
                  <a:pt x="722" y="437"/>
                  <a:pt x="722" y="437"/>
                </a:cubicBezTo>
                <a:cubicBezTo>
                  <a:pt x="721" y="435"/>
                  <a:pt x="721" y="435"/>
                  <a:pt x="721" y="435"/>
                </a:cubicBezTo>
                <a:cubicBezTo>
                  <a:pt x="719" y="433"/>
                  <a:pt x="719" y="433"/>
                  <a:pt x="719" y="433"/>
                </a:cubicBezTo>
                <a:cubicBezTo>
                  <a:pt x="718" y="432"/>
                  <a:pt x="718" y="432"/>
                  <a:pt x="718" y="432"/>
                </a:cubicBezTo>
                <a:cubicBezTo>
                  <a:pt x="717" y="431"/>
                  <a:pt x="717" y="431"/>
                  <a:pt x="717" y="431"/>
                </a:cubicBezTo>
                <a:cubicBezTo>
                  <a:pt x="715" y="428"/>
                  <a:pt x="715" y="428"/>
                  <a:pt x="715" y="428"/>
                </a:cubicBezTo>
                <a:cubicBezTo>
                  <a:pt x="713" y="426"/>
                  <a:pt x="713" y="426"/>
                  <a:pt x="713" y="426"/>
                </a:cubicBezTo>
                <a:cubicBezTo>
                  <a:pt x="713" y="425"/>
                  <a:pt x="713" y="425"/>
                  <a:pt x="713" y="425"/>
                </a:cubicBezTo>
                <a:cubicBezTo>
                  <a:pt x="711" y="424"/>
                  <a:pt x="711" y="424"/>
                  <a:pt x="711" y="424"/>
                </a:cubicBezTo>
                <a:cubicBezTo>
                  <a:pt x="709" y="422"/>
                  <a:pt x="709" y="422"/>
                  <a:pt x="709" y="422"/>
                </a:cubicBezTo>
                <a:cubicBezTo>
                  <a:pt x="708" y="421"/>
                  <a:pt x="708" y="421"/>
                  <a:pt x="708" y="421"/>
                </a:cubicBezTo>
                <a:cubicBezTo>
                  <a:pt x="707" y="420"/>
                  <a:pt x="707" y="420"/>
                  <a:pt x="707" y="420"/>
                </a:cubicBezTo>
                <a:cubicBezTo>
                  <a:pt x="705" y="419"/>
                  <a:pt x="705" y="419"/>
                  <a:pt x="705" y="419"/>
                </a:cubicBezTo>
                <a:cubicBezTo>
                  <a:pt x="705" y="421"/>
                  <a:pt x="705" y="421"/>
                  <a:pt x="705" y="421"/>
                </a:cubicBezTo>
                <a:cubicBezTo>
                  <a:pt x="710" y="425"/>
                  <a:pt x="710" y="425"/>
                  <a:pt x="710" y="425"/>
                </a:cubicBezTo>
                <a:cubicBezTo>
                  <a:pt x="711" y="427"/>
                  <a:pt x="711" y="427"/>
                  <a:pt x="711" y="427"/>
                </a:cubicBezTo>
                <a:cubicBezTo>
                  <a:pt x="713" y="429"/>
                  <a:pt x="713" y="429"/>
                  <a:pt x="713" y="429"/>
                </a:cubicBezTo>
                <a:cubicBezTo>
                  <a:pt x="715" y="430"/>
                  <a:pt x="715" y="430"/>
                  <a:pt x="715" y="430"/>
                </a:cubicBezTo>
                <a:cubicBezTo>
                  <a:pt x="715" y="432"/>
                  <a:pt x="715" y="432"/>
                  <a:pt x="715" y="432"/>
                </a:cubicBezTo>
                <a:cubicBezTo>
                  <a:pt x="714" y="433"/>
                  <a:pt x="714" y="433"/>
                  <a:pt x="714" y="433"/>
                </a:cubicBezTo>
                <a:cubicBezTo>
                  <a:pt x="713" y="432"/>
                  <a:pt x="713" y="432"/>
                  <a:pt x="713" y="432"/>
                </a:cubicBezTo>
                <a:cubicBezTo>
                  <a:pt x="712" y="434"/>
                  <a:pt x="712" y="434"/>
                  <a:pt x="712" y="434"/>
                </a:cubicBezTo>
                <a:cubicBezTo>
                  <a:pt x="709" y="432"/>
                  <a:pt x="709" y="432"/>
                  <a:pt x="709" y="432"/>
                </a:cubicBezTo>
                <a:cubicBezTo>
                  <a:pt x="707" y="432"/>
                  <a:pt x="707" y="432"/>
                  <a:pt x="707" y="432"/>
                </a:cubicBezTo>
                <a:cubicBezTo>
                  <a:pt x="706" y="430"/>
                  <a:pt x="706" y="430"/>
                  <a:pt x="706" y="430"/>
                </a:cubicBezTo>
                <a:cubicBezTo>
                  <a:pt x="704" y="429"/>
                  <a:pt x="704" y="429"/>
                  <a:pt x="704" y="429"/>
                </a:cubicBezTo>
                <a:cubicBezTo>
                  <a:pt x="703" y="427"/>
                  <a:pt x="703" y="427"/>
                  <a:pt x="703" y="427"/>
                </a:cubicBezTo>
                <a:cubicBezTo>
                  <a:pt x="699" y="428"/>
                  <a:pt x="699" y="428"/>
                  <a:pt x="699" y="428"/>
                </a:cubicBezTo>
                <a:cubicBezTo>
                  <a:pt x="697" y="429"/>
                  <a:pt x="697" y="429"/>
                  <a:pt x="697" y="429"/>
                </a:cubicBezTo>
                <a:cubicBezTo>
                  <a:pt x="695" y="427"/>
                  <a:pt x="695" y="427"/>
                  <a:pt x="695" y="427"/>
                </a:cubicBezTo>
                <a:cubicBezTo>
                  <a:pt x="693" y="427"/>
                  <a:pt x="693" y="427"/>
                  <a:pt x="693" y="427"/>
                </a:cubicBezTo>
                <a:cubicBezTo>
                  <a:pt x="691" y="427"/>
                  <a:pt x="691" y="427"/>
                  <a:pt x="691" y="427"/>
                </a:cubicBezTo>
                <a:cubicBezTo>
                  <a:pt x="689" y="425"/>
                  <a:pt x="689" y="425"/>
                  <a:pt x="689" y="425"/>
                </a:cubicBezTo>
                <a:cubicBezTo>
                  <a:pt x="686" y="424"/>
                  <a:pt x="686" y="424"/>
                  <a:pt x="686" y="424"/>
                </a:cubicBezTo>
                <a:cubicBezTo>
                  <a:pt x="686" y="422"/>
                  <a:pt x="686" y="422"/>
                  <a:pt x="686" y="422"/>
                </a:cubicBezTo>
                <a:cubicBezTo>
                  <a:pt x="690" y="419"/>
                  <a:pt x="690" y="419"/>
                  <a:pt x="690" y="419"/>
                </a:cubicBezTo>
                <a:cubicBezTo>
                  <a:pt x="691" y="418"/>
                  <a:pt x="691" y="418"/>
                  <a:pt x="691" y="418"/>
                </a:cubicBezTo>
                <a:cubicBezTo>
                  <a:pt x="691" y="417"/>
                  <a:pt x="691" y="417"/>
                  <a:pt x="691" y="417"/>
                </a:cubicBezTo>
                <a:cubicBezTo>
                  <a:pt x="690" y="417"/>
                  <a:pt x="690" y="417"/>
                  <a:pt x="690" y="417"/>
                </a:cubicBezTo>
                <a:cubicBezTo>
                  <a:pt x="687" y="419"/>
                  <a:pt x="687" y="419"/>
                  <a:pt x="687" y="419"/>
                </a:cubicBezTo>
                <a:cubicBezTo>
                  <a:pt x="686" y="421"/>
                  <a:pt x="686" y="421"/>
                  <a:pt x="686" y="421"/>
                </a:cubicBezTo>
                <a:cubicBezTo>
                  <a:pt x="685" y="422"/>
                  <a:pt x="685" y="422"/>
                  <a:pt x="685" y="422"/>
                </a:cubicBezTo>
                <a:cubicBezTo>
                  <a:pt x="683" y="420"/>
                  <a:pt x="683" y="420"/>
                  <a:pt x="683" y="420"/>
                </a:cubicBezTo>
                <a:cubicBezTo>
                  <a:pt x="680" y="420"/>
                  <a:pt x="680" y="420"/>
                  <a:pt x="680" y="420"/>
                </a:cubicBezTo>
                <a:cubicBezTo>
                  <a:pt x="679" y="420"/>
                  <a:pt x="679" y="420"/>
                  <a:pt x="679" y="420"/>
                </a:cubicBezTo>
                <a:cubicBezTo>
                  <a:pt x="681" y="422"/>
                  <a:pt x="681" y="422"/>
                  <a:pt x="681" y="422"/>
                </a:cubicBezTo>
                <a:cubicBezTo>
                  <a:pt x="680" y="422"/>
                  <a:pt x="680" y="422"/>
                  <a:pt x="680" y="422"/>
                </a:cubicBezTo>
                <a:cubicBezTo>
                  <a:pt x="677" y="422"/>
                  <a:pt x="677" y="422"/>
                  <a:pt x="677" y="422"/>
                </a:cubicBezTo>
                <a:cubicBezTo>
                  <a:pt x="674" y="420"/>
                  <a:pt x="674" y="420"/>
                  <a:pt x="674" y="420"/>
                </a:cubicBezTo>
                <a:cubicBezTo>
                  <a:pt x="674" y="416"/>
                  <a:pt x="674" y="416"/>
                  <a:pt x="674" y="416"/>
                </a:cubicBezTo>
                <a:cubicBezTo>
                  <a:pt x="672" y="415"/>
                  <a:pt x="672" y="415"/>
                  <a:pt x="672" y="415"/>
                </a:cubicBezTo>
                <a:cubicBezTo>
                  <a:pt x="672" y="413"/>
                  <a:pt x="672" y="413"/>
                  <a:pt x="672" y="413"/>
                </a:cubicBezTo>
                <a:cubicBezTo>
                  <a:pt x="676" y="411"/>
                  <a:pt x="676" y="411"/>
                  <a:pt x="676" y="411"/>
                </a:cubicBezTo>
                <a:cubicBezTo>
                  <a:pt x="677" y="409"/>
                  <a:pt x="677" y="409"/>
                  <a:pt x="677" y="409"/>
                </a:cubicBezTo>
                <a:cubicBezTo>
                  <a:pt x="676" y="409"/>
                  <a:pt x="676" y="409"/>
                  <a:pt x="676" y="409"/>
                </a:cubicBezTo>
                <a:cubicBezTo>
                  <a:pt x="674" y="410"/>
                  <a:pt x="674" y="410"/>
                  <a:pt x="674" y="410"/>
                </a:cubicBezTo>
                <a:cubicBezTo>
                  <a:pt x="671" y="410"/>
                  <a:pt x="671" y="410"/>
                  <a:pt x="671" y="410"/>
                </a:cubicBezTo>
                <a:cubicBezTo>
                  <a:pt x="670" y="413"/>
                  <a:pt x="670" y="413"/>
                  <a:pt x="670" y="413"/>
                </a:cubicBezTo>
                <a:cubicBezTo>
                  <a:pt x="669" y="413"/>
                  <a:pt x="669" y="413"/>
                  <a:pt x="669" y="413"/>
                </a:cubicBezTo>
                <a:cubicBezTo>
                  <a:pt x="669" y="412"/>
                  <a:pt x="669" y="412"/>
                  <a:pt x="669" y="412"/>
                </a:cubicBezTo>
                <a:cubicBezTo>
                  <a:pt x="669" y="410"/>
                  <a:pt x="669" y="410"/>
                  <a:pt x="669" y="410"/>
                </a:cubicBezTo>
                <a:cubicBezTo>
                  <a:pt x="668" y="409"/>
                  <a:pt x="668" y="409"/>
                  <a:pt x="668" y="409"/>
                </a:cubicBezTo>
                <a:cubicBezTo>
                  <a:pt x="667" y="409"/>
                  <a:pt x="667" y="409"/>
                  <a:pt x="667" y="409"/>
                </a:cubicBezTo>
                <a:cubicBezTo>
                  <a:pt x="667" y="411"/>
                  <a:pt x="667" y="411"/>
                  <a:pt x="667" y="411"/>
                </a:cubicBezTo>
                <a:cubicBezTo>
                  <a:pt x="667" y="412"/>
                  <a:pt x="667" y="412"/>
                  <a:pt x="667" y="412"/>
                </a:cubicBezTo>
                <a:cubicBezTo>
                  <a:pt x="666" y="413"/>
                  <a:pt x="666" y="413"/>
                  <a:pt x="666" y="413"/>
                </a:cubicBezTo>
                <a:cubicBezTo>
                  <a:pt x="665" y="413"/>
                  <a:pt x="665" y="413"/>
                  <a:pt x="665" y="413"/>
                </a:cubicBezTo>
                <a:cubicBezTo>
                  <a:pt x="663" y="411"/>
                  <a:pt x="663" y="411"/>
                  <a:pt x="663" y="411"/>
                </a:cubicBezTo>
                <a:cubicBezTo>
                  <a:pt x="661" y="410"/>
                  <a:pt x="661" y="410"/>
                  <a:pt x="661" y="410"/>
                </a:cubicBezTo>
                <a:cubicBezTo>
                  <a:pt x="660" y="411"/>
                  <a:pt x="660" y="411"/>
                  <a:pt x="660" y="411"/>
                </a:cubicBezTo>
                <a:cubicBezTo>
                  <a:pt x="659" y="412"/>
                  <a:pt x="659" y="412"/>
                  <a:pt x="659" y="412"/>
                </a:cubicBezTo>
                <a:cubicBezTo>
                  <a:pt x="658" y="413"/>
                  <a:pt x="658" y="413"/>
                  <a:pt x="658" y="413"/>
                </a:cubicBezTo>
                <a:cubicBezTo>
                  <a:pt x="656" y="411"/>
                  <a:pt x="656" y="411"/>
                  <a:pt x="656" y="411"/>
                </a:cubicBezTo>
                <a:cubicBezTo>
                  <a:pt x="656" y="409"/>
                  <a:pt x="656" y="409"/>
                  <a:pt x="656" y="409"/>
                </a:cubicBezTo>
                <a:cubicBezTo>
                  <a:pt x="657" y="409"/>
                  <a:pt x="657" y="409"/>
                  <a:pt x="657" y="409"/>
                </a:cubicBezTo>
                <a:cubicBezTo>
                  <a:pt x="658" y="410"/>
                  <a:pt x="658" y="410"/>
                  <a:pt x="658" y="410"/>
                </a:cubicBezTo>
                <a:cubicBezTo>
                  <a:pt x="658" y="409"/>
                  <a:pt x="658" y="409"/>
                  <a:pt x="658" y="409"/>
                </a:cubicBezTo>
                <a:cubicBezTo>
                  <a:pt x="655" y="407"/>
                  <a:pt x="655" y="407"/>
                  <a:pt x="655" y="407"/>
                </a:cubicBezTo>
                <a:cubicBezTo>
                  <a:pt x="653" y="405"/>
                  <a:pt x="653" y="405"/>
                  <a:pt x="653" y="405"/>
                </a:cubicBezTo>
                <a:cubicBezTo>
                  <a:pt x="652" y="403"/>
                  <a:pt x="652" y="403"/>
                  <a:pt x="652" y="403"/>
                </a:cubicBezTo>
                <a:cubicBezTo>
                  <a:pt x="653" y="400"/>
                  <a:pt x="653" y="400"/>
                  <a:pt x="653" y="400"/>
                </a:cubicBezTo>
                <a:cubicBezTo>
                  <a:pt x="652" y="397"/>
                  <a:pt x="652" y="397"/>
                  <a:pt x="652" y="397"/>
                </a:cubicBezTo>
                <a:cubicBezTo>
                  <a:pt x="651" y="394"/>
                  <a:pt x="651" y="394"/>
                  <a:pt x="651" y="394"/>
                </a:cubicBezTo>
                <a:cubicBezTo>
                  <a:pt x="652" y="392"/>
                  <a:pt x="652" y="392"/>
                  <a:pt x="652" y="392"/>
                </a:cubicBezTo>
                <a:cubicBezTo>
                  <a:pt x="653" y="392"/>
                  <a:pt x="653" y="392"/>
                  <a:pt x="653" y="392"/>
                </a:cubicBezTo>
                <a:cubicBezTo>
                  <a:pt x="653" y="390"/>
                  <a:pt x="653" y="390"/>
                  <a:pt x="653" y="390"/>
                </a:cubicBezTo>
                <a:cubicBezTo>
                  <a:pt x="653" y="388"/>
                  <a:pt x="653" y="388"/>
                  <a:pt x="653" y="388"/>
                </a:cubicBezTo>
                <a:cubicBezTo>
                  <a:pt x="653" y="387"/>
                  <a:pt x="653" y="387"/>
                  <a:pt x="653" y="387"/>
                </a:cubicBezTo>
                <a:cubicBezTo>
                  <a:pt x="655" y="387"/>
                  <a:pt x="655" y="387"/>
                  <a:pt x="655" y="387"/>
                </a:cubicBezTo>
                <a:cubicBezTo>
                  <a:pt x="656" y="388"/>
                  <a:pt x="656" y="388"/>
                  <a:pt x="656" y="388"/>
                </a:cubicBezTo>
                <a:cubicBezTo>
                  <a:pt x="660" y="389"/>
                  <a:pt x="660" y="389"/>
                  <a:pt x="660" y="389"/>
                </a:cubicBezTo>
                <a:cubicBezTo>
                  <a:pt x="662" y="390"/>
                  <a:pt x="662" y="390"/>
                  <a:pt x="662" y="390"/>
                </a:cubicBezTo>
                <a:cubicBezTo>
                  <a:pt x="663" y="393"/>
                  <a:pt x="663" y="393"/>
                  <a:pt x="663" y="393"/>
                </a:cubicBezTo>
                <a:cubicBezTo>
                  <a:pt x="667" y="394"/>
                  <a:pt x="667" y="394"/>
                  <a:pt x="667" y="394"/>
                </a:cubicBezTo>
                <a:cubicBezTo>
                  <a:pt x="671" y="394"/>
                  <a:pt x="671" y="394"/>
                  <a:pt x="671" y="394"/>
                </a:cubicBezTo>
                <a:cubicBezTo>
                  <a:pt x="672" y="394"/>
                  <a:pt x="672" y="394"/>
                  <a:pt x="672" y="394"/>
                </a:cubicBezTo>
                <a:cubicBezTo>
                  <a:pt x="676" y="394"/>
                  <a:pt x="676" y="394"/>
                  <a:pt x="676" y="394"/>
                </a:cubicBezTo>
                <a:cubicBezTo>
                  <a:pt x="674" y="392"/>
                  <a:pt x="674" y="392"/>
                  <a:pt x="674" y="392"/>
                </a:cubicBezTo>
                <a:cubicBezTo>
                  <a:pt x="674" y="391"/>
                  <a:pt x="674" y="391"/>
                  <a:pt x="674" y="391"/>
                </a:cubicBezTo>
                <a:cubicBezTo>
                  <a:pt x="671" y="389"/>
                  <a:pt x="671" y="389"/>
                  <a:pt x="671" y="389"/>
                </a:cubicBezTo>
                <a:cubicBezTo>
                  <a:pt x="670" y="386"/>
                  <a:pt x="670" y="386"/>
                  <a:pt x="670" y="386"/>
                </a:cubicBezTo>
                <a:cubicBezTo>
                  <a:pt x="667" y="386"/>
                  <a:pt x="667" y="386"/>
                  <a:pt x="667" y="386"/>
                </a:cubicBezTo>
                <a:cubicBezTo>
                  <a:pt x="664" y="384"/>
                  <a:pt x="664" y="384"/>
                  <a:pt x="664" y="384"/>
                </a:cubicBezTo>
                <a:cubicBezTo>
                  <a:pt x="662" y="384"/>
                  <a:pt x="662" y="384"/>
                  <a:pt x="662" y="384"/>
                </a:cubicBezTo>
                <a:cubicBezTo>
                  <a:pt x="660" y="382"/>
                  <a:pt x="660" y="382"/>
                  <a:pt x="660" y="382"/>
                </a:cubicBezTo>
                <a:cubicBezTo>
                  <a:pt x="657" y="382"/>
                  <a:pt x="657" y="382"/>
                  <a:pt x="657" y="382"/>
                </a:cubicBezTo>
                <a:cubicBezTo>
                  <a:pt x="653" y="380"/>
                  <a:pt x="653" y="380"/>
                  <a:pt x="653" y="380"/>
                </a:cubicBezTo>
                <a:cubicBezTo>
                  <a:pt x="652" y="377"/>
                  <a:pt x="652" y="377"/>
                  <a:pt x="652" y="377"/>
                </a:cubicBezTo>
                <a:cubicBezTo>
                  <a:pt x="653" y="374"/>
                  <a:pt x="653" y="374"/>
                  <a:pt x="653" y="374"/>
                </a:cubicBezTo>
                <a:cubicBezTo>
                  <a:pt x="655" y="372"/>
                  <a:pt x="655" y="372"/>
                  <a:pt x="655" y="372"/>
                </a:cubicBezTo>
                <a:cubicBezTo>
                  <a:pt x="655" y="370"/>
                  <a:pt x="655" y="370"/>
                  <a:pt x="655" y="370"/>
                </a:cubicBezTo>
                <a:cubicBezTo>
                  <a:pt x="655" y="368"/>
                  <a:pt x="655" y="368"/>
                  <a:pt x="655" y="368"/>
                </a:cubicBezTo>
                <a:cubicBezTo>
                  <a:pt x="657" y="368"/>
                  <a:pt x="657" y="368"/>
                  <a:pt x="657" y="368"/>
                </a:cubicBezTo>
                <a:cubicBezTo>
                  <a:pt x="658" y="365"/>
                  <a:pt x="658" y="365"/>
                  <a:pt x="658" y="365"/>
                </a:cubicBezTo>
                <a:cubicBezTo>
                  <a:pt x="658" y="361"/>
                  <a:pt x="658" y="361"/>
                  <a:pt x="658" y="361"/>
                </a:cubicBezTo>
                <a:cubicBezTo>
                  <a:pt x="659" y="359"/>
                  <a:pt x="659" y="359"/>
                  <a:pt x="659" y="359"/>
                </a:cubicBezTo>
                <a:cubicBezTo>
                  <a:pt x="661" y="359"/>
                  <a:pt x="661" y="359"/>
                  <a:pt x="661" y="359"/>
                </a:cubicBezTo>
                <a:cubicBezTo>
                  <a:pt x="662" y="357"/>
                  <a:pt x="662" y="357"/>
                  <a:pt x="662" y="357"/>
                </a:cubicBezTo>
                <a:cubicBezTo>
                  <a:pt x="665" y="355"/>
                  <a:pt x="665" y="355"/>
                  <a:pt x="665" y="355"/>
                </a:cubicBezTo>
                <a:cubicBezTo>
                  <a:pt x="667" y="355"/>
                  <a:pt x="667" y="355"/>
                  <a:pt x="667" y="355"/>
                </a:cubicBezTo>
                <a:cubicBezTo>
                  <a:pt x="667" y="353"/>
                  <a:pt x="667" y="353"/>
                  <a:pt x="667" y="353"/>
                </a:cubicBezTo>
                <a:cubicBezTo>
                  <a:pt x="667" y="353"/>
                  <a:pt x="667" y="353"/>
                  <a:pt x="667" y="353"/>
                </a:cubicBezTo>
                <a:cubicBezTo>
                  <a:pt x="665" y="354"/>
                  <a:pt x="665" y="354"/>
                  <a:pt x="665" y="354"/>
                </a:cubicBezTo>
                <a:cubicBezTo>
                  <a:pt x="665" y="352"/>
                  <a:pt x="665" y="352"/>
                  <a:pt x="665" y="352"/>
                </a:cubicBezTo>
                <a:cubicBezTo>
                  <a:pt x="668" y="348"/>
                  <a:pt x="668" y="348"/>
                  <a:pt x="668" y="348"/>
                </a:cubicBezTo>
                <a:cubicBezTo>
                  <a:pt x="669" y="344"/>
                  <a:pt x="669" y="344"/>
                  <a:pt x="669" y="344"/>
                </a:cubicBezTo>
                <a:cubicBezTo>
                  <a:pt x="670" y="344"/>
                  <a:pt x="670" y="344"/>
                  <a:pt x="670" y="344"/>
                </a:cubicBezTo>
                <a:cubicBezTo>
                  <a:pt x="672" y="341"/>
                  <a:pt x="672" y="341"/>
                  <a:pt x="672" y="341"/>
                </a:cubicBezTo>
                <a:cubicBezTo>
                  <a:pt x="674" y="341"/>
                  <a:pt x="674" y="341"/>
                  <a:pt x="674" y="341"/>
                </a:cubicBezTo>
                <a:cubicBezTo>
                  <a:pt x="675" y="341"/>
                  <a:pt x="675" y="341"/>
                  <a:pt x="675" y="341"/>
                </a:cubicBezTo>
                <a:cubicBezTo>
                  <a:pt x="676" y="338"/>
                  <a:pt x="676" y="338"/>
                  <a:pt x="676" y="338"/>
                </a:cubicBezTo>
                <a:cubicBezTo>
                  <a:pt x="677" y="338"/>
                  <a:pt x="677" y="338"/>
                  <a:pt x="677" y="338"/>
                </a:cubicBezTo>
                <a:cubicBezTo>
                  <a:pt x="678" y="340"/>
                  <a:pt x="678" y="340"/>
                  <a:pt x="678" y="340"/>
                </a:cubicBezTo>
                <a:cubicBezTo>
                  <a:pt x="679" y="338"/>
                  <a:pt x="679" y="338"/>
                  <a:pt x="679" y="338"/>
                </a:cubicBezTo>
                <a:cubicBezTo>
                  <a:pt x="678" y="336"/>
                  <a:pt x="678" y="336"/>
                  <a:pt x="678" y="336"/>
                </a:cubicBezTo>
                <a:cubicBezTo>
                  <a:pt x="681" y="332"/>
                  <a:pt x="681" y="332"/>
                  <a:pt x="681" y="332"/>
                </a:cubicBezTo>
                <a:cubicBezTo>
                  <a:pt x="683" y="332"/>
                  <a:pt x="683" y="332"/>
                  <a:pt x="683" y="332"/>
                </a:cubicBezTo>
                <a:cubicBezTo>
                  <a:pt x="683" y="330"/>
                  <a:pt x="683" y="330"/>
                  <a:pt x="683" y="330"/>
                </a:cubicBezTo>
                <a:cubicBezTo>
                  <a:pt x="685" y="327"/>
                  <a:pt x="685" y="327"/>
                  <a:pt x="685" y="327"/>
                </a:cubicBezTo>
                <a:cubicBezTo>
                  <a:pt x="687" y="327"/>
                  <a:pt x="687" y="327"/>
                  <a:pt x="687" y="327"/>
                </a:cubicBezTo>
                <a:cubicBezTo>
                  <a:pt x="689" y="325"/>
                  <a:pt x="689" y="325"/>
                  <a:pt x="689" y="325"/>
                </a:cubicBezTo>
                <a:cubicBezTo>
                  <a:pt x="691" y="325"/>
                  <a:pt x="691" y="325"/>
                  <a:pt x="691" y="325"/>
                </a:cubicBezTo>
                <a:cubicBezTo>
                  <a:pt x="692" y="326"/>
                  <a:pt x="692" y="326"/>
                  <a:pt x="692" y="326"/>
                </a:cubicBezTo>
                <a:cubicBezTo>
                  <a:pt x="691" y="324"/>
                  <a:pt x="691" y="324"/>
                  <a:pt x="691" y="324"/>
                </a:cubicBezTo>
                <a:cubicBezTo>
                  <a:pt x="692" y="321"/>
                  <a:pt x="692" y="321"/>
                  <a:pt x="692" y="321"/>
                </a:cubicBezTo>
                <a:cubicBezTo>
                  <a:pt x="696" y="319"/>
                  <a:pt x="696" y="319"/>
                  <a:pt x="696" y="319"/>
                </a:cubicBezTo>
                <a:cubicBezTo>
                  <a:pt x="701" y="316"/>
                  <a:pt x="701" y="316"/>
                  <a:pt x="701" y="316"/>
                </a:cubicBezTo>
                <a:cubicBezTo>
                  <a:pt x="707" y="314"/>
                  <a:pt x="707" y="314"/>
                  <a:pt x="707" y="314"/>
                </a:cubicBezTo>
                <a:cubicBezTo>
                  <a:pt x="712" y="313"/>
                  <a:pt x="712" y="313"/>
                  <a:pt x="712" y="313"/>
                </a:cubicBezTo>
                <a:cubicBezTo>
                  <a:pt x="713" y="313"/>
                  <a:pt x="713" y="313"/>
                  <a:pt x="713" y="313"/>
                </a:cubicBezTo>
                <a:cubicBezTo>
                  <a:pt x="717" y="313"/>
                  <a:pt x="717" y="313"/>
                  <a:pt x="717" y="313"/>
                </a:cubicBezTo>
                <a:cubicBezTo>
                  <a:pt x="718" y="313"/>
                  <a:pt x="718" y="313"/>
                  <a:pt x="718" y="313"/>
                </a:cubicBezTo>
                <a:cubicBezTo>
                  <a:pt x="720" y="313"/>
                  <a:pt x="720" y="313"/>
                  <a:pt x="720" y="313"/>
                </a:cubicBezTo>
                <a:cubicBezTo>
                  <a:pt x="724" y="313"/>
                  <a:pt x="724" y="313"/>
                  <a:pt x="724" y="313"/>
                </a:cubicBezTo>
                <a:cubicBezTo>
                  <a:pt x="726" y="315"/>
                  <a:pt x="726" y="315"/>
                  <a:pt x="726" y="315"/>
                </a:cubicBezTo>
                <a:cubicBezTo>
                  <a:pt x="731" y="317"/>
                  <a:pt x="731" y="317"/>
                  <a:pt x="731" y="317"/>
                </a:cubicBezTo>
                <a:cubicBezTo>
                  <a:pt x="732" y="319"/>
                  <a:pt x="732" y="319"/>
                  <a:pt x="732" y="319"/>
                </a:cubicBezTo>
                <a:cubicBezTo>
                  <a:pt x="731" y="321"/>
                  <a:pt x="731" y="321"/>
                  <a:pt x="731" y="321"/>
                </a:cubicBezTo>
                <a:cubicBezTo>
                  <a:pt x="728" y="322"/>
                  <a:pt x="728" y="322"/>
                  <a:pt x="728" y="322"/>
                </a:cubicBezTo>
                <a:cubicBezTo>
                  <a:pt x="724" y="324"/>
                  <a:pt x="724" y="324"/>
                  <a:pt x="724" y="324"/>
                </a:cubicBezTo>
                <a:cubicBezTo>
                  <a:pt x="722" y="324"/>
                  <a:pt x="722" y="324"/>
                  <a:pt x="722" y="324"/>
                </a:cubicBezTo>
                <a:cubicBezTo>
                  <a:pt x="720" y="326"/>
                  <a:pt x="720" y="326"/>
                  <a:pt x="720" y="326"/>
                </a:cubicBezTo>
                <a:cubicBezTo>
                  <a:pt x="718" y="328"/>
                  <a:pt x="718" y="328"/>
                  <a:pt x="718" y="328"/>
                </a:cubicBezTo>
                <a:cubicBezTo>
                  <a:pt x="716" y="329"/>
                  <a:pt x="716" y="329"/>
                  <a:pt x="716" y="329"/>
                </a:cubicBezTo>
                <a:cubicBezTo>
                  <a:pt x="711" y="333"/>
                  <a:pt x="711" y="333"/>
                  <a:pt x="711" y="333"/>
                </a:cubicBezTo>
                <a:cubicBezTo>
                  <a:pt x="707" y="338"/>
                  <a:pt x="707" y="338"/>
                  <a:pt x="707" y="338"/>
                </a:cubicBezTo>
                <a:cubicBezTo>
                  <a:pt x="703" y="341"/>
                  <a:pt x="703" y="341"/>
                  <a:pt x="703" y="341"/>
                </a:cubicBezTo>
                <a:cubicBezTo>
                  <a:pt x="702" y="342"/>
                  <a:pt x="702" y="342"/>
                  <a:pt x="702" y="342"/>
                </a:cubicBezTo>
                <a:cubicBezTo>
                  <a:pt x="700" y="346"/>
                  <a:pt x="700" y="346"/>
                  <a:pt x="700" y="346"/>
                </a:cubicBezTo>
                <a:cubicBezTo>
                  <a:pt x="699" y="349"/>
                  <a:pt x="699" y="349"/>
                  <a:pt x="699" y="349"/>
                </a:cubicBezTo>
                <a:cubicBezTo>
                  <a:pt x="700" y="351"/>
                  <a:pt x="700" y="351"/>
                  <a:pt x="700" y="351"/>
                </a:cubicBezTo>
                <a:cubicBezTo>
                  <a:pt x="702" y="353"/>
                  <a:pt x="702" y="353"/>
                  <a:pt x="702" y="353"/>
                </a:cubicBezTo>
                <a:cubicBezTo>
                  <a:pt x="702" y="355"/>
                  <a:pt x="702" y="355"/>
                  <a:pt x="702" y="355"/>
                </a:cubicBezTo>
                <a:cubicBezTo>
                  <a:pt x="700" y="356"/>
                  <a:pt x="700" y="356"/>
                  <a:pt x="700" y="356"/>
                </a:cubicBezTo>
                <a:cubicBezTo>
                  <a:pt x="698" y="359"/>
                  <a:pt x="698" y="359"/>
                  <a:pt x="698" y="359"/>
                </a:cubicBezTo>
                <a:cubicBezTo>
                  <a:pt x="696" y="361"/>
                  <a:pt x="696" y="361"/>
                  <a:pt x="696" y="361"/>
                </a:cubicBezTo>
                <a:cubicBezTo>
                  <a:pt x="695" y="364"/>
                  <a:pt x="695" y="364"/>
                  <a:pt x="695" y="364"/>
                </a:cubicBezTo>
                <a:cubicBezTo>
                  <a:pt x="694" y="367"/>
                  <a:pt x="694" y="367"/>
                  <a:pt x="694" y="367"/>
                </a:cubicBezTo>
                <a:cubicBezTo>
                  <a:pt x="693" y="367"/>
                  <a:pt x="693" y="367"/>
                  <a:pt x="693" y="367"/>
                </a:cubicBezTo>
                <a:cubicBezTo>
                  <a:pt x="693" y="369"/>
                  <a:pt x="693" y="369"/>
                  <a:pt x="693" y="369"/>
                </a:cubicBezTo>
                <a:cubicBezTo>
                  <a:pt x="694" y="371"/>
                  <a:pt x="694" y="371"/>
                  <a:pt x="694" y="371"/>
                </a:cubicBezTo>
                <a:cubicBezTo>
                  <a:pt x="694" y="375"/>
                  <a:pt x="694" y="375"/>
                  <a:pt x="694" y="375"/>
                </a:cubicBezTo>
                <a:cubicBezTo>
                  <a:pt x="695" y="377"/>
                  <a:pt x="695" y="377"/>
                  <a:pt x="695" y="377"/>
                </a:cubicBezTo>
                <a:cubicBezTo>
                  <a:pt x="695" y="380"/>
                  <a:pt x="695" y="380"/>
                  <a:pt x="695" y="380"/>
                </a:cubicBezTo>
                <a:cubicBezTo>
                  <a:pt x="697" y="383"/>
                  <a:pt x="697" y="383"/>
                  <a:pt x="697" y="383"/>
                </a:cubicBezTo>
                <a:cubicBezTo>
                  <a:pt x="698" y="384"/>
                  <a:pt x="698" y="384"/>
                  <a:pt x="698" y="384"/>
                </a:cubicBezTo>
                <a:cubicBezTo>
                  <a:pt x="700" y="385"/>
                  <a:pt x="700" y="385"/>
                  <a:pt x="700" y="385"/>
                </a:cubicBezTo>
                <a:cubicBezTo>
                  <a:pt x="700" y="388"/>
                  <a:pt x="700" y="388"/>
                  <a:pt x="700" y="388"/>
                </a:cubicBezTo>
                <a:cubicBezTo>
                  <a:pt x="699" y="390"/>
                  <a:pt x="699" y="390"/>
                  <a:pt x="699" y="390"/>
                </a:cubicBezTo>
                <a:cubicBezTo>
                  <a:pt x="698" y="388"/>
                  <a:pt x="698" y="388"/>
                  <a:pt x="698" y="388"/>
                </a:cubicBezTo>
                <a:cubicBezTo>
                  <a:pt x="697" y="388"/>
                  <a:pt x="697" y="388"/>
                  <a:pt x="697" y="388"/>
                </a:cubicBezTo>
                <a:cubicBezTo>
                  <a:pt x="697" y="389"/>
                  <a:pt x="697" y="389"/>
                  <a:pt x="697" y="389"/>
                </a:cubicBezTo>
                <a:cubicBezTo>
                  <a:pt x="695" y="389"/>
                  <a:pt x="695" y="389"/>
                  <a:pt x="695" y="389"/>
                </a:cubicBezTo>
                <a:cubicBezTo>
                  <a:pt x="694" y="390"/>
                  <a:pt x="694" y="390"/>
                  <a:pt x="694" y="390"/>
                </a:cubicBezTo>
                <a:cubicBezTo>
                  <a:pt x="692" y="390"/>
                  <a:pt x="692" y="390"/>
                  <a:pt x="692" y="390"/>
                </a:cubicBezTo>
                <a:cubicBezTo>
                  <a:pt x="693" y="391"/>
                  <a:pt x="693" y="391"/>
                  <a:pt x="693" y="391"/>
                </a:cubicBezTo>
                <a:cubicBezTo>
                  <a:pt x="695" y="393"/>
                  <a:pt x="695" y="393"/>
                  <a:pt x="695" y="393"/>
                </a:cubicBezTo>
                <a:cubicBezTo>
                  <a:pt x="697" y="392"/>
                  <a:pt x="697" y="392"/>
                  <a:pt x="697" y="392"/>
                </a:cubicBezTo>
                <a:cubicBezTo>
                  <a:pt x="697" y="392"/>
                  <a:pt x="697" y="392"/>
                  <a:pt x="697" y="392"/>
                </a:cubicBezTo>
                <a:cubicBezTo>
                  <a:pt x="698" y="393"/>
                  <a:pt x="698" y="393"/>
                  <a:pt x="698" y="393"/>
                </a:cubicBezTo>
                <a:cubicBezTo>
                  <a:pt x="696" y="395"/>
                  <a:pt x="696" y="395"/>
                  <a:pt x="696" y="395"/>
                </a:cubicBezTo>
                <a:cubicBezTo>
                  <a:pt x="695" y="398"/>
                  <a:pt x="695" y="398"/>
                  <a:pt x="695" y="398"/>
                </a:cubicBezTo>
                <a:cubicBezTo>
                  <a:pt x="695" y="400"/>
                  <a:pt x="695" y="400"/>
                  <a:pt x="695" y="400"/>
                </a:cubicBezTo>
                <a:cubicBezTo>
                  <a:pt x="694" y="402"/>
                  <a:pt x="694" y="402"/>
                  <a:pt x="694" y="402"/>
                </a:cubicBezTo>
                <a:cubicBezTo>
                  <a:pt x="697" y="399"/>
                  <a:pt x="697" y="399"/>
                  <a:pt x="697" y="399"/>
                </a:cubicBezTo>
                <a:cubicBezTo>
                  <a:pt x="697" y="397"/>
                  <a:pt x="697" y="397"/>
                  <a:pt x="697" y="397"/>
                </a:cubicBezTo>
                <a:cubicBezTo>
                  <a:pt x="700" y="393"/>
                  <a:pt x="700" y="393"/>
                  <a:pt x="700" y="393"/>
                </a:cubicBezTo>
                <a:cubicBezTo>
                  <a:pt x="701" y="391"/>
                  <a:pt x="701" y="391"/>
                  <a:pt x="701" y="391"/>
                </a:cubicBezTo>
                <a:cubicBezTo>
                  <a:pt x="702" y="387"/>
                  <a:pt x="702" y="387"/>
                  <a:pt x="702" y="387"/>
                </a:cubicBezTo>
                <a:cubicBezTo>
                  <a:pt x="703" y="386"/>
                  <a:pt x="703" y="386"/>
                  <a:pt x="703" y="386"/>
                </a:cubicBezTo>
                <a:cubicBezTo>
                  <a:pt x="705" y="384"/>
                  <a:pt x="705" y="384"/>
                  <a:pt x="705" y="384"/>
                </a:cubicBezTo>
                <a:cubicBezTo>
                  <a:pt x="705" y="382"/>
                  <a:pt x="705" y="382"/>
                  <a:pt x="705" y="382"/>
                </a:cubicBezTo>
                <a:cubicBezTo>
                  <a:pt x="704" y="380"/>
                  <a:pt x="704" y="380"/>
                  <a:pt x="704" y="380"/>
                </a:cubicBezTo>
                <a:cubicBezTo>
                  <a:pt x="705" y="379"/>
                  <a:pt x="705" y="379"/>
                  <a:pt x="705" y="379"/>
                </a:cubicBezTo>
                <a:cubicBezTo>
                  <a:pt x="703" y="378"/>
                  <a:pt x="703" y="378"/>
                  <a:pt x="703" y="378"/>
                </a:cubicBezTo>
                <a:cubicBezTo>
                  <a:pt x="702" y="377"/>
                  <a:pt x="702" y="377"/>
                  <a:pt x="702" y="377"/>
                </a:cubicBezTo>
                <a:cubicBezTo>
                  <a:pt x="702" y="374"/>
                  <a:pt x="702" y="374"/>
                  <a:pt x="702" y="374"/>
                </a:cubicBezTo>
                <a:cubicBezTo>
                  <a:pt x="701" y="374"/>
                  <a:pt x="701" y="374"/>
                  <a:pt x="701" y="374"/>
                </a:cubicBezTo>
                <a:cubicBezTo>
                  <a:pt x="701" y="370"/>
                  <a:pt x="701" y="370"/>
                  <a:pt x="701" y="370"/>
                </a:cubicBezTo>
                <a:cubicBezTo>
                  <a:pt x="700" y="368"/>
                  <a:pt x="700" y="368"/>
                  <a:pt x="700" y="368"/>
                </a:cubicBezTo>
                <a:cubicBezTo>
                  <a:pt x="699" y="366"/>
                  <a:pt x="699" y="366"/>
                  <a:pt x="699" y="366"/>
                </a:cubicBezTo>
                <a:cubicBezTo>
                  <a:pt x="700" y="365"/>
                  <a:pt x="700" y="365"/>
                  <a:pt x="700" y="365"/>
                </a:cubicBezTo>
                <a:cubicBezTo>
                  <a:pt x="701" y="367"/>
                  <a:pt x="701" y="367"/>
                  <a:pt x="701" y="367"/>
                </a:cubicBezTo>
                <a:cubicBezTo>
                  <a:pt x="702" y="366"/>
                  <a:pt x="702" y="366"/>
                  <a:pt x="702" y="366"/>
                </a:cubicBezTo>
                <a:cubicBezTo>
                  <a:pt x="705" y="365"/>
                  <a:pt x="705" y="365"/>
                  <a:pt x="705" y="365"/>
                </a:cubicBezTo>
                <a:cubicBezTo>
                  <a:pt x="706" y="363"/>
                  <a:pt x="706" y="363"/>
                  <a:pt x="706" y="363"/>
                </a:cubicBezTo>
                <a:cubicBezTo>
                  <a:pt x="706" y="362"/>
                  <a:pt x="706" y="362"/>
                  <a:pt x="706" y="362"/>
                </a:cubicBezTo>
                <a:cubicBezTo>
                  <a:pt x="707" y="360"/>
                  <a:pt x="707" y="360"/>
                  <a:pt x="707" y="360"/>
                </a:cubicBezTo>
                <a:cubicBezTo>
                  <a:pt x="709" y="360"/>
                  <a:pt x="709" y="360"/>
                  <a:pt x="709" y="360"/>
                </a:cubicBezTo>
                <a:cubicBezTo>
                  <a:pt x="710" y="364"/>
                  <a:pt x="710" y="364"/>
                  <a:pt x="710" y="364"/>
                </a:cubicBezTo>
                <a:cubicBezTo>
                  <a:pt x="710" y="365"/>
                  <a:pt x="710" y="365"/>
                  <a:pt x="710" y="365"/>
                </a:cubicBezTo>
                <a:cubicBezTo>
                  <a:pt x="711" y="366"/>
                  <a:pt x="711" y="366"/>
                  <a:pt x="711" y="366"/>
                </a:cubicBezTo>
                <a:cubicBezTo>
                  <a:pt x="712" y="364"/>
                  <a:pt x="712" y="364"/>
                  <a:pt x="712" y="364"/>
                </a:cubicBezTo>
                <a:cubicBezTo>
                  <a:pt x="712" y="362"/>
                  <a:pt x="712" y="362"/>
                  <a:pt x="712" y="362"/>
                </a:cubicBezTo>
                <a:cubicBezTo>
                  <a:pt x="714" y="360"/>
                  <a:pt x="714" y="360"/>
                  <a:pt x="714" y="360"/>
                </a:cubicBezTo>
                <a:cubicBezTo>
                  <a:pt x="716" y="360"/>
                  <a:pt x="716" y="360"/>
                  <a:pt x="716" y="360"/>
                </a:cubicBezTo>
                <a:cubicBezTo>
                  <a:pt x="715" y="358"/>
                  <a:pt x="715" y="358"/>
                  <a:pt x="715" y="358"/>
                </a:cubicBezTo>
                <a:cubicBezTo>
                  <a:pt x="716" y="358"/>
                  <a:pt x="716" y="358"/>
                  <a:pt x="716" y="358"/>
                </a:cubicBezTo>
                <a:cubicBezTo>
                  <a:pt x="718" y="357"/>
                  <a:pt x="718" y="357"/>
                  <a:pt x="718" y="357"/>
                </a:cubicBezTo>
                <a:cubicBezTo>
                  <a:pt x="718" y="356"/>
                  <a:pt x="718" y="356"/>
                  <a:pt x="718" y="356"/>
                </a:cubicBezTo>
                <a:cubicBezTo>
                  <a:pt x="716" y="355"/>
                  <a:pt x="716" y="355"/>
                  <a:pt x="716" y="355"/>
                </a:cubicBezTo>
                <a:cubicBezTo>
                  <a:pt x="712" y="358"/>
                  <a:pt x="712" y="358"/>
                  <a:pt x="712" y="358"/>
                </a:cubicBezTo>
                <a:cubicBezTo>
                  <a:pt x="710" y="358"/>
                  <a:pt x="710" y="358"/>
                  <a:pt x="710" y="358"/>
                </a:cubicBezTo>
                <a:cubicBezTo>
                  <a:pt x="710" y="356"/>
                  <a:pt x="710" y="356"/>
                  <a:pt x="710" y="356"/>
                </a:cubicBezTo>
                <a:cubicBezTo>
                  <a:pt x="708" y="354"/>
                  <a:pt x="708" y="354"/>
                  <a:pt x="708" y="354"/>
                </a:cubicBezTo>
                <a:cubicBezTo>
                  <a:pt x="709" y="353"/>
                  <a:pt x="709" y="353"/>
                  <a:pt x="709" y="353"/>
                </a:cubicBezTo>
                <a:cubicBezTo>
                  <a:pt x="711" y="352"/>
                  <a:pt x="711" y="352"/>
                  <a:pt x="711" y="352"/>
                </a:cubicBezTo>
                <a:cubicBezTo>
                  <a:pt x="710" y="350"/>
                  <a:pt x="710" y="350"/>
                  <a:pt x="710" y="350"/>
                </a:cubicBezTo>
                <a:cubicBezTo>
                  <a:pt x="710" y="347"/>
                  <a:pt x="710" y="347"/>
                  <a:pt x="710" y="347"/>
                </a:cubicBezTo>
                <a:cubicBezTo>
                  <a:pt x="712" y="343"/>
                  <a:pt x="712" y="343"/>
                  <a:pt x="712" y="343"/>
                </a:cubicBezTo>
                <a:cubicBezTo>
                  <a:pt x="712" y="342"/>
                  <a:pt x="712" y="342"/>
                  <a:pt x="712" y="342"/>
                </a:cubicBezTo>
                <a:cubicBezTo>
                  <a:pt x="714" y="340"/>
                  <a:pt x="714" y="340"/>
                  <a:pt x="714" y="340"/>
                </a:cubicBezTo>
                <a:cubicBezTo>
                  <a:pt x="717" y="340"/>
                  <a:pt x="717" y="340"/>
                  <a:pt x="717" y="340"/>
                </a:cubicBezTo>
                <a:cubicBezTo>
                  <a:pt x="719" y="342"/>
                  <a:pt x="719" y="342"/>
                  <a:pt x="719" y="342"/>
                </a:cubicBezTo>
                <a:cubicBezTo>
                  <a:pt x="720" y="344"/>
                  <a:pt x="720" y="344"/>
                  <a:pt x="720" y="344"/>
                </a:cubicBezTo>
                <a:cubicBezTo>
                  <a:pt x="723" y="346"/>
                  <a:pt x="723" y="346"/>
                  <a:pt x="723" y="346"/>
                </a:cubicBezTo>
                <a:cubicBezTo>
                  <a:pt x="724" y="348"/>
                  <a:pt x="724" y="348"/>
                  <a:pt x="724" y="348"/>
                </a:cubicBezTo>
                <a:cubicBezTo>
                  <a:pt x="727" y="348"/>
                  <a:pt x="727" y="348"/>
                  <a:pt x="727" y="348"/>
                </a:cubicBezTo>
                <a:cubicBezTo>
                  <a:pt x="725" y="346"/>
                  <a:pt x="725" y="346"/>
                  <a:pt x="725" y="346"/>
                </a:cubicBezTo>
                <a:cubicBezTo>
                  <a:pt x="724" y="345"/>
                  <a:pt x="724" y="345"/>
                  <a:pt x="724" y="345"/>
                </a:cubicBezTo>
                <a:cubicBezTo>
                  <a:pt x="721" y="342"/>
                  <a:pt x="721" y="342"/>
                  <a:pt x="721" y="342"/>
                </a:cubicBezTo>
                <a:cubicBezTo>
                  <a:pt x="720" y="340"/>
                  <a:pt x="720" y="340"/>
                  <a:pt x="720" y="340"/>
                </a:cubicBezTo>
                <a:cubicBezTo>
                  <a:pt x="720" y="339"/>
                  <a:pt x="720" y="339"/>
                  <a:pt x="720" y="339"/>
                </a:cubicBezTo>
                <a:cubicBezTo>
                  <a:pt x="717" y="339"/>
                  <a:pt x="717" y="339"/>
                  <a:pt x="717" y="339"/>
                </a:cubicBezTo>
                <a:cubicBezTo>
                  <a:pt x="716" y="337"/>
                  <a:pt x="716" y="337"/>
                  <a:pt x="716" y="337"/>
                </a:cubicBezTo>
                <a:cubicBezTo>
                  <a:pt x="717" y="337"/>
                  <a:pt x="717" y="337"/>
                  <a:pt x="717" y="337"/>
                </a:cubicBezTo>
                <a:cubicBezTo>
                  <a:pt x="721" y="337"/>
                  <a:pt x="721" y="337"/>
                  <a:pt x="721" y="337"/>
                </a:cubicBezTo>
                <a:cubicBezTo>
                  <a:pt x="722" y="336"/>
                  <a:pt x="722" y="336"/>
                  <a:pt x="722" y="336"/>
                </a:cubicBezTo>
                <a:cubicBezTo>
                  <a:pt x="723" y="336"/>
                  <a:pt x="723" y="336"/>
                  <a:pt x="723" y="336"/>
                </a:cubicBezTo>
                <a:cubicBezTo>
                  <a:pt x="726" y="340"/>
                  <a:pt x="726" y="340"/>
                  <a:pt x="726" y="340"/>
                </a:cubicBezTo>
                <a:cubicBezTo>
                  <a:pt x="730" y="342"/>
                  <a:pt x="730" y="342"/>
                  <a:pt x="730" y="342"/>
                </a:cubicBezTo>
                <a:cubicBezTo>
                  <a:pt x="731" y="342"/>
                  <a:pt x="731" y="342"/>
                  <a:pt x="731" y="342"/>
                </a:cubicBezTo>
                <a:cubicBezTo>
                  <a:pt x="728" y="340"/>
                  <a:pt x="728" y="340"/>
                  <a:pt x="728" y="340"/>
                </a:cubicBezTo>
                <a:cubicBezTo>
                  <a:pt x="726" y="336"/>
                  <a:pt x="726" y="336"/>
                  <a:pt x="726" y="336"/>
                </a:cubicBezTo>
                <a:cubicBezTo>
                  <a:pt x="723" y="334"/>
                  <a:pt x="723" y="334"/>
                  <a:pt x="723" y="334"/>
                </a:cubicBezTo>
                <a:cubicBezTo>
                  <a:pt x="723" y="333"/>
                  <a:pt x="723" y="333"/>
                  <a:pt x="723" y="333"/>
                </a:cubicBezTo>
                <a:cubicBezTo>
                  <a:pt x="724" y="331"/>
                  <a:pt x="724" y="331"/>
                  <a:pt x="724" y="331"/>
                </a:cubicBezTo>
                <a:cubicBezTo>
                  <a:pt x="727" y="330"/>
                  <a:pt x="727" y="330"/>
                  <a:pt x="727" y="330"/>
                </a:cubicBezTo>
                <a:cubicBezTo>
                  <a:pt x="729" y="330"/>
                  <a:pt x="729" y="330"/>
                  <a:pt x="729" y="330"/>
                </a:cubicBezTo>
                <a:cubicBezTo>
                  <a:pt x="728" y="333"/>
                  <a:pt x="728" y="333"/>
                  <a:pt x="728" y="333"/>
                </a:cubicBezTo>
                <a:cubicBezTo>
                  <a:pt x="729" y="334"/>
                  <a:pt x="729" y="334"/>
                  <a:pt x="729" y="334"/>
                </a:cubicBezTo>
                <a:cubicBezTo>
                  <a:pt x="730" y="333"/>
                  <a:pt x="730" y="333"/>
                  <a:pt x="730" y="333"/>
                </a:cubicBezTo>
                <a:cubicBezTo>
                  <a:pt x="730" y="331"/>
                  <a:pt x="730" y="331"/>
                  <a:pt x="730" y="331"/>
                </a:cubicBezTo>
                <a:cubicBezTo>
                  <a:pt x="731" y="330"/>
                  <a:pt x="731" y="330"/>
                  <a:pt x="731" y="330"/>
                </a:cubicBezTo>
                <a:cubicBezTo>
                  <a:pt x="734" y="330"/>
                  <a:pt x="734" y="330"/>
                  <a:pt x="734" y="330"/>
                </a:cubicBezTo>
                <a:cubicBezTo>
                  <a:pt x="735" y="332"/>
                  <a:pt x="735" y="332"/>
                  <a:pt x="735" y="332"/>
                </a:cubicBezTo>
                <a:cubicBezTo>
                  <a:pt x="736" y="333"/>
                  <a:pt x="736" y="333"/>
                  <a:pt x="736" y="333"/>
                </a:cubicBezTo>
                <a:cubicBezTo>
                  <a:pt x="737" y="336"/>
                  <a:pt x="737" y="336"/>
                  <a:pt x="737" y="336"/>
                </a:cubicBezTo>
                <a:cubicBezTo>
                  <a:pt x="738" y="335"/>
                  <a:pt x="738" y="335"/>
                  <a:pt x="738" y="335"/>
                </a:cubicBezTo>
                <a:cubicBezTo>
                  <a:pt x="738" y="333"/>
                  <a:pt x="738" y="333"/>
                  <a:pt x="738" y="333"/>
                </a:cubicBezTo>
                <a:cubicBezTo>
                  <a:pt x="736" y="330"/>
                  <a:pt x="736" y="330"/>
                  <a:pt x="736" y="330"/>
                </a:cubicBezTo>
                <a:cubicBezTo>
                  <a:pt x="737" y="329"/>
                  <a:pt x="737" y="329"/>
                  <a:pt x="737" y="329"/>
                </a:cubicBezTo>
                <a:cubicBezTo>
                  <a:pt x="743" y="328"/>
                  <a:pt x="743" y="328"/>
                  <a:pt x="743" y="328"/>
                </a:cubicBezTo>
                <a:cubicBezTo>
                  <a:pt x="746" y="326"/>
                  <a:pt x="746" y="326"/>
                  <a:pt x="746" y="326"/>
                </a:cubicBezTo>
                <a:cubicBezTo>
                  <a:pt x="749" y="326"/>
                  <a:pt x="749" y="326"/>
                  <a:pt x="749" y="326"/>
                </a:cubicBezTo>
                <a:cubicBezTo>
                  <a:pt x="752" y="324"/>
                  <a:pt x="752" y="324"/>
                  <a:pt x="752" y="324"/>
                </a:cubicBezTo>
                <a:cubicBezTo>
                  <a:pt x="755" y="325"/>
                  <a:pt x="755" y="325"/>
                  <a:pt x="755" y="325"/>
                </a:cubicBezTo>
                <a:cubicBezTo>
                  <a:pt x="759" y="325"/>
                  <a:pt x="759" y="325"/>
                  <a:pt x="759" y="325"/>
                </a:cubicBezTo>
                <a:cubicBezTo>
                  <a:pt x="763" y="326"/>
                  <a:pt x="763" y="326"/>
                  <a:pt x="763" y="326"/>
                </a:cubicBezTo>
                <a:cubicBezTo>
                  <a:pt x="763" y="328"/>
                  <a:pt x="763" y="328"/>
                  <a:pt x="763" y="328"/>
                </a:cubicBezTo>
                <a:cubicBezTo>
                  <a:pt x="763" y="329"/>
                  <a:pt x="763" y="329"/>
                  <a:pt x="763" y="329"/>
                </a:cubicBezTo>
                <a:cubicBezTo>
                  <a:pt x="762" y="334"/>
                  <a:pt x="762" y="334"/>
                  <a:pt x="762" y="334"/>
                </a:cubicBezTo>
                <a:cubicBezTo>
                  <a:pt x="761" y="335"/>
                  <a:pt x="761" y="335"/>
                  <a:pt x="761" y="335"/>
                </a:cubicBezTo>
                <a:cubicBezTo>
                  <a:pt x="760" y="337"/>
                  <a:pt x="760" y="337"/>
                  <a:pt x="760" y="337"/>
                </a:cubicBezTo>
                <a:cubicBezTo>
                  <a:pt x="758" y="340"/>
                  <a:pt x="758" y="340"/>
                  <a:pt x="758" y="340"/>
                </a:cubicBezTo>
                <a:cubicBezTo>
                  <a:pt x="759" y="341"/>
                  <a:pt x="759" y="341"/>
                  <a:pt x="759" y="341"/>
                </a:cubicBezTo>
                <a:cubicBezTo>
                  <a:pt x="761" y="342"/>
                  <a:pt x="761" y="342"/>
                  <a:pt x="761" y="342"/>
                </a:cubicBezTo>
                <a:cubicBezTo>
                  <a:pt x="762" y="344"/>
                  <a:pt x="762" y="344"/>
                  <a:pt x="762" y="344"/>
                </a:cubicBezTo>
                <a:cubicBezTo>
                  <a:pt x="761" y="346"/>
                  <a:pt x="761" y="346"/>
                  <a:pt x="761" y="346"/>
                </a:cubicBezTo>
                <a:cubicBezTo>
                  <a:pt x="758" y="349"/>
                  <a:pt x="758" y="349"/>
                  <a:pt x="758" y="349"/>
                </a:cubicBezTo>
                <a:cubicBezTo>
                  <a:pt x="758" y="351"/>
                  <a:pt x="758" y="351"/>
                  <a:pt x="758" y="351"/>
                </a:cubicBezTo>
                <a:cubicBezTo>
                  <a:pt x="757" y="353"/>
                  <a:pt x="757" y="353"/>
                  <a:pt x="757" y="353"/>
                </a:cubicBezTo>
                <a:cubicBezTo>
                  <a:pt x="759" y="355"/>
                  <a:pt x="759" y="355"/>
                  <a:pt x="759" y="355"/>
                </a:cubicBezTo>
                <a:cubicBezTo>
                  <a:pt x="759" y="356"/>
                  <a:pt x="759" y="356"/>
                  <a:pt x="759" y="356"/>
                </a:cubicBezTo>
                <a:cubicBezTo>
                  <a:pt x="758" y="359"/>
                  <a:pt x="758" y="359"/>
                  <a:pt x="758" y="359"/>
                </a:cubicBezTo>
                <a:cubicBezTo>
                  <a:pt x="756" y="359"/>
                  <a:pt x="756" y="359"/>
                  <a:pt x="756" y="359"/>
                </a:cubicBezTo>
                <a:cubicBezTo>
                  <a:pt x="754" y="361"/>
                  <a:pt x="754" y="361"/>
                  <a:pt x="754" y="361"/>
                </a:cubicBezTo>
                <a:cubicBezTo>
                  <a:pt x="752" y="361"/>
                  <a:pt x="752" y="361"/>
                  <a:pt x="752" y="361"/>
                </a:cubicBezTo>
                <a:cubicBezTo>
                  <a:pt x="750" y="363"/>
                  <a:pt x="750" y="363"/>
                  <a:pt x="750" y="363"/>
                </a:cubicBezTo>
                <a:cubicBezTo>
                  <a:pt x="749" y="365"/>
                  <a:pt x="749" y="365"/>
                  <a:pt x="749" y="365"/>
                </a:cubicBezTo>
                <a:cubicBezTo>
                  <a:pt x="747" y="367"/>
                  <a:pt x="747" y="367"/>
                  <a:pt x="747" y="367"/>
                </a:cubicBezTo>
                <a:cubicBezTo>
                  <a:pt x="749" y="367"/>
                  <a:pt x="749" y="367"/>
                  <a:pt x="749" y="367"/>
                </a:cubicBezTo>
                <a:cubicBezTo>
                  <a:pt x="751" y="364"/>
                  <a:pt x="751" y="364"/>
                  <a:pt x="751" y="364"/>
                </a:cubicBezTo>
                <a:cubicBezTo>
                  <a:pt x="754" y="362"/>
                  <a:pt x="754" y="362"/>
                  <a:pt x="754" y="362"/>
                </a:cubicBezTo>
                <a:cubicBezTo>
                  <a:pt x="756" y="362"/>
                  <a:pt x="756" y="362"/>
                  <a:pt x="756" y="362"/>
                </a:cubicBezTo>
                <a:cubicBezTo>
                  <a:pt x="757" y="362"/>
                  <a:pt x="757" y="362"/>
                  <a:pt x="757" y="362"/>
                </a:cubicBezTo>
                <a:cubicBezTo>
                  <a:pt x="755" y="364"/>
                  <a:pt x="755" y="364"/>
                  <a:pt x="755" y="364"/>
                </a:cubicBezTo>
                <a:cubicBezTo>
                  <a:pt x="755" y="365"/>
                  <a:pt x="755" y="365"/>
                  <a:pt x="755" y="365"/>
                </a:cubicBezTo>
                <a:cubicBezTo>
                  <a:pt x="751" y="368"/>
                  <a:pt x="751" y="368"/>
                  <a:pt x="751" y="368"/>
                </a:cubicBezTo>
                <a:cubicBezTo>
                  <a:pt x="749" y="370"/>
                  <a:pt x="749" y="370"/>
                  <a:pt x="749" y="370"/>
                </a:cubicBezTo>
                <a:cubicBezTo>
                  <a:pt x="749" y="370"/>
                  <a:pt x="749" y="370"/>
                  <a:pt x="749" y="370"/>
                </a:cubicBezTo>
                <a:cubicBezTo>
                  <a:pt x="749" y="372"/>
                  <a:pt x="749" y="372"/>
                  <a:pt x="749" y="372"/>
                </a:cubicBezTo>
                <a:cubicBezTo>
                  <a:pt x="749" y="373"/>
                  <a:pt x="749" y="373"/>
                  <a:pt x="749" y="373"/>
                </a:cubicBezTo>
                <a:cubicBezTo>
                  <a:pt x="747" y="372"/>
                  <a:pt x="747" y="372"/>
                  <a:pt x="747" y="372"/>
                </a:cubicBezTo>
                <a:cubicBezTo>
                  <a:pt x="746" y="372"/>
                  <a:pt x="746" y="372"/>
                  <a:pt x="746" y="372"/>
                </a:cubicBezTo>
                <a:cubicBezTo>
                  <a:pt x="746" y="374"/>
                  <a:pt x="746" y="374"/>
                  <a:pt x="746" y="374"/>
                </a:cubicBezTo>
                <a:cubicBezTo>
                  <a:pt x="747" y="374"/>
                  <a:pt x="747" y="374"/>
                  <a:pt x="747" y="374"/>
                </a:cubicBezTo>
                <a:cubicBezTo>
                  <a:pt x="748" y="375"/>
                  <a:pt x="748" y="375"/>
                  <a:pt x="748" y="375"/>
                </a:cubicBezTo>
                <a:cubicBezTo>
                  <a:pt x="748" y="377"/>
                  <a:pt x="748" y="377"/>
                  <a:pt x="748" y="377"/>
                </a:cubicBezTo>
                <a:cubicBezTo>
                  <a:pt x="746" y="378"/>
                  <a:pt x="746" y="378"/>
                  <a:pt x="746" y="378"/>
                </a:cubicBezTo>
                <a:cubicBezTo>
                  <a:pt x="748" y="378"/>
                  <a:pt x="748" y="378"/>
                  <a:pt x="748" y="378"/>
                </a:cubicBezTo>
                <a:cubicBezTo>
                  <a:pt x="749" y="377"/>
                  <a:pt x="749" y="377"/>
                  <a:pt x="749" y="377"/>
                </a:cubicBezTo>
                <a:cubicBezTo>
                  <a:pt x="751" y="376"/>
                  <a:pt x="751" y="376"/>
                  <a:pt x="751" y="376"/>
                </a:cubicBezTo>
                <a:cubicBezTo>
                  <a:pt x="752" y="374"/>
                  <a:pt x="752" y="374"/>
                  <a:pt x="752" y="374"/>
                </a:cubicBezTo>
                <a:cubicBezTo>
                  <a:pt x="752" y="372"/>
                  <a:pt x="752" y="372"/>
                  <a:pt x="752" y="372"/>
                </a:cubicBezTo>
                <a:cubicBezTo>
                  <a:pt x="754" y="371"/>
                  <a:pt x="754" y="371"/>
                  <a:pt x="754" y="371"/>
                </a:cubicBezTo>
                <a:cubicBezTo>
                  <a:pt x="755" y="369"/>
                  <a:pt x="755" y="369"/>
                  <a:pt x="755" y="369"/>
                </a:cubicBezTo>
                <a:cubicBezTo>
                  <a:pt x="756" y="370"/>
                  <a:pt x="756" y="370"/>
                  <a:pt x="756" y="370"/>
                </a:cubicBezTo>
                <a:cubicBezTo>
                  <a:pt x="756" y="373"/>
                  <a:pt x="756" y="373"/>
                  <a:pt x="756" y="373"/>
                </a:cubicBezTo>
                <a:cubicBezTo>
                  <a:pt x="757" y="374"/>
                  <a:pt x="757" y="374"/>
                  <a:pt x="757" y="374"/>
                </a:cubicBezTo>
                <a:cubicBezTo>
                  <a:pt x="757" y="371"/>
                  <a:pt x="757" y="371"/>
                  <a:pt x="757" y="371"/>
                </a:cubicBezTo>
                <a:cubicBezTo>
                  <a:pt x="757" y="369"/>
                  <a:pt x="757" y="369"/>
                  <a:pt x="757" y="369"/>
                </a:cubicBezTo>
                <a:cubicBezTo>
                  <a:pt x="757" y="367"/>
                  <a:pt x="757" y="367"/>
                  <a:pt x="757" y="367"/>
                </a:cubicBezTo>
                <a:cubicBezTo>
                  <a:pt x="758" y="366"/>
                  <a:pt x="758" y="366"/>
                  <a:pt x="758" y="366"/>
                </a:cubicBezTo>
                <a:cubicBezTo>
                  <a:pt x="761" y="367"/>
                  <a:pt x="761" y="367"/>
                  <a:pt x="761" y="367"/>
                </a:cubicBezTo>
                <a:cubicBezTo>
                  <a:pt x="760" y="369"/>
                  <a:pt x="760" y="369"/>
                  <a:pt x="760" y="369"/>
                </a:cubicBezTo>
                <a:cubicBezTo>
                  <a:pt x="761" y="371"/>
                  <a:pt x="761" y="371"/>
                  <a:pt x="761" y="371"/>
                </a:cubicBezTo>
                <a:cubicBezTo>
                  <a:pt x="762" y="369"/>
                  <a:pt x="762" y="369"/>
                  <a:pt x="762" y="369"/>
                </a:cubicBezTo>
                <a:cubicBezTo>
                  <a:pt x="765" y="367"/>
                  <a:pt x="765" y="367"/>
                  <a:pt x="765" y="367"/>
                </a:cubicBezTo>
                <a:cubicBezTo>
                  <a:pt x="765" y="369"/>
                  <a:pt x="765" y="369"/>
                  <a:pt x="765" y="369"/>
                </a:cubicBezTo>
                <a:cubicBezTo>
                  <a:pt x="767" y="371"/>
                  <a:pt x="767" y="371"/>
                  <a:pt x="767" y="371"/>
                </a:cubicBezTo>
                <a:cubicBezTo>
                  <a:pt x="766" y="373"/>
                  <a:pt x="766" y="373"/>
                  <a:pt x="766" y="373"/>
                </a:cubicBezTo>
                <a:cubicBezTo>
                  <a:pt x="763" y="377"/>
                  <a:pt x="763" y="377"/>
                  <a:pt x="763" y="377"/>
                </a:cubicBezTo>
                <a:cubicBezTo>
                  <a:pt x="761" y="379"/>
                  <a:pt x="761" y="379"/>
                  <a:pt x="761" y="379"/>
                </a:cubicBezTo>
                <a:cubicBezTo>
                  <a:pt x="760" y="380"/>
                  <a:pt x="760" y="380"/>
                  <a:pt x="760" y="380"/>
                </a:cubicBezTo>
                <a:cubicBezTo>
                  <a:pt x="762" y="381"/>
                  <a:pt x="762" y="381"/>
                  <a:pt x="762" y="381"/>
                </a:cubicBezTo>
                <a:cubicBezTo>
                  <a:pt x="764" y="382"/>
                  <a:pt x="764" y="382"/>
                  <a:pt x="764" y="382"/>
                </a:cubicBezTo>
                <a:cubicBezTo>
                  <a:pt x="766" y="381"/>
                  <a:pt x="766" y="381"/>
                  <a:pt x="766" y="381"/>
                </a:cubicBezTo>
                <a:cubicBezTo>
                  <a:pt x="764" y="379"/>
                  <a:pt x="764" y="379"/>
                  <a:pt x="764" y="379"/>
                </a:cubicBezTo>
                <a:cubicBezTo>
                  <a:pt x="766" y="377"/>
                  <a:pt x="766" y="377"/>
                  <a:pt x="766" y="377"/>
                </a:cubicBezTo>
                <a:cubicBezTo>
                  <a:pt x="767" y="375"/>
                  <a:pt x="767" y="375"/>
                  <a:pt x="767" y="375"/>
                </a:cubicBezTo>
                <a:cubicBezTo>
                  <a:pt x="769" y="378"/>
                  <a:pt x="769" y="378"/>
                  <a:pt x="769" y="378"/>
                </a:cubicBezTo>
                <a:cubicBezTo>
                  <a:pt x="769" y="380"/>
                  <a:pt x="769" y="380"/>
                  <a:pt x="769" y="380"/>
                </a:cubicBezTo>
                <a:cubicBezTo>
                  <a:pt x="770" y="378"/>
                  <a:pt x="770" y="378"/>
                  <a:pt x="770" y="378"/>
                </a:cubicBezTo>
                <a:cubicBezTo>
                  <a:pt x="769" y="375"/>
                  <a:pt x="769" y="375"/>
                  <a:pt x="769" y="375"/>
                </a:cubicBezTo>
                <a:cubicBezTo>
                  <a:pt x="768" y="373"/>
                  <a:pt x="768" y="373"/>
                  <a:pt x="768" y="373"/>
                </a:cubicBezTo>
                <a:cubicBezTo>
                  <a:pt x="768" y="369"/>
                  <a:pt x="768" y="369"/>
                  <a:pt x="768" y="369"/>
                </a:cubicBezTo>
                <a:cubicBezTo>
                  <a:pt x="769" y="368"/>
                  <a:pt x="769" y="368"/>
                  <a:pt x="769" y="368"/>
                </a:cubicBezTo>
                <a:cubicBezTo>
                  <a:pt x="772" y="369"/>
                  <a:pt x="772" y="369"/>
                  <a:pt x="772" y="369"/>
                </a:cubicBezTo>
                <a:cubicBezTo>
                  <a:pt x="771" y="371"/>
                  <a:pt x="771" y="371"/>
                  <a:pt x="771" y="371"/>
                </a:cubicBezTo>
                <a:cubicBezTo>
                  <a:pt x="770" y="373"/>
                  <a:pt x="770" y="373"/>
                  <a:pt x="770" y="373"/>
                </a:cubicBezTo>
                <a:cubicBezTo>
                  <a:pt x="772" y="373"/>
                  <a:pt x="772" y="373"/>
                  <a:pt x="772" y="373"/>
                </a:cubicBezTo>
                <a:cubicBezTo>
                  <a:pt x="774" y="372"/>
                  <a:pt x="774" y="372"/>
                  <a:pt x="774" y="372"/>
                </a:cubicBezTo>
                <a:cubicBezTo>
                  <a:pt x="778" y="376"/>
                  <a:pt x="778" y="376"/>
                  <a:pt x="778" y="376"/>
                </a:cubicBezTo>
                <a:cubicBezTo>
                  <a:pt x="778" y="378"/>
                  <a:pt x="778" y="378"/>
                  <a:pt x="778" y="378"/>
                </a:cubicBezTo>
                <a:cubicBezTo>
                  <a:pt x="780" y="378"/>
                  <a:pt x="780" y="378"/>
                  <a:pt x="780" y="378"/>
                </a:cubicBezTo>
                <a:cubicBezTo>
                  <a:pt x="782" y="379"/>
                  <a:pt x="782" y="379"/>
                  <a:pt x="782" y="379"/>
                </a:cubicBezTo>
                <a:cubicBezTo>
                  <a:pt x="783" y="379"/>
                  <a:pt x="783" y="379"/>
                  <a:pt x="783" y="379"/>
                </a:cubicBezTo>
                <a:cubicBezTo>
                  <a:pt x="782" y="376"/>
                  <a:pt x="782" y="376"/>
                  <a:pt x="782" y="376"/>
                </a:cubicBezTo>
                <a:cubicBezTo>
                  <a:pt x="780" y="376"/>
                  <a:pt x="780" y="376"/>
                  <a:pt x="780" y="376"/>
                </a:cubicBezTo>
                <a:cubicBezTo>
                  <a:pt x="780" y="375"/>
                  <a:pt x="780" y="375"/>
                  <a:pt x="780" y="375"/>
                </a:cubicBezTo>
                <a:cubicBezTo>
                  <a:pt x="775" y="371"/>
                  <a:pt x="775" y="371"/>
                  <a:pt x="775" y="371"/>
                </a:cubicBezTo>
                <a:cubicBezTo>
                  <a:pt x="774" y="370"/>
                  <a:pt x="774" y="370"/>
                  <a:pt x="774" y="370"/>
                </a:cubicBezTo>
                <a:cubicBezTo>
                  <a:pt x="773" y="369"/>
                  <a:pt x="773" y="369"/>
                  <a:pt x="773" y="369"/>
                </a:cubicBezTo>
                <a:cubicBezTo>
                  <a:pt x="775" y="366"/>
                  <a:pt x="775" y="366"/>
                  <a:pt x="775" y="366"/>
                </a:cubicBezTo>
                <a:cubicBezTo>
                  <a:pt x="778" y="365"/>
                  <a:pt x="778" y="365"/>
                  <a:pt x="778" y="365"/>
                </a:cubicBezTo>
                <a:cubicBezTo>
                  <a:pt x="780" y="363"/>
                  <a:pt x="780" y="363"/>
                  <a:pt x="780" y="363"/>
                </a:cubicBezTo>
                <a:cubicBezTo>
                  <a:pt x="784" y="363"/>
                  <a:pt x="784" y="363"/>
                  <a:pt x="784" y="363"/>
                </a:cubicBezTo>
                <a:cubicBezTo>
                  <a:pt x="787" y="363"/>
                  <a:pt x="787" y="363"/>
                  <a:pt x="787" y="363"/>
                </a:cubicBezTo>
                <a:cubicBezTo>
                  <a:pt x="788" y="364"/>
                  <a:pt x="788" y="364"/>
                  <a:pt x="788" y="364"/>
                </a:cubicBezTo>
                <a:cubicBezTo>
                  <a:pt x="789" y="364"/>
                  <a:pt x="789" y="364"/>
                  <a:pt x="789" y="364"/>
                </a:cubicBezTo>
                <a:cubicBezTo>
                  <a:pt x="792" y="366"/>
                  <a:pt x="792" y="366"/>
                  <a:pt x="792" y="366"/>
                </a:cubicBezTo>
                <a:cubicBezTo>
                  <a:pt x="793" y="367"/>
                  <a:pt x="793" y="367"/>
                  <a:pt x="793" y="367"/>
                </a:cubicBezTo>
                <a:cubicBezTo>
                  <a:pt x="795" y="369"/>
                  <a:pt x="795" y="369"/>
                  <a:pt x="795" y="369"/>
                </a:cubicBezTo>
                <a:cubicBezTo>
                  <a:pt x="796" y="369"/>
                  <a:pt x="796" y="369"/>
                  <a:pt x="796" y="369"/>
                </a:cubicBezTo>
                <a:cubicBezTo>
                  <a:pt x="796" y="371"/>
                  <a:pt x="796" y="371"/>
                  <a:pt x="796" y="371"/>
                </a:cubicBezTo>
                <a:cubicBezTo>
                  <a:pt x="798" y="371"/>
                  <a:pt x="798" y="371"/>
                  <a:pt x="798" y="371"/>
                </a:cubicBezTo>
                <a:cubicBezTo>
                  <a:pt x="798" y="370"/>
                  <a:pt x="798" y="370"/>
                  <a:pt x="798" y="370"/>
                </a:cubicBezTo>
                <a:cubicBezTo>
                  <a:pt x="800" y="371"/>
                  <a:pt x="800" y="371"/>
                  <a:pt x="800" y="371"/>
                </a:cubicBezTo>
                <a:cubicBezTo>
                  <a:pt x="801" y="372"/>
                  <a:pt x="801" y="372"/>
                  <a:pt x="801" y="372"/>
                </a:cubicBezTo>
                <a:cubicBezTo>
                  <a:pt x="804" y="374"/>
                  <a:pt x="804" y="374"/>
                  <a:pt x="804" y="374"/>
                </a:cubicBezTo>
                <a:cubicBezTo>
                  <a:pt x="804" y="375"/>
                  <a:pt x="804" y="375"/>
                  <a:pt x="804" y="375"/>
                </a:cubicBezTo>
                <a:cubicBezTo>
                  <a:pt x="803" y="377"/>
                  <a:pt x="803" y="377"/>
                  <a:pt x="803" y="377"/>
                </a:cubicBezTo>
                <a:cubicBezTo>
                  <a:pt x="804" y="378"/>
                  <a:pt x="804" y="378"/>
                  <a:pt x="804" y="378"/>
                </a:cubicBezTo>
                <a:cubicBezTo>
                  <a:pt x="804" y="380"/>
                  <a:pt x="804" y="380"/>
                  <a:pt x="804" y="380"/>
                </a:cubicBezTo>
                <a:cubicBezTo>
                  <a:pt x="802" y="382"/>
                  <a:pt x="802" y="382"/>
                  <a:pt x="802" y="382"/>
                </a:cubicBezTo>
                <a:cubicBezTo>
                  <a:pt x="800" y="382"/>
                  <a:pt x="800" y="382"/>
                  <a:pt x="800" y="382"/>
                </a:cubicBezTo>
                <a:cubicBezTo>
                  <a:pt x="798" y="381"/>
                  <a:pt x="798" y="381"/>
                  <a:pt x="798" y="381"/>
                </a:cubicBezTo>
                <a:cubicBezTo>
                  <a:pt x="795" y="382"/>
                  <a:pt x="795" y="382"/>
                  <a:pt x="795" y="382"/>
                </a:cubicBezTo>
                <a:cubicBezTo>
                  <a:pt x="791" y="386"/>
                  <a:pt x="791" y="386"/>
                  <a:pt x="791" y="386"/>
                </a:cubicBezTo>
                <a:cubicBezTo>
                  <a:pt x="795" y="383"/>
                  <a:pt x="795" y="383"/>
                  <a:pt x="795" y="383"/>
                </a:cubicBezTo>
                <a:cubicBezTo>
                  <a:pt x="799" y="383"/>
                  <a:pt x="799" y="383"/>
                  <a:pt x="799" y="383"/>
                </a:cubicBezTo>
                <a:cubicBezTo>
                  <a:pt x="800" y="384"/>
                  <a:pt x="800" y="384"/>
                  <a:pt x="800" y="384"/>
                </a:cubicBezTo>
                <a:cubicBezTo>
                  <a:pt x="798" y="386"/>
                  <a:pt x="798" y="386"/>
                  <a:pt x="798" y="386"/>
                </a:cubicBezTo>
                <a:cubicBezTo>
                  <a:pt x="796" y="387"/>
                  <a:pt x="796" y="387"/>
                  <a:pt x="796" y="387"/>
                </a:cubicBezTo>
                <a:cubicBezTo>
                  <a:pt x="793" y="391"/>
                  <a:pt x="793" y="391"/>
                  <a:pt x="793" y="391"/>
                </a:cubicBezTo>
                <a:cubicBezTo>
                  <a:pt x="791" y="393"/>
                  <a:pt x="791" y="393"/>
                  <a:pt x="791" y="393"/>
                </a:cubicBezTo>
                <a:cubicBezTo>
                  <a:pt x="790" y="393"/>
                  <a:pt x="790" y="393"/>
                  <a:pt x="790" y="393"/>
                </a:cubicBezTo>
                <a:cubicBezTo>
                  <a:pt x="789" y="395"/>
                  <a:pt x="789" y="395"/>
                  <a:pt x="789" y="395"/>
                </a:cubicBezTo>
                <a:cubicBezTo>
                  <a:pt x="790" y="395"/>
                  <a:pt x="790" y="395"/>
                  <a:pt x="790" y="395"/>
                </a:cubicBezTo>
                <a:cubicBezTo>
                  <a:pt x="795" y="391"/>
                  <a:pt x="795" y="391"/>
                  <a:pt x="795" y="391"/>
                </a:cubicBezTo>
                <a:cubicBezTo>
                  <a:pt x="797" y="388"/>
                  <a:pt x="797" y="388"/>
                  <a:pt x="797" y="388"/>
                </a:cubicBezTo>
                <a:cubicBezTo>
                  <a:pt x="800" y="386"/>
                  <a:pt x="800" y="386"/>
                  <a:pt x="800" y="386"/>
                </a:cubicBezTo>
                <a:cubicBezTo>
                  <a:pt x="802" y="384"/>
                  <a:pt x="802" y="384"/>
                  <a:pt x="802" y="384"/>
                </a:cubicBezTo>
                <a:cubicBezTo>
                  <a:pt x="805" y="385"/>
                  <a:pt x="805" y="385"/>
                  <a:pt x="805" y="385"/>
                </a:cubicBezTo>
                <a:cubicBezTo>
                  <a:pt x="806" y="386"/>
                  <a:pt x="806" y="386"/>
                  <a:pt x="806" y="386"/>
                </a:cubicBezTo>
                <a:cubicBezTo>
                  <a:pt x="808" y="386"/>
                  <a:pt x="808" y="386"/>
                  <a:pt x="808" y="386"/>
                </a:cubicBezTo>
                <a:cubicBezTo>
                  <a:pt x="808" y="388"/>
                  <a:pt x="808" y="388"/>
                  <a:pt x="808" y="388"/>
                </a:cubicBezTo>
                <a:cubicBezTo>
                  <a:pt x="807" y="390"/>
                  <a:pt x="807" y="390"/>
                  <a:pt x="807" y="390"/>
                </a:cubicBezTo>
                <a:cubicBezTo>
                  <a:pt x="807" y="391"/>
                  <a:pt x="807" y="391"/>
                  <a:pt x="807" y="391"/>
                </a:cubicBezTo>
                <a:cubicBezTo>
                  <a:pt x="804" y="392"/>
                  <a:pt x="804" y="392"/>
                  <a:pt x="804" y="392"/>
                </a:cubicBezTo>
                <a:cubicBezTo>
                  <a:pt x="803" y="395"/>
                  <a:pt x="803" y="395"/>
                  <a:pt x="803" y="395"/>
                </a:cubicBezTo>
                <a:cubicBezTo>
                  <a:pt x="800" y="395"/>
                  <a:pt x="800" y="395"/>
                  <a:pt x="800" y="395"/>
                </a:cubicBezTo>
                <a:cubicBezTo>
                  <a:pt x="799" y="394"/>
                  <a:pt x="799" y="394"/>
                  <a:pt x="799" y="394"/>
                </a:cubicBezTo>
                <a:cubicBezTo>
                  <a:pt x="797" y="394"/>
                  <a:pt x="797" y="394"/>
                  <a:pt x="797" y="394"/>
                </a:cubicBezTo>
                <a:cubicBezTo>
                  <a:pt x="796" y="396"/>
                  <a:pt x="796" y="396"/>
                  <a:pt x="796" y="396"/>
                </a:cubicBezTo>
                <a:cubicBezTo>
                  <a:pt x="798" y="396"/>
                  <a:pt x="798" y="396"/>
                  <a:pt x="798" y="396"/>
                </a:cubicBezTo>
                <a:cubicBezTo>
                  <a:pt x="799" y="397"/>
                  <a:pt x="799" y="397"/>
                  <a:pt x="799" y="397"/>
                </a:cubicBezTo>
                <a:cubicBezTo>
                  <a:pt x="795" y="399"/>
                  <a:pt x="795" y="399"/>
                  <a:pt x="795" y="399"/>
                </a:cubicBezTo>
                <a:cubicBezTo>
                  <a:pt x="796" y="400"/>
                  <a:pt x="796" y="400"/>
                  <a:pt x="796" y="400"/>
                </a:cubicBezTo>
                <a:cubicBezTo>
                  <a:pt x="798" y="398"/>
                  <a:pt x="798" y="398"/>
                  <a:pt x="798" y="398"/>
                </a:cubicBezTo>
                <a:cubicBezTo>
                  <a:pt x="800" y="397"/>
                  <a:pt x="800" y="397"/>
                  <a:pt x="800" y="397"/>
                </a:cubicBezTo>
                <a:cubicBezTo>
                  <a:pt x="802" y="397"/>
                  <a:pt x="802" y="397"/>
                  <a:pt x="802" y="397"/>
                </a:cubicBezTo>
                <a:cubicBezTo>
                  <a:pt x="802" y="398"/>
                  <a:pt x="802" y="398"/>
                  <a:pt x="802" y="398"/>
                </a:cubicBezTo>
                <a:cubicBezTo>
                  <a:pt x="801" y="399"/>
                  <a:pt x="801" y="399"/>
                  <a:pt x="801" y="399"/>
                </a:cubicBezTo>
                <a:cubicBezTo>
                  <a:pt x="798" y="400"/>
                  <a:pt x="798" y="400"/>
                  <a:pt x="798" y="400"/>
                </a:cubicBezTo>
                <a:cubicBezTo>
                  <a:pt x="796" y="402"/>
                  <a:pt x="796" y="402"/>
                  <a:pt x="796" y="402"/>
                </a:cubicBezTo>
                <a:cubicBezTo>
                  <a:pt x="798" y="401"/>
                  <a:pt x="798" y="401"/>
                  <a:pt x="798" y="401"/>
                </a:cubicBezTo>
                <a:cubicBezTo>
                  <a:pt x="799" y="402"/>
                  <a:pt x="799" y="402"/>
                  <a:pt x="799" y="402"/>
                </a:cubicBezTo>
                <a:cubicBezTo>
                  <a:pt x="797" y="404"/>
                  <a:pt x="797" y="404"/>
                  <a:pt x="797" y="404"/>
                </a:cubicBezTo>
                <a:cubicBezTo>
                  <a:pt x="795" y="406"/>
                  <a:pt x="795" y="406"/>
                  <a:pt x="795" y="406"/>
                </a:cubicBezTo>
                <a:cubicBezTo>
                  <a:pt x="793" y="408"/>
                  <a:pt x="793" y="408"/>
                  <a:pt x="793" y="408"/>
                </a:cubicBezTo>
                <a:cubicBezTo>
                  <a:pt x="795" y="408"/>
                  <a:pt x="795" y="408"/>
                  <a:pt x="795" y="408"/>
                </a:cubicBezTo>
                <a:cubicBezTo>
                  <a:pt x="797" y="406"/>
                  <a:pt x="797" y="406"/>
                  <a:pt x="797" y="406"/>
                </a:cubicBezTo>
                <a:cubicBezTo>
                  <a:pt x="799" y="402"/>
                  <a:pt x="799" y="402"/>
                  <a:pt x="799" y="402"/>
                </a:cubicBezTo>
                <a:cubicBezTo>
                  <a:pt x="801" y="400"/>
                  <a:pt x="801" y="400"/>
                  <a:pt x="801" y="400"/>
                </a:cubicBezTo>
                <a:cubicBezTo>
                  <a:pt x="805" y="398"/>
                  <a:pt x="805" y="398"/>
                  <a:pt x="805" y="398"/>
                </a:cubicBezTo>
                <a:cubicBezTo>
                  <a:pt x="805" y="398"/>
                  <a:pt x="805" y="398"/>
                  <a:pt x="805" y="398"/>
                </a:cubicBezTo>
                <a:cubicBezTo>
                  <a:pt x="805" y="400"/>
                  <a:pt x="805" y="400"/>
                  <a:pt x="805" y="400"/>
                </a:cubicBezTo>
                <a:cubicBezTo>
                  <a:pt x="807" y="399"/>
                  <a:pt x="807" y="399"/>
                  <a:pt x="807" y="399"/>
                </a:cubicBezTo>
                <a:cubicBezTo>
                  <a:pt x="808" y="397"/>
                  <a:pt x="808" y="397"/>
                  <a:pt x="808" y="397"/>
                </a:cubicBezTo>
                <a:cubicBezTo>
                  <a:pt x="811" y="395"/>
                  <a:pt x="811" y="395"/>
                  <a:pt x="811" y="395"/>
                </a:cubicBezTo>
                <a:cubicBezTo>
                  <a:pt x="812" y="395"/>
                  <a:pt x="812" y="395"/>
                  <a:pt x="812" y="395"/>
                </a:cubicBezTo>
                <a:cubicBezTo>
                  <a:pt x="812" y="397"/>
                  <a:pt x="812" y="397"/>
                  <a:pt x="812" y="397"/>
                </a:cubicBezTo>
                <a:cubicBezTo>
                  <a:pt x="808" y="400"/>
                  <a:pt x="808" y="400"/>
                  <a:pt x="808" y="400"/>
                </a:cubicBezTo>
                <a:cubicBezTo>
                  <a:pt x="804" y="403"/>
                  <a:pt x="804" y="403"/>
                  <a:pt x="804" y="403"/>
                </a:cubicBezTo>
                <a:cubicBezTo>
                  <a:pt x="802" y="403"/>
                  <a:pt x="802" y="403"/>
                  <a:pt x="802" y="403"/>
                </a:cubicBezTo>
                <a:cubicBezTo>
                  <a:pt x="802" y="404"/>
                  <a:pt x="802" y="404"/>
                  <a:pt x="802" y="404"/>
                </a:cubicBezTo>
                <a:cubicBezTo>
                  <a:pt x="804" y="405"/>
                  <a:pt x="804" y="405"/>
                  <a:pt x="804" y="405"/>
                </a:cubicBezTo>
                <a:cubicBezTo>
                  <a:pt x="802" y="407"/>
                  <a:pt x="802" y="407"/>
                  <a:pt x="802" y="407"/>
                </a:cubicBezTo>
                <a:cubicBezTo>
                  <a:pt x="802" y="409"/>
                  <a:pt x="802" y="409"/>
                  <a:pt x="802" y="409"/>
                </a:cubicBezTo>
                <a:cubicBezTo>
                  <a:pt x="803" y="409"/>
                  <a:pt x="803" y="409"/>
                  <a:pt x="803" y="409"/>
                </a:cubicBezTo>
                <a:cubicBezTo>
                  <a:pt x="804" y="407"/>
                  <a:pt x="804" y="407"/>
                  <a:pt x="804" y="407"/>
                </a:cubicBezTo>
                <a:cubicBezTo>
                  <a:pt x="804" y="405"/>
                  <a:pt x="804" y="405"/>
                  <a:pt x="804" y="405"/>
                </a:cubicBezTo>
                <a:cubicBezTo>
                  <a:pt x="808" y="402"/>
                  <a:pt x="808" y="402"/>
                  <a:pt x="808" y="402"/>
                </a:cubicBezTo>
                <a:cubicBezTo>
                  <a:pt x="810" y="401"/>
                  <a:pt x="810" y="401"/>
                  <a:pt x="810" y="401"/>
                </a:cubicBezTo>
                <a:cubicBezTo>
                  <a:pt x="810" y="402"/>
                  <a:pt x="810" y="402"/>
                  <a:pt x="810" y="402"/>
                </a:cubicBezTo>
                <a:cubicBezTo>
                  <a:pt x="811" y="404"/>
                  <a:pt x="811" y="404"/>
                  <a:pt x="811" y="404"/>
                </a:cubicBezTo>
                <a:cubicBezTo>
                  <a:pt x="809" y="405"/>
                  <a:pt x="809" y="405"/>
                  <a:pt x="809" y="405"/>
                </a:cubicBezTo>
                <a:cubicBezTo>
                  <a:pt x="806" y="408"/>
                  <a:pt x="806" y="408"/>
                  <a:pt x="806" y="408"/>
                </a:cubicBezTo>
                <a:cubicBezTo>
                  <a:pt x="806" y="410"/>
                  <a:pt x="806" y="410"/>
                  <a:pt x="806" y="410"/>
                </a:cubicBezTo>
                <a:cubicBezTo>
                  <a:pt x="804" y="413"/>
                  <a:pt x="804" y="413"/>
                  <a:pt x="804" y="413"/>
                </a:cubicBezTo>
                <a:cubicBezTo>
                  <a:pt x="803" y="414"/>
                  <a:pt x="803" y="414"/>
                  <a:pt x="803" y="414"/>
                </a:cubicBezTo>
                <a:cubicBezTo>
                  <a:pt x="803" y="415"/>
                  <a:pt x="803" y="415"/>
                  <a:pt x="803" y="415"/>
                </a:cubicBezTo>
                <a:cubicBezTo>
                  <a:pt x="805" y="414"/>
                  <a:pt x="805" y="414"/>
                  <a:pt x="805" y="414"/>
                </a:cubicBezTo>
                <a:cubicBezTo>
                  <a:pt x="806" y="412"/>
                  <a:pt x="806" y="412"/>
                  <a:pt x="806" y="412"/>
                </a:cubicBezTo>
                <a:cubicBezTo>
                  <a:pt x="809" y="408"/>
                  <a:pt x="809" y="408"/>
                  <a:pt x="809" y="408"/>
                </a:cubicBezTo>
                <a:cubicBezTo>
                  <a:pt x="811" y="407"/>
                  <a:pt x="811" y="407"/>
                  <a:pt x="811" y="407"/>
                </a:cubicBezTo>
                <a:cubicBezTo>
                  <a:pt x="812" y="409"/>
                  <a:pt x="812" y="409"/>
                  <a:pt x="812" y="409"/>
                </a:cubicBezTo>
                <a:cubicBezTo>
                  <a:pt x="813" y="409"/>
                  <a:pt x="813" y="409"/>
                  <a:pt x="813" y="409"/>
                </a:cubicBezTo>
                <a:cubicBezTo>
                  <a:pt x="813" y="411"/>
                  <a:pt x="813" y="411"/>
                  <a:pt x="813" y="411"/>
                </a:cubicBezTo>
                <a:cubicBezTo>
                  <a:pt x="811" y="411"/>
                  <a:pt x="811" y="411"/>
                  <a:pt x="811" y="411"/>
                </a:cubicBezTo>
                <a:cubicBezTo>
                  <a:pt x="809" y="414"/>
                  <a:pt x="809" y="414"/>
                  <a:pt x="809" y="414"/>
                </a:cubicBezTo>
                <a:cubicBezTo>
                  <a:pt x="808" y="417"/>
                  <a:pt x="808" y="417"/>
                  <a:pt x="808" y="417"/>
                </a:cubicBezTo>
                <a:cubicBezTo>
                  <a:pt x="809" y="418"/>
                  <a:pt x="809" y="418"/>
                  <a:pt x="809" y="418"/>
                </a:cubicBezTo>
                <a:cubicBezTo>
                  <a:pt x="810" y="416"/>
                  <a:pt x="810" y="416"/>
                  <a:pt x="810" y="416"/>
                </a:cubicBezTo>
                <a:cubicBezTo>
                  <a:pt x="810" y="414"/>
                  <a:pt x="810" y="414"/>
                  <a:pt x="810" y="414"/>
                </a:cubicBezTo>
                <a:cubicBezTo>
                  <a:pt x="812" y="412"/>
                  <a:pt x="812" y="412"/>
                  <a:pt x="812" y="412"/>
                </a:cubicBezTo>
                <a:cubicBezTo>
                  <a:pt x="815" y="411"/>
                  <a:pt x="815" y="411"/>
                  <a:pt x="815" y="411"/>
                </a:cubicBezTo>
                <a:cubicBezTo>
                  <a:pt x="815" y="408"/>
                  <a:pt x="815" y="408"/>
                  <a:pt x="815" y="408"/>
                </a:cubicBezTo>
                <a:cubicBezTo>
                  <a:pt x="816" y="407"/>
                  <a:pt x="816" y="407"/>
                  <a:pt x="816" y="407"/>
                </a:cubicBezTo>
                <a:cubicBezTo>
                  <a:pt x="817" y="406"/>
                  <a:pt x="817" y="406"/>
                  <a:pt x="817" y="406"/>
                </a:cubicBezTo>
                <a:cubicBezTo>
                  <a:pt x="818" y="404"/>
                  <a:pt x="818" y="404"/>
                  <a:pt x="818" y="404"/>
                </a:cubicBezTo>
                <a:cubicBezTo>
                  <a:pt x="818" y="403"/>
                  <a:pt x="818" y="403"/>
                  <a:pt x="818" y="403"/>
                </a:cubicBezTo>
                <a:cubicBezTo>
                  <a:pt x="819" y="402"/>
                  <a:pt x="819" y="402"/>
                  <a:pt x="819" y="402"/>
                </a:cubicBezTo>
                <a:cubicBezTo>
                  <a:pt x="821" y="400"/>
                  <a:pt x="821" y="400"/>
                  <a:pt x="821" y="400"/>
                </a:cubicBezTo>
                <a:cubicBezTo>
                  <a:pt x="821" y="399"/>
                  <a:pt x="821" y="399"/>
                  <a:pt x="821" y="399"/>
                </a:cubicBezTo>
                <a:cubicBezTo>
                  <a:pt x="822" y="398"/>
                  <a:pt x="822" y="398"/>
                  <a:pt x="822" y="398"/>
                </a:cubicBezTo>
                <a:cubicBezTo>
                  <a:pt x="824" y="402"/>
                  <a:pt x="824" y="402"/>
                  <a:pt x="824" y="402"/>
                </a:cubicBezTo>
                <a:cubicBezTo>
                  <a:pt x="825" y="403"/>
                  <a:pt x="825" y="403"/>
                  <a:pt x="825" y="403"/>
                </a:cubicBezTo>
                <a:cubicBezTo>
                  <a:pt x="827" y="405"/>
                  <a:pt x="827" y="405"/>
                  <a:pt x="827" y="405"/>
                </a:cubicBezTo>
                <a:cubicBezTo>
                  <a:pt x="828" y="407"/>
                  <a:pt x="828" y="407"/>
                  <a:pt x="828" y="407"/>
                </a:cubicBezTo>
                <a:cubicBezTo>
                  <a:pt x="828" y="410"/>
                  <a:pt x="828" y="410"/>
                  <a:pt x="828" y="410"/>
                </a:cubicBezTo>
                <a:cubicBezTo>
                  <a:pt x="831" y="412"/>
                  <a:pt x="831" y="412"/>
                  <a:pt x="831" y="412"/>
                </a:cubicBezTo>
                <a:cubicBezTo>
                  <a:pt x="831" y="413"/>
                  <a:pt x="831" y="413"/>
                  <a:pt x="831" y="413"/>
                </a:cubicBezTo>
                <a:cubicBezTo>
                  <a:pt x="829" y="415"/>
                  <a:pt x="829" y="415"/>
                  <a:pt x="829" y="415"/>
                </a:cubicBezTo>
                <a:cubicBezTo>
                  <a:pt x="827" y="418"/>
                  <a:pt x="827" y="418"/>
                  <a:pt x="827" y="418"/>
                </a:cubicBezTo>
                <a:cubicBezTo>
                  <a:pt x="825" y="418"/>
                  <a:pt x="825" y="418"/>
                  <a:pt x="825" y="418"/>
                </a:cubicBezTo>
                <a:cubicBezTo>
                  <a:pt x="824" y="417"/>
                  <a:pt x="824" y="417"/>
                  <a:pt x="824" y="417"/>
                </a:cubicBezTo>
                <a:cubicBezTo>
                  <a:pt x="822" y="415"/>
                  <a:pt x="822" y="415"/>
                  <a:pt x="822" y="415"/>
                </a:cubicBezTo>
                <a:cubicBezTo>
                  <a:pt x="821" y="415"/>
                  <a:pt x="821" y="415"/>
                  <a:pt x="821" y="415"/>
                </a:cubicBezTo>
                <a:cubicBezTo>
                  <a:pt x="820" y="416"/>
                  <a:pt x="820" y="416"/>
                  <a:pt x="820" y="416"/>
                </a:cubicBezTo>
                <a:cubicBezTo>
                  <a:pt x="818" y="416"/>
                  <a:pt x="818" y="416"/>
                  <a:pt x="818" y="416"/>
                </a:cubicBezTo>
                <a:cubicBezTo>
                  <a:pt x="817" y="419"/>
                  <a:pt x="817" y="419"/>
                  <a:pt x="817" y="419"/>
                </a:cubicBezTo>
                <a:cubicBezTo>
                  <a:pt x="815" y="420"/>
                  <a:pt x="815" y="420"/>
                  <a:pt x="815" y="420"/>
                </a:cubicBezTo>
                <a:cubicBezTo>
                  <a:pt x="814" y="420"/>
                  <a:pt x="814" y="420"/>
                  <a:pt x="814" y="420"/>
                </a:cubicBezTo>
                <a:cubicBezTo>
                  <a:pt x="813" y="421"/>
                  <a:pt x="813" y="421"/>
                  <a:pt x="813" y="421"/>
                </a:cubicBezTo>
                <a:cubicBezTo>
                  <a:pt x="815" y="421"/>
                  <a:pt x="815" y="421"/>
                  <a:pt x="815" y="421"/>
                </a:cubicBezTo>
                <a:cubicBezTo>
                  <a:pt x="816" y="421"/>
                  <a:pt x="816" y="421"/>
                  <a:pt x="816" y="421"/>
                </a:cubicBezTo>
                <a:cubicBezTo>
                  <a:pt x="817" y="422"/>
                  <a:pt x="817" y="422"/>
                  <a:pt x="817" y="422"/>
                </a:cubicBezTo>
                <a:cubicBezTo>
                  <a:pt x="815" y="424"/>
                  <a:pt x="815" y="424"/>
                  <a:pt x="815" y="424"/>
                </a:cubicBezTo>
                <a:cubicBezTo>
                  <a:pt x="813" y="425"/>
                  <a:pt x="813" y="425"/>
                  <a:pt x="813" y="425"/>
                </a:cubicBezTo>
                <a:cubicBezTo>
                  <a:pt x="811" y="426"/>
                  <a:pt x="811" y="426"/>
                  <a:pt x="811" y="426"/>
                </a:cubicBezTo>
                <a:cubicBezTo>
                  <a:pt x="814" y="426"/>
                  <a:pt x="814" y="426"/>
                  <a:pt x="814" y="426"/>
                </a:cubicBezTo>
                <a:cubicBezTo>
                  <a:pt x="816" y="425"/>
                  <a:pt x="816" y="425"/>
                  <a:pt x="816" y="425"/>
                </a:cubicBezTo>
                <a:cubicBezTo>
                  <a:pt x="819" y="425"/>
                  <a:pt x="819" y="425"/>
                  <a:pt x="819" y="425"/>
                </a:cubicBezTo>
                <a:cubicBezTo>
                  <a:pt x="820" y="425"/>
                  <a:pt x="820" y="425"/>
                  <a:pt x="820" y="425"/>
                </a:cubicBezTo>
                <a:cubicBezTo>
                  <a:pt x="823" y="423"/>
                  <a:pt x="823" y="423"/>
                  <a:pt x="823" y="423"/>
                </a:cubicBezTo>
                <a:cubicBezTo>
                  <a:pt x="825" y="423"/>
                  <a:pt x="825" y="423"/>
                  <a:pt x="825" y="423"/>
                </a:cubicBezTo>
                <a:cubicBezTo>
                  <a:pt x="826" y="425"/>
                  <a:pt x="826" y="425"/>
                  <a:pt x="826" y="425"/>
                </a:cubicBezTo>
                <a:cubicBezTo>
                  <a:pt x="826" y="426"/>
                  <a:pt x="826" y="426"/>
                  <a:pt x="826" y="426"/>
                </a:cubicBezTo>
                <a:cubicBezTo>
                  <a:pt x="826" y="426"/>
                  <a:pt x="826" y="426"/>
                  <a:pt x="826" y="426"/>
                </a:cubicBezTo>
                <a:cubicBezTo>
                  <a:pt x="827" y="426"/>
                  <a:pt x="827" y="426"/>
                  <a:pt x="827" y="426"/>
                </a:cubicBezTo>
                <a:cubicBezTo>
                  <a:pt x="828" y="423"/>
                  <a:pt x="828" y="423"/>
                  <a:pt x="828" y="423"/>
                </a:cubicBezTo>
                <a:cubicBezTo>
                  <a:pt x="827" y="421"/>
                  <a:pt x="827" y="421"/>
                  <a:pt x="827" y="421"/>
                </a:cubicBezTo>
                <a:cubicBezTo>
                  <a:pt x="829" y="419"/>
                  <a:pt x="829" y="419"/>
                  <a:pt x="829" y="419"/>
                </a:cubicBezTo>
                <a:cubicBezTo>
                  <a:pt x="832" y="418"/>
                  <a:pt x="832" y="418"/>
                  <a:pt x="832" y="418"/>
                </a:cubicBezTo>
                <a:cubicBezTo>
                  <a:pt x="833" y="418"/>
                  <a:pt x="833" y="418"/>
                  <a:pt x="833" y="418"/>
                </a:cubicBezTo>
                <a:cubicBezTo>
                  <a:pt x="833" y="420"/>
                  <a:pt x="833" y="420"/>
                  <a:pt x="833" y="420"/>
                </a:cubicBezTo>
                <a:cubicBezTo>
                  <a:pt x="833" y="422"/>
                  <a:pt x="833" y="422"/>
                  <a:pt x="833" y="422"/>
                </a:cubicBezTo>
                <a:cubicBezTo>
                  <a:pt x="832" y="424"/>
                  <a:pt x="832" y="424"/>
                  <a:pt x="832" y="424"/>
                </a:cubicBezTo>
                <a:cubicBezTo>
                  <a:pt x="830" y="427"/>
                  <a:pt x="830" y="427"/>
                  <a:pt x="830" y="427"/>
                </a:cubicBezTo>
                <a:cubicBezTo>
                  <a:pt x="828" y="428"/>
                  <a:pt x="828" y="428"/>
                  <a:pt x="828" y="428"/>
                </a:cubicBezTo>
                <a:cubicBezTo>
                  <a:pt x="826" y="429"/>
                  <a:pt x="826" y="429"/>
                  <a:pt x="826" y="429"/>
                </a:cubicBezTo>
                <a:cubicBezTo>
                  <a:pt x="825" y="430"/>
                  <a:pt x="825" y="430"/>
                  <a:pt x="825" y="430"/>
                </a:cubicBezTo>
                <a:cubicBezTo>
                  <a:pt x="823" y="430"/>
                  <a:pt x="823" y="430"/>
                  <a:pt x="823" y="430"/>
                </a:cubicBezTo>
                <a:cubicBezTo>
                  <a:pt x="822" y="430"/>
                  <a:pt x="822" y="430"/>
                  <a:pt x="822" y="430"/>
                </a:cubicBezTo>
                <a:cubicBezTo>
                  <a:pt x="820" y="430"/>
                  <a:pt x="820" y="430"/>
                  <a:pt x="820" y="430"/>
                </a:cubicBezTo>
                <a:cubicBezTo>
                  <a:pt x="819" y="431"/>
                  <a:pt x="819" y="431"/>
                  <a:pt x="819" y="431"/>
                </a:cubicBezTo>
                <a:cubicBezTo>
                  <a:pt x="819" y="433"/>
                  <a:pt x="819" y="433"/>
                  <a:pt x="819" y="433"/>
                </a:cubicBezTo>
                <a:cubicBezTo>
                  <a:pt x="817" y="435"/>
                  <a:pt x="817" y="435"/>
                  <a:pt x="817" y="435"/>
                </a:cubicBezTo>
                <a:cubicBezTo>
                  <a:pt x="816" y="437"/>
                  <a:pt x="816" y="437"/>
                  <a:pt x="816" y="437"/>
                </a:cubicBezTo>
                <a:cubicBezTo>
                  <a:pt x="816" y="438"/>
                  <a:pt x="816" y="438"/>
                  <a:pt x="816" y="438"/>
                </a:cubicBezTo>
                <a:cubicBezTo>
                  <a:pt x="817" y="438"/>
                  <a:pt x="817" y="438"/>
                  <a:pt x="817" y="438"/>
                </a:cubicBezTo>
                <a:cubicBezTo>
                  <a:pt x="820" y="435"/>
                  <a:pt x="820" y="435"/>
                  <a:pt x="820" y="435"/>
                </a:cubicBezTo>
                <a:cubicBezTo>
                  <a:pt x="821" y="432"/>
                  <a:pt x="821" y="432"/>
                  <a:pt x="821" y="432"/>
                </a:cubicBezTo>
                <a:cubicBezTo>
                  <a:pt x="823" y="431"/>
                  <a:pt x="823" y="431"/>
                  <a:pt x="823" y="431"/>
                </a:cubicBezTo>
                <a:cubicBezTo>
                  <a:pt x="823" y="432"/>
                  <a:pt x="823" y="432"/>
                  <a:pt x="823" y="432"/>
                </a:cubicBezTo>
                <a:cubicBezTo>
                  <a:pt x="824" y="432"/>
                  <a:pt x="824" y="432"/>
                  <a:pt x="824" y="432"/>
                </a:cubicBezTo>
                <a:cubicBezTo>
                  <a:pt x="824" y="433"/>
                  <a:pt x="824" y="433"/>
                  <a:pt x="824" y="433"/>
                </a:cubicBezTo>
                <a:cubicBezTo>
                  <a:pt x="823" y="434"/>
                  <a:pt x="823" y="434"/>
                  <a:pt x="823" y="434"/>
                </a:cubicBezTo>
                <a:cubicBezTo>
                  <a:pt x="822" y="437"/>
                  <a:pt x="822" y="437"/>
                  <a:pt x="822" y="437"/>
                </a:cubicBezTo>
                <a:cubicBezTo>
                  <a:pt x="819" y="440"/>
                  <a:pt x="819" y="440"/>
                  <a:pt x="819" y="440"/>
                </a:cubicBezTo>
                <a:cubicBezTo>
                  <a:pt x="817" y="441"/>
                  <a:pt x="817" y="441"/>
                  <a:pt x="817" y="441"/>
                </a:cubicBezTo>
                <a:cubicBezTo>
                  <a:pt x="817" y="442"/>
                  <a:pt x="817" y="442"/>
                  <a:pt x="817" y="442"/>
                </a:cubicBezTo>
                <a:cubicBezTo>
                  <a:pt x="821" y="440"/>
                  <a:pt x="821" y="440"/>
                  <a:pt x="821" y="440"/>
                </a:cubicBezTo>
                <a:cubicBezTo>
                  <a:pt x="825" y="436"/>
                  <a:pt x="825" y="436"/>
                  <a:pt x="825" y="436"/>
                </a:cubicBezTo>
                <a:cubicBezTo>
                  <a:pt x="827" y="432"/>
                  <a:pt x="827" y="432"/>
                  <a:pt x="827" y="432"/>
                </a:cubicBezTo>
                <a:cubicBezTo>
                  <a:pt x="827" y="430"/>
                  <a:pt x="827" y="430"/>
                  <a:pt x="827" y="430"/>
                </a:cubicBezTo>
                <a:cubicBezTo>
                  <a:pt x="828" y="429"/>
                  <a:pt x="828" y="429"/>
                  <a:pt x="828" y="429"/>
                </a:cubicBezTo>
                <a:cubicBezTo>
                  <a:pt x="829" y="429"/>
                  <a:pt x="829" y="429"/>
                  <a:pt x="829" y="429"/>
                </a:cubicBezTo>
                <a:cubicBezTo>
                  <a:pt x="833" y="427"/>
                  <a:pt x="833" y="427"/>
                  <a:pt x="833" y="427"/>
                </a:cubicBezTo>
                <a:cubicBezTo>
                  <a:pt x="836" y="425"/>
                  <a:pt x="836" y="425"/>
                  <a:pt x="836" y="425"/>
                </a:cubicBezTo>
                <a:cubicBezTo>
                  <a:pt x="838" y="425"/>
                  <a:pt x="838" y="425"/>
                  <a:pt x="838" y="425"/>
                </a:cubicBezTo>
                <a:cubicBezTo>
                  <a:pt x="838" y="426"/>
                  <a:pt x="838" y="426"/>
                  <a:pt x="838" y="426"/>
                </a:cubicBezTo>
                <a:cubicBezTo>
                  <a:pt x="837" y="427"/>
                  <a:pt x="837" y="427"/>
                  <a:pt x="837" y="427"/>
                </a:cubicBezTo>
                <a:cubicBezTo>
                  <a:pt x="834" y="430"/>
                  <a:pt x="834" y="430"/>
                  <a:pt x="834" y="430"/>
                </a:cubicBezTo>
                <a:cubicBezTo>
                  <a:pt x="832" y="430"/>
                  <a:pt x="832" y="430"/>
                  <a:pt x="832" y="430"/>
                </a:cubicBezTo>
                <a:cubicBezTo>
                  <a:pt x="831" y="431"/>
                  <a:pt x="831" y="431"/>
                  <a:pt x="831" y="431"/>
                </a:cubicBezTo>
                <a:cubicBezTo>
                  <a:pt x="830" y="433"/>
                  <a:pt x="830" y="433"/>
                  <a:pt x="830" y="433"/>
                </a:cubicBezTo>
                <a:cubicBezTo>
                  <a:pt x="831" y="433"/>
                  <a:pt x="831" y="433"/>
                  <a:pt x="831" y="433"/>
                </a:cubicBezTo>
                <a:cubicBezTo>
                  <a:pt x="832" y="432"/>
                  <a:pt x="832" y="432"/>
                  <a:pt x="832" y="432"/>
                </a:cubicBezTo>
                <a:cubicBezTo>
                  <a:pt x="835" y="431"/>
                  <a:pt x="835" y="431"/>
                  <a:pt x="835" y="431"/>
                </a:cubicBezTo>
                <a:cubicBezTo>
                  <a:pt x="837" y="429"/>
                  <a:pt x="837" y="429"/>
                  <a:pt x="837" y="429"/>
                </a:cubicBezTo>
                <a:cubicBezTo>
                  <a:pt x="839" y="429"/>
                  <a:pt x="839" y="429"/>
                  <a:pt x="839" y="429"/>
                </a:cubicBezTo>
                <a:cubicBezTo>
                  <a:pt x="840" y="428"/>
                  <a:pt x="840" y="428"/>
                  <a:pt x="840" y="428"/>
                </a:cubicBezTo>
                <a:cubicBezTo>
                  <a:pt x="842" y="427"/>
                  <a:pt x="842" y="427"/>
                  <a:pt x="842" y="427"/>
                </a:cubicBezTo>
                <a:cubicBezTo>
                  <a:pt x="843" y="427"/>
                  <a:pt x="843" y="427"/>
                  <a:pt x="843" y="427"/>
                </a:cubicBezTo>
                <a:cubicBezTo>
                  <a:pt x="844" y="429"/>
                  <a:pt x="844" y="429"/>
                  <a:pt x="844" y="429"/>
                </a:cubicBezTo>
                <a:cubicBezTo>
                  <a:pt x="847" y="432"/>
                  <a:pt x="847" y="432"/>
                  <a:pt x="847" y="432"/>
                </a:cubicBezTo>
                <a:cubicBezTo>
                  <a:pt x="848" y="434"/>
                  <a:pt x="848" y="434"/>
                  <a:pt x="848" y="434"/>
                </a:cubicBezTo>
                <a:cubicBezTo>
                  <a:pt x="850" y="435"/>
                  <a:pt x="850" y="435"/>
                  <a:pt x="850" y="435"/>
                </a:cubicBezTo>
                <a:cubicBezTo>
                  <a:pt x="851" y="437"/>
                  <a:pt x="851" y="437"/>
                  <a:pt x="851" y="437"/>
                </a:cubicBezTo>
                <a:cubicBezTo>
                  <a:pt x="850" y="439"/>
                  <a:pt x="850" y="439"/>
                  <a:pt x="850" y="439"/>
                </a:cubicBezTo>
                <a:cubicBezTo>
                  <a:pt x="848" y="441"/>
                  <a:pt x="848" y="441"/>
                  <a:pt x="848" y="441"/>
                </a:cubicBezTo>
                <a:cubicBezTo>
                  <a:pt x="847" y="440"/>
                  <a:pt x="847" y="440"/>
                  <a:pt x="847" y="440"/>
                </a:cubicBezTo>
                <a:cubicBezTo>
                  <a:pt x="847" y="438"/>
                  <a:pt x="847" y="438"/>
                  <a:pt x="847" y="438"/>
                </a:cubicBezTo>
                <a:cubicBezTo>
                  <a:pt x="846" y="438"/>
                  <a:pt x="846" y="438"/>
                  <a:pt x="846" y="438"/>
                </a:cubicBezTo>
                <a:cubicBezTo>
                  <a:pt x="845" y="439"/>
                  <a:pt x="845" y="439"/>
                  <a:pt x="845" y="439"/>
                </a:cubicBezTo>
                <a:cubicBezTo>
                  <a:pt x="844" y="441"/>
                  <a:pt x="844" y="441"/>
                  <a:pt x="844" y="441"/>
                </a:cubicBezTo>
                <a:cubicBezTo>
                  <a:pt x="843" y="442"/>
                  <a:pt x="843" y="442"/>
                  <a:pt x="843" y="442"/>
                </a:cubicBezTo>
                <a:cubicBezTo>
                  <a:pt x="839" y="442"/>
                  <a:pt x="839" y="442"/>
                  <a:pt x="839" y="442"/>
                </a:cubicBezTo>
                <a:cubicBezTo>
                  <a:pt x="837" y="443"/>
                  <a:pt x="837" y="443"/>
                  <a:pt x="837" y="443"/>
                </a:cubicBezTo>
                <a:cubicBezTo>
                  <a:pt x="835" y="443"/>
                  <a:pt x="835" y="443"/>
                  <a:pt x="835" y="443"/>
                </a:cubicBezTo>
                <a:cubicBezTo>
                  <a:pt x="831" y="445"/>
                  <a:pt x="831" y="445"/>
                  <a:pt x="831" y="445"/>
                </a:cubicBezTo>
                <a:cubicBezTo>
                  <a:pt x="829" y="445"/>
                  <a:pt x="829" y="445"/>
                  <a:pt x="829" y="445"/>
                </a:cubicBezTo>
                <a:cubicBezTo>
                  <a:pt x="826" y="447"/>
                  <a:pt x="826" y="447"/>
                  <a:pt x="826" y="447"/>
                </a:cubicBezTo>
                <a:cubicBezTo>
                  <a:pt x="828" y="447"/>
                  <a:pt x="828" y="447"/>
                  <a:pt x="828" y="447"/>
                </a:cubicBezTo>
                <a:cubicBezTo>
                  <a:pt x="829" y="448"/>
                  <a:pt x="829" y="448"/>
                  <a:pt x="829" y="448"/>
                </a:cubicBezTo>
                <a:cubicBezTo>
                  <a:pt x="829" y="449"/>
                  <a:pt x="829" y="449"/>
                  <a:pt x="829" y="449"/>
                </a:cubicBezTo>
                <a:cubicBezTo>
                  <a:pt x="826" y="450"/>
                  <a:pt x="826" y="450"/>
                  <a:pt x="826" y="450"/>
                </a:cubicBezTo>
                <a:cubicBezTo>
                  <a:pt x="825" y="451"/>
                  <a:pt x="825" y="451"/>
                  <a:pt x="825" y="451"/>
                </a:cubicBezTo>
                <a:cubicBezTo>
                  <a:pt x="829" y="451"/>
                  <a:pt x="829" y="451"/>
                  <a:pt x="829" y="451"/>
                </a:cubicBezTo>
                <a:cubicBezTo>
                  <a:pt x="831" y="448"/>
                  <a:pt x="831" y="448"/>
                  <a:pt x="831" y="448"/>
                </a:cubicBezTo>
                <a:cubicBezTo>
                  <a:pt x="835" y="445"/>
                  <a:pt x="835" y="445"/>
                  <a:pt x="835" y="445"/>
                </a:cubicBezTo>
                <a:cubicBezTo>
                  <a:pt x="837" y="445"/>
                  <a:pt x="837" y="445"/>
                  <a:pt x="837" y="445"/>
                </a:cubicBezTo>
                <a:cubicBezTo>
                  <a:pt x="839" y="445"/>
                  <a:pt x="839" y="445"/>
                  <a:pt x="839" y="445"/>
                </a:cubicBezTo>
                <a:cubicBezTo>
                  <a:pt x="841" y="445"/>
                  <a:pt x="841" y="445"/>
                  <a:pt x="841" y="445"/>
                </a:cubicBezTo>
                <a:cubicBezTo>
                  <a:pt x="842" y="445"/>
                  <a:pt x="842" y="445"/>
                  <a:pt x="842" y="445"/>
                </a:cubicBezTo>
                <a:cubicBezTo>
                  <a:pt x="842" y="445"/>
                  <a:pt x="842" y="445"/>
                  <a:pt x="842" y="445"/>
                </a:cubicBezTo>
                <a:cubicBezTo>
                  <a:pt x="842" y="448"/>
                  <a:pt x="842" y="448"/>
                  <a:pt x="842" y="448"/>
                </a:cubicBezTo>
                <a:cubicBezTo>
                  <a:pt x="841" y="449"/>
                  <a:pt x="841" y="449"/>
                  <a:pt x="841" y="449"/>
                </a:cubicBezTo>
                <a:cubicBezTo>
                  <a:pt x="838" y="450"/>
                  <a:pt x="838" y="450"/>
                  <a:pt x="838" y="450"/>
                </a:cubicBezTo>
                <a:cubicBezTo>
                  <a:pt x="837" y="450"/>
                  <a:pt x="837" y="450"/>
                  <a:pt x="837" y="450"/>
                </a:cubicBezTo>
                <a:cubicBezTo>
                  <a:pt x="835" y="451"/>
                  <a:pt x="835" y="451"/>
                  <a:pt x="835" y="451"/>
                </a:cubicBezTo>
                <a:cubicBezTo>
                  <a:pt x="834" y="453"/>
                  <a:pt x="834" y="453"/>
                  <a:pt x="834" y="453"/>
                </a:cubicBezTo>
                <a:cubicBezTo>
                  <a:pt x="832" y="454"/>
                  <a:pt x="832" y="454"/>
                  <a:pt x="832" y="454"/>
                </a:cubicBezTo>
                <a:cubicBezTo>
                  <a:pt x="830" y="453"/>
                  <a:pt x="830" y="453"/>
                  <a:pt x="830" y="453"/>
                </a:cubicBezTo>
                <a:cubicBezTo>
                  <a:pt x="829" y="454"/>
                  <a:pt x="829" y="454"/>
                  <a:pt x="829" y="454"/>
                </a:cubicBezTo>
                <a:cubicBezTo>
                  <a:pt x="827" y="456"/>
                  <a:pt x="827" y="456"/>
                  <a:pt x="827" y="456"/>
                </a:cubicBezTo>
                <a:cubicBezTo>
                  <a:pt x="828" y="455"/>
                  <a:pt x="828" y="455"/>
                  <a:pt x="828" y="455"/>
                </a:cubicBezTo>
                <a:cubicBezTo>
                  <a:pt x="830" y="455"/>
                  <a:pt x="830" y="455"/>
                  <a:pt x="830" y="455"/>
                </a:cubicBezTo>
                <a:cubicBezTo>
                  <a:pt x="832" y="455"/>
                  <a:pt x="832" y="455"/>
                  <a:pt x="832" y="455"/>
                </a:cubicBezTo>
                <a:cubicBezTo>
                  <a:pt x="833" y="456"/>
                  <a:pt x="833" y="456"/>
                  <a:pt x="833" y="456"/>
                </a:cubicBezTo>
                <a:cubicBezTo>
                  <a:pt x="835" y="454"/>
                  <a:pt x="835" y="454"/>
                  <a:pt x="835" y="454"/>
                </a:cubicBezTo>
                <a:cubicBezTo>
                  <a:pt x="837" y="452"/>
                  <a:pt x="837" y="452"/>
                  <a:pt x="837" y="452"/>
                </a:cubicBezTo>
                <a:cubicBezTo>
                  <a:pt x="839" y="451"/>
                  <a:pt x="839" y="451"/>
                  <a:pt x="839" y="451"/>
                </a:cubicBezTo>
                <a:cubicBezTo>
                  <a:pt x="841" y="452"/>
                  <a:pt x="841" y="452"/>
                  <a:pt x="841" y="452"/>
                </a:cubicBezTo>
                <a:cubicBezTo>
                  <a:pt x="843" y="452"/>
                  <a:pt x="843" y="452"/>
                  <a:pt x="843" y="452"/>
                </a:cubicBezTo>
                <a:cubicBezTo>
                  <a:pt x="844" y="450"/>
                  <a:pt x="844" y="450"/>
                  <a:pt x="844" y="450"/>
                </a:cubicBezTo>
                <a:cubicBezTo>
                  <a:pt x="847" y="449"/>
                  <a:pt x="847" y="449"/>
                  <a:pt x="847" y="449"/>
                </a:cubicBezTo>
                <a:cubicBezTo>
                  <a:pt x="847" y="448"/>
                  <a:pt x="847" y="448"/>
                  <a:pt x="847" y="448"/>
                </a:cubicBezTo>
                <a:cubicBezTo>
                  <a:pt x="847" y="447"/>
                  <a:pt x="847" y="447"/>
                  <a:pt x="847" y="447"/>
                </a:cubicBezTo>
                <a:cubicBezTo>
                  <a:pt x="847" y="446"/>
                  <a:pt x="847" y="446"/>
                  <a:pt x="847" y="446"/>
                </a:cubicBezTo>
                <a:cubicBezTo>
                  <a:pt x="848" y="444"/>
                  <a:pt x="848" y="444"/>
                  <a:pt x="848" y="444"/>
                </a:cubicBezTo>
                <a:cubicBezTo>
                  <a:pt x="848" y="443"/>
                  <a:pt x="848" y="443"/>
                  <a:pt x="848" y="443"/>
                </a:cubicBezTo>
                <a:cubicBezTo>
                  <a:pt x="850" y="443"/>
                  <a:pt x="850" y="443"/>
                  <a:pt x="850" y="443"/>
                </a:cubicBezTo>
                <a:cubicBezTo>
                  <a:pt x="850" y="443"/>
                  <a:pt x="850" y="443"/>
                  <a:pt x="850" y="443"/>
                </a:cubicBezTo>
                <a:cubicBezTo>
                  <a:pt x="851" y="443"/>
                  <a:pt x="851" y="443"/>
                  <a:pt x="851" y="443"/>
                </a:cubicBezTo>
                <a:cubicBezTo>
                  <a:pt x="852" y="445"/>
                  <a:pt x="852" y="445"/>
                  <a:pt x="852" y="445"/>
                </a:cubicBezTo>
                <a:cubicBezTo>
                  <a:pt x="854" y="450"/>
                  <a:pt x="854" y="450"/>
                  <a:pt x="854" y="450"/>
                </a:cubicBezTo>
                <a:cubicBezTo>
                  <a:pt x="855" y="453"/>
                  <a:pt x="855" y="453"/>
                  <a:pt x="855" y="453"/>
                </a:cubicBezTo>
                <a:cubicBezTo>
                  <a:pt x="856" y="455"/>
                  <a:pt x="856" y="455"/>
                  <a:pt x="856" y="455"/>
                </a:cubicBezTo>
                <a:cubicBezTo>
                  <a:pt x="856" y="457"/>
                  <a:pt x="856" y="457"/>
                  <a:pt x="856" y="457"/>
                </a:cubicBezTo>
                <a:cubicBezTo>
                  <a:pt x="854" y="458"/>
                  <a:pt x="854" y="458"/>
                  <a:pt x="854" y="458"/>
                </a:cubicBezTo>
                <a:cubicBezTo>
                  <a:pt x="852" y="458"/>
                  <a:pt x="852" y="458"/>
                  <a:pt x="852" y="458"/>
                </a:cubicBezTo>
                <a:cubicBezTo>
                  <a:pt x="850" y="457"/>
                  <a:pt x="850" y="457"/>
                  <a:pt x="850" y="457"/>
                </a:cubicBezTo>
                <a:cubicBezTo>
                  <a:pt x="847" y="457"/>
                  <a:pt x="847" y="457"/>
                  <a:pt x="847" y="457"/>
                </a:cubicBezTo>
                <a:cubicBezTo>
                  <a:pt x="845" y="458"/>
                  <a:pt x="845" y="458"/>
                  <a:pt x="845" y="458"/>
                </a:cubicBezTo>
                <a:cubicBezTo>
                  <a:pt x="843" y="459"/>
                  <a:pt x="843" y="459"/>
                  <a:pt x="843" y="459"/>
                </a:cubicBezTo>
                <a:cubicBezTo>
                  <a:pt x="842" y="459"/>
                  <a:pt x="842" y="459"/>
                  <a:pt x="842" y="459"/>
                </a:cubicBezTo>
                <a:cubicBezTo>
                  <a:pt x="841" y="458"/>
                  <a:pt x="841" y="458"/>
                  <a:pt x="841" y="458"/>
                </a:cubicBezTo>
                <a:cubicBezTo>
                  <a:pt x="839" y="459"/>
                  <a:pt x="839" y="459"/>
                  <a:pt x="839" y="459"/>
                </a:cubicBezTo>
                <a:cubicBezTo>
                  <a:pt x="838" y="460"/>
                  <a:pt x="838" y="460"/>
                  <a:pt x="838" y="460"/>
                </a:cubicBezTo>
                <a:cubicBezTo>
                  <a:pt x="834" y="461"/>
                  <a:pt x="834" y="461"/>
                  <a:pt x="834" y="461"/>
                </a:cubicBezTo>
                <a:cubicBezTo>
                  <a:pt x="836" y="461"/>
                  <a:pt x="836" y="461"/>
                  <a:pt x="836" y="461"/>
                </a:cubicBezTo>
                <a:cubicBezTo>
                  <a:pt x="840" y="461"/>
                  <a:pt x="840" y="461"/>
                  <a:pt x="840" y="461"/>
                </a:cubicBezTo>
                <a:cubicBezTo>
                  <a:pt x="842" y="461"/>
                  <a:pt x="842" y="461"/>
                  <a:pt x="842" y="461"/>
                </a:cubicBezTo>
                <a:cubicBezTo>
                  <a:pt x="845" y="464"/>
                  <a:pt x="845" y="464"/>
                  <a:pt x="845" y="464"/>
                </a:cubicBezTo>
                <a:cubicBezTo>
                  <a:pt x="847" y="465"/>
                  <a:pt x="847" y="465"/>
                  <a:pt x="847" y="465"/>
                </a:cubicBezTo>
                <a:cubicBezTo>
                  <a:pt x="848" y="464"/>
                  <a:pt x="848" y="464"/>
                  <a:pt x="848" y="464"/>
                </a:cubicBezTo>
                <a:cubicBezTo>
                  <a:pt x="850" y="464"/>
                  <a:pt x="850" y="464"/>
                  <a:pt x="850" y="464"/>
                </a:cubicBezTo>
                <a:cubicBezTo>
                  <a:pt x="851" y="465"/>
                  <a:pt x="851" y="465"/>
                  <a:pt x="851" y="465"/>
                </a:cubicBezTo>
                <a:cubicBezTo>
                  <a:pt x="853" y="466"/>
                  <a:pt x="853" y="466"/>
                  <a:pt x="853" y="466"/>
                </a:cubicBezTo>
                <a:cubicBezTo>
                  <a:pt x="855" y="467"/>
                  <a:pt x="855" y="467"/>
                  <a:pt x="855" y="467"/>
                </a:cubicBezTo>
                <a:cubicBezTo>
                  <a:pt x="855" y="469"/>
                  <a:pt x="855" y="469"/>
                  <a:pt x="855" y="469"/>
                </a:cubicBezTo>
                <a:cubicBezTo>
                  <a:pt x="857" y="471"/>
                  <a:pt x="857" y="471"/>
                  <a:pt x="857" y="471"/>
                </a:cubicBezTo>
                <a:cubicBezTo>
                  <a:pt x="857" y="473"/>
                  <a:pt x="857" y="473"/>
                  <a:pt x="857" y="473"/>
                </a:cubicBezTo>
                <a:cubicBezTo>
                  <a:pt x="856" y="474"/>
                  <a:pt x="856" y="474"/>
                  <a:pt x="856" y="474"/>
                </a:cubicBezTo>
                <a:cubicBezTo>
                  <a:pt x="854" y="474"/>
                  <a:pt x="854" y="474"/>
                  <a:pt x="854" y="474"/>
                </a:cubicBezTo>
                <a:cubicBezTo>
                  <a:pt x="853" y="472"/>
                  <a:pt x="853" y="472"/>
                  <a:pt x="853" y="472"/>
                </a:cubicBezTo>
                <a:cubicBezTo>
                  <a:pt x="852" y="472"/>
                  <a:pt x="852" y="472"/>
                  <a:pt x="852" y="472"/>
                </a:cubicBezTo>
                <a:cubicBezTo>
                  <a:pt x="851" y="474"/>
                  <a:pt x="851" y="474"/>
                  <a:pt x="851" y="474"/>
                </a:cubicBezTo>
                <a:cubicBezTo>
                  <a:pt x="850" y="473"/>
                  <a:pt x="850" y="473"/>
                  <a:pt x="850" y="473"/>
                </a:cubicBezTo>
                <a:cubicBezTo>
                  <a:pt x="849" y="472"/>
                  <a:pt x="849" y="472"/>
                  <a:pt x="849" y="472"/>
                </a:cubicBezTo>
                <a:cubicBezTo>
                  <a:pt x="848" y="472"/>
                  <a:pt x="848" y="472"/>
                  <a:pt x="848" y="472"/>
                </a:cubicBezTo>
                <a:cubicBezTo>
                  <a:pt x="846" y="472"/>
                  <a:pt x="846" y="472"/>
                  <a:pt x="846" y="472"/>
                </a:cubicBezTo>
                <a:cubicBezTo>
                  <a:pt x="844" y="469"/>
                  <a:pt x="844" y="469"/>
                  <a:pt x="844" y="469"/>
                </a:cubicBezTo>
                <a:cubicBezTo>
                  <a:pt x="842" y="469"/>
                  <a:pt x="842" y="469"/>
                  <a:pt x="842" y="469"/>
                </a:cubicBezTo>
                <a:cubicBezTo>
                  <a:pt x="841" y="469"/>
                  <a:pt x="841" y="469"/>
                  <a:pt x="841" y="469"/>
                </a:cubicBezTo>
                <a:cubicBezTo>
                  <a:pt x="839" y="469"/>
                  <a:pt x="839" y="469"/>
                  <a:pt x="839" y="469"/>
                </a:cubicBezTo>
                <a:cubicBezTo>
                  <a:pt x="837" y="468"/>
                  <a:pt x="837" y="468"/>
                  <a:pt x="837" y="468"/>
                </a:cubicBezTo>
                <a:cubicBezTo>
                  <a:pt x="838" y="469"/>
                  <a:pt x="838" y="469"/>
                  <a:pt x="838" y="469"/>
                </a:cubicBezTo>
                <a:cubicBezTo>
                  <a:pt x="840" y="470"/>
                  <a:pt x="840" y="470"/>
                  <a:pt x="840" y="470"/>
                </a:cubicBezTo>
                <a:cubicBezTo>
                  <a:pt x="842" y="470"/>
                  <a:pt x="842" y="470"/>
                  <a:pt x="842" y="470"/>
                </a:cubicBezTo>
                <a:cubicBezTo>
                  <a:pt x="841" y="471"/>
                  <a:pt x="841" y="471"/>
                  <a:pt x="841" y="471"/>
                </a:cubicBezTo>
                <a:cubicBezTo>
                  <a:pt x="838" y="472"/>
                  <a:pt x="838" y="472"/>
                  <a:pt x="838" y="472"/>
                </a:cubicBezTo>
                <a:cubicBezTo>
                  <a:pt x="837" y="472"/>
                  <a:pt x="837" y="472"/>
                  <a:pt x="837" y="472"/>
                </a:cubicBezTo>
                <a:cubicBezTo>
                  <a:pt x="835" y="472"/>
                  <a:pt x="835" y="472"/>
                  <a:pt x="835" y="472"/>
                </a:cubicBezTo>
                <a:cubicBezTo>
                  <a:pt x="833" y="473"/>
                  <a:pt x="833" y="473"/>
                  <a:pt x="833" y="473"/>
                </a:cubicBezTo>
                <a:cubicBezTo>
                  <a:pt x="833" y="475"/>
                  <a:pt x="833" y="475"/>
                  <a:pt x="833" y="475"/>
                </a:cubicBezTo>
                <a:cubicBezTo>
                  <a:pt x="834" y="475"/>
                  <a:pt x="834" y="475"/>
                  <a:pt x="834" y="475"/>
                </a:cubicBezTo>
                <a:cubicBezTo>
                  <a:pt x="835" y="474"/>
                  <a:pt x="835" y="474"/>
                  <a:pt x="835" y="474"/>
                </a:cubicBezTo>
                <a:cubicBezTo>
                  <a:pt x="838" y="474"/>
                  <a:pt x="838" y="474"/>
                  <a:pt x="838" y="474"/>
                </a:cubicBezTo>
                <a:cubicBezTo>
                  <a:pt x="839" y="473"/>
                  <a:pt x="839" y="473"/>
                  <a:pt x="839" y="473"/>
                </a:cubicBezTo>
                <a:cubicBezTo>
                  <a:pt x="841" y="472"/>
                  <a:pt x="841" y="472"/>
                  <a:pt x="841" y="472"/>
                </a:cubicBezTo>
                <a:cubicBezTo>
                  <a:pt x="843" y="474"/>
                  <a:pt x="843" y="474"/>
                  <a:pt x="843" y="474"/>
                </a:cubicBezTo>
                <a:cubicBezTo>
                  <a:pt x="843" y="475"/>
                  <a:pt x="843" y="475"/>
                  <a:pt x="843" y="475"/>
                </a:cubicBezTo>
                <a:cubicBezTo>
                  <a:pt x="844" y="476"/>
                  <a:pt x="844" y="476"/>
                  <a:pt x="844" y="476"/>
                </a:cubicBezTo>
                <a:cubicBezTo>
                  <a:pt x="844" y="476"/>
                  <a:pt x="844" y="476"/>
                  <a:pt x="844" y="476"/>
                </a:cubicBezTo>
                <a:cubicBezTo>
                  <a:pt x="844" y="477"/>
                  <a:pt x="844" y="477"/>
                  <a:pt x="844" y="477"/>
                </a:cubicBezTo>
                <a:cubicBezTo>
                  <a:pt x="841" y="477"/>
                  <a:pt x="841" y="477"/>
                  <a:pt x="841" y="477"/>
                </a:cubicBezTo>
                <a:cubicBezTo>
                  <a:pt x="840" y="478"/>
                  <a:pt x="840" y="478"/>
                  <a:pt x="840" y="478"/>
                </a:cubicBezTo>
                <a:cubicBezTo>
                  <a:pt x="839" y="477"/>
                  <a:pt x="839" y="477"/>
                  <a:pt x="839" y="477"/>
                </a:cubicBezTo>
                <a:cubicBezTo>
                  <a:pt x="839" y="476"/>
                  <a:pt x="839" y="476"/>
                  <a:pt x="839" y="476"/>
                </a:cubicBezTo>
                <a:cubicBezTo>
                  <a:pt x="837" y="476"/>
                  <a:pt x="837" y="476"/>
                  <a:pt x="837" y="476"/>
                </a:cubicBezTo>
                <a:cubicBezTo>
                  <a:pt x="837" y="477"/>
                  <a:pt x="837" y="477"/>
                  <a:pt x="837" y="477"/>
                </a:cubicBezTo>
                <a:cubicBezTo>
                  <a:pt x="839" y="478"/>
                  <a:pt x="839" y="478"/>
                  <a:pt x="839" y="478"/>
                </a:cubicBezTo>
                <a:cubicBezTo>
                  <a:pt x="840" y="479"/>
                  <a:pt x="840" y="479"/>
                  <a:pt x="840" y="479"/>
                </a:cubicBezTo>
                <a:cubicBezTo>
                  <a:pt x="841" y="480"/>
                  <a:pt x="841" y="480"/>
                  <a:pt x="841" y="480"/>
                </a:cubicBezTo>
                <a:cubicBezTo>
                  <a:pt x="841" y="481"/>
                  <a:pt x="841" y="481"/>
                  <a:pt x="841" y="481"/>
                </a:cubicBezTo>
                <a:cubicBezTo>
                  <a:pt x="842" y="482"/>
                  <a:pt x="842" y="482"/>
                  <a:pt x="842" y="482"/>
                </a:cubicBezTo>
                <a:cubicBezTo>
                  <a:pt x="841" y="482"/>
                  <a:pt x="841" y="482"/>
                  <a:pt x="841" y="482"/>
                </a:cubicBezTo>
                <a:cubicBezTo>
                  <a:pt x="836" y="481"/>
                  <a:pt x="836" y="481"/>
                  <a:pt x="836" y="481"/>
                </a:cubicBezTo>
                <a:cubicBezTo>
                  <a:pt x="833" y="481"/>
                  <a:pt x="833" y="481"/>
                  <a:pt x="833" y="481"/>
                </a:cubicBezTo>
                <a:cubicBezTo>
                  <a:pt x="829" y="479"/>
                  <a:pt x="829" y="479"/>
                  <a:pt x="829" y="479"/>
                </a:cubicBezTo>
                <a:cubicBezTo>
                  <a:pt x="827" y="480"/>
                  <a:pt x="827" y="480"/>
                  <a:pt x="827" y="480"/>
                </a:cubicBezTo>
                <a:cubicBezTo>
                  <a:pt x="827" y="480"/>
                  <a:pt x="827" y="480"/>
                  <a:pt x="827" y="480"/>
                </a:cubicBezTo>
                <a:cubicBezTo>
                  <a:pt x="830" y="481"/>
                  <a:pt x="830" y="481"/>
                  <a:pt x="830" y="481"/>
                </a:cubicBezTo>
                <a:cubicBezTo>
                  <a:pt x="836" y="484"/>
                  <a:pt x="836" y="484"/>
                  <a:pt x="836" y="484"/>
                </a:cubicBezTo>
                <a:cubicBezTo>
                  <a:pt x="837" y="485"/>
                  <a:pt x="837" y="485"/>
                  <a:pt x="837" y="485"/>
                </a:cubicBezTo>
                <a:cubicBezTo>
                  <a:pt x="836" y="486"/>
                  <a:pt x="836" y="486"/>
                  <a:pt x="836" y="486"/>
                </a:cubicBezTo>
                <a:cubicBezTo>
                  <a:pt x="832" y="484"/>
                  <a:pt x="832" y="484"/>
                  <a:pt x="832" y="484"/>
                </a:cubicBezTo>
                <a:cubicBezTo>
                  <a:pt x="831" y="484"/>
                  <a:pt x="831" y="484"/>
                  <a:pt x="831" y="484"/>
                </a:cubicBezTo>
                <a:cubicBezTo>
                  <a:pt x="829" y="486"/>
                  <a:pt x="829" y="486"/>
                  <a:pt x="829" y="486"/>
                </a:cubicBezTo>
                <a:cubicBezTo>
                  <a:pt x="831" y="486"/>
                  <a:pt x="831" y="486"/>
                  <a:pt x="831" y="486"/>
                </a:cubicBezTo>
                <a:cubicBezTo>
                  <a:pt x="832" y="486"/>
                  <a:pt x="832" y="486"/>
                  <a:pt x="832" y="486"/>
                </a:cubicBezTo>
                <a:cubicBezTo>
                  <a:pt x="833" y="487"/>
                  <a:pt x="833" y="487"/>
                  <a:pt x="833" y="487"/>
                </a:cubicBezTo>
                <a:cubicBezTo>
                  <a:pt x="834" y="487"/>
                  <a:pt x="834" y="487"/>
                  <a:pt x="834" y="487"/>
                </a:cubicBezTo>
                <a:cubicBezTo>
                  <a:pt x="835" y="487"/>
                  <a:pt x="835" y="487"/>
                  <a:pt x="835" y="487"/>
                </a:cubicBezTo>
                <a:cubicBezTo>
                  <a:pt x="835" y="489"/>
                  <a:pt x="835" y="489"/>
                  <a:pt x="835" y="489"/>
                </a:cubicBezTo>
                <a:cubicBezTo>
                  <a:pt x="836" y="490"/>
                  <a:pt x="836" y="490"/>
                  <a:pt x="836" y="490"/>
                </a:cubicBezTo>
                <a:cubicBezTo>
                  <a:pt x="837" y="490"/>
                  <a:pt x="837" y="490"/>
                  <a:pt x="837" y="490"/>
                </a:cubicBezTo>
                <a:cubicBezTo>
                  <a:pt x="837" y="488"/>
                  <a:pt x="837" y="488"/>
                  <a:pt x="837" y="488"/>
                </a:cubicBezTo>
                <a:cubicBezTo>
                  <a:pt x="839" y="488"/>
                  <a:pt x="839" y="488"/>
                  <a:pt x="839" y="488"/>
                </a:cubicBezTo>
                <a:cubicBezTo>
                  <a:pt x="839" y="490"/>
                  <a:pt x="839" y="490"/>
                  <a:pt x="839" y="490"/>
                </a:cubicBezTo>
                <a:cubicBezTo>
                  <a:pt x="838" y="491"/>
                  <a:pt x="838" y="491"/>
                  <a:pt x="838" y="491"/>
                </a:cubicBezTo>
                <a:cubicBezTo>
                  <a:pt x="838" y="492"/>
                  <a:pt x="838" y="492"/>
                  <a:pt x="838" y="492"/>
                </a:cubicBezTo>
                <a:cubicBezTo>
                  <a:pt x="840" y="492"/>
                  <a:pt x="840" y="492"/>
                  <a:pt x="840" y="492"/>
                </a:cubicBezTo>
                <a:cubicBezTo>
                  <a:pt x="840" y="489"/>
                  <a:pt x="840" y="489"/>
                  <a:pt x="840" y="489"/>
                </a:cubicBezTo>
                <a:cubicBezTo>
                  <a:pt x="841" y="489"/>
                  <a:pt x="841" y="489"/>
                  <a:pt x="841" y="489"/>
                </a:cubicBezTo>
                <a:cubicBezTo>
                  <a:pt x="844" y="491"/>
                  <a:pt x="844" y="491"/>
                  <a:pt x="844" y="491"/>
                </a:cubicBezTo>
                <a:cubicBezTo>
                  <a:pt x="846" y="491"/>
                  <a:pt x="846" y="491"/>
                  <a:pt x="846" y="491"/>
                </a:cubicBezTo>
                <a:cubicBezTo>
                  <a:pt x="848" y="491"/>
                  <a:pt x="848" y="491"/>
                  <a:pt x="848" y="491"/>
                </a:cubicBezTo>
                <a:cubicBezTo>
                  <a:pt x="847" y="493"/>
                  <a:pt x="847" y="493"/>
                  <a:pt x="847" y="493"/>
                </a:cubicBezTo>
                <a:cubicBezTo>
                  <a:pt x="847" y="494"/>
                  <a:pt x="847" y="494"/>
                  <a:pt x="847" y="494"/>
                </a:cubicBezTo>
                <a:cubicBezTo>
                  <a:pt x="845" y="493"/>
                  <a:pt x="845" y="493"/>
                  <a:pt x="845" y="493"/>
                </a:cubicBezTo>
                <a:cubicBezTo>
                  <a:pt x="843" y="493"/>
                  <a:pt x="843" y="493"/>
                  <a:pt x="843" y="493"/>
                </a:cubicBezTo>
                <a:cubicBezTo>
                  <a:pt x="841" y="493"/>
                  <a:pt x="841" y="493"/>
                  <a:pt x="841" y="493"/>
                </a:cubicBezTo>
                <a:cubicBezTo>
                  <a:pt x="837" y="495"/>
                  <a:pt x="837" y="495"/>
                  <a:pt x="837" y="495"/>
                </a:cubicBezTo>
                <a:cubicBezTo>
                  <a:pt x="837" y="497"/>
                  <a:pt x="837" y="497"/>
                  <a:pt x="837" y="497"/>
                </a:cubicBezTo>
                <a:cubicBezTo>
                  <a:pt x="838" y="495"/>
                  <a:pt x="838" y="495"/>
                  <a:pt x="838" y="495"/>
                </a:cubicBezTo>
                <a:cubicBezTo>
                  <a:pt x="841" y="495"/>
                  <a:pt x="841" y="495"/>
                  <a:pt x="841" y="495"/>
                </a:cubicBezTo>
                <a:cubicBezTo>
                  <a:pt x="843" y="495"/>
                  <a:pt x="843" y="495"/>
                  <a:pt x="843" y="495"/>
                </a:cubicBezTo>
                <a:cubicBezTo>
                  <a:pt x="841" y="496"/>
                  <a:pt x="841" y="496"/>
                  <a:pt x="841" y="496"/>
                </a:cubicBezTo>
                <a:cubicBezTo>
                  <a:pt x="841" y="497"/>
                  <a:pt x="841" y="497"/>
                  <a:pt x="841" y="497"/>
                </a:cubicBezTo>
                <a:cubicBezTo>
                  <a:pt x="842" y="497"/>
                  <a:pt x="842" y="497"/>
                  <a:pt x="842" y="497"/>
                </a:cubicBezTo>
                <a:cubicBezTo>
                  <a:pt x="845" y="497"/>
                  <a:pt x="845" y="497"/>
                  <a:pt x="845" y="497"/>
                </a:cubicBezTo>
                <a:cubicBezTo>
                  <a:pt x="846" y="498"/>
                  <a:pt x="846" y="498"/>
                  <a:pt x="846" y="498"/>
                </a:cubicBezTo>
                <a:cubicBezTo>
                  <a:pt x="846" y="498"/>
                  <a:pt x="846" y="498"/>
                  <a:pt x="846" y="498"/>
                </a:cubicBezTo>
                <a:cubicBezTo>
                  <a:pt x="848" y="499"/>
                  <a:pt x="848" y="499"/>
                  <a:pt x="848" y="499"/>
                </a:cubicBezTo>
                <a:cubicBezTo>
                  <a:pt x="849" y="501"/>
                  <a:pt x="849" y="501"/>
                  <a:pt x="849" y="501"/>
                </a:cubicBezTo>
                <a:cubicBezTo>
                  <a:pt x="848" y="502"/>
                  <a:pt x="848" y="502"/>
                  <a:pt x="848" y="502"/>
                </a:cubicBezTo>
                <a:cubicBezTo>
                  <a:pt x="847" y="505"/>
                  <a:pt x="847" y="505"/>
                  <a:pt x="847" y="505"/>
                </a:cubicBezTo>
                <a:cubicBezTo>
                  <a:pt x="847" y="506"/>
                  <a:pt x="847" y="506"/>
                  <a:pt x="847" y="506"/>
                </a:cubicBezTo>
                <a:cubicBezTo>
                  <a:pt x="848" y="506"/>
                  <a:pt x="848" y="506"/>
                  <a:pt x="848" y="506"/>
                </a:cubicBezTo>
                <a:cubicBezTo>
                  <a:pt x="848" y="504"/>
                  <a:pt x="848" y="504"/>
                  <a:pt x="848" y="504"/>
                </a:cubicBezTo>
                <a:cubicBezTo>
                  <a:pt x="850" y="502"/>
                  <a:pt x="850" y="502"/>
                  <a:pt x="850" y="502"/>
                </a:cubicBezTo>
                <a:cubicBezTo>
                  <a:pt x="851" y="502"/>
                  <a:pt x="851" y="502"/>
                  <a:pt x="851" y="502"/>
                </a:cubicBezTo>
                <a:cubicBezTo>
                  <a:pt x="852" y="504"/>
                  <a:pt x="852" y="504"/>
                  <a:pt x="852" y="504"/>
                </a:cubicBezTo>
                <a:cubicBezTo>
                  <a:pt x="851" y="505"/>
                  <a:pt x="851" y="505"/>
                  <a:pt x="851" y="505"/>
                </a:cubicBezTo>
                <a:cubicBezTo>
                  <a:pt x="849" y="509"/>
                  <a:pt x="849" y="509"/>
                  <a:pt x="849" y="509"/>
                </a:cubicBezTo>
                <a:cubicBezTo>
                  <a:pt x="848" y="511"/>
                  <a:pt x="848" y="511"/>
                  <a:pt x="848" y="511"/>
                </a:cubicBezTo>
                <a:cubicBezTo>
                  <a:pt x="848" y="513"/>
                  <a:pt x="848" y="513"/>
                  <a:pt x="848" y="513"/>
                </a:cubicBezTo>
                <a:cubicBezTo>
                  <a:pt x="849" y="512"/>
                  <a:pt x="849" y="512"/>
                  <a:pt x="849" y="512"/>
                </a:cubicBezTo>
                <a:cubicBezTo>
                  <a:pt x="850" y="509"/>
                  <a:pt x="850" y="509"/>
                  <a:pt x="850" y="509"/>
                </a:cubicBezTo>
                <a:cubicBezTo>
                  <a:pt x="850" y="508"/>
                  <a:pt x="850" y="508"/>
                  <a:pt x="850" y="508"/>
                </a:cubicBezTo>
                <a:cubicBezTo>
                  <a:pt x="851" y="506"/>
                  <a:pt x="851" y="506"/>
                  <a:pt x="851" y="506"/>
                </a:cubicBezTo>
                <a:cubicBezTo>
                  <a:pt x="854" y="505"/>
                  <a:pt x="854" y="505"/>
                  <a:pt x="854" y="505"/>
                </a:cubicBezTo>
                <a:cubicBezTo>
                  <a:pt x="854" y="505"/>
                  <a:pt x="854" y="505"/>
                  <a:pt x="854" y="505"/>
                </a:cubicBezTo>
                <a:cubicBezTo>
                  <a:pt x="854" y="503"/>
                  <a:pt x="854" y="503"/>
                  <a:pt x="854" y="503"/>
                </a:cubicBezTo>
                <a:cubicBezTo>
                  <a:pt x="856" y="502"/>
                  <a:pt x="856" y="502"/>
                  <a:pt x="856" y="502"/>
                </a:cubicBezTo>
                <a:cubicBezTo>
                  <a:pt x="857" y="502"/>
                  <a:pt x="857" y="502"/>
                  <a:pt x="857" y="502"/>
                </a:cubicBezTo>
                <a:cubicBezTo>
                  <a:pt x="856" y="504"/>
                  <a:pt x="856" y="504"/>
                  <a:pt x="856" y="504"/>
                </a:cubicBezTo>
                <a:cubicBezTo>
                  <a:pt x="854" y="507"/>
                  <a:pt x="854" y="507"/>
                  <a:pt x="854" y="507"/>
                </a:cubicBezTo>
                <a:cubicBezTo>
                  <a:pt x="853" y="509"/>
                  <a:pt x="853" y="509"/>
                  <a:pt x="853" y="509"/>
                </a:cubicBezTo>
                <a:cubicBezTo>
                  <a:pt x="853" y="511"/>
                  <a:pt x="853" y="511"/>
                  <a:pt x="853" y="511"/>
                </a:cubicBezTo>
                <a:cubicBezTo>
                  <a:pt x="853" y="513"/>
                  <a:pt x="853" y="513"/>
                  <a:pt x="853" y="513"/>
                </a:cubicBezTo>
                <a:cubicBezTo>
                  <a:pt x="854" y="513"/>
                  <a:pt x="854" y="513"/>
                  <a:pt x="854" y="513"/>
                </a:cubicBezTo>
                <a:cubicBezTo>
                  <a:pt x="854" y="511"/>
                  <a:pt x="854" y="511"/>
                  <a:pt x="854" y="511"/>
                </a:cubicBezTo>
                <a:cubicBezTo>
                  <a:pt x="854" y="509"/>
                  <a:pt x="854" y="509"/>
                  <a:pt x="854" y="509"/>
                </a:cubicBezTo>
                <a:cubicBezTo>
                  <a:pt x="856" y="508"/>
                  <a:pt x="856" y="508"/>
                  <a:pt x="856" y="508"/>
                </a:cubicBezTo>
                <a:cubicBezTo>
                  <a:pt x="857" y="506"/>
                  <a:pt x="857" y="506"/>
                  <a:pt x="857" y="506"/>
                </a:cubicBezTo>
                <a:cubicBezTo>
                  <a:pt x="860" y="504"/>
                  <a:pt x="860" y="504"/>
                  <a:pt x="860" y="504"/>
                </a:cubicBezTo>
                <a:cubicBezTo>
                  <a:pt x="862" y="502"/>
                  <a:pt x="862" y="502"/>
                  <a:pt x="862" y="502"/>
                </a:cubicBezTo>
                <a:cubicBezTo>
                  <a:pt x="862" y="503"/>
                  <a:pt x="862" y="503"/>
                  <a:pt x="862" y="503"/>
                </a:cubicBezTo>
                <a:cubicBezTo>
                  <a:pt x="862" y="506"/>
                  <a:pt x="862" y="506"/>
                  <a:pt x="862" y="506"/>
                </a:cubicBezTo>
                <a:cubicBezTo>
                  <a:pt x="861" y="507"/>
                  <a:pt x="861" y="507"/>
                  <a:pt x="861" y="507"/>
                </a:cubicBezTo>
                <a:cubicBezTo>
                  <a:pt x="858" y="507"/>
                  <a:pt x="858" y="507"/>
                  <a:pt x="858" y="507"/>
                </a:cubicBezTo>
                <a:cubicBezTo>
                  <a:pt x="858" y="509"/>
                  <a:pt x="858" y="509"/>
                  <a:pt x="858" y="509"/>
                </a:cubicBezTo>
                <a:cubicBezTo>
                  <a:pt x="857" y="511"/>
                  <a:pt x="857" y="511"/>
                  <a:pt x="857" y="511"/>
                </a:cubicBezTo>
                <a:cubicBezTo>
                  <a:pt x="858" y="512"/>
                  <a:pt x="858" y="512"/>
                  <a:pt x="858" y="512"/>
                </a:cubicBezTo>
                <a:cubicBezTo>
                  <a:pt x="858" y="511"/>
                  <a:pt x="858" y="511"/>
                  <a:pt x="858" y="511"/>
                </a:cubicBezTo>
                <a:cubicBezTo>
                  <a:pt x="860" y="512"/>
                  <a:pt x="860" y="512"/>
                  <a:pt x="860" y="512"/>
                </a:cubicBezTo>
                <a:cubicBezTo>
                  <a:pt x="861" y="511"/>
                  <a:pt x="861" y="511"/>
                  <a:pt x="861" y="511"/>
                </a:cubicBezTo>
                <a:cubicBezTo>
                  <a:pt x="864" y="510"/>
                  <a:pt x="864" y="510"/>
                  <a:pt x="864" y="510"/>
                </a:cubicBezTo>
                <a:cubicBezTo>
                  <a:pt x="864" y="511"/>
                  <a:pt x="864" y="511"/>
                  <a:pt x="864" y="511"/>
                </a:cubicBezTo>
                <a:cubicBezTo>
                  <a:pt x="865" y="514"/>
                  <a:pt x="865" y="514"/>
                  <a:pt x="865" y="514"/>
                </a:cubicBezTo>
                <a:cubicBezTo>
                  <a:pt x="865" y="515"/>
                  <a:pt x="865" y="515"/>
                  <a:pt x="865" y="515"/>
                </a:cubicBezTo>
                <a:cubicBezTo>
                  <a:pt x="863" y="516"/>
                  <a:pt x="863" y="516"/>
                  <a:pt x="863" y="516"/>
                </a:cubicBezTo>
                <a:cubicBezTo>
                  <a:pt x="863" y="517"/>
                  <a:pt x="863" y="517"/>
                  <a:pt x="863" y="517"/>
                </a:cubicBezTo>
                <a:cubicBezTo>
                  <a:pt x="865" y="517"/>
                  <a:pt x="865" y="517"/>
                  <a:pt x="865" y="517"/>
                </a:cubicBezTo>
                <a:cubicBezTo>
                  <a:pt x="866" y="519"/>
                  <a:pt x="866" y="519"/>
                  <a:pt x="866" y="519"/>
                </a:cubicBezTo>
                <a:cubicBezTo>
                  <a:pt x="864" y="520"/>
                  <a:pt x="864" y="520"/>
                  <a:pt x="864" y="520"/>
                </a:cubicBezTo>
                <a:cubicBezTo>
                  <a:pt x="862" y="519"/>
                  <a:pt x="862" y="519"/>
                  <a:pt x="862" y="519"/>
                </a:cubicBezTo>
                <a:cubicBezTo>
                  <a:pt x="864" y="520"/>
                  <a:pt x="864" y="520"/>
                  <a:pt x="864" y="520"/>
                </a:cubicBezTo>
                <a:cubicBezTo>
                  <a:pt x="866" y="521"/>
                  <a:pt x="866" y="521"/>
                  <a:pt x="866" y="521"/>
                </a:cubicBezTo>
                <a:cubicBezTo>
                  <a:pt x="861" y="522"/>
                  <a:pt x="861" y="522"/>
                  <a:pt x="861" y="522"/>
                </a:cubicBezTo>
                <a:cubicBezTo>
                  <a:pt x="859" y="522"/>
                  <a:pt x="859" y="522"/>
                  <a:pt x="859" y="522"/>
                </a:cubicBezTo>
                <a:cubicBezTo>
                  <a:pt x="860" y="523"/>
                  <a:pt x="860" y="523"/>
                  <a:pt x="860" y="523"/>
                </a:cubicBezTo>
                <a:cubicBezTo>
                  <a:pt x="862" y="523"/>
                  <a:pt x="862" y="523"/>
                  <a:pt x="862" y="523"/>
                </a:cubicBezTo>
                <a:cubicBezTo>
                  <a:pt x="866" y="524"/>
                  <a:pt x="866" y="524"/>
                  <a:pt x="866" y="524"/>
                </a:cubicBezTo>
                <a:cubicBezTo>
                  <a:pt x="867" y="523"/>
                  <a:pt x="867" y="523"/>
                  <a:pt x="867" y="523"/>
                </a:cubicBezTo>
                <a:cubicBezTo>
                  <a:pt x="869" y="522"/>
                  <a:pt x="869" y="522"/>
                  <a:pt x="869" y="522"/>
                </a:cubicBezTo>
                <a:cubicBezTo>
                  <a:pt x="869" y="523"/>
                  <a:pt x="869" y="523"/>
                  <a:pt x="869" y="523"/>
                </a:cubicBezTo>
                <a:cubicBezTo>
                  <a:pt x="867" y="525"/>
                  <a:pt x="867" y="525"/>
                  <a:pt x="867" y="525"/>
                </a:cubicBezTo>
                <a:cubicBezTo>
                  <a:pt x="867" y="527"/>
                  <a:pt x="867" y="527"/>
                  <a:pt x="867" y="527"/>
                </a:cubicBezTo>
                <a:cubicBezTo>
                  <a:pt x="869" y="525"/>
                  <a:pt x="869" y="525"/>
                  <a:pt x="869" y="525"/>
                </a:cubicBezTo>
                <a:cubicBezTo>
                  <a:pt x="870" y="525"/>
                  <a:pt x="870" y="525"/>
                  <a:pt x="870" y="525"/>
                </a:cubicBezTo>
                <a:cubicBezTo>
                  <a:pt x="872" y="523"/>
                  <a:pt x="872" y="523"/>
                  <a:pt x="872" y="523"/>
                </a:cubicBezTo>
                <a:cubicBezTo>
                  <a:pt x="874" y="521"/>
                  <a:pt x="874" y="521"/>
                  <a:pt x="874" y="521"/>
                </a:cubicBezTo>
                <a:cubicBezTo>
                  <a:pt x="876" y="522"/>
                  <a:pt x="876" y="522"/>
                  <a:pt x="876" y="522"/>
                </a:cubicBezTo>
                <a:cubicBezTo>
                  <a:pt x="875" y="523"/>
                  <a:pt x="875" y="523"/>
                  <a:pt x="875" y="523"/>
                </a:cubicBezTo>
                <a:cubicBezTo>
                  <a:pt x="874" y="525"/>
                  <a:pt x="874" y="525"/>
                  <a:pt x="874" y="525"/>
                </a:cubicBezTo>
                <a:cubicBezTo>
                  <a:pt x="873" y="525"/>
                  <a:pt x="873" y="525"/>
                  <a:pt x="873" y="525"/>
                </a:cubicBezTo>
                <a:cubicBezTo>
                  <a:pt x="872" y="527"/>
                  <a:pt x="872" y="527"/>
                  <a:pt x="872" y="527"/>
                </a:cubicBezTo>
                <a:cubicBezTo>
                  <a:pt x="871" y="529"/>
                  <a:pt x="871" y="529"/>
                  <a:pt x="871" y="529"/>
                </a:cubicBezTo>
                <a:cubicBezTo>
                  <a:pt x="868" y="530"/>
                  <a:pt x="868" y="530"/>
                  <a:pt x="868" y="530"/>
                </a:cubicBezTo>
                <a:cubicBezTo>
                  <a:pt x="867" y="532"/>
                  <a:pt x="867" y="532"/>
                  <a:pt x="867" y="532"/>
                </a:cubicBezTo>
                <a:cubicBezTo>
                  <a:pt x="867" y="534"/>
                  <a:pt x="867" y="534"/>
                  <a:pt x="867" y="534"/>
                </a:cubicBezTo>
                <a:cubicBezTo>
                  <a:pt x="869" y="534"/>
                  <a:pt x="869" y="534"/>
                  <a:pt x="869" y="534"/>
                </a:cubicBezTo>
                <a:cubicBezTo>
                  <a:pt x="870" y="532"/>
                  <a:pt x="870" y="532"/>
                  <a:pt x="870" y="532"/>
                </a:cubicBezTo>
                <a:cubicBezTo>
                  <a:pt x="870" y="531"/>
                  <a:pt x="870" y="531"/>
                  <a:pt x="870" y="531"/>
                </a:cubicBezTo>
                <a:cubicBezTo>
                  <a:pt x="873" y="528"/>
                  <a:pt x="873" y="528"/>
                  <a:pt x="873" y="528"/>
                </a:cubicBezTo>
                <a:cubicBezTo>
                  <a:pt x="875" y="527"/>
                  <a:pt x="875" y="527"/>
                  <a:pt x="875" y="527"/>
                </a:cubicBezTo>
                <a:cubicBezTo>
                  <a:pt x="875" y="529"/>
                  <a:pt x="875" y="529"/>
                  <a:pt x="875" y="529"/>
                </a:cubicBezTo>
                <a:cubicBezTo>
                  <a:pt x="873" y="532"/>
                  <a:pt x="873" y="532"/>
                  <a:pt x="873" y="532"/>
                </a:cubicBezTo>
                <a:cubicBezTo>
                  <a:pt x="873" y="534"/>
                  <a:pt x="873" y="534"/>
                  <a:pt x="873" y="534"/>
                </a:cubicBezTo>
                <a:cubicBezTo>
                  <a:pt x="872" y="536"/>
                  <a:pt x="872" y="536"/>
                  <a:pt x="872" y="536"/>
                </a:cubicBezTo>
                <a:cubicBezTo>
                  <a:pt x="873" y="535"/>
                  <a:pt x="873" y="535"/>
                  <a:pt x="873" y="535"/>
                </a:cubicBezTo>
                <a:cubicBezTo>
                  <a:pt x="875" y="532"/>
                  <a:pt x="875" y="532"/>
                  <a:pt x="875" y="532"/>
                </a:cubicBezTo>
                <a:cubicBezTo>
                  <a:pt x="875" y="530"/>
                  <a:pt x="875" y="530"/>
                  <a:pt x="875" y="530"/>
                </a:cubicBezTo>
                <a:cubicBezTo>
                  <a:pt x="876" y="530"/>
                  <a:pt x="876" y="530"/>
                  <a:pt x="876" y="530"/>
                </a:cubicBezTo>
                <a:cubicBezTo>
                  <a:pt x="877" y="530"/>
                  <a:pt x="877" y="530"/>
                  <a:pt x="877" y="530"/>
                </a:cubicBezTo>
                <a:cubicBezTo>
                  <a:pt x="877" y="534"/>
                  <a:pt x="877" y="534"/>
                  <a:pt x="877" y="534"/>
                </a:cubicBezTo>
                <a:cubicBezTo>
                  <a:pt x="878" y="535"/>
                  <a:pt x="878" y="535"/>
                  <a:pt x="878" y="535"/>
                </a:cubicBezTo>
                <a:cubicBezTo>
                  <a:pt x="879" y="535"/>
                  <a:pt x="879" y="535"/>
                  <a:pt x="879" y="535"/>
                </a:cubicBezTo>
                <a:cubicBezTo>
                  <a:pt x="879" y="532"/>
                  <a:pt x="879" y="532"/>
                  <a:pt x="879" y="532"/>
                </a:cubicBezTo>
                <a:cubicBezTo>
                  <a:pt x="880" y="531"/>
                  <a:pt x="880" y="531"/>
                  <a:pt x="880" y="531"/>
                </a:cubicBezTo>
                <a:cubicBezTo>
                  <a:pt x="883" y="529"/>
                  <a:pt x="883" y="529"/>
                  <a:pt x="883" y="529"/>
                </a:cubicBezTo>
                <a:cubicBezTo>
                  <a:pt x="883" y="530"/>
                  <a:pt x="883" y="530"/>
                  <a:pt x="883" y="530"/>
                </a:cubicBezTo>
                <a:cubicBezTo>
                  <a:pt x="882" y="531"/>
                  <a:pt x="882" y="531"/>
                  <a:pt x="882" y="531"/>
                </a:cubicBezTo>
                <a:cubicBezTo>
                  <a:pt x="883" y="532"/>
                  <a:pt x="883" y="532"/>
                  <a:pt x="883" y="532"/>
                </a:cubicBezTo>
                <a:cubicBezTo>
                  <a:pt x="885" y="531"/>
                  <a:pt x="885" y="531"/>
                  <a:pt x="885" y="531"/>
                </a:cubicBezTo>
                <a:cubicBezTo>
                  <a:pt x="886" y="533"/>
                  <a:pt x="886" y="533"/>
                  <a:pt x="886" y="533"/>
                </a:cubicBezTo>
                <a:cubicBezTo>
                  <a:pt x="885" y="535"/>
                  <a:pt x="885" y="535"/>
                  <a:pt x="885" y="535"/>
                </a:cubicBezTo>
                <a:cubicBezTo>
                  <a:pt x="887" y="535"/>
                  <a:pt x="887" y="535"/>
                  <a:pt x="887" y="535"/>
                </a:cubicBezTo>
                <a:cubicBezTo>
                  <a:pt x="888" y="536"/>
                  <a:pt x="888" y="536"/>
                  <a:pt x="888" y="536"/>
                </a:cubicBezTo>
                <a:cubicBezTo>
                  <a:pt x="888" y="538"/>
                  <a:pt x="888" y="538"/>
                  <a:pt x="888" y="538"/>
                </a:cubicBezTo>
                <a:cubicBezTo>
                  <a:pt x="889" y="539"/>
                  <a:pt x="889" y="539"/>
                  <a:pt x="889" y="539"/>
                </a:cubicBezTo>
                <a:cubicBezTo>
                  <a:pt x="890" y="541"/>
                  <a:pt x="890" y="541"/>
                  <a:pt x="890" y="541"/>
                </a:cubicBezTo>
                <a:cubicBezTo>
                  <a:pt x="889" y="541"/>
                  <a:pt x="889" y="541"/>
                  <a:pt x="889" y="541"/>
                </a:cubicBezTo>
                <a:cubicBezTo>
                  <a:pt x="888" y="542"/>
                  <a:pt x="888" y="542"/>
                  <a:pt x="888" y="542"/>
                </a:cubicBezTo>
                <a:cubicBezTo>
                  <a:pt x="886" y="542"/>
                  <a:pt x="886" y="542"/>
                  <a:pt x="886" y="542"/>
                </a:cubicBezTo>
                <a:cubicBezTo>
                  <a:pt x="886" y="541"/>
                  <a:pt x="886" y="541"/>
                  <a:pt x="886" y="541"/>
                </a:cubicBezTo>
                <a:cubicBezTo>
                  <a:pt x="885" y="539"/>
                  <a:pt x="885" y="539"/>
                  <a:pt x="885" y="539"/>
                </a:cubicBezTo>
                <a:cubicBezTo>
                  <a:pt x="884" y="538"/>
                  <a:pt x="884" y="538"/>
                  <a:pt x="884" y="538"/>
                </a:cubicBezTo>
                <a:cubicBezTo>
                  <a:pt x="883" y="538"/>
                  <a:pt x="883" y="538"/>
                  <a:pt x="883" y="538"/>
                </a:cubicBezTo>
                <a:cubicBezTo>
                  <a:pt x="882" y="539"/>
                  <a:pt x="882" y="539"/>
                  <a:pt x="882" y="539"/>
                </a:cubicBezTo>
                <a:cubicBezTo>
                  <a:pt x="880" y="540"/>
                  <a:pt x="880" y="540"/>
                  <a:pt x="880" y="540"/>
                </a:cubicBezTo>
                <a:cubicBezTo>
                  <a:pt x="882" y="540"/>
                  <a:pt x="882" y="540"/>
                  <a:pt x="882" y="540"/>
                </a:cubicBezTo>
                <a:cubicBezTo>
                  <a:pt x="883" y="540"/>
                  <a:pt x="883" y="540"/>
                  <a:pt x="883" y="540"/>
                </a:cubicBezTo>
                <a:cubicBezTo>
                  <a:pt x="884" y="541"/>
                  <a:pt x="884" y="541"/>
                  <a:pt x="884" y="541"/>
                </a:cubicBezTo>
                <a:cubicBezTo>
                  <a:pt x="883" y="541"/>
                  <a:pt x="883" y="541"/>
                  <a:pt x="883" y="541"/>
                </a:cubicBezTo>
                <a:cubicBezTo>
                  <a:pt x="884" y="542"/>
                  <a:pt x="884" y="542"/>
                  <a:pt x="884" y="542"/>
                </a:cubicBezTo>
                <a:cubicBezTo>
                  <a:pt x="885" y="543"/>
                  <a:pt x="885" y="543"/>
                  <a:pt x="885" y="543"/>
                </a:cubicBezTo>
                <a:cubicBezTo>
                  <a:pt x="884" y="544"/>
                  <a:pt x="884" y="544"/>
                  <a:pt x="884" y="544"/>
                </a:cubicBezTo>
                <a:cubicBezTo>
                  <a:pt x="882" y="543"/>
                  <a:pt x="882" y="543"/>
                  <a:pt x="882" y="543"/>
                </a:cubicBezTo>
                <a:cubicBezTo>
                  <a:pt x="881" y="544"/>
                  <a:pt x="881" y="544"/>
                  <a:pt x="881" y="544"/>
                </a:cubicBezTo>
                <a:cubicBezTo>
                  <a:pt x="881" y="545"/>
                  <a:pt x="881" y="545"/>
                  <a:pt x="881" y="545"/>
                </a:cubicBezTo>
                <a:cubicBezTo>
                  <a:pt x="884" y="545"/>
                  <a:pt x="884" y="545"/>
                  <a:pt x="884" y="545"/>
                </a:cubicBezTo>
                <a:cubicBezTo>
                  <a:pt x="886" y="545"/>
                  <a:pt x="886" y="545"/>
                  <a:pt x="886" y="545"/>
                </a:cubicBezTo>
                <a:cubicBezTo>
                  <a:pt x="886" y="546"/>
                  <a:pt x="886" y="546"/>
                  <a:pt x="886" y="546"/>
                </a:cubicBezTo>
                <a:cubicBezTo>
                  <a:pt x="885" y="547"/>
                  <a:pt x="885" y="547"/>
                  <a:pt x="885" y="547"/>
                </a:cubicBezTo>
                <a:cubicBezTo>
                  <a:pt x="883" y="547"/>
                  <a:pt x="883" y="547"/>
                  <a:pt x="883" y="547"/>
                </a:cubicBezTo>
                <a:cubicBezTo>
                  <a:pt x="881" y="548"/>
                  <a:pt x="881" y="548"/>
                  <a:pt x="881" y="548"/>
                </a:cubicBezTo>
                <a:cubicBezTo>
                  <a:pt x="879" y="547"/>
                  <a:pt x="879" y="547"/>
                  <a:pt x="879" y="547"/>
                </a:cubicBezTo>
                <a:cubicBezTo>
                  <a:pt x="877" y="547"/>
                  <a:pt x="877" y="547"/>
                  <a:pt x="877" y="547"/>
                </a:cubicBezTo>
                <a:cubicBezTo>
                  <a:pt x="877" y="545"/>
                  <a:pt x="877" y="545"/>
                  <a:pt x="877" y="545"/>
                </a:cubicBezTo>
                <a:cubicBezTo>
                  <a:pt x="877" y="544"/>
                  <a:pt x="877" y="544"/>
                  <a:pt x="877" y="544"/>
                </a:cubicBezTo>
                <a:cubicBezTo>
                  <a:pt x="876" y="543"/>
                  <a:pt x="876" y="543"/>
                  <a:pt x="876" y="543"/>
                </a:cubicBezTo>
                <a:cubicBezTo>
                  <a:pt x="875" y="542"/>
                  <a:pt x="875" y="542"/>
                  <a:pt x="875" y="542"/>
                </a:cubicBezTo>
                <a:cubicBezTo>
                  <a:pt x="874" y="543"/>
                  <a:pt x="874" y="543"/>
                  <a:pt x="874" y="543"/>
                </a:cubicBezTo>
                <a:cubicBezTo>
                  <a:pt x="874" y="544"/>
                  <a:pt x="874" y="544"/>
                  <a:pt x="874" y="544"/>
                </a:cubicBezTo>
                <a:cubicBezTo>
                  <a:pt x="875" y="545"/>
                  <a:pt x="875" y="545"/>
                  <a:pt x="875" y="545"/>
                </a:cubicBezTo>
                <a:cubicBezTo>
                  <a:pt x="876" y="547"/>
                  <a:pt x="876" y="547"/>
                  <a:pt x="876" y="547"/>
                </a:cubicBezTo>
                <a:cubicBezTo>
                  <a:pt x="875" y="547"/>
                  <a:pt x="875" y="547"/>
                  <a:pt x="875" y="547"/>
                </a:cubicBezTo>
                <a:cubicBezTo>
                  <a:pt x="874" y="548"/>
                  <a:pt x="874" y="548"/>
                  <a:pt x="874" y="548"/>
                </a:cubicBezTo>
                <a:cubicBezTo>
                  <a:pt x="872" y="547"/>
                  <a:pt x="872" y="547"/>
                  <a:pt x="872" y="547"/>
                </a:cubicBezTo>
                <a:cubicBezTo>
                  <a:pt x="872" y="545"/>
                  <a:pt x="872" y="545"/>
                  <a:pt x="872" y="545"/>
                </a:cubicBezTo>
                <a:cubicBezTo>
                  <a:pt x="871" y="547"/>
                  <a:pt x="871" y="547"/>
                  <a:pt x="871" y="547"/>
                </a:cubicBezTo>
                <a:cubicBezTo>
                  <a:pt x="873" y="549"/>
                  <a:pt x="873" y="549"/>
                  <a:pt x="873" y="549"/>
                </a:cubicBezTo>
                <a:cubicBezTo>
                  <a:pt x="875" y="549"/>
                  <a:pt x="875" y="549"/>
                  <a:pt x="875" y="549"/>
                </a:cubicBezTo>
                <a:cubicBezTo>
                  <a:pt x="876" y="550"/>
                  <a:pt x="876" y="550"/>
                  <a:pt x="876" y="550"/>
                </a:cubicBezTo>
                <a:cubicBezTo>
                  <a:pt x="877" y="550"/>
                  <a:pt x="877" y="550"/>
                  <a:pt x="877" y="550"/>
                </a:cubicBezTo>
                <a:cubicBezTo>
                  <a:pt x="878" y="552"/>
                  <a:pt x="878" y="552"/>
                  <a:pt x="878" y="552"/>
                </a:cubicBezTo>
                <a:cubicBezTo>
                  <a:pt x="877" y="553"/>
                  <a:pt x="877" y="553"/>
                  <a:pt x="877" y="553"/>
                </a:cubicBezTo>
                <a:cubicBezTo>
                  <a:pt x="874" y="553"/>
                  <a:pt x="874" y="553"/>
                  <a:pt x="874" y="553"/>
                </a:cubicBezTo>
                <a:cubicBezTo>
                  <a:pt x="873" y="552"/>
                  <a:pt x="873" y="552"/>
                  <a:pt x="873" y="552"/>
                </a:cubicBezTo>
                <a:cubicBezTo>
                  <a:pt x="871" y="550"/>
                  <a:pt x="871" y="550"/>
                  <a:pt x="871" y="550"/>
                </a:cubicBezTo>
                <a:cubicBezTo>
                  <a:pt x="870" y="549"/>
                  <a:pt x="870" y="549"/>
                  <a:pt x="870" y="549"/>
                </a:cubicBezTo>
                <a:cubicBezTo>
                  <a:pt x="869" y="549"/>
                  <a:pt x="869" y="549"/>
                  <a:pt x="869" y="549"/>
                </a:cubicBezTo>
                <a:cubicBezTo>
                  <a:pt x="870" y="550"/>
                  <a:pt x="870" y="550"/>
                  <a:pt x="870" y="550"/>
                </a:cubicBezTo>
                <a:cubicBezTo>
                  <a:pt x="872" y="552"/>
                  <a:pt x="872" y="552"/>
                  <a:pt x="872" y="552"/>
                </a:cubicBezTo>
                <a:cubicBezTo>
                  <a:pt x="873" y="554"/>
                  <a:pt x="873" y="554"/>
                  <a:pt x="873" y="554"/>
                </a:cubicBezTo>
                <a:cubicBezTo>
                  <a:pt x="873" y="557"/>
                  <a:pt x="873" y="557"/>
                  <a:pt x="873" y="557"/>
                </a:cubicBezTo>
                <a:cubicBezTo>
                  <a:pt x="872" y="558"/>
                  <a:pt x="872" y="558"/>
                  <a:pt x="872" y="558"/>
                </a:cubicBezTo>
                <a:cubicBezTo>
                  <a:pt x="871" y="558"/>
                  <a:pt x="871" y="558"/>
                  <a:pt x="871" y="558"/>
                </a:cubicBezTo>
                <a:cubicBezTo>
                  <a:pt x="870" y="556"/>
                  <a:pt x="870" y="556"/>
                  <a:pt x="870" y="556"/>
                </a:cubicBezTo>
                <a:cubicBezTo>
                  <a:pt x="869" y="555"/>
                  <a:pt x="869" y="555"/>
                  <a:pt x="869" y="555"/>
                </a:cubicBezTo>
                <a:cubicBezTo>
                  <a:pt x="867" y="554"/>
                  <a:pt x="867" y="554"/>
                  <a:pt x="867" y="554"/>
                </a:cubicBezTo>
                <a:cubicBezTo>
                  <a:pt x="868" y="555"/>
                  <a:pt x="868" y="555"/>
                  <a:pt x="868" y="555"/>
                </a:cubicBezTo>
                <a:cubicBezTo>
                  <a:pt x="868" y="556"/>
                  <a:pt x="868" y="556"/>
                  <a:pt x="868" y="556"/>
                </a:cubicBezTo>
                <a:cubicBezTo>
                  <a:pt x="868" y="558"/>
                  <a:pt x="868" y="558"/>
                  <a:pt x="868" y="558"/>
                </a:cubicBezTo>
                <a:cubicBezTo>
                  <a:pt x="868" y="561"/>
                  <a:pt x="868" y="561"/>
                  <a:pt x="868" y="561"/>
                </a:cubicBezTo>
                <a:cubicBezTo>
                  <a:pt x="868" y="561"/>
                  <a:pt x="868" y="561"/>
                  <a:pt x="868" y="561"/>
                </a:cubicBezTo>
                <a:cubicBezTo>
                  <a:pt x="867" y="561"/>
                  <a:pt x="867" y="561"/>
                  <a:pt x="867" y="561"/>
                </a:cubicBezTo>
                <a:cubicBezTo>
                  <a:pt x="866" y="561"/>
                  <a:pt x="866" y="561"/>
                  <a:pt x="866" y="561"/>
                </a:cubicBezTo>
                <a:cubicBezTo>
                  <a:pt x="866" y="558"/>
                  <a:pt x="866" y="558"/>
                  <a:pt x="866" y="558"/>
                </a:cubicBezTo>
                <a:cubicBezTo>
                  <a:pt x="865" y="559"/>
                  <a:pt x="865" y="559"/>
                  <a:pt x="865" y="559"/>
                </a:cubicBezTo>
                <a:cubicBezTo>
                  <a:pt x="865" y="560"/>
                  <a:pt x="865" y="560"/>
                  <a:pt x="865" y="560"/>
                </a:cubicBezTo>
                <a:cubicBezTo>
                  <a:pt x="863" y="560"/>
                  <a:pt x="863" y="560"/>
                  <a:pt x="863" y="560"/>
                </a:cubicBezTo>
                <a:cubicBezTo>
                  <a:pt x="862" y="560"/>
                  <a:pt x="862" y="560"/>
                  <a:pt x="862" y="560"/>
                </a:cubicBezTo>
                <a:cubicBezTo>
                  <a:pt x="862" y="558"/>
                  <a:pt x="862" y="558"/>
                  <a:pt x="862" y="558"/>
                </a:cubicBezTo>
                <a:cubicBezTo>
                  <a:pt x="862" y="557"/>
                  <a:pt x="862" y="557"/>
                  <a:pt x="862" y="557"/>
                </a:cubicBezTo>
                <a:cubicBezTo>
                  <a:pt x="862" y="555"/>
                  <a:pt x="862" y="555"/>
                  <a:pt x="862" y="555"/>
                </a:cubicBezTo>
                <a:cubicBezTo>
                  <a:pt x="861" y="554"/>
                  <a:pt x="861" y="554"/>
                  <a:pt x="861" y="554"/>
                </a:cubicBezTo>
                <a:cubicBezTo>
                  <a:pt x="860" y="555"/>
                  <a:pt x="860" y="555"/>
                  <a:pt x="860" y="555"/>
                </a:cubicBezTo>
                <a:cubicBezTo>
                  <a:pt x="860" y="558"/>
                  <a:pt x="860" y="558"/>
                  <a:pt x="860" y="558"/>
                </a:cubicBezTo>
                <a:cubicBezTo>
                  <a:pt x="859" y="559"/>
                  <a:pt x="859" y="559"/>
                  <a:pt x="859" y="559"/>
                </a:cubicBezTo>
                <a:cubicBezTo>
                  <a:pt x="858" y="559"/>
                  <a:pt x="858" y="559"/>
                  <a:pt x="858" y="559"/>
                </a:cubicBezTo>
                <a:cubicBezTo>
                  <a:pt x="858" y="560"/>
                  <a:pt x="858" y="560"/>
                  <a:pt x="858" y="560"/>
                </a:cubicBezTo>
                <a:cubicBezTo>
                  <a:pt x="860" y="560"/>
                  <a:pt x="860" y="560"/>
                  <a:pt x="860" y="560"/>
                </a:cubicBezTo>
                <a:cubicBezTo>
                  <a:pt x="860" y="561"/>
                  <a:pt x="860" y="561"/>
                  <a:pt x="860" y="561"/>
                </a:cubicBezTo>
                <a:cubicBezTo>
                  <a:pt x="859" y="563"/>
                  <a:pt x="859" y="563"/>
                  <a:pt x="859" y="563"/>
                </a:cubicBezTo>
                <a:cubicBezTo>
                  <a:pt x="858" y="562"/>
                  <a:pt x="858" y="562"/>
                  <a:pt x="858" y="562"/>
                </a:cubicBezTo>
                <a:cubicBezTo>
                  <a:pt x="857" y="562"/>
                  <a:pt x="857" y="562"/>
                  <a:pt x="857" y="562"/>
                </a:cubicBezTo>
                <a:cubicBezTo>
                  <a:pt x="857" y="563"/>
                  <a:pt x="857" y="563"/>
                  <a:pt x="857" y="563"/>
                </a:cubicBezTo>
                <a:cubicBezTo>
                  <a:pt x="858" y="564"/>
                  <a:pt x="858" y="564"/>
                  <a:pt x="858" y="564"/>
                </a:cubicBezTo>
                <a:cubicBezTo>
                  <a:pt x="859" y="564"/>
                  <a:pt x="859" y="564"/>
                  <a:pt x="859" y="564"/>
                </a:cubicBezTo>
                <a:cubicBezTo>
                  <a:pt x="859" y="565"/>
                  <a:pt x="859" y="565"/>
                  <a:pt x="859" y="565"/>
                </a:cubicBezTo>
                <a:cubicBezTo>
                  <a:pt x="859" y="566"/>
                  <a:pt x="859" y="566"/>
                  <a:pt x="859" y="566"/>
                </a:cubicBezTo>
                <a:cubicBezTo>
                  <a:pt x="858" y="566"/>
                  <a:pt x="858" y="566"/>
                  <a:pt x="858" y="566"/>
                </a:cubicBezTo>
                <a:cubicBezTo>
                  <a:pt x="858" y="567"/>
                  <a:pt x="858" y="567"/>
                  <a:pt x="858" y="567"/>
                </a:cubicBezTo>
                <a:cubicBezTo>
                  <a:pt x="859" y="569"/>
                  <a:pt x="859" y="569"/>
                  <a:pt x="859" y="569"/>
                </a:cubicBezTo>
                <a:cubicBezTo>
                  <a:pt x="859" y="571"/>
                  <a:pt x="859" y="571"/>
                  <a:pt x="859" y="571"/>
                </a:cubicBezTo>
                <a:cubicBezTo>
                  <a:pt x="858" y="571"/>
                  <a:pt x="858" y="571"/>
                  <a:pt x="858" y="571"/>
                </a:cubicBezTo>
                <a:cubicBezTo>
                  <a:pt x="857" y="570"/>
                  <a:pt x="857" y="570"/>
                  <a:pt x="857" y="570"/>
                </a:cubicBezTo>
                <a:cubicBezTo>
                  <a:pt x="856" y="570"/>
                  <a:pt x="856" y="570"/>
                  <a:pt x="856" y="570"/>
                </a:cubicBezTo>
                <a:cubicBezTo>
                  <a:pt x="858" y="572"/>
                  <a:pt x="858" y="572"/>
                  <a:pt x="858" y="572"/>
                </a:cubicBezTo>
                <a:cubicBezTo>
                  <a:pt x="858" y="573"/>
                  <a:pt x="858" y="573"/>
                  <a:pt x="858" y="573"/>
                </a:cubicBezTo>
                <a:cubicBezTo>
                  <a:pt x="858" y="575"/>
                  <a:pt x="858" y="575"/>
                  <a:pt x="858" y="575"/>
                </a:cubicBezTo>
                <a:cubicBezTo>
                  <a:pt x="856" y="576"/>
                  <a:pt x="856" y="576"/>
                  <a:pt x="856" y="576"/>
                </a:cubicBezTo>
                <a:cubicBezTo>
                  <a:pt x="855" y="577"/>
                  <a:pt x="855" y="577"/>
                  <a:pt x="855" y="577"/>
                </a:cubicBezTo>
                <a:cubicBezTo>
                  <a:pt x="854" y="576"/>
                  <a:pt x="854" y="576"/>
                  <a:pt x="854" y="576"/>
                </a:cubicBezTo>
                <a:cubicBezTo>
                  <a:pt x="854" y="575"/>
                  <a:pt x="854" y="575"/>
                  <a:pt x="854" y="575"/>
                </a:cubicBezTo>
                <a:cubicBezTo>
                  <a:pt x="853" y="575"/>
                  <a:pt x="853" y="575"/>
                  <a:pt x="853" y="575"/>
                </a:cubicBezTo>
                <a:cubicBezTo>
                  <a:pt x="853" y="574"/>
                  <a:pt x="853" y="574"/>
                  <a:pt x="853" y="574"/>
                </a:cubicBezTo>
                <a:cubicBezTo>
                  <a:pt x="852" y="573"/>
                  <a:pt x="852" y="573"/>
                  <a:pt x="852" y="573"/>
                </a:cubicBezTo>
                <a:cubicBezTo>
                  <a:pt x="852" y="572"/>
                  <a:pt x="852" y="572"/>
                  <a:pt x="852" y="572"/>
                </a:cubicBezTo>
                <a:cubicBezTo>
                  <a:pt x="853" y="571"/>
                  <a:pt x="853" y="571"/>
                  <a:pt x="853" y="571"/>
                </a:cubicBezTo>
                <a:cubicBezTo>
                  <a:pt x="853" y="570"/>
                  <a:pt x="853" y="570"/>
                  <a:pt x="853" y="570"/>
                </a:cubicBezTo>
                <a:cubicBezTo>
                  <a:pt x="852" y="570"/>
                  <a:pt x="852" y="570"/>
                  <a:pt x="852" y="570"/>
                </a:cubicBezTo>
                <a:cubicBezTo>
                  <a:pt x="850" y="571"/>
                  <a:pt x="850" y="571"/>
                  <a:pt x="850" y="571"/>
                </a:cubicBezTo>
                <a:cubicBezTo>
                  <a:pt x="850" y="572"/>
                  <a:pt x="850" y="572"/>
                  <a:pt x="850" y="572"/>
                </a:cubicBezTo>
                <a:cubicBezTo>
                  <a:pt x="849" y="572"/>
                  <a:pt x="849" y="572"/>
                  <a:pt x="849" y="572"/>
                </a:cubicBezTo>
                <a:cubicBezTo>
                  <a:pt x="848" y="571"/>
                  <a:pt x="848" y="571"/>
                  <a:pt x="848" y="571"/>
                </a:cubicBezTo>
                <a:cubicBezTo>
                  <a:pt x="849" y="570"/>
                  <a:pt x="849" y="570"/>
                  <a:pt x="849" y="570"/>
                </a:cubicBezTo>
                <a:cubicBezTo>
                  <a:pt x="848" y="569"/>
                  <a:pt x="848" y="569"/>
                  <a:pt x="848" y="569"/>
                </a:cubicBezTo>
                <a:cubicBezTo>
                  <a:pt x="848" y="568"/>
                  <a:pt x="848" y="568"/>
                  <a:pt x="848" y="568"/>
                </a:cubicBezTo>
                <a:cubicBezTo>
                  <a:pt x="849" y="567"/>
                  <a:pt x="849" y="567"/>
                  <a:pt x="849" y="567"/>
                </a:cubicBezTo>
                <a:cubicBezTo>
                  <a:pt x="849" y="566"/>
                  <a:pt x="849" y="566"/>
                  <a:pt x="849" y="566"/>
                </a:cubicBezTo>
                <a:cubicBezTo>
                  <a:pt x="849" y="565"/>
                  <a:pt x="849" y="565"/>
                  <a:pt x="849" y="565"/>
                </a:cubicBezTo>
                <a:cubicBezTo>
                  <a:pt x="849" y="565"/>
                  <a:pt x="849" y="565"/>
                  <a:pt x="849" y="565"/>
                </a:cubicBezTo>
                <a:cubicBezTo>
                  <a:pt x="847" y="566"/>
                  <a:pt x="847" y="566"/>
                  <a:pt x="847" y="566"/>
                </a:cubicBezTo>
                <a:cubicBezTo>
                  <a:pt x="846" y="568"/>
                  <a:pt x="846" y="568"/>
                  <a:pt x="846" y="568"/>
                </a:cubicBezTo>
                <a:cubicBezTo>
                  <a:pt x="845" y="570"/>
                  <a:pt x="845" y="570"/>
                  <a:pt x="845" y="570"/>
                </a:cubicBezTo>
                <a:cubicBezTo>
                  <a:pt x="845" y="569"/>
                  <a:pt x="845" y="569"/>
                  <a:pt x="845" y="569"/>
                </a:cubicBezTo>
                <a:cubicBezTo>
                  <a:pt x="845" y="568"/>
                  <a:pt x="845" y="568"/>
                  <a:pt x="845" y="568"/>
                </a:cubicBezTo>
                <a:cubicBezTo>
                  <a:pt x="844" y="566"/>
                  <a:pt x="844" y="566"/>
                  <a:pt x="844" y="566"/>
                </a:cubicBezTo>
                <a:cubicBezTo>
                  <a:pt x="843" y="565"/>
                  <a:pt x="843" y="565"/>
                  <a:pt x="843" y="565"/>
                </a:cubicBezTo>
                <a:cubicBezTo>
                  <a:pt x="844" y="564"/>
                  <a:pt x="844" y="564"/>
                  <a:pt x="844" y="564"/>
                </a:cubicBezTo>
                <a:cubicBezTo>
                  <a:pt x="846" y="563"/>
                  <a:pt x="846" y="563"/>
                  <a:pt x="846" y="563"/>
                </a:cubicBezTo>
                <a:cubicBezTo>
                  <a:pt x="846" y="563"/>
                  <a:pt x="846" y="563"/>
                  <a:pt x="846" y="563"/>
                </a:cubicBezTo>
                <a:cubicBezTo>
                  <a:pt x="848" y="562"/>
                  <a:pt x="848" y="562"/>
                  <a:pt x="848" y="562"/>
                </a:cubicBezTo>
                <a:cubicBezTo>
                  <a:pt x="847" y="562"/>
                  <a:pt x="847" y="562"/>
                  <a:pt x="847" y="562"/>
                </a:cubicBezTo>
                <a:cubicBezTo>
                  <a:pt x="845" y="561"/>
                  <a:pt x="845" y="561"/>
                  <a:pt x="845" y="561"/>
                </a:cubicBezTo>
                <a:cubicBezTo>
                  <a:pt x="844" y="562"/>
                  <a:pt x="844" y="562"/>
                  <a:pt x="844" y="562"/>
                </a:cubicBezTo>
                <a:cubicBezTo>
                  <a:pt x="842" y="561"/>
                  <a:pt x="842" y="561"/>
                  <a:pt x="842" y="561"/>
                </a:cubicBezTo>
                <a:cubicBezTo>
                  <a:pt x="842" y="561"/>
                  <a:pt x="842" y="561"/>
                  <a:pt x="842" y="561"/>
                </a:cubicBezTo>
                <a:cubicBezTo>
                  <a:pt x="842" y="560"/>
                  <a:pt x="842" y="560"/>
                  <a:pt x="842" y="560"/>
                </a:cubicBezTo>
                <a:cubicBezTo>
                  <a:pt x="844" y="559"/>
                  <a:pt x="844" y="559"/>
                  <a:pt x="844" y="559"/>
                </a:cubicBezTo>
                <a:cubicBezTo>
                  <a:pt x="846" y="557"/>
                  <a:pt x="846" y="557"/>
                  <a:pt x="846" y="557"/>
                </a:cubicBezTo>
                <a:cubicBezTo>
                  <a:pt x="845" y="557"/>
                  <a:pt x="845" y="557"/>
                  <a:pt x="845" y="557"/>
                </a:cubicBezTo>
                <a:cubicBezTo>
                  <a:pt x="843" y="558"/>
                  <a:pt x="843" y="558"/>
                  <a:pt x="843" y="558"/>
                </a:cubicBezTo>
                <a:cubicBezTo>
                  <a:pt x="842" y="558"/>
                  <a:pt x="842" y="558"/>
                  <a:pt x="842" y="558"/>
                </a:cubicBezTo>
                <a:cubicBezTo>
                  <a:pt x="842" y="556"/>
                  <a:pt x="842" y="556"/>
                  <a:pt x="842" y="556"/>
                </a:cubicBezTo>
                <a:cubicBezTo>
                  <a:pt x="843" y="556"/>
                  <a:pt x="843" y="556"/>
                  <a:pt x="843" y="556"/>
                </a:cubicBezTo>
                <a:cubicBezTo>
                  <a:pt x="845" y="555"/>
                  <a:pt x="845" y="555"/>
                  <a:pt x="845" y="555"/>
                </a:cubicBezTo>
                <a:cubicBezTo>
                  <a:pt x="847" y="555"/>
                  <a:pt x="847" y="555"/>
                  <a:pt x="847" y="555"/>
                </a:cubicBezTo>
                <a:cubicBezTo>
                  <a:pt x="845" y="554"/>
                  <a:pt x="845" y="554"/>
                  <a:pt x="845" y="554"/>
                </a:cubicBezTo>
                <a:cubicBezTo>
                  <a:pt x="843" y="554"/>
                  <a:pt x="843" y="554"/>
                  <a:pt x="843" y="554"/>
                </a:cubicBezTo>
                <a:cubicBezTo>
                  <a:pt x="842" y="555"/>
                  <a:pt x="842" y="555"/>
                  <a:pt x="842" y="555"/>
                </a:cubicBezTo>
                <a:cubicBezTo>
                  <a:pt x="841" y="554"/>
                  <a:pt x="841" y="554"/>
                  <a:pt x="841" y="554"/>
                </a:cubicBezTo>
                <a:cubicBezTo>
                  <a:pt x="842" y="553"/>
                  <a:pt x="842" y="553"/>
                  <a:pt x="842" y="553"/>
                </a:cubicBezTo>
                <a:cubicBezTo>
                  <a:pt x="843" y="551"/>
                  <a:pt x="843" y="551"/>
                  <a:pt x="843" y="551"/>
                </a:cubicBezTo>
                <a:cubicBezTo>
                  <a:pt x="845" y="550"/>
                  <a:pt x="845" y="550"/>
                  <a:pt x="845" y="550"/>
                </a:cubicBezTo>
                <a:cubicBezTo>
                  <a:pt x="847" y="550"/>
                  <a:pt x="847" y="550"/>
                  <a:pt x="847" y="550"/>
                </a:cubicBezTo>
                <a:cubicBezTo>
                  <a:pt x="849" y="548"/>
                  <a:pt x="849" y="548"/>
                  <a:pt x="849" y="548"/>
                </a:cubicBezTo>
                <a:cubicBezTo>
                  <a:pt x="851" y="547"/>
                  <a:pt x="851" y="547"/>
                  <a:pt x="851" y="547"/>
                </a:cubicBezTo>
                <a:cubicBezTo>
                  <a:pt x="851" y="545"/>
                  <a:pt x="851" y="545"/>
                  <a:pt x="851" y="545"/>
                </a:cubicBezTo>
                <a:cubicBezTo>
                  <a:pt x="853" y="543"/>
                  <a:pt x="853" y="543"/>
                  <a:pt x="853" y="543"/>
                </a:cubicBezTo>
                <a:cubicBezTo>
                  <a:pt x="854" y="543"/>
                  <a:pt x="854" y="543"/>
                  <a:pt x="854" y="543"/>
                </a:cubicBezTo>
                <a:cubicBezTo>
                  <a:pt x="854" y="542"/>
                  <a:pt x="854" y="542"/>
                  <a:pt x="854" y="542"/>
                </a:cubicBezTo>
                <a:cubicBezTo>
                  <a:pt x="853" y="542"/>
                  <a:pt x="853" y="542"/>
                  <a:pt x="853" y="542"/>
                </a:cubicBezTo>
                <a:cubicBezTo>
                  <a:pt x="851" y="544"/>
                  <a:pt x="851" y="544"/>
                  <a:pt x="851" y="544"/>
                </a:cubicBezTo>
                <a:cubicBezTo>
                  <a:pt x="850" y="545"/>
                  <a:pt x="850" y="545"/>
                  <a:pt x="850" y="545"/>
                </a:cubicBezTo>
                <a:cubicBezTo>
                  <a:pt x="849" y="546"/>
                  <a:pt x="849" y="546"/>
                  <a:pt x="849" y="546"/>
                </a:cubicBezTo>
                <a:cubicBezTo>
                  <a:pt x="846" y="548"/>
                  <a:pt x="846" y="548"/>
                  <a:pt x="846" y="548"/>
                </a:cubicBezTo>
                <a:cubicBezTo>
                  <a:pt x="844" y="548"/>
                  <a:pt x="844" y="548"/>
                  <a:pt x="844" y="548"/>
                </a:cubicBezTo>
                <a:cubicBezTo>
                  <a:pt x="841" y="550"/>
                  <a:pt x="841" y="550"/>
                  <a:pt x="841" y="550"/>
                </a:cubicBezTo>
                <a:cubicBezTo>
                  <a:pt x="839" y="550"/>
                  <a:pt x="839" y="550"/>
                  <a:pt x="839" y="550"/>
                </a:cubicBezTo>
                <a:cubicBezTo>
                  <a:pt x="837" y="550"/>
                  <a:pt x="837" y="550"/>
                  <a:pt x="837" y="550"/>
                </a:cubicBezTo>
                <a:cubicBezTo>
                  <a:pt x="837" y="549"/>
                  <a:pt x="837" y="549"/>
                  <a:pt x="837" y="549"/>
                </a:cubicBezTo>
                <a:cubicBezTo>
                  <a:pt x="841" y="545"/>
                  <a:pt x="841" y="545"/>
                  <a:pt x="841" y="545"/>
                </a:cubicBezTo>
                <a:cubicBezTo>
                  <a:pt x="843" y="544"/>
                  <a:pt x="843" y="544"/>
                  <a:pt x="843" y="544"/>
                </a:cubicBezTo>
                <a:cubicBezTo>
                  <a:pt x="844" y="543"/>
                  <a:pt x="844" y="543"/>
                  <a:pt x="844" y="543"/>
                </a:cubicBezTo>
                <a:cubicBezTo>
                  <a:pt x="845" y="542"/>
                  <a:pt x="845" y="542"/>
                  <a:pt x="845" y="542"/>
                </a:cubicBezTo>
                <a:cubicBezTo>
                  <a:pt x="844" y="540"/>
                  <a:pt x="844" y="540"/>
                  <a:pt x="844" y="540"/>
                </a:cubicBezTo>
                <a:cubicBezTo>
                  <a:pt x="843" y="543"/>
                  <a:pt x="843" y="543"/>
                  <a:pt x="843" y="543"/>
                </a:cubicBezTo>
                <a:cubicBezTo>
                  <a:pt x="838" y="545"/>
                  <a:pt x="838" y="545"/>
                  <a:pt x="838" y="545"/>
                </a:cubicBezTo>
                <a:cubicBezTo>
                  <a:pt x="837" y="546"/>
                  <a:pt x="837" y="546"/>
                  <a:pt x="837" y="546"/>
                </a:cubicBezTo>
                <a:cubicBezTo>
                  <a:pt x="835" y="546"/>
                  <a:pt x="835" y="546"/>
                  <a:pt x="835" y="546"/>
                </a:cubicBezTo>
                <a:cubicBezTo>
                  <a:pt x="835" y="545"/>
                  <a:pt x="835" y="545"/>
                  <a:pt x="835" y="545"/>
                </a:cubicBezTo>
                <a:cubicBezTo>
                  <a:pt x="835" y="543"/>
                  <a:pt x="835" y="543"/>
                  <a:pt x="835" y="543"/>
                </a:cubicBezTo>
                <a:cubicBezTo>
                  <a:pt x="835" y="542"/>
                  <a:pt x="835" y="542"/>
                  <a:pt x="835" y="542"/>
                </a:cubicBezTo>
                <a:cubicBezTo>
                  <a:pt x="833" y="543"/>
                  <a:pt x="833" y="543"/>
                  <a:pt x="833" y="543"/>
                </a:cubicBezTo>
                <a:cubicBezTo>
                  <a:pt x="832" y="542"/>
                  <a:pt x="832" y="542"/>
                  <a:pt x="832" y="542"/>
                </a:cubicBezTo>
                <a:cubicBezTo>
                  <a:pt x="833" y="541"/>
                  <a:pt x="833" y="541"/>
                  <a:pt x="833" y="541"/>
                </a:cubicBezTo>
                <a:cubicBezTo>
                  <a:pt x="834" y="541"/>
                  <a:pt x="834" y="541"/>
                  <a:pt x="834" y="541"/>
                </a:cubicBezTo>
                <a:cubicBezTo>
                  <a:pt x="834" y="540"/>
                  <a:pt x="834" y="540"/>
                  <a:pt x="834" y="540"/>
                </a:cubicBezTo>
                <a:cubicBezTo>
                  <a:pt x="833" y="539"/>
                  <a:pt x="833" y="539"/>
                  <a:pt x="833" y="539"/>
                </a:cubicBezTo>
                <a:cubicBezTo>
                  <a:pt x="832" y="539"/>
                  <a:pt x="832" y="539"/>
                  <a:pt x="832" y="539"/>
                </a:cubicBezTo>
                <a:cubicBezTo>
                  <a:pt x="832" y="538"/>
                  <a:pt x="832" y="538"/>
                  <a:pt x="832" y="538"/>
                </a:cubicBezTo>
                <a:cubicBezTo>
                  <a:pt x="832" y="536"/>
                  <a:pt x="832" y="536"/>
                  <a:pt x="832" y="536"/>
                </a:cubicBezTo>
                <a:cubicBezTo>
                  <a:pt x="833" y="536"/>
                  <a:pt x="833" y="536"/>
                  <a:pt x="833" y="536"/>
                </a:cubicBezTo>
                <a:cubicBezTo>
                  <a:pt x="833" y="534"/>
                  <a:pt x="833" y="534"/>
                  <a:pt x="833" y="534"/>
                </a:cubicBezTo>
                <a:cubicBezTo>
                  <a:pt x="831" y="534"/>
                  <a:pt x="831" y="534"/>
                  <a:pt x="831" y="534"/>
                </a:cubicBezTo>
                <a:cubicBezTo>
                  <a:pt x="831" y="532"/>
                  <a:pt x="831" y="532"/>
                  <a:pt x="831" y="532"/>
                </a:cubicBezTo>
                <a:cubicBezTo>
                  <a:pt x="830" y="532"/>
                  <a:pt x="830" y="532"/>
                  <a:pt x="830" y="532"/>
                </a:cubicBezTo>
                <a:cubicBezTo>
                  <a:pt x="830" y="534"/>
                  <a:pt x="830" y="534"/>
                  <a:pt x="830" y="534"/>
                </a:cubicBezTo>
                <a:cubicBezTo>
                  <a:pt x="830" y="535"/>
                  <a:pt x="830" y="535"/>
                  <a:pt x="830" y="535"/>
                </a:cubicBezTo>
                <a:cubicBezTo>
                  <a:pt x="829" y="536"/>
                  <a:pt x="829" y="536"/>
                  <a:pt x="829" y="536"/>
                </a:cubicBezTo>
                <a:cubicBezTo>
                  <a:pt x="827" y="535"/>
                  <a:pt x="827" y="535"/>
                  <a:pt x="827" y="535"/>
                </a:cubicBezTo>
                <a:cubicBezTo>
                  <a:pt x="826" y="534"/>
                  <a:pt x="826" y="534"/>
                  <a:pt x="826" y="534"/>
                </a:cubicBezTo>
                <a:cubicBezTo>
                  <a:pt x="824" y="534"/>
                  <a:pt x="824" y="534"/>
                  <a:pt x="824" y="534"/>
                </a:cubicBezTo>
                <a:cubicBezTo>
                  <a:pt x="826" y="535"/>
                  <a:pt x="826" y="535"/>
                  <a:pt x="826" y="535"/>
                </a:cubicBezTo>
                <a:cubicBezTo>
                  <a:pt x="828" y="538"/>
                  <a:pt x="828" y="538"/>
                  <a:pt x="828" y="538"/>
                </a:cubicBezTo>
                <a:cubicBezTo>
                  <a:pt x="828" y="540"/>
                  <a:pt x="828" y="540"/>
                  <a:pt x="828" y="540"/>
                </a:cubicBezTo>
                <a:cubicBezTo>
                  <a:pt x="827" y="539"/>
                  <a:pt x="827" y="539"/>
                  <a:pt x="827" y="539"/>
                </a:cubicBezTo>
                <a:cubicBezTo>
                  <a:pt x="826" y="540"/>
                  <a:pt x="826" y="540"/>
                  <a:pt x="826" y="540"/>
                </a:cubicBezTo>
                <a:cubicBezTo>
                  <a:pt x="826" y="541"/>
                  <a:pt x="826" y="541"/>
                  <a:pt x="826" y="541"/>
                </a:cubicBezTo>
                <a:cubicBezTo>
                  <a:pt x="825" y="541"/>
                  <a:pt x="825" y="541"/>
                  <a:pt x="825" y="541"/>
                </a:cubicBezTo>
                <a:cubicBezTo>
                  <a:pt x="824" y="539"/>
                  <a:pt x="824" y="539"/>
                  <a:pt x="824" y="539"/>
                </a:cubicBezTo>
                <a:cubicBezTo>
                  <a:pt x="823" y="537"/>
                  <a:pt x="823" y="537"/>
                  <a:pt x="823" y="537"/>
                </a:cubicBezTo>
                <a:cubicBezTo>
                  <a:pt x="822" y="536"/>
                  <a:pt x="822" y="536"/>
                  <a:pt x="822" y="536"/>
                </a:cubicBezTo>
                <a:cubicBezTo>
                  <a:pt x="821" y="537"/>
                  <a:pt x="821" y="537"/>
                  <a:pt x="821" y="537"/>
                </a:cubicBezTo>
                <a:cubicBezTo>
                  <a:pt x="823" y="538"/>
                  <a:pt x="823" y="538"/>
                  <a:pt x="823" y="538"/>
                </a:cubicBezTo>
                <a:cubicBezTo>
                  <a:pt x="823" y="540"/>
                  <a:pt x="823" y="540"/>
                  <a:pt x="823" y="540"/>
                </a:cubicBezTo>
                <a:cubicBezTo>
                  <a:pt x="822" y="542"/>
                  <a:pt x="822" y="542"/>
                  <a:pt x="822" y="542"/>
                </a:cubicBezTo>
                <a:cubicBezTo>
                  <a:pt x="824" y="542"/>
                  <a:pt x="824" y="542"/>
                  <a:pt x="824" y="542"/>
                </a:cubicBezTo>
                <a:cubicBezTo>
                  <a:pt x="825" y="544"/>
                  <a:pt x="825" y="544"/>
                  <a:pt x="825" y="544"/>
                </a:cubicBezTo>
                <a:cubicBezTo>
                  <a:pt x="826" y="546"/>
                  <a:pt x="826" y="546"/>
                  <a:pt x="826" y="546"/>
                </a:cubicBezTo>
                <a:cubicBezTo>
                  <a:pt x="826" y="547"/>
                  <a:pt x="826" y="547"/>
                  <a:pt x="826" y="547"/>
                </a:cubicBezTo>
                <a:cubicBezTo>
                  <a:pt x="827" y="548"/>
                  <a:pt x="827" y="548"/>
                  <a:pt x="827" y="548"/>
                </a:cubicBezTo>
                <a:cubicBezTo>
                  <a:pt x="826" y="549"/>
                  <a:pt x="826" y="549"/>
                  <a:pt x="826" y="549"/>
                </a:cubicBezTo>
                <a:cubicBezTo>
                  <a:pt x="825" y="549"/>
                  <a:pt x="825" y="549"/>
                  <a:pt x="825" y="549"/>
                </a:cubicBezTo>
                <a:cubicBezTo>
                  <a:pt x="823" y="549"/>
                  <a:pt x="823" y="549"/>
                  <a:pt x="823" y="549"/>
                </a:cubicBezTo>
                <a:cubicBezTo>
                  <a:pt x="822" y="548"/>
                  <a:pt x="822" y="548"/>
                  <a:pt x="822" y="548"/>
                </a:cubicBezTo>
                <a:cubicBezTo>
                  <a:pt x="821" y="550"/>
                  <a:pt x="821" y="550"/>
                  <a:pt x="821" y="550"/>
                </a:cubicBezTo>
                <a:cubicBezTo>
                  <a:pt x="820" y="550"/>
                  <a:pt x="820" y="550"/>
                  <a:pt x="820" y="550"/>
                </a:cubicBezTo>
                <a:cubicBezTo>
                  <a:pt x="818" y="547"/>
                  <a:pt x="818" y="547"/>
                  <a:pt x="818" y="547"/>
                </a:cubicBezTo>
                <a:cubicBezTo>
                  <a:pt x="818" y="545"/>
                  <a:pt x="818" y="545"/>
                  <a:pt x="818" y="545"/>
                </a:cubicBezTo>
                <a:cubicBezTo>
                  <a:pt x="818" y="544"/>
                  <a:pt x="818" y="544"/>
                  <a:pt x="818" y="544"/>
                </a:cubicBezTo>
                <a:cubicBezTo>
                  <a:pt x="818" y="543"/>
                  <a:pt x="818" y="543"/>
                  <a:pt x="818" y="543"/>
                </a:cubicBezTo>
                <a:cubicBezTo>
                  <a:pt x="816" y="541"/>
                  <a:pt x="816" y="541"/>
                  <a:pt x="816" y="541"/>
                </a:cubicBezTo>
                <a:cubicBezTo>
                  <a:pt x="814" y="542"/>
                  <a:pt x="814" y="542"/>
                  <a:pt x="814" y="542"/>
                </a:cubicBezTo>
                <a:cubicBezTo>
                  <a:pt x="814" y="540"/>
                  <a:pt x="814" y="540"/>
                  <a:pt x="814" y="540"/>
                </a:cubicBezTo>
                <a:cubicBezTo>
                  <a:pt x="813" y="539"/>
                  <a:pt x="813" y="539"/>
                  <a:pt x="813" y="539"/>
                </a:cubicBezTo>
                <a:cubicBezTo>
                  <a:pt x="812" y="539"/>
                  <a:pt x="812" y="539"/>
                  <a:pt x="812" y="539"/>
                </a:cubicBezTo>
                <a:cubicBezTo>
                  <a:pt x="809" y="540"/>
                  <a:pt x="809" y="540"/>
                  <a:pt x="809" y="540"/>
                </a:cubicBezTo>
                <a:cubicBezTo>
                  <a:pt x="807" y="540"/>
                  <a:pt x="807" y="540"/>
                  <a:pt x="807" y="540"/>
                </a:cubicBezTo>
                <a:cubicBezTo>
                  <a:pt x="808" y="541"/>
                  <a:pt x="808" y="541"/>
                  <a:pt x="808" y="541"/>
                </a:cubicBezTo>
                <a:cubicBezTo>
                  <a:pt x="811" y="541"/>
                  <a:pt x="811" y="541"/>
                  <a:pt x="811" y="541"/>
                </a:cubicBezTo>
                <a:cubicBezTo>
                  <a:pt x="813" y="542"/>
                  <a:pt x="813" y="542"/>
                  <a:pt x="813" y="542"/>
                </a:cubicBezTo>
                <a:cubicBezTo>
                  <a:pt x="815" y="543"/>
                  <a:pt x="815" y="543"/>
                  <a:pt x="815" y="543"/>
                </a:cubicBezTo>
                <a:cubicBezTo>
                  <a:pt x="815" y="545"/>
                  <a:pt x="815" y="545"/>
                  <a:pt x="815" y="545"/>
                </a:cubicBezTo>
                <a:cubicBezTo>
                  <a:pt x="814" y="547"/>
                  <a:pt x="814" y="547"/>
                  <a:pt x="814" y="547"/>
                </a:cubicBezTo>
                <a:cubicBezTo>
                  <a:pt x="814" y="548"/>
                  <a:pt x="814" y="548"/>
                  <a:pt x="814" y="548"/>
                </a:cubicBezTo>
                <a:cubicBezTo>
                  <a:pt x="815" y="548"/>
                  <a:pt x="815" y="548"/>
                  <a:pt x="815" y="548"/>
                </a:cubicBezTo>
                <a:cubicBezTo>
                  <a:pt x="816" y="549"/>
                  <a:pt x="816" y="549"/>
                  <a:pt x="816" y="549"/>
                </a:cubicBezTo>
                <a:cubicBezTo>
                  <a:pt x="815" y="550"/>
                  <a:pt x="815" y="550"/>
                  <a:pt x="815" y="550"/>
                </a:cubicBezTo>
                <a:cubicBezTo>
                  <a:pt x="816" y="551"/>
                  <a:pt x="816" y="551"/>
                  <a:pt x="816" y="551"/>
                </a:cubicBezTo>
                <a:cubicBezTo>
                  <a:pt x="818" y="551"/>
                  <a:pt x="818" y="551"/>
                  <a:pt x="818" y="551"/>
                </a:cubicBezTo>
                <a:cubicBezTo>
                  <a:pt x="818" y="552"/>
                  <a:pt x="818" y="552"/>
                  <a:pt x="818" y="552"/>
                </a:cubicBezTo>
                <a:cubicBezTo>
                  <a:pt x="817" y="554"/>
                  <a:pt x="817" y="554"/>
                  <a:pt x="817" y="554"/>
                </a:cubicBezTo>
                <a:cubicBezTo>
                  <a:pt x="814" y="557"/>
                  <a:pt x="814" y="557"/>
                  <a:pt x="814" y="557"/>
                </a:cubicBezTo>
                <a:cubicBezTo>
                  <a:pt x="812" y="558"/>
                  <a:pt x="812" y="558"/>
                  <a:pt x="812" y="558"/>
                </a:cubicBezTo>
                <a:cubicBezTo>
                  <a:pt x="816" y="557"/>
                  <a:pt x="816" y="557"/>
                  <a:pt x="816" y="557"/>
                </a:cubicBezTo>
                <a:cubicBezTo>
                  <a:pt x="817" y="556"/>
                  <a:pt x="817" y="556"/>
                  <a:pt x="817" y="556"/>
                </a:cubicBezTo>
                <a:cubicBezTo>
                  <a:pt x="818" y="555"/>
                  <a:pt x="818" y="555"/>
                  <a:pt x="818" y="555"/>
                </a:cubicBezTo>
                <a:cubicBezTo>
                  <a:pt x="821" y="555"/>
                  <a:pt x="821" y="555"/>
                  <a:pt x="821" y="555"/>
                </a:cubicBezTo>
                <a:cubicBezTo>
                  <a:pt x="822" y="556"/>
                  <a:pt x="822" y="556"/>
                  <a:pt x="822" y="556"/>
                </a:cubicBezTo>
                <a:cubicBezTo>
                  <a:pt x="822" y="557"/>
                  <a:pt x="822" y="557"/>
                  <a:pt x="822" y="557"/>
                </a:cubicBezTo>
                <a:cubicBezTo>
                  <a:pt x="820" y="558"/>
                  <a:pt x="820" y="558"/>
                  <a:pt x="820" y="558"/>
                </a:cubicBezTo>
                <a:cubicBezTo>
                  <a:pt x="819" y="559"/>
                  <a:pt x="819" y="559"/>
                  <a:pt x="819" y="559"/>
                </a:cubicBezTo>
                <a:cubicBezTo>
                  <a:pt x="820" y="560"/>
                  <a:pt x="820" y="560"/>
                  <a:pt x="820" y="560"/>
                </a:cubicBezTo>
                <a:cubicBezTo>
                  <a:pt x="822" y="560"/>
                  <a:pt x="822" y="560"/>
                  <a:pt x="822" y="560"/>
                </a:cubicBezTo>
                <a:cubicBezTo>
                  <a:pt x="823" y="562"/>
                  <a:pt x="823" y="562"/>
                  <a:pt x="823" y="562"/>
                </a:cubicBezTo>
                <a:cubicBezTo>
                  <a:pt x="822" y="562"/>
                  <a:pt x="822" y="562"/>
                  <a:pt x="822" y="562"/>
                </a:cubicBezTo>
                <a:cubicBezTo>
                  <a:pt x="820" y="563"/>
                  <a:pt x="820" y="563"/>
                  <a:pt x="820" y="563"/>
                </a:cubicBezTo>
                <a:cubicBezTo>
                  <a:pt x="819" y="564"/>
                  <a:pt x="819" y="564"/>
                  <a:pt x="819" y="564"/>
                </a:cubicBezTo>
                <a:cubicBezTo>
                  <a:pt x="820" y="564"/>
                  <a:pt x="820" y="564"/>
                  <a:pt x="820" y="564"/>
                </a:cubicBezTo>
                <a:cubicBezTo>
                  <a:pt x="821" y="566"/>
                  <a:pt x="821" y="566"/>
                  <a:pt x="821" y="566"/>
                </a:cubicBezTo>
                <a:cubicBezTo>
                  <a:pt x="820" y="566"/>
                  <a:pt x="820" y="566"/>
                  <a:pt x="820" y="566"/>
                </a:cubicBezTo>
                <a:cubicBezTo>
                  <a:pt x="821" y="567"/>
                  <a:pt x="821" y="567"/>
                  <a:pt x="821" y="567"/>
                </a:cubicBezTo>
                <a:cubicBezTo>
                  <a:pt x="822" y="567"/>
                  <a:pt x="822" y="567"/>
                  <a:pt x="822" y="567"/>
                </a:cubicBezTo>
                <a:cubicBezTo>
                  <a:pt x="821" y="568"/>
                  <a:pt x="821" y="568"/>
                  <a:pt x="821" y="568"/>
                </a:cubicBezTo>
                <a:cubicBezTo>
                  <a:pt x="822" y="569"/>
                  <a:pt x="822" y="569"/>
                  <a:pt x="822" y="569"/>
                </a:cubicBezTo>
                <a:cubicBezTo>
                  <a:pt x="823" y="570"/>
                  <a:pt x="823" y="570"/>
                  <a:pt x="823" y="570"/>
                </a:cubicBezTo>
                <a:cubicBezTo>
                  <a:pt x="823" y="573"/>
                  <a:pt x="823" y="573"/>
                  <a:pt x="823" y="573"/>
                </a:cubicBezTo>
                <a:cubicBezTo>
                  <a:pt x="823" y="574"/>
                  <a:pt x="823" y="574"/>
                  <a:pt x="823" y="574"/>
                </a:cubicBezTo>
                <a:cubicBezTo>
                  <a:pt x="824" y="572"/>
                  <a:pt x="824" y="572"/>
                  <a:pt x="824" y="572"/>
                </a:cubicBezTo>
                <a:cubicBezTo>
                  <a:pt x="824" y="570"/>
                  <a:pt x="824" y="570"/>
                  <a:pt x="824" y="570"/>
                </a:cubicBezTo>
                <a:cubicBezTo>
                  <a:pt x="825" y="569"/>
                  <a:pt x="825" y="569"/>
                  <a:pt x="825" y="569"/>
                </a:cubicBezTo>
                <a:cubicBezTo>
                  <a:pt x="827" y="571"/>
                  <a:pt x="827" y="571"/>
                  <a:pt x="827" y="571"/>
                </a:cubicBezTo>
                <a:cubicBezTo>
                  <a:pt x="827" y="573"/>
                  <a:pt x="827" y="573"/>
                  <a:pt x="827" y="573"/>
                </a:cubicBezTo>
                <a:cubicBezTo>
                  <a:pt x="828" y="574"/>
                  <a:pt x="828" y="574"/>
                  <a:pt x="828" y="574"/>
                </a:cubicBezTo>
                <a:cubicBezTo>
                  <a:pt x="828" y="575"/>
                  <a:pt x="828" y="575"/>
                  <a:pt x="828" y="575"/>
                </a:cubicBezTo>
                <a:cubicBezTo>
                  <a:pt x="826" y="576"/>
                  <a:pt x="826" y="576"/>
                  <a:pt x="826" y="576"/>
                </a:cubicBezTo>
                <a:cubicBezTo>
                  <a:pt x="826" y="577"/>
                  <a:pt x="826" y="577"/>
                  <a:pt x="826" y="577"/>
                </a:cubicBezTo>
                <a:cubicBezTo>
                  <a:pt x="829" y="577"/>
                  <a:pt x="829" y="577"/>
                  <a:pt x="829" y="577"/>
                </a:cubicBezTo>
                <a:cubicBezTo>
                  <a:pt x="830" y="576"/>
                  <a:pt x="830" y="576"/>
                  <a:pt x="830" y="576"/>
                </a:cubicBezTo>
                <a:cubicBezTo>
                  <a:pt x="830" y="578"/>
                  <a:pt x="830" y="578"/>
                  <a:pt x="830" y="578"/>
                </a:cubicBezTo>
                <a:cubicBezTo>
                  <a:pt x="831" y="576"/>
                  <a:pt x="831" y="576"/>
                  <a:pt x="831" y="576"/>
                </a:cubicBezTo>
                <a:cubicBezTo>
                  <a:pt x="831" y="575"/>
                  <a:pt x="831" y="575"/>
                  <a:pt x="831" y="575"/>
                </a:cubicBezTo>
                <a:cubicBezTo>
                  <a:pt x="832" y="575"/>
                  <a:pt x="832" y="575"/>
                  <a:pt x="832" y="575"/>
                </a:cubicBezTo>
                <a:cubicBezTo>
                  <a:pt x="833" y="577"/>
                  <a:pt x="833" y="577"/>
                  <a:pt x="833" y="577"/>
                </a:cubicBezTo>
                <a:cubicBezTo>
                  <a:pt x="833" y="579"/>
                  <a:pt x="833" y="579"/>
                  <a:pt x="833" y="579"/>
                </a:cubicBezTo>
                <a:cubicBezTo>
                  <a:pt x="831" y="580"/>
                  <a:pt x="831" y="580"/>
                  <a:pt x="831" y="580"/>
                </a:cubicBezTo>
                <a:cubicBezTo>
                  <a:pt x="831" y="582"/>
                  <a:pt x="831" y="582"/>
                  <a:pt x="831" y="582"/>
                </a:cubicBezTo>
                <a:cubicBezTo>
                  <a:pt x="831" y="582"/>
                  <a:pt x="831" y="582"/>
                  <a:pt x="831" y="582"/>
                </a:cubicBezTo>
                <a:cubicBezTo>
                  <a:pt x="832" y="584"/>
                  <a:pt x="832" y="584"/>
                  <a:pt x="832" y="584"/>
                </a:cubicBezTo>
                <a:cubicBezTo>
                  <a:pt x="835" y="583"/>
                  <a:pt x="835" y="583"/>
                  <a:pt x="835" y="583"/>
                </a:cubicBezTo>
                <a:cubicBezTo>
                  <a:pt x="836" y="583"/>
                  <a:pt x="836" y="583"/>
                  <a:pt x="836" y="583"/>
                </a:cubicBezTo>
                <a:cubicBezTo>
                  <a:pt x="837" y="583"/>
                  <a:pt x="837" y="583"/>
                  <a:pt x="837" y="583"/>
                </a:cubicBezTo>
                <a:cubicBezTo>
                  <a:pt x="835" y="585"/>
                  <a:pt x="835" y="585"/>
                  <a:pt x="835" y="585"/>
                </a:cubicBezTo>
                <a:cubicBezTo>
                  <a:pt x="835" y="586"/>
                  <a:pt x="835" y="586"/>
                  <a:pt x="835" y="586"/>
                </a:cubicBezTo>
                <a:cubicBezTo>
                  <a:pt x="832" y="586"/>
                  <a:pt x="832" y="586"/>
                  <a:pt x="832" y="586"/>
                </a:cubicBezTo>
                <a:cubicBezTo>
                  <a:pt x="834" y="588"/>
                  <a:pt x="834" y="588"/>
                  <a:pt x="834" y="588"/>
                </a:cubicBezTo>
                <a:cubicBezTo>
                  <a:pt x="835" y="590"/>
                  <a:pt x="835" y="590"/>
                  <a:pt x="835" y="590"/>
                </a:cubicBezTo>
                <a:cubicBezTo>
                  <a:pt x="834" y="592"/>
                  <a:pt x="834" y="592"/>
                  <a:pt x="834" y="592"/>
                </a:cubicBezTo>
                <a:cubicBezTo>
                  <a:pt x="836" y="592"/>
                  <a:pt x="836" y="592"/>
                  <a:pt x="836" y="592"/>
                </a:cubicBezTo>
                <a:cubicBezTo>
                  <a:pt x="836" y="595"/>
                  <a:pt x="836" y="595"/>
                  <a:pt x="836" y="595"/>
                </a:cubicBezTo>
                <a:cubicBezTo>
                  <a:pt x="839" y="600"/>
                  <a:pt x="839" y="600"/>
                  <a:pt x="839" y="600"/>
                </a:cubicBezTo>
                <a:cubicBezTo>
                  <a:pt x="839" y="600"/>
                  <a:pt x="839" y="600"/>
                  <a:pt x="839" y="600"/>
                </a:cubicBezTo>
                <a:cubicBezTo>
                  <a:pt x="838" y="601"/>
                  <a:pt x="838" y="601"/>
                  <a:pt x="838" y="601"/>
                </a:cubicBezTo>
                <a:cubicBezTo>
                  <a:pt x="838" y="604"/>
                  <a:pt x="838" y="604"/>
                  <a:pt x="838" y="604"/>
                </a:cubicBezTo>
                <a:cubicBezTo>
                  <a:pt x="836" y="607"/>
                  <a:pt x="836" y="607"/>
                  <a:pt x="836" y="607"/>
                </a:cubicBezTo>
                <a:cubicBezTo>
                  <a:pt x="837" y="609"/>
                  <a:pt x="837" y="609"/>
                  <a:pt x="837" y="609"/>
                </a:cubicBezTo>
                <a:cubicBezTo>
                  <a:pt x="836" y="610"/>
                  <a:pt x="836" y="610"/>
                  <a:pt x="836" y="610"/>
                </a:cubicBezTo>
                <a:cubicBezTo>
                  <a:pt x="833" y="607"/>
                  <a:pt x="833" y="607"/>
                  <a:pt x="833" y="607"/>
                </a:cubicBezTo>
                <a:cubicBezTo>
                  <a:pt x="832" y="604"/>
                  <a:pt x="832" y="604"/>
                  <a:pt x="832" y="604"/>
                </a:cubicBezTo>
                <a:cubicBezTo>
                  <a:pt x="833" y="602"/>
                  <a:pt x="833" y="602"/>
                  <a:pt x="833" y="602"/>
                </a:cubicBezTo>
                <a:cubicBezTo>
                  <a:pt x="832" y="598"/>
                  <a:pt x="832" y="598"/>
                  <a:pt x="832" y="598"/>
                </a:cubicBezTo>
                <a:cubicBezTo>
                  <a:pt x="832" y="601"/>
                  <a:pt x="832" y="601"/>
                  <a:pt x="832" y="601"/>
                </a:cubicBezTo>
                <a:cubicBezTo>
                  <a:pt x="831" y="605"/>
                  <a:pt x="831" y="605"/>
                  <a:pt x="831" y="605"/>
                </a:cubicBezTo>
                <a:cubicBezTo>
                  <a:pt x="833" y="609"/>
                  <a:pt x="833" y="609"/>
                  <a:pt x="833" y="609"/>
                </a:cubicBezTo>
                <a:cubicBezTo>
                  <a:pt x="833" y="613"/>
                  <a:pt x="833" y="613"/>
                  <a:pt x="833" y="613"/>
                </a:cubicBezTo>
                <a:cubicBezTo>
                  <a:pt x="832" y="614"/>
                  <a:pt x="832" y="614"/>
                  <a:pt x="832" y="614"/>
                </a:cubicBezTo>
                <a:cubicBezTo>
                  <a:pt x="833" y="617"/>
                  <a:pt x="833" y="617"/>
                  <a:pt x="833" y="617"/>
                </a:cubicBezTo>
                <a:cubicBezTo>
                  <a:pt x="832" y="618"/>
                  <a:pt x="832" y="618"/>
                  <a:pt x="832" y="618"/>
                </a:cubicBezTo>
                <a:cubicBezTo>
                  <a:pt x="830" y="617"/>
                  <a:pt x="830" y="617"/>
                  <a:pt x="830" y="617"/>
                </a:cubicBezTo>
                <a:cubicBezTo>
                  <a:pt x="829" y="615"/>
                  <a:pt x="829" y="615"/>
                  <a:pt x="829" y="615"/>
                </a:cubicBezTo>
                <a:cubicBezTo>
                  <a:pt x="827" y="615"/>
                  <a:pt x="827" y="615"/>
                  <a:pt x="827" y="615"/>
                </a:cubicBezTo>
                <a:cubicBezTo>
                  <a:pt x="829" y="620"/>
                  <a:pt x="829" y="620"/>
                  <a:pt x="829" y="620"/>
                </a:cubicBezTo>
                <a:cubicBezTo>
                  <a:pt x="828" y="623"/>
                  <a:pt x="828" y="623"/>
                  <a:pt x="828" y="623"/>
                </a:cubicBezTo>
                <a:cubicBezTo>
                  <a:pt x="829" y="623"/>
                  <a:pt x="829" y="623"/>
                  <a:pt x="829" y="623"/>
                </a:cubicBezTo>
                <a:cubicBezTo>
                  <a:pt x="829" y="625"/>
                  <a:pt x="829" y="625"/>
                  <a:pt x="829" y="625"/>
                </a:cubicBezTo>
                <a:cubicBezTo>
                  <a:pt x="827" y="625"/>
                  <a:pt x="827" y="625"/>
                  <a:pt x="827" y="625"/>
                </a:cubicBezTo>
                <a:cubicBezTo>
                  <a:pt x="826" y="623"/>
                  <a:pt x="826" y="623"/>
                  <a:pt x="826" y="623"/>
                </a:cubicBezTo>
                <a:cubicBezTo>
                  <a:pt x="825" y="619"/>
                  <a:pt x="825" y="619"/>
                  <a:pt x="825" y="619"/>
                </a:cubicBezTo>
                <a:cubicBezTo>
                  <a:pt x="826" y="618"/>
                  <a:pt x="826" y="618"/>
                  <a:pt x="826" y="618"/>
                </a:cubicBezTo>
                <a:cubicBezTo>
                  <a:pt x="826" y="616"/>
                  <a:pt x="826" y="616"/>
                  <a:pt x="826" y="616"/>
                </a:cubicBezTo>
                <a:cubicBezTo>
                  <a:pt x="824" y="617"/>
                  <a:pt x="824" y="617"/>
                  <a:pt x="824" y="617"/>
                </a:cubicBezTo>
                <a:cubicBezTo>
                  <a:pt x="823" y="618"/>
                  <a:pt x="823" y="618"/>
                  <a:pt x="823" y="618"/>
                </a:cubicBezTo>
                <a:cubicBezTo>
                  <a:pt x="822" y="616"/>
                  <a:pt x="822" y="616"/>
                  <a:pt x="822" y="616"/>
                </a:cubicBezTo>
                <a:cubicBezTo>
                  <a:pt x="822" y="613"/>
                  <a:pt x="822" y="613"/>
                  <a:pt x="822" y="613"/>
                </a:cubicBezTo>
                <a:cubicBezTo>
                  <a:pt x="821" y="613"/>
                  <a:pt x="821" y="613"/>
                  <a:pt x="821" y="613"/>
                </a:cubicBezTo>
                <a:cubicBezTo>
                  <a:pt x="820" y="615"/>
                  <a:pt x="820" y="615"/>
                  <a:pt x="820" y="615"/>
                </a:cubicBezTo>
                <a:cubicBezTo>
                  <a:pt x="820" y="614"/>
                  <a:pt x="820" y="614"/>
                  <a:pt x="820" y="614"/>
                </a:cubicBezTo>
                <a:cubicBezTo>
                  <a:pt x="820" y="613"/>
                  <a:pt x="820" y="613"/>
                  <a:pt x="820" y="613"/>
                </a:cubicBezTo>
                <a:cubicBezTo>
                  <a:pt x="819" y="611"/>
                  <a:pt x="819" y="611"/>
                  <a:pt x="819" y="611"/>
                </a:cubicBezTo>
                <a:cubicBezTo>
                  <a:pt x="818" y="610"/>
                  <a:pt x="818" y="610"/>
                  <a:pt x="818" y="610"/>
                </a:cubicBezTo>
                <a:cubicBezTo>
                  <a:pt x="818" y="611"/>
                  <a:pt x="818" y="611"/>
                  <a:pt x="818" y="611"/>
                </a:cubicBezTo>
                <a:cubicBezTo>
                  <a:pt x="818" y="612"/>
                  <a:pt x="818" y="612"/>
                  <a:pt x="818" y="612"/>
                </a:cubicBezTo>
                <a:cubicBezTo>
                  <a:pt x="818" y="614"/>
                  <a:pt x="818" y="614"/>
                  <a:pt x="818" y="614"/>
                </a:cubicBezTo>
                <a:cubicBezTo>
                  <a:pt x="816" y="613"/>
                  <a:pt x="816" y="613"/>
                  <a:pt x="816" y="613"/>
                </a:cubicBezTo>
                <a:cubicBezTo>
                  <a:pt x="815" y="612"/>
                  <a:pt x="815" y="612"/>
                  <a:pt x="815" y="612"/>
                </a:cubicBezTo>
                <a:cubicBezTo>
                  <a:pt x="815" y="611"/>
                  <a:pt x="815" y="611"/>
                  <a:pt x="815" y="611"/>
                </a:cubicBezTo>
                <a:cubicBezTo>
                  <a:pt x="815" y="608"/>
                  <a:pt x="815" y="608"/>
                  <a:pt x="815" y="608"/>
                </a:cubicBezTo>
                <a:cubicBezTo>
                  <a:pt x="814" y="605"/>
                  <a:pt x="814" y="605"/>
                  <a:pt x="814" y="605"/>
                </a:cubicBezTo>
                <a:cubicBezTo>
                  <a:pt x="814" y="603"/>
                  <a:pt x="814" y="603"/>
                  <a:pt x="814" y="603"/>
                </a:cubicBezTo>
                <a:cubicBezTo>
                  <a:pt x="813" y="605"/>
                  <a:pt x="813" y="605"/>
                  <a:pt x="813" y="605"/>
                </a:cubicBezTo>
                <a:cubicBezTo>
                  <a:pt x="813" y="609"/>
                  <a:pt x="813" y="609"/>
                  <a:pt x="813" y="609"/>
                </a:cubicBezTo>
                <a:cubicBezTo>
                  <a:pt x="814" y="611"/>
                  <a:pt x="814" y="611"/>
                  <a:pt x="814" y="611"/>
                </a:cubicBezTo>
                <a:cubicBezTo>
                  <a:pt x="813" y="613"/>
                  <a:pt x="813" y="613"/>
                  <a:pt x="813" y="613"/>
                </a:cubicBezTo>
                <a:cubicBezTo>
                  <a:pt x="811" y="609"/>
                  <a:pt x="811" y="609"/>
                  <a:pt x="811" y="609"/>
                </a:cubicBezTo>
                <a:cubicBezTo>
                  <a:pt x="809" y="607"/>
                  <a:pt x="809" y="607"/>
                  <a:pt x="809" y="607"/>
                </a:cubicBezTo>
                <a:cubicBezTo>
                  <a:pt x="809" y="606"/>
                  <a:pt x="809" y="606"/>
                  <a:pt x="809" y="606"/>
                </a:cubicBezTo>
                <a:cubicBezTo>
                  <a:pt x="808" y="606"/>
                  <a:pt x="808" y="606"/>
                  <a:pt x="808" y="606"/>
                </a:cubicBezTo>
                <a:cubicBezTo>
                  <a:pt x="807" y="602"/>
                  <a:pt x="807" y="602"/>
                  <a:pt x="807" y="602"/>
                </a:cubicBezTo>
                <a:cubicBezTo>
                  <a:pt x="805" y="601"/>
                  <a:pt x="805" y="601"/>
                  <a:pt x="805" y="601"/>
                </a:cubicBezTo>
                <a:cubicBezTo>
                  <a:pt x="805" y="600"/>
                  <a:pt x="805" y="600"/>
                  <a:pt x="805" y="600"/>
                </a:cubicBezTo>
                <a:cubicBezTo>
                  <a:pt x="804" y="598"/>
                  <a:pt x="804" y="598"/>
                  <a:pt x="804" y="598"/>
                </a:cubicBezTo>
                <a:cubicBezTo>
                  <a:pt x="803" y="598"/>
                  <a:pt x="803" y="598"/>
                  <a:pt x="803" y="598"/>
                </a:cubicBezTo>
                <a:cubicBezTo>
                  <a:pt x="803" y="600"/>
                  <a:pt x="803" y="600"/>
                  <a:pt x="803" y="600"/>
                </a:cubicBezTo>
                <a:cubicBezTo>
                  <a:pt x="804" y="602"/>
                  <a:pt x="804" y="602"/>
                  <a:pt x="804" y="602"/>
                </a:cubicBezTo>
                <a:cubicBezTo>
                  <a:pt x="804" y="604"/>
                  <a:pt x="804" y="604"/>
                  <a:pt x="804" y="604"/>
                </a:cubicBezTo>
                <a:cubicBezTo>
                  <a:pt x="803" y="603"/>
                  <a:pt x="803" y="603"/>
                  <a:pt x="803" y="603"/>
                </a:cubicBezTo>
                <a:cubicBezTo>
                  <a:pt x="803" y="602"/>
                  <a:pt x="803" y="602"/>
                  <a:pt x="803" y="602"/>
                </a:cubicBezTo>
                <a:cubicBezTo>
                  <a:pt x="802" y="601"/>
                  <a:pt x="802" y="601"/>
                  <a:pt x="802" y="601"/>
                </a:cubicBezTo>
                <a:cubicBezTo>
                  <a:pt x="799" y="599"/>
                  <a:pt x="799" y="599"/>
                  <a:pt x="799" y="599"/>
                </a:cubicBezTo>
                <a:cubicBezTo>
                  <a:pt x="798" y="596"/>
                  <a:pt x="798" y="596"/>
                  <a:pt x="798" y="596"/>
                </a:cubicBezTo>
                <a:cubicBezTo>
                  <a:pt x="797" y="594"/>
                  <a:pt x="797" y="594"/>
                  <a:pt x="797" y="594"/>
                </a:cubicBezTo>
                <a:cubicBezTo>
                  <a:pt x="795" y="593"/>
                  <a:pt x="795" y="593"/>
                  <a:pt x="795" y="593"/>
                </a:cubicBezTo>
                <a:cubicBezTo>
                  <a:pt x="794" y="595"/>
                  <a:pt x="794" y="595"/>
                  <a:pt x="794" y="595"/>
                </a:cubicBezTo>
                <a:cubicBezTo>
                  <a:pt x="792" y="594"/>
                  <a:pt x="792" y="594"/>
                  <a:pt x="792" y="594"/>
                </a:cubicBezTo>
                <a:cubicBezTo>
                  <a:pt x="792" y="596"/>
                  <a:pt x="792" y="596"/>
                  <a:pt x="792" y="596"/>
                </a:cubicBezTo>
                <a:cubicBezTo>
                  <a:pt x="793" y="599"/>
                  <a:pt x="793" y="599"/>
                  <a:pt x="793" y="599"/>
                </a:cubicBezTo>
                <a:cubicBezTo>
                  <a:pt x="796" y="602"/>
                  <a:pt x="796" y="602"/>
                  <a:pt x="796" y="602"/>
                </a:cubicBezTo>
                <a:cubicBezTo>
                  <a:pt x="796" y="603"/>
                  <a:pt x="796" y="603"/>
                  <a:pt x="796" y="603"/>
                </a:cubicBezTo>
                <a:cubicBezTo>
                  <a:pt x="797" y="605"/>
                  <a:pt x="797" y="605"/>
                  <a:pt x="797" y="605"/>
                </a:cubicBezTo>
                <a:cubicBezTo>
                  <a:pt x="797" y="608"/>
                  <a:pt x="797" y="608"/>
                  <a:pt x="797" y="608"/>
                </a:cubicBezTo>
                <a:cubicBezTo>
                  <a:pt x="798" y="607"/>
                  <a:pt x="798" y="607"/>
                  <a:pt x="798" y="607"/>
                </a:cubicBezTo>
                <a:cubicBezTo>
                  <a:pt x="801" y="608"/>
                  <a:pt x="801" y="608"/>
                  <a:pt x="801" y="608"/>
                </a:cubicBezTo>
                <a:cubicBezTo>
                  <a:pt x="802" y="610"/>
                  <a:pt x="802" y="610"/>
                  <a:pt x="802" y="610"/>
                </a:cubicBezTo>
                <a:cubicBezTo>
                  <a:pt x="801" y="611"/>
                  <a:pt x="801" y="611"/>
                  <a:pt x="801" y="611"/>
                </a:cubicBezTo>
                <a:cubicBezTo>
                  <a:pt x="802" y="611"/>
                  <a:pt x="802" y="611"/>
                  <a:pt x="802" y="611"/>
                </a:cubicBezTo>
                <a:cubicBezTo>
                  <a:pt x="804" y="611"/>
                  <a:pt x="804" y="611"/>
                  <a:pt x="804" y="611"/>
                </a:cubicBezTo>
                <a:cubicBezTo>
                  <a:pt x="803" y="613"/>
                  <a:pt x="803" y="613"/>
                  <a:pt x="803" y="613"/>
                </a:cubicBezTo>
                <a:cubicBezTo>
                  <a:pt x="805" y="613"/>
                  <a:pt x="805" y="613"/>
                  <a:pt x="805" y="613"/>
                </a:cubicBezTo>
                <a:cubicBezTo>
                  <a:pt x="806" y="615"/>
                  <a:pt x="806" y="615"/>
                  <a:pt x="806" y="615"/>
                </a:cubicBezTo>
                <a:cubicBezTo>
                  <a:pt x="807" y="617"/>
                  <a:pt x="807" y="617"/>
                  <a:pt x="807" y="617"/>
                </a:cubicBezTo>
                <a:cubicBezTo>
                  <a:pt x="807" y="619"/>
                  <a:pt x="807" y="619"/>
                  <a:pt x="807" y="619"/>
                </a:cubicBezTo>
                <a:cubicBezTo>
                  <a:pt x="808" y="619"/>
                  <a:pt x="808" y="619"/>
                  <a:pt x="808" y="619"/>
                </a:cubicBezTo>
                <a:cubicBezTo>
                  <a:pt x="810" y="620"/>
                  <a:pt x="810" y="620"/>
                  <a:pt x="810" y="620"/>
                </a:cubicBezTo>
                <a:cubicBezTo>
                  <a:pt x="810" y="622"/>
                  <a:pt x="810" y="622"/>
                  <a:pt x="810" y="622"/>
                </a:cubicBezTo>
                <a:cubicBezTo>
                  <a:pt x="808" y="624"/>
                  <a:pt x="808" y="624"/>
                  <a:pt x="808" y="624"/>
                </a:cubicBezTo>
                <a:cubicBezTo>
                  <a:pt x="810" y="624"/>
                  <a:pt x="810" y="624"/>
                  <a:pt x="810" y="624"/>
                </a:cubicBezTo>
                <a:cubicBezTo>
                  <a:pt x="810" y="626"/>
                  <a:pt x="810" y="626"/>
                  <a:pt x="810" y="626"/>
                </a:cubicBezTo>
                <a:cubicBezTo>
                  <a:pt x="810" y="627"/>
                  <a:pt x="810" y="627"/>
                  <a:pt x="810" y="627"/>
                </a:cubicBezTo>
                <a:cubicBezTo>
                  <a:pt x="812" y="625"/>
                  <a:pt x="812" y="625"/>
                  <a:pt x="812" y="625"/>
                </a:cubicBezTo>
                <a:cubicBezTo>
                  <a:pt x="813" y="626"/>
                  <a:pt x="813" y="626"/>
                  <a:pt x="813" y="626"/>
                </a:cubicBezTo>
                <a:cubicBezTo>
                  <a:pt x="813" y="628"/>
                  <a:pt x="813" y="628"/>
                  <a:pt x="813" y="628"/>
                </a:cubicBezTo>
                <a:cubicBezTo>
                  <a:pt x="813" y="629"/>
                  <a:pt x="813" y="629"/>
                  <a:pt x="813" y="629"/>
                </a:cubicBezTo>
                <a:cubicBezTo>
                  <a:pt x="814" y="629"/>
                  <a:pt x="814" y="629"/>
                  <a:pt x="814" y="629"/>
                </a:cubicBezTo>
                <a:cubicBezTo>
                  <a:pt x="815" y="630"/>
                  <a:pt x="815" y="630"/>
                  <a:pt x="815" y="630"/>
                </a:cubicBezTo>
                <a:cubicBezTo>
                  <a:pt x="814" y="631"/>
                  <a:pt x="814" y="631"/>
                  <a:pt x="814" y="631"/>
                </a:cubicBezTo>
                <a:cubicBezTo>
                  <a:pt x="813" y="631"/>
                  <a:pt x="813" y="631"/>
                  <a:pt x="813" y="631"/>
                </a:cubicBezTo>
                <a:cubicBezTo>
                  <a:pt x="812" y="632"/>
                  <a:pt x="812" y="632"/>
                  <a:pt x="812" y="632"/>
                </a:cubicBezTo>
                <a:cubicBezTo>
                  <a:pt x="813" y="634"/>
                  <a:pt x="813" y="634"/>
                  <a:pt x="813" y="634"/>
                </a:cubicBezTo>
                <a:cubicBezTo>
                  <a:pt x="814" y="635"/>
                  <a:pt x="814" y="635"/>
                  <a:pt x="814" y="635"/>
                </a:cubicBezTo>
                <a:cubicBezTo>
                  <a:pt x="814" y="637"/>
                  <a:pt x="814" y="637"/>
                  <a:pt x="814" y="637"/>
                </a:cubicBezTo>
                <a:cubicBezTo>
                  <a:pt x="813" y="637"/>
                  <a:pt x="813" y="637"/>
                  <a:pt x="813" y="637"/>
                </a:cubicBezTo>
                <a:close/>
                <a:moveTo>
                  <a:pt x="609" y="577"/>
                </a:moveTo>
                <a:cubicBezTo>
                  <a:pt x="609" y="577"/>
                  <a:pt x="610" y="577"/>
                  <a:pt x="610" y="577"/>
                </a:cubicBezTo>
                <a:cubicBezTo>
                  <a:pt x="611" y="575"/>
                  <a:pt x="611" y="575"/>
                  <a:pt x="611" y="575"/>
                </a:cubicBezTo>
                <a:cubicBezTo>
                  <a:pt x="612" y="574"/>
                  <a:pt x="612" y="574"/>
                  <a:pt x="612" y="574"/>
                </a:cubicBezTo>
                <a:cubicBezTo>
                  <a:pt x="613" y="575"/>
                  <a:pt x="613" y="575"/>
                  <a:pt x="613" y="575"/>
                </a:cubicBezTo>
                <a:cubicBezTo>
                  <a:pt x="614" y="576"/>
                  <a:pt x="614" y="576"/>
                  <a:pt x="614" y="576"/>
                </a:cubicBezTo>
                <a:cubicBezTo>
                  <a:pt x="616" y="576"/>
                  <a:pt x="616" y="576"/>
                  <a:pt x="616" y="576"/>
                </a:cubicBezTo>
                <a:cubicBezTo>
                  <a:pt x="617" y="575"/>
                  <a:pt x="617" y="575"/>
                  <a:pt x="617" y="575"/>
                </a:cubicBezTo>
                <a:cubicBezTo>
                  <a:pt x="618" y="575"/>
                  <a:pt x="618" y="575"/>
                  <a:pt x="618" y="575"/>
                </a:cubicBezTo>
                <a:cubicBezTo>
                  <a:pt x="620" y="576"/>
                  <a:pt x="620" y="576"/>
                  <a:pt x="620" y="576"/>
                </a:cubicBezTo>
                <a:cubicBezTo>
                  <a:pt x="620" y="578"/>
                  <a:pt x="620" y="578"/>
                  <a:pt x="620" y="578"/>
                </a:cubicBezTo>
                <a:cubicBezTo>
                  <a:pt x="618" y="580"/>
                  <a:pt x="618" y="580"/>
                  <a:pt x="618" y="580"/>
                </a:cubicBezTo>
                <a:cubicBezTo>
                  <a:pt x="619" y="582"/>
                  <a:pt x="619" y="582"/>
                  <a:pt x="619" y="582"/>
                </a:cubicBezTo>
                <a:cubicBezTo>
                  <a:pt x="617" y="584"/>
                  <a:pt x="617" y="584"/>
                  <a:pt x="617" y="584"/>
                </a:cubicBezTo>
                <a:cubicBezTo>
                  <a:pt x="617" y="587"/>
                  <a:pt x="617" y="587"/>
                  <a:pt x="617" y="587"/>
                </a:cubicBezTo>
                <a:cubicBezTo>
                  <a:pt x="618" y="588"/>
                  <a:pt x="618" y="588"/>
                  <a:pt x="618" y="588"/>
                </a:cubicBezTo>
                <a:cubicBezTo>
                  <a:pt x="619" y="588"/>
                  <a:pt x="619" y="588"/>
                  <a:pt x="619" y="588"/>
                </a:cubicBezTo>
                <a:cubicBezTo>
                  <a:pt x="620" y="588"/>
                  <a:pt x="620" y="588"/>
                  <a:pt x="620" y="588"/>
                </a:cubicBezTo>
                <a:cubicBezTo>
                  <a:pt x="622" y="588"/>
                  <a:pt x="622" y="588"/>
                  <a:pt x="622" y="588"/>
                </a:cubicBezTo>
                <a:cubicBezTo>
                  <a:pt x="623" y="587"/>
                  <a:pt x="623" y="587"/>
                  <a:pt x="623" y="587"/>
                </a:cubicBezTo>
                <a:cubicBezTo>
                  <a:pt x="625" y="587"/>
                  <a:pt x="625" y="587"/>
                  <a:pt x="625" y="587"/>
                </a:cubicBezTo>
                <a:cubicBezTo>
                  <a:pt x="626" y="586"/>
                  <a:pt x="626" y="586"/>
                  <a:pt x="626" y="586"/>
                </a:cubicBezTo>
                <a:cubicBezTo>
                  <a:pt x="627" y="585"/>
                  <a:pt x="627" y="585"/>
                  <a:pt x="627" y="585"/>
                </a:cubicBezTo>
                <a:cubicBezTo>
                  <a:pt x="629" y="585"/>
                  <a:pt x="629" y="585"/>
                  <a:pt x="629" y="585"/>
                </a:cubicBezTo>
                <a:cubicBezTo>
                  <a:pt x="631" y="584"/>
                  <a:pt x="631" y="584"/>
                  <a:pt x="631" y="584"/>
                </a:cubicBezTo>
                <a:cubicBezTo>
                  <a:pt x="632" y="581"/>
                  <a:pt x="632" y="581"/>
                  <a:pt x="632" y="581"/>
                </a:cubicBezTo>
                <a:cubicBezTo>
                  <a:pt x="633" y="580"/>
                  <a:pt x="633" y="580"/>
                  <a:pt x="633" y="580"/>
                </a:cubicBezTo>
                <a:cubicBezTo>
                  <a:pt x="635" y="578"/>
                  <a:pt x="635" y="578"/>
                  <a:pt x="635" y="578"/>
                </a:cubicBezTo>
                <a:cubicBezTo>
                  <a:pt x="636" y="578"/>
                  <a:pt x="636" y="578"/>
                  <a:pt x="636" y="578"/>
                </a:cubicBezTo>
                <a:cubicBezTo>
                  <a:pt x="637" y="579"/>
                  <a:pt x="637" y="579"/>
                  <a:pt x="637" y="579"/>
                </a:cubicBezTo>
                <a:cubicBezTo>
                  <a:pt x="639" y="577"/>
                  <a:pt x="639" y="577"/>
                  <a:pt x="639" y="577"/>
                </a:cubicBezTo>
                <a:cubicBezTo>
                  <a:pt x="640" y="577"/>
                  <a:pt x="640" y="577"/>
                  <a:pt x="640" y="577"/>
                </a:cubicBezTo>
                <a:cubicBezTo>
                  <a:pt x="641" y="577"/>
                  <a:pt x="641" y="577"/>
                  <a:pt x="641" y="577"/>
                </a:cubicBezTo>
                <a:cubicBezTo>
                  <a:pt x="642" y="574"/>
                  <a:pt x="642" y="574"/>
                  <a:pt x="642" y="574"/>
                </a:cubicBezTo>
                <a:cubicBezTo>
                  <a:pt x="642" y="571"/>
                  <a:pt x="642" y="571"/>
                  <a:pt x="642" y="571"/>
                </a:cubicBezTo>
                <a:cubicBezTo>
                  <a:pt x="644" y="569"/>
                  <a:pt x="644" y="569"/>
                  <a:pt x="644" y="569"/>
                </a:cubicBezTo>
                <a:cubicBezTo>
                  <a:pt x="645" y="568"/>
                  <a:pt x="645" y="568"/>
                  <a:pt x="645" y="568"/>
                </a:cubicBezTo>
                <a:cubicBezTo>
                  <a:pt x="646" y="568"/>
                  <a:pt x="646" y="568"/>
                  <a:pt x="646" y="568"/>
                </a:cubicBezTo>
                <a:cubicBezTo>
                  <a:pt x="647" y="569"/>
                  <a:pt x="647" y="569"/>
                  <a:pt x="647" y="569"/>
                </a:cubicBezTo>
                <a:cubicBezTo>
                  <a:pt x="648" y="568"/>
                  <a:pt x="648" y="568"/>
                  <a:pt x="648" y="568"/>
                </a:cubicBezTo>
                <a:cubicBezTo>
                  <a:pt x="650" y="567"/>
                  <a:pt x="650" y="567"/>
                  <a:pt x="650" y="567"/>
                </a:cubicBezTo>
                <a:cubicBezTo>
                  <a:pt x="651" y="568"/>
                  <a:pt x="651" y="568"/>
                  <a:pt x="651" y="568"/>
                </a:cubicBezTo>
                <a:cubicBezTo>
                  <a:pt x="651" y="570"/>
                  <a:pt x="651" y="570"/>
                  <a:pt x="651" y="570"/>
                </a:cubicBezTo>
                <a:cubicBezTo>
                  <a:pt x="650" y="571"/>
                  <a:pt x="650" y="571"/>
                  <a:pt x="650" y="571"/>
                </a:cubicBezTo>
                <a:cubicBezTo>
                  <a:pt x="649" y="572"/>
                  <a:pt x="649" y="572"/>
                  <a:pt x="649" y="572"/>
                </a:cubicBezTo>
                <a:cubicBezTo>
                  <a:pt x="651" y="573"/>
                  <a:pt x="651" y="573"/>
                  <a:pt x="651" y="573"/>
                </a:cubicBezTo>
                <a:cubicBezTo>
                  <a:pt x="654" y="573"/>
                  <a:pt x="654" y="573"/>
                  <a:pt x="654" y="573"/>
                </a:cubicBezTo>
                <a:cubicBezTo>
                  <a:pt x="656" y="574"/>
                  <a:pt x="656" y="574"/>
                  <a:pt x="656" y="574"/>
                </a:cubicBezTo>
                <a:cubicBezTo>
                  <a:pt x="656" y="576"/>
                  <a:pt x="656" y="576"/>
                  <a:pt x="656" y="576"/>
                </a:cubicBezTo>
                <a:cubicBezTo>
                  <a:pt x="655" y="578"/>
                  <a:pt x="655" y="578"/>
                  <a:pt x="655" y="578"/>
                </a:cubicBezTo>
                <a:cubicBezTo>
                  <a:pt x="653" y="578"/>
                  <a:pt x="653" y="578"/>
                  <a:pt x="653" y="578"/>
                </a:cubicBezTo>
                <a:cubicBezTo>
                  <a:pt x="653" y="581"/>
                  <a:pt x="653" y="581"/>
                  <a:pt x="653" y="581"/>
                </a:cubicBezTo>
                <a:cubicBezTo>
                  <a:pt x="655" y="582"/>
                  <a:pt x="655" y="582"/>
                  <a:pt x="655" y="582"/>
                </a:cubicBezTo>
                <a:cubicBezTo>
                  <a:pt x="656" y="581"/>
                  <a:pt x="656" y="581"/>
                  <a:pt x="656" y="581"/>
                </a:cubicBezTo>
                <a:cubicBezTo>
                  <a:pt x="657" y="581"/>
                  <a:pt x="657" y="581"/>
                  <a:pt x="657" y="581"/>
                </a:cubicBezTo>
                <a:cubicBezTo>
                  <a:pt x="658" y="582"/>
                  <a:pt x="658" y="582"/>
                  <a:pt x="658" y="582"/>
                </a:cubicBezTo>
                <a:cubicBezTo>
                  <a:pt x="659" y="582"/>
                  <a:pt x="659" y="582"/>
                  <a:pt x="659" y="582"/>
                </a:cubicBezTo>
                <a:cubicBezTo>
                  <a:pt x="660" y="583"/>
                  <a:pt x="660" y="583"/>
                  <a:pt x="660" y="583"/>
                </a:cubicBezTo>
                <a:cubicBezTo>
                  <a:pt x="662" y="583"/>
                  <a:pt x="662" y="583"/>
                  <a:pt x="662" y="583"/>
                </a:cubicBezTo>
                <a:cubicBezTo>
                  <a:pt x="664" y="585"/>
                  <a:pt x="664" y="585"/>
                  <a:pt x="664" y="585"/>
                </a:cubicBezTo>
                <a:cubicBezTo>
                  <a:pt x="665" y="585"/>
                  <a:pt x="665" y="585"/>
                  <a:pt x="665" y="585"/>
                </a:cubicBezTo>
                <a:cubicBezTo>
                  <a:pt x="668" y="586"/>
                  <a:pt x="668" y="586"/>
                  <a:pt x="668" y="586"/>
                </a:cubicBezTo>
                <a:cubicBezTo>
                  <a:pt x="669" y="586"/>
                  <a:pt x="669" y="586"/>
                  <a:pt x="669" y="586"/>
                </a:cubicBezTo>
                <a:cubicBezTo>
                  <a:pt x="670" y="583"/>
                  <a:pt x="670" y="583"/>
                  <a:pt x="670" y="583"/>
                </a:cubicBezTo>
                <a:cubicBezTo>
                  <a:pt x="672" y="583"/>
                  <a:pt x="672" y="583"/>
                  <a:pt x="672" y="583"/>
                </a:cubicBezTo>
                <a:cubicBezTo>
                  <a:pt x="674" y="581"/>
                  <a:pt x="674" y="581"/>
                  <a:pt x="674" y="581"/>
                </a:cubicBezTo>
                <a:cubicBezTo>
                  <a:pt x="676" y="580"/>
                  <a:pt x="676" y="580"/>
                  <a:pt x="676" y="580"/>
                </a:cubicBezTo>
                <a:cubicBezTo>
                  <a:pt x="676" y="579"/>
                  <a:pt x="676" y="579"/>
                  <a:pt x="676" y="579"/>
                </a:cubicBezTo>
                <a:cubicBezTo>
                  <a:pt x="675" y="579"/>
                  <a:pt x="675" y="579"/>
                  <a:pt x="675" y="579"/>
                </a:cubicBezTo>
                <a:cubicBezTo>
                  <a:pt x="673" y="577"/>
                  <a:pt x="673" y="577"/>
                  <a:pt x="673" y="577"/>
                </a:cubicBezTo>
                <a:cubicBezTo>
                  <a:pt x="675" y="577"/>
                  <a:pt x="675" y="577"/>
                  <a:pt x="675" y="577"/>
                </a:cubicBezTo>
                <a:cubicBezTo>
                  <a:pt x="676" y="575"/>
                  <a:pt x="676" y="575"/>
                  <a:pt x="676" y="575"/>
                </a:cubicBezTo>
                <a:cubicBezTo>
                  <a:pt x="674" y="575"/>
                  <a:pt x="674" y="575"/>
                  <a:pt x="674" y="575"/>
                </a:cubicBezTo>
                <a:cubicBezTo>
                  <a:pt x="673" y="573"/>
                  <a:pt x="673" y="573"/>
                  <a:pt x="673" y="573"/>
                </a:cubicBezTo>
                <a:cubicBezTo>
                  <a:pt x="672" y="573"/>
                  <a:pt x="672" y="573"/>
                  <a:pt x="672" y="573"/>
                </a:cubicBezTo>
                <a:cubicBezTo>
                  <a:pt x="672" y="575"/>
                  <a:pt x="672" y="575"/>
                  <a:pt x="672" y="575"/>
                </a:cubicBezTo>
                <a:cubicBezTo>
                  <a:pt x="672" y="575"/>
                  <a:pt x="672" y="575"/>
                  <a:pt x="672" y="575"/>
                </a:cubicBezTo>
                <a:cubicBezTo>
                  <a:pt x="671" y="575"/>
                  <a:pt x="671" y="575"/>
                  <a:pt x="671" y="575"/>
                </a:cubicBezTo>
                <a:cubicBezTo>
                  <a:pt x="668" y="574"/>
                  <a:pt x="668" y="574"/>
                  <a:pt x="668" y="574"/>
                </a:cubicBezTo>
                <a:cubicBezTo>
                  <a:pt x="668" y="572"/>
                  <a:pt x="668" y="572"/>
                  <a:pt x="668" y="572"/>
                </a:cubicBezTo>
                <a:cubicBezTo>
                  <a:pt x="667" y="573"/>
                  <a:pt x="667" y="573"/>
                  <a:pt x="667" y="573"/>
                </a:cubicBezTo>
                <a:cubicBezTo>
                  <a:pt x="666" y="574"/>
                  <a:pt x="666" y="574"/>
                  <a:pt x="666" y="574"/>
                </a:cubicBezTo>
                <a:cubicBezTo>
                  <a:pt x="662" y="574"/>
                  <a:pt x="662" y="574"/>
                  <a:pt x="662" y="574"/>
                </a:cubicBezTo>
                <a:cubicBezTo>
                  <a:pt x="661" y="573"/>
                  <a:pt x="661" y="573"/>
                  <a:pt x="661" y="573"/>
                </a:cubicBezTo>
                <a:cubicBezTo>
                  <a:pt x="663" y="571"/>
                  <a:pt x="663" y="571"/>
                  <a:pt x="663" y="571"/>
                </a:cubicBezTo>
                <a:cubicBezTo>
                  <a:pt x="664" y="572"/>
                  <a:pt x="664" y="572"/>
                  <a:pt x="664" y="572"/>
                </a:cubicBezTo>
                <a:cubicBezTo>
                  <a:pt x="666" y="570"/>
                  <a:pt x="666" y="570"/>
                  <a:pt x="666" y="570"/>
                </a:cubicBezTo>
                <a:cubicBezTo>
                  <a:pt x="666" y="569"/>
                  <a:pt x="666" y="569"/>
                  <a:pt x="666" y="569"/>
                </a:cubicBezTo>
                <a:cubicBezTo>
                  <a:pt x="665" y="568"/>
                  <a:pt x="665" y="568"/>
                  <a:pt x="665" y="568"/>
                </a:cubicBezTo>
                <a:cubicBezTo>
                  <a:pt x="665" y="565"/>
                  <a:pt x="665" y="565"/>
                  <a:pt x="665" y="565"/>
                </a:cubicBezTo>
                <a:cubicBezTo>
                  <a:pt x="666" y="564"/>
                  <a:pt x="666" y="564"/>
                  <a:pt x="666" y="564"/>
                </a:cubicBezTo>
                <a:cubicBezTo>
                  <a:pt x="666" y="563"/>
                  <a:pt x="666" y="563"/>
                  <a:pt x="666" y="563"/>
                </a:cubicBezTo>
                <a:cubicBezTo>
                  <a:pt x="665" y="561"/>
                  <a:pt x="665" y="561"/>
                  <a:pt x="665" y="561"/>
                </a:cubicBezTo>
                <a:cubicBezTo>
                  <a:pt x="665" y="560"/>
                  <a:pt x="665" y="560"/>
                  <a:pt x="665" y="560"/>
                </a:cubicBezTo>
                <a:cubicBezTo>
                  <a:pt x="661" y="556"/>
                  <a:pt x="661" y="556"/>
                  <a:pt x="661" y="556"/>
                </a:cubicBezTo>
                <a:cubicBezTo>
                  <a:pt x="658" y="555"/>
                  <a:pt x="658" y="555"/>
                  <a:pt x="658" y="555"/>
                </a:cubicBezTo>
                <a:cubicBezTo>
                  <a:pt x="658" y="554"/>
                  <a:pt x="658" y="554"/>
                  <a:pt x="658" y="554"/>
                </a:cubicBezTo>
                <a:cubicBezTo>
                  <a:pt x="657" y="551"/>
                  <a:pt x="657" y="551"/>
                  <a:pt x="657" y="551"/>
                </a:cubicBezTo>
                <a:cubicBezTo>
                  <a:pt x="656" y="551"/>
                  <a:pt x="656" y="551"/>
                  <a:pt x="656" y="551"/>
                </a:cubicBezTo>
                <a:cubicBezTo>
                  <a:pt x="655" y="550"/>
                  <a:pt x="655" y="550"/>
                  <a:pt x="655" y="550"/>
                </a:cubicBezTo>
                <a:cubicBezTo>
                  <a:pt x="655" y="547"/>
                  <a:pt x="655" y="547"/>
                  <a:pt x="655" y="547"/>
                </a:cubicBezTo>
                <a:cubicBezTo>
                  <a:pt x="655" y="545"/>
                  <a:pt x="655" y="545"/>
                  <a:pt x="655" y="545"/>
                </a:cubicBezTo>
                <a:cubicBezTo>
                  <a:pt x="652" y="545"/>
                  <a:pt x="652" y="545"/>
                  <a:pt x="652" y="545"/>
                </a:cubicBezTo>
                <a:cubicBezTo>
                  <a:pt x="648" y="543"/>
                  <a:pt x="648" y="543"/>
                  <a:pt x="648" y="543"/>
                </a:cubicBezTo>
                <a:cubicBezTo>
                  <a:pt x="647" y="541"/>
                  <a:pt x="647" y="541"/>
                  <a:pt x="647" y="541"/>
                </a:cubicBezTo>
                <a:cubicBezTo>
                  <a:pt x="648" y="540"/>
                  <a:pt x="648" y="540"/>
                  <a:pt x="648" y="540"/>
                </a:cubicBezTo>
                <a:cubicBezTo>
                  <a:pt x="648" y="539"/>
                  <a:pt x="648" y="539"/>
                  <a:pt x="648" y="539"/>
                </a:cubicBezTo>
                <a:cubicBezTo>
                  <a:pt x="646" y="537"/>
                  <a:pt x="646" y="537"/>
                  <a:pt x="646" y="537"/>
                </a:cubicBezTo>
                <a:cubicBezTo>
                  <a:pt x="645" y="535"/>
                  <a:pt x="645" y="535"/>
                  <a:pt x="645" y="535"/>
                </a:cubicBezTo>
                <a:cubicBezTo>
                  <a:pt x="645" y="535"/>
                  <a:pt x="645" y="535"/>
                  <a:pt x="645" y="535"/>
                </a:cubicBezTo>
                <a:cubicBezTo>
                  <a:pt x="642" y="538"/>
                  <a:pt x="642" y="538"/>
                  <a:pt x="642" y="538"/>
                </a:cubicBezTo>
                <a:cubicBezTo>
                  <a:pt x="642" y="540"/>
                  <a:pt x="642" y="540"/>
                  <a:pt x="642" y="540"/>
                </a:cubicBezTo>
                <a:cubicBezTo>
                  <a:pt x="641" y="541"/>
                  <a:pt x="641" y="541"/>
                  <a:pt x="641" y="541"/>
                </a:cubicBezTo>
                <a:cubicBezTo>
                  <a:pt x="639" y="540"/>
                  <a:pt x="639" y="540"/>
                  <a:pt x="639" y="540"/>
                </a:cubicBezTo>
                <a:cubicBezTo>
                  <a:pt x="640" y="537"/>
                  <a:pt x="640" y="537"/>
                  <a:pt x="640" y="537"/>
                </a:cubicBezTo>
                <a:cubicBezTo>
                  <a:pt x="639" y="535"/>
                  <a:pt x="639" y="535"/>
                  <a:pt x="639" y="535"/>
                </a:cubicBezTo>
                <a:cubicBezTo>
                  <a:pt x="639" y="534"/>
                  <a:pt x="639" y="534"/>
                  <a:pt x="639" y="534"/>
                </a:cubicBezTo>
                <a:cubicBezTo>
                  <a:pt x="640" y="534"/>
                  <a:pt x="640" y="534"/>
                  <a:pt x="640" y="534"/>
                </a:cubicBezTo>
                <a:cubicBezTo>
                  <a:pt x="642" y="534"/>
                  <a:pt x="642" y="534"/>
                  <a:pt x="642" y="534"/>
                </a:cubicBezTo>
                <a:cubicBezTo>
                  <a:pt x="641" y="532"/>
                  <a:pt x="641" y="532"/>
                  <a:pt x="641" y="532"/>
                </a:cubicBezTo>
                <a:cubicBezTo>
                  <a:pt x="642" y="530"/>
                  <a:pt x="642" y="530"/>
                  <a:pt x="642" y="530"/>
                </a:cubicBezTo>
                <a:cubicBezTo>
                  <a:pt x="641" y="528"/>
                  <a:pt x="641" y="528"/>
                  <a:pt x="641" y="528"/>
                </a:cubicBezTo>
                <a:cubicBezTo>
                  <a:pt x="639" y="529"/>
                  <a:pt x="639" y="529"/>
                  <a:pt x="639" y="529"/>
                </a:cubicBezTo>
                <a:cubicBezTo>
                  <a:pt x="639" y="527"/>
                  <a:pt x="639" y="527"/>
                  <a:pt x="639" y="527"/>
                </a:cubicBezTo>
                <a:cubicBezTo>
                  <a:pt x="641" y="525"/>
                  <a:pt x="641" y="525"/>
                  <a:pt x="641" y="525"/>
                </a:cubicBezTo>
                <a:cubicBezTo>
                  <a:pt x="640" y="524"/>
                  <a:pt x="640" y="524"/>
                  <a:pt x="640" y="524"/>
                </a:cubicBezTo>
                <a:cubicBezTo>
                  <a:pt x="635" y="526"/>
                  <a:pt x="635" y="526"/>
                  <a:pt x="635" y="526"/>
                </a:cubicBezTo>
                <a:cubicBezTo>
                  <a:pt x="633" y="528"/>
                  <a:pt x="633" y="528"/>
                  <a:pt x="633" y="528"/>
                </a:cubicBezTo>
                <a:cubicBezTo>
                  <a:pt x="631" y="533"/>
                  <a:pt x="631" y="533"/>
                  <a:pt x="631" y="533"/>
                </a:cubicBezTo>
                <a:cubicBezTo>
                  <a:pt x="629" y="536"/>
                  <a:pt x="629" y="536"/>
                  <a:pt x="629" y="536"/>
                </a:cubicBezTo>
                <a:cubicBezTo>
                  <a:pt x="628" y="538"/>
                  <a:pt x="628" y="538"/>
                  <a:pt x="628" y="538"/>
                </a:cubicBezTo>
                <a:cubicBezTo>
                  <a:pt x="627" y="540"/>
                  <a:pt x="627" y="540"/>
                  <a:pt x="627" y="540"/>
                </a:cubicBezTo>
                <a:cubicBezTo>
                  <a:pt x="627" y="541"/>
                  <a:pt x="627" y="541"/>
                  <a:pt x="627" y="541"/>
                </a:cubicBezTo>
                <a:cubicBezTo>
                  <a:pt x="624" y="545"/>
                  <a:pt x="624" y="545"/>
                  <a:pt x="624" y="545"/>
                </a:cubicBezTo>
                <a:cubicBezTo>
                  <a:pt x="625" y="547"/>
                  <a:pt x="625" y="547"/>
                  <a:pt x="625" y="547"/>
                </a:cubicBezTo>
                <a:cubicBezTo>
                  <a:pt x="624" y="548"/>
                  <a:pt x="624" y="548"/>
                  <a:pt x="624" y="548"/>
                </a:cubicBezTo>
                <a:cubicBezTo>
                  <a:pt x="623" y="550"/>
                  <a:pt x="623" y="550"/>
                  <a:pt x="623" y="550"/>
                </a:cubicBezTo>
                <a:cubicBezTo>
                  <a:pt x="623" y="552"/>
                  <a:pt x="623" y="552"/>
                  <a:pt x="623" y="552"/>
                </a:cubicBezTo>
                <a:cubicBezTo>
                  <a:pt x="620" y="554"/>
                  <a:pt x="620" y="554"/>
                  <a:pt x="620" y="554"/>
                </a:cubicBezTo>
                <a:cubicBezTo>
                  <a:pt x="619" y="557"/>
                  <a:pt x="619" y="557"/>
                  <a:pt x="619" y="557"/>
                </a:cubicBezTo>
                <a:cubicBezTo>
                  <a:pt x="619" y="560"/>
                  <a:pt x="619" y="560"/>
                  <a:pt x="619" y="560"/>
                </a:cubicBezTo>
                <a:cubicBezTo>
                  <a:pt x="618" y="561"/>
                  <a:pt x="618" y="561"/>
                  <a:pt x="618" y="561"/>
                </a:cubicBezTo>
                <a:cubicBezTo>
                  <a:pt x="619" y="565"/>
                  <a:pt x="619" y="565"/>
                  <a:pt x="619" y="565"/>
                </a:cubicBezTo>
                <a:cubicBezTo>
                  <a:pt x="617" y="566"/>
                  <a:pt x="617" y="566"/>
                  <a:pt x="617" y="566"/>
                </a:cubicBezTo>
                <a:cubicBezTo>
                  <a:pt x="614" y="566"/>
                  <a:pt x="614" y="566"/>
                  <a:pt x="614" y="566"/>
                </a:cubicBezTo>
                <a:cubicBezTo>
                  <a:pt x="610" y="568"/>
                  <a:pt x="610" y="568"/>
                  <a:pt x="610" y="568"/>
                </a:cubicBezTo>
                <a:cubicBezTo>
                  <a:pt x="610" y="570"/>
                  <a:pt x="610" y="570"/>
                  <a:pt x="610" y="570"/>
                </a:cubicBezTo>
                <a:cubicBezTo>
                  <a:pt x="609" y="574"/>
                  <a:pt x="609" y="574"/>
                  <a:pt x="609" y="574"/>
                </a:cubicBezTo>
                <a:cubicBezTo>
                  <a:pt x="609" y="577"/>
                  <a:pt x="609" y="577"/>
                  <a:pt x="609" y="577"/>
                </a:cubicBezTo>
                <a:close/>
                <a:moveTo>
                  <a:pt x="629" y="612"/>
                </a:moveTo>
                <a:cubicBezTo>
                  <a:pt x="629" y="613"/>
                  <a:pt x="630" y="613"/>
                  <a:pt x="630" y="613"/>
                </a:cubicBezTo>
                <a:cubicBezTo>
                  <a:pt x="631" y="613"/>
                  <a:pt x="631" y="613"/>
                  <a:pt x="631" y="613"/>
                </a:cubicBezTo>
                <a:cubicBezTo>
                  <a:pt x="633" y="610"/>
                  <a:pt x="633" y="610"/>
                  <a:pt x="633" y="610"/>
                </a:cubicBezTo>
                <a:cubicBezTo>
                  <a:pt x="634" y="610"/>
                  <a:pt x="634" y="610"/>
                  <a:pt x="634" y="610"/>
                </a:cubicBezTo>
                <a:cubicBezTo>
                  <a:pt x="636" y="610"/>
                  <a:pt x="636" y="610"/>
                  <a:pt x="636" y="610"/>
                </a:cubicBezTo>
                <a:cubicBezTo>
                  <a:pt x="636" y="611"/>
                  <a:pt x="636" y="611"/>
                  <a:pt x="636" y="611"/>
                </a:cubicBezTo>
                <a:cubicBezTo>
                  <a:pt x="638" y="612"/>
                  <a:pt x="638" y="612"/>
                  <a:pt x="638" y="612"/>
                </a:cubicBezTo>
                <a:cubicBezTo>
                  <a:pt x="641" y="609"/>
                  <a:pt x="641" y="609"/>
                  <a:pt x="641" y="609"/>
                </a:cubicBezTo>
                <a:cubicBezTo>
                  <a:pt x="643" y="608"/>
                  <a:pt x="643" y="608"/>
                  <a:pt x="643" y="608"/>
                </a:cubicBezTo>
                <a:cubicBezTo>
                  <a:pt x="645" y="607"/>
                  <a:pt x="645" y="607"/>
                  <a:pt x="645" y="607"/>
                </a:cubicBezTo>
                <a:cubicBezTo>
                  <a:pt x="647" y="604"/>
                  <a:pt x="647" y="604"/>
                  <a:pt x="647" y="604"/>
                </a:cubicBezTo>
                <a:cubicBezTo>
                  <a:pt x="649" y="604"/>
                  <a:pt x="649" y="604"/>
                  <a:pt x="649" y="604"/>
                </a:cubicBezTo>
                <a:cubicBezTo>
                  <a:pt x="652" y="602"/>
                  <a:pt x="652" y="602"/>
                  <a:pt x="652" y="602"/>
                </a:cubicBezTo>
                <a:cubicBezTo>
                  <a:pt x="652" y="600"/>
                  <a:pt x="652" y="600"/>
                  <a:pt x="652" y="600"/>
                </a:cubicBezTo>
                <a:cubicBezTo>
                  <a:pt x="654" y="598"/>
                  <a:pt x="654" y="598"/>
                  <a:pt x="654" y="598"/>
                </a:cubicBezTo>
                <a:cubicBezTo>
                  <a:pt x="653" y="597"/>
                  <a:pt x="653" y="597"/>
                  <a:pt x="653" y="597"/>
                </a:cubicBezTo>
                <a:cubicBezTo>
                  <a:pt x="651" y="597"/>
                  <a:pt x="651" y="597"/>
                  <a:pt x="651" y="597"/>
                </a:cubicBezTo>
                <a:cubicBezTo>
                  <a:pt x="650" y="597"/>
                  <a:pt x="650" y="597"/>
                  <a:pt x="650" y="597"/>
                </a:cubicBezTo>
                <a:cubicBezTo>
                  <a:pt x="648" y="597"/>
                  <a:pt x="648" y="597"/>
                  <a:pt x="648" y="597"/>
                </a:cubicBezTo>
                <a:cubicBezTo>
                  <a:pt x="646" y="597"/>
                  <a:pt x="646" y="597"/>
                  <a:pt x="646" y="597"/>
                </a:cubicBezTo>
                <a:cubicBezTo>
                  <a:pt x="645" y="597"/>
                  <a:pt x="645" y="597"/>
                  <a:pt x="645" y="597"/>
                </a:cubicBezTo>
                <a:cubicBezTo>
                  <a:pt x="644" y="597"/>
                  <a:pt x="644" y="597"/>
                  <a:pt x="644" y="597"/>
                </a:cubicBezTo>
                <a:cubicBezTo>
                  <a:pt x="642" y="599"/>
                  <a:pt x="642" y="599"/>
                  <a:pt x="642" y="599"/>
                </a:cubicBezTo>
                <a:cubicBezTo>
                  <a:pt x="640" y="598"/>
                  <a:pt x="640" y="598"/>
                  <a:pt x="640" y="598"/>
                </a:cubicBezTo>
                <a:cubicBezTo>
                  <a:pt x="640" y="596"/>
                  <a:pt x="640" y="596"/>
                  <a:pt x="640" y="596"/>
                </a:cubicBezTo>
                <a:cubicBezTo>
                  <a:pt x="639" y="596"/>
                  <a:pt x="639" y="596"/>
                  <a:pt x="639" y="596"/>
                </a:cubicBezTo>
                <a:cubicBezTo>
                  <a:pt x="637" y="597"/>
                  <a:pt x="637" y="597"/>
                  <a:pt x="637" y="597"/>
                </a:cubicBezTo>
                <a:cubicBezTo>
                  <a:pt x="634" y="600"/>
                  <a:pt x="634" y="600"/>
                  <a:pt x="634" y="600"/>
                </a:cubicBezTo>
                <a:cubicBezTo>
                  <a:pt x="634" y="601"/>
                  <a:pt x="634" y="601"/>
                  <a:pt x="634" y="601"/>
                </a:cubicBezTo>
                <a:cubicBezTo>
                  <a:pt x="633" y="603"/>
                  <a:pt x="633" y="603"/>
                  <a:pt x="633" y="603"/>
                </a:cubicBezTo>
                <a:cubicBezTo>
                  <a:pt x="629" y="604"/>
                  <a:pt x="629" y="604"/>
                  <a:pt x="629" y="604"/>
                </a:cubicBezTo>
                <a:cubicBezTo>
                  <a:pt x="628" y="605"/>
                  <a:pt x="628" y="605"/>
                  <a:pt x="628" y="605"/>
                </a:cubicBezTo>
                <a:cubicBezTo>
                  <a:pt x="629" y="606"/>
                  <a:pt x="629" y="606"/>
                  <a:pt x="629" y="606"/>
                </a:cubicBezTo>
                <a:cubicBezTo>
                  <a:pt x="630" y="608"/>
                  <a:pt x="630" y="608"/>
                  <a:pt x="630" y="608"/>
                </a:cubicBezTo>
                <a:cubicBezTo>
                  <a:pt x="629" y="610"/>
                  <a:pt x="629" y="610"/>
                  <a:pt x="629" y="610"/>
                </a:cubicBezTo>
                <a:cubicBezTo>
                  <a:pt x="629" y="612"/>
                  <a:pt x="629" y="612"/>
                  <a:pt x="629" y="612"/>
                </a:cubicBezTo>
                <a:close/>
                <a:moveTo>
                  <a:pt x="826" y="628"/>
                </a:moveTo>
                <a:cubicBezTo>
                  <a:pt x="827" y="629"/>
                  <a:pt x="827" y="629"/>
                  <a:pt x="827" y="629"/>
                </a:cubicBezTo>
                <a:cubicBezTo>
                  <a:pt x="829" y="629"/>
                  <a:pt x="829" y="629"/>
                  <a:pt x="829" y="629"/>
                </a:cubicBezTo>
                <a:cubicBezTo>
                  <a:pt x="831" y="631"/>
                  <a:pt x="831" y="631"/>
                  <a:pt x="831" y="631"/>
                </a:cubicBezTo>
                <a:cubicBezTo>
                  <a:pt x="832" y="630"/>
                  <a:pt x="832" y="630"/>
                  <a:pt x="832" y="630"/>
                </a:cubicBezTo>
                <a:cubicBezTo>
                  <a:pt x="832" y="629"/>
                  <a:pt x="832" y="629"/>
                  <a:pt x="832" y="629"/>
                </a:cubicBezTo>
                <a:cubicBezTo>
                  <a:pt x="833" y="628"/>
                  <a:pt x="833" y="628"/>
                  <a:pt x="833" y="628"/>
                </a:cubicBezTo>
                <a:cubicBezTo>
                  <a:pt x="833" y="626"/>
                  <a:pt x="833" y="626"/>
                  <a:pt x="833" y="626"/>
                </a:cubicBezTo>
                <a:cubicBezTo>
                  <a:pt x="832" y="626"/>
                  <a:pt x="832" y="626"/>
                  <a:pt x="832" y="626"/>
                </a:cubicBezTo>
                <a:cubicBezTo>
                  <a:pt x="830" y="627"/>
                  <a:pt x="830" y="627"/>
                  <a:pt x="830" y="627"/>
                </a:cubicBezTo>
                <a:cubicBezTo>
                  <a:pt x="828" y="627"/>
                  <a:pt x="828" y="627"/>
                  <a:pt x="828" y="627"/>
                </a:cubicBezTo>
                <a:cubicBezTo>
                  <a:pt x="826" y="628"/>
                  <a:pt x="826" y="628"/>
                  <a:pt x="826" y="628"/>
                </a:cubicBezTo>
                <a:close/>
                <a:moveTo>
                  <a:pt x="765" y="612"/>
                </a:moveTo>
                <a:cubicBezTo>
                  <a:pt x="765" y="613"/>
                  <a:pt x="765" y="613"/>
                  <a:pt x="765" y="613"/>
                </a:cubicBezTo>
                <a:cubicBezTo>
                  <a:pt x="768" y="613"/>
                  <a:pt x="768" y="613"/>
                  <a:pt x="768" y="613"/>
                </a:cubicBezTo>
                <a:cubicBezTo>
                  <a:pt x="768" y="615"/>
                  <a:pt x="768" y="615"/>
                  <a:pt x="768" y="615"/>
                </a:cubicBezTo>
                <a:cubicBezTo>
                  <a:pt x="768" y="615"/>
                  <a:pt x="768" y="615"/>
                  <a:pt x="768" y="615"/>
                </a:cubicBezTo>
                <a:cubicBezTo>
                  <a:pt x="768" y="617"/>
                  <a:pt x="768" y="617"/>
                  <a:pt x="768" y="617"/>
                </a:cubicBezTo>
                <a:cubicBezTo>
                  <a:pt x="770" y="618"/>
                  <a:pt x="770" y="618"/>
                  <a:pt x="770" y="618"/>
                </a:cubicBezTo>
                <a:cubicBezTo>
                  <a:pt x="770" y="618"/>
                  <a:pt x="770" y="618"/>
                  <a:pt x="770" y="618"/>
                </a:cubicBezTo>
                <a:cubicBezTo>
                  <a:pt x="772" y="618"/>
                  <a:pt x="772" y="618"/>
                  <a:pt x="772" y="618"/>
                </a:cubicBezTo>
                <a:cubicBezTo>
                  <a:pt x="772" y="618"/>
                  <a:pt x="772" y="618"/>
                  <a:pt x="772" y="618"/>
                </a:cubicBezTo>
                <a:cubicBezTo>
                  <a:pt x="773" y="617"/>
                  <a:pt x="773" y="617"/>
                  <a:pt x="773" y="617"/>
                </a:cubicBezTo>
                <a:cubicBezTo>
                  <a:pt x="773" y="616"/>
                  <a:pt x="773" y="616"/>
                  <a:pt x="773" y="616"/>
                </a:cubicBezTo>
                <a:cubicBezTo>
                  <a:pt x="771" y="614"/>
                  <a:pt x="771" y="614"/>
                  <a:pt x="771" y="614"/>
                </a:cubicBezTo>
                <a:cubicBezTo>
                  <a:pt x="770" y="614"/>
                  <a:pt x="770" y="614"/>
                  <a:pt x="770" y="614"/>
                </a:cubicBezTo>
                <a:cubicBezTo>
                  <a:pt x="769" y="613"/>
                  <a:pt x="769" y="613"/>
                  <a:pt x="769" y="613"/>
                </a:cubicBezTo>
                <a:cubicBezTo>
                  <a:pt x="767" y="612"/>
                  <a:pt x="767" y="612"/>
                  <a:pt x="767" y="612"/>
                </a:cubicBezTo>
                <a:cubicBezTo>
                  <a:pt x="765" y="612"/>
                  <a:pt x="765" y="612"/>
                  <a:pt x="765" y="612"/>
                </a:cubicBezTo>
                <a:cubicBezTo>
                  <a:pt x="765" y="612"/>
                  <a:pt x="765" y="612"/>
                  <a:pt x="765" y="612"/>
                </a:cubicBezTo>
                <a:close/>
                <a:moveTo>
                  <a:pt x="824" y="644"/>
                </a:moveTo>
                <a:cubicBezTo>
                  <a:pt x="821" y="642"/>
                  <a:pt x="821" y="642"/>
                  <a:pt x="821" y="642"/>
                </a:cubicBezTo>
                <a:cubicBezTo>
                  <a:pt x="821" y="641"/>
                  <a:pt x="821" y="641"/>
                  <a:pt x="821" y="641"/>
                </a:cubicBezTo>
                <a:cubicBezTo>
                  <a:pt x="820" y="640"/>
                  <a:pt x="820" y="640"/>
                  <a:pt x="820" y="640"/>
                </a:cubicBezTo>
                <a:cubicBezTo>
                  <a:pt x="820" y="639"/>
                  <a:pt x="820" y="639"/>
                  <a:pt x="820" y="639"/>
                </a:cubicBezTo>
                <a:cubicBezTo>
                  <a:pt x="822" y="638"/>
                  <a:pt x="822" y="638"/>
                  <a:pt x="822" y="638"/>
                </a:cubicBezTo>
                <a:cubicBezTo>
                  <a:pt x="823" y="639"/>
                  <a:pt x="823" y="639"/>
                  <a:pt x="823" y="639"/>
                </a:cubicBezTo>
                <a:cubicBezTo>
                  <a:pt x="823" y="640"/>
                  <a:pt x="823" y="640"/>
                  <a:pt x="823" y="640"/>
                </a:cubicBezTo>
                <a:cubicBezTo>
                  <a:pt x="824" y="642"/>
                  <a:pt x="824" y="642"/>
                  <a:pt x="824" y="642"/>
                </a:cubicBezTo>
                <a:cubicBezTo>
                  <a:pt x="824" y="644"/>
                  <a:pt x="824" y="644"/>
                  <a:pt x="824" y="644"/>
                </a:cubicBezTo>
                <a:cubicBezTo>
                  <a:pt x="824" y="644"/>
                  <a:pt x="824" y="644"/>
                  <a:pt x="824" y="644"/>
                </a:cubicBezTo>
                <a:close/>
                <a:moveTo>
                  <a:pt x="821" y="651"/>
                </a:moveTo>
                <a:cubicBezTo>
                  <a:pt x="821" y="650"/>
                  <a:pt x="821" y="650"/>
                  <a:pt x="821" y="650"/>
                </a:cubicBezTo>
                <a:cubicBezTo>
                  <a:pt x="820" y="649"/>
                  <a:pt x="820" y="649"/>
                  <a:pt x="820" y="649"/>
                </a:cubicBezTo>
                <a:cubicBezTo>
                  <a:pt x="819" y="648"/>
                  <a:pt x="819" y="648"/>
                  <a:pt x="819" y="648"/>
                </a:cubicBezTo>
                <a:cubicBezTo>
                  <a:pt x="818" y="648"/>
                  <a:pt x="818" y="648"/>
                  <a:pt x="818" y="648"/>
                </a:cubicBezTo>
                <a:cubicBezTo>
                  <a:pt x="816" y="646"/>
                  <a:pt x="816" y="646"/>
                  <a:pt x="816" y="646"/>
                </a:cubicBezTo>
                <a:cubicBezTo>
                  <a:pt x="816" y="645"/>
                  <a:pt x="816" y="645"/>
                  <a:pt x="816" y="645"/>
                </a:cubicBezTo>
                <a:cubicBezTo>
                  <a:pt x="818" y="645"/>
                  <a:pt x="818" y="645"/>
                  <a:pt x="818" y="645"/>
                </a:cubicBezTo>
                <a:cubicBezTo>
                  <a:pt x="819" y="644"/>
                  <a:pt x="819" y="644"/>
                  <a:pt x="819" y="644"/>
                </a:cubicBezTo>
                <a:cubicBezTo>
                  <a:pt x="822" y="645"/>
                  <a:pt x="822" y="645"/>
                  <a:pt x="822" y="645"/>
                </a:cubicBezTo>
                <a:cubicBezTo>
                  <a:pt x="825" y="646"/>
                  <a:pt x="825" y="646"/>
                  <a:pt x="825" y="646"/>
                </a:cubicBezTo>
                <a:cubicBezTo>
                  <a:pt x="825" y="647"/>
                  <a:pt x="825" y="647"/>
                  <a:pt x="825" y="647"/>
                </a:cubicBezTo>
                <a:cubicBezTo>
                  <a:pt x="824" y="648"/>
                  <a:pt x="824" y="648"/>
                  <a:pt x="824" y="648"/>
                </a:cubicBezTo>
                <a:cubicBezTo>
                  <a:pt x="823" y="649"/>
                  <a:pt x="823" y="649"/>
                  <a:pt x="823" y="649"/>
                </a:cubicBezTo>
                <a:cubicBezTo>
                  <a:pt x="822" y="650"/>
                  <a:pt x="822" y="650"/>
                  <a:pt x="822" y="650"/>
                </a:cubicBezTo>
                <a:cubicBezTo>
                  <a:pt x="822" y="651"/>
                  <a:pt x="822" y="651"/>
                  <a:pt x="822" y="651"/>
                </a:cubicBezTo>
                <a:cubicBezTo>
                  <a:pt x="821" y="651"/>
                  <a:pt x="821" y="651"/>
                  <a:pt x="821" y="651"/>
                </a:cubicBezTo>
                <a:close/>
                <a:moveTo>
                  <a:pt x="761" y="688"/>
                </a:moveTo>
                <a:cubicBezTo>
                  <a:pt x="760" y="689"/>
                  <a:pt x="760" y="689"/>
                  <a:pt x="760" y="689"/>
                </a:cubicBezTo>
                <a:cubicBezTo>
                  <a:pt x="761" y="689"/>
                  <a:pt x="761" y="689"/>
                  <a:pt x="761" y="689"/>
                </a:cubicBezTo>
                <a:cubicBezTo>
                  <a:pt x="761" y="688"/>
                  <a:pt x="761" y="688"/>
                  <a:pt x="761" y="688"/>
                </a:cubicBezTo>
                <a:close/>
                <a:moveTo>
                  <a:pt x="762" y="689"/>
                </a:moveTo>
                <a:cubicBezTo>
                  <a:pt x="761" y="690"/>
                  <a:pt x="761" y="690"/>
                  <a:pt x="761" y="690"/>
                </a:cubicBezTo>
                <a:cubicBezTo>
                  <a:pt x="762" y="690"/>
                  <a:pt x="762" y="690"/>
                  <a:pt x="762" y="690"/>
                </a:cubicBezTo>
                <a:cubicBezTo>
                  <a:pt x="762" y="689"/>
                  <a:pt x="762" y="689"/>
                  <a:pt x="762" y="689"/>
                </a:cubicBezTo>
                <a:close/>
                <a:moveTo>
                  <a:pt x="763" y="688"/>
                </a:moveTo>
                <a:cubicBezTo>
                  <a:pt x="763" y="689"/>
                  <a:pt x="763" y="689"/>
                  <a:pt x="763" y="689"/>
                </a:cubicBezTo>
                <a:cubicBezTo>
                  <a:pt x="763" y="691"/>
                  <a:pt x="763" y="691"/>
                  <a:pt x="763" y="691"/>
                </a:cubicBezTo>
                <a:cubicBezTo>
                  <a:pt x="763" y="693"/>
                  <a:pt x="763" y="693"/>
                  <a:pt x="763" y="693"/>
                </a:cubicBezTo>
                <a:cubicBezTo>
                  <a:pt x="764" y="692"/>
                  <a:pt x="764" y="692"/>
                  <a:pt x="764" y="692"/>
                </a:cubicBezTo>
                <a:cubicBezTo>
                  <a:pt x="764" y="690"/>
                  <a:pt x="764" y="690"/>
                  <a:pt x="764" y="690"/>
                </a:cubicBezTo>
                <a:cubicBezTo>
                  <a:pt x="763" y="688"/>
                  <a:pt x="763" y="688"/>
                  <a:pt x="763" y="688"/>
                </a:cubicBezTo>
                <a:close/>
                <a:moveTo>
                  <a:pt x="779" y="670"/>
                </a:moveTo>
                <a:cubicBezTo>
                  <a:pt x="779" y="669"/>
                  <a:pt x="779" y="669"/>
                  <a:pt x="779" y="669"/>
                </a:cubicBezTo>
                <a:cubicBezTo>
                  <a:pt x="780" y="666"/>
                  <a:pt x="780" y="666"/>
                  <a:pt x="780" y="666"/>
                </a:cubicBezTo>
                <a:cubicBezTo>
                  <a:pt x="781" y="665"/>
                  <a:pt x="781" y="665"/>
                  <a:pt x="781" y="665"/>
                </a:cubicBezTo>
                <a:cubicBezTo>
                  <a:pt x="781" y="664"/>
                  <a:pt x="781" y="664"/>
                  <a:pt x="781" y="664"/>
                </a:cubicBezTo>
                <a:cubicBezTo>
                  <a:pt x="784" y="662"/>
                  <a:pt x="784" y="662"/>
                  <a:pt x="784" y="662"/>
                </a:cubicBezTo>
                <a:cubicBezTo>
                  <a:pt x="786" y="662"/>
                  <a:pt x="786" y="662"/>
                  <a:pt x="786" y="662"/>
                </a:cubicBezTo>
                <a:cubicBezTo>
                  <a:pt x="787" y="663"/>
                  <a:pt x="787" y="663"/>
                  <a:pt x="787" y="663"/>
                </a:cubicBezTo>
                <a:cubicBezTo>
                  <a:pt x="786" y="664"/>
                  <a:pt x="786" y="664"/>
                  <a:pt x="786" y="664"/>
                </a:cubicBezTo>
                <a:cubicBezTo>
                  <a:pt x="787" y="664"/>
                  <a:pt x="787" y="664"/>
                  <a:pt x="787" y="664"/>
                </a:cubicBezTo>
                <a:cubicBezTo>
                  <a:pt x="787" y="666"/>
                  <a:pt x="787" y="666"/>
                  <a:pt x="787" y="666"/>
                </a:cubicBezTo>
                <a:cubicBezTo>
                  <a:pt x="785" y="667"/>
                  <a:pt x="785" y="667"/>
                  <a:pt x="785" y="667"/>
                </a:cubicBezTo>
                <a:cubicBezTo>
                  <a:pt x="784" y="668"/>
                  <a:pt x="784" y="668"/>
                  <a:pt x="784" y="668"/>
                </a:cubicBezTo>
                <a:cubicBezTo>
                  <a:pt x="783" y="668"/>
                  <a:pt x="783" y="668"/>
                  <a:pt x="783" y="668"/>
                </a:cubicBezTo>
                <a:cubicBezTo>
                  <a:pt x="780" y="670"/>
                  <a:pt x="780" y="670"/>
                  <a:pt x="780" y="670"/>
                </a:cubicBezTo>
                <a:cubicBezTo>
                  <a:pt x="779" y="670"/>
                  <a:pt x="779" y="670"/>
                  <a:pt x="779" y="670"/>
                </a:cubicBezTo>
                <a:close/>
                <a:moveTo>
                  <a:pt x="726" y="610"/>
                </a:moveTo>
                <a:cubicBezTo>
                  <a:pt x="728" y="611"/>
                  <a:pt x="728" y="611"/>
                  <a:pt x="728" y="611"/>
                </a:cubicBezTo>
                <a:cubicBezTo>
                  <a:pt x="730" y="613"/>
                  <a:pt x="730" y="613"/>
                  <a:pt x="730" y="613"/>
                </a:cubicBezTo>
                <a:cubicBezTo>
                  <a:pt x="732" y="613"/>
                  <a:pt x="732" y="613"/>
                  <a:pt x="732" y="613"/>
                </a:cubicBezTo>
                <a:cubicBezTo>
                  <a:pt x="734" y="614"/>
                  <a:pt x="734" y="614"/>
                  <a:pt x="734" y="614"/>
                </a:cubicBezTo>
                <a:cubicBezTo>
                  <a:pt x="733" y="613"/>
                  <a:pt x="733" y="613"/>
                  <a:pt x="733" y="613"/>
                </a:cubicBezTo>
                <a:cubicBezTo>
                  <a:pt x="731" y="612"/>
                  <a:pt x="731" y="612"/>
                  <a:pt x="731" y="612"/>
                </a:cubicBezTo>
                <a:cubicBezTo>
                  <a:pt x="729" y="610"/>
                  <a:pt x="729" y="610"/>
                  <a:pt x="729" y="610"/>
                </a:cubicBezTo>
                <a:cubicBezTo>
                  <a:pt x="727" y="609"/>
                  <a:pt x="727" y="609"/>
                  <a:pt x="727" y="609"/>
                </a:cubicBezTo>
                <a:cubicBezTo>
                  <a:pt x="726" y="610"/>
                  <a:pt x="726" y="610"/>
                  <a:pt x="726" y="610"/>
                </a:cubicBezTo>
                <a:close/>
                <a:moveTo>
                  <a:pt x="708" y="593"/>
                </a:moveTo>
                <a:cubicBezTo>
                  <a:pt x="709" y="594"/>
                  <a:pt x="709" y="594"/>
                  <a:pt x="709" y="594"/>
                </a:cubicBezTo>
                <a:cubicBezTo>
                  <a:pt x="710" y="594"/>
                  <a:pt x="710" y="594"/>
                  <a:pt x="710" y="594"/>
                </a:cubicBezTo>
                <a:cubicBezTo>
                  <a:pt x="711" y="594"/>
                  <a:pt x="711" y="594"/>
                  <a:pt x="711" y="594"/>
                </a:cubicBezTo>
                <a:cubicBezTo>
                  <a:pt x="712" y="594"/>
                  <a:pt x="712" y="594"/>
                  <a:pt x="712" y="594"/>
                </a:cubicBezTo>
                <a:cubicBezTo>
                  <a:pt x="712" y="593"/>
                  <a:pt x="712" y="593"/>
                  <a:pt x="712" y="593"/>
                </a:cubicBezTo>
                <a:cubicBezTo>
                  <a:pt x="713" y="593"/>
                  <a:pt x="713" y="593"/>
                  <a:pt x="713" y="593"/>
                </a:cubicBezTo>
                <a:cubicBezTo>
                  <a:pt x="713" y="592"/>
                  <a:pt x="713" y="592"/>
                  <a:pt x="713" y="592"/>
                </a:cubicBezTo>
                <a:cubicBezTo>
                  <a:pt x="712" y="591"/>
                  <a:pt x="712" y="591"/>
                  <a:pt x="712" y="591"/>
                </a:cubicBezTo>
                <a:cubicBezTo>
                  <a:pt x="713" y="590"/>
                  <a:pt x="713" y="590"/>
                  <a:pt x="713" y="590"/>
                </a:cubicBezTo>
                <a:cubicBezTo>
                  <a:pt x="713" y="590"/>
                  <a:pt x="713" y="590"/>
                  <a:pt x="713" y="590"/>
                </a:cubicBezTo>
                <a:cubicBezTo>
                  <a:pt x="711" y="588"/>
                  <a:pt x="711" y="588"/>
                  <a:pt x="711" y="588"/>
                </a:cubicBezTo>
                <a:cubicBezTo>
                  <a:pt x="709" y="588"/>
                  <a:pt x="709" y="588"/>
                  <a:pt x="709" y="588"/>
                </a:cubicBezTo>
                <a:cubicBezTo>
                  <a:pt x="709" y="587"/>
                  <a:pt x="709" y="587"/>
                  <a:pt x="709" y="587"/>
                </a:cubicBezTo>
                <a:cubicBezTo>
                  <a:pt x="708" y="586"/>
                  <a:pt x="708" y="586"/>
                  <a:pt x="708" y="586"/>
                </a:cubicBezTo>
                <a:cubicBezTo>
                  <a:pt x="707" y="586"/>
                  <a:pt x="707" y="586"/>
                  <a:pt x="707" y="586"/>
                </a:cubicBezTo>
                <a:cubicBezTo>
                  <a:pt x="706" y="586"/>
                  <a:pt x="706" y="586"/>
                  <a:pt x="706" y="586"/>
                </a:cubicBezTo>
                <a:cubicBezTo>
                  <a:pt x="704" y="586"/>
                  <a:pt x="704" y="586"/>
                  <a:pt x="704" y="586"/>
                </a:cubicBezTo>
                <a:cubicBezTo>
                  <a:pt x="704" y="587"/>
                  <a:pt x="704" y="587"/>
                  <a:pt x="704" y="587"/>
                </a:cubicBezTo>
                <a:cubicBezTo>
                  <a:pt x="704" y="588"/>
                  <a:pt x="704" y="588"/>
                  <a:pt x="704" y="588"/>
                </a:cubicBezTo>
                <a:cubicBezTo>
                  <a:pt x="705" y="588"/>
                  <a:pt x="705" y="588"/>
                  <a:pt x="705" y="588"/>
                </a:cubicBezTo>
                <a:cubicBezTo>
                  <a:pt x="706" y="589"/>
                  <a:pt x="706" y="589"/>
                  <a:pt x="706" y="589"/>
                </a:cubicBezTo>
                <a:cubicBezTo>
                  <a:pt x="707" y="590"/>
                  <a:pt x="707" y="590"/>
                  <a:pt x="707" y="590"/>
                </a:cubicBezTo>
                <a:cubicBezTo>
                  <a:pt x="708" y="591"/>
                  <a:pt x="708" y="591"/>
                  <a:pt x="708" y="591"/>
                </a:cubicBezTo>
                <a:cubicBezTo>
                  <a:pt x="708" y="593"/>
                  <a:pt x="708" y="593"/>
                  <a:pt x="708" y="593"/>
                </a:cubicBezTo>
                <a:close/>
                <a:moveTo>
                  <a:pt x="695" y="599"/>
                </a:moveTo>
                <a:cubicBezTo>
                  <a:pt x="697" y="599"/>
                  <a:pt x="697" y="599"/>
                  <a:pt x="697" y="599"/>
                </a:cubicBezTo>
                <a:cubicBezTo>
                  <a:pt x="698" y="598"/>
                  <a:pt x="698" y="598"/>
                  <a:pt x="698" y="598"/>
                </a:cubicBezTo>
                <a:cubicBezTo>
                  <a:pt x="700" y="598"/>
                  <a:pt x="700" y="598"/>
                  <a:pt x="700" y="598"/>
                </a:cubicBezTo>
                <a:cubicBezTo>
                  <a:pt x="701" y="597"/>
                  <a:pt x="701" y="597"/>
                  <a:pt x="701" y="597"/>
                </a:cubicBezTo>
                <a:cubicBezTo>
                  <a:pt x="701" y="596"/>
                  <a:pt x="701" y="596"/>
                  <a:pt x="701" y="596"/>
                </a:cubicBezTo>
                <a:cubicBezTo>
                  <a:pt x="701" y="595"/>
                  <a:pt x="701" y="595"/>
                  <a:pt x="701" y="595"/>
                </a:cubicBezTo>
                <a:cubicBezTo>
                  <a:pt x="701" y="592"/>
                  <a:pt x="701" y="592"/>
                  <a:pt x="701" y="592"/>
                </a:cubicBezTo>
                <a:cubicBezTo>
                  <a:pt x="700" y="591"/>
                  <a:pt x="700" y="591"/>
                  <a:pt x="700" y="591"/>
                </a:cubicBezTo>
                <a:cubicBezTo>
                  <a:pt x="697" y="591"/>
                  <a:pt x="697" y="591"/>
                  <a:pt x="697" y="591"/>
                </a:cubicBezTo>
                <a:cubicBezTo>
                  <a:pt x="696" y="590"/>
                  <a:pt x="696" y="590"/>
                  <a:pt x="696" y="590"/>
                </a:cubicBezTo>
                <a:cubicBezTo>
                  <a:pt x="694" y="588"/>
                  <a:pt x="694" y="588"/>
                  <a:pt x="694" y="588"/>
                </a:cubicBezTo>
                <a:cubicBezTo>
                  <a:pt x="694" y="589"/>
                  <a:pt x="694" y="589"/>
                  <a:pt x="694" y="589"/>
                </a:cubicBezTo>
                <a:cubicBezTo>
                  <a:pt x="692" y="589"/>
                  <a:pt x="692" y="589"/>
                  <a:pt x="692" y="589"/>
                </a:cubicBezTo>
                <a:cubicBezTo>
                  <a:pt x="690" y="589"/>
                  <a:pt x="690" y="589"/>
                  <a:pt x="690" y="589"/>
                </a:cubicBezTo>
                <a:cubicBezTo>
                  <a:pt x="690" y="590"/>
                  <a:pt x="690" y="590"/>
                  <a:pt x="690" y="590"/>
                </a:cubicBezTo>
                <a:cubicBezTo>
                  <a:pt x="690" y="592"/>
                  <a:pt x="690" y="592"/>
                  <a:pt x="690" y="592"/>
                </a:cubicBezTo>
                <a:cubicBezTo>
                  <a:pt x="692" y="593"/>
                  <a:pt x="692" y="593"/>
                  <a:pt x="692" y="593"/>
                </a:cubicBezTo>
                <a:cubicBezTo>
                  <a:pt x="693" y="596"/>
                  <a:pt x="693" y="596"/>
                  <a:pt x="693" y="596"/>
                </a:cubicBezTo>
                <a:cubicBezTo>
                  <a:pt x="694" y="596"/>
                  <a:pt x="694" y="596"/>
                  <a:pt x="694" y="596"/>
                </a:cubicBezTo>
                <a:cubicBezTo>
                  <a:pt x="694" y="598"/>
                  <a:pt x="694" y="598"/>
                  <a:pt x="694" y="598"/>
                </a:cubicBezTo>
                <a:cubicBezTo>
                  <a:pt x="695" y="599"/>
                  <a:pt x="695" y="599"/>
                  <a:pt x="695" y="599"/>
                </a:cubicBezTo>
                <a:close/>
                <a:moveTo>
                  <a:pt x="693" y="610"/>
                </a:moveTo>
                <a:cubicBezTo>
                  <a:pt x="693" y="610"/>
                  <a:pt x="694" y="609"/>
                  <a:pt x="694" y="609"/>
                </a:cubicBezTo>
                <a:cubicBezTo>
                  <a:pt x="691" y="608"/>
                  <a:pt x="691" y="608"/>
                  <a:pt x="691" y="608"/>
                </a:cubicBezTo>
                <a:cubicBezTo>
                  <a:pt x="691" y="609"/>
                  <a:pt x="691" y="609"/>
                  <a:pt x="691" y="609"/>
                </a:cubicBezTo>
                <a:cubicBezTo>
                  <a:pt x="691" y="609"/>
                  <a:pt x="691" y="609"/>
                  <a:pt x="691" y="609"/>
                </a:cubicBezTo>
                <a:cubicBezTo>
                  <a:pt x="693" y="610"/>
                  <a:pt x="693" y="610"/>
                  <a:pt x="693" y="610"/>
                </a:cubicBezTo>
                <a:close/>
                <a:moveTo>
                  <a:pt x="666" y="628"/>
                </a:moveTo>
                <a:cubicBezTo>
                  <a:pt x="667" y="629"/>
                  <a:pt x="667" y="629"/>
                  <a:pt x="667" y="629"/>
                </a:cubicBezTo>
                <a:cubicBezTo>
                  <a:pt x="668" y="628"/>
                  <a:pt x="668" y="628"/>
                  <a:pt x="668" y="628"/>
                </a:cubicBezTo>
                <a:cubicBezTo>
                  <a:pt x="668" y="627"/>
                  <a:pt x="668" y="627"/>
                  <a:pt x="668" y="627"/>
                </a:cubicBezTo>
                <a:cubicBezTo>
                  <a:pt x="669" y="625"/>
                  <a:pt x="669" y="625"/>
                  <a:pt x="669" y="625"/>
                </a:cubicBezTo>
                <a:cubicBezTo>
                  <a:pt x="669" y="624"/>
                  <a:pt x="669" y="624"/>
                  <a:pt x="669" y="624"/>
                </a:cubicBezTo>
                <a:cubicBezTo>
                  <a:pt x="668" y="624"/>
                  <a:pt x="668" y="624"/>
                  <a:pt x="668" y="624"/>
                </a:cubicBezTo>
                <a:cubicBezTo>
                  <a:pt x="669" y="623"/>
                  <a:pt x="669" y="623"/>
                  <a:pt x="669" y="623"/>
                </a:cubicBezTo>
                <a:cubicBezTo>
                  <a:pt x="671" y="621"/>
                  <a:pt x="671" y="621"/>
                  <a:pt x="671" y="621"/>
                </a:cubicBezTo>
                <a:cubicBezTo>
                  <a:pt x="672" y="619"/>
                  <a:pt x="672" y="619"/>
                  <a:pt x="672" y="619"/>
                </a:cubicBezTo>
                <a:cubicBezTo>
                  <a:pt x="673" y="619"/>
                  <a:pt x="673" y="619"/>
                  <a:pt x="673" y="619"/>
                </a:cubicBezTo>
                <a:cubicBezTo>
                  <a:pt x="674" y="618"/>
                  <a:pt x="674" y="618"/>
                  <a:pt x="674" y="618"/>
                </a:cubicBezTo>
                <a:cubicBezTo>
                  <a:pt x="674" y="617"/>
                  <a:pt x="674" y="617"/>
                  <a:pt x="674" y="617"/>
                </a:cubicBezTo>
                <a:cubicBezTo>
                  <a:pt x="674" y="616"/>
                  <a:pt x="674" y="616"/>
                  <a:pt x="674" y="616"/>
                </a:cubicBezTo>
                <a:cubicBezTo>
                  <a:pt x="675" y="615"/>
                  <a:pt x="675" y="615"/>
                  <a:pt x="675" y="615"/>
                </a:cubicBezTo>
                <a:cubicBezTo>
                  <a:pt x="676" y="613"/>
                  <a:pt x="676" y="613"/>
                  <a:pt x="676" y="613"/>
                </a:cubicBezTo>
                <a:cubicBezTo>
                  <a:pt x="675" y="612"/>
                  <a:pt x="675" y="612"/>
                  <a:pt x="675" y="612"/>
                </a:cubicBezTo>
                <a:cubicBezTo>
                  <a:pt x="675" y="610"/>
                  <a:pt x="675" y="610"/>
                  <a:pt x="675" y="610"/>
                </a:cubicBezTo>
                <a:cubicBezTo>
                  <a:pt x="675" y="610"/>
                  <a:pt x="675" y="610"/>
                  <a:pt x="675" y="610"/>
                </a:cubicBezTo>
                <a:cubicBezTo>
                  <a:pt x="673" y="610"/>
                  <a:pt x="673" y="610"/>
                  <a:pt x="673" y="610"/>
                </a:cubicBezTo>
                <a:cubicBezTo>
                  <a:pt x="672" y="610"/>
                  <a:pt x="672" y="610"/>
                  <a:pt x="672" y="610"/>
                </a:cubicBezTo>
                <a:cubicBezTo>
                  <a:pt x="671" y="609"/>
                  <a:pt x="671" y="609"/>
                  <a:pt x="671" y="609"/>
                </a:cubicBezTo>
                <a:cubicBezTo>
                  <a:pt x="670" y="608"/>
                  <a:pt x="670" y="608"/>
                  <a:pt x="670" y="608"/>
                </a:cubicBezTo>
                <a:cubicBezTo>
                  <a:pt x="669" y="610"/>
                  <a:pt x="669" y="610"/>
                  <a:pt x="669" y="610"/>
                </a:cubicBezTo>
                <a:cubicBezTo>
                  <a:pt x="667" y="612"/>
                  <a:pt x="667" y="612"/>
                  <a:pt x="667" y="612"/>
                </a:cubicBezTo>
                <a:cubicBezTo>
                  <a:pt x="666" y="612"/>
                  <a:pt x="666" y="612"/>
                  <a:pt x="666" y="612"/>
                </a:cubicBezTo>
                <a:cubicBezTo>
                  <a:pt x="665" y="614"/>
                  <a:pt x="665" y="614"/>
                  <a:pt x="665" y="614"/>
                </a:cubicBezTo>
                <a:cubicBezTo>
                  <a:pt x="664" y="616"/>
                  <a:pt x="664" y="616"/>
                  <a:pt x="664" y="616"/>
                </a:cubicBezTo>
                <a:cubicBezTo>
                  <a:pt x="665" y="618"/>
                  <a:pt x="665" y="618"/>
                  <a:pt x="665" y="618"/>
                </a:cubicBezTo>
                <a:cubicBezTo>
                  <a:pt x="663" y="618"/>
                  <a:pt x="663" y="618"/>
                  <a:pt x="663" y="618"/>
                </a:cubicBezTo>
                <a:cubicBezTo>
                  <a:pt x="663" y="620"/>
                  <a:pt x="663" y="620"/>
                  <a:pt x="663" y="620"/>
                </a:cubicBezTo>
                <a:cubicBezTo>
                  <a:pt x="663" y="622"/>
                  <a:pt x="663" y="622"/>
                  <a:pt x="663" y="622"/>
                </a:cubicBezTo>
                <a:cubicBezTo>
                  <a:pt x="662" y="623"/>
                  <a:pt x="662" y="623"/>
                  <a:pt x="662" y="623"/>
                </a:cubicBezTo>
                <a:cubicBezTo>
                  <a:pt x="663" y="624"/>
                  <a:pt x="663" y="624"/>
                  <a:pt x="663" y="624"/>
                </a:cubicBezTo>
                <a:cubicBezTo>
                  <a:pt x="664" y="625"/>
                  <a:pt x="664" y="625"/>
                  <a:pt x="664" y="625"/>
                </a:cubicBezTo>
                <a:cubicBezTo>
                  <a:pt x="665" y="626"/>
                  <a:pt x="665" y="626"/>
                  <a:pt x="665" y="626"/>
                </a:cubicBezTo>
                <a:cubicBezTo>
                  <a:pt x="666" y="627"/>
                  <a:pt x="666" y="627"/>
                  <a:pt x="666" y="627"/>
                </a:cubicBezTo>
                <a:cubicBezTo>
                  <a:pt x="666" y="628"/>
                  <a:pt x="666" y="628"/>
                  <a:pt x="666" y="628"/>
                </a:cubicBezTo>
                <a:close/>
                <a:moveTo>
                  <a:pt x="642" y="731"/>
                </a:moveTo>
                <a:cubicBezTo>
                  <a:pt x="642" y="732"/>
                  <a:pt x="642" y="732"/>
                  <a:pt x="642" y="732"/>
                </a:cubicBezTo>
                <a:cubicBezTo>
                  <a:pt x="643" y="731"/>
                  <a:pt x="643" y="731"/>
                  <a:pt x="643" y="731"/>
                </a:cubicBezTo>
                <a:cubicBezTo>
                  <a:pt x="642" y="730"/>
                  <a:pt x="642" y="730"/>
                  <a:pt x="642" y="730"/>
                </a:cubicBezTo>
                <a:cubicBezTo>
                  <a:pt x="642" y="731"/>
                  <a:pt x="642" y="731"/>
                  <a:pt x="642" y="731"/>
                </a:cubicBezTo>
                <a:close/>
                <a:moveTo>
                  <a:pt x="643" y="741"/>
                </a:moveTo>
                <a:cubicBezTo>
                  <a:pt x="645" y="739"/>
                  <a:pt x="645" y="739"/>
                  <a:pt x="645" y="739"/>
                </a:cubicBezTo>
                <a:cubicBezTo>
                  <a:pt x="645" y="737"/>
                  <a:pt x="645" y="737"/>
                  <a:pt x="645" y="737"/>
                </a:cubicBezTo>
                <a:cubicBezTo>
                  <a:pt x="646" y="737"/>
                  <a:pt x="646" y="737"/>
                  <a:pt x="646" y="737"/>
                </a:cubicBezTo>
                <a:cubicBezTo>
                  <a:pt x="646" y="740"/>
                  <a:pt x="646" y="740"/>
                  <a:pt x="646" y="740"/>
                </a:cubicBezTo>
                <a:cubicBezTo>
                  <a:pt x="644" y="741"/>
                  <a:pt x="644" y="741"/>
                  <a:pt x="644" y="741"/>
                </a:cubicBezTo>
                <a:cubicBezTo>
                  <a:pt x="644" y="741"/>
                  <a:pt x="643" y="741"/>
                  <a:pt x="643" y="741"/>
                </a:cubicBezTo>
                <a:close/>
                <a:moveTo>
                  <a:pt x="629" y="738"/>
                </a:moveTo>
                <a:cubicBezTo>
                  <a:pt x="630" y="735"/>
                  <a:pt x="630" y="735"/>
                  <a:pt x="630" y="735"/>
                </a:cubicBezTo>
                <a:cubicBezTo>
                  <a:pt x="632" y="735"/>
                  <a:pt x="632" y="735"/>
                  <a:pt x="632" y="735"/>
                </a:cubicBezTo>
                <a:cubicBezTo>
                  <a:pt x="632" y="735"/>
                  <a:pt x="632" y="735"/>
                  <a:pt x="632" y="735"/>
                </a:cubicBezTo>
                <a:cubicBezTo>
                  <a:pt x="633" y="735"/>
                  <a:pt x="633" y="735"/>
                  <a:pt x="633" y="735"/>
                </a:cubicBezTo>
                <a:cubicBezTo>
                  <a:pt x="635" y="734"/>
                  <a:pt x="635" y="734"/>
                  <a:pt x="635" y="734"/>
                </a:cubicBezTo>
                <a:cubicBezTo>
                  <a:pt x="636" y="733"/>
                  <a:pt x="636" y="733"/>
                  <a:pt x="636" y="733"/>
                </a:cubicBezTo>
                <a:cubicBezTo>
                  <a:pt x="635" y="735"/>
                  <a:pt x="635" y="735"/>
                  <a:pt x="635" y="735"/>
                </a:cubicBezTo>
                <a:cubicBezTo>
                  <a:pt x="631" y="738"/>
                  <a:pt x="631" y="738"/>
                  <a:pt x="631" y="738"/>
                </a:cubicBezTo>
                <a:cubicBezTo>
                  <a:pt x="630" y="738"/>
                  <a:pt x="630" y="738"/>
                  <a:pt x="630" y="738"/>
                </a:cubicBezTo>
                <a:cubicBezTo>
                  <a:pt x="629" y="738"/>
                  <a:pt x="629" y="738"/>
                  <a:pt x="629" y="738"/>
                </a:cubicBezTo>
                <a:close/>
                <a:moveTo>
                  <a:pt x="639" y="742"/>
                </a:moveTo>
                <a:cubicBezTo>
                  <a:pt x="642" y="738"/>
                  <a:pt x="642" y="738"/>
                  <a:pt x="642" y="738"/>
                </a:cubicBezTo>
                <a:cubicBezTo>
                  <a:pt x="642" y="737"/>
                  <a:pt x="642" y="737"/>
                  <a:pt x="642" y="737"/>
                </a:cubicBezTo>
                <a:cubicBezTo>
                  <a:pt x="643" y="737"/>
                  <a:pt x="643" y="737"/>
                  <a:pt x="643" y="737"/>
                </a:cubicBezTo>
                <a:cubicBezTo>
                  <a:pt x="643" y="738"/>
                  <a:pt x="643" y="738"/>
                  <a:pt x="643" y="738"/>
                </a:cubicBezTo>
                <a:cubicBezTo>
                  <a:pt x="640" y="742"/>
                  <a:pt x="640" y="742"/>
                  <a:pt x="640" y="742"/>
                </a:cubicBezTo>
                <a:cubicBezTo>
                  <a:pt x="639" y="744"/>
                  <a:pt x="639" y="744"/>
                  <a:pt x="639" y="744"/>
                </a:cubicBezTo>
                <a:cubicBezTo>
                  <a:pt x="640" y="743"/>
                  <a:pt x="640" y="743"/>
                  <a:pt x="640" y="743"/>
                </a:cubicBezTo>
                <a:cubicBezTo>
                  <a:pt x="643" y="739"/>
                  <a:pt x="643" y="739"/>
                  <a:pt x="643" y="739"/>
                </a:cubicBezTo>
                <a:cubicBezTo>
                  <a:pt x="644" y="738"/>
                  <a:pt x="644" y="738"/>
                  <a:pt x="644" y="738"/>
                </a:cubicBezTo>
                <a:cubicBezTo>
                  <a:pt x="644" y="736"/>
                  <a:pt x="644" y="736"/>
                  <a:pt x="644" y="736"/>
                </a:cubicBezTo>
                <a:cubicBezTo>
                  <a:pt x="643" y="735"/>
                  <a:pt x="643" y="735"/>
                  <a:pt x="643" y="735"/>
                </a:cubicBezTo>
                <a:cubicBezTo>
                  <a:pt x="643" y="735"/>
                  <a:pt x="643" y="735"/>
                  <a:pt x="643" y="735"/>
                </a:cubicBezTo>
                <a:cubicBezTo>
                  <a:pt x="643" y="733"/>
                  <a:pt x="643" y="733"/>
                  <a:pt x="643" y="733"/>
                </a:cubicBezTo>
                <a:cubicBezTo>
                  <a:pt x="641" y="732"/>
                  <a:pt x="641" y="732"/>
                  <a:pt x="641" y="732"/>
                </a:cubicBezTo>
                <a:cubicBezTo>
                  <a:pt x="640" y="733"/>
                  <a:pt x="640" y="733"/>
                  <a:pt x="640" y="733"/>
                </a:cubicBezTo>
                <a:cubicBezTo>
                  <a:pt x="639" y="737"/>
                  <a:pt x="639" y="737"/>
                  <a:pt x="639" y="737"/>
                </a:cubicBezTo>
                <a:cubicBezTo>
                  <a:pt x="637" y="738"/>
                  <a:pt x="637" y="738"/>
                  <a:pt x="637" y="738"/>
                </a:cubicBezTo>
                <a:cubicBezTo>
                  <a:pt x="636" y="740"/>
                  <a:pt x="636" y="740"/>
                  <a:pt x="636" y="740"/>
                </a:cubicBezTo>
                <a:cubicBezTo>
                  <a:pt x="636" y="738"/>
                  <a:pt x="636" y="738"/>
                  <a:pt x="636" y="738"/>
                </a:cubicBezTo>
                <a:cubicBezTo>
                  <a:pt x="638" y="736"/>
                  <a:pt x="638" y="736"/>
                  <a:pt x="638" y="736"/>
                </a:cubicBezTo>
                <a:cubicBezTo>
                  <a:pt x="639" y="734"/>
                  <a:pt x="639" y="734"/>
                  <a:pt x="639" y="734"/>
                </a:cubicBezTo>
                <a:cubicBezTo>
                  <a:pt x="638" y="733"/>
                  <a:pt x="638" y="733"/>
                  <a:pt x="638" y="733"/>
                </a:cubicBezTo>
                <a:cubicBezTo>
                  <a:pt x="637" y="734"/>
                  <a:pt x="637" y="734"/>
                  <a:pt x="637" y="734"/>
                </a:cubicBezTo>
                <a:cubicBezTo>
                  <a:pt x="635" y="737"/>
                  <a:pt x="635" y="737"/>
                  <a:pt x="635" y="737"/>
                </a:cubicBezTo>
                <a:cubicBezTo>
                  <a:pt x="632" y="740"/>
                  <a:pt x="632" y="740"/>
                  <a:pt x="632" y="740"/>
                </a:cubicBezTo>
                <a:cubicBezTo>
                  <a:pt x="632" y="741"/>
                  <a:pt x="632" y="741"/>
                  <a:pt x="632" y="741"/>
                </a:cubicBezTo>
                <a:cubicBezTo>
                  <a:pt x="630" y="743"/>
                  <a:pt x="630" y="743"/>
                  <a:pt x="630" y="743"/>
                </a:cubicBezTo>
                <a:cubicBezTo>
                  <a:pt x="631" y="745"/>
                  <a:pt x="631" y="745"/>
                  <a:pt x="631" y="745"/>
                </a:cubicBezTo>
                <a:cubicBezTo>
                  <a:pt x="632" y="745"/>
                  <a:pt x="632" y="745"/>
                  <a:pt x="632" y="745"/>
                </a:cubicBezTo>
                <a:cubicBezTo>
                  <a:pt x="634" y="742"/>
                  <a:pt x="634" y="742"/>
                  <a:pt x="634" y="742"/>
                </a:cubicBezTo>
                <a:cubicBezTo>
                  <a:pt x="635" y="741"/>
                  <a:pt x="635" y="741"/>
                  <a:pt x="635" y="741"/>
                </a:cubicBezTo>
                <a:cubicBezTo>
                  <a:pt x="635" y="743"/>
                  <a:pt x="635" y="743"/>
                  <a:pt x="635" y="743"/>
                </a:cubicBezTo>
                <a:cubicBezTo>
                  <a:pt x="633" y="745"/>
                  <a:pt x="633" y="745"/>
                  <a:pt x="633" y="745"/>
                </a:cubicBezTo>
                <a:cubicBezTo>
                  <a:pt x="634" y="746"/>
                  <a:pt x="634" y="746"/>
                  <a:pt x="634" y="746"/>
                </a:cubicBezTo>
                <a:cubicBezTo>
                  <a:pt x="636" y="745"/>
                  <a:pt x="636" y="745"/>
                  <a:pt x="636" y="745"/>
                </a:cubicBezTo>
                <a:cubicBezTo>
                  <a:pt x="637" y="745"/>
                  <a:pt x="637" y="745"/>
                  <a:pt x="637" y="745"/>
                </a:cubicBezTo>
                <a:cubicBezTo>
                  <a:pt x="637" y="745"/>
                  <a:pt x="639" y="742"/>
                  <a:pt x="639" y="742"/>
                </a:cubicBezTo>
                <a:close/>
                <a:moveTo>
                  <a:pt x="636" y="742"/>
                </a:moveTo>
                <a:cubicBezTo>
                  <a:pt x="637" y="741"/>
                  <a:pt x="637" y="741"/>
                  <a:pt x="637" y="741"/>
                </a:cubicBezTo>
                <a:cubicBezTo>
                  <a:pt x="640" y="737"/>
                  <a:pt x="640" y="737"/>
                  <a:pt x="640" y="737"/>
                </a:cubicBezTo>
                <a:cubicBezTo>
                  <a:pt x="639" y="740"/>
                  <a:pt x="639" y="740"/>
                  <a:pt x="639" y="740"/>
                </a:cubicBezTo>
                <a:cubicBezTo>
                  <a:pt x="637" y="742"/>
                  <a:pt x="637" y="742"/>
                  <a:pt x="637" y="742"/>
                </a:cubicBezTo>
                <a:cubicBezTo>
                  <a:pt x="636" y="742"/>
                  <a:pt x="636" y="742"/>
                  <a:pt x="636" y="742"/>
                </a:cubicBezTo>
                <a:close/>
                <a:moveTo>
                  <a:pt x="801" y="910"/>
                </a:moveTo>
                <a:cubicBezTo>
                  <a:pt x="800" y="909"/>
                  <a:pt x="800" y="909"/>
                  <a:pt x="800" y="909"/>
                </a:cubicBezTo>
                <a:cubicBezTo>
                  <a:pt x="800" y="909"/>
                  <a:pt x="800" y="909"/>
                  <a:pt x="800" y="909"/>
                </a:cubicBezTo>
                <a:cubicBezTo>
                  <a:pt x="800" y="908"/>
                  <a:pt x="800" y="908"/>
                  <a:pt x="800" y="908"/>
                </a:cubicBezTo>
                <a:cubicBezTo>
                  <a:pt x="801" y="907"/>
                  <a:pt x="801" y="907"/>
                  <a:pt x="801" y="907"/>
                </a:cubicBezTo>
                <a:cubicBezTo>
                  <a:pt x="803" y="905"/>
                  <a:pt x="803" y="905"/>
                  <a:pt x="803" y="905"/>
                </a:cubicBezTo>
                <a:cubicBezTo>
                  <a:pt x="803" y="905"/>
                  <a:pt x="803" y="905"/>
                  <a:pt x="803" y="905"/>
                </a:cubicBezTo>
                <a:cubicBezTo>
                  <a:pt x="803" y="905"/>
                  <a:pt x="803" y="905"/>
                  <a:pt x="803" y="905"/>
                </a:cubicBezTo>
                <a:cubicBezTo>
                  <a:pt x="803" y="905"/>
                  <a:pt x="803" y="905"/>
                  <a:pt x="803" y="905"/>
                </a:cubicBezTo>
                <a:cubicBezTo>
                  <a:pt x="800" y="907"/>
                  <a:pt x="800" y="907"/>
                  <a:pt x="800" y="907"/>
                </a:cubicBezTo>
                <a:cubicBezTo>
                  <a:pt x="799" y="909"/>
                  <a:pt x="799" y="909"/>
                  <a:pt x="799" y="909"/>
                </a:cubicBezTo>
                <a:cubicBezTo>
                  <a:pt x="800" y="910"/>
                  <a:pt x="800" y="910"/>
                  <a:pt x="800" y="910"/>
                </a:cubicBezTo>
                <a:cubicBezTo>
                  <a:pt x="801" y="910"/>
                  <a:pt x="801" y="910"/>
                  <a:pt x="801" y="910"/>
                </a:cubicBezTo>
                <a:cubicBezTo>
                  <a:pt x="801" y="910"/>
                  <a:pt x="801" y="910"/>
                  <a:pt x="801" y="910"/>
                </a:cubicBezTo>
                <a:close/>
                <a:moveTo>
                  <a:pt x="861" y="920"/>
                </a:moveTo>
                <a:cubicBezTo>
                  <a:pt x="861" y="919"/>
                  <a:pt x="861" y="919"/>
                  <a:pt x="861" y="919"/>
                </a:cubicBezTo>
                <a:cubicBezTo>
                  <a:pt x="861" y="917"/>
                  <a:pt x="861" y="917"/>
                  <a:pt x="861" y="917"/>
                </a:cubicBezTo>
                <a:cubicBezTo>
                  <a:pt x="861" y="916"/>
                  <a:pt x="861" y="916"/>
                  <a:pt x="861" y="916"/>
                </a:cubicBezTo>
                <a:cubicBezTo>
                  <a:pt x="860" y="914"/>
                  <a:pt x="860" y="914"/>
                  <a:pt x="860" y="914"/>
                </a:cubicBezTo>
                <a:cubicBezTo>
                  <a:pt x="861" y="913"/>
                  <a:pt x="861" y="913"/>
                  <a:pt x="861" y="913"/>
                </a:cubicBezTo>
                <a:cubicBezTo>
                  <a:pt x="862" y="912"/>
                  <a:pt x="862" y="912"/>
                  <a:pt x="862" y="912"/>
                </a:cubicBezTo>
                <a:cubicBezTo>
                  <a:pt x="862" y="913"/>
                  <a:pt x="862" y="913"/>
                  <a:pt x="862" y="913"/>
                </a:cubicBezTo>
                <a:cubicBezTo>
                  <a:pt x="862" y="914"/>
                  <a:pt x="862" y="914"/>
                  <a:pt x="862" y="914"/>
                </a:cubicBezTo>
                <a:cubicBezTo>
                  <a:pt x="862" y="915"/>
                  <a:pt x="862" y="915"/>
                  <a:pt x="862" y="915"/>
                </a:cubicBezTo>
                <a:cubicBezTo>
                  <a:pt x="861" y="916"/>
                  <a:pt x="861" y="916"/>
                  <a:pt x="861" y="916"/>
                </a:cubicBezTo>
                <a:cubicBezTo>
                  <a:pt x="861" y="917"/>
                  <a:pt x="861" y="917"/>
                  <a:pt x="861" y="917"/>
                </a:cubicBezTo>
                <a:cubicBezTo>
                  <a:pt x="862" y="918"/>
                  <a:pt x="862" y="918"/>
                  <a:pt x="862" y="918"/>
                </a:cubicBezTo>
                <a:cubicBezTo>
                  <a:pt x="863" y="919"/>
                  <a:pt x="863" y="919"/>
                  <a:pt x="863" y="919"/>
                </a:cubicBezTo>
                <a:cubicBezTo>
                  <a:pt x="862" y="920"/>
                  <a:pt x="862" y="920"/>
                  <a:pt x="862" y="920"/>
                </a:cubicBezTo>
                <a:cubicBezTo>
                  <a:pt x="861" y="920"/>
                  <a:pt x="861" y="920"/>
                  <a:pt x="861" y="920"/>
                </a:cubicBezTo>
                <a:close/>
                <a:moveTo>
                  <a:pt x="863" y="922"/>
                </a:moveTo>
                <a:cubicBezTo>
                  <a:pt x="864" y="920"/>
                  <a:pt x="864" y="920"/>
                  <a:pt x="864" y="920"/>
                </a:cubicBezTo>
                <a:cubicBezTo>
                  <a:pt x="865" y="920"/>
                  <a:pt x="865" y="920"/>
                  <a:pt x="865" y="920"/>
                </a:cubicBezTo>
                <a:cubicBezTo>
                  <a:pt x="865" y="921"/>
                  <a:pt x="865" y="921"/>
                  <a:pt x="865" y="921"/>
                </a:cubicBezTo>
                <a:cubicBezTo>
                  <a:pt x="864" y="922"/>
                  <a:pt x="864" y="922"/>
                  <a:pt x="864" y="922"/>
                </a:cubicBezTo>
                <a:cubicBezTo>
                  <a:pt x="863" y="922"/>
                  <a:pt x="863" y="922"/>
                  <a:pt x="863" y="922"/>
                </a:cubicBezTo>
                <a:close/>
                <a:moveTo>
                  <a:pt x="887" y="836"/>
                </a:moveTo>
                <a:cubicBezTo>
                  <a:pt x="888" y="834"/>
                  <a:pt x="888" y="834"/>
                  <a:pt x="888" y="834"/>
                </a:cubicBezTo>
                <a:cubicBezTo>
                  <a:pt x="890" y="832"/>
                  <a:pt x="890" y="832"/>
                  <a:pt x="890" y="832"/>
                </a:cubicBezTo>
                <a:cubicBezTo>
                  <a:pt x="889" y="834"/>
                  <a:pt x="889" y="834"/>
                  <a:pt x="889" y="834"/>
                </a:cubicBezTo>
                <a:cubicBezTo>
                  <a:pt x="889" y="836"/>
                  <a:pt x="889" y="836"/>
                  <a:pt x="889" y="836"/>
                </a:cubicBezTo>
                <a:cubicBezTo>
                  <a:pt x="888" y="836"/>
                  <a:pt x="888" y="836"/>
                  <a:pt x="888" y="836"/>
                </a:cubicBezTo>
                <a:cubicBezTo>
                  <a:pt x="888" y="836"/>
                  <a:pt x="887" y="836"/>
                  <a:pt x="887" y="836"/>
                </a:cubicBezTo>
                <a:close/>
                <a:moveTo>
                  <a:pt x="880" y="854"/>
                </a:moveTo>
                <a:cubicBezTo>
                  <a:pt x="880" y="855"/>
                  <a:pt x="880" y="855"/>
                  <a:pt x="880" y="855"/>
                </a:cubicBezTo>
                <a:cubicBezTo>
                  <a:pt x="881" y="855"/>
                  <a:pt x="881" y="855"/>
                  <a:pt x="881" y="855"/>
                </a:cubicBezTo>
                <a:cubicBezTo>
                  <a:pt x="881" y="855"/>
                  <a:pt x="881" y="855"/>
                  <a:pt x="881" y="855"/>
                </a:cubicBezTo>
                <a:cubicBezTo>
                  <a:pt x="882" y="855"/>
                  <a:pt x="882" y="855"/>
                  <a:pt x="882" y="855"/>
                </a:cubicBezTo>
                <a:cubicBezTo>
                  <a:pt x="882" y="853"/>
                  <a:pt x="882" y="853"/>
                  <a:pt x="882" y="853"/>
                </a:cubicBezTo>
                <a:cubicBezTo>
                  <a:pt x="881" y="853"/>
                  <a:pt x="881" y="853"/>
                  <a:pt x="881" y="853"/>
                </a:cubicBezTo>
                <a:cubicBezTo>
                  <a:pt x="880" y="854"/>
                  <a:pt x="880" y="854"/>
                  <a:pt x="880" y="854"/>
                </a:cubicBezTo>
                <a:close/>
                <a:moveTo>
                  <a:pt x="892" y="874"/>
                </a:moveTo>
                <a:cubicBezTo>
                  <a:pt x="892" y="872"/>
                  <a:pt x="892" y="872"/>
                  <a:pt x="892" y="872"/>
                </a:cubicBezTo>
                <a:cubicBezTo>
                  <a:pt x="892" y="871"/>
                  <a:pt x="892" y="871"/>
                  <a:pt x="892" y="871"/>
                </a:cubicBezTo>
                <a:cubicBezTo>
                  <a:pt x="893" y="871"/>
                  <a:pt x="893" y="871"/>
                  <a:pt x="893" y="871"/>
                </a:cubicBezTo>
                <a:cubicBezTo>
                  <a:pt x="893" y="872"/>
                  <a:pt x="893" y="872"/>
                  <a:pt x="893" y="872"/>
                </a:cubicBezTo>
                <a:cubicBezTo>
                  <a:pt x="894" y="871"/>
                  <a:pt x="894" y="871"/>
                  <a:pt x="894" y="871"/>
                </a:cubicBezTo>
                <a:cubicBezTo>
                  <a:pt x="895" y="872"/>
                  <a:pt x="895" y="872"/>
                  <a:pt x="895" y="872"/>
                </a:cubicBezTo>
                <a:cubicBezTo>
                  <a:pt x="895" y="873"/>
                  <a:pt x="895" y="873"/>
                  <a:pt x="895" y="873"/>
                </a:cubicBezTo>
                <a:cubicBezTo>
                  <a:pt x="894" y="874"/>
                  <a:pt x="894" y="874"/>
                  <a:pt x="894" y="874"/>
                </a:cubicBezTo>
                <a:cubicBezTo>
                  <a:pt x="894" y="874"/>
                  <a:pt x="892" y="874"/>
                  <a:pt x="892" y="874"/>
                </a:cubicBezTo>
                <a:close/>
                <a:moveTo>
                  <a:pt x="887" y="874"/>
                </a:moveTo>
                <a:cubicBezTo>
                  <a:pt x="888" y="874"/>
                  <a:pt x="888" y="874"/>
                  <a:pt x="888" y="874"/>
                </a:cubicBezTo>
                <a:cubicBezTo>
                  <a:pt x="889" y="874"/>
                  <a:pt x="889" y="874"/>
                  <a:pt x="889" y="874"/>
                </a:cubicBezTo>
                <a:cubicBezTo>
                  <a:pt x="889" y="873"/>
                  <a:pt x="889" y="873"/>
                  <a:pt x="889" y="873"/>
                </a:cubicBezTo>
                <a:cubicBezTo>
                  <a:pt x="889" y="872"/>
                  <a:pt x="889" y="872"/>
                  <a:pt x="889" y="872"/>
                </a:cubicBezTo>
                <a:cubicBezTo>
                  <a:pt x="890" y="872"/>
                  <a:pt x="890" y="872"/>
                  <a:pt x="890" y="872"/>
                </a:cubicBezTo>
                <a:cubicBezTo>
                  <a:pt x="890" y="873"/>
                  <a:pt x="890" y="873"/>
                  <a:pt x="890" y="873"/>
                </a:cubicBezTo>
                <a:cubicBezTo>
                  <a:pt x="889" y="875"/>
                  <a:pt x="889" y="875"/>
                  <a:pt x="889" y="875"/>
                </a:cubicBezTo>
                <a:cubicBezTo>
                  <a:pt x="887" y="876"/>
                  <a:pt x="887" y="876"/>
                  <a:pt x="887" y="876"/>
                </a:cubicBezTo>
                <a:cubicBezTo>
                  <a:pt x="886" y="875"/>
                  <a:pt x="886" y="875"/>
                  <a:pt x="886" y="875"/>
                </a:cubicBezTo>
                <a:cubicBezTo>
                  <a:pt x="886" y="874"/>
                  <a:pt x="886" y="874"/>
                  <a:pt x="886" y="874"/>
                </a:cubicBezTo>
                <a:cubicBezTo>
                  <a:pt x="887" y="874"/>
                  <a:pt x="887" y="874"/>
                  <a:pt x="887" y="874"/>
                </a:cubicBezTo>
                <a:close/>
                <a:moveTo>
                  <a:pt x="867" y="905"/>
                </a:moveTo>
                <a:cubicBezTo>
                  <a:pt x="868" y="904"/>
                  <a:pt x="868" y="904"/>
                  <a:pt x="868" y="904"/>
                </a:cubicBezTo>
                <a:cubicBezTo>
                  <a:pt x="868" y="905"/>
                  <a:pt x="868" y="905"/>
                  <a:pt x="868" y="905"/>
                </a:cubicBezTo>
                <a:cubicBezTo>
                  <a:pt x="868" y="905"/>
                  <a:pt x="868" y="905"/>
                  <a:pt x="868" y="905"/>
                </a:cubicBezTo>
                <a:cubicBezTo>
                  <a:pt x="867" y="905"/>
                  <a:pt x="867" y="905"/>
                  <a:pt x="867" y="905"/>
                </a:cubicBezTo>
                <a:close/>
                <a:moveTo>
                  <a:pt x="893" y="898"/>
                </a:moveTo>
                <a:cubicBezTo>
                  <a:pt x="893" y="899"/>
                  <a:pt x="893" y="899"/>
                  <a:pt x="893" y="899"/>
                </a:cubicBezTo>
                <a:cubicBezTo>
                  <a:pt x="894" y="899"/>
                  <a:pt x="894" y="899"/>
                  <a:pt x="894" y="899"/>
                </a:cubicBezTo>
                <a:cubicBezTo>
                  <a:pt x="896" y="899"/>
                  <a:pt x="896" y="899"/>
                  <a:pt x="896" y="899"/>
                </a:cubicBezTo>
                <a:cubicBezTo>
                  <a:pt x="896" y="899"/>
                  <a:pt x="896" y="899"/>
                  <a:pt x="896" y="899"/>
                </a:cubicBezTo>
                <a:cubicBezTo>
                  <a:pt x="894" y="898"/>
                  <a:pt x="894" y="898"/>
                  <a:pt x="894" y="898"/>
                </a:cubicBezTo>
                <a:cubicBezTo>
                  <a:pt x="893" y="898"/>
                  <a:pt x="893" y="898"/>
                  <a:pt x="893" y="898"/>
                </a:cubicBezTo>
                <a:close/>
                <a:moveTo>
                  <a:pt x="865" y="851"/>
                </a:moveTo>
                <a:cubicBezTo>
                  <a:pt x="864" y="853"/>
                  <a:pt x="864" y="853"/>
                  <a:pt x="864" y="853"/>
                </a:cubicBezTo>
                <a:cubicBezTo>
                  <a:pt x="862" y="854"/>
                  <a:pt x="862" y="854"/>
                  <a:pt x="862" y="854"/>
                </a:cubicBezTo>
                <a:cubicBezTo>
                  <a:pt x="861" y="855"/>
                  <a:pt x="861" y="855"/>
                  <a:pt x="861" y="855"/>
                </a:cubicBezTo>
                <a:cubicBezTo>
                  <a:pt x="861" y="856"/>
                  <a:pt x="861" y="856"/>
                  <a:pt x="861" y="856"/>
                </a:cubicBezTo>
                <a:cubicBezTo>
                  <a:pt x="861" y="857"/>
                  <a:pt x="861" y="857"/>
                  <a:pt x="861" y="857"/>
                </a:cubicBezTo>
                <a:cubicBezTo>
                  <a:pt x="860" y="857"/>
                  <a:pt x="860" y="857"/>
                  <a:pt x="860" y="857"/>
                </a:cubicBezTo>
                <a:cubicBezTo>
                  <a:pt x="860" y="858"/>
                  <a:pt x="860" y="858"/>
                  <a:pt x="860" y="858"/>
                </a:cubicBezTo>
                <a:cubicBezTo>
                  <a:pt x="861" y="859"/>
                  <a:pt x="861" y="859"/>
                  <a:pt x="861" y="859"/>
                </a:cubicBezTo>
                <a:cubicBezTo>
                  <a:pt x="860" y="859"/>
                  <a:pt x="860" y="859"/>
                  <a:pt x="860" y="859"/>
                </a:cubicBezTo>
                <a:cubicBezTo>
                  <a:pt x="858" y="859"/>
                  <a:pt x="858" y="859"/>
                  <a:pt x="858" y="859"/>
                </a:cubicBezTo>
                <a:cubicBezTo>
                  <a:pt x="857" y="861"/>
                  <a:pt x="857" y="861"/>
                  <a:pt x="857" y="861"/>
                </a:cubicBezTo>
                <a:cubicBezTo>
                  <a:pt x="857" y="862"/>
                  <a:pt x="857" y="862"/>
                  <a:pt x="857" y="862"/>
                </a:cubicBezTo>
                <a:cubicBezTo>
                  <a:pt x="857" y="862"/>
                  <a:pt x="857" y="862"/>
                  <a:pt x="857" y="862"/>
                </a:cubicBezTo>
                <a:cubicBezTo>
                  <a:pt x="858" y="862"/>
                  <a:pt x="858" y="862"/>
                  <a:pt x="858" y="862"/>
                </a:cubicBezTo>
                <a:cubicBezTo>
                  <a:pt x="857" y="863"/>
                  <a:pt x="857" y="863"/>
                  <a:pt x="857" y="863"/>
                </a:cubicBezTo>
                <a:cubicBezTo>
                  <a:pt x="856" y="863"/>
                  <a:pt x="856" y="863"/>
                  <a:pt x="856" y="863"/>
                </a:cubicBezTo>
                <a:cubicBezTo>
                  <a:pt x="854" y="865"/>
                  <a:pt x="854" y="865"/>
                  <a:pt x="854" y="865"/>
                </a:cubicBezTo>
                <a:cubicBezTo>
                  <a:pt x="854" y="867"/>
                  <a:pt x="854" y="867"/>
                  <a:pt x="854" y="867"/>
                </a:cubicBezTo>
                <a:cubicBezTo>
                  <a:pt x="851" y="871"/>
                  <a:pt x="851" y="871"/>
                  <a:pt x="851" y="871"/>
                </a:cubicBezTo>
                <a:cubicBezTo>
                  <a:pt x="851" y="872"/>
                  <a:pt x="851" y="872"/>
                  <a:pt x="851" y="872"/>
                </a:cubicBezTo>
                <a:cubicBezTo>
                  <a:pt x="852" y="873"/>
                  <a:pt x="852" y="873"/>
                  <a:pt x="852" y="873"/>
                </a:cubicBezTo>
                <a:cubicBezTo>
                  <a:pt x="852" y="874"/>
                  <a:pt x="852" y="874"/>
                  <a:pt x="852" y="874"/>
                </a:cubicBezTo>
                <a:cubicBezTo>
                  <a:pt x="851" y="874"/>
                  <a:pt x="851" y="874"/>
                  <a:pt x="851" y="874"/>
                </a:cubicBezTo>
                <a:cubicBezTo>
                  <a:pt x="851" y="873"/>
                  <a:pt x="851" y="873"/>
                  <a:pt x="851" y="873"/>
                </a:cubicBezTo>
                <a:cubicBezTo>
                  <a:pt x="850" y="874"/>
                  <a:pt x="850" y="874"/>
                  <a:pt x="850" y="874"/>
                </a:cubicBezTo>
                <a:cubicBezTo>
                  <a:pt x="848" y="875"/>
                  <a:pt x="848" y="875"/>
                  <a:pt x="848" y="875"/>
                </a:cubicBezTo>
                <a:cubicBezTo>
                  <a:pt x="847" y="876"/>
                  <a:pt x="847" y="876"/>
                  <a:pt x="847" y="876"/>
                </a:cubicBezTo>
                <a:cubicBezTo>
                  <a:pt x="847" y="877"/>
                  <a:pt x="847" y="877"/>
                  <a:pt x="847" y="877"/>
                </a:cubicBezTo>
                <a:cubicBezTo>
                  <a:pt x="849" y="877"/>
                  <a:pt x="849" y="877"/>
                  <a:pt x="849" y="877"/>
                </a:cubicBezTo>
                <a:cubicBezTo>
                  <a:pt x="849" y="878"/>
                  <a:pt x="849" y="878"/>
                  <a:pt x="849" y="878"/>
                </a:cubicBezTo>
                <a:cubicBezTo>
                  <a:pt x="849" y="879"/>
                  <a:pt x="849" y="879"/>
                  <a:pt x="849" y="879"/>
                </a:cubicBezTo>
                <a:cubicBezTo>
                  <a:pt x="848" y="880"/>
                  <a:pt x="848" y="880"/>
                  <a:pt x="848" y="880"/>
                </a:cubicBezTo>
                <a:cubicBezTo>
                  <a:pt x="847" y="881"/>
                  <a:pt x="847" y="881"/>
                  <a:pt x="847" y="881"/>
                </a:cubicBezTo>
                <a:cubicBezTo>
                  <a:pt x="844" y="881"/>
                  <a:pt x="844" y="881"/>
                  <a:pt x="844" y="881"/>
                </a:cubicBezTo>
                <a:cubicBezTo>
                  <a:pt x="844" y="881"/>
                  <a:pt x="844" y="881"/>
                  <a:pt x="844" y="881"/>
                </a:cubicBezTo>
                <a:cubicBezTo>
                  <a:pt x="844" y="882"/>
                  <a:pt x="844" y="882"/>
                  <a:pt x="844" y="882"/>
                </a:cubicBezTo>
                <a:cubicBezTo>
                  <a:pt x="842" y="884"/>
                  <a:pt x="842" y="884"/>
                  <a:pt x="842" y="884"/>
                </a:cubicBezTo>
                <a:cubicBezTo>
                  <a:pt x="841" y="886"/>
                  <a:pt x="841" y="886"/>
                  <a:pt x="841" y="886"/>
                </a:cubicBezTo>
                <a:cubicBezTo>
                  <a:pt x="840" y="888"/>
                  <a:pt x="840" y="888"/>
                  <a:pt x="840" y="888"/>
                </a:cubicBezTo>
                <a:cubicBezTo>
                  <a:pt x="839" y="888"/>
                  <a:pt x="839" y="888"/>
                  <a:pt x="839" y="888"/>
                </a:cubicBezTo>
                <a:cubicBezTo>
                  <a:pt x="839" y="886"/>
                  <a:pt x="839" y="886"/>
                  <a:pt x="839" y="886"/>
                </a:cubicBezTo>
                <a:cubicBezTo>
                  <a:pt x="838" y="888"/>
                  <a:pt x="838" y="888"/>
                  <a:pt x="838" y="888"/>
                </a:cubicBezTo>
                <a:cubicBezTo>
                  <a:pt x="837" y="886"/>
                  <a:pt x="837" y="886"/>
                  <a:pt x="837" y="886"/>
                </a:cubicBezTo>
                <a:cubicBezTo>
                  <a:pt x="838" y="885"/>
                  <a:pt x="838" y="885"/>
                  <a:pt x="838" y="885"/>
                </a:cubicBezTo>
                <a:cubicBezTo>
                  <a:pt x="839" y="884"/>
                  <a:pt x="839" y="884"/>
                  <a:pt x="839" y="884"/>
                </a:cubicBezTo>
                <a:cubicBezTo>
                  <a:pt x="840" y="883"/>
                  <a:pt x="840" y="883"/>
                  <a:pt x="840" y="883"/>
                </a:cubicBezTo>
                <a:cubicBezTo>
                  <a:pt x="839" y="884"/>
                  <a:pt x="839" y="884"/>
                  <a:pt x="839" y="884"/>
                </a:cubicBezTo>
                <a:cubicBezTo>
                  <a:pt x="837" y="885"/>
                  <a:pt x="837" y="885"/>
                  <a:pt x="837" y="885"/>
                </a:cubicBezTo>
                <a:cubicBezTo>
                  <a:pt x="834" y="887"/>
                  <a:pt x="834" y="887"/>
                  <a:pt x="834" y="887"/>
                </a:cubicBezTo>
                <a:cubicBezTo>
                  <a:pt x="833" y="890"/>
                  <a:pt x="833" y="890"/>
                  <a:pt x="833" y="890"/>
                </a:cubicBezTo>
                <a:cubicBezTo>
                  <a:pt x="834" y="890"/>
                  <a:pt x="834" y="890"/>
                  <a:pt x="834" y="890"/>
                </a:cubicBezTo>
                <a:cubicBezTo>
                  <a:pt x="836" y="889"/>
                  <a:pt x="836" y="889"/>
                  <a:pt x="836" y="889"/>
                </a:cubicBezTo>
                <a:cubicBezTo>
                  <a:pt x="839" y="889"/>
                  <a:pt x="839" y="889"/>
                  <a:pt x="839" y="889"/>
                </a:cubicBezTo>
                <a:cubicBezTo>
                  <a:pt x="842" y="889"/>
                  <a:pt x="842" y="889"/>
                  <a:pt x="842" y="889"/>
                </a:cubicBezTo>
                <a:cubicBezTo>
                  <a:pt x="840" y="890"/>
                  <a:pt x="840" y="890"/>
                  <a:pt x="840" y="890"/>
                </a:cubicBezTo>
                <a:cubicBezTo>
                  <a:pt x="838" y="893"/>
                  <a:pt x="838" y="893"/>
                  <a:pt x="838" y="893"/>
                </a:cubicBezTo>
                <a:cubicBezTo>
                  <a:pt x="837" y="895"/>
                  <a:pt x="837" y="895"/>
                  <a:pt x="837" y="895"/>
                </a:cubicBezTo>
                <a:cubicBezTo>
                  <a:pt x="834" y="897"/>
                  <a:pt x="834" y="897"/>
                  <a:pt x="834" y="897"/>
                </a:cubicBezTo>
                <a:cubicBezTo>
                  <a:pt x="832" y="899"/>
                  <a:pt x="832" y="899"/>
                  <a:pt x="832" y="899"/>
                </a:cubicBezTo>
                <a:cubicBezTo>
                  <a:pt x="830" y="899"/>
                  <a:pt x="830" y="899"/>
                  <a:pt x="830" y="899"/>
                </a:cubicBezTo>
                <a:cubicBezTo>
                  <a:pt x="830" y="900"/>
                  <a:pt x="830" y="900"/>
                  <a:pt x="830" y="900"/>
                </a:cubicBezTo>
                <a:cubicBezTo>
                  <a:pt x="830" y="901"/>
                  <a:pt x="830" y="901"/>
                  <a:pt x="830" y="901"/>
                </a:cubicBezTo>
                <a:cubicBezTo>
                  <a:pt x="830" y="903"/>
                  <a:pt x="830" y="903"/>
                  <a:pt x="830" y="903"/>
                </a:cubicBezTo>
                <a:cubicBezTo>
                  <a:pt x="830" y="904"/>
                  <a:pt x="830" y="904"/>
                  <a:pt x="830" y="904"/>
                </a:cubicBezTo>
                <a:cubicBezTo>
                  <a:pt x="831" y="904"/>
                  <a:pt x="831" y="904"/>
                  <a:pt x="831" y="904"/>
                </a:cubicBezTo>
                <a:cubicBezTo>
                  <a:pt x="834" y="905"/>
                  <a:pt x="834" y="905"/>
                  <a:pt x="834" y="905"/>
                </a:cubicBezTo>
                <a:cubicBezTo>
                  <a:pt x="836" y="905"/>
                  <a:pt x="836" y="905"/>
                  <a:pt x="836" y="905"/>
                </a:cubicBezTo>
                <a:cubicBezTo>
                  <a:pt x="838" y="903"/>
                  <a:pt x="838" y="903"/>
                  <a:pt x="838" y="903"/>
                </a:cubicBezTo>
                <a:cubicBezTo>
                  <a:pt x="840" y="903"/>
                  <a:pt x="840" y="903"/>
                  <a:pt x="840" y="903"/>
                </a:cubicBezTo>
                <a:cubicBezTo>
                  <a:pt x="842" y="902"/>
                  <a:pt x="842" y="902"/>
                  <a:pt x="842" y="902"/>
                </a:cubicBezTo>
                <a:cubicBezTo>
                  <a:pt x="842" y="901"/>
                  <a:pt x="842" y="901"/>
                  <a:pt x="842" y="901"/>
                </a:cubicBezTo>
                <a:cubicBezTo>
                  <a:pt x="842" y="901"/>
                  <a:pt x="842" y="901"/>
                  <a:pt x="842" y="901"/>
                </a:cubicBezTo>
                <a:cubicBezTo>
                  <a:pt x="841" y="903"/>
                  <a:pt x="841" y="903"/>
                  <a:pt x="841" y="903"/>
                </a:cubicBezTo>
                <a:cubicBezTo>
                  <a:pt x="844" y="904"/>
                  <a:pt x="844" y="904"/>
                  <a:pt x="844" y="904"/>
                </a:cubicBezTo>
                <a:cubicBezTo>
                  <a:pt x="846" y="903"/>
                  <a:pt x="846" y="903"/>
                  <a:pt x="846" y="903"/>
                </a:cubicBezTo>
                <a:cubicBezTo>
                  <a:pt x="847" y="904"/>
                  <a:pt x="847" y="904"/>
                  <a:pt x="847" y="904"/>
                </a:cubicBezTo>
                <a:cubicBezTo>
                  <a:pt x="850" y="904"/>
                  <a:pt x="850" y="904"/>
                  <a:pt x="850" y="904"/>
                </a:cubicBezTo>
                <a:cubicBezTo>
                  <a:pt x="852" y="904"/>
                  <a:pt x="852" y="904"/>
                  <a:pt x="852" y="904"/>
                </a:cubicBezTo>
                <a:cubicBezTo>
                  <a:pt x="852" y="905"/>
                  <a:pt x="852" y="905"/>
                  <a:pt x="852" y="905"/>
                </a:cubicBezTo>
                <a:cubicBezTo>
                  <a:pt x="853" y="906"/>
                  <a:pt x="853" y="906"/>
                  <a:pt x="853" y="906"/>
                </a:cubicBezTo>
                <a:cubicBezTo>
                  <a:pt x="855" y="906"/>
                  <a:pt x="855" y="906"/>
                  <a:pt x="855" y="906"/>
                </a:cubicBezTo>
                <a:cubicBezTo>
                  <a:pt x="856" y="905"/>
                  <a:pt x="856" y="905"/>
                  <a:pt x="856" y="905"/>
                </a:cubicBezTo>
                <a:cubicBezTo>
                  <a:pt x="856" y="906"/>
                  <a:pt x="856" y="906"/>
                  <a:pt x="856" y="906"/>
                </a:cubicBezTo>
                <a:cubicBezTo>
                  <a:pt x="858" y="906"/>
                  <a:pt x="858" y="906"/>
                  <a:pt x="858" y="906"/>
                </a:cubicBezTo>
                <a:cubicBezTo>
                  <a:pt x="859" y="905"/>
                  <a:pt x="859" y="905"/>
                  <a:pt x="859" y="905"/>
                </a:cubicBezTo>
                <a:cubicBezTo>
                  <a:pt x="859" y="905"/>
                  <a:pt x="859" y="905"/>
                  <a:pt x="859" y="905"/>
                </a:cubicBezTo>
                <a:cubicBezTo>
                  <a:pt x="861" y="905"/>
                  <a:pt x="861" y="905"/>
                  <a:pt x="861" y="905"/>
                </a:cubicBezTo>
                <a:cubicBezTo>
                  <a:pt x="861" y="905"/>
                  <a:pt x="861" y="905"/>
                  <a:pt x="861" y="905"/>
                </a:cubicBezTo>
                <a:cubicBezTo>
                  <a:pt x="862" y="905"/>
                  <a:pt x="862" y="905"/>
                  <a:pt x="862" y="905"/>
                </a:cubicBezTo>
                <a:cubicBezTo>
                  <a:pt x="863" y="904"/>
                  <a:pt x="863" y="904"/>
                  <a:pt x="863" y="904"/>
                </a:cubicBezTo>
                <a:cubicBezTo>
                  <a:pt x="864" y="904"/>
                  <a:pt x="864" y="904"/>
                  <a:pt x="864" y="904"/>
                </a:cubicBezTo>
                <a:cubicBezTo>
                  <a:pt x="865" y="905"/>
                  <a:pt x="865" y="905"/>
                  <a:pt x="865" y="905"/>
                </a:cubicBezTo>
                <a:cubicBezTo>
                  <a:pt x="866" y="904"/>
                  <a:pt x="866" y="904"/>
                  <a:pt x="866" y="904"/>
                </a:cubicBezTo>
                <a:cubicBezTo>
                  <a:pt x="865" y="903"/>
                  <a:pt x="865" y="903"/>
                  <a:pt x="865" y="903"/>
                </a:cubicBezTo>
                <a:cubicBezTo>
                  <a:pt x="866" y="901"/>
                  <a:pt x="866" y="901"/>
                  <a:pt x="866" y="901"/>
                </a:cubicBezTo>
                <a:cubicBezTo>
                  <a:pt x="866" y="902"/>
                  <a:pt x="866" y="902"/>
                  <a:pt x="866" y="902"/>
                </a:cubicBezTo>
                <a:cubicBezTo>
                  <a:pt x="867" y="900"/>
                  <a:pt x="867" y="900"/>
                  <a:pt x="867" y="900"/>
                </a:cubicBezTo>
                <a:cubicBezTo>
                  <a:pt x="868" y="900"/>
                  <a:pt x="868" y="900"/>
                  <a:pt x="868" y="900"/>
                </a:cubicBezTo>
                <a:cubicBezTo>
                  <a:pt x="867" y="901"/>
                  <a:pt x="867" y="901"/>
                  <a:pt x="867" y="901"/>
                </a:cubicBezTo>
                <a:cubicBezTo>
                  <a:pt x="867" y="903"/>
                  <a:pt x="867" y="903"/>
                  <a:pt x="867" y="903"/>
                </a:cubicBezTo>
                <a:cubicBezTo>
                  <a:pt x="867" y="904"/>
                  <a:pt x="867" y="904"/>
                  <a:pt x="867" y="904"/>
                </a:cubicBezTo>
                <a:cubicBezTo>
                  <a:pt x="868" y="902"/>
                  <a:pt x="868" y="902"/>
                  <a:pt x="868" y="902"/>
                </a:cubicBezTo>
                <a:cubicBezTo>
                  <a:pt x="869" y="901"/>
                  <a:pt x="869" y="901"/>
                  <a:pt x="869" y="901"/>
                </a:cubicBezTo>
                <a:cubicBezTo>
                  <a:pt x="870" y="901"/>
                  <a:pt x="870" y="901"/>
                  <a:pt x="870" y="901"/>
                </a:cubicBezTo>
                <a:cubicBezTo>
                  <a:pt x="870" y="902"/>
                  <a:pt x="870" y="902"/>
                  <a:pt x="870" y="902"/>
                </a:cubicBezTo>
                <a:cubicBezTo>
                  <a:pt x="869" y="904"/>
                  <a:pt x="869" y="904"/>
                  <a:pt x="869" y="904"/>
                </a:cubicBezTo>
                <a:cubicBezTo>
                  <a:pt x="869" y="904"/>
                  <a:pt x="869" y="904"/>
                  <a:pt x="869" y="904"/>
                </a:cubicBezTo>
                <a:cubicBezTo>
                  <a:pt x="870" y="904"/>
                  <a:pt x="870" y="904"/>
                  <a:pt x="870" y="904"/>
                </a:cubicBezTo>
                <a:cubicBezTo>
                  <a:pt x="871" y="904"/>
                  <a:pt x="871" y="904"/>
                  <a:pt x="871" y="904"/>
                </a:cubicBezTo>
                <a:cubicBezTo>
                  <a:pt x="871" y="904"/>
                  <a:pt x="871" y="904"/>
                  <a:pt x="871" y="904"/>
                </a:cubicBezTo>
                <a:cubicBezTo>
                  <a:pt x="868" y="906"/>
                  <a:pt x="868" y="906"/>
                  <a:pt x="868" y="906"/>
                </a:cubicBezTo>
                <a:cubicBezTo>
                  <a:pt x="866" y="907"/>
                  <a:pt x="866" y="907"/>
                  <a:pt x="866" y="907"/>
                </a:cubicBezTo>
                <a:cubicBezTo>
                  <a:pt x="867" y="907"/>
                  <a:pt x="867" y="907"/>
                  <a:pt x="867" y="907"/>
                </a:cubicBezTo>
                <a:cubicBezTo>
                  <a:pt x="867" y="907"/>
                  <a:pt x="867" y="907"/>
                  <a:pt x="867" y="907"/>
                </a:cubicBezTo>
                <a:cubicBezTo>
                  <a:pt x="869" y="907"/>
                  <a:pt x="869" y="907"/>
                  <a:pt x="869" y="907"/>
                </a:cubicBezTo>
                <a:cubicBezTo>
                  <a:pt x="869" y="908"/>
                  <a:pt x="869" y="908"/>
                  <a:pt x="869" y="908"/>
                </a:cubicBezTo>
                <a:cubicBezTo>
                  <a:pt x="871" y="908"/>
                  <a:pt x="871" y="908"/>
                  <a:pt x="871" y="908"/>
                </a:cubicBezTo>
                <a:cubicBezTo>
                  <a:pt x="871" y="908"/>
                  <a:pt x="871" y="908"/>
                  <a:pt x="871" y="908"/>
                </a:cubicBezTo>
                <a:cubicBezTo>
                  <a:pt x="872" y="908"/>
                  <a:pt x="872" y="908"/>
                  <a:pt x="872" y="908"/>
                </a:cubicBezTo>
                <a:cubicBezTo>
                  <a:pt x="874" y="907"/>
                  <a:pt x="874" y="907"/>
                  <a:pt x="874" y="907"/>
                </a:cubicBezTo>
                <a:cubicBezTo>
                  <a:pt x="874" y="906"/>
                  <a:pt x="874" y="906"/>
                  <a:pt x="874" y="906"/>
                </a:cubicBezTo>
                <a:cubicBezTo>
                  <a:pt x="874" y="904"/>
                  <a:pt x="874" y="904"/>
                  <a:pt x="874" y="904"/>
                </a:cubicBezTo>
                <a:cubicBezTo>
                  <a:pt x="875" y="905"/>
                  <a:pt x="875" y="905"/>
                  <a:pt x="875" y="905"/>
                </a:cubicBezTo>
                <a:cubicBezTo>
                  <a:pt x="877" y="905"/>
                  <a:pt x="877" y="905"/>
                  <a:pt x="877" y="905"/>
                </a:cubicBezTo>
                <a:cubicBezTo>
                  <a:pt x="878" y="906"/>
                  <a:pt x="878" y="906"/>
                  <a:pt x="878" y="906"/>
                </a:cubicBezTo>
                <a:cubicBezTo>
                  <a:pt x="879" y="906"/>
                  <a:pt x="879" y="906"/>
                  <a:pt x="879" y="906"/>
                </a:cubicBezTo>
                <a:cubicBezTo>
                  <a:pt x="880" y="905"/>
                  <a:pt x="880" y="905"/>
                  <a:pt x="880" y="905"/>
                </a:cubicBezTo>
                <a:cubicBezTo>
                  <a:pt x="882" y="906"/>
                  <a:pt x="882" y="906"/>
                  <a:pt x="882" y="906"/>
                </a:cubicBezTo>
                <a:cubicBezTo>
                  <a:pt x="881" y="906"/>
                  <a:pt x="881" y="906"/>
                  <a:pt x="881" y="906"/>
                </a:cubicBezTo>
                <a:cubicBezTo>
                  <a:pt x="880" y="907"/>
                  <a:pt x="880" y="907"/>
                  <a:pt x="880" y="907"/>
                </a:cubicBezTo>
                <a:cubicBezTo>
                  <a:pt x="878" y="908"/>
                  <a:pt x="878" y="908"/>
                  <a:pt x="878" y="908"/>
                </a:cubicBezTo>
                <a:cubicBezTo>
                  <a:pt x="876" y="908"/>
                  <a:pt x="876" y="908"/>
                  <a:pt x="876" y="908"/>
                </a:cubicBezTo>
                <a:cubicBezTo>
                  <a:pt x="875" y="910"/>
                  <a:pt x="875" y="910"/>
                  <a:pt x="875" y="910"/>
                </a:cubicBezTo>
                <a:cubicBezTo>
                  <a:pt x="875" y="911"/>
                  <a:pt x="875" y="911"/>
                  <a:pt x="875" y="911"/>
                </a:cubicBezTo>
                <a:cubicBezTo>
                  <a:pt x="874" y="911"/>
                  <a:pt x="874" y="911"/>
                  <a:pt x="874" y="911"/>
                </a:cubicBezTo>
                <a:cubicBezTo>
                  <a:pt x="874" y="912"/>
                  <a:pt x="874" y="912"/>
                  <a:pt x="874" y="912"/>
                </a:cubicBezTo>
                <a:cubicBezTo>
                  <a:pt x="873" y="912"/>
                  <a:pt x="873" y="912"/>
                  <a:pt x="873" y="912"/>
                </a:cubicBezTo>
                <a:cubicBezTo>
                  <a:pt x="872" y="912"/>
                  <a:pt x="872" y="912"/>
                  <a:pt x="872" y="912"/>
                </a:cubicBezTo>
                <a:cubicBezTo>
                  <a:pt x="871" y="913"/>
                  <a:pt x="871" y="913"/>
                  <a:pt x="871" y="913"/>
                </a:cubicBezTo>
                <a:cubicBezTo>
                  <a:pt x="870" y="914"/>
                  <a:pt x="870" y="914"/>
                  <a:pt x="870" y="914"/>
                </a:cubicBezTo>
                <a:cubicBezTo>
                  <a:pt x="868" y="914"/>
                  <a:pt x="868" y="914"/>
                  <a:pt x="868" y="914"/>
                </a:cubicBezTo>
                <a:cubicBezTo>
                  <a:pt x="867" y="916"/>
                  <a:pt x="867" y="916"/>
                  <a:pt x="867" y="916"/>
                </a:cubicBezTo>
                <a:cubicBezTo>
                  <a:pt x="866" y="917"/>
                  <a:pt x="866" y="917"/>
                  <a:pt x="866" y="917"/>
                </a:cubicBezTo>
                <a:cubicBezTo>
                  <a:pt x="867" y="917"/>
                  <a:pt x="867" y="917"/>
                  <a:pt x="867" y="917"/>
                </a:cubicBezTo>
                <a:cubicBezTo>
                  <a:pt x="867" y="918"/>
                  <a:pt x="867" y="918"/>
                  <a:pt x="867" y="918"/>
                </a:cubicBezTo>
                <a:cubicBezTo>
                  <a:pt x="869" y="918"/>
                  <a:pt x="869" y="918"/>
                  <a:pt x="869" y="918"/>
                </a:cubicBezTo>
                <a:cubicBezTo>
                  <a:pt x="869" y="917"/>
                  <a:pt x="869" y="917"/>
                  <a:pt x="869" y="917"/>
                </a:cubicBezTo>
                <a:cubicBezTo>
                  <a:pt x="870" y="916"/>
                  <a:pt x="870" y="916"/>
                  <a:pt x="870" y="916"/>
                </a:cubicBezTo>
                <a:cubicBezTo>
                  <a:pt x="871" y="917"/>
                  <a:pt x="871" y="917"/>
                  <a:pt x="871" y="917"/>
                </a:cubicBezTo>
                <a:cubicBezTo>
                  <a:pt x="871" y="918"/>
                  <a:pt x="871" y="918"/>
                  <a:pt x="871" y="918"/>
                </a:cubicBezTo>
                <a:cubicBezTo>
                  <a:pt x="872" y="918"/>
                  <a:pt x="872" y="918"/>
                  <a:pt x="872" y="918"/>
                </a:cubicBezTo>
                <a:cubicBezTo>
                  <a:pt x="874" y="918"/>
                  <a:pt x="874" y="918"/>
                  <a:pt x="874" y="918"/>
                </a:cubicBezTo>
                <a:cubicBezTo>
                  <a:pt x="875" y="917"/>
                  <a:pt x="875" y="917"/>
                  <a:pt x="875" y="917"/>
                </a:cubicBezTo>
                <a:cubicBezTo>
                  <a:pt x="875" y="915"/>
                  <a:pt x="875" y="915"/>
                  <a:pt x="875" y="915"/>
                </a:cubicBezTo>
                <a:cubicBezTo>
                  <a:pt x="876" y="915"/>
                  <a:pt x="876" y="915"/>
                  <a:pt x="876" y="915"/>
                </a:cubicBezTo>
                <a:cubicBezTo>
                  <a:pt x="877" y="914"/>
                  <a:pt x="877" y="914"/>
                  <a:pt x="877" y="914"/>
                </a:cubicBezTo>
                <a:cubicBezTo>
                  <a:pt x="877" y="912"/>
                  <a:pt x="877" y="912"/>
                  <a:pt x="877" y="912"/>
                </a:cubicBezTo>
                <a:cubicBezTo>
                  <a:pt x="878" y="912"/>
                  <a:pt x="878" y="912"/>
                  <a:pt x="878" y="912"/>
                </a:cubicBezTo>
                <a:cubicBezTo>
                  <a:pt x="880" y="910"/>
                  <a:pt x="880" y="910"/>
                  <a:pt x="880" y="910"/>
                </a:cubicBezTo>
                <a:cubicBezTo>
                  <a:pt x="881" y="909"/>
                  <a:pt x="881" y="909"/>
                  <a:pt x="881" y="909"/>
                </a:cubicBezTo>
                <a:cubicBezTo>
                  <a:pt x="882" y="910"/>
                  <a:pt x="882" y="910"/>
                  <a:pt x="882" y="910"/>
                </a:cubicBezTo>
                <a:cubicBezTo>
                  <a:pt x="883" y="910"/>
                  <a:pt x="883" y="910"/>
                  <a:pt x="883" y="910"/>
                </a:cubicBezTo>
                <a:cubicBezTo>
                  <a:pt x="882" y="910"/>
                  <a:pt x="882" y="910"/>
                  <a:pt x="882" y="910"/>
                </a:cubicBezTo>
                <a:cubicBezTo>
                  <a:pt x="883" y="910"/>
                  <a:pt x="883" y="910"/>
                  <a:pt x="883" y="910"/>
                </a:cubicBezTo>
                <a:cubicBezTo>
                  <a:pt x="884" y="910"/>
                  <a:pt x="884" y="910"/>
                  <a:pt x="884" y="910"/>
                </a:cubicBezTo>
                <a:cubicBezTo>
                  <a:pt x="885" y="907"/>
                  <a:pt x="885" y="907"/>
                  <a:pt x="885" y="907"/>
                </a:cubicBezTo>
                <a:cubicBezTo>
                  <a:pt x="886" y="904"/>
                  <a:pt x="886" y="904"/>
                  <a:pt x="886" y="904"/>
                </a:cubicBezTo>
                <a:cubicBezTo>
                  <a:pt x="886" y="902"/>
                  <a:pt x="886" y="902"/>
                  <a:pt x="886" y="902"/>
                </a:cubicBezTo>
                <a:cubicBezTo>
                  <a:pt x="887" y="901"/>
                  <a:pt x="887" y="901"/>
                  <a:pt x="887" y="901"/>
                </a:cubicBezTo>
                <a:cubicBezTo>
                  <a:pt x="888" y="902"/>
                  <a:pt x="888" y="902"/>
                  <a:pt x="888" y="902"/>
                </a:cubicBezTo>
                <a:cubicBezTo>
                  <a:pt x="888" y="902"/>
                  <a:pt x="888" y="902"/>
                  <a:pt x="888" y="902"/>
                </a:cubicBezTo>
                <a:cubicBezTo>
                  <a:pt x="889" y="903"/>
                  <a:pt x="889" y="903"/>
                  <a:pt x="889" y="903"/>
                </a:cubicBezTo>
                <a:cubicBezTo>
                  <a:pt x="890" y="903"/>
                  <a:pt x="890" y="903"/>
                  <a:pt x="890" y="903"/>
                </a:cubicBezTo>
                <a:cubicBezTo>
                  <a:pt x="890" y="906"/>
                  <a:pt x="890" y="906"/>
                  <a:pt x="890" y="906"/>
                </a:cubicBezTo>
                <a:cubicBezTo>
                  <a:pt x="890" y="907"/>
                  <a:pt x="890" y="907"/>
                  <a:pt x="890" y="907"/>
                </a:cubicBezTo>
                <a:cubicBezTo>
                  <a:pt x="890" y="909"/>
                  <a:pt x="890" y="909"/>
                  <a:pt x="890" y="909"/>
                </a:cubicBezTo>
                <a:cubicBezTo>
                  <a:pt x="890" y="910"/>
                  <a:pt x="890" y="910"/>
                  <a:pt x="890" y="910"/>
                </a:cubicBezTo>
                <a:cubicBezTo>
                  <a:pt x="890" y="911"/>
                  <a:pt x="890" y="911"/>
                  <a:pt x="890" y="911"/>
                </a:cubicBezTo>
                <a:cubicBezTo>
                  <a:pt x="888" y="913"/>
                  <a:pt x="888" y="913"/>
                  <a:pt x="888" y="913"/>
                </a:cubicBezTo>
                <a:cubicBezTo>
                  <a:pt x="887" y="916"/>
                  <a:pt x="887" y="916"/>
                  <a:pt x="887" y="916"/>
                </a:cubicBezTo>
                <a:cubicBezTo>
                  <a:pt x="887" y="918"/>
                  <a:pt x="887" y="918"/>
                  <a:pt x="887" y="918"/>
                </a:cubicBezTo>
                <a:cubicBezTo>
                  <a:pt x="886" y="918"/>
                  <a:pt x="886" y="918"/>
                  <a:pt x="886" y="918"/>
                </a:cubicBezTo>
                <a:cubicBezTo>
                  <a:pt x="886" y="920"/>
                  <a:pt x="886" y="920"/>
                  <a:pt x="886" y="920"/>
                </a:cubicBezTo>
                <a:cubicBezTo>
                  <a:pt x="887" y="920"/>
                  <a:pt x="887" y="920"/>
                  <a:pt x="887" y="920"/>
                </a:cubicBezTo>
                <a:cubicBezTo>
                  <a:pt x="889" y="919"/>
                  <a:pt x="889" y="919"/>
                  <a:pt x="889" y="919"/>
                </a:cubicBezTo>
                <a:cubicBezTo>
                  <a:pt x="890" y="916"/>
                  <a:pt x="890" y="916"/>
                  <a:pt x="890" y="916"/>
                </a:cubicBezTo>
                <a:cubicBezTo>
                  <a:pt x="891" y="916"/>
                  <a:pt x="891" y="916"/>
                  <a:pt x="891" y="916"/>
                </a:cubicBezTo>
                <a:cubicBezTo>
                  <a:pt x="893" y="914"/>
                  <a:pt x="893" y="914"/>
                  <a:pt x="893" y="914"/>
                </a:cubicBezTo>
                <a:cubicBezTo>
                  <a:pt x="894" y="913"/>
                  <a:pt x="894" y="913"/>
                  <a:pt x="894" y="913"/>
                </a:cubicBezTo>
                <a:cubicBezTo>
                  <a:pt x="894" y="914"/>
                  <a:pt x="894" y="914"/>
                  <a:pt x="894" y="914"/>
                </a:cubicBezTo>
                <a:cubicBezTo>
                  <a:pt x="896" y="913"/>
                  <a:pt x="896" y="913"/>
                  <a:pt x="896" y="913"/>
                </a:cubicBezTo>
                <a:cubicBezTo>
                  <a:pt x="896" y="914"/>
                  <a:pt x="896" y="914"/>
                  <a:pt x="896" y="914"/>
                </a:cubicBezTo>
                <a:cubicBezTo>
                  <a:pt x="895" y="915"/>
                  <a:pt x="895" y="915"/>
                  <a:pt x="895" y="915"/>
                </a:cubicBezTo>
                <a:cubicBezTo>
                  <a:pt x="893" y="917"/>
                  <a:pt x="893" y="917"/>
                  <a:pt x="893" y="917"/>
                </a:cubicBezTo>
                <a:cubicBezTo>
                  <a:pt x="893" y="918"/>
                  <a:pt x="893" y="918"/>
                  <a:pt x="893" y="918"/>
                </a:cubicBezTo>
                <a:cubicBezTo>
                  <a:pt x="892" y="920"/>
                  <a:pt x="892" y="920"/>
                  <a:pt x="892" y="920"/>
                </a:cubicBezTo>
                <a:cubicBezTo>
                  <a:pt x="893" y="921"/>
                  <a:pt x="893" y="921"/>
                  <a:pt x="893" y="921"/>
                </a:cubicBezTo>
                <a:cubicBezTo>
                  <a:pt x="893" y="923"/>
                  <a:pt x="893" y="923"/>
                  <a:pt x="893" y="923"/>
                </a:cubicBezTo>
                <a:cubicBezTo>
                  <a:pt x="894" y="924"/>
                  <a:pt x="894" y="924"/>
                  <a:pt x="894" y="924"/>
                </a:cubicBezTo>
                <a:cubicBezTo>
                  <a:pt x="895" y="922"/>
                  <a:pt x="895" y="922"/>
                  <a:pt x="895" y="922"/>
                </a:cubicBezTo>
                <a:cubicBezTo>
                  <a:pt x="896" y="921"/>
                  <a:pt x="896" y="921"/>
                  <a:pt x="896" y="921"/>
                </a:cubicBezTo>
                <a:cubicBezTo>
                  <a:pt x="896" y="921"/>
                  <a:pt x="897" y="921"/>
                  <a:pt x="897" y="921"/>
                </a:cubicBezTo>
                <a:cubicBezTo>
                  <a:pt x="897" y="921"/>
                  <a:pt x="898" y="923"/>
                  <a:pt x="898" y="923"/>
                </a:cubicBezTo>
                <a:cubicBezTo>
                  <a:pt x="899" y="923"/>
                  <a:pt x="899" y="923"/>
                  <a:pt x="899" y="923"/>
                </a:cubicBezTo>
                <a:cubicBezTo>
                  <a:pt x="900" y="922"/>
                  <a:pt x="900" y="922"/>
                  <a:pt x="900" y="922"/>
                </a:cubicBezTo>
                <a:cubicBezTo>
                  <a:pt x="900" y="921"/>
                  <a:pt x="900" y="921"/>
                  <a:pt x="900" y="921"/>
                </a:cubicBezTo>
                <a:cubicBezTo>
                  <a:pt x="901" y="921"/>
                  <a:pt x="901" y="921"/>
                  <a:pt x="901" y="921"/>
                </a:cubicBezTo>
                <a:cubicBezTo>
                  <a:pt x="902" y="919"/>
                  <a:pt x="902" y="919"/>
                  <a:pt x="902" y="919"/>
                </a:cubicBezTo>
                <a:cubicBezTo>
                  <a:pt x="902" y="918"/>
                  <a:pt x="902" y="918"/>
                  <a:pt x="902" y="918"/>
                </a:cubicBezTo>
                <a:cubicBezTo>
                  <a:pt x="902" y="918"/>
                  <a:pt x="902" y="918"/>
                  <a:pt x="902" y="918"/>
                </a:cubicBezTo>
                <a:cubicBezTo>
                  <a:pt x="902" y="917"/>
                  <a:pt x="902" y="917"/>
                  <a:pt x="902" y="917"/>
                </a:cubicBezTo>
                <a:cubicBezTo>
                  <a:pt x="902" y="915"/>
                  <a:pt x="902" y="915"/>
                  <a:pt x="902" y="915"/>
                </a:cubicBezTo>
                <a:cubicBezTo>
                  <a:pt x="902" y="913"/>
                  <a:pt x="902" y="913"/>
                  <a:pt x="902" y="913"/>
                </a:cubicBezTo>
                <a:cubicBezTo>
                  <a:pt x="904" y="911"/>
                  <a:pt x="904" y="911"/>
                  <a:pt x="904" y="911"/>
                </a:cubicBezTo>
                <a:cubicBezTo>
                  <a:pt x="906" y="909"/>
                  <a:pt x="906" y="909"/>
                  <a:pt x="906" y="909"/>
                </a:cubicBezTo>
                <a:cubicBezTo>
                  <a:pt x="905" y="905"/>
                  <a:pt x="905" y="905"/>
                  <a:pt x="905" y="905"/>
                </a:cubicBezTo>
                <a:cubicBezTo>
                  <a:pt x="905" y="904"/>
                  <a:pt x="905" y="904"/>
                  <a:pt x="905" y="904"/>
                </a:cubicBezTo>
                <a:cubicBezTo>
                  <a:pt x="905" y="904"/>
                  <a:pt x="905" y="904"/>
                  <a:pt x="905" y="904"/>
                </a:cubicBezTo>
                <a:cubicBezTo>
                  <a:pt x="905" y="905"/>
                  <a:pt x="905" y="905"/>
                  <a:pt x="905" y="905"/>
                </a:cubicBezTo>
                <a:cubicBezTo>
                  <a:pt x="904" y="907"/>
                  <a:pt x="904" y="907"/>
                  <a:pt x="904" y="907"/>
                </a:cubicBezTo>
                <a:cubicBezTo>
                  <a:pt x="902" y="908"/>
                  <a:pt x="902" y="908"/>
                  <a:pt x="902" y="908"/>
                </a:cubicBezTo>
                <a:cubicBezTo>
                  <a:pt x="901" y="909"/>
                  <a:pt x="901" y="909"/>
                  <a:pt x="901" y="909"/>
                </a:cubicBezTo>
                <a:cubicBezTo>
                  <a:pt x="900" y="910"/>
                  <a:pt x="900" y="910"/>
                  <a:pt x="900" y="910"/>
                </a:cubicBezTo>
                <a:cubicBezTo>
                  <a:pt x="899" y="908"/>
                  <a:pt x="899" y="908"/>
                  <a:pt x="899" y="908"/>
                </a:cubicBezTo>
                <a:cubicBezTo>
                  <a:pt x="899" y="906"/>
                  <a:pt x="899" y="906"/>
                  <a:pt x="899" y="906"/>
                </a:cubicBezTo>
                <a:cubicBezTo>
                  <a:pt x="899" y="905"/>
                  <a:pt x="899" y="905"/>
                  <a:pt x="899" y="905"/>
                </a:cubicBezTo>
                <a:cubicBezTo>
                  <a:pt x="901" y="903"/>
                  <a:pt x="901" y="903"/>
                  <a:pt x="901" y="903"/>
                </a:cubicBezTo>
                <a:cubicBezTo>
                  <a:pt x="902" y="902"/>
                  <a:pt x="902" y="902"/>
                  <a:pt x="902" y="902"/>
                </a:cubicBezTo>
                <a:cubicBezTo>
                  <a:pt x="903" y="900"/>
                  <a:pt x="903" y="900"/>
                  <a:pt x="903" y="900"/>
                </a:cubicBezTo>
                <a:cubicBezTo>
                  <a:pt x="904" y="900"/>
                  <a:pt x="904" y="900"/>
                  <a:pt x="904" y="900"/>
                </a:cubicBezTo>
                <a:cubicBezTo>
                  <a:pt x="905" y="900"/>
                  <a:pt x="905" y="900"/>
                  <a:pt x="905" y="900"/>
                </a:cubicBezTo>
                <a:cubicBezTo>
                  <a:pt x="904" y="899"/>
                  <a:pt x="904" y="899"/>
                  <a:pt x="904" y="899"/>
                </a:cubicBezTo>
                <a:cubicBezTo>
                  <a:pt x="903" y="900"/>
                  <a:pt x="903" y="900"/>
                  <a:pt x="903" y="900"/>
                </a:cubicBezTo>
                <a:cubicBezTo>
                  <a:pt x="903" y="900"/>
                  <a:pt x="903" y="900"/>
                  <a:pt x="903" y="900"/>
                </a:cubicBezTo>
                <a:cubicBezTo>
                  <a:pt x="901" y="901"/>
                  <a:pt x="901" y="901"/>
                  <a:pt x="901" y="901"/>
                </a:cubicBezTo>
                <a:cubicBezTo>
                  <a:pt x="900" y="901"/>
                  <a:pt x="900" y="901"/>
                  <a:pt x="900" y="901"/>
                </a:cubicBezTo>
                <a:cubicBezTo>
                  <a:pt x="898" y="902"/>
                  <a:pt x="898" y="902"/>
                  <a:pt x="898" y="902"/>
                </a:cubicBezTo>
                <a:cubicBezTo>
                  <a:pt x="898" y="904"/>
                  <a:pt x="898" y="904"/>
                  <a:pt x="898" y="904"/>
                </a:cubicBezTo>
                <a:cubicBezTo>
                  <a:pt x="895" y="905"/>
                  <a:pt x="895" y="905"/>
                  <a:pt x="895" y="905"/>
                </a:cubicBezTo>
                <a:cubicBezTo>
                  <a:pt x="895" y="906"/>
                  <a:pt x="895" y="906"/>
                  <a:pt x="895" y="906"/>
                </a:cubicBezTo>
                <a:cubicBezTo>
                  <a:pt x="894" y="907"/>
                  <a:pt x="894" y="907"/>
                  <a:pt x="894" y="907"/>
                </a:cubicBezTo>
                <a:cubicBezTo>
                  <a:pt x="892" y="906"/>
                  <a:pt x="892" y="906"/>
                  <a:pt x="892" y="906"/>
                </a:cubicBezTo>
                <a:cubicBezTo>
                  <a:pt x="892" y="905"/>
                  <a:pt x="892" y="905"/>
                  <a:pt x="892" y="905"/>
                </a:cubicBezTo>
                <a:cubicBezTo>
                  <a:pt x="892" y="903"/>
                  <a:pt x="892" y="903"/>
                  <a:pt x="892" y="903"/>
                </a:cubicBezTo>
                <a:cubicBezTo>
                  <a:pt x="891" y="902"/>
                  <a:pt x="891" y="902"/>
                  <a:pt x="891" y="902"/>
                </a:cubicBezTo>
                <a:cubicBezTo>
                  <a:pt x="892" y="903"/>
                  <a:pt x="892" y="903"/>
                  <a:pt x="892" y="903"/>
                </a:cubicBezTo>
                <a:cubicBezTo>
                  <a:pt x="893" y="903"/>
                  <a:pt x="893" y="903"/>
                  <a:pt x="893" y="903"/>
                </a:cubicBezTo>
                <a:cubicBezTo>
                  <a:pt x="895" y="901"/>
                  <a:pt x="895" y="901"/>
                  <a:pt x="895" y="901"/>
                </a:cubicBezTo>
                <a:cubicBezTo>
                  <a:pt x="894" y="901"/>
                  <a:pt x="894" y="901"/>
                  <a:pt x="894" y="901"/>
                </a:cubicBezTo>
                <a:cubicBezTo>
                  <a:pt x="892" y="900"/>
                  <a:pt x="892" y="900"/>
                  <a:pt x="892" y="900"/>
                </a:cubicBezTo>
                <a:cubicBezTo>
                  <a:pt x="893" y="900"/>
                  <a:pt x="893" y="900"/>
                  <a:pt x="893" y="900"/>
                </a:cubicBezTo>
                <a:cubicBezTo>
                  <a:pt x="895" y="900"/>
                  <a:pt x="895" y="900"/>
                  <a:pt x="895" y="900"/>
                </a:cubicBezTo>
                <a:cubicBezTo>
                  <a:pt x="893" y="900"/>
                  <a:pt x="893" y="900"/>
                  <a:pt x="893" y="900"/>
                </a:cubicBezTo>
                <a:cubicBezTo>
                  <a:pt x="892" y="899"/>
                  <a:pt x="892" y="899"/>
                  <a:pt x="892" y="899"/>
                </a:cubicBezTo>
                <a:cubicBezTo>
                  <a:pt x="892" y="898"/>
                  <a:pt x="892" y="898"/>
                  <a:pt x="892" y="898"/>
                </a:cubicBezTo>
                <a:cubicBezTo>
                  <a:pt x="893" y="897"/>
                  <a:pt x="893" y="897"/>
                  <a:pt x="893" y="897"/>
                </a:cubicBezTo>
                <a:cubicBezTo>
                  <a:pt x="895" y="897"/>
                  <a:pt x="895" y="897"/>
                  <a:pt x="895" y="897"/>
                </a:cubicBezTo>
                <a:cubicBezTo>
                  <a:pt x="895" y="897"/>
                  <a:pt x="895" y="897"/>
                  <a:pt x="895" y="897"/>
                </a:cubicBezTo>
                <a:cubicBezTo>
                  <a:pt x="897" y="895"/>
                  <a:pt x="897" y="895"/>
                  <a:pt x="897" y="895"/>
                </a:cubicBezTo>
                <a:cubicBezTo>
                  <a:pt x="898" y="893"/>
                  <a:pt x="898" y="893"/>
                  <a:pt x="898" y="893"/>
                </a:cubicBezTo>
                <a:cubicBezTo>
                  <a:pt x="900" y="893"/>
                  <a:pt x="900" y="893"/>
                  <a:pt x="900" y="893"/>
                </a:cubicBezTo>
                <a:cubicBezTo>
                  <a:pt x="900" y="894"/>
                  <a:pt x="900" y="894"/>
                  <a:pt x="900" y="894"/>
                </a:cubicBezTo>
                <a:cubicBezTo>
                  <a:pt x="903" y="893"/>
                  <a:pt x="903" y="893"/>
                  <a:pt x="903" y="893"/>
                </a:cubicBezTo>
                <a:cubicBezTo>
                  <a:pt x="903" y="891"/>
                  <a:pt x="903" y="891"/>
                  <a:pt x="903" y="891"/>
                </a:cubicBezTo>
                <a:cubicBezTo>
                  <a:pt x="903" y="889"/>
                  <a:pt x="903" y="889"/>
                  <a:pt x="903" y="889"/>
                </a:cubicBezTo>
                <a:cubicBezTo>
                  <a:pt x="903" y="888"/>
                  <a:pt x="903" y="888"/>
                  <a:pt x="903" y="888"/>
                </a:cubicBezTo>
                <a:cubicBezTo>
                  <a:pt x="901" y="890"/>
                  <a:pt x="901" y="890"/>
                  <a:pt x="901" y="890"/>
                </a:cubicBezTo>
                <a:cubicBezTo>
                  <a:pt x="900" y="890"/>
                  <a:pt x="900" y="890"/>
                  <a:pt x="900" y="890"/>
                </a:cubicBezTo>
                <a:cubicBezTo>
                  <a:pt x="900" y="890"/>
                  <a:pt x="900" y="890"/>
                  <a:pt x="900" y="890"/>
                </a:cubicBezTo>
                <a:cubicBezTo>
                  <a:pt x="898" y="889"/>
                  <a:pt x="898" y="889"/>
                  <a:pt x="898" y="889"/>
                </a:cubicBezTo>
                <a:cubicBezTo>
                  <a:pt x="898" y="890"/>
                  <a:pt x="898" y="890"/>
                  <a:pt x="898" y="890"/>
                </a:cubicBezTo>
                <a:cubicBezTo>
                  <a:pt x="898" y="892"/>
                  <a:pt x="898" y="892"/>
                  <a:pt x="898" y="892"/>
                </a:cubicBezTo>
                <a:cubicBezTo>
                  <a:pt x="897" y="893"/>
                  <a:pt x="897" y="893"/>
                  <a:pt x="897" y="893"/>
                </a:cubicBezTo>
                <a:cubicBezTo>
                  <a:pt x="896" y="893"/>
                  <a:pt x="896" y="893"/>
                  <a:pt x="896" y="893"/>
                </a:cubicBezTo>
                <a:cubicBezTo>
                  <a:pt x="895" y="894"/>
                  <a:pt x="895" y="894"/>
                  <a:pt x="895" y="894"/>
                </a:cubicBezTo>
                <a:cubicBezTo>
                  <a:pt x="893" y="894"/>
                  <a:pt x="893" y="894"/>
                  <a:pt x="893" y="894"/>
                </a:cubicBezTo>
                <a:cubicBezTo>
                  <a:pt x="893" y="896"/>
                  <a:pt x="893" y="896"/>
                  <a:pt x="893" y="896"/>
                </a:cubicBezTo>
                <a:cubicBezTo>
                  <a:pt x="892" y="896"/>
                  <a:pt x="892" y="896"/>
                  <a:pt x="892" y="896"/>
                </a:cubicBezTo>
                <a:cubicBezTo>
                  <a:pt x="893" y="895"/>
                  <a:pt x="893" y="895"/>
                  <a:pt x="893" y="895"/>
                </a:cubicBezTo>
                <a:cubicBezTo>
                  <a:pt x="893" y="894"/>
                  <a:pt x="893" y="894"/>
                  <a:pt x="893" y="894"/>
                </a:cubicBezTo>
                <a:cubicBezTo>
                  <a:pt x="892" y="894"/>
                  <a:pt x="892" y="894"/>
                  <a:pt x="892" y="894"/>
                </a:cubicBezTo>
                <a:cubicBezTo>
                  <a:pt x="891" y="894"/>
                  <a:pt x="891" y="894"/>
                  <a:pt x="891" y="894"/>
                </a:cubicBezTo>
                <a:cubicBezTo>
                  <a:pt x="892" y="893"/>
                  <a:pt x="892" y="893"/>
                  <a:pt x="892" y="893"/>
                </a:cubicBezTo>
                <a:cubicBezTo>
                  <a:pt x="893" y="892"/>
                  <a:pt x="893" y="892"/>
                  <a:pt x="893" y="892"/>
                </a:cubicBezTo>
                <a:cubicBezTo>
                  <a:pt x="894" y="892"/>
                  <a:pt x="894" y="892"/>
                  <a:pt x="894" y="892"/>
                </a:cubicBezTo>
                <a:cubicBezTo>
                  <a:pt x="893" y="891"/>
                  <a:pt x="893" y="891"/>
                  <a:pt x="893" y="891"/>
                </a:cubicBezTo>
                <a:cubicBezTo>
                  <a:pt x="894" y="890"/>
                  <a:pt x="894" y="890"/>
                  <a:pt x="894" y="890"/>
                </a:cubicBezTo>
                <a:cubicBezTo>
                  <a:pt x="895" y="888"/>
                  <a:pt x="895" y="888"/>
                  <a:pt x="895" y="888"/>
                </a:cubicBezTo>
                <a:cubicBezTo>
                  <a:pt x="894" y="888"/>
                  <a:pt x="894" y="888"/>
                  <a:pt x="894" y="888"/>
                </a:cubicBezTo>
                <a:cubicBezTo>
                  <a:pt x="893" y="889"/>
                  <a:pt x="893" y="889"/>
                  <a:pt x="893" y="889"/>
                </a:cubicBezTo>
                <a:cubicBezTo>
                  <a:pt x="893" y="888"/>
                  <a:pt x="893" y="888"/>
                  <a:pt x="893" y="888"/>
                </a:cubicBezTo>
                <a:cubicBezTo>
                  <a:pt x="894" y="886"/>
                  <a:pt x="894" y="886"/>
                  <a:pt x="894" y="886"/>
                </a:cubicBezTo>
                <a:cubicBezTo>
                  <a:pt x="893" y="886"/>
                  <a:pt x="893" y="886"/>
                  <a:pt x="893" y="886"/>
                </a:cubicBezTo>
                <a:cubicBezTo>
                  <a:pt x="891" y="887"/>
                  <a:pt x="891" y="887"/>
                  <a:pt x="891" y="887"/>
                </a:cubicBezTo>
                <a:cubicBezTo>
                  <a:pt x="889" y="886"/>
                  <a:pt x="889" y="886"/>
                  <a:pt x="889" y="886"/>
                </a:cubicBezTo>
                <a:cubicBezTo>
                  <a:pt x="891" y="886"/>
                  <a:pt x="891" y="886"/>
                  <a:pt x="891" y="886"/>
                </a:cubicBezTo>
                <a:cubicBezTo>
                  <a:pt x="892" y="886"/>
                  <a:pt x="892" y="886"/>
                  <a:pt x="892" y="886"/>
                </a:cubicBezTo>
                <a:cubicBezTo>
                  <a:pt x="894" y="885"/>
                  <a:pt x="894" y="885"/>
                  <a:pt x="894" y="885"/>
                </a:cubicBezTo>
                <a:cubicBezTo>
                  <a:pt x="896" y="885"/>
                  <a:pt x="896" y="885"/>
                  <a:pt x="896" y="885"/>
                </a:cubicBezTo>
                <a:cubicBezTo>
                  <a:pt x="896" y="884"/>
                  <a:pt x="896" y="884"/>
                  <a:pt x="896" y="884"/>
                </a:cubicBezTo>
                <a:cubicBezTo>
                  <a:pt x="898" y="883"/>
                  <a:pt x="898" y="883"/>
                  <a:pt x="898" y="883"/>
                </a:cubicBezTo>
                <a:cubicBezTo>
                  <a:pt x="899" y="883"/>
                  <a:pt x="899" y="883"/>
                  <a:pt x="899" y="883"/>
                </a:cubicBezTo>
                <a:cubicBezTo>
                  <a:pt x="899" y="881"/>
                  <a:pt x="899" y="881"/>
                  <a:pt x="899" y="881"/>
                </a:cubicBezTo>
                <a:cubicBezTo>
                  <a:pt x="900" y="880"/>
                  <a:pt x="900" y="880"/>
                  <a:pt x="900" y="880"/>
                </a:cubicBezTo>
                <a:cubicBezTo>
                  <a:pt x="900" y="879"/>
                  <a:pt x="900" y="879"/>
                  <a:pt x="900" y="879"/>
                </a:cubicBezTo>
                <a:cubicBezTo>
                  <a:pt x="899" y="878"/>
                  <a:pt x="899" y="878"/>
                  <a:pt x="899" y="878"/>
                </a:cubicBezTo>
                <a:cubicBezTo>
                  <a:pt x="897" y="876"/>
                  <a:pt x="897" y="876"/>
                  <a:pt x="897" y="876"/>
                </a:cubicBezTo>
                <a:cubicBezTo>
                  <a:pt x="895" y="876"/>
                  <a:pt x="895" y="876"/>
                  <a:pt x="895" y="876"/>
                </a:cubicBezTo>
                <a:cubicBezTo>
                  <a:pt x="893" y="877"/>
                  <a:pt x="893" y="877"/>
                  <a:pt x="893" y="877"/>
                </a:cubicBezTo>
                <a:cubicBezTo>
                  <a:pt x="892" y="877"/>
                  <a:pt x="892" y="877"/>
                  <a:pt x="892" y="877"/>
                </a:cubicBezTo>
                <a:cubicBezTo>
                  <a:pt x="891" y="878"/>
                  <a:pt x="891" y="878"/>
                  <a:pt x="891" y="878"/>
                </a:cubicBezTo>
                <a:cubicBezTo>
                  <a:pt x="891" y="879"/>
                  <a:pt x="891" y="879"/>
                  <a:pt x="891" y="879"/>
                </a:cubicBezTo>
                <a:cubicBezTo>
                  <a:pt x="890" y="881"/>
                  <a:pt x="890" y="881"/>
                  <a:pt x="890" y="881"/>
                </a:cubicBezTo>
                <a:cubicBezTo>
                  <a:pt x="889" y="882"/>
                  <a:pt x="889" y="882"/>
                  <a:pt x="889" y="882"/>
                </a:cubicBezTo>
                <a:cubicBezTo>
                  <a:pt x="890" y="881"/>
                  <a:pt x="890" y="881"/>
                  <a:pt x="890" y="881"/>
                </a:cubicBezTo>
                <a:cubicBezTo>
                  <a:pt x="890" y="879"/>
                  <a:pt x="890" y="879"/>
                  <a:pt x="890" y="879"/>
                </a:cubicBezTo>
                <a:cubicBezTo>
                  <a:pt x="889" y="879"/>
                  <a:pt x="889" y="879"/>
                  <a:pt x="889" y="879"/>
                </a:cubicBezTo>
                <a:cubicBezTo>
                  <a:pt x="890" y="877"/>
                  <a:pt x="890" y="877"/>
                  <a:pt x="890" y="877"/>
                </a:cubicBezTo>
                <a:cubicBezTo>
                  <a:pt x="891" y="876"/>
                  <a:pt x="891" y="876"/>
                  <a:pt x="891" y="876"/>
                </a:cubicBezTo>
                <a:cubicBezTo>
                  <a:pt x="890" y="876"/>
                  <a:pt x="890" y="876"/>
                  <a:pt x="890" y="876"/>
                </a:cubicBezTo>
                <a:cubicBezTo>
                  <a:pt x="888" y="877"/>
                  <a:pt x="888" y="877"/>
                  <a:pt x="888" y="877"/>
                </a:cubicBezTo>
                <a:cubicBezTo>
                  <a:pt x="888" y="878"/>
                  <a:pt x="888" y="878"/>
                  <a:pt x="888" y="878"/>
                </a:cubicBezTo>
                <a:cubicBezTo>
                  <a:pt x="886" y="879"/>
                  <a:pt x="886" y="879"/>
                  <a:pt x="886" y="879"/>
                </a:cubicBezTo>
                <a:cubicBezTo>
                  <a:pt x="886" y="878"/>
                  <a:pt x="886" y="878"/>
                  <a:pt x="886" y="878"/>
                </a:cubicBezTo>
                <a:cubicBezTo>
                  <a:pt x="885" y="879"/>
                  <a:pt x="885" y="879"/>
                  <a:pt x="885" y="879"/>
                </a:cubicBezTo>
                <a:cubicBezTo>
                  <a:pt x="884" y="879"/>
                  <a:pt x="884" y="879"/>
                  <a:pt x="884" y="879"/>
                </a:cubicBezTo>
                <a:cubicBezTo>
                  <a:pt x="883" y="879"/>
                  <a:pt x="883" y="879"/>
                  <a:pt x="883" y="879"/>
                </a:cubicBezTo>
                <a:cubicBezTo>
                  <a:pt x="881" y="880"/>
                  <a:pt x="881" y="880"/>
                  <a:pt x="881" y="880"/>
                </a:cubicBezTo>
                <a:cubicBezTo>
                  <a:pt x="881" y="882"/>
                  <a:pt x="881" y="882"/>
                  <a:pt x="881" y="882"/>
                </a:cubicBezTo>
                <a:cubicBezTo>
                  <a:pt x="879" y="883"/>
                  <a:pt x="879" y="883"/>
                  <a:pt x="879" y="883"/>
                </a:cubicBezTo>
                <a:cubicBezTo>
                  <a:pt x="880" y="882"/>
                  <a:pt x="880" y="882"/>
                  <a:pt x="880" y="882"/>
                </a:cubicBezTo>
                <a:cubicBezTo>
                  <a:pt x="881" y="879"/>
                  <a:pt x="881" y="879"/>
                  <a:pt x="881" y="879"/>
                </a:cubicBezTo>
                <a:cubicBezTo>
                  <a:pt x="882" y="877"/>
                  <a:pt x="882" y="877"/>
                  <a:pt x="882" y="877"/>
                </a:cubicBezTo>
                <a:cubicBezTo>
                  <a:pt x="882" y="876"/>
                  <a:pt x="882" y="876"/>
                  <a:pt x="882" y="876"/>
                </a:cubicBezTo>
                <a:cubicBezTo>
                  <a:pt x="880" y="877"/>
                  <a:pt x="880" y="877"/>
                  <a:pt x="880" y="877"/>
                </a:cubicBezTo>
                <a:cubicBezTo>
                  <a:pt x="880" y="878"/>
                  <a:pt x="880" y="878"/>
                  <a:pt x="880" y="878"/>
                </a:cubicBezTo>
                <a:cubicBezTo>
                  <a:pt x="878" y="880"/>
                  <a:pt x="878" y="880"/>
                  <a:pt x="878" y="880"/>
                </a:cubicBezTo>
                <a:cubicBezTo>
                  <a:pt x="878" y="879"/>
                  <a:pt x="878" y="879"/>
                  <a:pt x="878" y="879"/>
                </a:cubicBezTo>
                <a:cubicBezTo>
                  <a:pt x="879" y="878"/>
                  <a:pt x="879" y="878"/>
                  <a:pt x="879" y="878"/>
                </a:cubicBezTo>
                <a:cubicBezTo>
                  <a:pt x="879" y="877"/>
                  <a:pt x="879" y="877"/>
                  <a:pt x="879" y="877"/>
                </a:cubicBezTo>
                <a:cubicBezTo>
                  <a:pt x="879" y="876"/>
                  <a:pt x="879" y="876"/>
                  <a:pt x="879" y="876"/>
                </a:cubicBezTo>
                <a:cubicBezTo>
                  <a:pt x="877" y="876"/>
                  <a:pt x="877" y="876"/>
                  <a:pt x="877" y="876"/>
                </a:cubicBezTo>
                <a:cubicBezTo>
                  <a:pt x="875" y="878"/>
                  <a:pt x="875" y="878"/>
                  <a:pt x="875" y="878"/>
                </a:cubicBezTo>
                <a:cubicBezTo>
                  <a:pt x="875" y="878"/>
                  <a:pt x="875" y="878"/>
                  <a:pt x="875" y="878"/>
                </a:cubicBezTo>
                <a:cubicBezTo>
                  <a:pt x="874" y="876"/>
                  <a:pt x="874" y="876"/>
                  <a:pt x="874" y="876"/>
                </a:cubicBezTo>
                <a:cubicBezTo>
                  <a:pt x="873" y="876"/>
                  <a:pt x="873" y="876"/>
                  <a:pt x="873" y="876"/>
                </a:cubicBezTo>
                <a:cubicBezTo>
                  <a:pt x="872" y="877"/>
                  <a:pt x="872" y="877"/>
                  <a:pt x="872" y="877"/>
                </a:cubicBezTo>
                <a:cubicBezTo>
                  <a:pt x="871" y="877"/>
                  <a:pt x="871" y="877"/>
                  <a:pt x="871" y="877"/>
                </a:cubicBezTo>
                <a:cubicBezTo>
                  <a:pt x="871" y="877"/>
                  <a:pt x="871" y="877"/>
                  <a:pt x="871" y="877"/>
                </a:cubicBezTo>
                <a:cubicBezTo>
                  <a:pt x="873" y="875"/>
                  <a:pt x="873" y="875"/>
                  <a:pt x="873" y="875"/>
                </a:cubicBezTo>
                <a:cubicBezTo>
                  <a:pt x="874" y="873"/>
                  <a:pt x="874" y="873"/>
                  <a:pt x="874" y="873"/>
                </a:cubicBezTo>
                <a:cubicBezTo>
                  <a:pt x="874" y="872"/>
                  <a:pt x="874" y="872"/>
                  <a:pt x="874" y="872"/>
                </a:cubicBezTo>
                <a:cubicBezTo>
                  <a:pt x="874" y="872"/>
                  <a:pt x="874" y="872"/>
                  <a:pt x="874" y="872"/>
                </a:cubicBezTo>
                <a:cubicBezTo>
                  <a:pt x="873" y="872"/>
                  <a:pt x="873" y="872"/>
                  <a:pt x="873" y="872"/>
                </a:cubicBezTo>
                <a:cubicBezTo>
                  <a:pt x="871" y="873"/>
                  <a:pt x="871" y="873"/>
                  <a:pt x="871" y="873"/>
                </a:cubicBezTo>
                <a:cubicBezTo>
                  <a:pt x="872" y="872"/>
                  <a:pt x="872" y="872"/>
                  <a:pt x="872" y="872"/>
                </a:cubicBezTo>
                <a:cubicBezTo>
                  <a:pt x="874" y="870"/>
                  <a:pt x="874" y="870"/>
                  <a:pt x="874" y="870"/>
                </a:cubicBezTo>
                <a:cubicBezTo>
                  <a:pt x="876" y="870"/>
                  <a:pt x="876" y="870"/>
                  <a:pt x="876" y="870"/>
                </a:cubicBezTo>
                <a:cubicBezTo>
                  <a:pt x="877" y="870"/>
                  <a:pt x="877" y="870"/>
                  <a:pt x="877" y="870"/>
                </a:cubicBezTo>
                <a:cubicBezTo>
                  <a:pt x="878" y="869"/>
                  <a:pt x="878" y="869"/>
                  <a:pt x="878" y="869"/>
                </a:cubicBezTo>
                <a:cubicBezTo>
                  <a:pt x="879" y="868"/>
                  <a:pt x="879" y="868"/>
                  <a:pt x="879" y="868"/>
                </a:cubicBezTo>
                <a:cubicBezTo>
                  <a:pt x="880" y="867"/>
                  <a:pt x="880" y="867"/>
                  <a:pt x="880" y="867"/>
                </a:cubicBezTo>
                <a:cubicBezTo>
                  <a:pt x="879" y="867"/>
                  <a:pt x="879" y="867"/>
                  <a:pt x="879" y="867"/>
                </a:cubicBezTo>
                <a:cubicBezTo>
                  <a:pt x="877" y="868"/>
                  <a:pt x="877" y="868"/>
                  <a:pt x="877" y="868"/>
                </a:cubicBezTo>
                <a:cubicBezTo>
                  <a:pt x="876" y="868"/>
                  <a:pt x="876" y="868"/>
                  <a:pt x="876" y="868"/>
                </a:cubicBezTo>
                <a:cubicBezTo>
                  <a:pt x="874" y="866"/>
                  <a:pt x="874" y="866"/>
                  <a:pt x="874" y="866"/>
                </a:cubicBezTo>
                <a:cubicBezTo>
                  <a:pt x="873" y="866"/>
                  <a:pt x="873" y="866"/>
                  <a:pt x="873" y="866"/>
                </a:cubicBezTo>
                <a:cubicBezTo>
                  <a:pt x="872" y="867"/>
                  <a:pt x="872" y="867"/>
                  <a:pt x="872" y="867"/>
                </a:cubicBezTo>
                <a:cubicBezTo>
                  <a:pt x="873" y="865"/>
                  <a:pt x="873" y="865"/>
                  <a:pt x="873" y="865"/>
                </a:cubicBezTo>
                <a:cubicBezTo>
                  <a:pt x="873" y="864"/>
                  <a:pt x="873" y="864"/>
                  <a:pt x="873" y="864"/>
                </a:cubicBezTo>
                <a:cubicBezTo>
                  <a:pt x="873" y="864"/>
                  <a:pt x="873" y="864"/>
                  <a:pt x="873" y="864"/>
                </a:cubicBezTo>
                <a:cubicBezTo>
                  <a:pt x="872" y="864"/>
                  <a:pt x="872" y="864"/>
                  <a:pt x="872" y="864"/>
                </a:cubicBezTo>
                <a:cubicBezTo>
                  <a:pt x="870" y="865"/>
                  <a:pt x="870" y="865"/>
                  <a:pt x="870" y="865"/>
                </a:cubicBezTo>
                <a:cubicBezTo>
                  <a:pt x="870" y="867"/>
                  <a:pt x="870" y="867"/>
                  <a:pt x="870" y="867"/>
                </a:cubicBezTo>
                <a:cubicBezTo>
                  <a:pt x="868" y="868"/>
                  <a:pt x="868" y="868"/>
                  <a:pt x="868" y="868"/>
                </a:cubicBezTo>
                <a:cubicBezTo>
                  <a:pt x="867" y="869"/>
                  <a:pt x="867" y="869"/>
                  <a:pt x="867" y="869"/>
                </a:cubicBezTo>
                <a:cubicBezTo>
                  <a:pt x="866" y="871"/>
                  <a:pt x="866" y="871"/>
                  <a:pt x="866" y="871"/>
                </a:cubicBezTo>
                <a:cubicBezTo>
                  <a:pt x="865" y="872"/>
                  <a:pt x="865" y="872"/>
                  <a:pt x="865" y="872"/>
                </a:cubicBezTo>
                <a:cubicBezTo>
                  <a:pt x="863" y="873"/>
                  <a:pt x="863" y="873"/>
                  <a:pt x="863" y="873"/>
                </a:cubicBezTo>
                <a:cubicBezTo>
                  <a:pt x="863" y="871"/>
                  <a:pt x="863" y="871"/>
                  <a:pt x="863" y="871"/>
                </a:cubicBezTo>
                <a:cubicBezTo>
                  <a:pt x="864" y="870"/>
                  <a:pt x="864" y="870"/>
                  <a:pt x="864" y="870"/>
                </a:cubicBezTo>
                <a:cubicBezTo>
                  <a:pt x="865" y="868"/>
                  <a:pt x="865" y="868"/>
                  <a:pt x="865" y="868"/>
                </a:cubicBezTo>
                <a:cubicBezTo>
                  <a:pt x="865" y="867"/>
                  <a:pt x="865" y="867"/>
                  <a:pt x="865" y="867"/>
                </a:cubicBezTo>
                <a:cubicBezTo>
                  <a:pt x="866" y="865"/>
                  <a:pt x="866" y="865"/>
                  <a:pt x="866" y="865"/>
                </a:cubicBezTo>
                <a:cubicBezTo>
                  <a:pt x="867" y="863"/>
                  <a:pt x="867" y="863"/>
                  <a:pt x="867" y="863"/>
                </a:cubicBezTo>
                <a:cubicBezTo>
                  <a:pt x="867" y="862"/>
                  <a:pt x="867" y="862"/>
                  <a:pt x="867" y="862"/>
                </a:cubicBezTo>
                <a:cubicBezTo>
                  <a:pt x="869" y="861"/>
                  <a:pt x="869" y="861"/>
                  <a:pt x="869" y="861"/>
                </a:cubicBezTo>
                <a:cubicBezTo>
                  <a:pt x="869" y="860"/>
                  <a:pt x="869" y="860"/>
                  <a:pt x="869" y="860"/>
                </a:cubicBezTo>
                <a:cubicBezTo>
                  <a:pt x="870" y="858"/>
                  <a:pt x="870" y="858"/>
                  <a:pt x="870" y="858"/>
                </a:cubicBezTo>
                <a:cubicBezTo>
                  <a:pt x="872" y="857"/>
                  <a:pt x="872" y="857"/>
                  <a:pt x="872" y="857"/>
                </a:cubicBezTo>
                <a:cubicBezTo>
                  <a:pt x="873" y="856"/>
                  <a:pt x="873" y="856"/>
                  <a:pt x="873" y="856"/>
                </a:cubicBezTo>
                <a:cubicBezTo>
                  <a:pt x="874" y="855"/>
                  <a:pt x="874" y="855"/>
                  <a:pt x="874" y="855"/>
                </a:cubicBezTo>
                <a:cubicBezTo>
                  <a:pt x="874" y="855"/>
                  <a:pt x="874" y="855"/>
                  <a:pt x="874" y="855"/>
                </a:cubicBezTo>
                <a:cubicBezTo>
                  <a:pt x="874" y="854"/>
                  <a:pt x="874" y="854"/>
                  <a:pt x="874" y="854"/>
                </a:cubicBezTo>
                <a:cubicBezTo>
                  <a:pt x="875" y="852"/>
                  <a:pt x="875" y="852"/>
                  <a:pt x="875" y="852"/>
                </a:cubicBezTo>
                <a:cubicBezTo>
                  <a:pt x="876" y="851"/>
                  <a:pt x="876" y="851"/>
                  <a:pt x="876" y="851"/>
                </a:cubicBezTo>
                <a:cubicBezTo>
                  <a:pt x="875" y="852"/>
                  <a:pt x="875" y="852"/>
                  <a:pt x="875" y="852"/>
                </a:cubicBezTo>
                <a:cubicBezTo>
                  <a:pt x="875" y="853"/>
                  <a:pt x="875" y="853"/>
                  <a:pt x="875" y="853"/>
                </a:cubicBezTo>
                <a:cubicBezTo>
                  <a:pt x="876" y="854"/>
                  <a:pt x="876" y="854"/>
                  <a:pt x="876" y="854"/>
                </a:cubicBezTo>
                <a:cubicBezTo>
                  <a:pt x="877" y="852"/>
                  <a:pt x="877" y="852"/>
                  <a:pt x="877" y="852"/>
                </a:cubicBezTo>
                <a:cubicBezTo>
                  <a:pt x="879" y="850"/>
                  <a:pt x="879" y="850"/>
                  <a:pt x="879" y="850"/>
                </a:cubicBezTo>
                <a:cubicBezTo>
                  <a:pt x="880" y="848"/>
                  <a:pt x="880" y="848"/>
                  <a:pt x="880" y="848"/>
                </a:cubicBezTo>
                <a:cubicBezTo>
                  <a:pt x="879" y="847"/>
                  <a:pt x="879" y="847"/>
                  <a:pt x="879" y="847"/>
                </a:cubicBezTo>
                <a:cubicBezTo>
                  <a:pt x="878" y="847"/>
                  <a:pt x="878" y="847"/>
                  <a:pt x="878" y="847"/>
                </a:cubicBezTo>
                <a:cubicBezTo>
                  <a:pt x="877" y="848"/>
                  <a:pt x="877" y="848"/>
                  <a:pt x="877" y="848"/>
                </a:cubicBezTo>
                <a:cubicBezTo>
                  <a:pt x="877" y="846"/>
                  <a:pt x="877" y="846"/>
                  <a:pt x="877" y="846"/>
                </a:cubicBezTo>
                <a:cubicBezTo>
                  <a:pt x="876" y="846"/>
                  <a:pt x="876" y="846"/>
                  <a:pt x="876" y="846"/>
                </a:cubicBezTo>
                <a:cubicBezTo>
                  <a:pt x="877" y="845"/>
                  <a:pt x="877" y="845"/>
                  <a:pt x="877" y="845"/>
                </a:cubicBezTo>
                <a:cubicBezTo>
                  <a:pt x="878" y="844"/>
                  <a:pt x="878" y="844"/>
                  <a:pt x="878" y="844"/>
                </a:cubicBezTo>
                <a:cubicBezTo>
                  <a:pt x="880" y="845"/>
                  <a:pt x="880" y="845"/>
                  <a:pt x="880" y="845"/>
                </a:cubicBezTo>
                <a:cubicBezTo>
                  <a:pt x="882" y="846"/>
                  <a:pt x="882" y="846"/>
                  <a:pt x="882" y="846"/>
                </a:cubicBezTo>
                <a:cubicBezTo>
                  <a:pt x="883" y="845"/>
                  <a:pt x="883" y="845"/>
                  <a:pt x="883" y="845"/>
                </a:cubicBezTo>
                <a:cubicBezTo>
                  <a:pt x="883" y="844"/>
                  <a:pt x="883" y="844"/>
                  <a:pt x="883" y="844"/>
                </a:cubicBezTo>
                <a:cubicBezTo>
                  <a:pt x="884" y="841"/>
                  <a:pt x="884" y="841"/>
                  <a:pt x="884" y="841"/>
                </a:cubicBezTo>
                <a:cubicBezTo>
                  <a:pt x="882" y="841"/>
                  <a:pt x="882" y="841"/>
                  <a:pt x="882" y="841"/>
                </a:cubicBezTo>
                <a:cubicBezTo>
                  <a:pt x="881" y="842"/>
                  <a:pt x="881" y="842"/>
                  <a:pt x="881" y="842"/>
                </a:cubicBezTo>
                <a:cubicBezTo>
                  <a:pt x="881" y="842"/>
                  <a:pt x="881" y="842"/>
                  <a:pt x="881" y="842"/>
                </a:cubicBezTo>
                <a:cubicBezTo>
                  <a:pt x="880" y="842"/>
                  <a:pt x="880" y="842"/>
                  <a:pt x="880" y="842"/>
                </a:cubicBezTo>
                <a:cubicBezTo>
                  <a:pt x="880" y="841"/>
                  <a:pt x="880" y="841"/>
                  <a:pt x="880" y="841"/>
                </a:cubicBezTo>
                <a:cubicBezTo>
                  <a:pt x="880" y="840"/>
                  <a:pt x="880" y="840"/>
                  <a:pt x="880" y="840"/>
                </a:cubicBezTo>
                <a:cubicBezTo>
                  <a:pt x="878" y="841"/>
                  <a:pt x="878" y="841"/>
                  <a:pt x="878" y="841"/>
                </a:cubicBezTo>
                <a:cubicBezTo>
                  <a:pt x="877" y="842"/>
                  <a:pt x="877" y="842"/>
                  <a:pt x="877" y="842"/>
                </a:cubicBezTo>
                <a:cubicBezTo>
                  <a:pt x="876" y="842"/>
                  <a:pt x="876" y="842"/>
                  <a:pt x="876" y="842"/>
                </a:cubicBezTo>
                <a:cubicBezTo>
                  <a:pt x="875" y="843"/>
                  <a:pt x="875" y="843"/>
                  <a:pt x="875" y="843"/>
                </a:cubicBezTo>
                <a:cubicBezTo>
                  <a:pt x="873" y="844"/>
                  <a:pt x="873" y="844"/>
                  <a:pt x="873" y="844"/>
                </a:cubicBezTo>
                <a:cubicBezTo>
                  <a:pt x="871" y="844"/>
                  <a:pt x="871" y="844"/>
                  <a:pt x="871" y="844"/>
                </a:cubicBezTo>
                <a:cubicBezTo>
                  <a:pt x="870" y="846"/>
                  <a:pt x="870" y="846"/>
                  <a:pt x="870" y="846"/>
                </a:cubicBezTo>
                <a:cubicBezTo>
                  <a:pt x="868" y="847"/>
                  <a:pt x="868" y="847"/>
                  <a:pt x="868" y="847"/>
                </a:cubicBezTo>
                <a:cubicBezTo>
                  <a:pt x="867" y="849"/>
                  <a:pt x="867" y="849"/>
                  <a:pt x="867" y="849"/>
                </a:cubicBezTo>
                <a:cubicBezTo>
                  <a:pt x="866" y="849"/>
                  <a:pt x="866" y="849"/>
                  <a:pt x="866" y="849"/>
                </a:cubicBezTo>
                <a:cubicBezTo>
                  <a:pt x="865" y="849"/>
                  <a:pt x="865" y="849"/>
                  <a:pt x="865" y="849"/>
                </a:cubicBezTo>
                <a:cubicBezTo>
                  <a:pt x="865" y="850"/>
                  <a:pt x="865" y="850"/>
                  <a:pt x="865" y="850"/>
                </a:cubicBezTo>
                <a:cubicBezTo>
                  <a:pt x="865" y="850"/>
                  <a:pt x="865" y="850"/>
                  <a:pt x="865" y="850"/>
                </a:cubicBezTo>
                <a:cubicBezTo>
                  <a:pt x="865" y="851"/>
                  <a:pt x="865" y="851"/>
                  <a:pt x="865" y="851"/>
                </a:cubicBezTo>
                <a:close/>
                <a:moveTo>
                  <a:pt x="787" y="874"/>
                </a:moveTo>
                <a:cubicBezTo>
                  <a:pt x="788" y="874"/>
                  <a:pt x="788" y="874"/>
                  <a:pt x="788" y="874"/>
                </a:cubicBezTo>
                <a:cubicBezTo>
                  <a:pt x="793" y="878"/>
                  <a:pt x="793" y="878"/>
                  <a:pt x="793" y="878"/>
                </a:cubicBezTo>
                <a:cubicBezTo>
                  <a:pt x="796" y="878"/>
                  <a:pt x="796" y="878"/>
                  <a:pt x="796" y="878"/>
                </a:cubicBezTo>
                <a:cubicBezTo>
                  <a:pt x="799" y="878"/>
                  <a:pt x="799" y="878"/>
                  <a:pt x="799" y="878"/>
                </a:cubicBezTo>
                <a:cubicBezTo>
                  <a:pt x="801" y="880"/>
                  <a:pt x="801" y="880"/>
                  <a:pt x="801" y="880"/>
                </a:cubicBezTo>
                <a:cubicBezTo>
                  <a:pt x="802" y="880"/>
                  <a:pt x="802" y="880"/>
                  <a:pt x="802" y="880"/>
                </a:cubicBezTo>
                <a:cubicBezTo>
                  <a:pt x="805" y="881"/>
                  <a:pt x="805" y="881"/>
                  <a:pt x="805" y="881"/>
                </a:cubicBezTo>
                <a:cubicBezTo>
                  <a:pt x="807" y="880"/>
                  <a:pt x="807" y="880"/>
                  <a:pt x="807" y="880"/>
                </a:cubicBezTo>
                <a:cubicBezTo>
                  <a:pt x="808" y="878"/>
                  <a:pt x="808" y="878"/>
                  <a:pt x="808" y="878"/>
                </a:cubicBezTo>
                <a:cubicBezTo>
                  <a:pt x="806" y="877"/>
                  <a:pt x="806" y="877"/>
                  <a:pt x="806" y="877"/>
                </a:cubicBezTo>
                <a:cubicBezTo>
                  <a:pt x="806" y="876"/>
                  <a:pt x="806" y="876"/>
                  <a:pt x="806" y="876"/>
                </a:cubicBezTo>
                <a:cubicBezTo>
                  <a:pt x="804" y="875"/>
                  <a:pt x="804" y="875"/>
                  <a:pt x="804" y="875"/>
                </a:cubicBezTo>
                <a:cubicBezTo>
                  <a:pt x="803" y="874"/>
                  <a:pt x="803" y="874"/>
                  <a:pt x="803" y="874"/>
                </a:cubicBezTo>
                <a:cubicBezTo>
                  <a:pt x="801" y="872"/>
                  <a:pt x="801" y="872"/>
                  <a:pt x="801" y="872"/>
                </a:cubicBezTo>
                <a:cubicBezTo>
                  <a:pt x="798" y="870"/>
                  <a:pt x="798" y="870"/>
                  <a:pt x="798" y="870"/>
                </a:cubicBezTo>
                <a:cubicBezTo>
                  <a:pt x="797" y="870"/>
                  <a:pt x="797" y="870"/>
                  <a:pt x="797" y="870"/>
                </a:cubicBezTo>
                <a:cubicBezTo>
                  <a:pt x="795" y="867"/>
                  <a:pt x="795" y="867"/>
                  <a:pt x="795" y="867"/>
                </a:cubicBezTo>
                <a:cubicBezTo>
                  <a:pt x="792" y="866"/>
                  <a:pt x="792" y="866"/>
                  <a:pt x="792" y="866"/>
                </a:cubicBezTo>
                <a:cubicBezTo>
                  <a:pt x="789" y="866"/>
                  <a:pt x="789" y="866"/>
                  <a:pt x="789" y="866"/>
                </a:cubicBezTo>
                <a:cubicBezTo>
                  <a:pt x="783" y="864"/>
                  <a:pt x="783" y="864"/>
                  <a:pt x="783" y="864"/>
                </a:cubicBezTo>
                <a:cubicBezTo>
                  <a:pt x="781" y="863"/>
                  <a:pt x="781" y="863"/>
                  <a:pt x="781" y="863"/>
                </a:cubicBezTo>
                <a:cubicBezTo>
                  <a:pt x="778" y="864"/>
                  <a:pt x="778" y="864"/>
                  <a:pt x="778" y="864"/>
                </a:cubicBezTo>
                <a:cubicBezTo>
                  <a:pt x="779" y="867"/>
                  <a:pt x="779" y="867"/>
                  <a:pt x="779" y="867"/>
                </a:cubicBezTo>
                <a:cubicBezTo>
                  <a:pt x="782" y="868"/>
                  <a:pt x="782" y="868"/>
                  <a:pt x="782" y="868"/>
                </a:cubicBezTo>
                <a:cubicBezTo>
                  <a:pt x="786" y="871"/>
                  <a:pt x="786" y="871"/>
                  <a:pt x="786" y="871"/>
                </a:cubicBezTo>
                <a:cubicBezTo>
                  <a:pt x="786" y="873"/>
                  <a:pt x="786" y="873"/>
                  <a:pt x="786" y="873"/>
                </a:cubicBezTo>
                <a:cubicBezTo>
                  <a:pt x="787" y="874"/>
                  <a:pt x="787" y="874"/>
                  <a:pt x="787" y="874"/>
                </a:cubicBezTo>
                <a:close/>
                <a:moveTo>
                  <a:pt x="788" y="930"/>
                </a:moveTo>
                <a:cubicBezTo>
                  <a:pt x="785" y="928"/>
                  <a:pt x="785" y="928"/>
                  <a:pt x="785" y="928"/>
                </a:cubicBezTo>
                <a:cubicBezTo>
                  <a:pt x="784" y="926"/>
                  <a:pt x="784" y="926"/>
                  <a:pt x="784" y="926"/>
                </a:cubicBezTo>
                <a:cubicBezTo>
                  <a:pt x="779" y="925"/>
                  <a:pt x="779" y="925"/>
                  <a:pt x="779" y="925"/>
                </a:cubicBezTo>
                <a:cubicBezTo>
                  <a:pt x="777" y="924"/>
                  <a:pt x="777" y="924"/>
                  <a:pt x="777" y="924"/>
                </a:cubicBezTo>
                <a:cubicBezTo>
                  <a:pt x="777" y="923"/>
                  <a:pt x="777" y="923"/>
                  <a:pt x="777" y="923"/>
                </a:cubicBezTo>
                <a:cubicBezTo>
                  <a:pt x="776" y="922"/>
                  <a:pt x="776" y="922"/>
                  <a:pt x="776" y="922"/>
                </a:cubicBezTo>
                <a:cubicBezTo>
                  <a:pt x="775" y="922"/>
                  <a:pt x="775" y="922"/>
                  <a:pt x="775" y="922"/>
                </a:cubicBezTo>
                <a:cubicBezTo>
                  <a:pt x="774" y="920"/>
                  <a:pt x="774" y="920"/>
                  <a:pt x="774" y="920"/>
                </a:cubicBezTo>
                <a:cubicBezTo>
                  <a:pt x="773" y="920"/>
                  <a:pt x="773" y="920"/>
                  <a:pt x="773" y="920"/>
                </a:cubicBezTo>
                <a:cubicBezTo>
                  <a:pt x="773" y="918"/>
                  <a:pt x="773" y="918"/>
                  <a:pt x="773" y="918"/>
                </a:cubicBezTo>
                <a:cubicBezTo>
                  <a:pt x="772" y="917"/>
                  <a:pt x="772" y="917"/>
                  <a:pt x="772" y="917"/>
                </a:cubicBezTo>
                <a:cubicBezTo>
                  <a:pt x="770" y="917"/>
                  <a:pt x="770" y="917"/>
                  <a:pt x="770" y="917"/>
                </a:cubicBezTo>
                <a:cubicBezTo>
                  <a:pt x="770" y="916"/>
                  <a:pt x="770" y="916"/>
                  <a:pt x="770" y="916"/>
                </a:cubicBezTo>
                <a:cubicBezTo>
                  <a:pt x="771" y="914"/>
                  <a:pt x="771" y="914"/>
                  <a:pt x="771" y="914"/>
                </a:cubicBezTo>
                <a:cubicBezTo>
                  <a:pt x="775" y="911"/>
                  <a:pt x="775" y="911"/>
                  <a:pt x="775" y="911"/>
                </a:cubicBezTo>
                <a:cubicBezTo>
                  <a:pt x="776" y="913"/>
                  <a:pt x="776" y="913"/>
                  <a:pt x="776" y="913"/>
                </a:cubicBezTo>
                <a:cubicBezTo>
                  <a:pt x="774" y="915"/>
                  <a:pt x="774" y="915"/>
                  <a:pt x="774" y="915"/>
                </a:cubicBezTo>
                <a:cubicBezTo>
                  <a:pt x="774" y="916"/>
                  <a:pt x="774" y="916"/>
                  <a:pt x="774" y="916"/>
                </a:cubicBezTo>
                <a:cubicBezTo>
                  <a:pt x="775" y="917"/>
                  <a:pt x="775" y="917"/>
                  <a:pt x="775" y="917"/>
                </a:cubicBezTo>
                <a:cubicBezTo>
                  <a:pt x="775" y="919"/>
                  <a:pt x="775" y="919"/>
                  <a:pt x="775" y="919"/>
                </a:cubicBezTo>
                <a:cubicBezTo>
                  <a:pt x="777" y="920"/>
                  <a:pt x="777" y="920"/>
                  <a:pt x="777" y="920"/>
                </a:cubicBezTo>
                <a:cubicBezTo>
                  <a:pt x="777" y="918"/>
                  <a:pt x="777" y="918"/>
                  <a:pt x="777" y="918"/>
                </a:cubicBezTo>
                <a:cubicBezTo>
                  <a:pt x="779" y="918"/>
                  <a:pt x="779" y="918"/>
                  <a:pt x="779" y="918"/>
                </a:cubicBezTo>
                <a:cubicBezTo>
                  <a:pt x="782" y="921"/>
                  <a:pt x="782" y="921"/>
                  <a:pt x="782" y="921"/>
                </a:cubicBezTo>
                <a:cubicBezTo>
                  <a:pt x="783" y="921"/>
                  <a:pt x="783" y="921"/>
                  <a:pt x="783" y="921"/>
                </a:cubicBezTo>
                <a:cubicBezTo>
                  <a:pt x="785" y="922"/>
                  <a:pt x="785" y="922"/>
                  <a:pt x="785" y="922"/>
                </a:cubicBezTo>
                <a:cubicBezTo>
                  <a:pt x="788" y="922"/>
                  <a:pt x="788" y="922"/>
                  <a:pt x="788" y="922"/>
                </a:cubicBezTo>
                <a:cubicBezTo>
                  <a:pt x="789" y="921"/>
                  <a:pt x="789" y="921"/>
                  <a:pt x="789" y="921"/>
                </a:cubicBezTo>
                <a:cubicBezTo>
                  <a:pt x="791" y="921"/>
                  <a:pt x="791" y="921"/>
                  <a:pt x="791" y="921"/>
                </a:cubicBezTo>
                <a:cubicBezTo>
                  <a:pt x="795" y="922"/>
                  <a:pt x="795" y="922"/>
                  <a:pt x="795" y="922"/>
                </a:cubicBezTo>
                <a:cubicBezTo>
                  <a:pt x="794" y="922"/>
                  <a:pt x="794" y="922"/>
                  <a:pt x="794" y="922"/>
                </a:cubicBezTo>
                <a:cubicBezTo>
                  <a:pt x="791" y="923"/>
                  <a:pt x="791" y="923"/>
                  <a:pt x="791" y="923"/>
                </a:cubicBezTo>
                <a:cubicBezTo>
                  <a:pt x="790" y="925"/>
                  <a:pt x="790" y="925"/>
                  <a:pt x="790" y="925"/>
                </a:cubicBezTo>
                <a:cubicBezTo>
                  <a:pt x="791" y="927"/>
                  <a:pt x="791" y="927"/>
                  <a:pt x="791" y="927"/>
                </a:cubicBezTo>
                <a:cubicBezTo>
                  <a:pt x="790" y="929"/>
                  <a:pt x="790" y="929"/>
                  <a:pt x="790" y="929"/>
                </a:cubicBezTo>
                <a:cubicBezTo>
                  <a:pt x="788" y="930"/>
                  <a:pt x="788" y="930"/>
                  <a:pt x="788" y="930"/>
                </a:cubicBezTo>
                <a:close/>
                <a:moveTo>
                  <a:pt x="806" y="938"/>
                </a:moveTo>
                <a:cubicBezTo>
                  <a:pt x="805" y="936"/>
                  <a:pt x="805" y="936"/>
                  <a:pt x="805" y="936"/>
                </a:cubicBezTo>
                <a:cubicBezTo>
                  <a:pt x="801" y="934"/>
                  <a:pt x="801" y="934"/>
                  <a:pt x="801" y="934"/>
                </a:cubicBezTo>
                <a:cubicBezTo>
                  <a:pt x="801" y="931"/>
                  <a:pt x="801" y="931"/>
                  <a:pt x="801" y="931"/>
                </a:cubicBezTo>
                <a:cubicBezTo>
                  <a:pt x="800" y="929"/>
                  <a:pt x="800" y="929"/>
                  <a:pt x="800" y="929"/>
                </a:cubicBezTo>
                <a:cubicBezTo>
                  <a:pt x="801" y="928"/>
                  <a:pt x="801" y="928"/>
                  <a:pt x="801" y="928"/>
                </a:cubicBezTo>
                <a:cubicBezTo>
                  <a:pt x="804" y="926"/>
                  <a:pt x="804" y="926"/>
                  <a:pt x="804" y="926"/>
                </a:cubicBezTo>
                <a:cubicBezTo>
                  <a:pt x="807" y="922"/>
                  <a:pt x="807" y="922"/>
                  <a:pt x="807" y="922"/>
                </a:cubicBezTo>
                <a:cubicBezTo>
                  <a:pt x="808" y="921"/>
                  <a:pt x="808" y="921"/>
                  <a:pt x="808" y="921"/>
                </a:cubicBezTo>
                <a:cubicBezTo>
                  <a:pt x="809" y="918"/>
                  <a:pt x="809" y="918"/>
                  <a:pt x="809" y="918"/>
                </a:cubicBezTo>
                <a:cubicBezTo>
                  <a:pt x="812" y="916"/>
                  <a:pt x="812" y="916"/>
                  <a:pt x="812" y="916"/>
                </a:cubicBezTo>
                <a:cubicBezTo>
                  <a:pt x="813" y="914"/>
                  <a:pt x="813" y="914"/>
                  <a:pt x="813" y="914"/>
                </a:cubicBezTo>
                <a:cubicBezTo>
                  <a:pt x="815" y="914"/>
                  <a:pt x="815" y="914"/>
                  <a:pt x="815" y="914"/>
                </a:cubicBezTo>
                <a:cubicBezTo>
                  <a:pt x="815" y="915"/>
                  <a:pt x="815" y="915"/>
                  <a:pt x="815" y="915"/>
                </a:cubicBezTo>
                <a:cubicBezTo>
                  <a:pt x="814" y="916"/>
                  <a:pt x="814" y="916"/>
                  <a:pt x="814" y="916"/>
                </a:cubicBezTo>
                <a:cubicBezTo>
                  <a:pt x="816" y="917"/>
                  <a:pt x="816" y="917"/>
                  <a:pt x="816" y="917"/>
                </a:cubicBezTo>
                <a:cubicBezTo>
                  <a:pt x="816" y="918"/>
                  <a:pt x="816" y="918"/>
                  <a:pt x="816" y="918"/>
                </a:cubicBezTo>
                <a:cubicBezTo>
                  <a:pt x="813" y="923"/>
                  <a:pt x="813" y="923"/>
                  <a:pt x="813" y="923"/>
                </a:cubicBezTo>
                <a:cubicBezTo>
                  <a:pt x="812" y="924"/>
                  <a:pt x="812" y="924"/>
                  <a:pt x="812" y="924"/>
                </a:cubicBezTo>
                <a:cubicBezTo>
                  <a:pt x="814" y="925"/>
                  <a:pt x="814" y="925"/>
                  <a:pt x="814" y="925"/>
                </a:cubicBezTo>
                <a:cubicBezTo>
                  <a:pt x="815" y="927"/>
                  <a:pt x="815" y="927"/>
                  <a:pt x="815" y="927"/>
                </a:cubicBezTo>
                <a:cubicBezTo>
                  <a:pt x="814" y="929"/>
                  <a:pt x="814" y="929"/>
                  <a:pt x="814" y="929"/>
                </a:cubicBezTo>
                <a:cubicBezTo>
                  <a:pt x="815" y="930"/>
                  <a:pt x="815" y="930"/>
                  <a:pt x="815" y="930"/>
                </a:cubicBezTo>
                <a:cubicBezTo>
                  <a:pt x="816" y="929"/>
                  <a:pt x="816" y="929"/>
                  <a:pt x="816" y="929"/>
                </a:cubicBezTo>
                <a:cubicBezTo>
                  <a:pt x="816" y="927"/>
                  <a:pt x="816" y="927"/>
                  <a:pt x="816" y="927"/>
                </a:cubicBezTo>
                <a:cubicBezTo>
                  <a:pt x="818" y="926"/>
                  <a:pt x="818" y="926"/>
                  <a:pt x="818" y="926"/>
                </a:cubicBezTo>
                <a:cubicBezTo>
                  <a:pt x="820" y="927"/>
                  <a:pt x="820" y="927"/>
                  <a:pt x="820" y="927"/>
                </a:cubicBezTo>
                <a:cubicBezTo>
                  <a:pt x="821" y="930"/>
                  <a:pt x="821" y="930"/>
                  <a:pt x="821" y="930"/>
                </a:cubicBezTo>
                <a:cubicBezTo>
                  <a:pt x="821" y="931"/>
                  <a:pt x="821" y="931"/>
                  <a:pt x="821" y="931"/>
                </a:cubicBezTo>
                <a:cubicBezTo>
                  <a:pt x="819" y="932"/>
                  <a:pt x="819" y="932"/>
                  <a:pt x="819" y="932"/>
                </a:cubicBezTo>
                <a:cubicBezTo>
                  <a:pt x="818" y="933"/>
                  <a:pt x="818" y="933"/>
                  <a:pt x="818" y="933"/>
                </a:cubicBezTo>
                <a:cubicBezTo>
                  <a:pt x="814" y="933"/>
                  <a:pt x="814" y="933"/>
                  <a:pt x="814" y="933"/>
                </a:cubicBezTo>
                <a:cubicBezTo>
                  <a:pt x="811" y="936"/>
                  <a:pt x="811" y="936"/>
                  <a:pt x="811" y="936"/>
                </a:cubicBezTo>
                <a:cubicBezTo>
                  <a:pt x="809" y="936"/>
                  <a:pt x="809" y="936"/>
                  <a:pt x="809" y="936"/>
                </a:cubicBezTo>
                <a:cubicBezTo>
                  <a:pt x="808" y="935"/>
                  <a:pt x="808" y="935"/>
                  <a:pt x="808" y="935"/>
                </a:cubicBezTo>
                <a:cubicBezTo>
                  <a:pt x="807" y="935"/>
                  <a:pt x="807" y="935"/>
                  <a:pt x="807" y="935"/>
                </a:cubicBezTo>
                <a:cubicBezTo>
                  <a:pt x="806" y="937"/>
                  <a:pt x="806" y="937"/>
                  <a:pt x="806" y="937"/>
                </a:cubicBezTo>
                <a:cubicBezTo>
                  <a:pt x="806" y="938"/>
                  <a:pt x="806" y="938"/>
                  <a:pt x="806" y="938"/>
                </a:cubicBezTo>
                <a:close/>
                <a:moveTo>
                  <a:pt x="616" y="790"/>
                </a:moveTo>
                <a:cubicBezTo>
                  <a:pt x="617" y="793"/>
                  <a:pt x="617" y="793"/>
                  <a:pt x="617" y="793"/>
                </a:cubicBezTo>
                <a:cubicBezTo>
                  <a:pt x="617" y="794"/>
                  <a:pt x="617" y="794"/>
                  <a:pt x="617" y="794"/>
                </a:cubicBezTo>
                <a:cubicBezTo>
                  <a:pt x="618" y="793"/>
                  <a:pt x="618" y="793"/>
                  <a:pt x="618" y="793"/>
                </a:cubicBezTo>
                <a:cubicBezTo>
                  <a:pt x="618" y="790"/>
                  <a:pt x="618" y="790"/>
                  <a:pt x="618" y="790"/>
                </a:cubicBezTo>
                <a:cubicBezTo>
                  <a:pt x="617" y="790"/>
                  <a:pt x="617" y="790"/>
                  <a:pt x="617" y="790"/>
                </a:cubicBezTo>
                <a:cubicBezTo>
                  <a:pt x="616" y="790"/>
                  <a:pt x="616" y="790"/>
                  <a:pt x="616" y="790"/>
                </a:cubicBezTo>
                <a:close/>
                <a:moveTo>
                  <a:pt x="616" y="818"/>
                </a:moveTo>
                <a:cubicBezTo>
                  <a:pt x="617" y="816"/>
                  <a:pt x="617" y="816"/>
                  <a:pt x="617" y="816"/>
                </a:cubicBezTo>
                <a:cubicBezTo>
                  <a:pt x="619" y="816"/>
                  <a:pt x="619" y="816"/>
                  <a:pt x="619" y="816"/>
                </a:cubicBezTo>
                <a:cubicBezTo>
                  <a:pt x="619" y="815"/>
                  <a:pt x="619" y="815"/>
                  <a:pt x="619" y="815"/>
                </a:cubicBezTo>
                <a:cubicBezTo>
                  <a:pt x="620" y="817"/>
                  <a:pt x="620" y="817"/>
                  <a:pt x="620" y="817"/>
                </a:cubicBezTo>
                <a:cubicBezTo>
                  <a:pt x="617" y="818"/>
                  <a:pt x="617" y="818"/>
                  <a:pt x="617" y="818"/>
                </a:cubicBezTo>
                <a:cubicBezTo>
                  <a:pt x="616" y="818"/>
                  <a:pt x="616" y="818"/>
                  <a:pt x="616" y="818"/>
                </a:cubicBezTo>
                <a:close/>
                <a:moveTo>
                  <a:pt x="593" y="798"/>
                </a:moveTo>
                <a:cubicBezTo>
                  <a:pt x="596" y="795"/>
                  <a:pt x="596" y="795"/>
                  <a:pt x="596" y="795"/>
                </a:cubicBezTo>
                <a:cubicBezTo>
                  <a:pt x="598" y="796"/>
                  <a:pt x="598" y="796"/>
                  <a:pt x="598" y="796"/>
                </a:cubicBezTo>
                <a:cubicBezTo>
                  <a:pt x="598" y="794"/>
                  <a:pt x="598" y="794"/>
                  <a:pt x="598" y="794"/>
                </a:cubicBezTo>
                <a:cubicBezTo>
                  <a:pt x="599" y="793"/>
                  <a:pt x="599" y="793"/>
                  <a:pt x="599" y="793"/>
                </a:cubicBezTo>
                <a:cubicBezTo>
                  <a:pt x="602" y="793"/>
                  <a:pt x="602" y="793"/>
                  <a:pt x="602" y="793"/>
                </a:cubicBezTo>
                <a:cubicBezTo>
                  <a:pt x="602" y="794"/>
                  <a:pt x="602" y="794"/>
                  <a:pt x="602" y="794"/>
                </a:cubicBezTo>
                <a:cubicBezTo>
                  <a:pt x="604" y="794"/>
                  <a:pt x="604" y="794"/>
                  <a:pt x="604" y="794"/>
                </a:cubicBezTo>
                <a:cubicBezTo>
                  <a:pt x="607" y="796"/>
                  <a:pt x="607" y="796"/>
                  <a:pt x="607" y="796"/>
                </a:cubicBezTo>
                <a:cubicBezTo>
                  <a:pt x="607" y="799"/>
                  <a:pt x="607" y="799"/>
                  <a:pt x="607" y="799"/>
                </a:cubicBezTo>
                <a:cubicBezTo>
                  <a:pt x="608" y="800"/>
                  <a:pt x="608" y="800"/>
                  <a:pt x="608" y="800"/>
                </a:cubicBezTo>
                <a:cubicBezTo>
                  <a:pt x="608" y="802"/>
                  <a:pt x="608" y="802"/>
                  <a:pt x="608" y="802"/>
                </a:cubicBezTo>
                <a:cubicBezTo>
                  <a:pt x="602" y="801"/>
                  <a:pt x="602" y="801"/>
                  <a:pt x="602" y="801"/>
                </a:cubicBezTo>
                <a:cubicBezTo>
                  <a:pt x="600" y="799"/>
                  <a:pt x="600" y="799"/>
                  <a:pt x="600" y="799"/>
                </a:cubicBezTo>
                <a:cubicBezTo>
                  <a:pt x="598" y="799"/>
                  <a:pt x="598" y="799"/>
                  <a:pt x="598" y="799"/>
                </a:cubicBezTo>
                <a:cubicBezTo>
                  <a:pt x="598" y="801"/>
                  <a:pt x="598" y="801"/>
                  <a:pt x="598" y="801"/>
                </a:cubicBezTo>
                <a:cubicBezTo>
                  <a:pt x="598" y="802"/>
                  <a:pt x="598" y="802"/>
                  <a:pt x="598" y="802"/>
                </a:cubicBezTo>
                <a:cubicBezTo>
                  <a:pt x="597" y="800"/>
                  <a:pt x="597" y="800"/>
                  <a:pt x="597" y="800"/>
                </a:cubicBezTo>
                <a:cubicBezTo>
                  <a:pt x="596" y="799"/>
                  <a:pt x="596" y="799"/>
                  <a:pt x="596" y="799"/>
                </a:cubicBezTo>
                <a:cubicBezTo>
                  <a:pt x="594" y="799"/>
                  <a:pt x="594" y="799"/>
                  <a:pt x="594" y="799"/>
                </a:cubicBezTo>
                <a:cubicBezTo>
                  <a:pt x="593" y="798"/>
                  <a:pt x="593" y="798"/>
                  <a:pt x="593" y="798"/>
                </a:cubicBezTo>
                <a:close/>
                <a:moveTo>
                  <a:pt x="94" y="808"/>
                </a:moveTo>
                <a:cubicBezTo>
                  <a:pt x="96" y="810"/>
                  <a:pt x="96" y="810"/>
                  <a:pt x="96" y="810"/>
                </a:cubicBezTo>
                <a:cubicBezTo>
                  <a:pt x="99" y="814"/>
                  <a:pt x="99" y="814"/>
                  <a:pt x="99" y="814"/>
                </a:cubicBezTo>
                <a:cubicBezTo>
                  <a:pt x="98" y="815"/>
                  <a:pt x="98" y="815"/>
                  <a:pt x="98" y="815"/>
                </a:cubicBezTo>
                <a:cubicBezTo>
                  <a:pt x="94" y="812"/>
                  <a:pt x="94" y="812"/>
                  <a:pt x="94" y="812"/>
                </a:cubicBezTo>
                <a:cubicBezTo>
                  <a:pt x="94" y="808"/>
                  <a:pt x="94" y="808"/>
                  <a:pt x="94" y="808"/>
                </a:cubicBezTo>
                <a:close/>
                <a:moveTo>
                  <a:pt x="89" y="803"/>
                </a:moveTo>
                <a:cubicBezTo>
                  <a:pt x="89" y="799"/>
                  <a:pt x="89" y="799"/>
                  <a:pt x="89" y="799"/>
                </a:cubicBezTo>
                <a:cubicBezTo>
                  <a:pt x="91" y="799"/>
                  <a:pt x="91" y="799"/>
                  <a:pt x="91" y="799"/>
                </a:cubicBezTo>
                <a:cubicBezTo>
                  <a:pt x="89" y="803"/>
                  <a:pt x="89" y="803"/>
                  <a:pt x="89" y="803"/>
                </a:cubicBezTo>
                <a:close/>
                <a:moveTo>
                  <a:pt x="76" y="791"/>
                </a:moveTo>
                <a:cubicBezTo>
                  <a:pt x="79" y="793"/>
                  <a:pt x="79" y="793"/>
                  <a:pt x="79" y="793"/>
                </a:cubicBezTo>
                <a:cubicBezTo>
                  <a:pt x="79" y="791"/>
                  <a:pt x="79" y="791"/>
                  <a:pt x="79" y="791"/>
                </a:cubicBezTo>
                <a:cubicBezTo>
                  <a:pt x="76" y="791"/>
                  <a:pt x="76" y="791"/>
                  <a:pt x="76" y="791"/>
                </a:cubicBezTo>
                <a:close/>
                <a:moveTo>
                  <a:pt x="56" y="782"/>
                </a:moveTo>
                <a:cubicBezTo>
                  <a:pt x="57" y="786"/>
                  <a:pt x="57" y="786"/>
                  <a:pt x="57" y="786"/>
                </a:cubicBezTo>
                <a:cubicBezTo>
                  <a:pt x="58" y="786"/>
                  <a:pt x="58" y="786"/>
                  <a:pt x="58" y="786"/>
                </a:cubicBezTo>
                <a:cubicBezTo>
                  <a:pt x="59" y="789"/>
                  <a:pt x="59" y="789"/>
                  <a:pt x="59" y="789"/>
                </a:cubicBezTo>
                <a:cubicBezTo>
                  <a:pt x="65" y="789"/>
                  <a:pt x="65" y="789"/>
                  <a:pt x="65" y="789"/>
                </a:cubicBezTo>
                <a:cubicBezTo>
                  <a:pt x="62" y="791"/>
                  <a:pt x="62" y="791"/>
                  <a:pt x="62" y="791"/>
                </a:cubicBezTo>
                <a:cubicBezTo>
                  <a:pt x="59" y="791"/>
                  <a:pt x="59" y="791"/>
                  <a:pt x="59" y="791"/>
                </a:cubicBezTo>
                <a:cubicBezTo>
                  <a:pt x="57" y="793"/>
                  <a:pt x="57" y="793"/>
                  <a:pt x="57" y="793"/>
                </a:cubicBezTo>
                <a:cubicBezTo>
                  <a:pt x="59" y="794"/>
                  <a:pt x="59" y="794"/>
                  <a:pt x="59" y="794"/>
                </a:cubicBezTo>
                <a:cubicBezTo>
                  <a:pt x="58" y="797"/>
                  <a:pt x="58" y="797"/>
                  <a:pt x="58" y="797"/>
                </a:cubicBezTo>
                <a:cubicBezTo>
                  <a:pt x="58" y="798"/>
                  <a:pt x="58" y="798"/>
                  <a:pt x="58" y="798"/>
                </a:cubicBezTo>
                <a:cubicBezTo>
                  <a:pt x="61" y="797"/>
                  <a:pt x="61" y="797"/>
                  <a:pt x="61" y="797"/>
                </a:cubicBezTo>
                <a:cubicBezTo>
                  <a:pt x="61" y="799"/>
                  <a:pt x="61" y="799"/>
                  <a:pt x="61" y="799"/>
                </a:cubicBezTo>
                <a:cubicBezTo>
                  <a:pt x="64" y="799"/>
                  <a:pt x="64" y="799"/>
                  <a:pt x="64" y="799"/>
                </a:cubicBezTo>
                <a:cubicBezTo>
                  <a:pt x="64" y="801"/>
                  <a:pt x="64" y="801"/>
                  <a:pt x="64" y="801"/>
                </a:cubicBezTo>
                <a:cubicBezTo>
                  <a:pt x="67" y="803"/>
                  <a:pt x="67" y="803"/>
                  <a:pt x="67" y="803"/>
                </a:cubicBezTo>
                <a:cubicBezTo>
                  <a:pt x="69" y="802"/>
                  <a:pt x="69" y="802"/>
                  <a:pt x="69" y="802"/>
                </a:cubicBezTo>
                <a:cubicBezTo>
                  <a:pt x="66" y="806"/>
                  <a:pt x="66" y="806"/>
                  <a:pt x="66" y="806"/>
                </a:cubicBezTo>
                <a:cubicBezTo>
                  <a:pt x="67" y="808"/>
                  <a:pt x="67" y="808"/>
                  <a:pt x="67" y="808"/>
                </a:cubicBezTo>
                <a:cubicBezTo>
                  <a:pt x="69" y="808"/>
                  <a:pt x="69" y="808"/>
                  <a:pt x="69" y="808"/>
                </a:cubicBezTo>
                <a:cubicBezTo>
                  <a:pt x="69" y="806"/>
                  <a:pt x="69" y="806"/>
                  <a:pt x="69" y="806"/>
                </a:cubicBezTo>
                <a:cubicBezTo>
                  <a:pt x="73" y="805"/>
                  <a:pt x="73" y="805"/>
                  <a:pt x="73" y="805"/>
                </a:cubicBezTo>
                <a:cubicBezTo>
                  <a:pt x="72" y="808"/>
                  <a:pt x="72" y="808"/>
                  <a:pt x="72" y="808"/>
                </a:cubicBezTo>
                <a:cubicBezTo>
                  <a:pt x="70" y="810"/>
                  <a:pt x="70" y="810"/>
                  <a:pt x="70" y="810"/>
                </a:cubicBezTo>
                <a:cubicBezTo>
                  <a:pt x="70" y="812"/>
                  <a:pt x="70" y="812"/>
                  <a:pt x="70" y="812"/>
                </a:cubicBezTo>
                <a:cubicBezTo>
                  <a:pt x="71" y="811"/>
                  <a:pt x="71" y="811"/>
                  <a:pt x="71" y="811"/>
                </a:cubicBezTo>
                <a:cubicBezTo>
                  <a:pt x="72" y="814"/>
                  <a:pt x="72" y="814"/>
                  <a:pt x="72" y="814"/>
                </a:cubicBezTo>
                <a:cubicBezTo>
                  <a:pt x="76" y="814"/>
                  <a:pt x="76" y="814"/>
                  <a:pt x="76" y="814"/>
                </a:cubicBezTo>
                <a:cubicBezTo>
                  <a:pt x="76" y="816"/>
                  <a:pt x="76" y="816"/>
                  <a:pt x="76" y="816"/>
                </a:cubicBezTo>
                <a:cubicBezTo>
                  <a:pt x="77" y="816"/>
                  <a:pt x="77" y="816"/>
                  <a:pt x="77" y="816"/>
                </a:cubicBezTo>
                <a:cubicBezTo>
                  <a:pt x="78" y="818"/>
                  <a:pt x="78" y="818"/>
                  <a:pt x="78" y="818"/>
                </a:cubicBezTo>
                <a:cubicBezTo>
                  <a:pt x="77" y="820"/>
                  <a:pt x="77" y="820"/>
                  <a:pt x="77" y="820"/>
                </a:cubicBezTo>
                <a:cubicBezTo>
                  <a:pt x="80" y="823"/>
                  <a:pt x="80" y="823"/>
                  <a:pt x="80" y="823"/>
                </a:cubicBezTo>
                <a:cubicBezTo>
                  <a:pt x="82" y="821"/>
                  <a:pt x="82" y="821"/>
                  <a:pt x="82" y="821"/>
                </a:cubicBezTo>
                <a:cubicBezTo>
                  <a:pt x="83" y="822"/>
                  <a:pt x="83" y="822"/>
                  <a:pt x="83" y="822"/>
                </a:cubicBezTo>
                <a:cubicBezTo>
                  <a:pt x="85" y="822"/>
                  <a:pt x="85" y="822"/>
                  <a:pt x="85" y="822"/>
                </a:cubicBezTo>
                <a:cubicBezTo>
                  <a:pt x="82" y="826"/>
                  <a:pt x="82" y="826"/>
                  <a:pt x="82" y="826"/>
                </a:cubicBezTo>
                <a:cubicBezTo>
                  <a:pt x="87" y="831"/>
                  <a:pt x="87" y="831"/>
                  <a:pt x="87" y="831"/>
                </a:cubicBezTo>
                <a:cubicBezTo>
                  <a:pt x="88" y="831"/>
                  <a:pt x="88" y="831"/>
                  <a:pt x="88" y="831"/>
                </a:cubicBezTo>
                <a:cubicBezTo>
                  <a:pt x="89" y="833"/>
                  <a:pt x="89" y="833"/>
                  <a:pt x="89" y="833"/>
                </a:cubicBezTo>
                <a:cubicBezTo>
                  <a:pt x="97" y="837"/>
                  <a:pt x="97" y="837"/>
                  <a:pt x="97" y="837"/>
                </a:cubicBezTo>
                <a:cubicBezTo>
                  <a:pt x="98" y="836"/>
                  <a:pt x="98" y="836"/>
                  <a:pt x="98" y="836"/>
                </a:cubicBezTo>
                <a:cubicBezTo>
                  <a:pt x="100" y="837"/>
                  <a:pt x="100" y="837"/>
                  <a:pt x="100" y="837"/>
                </a:cubicBezTo>
                <a:cubicBezTo>
                  <a:pt x="98" y="830"/>
                  <a:pt x="98" y="830"/>
                  <a:pt x="98" y="830"/>
                </a:cubicBezTo>
                <a:cubicBezTo>
                  <a:pt x="99" y="827"/>
                  <a:pt x="99" y="827"/>
                  <a:pt x="99" y="827"/>
                </a:cubicBezTo>
                <a:cubicBezTo>
                  <a:pt x="98" y="825"/>
                  <a:pt x="98" y="825"/>
                  <a:pt x="98" y="825"/>
                </a:cubicBezTo>
                <a:cubicBezTo>
                  <a:pt x="98" y="821"/>
                  <a:pt x="98" y="821"/>
                  <a:pt x="98" y="821"/>
                </a:cubicBezTo>
                <a:cubicBezTo>
                  <a:pt x="96" y="818"/>
                  <a:pt x="96" y="818"/>
                  <a:pt x="96" y="818"/>
                </a:cubicBezTo>
                <a:cubicBezTo>
                  <a:pt x="91" y="814"/>
                  <a:pt x="91" y="814"/>
                  <a:pt x="91" y="814"/>
                </a:cubicBezTo>
                <a:cubicBezTo>
                  <a:pt x="90" y="807"/>
                  <a:pt x="90" y="807"/>
                  <a:pt x="90" y="807"/>
                </a:cubicBezTo>
                <a:cubicBezTo>
                  <a:pt x="87" y="803"/>
                  <a:pt x="87" y="803"/>
                  <a:pt x="87" y="803"/>
                </a:cubicBezTo>
                <a:cubicBezTo>
                  <a:pt x="87" y="798"/>
                  <a:pt x="87" y="798"/>
                  <a:pt x="87" y="798"/>
                </a:cubicBezTo>
                <a:cubicBezTo>
                  <a:pt x="86" y="797"/>
                  <a:pt x="86" y="797"/>
                  <a:pt x="86" y="797"/>
                </a:cubicBezTo>
                <a:cubicBezTo>
                  <a:pt x="83" y="797"/>
                  <a:pt x="83" y="797"/>
                  <a:pt x="83" y="797"/>
                </a:cubicBezTo>
                <a:cubicBezTo>
                  <a:pt x="79" y="794"/>
                  <a:pt x="79" y="794"/>
                  <a:pt x="79" y="794"/>
                </a:cubicBezTo>
                <a:cubicBezTo>
                  <a:pt x="77" y="794"/>
                  <a:pt x="77" y="794"/>
                  <a:pt x="77" y="794"/>
                </a:cubicBezTo>
                <a:cubicBezTo>
                  <a:pt x="74" y="793"/>
                  <a:pt x="74" y="793"/>
                  <a:pt x="74" y="793"/>
                </a:cubicBezTo>
                <a:cubicBezTo>
                  <a:pt x="73" y="791"/>
                  <a:pt x="73" y="791"/>
                  <a:pt x="73" y="791"/>
                </a:cubicBezTo>
                <a:cubicBezTo>
                  <a:pt x="69" y="789"/>
                  <a:pt x="69" y="789"/>
                  <a:pt x="69" y="789"/>
                </a:cubicBezTo>
                <a:cubicBezTo>
                  <a:pt x="67" y="787"/>
                  <a:pt x="67" y="787"/>
                  <a:pt x="67" y="787"/>
                </a:cubicBezTo>
                <a:cubicBezTo>
                  <a:pt x="67" y="785"/>
                  <a:pt x="67" y="785"/>
                  <a:pt x="67" y="785"/>
                </a:cubicBezTo>
                <a:cubicBezTo>
                  <a:pt x="64" y="785"/>
                  <a:pt x="64" y="785"/>
                  <a:pt x="64" y="785"/>
                </a:cubicBezTo>
                <a:cubicBezTo>
                  <a:pt x="62" y="782"/>
                  <a:pt x="62" y="782"/>
                  <a:pt x="62" y="782"/>
                </a:cubicBezTo>
                <a:cubicBezTo>
                  <a:pt x="60" y="782"/>
                  <a:pt x="60" y="782"/>
                  <a:pt x="60" y="782"/>
                </a:cubicBezTo>
                <a:cubicBezTo>
                  <a:pt x="59" y="782"/>
                  <a:pt x="59" y="782"/>
                  <a:pt x="59" y="782"/>
                </a:cubicBezTo>
                <a:cubicBezTo>
                  <a:pt x="56" y="782"/>
                  <a:pt x="56" y="782"/>
                  <a:pt x="56" y="782"/>
                </a:cubicBezTo>
                <a:close/>
                <a:moveTo>
                  <a:pt x="78" y="788"/>
                </a:moveTo>
                <a:cubicBezTo>
                  <a:pt x="79" y="787"/>
                  <a:pt x="79" y="787"/>
                  <a:pt x="79" y="787"/>
                </a:cubicBezTo>
                <a:cubicBezTo>
                  <a:pt x="80" y="787"/>
                  <a:pt x="80" y="787"/>
                  <a:pt x="80" y="787"/>
                </a:cubicBezTo>
                <a:cubicBezTo>
                  <a:pt x="81" y="788"/>
                  <a:pt x="81" y="788"/>
                  <a:pt x="81" y="788"/>
                </a:cubicBezTo>
                <a:cubicBezTo>
                  <a:pt x="80" y="789"/>
                  <a:pt x="80" y="789"/>
                  <a:pt x="80" y="789"/>
                </a:cubicBezTo>
                <a:cubicBezTo>
                  <a:pt x="77" y="789"/>
                  <a:pt x="77" y="789"/>
                  <a:pt x="77" y="789"/>
                </a:cubicBezTo>
                <a:cubicBezTo>
                  <a:pt x="78" y="788"/>
                  <a:pt x="78" y="788"/>
                  <a:pt x="78" y="788"/>
                </a:cubicBezTo>
                <a:close/>
                <a:moveTo>
                  <a:pt x="75" y="786"/>
                </a:moveTo>
                <a:cubicBezTo>
                  <a:pt x="77" y="784"/>
                  <a:pt x="77" y="784"/>
                  <a:pt x="77" y="784"/>
                </a:cubicBezTo>
                <a:cubicBezTo>
                  <a:pt x="78" y="786"/>
                  <a:pt x="78" y="786"/>
                  <a:pt x="78" y="786"/>
                </a:cubicBezTo>
                <a:cubicBezTo>
                  <a:pt x="75" y="786"/>
                  <a:pt x="75" y="786"/>
                  <a:pt x="75" y="786"/>
                </a:cubicBezTo>
                <a:close/>
                <a:moveTo>
                  <a:pt x="61" y="732"/>
                </a:moveTo>
                <a:cubicBezTo>
                  <a:pt x="61" y="735"/>
                  <a:pt x="61" y="735"/>
                  <a:pt x="61" y="735"/>
                </a:cubicBezTo>
                <a:cubicBezTo>
                  <a:pt x="63" y="734"/>
                  <a:pt x="63" y="734"/>
                  <a:pt x="63" y="734"/>
                </a:cubicBezTo>
                <a:cubicBezTo>
                  <a:pt x="61" y="732"/>
                  <a:pt x="61" y="732"/>
                  <a:pt x="61" y="732"/>
                </a:cubicBezTo>
                <a:close/>
                <a:moveTo>
                  <a:pt x="68" y="757"/>
                </a:moveTo>
                <a:cubicBezTo>
                  <a:pt x="68" y="755"/>
                  <a:pt x="68" y="755"/>
                  <a:pt x="68" y="755"/>
                </a:cubicBezTo>
                <a:cubicBezTo>
                  <a:pt x="69" y="754"/>
                  <a:pt x="69" y="754"/>
                  <a:pt x="69" y="754"/>
                </a:cubicBezTo>
                <a:cubicBezTo>
                  <a:pt x="69" y="755"/>
                  <a:pt x="69" y="755"/>
                  <a:pt x="69" y="755"/>
                </a:cubicBezTo>
                <a:cubicBezTo>
                  <a:pt x="69" y="757"/>
                  <a:pt x="69" y="757"/>
                  <a:pt x="69" y="757"/>
                </a:cubicBezTo>
                <a:cubicBezTo>
                  <a:pt x="68" y="757"/>
                  <a:pt x="68" y="757"/>
                  <a:pt x="68" y="757"/>
                </a:cubicBezTo>
                <a:close/>
                <a:moveTo>
                  <a:pt x="67" y="765"/>
                </a:moveTo>
                <a:cubicBezTo>
                  <a:pt x="66" y="766"/>
                  <a:pt x="66" y="766"/>
                  <a:pt x="66" y="766"/>
                </a:cubicBezTo>
                <a:cubicBezTo>
                  <a:pt x="66" y="769"/>
                  <a:pt x="66" y="769"/>
                  <a:pt x="66" y="769"/>
                </a:cubicBezTo>
                <a:cubicBezTo>
                  <a:pt x="67" y="770"/>
                  <a:pt x="67" y="770"/>
                  <a:pt x="67" y="770"/>
                </a:cubicBezTo>
                <a:cubicBezTo>
                  <a:pt x="68" y="767"/>
                  <a:pt x="68" y="767"/>
                  <a:pt x="68" y="767"/>
                </a:cubicBezTo>
                <a:cubicBezTo>
                  <a:pt x="67" y="765"/>
                  <a:pt x="67" y="765"/>
                  <a:pt x="67" y="765"/>
                </a:cubicBezTo>
                <a:close/>
                <a:moveTo>
                  <a:pt x="69" y="762"/>
                </a:moveTo>
                <a:cubicBezTo>
                  <a:pt x="71" y="759"/>
                  <a:pt x="71" y="759"/>
                  <a:pt x="71" y="759"/>
                </a:cubicBezTo>
                <a:cubicBezTo>
                  <a:pt x="70" y="758"/>
                  <a:pt x="70" y="758"/>
                  <a:pt x="70" y="758"/>
                </a:cubicBezTo>
                <a:cubicBezTo>
                  <a:pt x="67" y="759"/>
                  <a:pt x="67" y="759"/>
                  <a:pt x="67" y="759"/>
                </a:cubicBezTo>
                <a:cubicBezTo>
                  <a:pt x="66" y="762"/>
                  <a:pt x="66" y="762"/>
                  <a:pt x="66" y="762"/>
                </a:cubicBezTo>
                <a:cubicBezTo>
                  <a:pt x="68" y="762"/>
                  <a:pt x="68" y="762"/>
                  <a:pt x="68" y="762"/>
                </a:cubicBezTo>
                <a:cubicBezTo>
                  <a:pt x="68" y="762"/>
                  <a:pt x="69" y="762"/>
                  <a:pt x="69" y="762"/>
                </a:cubicBezTo>
                <a:close/>
                <a:moveTo>
                  <a:pt x="72" y="759"/>
                </a:moveTo>
                <a:cubicBezTo>
                  <a:pt x="74" y="755"/>
                  <a:pt x="74" y="755"/>
                  <a:pt x="74" y="755"/>
                </a:cubicBezTo>
                <a:cubicBezTo>
                  <a:pt x="76" y="755"/>
                  <a:pt x="76" y="755"/>
                  <a:pt x="76" y="755"/>
                </a:cubicBezTo>
                <a:cubicBezTo>
                  <a:pt x="78" y="753"/>
                  <a:pt x="78" y="753"/>
                  <a:pt x="78" y="753"/>
                </a:cubicBezTo>
                <a:cubicBezTo>
                  <a:pt x="81" y="752"/>
                  <a:pt x="81" y="752"/>
                  <a:pt x="81" y="752"/>
                </a:cubicBezTo>
                <a:cubicBezTo>
                  <a:pt x="81" y="753"/>
                  <a:pt x="81" y="753"/>
                  <a:pt x="81" y="753"/>
                </a:cubicBezTo>
                <a:cubicBezTo>
                  <a:pt x="77" y="757"/>
                  <a:pt x="77" y="757"/>
                  <a:pt x="77" y="757"/>
                </a:cubicBezTo>
                <a:cubicBezTo>
                  <a:pt x="76" y="757"/>
                  <a:pt x="76" y="757"/>
                  <a:pt x="76" y="757"/>
                </a:cubicBezTo>
                <a:cubicBezTo>
                  <a:pt x="73" y="759"/>
                  <a:pt x="73" y="759"/>
                  <a:pt x="73" y="759"/>
                </a:cubicBezTo>
                <a:cubicBezTo>
                  <a:pt x="72" y="759"/>
                  <a:pt x="72" y="759"/>
                  <a:pt x="72" y="759"/>
                </a:cubicBezTo>
                <a:close/>
                <a:moveTo>
                  <a:pt x="70" y="746"/>
                </a:moveTo>
                <a:cubicBezTo>
                  <a:pt x="70" y="743"/>
                  <a:pt x="70" y="743"/>
                  <a:pt x="70" y="743"/>
                </a:cubicBezTo>
                <a:cubicBezTo>
                  <a:pt x="71" y="741"/>
                  <a:pt x="71" y="741"/>
                  <a:pt x="71" y="741"/>
                </a:cubicBezTo>
                <a:cubicBezTo>
                  <a:pt x="72" y="744"/>
                  <a:pt x="72" y="744"/>
                  <a:pt x="72" y="744"/>
                </a:cubicBezTo>
                <a:cubicBezTo>
                  <a:pt x="71" y="745"/>
                  <a:pt x="71" y="745"/>
                  <a:pt x="71" y="745"/>
                </a:cubicBezTo>
                <a:cubicBezTo>
                  <a:pt x="71" y="746"/>
                  <a:pt x="71" y="746"/>
                  <a:pt x="71" y="746"/>
                </a:cubicBezTo>
                <a:cubicBezTo>
                  <a:pt x="70" y="746"/>
                  <a:pt x="70" y="746"/>
                  <a:pt x="70" y="746"/>
                </a:cubicBezTo>
                <a:close/>
                <a:moveTo>
                  <a:pt x="65" y="746"/>
                </a:moveTo>
                <a:cubicBezTo>
                  <a:pt x="67" y="747"/>
                  <a:pt x="67" y="747"/>
                  <a:pt x="67" y="747"/>
                </a:cubicBezTo>
                <a:cubicBezTo>
                  <a:pt x="68" y="745"/>
                  <a:pt x="68" y="745"/>
                  <a:pt x="68" y="745"/>
                </a:cubicBezTo>
                <a:cubicBezTo>
                  <a:pt x="68" y="744"/>
                  <a:pt x="68" y="744"/>
                  <a:pt x="68" y="744"/>
                </a:cubicBezTo>
                <a:cubicBezTo>
                  <a:pt x="65" y="746"/>
                  <a:pt x="65" y="746"/>
                  <a:pt x="65" y="746"/>
                </a:cubicBezTo>
                <a:close/>
                <a:moveTo>
                  <a:pt x="61" y="738"/>
                </a:moveTo>
                <a:cubicBezTo>
                  <a:pt x="61" y="743"/>
                  <a:pt x="61" y="743"/>
                  <a:pt x="61" y="743"/>
                </a:cubicBezTo>
                <a:cubicBezTo>
                  <a:pt x="62" y="744"/>
                  <a:pt x="62" y="744"/>
                  <a:pt x="62" y="744"/>
                </a:cubicBezTo>
                <a:cubicBezTo>
                  <a:pt x="62" y="746"/>
                  <a:pt x="62" y="746"/>
                  <a:pt x="62" y="746"/>
                </a:cubicBezTo>
                <a:cubicBezTo>
                  <a:pt x="64" y="743"/>
                  <a:pt x="64" y="743"/>
                  <a:pt x="64" y="743"/>
                </a:cubicBezTo>
                <a:cubicBezTo>
                  <a:pt x="63" y="740"/>
                  <a:pt x="63" y="740"/>
                  <a:pt x="63" y="740"/>
                </a:cubicBezTo>
                <a:cubicBezTo>
                  <a:pt x="61" y="738"/>
                  <a:pt x="61" y="738"/>
                  <a:pt x="61" y="738"/>
                </a:cubicBezTo>
                <a:close/>
                <a:moveTo>
                  <a:pt x="63" y="736"/>
                </a:moveTo>
                <a:cubicBezTo>
                  <a:pt x="65" y="736"/>
                  <a:pt x="65" y="736"/>
                  <a:pt x="65" y="736"/>
                </a:cubicBezTo>
                <a:cubicBezTo>
                  <a:pt x="64" y="738"/>
                  <a:pt x="64" y="738"/>
                  <a:pt x="64" y="738"/>
                </a:cubicBezTo>
                <a:cubicBezTo>
                  <a:pt x="64" y="740"/>
                  <a:pt x="64" y="740"/>
                  <a:pt x="64" y="740"/>
                </a:cubicBezTo>
                <a:cubicBezTo>
                  <a:pt x="66" y="740"/>
                  <a:pt x="66" y="740"/>
                  <a:pt x="66" y="740"/>
                </a:cubicBezTo>
                <a:cubicBezTo>
                  <a:pt x="69" y="738"/>
                  <a:pt x="69" y="738"/>
                  <a:pt x="69" y="738"/>
                </a:cubicBezTo>
                <a:cubicBezTo>
                  <a:pt x="67" y="741"/>
                  <a:pt x="67" y="741"/>
                  <a:pt x="67" y="741"/>
                </a:cubicBezTo>
                <a:cubicBezTo>
                  <a:pt x="68" y="743"/>
                  <a:pt x="68" y="743"/>
                  <a:pt x="68" y="743"/>
                </a:cubicBezTo>
                <a:cubicBezTo>
                  <a:pt x="70" y="740"/>
                  <a:pt x="70" y="740"/>
                  <a:pt x="70" y="740"/>
                </a:cubicBezTo>
                <a:cubicBezTo>
                  <a:pt x="71" y="735"/>
                  <a:pt x="71" y="735"/>
                  <a:pt x="71" y="735"/>
                </a:cubicBezTo>
                <a:cubicBezTo>
                  <a:pt x="68" y="733"/>
                  <a:pt x="68" y="733"/>
                  <a:pt x="68" y="733"/>
                </a:cubicBezTo>
                <a:cubicBezTo>
                  <a:pt x="65" y="734"/>
                  <a:pt x="65" y="734"/>
                  <a:pt x="65" y="734"/>
                </a:cubicBezTo>
                <a:cubicBezTo>
                  <a:pt x="63" y="736"/>
                  <a:pt x="63" y="736"/>
                  <a:pt x="63" y="736"/>
                </a:cubicBezTo>
                <a:close/>
                <a:moveTo>
                  <a:pt x="63" y="731"/>
                </a:moveTo>
                <a:cubicBezTo>
                  <a:pt x="65" y="732"/>
                  <a:pt x="65" y="732"/>
                  <a:pt x="65" y="732"/>
                </a:cubicBezTo>
                <a:cubicBezTo>
                  <a:pt x="65" y="731"/>
                  <a:pt x="65" y="731"/>
                  <a:pt x="65" y="731"/>
                </a:cubicBezTo>
                <a:cubicBezTo>
                  <a:pt x="64" y="730"/>
                  <a:pt x="64" y="730"/>
                  <a:pt x="64" y="730"/>
                </a:cubicBezTo>
                <a:cubicBezTo>
                  <a:pt x="63" y="731"/>
                  <a:pt x="63" y="731"/>
                  <a:pt x="63" y="731"/>
                </a:cubicBezTo>
                <a:close/>
                <a:moveTo>
                  <a:pt x="68" y="727"/>
                </a:moveTo>
                <a:cubicBezTo>
                  <a:pt x="68" y="724"/>
                  <a:pt x="68" y="724"/>
                  <a:pt x="68" y="724"/>
                </a:cubicBezTo>
                <a:cubicBezTo>
                  <a:pt x="71" y="722"/>
                  <a:pt x="71" y="722"/>
                  <a:pt x="71" y="722"/>
                </a:cubicBezTo>
                <a:cubicBezTo>
                  <a:pt x="72" y="723"/>
                  <a:pt x="72" y="723"/>
                  <a:pt x="72" y="723"/>
                </a:cubicBezTo>
                <a:cubicBezTo>
                  <a:pt x="71" y="725"/>
                  <a:pt x="71" y="725"/>
                  <a:pt x="71" y="725"/>
                </a:cubicBezTo>
                <a:cubicBezTo>
                  <a:pt x="69" y="726"/>
                  <a:pt x="69" y="726"/>
                  <a:pt x="69" y="726"/>
                </a:cubicBezTo>
                <a:cubicBezTo>
                  <a:pt x="68" y="727"/>
                  <a:pt x="68" y="727"/>
                  <a:pt x="68" y="727"/>
                </a:cubicBezTo>
                <a:close/>
                <a:moveTo>
                  <a:pt x="53" y="720"/>
                </a:moveTo>
                <a:cubicBezTo>
                  <a:pt x="58" y="726"/>
                  <a:pt x="58" y="726"/>
                  <a:pt x="58" y="726"/>
                </a:cubicBezTo>
                <a:cubicBezTo>
                  <a:pt x="60" y="729"/>
                  <a:pt x="60" y="729"/>
                  <a:pt x="60" y="729"/>
                </a:cubicBezTo>
                <a:cubicBezTo>
                  <a:pt x="59" y="731"/>
                  <a:pt x="59" y="731"/>
                  <a:pt x="59" y="731"/>
                </a:cubicBezTo>
                <a:cubicBezTo>
                  <a:pt x="57" y="730"/>
                  <a:pt x="57" y="730"/>
                  <a:pt x="57" y="730"/>
                </a:cubicBezTo>
                <a:cubicBezTo>
                  <a:pt x="57" y="728"/>
                  <a:pt x="57" y="728"/>
                  <a:pt x="57" y="728"/>
                </a:cubicBezTo>
                <a:cubicBezTo>
                  <a:pt x="53" y="724"/>
                  <a:pt x="53" y="724"/>
                  <a:pt x="53" y="724"/>
                </a:cubicBezTo>
                <a:cubicBezTo>
                  <a:pt x="52" y="721"/>
                  <a:pt x="52" y="721"/>
                  <a:pt x="52" y="721"/>
                </a:cubicBezTo>
                <a:cubicBezTo>
                  <a:pt x="52" y="721"/>
                  <a:pt x="53" y="720"/>
                  <a:pt x="53" y="720"/>
                </a:cubicBezTo>
                <a:close/>
                <a:moveTo>
                  <a:pt x="57" y="717"/>
                </a:moveTo>
                <a:cubicBezTo>
                  <a:pt x="58" y="720"/>
                  <a:pt x="58" y="720"/>
                  <a:pt x="58" y="720"/>
                </a:cubicBezTo>
                <a:cubicBezTo>
                  <a:pt x="60" y="723"/>
                  <a:pt x="60" y="723"/>
                  <a:pt x="60" y="723"/>
                </a:cubicBezTo>
                <a:cubicBezTo>
                  <a:pt x="60" y="727"/>
                  <a:pt x="60" y="727"/>
                  <a:pt x="60" y="727"/>
                </a:cubicBezTo>
                <a:cubicBezTo>
                  <a:pt x="62" y="729"/>
                  <a:pt x="62" y="729"/>
                  <a:pt x="62" y="729"/>
                </a:cubicBezTo>
                <a:cubicBezTo>
                  <a:pt x="63" y="725"/>
                  <a:pt x="63" y="725"/>
                  <a:pt x="63" y="725"/>
                </a:cubicBezTo>
                <a:cubicBezTo>
                  <a:pt x="60" y="720"/>
                  <a:pt x="60" y="720"/>
                  <a:pt x="60" y="720"/>
                </a:cubicBezTo>
                <a:cubicBezTo>
                  <a:pt x="59" y="717"/>
                  <a:pt x="59" y="717"/>
                  <a:pt x="59" y="717"/>
                </a:cubicBezTo>
                <a:cubicBezTo>
                  <a:pt x="58" y="716"/>
                  <a:pt x="58" y="716"/>
                  <a:pt x="58" y="716"/>
                </a:cubicBezTo>
                <a:cubicBezTo>
                  <a:pt x="57" y="717"/>
                  <a:pt x="57" y="717"/>
                  <a:pt x="57" y="717"/>
                </a:cubicBezTo>
                <a:close/>
                <a:moveTo>
                  <a:pt x="53" y="714"/>
                </a:moveTo>
                <a:cubicBezTo>
                  <a:pt x="57" y="714"/>
                  <a:pt x="57" y="714"/>
                  <a:pt x="57" y="714"/>
                </a:cubicBezTo>
                <a:cubicBezTo>
                  <a:pt x="57" y="715"/>
                  <a:pt x="57" y="715"/>
                  <a:pt x="57" y="715"/>
                </a:cubicBezTo>
                <a:cubicBezTo>
                  <a:pt x="59" y="715"/>
                  <a:pt x="59" y="715"/>
                  <a:pt x="59" y="715"/>
                </a:cubicBezTo>
                <a:cubicBezTo>
                  <a:pt x="60" y="712"/>
                  <a:pt x="60" y="712"/>
                  <a:pt x="60" y="712"/>
                </a:cubicBezTo>
                <a:cubicBezTo>
                  <a:pt x="58" y="711"/>
                  <a:pt x="58" y="711"/>
                  <a:pt x="58" y="711"/>
                </a:cubicBezTo>
                <a:cubicBezTo>
                  <a:pt x="55" y="712"/>
                  <a:pt x="55" y="712"/>
                  <a:pt x="55" y="712"/>
                </a:cubicBezTo>
                <a:cubicBezTo>
                  <a:pt x="53" y="714"/>
                  <a:pt x="53" y="714"/>
                  <a:pt x="53" y="714"/>
                </a:cubicBezTo>
                <a:close/>
                <a:moveTo>
                  <a:pt x="27" y="715"/>
                </a:moveTo>
                <a:cubicBezTo>
                  <a:pt x="27" y="711"/>
                  <a:pt x="27" y="711"/>
                  <a:pt x="27" y="711"/>
                </a:cubicBezTo>
                <a:cubicBezTo>
                  <a:pt x="31" y="705"/>
                  <a:pt x="31" y="705"/>
                  <a:pt x="31" y="705"/>
                </a:cubicBezTo>
                <a:cubicBezTo>
                  <a:pt x="35" y="706"/>
                  <a:pt x="35" y="706"/>
                  <a:pt x="35" y="706"/>
                </a:cubicBezTo>
                <a:cubicBezTo>
                  <a:pt x="34" y="709"/>
                  <a:pt x="34" y="709"/>
                  <a:pt x="34" y="709"/>
                </a:cubicBezTo>
                <a:cubicBezTo>
                  <a:pt x="35" y="708"/>
                  <a:pt x="35" y="708"/>
                  <a:pt x="35" y="708"/>
                </a:cubicBezTo>
                <a:cubicBezTo>
                  <a:pt x="37" y="707"/>
                  <a:pt x="37" y="707"/>
                  <a:pt x="37" y="707"/>
                </a:cubicBezTo>
                <a:cubicBezTo>
                  <a:pt x="39" y="708"/>
                  <a:pt x="39" y="708"/>
                  <a:pt x="39" y="708"/>
                </a:cubicBezTo>
                <a:cubicBezTo>
                  <a:pt x="39" y="709"/>
                  <a:pt x="39" y="709"/>
                  <a:pt x="39" y="709"/>
                </a:cubicBezTo>
                <a:cubicBezTo>
                  <a:pt x="38" y="712"/>
                  <a:pt x="38" y="712"/>
                  <a:pt x="38" y="712"/>
                </a:cubicBezTo>
                <a:cubicBezTo>
                  <a:pt x="36" y="714"/>
                  <a:pt x="36" y="714"/>
                  <a:pt x="36" y="714"/>
                </a:cubicBezTo>
                <a:cubicBezTo>
                  <a:pt x="32" y="716"/>
                  <a:pt x="32" y="716"/>
                  <a:pt x="32" y="716"/>
                </a:cubicBezTo>
                <a:cubicBezTo>
                  <a:pt x="33" y="717"/>
                  <a:pt x="33" y="717"/>
                  <a:pt x="33" y="717"/>
                </a:cubicBezTo>
                <a:cubicBezTo>
                  <a:pt x="33" y="718"/>
                  <a:pt x="33" y="718"/>
                  <a:pt x="33" y="718"/>
                </a:cubicBezTo>
                <a:cubicBezTo>
                  <a:pt x="36" y="718"/>
                  <a:pt x="36" y="718"/>
                  <a:pt x="36" y="718"/>
                </a:cubicBezTo>
                <a:cubicBezTo>
                  <a:pt x="38" y="714"/>
                  <a:pt x="38" y="714"/>
                  <a:pt x="38" y="714"/>
                </a:cubicBezTo>
                <a:cubicBezTo>
                  <a:pt x="41" y="710"/>
                  <a:pt x="41" y="710"/>
                  <a:pt x="41" y="710"/>
                </a:cubicBezTo>
                <a:cubicBezTo>
                  <a:pt x="45" y="708"/>
                  <a:pt x="45" y="708"/>
                  <a:pt x="45" y="708"/>
                </a:cubicBezTo>
                <a:cubicBezTo>
                  <a:pt x="46" y="709"/>
                  <a:pt x="46" y="709"/>
                  <a:pt x="46" y="709"/>
                </a:cubicBezTo>
                <a:cubicBezTo>
                  <a:pt x="41" y="714"/>
                  <a:pt x="41" y="714"/>
                  <a:pt x="41" y="714"/>
                </a:cubicBezTo>
                <a:cubicBezTo>
                  <a:pt x="40" y="717"/>
                  <a:pt x="40" y="717"/>
                  <a:pt x="40" y="717"/>
                </a:cubicBezTo>
                <a:cubicBezTo>
                  <a:pt x="38" y="720"/>
                  <a:pt x="38" y="720"/>
                  <a:pt x="38" y="720"/>
                </a:cubicBezTo>
                <a:cubicBezTo>
                  <a:pt x="38" y="724"/>
                  <a:pt x="38" y="724"/>
                  <a:pt x="38" y="724"/>
                </a:cubicBezTo>
                <a:cubicBezTo>
                  <a:pt x="35" y="726"/>
                  <a:pt x="35" y="726"/>
                  <a:pt x="35" y="726"/>
                </a:cubicBezTo>
                <a:cubicBezTo>
                  <a:pt x="33" y="726"/>
                  <a:pt x="33" y="726"/>
                  <a:pt x="33" y="726"/>
                </a:cubicBezTo>
                <a:cubicBezTo>
                  <a:pt x="31" y="728"/>
                  <a:pt x="31" y="728"/>
                  <a:pt x="31" y="728"/>
                </a:cubicBezTo>
                <a:cubicBezTo>
                  <a:pt x="33" y="728"/>
                  <a:pt x="33" y="728"/>
                  <a:pt x="33" y="728"/>
                </a:cubicBezTo>
                <a:cubicBezTo>
                  <a:pt x="35" y="727"/>
                  <a:pt x="35" y="727"/>
                  <a:pt x="35" y="727"/>
                </a:cubicBezTo>
                <a:cubicBezTo>
                  <a:pt x="37" y="728"/>
                  <a:pt x="37" y="728"/>
                  <a:pt x="37" y="728"/>
                </a:cubicBezTo>
                <a:cubicBezTo>
                  <a:pt x="38" y="731"/>
                  <a:pt x="38" y="731"/>
                  <a:pt x="38" y="731"/>
                </a:cubicBezTo>
                <a:cubicBezTo>
                  <a:pt x="34" y="731"/>
                  <a:pt x="34" y="731"/>
                  <a:pt x="34" y="731"/>
                </a:cubicBezTo>
                <a:cubicBezTo>
                  <a:pt x="33" y="734"/>
                  <a:pt x="33" y="734"/>
                  <a:pt x="33" y="734"/>
                </a:cubicBezTo>
                <a:cubicBezTo>
                  <a:pt x="34" y="736"/>
                  <a:pt x="34" y="736"/>
                  <a:pt x="34" y="736"/>
                </a:cubicBezTo>
                <a:cubicBezTo>
                  <a:pt x="33" y="740"/>
                  <a:pt x="33" y="740"/>
                  <a:pt x="33" y="740"/>
                </a:cubicBezTo>
                <a:cubicBezTo>
                  <a:pt x="35" y="744"/>
                  <a:pt x="35" y="744"/>
                  <a:pt x="35" y="744"/>
                </a:cubicBezTo>
                <a:cubicBezTo>
                  <a:pt x="35" y="747"/>
                  <a:pt x="35" y="747"/>
                  <a:pt x="35" y="747"/>
                </a:cubicBezTo>
                <a:cubicBezTo>
                  <a:pt x="37" y="747"/>
                  <a:pt x="37" y="747"/>
                  <a:pt x="37" y="747"/>
                </a:cubicBezTo>
                <a:cubicBezTo>
                  <a:pt x="38" y="748"/>
                  <a:pt x="38" y="748"/>
                  <a:pt x="38" y="748"/>
                </a:cubicBezTo>
                <a:cubicBezTo>
                  <a:pt x="37" y="750"/>
                  <a:pt x="37" y="750"/>
                  <a:pt x="37" y="750"/>
                </a:cubicBezTo>
                <a:cubicBezTo>
                  <a:pt x="34" y="750"/>
                  <a:pt x="34" y="750"/>
                  <a:pt x="34" y="750"/>
                </a:cubicBezTo>
                <a:cubicBezTo>
                  <a:pt x="30" y="742"/>
                  <a:pt x="30" y="742"/>
                  <a:pt x="30" y="742"/>
                </a:cubicBezTo>
                <a:cubicBezTo>
                  <a:pt x="30" y="738"/>
                  <a:pt x="30" y="738"/>
                  <a:pt x="30" y="738"/>
                </a:cubicBezTo>
                <a:cubicBezTo>
                  <a:pt x="30" y="737"/>
                  <a:pt x="30" y="737"/>
                  <a:pt x="30" y="737"/>
                </a:cubicBezTo>
                <a:cubicBezTo>
                  <a:pt x="27" y="736"/>
                  <a:pt x="27" y="736"/>
                  <a:pt x="27" y="736"/>
                </a:cubicBezTo>
                <a:cubicBezTo>
                  <a:pt x="27" y="734"/>
                  <a:pt x="27" y="734"/>
                  <a:pt x="27" y="734"/>
                </a:cubicBezTo>
                <a:cubicBezTo>
                  <a:pt x="28" y="732"/>
                  <a:pt x="28" y="732"/>
                  <a:pt x="28" y="732"/>
                </a:cubicBezTo>
                <a:cubicBezTo>
                  <a:pt x="31" y="732"/>
                  <a:pt x="31" y="732"/>
                  <a:pt x="31" y="732"/>
                </a:cubicBezTo>
                <a:cubicBezTo>
                  <a:pt x="28" y="730"/>
                  <a:pt x="28" y="730"/>
                  <a:pt x="28" y="730"/>
                </a:cubicBezTo>
                <a:cubicBezTo>
                  <a:pt x="27" y="729"/>
                  <a:pt x="27" y="729"/>
                  <a:pt x="27" y="729"/>
                </a:cubicBezTo>
                <a:cubicBezTo>
                  <a:pt x="28" y="727"/>
                  <a:pt x="28" y="727"/>
                  <a:pt x="28" y="727"/>
                </a:cubicBezTo>
                <a:cubicBezTo>
                  <a:pt x="26" y="725"/>
                  <a:pt x="26" y="725"/>
                  <a:pt x="26" y="725"/>
                </a:cubicBezTo>
                <a:cubicBezTo>
                  <a:pt x="27" y="723"/>
                  <a:pt x="27" y="723"/>
                  <a:pt x="27" y="723"/>
                </a:cubicBezTo>
                <a:cubicBezTo>
                  <a:pt x="29" y="724"/>
                  <a:pt x="29" y="724"/>
                  <a:pt x="29" y="724"/>
                </a:cubicBezTo>
                <a:cubicBezTo>
                  <a:pt x="30" y="724"/>
                  <a:pt x="30" y="724"/>
                  <a:pt x="30" y="724"/>
                </a:cubicBezTo>
                <a:cubicBezTo>
                  <a:pt x="30" y="722"/>
                  <a:pt x="30" y="722"/>
                  <a:pt x="30" y="722"/>
                </a:cubicBezTo>
                <a:cubicBezTo>
                  <a:pt x="28" y="720"/>
                  <a:pt x="28" y="720"/>
                  <a:pt x="28" y="720"/>
                </a:cubicBezTo>
                <a:cubicBezTo>
                  <a:pt x="26" y="720"/>
                  <a:pt x="26" y="720"/>
                  <a:pt x="26" y="720"/>
                </a:cubicBezTo>
                <a:cubicBezTo>
                  <a:pt x="26" y="718"/>
                  <a:pt x="26" y="718"/>
                  <a:pt x="26" y="718"/>
                </a:cubicBezTo>
                <a:cubicBezTo>
                  <a:pt x="27" y="715"/>
                  <a:pt x="27" y="715"/>
                  <a:pt x="27" y="715"/>
                </a:cubicBezTo>
                <a:close/>
                <a:moveTo>
                  <a:pt x="57" y="703"/>
                </a:moveTo>
                <a:cubicBezTo>
                  <a:pt x="56" y="700"/>
                  <a:pt x="56" y="700"/>
                  <a:pt x="56" y="700"/>
                </a:cubicBezTo>
                <a:cubicBezTo>
                  <a:pt x="58" y="699"/>
                  <a:pt x="58" y="699"/>
                  <a:pt x="58" y="699"/>
                </a:cubicBezTo>
                <a:cubicBezTo>
                  <a:pt x="58" y="701"/>
                  <a:pt x="58" y="701"/>
                  <a:pt x="58" y="701"/>
                </a:cubicBezTo>
                <a:cubicBezTo>
                  <a:pt x="57" y="703"/>
                  <a:pt x="57" y="703"/>
                  <a:pt x="57" y="703"/>
                </a:cubicBezTo>
                <a:close/>
                <a:moveTo>
                  <a:pt x="305" y="330"/>
                </a:moveTo>
                <a:cubicBezTo>
                  <a:pt x="307" y="332"/>
                  <a:pt x="307" y="332"/>
                  <a:pt x="307" y="332"/>
                </a:cubicBezTo>
                <a:cubicBezTo>
                  <a:pt x="308" y="331"/>
                  <a:pt x="308" y="331"/>
                  <a:pt x="308" y="331"/>
                </a:cubicBezTo>
                <a:cubicBezTo>
                  <a:pt x="308" y="330"/>
                  <a:pt x="308" y="330"/>
                  <a:pt x="308" y="330"/>
                </a:cubicBezTo>
                <a:cubicBezTo>
                  <a:pt x="309" y="329"/>
                  <a:pt x="309" y="329"/>
                  <a:pt x="309" y="329"/>
                </a:cubicBezTo>
                <a:cubicBezTo>
                  <a:pt x="307" y="329"/>
                  <a:pt x="307" y="329"/>
                  <a:pt x="307" y="329"/>
                </a:cubicBezTo>
                <a:cubicBezTo>
                  <a:pt x="305" y="330"/>
                  <a:pt x="305" y="330"/>
                  <a:pt x="305" y="330"/>
                </a:cubicBezTo>
                <a:close/>
                <a:moveTo>
                  <a:pt x="282" y="307"/>
                </a:moveTo>
                <a:cubicBezTo>
                  <a:pt x="284" y="308"/>
                  <a:pt x="284" y="308"/>
                  <a:pt x="284" y="308"/>
                </a:cubicBezTo>
                <a:cubicBezTo>
                  <a:pt x="286" y="306"/>
                  <a:pt x="286" y="306"/>
                  <a:pt x="286" y="306"/>
                </a:cubicBezTo>
                <a:cubicBezTo>
                  <a:pt x="286" y="304"/>
                  <a:pt x="286" y="304"/>
                  <a:pt x="286" y="304"/>
                </a:cubicBezTo>
                <a:cubicBezTo>
                  <a:pt x="283" y="305"/>
                  <a:pt x="283" y="305"/>
                  <a:pt x="283" y="305"/>
                </a:cubicBezTo>
                <a:cubicBezTo>
                  <a:pt x="282" y="307"/>
                  <a:pt x="282" y="307"/>
                  <a:pt x="282" y="307"/>
                </a:cubicBezTo>
                <a:close/>
                <a:moveTo>
                  <a:pt x="196" y="314"/>
                </a:moveTo>
                <a:cubicBezTo>
                  <a:pt x="197" y="315"/>
                  <a:pt x="197" y="315"/>
                  <a:pt x="197" y="315"/>
                </a:cubicBezTo>
                <a:cubicBezTo>
                  <a:pt x="199" y="313"/>
                  <a:pt x="199" y="313"/>
                  <a:pt x="199" y="313"/>
                </a:cubicBezTo>
                <a:cubicBezTo>
                  <a:pt x="198" y="313"/>
                  <a:pt x="198" y="313"/>
                  <a:pt x="198" y="313"/>
                </a:cubicBezTo>
                <a:cubicBezTo>
                  <a:pt x="198" y="313"/>
                  <a:pt x="196" y="314"/>
                  <a:pt x="196" y="314"/>
                </a:cubicBezTo>
                <a:close/>
                <a:moveTo>
                  <a:pt x="196" y="318"/>
                </a:moveTo>
                <a:cubicBezTo>
                  <a:pt x="195" y="317"/>
                  <a:pt x="195" y="317"/>
                  <a:pt x="195" y="317"/>
                </a:cubicBezTo>
                <a:cubicBezTo>
                  <a:pt x="196" y="317"/>
                  <a:pt x="196" y="317"/>
                  <a:pt x="196" y="317"/>
                </a:cubicBezTo>
                <a:cubicBezTo>
                  <a:pt x="197" y="318"/>
                  <a:pt x="197" y="318"/>
                  <a:pt x="197" y="318"/>
                </a:cubicBezTo>
                <a:cubicBezTo>
                  <a:pt x="196" y="318"/>
                  <a:pt x="196" y="318"/>
                  <a:pt x="196" y="318"/>
                </a:cubicBezTo>
                <a:close/>
                <a:moveTo>
                  <a:pt x="191" y="326"/>
                </a:moveTo>
                <a:cubicBezTo>
                  <a:pt x="192" y="330"/>
                  <a:pt x="192" y="330"/>
                  <a:pt x="192" y="330"/>
                </a:cubicBezTo>
                <a:cubicBezTo>
                  <a:pt x="190" y="332"/>
                  <a:pt x="190" y="332"/>
                  <a:pt x="190" y="332"/>
                </a:cubicBezTo>
                <a:cubicBezTo>
                  <a:pt x="191" y="334"/>
                  <a:pt x="191" y="334"/>
                  <a:pt x="191" y="334"/>
                </a:cubicBezTo>
                <a:cubicBezTo>
                  <a:pt x="193" y="334"/>
                  <a:pt x="193" y="334"/>
                  <a:pt x="193" y="334"/>
                </a:cubicBezTo>
                <a:cubicBezTo>
                  <a:pt x="195" y="333"/>
                  <a:pt x="195" y="333"/>
                  <a:pt x="195" y="333"/>
                </a:cubicBezTo>
                <a:cubicBezTo>
                  <a:pt x="197" y="332"/>
                  <a:pt x="197" y="332"/>
                  <a:pt x="197" y="332"/>
                </a:cubicBezTo>
                <a:cubicBezTo>
                  <a:pt x="205" y="326"/>
                  <a:pt x="205" y="326"/>
                  <a:pt x="205" y="326"/>
                </a:cubicBezTo>
                <a:cubicBezTo>
                  <a:pt x="209" y="324"/>
                  <a:pt x="209" y="324"/>
                  <a:pt x="209" y="324"/>
                </a:cubicBezTo>
                <a:cubicBezTo>
                  <a:pt x="210" y="321"/>
                  <a:pt x="210" y="321"/>
                  <a:pt x="210" y="321"/>
                </a:cubicBezTo>
                <a:cubicBezTo>
                  <a:pt x="209" y="322"/>
                  <a:pt x="209" y="322"/>
                  <a:pt x="209" y="322"/>
                </a:cubicBezTo>
                <a:cubicBezTo>
                  <a:pt x="207" y="320"/>
                  <a:pt x="207" y="320"/>
                  <a:pt x="207" y="320"/>
                </a:cubicBezTo>
                <a:cubicBezTo>
                  <a:pt x="207" y="316"/>
                  <a:pt x="207" y="316"/>
                  <a:pt x="207" y="316"/>
                </a:cubicBezTo>
                <a:cubicBezTo>
                  <a:pt x="205" y="317"/>
                  <a:pt x="205" y="317"/>
                  <a:pt x="205" y="317"/>
                </a:cubicBezTo>
                <a:cubicBezTo>
                  <a:pt x="204" y="320"/>
                  <a:pt x="204" y="320"/>
                  <a:pt x="204" y="320"/>
                </a:cubicBezTo>
                <a:cubicBezTo>
                  <a:pt x="201" y="320"/>
                  <a:pt x="201" y="320"/>
                  <a:pt x="201" y="320"/>
                </a:cubicBezTo>
                <a:cubicBezTo>
                  <a:pt x="202" y="322"/>
                  <a:pt x="202" y="322"/>
                  <a:pt x="202" y="322"/>
                </a:cubicBezTo>
                <a:cubicBezTo>
                  <a:pt x="200" y="322"/>
                  <a:pt x="200" y="322"/>
                  <a:pt x="200" y="322"/>
                </a:cubicBezTo>
                <a:cubicBezTo>
                  <a:pt x="199" y="323"/>
                  <a:pt x="199" y="323"/>
                  <a:pt x="199" y="323"/>
                </a:cubicBezTo>
                <a:cubicBezTo>
                  <a:pt x="198" y="325"/>
                  <a:pt x="198" y="325"/>
                  <a:pt x="198" y="325"/>
                </a:cubicBezTo>
                <a:cubicBezTo>
                  <a:pt x="197" y="323"/>
                  <a:pt x="197" y="323"/>
                  <a:pt x="197" y="323"/>
                </a:cubicBezTo>
                <a:cubicBezTo>
                  <a:pt x="198" y="322"/>
                  <a:pt x="198" y="322"/>
                  <a:pt x="198" y="322"/>
                </a:cubicBezTo>
                <a:cubicBezTo>
                  <a:pt x="196" y="320"/>
                  <a:pt x="196" y="320"/>
                  <a:pt x="196" y="320"/>
                </a:cubicBezTo>
                <a:cubicBezTo>
                  <a:pt x="195" y="322"/>
                  <a:pt x="195" y="322"/>
                  <a:pt x="195" y="322"/>
                </a:cubicBezTo>
                <a:cubicBezTo>
                  <a:pt x="194" y="322"/>
                  <a:pt x="194" y="322"/>
                  <a:pt x="194" y="322"/>
                </a:cubicBezTo>
                <a:cubicBezTo>
                  <a:pt x="193" y="324"/>
                  <a:pt x="193" y="324"/>
                  <a:pt x="193" y="324"/>
                </a:cubicBezTo>
                <a:cubicBezTo>
                  <a:pt x="191" y="326"/>
                  <a:pt x="191" y="326"/>
                  <a:pt x="191" y="326"/>
                </a:cubicBezTo>
                <a:close/>
                <a:moveTo>
                  <a:pt x="183" y="333"/>
                </a:moveTo>
                <a:cubicBezTo>
                  <a:pt x="183" y="331"/>
                  <a:pt x="183" y="331"/>
                  <a:pt x="183" y="331"/>
                </a:cubicBezTo>
                <a:cubicBezTo>
                  <a:pt x="183" y="326"/>
                  <a:pt x="183" y="326"/>
                  <a:pt x="183" y="326"/>
                </a:cubicBezTo>
                <a:cubicBezTo>
                  <a:pt x="181" y="329"/>
                  <a:pt x="181" y="329"/>
                  <a:pt x="181" y="329"/>
                </a:cubicBezTo>
                <a:cubicBezTo>
                  <a:pt x="180" y="331"/>
                  <a:pt x="180" y="331"/>
                  <a:pt x="180" y="331"/>
                </a:cubicBezTo>
                <a:cubicBezTo>
                  <a:pt x="179" y="332"/>
                  <a:pt x="179" y="332"/>
                  <a:pt x="179" y="332"/>
                </a:cubicBezTo>
                <a:cubicBezTo>
                  <a:pt x="180" y="332"/>
                  <a:pt x="180" y="332"/>
                  <a:pt x="180" y="332"/>
                </a:cubicBezTo>
                <a:cubicBezTo>
                  <a:pt x="180" y="332"/>
                  <a:pt x="182" y="333"/>
                  <a:pt x="183" y="333"/>
                </a:cubicBezTo>
                <a:close/>
                <a:moveTo>
                  <a:pt x="183" y="335"/>
                </a:moveTo>
                <a:cubicBezTo>
                  <a:pt x="185" y="334"/>
                  <a:pt x="185" y="334"/>
                  <a:pt x="185" y="334"/>
                </a:cubicBezTo>
                <a:cubicBezTo>
                  <a:pt x="185" y="333"/>
                  <a:pt x="185" y="333"/>
                  <a:pt x="185" y="333"/>
                </a:cubicBezTo>
                <a:cubicBezTo>
                  <a:pt x="184" y="330"/>
                  <a:pt x="184" y="330"/>
                  <a:pt x="184" y="330"/>
                </a:cubicBezTo>
                <a:cubicBezTo>
                  <a:pt x="185" y="325"/>
                  <a:pt x="185" y="325"/>
                  <a:pt x="185" y="325"/>
                </a:cubicBezTo>
                <a:cubicBezTo>
                  <a:pt x="186" y="324"/>
                  <a:pt x="186" y="324"/>
                  <a:pt x="186" y="324"/>
                </a:cubicBezTo>
                <a:cubicBezTo>
                  <a:pt x="187" y="325"/>
                  <a:pt x="187" y="325"/>
                  <a:pt x="187" y="325"/>
                </a:cubicBezTo>
                <a:cubicBezTo>
                  <a:pt x="188" y="323"/>
                  <a:pt x="188" y="323"/>
                  <a:pt x="188" y="323"/>
                </a:cubicBezTo>
                <a:cubicBezTo>
                  <a:pt x="189" y="323"/>
                  <a:pt x="189" y="323"/>
                  <a:pt x="189" y="323"/>
                </a:cubicBezTo>
                <a:cubicBezTo>
                  <a:pt x="190" y="325"/>
                  <a:pt x="190" y="325"/>
                  <a:pt x="190" y="325"/>
                </a:cubicBezTo>
                <a:cubicBezTo>
                  <a:pt x="190" y="331"/>
                  <a:pt x="190" y="331"/>
                  <a:pt x="190" y="331"/>
                </a:cubicBezTo>
                <a:cubicBezTo>
                  <a:pt x="188" y="333"/>
                  <a:pt x="188" y="333"/>
                  <a:pt x="188" y="333"/>
                </a:cubicBezTo>
                <a:cubicBezTo>
                  <a:pt x="189" y="335"/>
                  <a:pt x="189" y="335"/>
                  <a:pt x="189" y="335"/>
                </a:cubicBezTo>
                <a:cubicBezTo>
                  <a:pt x="186" y="337"/>
                  <a:pt x="186" y="337"/>
                  <a:pt x="186" y="337"/>
                </a:cubicBezTo>
                <a:cubicBezTo>
                  <a:pt x="183" y="335"/>
                  <a:pt x="183" y="335"/>
                  <a:pt x="183" y="335"/>
                </a:cubicBezTo>
                <a:close/>
                <a:moveTo>
                  <a:pt x="187" y="347"/>
                </a:moveTo>
                <a:cubicBezTo>
                  <a:pt x="188" y="345"/>
                  <a:pt x="188" y="345"/>
                  <a:pt x="188" y="345"/>
                </a:cubicBezTo>
                <a:cubicBezTo>
                  <a:pt x="187" y="341"/>
                  <a:pt x="187" y="341"/>
                  <a:pt x="187" y="341"/>
                </a:cubicBezTo>
                <a:cubicBezTo>
                  <a:pt x="187" y="338"/>
                  <a:pt x="187" y="338"/>
                  <a:pt x="187" y="338"/>
                </a:cubicBezTo>
                <a:cubicBezTo>
                  <a:pt x="184" y="338"/>
                  <a:pt x="184" y="338"/>
                  <a:pt x="184" y="338"/>
                </a:cubicBezTo>
                <a:cubicBezTo>
                  <a:pt x="181" y="334"/>
                  <a:pt x="181" y="334"/>
                  <a:pt x="181" y="334"/>
                </a:cubicBezTo>
                <a:cubicBezTo>
                  <a:pt x="180" y="335"/>
                  <a:pt x="180" y="335"/>
                  <a:pt x="180" y="335"/>
                </a:cubicBezTo>
                <a:cubicBezTo>
                  <a:pt x="180" y="336"/>
                  <a:pt x="180" y="336"/>
                  <a:pt x="180" y="336"/>
                </a:cubicBezTo>
                <a:cubicBezTo>
                  <a:pt x="184" y="340"/>
                  <a:pt x="184" y="340"/>
                  <a:pt x="184" y="340"/>
                </a:cubicBezTo>
                <a:cubicBezTo>
                  <a:pt x="181" y="340"/>
                  <a:pt x="181" y="340"/>
                  <a:pt x="181" y="340"/>
                </a:cubicBezTo>
                <a:cubicBezTo>
                  <a:pt x="181" y="341"/>
                  <a:pt x="181" y="341"/>
                  <a:pt x="181" y="341"/>
                </a:cubicBezTo>
                <a:cubicBezTo>
                  <a:pt x="183" y="343"/>
                  <a:pt x="183" y="343"/>
                  <a:pt x="183" y="343"/>
                </a:cubicBezTo>
                <a:cubicBezTo>
                  <a:pt x="187" y="347"/>
                  <a:pt x="187" y="347"/>
                  <a:pt x="187" y="347"/>
                </a:cubicBezTo>
                <a:close/>
                <a:moveTo>
                  <a:pt x="160" y="303"/>
                </a:moveTo>
                <a:cubicBezTo>
                  <a:pt x="161" y="306"/>
                  <a:pt x="161" y="306"/>
                  <a:pt x="161" y="306"/>
                </a:cubicBezTo>
                <a:cubicBezTo>
                  <a:pt x="163" y="306"/>
                  <a:pt x="163" y="306"/>
                  <a:pt x="163" y="306"/>
                </a:cubicBezTo>
                <a:cubicBezTo>
                  <a:pt x="165" y="307"/>
                  <a:pt x="165" y="307"/>
                  <a:pt x="165" y="307"/>
                </a:cubicBezTo>
                <a:cubicBezTo>
                  <a:pt x="166" y="306"/>
                  <a:pt x="166" y="306"/>
                  <a:pt x="166" y="306"/>
                </a:cubicBezTo>
                <a:cubicBezTo>
                  <a:pt x="164" y="303"/>
                  <a:pt x="164" y="303"/>
                  <a:pt x="164" y="303"/>
                </a:cubicBezTo>
                <a:cubicBezTo>
                  <a:pt x="161" y="302"/>
                  <a:pt x="161" y="302"/>
                  <a:pt x="161" y="302"/>
                </a:cubicBezTo>
                <a:cubicBezTo>
                  <a:pt x="160" y="303"/>
                  <a:pt x="160" y="303"/>
                  <a:pt x="160" y="303"/>
                </a:cubicBezTo>
                <a:close/>
                <a:moveTo>
                  <a:pt x="109" y="825"/>
                </a:moveTo>
                <a:cubicBezTo>
                  <a:pt x="109" y="825"/>
                  <a:pt x="109" y="825"/>
                  <a:pt x="109" y="825"/>
                </a:cubicBezTo>
                <a:cubicBezTo>
                  <a:pt x="107" y="824"/>
                  <a:pt x="107" y="824"/>
                  <a:pt x="107" y="824"/>
                </a:cubicBezTo>
                <a:cubicBezTo>
                  <a:pt x="106" y="820"/>
                  <a:pt x="106" y="820"/>
                  <a:pt x="106" y="820"/>
                </a:cubicBezTo>
                <a:cubicBezTo>
                  <a:pt x="108" y="815"/>
                  <a:pt x="108" y="815"/>
                  <a:pt x="108" y="815"/>
                </a:cubicBezTo>
                <a:cubicBezTo>
                  <a:pt x="109" y="812"/>
                  <a:pt x="109" y="812"/>
                  <a:pt x="109" y="812"/>
                </a:cubicBezTo>
                <a:cubicBezTo>
                  <a:pt x="108" y="814"/>
                  <a:pt x="108" y="814"/>
                  <a:pt x="108" y="814"/>
                </a:cubicBezTo>
                <a:cubicBezTo>
                  <a:pt x="105" y="815"/>
                  <a:pt x="105" y="815"/>
                  <a:pt x="105" y="815"/>
                </a:cubicBezTo>
                <a:cubicBezTo>
                  <a:pt x="102" y="816"/>
                  <a:pt x="102" y="816"/>
                  <a:pt x="102" y="816"/>
                </a:cubicBezTo>
                <a:cubicBezTo>
                  <a:pt x="100" y="813"/>
                  <a:pt x="100" y="813"/>
                  <a:pt x="100" y="813"/>
                </a:cubicBezTo>
                <a:cubicBezTo>
                  <a:pt x="100" y="811"/>
                  <a:pt x="100" y="811"/>
                  <a:pt x="100" y="811"/>
                </a:cubicBezTo>
                <a:cubicBezTo>
                  <a:pt x="101" y="811"/>
                  <a:pt x="101" y="811"/>
                  <a:pt x="101" y="811"/>
                </a:cubicBezTo>
                <a:cubicBezTo>
                  <a:pt x="102" y="813"/>
                  <a:pt x="102" y="813"/>
                  <a:pt x="102" y="813"/>
                </a:cubicBezTo>
                <a:cubicBezTo>
                  <a:pt x="103" y="813"/>
                  <a:pt x="103" y="813"/>
                  <a:pt x="103" y="813"/>
                </a:cubicBezTo>
                <a:cubicBezTo>
                  <a:pt x="103" y="812"/>
                  <a:pt x="103" y="812"/>
                  <a:pt x="103" y="812"/>
                </a:cubicBezTo>
                <a:cubicBezTo>
                  <a:pt x="102" y="810"/>
                  <a:pt x="102" y="810"/>
                  <a:pt x="102" y="810"/>
                </a:cubicBezTo>
                <a:cubicBezTo>
                  <a:pt x="101" y="808"/>
                  <a:pt x="101" y="808"/>
                  <a:pt x="101" y="808"/>
                </a:cubicBezTo>
                <a:cubicBezTo>
                  <a:pt x="100" y="808"/>
                  <a:pt x="100" y="808"/>
                  <a:pt x="100" y="808"/>
                </a:cubicBezTo>
                <a:cubicBezTo>
                  <a:pt x="98" y="809"/>
                  <a:pt x="98" y="809"/>
                  <a:pt x="98" y="809"/>
                </a:cubicBezTo>
                <a:cubicBezTo>
                  <a:pt x="95" y="808"/>
                  <a:pt x="95" y="808"/>
                  <a:pt x="95" y="808"/>
                </a:cubicBezTo>
                <a:cubicBezTo>
                  <a:pt x="94" y="804"/>
                  <a:pt x="94" y="804"/>
                  <a:pt x="94" y="804"/>
                </a:cubicBezTo>
                <a:cubicBezTo>
                  <a:pt x="94" y="803"/>
                  <a:pt x="94" y="803"/>
                  <a:pt x="94" y="803"/>
                </a:cubicBezTo>
                <a:cubicBezTo>
                  <a:pt x="97" y="801"/>
                  <a:pt x="97" y="801"/>
                  <a:pt x="97" y="801"/>
                </a:cubicBezTo>
                <a:cubicBezTo>
                  <a:pt x="98" y="798"/>
                  <a:pt x="98" y="798"/>
                  <a:pt x="98" y="798"/>
                </a:cubicBezTo>
                <a:cubicBezTo>
                  <a:pt x="100" y="797"/>
                  <a:pt x="100" y="797"/>
                  <a:pt x="100" y="797"/>
                </a:cubicBezTo>
                <a:cubicBezTo>
                  <a:pt x="99" y="796"/>
                  <a:pt x="99" y="796"/>
                  <a:pt x="99" y="796"/>
                </a:cubicBezTo>
                <a:cubicBezTo>
                  <a:pt x="97" y="797"/>
                  <a:pt x="97" y="797"/>
                  <a:pt x="97" y="797"/>
                </a:cubicBezTo>
                <a:cubicBezTo>
                  <a:pt x="94" y="797"/>
                  <a:pt x="94" y="797"/>
                  <a:pt x="94" y="797"/>
                </a:cubicBezTo>
                <a:cubicBezTo>
                  <a:pt x="94" y="796"/>
                  <a:pt x="94" y="796"/>
                  <a:pt x="94" y="796"/>
                </a:cubicBezTo>
                <a:cubicBezTo>
                  <a:pt x="95" y="794"/>
                  <a:pt x="95" y="794"/>
                  <a:pt x="95" y="794"/>
                </a:cubicBezTo>
                <a:cubicBezTo>
                  <a:pt x="97" y="791"/>
                  <a:pt x="97" y="791"/>
                  <a:pt x="97" y="791"/>
                </a:cubicBezTo>
                <a:cubicBezTo>
                  <a:pt x="98" y="787"/>
                  <a:pt x="98" y="787"/>
                  <a:pt x="98" y="787"/>
                </a:cubicBezTo>
                <a:cubicBezTo>
                  <a:pt x="98" y="786"/>
                  <a:pt x="98" y="786"/>
                  <a:pt x="98" y="786"/>
                </a:cubicBezTo>
                <a:cubicBezTo>
                  <a:pt x="98" y="784"/>
                  <a:pt x="98" y="784"/>
                  <a:pt x="98" y="784"/>
                </a:cubicBezTo>
                <a:cubicBezTo>
                  <a:pt x="97" y="785"/>
                  <a:pt x="97" y="785"/>
                  <a:pt x="97" y="785"/>
                </a:cubicBezTo>
                <a:cubicBezTo>
                  <a:pt x="96" y="787"/>
                  <a:pt x="96" y="787"/>
                  <a:pt x="96" y="787"/>
                </a:cubicBezTo>
                <a:cubicBezTo>
                  <a:pt x="96" y="791"/>
                  <a:pt x="96" y="791"/>
                  <a:pt x="96" y="791"/>
                </a:cubicBezTo>
                <a:cubicBezTo>
                  <a:pt x="93" y="795"/>
                  <a:pt x="93" y="795"/>
                  <a:pt x="93" y="795"/>
                </a:cubicBezTo>
                <a:cubicBezTo>
                  <a:pt x="92" y="795"/>
                  <a:pt x="92" y="795"/>
                  <a:pt x="92" y="795"/>
                </a:cubicBezTo>
                <a:cubicBezTo>
                  <a:pt x="90" y="794"/>
                  <a:pt x="90" y="794"/>
                  <a:pt x="90" y="794"/>
                </a:cubicBezTo>
                <a:cubicBezTo>
                  <a:pt x="89" y="794"/>
                  <a:pt x="89" y="794"/>
                  <a:pt x="89" y="794"/>
                </a:cubicBezTo>
                <a:cubicBezTo>
                  <a:pt x="89" y="792"/>
                  <a:pt x="89" y="792"/>
                  <a:pt x="89" y="792"/>
                </a:cubicBezTo>
                <a:cubicBezTo>
                  <a:pt x="90" y="791"/>
                  <a:pt x="90" y="791"/>
                  <a:pt x="90" y="791"/>
                </a:cubicBezTo>
                <a:cubicBezTo>
                  <a:pt x="90" y="790"/>
                  <a:pt x="90" y="790"/>
                  <a:pt x="90" y="790"/>
                </a:cubicBezTo>
                <a:cubicBezTo>
                  <a:pt x="88" y="791"/>
                  <a:pt x="88" y="791"/>
                  <a:pt x="88" y="791"/>
                </a:cubicBezTo>
                <a:cubicBezTo>
                  <a:pt x="86" y="793"/>
                  <a:pt x="86" y="793"/>
                  <a:pt x="86" y="793"/>
                </a:cubicBezTo>
                <a:cubicBezTo>
                  <a:pt x="86" y="793"/>
                  <a:pt x="86" y="793"/>
                  <a:pt x="86" y="793"/>
                </a:cubicBezTo>
                <a:cubicBezTo>
                  <a:pt x="85" y="792"/>
                  <a:pt x="85" y="792"/>
                  <a:pt x="85" y="792"/>
                </a:cubicBezTo>
                <a:cubicBezTo>
                  <a:pt x="84" y="792"/>
                  <a:pt x="84" y="792"/>
                  <a:pt x="84" y="792"/>
                </a:cubicBezTo>
                <a:cubicBezTo>
                  <a:pt x="83" y="793"/>
                  <a:pt x="83" y="793"/>
                  <a:pt x="83" y="793"/>
                </a:cubicBezTo>
                <a:cubicBezTo>
                  <a:pt x="81" y="792"/>
                  <a:pt x="81" y="792"/>
                  <a:pt x="81" y="792"/>
                </a:cubicBezTo>
                <a:cubicBezTo>
                  <a:pt x="81" y="791"/>
                  <a:pt x="81" y="791"/>
                  <a:pt x="81" y="791"/>
                </a:cubicBezTo>
                <a:cubicBezTo>
                  <a:pt x="83" y="789"/>
                  <a:pt x="83" y="789"/>
                  <a:pt x="83" y="789"/>
                </a:cubicBezTo>
                <a:cubicBezTo>
                  <a:pt x="85" y="789"/>
                  <a:pt x="85" y="789"/>
                  <a:pt x="85" y="789"/>
                </a:cubicBezTo>
                <a:cubicBezTo>
                  <a:pt x="87" y="788"/>
                  <a:pt x="87" y="788"/>
                  <a:pt x="87" y="788"/>
                </a:cubicBezTo>
                <a:cubicBezTo>
                  <a:pt x="91" y="786"/>
                  <a:pt x="91" y="786"/>
                  <a:pt x="91" y="786"/>
                </a:cubicBezTo>
                <a:cubicBezTo>
                  <a:pt x="92" y="784"/>
                  <a:pt x="92" y="784"/>
                  <a:pt x="92" y="784"/>
                </a:cubicBezTo>
                <a:cubicBezTo>
                  <a:pt x="92" y="781"/>
                  <a:pt x="92" y="781"/>
                  <a:pt x="92" y="781"/>
                </a:cubicBezTo>
                <a:cubicBezTo>
                  <a:pt x="91" y="783"/>
                  <a:pt x="91" y="783"/>
                  <a:pt x="91" y="783"/>
                </a:cubicBezTo>
                <a:cubicBezTo>
                  <a:pt x="89" y="785"/>
                  <a:pt x="89" y="785"/>
                  <a:pt x="89" y="785"/>
                </a:cubicBezTo>
                <a:cubicBezTo>
                  <a:pt x="88" y="787"/>
                  <a:pt x="88" y="787"/>
                  <a:pt x="88" y="787"/>
                </a:cubicBezTo>
                <a:cubicBezTo>
                  <a:pt x="86" y="788"/>
                  <a:pt x="86" y="788"/>
                  <a:pt x="86" y="788"/>
                </a:cubicBezTo>
                <a:cubicBezTo>
                  <a:pt x="83" y="787"/>
                  <a:pt x="83" y="787"/>
                  <a:pt x="83" y="787"/>
                </a:cubicBezTo>
                <a:cubicBezTo>
                  <a:pt x="82" y="785"/>
                  <a:pt x="82" y="785"/>
                  <a:pt x="82" y="785"/>
                </a:cubicBezTo>
                <a:cubicBezTo>
                  <a:pt x="80" y="785"/>
                  <a:pt x="80" y="785"/>
                  <a:pt x="80" y="785"/>
                </a:cubicBezTo>
                <a:cubicBezTo>
                  <a:pt x="80" y="784"/>
                  <a:pt x="80" y="784"/>
                  <a:pt x="80" y="784"/>
                </a:cubicBezTo>
                <a:cubicBezTo>
                  <a:pt x="82" y="784"/>
                  <a:pt x="82" y="784"/>
                  <a:pt x="82" y="784"/>
                </a:cubicBezTo>
                <a:cubicBezTo>
                  <a:pt x="81" y="783"/>
                  <a:pt x="81" y="783"/>
                  <a:pt x="81" y="783"/>
                </a:cubicBezTo>
                <a:cubicBezTo>
                  <a:pt x="78" y="783"/>
                  <a:pt x="78" y="783"/>
                  <a:pt x="78" y="783"/>
                </a:cubicBezTo>
                <a:cubicBezTo>
                  <a:pt x="76" y="782"/>
                  <a:pt x="76" y="782"/>
                  <a:pt x="76" y="782"/>
                </a:cubicBezTo>
                <a:cubicBezTo>
                  <a:pt x="74" y="783"/>
                  <a:pt x="74" y="783"/>
                  <a:pt x="74" y="783"/>
                </a:cubicBezTo>
                <a:cubicBezTo>
                  <a:pt x="74" y="784"/>
                  <a:pt x="74" y="784"/>
                  <a:pt x="74" y="784"/>
                </a:cubicBezTo>
                <a:cubicBezTo>
                  <a:pt x="71" y="782"/>
                  <a:pt x="71" y="782"/>
                  <a:pt x="71" y="782"/>
                </a:cubicBezTo>
                <a:cubicBezTo>
                  <a:pt x="70" y="780"/>
                  <a:pt x="70" y="780"/>
                  <a:pt x="70" y="780"/>
                </a:cubicBezTo>
                <a:cubicBezTo>
                  <a:pt x="71" y="779"/>
                  <a:pt x="71" y="779"/>
                  <a:pt x="71" y="779"/>
                </a:cubicBezTo>
                <a:cubicBezTo>
                  <a:pt x="72" y="780"/>
                  <a:pt x="72" y="780"/>
                  <a:pt x="72" y="780"/>
                </a:cubicBezTo>
                <a:cubicBezTo>
                  <a:pt x="75" y="781"/>
                  <a:pt x="75" y="781"/>
                  <a:pt x="75" y="781"/>
                </a:cubicBezTo>
                <a:cubicBezTo>
                  <a:pt x="78" y="781"/>
                  <a:pt x="78" y="781"/>
                  <a:pt x="78" y="781"/>
                </a:cubicBezTo>
                <a:cubicBezTo>
                  <a:pt x="78" y="779"/>
                  <a:pt x="78" y="779"/>
                  <a:pt x="78" y="779"/>
                </a:cubicBezTo>
                <a:cubicBezTo>
                  <a:pt x="77" y="779"/>
                  <a:pt x="77" y="779"/>
                  <a:pt x="77" y="779"/>
                </a:cubicBezTo>
                <a:cubicBezTo>
                  <a:pt x="74" y="779"/>
                  <a:pt x="74" y="779"/>
                  <a:pt x="74" y="779"/>
                </a:cubicBezTo>
                <a:cubicBezTo>
                  <a:pt x="73" y="779"/>
                  <a:pt x="73" y="779"/>
                  <a:pt x="73" y="779"/>
                </a:cubicBezTo>
                <a:cubicBezTo>
                  <a:pt x="73" y="778"/>
                  <a:pt x="73" y="778"/>
                  <a:pt x="73" y="778"/>
                </a:cubicBezTo>
                <a:cubicBezTo>
                  <a:pt x="75" y="779"/>
                  <a:pt x="75" y="779"/>
                  <a:pt x="75" y="779"/>
                </a:cubicBezTo>
                <a:cubicBezTo>
                  <a:pt x="78" y="778"/>
                  <a:pt x="78" y="778"/>
                  <a:pt x="78" y="778"/>
                </a:cubicBezTo>
                <a:cubicBezTo>
                  <a:pt x="78" y="777"/>
                  <a:pt x="78" y="777"/>
                  <a:pt x="78" y="777"/>
                </a:cubicBezTo>
                <a:cubicBezTo>
                  <a:pt x="75" y="777"/>
                  <a:pt x="75" y="777"/>
                  <a:pt x="75" y="777"/>
                </a:cubicBezTo>
                <a:cubicBezTo>
                  <a:pt x="73" y="776"/>
                  <a:pt x="73" y="776"/>
                  <a:pt x="73" y="776"/>
                </a:cubicBezTo>
                <a:cubicBezTo>
                  <a:pt x="71" y="777"/>
                  <a:pt x="71" y="777"/>
                  <a:pt x="71" y="777"/>
                </a:cubicBezTo>
                <a:cubicBezTo>
                  <a:pt x="69" y="777"/>
                  <a:pt x="69" y="777"/>
                  <a:pt x="69" y="777"/>
                </a:cubicBezTo>
                <a:cubicBezTo>
                  <a:pt x="68" y="776"/>
                  <a:pt x="68" y="776"/>
                  <a:pt x="68" y="776"/>
                </a:cubicBezTo>
                <a:cubicBezTo>
                  <a:pt x="68" y="774"/>
                  <a:pt x="68" y="774"/>
                  <a:pt x="68" y="774"/>
                </a:cubicBezTo>
                <a:cubicBezTo>
                  <a:pt x="71" y="773"/>
                  <a:pt x="71" y="773"/>
                  <a:pt x="71" y="773"/>
                </a:cubicBezTo>
                <a:cubicBezTo>
                  <a:pt x="72" y="774"/>
                  <a:pt x="72" y="774"/>
                  <a:pt x="72" y="774"/>
                </a:cubicBezTo>
                <a:cubicBezTo>
                  <a:pt x="74" y="774"/>
                  <a:pt x="74" y="774"/>
                  <a:pt x="74" y="774"/>
                </a:cubicBezTo>
                <a:cubicBezTo>
                  <a:pt x="76" y="773"/>
                  <a:pt x="76" y="773"/>
                  <a:pt x="76" y="773"/>
                </a:cubicBezTo>
                <a:cubicBezTo>
                  <a:pt x="74" y="773"/>
                  <a:pt x="74" y="773"/>
                  <a:pt x="74" y="773"/>
                </a:cubicBezTo>
                <a:cubicBezTo>
                  <a:pt x="72" y="772"/>
                  <a:pt x="72" y="772"/>
                  <a:pt x="72" y="772"/>
                </a:cubicBezTo>
                <a:cubicBezTo>
                  <a:pt x="69" y="772"/>
                  <a:pt x="69" y="772"/>
                  <a:pt x="69" y="772"/>
                </a:cubicBezTo>
                <a:cubicBezTo>
                  <a:pt x="69" y="771"/>
                  <a:pt x="69" y="771"/>
                  <a:pt x="69" y="771"/>
                </a:cubicBezTo>
                <a:cubicBezTo>
                  <a:pt x="73" y="770"/>
                  <a:pt x="73" y="770"/>
                  <a:pt x="73" y="770"/>
                </a:cubicBezTo>
                <a:cubicBezTo>
                  <a:pt x="74" y="771"/>
                  <a:pt x="74" y="771"/>
                  <a:pt x="74" y="771"/>
                </a:cubicBezTo>
                <a:cubicBezTo>
                  <a:pt x="75" y="770"/>
                  <a:pt x="75" y="770"/>
                  <a:pt x="75" y="770"/>
                </a:cubicBezTo>
                <a:cubicBezTo>
                  <a:pt x="75" y="769"/>
                  <a:pt x="75" y="769"/>
                  <a:pt x="75" y="769"/>
                </a:cubicBezTo>
                <a:cubicBezTo>
                  <a:pt x="75" y="768"/>
                  <a:pt x="75" y="768"/>
                  <a:pt x="75" y="768"/>
                </a:cubicBezTo>
                <a:cubicBezTo>
                  <a:pt x="76" y="767"/>
                  <a:pt x="76" y="767"/>
                  <a:pt x="76" y="767"/>
                </a:cubicBezTo>
                <a:cubicBezTo>
                  <a:pt x="79" y="767"/>
                  <a:pt x="79" y="767"/>
                  <a:pt x="79" y="767"/>
                </a:cubicBezTo>
                <a:cubicBezTo>
                  <a:pt x="82" y="767"/>
                  <a:pt x="82" y="767"/>
                  <a:pt x="82" y="767"/>
                </a:cubicBezTo>
                <a:cubicBezTo>
                  <a:pt x="82" y="767"/>
                  <a:pt x="82" y="767"/>
                  <a:pt x="82" y="767"/>
                </a:cubicBezTo>
                <a:cubicBezTo>
                  <a:pt x="78" y="766"/>
                  <a:pt x="78" y="766"/>
                  <a:pt x="78" y="766"/>
                </a:cubicBezTo>
                <a:cubicBezTo>
                  <a:pt x="77" y="765"/>
                  <a:pt x="77" y="765"/>
                  <a:pt x="77" y="765"/>
                </a:cubicBezTo>
                <a:cubicBezTo>
                  <a:pt x="76" y="764"/>
                  <a:pt x="76" y="764"/>
                  <a:pt x="76" y="764"/>
                </a:cubicBezTo>
                <a:cubicBezTo>
                  <a:pt x="75" y="766"/>
                  <a:pt x="75" y="766"/>
                  <a:pt x="75" y="766"/>
                </a:cubicBezTo>
                <a:cubicBezTo>
                  <a:pt x="73" y="767"/>
                  <a:pt x="73" y="767"/>
                  <a:pt x="73" y="767"/>
                </a:cubicBezTo>
                <a:cubicBezTo>
                  <a:pt x="71" y="769"/>
                  <a:pt x="71" y="769"/>
                  <a:pt x="71" y="769"/>
                </a:cubicBezTo>
                <a:cubicBezTo>
                  <a:pt x="70" y="768"/>
                  <a:pt x="70" y="768"/>
                  <a:pt x="70" y="768"/>
                </a:cubicBezTo>
                <a:cubicBezTo>
                  <a:pt x="71" y="766"/>
                  <a:pt x="71" y="766"/>
                  <a:pt x="71" y="766"/>
                </a:cubicBezTo>
                <a:cubicBezTo>
                  <a:pt x="70" y="764"/>
                  <a:pt x="70" y="764"/>
                  <a:pt x="70" y="764"/>
                </a:cubicBezTo>
                <a:cubicBezTo>
                  <a:pt x="71" y="762"/>
                  <a:pt x="71" y="762"/>
                  <a:pt x="71" y="762"/>
                </a:cubicBezTo>
                <a:cubicBezTo>
                  <a:pt x="74" y="761"/>
                  <a:pt x="74" y="761"/>
                  <a:pt x="74" y="761"/>
                </a:cubicBezTo>
                <a:cubicBezTo>
                  <a:pt x="75" y="759"/>
                  <a:pt x="75" y="759"/>
                  <a:pt x="75" y="759"/>
                </a:cubicBezTo>
                <a:cubicBezTo>
                  <a:pt x="81" y="755"/>
                  <a:pt x="81" y="755"/>
                  <a:pt x="81" y="755"/>
                </a:cubicBezTo>
                <a:cubicBezTo>
                  <a:pt x="83" y="754"/>
                  <a:pt x="83" y="754"/>
                  <a:pt x="83" y="754"/>
                </a:cubicBezTo>
                <a:cubicBezTo>
                  <a:pt x="84" y="756"/>
                  <a:pt x="84" y="756"/>
                  <a:pt x="84" y="756"/>
                </a:cubicBezTo>
                <a:cubicBezTo>
                  <a:pt x="84" y="759"/>
                  <a:pt x="84" y="759"/>
                  <a:pt x="84" y="759"/>
                </a:cubicBezTo>
                <a:cubicBezTo>
                  <a:pt x="85" y="761"/>
                  <a:pt x="85" y="761"/>
                  <a:pt x="85" y="761"/>
                </a:cubicBezTo>
                <a:cubicBezTo>
                  <a:pt x="86" y="760"/>
                  <a:pt x="86" y="760"/>
                  <a:pt x="86" y="760"/>
                </a:cubicBezTo>
                <a:cubicBezTo>
                  <a:pt x="85" y="757"/>
                  <a:pt x="85" y="757"/>
                  <a:pt x="85" y="757"/>
                </a:cubicBezTo>
                <a:cubicBezTo>
                  <a:pt x="85" y="754"/>
                  <a:pt x="85" y="754"/>
                  <a:pt x="85" y="754"/>
                </a:cubicBezTo>
                <a:cubicBezTo>
                  <a:pt x="87" y="753"/>
                  <a:pt x="87" y="753"/>
                  <a:pt x="87" y="753"/>
                </a:cubicBezTo>
                <a:cubicBezTo>
                  <a:pt x="90" y="753"/>
                  <a:pt x="90" y="753"/>
                  <a:pt x="90" y="753"/>
                </a:cubicBezTo>
                <a:cubicBezTo>
                  <a:pt x="88" y="752"/>
                  <a:pt x="88" y="752"/>
                  <a:pt x="88" y="752"/>
                </a:cubicBezTo>
                <a:cubicBezTo>
                  <a:pt x="85" y="752"/>
                  <a:pt x="85" y="752"/>
                  <a:pt x="85" y="752"/>
                </a:cubicBezTo>
                <a:cubicBezTo>
                  <a:pt x="84" y="753"/>
                  <a:pt x="84" y="753"/>
                  <a:pt x="84" y="753"/>
                </a:cubicBezTo>
                <a:cubicBezTo>
                  <a:pt x="82" y="751"/>
                  <a:pt x="82" y="751"/>
                  <a:pt x="82" y="751"/>
                </a:cubicBezTo>
                <a:cubicBezTo>
                  <a:pt x="83" y="750"/>
                  <a:pt x="83" y="750"/>
                  <a:pt x="83" y="750"/>
                </a:cubicBezTo>
                <a:cubicBezTo>
                  <a:pt x="85" y="749"/>
                  <a:pt x="85" y="749"/>
                  <a:pt x="85" y="749"/>
                </a:cubicBezTo>
                <a:cubicBezTo>
                  <a:pt x="88" y="747"/>
                  <a:pt x="88" y="747"/>
                  <a:pt x="88" y="747"/>
                </a:cubicBezTo>
                <a:cubicBezTo>
                  <a:pt x="90" y="744"/>
                  <a:pt x="90" y="744"/>
                  <a:pt x="90" y="744"/>
                </a:cubicBezTo>
                <a:cubicBezTo>
                  <a:pt x="89" y="742"/>
                  <a:pt x="89" y="742"/>
                  <a:pt x="89" y="742"/>
                </a:cubicBezTo>
                <a:cubicBezTo>
                  <a:pt x="88" y="743"/>
                  <a:pt x="88" y="743"/>
                  <a:pt x="88" y="743"/>
                </a:cubicBezTo>
                <a:cubicBezTo>
                  <a:pt x="88" y="745"/>
                  <a:pt x="88" y="745"/>
                  <a:pt x="88" y="745"/>
                </a:cubicBezTo>
                <a:cubicBezTo>
                  <a:pt x="86" y="747"/>
                  <a:pt x="86" y="747"/>
                  <a:pt x="86" y="747"/>
                </a:cubicBezTo>
                <a:cubicBezTo>
                  <a:pt x="83" y="747"/>
                  <a:pt x="83" y="747"/>
                  <a:pt x="83" y="747"/>
                </a:cubicBezTo>
                <a:cubicBezTo>
                  <a:pt x="81" y="750"/>
                  <a:pt x="81" y="750"/>
                  <a:pt x="81" y="750"/>
                </a:cubicBezTo>
                <a:cubicBezTo>
                  <a:pt x="78" y="752"/>
                  <a:pt x="78" y="752"/>
                  <a:pt x="78" y="752"/>
                </a:cubicBezTo>
                <a:cubicBezTo>
                  <a:pt x="74" y="754"/>
                  <a:pt x="74" y="754"/>
                  <a:pt x="74" y="754"/>
                </a:cubicBezTo>
                <a:cubicBezTo>
                  <a:pt x="72" y="751"/>
                  <a:pt x="72" y="751"/>
                  <a:pt x="72" y="751"/>
                </a:cubicBezTo>
                <a:cubicBezTo>
                  <a:pt x="73" y="750"/>
                  <a:pt x="73" y="750"/>
                  <a:pt x="73" y="750"/>
                </a:cubicBezTo>
                <a:cubicBezTo>
                  <a:pt x="75" y="750"/>
                  <a:pt x="75" y="750"/>
                  <a:pt x="75" y="750"/>
                </a:cubicBezTo>
                <a:cubicBezTo>
                  <a:pt x="73" y="749"/>
                  <a:pt x="73" y="749"/>
                  <a:pt x="73" y="749"/>
                </a:cubicBezTo>
                <a:cubicBezTo>
                  <a:pt x="70" y="751"/>
                  <a:pt x="70" y="751"/>
                  <a:pt x="70" y="751"/>
                </a:cubicBezTo>
                <a:cubicBezTo>
                  <a:pt x="68" y="749"/>
                  <a:pt x="68" y="749"/>
                  <a:pt x="68" y="749"/>
                </a:cubicBezTo>
                <a:cubicBezTo>
                  <a:pt x="69" y="748"/>
                  <a:pt x="69" y="748"/>
                  <a:pt x="69" y="748"/>
                </a:cubicBezTo>
                <a:cubicBezTo>
                  <a:pt x="72" y="746"/>
                  <a:pt x="72" y="746"/>
                  <a:pt x="72" y="746"/>
                </a:cubicBezTo>
                <a:cubicBezTo>
                  <a:pt x="74" y="745"/>
                  <a:pt x="74" y="745"/>
                  <a:pt x="74" y="745"/>
                </a:cubicBezTo>
                <a:cubicBezTo>
                  <a:pt x="76" y="746"/>
                  <a:pt x="76" y="746"/>
                  <a:pt x="76" y="746"/>
                </a:cubicBezTo>
                <a:cubicBezTo>
                  <a:pt x="77" y="745"/>
                  <a:pt x="77" y="745"/>
                  <a:pt x="77" y="745"/>
                </a:cubicBezTo>
                <a:cubicBezTo>
                  <a:pt x="77" y="744"/>
                  <a:pt x="77" y="744"/>
                  <a:pt x="77" y="744"/>
                </a:cubicBezTo>
                <a:cubicBezTo>
                  <a:pt x="75" y="743"/>
                  <a:pt x="75" y="743"/>
                  <a:pt x="75" y="743"/>
                </a:cubicBezTo>
                <a:cubicBezTo>
                  <a:pt x="76" y="742"/>
                  <a:pt x="76" y="742"/>
                  <a:pt x="76" y="742"/>
                </a:cubicBezTo>
                <a:cubicBezTo>
                  <a:pt x="77" y="740"/>
                  <a:pt x="77" y="740"/>
                  <a:pt x="77" y="740"/>
                </a:cubicBezTo>
                <a:cubicBezTo>
                  <a:pt x="76" y="740"/>
                  <a:pt x="76" y="740"/>
                  <a:pt x="76" y="740"/>
                </a:cubicBezTo>
                <a:cubicBezTo>
                  <a:pt x="74" y="741"/>
                  <a:pt x="74" y="741"/>
                  <a:pt x="74" y="741"/>
                </a:cubicBezTo>
                <a:cubicBezTo>
                  <a:pt x="73" y="741"/>
                  <a:pt x="73" y="741"/>
                  <a:pt x="73" y="741"/>
                </a:cubicBezTo>
                <a:cubicBezTo>
                  <a:pt x="72" y="739"/>
                  <a:pt x="72" y="739"/>
                  <a:pt x="72" y="739"/>
                </a:cubicBezTo>
                <a:cubicBezTo>
                  <a:pt x="72" y="734"/>
                  <a:pt x="72" y="734"/>
                  <a:pt x="72" y="734"/>
                </a:cubicBezTo>
                <a:cubicBezTo>
                  <a:pt x="71" y="732"/>
                  <a:pt x="71" y="732"/>
                  <a:pt x="71" y="732"/>
                </a:cubicBezTo>
                <a:cubicBezTo>
                  <a:pt x="70" y="730"/>
                  <a:pt x="70" y="730"/>
                  <a:pt x="70" y="730"/>
                </a:cubicBezTo>
                <a:cubicBezTo>
                  <a:pt x="71" y="728"/>
                  <a:pt x="71" y="728"/>
                  <a:pt x="71" y="728"/>
                </a:cubicBezTo>
                <a:cubicBezTo>
                  <a:pt x="74" y="728"/>
                  <a:pt x="74" y="728"/>
                  <a:pt x="74" y="728"/>
                </a:cubicBezTo>
                <a:cubicBezTo>
                  <a:pt x="77" y="730"/>
                  <a:pt x="77" y="730"/>
                  <a:pt x="77" y="730"/>
                </a:cubicBezTo>
                <a:cubicBezTo>
                  <a:pt x="80" y="729"/>
                  <a:pt x="80" y="729"/>
                  <a:pt x="80" y="729"/>
                </a:cubicBezTo>
                <a:cubicBezTo>
                  <a:pt x="82" y="731"/>
                  <a:pt x="82" y="731"/>
                  <a:pt x="82" y="731"/>
                </a:cubicBezTo>
                <a:cubicBezTo>
                  <a:pt x="81" y="729"/>
                  <a:pt x="81" y="729"/>
                  <a:pt x="81" y="729"/>
                </a:cubicBezTo>
                <a:cubicBezTo>
                  <a:pt x="79" y="729"/>
                  <a:pt x="79" y="729"/>
                  <a:pt x="79" y="729"/>
                </a:cubicBezTo>
                <a:cubicBezTo>
                  <a:pt x="77" y="729"/>
                  <a:pt x="77" y="729"/>
                  <a:pt x="77" y="729"/>
                </a:cubicBezTo>
                <a:cubicBezTo>
                  <a:pt x="76" y="727"/>
                  <a:pt x="76" y="727"/>
                  <a:pt x="76" y="727"/>
                </a:cubicBezTo>
                <a:cubicBezTo>
                  <a:pt x="74" y="725"/>
                  <a:pt x="74" y="725"/>
                  <a:pt x="74" y="725"/>
                </a:cubicBezTo>
                <a:cubicBezTo>
                  <a:pt x="73" y="724"/>
                  <a:pt x="73" y="724"/>
                  <a:pt x="73" y="724"/>
                </a:cubicBezTo>
                <a:cubicBezTo>
                  <a:pt x="75" y="722"/>
                  <a:pt x="75" y="722"/>
                  <a:pt x="75" y="722"/>
                </a:cubicBezTo>
                <a:cubicBezTo>
                  <a:pt x="76" y="721"/>
                  <a:pt x="76" y="721"/>
                  <a:pt x="76" y="721"/>
                </a:cubicBezTo>
                <a:cubicBezTo>
                  <a:pt x="77" y="719"/>
                  <a:pt x="77" y="719"/>
                  <a:pt x="77" y="719"/>
                </a:cubicBezTo>
                <a:cubicBezTo>
                  <a:pt x="77" y="716"/>
                  <a:pt x="77" y="716"/>
                  <a:pt x="77" y="716"/>
                </a:cubicBezTo>
                <a:cubicBezTo>
                  <a:pt x="76" y="717"/>
                  <a:pt x="76" y="717"/>
                  <a:pt x="76" y="717"/>
                </a:cubicBezTo>
                <a:cubicBezTo>
                  <a:pt x="74" y="719"/>
                  <a:pt x="74" y="719"/>
                  <a:pt x="74" y="719"/>
                </a:cubicBezTo>
                <a:cubicBezTo>
                  <a:pt x="72" y="721"/>
                  <a:pt x="72" y="721"/>
                  <a:pt x="72" y="721"/>
                </a:cubicBezTo>
                <a:cubicBezTo>
                  <a:pt x="68" y="722"/>
                  <a:pt x="68" y="722"/>
                  <a:pt x="68" y="722"/>
                </a:cubicBezTo>
                <a:cubicBezTo>
                  <a:pt x="66" y="724"/>
                  <a:pt x="66" y="724"/>
                  <a:pt x="66" y="724"/>
                </a:cubicBezTo>
                <a:cubicBezTo>
                  <a:pt x="66" y="726"/>
                  <a:pt x="66" y="726"/>
                  <a:pt x="66" y="726"/>
                </a:cubicBezTo>
                <a:cubicBezTo>
                  <a:pt x="65" y="725"/>
                  <a:pt x="65" y="725"/>
                  <a:pt x="65" y="725"/>
                </a:cubicBezTo>
                <a:cubicBezTo>
                  <a:pt x="63" y="722"/>
                  <a:pt x="63" y="722"/>
                  <a:pt x="63" y="722"/>
                </a:cubicBezTo>
                <a:cubicBezTo>
                  <a:pt x="62" y="718"/>
                  <a:pt x="62" y="718"/>
                  <a:pt x="62" y="718"/>
                </a:cubicBezTo>
                <a:cubicBezTo>
                  <a:pt x="62" y="712"/>
                  <a:pt x="62" y="712"/>
                  <a:pt x="62" y="712"/>
                </a:cubicBezTo>
                <a:cubicBezTo>
                  <a:pt x="63" y="708"/>
                  <a:pt x="63" y="708"/>
                  <a:pt x="63" y="708"/>
                </a:cubicBezTo>
                <a:cubicBezTo>
                  <a:pt x="63" y="707"/>
                  <a:pt x="63" y="707"/>
                  <a:pt x="63" y="707"/>
                </a:cubicBezTo>
                <a:cubicBezTo>
                  <a:pt x="61" y="706"/>
                  <a:pt x="61" y="706"/>
                  <a:pt x="61" y="706"/>
                </a:cubicBezTo>
                <a:cubicBezTo>
                  <a:pt x="61" y="703"/>
                  <a:pt x="61" y="703"/>
                  <a:pt x="61" y="703"/>
                </a:cubicBezTo>
                <a:cubicBezTo>
                  <a:pt x="62" y="702"/>
                  <a:pt x="62" y="702"/>
                  <a:pt x="62" y="702"/>
                </a:cubicBezTo>
                <a:cubicBezTo>
                  <a:pt x="63" y="703"/>
                  <a:pt x="63" y="703"/>
                  <a:pt x="63" y="703"/>
                </a:cubicBezTo>
                <a:cubicBezTo>
                  <a:pt x="65" y="703"/>
                  <a:pt x="65" y="703"/>
                  <a:pt x="65" y="703"/>
                </a:cubicBezTo>
                <a:cubicBezTo>
                  <a:pt x="64" y="701"/>
                  <a:pt x="64" y="701"/>
                  <a:pt x="64" y="701"/>
                </a:cubicBezTo>
                <a:cubicBezTo>
                  <a:pt x="67" y="699"/>
                  <a:pt x="67" y="699"/>
                  <a:pt x="67" y="699"/>
                </a:cubicBezTo>
                <a:cubicBezTo>
                  <a:pt x="68" y="696"/>
                  <a:pt x="68" y="696"/>
                  <a:pt x="68" y="696"/>
                </a:cubicBezTo>
                <a:cubicBezTo>
                  <a:pt x="70" y="695"/>
                  <a:pt x="70" y="695"/>
                  <a:pt x="70" y="695"/>
                </a:cubicBezTo>
                <a:cubicBezTo>
                  <a:pt x="72" y="696"/>
                  <a:pt x="72" y="696"/>
                  <a:pt x="72" y="696"/>
                </a:cubicBezTo>
                <a:cubicBezTo>
                  <a:pt x="74" y="694"/>
                  <a:pt x="74" y="694"/>
                  <a:pt x="74" y="694"/>
                </a:cubicBezTo>
                <a:cubicBezTo>
                  <a:pt x="72" y="694"/>
                  <a:pt x="72" y="694"/>
                  <a:pt x="72" y="694"/>
                </a:cubicBezTo>
                <a:cubicBezTo>
                  <a:pt x="72" y="693"/>
                  <a:pt x="72" y="693"/>
                  <a:pt x="72" y="693"/>
                </a:cubicBezTo>
                <a:cubicBezTo>
                  <a:pt x="75" y="690"/>
                  <a:pt x="75" y="690"/>
                  <a:pt x="75" y="690"/>
                </a:cubicBezTo>
                <a:cubicBezTo>
                  <a:pt x="77" y="688"/>
                  <a:pt x="77" y="688"/>
                  <a:pt x="77" y="688"/>
                </a:cubicBezTo>
                <a:cubicBezTo>
                  <a:pt x="80" y="686"/>
                  <a:pt x="80" y="686"/>
                  <a:pt x="80" y="686"/>
                </a:cubicBezTo>
                <a:cubicBezTo>
                  <a:pt x="80" y="684"/>
                  <a:pt x="80" y="684"/>
                  <a:pt x="80" y="684"/>
                </a:cubicBezTo>
                <a:cubicBezTo>
                  <a:pt x="79" y="684"/>
                  <a:pt x="79" y="684"/>
                  <a:pt x="79" y="684"/>
                </a:cubicBezTo>
                <a:cubicBezTo>
                  <a:pt x="78" y="683"/>
                  <a:pt x="78" y="683"/>
                  <a:pt x="78" y="683"/>
                </a:cubicBezTo>
                <a:cubicBezTo>
                  <a:pt x="75" y="685"/>
                  <a:pt x="75" y="685"/>
                  <a:pt x="75" y="685"/>
                </a:cubicBezTo>
                <a:cubicBezTo>
                  <a:pt x="75" y="688"/>
                  <a:pt x="75" y="688"/>
                  <a:pt x="75" y="688"/>
                </a:cubicBezTo>
                <a:cubicBezTo>
                  <a:pt x="71" y="693"/>
                  <a:pt x="71" y="693"/>
                  <a:pt x="71" y="693"/>
                </a:cubicBezTo>
                <a:cubicBezTo>
                  <a:pt x="70" y="693"/>
                  <a:pt x="70" y="693"/>
                  <a:pt x="70" y="693"/>
                </a:cubicBezTo>
                <a:cubicBezTo>
                  <a:pt x="70" y="691"/>
                  <a:pt x="70" y="691"/>
                  <a:pt x="70" y="691"/>
                </a:cubicBezTo>
                <a:cubicBezTo>
                  <a:pt x="73" y="687"/>
                  <a:pt x="73" y="687"/>
                  <a:pt x="73" y="687"/>
                </a:cubicBezTo>
                <a:cubicBezTo>
                  <a:pt x="73" y="683"/>
                  <a:pt x="73" y="683"/>
                  <a:pt x="73" y="683"/>
                </a:cubicBezTo>
                <a:cubicBezTo>
                  <a:pt x="76" y="678"/>
                  <a:pt x="76" y="678"/>
                  <a:pt x="76" y="678"/>
                </a:cubicBezTo>
                <a:cubicBezTo>
                  <a:pt x="77" y="675"/>
                  <a:pt x="77" y="675"/>
                  <a:pt x="77" y="675"/>
                </a:cubicBezTo>
                <a:cubicBezTo>
                  <a:pt x="77" y="675"/>
                  <a:pt x="77" y="675"/>
                  <a:pt x="77" y="675"/>
                </a:cubicBezTo>
                <a:cubicBezTo>
                  <a:pt x="77" y="674"/>
                  <a:pt x="77" y="674"/>
                  <a:pt x="77" y="674"/>
                </a:cubicBezTo>
                <a:cubicBezTo>
                  <a:pt x="77" y="672"/>
                  <a:pt x="77" y="672"/>
                  <a:pt x="77" y="672"/>
                </a:cubicBezTo>
                <a:cubicBezTo>
                  <a:pt x="78" y="671"/>
                  <a:pt x="78" y="671"/>
                  <a:pt x="78" y="671"/>
                </a:cubicBezTo>
                <a:cubicBezTo>
                  <a:pt x="78" y="670"/>
                  <a:pt x="78" y="670"/>
                  <a:pt x="78" y="670"/>
                </a:cubicBezTo>
                <a:cubicBezTo>
                  <a:pt x="78" y="669"/>
                  <a:pt x="78" y="669"/>
                  <a:pt x="78" y="669"/>
                </a:cubicBezTo>
                <a:cubicBezTo>
                  <a:pt x="78" y="668"/>
                  <a:pt x="78" y="668"/>
                  <a:pt x="78" y="668"/>
                </a:cubicBezTo>
                <a:cubicBezTo>
                  <a:pt x="76" y="667"/>
                  <a:pt x="76" y="667"/>
                  <a:pt x="76" y="667"/>
                </a:cubicBezTo>
                <a:cubicBezTo>
                  <a:pt x="76" y="665"/>
                  <a:pt x="76" y="665"/>
                  <a:pt x="76" y="665"/>
                </a:cubicBezTo>
                <a:cubicBezTo>
                  <a:pt x="75" y="663"/>
                  <a:pt x="75" y="663"/>
                  <a:pt x="75" y="663"/>
                </a:cubicBezTo>
                <a:cubicBezTo>
                  <a:pt x="72" y="661"/>
                  <a:pt x="72" y="661"/>
                  <a:pt x="72" y="661"/>
                </a:cubicBezTo>
                <a:cubicBezTo>
                  <a:pt x="71" y="660"/>
                  <a:pt x="71" y="660"/>
                  <a:pt x="71" y="660"/>
                </a:cubicBezTo>
                <a:cubicBezTo>
                  <a:pt x="70" y="658"/>
                  <a:pt x="70" y="658"/>
                  <a:pt x="70" y="658"/>
                </a:cubicBezTo>
                <a:cubicBezTo>
                  <a:pt x="68" y="655"/>
                  <a:pt x="68" y="655"/>
                  <a:pt x="68" y="655"/>
                </a:cubicBezTo>
                <a:cubicBezTo>
                  <a:pt x="66" y="654"/>
                  <a:pt x="66" y="654"/>
                  <a:pt x="66" y="654"/>
                </a:cubicBezTo>
                <a:cubicBezTo>
                  <a:pt x="64" y="654"/>
                  <a:pt x="64" y="654"/>
                  <a:pt x="64" y="654"/>
                </a:cubicBezTo>
                <a:cubicBezTo>
                  <a:pt x="64" y="653"/>
                  <a:pt x="64" y="653"/>
                  <a:pt x="64" y="653"/>
                </a:cubicBezTo>
                <a:cubicBezTo>
                  <a:pt x="65" y="652"/>
                  <a:pt x="65" y="652"/>
                  <a:pt x="65" y="652"/>
                </a:cubicBezTo>
                <a:cubicBezTo>
                  <a:pt x="65" y="650"/>
                  <a:pt x="65" y="650"/>
                  <a:pt x="65" y="650"/>
                </a:cubicBezTo>
                <a:cubicBezTo>
                  <a:pt x="64" y="649"/>
                  <a:pt x="64" y="649"/>
                  <a:pt x="64" y="649"/>
                </a:cubicBezTo>
                <a:cubicBezTo>
                  <a:pt x="63" y="648"/>
                  <a:pt x="63" y="648"/>
                  <a:pt x="63" y="648"/>
                </a:cubicBezTo>
                <a:cubicBezTo>
                  <a:pt x="64" y="647"/>
                  <a:pt x="64" y="647"/>
                  <a:pt x="64" y="647"/>
                </a:cubicBezTo>
                <a:cubicBezTo>
                  <a:pt x="65" y="646"/>
                  <a:pt x="65" y="646"/>
                  <a:pt x="65" y="646"/>
                </a:cubicBezTo>
                <a:cubicBezTo>
                  <a:pt x="65" y="645"/>
                  <a:pt x="65" y="645"/>
                  <a:pt x="65" y="645"/>
                </a:cubicBezTo>
                <a:cubicBezTo>
                  <a:pt x="64" y="644"/>
                  <a:pt x="64" y="644"/>
                  <a:pt x="64" y="644"/>
                </a:cubicBezTo>
                <a:cubicBezTo>
                  <a:pt x="62" y="644"/>
                  <a:pt x="62" y="644"/>
                  <a:pt x="62" y="644"/>
                </a:cubicBezTo>
                <a:cubicBezTo>
                  <a:pt x="62" y="643"/>
                  <a:pt x="62" y="643"/>
                  <a:pt x="62" y="643"/>
                </a:cubicBezTo>
                <a:cubicBezTo>
                  <a:pt x="64" y="642"/>
                  <a:pt x="64" y="642"/>
                  <a:pt x="64" y="642"/>
                </a:cubicBezTo>
                <a:cubicBezTo>
                  <a:pt x="64" y="633"/>
                  <a:pt x="64" y="633"/>
                  <a:pt x="64" y="633"/>
                </a:cubicBezTo>
                <a:cubicBezTo>
                  <a:pt x="64" y="624"/>
                  <a:pt x="64" y="624"/>
                  <a:pt x="64" y="624"/>
                </a:cubicBezTo>
                <a:cubicBezTo>
                  <a:pt x="65" y="617"/>
                  <a:pt x="65" y="617"/>
                  <a:pt x="65" y="617"/>
                </a:cubicBezTo>
                <a:cubicBezTo>
                  <a:pt x="64" y="615"/>
                  <a:pt x="64" y="615"/>
                  <a:pt x="64" y="615"/>
                </a:cubicBezTo>
                <a:cubicBezTo>
                  <a:pt x="64" y="613"/>
                  <a:pt x="64" y="613"/>
                  <a:pt x="64" y="613"/>
                </a:cubicBezTo>
                <a:cubicBezTo>
                  <a:pt x="65" y="610"/>
                  <a:pt x="65" y="610"/>
                  <a:pt x="65" y="610"/>
                </a:cubicBezTo>
                <a:cubicBezTo>
                  <a:pt x="65" y="608"/>
                  <a:pt x="65" y="608"/>
                  <a:pt x="65" y="608"/>
                </a:cubicBezTo>
                <a:cubicBezTo>
                  <a:pt x="63" y="606"/>
                  <a:pt x="63" y="606"/>
                  <a:pt x="63" y="606"/>
                </a:cubicBezTo>
                <a:cubicBezTo>
                  <a:pt x="63" y="602"/>
                  <a:pt x="63" y="602"/>
                  <a:pt x="63" y="602"/>
                </a:cubicBezTo>
                <a:cubicBezTo>
                  <a:pt x="60" y="599"/>
                  <a:pt x="60" y="599"/>
                  <a:pt x="60" y="599"/>
                </a:cubicBezTo>
                <a:cubicBezTo>
                  <a:pt x="59" y="594"/>
                  <a:pt x="59" y="594"/>
                  <a:pt x="59" y="594"/>
                </a:cubicBezTo>
                <a:cubicBezTo>
                  <a:pt x="60" y="592"/>
                  <a:pt x="60" y="592"/>
                  <a:pt x="60" y="592"/>
                </a:cubicBezTo>
                <a:cubicBezTo>
                  <a:pt x="58" y="585"/>
                  <a:pt x="58" y="585"/>
                  <a:pt x="58" y="585"/>
                </a:cubicBezTo>
                <a:cubicBezTo>
                  <a:pt x="58" y="584"/>
                  <a:pt x="58" y="584"/>
                  <a:pt x="58" y="584"/>
                </a:cubicBezTo>
                <a:cubicBezTo>
                  <a:pt x="60" y="580"/>
                  <a:pt x="60" y="580"/>
                  <a:pt x="60" y="580"/>
                </a:cubicBezTo>
                <a:cubicBezTo>
                  <a:pt x="59" y="578"/>
                  <a:pt x="59" y="578"/>
                  <a:pt x="59" y="578"/>
                </a:cubicBezTo>
                <a:cubicBezTo>
                  <a:pt x="59" y="576"/>
                  <a:pt x="59" y="576"/>
                  <a:pt x="59" y="576"/>
                </a:cubicBezTo>
                <a:cubicBezTo>
                  <a:pt x="57" y="574"/>
                  <a:pt x="57" y="574"/>
                  <a:pt x="57" y="574"/>
                </a:cubicBezTo>
                <a:cubicBezTo>
                  <a:pt x="53" y="574"/>
                  <a:pt x="53" y="574"/>
                  <a:pt x="53" y="574"/>
                </a:cubicBezTo>
                <a:cubicBezTo>
                  <a:pt x="49" y="576"/>
                  <a:pt x="49" y="576"/>
                  <a:pt x="49" y="576"/>
                </a:cubicBezTo>
                <a:cubicBezTo>
                  <a:pt x="48" y="576"/>
                  <a:pt x="48" y="576"/>
                  <a:pt x="48" y="576"/>
                </a:cubicBezTo>
                <a:cubicBezTo>
                  <a:pt x="43" y="578"/>
                  <a:pt x="43" y="578"/>
                  <a:pt x="43" y="578"/>
                </a:cubicBezTo>
                <a:cubicBezTo>
                  <a:pt x="41" y="580"/>
                  <a:pt x="41" y="580"/>
                  <a:pt x="41" y="580"/>
                </a:cubicBezTo>
                <a:cubicBezTo>
                  <a:pt x="37" y="585"/>
                  <a:pt x="37" y="585"/>
                  <a:pt x="37" y="585"/>
                </a:cubicBezTo>
                <a:cubicBezTo>
                  <a:pt x="34" y="587"/>
                  <a:pt x="34" y="587"/>
                  <a:pt x="34" y="587"/>
                </a:cubicBezTo>
                <a:cubicBezTo>
                  <a:pt x="30" y="588"/>
                  <a:pt x="30" y="588"/>
                  <a:pt x="30" y="588"/>
                </a:cubicBezTo>
                <a:cubicBezTo>
                  <a:pt x="26" y="588"/>
                  <a:pt x="26" y="588"/>
                  <a:pt x="26" y="588"/>
                </a:cubicBezTo>
                <a:cubicBezTo>
                  <a:pt x="25" y="589"/>
                  <a:pt x="25" y="589"/>
                  <a:pt x="25" y="589"/>
                </a:cubicBezTo>
                <a:cubicBezTo>
                  <a:pt x="25" y="587"/>
                  <a:pt x="25" y="587"/>
                  <a:pt x="25" y="587"/>
                </a:cubicBezTo>
                <a:cubicBezTo>
                  <a:pt x="27" y="583"/>
                  <a:pt x="27" y="583"/>
                  <a:pt x="27" y="583"/>
                </a:cubicBezTo>
                <a:cubicBezTo>
                  <a:pt x="26" y="580"/>
                  <a:pt x="26" y="580"/>
                  <a:pt x="26" y="580"/>
                </a:cubicBezTo>
                <a:cubicBezTo>
                  <a:pt x="22" y="566"/>
                  <a:pt x="22" y="566"/>
                  <a:pt x="22" y="566"/>
                </a:cubicBezTo>
                <a:cubicBezTo>
                  <a:pt x="20" y="560"/>
                  <a:pt x="20" y="560"/>
                  <a:pt x="20" y="560"/>
                </a:cubicBezTo>
                <a:cubicBezTo>
                  <a:pt x="19" y="557"/>
                  <a:pt x="19" y="557"/>
                  <a:pt x="19" y="557"/>
                </a:cubicBezTo>
                <a:cubicBezTo>
                  <a:pt x="22" y="551"/>
                  <a:pt x="22" y="551"/>
                  <a:pt x="22" y="551"/>
                </a:cubicBezTo>
                <a:cubicBezTo>
                  <a:pt x="16" y="551"/>
                  <a:pt x="16" y="551"/>
                  <a:pt x="16" y="551"/>
                </a:cubicBezTo>
                <a:cubicBezTo>
                  <a:pt x="11" y="553"/>
                  <a:pt x="11" y="553"/>
                  <a:pt x="11" y="553"/>
                </a:cubicBezTo>
                <a:cubicBezTo>
                  <a:pt x="8" y="552"/>
                  <a:pt x="8" y="552"/>
                  <a:pt x="8" y="552"/>
                </a:cubicBezTo>
                <a:cubicBezTo>
                  <a:pt x="0" y="552"/>
                  <a:pt x="0" y="552"/>
                  <a:pt x="0" y="552"/>
                </a:cubicBezTo>
                <a:cubicBezTo>
                  <a:pt x="142" y="294"/>
                  <a:pt x="142" y="294"/>
                  <a:pt x="142" y="294"/>
                </a:cubicBezTo>
                <a:cubicBezTo>
                  <a:pt x="142" y="295"/>
                  <a:pt x="142" y="295"/>
                  <a:pt x="142" y="295"/>
                </a:cubicBezTo>
                <a:cubicBezTo>
                  <a:pt x="144" y="295"/>
                  <a:pt x="144" y="295"/>
                  <a:pt x="144" y="295"/>
                </a:cubicBezTo>
                <a:cubicBezTo>
                  <a:pt x="151" y="300"/>
                  <a:pt x="151" y="300"/>
                  <a:pt x="151" y="300"/>
                </a:cubicBezTo>
                <a:cubicBezTo>
                  <a:pt x="153" y="300"/>
                  <a:pt x="153" y="300"/>
                  <a:pt x="153" y="300"/>
                </a:cubicBezTo>
                <a:cubicBezTo>
                  <a:pt x="155" y="302"/>
                  <a:pt x="155" y="302"/>
                  <a:pt x="155" y="302"/>
                </a:cubicBezTo>
                <a:cubicBezTo>
                  <a:pt x="156" y="304"/>
                  <a:pt x="156" y="304"/>
                  <a:pt x="156" y="304"/>
                </a:cubicBezTo>
                <a:cubicBezTo>
                  <a:pt x="157" y="304"/>
                  <a:pt x="157" y="304"/>
                  <a:pt x="157" y="304"/>
                </a:cubicBezTo>
                <a:cubicBezTo>
                  <a:pt x="159" y="306"/>
                  <a:pt x="159" y="306"/>
                  <a:pt x="159" y="306"/>
                </a:cubicBezTo>
                <a:cubicBezTo>
                  <a:pt x="159" y="308"/>
                  <a:pt x="159" y="308"/>
                  <a:pt x="159" y="308"/>
                </a:cubicBezTo>
                <a:cubicBezTo>
                  <a:pt x="162" y="311"/>
                  <a:pt x="162" y="311"/>
                  <a:pt x="162" y="311"/>
                </a:cubicBezTo>
                <a:cubicBezTo>
                  <a:pt x="161" y="312"/>
                  <a:pt x="161" y="312"/>
                  <a:pt x="161" y="312"/>
                </a:cubicBezTo>
                <a:cubicBezTo>
                  <a:pt x="162" y="313"/>
                  <a:pt x="162" y="313"/>
                  <a:pt x="162" y="313"/>
                </a:cubicBezTo>
                <a:cubicBezTo>
                  <a:pt x="161" y="316"/>
                  <a:pt x="161" y="316"/>
                  <a:pt x="161" y="316"/>
                </a:cubicBezTo>
                <a:cubicBezTo>
                  <a:pt x="162" y="318"/>
                  <a:pt x="162" y="318"/>
                  <a:pt x="162" y="318"/>
                </a:cubicBezTo>
                <a:cubicBezTo>
                  <a:pt x="163" y="319"/>
                  <a:pt x="163" y="319"/>
                  <a:pt x="163" y="319"/>
                </a:cubicBezTo>
                <a:cubicBezTo>
                  <a:pt x="164" y="318"/>
                  <a:pt x="164" y="318"/>
                  <a:pt x="164" y="318"/>
                </a:cubicBezTo>
                <a:cubicBezTo>
                  <a:pt x="164" y="318"/>
                  <a:pt x="164" y="318"/>
                  <a:pt x="164" y="318"/>
                </a:cubicBezTo>
                <a:cubicBezTo>
                  <a:pt x="164" y="322"/>
                  <a:pt x="164" y="322"/>
                  <a:pt x="164" y="322"/>
                </a:cubicBezTo>
                <a:cubicBezTo>
                  <a:pt x="165" y="326"/>
                  <a:pt x="165" y="326"/>
                  <a:pt x="165" y="326"/>
                </a:cubicBezTo>
                <a:cubicBezTo>
                  <a:pt x="169" y="330"/>
                  <a:pt x="169" y="330"/>
                  <a:pt x="169" y="330"/>
                </a:cubicBezTo>
                <a:cubicBezTo>
                  <a:pt x="171" y="331"/>
                  <a:pt x="171" y="331"/>
                  <a:pt x="171" y="331"/>
                </a:cubicBezTo>
                <a:cubicBezTo>
                  <a:pt x="172" y="331"/>
                  <a:pt x="172" y="331"/>
                  <a:pt x="172" y="331"/>
                </a:cubicBezTo>
                <a:cubicBezTo>
                  <a:pt x="174" y="332"/>
                  <a:pt x="174" y="332"/>
                  <a:pt x="174" y="332"/>
                </a:cubicBezTo>
                <a:cubicBezTo>
                  <a:pt x="174" y="334"/>
                  <a:pt x="174" y="334"/>
                  <a:pt x="174" y="334"/>
                </a:cubicBezTo>
                <a:cubicBezTo>
                  <a:pt x="176" y="335"/>
                  <a:pt x="176" y="335"/>
                  <a:pt x="176" y="335"/>
                </a:cubicBezTo>
                <a:cubicBezTo>
                  <a:pt x="176" y="334"/>
                  <a:pt x="176" y="334"/>
                  <a:pt x="176" y="334"/>
                </a:cubicBezTo>
                <a:cubicBezTo>
                  <a:pt x="179" y="338"/>
                  <a:pt x="179" y="338"/>
                  <a:pt x="179" y="338"/>
                </a:cubicBezTo>
                <a:cubicBezTo>
                  <a:pt x="179" y="341"/>
                  <a:pt x="179" y="341"/>
                  <a:pt x="179" y="341"/>
                </a:cubicBezTo>
                <a:cubicBezTo>
                  <a:pt x="181" y="342"/>
                  <a:pt x="181" y="342"/>
                  <a:pt x="181" y="342"/>
                </a:cubicBezTo>
                <a:cubicBezTo>
                  <a:pt x="182" y="344"/>
                  <a:pt x="182" y="344"/>
                  <a:pt x="182" y="344"/>
                </a:cubicBezTo>
                <a:cubicBezTo>
                  <a:pt x="183" y="344"/>
                  <a:pt x="183" y="344"/>
                  <a:pt x="183" y="344"/>
                </a:cubicBezTo>
                <a:cubicBezTo>
                  <a:pt x="186" y="348"/>
                  <a:pt x="186" y="348"/>
                  <a:pt x="186" y="348"/>
                </a:cubicBezTo>
                <a:cubicBezTo>
                  <a:pt x="186" y="349"/>
                  <a:pt x="186" y="349"/>
                  <a:pt x="186" y="349"/>
                </a:cubicBezTo>
                <a:cubicBezTo>
                  <a:pt x="187" y="350"/>
                  <a:pt x="187" y="350"/>
                  <a:pt x="187" y="350"/>
                </a:cubicBezTo>
                <a:cubicBezTo>
                  <a:pt x="187" y="352"/>
                  <a:pt x="187" y="352"/>
                  <a:pt x="187" y="352"/>
                </a:cubicBezTo>
                <a:cubicBezTo>
                  <a:pt x="185" y="354"/>
                  <a:pt x="185" y="354"/>
                  <a:pt x="185" y="354"/>
                </a:cubicBezTo>
                <a:cubicBezTo>
                  <a:pt x="183" y="357"/>
                  <a:pt x="183" y="357"/>
                  <a:pt x="183" y="357"/>
                </a:cubicBezTo>
                <a:cubicBezTo>
                  <a:pt x="188" y="352"/>
                  <a:pt x="188" y="352"/>
                  <a:pt x="188" y="352"/>
                </a:cubicBezTo>
                <a:cubicBezTo>
                  <a:pt x="190" y="351"/>
                  <a:pt x="190" y="351"/>
                  <a:pt x="190" y="351"/>
                </a:cubicBezTo>
                <a:cubicBezTo>
                  <a:pt x="191" y="352"/>
                  <a:pt x="191" y="352"/>
                  <a:pt x="191" y="352"/>
                </a:cubicBezTo>
                <a:cubicBezTo>
                  <a:pt x="192" y="348"/>
                  <a:pt x="192" y="348"/>
                  <a:pt x="192" y="348"/>
                </a:cubicBezTo>
                <a:cubicBezTo>
                  <a:pt x="191" y="342"/>
                  <a:pt x="191" y="342"/>
                  <a:pt x="191" y="342"/>
                </a:cubicBezTo>
                <a:cubicBezTo>
                  <a:pt x="192" y="338"/>
                  <a:pt x="192" y="338"/>
                  <a:pt x="192" y="338"/>
                </a:cubicBezTo>
                <a:cubicBezTo>
                  <a:pt x="193" y="335"/>
                  <a:pt x="193" y="335"/>
                  <a:pt x="193" y="335"/>
                </a:cubicBezTo>
                <a:cubicBezTo>
                  <a:pt x="197" y="334"/>
                  <a:pt x="197" y="334"/>
                  <a:pt x="197" y="334"/>
                </a:cubicBezTo>
                <a:cubicBezTo>
                  <a:pt x="200" y="332"/>
                  <a:pt x="200" y="332"/>
                  <a:pt x="200" y="332"/>
                </a:cubicBezTo>
                <a:cubicBezTo>
                  <a:pt x="202" y="331"/>
                  <a:pt x="202" y="331"/>
                  <a:pt x="202" y="331"/>
                </a:cubicBezTo>
                <a:cubicBezTo>
                  <a:pt x="204" y="330"/>
                  <a:pt x="204" y="330"/>
                  <a:pt x="204" y="330"/>
                </a:cubicBezTo>
                <a:cubicBezTo>
                  <a:pt x="206" y="328"/>
                  <a:pt x="206" y="328"/>
                  <a:pt x="206" y="328"/>
                </a:cubicBezTo>
                <a:cubicBezTo>
                  <a:pt x="207" y="328"/>
                  <a:pt x="207" y="328"/>
                  <a:pt x="207" y="328"/>
                </a:cubicBezTo>
                <a:cubicBezTo>
                  <a:pt x="209" y="327"/>
                  <a:pt x="209" y="327"/>
                  <a:pt x="209" y="327"/>
                </a:cubicBezTo>
                <a:cubicBezTo>
                  <a:pt x="212" y="327"/>
                  <a:pt x="212" y="327"/>
                  <a:pt x="212" y="327"/>
                </a:cubicBezTo>
                <a:cubicBezTo>
                  <a:pt x="212" y="328"/>
                  <a:pt x="212" y="328"/>
                  <a:pt x="212" y="328"/>
                </a:cubicBezTo>
                <a:cubicBezTo>
                  <a:pt x="215" y="328"/>
                  <a:pt x="215" y="328"/>
                  <a:pt x="215" y="328"/>
                </a:cubicBezTo>
                <a:cubicBezTo>
                  <a:pt x="216" y="328"/>
                  <a:pt x="216" y="328"/>
                  <a:pt x="216" y="328"/>
                </a:cubicBezTo>
                <a:cubicBezTo>
                  <a:pt x="219" y="325"/>
                  <a:pt x="219" y="325"/>
                  <a:pt x="219" y="325"/>
                </a:cubicBezTo>
                <a:cubicBezTo>
                  <a:pt x="220" y="322"/>
                  <a:pt x="220" y="322"/>
                  <a:pt x="220" y="322"/>
                </a:cubicBezTo>
                <a:cubicBezTo>
                  <a:pt x="222" y="322"/>
                  <a:pt x="222" y="322"/>
                  <a:pt x="222" y="322"/>
                </a:cubicBezTo>
                <a:cubicBezTo>
                  <a:pt x="224" y="323"/>
                  <a:pt x="224" y="323"/>
                  <a:pt x="224" y="323"/>
                </a:cubicBezTo>
                <a:cubicBezTo>
                  <a:pt x="225" y="322"/>
                  <a:pt x="225" y="322"/>
                  <a:pt x="225" y="322"/>
                </a:cubicBezTo>
                <a:cubicBezTo>
                  <a:pt x="225" y="321"/>
                  <a:pt x="225" y="321"/>
                  <a:pt x="225" y="321"/>
                </a:cubicBezTo>
                <a:cubicBezTo>
                  <a:pt x="227" y="321"/>
                  <a:pt x="227" y="321"/>
                  <a:pt x="227" y="321"/>
                </a:cubicBezTo>
                <a:cubicBezTo>
                  <a:pt x="228" y="322"/>
                  <a:pt x="228" y="322"/>
                  <a:pt x="228" y="322"/>
                </a:cubicBezTo>
                <a:cubicBezTo>
                  <a:pt x="235" y="321"/>
                  <a:pt x="235" y="321"/>
                  <a:pt x="235" y="321"/>
                </a:cubicBezTo>
                <a:cubicBezTo>
                  <a:pt x="240" y="320"/>
                  <a:pt x="240" y="320"/>
                  <a:pt x="240" y="320"/>
                </a:cubicBezTo>
                <a:cubicBezTo>
                  <a:pt x="242" y="318"/>
                  <a:pt x="242" y="318"/>
                  <a:pt x="242" y="318"/>
                </a:cubicBezTo>
                <a:cubicBezTo>
                  <a:pt x="244" y="318"/>
                  <a:pt x="244" y="318"/>
                  <a:pt x="244" y="318"/>
                </a:cubicBezTo>
                <a:cubicBezTo>
                  <a:pt x="245" y="320"/>
                  <a:pt x="245" y="320"/>
                  <a:pt x="245" y="320"/>
                </a:cubicBezTo>
                <a:cubicBezTo>
                  <a:pt x="246" y="319"/>
                  <a:pt x="246" y="319"/>
                  <a:pt x="246" y="319"/>
                </a:cubicBezTo>
                <a:cubicBezTo>
                  <a:pt x="247" y="317"/>
                  <a:pt x="247" y="317"/>
                  <a:pt x="247" y="317"/>
                </a:cubicBezTo>
                <a:cubicBezTo>
                  <a:pt x="251" y="315"/>
                  <a:pt x="251" y="315"/>
                  <a:pt x="251" y="315"/>
                </a:cubicBezTo>
                <a:cubicBezTo>
                  <a:pt x="254" y="315"/>
                  <a:pt x="254" y="315"/>
                  <a:pt x="254" y="315"/>
                </a:cubicBezTo>
                <a:cubicBezTo>
                  <a:pt x="255" y="316"/>
                  <a:pt x="255" y="316"/>
                  <a:pt x="255" y="316"/>
                </a:cubicBezTo>
                <a:cubicBezTo>
                  <a:pt x="256" y="316"/>
                  <a:pt x="256" y="316"/>
                  <a:pt x="256" y="316"/>
                </a:cubicBezTo>
                <a:cubicBezTo>
                  <a:pt x="256" y="317"/>
                  <a:pt x="256" y="317"/>
                  <a:pt x="256" y="317"/>
                </a:cubicBezTo>
                <a:cubicBezTo>
                  <a:pt x="258" y="317"/>
                  <a:pt x="258" y="317"/>
                  <a:pt x="258" y="317"/>
                </a:cubicBezTo>
                <a:cubicBezTo>
                  <a:pt x="259" y="315"/>
                  <a:pt x="259" y="315"/>
                  <a:pt x="259" y="315"/>
                </a:cubicBezTo>
                <a:cubicBezTo>
                  <a:pt x="259" y="314"/>
                  <a:pt x="259" y="314"/>
                  <a:pt x="259" y="314"/>
                </a:cubicBezTo>
                <a:cubicBezTo>
                  <a:pt x="261" y="315"/>
                  <a:pt x="261" y="315"/>
                  <a:pt x="261" y="315"/>
                </a:cubicBezTo>
                <a:cubicBezTo>
                  <a:pt x="261" y="317"/>
                  <a:pt x="261" y="317"/>
                  <a:pt x="261" y="317"/>
                </a:cubicBezTo>
                <a:cubicBezTo>
                  <a:pt x="262" y="318"/>
                  <a:pt x="262" y="318"/>
                  <a:pt x="262" y="318"/>
                </a:cubicBezTo>
                <a:cubicBezTo>
                  <a:pt x="261" y="320"/>
                  <a:pt x="261" y="320"/>
                  <a:pt x="261" y="320"/>
                </a:cubicBezTo>
                <a:cubicBezTo>
                  <a:pt x="260" y="320"/>
                  <a:pt x="260" y="320"/>
                  <a:pt x="260" y="320"/>
                </a:cubicBezTo>
                <a:cubicBezTo>
                  <a:pt x="260" y="322"/>
                  <a:pt x="260" y="322"/>
                  <a:pt x="260" y="322"/>
                </a:cubicBezTo>
                <a:cubicBezTo>
                  <a:pt x="254" y="323"/>
                  <a:pt x="254" y="323"/>
                  <a:pt x="254" y="323"/>
                </a:cubicBezTo>
                <a:cubicBezTo>
                  <a:pt x="249" y="325"/>
                  <a:pt x="249" y="325"/>
                  <a:pt x="249" y="325"/>
                </a:cubicBezTo>
                <a:cubicBezTo>
                  <a:pt x="248" y="327"/>
                  <a:pt x="248" y="327"/>
                  <a:pt x="248" y="327"/>
                </a:cubicBezTo>
                <a:cubicBezTo>
                  <a:pt x="245" y="328"/>
                  <a:pt x="245" y="328"/>
                  <a:pt x="245" y="328"/>
                </a:cubicBezTo>
                <a:cubicBezTo>
                  <a:pt x="243" y="327"/>
                  <a:pt x="243" y="327"/>
                  <a:pt x="243" y="327"/>
                </a:cubicBezTo>
                <a:cubicBezTo>
                  <a:pt x="241" y="329"/>
                  <a:pt x="241" y="329"/>
                  <a:pt x="241" y="329"/>
                </a:cubicBezTo>
                <a:cubicBezTo>
                  <a:pt x="240" y="329"/>
                  <a:pt x="240" y="329"/>
                  <a:pt x="240" y="329"/>
                </a:cubicBezTo>
                <a:cubicBezTo>
                  <a:pt x="239" y="327"/>
                  <a:pt x="239" y="327"/>
                  <a:pt x="239" y="327"/>
                </a:cubicBezTo>
                <a:cubicBezTo>
                  <a:pt x="235" y="329"/>
                  <a:pt x="235" y="329"/>
                  <a:pt x="235" y="329"/>
                </a:cubicBezTo>
                <a:cubicBezTo>
                  <a:pt x="232" y="329"/>
                  <a:pt x="232" y="329"/>
                  <a:pt x="232" y="329"/>
                </a:cubicBezTo>
                <a:cubicBezTo>
                  <a:pt x="231" y="329"/>
                  <a:pt x="231" y="329"/>
                  <a:pt x="231" y="329"/>
                </a:cubicBezTo>
                <a:cubicBezTo>
                  <a:pt x="227" y="329"/>
                  <a:pt x="227" y="329"/>
                  <a:pt x="227" y="329"/>
                </a:cubicBezTo>
                <a:cubicBezTo>
                  <a:pt x="224" y="330"/>
                  <a:pt x="224" y="330"/>
                  <a:pt x="224" y="330"/>
                </a:cubicBezTo>
                <a:cubicBezTo>
                  <a:pt x="222" y="333"/>
                  <a:pt x="222" y="333"/>
                  <a:pt x="222" y="333"/>
                </a:cubicBezTo>
                <a:cubicBezTo>
                  <a:pt x="217" y="335"/>
                  <a:pt x="217" y="335"/>
                  <a:pt x="217" y="335"/>
                </a:cubicBezTo>
                <a:cubicBezTo>
                  <a:pt x="216" y="334"/>
                  <a:pt x="216" y="334"/>
                  <a:pt x="216" y="334"/>
                </a:cubicBezTo>
                <a:cubicBezTo>
                  <a:pt x="213" y="336"/>
                  <a:pt x="213" y="336"/>
                  <a:pt x="213" y="336"/>
                </a:cubicBezTo>
                <a:cubicBezTo>
                  <a:pt x="213" y="338"/>
                  <a:pt x="213" y="338"/>
                  <a:pt x="213" y="338"/>
                </a:cubicBezTo>
                <a:cubicBezTo>
                  <a:pt x="211" y="339"/>
                  <a:pt x="211" y="339"/>
                  <a:pt x="211" y="339"/>
                </a:cubicBezTo>
                <a:cubicBezTo>
                  <a:pt x="210" y="338"/>
                  <a:pt x="210" y="338"/>
                  <a:pt x="210" y="338"/>
                </a:cubicBezTo>
                <a:cubicBezTo>
                  <a:pt x="207" y="340"/>
                  <a:pt x="207" y="340"/>
                  <a:pt x="207" y="340"/>
                </a:cubicBezTo>
                <a:cubicBezTo>
                  <a:pt x="206" y="342"/>
                  <a:pt x="206" y="342"/>
                  <a:pt x="206" y="342"/>
                </a:cubicBezTo>
                <a:cubicBezTo>
                  <a:pt x="204" y="342"/>
                  <a:pt x="204" y="342"/>
                  <a:pt x="204" y="342"/>
                </a:cubicBezTo>
                <a:cubicBezTo>
                  <a:pt x="203" y="344"/>
                  <a:pt x="203" y="344"/>
                  <a:pt x="203" y="344"/>
                </a:cubicBezTo>
                <a:cubicBezTo>
                  <a:pt x="205" y="347"/>
                  <a:pt x="205" y="347"/>
                  <a:pt x="205" y="347"/>
                </a:cubicBezTo>
                <a:cubicBezTo>
                  <a:pt x="208" y="348"/>
                  <a:pt x="208" y="348"/>
                  <a:pt x="208" y="348"/>
                </a:cubicBezTo>
                <a:cubicBezTo>
                  <a:pt x="205" y="345"/>
                  <a:pt x="205" y="345"/>
                  <a:pt x="205" y="345"/>
                </a:cubicBezTo>
                <a:cubicBezTo>
                  <a:pt x="205" y="345"/>
                  <a:pt x="205" y="345"/>
                  <a:pt x="205" y="345"/>
                </a:cubicBezTo>
                <a:cubicBezTo>
                  <a:pt x="208" y="345"/>
                  <a:pt x="208" y="345"/>
                  <a:pt x="208" y="345"/>
                </a:cubicBezTo>
                <a:cubicBezTo>
                  <a:pt x="209" y="344"/>
                  <a:pt x="209" y="344"/>
                  <a:pt x="209" y="344"/>
                </a:cubicBezTo>
                <a:cubicBezTo>
                  <a:pt x="211" y="345"/>
                  <a:pt x="211" y="345"/>
                  <a:pt x="211" y="345"/>
                </a:cubicBezTo>
                <a:cubicBezTo>
                  <a:pt x="210" y="343"/>
                  <a:pt x="210" y="343"/>
                  <a:pt x="210" y="343"/>
                </a:cubicBezTo>
                <a:cubicBezTo>
                  <a:pt x="213" y="340"/>
                  <a:pt x="213" y="340"/>
                  <a:pt x="213" y="340"/>
                </a:cubicBezTo>
                <a:cubicBezTo>
                  <a:pt x="217" y="339"/>
                  <a:pt x="217" y="339"/>
                  <a:pt x="217" y="339"/>
                </a:cubicBezTo>
                <a:cubicBezTo>
                  <a:pt x="220" y="339"/>
                  <a:pt x="220" y="339"/>
                  <a:pt x="220" y="339"/>
                </a:cubicBezTo>
                <a:cubicBezTo>
                  <a:pt x="226" y="335"/>
                  <a:pt x="226" y="335"/>
                  <a:pt x="226" y="335"/>
                </a:cubicBezTo>
                <a:cubicBezTo>
                  <a:pt x="226" y="333"/>
                  <a:pt x="226" y="333"/>
                  <a:pt x="226" y="333"/>
                </a:cubicBezTo>
                <a:cubicBezTo>
                  <a:pt x="228" y="332"/>
                  <a:pt x="228" y="332"/>
                  <a:pt x="228" y="332"/>
                </a:cubicBezTo>
                <a:cubicBezTo>
                  <a:pt x="230" y="334"/>
                  <a:pt x="230" y="334"/>
                  <a:pt x="230" y="334"/>
                </a:cubicBezTo>
                <a:cubicBezTo>
                  <a:pt x="232" y="333"/>
                  <a:pt x="232" y="333"/>
                  <a:pt x="232" y="333"/>
                </a:cubicBezTo>
                <a:cubicBezTo>
                  <a:pt x="233" y="332"/>
                  <a:pt x="233" y="332"/>
                  <a:pt x="233" y="332"/>
                </a:cubicBezTo>
                <a:cubicBezTo>
                  <a:pt x="234" y="333"/>
                  <a:pt x="234" y="333"/>
                  <a:pt x="234" y="333"/>
                </a:cubicBezTo>
                <a:cubicBezTo>
                  <a:pt x="237" y="331"/>
                  <a:pt x="237" y="331"/>
                  <a:pt x="237" y="331"/>
                </a:cubicBezTo>
                <a:cubicBezTo>
                  <a:pt x="238" y="332"/>
                  <a:pt x="238" y="332"/>
                  <a:pt x="238" y="332"/>
                </a:cubicBezTo>
                <a:cubicBezTo>
                  <a:pt x="235" y="336"/>
                  <a:pt x="235" y="336"/>
                  <a:pt x="235" y="336"/>
                </a:cubicBezTo>
                <a:cubicBezTo>
                  <a:pt x="236" y="338"/>
                  <a:pt x="236" y="338"/>
                  <a:pt x="236" y="338"/>
                </a:cubicBezTo>
                <a:cubicBezTo>
                  <a:pt x="238" y="334"/>
                  <a:pt x="238" y="334"/>
                  <a:pt x="238" y="334"/>
                </a:cubicBezTo>
                <a:cubicBezTo>
                  <a:pt x="242" y="333"/>
                  <a:pt x="242" y="333"/>
                  <a:pt x="242" y="333"/>
                </a:cubicBezTo>
                <a:cubicBezTo>
                  <a:pt x="249" y="328"/>
                  <a:pt x="249" y="328"/>
                  <a:pt x="249" y="328"/>
                </a:cubicBezTo>
                <a:cubicBezTo>
                  <a:pt x="253" y="328"/>
                  <a:pt x="253" y="328"/>
                  <a:pt x="253" y="328"/>
                </a:cubicBezTo>
                <a:cubicBezTo>
                  <a:pt x="256" y="326"/>
                  <a:pt x="256" y="326"/>
                  <a:pt x="256" y="326"/>
                </a:cubicBezTo>
                <a:cubicBezTo>
                  <a:pt x="260" y="326"/>
                  <a:pt x="260" y="326"/>
                  <a:pt x="260" y="326"/>
                </a:cubicBezTo>
                <a:cubicBezTo>
                  <a:pt x="262" y="325"/>
                  <a:pt x="262" y="325"/>
                  <a:pt x="262" y="325"/>
                </a:cubicBezTo>
                <a:cubicBezTo>
                  <a:pt x="264" y="325"/>
                  <a:pt x="264" y="325"/>
                  <a:pt x="264" y="325"/>
                </a:cubicBezTo>
                <a:cubicBezTo>
                  <a:pt x="264" y="327"/>
                  <a:pt x="264" y="327"/>
                  <a:pt x="264" y="327"/>
                </a:cubicBezTo>
                <a:cubicBezTo>
                  <a:pt x="260" y="328"/>
                  <a:pt x="260" y="328"/>
                  <a:pt x="260" y="328"/>
                </a:cubicBezTo>
                <a:cubicBezTo>
                  <a:pt x="260" y="330"/>
                  <a:pt x="260" y="330"/>
                  <a:pt x="260" y="330"/>
                </a:cubicBezTo>
                <a:cubicBezTo>
                  <a:pt x="262" y="332"/>
                  <a:pt x="262" y="332"/>
                  <a:pt x="262" y="332"/>
                </a:cubicBezTo>
                <a:cubicBezTo>
                  <a:pt x="265" y="328"/>
                  <a:pt x="265" y="328"/>
                  <a:pt x="265" y="328"/>
                </a:cubicBezTo>
                <a:cubicBezTo>
                  <a:pt x="271" y="326"/>
                  <a:pt x="271" y="326"/>
                  <a:pt x="271" y="326"/>
                </a:cubicBezTo>
                <a:cubicBezTo>
                  <a:pt x="272" y="326"/>
                  <a:pt x="272" y="326"/>
                  <a:pt x="272" y="326"/>
                </a:cubicBezTo>
                <a:cubicBezTo>
                  <a:pt x="272" y="324"/>
                  <a:pt x="272" y="324"/>
                  <a:pt x="272" y="324"/>
                </a:cubicBezTo>
                <a:cubicBezTo>
                  <a:pt x="274" y="322"/>
                  <a:pt x="274" y="322"/>
                  <a:pt x="274" y="322"/>
                </a:cubicBezTo>
                <a:cubicBezTo>
                  <a:pt x="276" y="323"/>
                  <a:pt x="276" y="323"/>
                  <a:pt x="276" y="323"/>
                </a:cubicBezTo>
                <a:cubicBezTo>
                  <a:pt x="276" y="321"/>
                  <a:pt x="276" y="321"/>
                  <a:pt x="276" y="321"/>
                </a:cubicBezTo>
                <a:cubicBezTo>
                  <a:pt x="277" y="320"/>
                  <a:pt x="277" y="320"/>
                  <a:pt x="277" y="320"/>
                </a:cubicBezTo>
                <a:cubicBezTo>
                  <a:pt x="279" y="321"/>
                  <a:pt x="279" y="321"/>
                  <a:pt x="279" y="321"/>
                </a:cubicBezTo>
                <a:cubicBezTo>
                  <a:pt x="281" y="322"/>
                  <a:pt x="281" y="322"/>
                  <a:pt x="281" y="322"/>
                </a:cubicBezTo>
                <a:cubicBezTo>
                  <a:pt x="281" y="318"/>
                  <a:pt x="281" y="318"/>
                  <a:pt x="281" y="318"/>
                </a:cubicBezTo>
                <a:cubicBezTo>
                  <a:pt x="280" y="316"/>
                  <a:pt x="280" y="316"/>
                  <a:pt x="280" y="316"/>
                </a:cubicBezTo>
                <a:cubicBezTo>
                  <a:pt x="281" y="314"/>
                  <a:pt x="281" y="314"/>
                  <a:pt x="281" y="314"/>
                </a:cubicBezTo>
                <a:cubicBezTo>
                  <a:pt x="280" y="313"/>
                  <a:pt x="280" y="313"/>
                  <a:pt x="280" y="313"/>
                </a:cubicBezTo>
                <a:cubicBezTo>
                  <a:pt x="282" y="310"/>
                  <a:pt x="282" y="310"/>
                  <a:pt x="282" y="310"/>
                </a:cubicBezTo>
                <a:cubicBezTo>
                  <a:pt x="286" y="308"/>
                  <a:pt x="286" y="308"/>
                  <a:pt x="286" y="308"/>
                </a:cubicBezTo>
                <a:cubicBezTo>
                  <a:pt x="286" y="311"/>
                  <a:pt x="286" y="311"/>
                  <a:pt x="286" y="311"/>
                </a:cubicBezTo>
                <a:cubicBezTo>
                  <a:pt x="286" y="321"/>
                  <a:pt x="286" y="321"/>
                  <a:pt x="286" y="321"/>
                </a:cubicBezTo>
                <a:cubicBezTo>
                  <a:pt x="285" y="323"/>
                  <a:pt x="285" y="323"/>
                  <a:pt x="285" y="323"/>
                </a:cubicBezTo>
                <a:cubicBezTo>
                  <a:pt x="285" y="331"/>
                  <a:pt x="285" y="331"/>
                  <a:pt x="285" y="331"/>
                </a:cubicBezTo>
                <a:cubicBezTo>
                  <a:pt x="283" y="335"/>
                  <a:pt x="283" y="335"/>
                  <a:pt x="283" y="335"/>
                </a:cubicBezTo>
                <a:cubicBezTo>
                  <a:pt x="283" y="346"/>
                  <a:pt x="283" y="346"/>
                  <a:pt x="283" y="346"/>
                </a:cubicBezTo>
                <a:cubicBezTo>
                  <a:pt x="284" y="349"/>
                  <a:pt x="284" y="349"/>
                  <a:pt x="284" y="349"/>
                </a:cubicBezTo>
                <a:cubicBezTo>
                  <a:pt x="287" y="350"/>
                  <a:pt x="287" y="350"/>
                  <a:pt x="287" y="350"/>
                </a:cubicBezTo>
                <a:cubicBezTo>
                  <a:pt x="288" y="354"/>
                  <a:pt x="288" y="354"/>
                  <a:pt x="288" y="354"/>
                </a:cubicBezTo>
                <a:cubicBezTo>
                  <a:pt x="292" y="351"/>
                  <a:pt x="292" y="351"/>
                  <a:pt x="292" y="351"/>
                </a:cubicBezTo>
                <a:cubicBezTo>
                  <a:pt x="291" y="350"/>
                  <a:pt x="291" y="350"/>
                  <a:pt x="291" y="350"/>
                </a:cubicBezTo>
                <a:cubicBezTo>
                  <a:pt x="289" y="350"/>
                  <a:pt x="289" y="350"/>
                  <a:pt x="289" y="350"/>
                </a:cubicBezTo>
                <a:cubicBezTo>
                  <a:pt x="288" y="348"/>
                  <a:pt x="288" y="348"/>
                  <a:pt x="288" y="348"/>
                </a:cubicBezTo>
                <a:cubicBezTo>
                  <a:pt x="290" y="347"/>
                  <a:pt x="290" y="347"/>
                  <a:pt x="290" y="347"/>
                </a:cubicBezTo>
                <a:cubicBezTo>
                  <a:pt x="293" y="348"/>
                  <a:pt x="293" y="348"/>
                  <a:pt x="293" y="348"/>
                </a:cubicBezTo>
                <a:cubicBezTo>
                  <a:pt x="293" y="345"/>
                  <a:pt x="293" y="345"/>
                  <a:pt x="293" y="345"/>
                </a:cubicBezTo>
                <a:cubicBezTo>
                  <a:pt x="292" y="344"/>
                  <a:pt x="292" y="344"/>
                  <a:pt x="292" y="344"/>
                </a:cubicBezTo>
                <a:cubicBezTo>
                  <a:pt x="294" y="342"/>
                  <a:pt x="294" y="342"/>
                  <a:pt x="294" y="342"/>
                </a:cubicBezTo>
                <a:cubicBezTo>
                  <a:pt x="297" y="342"/>
                  <a:pt x="297" y="342"/>
                  <a:pt x="297" y="342"/>
                </a:cubicBezTo>
                <a:cubicBezTo>
                  <a:pt x="298" y="344"/>
                  <a:pt x="298" y="344"/>
                  <a:pt x="298" y="344"/>
                </a:cubicBezTo>
                <a:cubicBezTo>
                  <a:pt x="300" y="343"/>
                  <a:pt x="300" y="343"/>
                  <a:pt x="300" y="343"/>
                </a:cubicBezTo>
                <a:cubicBezTo>
                  <a:pt x="297" y="338"/>
                  <a:pt x="297" y="338"/>
                  <a:pt x="297" y="338"/>
                </a:cubicBezTo>
                <a:cubicBezTo>
                  <a:pt x="300" y="338"/>
                  <a:pt x="300" y="338"/>
                  <a:pt x="300" y="338"/>
                </a:cubicBezTo>
                <a:cubicBezTo>
                  <a:pt x="304" y="336"/>
                  <a:pt x="304" y="336"/>
                  <a:pt x="304" y="336"/>
                </a:cubicBezTo>
                <a:cubicBezTo>
                  <a:pt x="304" y="334"/>
                  <a:pt x="304" y="334"/>
                  <a:pt x="304" y="334"/>
                </a:cubicBezTo>
                <a:cubicBezTo>
                  <a:pt x="307" y="333"/>
                  <a:pt x="307" y="333"/>
                  <a:pt x="307" y="333"/>
                </a:cubicBezTo>
                <a:cubicBezTo>
                  <a:pt x="307" y="336"/>
                  <a:pt x="307" y="336"/>
                  <a:pt x="307" y="336"/>
                </a:cubicBezTo>
                <a:cubicBezTo>
                  <a:pt x="307" y="338"/>
                  <a:pt x="307" y="338"/>
                  <a:pt x="307" y="338"/>
                </a:cubicBezTo>
                <a:cubicBezTo>
                  <a:pt x="305" y="340"/>
                  <a:pt x="305" y="340"/>
                  <a:pt x="305" y="340"/>
                </a:cubicBezTo>
                <a:cubicBezTo>
                  <a:pt x="305" y="341"/>
                  <a:pt x="305" y="341"/>
                  <a:pt x="305" y="341"/>
                </a:cubicBezTo>
                <a:cubicBezTo>
                  <a:pt x="303" y="343"/>
                  <a:pt x="303" y="343"/>
                  <a:pt x="303" y="343"/>
                </a:cubicBezTo>
                <a:cubicBezTo>
                  <a:pt x="303" y="344"/>
                  <a:pt x="303" y="344"/>
                  <a:pt x="303" y="344"/>
                </a:cubicBezTo>
                <a:cubicBezTo>
                  <a:pt x="304" y="345"/>
                  <a:pt x="304" y="345"/>
                  <a:pt x="304" y="345"/>
                </a:cubicBezTo>
                <a:cubicBezTo>
                  <a:pt x="305" y="345"/>
                  <a:pt x="305" y="345"/>
                  <a:pt x="305" y="345"/>
                </a:cubicBezTo>
                <a:cubicBezTo>
                  <a:pt x="306" y="346"/>
                  <a:pt x="306" y="346"/>
                  <a:pt x="306" y="346"/>
                </a:cubicBezTo>
                <a:cubicBezTo>
                  <a:pt x="306" y="347"/>
                  <a:pt x="306" y="347"/>
                  <a:pt x="306" y="347"/>
                </a:cubicBezTo>
                <a:cubicBezTo>
                  <a:pt x="304" y="348"/>
                  <a:pt x="304" y="348"/>
                  <a:pt x="304" y="348"/>
                </a:cubicBezTo>
                <a:cubicBezTo>
                  <a:pt x="301" y="350"/>
                  <a:pt x="301" y="350"/>
                  <a:pt x="301" y="350"/>
                </a:cubicBezTo>
                <a:cubicBezTo>
                  <a:pt x="300" y="350"/>
                  <a:pt x="300" y="350"/>
                  <a:pt x="300" y="350"/>
                </a:cubicBezTo>
                <a:cubicBezTo>
                  <a:pt x="299" y="351"/>
                  <a:pt x="299" y="351"/>
                  <a:pt x="299" y="351"/>
                </a:cubicBezTo>
                <a:cubicBezTo>
                  <a:pt x="297" y="354"/>
                  <a:pt x="297" y="354"/>
                  <a:pt x="297" y="354"/>
                </a:cubicBezTo>
                <a:cubicBezTo>
                  <a:pt x="299" y="355"/>
                  <a:pt x="299" y="355"/>
                  <a:pt x="299" y="355"/>
                </a:cubicBezTo>
                <a:cubicBezTo>
                  <a:pt x="302" y="355"/>
                  <a:pt x="302" y="355"/>
                  <a:pt x="302" y="355"/>
                </a:cubicBezTo>
                <a:cubicBezTo>
                  <a:pt x="304" y="357"/>
                  <a:pt x="304" y="357"/>
                  <a:pt x="304" y="357"/>
                </a:cubicBezTo>
                <a:cubicBezTo>
                  <a:pt x="307" y="357"/>
                  <a:pt x="307" y="357"/>
                  <a:pt x="307" y="357"/>
                </a:cubicBezTo>
                <a:cubicBezTo>
                  <a:pt x="309" y="355"/>
                  <a:pt x="309" y="355"/>
                  <a:pt x="309" y="355"/>
                </a:cubicBezTo>
                <a:cubicBezTo>
                  <a:pt x="311" y="354"/>
                  <a:pt x="311" y="354"/>
                  <a:pt x="311" y="354"/>
                </a:cubicBezTo>
                <a:cubicBezTo>
                  <a:pt x="314" y="350"/>
                  <a:pt x="314" y="350"/>
                  <a:pt x="314" y="350"/>
                </a:cubicBezTo>
                <a:cubicBezTo>
                  <a:pt x="316" y="347"/>
                  <a:pt x="316" y="347"/>
                  <a:pt x="316" y="347"/>
                </a:cubicBezTo>
                <a:cubicBezTo>
                  <a:pt x="319" y="346"/>
                  <a:pt x="319" y="346"/>
                  <a:pt x="319" y="346"/>
                </a:cubicBezTo>
                <a:cubicBezTo>
                  <a:pt x="321" y="348"/>
                  <a:pt x="321" y="348"/>
                  <a:pt x="321" y="348"/>
                </a:cubicBezTo>
                <a:cubicBezTo>
                  <a:pt x="323" y="348"/>
                  <a:pt x="323" y="348"/>
                  <a:pt x="323" y="348"/>
                </a:cubicBezTo>
                <a:cubicBezTo>
                  <a:pt x="325" y="350"/>
                  <a:pt x="325" y="350"/>
                  <a:pt x="325" y="350"/>
                </a:cubicBezTo>
                <a:cubicBezTo>
                  <a:pt x="327" y="350"/>
                  <a:pt x="327" y="350"/>
                  <a:pt x="327" y="350"/>
                </a:cubicBezTo>
                <a:cubicBezTo>
                  <a:pt x="330" y="352"/>
                  <a:pt x="330" y="352"/>
                  <a:pt x="330" y="352"/>
                </a:cubicBezTo>
                <a:cubicBezTo>
                  <a:pt x="332" y="352"/>
                  <a:pt x="332" y="352"/>
                  <a:pt x="332" y="352"/>
                </a:cubicBezTo>
                <a:cubicBezTo>
                  <a:pt x="332" y="354"/>
                  <a:pt x="332" y="354"/>
                  <a:pt x="332" y="354"/>
                </a:cubicBezTo>
                <a:cubicBezTo>
                  <a:pt x="334" y="360"/>
                  <a:pt x="334" y="360"/>
                  <a:pt x="334" y="360"/>
                </a:cubicBezTo>
                <a:cubicBezTo>
                  <a:pt x="334" y="363"/>
                  <a:pt x="334" y="363"/>
                  <a:pt x="334" y="363"/>
                </a:cubicBezTo>
                <a:cubicBezTo>
                  <a:pt x="337" y="367"/>
                  <a:pt x="337" y="367"/>
                  <a:pt x="337" y="367"/>
                </a:cubicBezTo>
                <a:cubicBezTo>
                  <a:pt x="347" y="374"/>
                  <a:pt x="347" y="374"/>
                  <a:pt x="347" y="374"/>
                </a:cubicBezTo>
                <a:cubicBezTo>
                  <a:pt x="348" y="376"/>
                  <a:pt x="348" y="376"/>
                  <a:pt x="348" y="376"/>
                </a:cubicBezTo>
                <a:cubicBezTo>
                  <a:pt x="351" y="378"/>
                  <a:pt x="351" y="378"/>
                  <a:pt x="351" y="378"/>
                </a:cubicBezTo>
                <a:cubicBezTo>
                  <a:pt x="355" y="381"/>
                  <a:pt x="355" y="381"/>
                  <a:pt x="355" y="381"/>
                </a:cubicBezTo>
                <a:cubicBezTo>
                  <a:pt x="356" y="381"/>
                  <a:pt x="356" y="381"/>
                  <a:pt x="356" y="381"/>
                </a:cubicBezTo>
                <a:cubicBezTo>
                  <a:pt x="359" y="383"/>
                  <a:pt x="359" y="383"/>
                  <a:pt x="359" y="383"/>
                </a:cubicBezTo>
                <a:cubicBezTo>
                  <a:pt x="359" y="385"/>
                  <a:pt x="359" y="385"/>
                  <a:pt x="359" y="385"/>
                </a:cubicBezTo>
                <a:cubicBezTo>
                  <a:pt x="361" y="386"/>
                  <a:pt x="361" y="386"/>
                  <a:pt x="361" y="386"/>
                </a:cubicBezTo>
                <a:cubicBezTo>
                  <a:pt x="362" y="385"/>
                  <a:pt x="362" y="385"/>
                  <a:pt x="362" y="385"/>
                </a:cubicBezTo>
                <a:cubicBezTo>
                  <a:pt x="363" y="387"/>
                  <a:pt x="363" y="387"/>
                  <a:pt x="363" y="387"/>
                </a:cubicBezTo>
                <a:cubicBezTo>
                  <a:pt x="367" y="389"/>
                  <a:pt x="367" y="389"/>
                  <a:pt x="367" y="389"/>
                </a:cubicBezTo>
                <a:cubicBezTo>
                  <a:pt x="369" y="389"/>
                  <a:pt x="369" y="389"/>
                  <a:pt x="369" y="389"/>
                </a:cubicBezTo>
                <a:cubicBezTo>
                  <a:pt x="369" y="391"/>
                  <a:pt x="369" y="391"/>
                  <a:pt x="369" y="391"/>
                </a:cubicBezTo>
                <a:cubicBezTo>
                  <a:pt x="370" y="393"/>
                  <a:pt x="370" y="393"/>
                  <a:pt x="370" y="393"/>
                </a:cubicBezTo>
                <a:cubicBezTo>
                  <a:pt x="371" y="391"/>
                  <a:pt x="371" y="391"/>
                  <a:pt x="371" y="391"/>
                </a:cubicBezTo>
                <a:cubicBezTo>
                  <a:pt x="370" y="390"/>
                  <a:pt x="370" y="390"/>
                  <a:pt x="370" y="390"/>
                </a:cubicBezTo>
                <a:cubicBezTo>
                  <a:pt x="371" y="388"/>
                  <a:pt x="371" y="388"/>
                  <a:pt x="371" y="388"/>
                </a:cubicBezTo>
                <a:cubicBezTo>
                  <a:pt x="368" y="387"/>
                  <a:pt x="368" y="387"/>
                  <a:pt x="368" y="387"/>
                </a:cubicBezTo>
                <a:cubicBezTo>
                  <a:pt x="368" y="385"/>
                  <a:pt x="368" y="385"/>
                  <a:pt x="368" y="385"/>
                </a:cubicBezTo>
                <a:cubicBezTo>
                  <a:pt x="372" y="387"/>
                  <a:pt x="372" y="387"/>
                  <a:pt x="372" y="387"/>
                </a:cubicBezTo>
                <a:cubicBezTo>
                  <a:pt x="373" y="389"/>
                  <a:pt x="373" y="389"/>
                  <a:pt x="373" y="389"/>
                </a:cubicBezTo>
                <a:cubicBezTo>
                  <a:pt x="374" y="389"/>
                  <a:pt x="374" y="389"/>
                  <a:pt x="374" y="389"/>
                </a:cubicBezTo>
                <a:cubicBezTo>
                  <a:pt x="374" y="387"/>
                  <a:pt x="374" y="387"/>
                  <a:pt x="374" y="387"/>
                </a:cubicBezTo>
                <a:cubicBezTo>
                  <a:pt x="375" y="387"/>
                  <a:pt x="375" y="387"/>
                  <a:pt x="375" y="387"/>
                </a:cubicBezTo>
                <a:cubicBezTo>
                  <a:pt x="379" y="390"/>
                  <a:pt x="379" y="390"/>
                  <a:pt x="379" y="390"/>
                </a:cubicBezTo>
                <a:cubicBezTo>
                  <a:pt x="379" y="392"/>
                  <a:pt x="379" y="392"/>
                  <a:pt x="379" y="392"/>
                </a:cubicBezTo>
                <a:cubicBezTo>
                  <a:pt x="381" y="392"/>
                  <a:pt x="381" y="392"/>
                  <a:pt x="381" y="392"/>
                </a:cubicBezTo>
                <a:cubicBezTo>
                  <a:pt x="382" y="395"/>
                  <a:pt x="382" y="395"/>
                  <a:pt x="382" y="395"/>
                </a:cubicBezTo>
                <a:cubicBezTo>
                  <a:pt x="383" y="398"/>
                  <a:pt x="383" y="398"/>
                  <a:pt x="383" y="398"/>
                </a:cubicBezTo>
                <a:cubicBezTo>
                  <a:pt x="384" y="401"/>
                  <a:pt x="384" y="401"/>
                  <a:pt x="384" y="401"/>
                </a:cubicBezTo>
                <a:cubicBezTo>
                  <a:pt x="385" y="403"/>
                  <a:pt x="385" y="403"/>
                  <a:pt x="385" y="403"/>
                </a:cubicBezTo>
                <a:cubicBezTo>
                  <a:pt x="384" y="406"/>
                  <a:pt x="384" y="406"/>
                  <a:pt x="384" y="406"/>
                </a:cubicBezTo>
                <a:cubicBezTo>
                  <a:pt x="383" y="408"/>
                  <a:pt x="383" y="408"/>
                  <a:pt x="383" y="408"/>
                </a:cubicBezTo>
                <a:cubicBezTo>
                  <a:pt x="381" y="411"/>
                  <a:pt x="381" y="411"/>
                  <a:pt x="381" y="411"/>
                </a:cubicBezTo>
                <a:cubicBezTo>
                  <a:pt x="376" y="409"/>
                  <a:pt x="376" y="409"/>
                  <a:pt x="376" y="409"/>
                </a:cubicBezTo>
                <a:cubicBezTo>
                  <a:pt x="373" y="409"/>
                  <a:pt x="373" y="409"/>
                  <a:pt x="373" y="409"/>
                </a:cubicBezTo>
                <a:cubicBezTo>
                  <a:pt x="373" y="410"/>
                  <a:pt x="373" y="410"/>
                  <a:pt x="373" y="410"/>
                </a:cubicBezTo>
                <a:cubicBezTo>
                  <a:pt x="372" y="410"/>
                  <a:pt x="372" y="410"/>
                  <a:pt x="372" y="410"/>
                </a:cubicBezTo>
                <a:cubicBezTo>
                  <a:pt x="369" y="409"/>
                  <a:pt x="369" y="409"/>
                  <a:pt x="369" y="409"/>
                </a:cubicBezTo>
                <a:cubicBezTo>
                  <a:pt x="367" y="409"/>
                  <a:pt x="367" y="409"/>
                  <a:pt x="367" y="409"/>
                </a:cubicBezTo>
                <a:cubicBezTo>
                  <a:pt x="367" y="411"/>
                  <a:pt x="367" y="411"/>
                  <a:pt x="367" y="411"/>
                </a:cubicBezTo>
                <a:cubicBezTo>
                  <a:pt x="365" y="412"/>
                  <a:pt x="365" y="412"/>
                  <a:pt x="365" y="412"/>
                </a:cubicBezTo>
                <a:cubicBezTo>
                  <a:pt x="365" y="415"/>
                  <a:pt x="365" y="415"/>
                  <a:pt x="365" y="415"/>
                </a:cubicBezTo>
                <a:cubicBezTo>
                  <a:pt x="362" y="415"/>
                  <a:pt x="362" y="415"/>
                  <a:pt x="362" y="415"/>
                </a:cubicBezTo>
                <a:cubicBezTo>
                  <a:pt x="360" y="415"/>
                  <a:pt x="360" y="415"/>
                  <a:pt x="360" y="415"/>
                </a:cubicBezTo>
                <a:cubicBezTo>
                  <a:pt x="361" y="417"/>
                  <a:pt x="361" y="417"/>
                  <a:pt x="361" y="417"/>
                </a:cubicBezTo>
                <a:cubicBezTo>
                  <a:pt x="364" y="418"/>
                  <a:pt x="364" y="418"/>
                  <a:pt x="364" y="418"/>
                </a:cubicBezTo>
                <a:cubicBezTo>
                  <a:pt x="364" y="420"/>
                  <a:pt x="364" y="420"/>
                  <a:pt x="364" y="420"/>
                </a:cubicBezTo>
                <a:cubicBezTo>
                  <a:pt x="366" y="422"/>
                  <a:pt x="366" y="422"/>
                  <a:pt x="366" y="422"/>
                </a:cubicBezTo>
                <a:cubicBezTo>
                  <a:pt x="368" y="421"/>
                  <a:pt x="368" y="421"/>
                  <a:pt x="368" y="421"/>
                </a:cubicBezTo>
                <a:cubicBezTo>
                  <a:pt x="371" y="423"/>
                  <a:pt x="371" y="423"/>
                  <a:pt x="371" y="423"/>
                </a:cubicBezTo>
                <a:cubicBezTo>
                  <a:pt x="371" y="426"/>
                  <a:pt x="371" y="426"/>
                  <a:pt x="371" y="426"/>
                </a:cubicBezTo>
                <a:cubicBezTo>
                  <a:pt x="374" y="426"/>
                  <a:pt x="374" y="426"/>
                  <a:pt x="374" y="426"/>
                </a:cubicBezTo>
                <a:cubicBezTo>
                  <a:pt x="378" y="428"/>
                  <a:pt x="378" y="428"/>
                  <a:pt x="378" y="428"/>
                </a:cubicBezTo>
                <a:cubicBezTo>
                  <a:pt x="382" y="428"/>
                  <a:pt x="382" y="428"/>
                  <a:pt x="382" y="428"/>
                </a:cubicBezTo>
                <a:cubicBezTo>
                  <a:pt x="387" y="430"/>
                  <a:pt x="387" y="430"/>
                  <a:pt x="387" y="430"/>
                </a:cubicBezTo>
                <a:cubicBezTo>
                  <a:pt x="390" y="431"/>
                  <a:pt x="390" y="431"/>
                  <a:pt x="390" y="431"/>
                </a:cubicBezTo>
                <a:cubicBezTo>
                  <a:pt x="390" y="429"/>
                  <a:pt x="390" y="429"/>
                  <a:pt x="390" y="429"/>
                </a:cubicBezTo>
                <a:cubicBezTo>
                  <a:pt x="391" y="429"/>
                  <a:pt x="391" y="429"/>
                  <a:pt x="391" y="429"/>
                </a:cubicBezTo>
                <a:cubicBezTo>
                  <a:pt x="394" y="430"/>
                  <a:pt x="394" y="430"/>
                  <a:pt x="394" y="430"/>
                </a:cubicBezTo>
                <a:cubicBezTo>
                  <a:pt x="393" y="432"/>
                  <a:pt x="393" y="432"/>
                  <a:pt x="393" y="432"/>
                </a:cubicBezTo>
                <a:cubicBezTo>
                  <a:pt x="397" y="429"/>
                  <a:pt x="397" y="429"/>
                  <a:pt x="397" y="429"/>
                </a:cubicBezTo>
                <a:cubicBezTo>
                  <a:pt x="398" y="431"/>
                  <a:pt x="398" y="431"/>
                  <a:pt x="398" y="431"/>
                </a:cubicBezTo>
                <a:cubicBezTo>
                  <a:pt x="400" y="431"/>
                  <a:pt x="400" y="431"/>
                  <a:pt x="400" y="431"/>
                </a:cubicBezTo>
                <a:cubicBezTo>
                  <a:pt x="401" y="429"/>
                  <a:pt x="401" y="429"/>
                  <a:pt x="401" y="429"/>
                </a:cubicBezTo>
                <a:cubicBezTo>
                  <a:pt x="402" y="429"/>
                  <a:pt x="402" y="429"/>
                  <a:pt x="402" y="429"/>
                </a:cubicBezTo>
                <a:cubicBezTo>
                  <a:pt x="402" y="430"/>
                  <a:pt x="402" y="430"/>
                  <a:pt x="402" y="430"/>
                </a:cubicBezTo>
                <a:cubicBezTo>
                  <a:pt x="404" y="431"/>
                  <a:pt x="404" y="431"/>
                  <a:pt x="404" y="431"/>
                </a:cubicBezTo>
                <a:cubicBezTo>
                  <a:pt x="407" y="428"/>
                  <a:pt x="407" y="428"/>
                  <a:pt x="407" y="428"/>
                </a:cubicBezTo>
                <a:cubicBezTo>
                  <a:pt x="414" y="426"/>
                  <a:pt x="414" y="426"/>
                  <a:pt x="414" y="426"/>
                </a:cubicBezTo>
                <a:cubicBezTo>
                  <a:pt x="416" y="426"/>
                  <a:pt x="416" y="426"/>
                  <a:pt x="416" y="426"/>
                </a:cubicBezTo>
                <a:cubicBezTo>
                  <a:pt x="416" y="428"/>
                  <a:pt x="416" y="428"/>
                  <a:pt x="416" y="428"/>
                </a:cubicBezTo>
                <a:cubicBezTo>
                  <a:pt x="415" y="429"/>
                  <a:pt x="415" y="429"/>
                  <a:pt x="415" y="429"/>
                </a:cubicBezTo>
                <a:cubicBezTo>
                  <a:pt x="415" y="430"/>
                  <a:pt x="415" y="430"/>
                  <a:pt x="415" y="430"/>
                </a:cubicBezTo>
                <a:cubicBezTo>
                  <a:pt x="417" y="430"/>
                  <a:pt x="417" y="430"/>
                  <a:pt x="417" y="430"/>
                </a:cubicBezTo>
                <a:cubicBezTo>
                  <a:pt x="417" y="433"/>
                  <a:pt x="417" y="433"/>
                  <a:pt x="417" y="433"/>
                </a:cubicBezTo>
                <a:cubicBezTo>
                  <a:pt x="416" y="434"/>
                  <a:pt x="416" y="434"/>
                  <a:pt x="416" y="434"/>
                </a:cubicBezTo>
                <a:cubicBezTo>
                  <a:pt x="417" y="436"/>
                  <a:pt x="417" y="436"/>
                  <a:pt x="417" y="436"/>
                </a:cubicBezTo>
                <a:cubicBezTo>
                  <a:pt x="418" y="436"/>
                  <a:pt x="418" y="436"/>
                  <a:pt x="418" y="436"/>
                </a:cubicBezTo>
                <a:cubicBezTo>
                  <a:pt x="419" y="435"/>
                  <a:pt x="419" y="435"/>
                  <a:pt x="419" y="435"/>
                </a:cubicBezTo>
                <a:cubicBezTo>
                  <a:pt x="421" y="436"/>
                  <a:pt x="421" y="436"/>
                  <a:pt x="421" y="436"/>
                </a:cubicBezTo>
                <a:cubicBezTo>
                  <a:pt x="420" y="438"/>
                  <a:pt x="420" y="438"/>
                  <a:pt x="420" y="438"/>
                </a:cubicBezTo>
                <a:cubicBezTo>
                  <a:pt x="419" y="442"/>
                  <a:pt x="419" y="442"/>
                  <a:pt x="419" y="442"/>
                </a:cubicBezTo>
                <a:cubicBezTo>
                  <a:pt x="419" y="445"/>
                  <a:pt x="419" y="445"/>
                  <a:pt x="419" y="445"/>
                </a:cubicBezTo>
                <a:cubicBezTo>
                  <a:pt x="420" y="445"/>
                  <a:pt x="420" y="445"/>
                  <a:pt x="420" y="445"/>
                </a:cubicBezTo>
                <a:cubicBezTo>
                  <a:pt x="422" y="443"/>
                  <a:pt x="422" y="443"/>
                  <a:pt x="422" y="443"/>
                </a:cubicBezTo>
                <a:cubicBezTo>
                  <a:pt x="422" y="440"/>
                  <a:pt x="422" y="440"/>
                  <a:pt x="422" y="440"/>
                </a:cubicBezTo>
                <a:cubicBezTo>
                  <a:pt x="423" y="439"/>
                  <a:pt x="423" y="439"/>
                  <a:pt x="423" y="439"/>
                </a:cubicBezTo>
                <a:cubicBezTo>
                  <a:pt x="424" y="439"/>
                  <a:pt x="424" y="439"/>
                  <a:pt x="424" y="439"/>
                </a:cubicBezTo>
                <a:cubicBezTo>
                  <a:pt x="423" y="442"/>
                  <a:pt x="423" y="442"/>
                  <a:pt x="423" y="442"/>
                </a:cubicBezTo>
                <a:cubicBezTo>
                  <a:pt x="422" y="446"/>
                  <a:pt x="422" y="446"/>
                  <a:pt x="422" y="446"/>
                </a:cubicBezTo>
                <a:cubicBezTo>
                  <a:pt x="420" y="449"/>
                  <a:pt x="420" y="449"/>
                  <a:pt x="420" y="449"/>
                </a:cubicBezTo>
                <a:cubicBezTo>
                  <a:pt x="420" y="453"/>
                  <a:pt x="420" y="453"/>
                  <a:pt x="420" y="453"/>
                </a:cubicBezTo>
                <a:cubicBezTo>
                  <a:pt x="421" y="456"/>
                  <a:pt x="421" y="456"/>
                  <a:pt x="421" y="456"/>
                </a:cubicBezTo>
                <a:cubicBezTo>
                  <a:pt x="422" y="460"/>
                  <a:pt x="422" y="460"/>
                  <a:pt x="422" y="460"/>
                </a:cubicBezTo>
                <a:cubicBezTo>
                  <a:pt x="421" y="463"/>
                  <a:pt x="421" y="463"/>
                  <a:pt x="421" y="463"/>
                </a:cubicBezTo>
                <a:cubicBezTo>
                  <a:pt x="423" y="465"/>
                  <a:pt x="423" y="465"/>
                  <a:pt x="423" y="465"/>
                </a:cubicBezTo>
                <a:cubicBezTo>
                  <a:pt x="423" y="466"/>
                  <a:pt x="423" y="466"/>
                  <a:pt x="423" y="466"/>
                </a:cubicBezTo>
                <a:cubicBezTo>
                  <a:pt x="422" y="468"/>
                  <a:pt x="422" y="468"/>
                  <a:pt x="422" y="468"/>
                </a:cubicBezTo>
                <a:cubicBezTo>
                  <a:pt x="423" y="470"/>
                  <a:pt x="423" y="470"/>
                  <a:pt x="423" y="470"/>
                </a:cubicBezTo>
                <a:cubicBezTo>
                  <a:pt x="425" y="473"/>
                  <a:pt x="425" y="473"/>
                  <a:pt x="425" y="473"/>
                </a:cubicBezTo>
                <a:cubicBezTo>
                  <a:pt x="425" y="481"/>
                  <a:pt x="425" y="481"/>
                  <a:pt x="425" y="481"/>
                </a:cubicBezTo>
                <a:cubicBezTo>
                  <a:pt x="425" y="473"/>
                  <a:pt x="425" y="473"/>
                  <a:pt x="425" y="473"/>
                </a:cubicBezTo>
                <a:cubicBezTo>
                  <a:pt x="424" y="467"/>
                  <a:pt x="424" y="467"/>
                  <a:pt x="424" y="467"/>
                </a:cubicBezTo>
                <a:cubicBezTo>
                  <a:pt x="425" y="462"/>
                  <a:pt x="425" y="462"/>
                  <a:pt x="425" y="462"/>
                </a:cubicBezTo>
                <a:cubicBezTo>
                  <a:pt x="427" y="457"/>
                  <a:pt x="427" y="457"/>
                  <a:pt x="427" y="457"/>
                </a:cubicBezTo>
                <a:cubicBezTo>
                  <a:pt x="429" y="457"/>
                  <a:pt x="429" y="457"/>
                  <a:pt x="429" y="457"/>
                </a:cubicBezTo>
                <a:cubicBezTo>
                  <a:pt x="429" y="459"/>
                  <a:pt x="429" y="459"/>
                  <a:pt x="429" y="459"/>
                </a:cubicBezTo>
                <a:cubicBezTo>
                  <a:pt x="428" y="459"/>
                  <a:pt x="428" y="459"/>
                  <a:pt x="428" y="459"/>
                </a:cubicBezTo>
                <a:cubicBezTo>
                  <a:pt x="428" y="461"/>
                  <a:pt x="428" y="461"/>
                  <a:pt x="428" y="461"/>
                </a:cubicBezTo>
                <a:cubicBezTo>
                  <a:pt x="429" y="462"/>
                  <a:pt x="429" y="462"/>
                  <a:pt x="429" y="462"/>
                </a:cubicBezTo>
                <a:cubicBezTo>
                  <a:pt x="430" y="461"/>
                  <a:pt x="430" y="461"/>
                  <a:pt x="430" y="461"/>
                </a:cubicBezTo>
                <a:cubicBezTo>
                  <a:pt x="431" y="462"/>
                  <a:pt x="431" y="462"/>
                  <a:pt x="431" y="462"/>
                </a:cubicBezTo>
                <a:cubicBezTo>
                  <a:pt x="432" y="461"/>
                  <a:pt x="432" y="461"/>
                  <a:pt x="432" y="461"/>
                </a:cubicBezTo>
                <a:cubicBezTo>
                  <a:pt x="432" y="458"/>
                  <a:pt x="432" y="458"/>
                  <a:pt x="432" y="458"/>
                </a:cubicBezTo>
                <a:cubicBezTo>
                  <a:pt x="431" y="456"/>
                  <a:pt x="431" y="456"/>
                  <a:pt x="431" y="456"/>
                </a:cubicBezTo>
                <a:cubicBezTo>
                  <a:pt x="430" y="455"/>
                  <a:pt x="430" y="455"/>
                  <a:pt x="430" y="455"/>
                </a:cubicBezTo>
                <a:cubicBezTo>
                  <a:pt x="433" y="454"/>
                  <a:pt x="433" y="454"/>
                  <a:pt x="433" y="454"/>
                </a:cubicBezTo>
                <a:cubicBezTo>
                  <a:pt x="433" y="453"/>
                  <a:pt x="433" y="453"/>
                  <a:pt x="433" y="453"/>
                </a:cubicBezTo>
                <a:cubicBezTo>
                  <a:pt x="431" y="451"/>
                  <a:pt x="431" y="451"/>
                  <a:pt x="431" y="451"/>
                </a:cubicBezTo>
                <a:cubicBezTo>
                  <a:pt x="431" y="449"/>
                  <a:pt x="431" y="449"/>
                  <a:pt x="431" y="449"/>
                </a:cubicBezTo>
                <a:cubicBezTo>
                  <a:pt x="432" y="445"/>
                  <a:pt x="432" y="445"/>
                  <a:pt x="432" y="445"/>
                </a:cubicBezTo>
                <a:cubicBezTo>
                  <a:pt x="435" y="439"/>
                  <a:pt x="435" y="439"/>
                  <a:pt x="435" y="439"/>
                </a:cubicBezTo>
                <a:cubicBezTo>
                  <a:pt x="434" y="437"/>
                  <a:pt x="434" y="437"/>
                  <a:pt x="434" y="437"/>
                </a:cubicBezTo>
                <a:cubicBezTo>
                  <a:pt x="434" y="435"/>
                  <a:pt x="434" y="435"/>
                  <a:pt x="434" y="435"/>
                </a:cubicBezTo>
                <a:cubicBezTo>
                  <a:pt x="436" y="434"/>
                  <a:pt x="436" y="434"/>
                  <a:pt x="436" y="434"/>
                </a:cubicBezTo>
                <a:cubicBezTo>
                  <a:pt x="439" y="433"/>
                  <a:pt x="439" y="433"/>
                  <a:pt x="439" y="433"/>
                </a:cubicBezTo>
                <a:cubicBezTo>
                  <a:pt x="439" y="432"/>
                  <a:pt x="439" y="432"/>
                  <a:pt x="439" y="432"/>
                </a:cubicBezTo>
                <a:cubicBezTo>
                  <a:pt x="440" y="431"/>
                  <a:pt x="440" y="431"/>
                  <a:pt x="440" y="431"/>
                </a:cubicBezTo>
                <a:cubicBezTo>
                  <a:pt x="442" y="431"/>
                  <a:pt x="442" y="431"/>
                  <a:pt x="442" y="431"/>
                </a:cubicBezTo>
                <a:cubicBezTo>
                  <a:pt x="443" y="432"/>
                  <a:pt x="443" y="432"/>
                  <a:pt x="443" y="432"/>
                </a:cubicBezTo>
                <a:cubicBezTo>
                  <a:pt x="445" y="431"/>
                  <a:pt x="445" y="431"/>
                  <a:pt x="445" y="431"/>
                </a:cubicBezTo>
                <a:cubicBezTo>
                  <a:pt x="446" y="429"/>
                  <a:pt x="446" y="429"/>
                  <a:pt x="446" y="429"/>
                </a:cubicBezTo>
                <a:cubicBezTo>
                  <a:pt x="447" y="429"/>
                  <a:pt x="447" y="429"/>
                  <a:pt x="447" y="429"/>
                </a:cubicBezTo>
                <a:cubicBezTo>
                  <a:pt x="447" y="431"/>
                  <a:pt x="447" y="431"/>
                  <a:pt x="447" y="431"/>
                </a:cubicBezTo>
                <a:cubicBezTo>
                  <a:pt x="449" y="430"/>
                  <a:pt x="449" y="430"/>
                  <a:pt x="449" y="430"/>
                </a:cubicBezTo>
                <a:cubicBezTo>
                  <a:pt x="451" y="430"/>
                  <a:pt x="451" y="430"/>
                  <a:pt x="451" y="430"/>
                </a:cubicBezTo>
                <a:cubicBezTo>
                  <a:pt x="453" y="427"/>
                  <a:pt x="453" y="427"/>
                  <a:pt x="453" y="427"/>
                </a:cubicBezTo>
                <a:cubicBezTo>
                  <a:pt x="454" y="427"/>
                  <a:pt x="454" y="427"/>
                  <a:pt x="454" y="427"/>
                </a:cubicBezTo>
                <a:cubicBezTo>
                  <a:pt x="455" y="429"/>
                  <a:pt x="455" y="429"/>
                  <a:pt x="455" y="429"/>
                </a:cubicBezTo>
                <a:cubicBezTo>
                  <a:pt x="456" y="429"/>
                  <a:pt x="456" y="429"/>
                  <a:pt x="456" y="429"/>
                </a:cubicBezTo>
                <a:cubicBezTo>
                  <a:pt x="456" y="432"/>
                  <a:pt x="456" y="432"/>
                  <a:pt x="456" y="432"/>
                </a:cubicBezTo>
                <a:cubicBezTo>
                  <a:pt x="456" y="429"/>
                  <a:pt x="456" y="429"/>
                  <a:pt x="456" y="429"/>
                </a:cubicBezTo>
                <a:cubicBezTo>
                  <a:pt x="456" y="427"/>
                  <a:pt x="456" y="427"/>
                  <a:pt x="456" y="427"/>
                </a:cubicBezTo>
                <a:cubicBezTo>
                  <a:pt x="458" y="423"/>
                  <a:pt x="458" y="423"/>
                  <a:pt x="458" y="423"/>
                </a:cubicBezTo>
                <a:cubicBezTo>
                  <a:pt x="459" y="423"/>
                  <a:pt x="459" y="423"/>
                  <a:pt x="459" y="423"/>
                </a:cubicBezTo>
                <a:cubicBezTo>
                  <a:pt x="460" y="424"/>
                  <a:pt x="460" y="424"/>
                  <a:pt x="460" y="424"/>
                </a:cubicBezTo>
                <a:cubicBezTo>
                  <a:pt x="462" y="424"/>
                  <a:pt x="462" y="424"/>
                  <a:pt x="462" y="424"/>
                </a:cubicBezTo>
                <a:cubicBezTo>
                  <a:pt x="464" y="423"/>
                  <a:pt x="464" y="423"/>
                  <a:pt x="464" y="423"/>
                </a:cubicBezTo>
                <a:cubicBezTo>
                  <a:pt x="465" y="424"/>
                  <a:pt x="465" y="424"/>
                  <a:pt x="465" y="424"/>
                </a:cubicBezTo>
                <a:cubicBezTo>
                  <a:pt x="468" y="421"/>
                  <a:pt x="468" y="421"/>
                  <a:pt x="468" y="421"/>
                </a:cubicBezTo>
                <a:cubicBezTo>
                  <a:pt x="467" y="419"/>
                  <a:pt x="467" y="419"/>
                  <a:pt x="467" y="419"/>
                </a:cubicBezTo>
                <a:cubicBezTo>
                  <a:pt x="469" y="418"/>
                  <a:pt x="469" y="418"/>
                  <a:pt x="469" y="418"/>
                </a:cubicBezTo>
                <a:cubicBezTo>
                  <a:pt x="466" y="418"/>
                  <a:pt x="466" y="418"/>
                  <a:pt x="466" y="418"/>
                </a:cubicBezTo>
                <a:cubicBezTo>
                  <a:pt x="466" y="417"/>
                  <a:pt x="466" y="417"/>
                  <a:pt x="466" y="417"/>
                </a:cubicBezTo>
                <a:cubicBezTo>
                  <a:pt x="464" y="417"/>
                  <a:pt x="464" y="417"/>
                  <a:pt x="464" y="417"/>
                </a:cubicBezTo>
                <a:cubicBezTo>
                  <a:pt x="459" y="419"/>
                  <a:pt x="459" y="419"/>
                  <a:pt x="459" y="419"/>
                </a:cubicBezTo>
                <a:cubicBezTo>
                  <a:pt x="458" y="419"/>
                  <a:pt x="458" y="419"/>
                  <a:pt x="458" y="419"/>
                </a:cubicBezTo>
                <a:cubicBezTo>
                  <a:pt x="457" y="420"/>
                  <a:pt x="457" y="420"/>
                  <a:pt x="457" y="420"/>
                </a:cubicBezTo>
                <a:cubicBezTo>
                  <a:pt x="455" y="420"/>
                  <a:pt x="455" y="420"/>
                  <a:pt x="455" y="420"/>
                </a:cubicBezTo>
                <a:cubicBezTo>
                  <a:pt x="455" y="422"/>
                  <a:pt x="455" y="422"/>
                  <a:pt x="455" y="422"/>
                </a:cubicBezTo>
                <a:cubicBezTo>
                  <a:pt x="455" y="423"/>
                  <a:pt x="455" y="423"/>
                  <a:pt x="455" y="423"/>
                </a:cubicBezTo>
                <a:cubicBezTo>
                  <a:pt x="453" y="421"/>
                  <a:pt x="453" y="421"/>
                  <a:pt x="453" y="421"/>
                </a:cubicBezTo>
                <a:cubicBezTo>
                  <a:pt x="453" y="419"/>
                  <a:pt x="453" y="419"/>
                  <a:pt x="453" y="419"/>
                </a:cubicBezTo>
                <a:cubicBezTo>
                  <a:pt x="451" y="420"/>
                  <a:pt x="451" y="420"/>
                  <a:pt x="451" y="420"/>
                </a:cubicBezTo>
                <a:cubicBezTo>
                  <a:pt x="451" y="422"/>
                  <a:pt x="451" y="422"/>
                  <a:pt x="451" y="422"/>
                </a:cubicBezTo>
                <a:cubicBezTo>
                  <a:pt x="449" y="423"/>
                  <a:pt x="449" y="423"/>
                  <a:pt x="449" y="423"/>
                </a:cubicBezTo>
                <a:cubicBezTo>
                  <a:pt x="447" y="421"/>
                  <a:pt x="447" y="421"/>
                  <a:pt x="447" y="421"/>
                </a:cubicBezTo>
                <a:cubicBezTo>
                  <a:pt x="445" y="421"/>
                  <a:pt x="445" y="421"/>
                  <a:pt x="445" y="421"/>
                </a:cubicBezTo>
                <a:cubicBezTo>
                  <a:pt x="445" y="420"/>
                  <a:pt x="445" y="420"/>
                  <a:pt x="445" y="420"/>
                </a:cubicBezTo>
                <a:cubicBezTo>
                  <a:pt x="443" y="420"/>
                  <a:pt x="443" y="420"/>
                  <a:pt x="443" y="420"/>
                </a:cubicBezTo>
                <a:cubicBezTo>
                  <a:pt x="443" y="422"/>
                  <a:pt x="443" y="422"/>
                  <a:pt x="443" y="422"/>
                </a:cubicBezTo>
                <a:cubicBezTo>
                  <a:pt x="445" y="424"/>
                  <a:pt x="445" y="424"/>
                  <a:pt x="445" y="424"/>
                </a:cubicBezTo>
                <a:cubicBezTo>
                  <a:pt x="445" y="425"/>
                  <a:pt x="445" y="425"/>
                  <a:pt x="445" y="425"/>
                </a:cubicBezTo>
                <a:cubicBezTo>
                  <a:pt x="442" y="426"/>
                  <a:pt x="442" y="426"/>
                  <a:pt x="442" y="426"/>
                </a:cubicBezTo>
                <a:cubicBezTo>
                  <a:pt x="441" y="425"/>
                  <a:pt x="441" y="425"/>
                  <a:pt x="441" y="425"/>
                </a:cubicBezTo>
                <a:cubicBezTo>
                  <a:pt x="438" y="424"/>
                  <a:pt x="438" y="424"/>
                  <a:pt x="438" y="424"/>
                </a:cubicBezTo>
                <a:cubicBezTo>
                  <a:pt x="438" y="423"/>
                  <a:pt x="438" y="423"/>
                  <a:pt x="438" y="423"/>
                </a:cubicBezTo>
                <a:cubicBezTo>
                  <a:pt x="439" y="422"/>
                  <a:pt x="439" y="422"/>
                  <a:pt x="439" y="422"/>
                </a:cubicBezTo>
                <a:cubicBezTo>
                  <a:pt x="440" y="419"/>
                  <a:pt x="440" y="419"/>
                  <a:pt x="440" y="419"/>
                </a:cubicBezTo>
                <a:cubicBezTo>
                  <a:pt x="439" y="419"/>
                  <a:pt x="439" y="419"/>
                  <a:pt x="439" y="419"/>
                </a:cubicBezTo>
                <a:cubicBezTo>
                  <a:pt x="437" y="420"/>
                  <a:pt x="437" y="420"/>
                  <a:pt x="437" y="420"/>
                </a:cubicBezTo>
                <a:cubicBezTo>
                  <a:pt x="436" y="419"/>
                  <a:pt x="436" y="419"/>
                  <a:pt x="436" y="419"/>
                </a:cubicBezTo>
                <a:cubicBezTo>
                  <a:pt x="437" y="417"/>
                  <a:pt x="437" y="417"/>
                  <a:pt x="437" y="417"/>
                </a:cubicBezTo>
                <a:cubicBezTo>
                  <a:pt x="439" y="416"/>
                  <a:pt x="439" y="416"/>
                  <a:pt x="439" y="416"/>
                </a:cubicBezTo>
                <a:cubicBezTo>
                  <a:pt x="442" y="412"/>
                  <a:pt x="442" y="412"/>
                  <a:pt x="442" y="412"/>
                </a:cubicBezTo>
                <a:cubicBezTo>
                  <a:pt x="444" y="412"/>
                  <a:pt x="444" y="412"/>
                  <a:pt x="444" y="412"/>
                </a:cubicBezTo>
                <a:cubicBezTo>
                  <a:pt x="447" y="412"/>
                  <a:pt x="447" y="412"/>
                  <a:pt x="447" y="412"/>
                </a:cubicBezTo>
                <a:cubicBezTo>
                  <a:pt x="456" y="412"/>
                  <a:pt x="456" y="412"/>
                  <a:pt x="456" y="412"/>
                </a:cubicBezTo>
                <a:cubicBezTo>
                  <a:pt x="462" y="410"/>
                  <a:pt x="462" y="410"/>
                  <a:pt x="462" y="410"/>
                </a:cubicBezTo>
                <a:cubicBezTo>
                  <a:pt x="464" y="410"/>
                  <a:pt x="464" y="410"/>
                  <a:pt x="464" y="410"/>
                </a:cubicBezTo>
                <a:cubicBezTo>
                  <a:pt x="467" y="409"/>
                  <a:pt x="467" y="409"/>
                  <a:pt x="467" y="409"/>
                </a:cubicBezTo>
                <a:cubicBezTo>
                  <a:pt x="468" y="411"/>
                  <a:pt x="468" y="411"/>
                  <a:pt x="468" y="411"/>
                </a:cubicBezTo>
                <a:cubicBezTo>
                  <a:pt x="469" y="412"/>
                  <a:pt x="469" y="412"/>
                  <a:pt x="469" y="412"/>
                </a:cubicBezTo>
                <a:cubicBezTo>
                  <a:pt x="470" y="412"/>
                  <a:pt x="470" y="412"/>
                  <a:pt x="470" y="412"/>
                </a:cubicBezTo>
                <a:cubicBezTo>
                  <a:pt x="471" y="414"/>
                  <a:pt x="471" y="414"/>
                  <a:pt x="471" y="414"/>
                </a:cubicBezTo>
                <a:cubicBezTo>
                  <a:pt x="471" y="419"/>
                  <a:pt x="471" y="419"/>
                  <a:pt x="471" y="419"/>
                </a:cubicBezTo>
                <a:cubicBezTo>
                  <a:pt x="470" y="421"/>
                  <a:pt x="470" y="421"/>
                  <a:pt x="470" y="421"/>
                </a:cubicBezTo>
                <a:cubicBezTo>
                  <a:pt x="471" y="422"/>
                  <a:pt x="471" y="422"/>
                  <a:pt x="471" y="422"/>
                </a:cubicBezTo>
                <a:cubicBezTo>
                  <a:pt x="471" y="423"/>
                  <a:pt x="471" y="423"/>
                  <a:pt x="471" y="423"/>
                </a:cubicBezTo>
                <a:cubicBezTo>
                  <a:pt x="469" y="424"/>
                  <a:pt x="469" y="424"/>
                  <a:pt x="469" y="424"/>
                </a:cubicBezTo>
                <a:cubicBezTo>
                  <a:pt x="469" y="425"/>
                  <a:pt x="469" y="425"/>
                  <a:pt x="469" y="425"/>
                </a:cubicBezTo>
                <a:cubicBezTo>
                  <a:pt x="470" y="425"/>
                  <a:pt x="470" y="425"/>
                  <a:pt x="470" y="425"/>
                </a:cubicBezTo>
                <a:cubicBezTo>
                  <a:pt x="471" y="430"/>
                  <a:pt x="471" y="430"/>
                  <a:pt x="471" y="430"/>
                </a:cubicBezTo>
                <a:cubicBezTo>
                  <a:pt x="473" y="430"/>
                  <a:pt x="473" y="430"/>
                  <a:pt x="473" y="430"/>
                </a:cubicBezTo>
                <a:cubicBezTo>
                  <a:pt x="474" y="431"/>
                  <a:pt x="474" y="431"/>
                  <a:pt x="474" y="431"/>
                </a:cubicBezTo>
                <a:cubicBezTo>
                  <a:pt x="474" y="432"/>
                  <a:pt x="474" y="432"/>
                  <a:pt x="474" y="432"/>
                </a:cubicBezTo>
                <a:cubicBezTo>
                  <a:pt x="472" y="434"/>
                  <a:pt x="472" y="434"/>
                  <a:pt x="472" y="434"/>
                </a:cubicBezTo>
                <a:cubicBezTo>
                  <a:pt x="472" y="435"/>
                  <a:pt x="472" y="435"/>
                  <a:pt x="472" y="435"/>
                </a:cubicBezTo>
                <a:cubicBezTo>
                  <a:pt x="471" y="437"/>
                  <a:pt x="471" y="437"/>
                  <a:pt x="471" y="437"/>
                </a:cubicBezTo>
                <a:cubicBezTo>
                  <a:pt x="473" y="437"/>
                  <a:pt x="473" y="437"/>
                  <a:pt x="473" y="437"/>
                </a:cubicBezTo>
                <a:cubicBezTo>
                  <a:pt x="475" y="438"/>
                  <a:pt x="475" y="438"/>
                  <a:pt x="475" y="438"/>
                </a:cubicBezTo>
                <a:cubicBezTo>
                  <a:pt x="476" y="439"/>
                  <a:pt x="476" y="439"/>
                  <a:pt x="476" y="439"/>
                </a:cubicBezTo>
                <a:cubicBezTo>
                  <a:pt x="477" y="439"/>
                  <a:pt x="477" y="439"/>
                  <a:pt x="477" y="439"/>
                </a:cubicBezTo>
                <a:cubicBezTo>
                  <a:pt x="479" y="440"/>
                  <a:pt x="479" y="440"/>
                  <a:pt x="479" y="440"/>
                </a:cubicBezTo>
                <a:cubicBezTo>
                  <a:pt x="481" y="440"/>
                  <a:pt x="481" y="440"/>
                  <a:pt x="481" y="440"/>
                </a:cubicBezTo>
                <a:cubicBezTo>
                  <a:pt x="483" y="439"/>
                  <a:pt x="483" y="439"/>
                  <a:pt x="483" y="439"/>
                </a:cubicBezTo>
                <a:cubicBezTo>
                  <a:pt x="484" y="440"/>
                  <a:pt x="484" y="440"/>
                  <a:pt x="484" y="440"/>
                </a:cubicBezTo>
                <a:cubicBezTo>
                  <a:pt x="484" y="441"/>
                  <a:pt x="484" y="441"/>
                  <a:pt x="484" y="441"/>
                </a:cubicBezTo>
                <a:cubicBezTo>
                  <a:pt x="485" y="442"/>
                  <a:pt x="485" y="442"/>
                  <a:pt x="485" y="442"/>
                </a:cubicBezTo>
                <a:cubicBezTo>
                  <a:pt x="486" y="442"/>
                  <a:pt x="486" y="442"/>
                  <a:pt x="486" y="442"/>
                </a:cubicBezTo>
                <a:cubicBezTo>
                  <a:pt x="487" y="443"/>
                  <a:pt x="487" y="443"/>
                  <a:pt x="487" y="443"/>
                </a:cubicBezTo>
                <a:cubicBezTo>
                  <a:pt x="486" y="444"/>
                  <a:pt x="486" y="444"/>
                  <a:pt x="486" y="444"/>
                </a:cubicBezTo>
                <a:cubicBezTo>
                  <a:pt x="486" y="446"/>
                  <a:pt x="486" y="446"/>
                  <a:pt x="486" y="446"/>
                </a:cubicBezTo>
                <a:cubicBezTo>
                  <a:pt x="487" y="446"/>
                  <a:pt x="487" y="446"/>
                  <a:pt x="487" y="446"/>
                </a:cubicBezTo>
                <a:cubicBezTo>
                  <a:pt x="488" y="448"/>
                  <a:pt x="488" y="448"/>
                  <a:pt x="488" y="448"/>
                </a:cubicBezTo>
                <a:cubicBezTo>
                  <a:pt x="491" y="451"/>
                  <a:pt x="491" y="451"/>
                  <a:pt x="491" y="451"/>
                </a:cubicBezTo>
                <a:cubicBezTo>
                  <a:pt x="491" y="453"/>
                  <a:pt x="491" y="453"/>
                  <a:pt x="491" y="453"/>
                </a:cubicBezTo>
                <a:cubicBezTo>
                  <a:pt x="494" y="451"/>
                  <a:pt x="494" y="451"/>
                  <a:pt x="494" y="451"/>
                </a:cubicBezTo>
                <a:cubicBezTo>
                  <a:pt x="495" y="452"/>
                  <a:pt x="495" y="452"/>
                  <a:pt x="495" y="452"/>
                </a:cubicBezTo>
                <a:cubicBezTo>
                  <a:pt x="495" y="454"/>
                  <a:pt x="495" y="454"/>
                  <a:pt x="495" y="454"/>
                </a:cubicBezTo>
                <a:cubicBezTo>
                  <a:pt x="496" y="454"/>
                  <a:pt x="496" y="454"/>
                  <a:pt x="496" y="454"/>
                </a:cubicBezTo>
                <a:cubicBezTo>
                  <a:pt x="498" y="456"/>
                  <a:pt x="498" y="456"/>
                  <a:pt x="498" y="456"/>
                </a:cubicBezTo>
                <a:cubicBezTo>
                  <a:pt x="501" y="455"/>
                  <a:pt x="501" y="455"/>
                  <a:pt x="501" y="455"/>
                </a:cubicBezTo>
                <a:cubicBezTo>
                  <a:pt x="505" y="455"/>
                  <a:pt x="505" y="455"/>
                  <a:pt x="505" y="455"/>
                </a:cubicBezTo>
                <a:cubicBezTo>
                  <a:pt x="506" y="453"/>
                  <a:pt x="506" y="453"/>
                  <a:pt x="506" y="453"/>
                </a:cubicBezTo>
                <a:cubicBezTo>
                  <a:pt x="509" y="451"/>
                  <a:pt x="509" y="451"/>
                  <a:pt x="509" y="451"/>
                </a:cubicBezTo>
                <a:cubicBezTo>
                  <a:pt x="510" y="451"/>
                  <a:pt x="510" y="451"/>
                  <a:pt x="510" y="451"/>
                </a:cubicBezTo>
                <a:cubicBezTo>
                  <a:pt x="511" y="453"/>
                  <a:pt x="511" y="453"/>
                  <a:pt x="511" y="453"/>
                </a:cubicBezTo>
                <a:cubicBezTo>
                  <a:pt x="516" y="452"/>
                  <a:pt x="516" y="452"/>
                  <a:pt x="516" y="452"/>
                </a:cubicBezTo>
                <a:cubicBezTo>
                  <a:pt x="520" y="455"/>
                  <a:pt x="520" y="455"/>
                  <a:pt x="520" y="455"/>
                </a:cubicBezTo>
                <a:cubicBezTo>
                  <a:pt x="521" y="456"/>
                  <a:pt x="521" y="456"/>
                  <a:pt x="521" y="456"/>
                </a:cubicBezTo>
                <a:cubicBezTo>
                  <a:pt x="523" y="458"/>
                  <a:pt x="523" y="458"/>
                  <a:pt x="523" y="458"/>
                </a:cubicBezTo>
                <a:cubicBezTo>
                  <a:pt x="524" y="457"/>
                  <a:pt x="524" y="457"/>
                  <a:pt x="524" y="457"/>
                </a:cubicBezTo>
                <a:cubicBezTo>
                  <a:pt x="529" y="456"/>
                  <a:pt x="529" y="456"/>
                  <a:pt x="529" y="456"/>
                </a:cubicBezTo>
                <a:cubicBezTo>
                  <a:pt x="530" y="458"/>
                  <a:pt x="530" y="458"/>
                  <a:pt x="530" y="458"/>
                </a:cubicBezTo>
                <a:cubicBezTo>
                  <a:pt x="532" y="457"/>
                  <a:pt x="532" y="457"/>
                  <a:pt x="532" y="457"/>
                </a:cubicBezTo>
                <a:cubicBezTo>
                  <a:pt x="531" y="455"/>
                  <a:pt x="531" y="455"/>
                  <a:pt x="531" y="455"/>
                </a:cubicBezTo>
                <a:cubicBezTo>
                  <a:pt x="529" y="452"/>
                  <a:pt x="529" y="452"/>
                  <a:pt x="529" y="452"/>
                </a:cubicBezTo>
                <a:cubicBezTo>
                  <a:pt x="529" y="449"/>
                  <a:pt x="529" y="449"/>
                  <a:pt x="529" y="449"/>
                </a:cubicBezTo>
                <a:cubicBezTo>
                  <a:pt x="530" y="448"/>
                  <a:pt x="530" y="448"/>
                  <a:pt x="530" y="448"/>
                </a:cubicBezTo>
                <a:cubicBezTo>
                  <a:pt x="531" y="448"/>
                  <a:pt x="531" y="448"/>
                  <a:pt x="531" y="448"/>
                </a:cubicBezTo>
                <a:cubicBezTo>
                  <a:pt x="532" y="452"/>
                  <a:pt x="532" y="452"/>
                  <a:pt x="532" y="452"/>
                </a:cubicBezTo>
                <a:cubicBezTo>
                  <a:pt x="533" y="455"/>
                  <a:pt x="533" y="455"/>
                  <a:pt x="533" y="455"/>
                </a:cubicBezTo>
                <a:cubicBezTo>
                  <a:pt x="536" y="459"/>
                  <a:pt x="536" y="459"/>
                  <a:pt x="536" y="459"/>
                </a:cubicBezTo>
                <a:cubicBezTo>
                  <a:pt x="538" y="461"/>
                  <a:pt x="538" y="461"/>
                  <a:pt x="538" y="461"/>
                </a:cubicBezTo>
                <a:cubicBezTo>
                  <a:pt x="539" y="464"/>
                  <a:pt x="539" y="464"/>
                  <a:pt x="539" y="464"/>
                </a:cubicBezTo>
                <a:cubicBezTo>
                  <a:pt x="539" y="458"/>
                  <a:pt x="539" y="458"/>
                  <a:pt x="539" y="458"/>
                </a:cubicBezTo>
                <a:cubicBezTo>
                  <a:pt x="538" y="457"/>
                  <a:pt x="538" y="457"/>
                  <a:pt x="538" y="457"/>
                </a:cubicBezTo>
                <a:cubicBezTo>
                  <a:pt x="534" y="455"/>
                  <a:pt x="534" y="455"/>
                  <a:pt x="534" y="455"/>
                </a:cubicBezTo>
                <a:cubicBezTo>
                  <a:pt x="534" y="452"/>
                  <a:pt x="534" y="452"/>
                  <a:pt x="534" y="452"/>
                </a:cubicBezTo>
                <a:cubicBezTo>
                  <a:pt x="532" y="447"/>
                  <a:pt x="532" y="447"/>
                  <a:pt x="532" y="447"/>
                </a:cubicBezTo>
                <a:cubicBezTo>
                  <a:pt x="533" y="445"/>
                  <a:pt x="533" y="445"/>
                  <a:pt x="533" y="445"/>
                </a:cubicBezTo>
                <a:cubicBezTo>
                  <a:pt x="534" y="446"/>
                  <a:pt x="534" y="446"/>
                  <a:pt x="534" y="446"/>
                </a:cubicBezTo>
                <a:cubicBezTo>
                  <a:pt x="534" y="447"/>
                  <a:pt x="534" y="447"/>
                  <a:pt x="534" y="447"/>
                </a:cubicBezTo>
                <a:cubicBezTo>
                  <a:pt x="535" y="448"/>
                  <a:pt x="535" y="448"/>
                  <a:pt x="535" y="448"/>
                </a:cubicBezTo>
                <a:cubicBezTo>
                  <a:pt x="536" y="447"/>
                  <a:pt x="536" y="447"/>
                  <a:pt x="536" y="447"/>
                </a:cubicBezTo>
                <a:cubicBezTo>
                  <a:pt x="536" y="445"/>
                  <a:pt x="536" y="445"/>
                  <a:pt x="536" y="445"/>
                </a:cubicBezTo>
                <a:cubicBezTo>
                  <a:pt x="535" y="443"/>
                  <a:pt x="535" y="443"/>
                  <a:pt x="535" y="443"/>
                </a:cubicBezTo>
                <a:cubicBezTo>
                  <a:pt x="536" y="442"/>
                  <a:pt x="536" y="442"/>
                  <a:pt x="536" y="442"/>
                </a:cubicBezTo>
                <a:cubicBezTo>
                  <a:pt x="535" y="441"/>
                  <a:pt x="535" y="441"/>
                  <a:pt x="535" y="441"/>
                </a:cubicBezTo>
                <a:cubicBezTo>
                  <a:pt x="536" y="439"/>
                  <a:pt x="536" y="439"/>
                  <a:pt x="536" y="439"/>
                </a:cubicBezTo>
                <a:cubicBezTo>
                  <a:pt x="538" y="439"/>
                  <a:pt x="538" y="439"/>
                  <a:pt x="538" y="439"/>
                </a:cubicBezTo>
                <a:cubicBezTo>
                  <a:pt x="539" y="441"/>
                  <a:pt x="539" y="441"/>
                  <a:pt x="539" y="441"/>
                </a:cubicBezTo>
                <a:cubicBezTo>
                  <a:pt x="539" y="443"/>
                  <a:pt x="539" y="443"/>
                  <a:pt x="539" y="443"/>
                </a:cubicBezTo>
                <a:cubicBezTo>
                  <a:pt x="540" y="443"/>
                  <a:pt x="540" y="443"/>
                  <a:pt x="540" y="443"/>
                </a:cubicBezTo>
                <a:cubicBezTo>
                  <a:pt x="540" y="442"/>
                  <a:pt x="540" y="442"/>
                  <a:pt x="540" y="442"/>
                </a:cubicBezTo>
                <a:cubicBezTo>
                  <a:pt x="543" y="441"/>
                  <a:pt x="543" y="441"/>
                  <a:pt x="543" y="441"/>
                </a:cubicBezTo>
                <a:cubicBezTo>
                  <a:pt x="544" y="439"/>
                  <a:pt x="544" y="439"/>
                  <a:pt x="544" y="439"/>
                </a:cubicBezTo>
                <a:cubicBezTo>
                  <a:pt x="546" y="439"/>
                  <a:pt x="546" y="439"/>
                  <a:pt x="546" y="439"/>
                </a:cubicBezTo>
                <a:cubicBezTo>
                  <a:pt x="547" y="441"/>
                  <a:pt x="547" y="441"/>
                  <a:pt x="547" y="441"/>
                </a:cubicBezTo>
                <a:cubicBezTo>
                  <a:pt x="546" y="442"/>
                  <a:pt x="546" y="442"/>
                  <a:pt x="546" y="442"/>
                </a:cubicBezTo>
                <a:cubicBezTo>
                  <a:pt x="546" y="443"/>
                  <a:pt x="546" y="443"/>
                  <a:pt x="546" y="443"/>
                </a:cubicBezTo>
                <a:cubicBezTo>
                  <a:pt x="547" y="442"/>
                  <a:pt x="547" y="442"/>
                  <a:pt x="547" y="442"/>
                </a:cubicBezTo>
                <a:cubicBezTo>
                  <a:pt x="548" y="442"/>
                  <a:pt x="548" y="442"/>
                  <a:pt x="548" y="442"/>
                </a:cubicBezTo>
                <a:cubicBezTo>
                  <a:pt x="550" y="443"/>
                  <a:pt x="550" y="443"/>
                  <a:pt x="550" y="443"/>
                </a:cubicBezTo>
                <a:cubicBezTo>
                  <a:pt x="549" y="446"/>
                  <a:pt x="549" y="446"/>
                  <a:pt x="549" y="446"/>
                </a:cubicBezTo>
                <a:cubicBezTo>
                  <a:pt x="549" y="447"/>
                  <a:pt x="549" y="447"/>
                  <a:pt x="549" y="447"/>
                </a:cubicBezTo>
                <a:cubicBezTo>
                  <a:pt x="550" y="449"/>
                  <a:pt x="550" y="449"/>
                  <a:pt x="550" y="449"/>
                </a:cubicBezTo>
                <a:cubicBezTo>
                  <a:pt x="552" y="449"/>
                  <a:pt x="552" y="449"/>
                  <a:pt x="552" y="449"/>
                </a:cubicBezTo>
                <a:cubicBezTo>
                  <a:pt x="554" y="449"/>
                  <a:pt x="554" y="449"/>
                  <a:pt x="554" y="449"/>
                </a:cubicBezTo>
                <a:cubicBezTo>
                  <a:pt x="553" y="451"/>
                  <a:pt x="553" y="451"/>
                  <a:pt x="553" y="451"/>
                </a:cubicBezTo>
                <a:cubicBezTo>
                  <a:pt x="550" y="453"/>
                  <a:pt x="550" y="453"/>
                  <a:pt x="550" y="453"/>
                </a:cubicBezTo>
                <a:cubicBezTo>
                  <a:pt x="550" y="453"/>
                  <a:pt x="550" y="453"/>
                  <a:pt x="550" y="453"/>
                </a:cubicBezTo>
                <a:cubicBezTo>
                  <a:pt x="551" y="454"/>
                  <a:pt x="551" y="454"/>
                  <a:pt x="551" y="454"/>
                </a:cubicBezTo>
                <a:cubicBezTo>
                  <a:pt x="554" y="452"/>
                  <a:pt x="554" y="452"/>
                  <a:pt x="554" y="452"/>
                </a:cubicBezTo>
                <a:cubicBezTo>
                  <a:pt x="556" y="450"/>
                  <a:pt x="556" y="450"/>
                  <a:pt x="556" y="450"/>
                </a:cubicBezTo>
                <a:cubicBezTo>
                  <a:pt x="559" y="449"/>
                  <a:pt x="559" y="449"/>
                  <a:pt x="559" y="449"/>
                </a:cubicBezTo>
                <a:cubicBezTo>
                  <a:pt x="561" y="449"/>
                  <a:pt x="561" y="449"/>
                  <a:pt x="561" y="449"/>
                </a:cubicBezTo>
                <a:cubicBezTo>
                  <a:pt x="561" y="450"/>
                  <a:pt x="561" y="450"/>
                  <a:pt x="561" y="450"/>
                </a:cubicBezTo>
                <a:cubicBezTo>
                  <a:pt x="559" y="451"/>
                  <a:pt x="559" y="451"/>
                  <a:pt x="559" y="451"/>
                </a:cubicBezTo>
                <a:cubicBezTo>
                  <a:pt x="558" y="452"/>
                  <a:pt x="558" y="452"/>
                  <a:pt x="558" y="452"/>
                </a:cubicBezTo>
                <a:cubicBezTo>
                  <a:pt x="558" y="455"/>
                  <a:pt x="558" y="455"/>
                  <a:pt x="558" y="455"/>
                </a:cubicBezTo>
                <a:cubicBezTo>
                  <a:pt x="554" y="457"/>
                  <a:pt x="554" y="457"/>
                  <a:pt x="554" y="457"/>
                </a:cubicBezTo>
                <a:cubicBezTo>
                  <a:pt x="554" y="459"/>
                  <a:pt x="554" y="459"/>
                  <a:pt x="554" y="459"/>
                </a:cubicBezTo>
                <a:cubicBezTo>
                  <a:pt x="550" y="462"/>
                  <a:pt x="550" y="462"/>
                  <a:pt x="550" y="462"/>
                </a:cubicBezTo>
                <a:cubicBezTo>
                  <a:pt x="550" y="464"/>
                  <a:pt x="550" y="464"/>
                  <a:pt x="550" y="464"/>
                </a:cubicBezTo>
                <a:cubicBezTo>
                  <a:pt x="549" y="465"/>
                  <a:pt x="549" y="465"/>
                  <a:pt x="549" y="465"/>
                </a:cubicBezTo>
                <a:cubicBezTo>
                  <a:pt x="549" y="463"/>
                  <a:pt x="549" y="463"/>
                  <a:pt x="549" y="463"/>
                </a:cubicBezTo>
                <a:cubicBezTo>
                  <a:pt x="547" y="465"/>
                  <a:pt x="547" y="465"/>
                  <a:pt x="547" y="465"/>
                </a:cubicBezTo>
                <a:cubicBezTo>
                  <a:pt x="546" y="469"/>
                  <a:pt x="546" y="469"/>
                  <a:pt x="546" y="469"/>
                </a:cubicBezTo>
                <a:cubicBezTo>
                  <a:pt x="546" y="471"/>
                  <a:pt x="546" y="471"/>
                  <a:pt x="546" y="471"/>
                </a:cubicBezTo>
                <a:cubicBezTo>
                  <a:pt x="548" y="470"/>
                  <a:pt x="548" y="470"/>
                  <a:pt x="548" y="470"/>
                </a:cubicBezTo>
                <a:cubicBezTo>
                  <a:pt x="550" y="469"/>
                  <a:pt x="550" y="469"/>
                  <a:pt x="550" y="469"/>
                </a:cubicBezTo>
                <a:cubicBezTo>
                  <a:pt x="550" y="472"/>
                  <a:pt x="550" y="472"/>
                  <a:pt x="550" y="472"/>
                </a:cubicBezTo>
                <a:cubicBezTo>
                  <a:pt x="547" y="473"/>
                  <a:pt x="547" y="473"/>
                  <a:pt x="547" y="473"/>
                </a:cubicBezTo>
                <a:cubicBezTo>
                  <a:pt x="547" y="475"/>
                  <a:pt x="547" y="475"/>
                  <a:pt x="547" y="475"/>
                </a:cubicBezTo>
                <a:cubicBezTo>
                  <a:pt x="550" y="474"/>
                  <a:pt x="550" y="474"/>
                  <a:pt x="550" y="474"/>
                </a:cubicBezTo>
                <a:cubicBezTo>
                  <a:pt x="552" y="472"/>
                  <a:pt x="552" y="472"/>
                  <a:pt x="552" y="472"/>
                </a:cubicBezTo>
                <a:cubicBezTo>
                  <a:pt x="554" y="472"/>
                  <a:pt x="554" y="472"/>
                  <a:pt x="554" y="472"/>
                </a:cubicBezTo>
                <a:cubicBezTo>
                  <a:pt x="552" y="475"/>
                  <a:pt x="552" y="475"/>
                  <a:pt x="552" y="475"/>
                </a:cubicBezTo>
                <a:cubicBezTo>
                  <a:pt x="550" y="476"/>
                  <a:pt x="550" y="476"/>
                  <a:pt x="550" y="476"/>
                </a:cubicBezTo>
                <a:cubicBezTo>
                  <a:pt x="552" y="477"/>
                  <a:pt x="552" y="477"/>
                  <a:pt x="552" y="477"/>
                </a:cubicBezTo>
                <a:cubicBezTo>
                  <a:pt x="554" y="476"/>
                  <a:pt x="554" y="476"/>
                  <a:pt x="554" y="476"/>
                </a:cubicBezTo>
                <a:cubicBezTo>
                  <a:pt x="553" y="479"/>
                  <a:pt x="553" y="479"/>
                  <a:pt x="553" y="479"/>
                </a:cubicBezTo>
                <a:cubicBezTo>
                  <a:pt x="553" y="481"/>
                  <a:pt x="553" y="481"/>
                  <a:pt x="553" y="481"/>
                </a:cubicBezTo>
                <a:cubicBezTo>
                  <a:pt x="551" y="482"/>
                  <a:pt x="551" y="482"/>
                  <a:pt x="551" y="482"/>
                </a:cubicBezTo>
                <a:cubicBezTo>
                  <a:pt x="548" y="481"/>
                  <a:pt x="548" y="481"/>
                  <a:pt x="548" y="481"/>
                </a:cubicBezTo>
                <a:cubicBezTo>
                  <a:pt x="547" y="479"/>
                  <a:pt x="547" y="479"/>
                  <a:pt x="547" y="479"/>
                </a:cubicBezTo>
                <a:cubicBezTo>
                  <a:pt x="544" y="480"/>
                  <a:pt x="544" y="480"/>
                  <a:pt x="544" y="480"/>
                </a:cubicBezTo>
                <a:cubicBezTo>
                  <a:pt x="543" y="477"/>
                  <a:pt x="543" y="477"/>
                  <a:pt x="543" y="477"/>
                </a:cubicBezTo>
                <a:cubicBezTo>
                  <a:pt x="542" y="477"/>
                  <a:pt x="542" y="477"/>
                  <a:pt x="542" y="477"/>
                </a:cubicBezTo>
                <a:cubicBezTo>
                  <a:pt x="541" y="481"/>
                  <a:pt x="541" y="481"/>
                  <a:pt x="541" y="481"/>
                </a:cubicBezTo>
                <a:cubicBezTo>
                  <a:pt x="543" y="483"/>
                  <a:pt x="543" y="483"/>
                  <a:pt x="543" y="483"/>
                </a:cubicBezTo>
                <a:cubicBezTo>
                  <a:pt x="544" y="486"/>
                  <a:pt x="544" y="486"/>
                  <a:pt x="544" y="486"/>
                </a:cubicBezTo>
                <a:cubicBezTo>
                  <a:pt x="543" y="491"/>
                  <a:pt x="543" y="491"/>
                  <a:pt x="543" y="491"/>
                </a:cubicBezTo>
                <a:cubicBezTo>
                  <a:pt x="545" y="487"/>
                  <a:pt x="545" y="487"/>
                  <a:pt x="545" y="487"/>
                </a:cubicBezTo>
                <a:cubicBezTo>
                  <a:pt x="544" y="483"/>
                  <a:pt x="544" y="483"/>
                  <a:pt x="544" y="483"/>
                </a:cubicBezTo>
                <a:cubicBezTo>
                  <a:pt x="546" y="481"/>
                  <a:pt x="546" y="481"/>
                  <a:pt x="546" y="481"/>
                </a:cubicBezTo>
                <a:cubicBezTo>
                  <a:pt x="547" y="483"/>
                  <a:pt x="547" y="483"/>
                  <a:pt x="547" y="483"/>
                </a:cubicBezTo>
                <a:cubicBezTo>
                  <a:pt x="550" y="483"/>
                  <a:pt x="550" y="483"/>
                  <a:pt x="550" y="483"/>
                </a:cubicBezTo>
                <a:cubicBezTo>
                  <a:pt x="552" y="485"/>
                  <a:pt x="552" y="485"/>
                  <a:pt x="552" y="485"/>
                </a:cubicBezTo>
                <a:cubicBezTo>
                  <a:pt x="554" y="483"/>
                  <a:pt x="554" y="483"/>
                  <a:pt x="554" y="483"/>
                </a:cubicBezTo>
                <a:cubicBezTo>
                  <a:pt x="554" y="480"/>
                  <a:pt x="554" y="480"/>
                  <a:pt x="554" y="480"/>
                </a:cubicBezTo>
                <a:cubicBezTo>
                  <a:pt x="557" y="480"/>
                  <a:pt x="557" y="480"/>
                  <a:pt x="557" y="480"/>
                </a:cubicBezTo>
                <a:cubicBezTo>
                  <a:pt x="559" y="477"/>
                  <a:pt x="559" y="477"/>
                  <a:pt x="559" y="477"/>
                </a:cubicBezTo>
                <a:cubicBezTo>
                  <a:pt x="562" y="477"/>
                  <a:pt x="562" y="477"/>
                  <a:pt x="562" y="477"/>
                </a:cubicBezTo>
                <a:cubicBezTo>
                  <a:pt x="563" y="475"/>
                  <a:pt x="563" y="475"/>
                  <a:pt x="563" y="475"/>
                </a:cubicBezTo>
                <a:cubicBezTo>
                  <a:pt x="561" y="476"/>
                  <a:pt x="561" y="476"/>
                  <a:pt x="561" y="476"/>
                </a:cubicBezTo>
                <a:cubicBezTo>
                  <a:pt x="559" y="476"/>
                  <a:pt x="559" y="476"/>
                  <a:pt x="559" y="476"/>
                </a:cubicBezTo>
                <a:cubicBezTo>
                  <a:pt x="558" y="478"/>
                  <a:pt x="558" y="478"/>
                  <a:pt x="558" y="478"/>
                </a:cubicBezTo>
                <a:cubicBezTo>
                  <a:pt x="556" y="478"/>
                  <a:pt x="556" y="478"/>
                  <a:pt x="556" y="478"/>
                </a:cubicBezTo>
                <a:cubicBezTo>
                  <a:pt x="555" y="478"/>
                  <a:pt x="555" y="478"/>
                  <a:pt x="555" y="478"/>
                </a:cubicBezTo>
                <a:cubicBezTo>
                  <a:pt x="557" y="476"/>
                  <a:pt x="557" y="476"/>
                  <a:pt x="557" y="476"/>
                </a:cubicBezTo>
                <a:cubicBezTo>
                  <a:pt x="558" y="474"/>
                  <a:pt x="558" y="474"/>
                  <a:pt x="558" y="474"/>
                </a:cubicBezTo>
                <a:cubicBezTo>
                  <a:pt x="557" y="473"/>
                  <a:pt x="557" y="473"/>
                  <a:pt x="557" y="473"/>
                </a:cubicBezTo>
                <a:cubicBezTo>
                  <a:pt x="557" y="471"/>
                  <a:pt x="557" y="471"/>
                  <a:pt x="557" y="471"/>
                </a:cubicBezTo>
                <a:cubicBezTo>
                  <a:pt x="559" y="468"/>
                  <a:pt x="559" y="468"/>
                  <a:pt x="559" y="468"/>
                </a:cubicBezTo>
                <a:cubicBezTo>
                  <a:pt x="559" y="466"/>
                  <a:pt x="559" y="466"/>
                  <a:pt x="559" y="466"/>
                </a:cubicBezTo>
                <a:cubicBezTo>
                  <a:pt x="557" y="465"/>
                  <a:pt x="557" y="465"/>
                  <a:pt x="557" y="465"/>
                </a:cubicBezTo>
                <a:cubicBezTo>
                  <a:pt x="558" y="464"/>
                  <a:pt x="558" y="464"/>
                  <a:pt x="558" y="464"/>
                </a:cubicBezTo>
                <a:cubicBezTo>
                  <a:pt x="560" y="460"/>
                  <a:pt x="560" y="460"/>
                  <a:pt x="560" y="460"/>
                </a:cubicBezTo>
                <a:cubicBezTo>
                  <a:pt x="561" y="457"/>
                  <a:pt x="561" y="457"/>
                  <a:pt x="561" y="457"/>
                </a:cubicBezTo>
                <a:cubicBezTo>
                  <a:pt x="563" y="455"/>
                  <a:pt x="563" y="455"/>
                  <a:pt x="563" y="455"/>
                </a:cubicBezTo>
                <a:cubicBezTo>
                  <a:pt x="564" y="456"/>
                  <a:pt x="564" y="456"/>
                  <a:pt x="564" y="456"/>
                </a:cubicBezTo>
                <a:cubicBezTo>
                  <a:pt x="564" y="457"/>
                  <a:pt x="564" y="457"/>
                  <a:pt x="564" y="457"/>
                </a:cubicBezTo>
                <a:cubicBezTo>
                  <a:pt x="565" y="457"/>
                  <a:pt x="565" y="457"/>
                  <a:pt x="565" y="457"/>
                </a:cubicBezTo>
                <a:cubicBezTo>
                  <a:pt x="566" y="455"/>
                  <a:pt x="566" y="455"/>
                  <a:pt x="566" y="455"/>
                </a:cubicBezTo>
                <a:cubicBezTo>
                  <a:pt x="567" y="456"/>
                  <a:pt x="567" y="456"/>
                  <a:pt x="567" y="456"/>
                </a:cubicBezTo>
                <a:cubicBezTo>
                  <a:pt x="568" y="456"/>
                  <a:pt x="568" y="456"/>
                  <a:pt x="568" y="456"/>
                </a:cubicBezTo>
                <a:cubicBezTo>
                  <a:pt x="569" y="457"/>
                  <a:pt x="569" y="457"/>
                  <a:pt x="569" y="457"/>
                </a:cubicBezTo>
                <a:cubicBezTo>
                  <a:pt x="571" y="457"/>
                  <a:pt x="571" y="457"/>
                  <a:pt x="571" y="457"/>
                </a:cubicBezTo>
                <a:cubicBezTo>
                  <a:pt x="572" y="455"/>
                  <a:pt x="572" y="455"/>
                  <a:pt x="572" y="455"/>
                </a:cubicBezTo>
                <a:cubicBezTo>
                  <a:pt x="578" y="453"/>
                  <a:pt x="578" y="453"/>
                  <a:pt x="578" y="453"/>
                </a:cubicBezTo>
                <a:cubicBezTo>
                  <a:pt x="579" y="451"/>
                  <a:pt x="579" y="451"/>
                  <a:pt x="579" y="451"/>
                </a:cubicBezTo>
                <a:cubicBezTo>
                  <a:pt x="579" y="449"/>
                  <a:pt x="579" y="449"/>
                  <a:pt x="579" y="449"/>
                </a:cubicBezTo>
                <a:cubicBezTo>
                  <a:pt x="580" y="449"/>
                  <a:pt x="580" y="449"/>
                  <a:pt x="580" y="449"/>
                </a:cubicBezTo>
                <a:cubicBezTo>
                  <a:pt x="583" y="446"/>
                  <a:pt x="583" y="446"/>
                  <a:pt x="583" y="446"/>
                </a:cubicBezTo>
                <a:cubicBezTo>
                  <a:pt x="586" y="446"/>
                  <a:pt x="586" y="446"/>
                  <a:pt x="586" y="446"/>
                </a:cubicBezTo>
                <a:cubicBezTo>
                  <a:pt x="588" y="444"/>
                  <a:pt x="588" y="444"/>
                  <a:pt x="588" y="444"/>
                </a:cubicBezTo>
                <a:cubicBezTo>
                  <a:pt x="587" y="443"/>
                  <a:pt x="587" y="443"/>
                  <a:pt x="587" y="443"/>
                </a:cubicBezTo>
                <a:cubicBezTo>
                  <a:pt x="588" y="439"/>
                  <a:pt x="588" y="439"/>
                  <a:pt x="588" y="439"/>
                </a:cubicBezTo>
                <a:cubicBezTo>
                  <a:pt x="590" y="437"/>
                  <a:pt x="590" y="437"/>
                  <a:pt x="590" y="437"/>
                </a:cubicBezTo>
                <a:cubicBezTo>
                  <a:pt x="590" y="434"/>
                  <a:pt x="590" y="434"/>
                  <a:pt x="590" y="434"/>
                </a:cubicBezTo>
                <a:cubicBezTo>
                  <a:pt x="589" y="433"/>
                  <a:pt x="589" y="433"/>
                  <a:pt x="589" y="433"/>
                </a:cubicBezTo>
                <a:cubicBezTo>
                  <a:pt x="588" y="434"/>
                  <a:pt x="588" y="434"/>
                  <a:pt x="588" y="434"/>
                </a:cubicBezTo>
                <a:cubicBezTo>
                  <a:pt x="586" y="435"/>
                  <a:pt x="586" y="435"/>
                  <a:pt x="586" y="435"/>
                </a:cubicBezTo>
                <a:cubicBezTo>
                  <a:pt x="586" y="436"/>
                  <a:pt x="586" y="436"/>
                  <a:pt x="586" y="436"/>
                </a:cubicBezTo>
                <a:cubicBezTo>
                  <a:pt x="585" y="438"/>
                  <a:pt x="585" y="438"/>
                  <a:pt x="585" y="438"/>
                </a:cubicBezTo>
                <a:cubicBezTo>
                  <a:pt x="583" y="438"/>
                  <a:pt x="583" y="438"/>
                  <a:pt x="583" y="438"/>
                </a:cubicBezTo>
                <a:cubicBezTo>
                  <a:pt x="582" y="437"/>
                  <a:pt x="582" y="437"/>
                  <a:pt x="582" y="437"/>
                </a:cubicBezTo>
                <a:cubicBezTo>
                  <a:pt x="580" y="437"/>
                  <a:pt x="580" y="437"/>
                  <a:pt x="580" y="437"/>
                </a:cubicBezTo>
                <a:cubicBezTo>
                  <a:pt x="580" y="436"/>
                  <a:pt x="580" y="436"/>
                  <a:pt x="580" y="436"/>
                </a:cubicBezTo>
                <a:cubicBezTo>
                  <a:pt x="581" y="433"/>
                  <a:pt x="581" y="433"/>
                  <a:pt x="581" y="433"/>
                </a:cubicBezTo>
                <a:cubicBezTo>
                  <a:pt x="583" y="433"/>
                  <a:pt x="583" y="433"/>
                  <a:pt x="583" y="433"/>
                </a:cubicBezTo>
                <a:cubicBezTo>
                  <a:pt x="584" y="431"/>
                  <a:pt x="584" y="431"/>
                  <a:pt x="584" y="431"/>
                </a:cubicBezTo>
                <a:cubicBezTo>
                  <a:pt x="587" y="430"/>
                  <a:pt x="587" y="430"/>
                  <a:pt x="587" y="430"/>
                </a:cubicBezTo>
                <a:cubicBezTo>
                  <a:pt x="588" y="428"/>
                  <a:pt x="588" y="428"/>
                  <a:pt x="588" y="428"/>
                </a:cubicBezTo>
                <a:cubicBezTo>
                  <a:pt x="586" y="427"/>
                  <a:pt x="586" y="427"/>
                  <a:pt x="586" y="427"/>
                </a:cubicBezTo>
                <a:cubicBezTo>
                  <a:pt x="588" y="425"/>
                  <a:pt x="588" y="425"/>
                  <a:pt x="588" y="425"/>
                </a:cubicBezTo>
                <a:cubicBezTo>
                  <a:pt x="591" y="424"/>
                  <a:pt x="591" y="424"/>
                  <a:pt x="591" y="424"/>
                </a:cubicBezTo>
                <a:cubicBezTo>
                  <a:pt x="594" y="425"/>
                  <a:pt x="594" y="425"/>
                  <a:pt x="594" y="425"/>
                </a:cubicBezTo>
                <a:cubicBezTo>
                  <a:pt x="592" y="426"/>
                  <a:pt x="592" y="426"/>
                  <a:pt x="592" y="426"/>
                </a:cubicBezTo>
                <a:cubicBezTo>
                  <a:pt x="591" y="429"/>
                  <a:pt x="591" y="429"/>
                  <a:pt x="591" y="429"/>
                </a:cubicBezTo>
                <a:cubicBezTo>
                  <a:pt x="592" y="429"/>
                  <a:pt x="592" y="429"/>
                  <a:pt x="592" y="429"/>
                </a:cubicBezTo>
                <a:cubicBezTo>
                  <a:pt x="595" y="428"/>
                  <a:pt x="595" y="428"/>
                  <a:pt x="595" y="428"/>
                </a:cubicBezTo>
                <a:cubicBezTo>
                  <a:pt x="597" y="423"/>
                  <a:pt x="597" y="423"/>
                  <a:pt x="597" y="423"/>
                </a:cubicBezTo>
                <a:cubicBezTo>
                  <a:pt x="597" y="421"/>
                  <a:pt x="597" y="421"/>
                  <a:pt x="597" y="421"/>
                </a:cubicBezTo>
                <a:cubicBezTo>
                  <a:pt x="594" y="421"/>
                  <a:pt x="594" y="421"/>
                  <a:pt x="594" y="421"/>
                </a:cubicBezTo>
                <a:cubicBezTo>
                  <a:pt x="592" y="421"/>
                  <a:pt x="592" y="421"/>
                  <a:pt x="592" y="421"/>
                </a:cubicBezTo>
                <a:cubicBezTo>
                  <a:pt x="591" y="420"/>
                  <a:pt x="591" y="420"/>
                  <a:pt x="591" y="420"/>
                </a:cubicBezTo>
                <a:cubicBezTo>
                  <a:pt x="587" y="419"/>
                  <a:pt x="587" y="419"/>
                  <a:pt x="587" y="419"/>
                </a:cubicBezTo>
                <a:cubicBezTo>
                  <a:pt x="586" y="415"/>
                  <a:pt x="586" y="415"/>
                  <a:pt x="586" y="415"/>
                </a:cubicBezTo>
                <a:cubicBezTo>
                  <a:pt x="587" y="413"/>
                  <a:pt x="587" y="413"/>
                  <a:pt x="587" y="413"/>
                </a:cubicBezTo>
                <a:cubicBezTo>
                  <a:pt x="585" y="415"/>
                  <a:pt x="585" y="415"/>
                  <a:pt x="585" y="415"/>
                </a:cubicBezTo>
                <a:cubicBezTo>
                  <a:pt x="584" y="415"/>
                  <a:pt x="584" y="415"/>
                  <a:pt x="584" y="415"/>
                </a:cubicBezTo>
                <a:cubicBezTo>
                  <a:pt x="582" y="413"/>
                  <a:pt x="582" y="413"/>
                  <a:pt x="582" y="413"/>
                </a:cubicBezTo>
                <a:cubicBezTo>
                  <a:pt x="580" y="412"/>
                  <a:pt x="580" y="412"/>
                  <a:pt x="580" y="412"/>
                </a:cubicBezTo>
                <a:cubicBezTo>
                  <a:pt x="579" y="409"/>
                  <a:pt x="579" y="409"/>
                  <a:pt x="579" y="409"/>
                </a:cubicBezTo>
                <a:cubicBezTo>
                  <a:pt x="578" y="409"/>
                  <a:pt x="578" y="409"/>
                  <a:pt x="578" y="409"/>
                </a:cubicBezTo>
                <a:cubicBezTo>
                  <a:pt x="577" y="409"/>
                  <a:pt x="577" y="409"/>
                  <a:pt x="577" y="409"/>
                </a:cubicBezTo>
                <a:cubicBezTo>
                  <a:pt x="576" y="407"/>
                  <a:pt x="576" y="407"/>
                  <a:pt x="576" y="407"/>
                </a:cubicBezTo>
                <a:cubicBezTo>
                  <a:pt x="575" y="406"/>
                  <a:pt x="575" y="406"/>
                  <a:pt x="575" y="406"/>
                </a:cubicBezTo>
                <a:cubicBezTo>
                  <a:pt x="576" y="404"/>
                  <a:pt x="576" y="404"/>
                  <a:pt x="576" y="404"/>
                </a:cubicBezTo>
                <a:cubicBezTo>
                  <a:pt x="576" y="402"/>
                  <a:pt x="576" y="402"/>
                  <a:pt x="576" y="402"/>
                </a:cubicBezTo>
                <a:cubicBezTo>
                  <a:pt x="575" y="400"/>
                  <a:pt x="575" y="400"/>
                  <a:pt x="575" y="400"/>
                </a:cubicBezTo>
                <a:cubicBezTo>
                  <a:pt x="576" y="394"/>
                  <a:pt x="576" y="394"/>
                  <a:pt x="576" y="394"/>
                </a:cubicBezTo>
                <a:cubicBezTo>
                  <a:pt x="577" y="392"/>
                  <a:pt x="577" y="392"/>
                  <a:pt x="577" y="392"/>
                </a:cubicBezTo>
                <a:cubicBezTo>
                  <a:pt x="582" y="388"/>
                  <a:pt x="582" y="388"/>
                  <a:pt x="582" y="388"/>
                </a:cubicBezTo>
                <a:cubicBezTo>
                  <a:pt x="584" y="387"/>
                  <a:pt x="584" y="387"/>
                  <a:pt x="584" y="387"/>
                </a:cubicBezTo>
                <a:cubicBezTo>
                  <a:pt x="586" y="387"/>
                  <a:pt x="586" y="387"/>
                  <a:pt x="586" y="387"/>
                </a:cubicBezTo>
                <a:cubicBezTo>
                  <a:pt x="586" y="386"/>
                  <a:pt x="586" y="386"/>
                  <a:pt x="586" y="386"/>
                </a:cubicBezTo>
                <a:cubicBezTo>
                  <a:pt x="588" y="385"/>
                  <a:pt x="588" y="385"/>
                  <a:pt x="588" y="385"/>
                </a:cubicBezTo>
                <a:cubicBezTo>
                  <a:pt x="588" y="383"/>
                  <a:pt x="588" y="383"/>
                  <a:pt x="588" y="383"/>
                </a:cubicBezTo>
                <a:cubicBezTo>
                  <a:pt x="587" y="383"/>
                  <a:pt x="587" y="383"/>
                  <a:pt x="587" y="383"/>
                </a:cubicBezTo>
                <a:cubicBezTo>
                  <a:pt x="585" y="385"/>
                  <a:pt x="585" y="385"/>
                  <a:pt x="585" y="385"/>
                </a:cubicBezTo>
                <a:cubicBezTo>
                  <a:pt x="584" y="384"/>
                  <a:pt x="584" y="384"/>
                  <a:pt x="584" y="384"/>
                </a:cubicBezTo>
                <a:cubicBezTo>
                  <a:pt x="584" y="382"/>
                  <a:pt x="584" y="382"/>
                  <a:pt x="584" y="382"/>
                </a:cubicBezTo>
                <a:cubicBezTo>
                  <a:pt x="583" y="380"/>
                  <a:pt x="583" y="380"/>
                  <a:pt x="583" y="380"/>
                </a:cubicBezTo>
                <a:cubicBezTo>
                  <a:pt x="583" y="377"/>
                  <a:pt x="583" y="377"/>
                  <a:pt x="583" y="377"/>
                </a:cubicBezTo>
                <a:cubicBezTo>
                  <a:pt x="586" y="374"/>
                  <a:pt x="586" y="374"/>
                  <a:pt x="586" y="374"/>
                </a:cubicBezTo>
                <a:cubicBezTo>
                  <a:pt x="588" y="370"/>
                  <a:pt x="588" y="370"/>
                  <a:pt x="588" y="370"/>
                </a:cubicBezTo>
                <a:cubicBezTo>
                  <a:pt x="590" y="369"/>
                  <a:pt x="590" y="369"/>
                  <a:pt x="590" y="369"/>
                </a:cubicBezTo>
                <a:cubicBezTo>
                  <a:pt x="591" y="366"/>
                  <a:pt x="591" y="366"/>
                  <a:pt x="591" y="366"/>
                </a:cubicBezTo>
                <a:cubicBezTo>
                  <a:pt x="593" y="366"/>
                  <a:pt x="593" y="366"/>
                  <a:pt x="593" y="366"/>
                </a:cubicBezTo>
                <a:cubicBezTo>
                  <a:pt x="595" y="363"/>
                  <a:pt x="595" y="363"/>
                  <a:pt x="595" y="363"/>
                </a:cubicBezTo>
                <a:cubicBezTo>
                  <a:pt x="598" y="362"/>
                  <a:pt x="598" y="362"/>
                  <a:pt x="598" y="362"/>
                </a:cubicBezTo>
                <a:cubicBezTo>
                  <a:pt x="599" y="363"/>
                  <a:pt x="599" y="363"/>
                  <a:pt x="599" y="363"/>
                </a:cubicBezTo>
                <a:cubicBezTo>
                  <a:pt x="598" y="366"/>
                  <a:pt x="598" y="366"/>
                  <a:pt x="598" y="366"/>
                </a:cubicBezTo>
                <a:cubicBezTo>
                  <a:pt x="600" y="367"/>
                  <a:pt x="600" y="367"/>
                  <a:pt x="600" y="367"/>
                </a:cubicBezTo>
                <a:cubicBezTo>
                  <a:pt x="599" y="369"/>
                  <a:pt x="599" y="369"/>
                  <a:pt x="599" y="369"/>
                </a:cubicBezTo>
                <a:cubicBezTo>
                  <a:pt x="602" y="368"/>
                  <a:pt x="602" y="368"/>
                  <a:pt x="602" y="368"/>
                </a:cubicBezTo>
                <a:cubicBezTo>
                  <a:pt x="602" y="366"/>
                  <a:pt x="602" y="366"/>
                  <a:pt x="602" y="366"/>
                </a:cubicBezTo>
                <a:cubicBezTo>
                  <a:pt x="605" y="362"/>
                  <a:pt x="605" y="362"/>
                  <a:pt x="605" y="362"/>
                </a:cubicBezTo>
                <a:cubicBezTo>
                  <a:pt x="605" y="361"/>
                  <a:pt x="605" y="361"/>
                  <a:pt x="605" y="361"/>
                </a:cubicBezTo>
                <a:cubicBezTo>
                  <a:pt x="603" y="360"/>
                  <a:pt x="603" y="360"/>
                  <a:pt x="603" y="360"/>
                </a:cubicBezTo>
                <a:cubicBezTo>
                  <a:pt x="601" y="360"/>
                  <a:pt x="601" y="360"/>
                  <a:pt x="601" y="360"/>
                </a:cubicBezTo>
                <a:cubicBezTo>
                  <a:pt x="599" y="357"/>
                  <a:pt x="599" y="357"/>
                  <a:pt x="599" y="357"/>
                </a:cubicBezTo>
                <a:cubicBezTo>
                  <a:pt x="601" y="355"/>
                  <a:pt x="601" y="355"/>
                  <a:pt x="601" y="355"/>
                </a:cubicBezTo>
                <a:cubicBezTo>
                  <a:pt x="605" y="355"/>
                  <a:pt x="605" y="355"/>
                  <a:pt x="605" y="355"/>
                </a:cubicBezTo>
                <a:cubicBezTo>
                  <a:pt x="606" y="354"/>
                  <a:pt x="606" y="354"/>
                  <a:pt x="606" y="354"/>
                </a:cubicBezTo>
                <a:cubicBezTo>
                  <a:pt x="609" y="352"/>
                  <a:pt x="609" y="352"/>
                  <a:pt x="609" y="352"/>
                </a:cubicBezTo>
                <a:cubicBezTo>
                  <a:pt x="609" y="350"/>
                  <a:pt x="609" y="350"/>
                  <a:pt x="609" y="350"/>
                </a:cubicBezTo>
                <a:cubicBezTo>
                  <a:pt x="611" y="349"/>
                  <a:pt x="611" y="349"/>
                  <a:pt x="611" y="349"/>
                </a:cubicBezTo>
                <a:cubicBezTo>
                  <a:pt x="613" y="350"/>
                  <a:pt x="613" y="350"/>
                  <a:pt x="613" y="350"/>
                </a:cubicBezTo>
                <a:cubicBezTo>
                  <a:pt x="617" y="351"/>
                  <a:pt x="617" y="351"/>
                  <a:pt x="617" y="351"/>
                </a:cubicBezTo>
                <a:cubicBezTo>
                  <a:pt x="618" y="353"/>
                  <a:pt x="618" y="353"/>
                  <a:pt x="618" y="353"/>
                </a:cubicBezTo>
                <a:cubicBezTo>
                  <a:pt x="617" y="354"/>
                  <a:pt x="617" y="354"/>
                  <a:pt x="617" y="354"/>
                </a:cubicBezTo>
                <a:cubicBezTo>
                  <a:pt x="619" y="355"/>
                  <a:pt x="619" y="355"/>
                  <a:pt x="619" y="355"/>
                </a:cubicBezTo>
                <a:cubicBezTo>
                  <a:pt x="620" y="357"/>
                  <a:pt x="620" y="357"/>
                  <a:pt x="620" y="357"/>
                </a:cubicBezTo>
                <a:cubicBezTo>
                  <a:pt x="622" y="358"/>
                  <a:pt x="622" y="358"/>
                  <a:pt x="622" y="358"/>
                </a:cubicBezTo>
                <a:cubicBezTo>
                  <a:pt x="621" y="360"/>
                  <a:pt x="621" y="360"/>
                  <a:pt x="621" y="360"/>
                </a:cubicBezTo>
                <a:cubicBezTo>
                  <a:pt x="620" y="361"/>
                  <a:pt x="620" y="361"/>
                  <a:pt x="620" y="361"/>
                </a:cubicBezTo>
                <a:cubicBezTo>
                  <a:pt x="621" y="363"/>
                  <a:pt x="621" y="363"/>
                  <a:pt x="621" y="363"/>
                </a:cubicBezTo>
                <a:cubicBezTo>
                  <a:pt x="620" y="365"/>
                  <a:pt x="620" y="365"/>
                  <a:pt x="620" y="365"/>
                </a:cubicBezTo>
                <a:cubicBezTo>
                  <a:pt x="622" y="367"/>
                  <a:pt x="622" y="367"/>
                  <a:pt x="622" y="367"/>
                </a:cubicBezTo>
                <a:cubicBezTo>
                  <a:pt x="623" y="369"/>
                  <a:pt x="623" y="369"/>
                  <a:pt x="623" y="369"/>
                </a:cubicBezTo>
                <a:cubicBezTo>
                  <a:pt x="623" y="373"/>
                  <a:pt x="623" y="373"/>
                  <a:pt x="623" y="373"/>
                </a:cubicBezTo>
                <a:cubicBezTo>
                  <a:pt x="624" y="374"/>
                  <a:pt x="624" y="374"/>
                  <a:pt x="624" y="374"/>
                </a:cubicBezTo>
                <a:cubicBezTo>
                  <a:pt x="624" y="375"/>
                  <a:pt x="624" y="375"/>
                  <a:pt x="624" y="375"/>
                </a:cubicBezTo>
                <a:cubicBezTo>
                  <a:pt x="622" y="377"/>
                  <a:pt x="622" y="377"/>
                  <a:pt x="622" y="377"/>
                </a:cubicBezTo>
                <a:cubicBezTo>
                  <a:pt x="622" y="379"/>
                  <a:pt x="622" y="379"/>
                  <a:pt x="622" y="379"/>
                </a:cubicBezTo>
                <a:cubicBezTo>
                  <a:pt x="620" y="382"/>
                  <a:pt x="620" y="382"/>
                  <a:pt x="620" y="382"/>
                </a:cubicBezTo>
                <a:cubicBezTo>
                  <a:pt x="620" y="385"/>
                  <a:pt x="620" y="385"/>
                  <a:pt x="620" y="385"/>
                </a:cubicBezTo>
                <a:cubicBezTo>
                  <a:pt x="619" y="386"/>
                  <a:pt x="619" y="386"/>
                  <a:pt x="619" y="386"/>
                </a:cubicBezTo>
                <a:cubicBezTo>
                  <a:pt x="620" y="388"/>
                  <a:pt x="620" y="388"/>
                  <a:pt x="620" y="388"/>
                </a:cubicBezTo>
                <a:cubicBezTo>
                  <a:pt x="619" y="391"/>
                  <a:pt x="619" y="391"/>
                  <a:pt x="619" y="391"/>
                </a:cubicBezTo>
                <a:cubicBezTo>
                  <a:pt x="622" y="393"/>
                  <a:pt x="622" y="393"/>
                  <a:pt x="622" y="393"/>
                </a:cubicBezTo>
                <a:cubicBezTo>
                  <a:pt x="622" y="395"/>
                  <a:pt x="622" y="395"/>
                  <a:pt x="622" y="395"/>
                </a:cubicBezTo>
                <a:cubicBezTo>
                  <a:pt x="621" y="396"/>
                  <a:pt x="621" y="396"/>
                  <a:pt x="621" y="396"/>
                </a:cubicBezTo>
                <a:cubicBezTo>
                  <a:pt x="622" y="398"/>
                  <a:pt x="622" y="398"/>
                  <a:pt x="622" y="398"/>
                </a:cubicBezTo>
                <a:cubicBezTo>
                  <a:pt x="621" y="401"/>
                  <a:pt x="621" y="401"/>
                  <a:pt x="621" y="401"/>
                </a:cubicBezTo>
                <a:cubicBezTo>
                  <a:pt x="621" y="402"/>
                  <a:pt x="621" y="402"/>
                  <a:pt x="621" y="402"/>
                </a:cubicBezTo>
                <a:cubicBezTo>
                  <a:pt x="623" y="403"/>
                  <a:pt x="623" y="403"/>
                  <a:pt x="623" y="403"/>
                </a:cubicBezTo>
                <a:cubicBezTo>
                  <a:pt x="624" y="405"/>
                  <a:pt x="624" y="405"/>
                  <a:pt x="624" y="405"/>
                </a:cubicBezTo>
                <a:cubicBezTo>
                  <a:pt x="624" y="407"/>
                  <a:pt x="624" y="407"/>
                  <a:pt x="624" y="407"/>
                </a:cubicBezTo>
                <a:cubicBezTo>
                  <a:pt x="622" y="409"/>
                  <a:pt x="622" y="409"/>
                  <a:pt x="622" y="409"/>
                </a:cubicBezTo>
                <a:cubicBezTo>
                  <a:pt x="621" y="408"/>
                  <a:pt x="621" y="408"/>
                  <a:pt x="621" y="408"/>
                </a:cubicBezTo>
                <a:cubicBezTo>
                  <a:pt x="619" y="408"/>
                  <a:pt x="619" y="408"/>
                  <a:pt x="619" y="408"/>
                </a:cubicBezTo>
                <a:cubicBezTo>
                  <a:pt x="617" y="406"/>
                  <a:pt x="617" y="406"/>
                  <a:pt x="617" y="406"/>
                </a:cubicBezTo>
                <a:cubicBezTo>
                  <a:pt x="618" y="403"/>
                  <a:pt x="618" y="403"/>
                  <a:pt x="618" y="403"/>
                </a:cubicBezTo>
                <a:cubicBezTo>
                  <a:pt x="615" y="404"/>
                  <a:pt x="615" y="404"/>
                  <a:pt x="615" y="404"/>
                </a:cubicBezTo>
                <a:cubicBezTo>
                  <a:pt x="614" y="407"/>
                  <a:pt x="614" y="407"/>
                  <a:pt x="614" y="407"/>
                </a:cubicBezTo>
                <a:cubicBezTo>
                  <a:pt x="612" y="408"/>
                  <a:pt x="612" y="408"/>
                  <a:pt x="612" y="408"/>
                </a:cubicBezTo>
                <a:cubicBezTo>
                  <a:pt x="612" y="409"/>
                  <a:pt x="612" y="409"/>
                  <a:pt x="612" y="409"/>
                </a:cubicBezTo>
                <a:cubicBezTo>
                  <a:pt x="615" y="408"/>
                  <a:pt x="615" y="408"/>
                  <a:pt x="615" y="408"/>
                </a:cubicBezTo>
                <a:cubicBezTo>
                  <a:pt x="617" y="410"/>
                  <a:pt x="617" y="410"/>
                  <a:pt x="617" y="410"/>
                </a:cubicBezTo>
                <a:cubicBezTo>
                  <a:pt x="616" y="411"/>
                  <a:pt x="616" y="411"/>
                  <a:pt x="616" y="411"/>
                </a:cubicBezTo>
                <a:cubicBezTo>
                  <a:pt x="610" y="416"/>
                  <a:pt x="610" y="416"/>
                  <a:pt x="610" y="416"/>
                </a:cubicBezTo>
                <a:cubicBezTo>
                  <a:pt x="608" y="416"/>
                  <a:pt x="608" y="416"/>
                  <a:pt x="608" y="416"/>
                </a:cubicBezTo>
                <a:cubicBezTo>
                  <a:pt x="608" y="417"/>
                  <a:pt x="608" y="417"/>
                  <a:pt x="608" y="417"/>
                </a:cubicBezTo>
                <a:cubicBezTo>
                  <a:pt x="606" y="418"/>
                  <a:pt x="606" y="418"/>
                  <a:pt x="606" y="418"/>
                </a:cubicBezTo>
                <a:cubicBezTo>
                  <a:pt x="606" y="420"/>
                  <a:pt x="606" y="420"/>
                  <a:pt x="606" y="420"/>
                </a:cubicBezTo>
                <a:cubicBezTo>
                  <a:pt x="607" y="422"/>
                  <a:pt x="607" y="422"/>
                  <a:pt x="607" y="422"/>
                </a:cubicBezTo>
                <a:cubicBezTo>
                  <a:pt x="609" y="421"/>
                  <a:pt x="609" y="421"/>
                  <a:pt x="609" y="421"/>
                </a:cubicBezTo>
                <a:cubicBezTo>
                  <a:pt x="611" y="421"/>
                  <a:pt x="611" y="421"/>
                  <a:pt x="611" y="421"/>
                </a:cubicBezTo>
                <a:cubicBezTo>
                  <a:pt x="611" y="424"/>
                  <a:pt x="611" y="424"/>
                  <a:pt x="611" y="424"/>
                </a:cubicBezTo>
                <a:cubicBezTo>
                  <a:pt x="613" y="426"/>
                  <a:pt x="613" y="426"/>
                  <a:pt x="613" y="426"/>
                </a:cubicBezTo>
                <a:cubicBezTo>
                  <a:pt x="616" y="425"/>
                  <a:pt x="616" y="425"/>
                  <a:pt x="616" y="425"/>
                </a:cubicBezTo>
                <a:cubicBezTo>
                  <a:pt x="617" y="423"/>
                  <a:pt x="617" y="423"/>
                  <a:pt x="617" y="423"/>
                </a:cubicBezTo>
                <a:cubicBezTo>
                  <a:pt x="619" y="423"/>
                  <a:pt x="619" y="423"/>
                  <a:pt x="619" y="423"/>
                </a:cubicBezTo>
                <a:cubicBezTo>
                  <a:pt x="620" y="424"/>
                  <a:pt x="620" y="424"/>
                  <a:pt x="620" y="424"/>
                </a:cubicBezTo>
                <a:cubicBezTo>
                  <a:pt x="618" y="425"/>
                  <a:pt x="618" y="425"/>
                  <a:pt x="618" y="425"/>
                </a:cubicBezTo>
                <a:cubicBezTo>
                  <a:pt x="618" y="425"/>
                  <a:pt x="618" y="425"/>
                  <a:pt x="618" y="425"/>
                </a:cubicBezTo>
                <a:cubicBezTo>
                  <a:pt x="621" y="426"/>
                  <a:pt x="621" y="426"/>
                  <a:pt x="621" y="426"/>
                </a:cubicBezTo>
                <a:cubicBezTo>
                  <a:pt x="622" y="428"/>
                  <a:pt x="622" y="428"/>
                  <a:pt x="622" y="428"/>
                </a:cubicBezTo>
                <a:cubicBezTo>
                  <a:pt x="624" y="426"/>
                  <a:pt x="624" y="426"/>
                  <a:pt x="624" y="426"/>
                </a:cubicBezTo>
                <a:cubicBezTo>
                  <a:pt x="626" y="427"/>
                  <a:pt x="626" y="427"/>
                  <a:pt x="626" y="427"/>
                </a:cubicBezTo>
                <a:cubicBezTo>
                  <a:pt x="624" y="429"/>
                  <a:pt x="624" y="429"/>
                  <a:pt x="624" y="429"/>
                </a:cubicBezTo>
                <a:cubicBezTo>
                  <a:pt x="622" y="429"/>
                  <a:pt x="622" y="429"/>
                  <a:pt x="622" y="429"/>
                </a:cubicBezTo>
                <a:cubicBezTo>
                  <a:pt x="620" y="432"/>
                  <a:pt x="620" y="432"/>
                  <a:pt x="620" y="432"/>
                </a:cubicBezTo>
                <a:cubicBezTo>
                  <a:pt x="619" y="432"/>
                  <a:pt x="619" y="432"/>
                  <a:pt x="619" y="432"/>
                </a:cubicBezTo>
                <a:cubicBezTo>
                  <a:pt x="618" y="430"/>
                  <a:pt x="618" y="430"/>
                  <a:pt x="618" y="430"/>
                </a:cubicBezTo>
                <a:cubicBezTo>
                  <a:pt x="617" y="430"/>
                  <a:pt x="617" y="430"/>
                  <a:pt x="617" y="430"/>
                </a:cubicBezTo>
                <a:cubicBezTo>
                  <a:pt x="616" y="429"/>
                  <a:pt x="616" y="429"/>
                  <a:pt x="616" y="429"/>
                </a:cubicBezTo>
                <a:cubicBezTo>
                  <a:pt x="616" y="430"/>
                  <a:pt x="616" y="430"/>
                  <a:pt x="616" y="430"/>
                </a:cubicBezTo>
                <a:cubicBezTo>
                  <a:pt x="617" y="433"/>
                  <a:pt x="617" y="433"/>
                  <a:pt x="617" y="433"/>
                </a:cubicBezTo>
                <a:cubicBezTo>
                  <a:pt x="617" y="434"/>
                  <a:pt x="617" y="434"/>
                  <a:pt x="617" y="434"/>
                </a:cubicBezTo>
                <a:cubicBezTo>
                  <a:pt x="620" y="438"/>
                  <a:pt x="620" y="438"/>
                  <a:pt x="620" y="438"/>
                </a:cubicBezTo>
                <a:cubicBezTo>
                  <a:pt x="619" y="441"/>
                  <a:pt x="619" y="441"/>
                  <a:pt x="619" y="441"/>
                </a:cubicBezTo>
                <a:cubicBezTo>
                  <a:pt x="620" y="441"/>
                  <a:pt x="620" y="441"/>
                  <a:pt x="620" y="441"/>
                </a:cubicBezTo>
                <a:cubicBezTo>
                  <a:pt x="619" y="444"/>
                  <a:pt x="619" y="444"/>
                  <a:pt x="619" y="444"/>
                </a:cubicBezTo>
                <a:cubicBezTo>
                  <a:pt x="618" y="445"/>
                  <a:pt x="618" y="445"/>
                  <a:pt x="618" y="445"/>
                </a:cubicBezTo>
                <a:cubicBezTo>
                  <a:pt x="618" y="447"/>
                  <a:pt x="618" y="447"/>
                  <a:pt x="618" y="447"/>
                </a:cubicBezTo>
                <a:cubicBezTo>
                  <a:pt x="617" y="450"/>
                  <a:pt x="617" y="450"/>
                  <a:pt x="617" y="450"/>
                </a:cubicBezTo>
                <a:cubicBezTo>
                  <a:pt x="615" y="453"/>
                  <a:pt x="615" y="453"/>
                  <a:pt x="615" y="453"/>
                </a:cubicBezTo>
                <a:cubicBezTo>
                  <a:pt x="616" y="454"/>
                  <a:pt x="616" y="454"/>
                  <a:pt x="616" y="454"/>
                </a:cubicBezTo>
                <a:cubicBezTo>
                  <a:pt x="616" y="456"/>
                  <a:pt x="616" y="456"/>
                  <a:pt x="616" y="456"/>
                </a:cubicBezTo>
                <a:cubicBezTo>
                  <a:pt x="614" y="457"/>
                  <a:pt x="614" y="457"/>
                  <a:pt x="614" y="457"/>
                </a:cubicBezTo>
                <a:cubicBezTo>
                  <a:pt x="614" y="459"/>
                  <a:pt x="614" y="459"/>
                  <a:pt x="614" y="459"/>
                </a:cubicBezTo>
                <a:cubicBezTo>
                  <a:pt x="616" y="459"/>
                  <a:pt x="616" y="459"/>
                  <a:pt x="616" y="459"/>
                </a:cubicBezTo>
                <a:cubicBezTo>
                  <a:pt x="618" y="457"/>
                  <a:pt x="618" y="457"/>
                  <a:pt x="618" y="457"/>
                </a:cubicBezTo>
                <a:cubicBezTo>
                  <a:pt x="619" y="455"/>
                  <a:pt x="619" y="455"/>
                  <a:pt x="619" y="455"/>
                </a:cubicBezTo>
                <a:cubicBezTo>
                  <a:pt x="622" y="453"/>
                  <a:pt x="622" y="453"/>
                  <a:pt x="622" y="453"/>
                </a:cubicBezTo>
                <a:cubicBezTo>
                  <a:pt x="622" y="452"/>
                  <a:pt x="622" y="452"/>
                  <a:pt x="622" y="452"/>
                </a:cubicBezTo>
                <a:cubicBezTo>
                  <a:pt x="622" y="452"/>
                  <a:pt x="622" y="452"/>
                  <a:pt x="622" y="452"/>
                </a:cubicBezTo>
                <a:cubicBezTo>
                  <a:pt x="623" y="450"/>
                  <a:pt x="623" y="450"/>
                  <a:pt x="623" y="450"/>
                </a:cubicBezTo>
                <a:cubicBezTo>
                  <a:pt x="625" y="451"/>
                  <a:pt x="625" y="451"/>
                  <a:pt x="625" y="451"/>
                </a:cubicBezTo>
                <a:cubicBezTo>
                  <a:pt x="626" y="450"/>
                  <a:pt x="626" y="450"/>
                  <a:pt x="626" y="450"/>
                </a:cubicBezTo>
                <a:cubicBezTo>
                  <a:pt x="626" y="446"/>
                  <a:pt x="626" y="446"/>
                  <a:pt x="626" y="446"/>
                </a:cubicBezTo>
                <a:cubicBezTo>
                  <a:pt x="626" y="443"/>
                  <a:pt x="626" y="443"/>
                  <a:pt x="626" y="443"/>
                </a:cubicBezTo>
                <a:cubicBezTo>
                  <a:pt x="629" y="441"/>
                  <a:pt x="629" y="441"/>
                  <a:pt x="629" y="441"/>
                </a:cubicBezTo>
                <a:cubicBezTo>
                  <a:pt x="632" y="436"/>
                  <a:pt x="632" y="436"/>
                  <a:pt x="632" y="436"/>
                </a:cubicBezTo>
                <a:cubicBezTo>
                  <a:pt x="633" y="434"/>
                  <a:pt x="633" y="434"/>
                  <a:pt x="633" y="434"/>
                </a:cubicBezTo>
                <a:cubicBezTo>
                  <a:pt x="634" y="434"/>
                  <a:pt x="634" y="434"/>
                  <a:pt x="634" y="434"/>
                </a:cubicBezTo>
                <a:cubicBezTo>
                  <a:pt x="635" y="435"/>
                  <a:pt x="635" y="435"/>
                  <a:pt x="635" y="435"/>
                </a:cubicBezTo>
                <a:cubicBezTo>
                  <a:pt x="636" y="437"/>
                  <a:pt x="636" y="437"/>
                  <a:pt x="636" y="437"/>
                </a:cubicBezTo>
                <a:cubicBezTo>
                  <a:pt x="638" y="441"/>
                  <a:pt x="638" y="441"/>
                  <a:pt x="638" y="441"/>
                </a:cubicBezTo>
                <a:cubicBezTo>
                  <a:pt x="638" y="444"/>
                  <a:pt x="638" y="444"/>
                  <a:pt x="638" y="444"/>
                </a:cubicBezTo>
                <a:cubicBezTo>
                  <a:pt x="640" y="447"/>
                  <a:pt x="640" y="447"/>
                  <a:pt x="640" y="447"/>
                </a:cubicBezTo>
                <a:cubicBezTo>
                  <a:pt x="640" y="450"/>
                  <a:pt x="640" y="450"/>
                  <a:pt x="640" y="450"/>
                </a:cubicBezTo>
                <a:cubicBezTo>
                  <a:pt x="639" y="452"/>
                  <a:pt x="639" y="452"/>
                  <a:pt x="639" y="452"/>
                </a:cubicBezTo>
                <a:cubicBezTo>
                  <a:pt x="640" y="457"/>
                  <a:pt x="640" y="457"/>
                  <a:pt x="640" y="457"/>
                </a:cubicBezTo>
                <a:cubicBezTo>
                  <a:pt x="639" y="459"/>
                  <a:pt x="639" y="459"/>
                  <a:pt x="639" y="459"/>
                </a:cubicBezTo>
                <a:cubicBezTo>
                  <a:pt x="637" y="460"/>
                  <a:pt x="637" y="460"/>
                  <a:pt x="637" y="460"/>
                </a:cubicBezTo>
                <a:cubicBezTo>
                  <a:pt x="635" y="459"/>
                  <a:pt x="635" y="459"/>
                  <a:pt x="635" y="459"/>
                </a:cubicBezTo>
                <a:cubicBezTo>
                  <a:pt x="634" y="460"/>
                  <a:pt x="634" y="460"/>
                  <a:pt x="634" y="460"/>
                </a:cubicBezTo>
                <a:cubicBezTo>
                  <a:pt x="633" y="462"/>
                  <a:pt x="633" y="462"/>
                  <a:pt x="633" y="462"/>
                </a:cubicBezTo>
                <a:cubicBezTo>
                  <a:pt x="634" y="465"/>
                  <a:pt x="634" y="465"/>
                  <a:pt x="634" y="465"/>
                </a:cubicBezTo>
                <a:cubicBezTo>
                  <a:pt x="632" y="467"/>
                  <a:pt x="632" y="467"/>
                  <a:pt x="632" y="467"/>
                </a:cubicBezTo>
                <a:cubicBezTo>
                  <a:pt x="631" y="470"/>
                  <a:pt x="631" y="470"/>
                  <a:pt x="631" y="470"/>
                </a:cubicBezTo>
                <a:cubicBezTo>
                  <a:pt x="632" y="472"/>
                  <a:pt x="632" y="472"/>
                  <a:pt x="632" y="472"/>
                </a:cubicBezTo>
                <a:cubicBezTo>
                  <a:pt x="632" y="476"/>
                  <a:pt x="632" y="476"/>
                  <a:pt x="632" y="476"/>
                </a:cubicBezTo>
                <a:cubicBezTo>
                  <a:pt x="634" y="484"/>
                  <a:pt x="634" y="484"/>
                  <a:pt x="634" y="484"/>
                </a:cubicBezTo>
                <a:cubicBezTo>
                  <a:pt x="635" y="488"/>
                  <a:pt x="635" y="488"/>
                  <a:pt x="635" y="488"/>
                </a:cubicBezTo>
                <a:cubicBezTo>
                  <a:pt x="635" y="490"/>
                  <a:pt x="635" y="490"/>
                  <a:pt x="635" y="490"/>
                </a:cubicBezTo>
                <a:cubicBezTo>
                  <a:pt x="637" y="492"/>
                  <a:pt x="637" y="492"/>
                  <a:pt x="637" y="492"/>
                </a:cubicBezTo>
                <a:cubicBezTo>
                  <a:pt x="638" y="492"/>
                  <a:pt x="638" y="492"/>
                  <a:pt x="638" y="492"/>
                </a:cubicBezTo>
                <a:cubicBezTo>
                  <a:pt x="638" y="489"/>
                  <a:pt x="638" y="489"/>
                  <a:pt x="638" y="489"/>
                </a:cubicBezTo>
                <a:cubicBezTo>
                  <a:pt x="637" y="488"/>
                  <a:pt x="637" y="488"/>
                  <a:pt x="637" y="488"/>
                </a:cubicBezTo>
                <a:cubicBezTo>
                  <a:pt x="639" y="486"/>
                  <a:pt x="639" y="486"/>
                  <a:pt x="639" y="486"/>
                </a:cubicBezTo>
                <a:cubicBezTo>
                  <a:pt x="640" y="486"/>
                  <a:pt x="640" y="486"/>
                  <a:pt x="640" y="486"/>
                </a:cubicBezTo>
                <a:cubicBezTo>
                  <a:pt x="642" y="489"/>
                  <a:pt x="642" y="489"/>
                  <a:pt x="642" y="489"/>
                </a:cubicBezTo>
                <a:cubicBezTo>
                  <a:pt x="643" y="489"/>
                  <a:pt x="643" y="489"/>
                  <a:pt x="643" y="489"/>
                </a:cubicBezTo>
                <a:cubicBezTo>
                  <a:pt x="643" y="486"/>
                  <a:pt x="643" y="486"/>
                  <a:pt x="643" y="486"/>
                </a:cubicBezTo>
                <a:cubicBezTo>
                  <a:pt x="645" y="484"/>
                  <a:pt x="645" y="484"/>
                  <a:pt x="645" y="484"/>
                </a:cubicBezTo>
                <a:cubicBezTo>
                  <a:pt x="645" y="480"/>
                  <a:pt x="645" y="480"/>
                  <a:pt x="645" y="480"/>
                </a:cubicBezTo>
                <a:cubicBezTo>
                  <a:pt x="647" y="479"/>
                  <a:pt x="647" y="479"/>
                  <a:pt x="647" y="479"/>
                </a:cubicBezTo>
                <a:cubicBezTo>
                  <a:pt x="650" y="476"/>
                  <a:pt x="650" y="476"/>
                  <a:pt x="650" y="476"/>
                </a:cubicBezTo>
                <a:cubicBezTo>
                  <a:pt x="651" y="476"/>
                  <a:pt x="651" y="476"/>
                  <a:pt x="651" y="476"/>
                </a:cubicBezTo>
                <a:cubicBezTo>
                  <a:pt x="652" y="474"/>
                  <a:pt x="652" y="474"/>
                  <a:pt x="652" y="474"/>
                </a:cubicBezTo>
                <a:cubicBezTo>
                  <a:pt x="656" y="471"/>
                  <a:pt x="656" y="471"/>
                  <a:pt x="656" y="471"/>
                </a:cubicBezTo>
                <a:cubicBezTo>
                  <a:pt x="659" y="466"/>
                  <a:pt x="659" y="466"/>
                  <a:pt x="659" y="466"/>
                </a:cubicBezTo>
                <a:cubicBezTo>
                  <a:pt x="661" y="461"/>
                  <a:pt x="661" y="461"/>
                  <a:pt x="661" y="461"/>
                </a:cubicBezTo>
                <a:cubicBezTo>
                  <a:pt x="663" y="456"/>
                  <a:pt x="663" y="456"/>
                  <a:pt x="663" y="456"/>
                </a:cubicBezTo>
                <a:cubicBezTo>
                  <a:pt x="665" y="455"/>
                  <a:pt x="665" y="455"/>
                  <a:pt x="665" y="455"/>
                </a:cubicBezTo>
                <a:cubicBezTo>
                  <a:pt x="667" y="457"/>
                  <a:pt x="667" y="457"/>
                  <a:pt x="667" y="457"/>
                </a:cubicBezTo>
                <a:cubicBezTo>
                  <a:pt x="669" y="456"/>
                  <a:pt x="669" y="456"/>
                  <a:pt x="669" y="456"/>
                </a:cubicBezTo>
                <a:cubicBezTo>
                  <a:pt x="670" y="457"/>
                  <a:pt x="670" y="457"/>
                  <a:pt x="670" y="457"/>
                </a:cubicBezTo>
                <a:cubicBezTo>
                  <a:pt x="672" y="456"/>
                  <a:pt x="672" y="456"/>
                  <a:pt x="672" y="456"/>
                </a:cubicBezTo>
                <a:cubicBezTo>
                  <a:pt x="672" y="455"/>
                  <a:pt x="672" y="455"/>
                  <a:pt x="672" y="455"/>
                </a:cubicBezTo>
                <a:cubicBezTo>
                  <a:pt x="671" y="455"/>
                  <a:pt x="671" y="455"/>
                  <a:pt x="671" y="455"/>
                </a:cubicBezTo>
                <a:cubicBezTo>
                  <a:pt x="669" y="453"/>
                  <a:pt x="669" y="453"/>
                  <a:pt x="669" y="453"/>
                </a:cubicBezTo>
                <a:cubicBezTo>
                  <a:pt x="670" y="451"/>
                  <a:pt x="670" y="451"/>
                  <a:pt x="670" y="451"/>
                </a:cubicBezTo>
                <a:cubicBezTo>
                  <a:pt x="673" y="451"/>
                  <a:pt x="673" y="451"/>
                  <a:pt x="673" y="451"/>
                </a:cubicBezTo>
                <a:cubicBezTo>
                  <a:pt x="674" y="452"/>
                  <a:pt x="674" y="452"/>
                  <a:pt x="674" y="452"/>
                </a:cubicBezTo>
                <a:cubicBezTo>
                  <a:pt x="675" y="451"/>
                  <a:pt x="675" y="451"/>
                  <a:pt x="675" y="451"/>
                </a:cubicBezTo>
                <a:cubicBezTo>
                  <a:pt x="677" y="452"/>
                  <a:pt x="677" y="452"/>
                  <a:pt x="677" y="452"/>
                </a:cubicBezTo>
                <a:cubicBezTo>
                  <a:pt x="678" y="451"/>
                  <a:pt x="678" y="451"/>
                  <a:pt x="678" y="451"/>
                </a:cubicBezTo>
                <a:cubicBezTo>
                  <a:pt x="677" y="449"/>
                  <a:pt x="677" y="449"/>
                  <a:pt x="677" y="449"/>
                </a:cubicBezTo>
                <a:cubicBezTo>
                  <a:pt x="676" y="448"/>
                  <a:pt x="676" y="448"/>
                  <a:pt x="676" y="448"/>
                </a:cubicBezTo>
                <a:cubicBezTo>
                  <a:pt x="674" y="446"/>
                  <a:pt x="674" y="446"/>
                  <a:pt x="674" y="446"/>
                </a:cubicBezTo>
                <a:cubicBezTo>
                  <a:pt x="673" y="446"/>
                  <a:pt x="673" y="446"/>
                  <a:pt x="673" y="446"/>
                </a:cubicBezTo>
                <a:cubicBezTo>
                  <a:pt x="673" y="443"/>
                  <a:pt x="673" y="443"/>
                  <a:pt x="673" y="443"/>
                </a:cubicBezTo>
                <a:cubicBezTo>
                  <a:pt x="675" y="441"/>
                  <a:pt x="675" y="441"/>
                  <a:pt x="675" y="441"/>
                </a:cubicBezTo>
                <a:cubicBezTo>
                  <a:pt x="675" y="439"/>
                  <a:pt x="675" y="439"/>
                  <a:pt x="675" y="439"/>
                </a:cubicBezTo>
                <a:cubicBezTo>
                  <a:pt x="677" y="439"/>
                  <a:pt x="677" y="439"/>
                  <a:pt x="677" y="439"/>
                </a:cubicBezTo>
                <a:cubicBezTo>
                  <a:pt x="675" y="437"/>
                  <a:pt x="675" y="437"/>
                  <a:pt x="675" y="437"/>
                </a:cubicBezTo>
                <a:cubicBezTo>
                  <a:pt x="676" y="435"/>
                  <a:pt x="676" y="435"/>
                  <a:pt x="676" y="435"/>
                </a:cubicBezTo>
                <a:cubicBezTo>
                  <a:pt x="677" y="433"/>
                  <a:pt x="677" y="433"/>
                  <a:pt x="677" y="433"/>
                </a:cubicBezTo>
                <a:cubicBezTo>
                  <a:pt x="677" y="432"/>
                  <a:pt x="677" y="432"/>
                  <a:pt x="677" y="432"/>
                </a:cubicBezTo>
                <a:cubicBezTo>
                  <a:pt x="676" y="432"/>
                  <a:pt x="676" y="432"/>
                  <a:pt x="676" y="432"/>
                </a:cubicBezTo>
                <a:cubicBezTo>
                  <a:pt x="679" y="432"/>
                  <a:pt x="679" y="432"/>
                  <a:pt x="679" y="432"/>
                </a:cubicBezTo>
                <a:cubicBezTo>
                  <a:pt x="680" y="430"/>
                  <a:pt x="680" y="430"/>
                  <a:pt x="680" y="430"/>
                </a:cubicBezTo>
                <a:cubicBezTo>
                  <a:pt x="678" y="428"/>
                  <a:pt x="678" y="428"/>
                  <a:pt x="678" y="428"/>
                </a:cubicBezTo>
                <a:cubicBezTo>
                  <a:pt x="677" y="427"/>
                  <a:pt x="677" y="427"/>
                  <a:pt x="677" y="427"/>
                </a:cubicBezTo>
                <a:cubicBezTo>
                  <a:pt x="680" y="428"/>
                  <a:pt x="680" y="428"/>
                  <a:pt x="680" y="428"/>
                </a:cubicBezTo>
                <a:cubicBezTo>
                  <a:pt x="681" y="429"/>
                  <a:pt x="681" y="429"/>
                  <a:pt x="681" y="429"/>
                </a:cubicBezTo>
                <a:cubicBezTo>
                  <a:pt x="682" y="430"/>
                  <a:pt x="682" y="430"/>
                  <a:pt x="682" y="430"/>
                </a:cubicBezTo>
                <a:cubicBezTo>
                  <a:pt x="684" y="428"/>
                  <a:pt x="684" y="428"/>
                  <a:pt x="684" y="428"/>
                </a:cubicBezTo>
                <a:cubicBezTo>
                  <a:pt x="688" y="429"/>
                  <a:pt x="688" y="429"/>
                  <a:pt x="688" y="429"/>
                </a:cubicBezTo>
                <a:cubicBezTo>
                  <a:pt x="691" y="431"/>
                  <a:pt x="691" y="431"/>
                  <a:pt x="691" y="431"/>
                </a:cubicBezTo>
                <a:cubicBezTo>
                  <a:pt x="691" y="432"/>
                  <a:pt x="691" y="432"/>
                  <a:pt x="691" y="432"/>
                </a:cubicBezTo>
                <a:cubicBezTo>
                  <a:pt x="692" y="434"/>
                  <a:pt x="692" y="434"/>
                  <a:pt x="692" y="434"/>
                </a:cubicBezTo>
                <a:cubicBezTo>
                  <a:pt x="697" y="436"/>
                  <a:pt x="697" y="436"/>
                  <a:pt x="697" y="436"/>
                </a:cubicBezTo>
                <a:cubicBezTo>
                  <a:pt x="699" y="435"/>
                  <a:pt x="699" y="435"/>
                  <a:pt x="699" y="435"/>
                </a:cubicBezTo>
                <a:cubicBezTo>
                  <a:pt x="702" y="436"/>
                  <a:pt x="702" y="436"/>
                  <a:pt x="702" y="436"/>
                </a:cubicBezTo>
                <a:cubicBezTo>
                  <a:pt x="705" y="438"/>
                  <a:pt x="705" y="438"/>
                  <a:pt x="705" y="438"/>
                </a:cubicBezTo>
                <a:cubicBezTo>
                  <a:pt x="705" y="439"/>
                  <a:pt x="705" y="439"/>
                  <a:pt x="705" y="439"/>
                </a:cubicBezTo>
                <a:cubicBezTo>
                  <a:pt x="703" y="440"/>
                  <a:pt x="703" y="440"/>
                  <a:pt x="703" y="440"/>
                </a:cubicBezTo>
                <a:cubicBezTo>
                  <a:pt x="705" y="441"/>
                  <a:pt x="705" y="441"/>
                  <a:pt x="705" y="441"/>
                </a:cubicBezTo>
                <a:cubicBezTo>
                  <a:pt x="703" y="442"/>
                  <a:pt x="703" y="442"/>
                  <a:pt x="703" y="442"/>
                </a:cubicBezTo>
                <a:cubicBezTo>
                  <a:pt x="702" y="441"/>
                  <a:pt x="702" y="441"/>
                  <a:pt x="702" y="441"/>
                </a:cubicBezTo>
                <a:cubicBezTo>
                  <a:pt x="700" y="440"/>
                  <a:pt x="700" y="440"/>
                  <a:pt x="700" y="440"/>
                </a:cubicBezTo>
                <a:cubicBezTo>
                  <a:pt x="700" y="442"/>
                  <a:pt x="700" y="442"/>
                  <a:pt x="700" y="442"/>
                </a:cubicBezTo>
                <a:cubicBezTo>
                  <a:pt x="705" y="445"/>
                  <a:pt x="705" y="445"/>
                  <a:pt x="705" y="445"/>
                </a:cubicBezTo>
                <a:cubicBezTo>
                  <a:pt x="706" y="448"/>
                  <a:pt x="706" y="448"/>
                  <a:pt x="706" y="448"/>
                </a:cubicBezTo>
                <a:cubicBezTo>
                  <a:pt x="703" y="448"/>
                  <a:pt x="703" y="448"/>
                  <a:pt x="703" y="448"/>
                </a:cubicBezTo>
                <a:cubicBezTo>
                  <a:pt x="705" y="449"/>
                  <a:pt x="705" y="449"/>
                  <a:pt x="705" y="449"/>
                </a:cubicBezTo>
                <a:cubicBezTo>
                  <a:pt x="707" y="448"/>
                  <a:pt x="707" y="448"/>
                  <a:pt x="707" y="448"/>
                </a:cubicBezTo>
                <a:cubicBezTo>
                  <a:pt x="710" y="449"/>
                  <a:pt x="710" y="449"/>
                  <a:pt x="710" y="449"/>
                </a:cubicBezTo>
                <a:cubicBezTo>
                  <a:pt x="711" y="451"/>
                  <a:pt x="711" y="451"/>
                  <a:pt x="711" y="451"/>
                </a:cubicBezTo>
                <a:cubicBezTo>
                  <a:pt x="713" y="451"/>
                  <a:pt x="713" y="451"/>
                  <a:pt x="713" y="451"/>
                </a:cubicBezTo>
                <a:cubicBezTo>
                  <a:pt x="713" y="452"/>
                  <a:pt x="713" y="452"/>
                  <a:pt x="713" y="452"/>
                </a:cubicBezTo>
                <a:cubicBezTo>
                  <a:pt x="711" y="455"/>
                  <a:pt x="711" y="455"/>
                  <a:pt x="711" y="455"/>
                </a:cubicBezTo>
                <a:cubicBezTo>
                  <a:pt x="708" y="458"/>
                  <a:pt x="708" y="458"/>
                  <a:pt x="708" y="458"/>
                </a:cubicBezTo>
                <a:cubicBezTo>
                  <a:pt x="705" y="458"/>
                  <a:pt x="705" y="458"/>
                  <a:pt x="705" y="458"/>
                </a:cubicBezTo>
                <a:cubicBezTo>
                  <a:pt x="704" y="459"/>
                  <a:pt x="704" y="459"/>
                  <a:pt x="704" y="459"/>
                </a:cubicBezTo>
                <a:cubicBezTo>
                  <a:pt x="707" y="459"/>
                  <a:pt x="707" y="459"/>
                  <a:pt x="707" y="459"/>
                </a:cubicBezTo>
                <a:cubicBezTo>
                  <a:pt x="708" y="460"/>
                  <a:pt x="708" y="460"/>
                  <a:pt x="708" y="460"/>
                </a:cubicBezTo>
                <a:cubicBezTo>
                  <a:pt x="708" y="461"/>
                  <a:pt x="708" y="461"/>
                  <a:pt x="708" y="461"/>
                </a:cubicBezTo>
                <a:cubicBezTo>
                  <a:pt x="709" y="461"/>
                  <a:pt x="709" y="461"/>
                  <a:pt x="709" y="461"/>
                </a:cubicBezTo>
                <a:cubicBezTo>
                  <a:pt x="710" y="462"/>
                  <a:pt x="710" y="462"/>
                  <a:pt x="710" y="462"/>
                </a:cubicBezTo>
                <a:cubicBezTo>
                  <a:pt x="709" y="464"/>
                  <a:pt x="709" y="464"/>
                  <a:pt x="709" y="464"/>
                </a:cubicBezTo>
                <a:cubicBezTo>
                  <a:pt x="709" y="465"/>
                  <a:pt x="709" y="465"/>
                  <a:pt x="709" y="465"/>
                </a:cubicBezTo>
                <a:cubicBezTo>
                  <a:pt x="707" y="467"/>
                  <a:pt x="707" y="467"/>
                  <a:pt x="707" y="467"/>
                </a:cubicBezTo>
                <a:cubicBezTo>
                  <a:pt x="703" y="468"/>
                  <a:pt x="703" y="468"/>
                  <a:pt x="703" y="468"/>
                </a:cubicBezTo>
                <a:cubicBezTo>
                  <a:pt x="701" y="468"/>
                  <a:pt x="701" y="468"/>
                  <a:pt x="701" y="468"/>
                </a:cubicBezTo>
                <a:cubicBezTo>
                  <a:pt x="700" y="470"/>
                  <a:pt x="700" y="470"/>
                  <a:pt x="700" y="470"/>
                </a:cubicBezTo>
                <a:cubicBezTo>
                  <a:pt x="698" y="469"/>
                  <a:pt x="698" y="469"/>
                  <a:pt x="698" y="469"/>
                </a:cubicBezTo>
                <a:cubicBezTo>
                  <a:pt x="697" y="467"/>
                  <a:pt x="697" y="467"/>
                  <a:pt x="697" y="467"/>
                </a:cubicBezTo>
                <a:cubicBezTo>
                  <a:pt x="694" y="467"/>
                  <a:pt x="694" y="467"/>
                  <a:pt x="694" y="467"/>
                </a:cubicBezTo>
                <a:cubicBezTo>
                  <a:pt x="694" y="465"/>
                  <a:pt x="694" y="465"/>
                  <a:pt x="694" y="465"/>
                </a:cubicBezTo>
                <a:cubicBezTo>
                  <a:pt x="692" y="466"/>
                  <a:pt x="692" y="466"/>
                  <a:pt x="692" y="466"/>
                </a:cubicBezTo>
                <a:cubicBezTo>
                  <a:pt x="692" y="467"/>
                  <a:pt x="692" y="467"/>
                  <a:pt x="692" y="467"/>
                </a:cubicBezTo>
                <a:cubicBezTo>
                  <a:pt x="691" y="468"/>
                  <a:pt x="691" y="468"/>
                  <a:pt x="691" y="468"/>
                </a:cubicBezTo>
                <a:cubicBezTo>
                  <a:pt x="693" y="469"/>
                  <a:pt x="693" y="469"/>
                  <a:pt x="693" y="469"/>
                </a:cubicBezTo>
                <a:cubicBezTo>
                  <a:pt x="695" y="470"/>
                  <a:pt x="695" y="470"/>
                  <a:pt x="695" y="470"/>
                </a:cubicBezTo>
                <a:cubicBezTo>
                  <a:pt x="694" y="472"/>
                  <a:pt x="694" y="472"/>
                  <a:pt x="694" y="472"/>
                </a:cubicBezTo>
                <a:cubicBezTo>
                  <a:pt x="692" y="473"/>
                  <a:pt x="692" y="473"/>
                  <a:pt x="692" y="473"/>
                </a:cubicBezTo>
                <a:cubicBezTo>
                  <a:pt x="694" y="473"/>
                  <a:pt x="694" y="473"/>
                  <a:pt x="694" y="473"/>
                </a:cubicBezTo>
                <a:cubicBezTo>
                  <a:pt x="693" y="475"/>
                  <a:pt x="693" y="475"/>
                  <a:pt x="693" y="475"/>
                </a:cubicBezTo>
                <a:cubicBezTo>
                  <a:pt x="693" y="477"/>
                  <a:pt x="693" y="477"/>
                  <a:pt x="693" y="477"/>
                </a:cubicBezTo>
                <a:cubicBezTo>
                  <a:pt x="694" y="477"/>
                  <a:pt x="694" y="477"/>
                  <a:pt x="694" y="477"/>
                </a:cubicBezTo>
                <a:cubicBezTo>
                  <a:pt x="695" y="475"/>
                  <a:pt x="695" y="475"/>
                  <a:pt x="695" y="475"/>
                </a:cubicBezTo>
                <a:cubicBezTo>
                  <a:pt x="696" y="476"/>
                  <a:pt x="696" y="476"/>
                  <a:pt x="696" y="476"/>
                </a:cubicBezTo>
                <a:cubicBezTo>
                  <a:pt x="696" y="477"/>
                  <a:pt x="696" y="477"/>
                  <a:pt x="696" y="477"/>
                </a:cubicBezTo>
                <a:cubicBezTo>
                  <a:pt x="693" y="478"/>
                  <a:pt x="693" y="478"/>
                  <a:pt x="693" y="478"/>
                </a:cubicBezTo>
                <a:cubicBezTo>
                  <a:pt x="692" y="481"/>
                  <a:pt x="692" y="481"/>
                  <a:pt x="692" y="481"/>
                </a:cubicBezTo>
                <a:cubicBezTo>
                  <a:pt x="692" y="483"/>
                  <a:pt x="692" y="483"/>
                  <a:pt x="692" y="483"/>
                </a:cubicBezTo>
                <a:cubicBezTo>
                  <a:pt x="695" y="485"/>
                  <a:pt x="695" y="485"/>
                  <a:pt x="695" y="485"/>
                </a:cubicBezTo>
                <a:cubicBezTo>
                  <a:pt x="695" y="487"/>
                  <a:pt x="695" y="487"/>
                  <a:pt x="695" y="487"/>
                </a:cubicBezTo>
                <a:cubicBezTo>
                  <a:pt x="697" y="492"/>
                  <a:pt x="697" y="492"/>
                  <a:pt x="697" y="492"/>
                </a:cubicBezTo>
                <a:cubicBezTo>
                  <a:pt x="697" y="495"/>
                  <a:pt x="697" y="495"/>
                  <a:pt x="697" y="495"/>
                </a:cubicBezTo>
                <a:cubicBezTo>
                  <a:pt x="696" y="496"/>
                  <a:pt x="696" y="496"/>
                  <a:pt x="696" y="496"/>
                </a:cubicBezTo>
                <a:cubicBezTo>
                  <a:pt x="696" y="498"/>
                  <a:pt x="696" y="498"/>
                  <a:pt x="696" y="498"/>
                </a:cubicBezTo>
                <a:cubicBezTo>
                  <a:pt x="692" y="500"/>
                  <a:pt x="692" y="500"/>
                  <a:pt x="692" y="500"/>
                </a:cubicBezTo>
                <a:cubicBezTo>
                  <a:pt x="693" y="503"/>
                  <a:pt x="693" y="503"/>
                  <a:pt x="693" y="503"/>
                </a:cubicBezTo>
                <a:cubicBezTo>
                  <a:pt x="692" y="504"/>
                  <a:pt x="692" y="504"/>
                  <a:pt x="692" y="504"/>
                </a:cubicBezTo>
                <a:cubicBezTo>
                  <a:pt x="690" y="503"/>
                  <a:pt x="690" y="503"/>
                  <a:pt x="690" y="503"/>
                </a:cubicBezTo>
                <a:cubicBezTo>
                  <a:pt x="686" y="503"/>
                  <a:pt x="686" y="503"/>
                  <a:pt x="686" y="503"/>
                </a:cubicBezTo>
                <a:cubicBezTo>
                  <a:pt x="684" y="505"/>
                  <a:pt x="684" y="505"/>
                  <a:pt x="684" y="505"/>
                </a:cubicBezTo>
                <a:cubicBezTo>
                  <a:pt x="684" y="507"/>
                  <a:pt x="684" y="507"/>
                  <a:pt x="684" y="507"/>
                </a:cubicBezTo>
                <a:cubicBezTo>
                  <a:pt x="681" y="509"/>
                  <a:pt x="681" y="509"/>
                  <a:pt x="681" y="509"/>
                </a:cubicBezTo>
                <a:cubicBezTo>
                  <a:pt x="680" y="510"/>
                  <a:pt x="680" y="510"/>
                  <a:pt x="680" y="510"/>
                </a:cubicBezTo>
                <a:cubicBezTo>
                  <a:pt x="678" y="510"/>
                  <a:pt x="678" y="510"/>
                  <a:pt x="678" y="510"/>
                </a:cubicBezTo>
                <a:cubicBezTo>
                  <a:pt x="675" y="514"/>
                  <a:pt x="675" y="514"/>
                  <a:pt x="675" y="514"/>
                </a:cubicBezTo>
                <a:cubicBezTo>
                  <a:pt x="673" y="514"/>
                  <a:pt x="673" y="514"/>
                  <a:pt x="673" y="514"/>
                </a:cubicBezTo>
                <a:cubicBezTo>
                  <a:pt x="671" y="514"/>
                  <a:pt x="671" y="514"/>
                  <a:pt x="671" y="514"/>
                </a:cubicBezTo>
                <a:cubicBezTo>
                  <a:pt x="670" y="516"/>
                  <a:pt x="670" y="516"/>
                  <a:pt x="670" y="516"/>
                </a:cubicBezTo>
                <a:cubicBezTo>
                  <a:pt x="664" y="518"/>
                  <a:pt x="664" y="518"/>
                  <a:pt x="664" y="518"/>
                </a:cubicBezTo>
                <a:cubicBezTo>
                  <a:pt x="663" y="517"/>
                  <a:pt x="663" y="517"/>
                  <a:pt x="663" y="517"/>
                </a:cubicBezTo>
                <a:cubicBezTo>
                  <a:pt x="664" y="515"/>
                  <a:pt x="664" y="515"/>
                  <a:pt x="664" y="515"/>
                </a:cubicBezTo>
                <a:cubicBezTo>
                  <a:pt x="663" y="512"/>
                  <a:pt x="663" y="512"/>
                  <a:pt x="663" y="512"/>
                </a:cubicBezTo>
                <a:cubicBezTo>
                  <a:pt x="662" y="511"/>
                  <a:pt x="662" y="511"/>
                  <a:pt x="662" y="511"/>
                </a:cubicBezTo>
                <a:cubicBezTo>
                  <a:pt x="662" y="509"/>
                  <a:pt x="662" y="509"/>
                  <a:pt x="662" y="509"/>
                </a:cubicBezTo>
                <a:cubicBezTo>
                  <a:pt x="663" y="509"/>
                  <a:pt x="663" y="509"/>
                  <a:pt x="663" y="509"/>
                </a:cubicBezTo>
                <a:cubicBezTo>
                  <a:pt x="663" y="507"/>
                  <a:pt x="663" y="507"/>
                  <a:pt x="663" y="507"/>
                </a:cubicBezTo>
                <a:cubicBezTo>
                  <a:pt x="665" y="503"/>
                  <a:pt x="665" y="503"/>
                  <a:pt x="665" y="503"/>
                </a:cubicBezTo>
                <a:cubicBezTo>
                  <a:pt x="663" y="506"/>
                  <a:pt x="663" y="506"/>
                  <a:pt x="663" y="506"/>
                </a:cubicBezTo>
                <a:cubicBezTo>
                  <a:pt x="662" y="506"/>
                  <a:pt x="662" y="506"/>
                  <a:pt x="662" y="506"/>
                </a:cubicBezTo>
                <a:cubicBezTo>
                  <a:pt x="661" y="501"/>
                  <a:pt x="661" y="501"/>
                  <a:pt x="661" y="501"/>
                </a:cubicBezTo>
                <a:cubicBezTo>
                  <a:pt x="660" y="501"/>
                  <a:pt x="660" y="501"/>
                  <a:pt x="660" y="501"/>
                </a:cubicBezTo>
                <a:cubicBezTo>
                  <a:pt x="659" y="498"/>
                  <a:pt x="659" y="498"/>
                  <a:pt x="659" y="498"/>
                </a:cubicBezTo>
                <a:cubicBezTo>
                  <a:pt x="657" y="500"/>
                  <a:pt x="657" y="500"/>
                  <a:pt x="657" y="500"/>
                </a:cubicBezTo>
                <a:cubicBezTo>
                  <a:pt x="656" y="499"/>
                  <a:pt x="656" y="499"/>
                  <a:pt x="656" y="499"/>
                </a:cubicBezTo>
                <a:cubicBezTo>
                  <a:pt x="654" y="499"/>
                  <a:pt x="654" y="499"/>
                  <a:pt x="654" y="499"/>
                </a:cubicBezTo>
                <a:cubicBezTo>
                  <a:pt x="651" y="502"/>
                  <a:pt x="651" y="502"/>
                  <a:pt x="651" y="502"/>
                </a:cubicBezTo>
                <a:cubicBezTo>
                  <a:pt x="653" y="503"/>
                  <a:pt x="653" y="503"/>
                  <a:pt x="653" y="503"/>
                </a:cubicBezTo>
                <a:cubicBezTo>
                  <a:pt x="656" y="501"/>
                  <a:pt x="656" y="501"/>
                  <a:pt x="656" y="501"/>
                </a:cubicBezTo>
                <a:cubicBezTo>
                  <a:pt x="657" y="501"/>
                  <a:pt x="657" y="501"/>
                  <a:pt x="657" y="501"/>
                </a:cubicBezTo>
                <a:cubicBezTo>
                  <a:pt x="657" y="503"/>
                  <a:pt x="657" y="503"/>
                  <a:pt x="657" y="503"/>
                </a:cubicBezTo>
                <a:cubicBezTo>
                  <a:pt x="659" y="504"/>
                  <a:pt x="659" y="504"/>
                  <a:pt x="659" y="504"/>
                </a:cubicBezTo>
                <a:cubicBezTo>
                  <a:pt x="660" y="508"/>
                  <a:pt x="660" y="508"/>
                  <a:pt x="660" y="508"/>
                </a:cubicBezTo>
                <a:cubicBezTo>
                  <a:pt x="660" y="511"/>
                  <a:pt x="660" y="511"/>
                  <a:pt x="660" y="511"/>
                </a:cubicBezTo>
                <a:cubicBezTo>
                  <a:pt x="661" y="512"/>
                  <a:pt x="661" y="512"/>
                  <a:pt x="661" y="512"/>
                </a:cubicBezTo>
                <a:cubicBezTo>
                  <a:pt x="661" y="515"/>
                  <a:pt x="661" y="515"/>
                  <a:pt x="661" y="515"/>
                </a:cubicBezTo>
                <a:cubicBezTo>
                  <a:pt x="660" y="517"/>
                  <a:pt x="660" y="517"/>
                  <a:pt x="660" y="517"/>
                </a:cubicBezTo>
                <a:cubicBezTo>
                  <a:pt x="661" y="518"/>
                  <a:pt x="661" y="518"/>
                  <a:pt x="661" y="518"/>
                </a:cubicBezTo>
                <a:cubicBezTo>
                  <a:pt x="661" y="520"/>
                  <a:pt x="661" y="520"/>
                  <a:pt x="661" y="520"/>
                </a:cubicBezTo>
                <a:cubicBezTo>
                  <a:pt x="660" y="520"/>
                  <a:pt x="660" y="520"/>
                  <a:pt x="660" y="520"/>
                </a:cubicBezTo>
                <a:cubicBezTo>
                  <a:pt x="656" y="517"/>
                  <a:pt x="656" y="517"/>
                  <a:pt x="656" y="517"/>
                </a:cubicBezTo>
                <a:cubicBezTo>
                  <a:pt x="656" y="515"/>
                  <a:pt x="656" y="515"/>
                  <a:pt x="656" y="515"/>
                </a:cubicBezTo>
                <a:cubicBezTo>
                  <a:pt x="654" y="514"/>
                  <a:pt x="654" y="514"/>
                  <a:pt x="654" y="514"/>
                </a:cubicBezTo>
                <a:cubicBezTo>
                  <a:pt x="653" y="512"/>
                  <a:pt x="653" y="512"/>
                  <a:pt x="653" y="512"/>
                </a:cubicBezTo>
                <a:cubicBezTo>
                  <a:pt x="652" y="514"/>
                  <a:pt x="652" y="514"/>
                  <a:pt x="652" y="514"/>
                </a:cubicBezTo>
                <a:cubicBezTo>
                  <a:pt x="654" y="516"/>
                  <a:pt x="654" y="516"/>
                  <a:pt x="654" y="516"/>
                </a:cubicBezTo>
                <a:cubicBezTo>
                  <a:pt x="654" y="518"/>
                  <a:pt x="654" y="518"/>
                  <a:pt x="654" y="518"/>
                </a:cubicBezTo>
                <a:cubicBezTo>
                  <a:pt x="651" y="517"/>
                  <a:pt x="651" y="517"/>
                  <a:pt x="651" y="517"/>
                </a:cubicBezTo>
                <a:cubicBezTo>
                  <a:pt x="649" y="516"/>
                  <a:pt x="649" y="516"/>
                  <a:pt x="649" y="516"/>
                </a:cubicBezTo>
                <a:cubicBezTo>
                  <a:pt x="649" y="515"/>
                  <a:pt x="649" y="515"/>
                  <a:pt x="649" y="515"/>
                </a:cubicBezTo>
                <a:cubicBezTo>
                  <a:pt x="647" y="516"/>
                  <a:pt x="647" y="516"/>
                  <a:pt x="647" y="516"/>
                </a:cubicBezTo>
                <a:cubicBezTo>
                  <a:pt x="647" y="514"/>
                  <a:pt x="647" y="514"/>
                  <a:pt x="647" y="514"/>
                </a:cubicBezTo>
                <a:cubicBezTo>
                  <a:pt x="648" y="511"/>
                  <a:pt x="648" y="511"/>
                  <a:pt x="648" y="511"/>
                </a:cubicBezTo>
                <a:cubicBezTo>
                  <a:pt x="649" y="510"/>
                  <a:pt x="649" y="510"/>
                  <a:pt x="649" y="510"/>
                </a:cubicBezTo>
                <a:cubicBezTo>
                  <a:pt x="647" y="509"/>
                  <a:pt x="647" y="509"/>
                  <a:pt x="647" y="509"/>
                </a:cubicBezTo>
                <a:cubicBezTo>
                  <a:pt x="647" y="508"/>
                  <a:pt x="647" y="508"/>
                  <a:pt x="647" y="508"/>
                </a:cubicBezTo>
                <a:cubicBezTo>
                  <a:pt x="644" y="510"/>
                  <a:pt x="644" y="510"/>
                  <a:pt x="644" y="510"/>
                </a:cubicBezTo>
                <a:cubicBezTo>
                  <a:pt x="641" y="510"/>
                  <a:pt x="641" y="510"/>
                  <a:pt x="641" y="510"/>
                </a:cubicBezTo>
                <a:cubicBezTo>
                  <a:pt x="639" y="508"/>
                  <a:pt x="639" y="508"/>
                  <a:pt x="639" y="508"/>
                </a:cubicBezTo>
                <a:cubicBezTo>
                  <a:pt x="637" y="508"/>
                  <a:pt x="637" y="508"/>
                  <a:pt x="637" y="508"/>
                </a:cubicBezTo>
                <a:cubicBezTo>
                  <a:pt x="634" y="507"/>
                  <a:pt x="634" y="507"/>
                  <a:pt x="634" y="507"/>
                </a:cubicBezTo>
                <a:cubicBezTo>
                  <a:pt x="634" y="509"/>
                  <a:pt x="634" y="509"/>
                  <a:pt x="634" y="509"/>
                </a:cubicBezTo>
                <a:cubicBezTo>
                  <a:pt x="634" y="510"/>
                  <a:pt x="634" y="510"/>
                  <a:pt x="634" y="510"/>
                </a:cubicBezTo>
                <a:cubicBezTo>
                  <a:pt x="633" y="511"/>
                  <a:pt x="633" y="511"/>
                  <a:pt x="633" y="511"/>
                </a:cubicBezTo>
                <a:cubicBezTo>
                  <a:pt x="633" y="513"/>
                  <a:pt x="633" y="513"/>
                  <a:pt x="633" y="513"/>
                </a:cubicBezTo>
                <a:cubicBezTo>
                  <a:pt x="635" y="515"/>
                  <a:pt x="635" y="515"/>
                  <a:pt x="635" y="515"/>
                </a:cubicBezTo>
                <a:cubicBezTo>
                  <a:pt x="638" y="515"/>
                  <a:pt x="638" y="515"/>
                  <a:pt x="638" y="515"/>
                </a:cubicBezTo>
                <a:cubicBezTo>
                  <a:pt x="639" y="518"/>
                  <a:pt x="639" y="518"/>
                  <a:pt x="639" y="518"/>
                </a:cubicBezTo>
                <a:cubicBezTo>
                  <a:pt x="637" y="521"/>
                  <a:pt x="637" y="521"/>
                  <a:pt x="637" y="521"/>
                </a:cubicBezTo>
                <a:cubicBezTo>
                  <a:pt x="635" y="522"/>
                  <a:pt x="635" y="522"/>
                  <a:pt x="635" y="522"/>
                </a:cubicBezTo>
                <a:cubicBezTo>
                  <a:pt x="630" y="526"/>
                  <a:pt x="630" y="526"/>
                  <a:pt x="630" y="526"/>
                </a:cubicBezTo>
                <a:cubicBezTo>
                  <a:pt x="627" y="529"/>
                  <a:pt x="627" y="529"/>
                  <a:pt x="627" y="529"/>
                </a:cubicBezTo>
                <a:cubicBezTo>
                  <a:pt x="624" y="532"/>
                  <a:pt x="624" y="532"/>
                  <a:pt x="624" y="532"/>
                </a:cubicBezTo>
                <a:cubicBezTo>
                  <a:pt x="623" y="532"/>
                  <a:pt x="623" y="532"/>
                  <a:pt x="623" y="532"/>
                </a:cubicBezTo>
                <a:cubicBezTo>
                  <a:pt x="621" y="533"/>
                  <a:pt x="621" y="533"/>
                  <a:pt x="621" y="533"/>
                </a:cubicBezTo>
                <a:cubicBezTo>
                  <a:pt x="620" y="536"/>
                  <a:pt x="620" y="536"/>
                  <a:pt x="620" y="536"/>
                </a:cubicBezTo>
                <a:cubicBezTo>
                  <a:pt x="618" y="537"/>
                  <a:pt x="618" y="537"/>
                  <a:pt x="618" y="537"/>
                </a:cubicBezTo>
                <a:cubicBezTo>
                  <a:pt x="610" y="535"/>
                  <a:pt x="610" y="535"/>
                  <a:pt x="610" y="535"/>
                </a:cubicBezTo>
                <a:cubicBezTo>
                  <a:pt x="608" y="533"/>
                  <a:pt x="608" y="533"/>
                  <a:pt x="608" y="533"/>
                </a:cubicBezTo>
                <a:cubicBezTo>
                  <a:pt x="607" y="530"/>
                  <a:pt x="607" y="530"/>
                  <a:pt x="607" y="530"/>
                </a:cubicBezTo>
                <a:cubicBezTo>
                  <a:pt x="603" y="528"/>
                  <a:pt x="603" y="528"/>
                  <a:pt x="603" y="528"/>
                </a:cubicBezTo>
                <a:cubicBezTo>
                  <a:pt x="604" y="527"/>
                  <a:pt x="604" y="527"/>
                  <a:pt x="604" y="527"/>
                </a:cubicBezTo>
                <a:cubicBezTo>
                  <a:pt x="605" y="527"/>
                  <a:pt x="605" y="527"/>
                  <a:pt x="605" y="527"/>
                </a:cubicBezTo>
                <a:cubicBezTo>
                  <a:pt x="606" y="526"/>
                  <a:pt x="606" y="526"/>
                  <a:pt x="606" y="526"/>
                </a:cubicBezTo>
                <a:cubicBezTo>
                  <a:pt x="605" y="525"/>
                  <a:pt x="605" y="525"/>
                  <a:pt x="605" y="525"/>
                </a:cubicBezTo>
                <a:cubicBezTo>
                  <a:pt x="602" y="524"/>
                  <a:pt x="602" y="524"/>
                  <a:pt x="602" y="524"/>
                </a:cubicBezTo>
                <a:cubicBezTo>
                  <a:pt x="600" y="520"/>
                  <a:pt x="600" y="520"/>
                  <a:pt x="600" y="520"/>
                </a:cubicBezTo>
                <a:cubicBezTo>
                  <a:pt x="597" y="517"/>
                  <a:pt x="597" y="517"/>
                  <a:pt x="597" y="517"/>
                </a:cubicBezTo>
                <a:cubicBezTo>
                  <a:pt x="592" y="517"/>
                  <a:pt x="592" y="517"/>
                  <a:pt x="592" y="517"/>
                </a:cubicBezTo>
                <a:cubicBezTo>
                  <a:pt x="588" y="515"/>
                  <a:pt x="588" y="515"/>
                  <a:pt x="588" y="515"/>
                </a:cubicBezTo>
                <a:cubicBezTo>
                  <a:pt x="583" y="515"/>
                  <a:pt x="583" y="515"/>
                  <a:pt x="583" y="515"/>
                </a:cubicBezTo>
                <a:cubicBezTo>
                  <a:pt x="580" y="514"/>
                  <a:pt x="580" y="514"/>
                  <a:pt x="580" y="514"/>
                </a:cubicBezTo>
                <a:cubicBezTo>
                  <a:pt x="580" y="516"/>
                  <a:pt x="580" y="516"/>
                  <a:pt x="580" y="516"/>
                </a:cubicBezTo>
                <a:cubicBezTo>
                  <a:pt x="582" y="517"/>
                  <a:pt x="582" y="517"/>
                  <a:pt x="582" y="517"/>
                </a:cubicBezTo>
                <a:cubicBezTo>
                  <a:pt x="583" y="516"/>
                  <a:pt x="583" y="516"/>
                  <a:pt x="583" y="516"/>
                </a:cubicBezTo>
                <a:cubicBezTo>
                  <a:pt x="584" y="516"/>
                  <a:pt x="584" y="516"/>
                  <a:pt x="584" y="516"/>
                </a:cubicBezTo>
                <a:cubicBezTo>
                  <a:pt x="590" y="518"/>
                  <a:pt x="590" y="518"/>
                  <a:pt x="590" y="518"/>
                </a:cubicBezTo>
                <a:cubicBezTo>
                  <a:pt x="595" y="518"/>
                  <a:pt x="595" y="518"/>
                  <a:pt x="595" y="518"/>
                </a:cubicBezTo>
                <a:cubicBezTo>
                  <a:pt x="596" y="519"/>
                  <a:pt x="596" y="519"/>
                  <a:pt x="596" y="519"/>
                </a:cubicBezTo>
                <a:cubicBezTo>
                  <a:pt x="596" y="520"/>
                  <a:pt x="596" y="520"/>
                  <a:pt x="596" y="520"/>
                </a:cubicBezTo>
                <a:cubicBezTo>
                  <a:pt x="595" y="520"/>
                  <a:pt x="595" y="520"/>
                  <a:pt x="595" y="520"/>
                </a:cubicBezTo>
                <a:cubicBezTo>
                  <a:pt x="594" y="521"/>
                  <a:pt x="594" y="521"/>
                  <a:pt x="594" y="521"/>
                </a:cubicBezTo>
                <a:cubicBezTo>
                  <a:pt x="595" y="522"/>
                  <a:pt x="595" y="522"/>
                  <a:pt x="595" y="522"/>
                </a:cubicBezTo>
                <a:cubicBezTo>
                  <a:pt x="595" y="526"/>
                  <a:pt x="595" y="526"/>
                  <a:pt x="595" y="526"/>
                </a:cubicBezTo>
                <a:cubicBezTo>
                  <a:pt x="596" y="526"/>
                  <a:pt x="596" y="526"/>
                  <a:pt x="596" y="526"/>
                </a:cubicBezTo>
                <a:cubicBezTo>
                  <a:pt x="599" y="531"/>
                  <a:pt x="599" y="531"/>
                  <a:pt x="599" y="531"/>
                </a:cubicBezTo>
                <a:cubicBezTo>
                  <a:pt x="600" y="535"/>
                  <a:pt x="600" y="535"/>
                  <a:pt x="600" y="535"/>
                </a:cubicBezTo>
                <a:cubicBezTo>
                  <a:pt x="605" y="536"/>
                  <a:pt x="605" y="536"/>
                  <a:pt x="605" y="536"/>
                </a:cubicBezTo>
                <a:cubicBezTo>
                  <a:pt x="610" y="537"/>
                  <a:pt x="610" y="537"/>
                  <a:pt x="610" y="537"/>
                </a:cubicBezTo>
                <a:cubicBezTo>
                  <a:pt x="618" y="540"/>
                  <a:pt x="618" y="540"/>
                  <a:pt x="618" y="540"/>
                </a:cubicBezTo>
                <a:cubicBezTo>
                  <a:pt x="619" y="542"/>
                  <a:pt x="619" y="542"/>
                  <a:pt x="619" y="542"/>
                </a:cubicBezTo>
                <a:cubicBezTo>
                  <a:pt x="618" y="543"/>
                  <a:pt x="618" y="543"/>
                  <a:pt x="618" y="543"/>
                </a:cubicBezTo>
                <a:cubicBezTo>
                  <a:pt x="615" y="545"/>
                  <a:pt x="615" y="545"/>
                  <a:pt x="615" y="545"/>
                </a:cubicBezTo>
                <a:cubicBezTo>
                  <a:pt x="613" y="546"/>
                  <a:pt x="613" y="546"/>
                  <a:pt x="613" y="546"/>
                </a:cubicBezTo>
                <a:cubicBezTo>
                  <a:pt x="609" y="551"/>
                  <a:pt x="609" y="551"/>
                  <a:pt x="609" y="551"/>
                </a:cubicBezTo>
                <a:cubicBezTo>
                  <a:pt x="609" y="550"/>
                  <a:pt x="609" y="550"/>
                  <a:pt x="609" y="550"/>
                </a:cubicBezTo>
                <a:cubicBezTo>
                  <a:pt x="608" y="551"/>
                  <a:pt x="608" y="551"/>
                  <a:pt x="608" y="551"/>
                </a:cubicBezTo>
                <a:cubicBezTo>
                  <a:pt x="607" y="552"/>
                  <a:pt x="607" y="552"/>
                  <a:pt x="607" y="552"/>
                </a:cubicBezTo>
                <a:cubicBezTo>
                  <a:pt x="599" y="560"/>
                  <a:pt x="599" y="560"/>
                  <a:pt x="599" y="560"/>
                </a:cubicBezTo>
                <a:cubicBezTo>
                  <a:pt x="596" y="562"/>
                  <a:pt x="596" y="562"/>
                  <a:pt x="596" y="562"/>
                </a:cubicBezTo>
                <a:cubicBezTo>
                  <a:pt x="594" y="565"/>
                  <a:pt x="594" y="565"/>
                  <a:pt x="594" y="565"/>
                </a:cubicBezTo>
                <a:cubicBezTo>
                  <a:pt x="592" y="566"/>
                  <a:pt x="592" y="566"/>
                  <a:pt x="592" y="566"/>
                </a:cubicBezTo>
                <a:cubicBezTo>
                  <a:pt x="591" y="565"/>
                  <a:pt x="591" y="565"/>
                  <a:pt x="591" y="565"/>
                </a:cubicBezTo>
                <a:cubicBezTo>
                  <a:pt x="589" y="565"/>
                  <a:pt x="589" y="565"/>
                  <a:pt x="589" y="565"/>
                </a:cubicBezTo>
                <a:cubicBezTo>
                  <a:pt x="589" y="566"/>
                  <a:pt x="589" y="566"/>
                  <a:pt x="589" y="566"/>
                </a:cubicBezTo>
                <a:cubicBezTo>
                  <a:pt x="586" y="563"/>
                  <a:pt x="586" y="563"/>
                  <a:pt x="586" y="563"/>
                </a:cubicBezTo>
                <a:cubicBezTo>
                  <a:pt x="584" y="562"/>
                  <a:pt x="584" y="562"/>
                  <a:pt x="584" y="562"/>
                </a:cubicBezTo>
                <a:cubicBezTo>
                  <a:pt x="583" y="564"/>
                  <a:pt x="583" y="564"/>
                  <a:pt x="583" y="564"/>
                </a:cubicBezTo>
                <a:cubicBezTo>
                  <a:pt x="582" y="562"/>
                  <a:pt x="582" y="562"/>
                  <a:pt x="582" y="562"/>
                </a:cubicBezTo>
                <a:cubicBezTo>
                  <a:pt x="581" y="562"/>
                  <a:pt x="581" y="562"/>
                  <a:pt x="581" y="562"/>
                </a:cubicBezTo>
                <a:cubicBezTo>
                  <a:pt x="583" y="559"/>
                  <a:pt x="583" y="559"/>
                  <a:pt x="583" y="559"/>
                </a:cubicBezTo>
                <a:cubicBezTo>
                  <a:pt x="582" y="559"/>
                  <a:pt x="582" y="559"/>
                  <a:pt x="582" y="559"/>
                </a:cubicBezTo>
                <a:cubicBezTo>
                  <a:pt x="582" y="557"/>
                  <a:pt x="582" y="557"/>
                  <a:pt x="582" y="557"/>
                </a:cubicBezTo>
                <a:cubicBezTo>
                  <a:pt x="579" y="559"/>
                  <a:pt x="579" y="559"/>
                  <a:pt x="579" y="559"/>
                </a:cubicBezTo>
                <a:cubicBezTo>
                  <a:pt x="577" y="564"/>
                  <a:pt x="577" y="564"/>
                  <a:pt x="577" y="564"/>
                </a:cubicBezTo>
                <a:cubicBezTo>
                  <a:pt x="577" y="561"/>
                  <a:pt x="577" y="561"/>
                  <a:pt x="577" y="561"/>
                </a:cubicBezTo>
                <a:cubicBezTo>
                  <a:pt x="576" y="558"/>
                  <a:pt x="576" y="558"/>
                  <a:pt x="576" y="558"/>
                </a:cubicBezTo>
                <a:cubicBezTo>
                  <a:pt x="575" y="561"/>
                  <a:pt x="575" y="561"/>
                  <a:pt x="575" y="561"/>
                </a:cubicBezTo>
                <a:cubicBezTo>
                  <a:pt x="576" y="562"/>
                  <a:pt x="576" y="562"/>
                  <a:pt x="576" y="562"/>
                </a:cubicBezTo>
                <a:cubicBezTo>
                  <a:pt x="576" y="567"/>
                  <a:pt x="576" y="567"/>
                  <a:pt x="576" y="567"/>
                </a:cubicBezTo>
                <a:cubicBezTo>
                  <a:pt x="573" y="571"/>
                  <a:pt x="573" y="571"/>
                  <a:pt x="573" y="571"/>
                </a:cubicBezTo>
                <a:cubicBezTo>
                  <a:pt x="571" y="571"/>
                  <a:pt x="571" y="571"/>
                  <a:pt x="571" y="571"/>
                </a:cubicBezTo>
                <a:cubicBezTo>
                  <a:pt x="571" y="569"/>
                  <a:pt x="571" y="569"/>
                  <a:pt x="571" y="569"/>
                </a:cubicBezTo>
                <a:cubicBezTo>
                  <a:pt x="569" y="566"/>
                  <a:pt x="569" y="566"/>
                  <a:pt x="569" y="566"/>
                </a:cubicBezTo>
                <a:cubicBezTo>
                  <a:pt x="568" y="568"/>
                  <a:pt x="568" y="568"/>
                  <a:pt x="568" y="568"/>
                </a:cubicBezTo>
                <a:cubicBezTo>
                  <a:pt x="570" y="570"/>
                  <a:pt x="570" y="570"/>
                  <a:pt x="570" y="570"/>
                </a:cubicBezTo>
                <a:cubicBezTo>
                  <a:pt x="568" y="571"/>
                  <a:pt x="568" y="571"/>
                  <a:pt x="568" y="571"/>
                </a:cubicBezTo>
                <a:cubicBezTo>
                  <a:pt x="567" y="574"/>
                  <a:pt x="567" y="574"/>
                  <a:pt x="567" y="574"/>
                </a:cubicBezTo>
                <a:cubicBezTo>
                  <a:pt x="566" y="573"/>
                  <a:pt x="566" y="573"/>
                  <a:pt x="566" y="573"/>
                </a:cubicBezTo>
                <a:cubicBezTo>
                  <a:pt x="564" y="572"/>
                  <a:pt x="564" y="572"/>
                  <a:pt x="564" y="572"/>
                </a:cubicBezTo>
                <a:cubicBezTo>
                  <a:pt x="563" y="570"/>
                  <a:pt x="563" y="570"/>
                  <a:pt x="563" y="570"/>
                </a:cubicBezTo>
                <a:cubicBezTo>
                  <a:pt x="561" y="569"/>
                  <a:pt x="561" y="569"/>
                  <a:pt x="561" y="569"/>
                </a:cubicBezTo>
                <a:cubicBezTo>
                  <a:pt x="559" y="566"/>
                  <a:pt x="559" y="566"/>
                  <a:pt x="559" y="566"/>
                </a:cubicBezTo>
                <a:cubicBezTo>
                  <a:pt x="554" y="564"/>
                  <a:pt x="554" y="564"/>
                  <a:pt x="554" y="564"/>
                </a:cubicBezTo>
                <a:cubicBezTo>
                  <a:pt x="550" y="561"/>
                  <a:pt x="550" y="561"/>
                  <a:pt x="550" y="561"/>
                </a:cubicBezTo>
                <a:cubicBezTo>
                  <a:pt x="548" y="558"/>
                  <a:pt x="548" y="558"/>
                  <a:pt x="548" y="558"/>
                </a:cubicBezTo>
                <a:cubicBezTo>
                  <a:pt x="546" y="557"/>
                  <a:pt x="546" y="557"/>
                  <a:pt x="546" y="557"/>
                </a:cubicBezTo>
                <a:cubicBezTo>
                  <a:pt x="543" y="554"/>
                  <a:pt x="543" y="554"/>
                  <a:pt x="543" y="554"/>
                </a:cubicBezTo>
                <a:cubicBezTo>
                  <a:pt x="542" y="553"/>
                  <a:pt x="542" y="553"/>
                  <a:pt x="542" y="553"/>
                </a:cubicBezTo>
                <a:cubicBezTo>
                  <a:pt x="542" y="556"/>
                  <a:pt x="542" y="556"/>
                  <a:pt x="542" y="556"/>
                </a:cubicBezTo>
                <a:cubicBezTo>
                  <a:pt x="539" y="556"/>
                  <a:pt x="539" y="556"/>
                  <a:pt x="539" y="556"/>
                </a:cubicBezTo>
                <a:cubicBezTo>
                  <a:pt x="541" y="559"/>
                  <a:pt x="541" y="559"/>
                  <a:pt x="541" y="559"/>
                </a:cubicBezTo>
                <a:cubicBezTo>
                  <a:pt x="543" y="561"/>
                  <a:pt x="543" y="561"/>
                  <a:pt x="543" y="561"/>
                </a:cubicBezTo>
                <a:cubicBezTo>
                  <a:pt x="544" y="560"/>
                  <a:pt x="544" y="560"/>
                  <a:pt x="544" y="560"/>
                </a:cubicBezTo>
                <a:cubicBezTo>
                  <a:pt x="543" y="558"/>
                  <a:pt x="543" y="558"/>
                  <a:pt x="543" y="558"/>
                </a:cubicBezTo>
                <a:cubicBezTo>
                  <a:pt x="543" y="557"/>
                  <a:pt x="543" y="557"/>
                  <a:pt x="543" y="557"/>
                </a:cubicBezTo>
                <a:cubicBezTo>
                  <a:pt x="544" y="557"/>
                  <a:pt x="544" y="557"/>
                  <a:pt x="544" y="557"/>
                </a:cubicBezTo>
                <a:cubicBezTo>
                  <a:pt x="549" y="562"/>
                  <a:pt x="549" y="562"/>
                  <a:pt x="549" y="562"/>
                </a:cubicBezTo>
                <a:cubicBezTo>
                  <a:pt x="553" y="565"/>
                  <a:pt x="553" y="565"/>
                  <a:pt x="553" y="565"/>
                </a:cubicBezTo>
                <a:cubicBezTo>
                  <a:pt x="554" y="566"/>
                  <a:pt x="554" y="566"/>
                  <a:pt x="554" y="566"/>
                </a:cubicBezTo>
                <a:cubicBezTo>
                  <a:pt x="551" y="568"/>
                  <a:pt x="551" y="568"/>
                  <a:pt x="551" y="568"/>
                </a:cubicBezTo>
                <a:cubicBezTo>
                  <a:pt x="548" y="569"/>
                  <a:pt x="548" y="569"/>
                  <a:pt x="548" y="569"/>
                </a:cubicBezTo>
                <a:cubicBezTo>
                  <a:pt x="546" y="568"/>
                  <a:pt x="546" y="568"/>
                  <a:pt x="546" y="568"/>
                </a:cubicBezTo>
                <a:cubicBezTo>
                  <a:pt x="547" y="570"/>
                  <a:pt x="547" y="570"/>
                  <a:pt x="547" y="570"/>
                </a:cubicBezTo>
                <a:cubicBezTo>
                  <a:pt x="547" y="570"/>
                  <a:pt x="547" y="570"/>
                  <a:pt x="547" y="570"/>
                </a:cubicBezTo>
                <a:cubicBezTo>
                  <a:pt x="548" y="570"/>
                  <a:pt x="548" y="570"/>
                  <a:pt x="548" y="570"/>
                </a:cubicBezTo>
                <a:cubicBezTo>
                  <a:pt x="553" y="569"/>
                  <a:pt x="553" y="569"/>
                  <a:pt x="553" y="569"/>
                </a:cubicBezTo>
                <a:cubicBezTo>
                  <a:pt x="556" y="567"/>
                  <a:pt x="556" y="567"/>
                  <a:pt x="556" y="567"/>
                </a:cubicBezTo>
                <a:cubicBezTo>
                  <a:pt x="557" y="567"/>
                  <a:pt x="557" y="567"/>
                  <a:pt x="557" y="567"/>
                </a:cubicBezTo>
                <a:cubicBezTo>
                  <a:pt x="558" y="568"/>
                  <a:pt x="558" y="568"/>
                  <a:pt x="558" y="568"/>
                </a:cubicBezTo>
                <a:cubicBezTo>
                  <a:pt x="559" y="571"/>
                  <a:pt x="559" y="571"/>
                  <a:pt x="559" y="571"/>
                </a:cubicBezTo>
                <a:cubicBezTo>
                  <a:pt x="563" y="577"/>
                  <a:pt x="563" y="577"/>
                  <a:pt x="563" y="577"/>
                </a:cubicBezTo>
                <a:cubicBezTo>
                  <a:pt x="563" y="582"/>
                  <a:pt x="563" y="582"/>
                  <a:pt x="563" y="582"/>
                </a:cubicBezTo>
                <a:cubicBezTo>
                  <a:pt x="560" y="586"/>
                  <a:pt x="560" y="586"/>
                  <a:pt x="560" y="586"/>
                </a:cubicBezTo>
                <a:cubicBezTo>
                  <a:pt x="558" y="586"/>
                  <a:pt x="558" y="586"/>
                  <a:pt x="558" y="586"/>
                </a:cubicBezTo>
                <a:cubicBezTo>
                  <a:pt x="556" y="587"/>
                  <a:pt x="556" y="587"/>
                  <a:pt x="556" y="587"/>
                </a:cubicBezTo>
                <a:cubicBezTo>
                  <a:pt x="553" y="587"/>
                  <a:pt x="553" y="587"/>
                  <a:pt x="553" y="587"/>
                </a:cubicBezTo>
                <a:cubicBezTo>
                  <a:pt x="551" y="585"/>
                  <a:pt x="551" y="585"/>
                  <a:pt x="551" y="585"/>
                </a:cubicBezTo>
                <a:cubicBezTo>
                  <a:pt x="546" y="584"/>
                  <a:pt x="546" y="584"/>
                  <a:pt x="546" y="584"/>
                </a:cubicBezTo>
                <a:cubicBezTo>
                  <a:pt x="543" y="580"/>
                  <a:pt x="543" y="580"/>
                  <a:pt x="543" y="580"/>
                </a:cubicBezTo>
                <a:cubicBezTo>
                  <a:pt x="542" y="576"/>
                  <a:pt x="542" y="576"/>
                  <a:pt x="542" y="576"/>
                </a:cubicBezTo>
                <a:cubicBezTo>
                  <a:pt x="540" y="575"/>
                  <a:pt x="540" y="575"/>
                  <a:pt x="540" y="575"/>
                </a:cubicBezTo>
                <a:cubicBezTo>
                  <a:pt x="539" y="576"/>
                  <a:pt x="539" y="576"/>
                  <a:pt x="539" y="576"/>
                </a:cubicBezTo>
                <a:cubicBezTo>
                  <a:pt x="540" y="577"/>
                  <a:pt x="540" y="577"/>
                  <a:pt x="540" y="577"/>
                </a:cubicBezTo>
                <a:cubicBezTo>
                  <a:pt x="540" y="580"/>
                  <a:pt x="540" y="580"/>
                  <a:pt x="540" y="580"/>
                </a:cubicBezTo>
                <a:cubicBezTo>
                  <a:pt x="542" y="582"/>
                  <a:pt x="542" y="582"/>
                  <a:pt x="542" y="582"/>
                </a:cubicBezTo>
                <a:cubicBezTo>
                  <a:pt x="543" y="587"/>
                  <a:pt x="543" y="587"/>
                  <a:pt x="543" y="587"/>
                </a:cubicBezTo>
                <a:cubicBezTo>
                  <a:pt x="546" y="591"/>
                  <a:pt x="546" y="591"/>
                  <a:pt x="546" y="591"/>
                </a:cubicBezTo>
                <a:cubicBezTo>
                  <a:pt x="544" y="593"/>
                  <a:pt x="544" y="593"/>
                  <a:pt x="544" y="593"/>
                </a:cubicBezTo>
                <a:cubicBezTo>
                  <a:pt x="543" y="592"/>
                  <a:pt x="543" y="592"/>
                  <a:pt x="543" y="592"/>
                </a:cubicBezTo>
                <a:cubicBezTo>
                  <a:pt x="541" y="592"/>
                  <a:pt x="541" y="592"/>
                  <a:pt x="541" y="592"/>
                </a:cubicBezTo>
                <a:cubicBezTo>
                  <a:pt x="540" y="589"/>
                  <a:pt x="540" y="589"/>
                  <a:pt x="540" y="589"/>
                </a:cubicBezTo>
                <a:cubicBezTo>
                  <a:pt x="540" y="591"/>
                  <a:pt x="540" y="591"/>
                  <a:pt x="540" y="591"/>
                </a:cubicBezTo>
                <a:cubicBezTo>
                  <a:pt x="539" y="591"/>
                  <a:pt x="539" y="591"/>
                  <a:pt x="539" y="591"/>
                </a:cubicBezTo>
                <a:cubicBezTo>
                  <a:pt x="539" y="593"/>
                  <a:pt x="539" y="593"/>
                  <a:pt x="539" y="593"/>
                </a:cubicBezTo>
                <a:cubicBezTo>
                  <a:pt x="541" y="594"/>
                  <a:pt x="541" y="594"/>
                  <a:pt x="541" y="594"/>
                </a:cubicBezTo>
                <a:cubicBezTo>
                  <a:pt x="542" y="595"/>
                  <a:pt x="542" y="595"/>
                  <a:pt x="542" y="595"/>
                </a:cubicBezTo>
                <a:cubicBezTo>
                  <a:pt x="538" y="594"/>
                  <a:pt x="538" y="594"/>
                  <a:pt x="538" y="594"/>
                </a:cubicBezTo>
                <a:cubicBezTo>
                  <a:pt x="537" y="593"/>
                  <a:pt x="537" y="593"/>
                  <a:pt x="537" y="593"/>
                </a:cubicBezTo>
                <a:cubicBezTo>
                  <a:pt x="537" y="595"/>
                  <a:pt x="537" y="595"/>
                  <a:pt x="537" y="595"/>
                </a:cubicBezTo>
                <a:cubicBezTo>
                  <a:pt x="538" y="597"/>
                  <a:pt x="538" y="597"/>
                  <a:pt x="538" y="597"/>
                </a:cubicBezTo>
                <a:cubicBezTo>
                  <a:pt x="538" y="599"/>
                  <a:pt x="538" y="599"/>
                  <a:pt x="538" y="599"/>
                </a:cubicBezTo>
                <a:cubicBezTo>
                  <a:pt x="536" y="601"/>
                  <a:pt x="536" y="601"/>
                  <a:pt x="536" y="601"/>
                </a:cubicBezTo>
                <a:cubicBezTo>
                  <a:pt x="536" y="598"/>
                  <a:pt x="536" y="598"/>
                  <a:pt x="536" y="598"/>
                </a:cubicBezTo>
                <a:cubicBezTo>
                  <a:pt x="534" y="598"/>
                  <a:pt x="534" y="598"/>
                  <a:pt x="534" y="598"/>
                </a:cubicBezTo>
                <a:cubicBezTo>
                  <a:pt x="535" y="599"/>
                  <a:pt x="535" y="599"/>
                  <a:pt x="535" y="599"/>
                </a:cubicBezTo>
                <a:cubicBezTo>
                  <a:pt x="535" y="601"/>
                  <a:pt x="535" y="601"/>
                  <a:pt x="535" y="601"/>
                </a:cubicBezTo>
                <a:cubicBezTo>
                  <a:pt x="534" y="600"/>
                  <a:pt x="534" y="600"/>
                  <a:pt x="534" y="600"/>
                </a:cubicBezTo>
                <a:cubicBezTo>
                  <a:pt x="531" y="600"/>
                  <a:pt x="531" y="600"/>
                  <a:pt x="531" y="600"/>
                </a:cubicBezTo>
                <a:cubicBezTo>
                  <a:pt x="530" y="601"/>
                  <a:pt x="530" y="601"/>
                  <a:pt x="530" y="601"/>
                </a:cubicBezTo>
                <a:cubicBezTo>
                  <a:pt x="526" y="603"/>
                  <a:pt x="526" y="603"/>
                  <a:pt x="526" y="603"/>
                </a:cubicBezTo>
                <a:cubicBezTo>
                  <a:pt x="528" y="604"/>
                  <a:pt x="528" y="604"/>
                  <a:pt x="528" y="604"/>
                </a:cubicBezTo>
                <a:cubicBezTo>
                  <a:pt x="528" y="606"/>
                  <a:pt x="528" y="606"/>
                  <a:pt x="528" y="606"/>
                </a:cubicBezTo>
                <a:cubicBezTo>
                  <a:pt x="527" y="606"/>
                  <a:pt x="527" y="606"/>
                  <a:pt x="527" y="606"/>
                </a:cubicBezTo>
                <a:cubicBezTo>
                  <a:pt x="527" y="605"/>
                  <a:pt x="527" y="605"/>
                  <a:pt x="527" y="605"/>
                </a:cubicBezTo>
                <a:cubicBezTo>
                  <a:pt x="524" y="603"/>
                  <a:pt x="524" y="603"/>
                  <a:pt x="524" y="603"/>
                </a:cubicBezTo>
                <a:cubicBezTo>
                  <a:pt x="522" y="603"/>
                  <a:pt x="522" y="603"/>
                  <a:pt x="522" y="603"/>
                </a:cubicBezTo>
                <a:cubicBezTo>
                  <a:pt x="522" y="604"/>
                  <a:pt x="522" y="604"/>
                  <a:pt x="522" y="604"/>
                </a:cubicBezTo>
                <a:cubicBezTo>
                  <a:pt x="521" y="605"/>
                  <a:pt x="521" y="605"/>
                  <a:pt x="521" y="605"/>
                </a:cubicBezTo>
                <a:cubicBezTo>
                  <a:pt x="524" y="607"/>
                  <a:pt x="524" y="607"/>
                  <a:pt x="524" y="607"/>
                </a:cubicBezTo>
                <a:cubicBezTo>
                  <a:pt x="523" y="609"/>
                  <a:pt x="523" y="609"/>
                  <a:pt x="523" y="609"/>
                </a:cubicBezTo>
                <a:cubicBezTo>
                  <a:pt x="523" y="610"/>
                  <a:pt x="523" y="610"/>
                  <a:pt x="523" y="610"/>
                </a:cubicBezTo>
                <a:cubicBezTo>
                  <a:pt x="520" y="610"/>
                  <a:pt x="520" y="610"/>
                  <a:pt x="520" y="610"/>
                </a:cubicBezTo>
                <a:cubicBezTo>
                  <a:pt x="518" y="613"/>
                  <a:pt x="518" y="613"/>
                  <a:pt x="518" y="613"/>
                </a:cubicBezTo>
                <a:cubicBezTo>
                  <a:pt x="515" y="615"/>
                  <a:pt x="515" y="615"/>
                  <a:pt x="515" y="615"/>
                </a:cubicBezTo>
                <a:cubicBezTo>
                  <a:pt x="517" y="616"/>
                  <a:pt x="517" y="616"/>
                  <a:pt x="517" y="616"/>
                </a:cubicBezTo>
                <a:cubicBezTo>
                  <a:pt x="516" y="618"/>
                  <a:pt x="516" y="618"/>
                  <a:pt x="516" y="618"/>
                </a:cubicBezTo>
                <a:cubicBezTo>
                  <a:pt x="514" y="618"/>
                  <a:pt x="514" y="618"/>
                  <a:pt x="514" y="618"/>
                </a:cubicBezTo>
                <a:cubicBezTo>
                  <a:pt x="513" y="619"/>
                  <a:pt x="513" y="619"/>
                  <a:pt x="513" y="619"/>
                </a:cubicBezTo>
                <a:cubicBezTo>
                  <a:pt x="513" y="621"/>
                  <a:pt x="513" y="621"/>
                  <a:pt x="513" y="621"/>
                </a:cubicBezTo>
                <a:cubicBezTo>
                  <a:pt x="511" y="622"/>
                  <a:pt x="511" y="622"/>
                  <a:pt x="511" y="622"/>
                </a:cubicBezTo>
                <a:cubicBezTo>
                  <a:pt x="508" y="626"/>
                  <a:pt x="508" y="626"/>
                  <a:pt x="508" y="626"/>
                </a:cubicBezTo>
                <a:cubicBezTo>
                  <a:pt x="505" y="627"/>
                  <a:pt x="505" y="627"/>
                  <a:pt x="505" y="627"/>
                </a:cubicBezTo>
                <a:cubicBezTo>
                  <a:pt x="505" y="629"/>
                  <a:pt x="505" y="629"/>
                  <a:pt x="505" y="629"/>
                </a:cubicBezTo>
                <a:cubicBezTo>
                  <a:pt x="503" y="631"/>
                  <a:pt x="503" y="631"/>
                  <a:pt x="503" y="631"/>
                </a:cubicBezTo>
                <a:cubicBezTo>
                  <a:pt x="500" y="630"/>
                  <a:pt x="500" y="630"/>
                  <a:pt x="500" y="630"/>
                </a:cubicBezTo>
                <a:cubicBezTo>
                  <a:pt x="500" y="631"/>
                  <a:pt x="500" y="631"/>
                  <a:pt x="500" y="631"/>
                </a:cubicBezTo>
                <a:cubicBezTo>
                  <a:pt x="501" y="634"/>
                  <a:pt x="501" y="634"/>
                  <a:pt x="501" y="634"/>
                </a:cubicBezTo>
                <a:cubicBezTo>
                  <a:pt x="499" y="636"/>
                  <a:pt x="499" y="636"/>
                  <a:pt x="499" y="636"/>
                </a:cubicBezTo>
                <a:cubicBezTo>
                  <a:pt x="498" y="641"/>
                  <a:pt x="498" y="641"/>
                  <a:pt x="498" y="641"/>
                </a:cubicBezTo>
                <a:cubicBezTo>
                  <a:pt x="496" y="643"/>
                  <a:pt x="496" y="643"/>
                  <a:pt x="496" y="643"/>
                </a:cubicBezTo>
                <a:cubicBezTo>
                  <a:pt x="495" y="646"/>
                  <a:pt x="495" y="646"/>
                  <a:pt x="495" y="646"/>
                </a:cubicBezTo>
                <a:cubicBezTo>
                  <a:pt x="493" y="647"/>
                  <a:pt x="493" y="647"/>
                  <a:pt x="493" y="647"/>
                </a:cubicBezTo>
                <a:cubicBezTo>
                  <a:pt x="492" y="652"/>
                  <a:pt x="492" y="652"/>
                  <a:pt x="492" y="652"/>
                </a:cubicBezTo>
                <a:cubicBezTo>
                  <a:pt x="493" y="653"/>
                  <a:pt x="493" y="653"/>
                  <a:pt x="493" y="653"/>
                </a:cubicBezTo>
                <a:cubicBezTo>
                  <a:pt x="493" y="657"/>
                  <a:pt x="493" y="657"/>
                  <a:pt x="493" y="657"/>
                </a:cubicBezTo>
                <a:cubicBezTo>
                  <a:pt x="490" y="660"/>
                  <a:pt x="490" y="660"/>
                  <a:pt x="490" y="660"/>
                </a:cubicBezTo>
                <a:cubicBezTo>
                  <a:pt x="490" y="662"/>
                  <a:pt x="490" y="662"/>
                  <a:pt x="490" y="662"/>
                </a:cubicBezTo>
                <a:cubicBezTo>
                  <a:pt x="487" y="663"/>
                  <a:pt x="487" y="663"/>
                  <a:pt x="487" y="663"/>
                </a:cubicBezTo>
                <a:cubicBezTo>
                  <a:pt x="486" y="664"/>
                  <a:pt x="486" y="664"/>
                  <a:pt x="486" y="664"/>
                </a:cubicBezTo>
                <a:cubicBezTo>
                  <a:pt x="489" y="665"/>
                  <a:pt x="489" y="665"/>
                  <a:pt x="489" y="665"/>
                </a:cubicBezTo>
                <a:cubicBezTo>
                  <a:pt x="489" y="667"/>
                  <a:pt x="489" y="667"/>
                  <a:pt x="489" y="667"/>
                </a:cubicBezTo>
                <a:cubicBezTo>
                  <a:pt x="489" y="669"/>
                  <a:pt x="489" y="669"/>
                  <a:pt x="489" y="669"/>
                </a:cubicBezTo>
                <a:cubicBezTo>
                  <a:pt x="490" y="670"/>
                  <a:pt x="490" y="670"/>
                  <a:pt x="490" y="670"/>
                </a:cubicBezTo>
                <a:cubicBezTo>
                  <a:pt x="490" y="674"/>
                  <a:pt x="490" y="674"/>
                  <a:pt x="490" y="674"/>
                </a:cubicBezTo>
                <a:cubicBezTo>
                  <a:pt x="491" y="674"/>
                  <a:pt x="491" y="674"/>
                  <a:pt x="491" y="674"/>
                </a:cubicBezTo>
                <a:cubicBezTo>
                  <a:pt x="489" y="680"/>
                  <a:pt x="489" y="680"/>
                  <a:pt x="489" y="680"/>
                </a:cubicBezTo>
                <a:cubicBezTo>
                  <a:pt x="485" y="683"/>
                  <a:pt x="485" y="683"/>
                  <a:pt x="485" y="683"/>
                </a:cubicBezTo>
                <a:cubicBezTo>
                  <a:pt x="479" y="684"/>
                  <a:pt x="479" y="684"/>
                  <a:pt x="479" y="684"/>
                </a:cubicBezTo>
                <a:cubicBezTo>
                  <a:pt x="478" y="687"/>
                  <a:pt x="478" y="687"/>
                  <a:pt x="478" y="687"/>
                </a:cubicBezTo>
                <a:cubicBezTo>
                  <a:pt x="481" y="684"/>
                  <a:pt x="481" y="684"/>
                  <a:pt x="481" y="684"/>
                </a:cubicBezTo>
                <a:cubicBezTo>
                  <a:pt x="487" y="683"/>
                  <a:pt x="487" y="683"/>
                  <a:pt x="487" y="683"/>
                </a:cubicBezTo>
                <a:cubicBezTo>
                  <a:pt x="491" y="678"/>
                  <a:pt x="491" y="678"/>
                  <a:pt x="491" y="678"/>
                </a:cubicBezTo>
                <a:cubicBezTo>
                  <a:pt x="494" y="672"/>
                  <a:pt x="494" y="672"/>
                  <a:pt x="494" y="672"/>
                </a:cubicBezTo>
                <a:cubicBezTo>
                  <a:pt x="501" y="672"/>
                  <a:pt x="501" y="672"/>
                  <a:pt x="501" y="672"/>
                </a:cubicBezTo>
                <a:cubicBezTo>
                  <a:pt x="503" y="673"/>
                  <a:pt x="503" y="673"/>
                  <a:pt x="503" y="673"/>
                </a:cubicBezTo>
                <a:cubicBezTo>
                  <a:pt x="503" y="675"/>
                  <a:pt x="503" y="675"/>
                  <a:pt x="503" y="675"/>
                </a:cubicBezTo>
                <a:cubicBezTo>
                  <a:pt x="502" y="678"/>
                  <a:pt x="502" y="678"/>
                  <a:pt x="502" y="678"/>
                </a:cubicBezTo>
                <a:cubicBezTo>
                  <a:pt x="502" y="681"/>
                  <a:pt x="502" y="681"/>
                  <a:pt x="502" y="681"/>
                </a:cubicBezTo>
                <a:cubicBezTo>
                  <a:pt x="504" y="684"/>
                  <a:pt x="504" y="684"/>
                  <a:pt x="504" y="684"/>
                </a:cubicBezTo>
                <a:cubicBezTo>
                  <a:pt x="504" y="689"/>
                  <a:pt x="504" y="689"/>
                  <a:pt x="504" y="689"/>
                </a:cubicBezTo>
                <a:cubicBezTo>
                  <a:pt x="502" y="694"/>
                  <a:pt x="502" y="694"/>
                  <a:pt x="502" y="694"/>
                </a:cubicBezTo>
                <a:cubicBezTo>
                  <a:pt x="503" y="696"/>
                  <a:pt x="503" y="696"/>
                  <a:pt x="503" y="696"/>
                </a:cubicBezTo>
                <a:cubicBezTo>
                  <a:pt x="504" y="700"/>
                  <a:pt x="504" y="700"/>
                  <a:pt x="504" y="700"/>
                </a:cubicBezTo>
                <a:cubicBezTo>
                  <a:pt x="503" y="703"/>
                  <a:pt x="503" y="703"/>
                  <a:pt x="503" y="703"/>
                </a:cubicBezTo>
                <a:cubicBezTo>
                  <a:pt x="496" y="710"/>
                  <a:pt x="496" y="710"/>
                  <a:pt x="496" y="710"/>
                </a:cubicBezTo>
                <a:cubicBezTo>
                  <a:pt x="492" y="711"/>
                  <a:pt x="492" y="711"/>
                  <a:pt x="492" y="711"/>
                </a:cubicBezTo>
                <a:cubicBezTo>
                  <a:pt x="489" y="711"/>
                  <a:pt x="489" y="711"/>
                  <a:pt x="489" y="711"/>
                </a:cubicBezTo>
                <a:cubicBezTo>
                  <a:pt x="492" y="712"/>
                  <a:pt x="492" y="712"/>
                  <a:pt x="492" y="712"/>
                </a:cubicBezTo>
                <a:cubicBezTo>
                  <a:pt x="496" y="712"/>
                  <a:pt x="496" y="712"/>
                  <a:pt x="496" y="712"/>
                </a:cubicBezTo>
                <a:cubicBezTo>
                  <a:pt x="505" y="709"/>
                  <a:pt x="505" y="709"/>
                  <a:pt x="505" y="709"/>
                </a:cubicBezTo>
                <a:cubicBezTo>
                  <a:pt x="513" y="706"/>
                  <a:pt x="513" y="706"/>
                  <a:pt x="513" y="706"/>
                </a:cubicBezTo>
                <a:cubicBezTo>
                  <a:pt x="518" y="706"/>
                  <a:pt x="518" y="706"/>
                  <a:pt x="518" y="706"/>
                </a:cubicBezTo>
                <a:cubicBezTo>
                  <a:pt x="523" y="710"/>
                  <a:pt x="523" y="710"/>
                  <a:pt x="523" y="710"/>
                </a:cubicBezTo>
                <a:cubicBezTo>
                  <a:pt x="527" y="713"/>
                  <a:pt x="527" y="713"/>
                  <a:pt x="527" y="713"/>
                </a:cubicBezTo>
                <a:cubicBezTo>
                  <a:pt x="532" y="714"/>
                  <a:pt x="532" y="714"/>
                  <a:pt x="532" y="714"/>
                </a:cubicBezTo>
                <a:cubicBezTo>
                  <a:pt x="533" y="716"/>
                  <a:pt x="533" y="716"/>
                  <a:pt x="533" y="716"/>
                </a:cubicBezTo>
                <a:cubicBezTo>
                  <a:pt x="536" y="716"/>
                  <a:pt x="536" y="716"/>
                  <a:pt x="536" y="716"/>
                </a:cubicBezTo>
                <a:cubicBezTo>
                  <a:pt x="540" y="720"/>
                  <a:pt x="540" y="720"/>
                  <a:pt x="540" y="720"/>
                </a:cubicBezTo>
                <a:cubicBezTo>
                  <a:pt x="542" y="721"/>
                  <a:pt x="542" y="721"/>
                  <a:pt x="542" y="721"/>
                </a:cubicBezTo>
                <a:cubicBezTo>
                  <a:pt x="543" y="725"/>
                  <a:pt x="543" y="725"/>
                  <a:pt x="543" y="725"/>
                </a:cubicBezTo>
                <a:cubicBezTo>
                  <a:pt x="546" y="726"/>
                  <a:pt x="546" y="726"/>
                  <a:pt x="546" y="726"/>
                </a:cubicBezTo>
                <a:cubicBezTo>
                  <a:pt x="546" y="728"/>
                  <a:pt x="546" y="728"/>
                  <a:pt x="546" y="728"/>
                </a:cubicBezTo>
                <a:cubicBezTo>
                  <a:pt x="547" y="730"/>
                  <a:pt x="547" y="730"/>
                  <a:pt x="547" y="730"/>
                </a:cubicBezTo>
                <a:cubicBezTo>
                  <a:pt x="549" y="734"/>
                  <a:pt x="549" y="734"/>
                  <a:pt x="549" y="734"/>
                </a:cubicBezTo>
                <a:cubicBezTo>
                  <a:pt x="549" y="735"/>
                  <a:pt x="549" y="735"/>
                  <a:pt x="549" y="735"/>
                </a:cubicBezTo>
                <a:cubicBezTo>
                  <a:pt x="550" y="734"/>
                  <a:pt x="550" y="734"/>
                  <a:pt x="550" y="734"/>
                </a:cubicBezTo>
                <a:cubicBezTo>
                  <a:pt x="552" y="736"/>
                  <a:pt x="552" y="736"/>
                  <a:pt x="552" y="736"/>
                </a:cubicBezTo>
                <a:cubicBezTo>
                  <a:pt x="557" y="739"/>
                  <a:pt x="557" y="739"/>
                  <a:pt x="557" y="739"/>
                </a:cubicBezTo>
                <a:cubicBezTo>
                  <a:pt x="558" y="739"/>
                  <a:pt x="558" y="739"/>
                  <a:pt x="558" y="739"/>
                </a:cubicBezTo>
                <a:cubicBezTo>
                  <a:pt x="562" y="742"/>
                  <a:pt x="562" y="742"/>
                  <a:pt x="562" y="742"/>
                </a:cubicBezTo>
                <a:cubicBezTo>
                  <a:pt x="564" y="743"/>
                  <a:pt x="564" y="743"/>
                  <a:pt x="564" y="743"/>
                </a:cubicBezTo>
                <a:cubicBezTo>
                  <a:pt x="568" y="746"/>
                  <a:pt x="568" y="746"/>
                  <a:pt x="568" y="746"/>
                </a:cubicBezTo>
                <a:cubicBezTo>
                  <a:pt x="568" y="748"/>
                  <a:pt x="568" y="748"/>
                  <a:pt x="568" y="748"/>
                </a:cubicBezTo>
                <a:cubicBezTo>
                  <a:pt x="571" y="751"/>
                  <a:pt x="571" y="751"/>
                  <a:pt x="571" y="751"/>
                </a:cubicBezTo>
                <a:cubicBezTo>
                  <a:pt x="571" y="752"/>
                  <a:pt x="571" y="752"/>
                  <a:pt x="571" y="752"/>
                </a:cubicBezTo>
                <a:cubicBezTo>
                  <a:pt x="572" y="753"/>
                  <a:pt x="572" y="753"/>
                  <a:pt x="572" y="753"/>
                </a:cubicBezTo>
                <a:cubicBezTo>
                  <a:pt x="576" y="753"/>
                  <a:pt x="576" y="753"/>
                  <a:pt x="576" y="753"/>
                </a:cubicBezTo>
                <a:cubicBezTo>
                  <a:pt x="577" y="754"/>
                  <a:pt x="577" y="754"/>
                  <a:pt x="577" y="754"/>
                </a:cubicBezTo>
                <a:cubicBezTo>
                  <a:pt x="580" y="753"/>
                  <a:pt x="580" y="753"/>
                  <a:pt x="580" y="753"/>
                </a:cubicBezTo>
                <a:cubicBezTo>
                  <a:pt x="585" y="753"/>
                  <a:pt x="585" y="753"/>
                  <a:pt x="585" y="753"/>
                </a:cubicBezTo>
                <a:cubicBezTo>
                  <a:pt x="586" y="754"/>
                  <a:pt x="586" y="754"/>
                  <a:pt x="586" y="754"/>
                </a:cubicBezTo>
                <a:cubicBezTo>
                  <a:pt x="587" y="754"/>
                  <a:pt x="587" y="754"/>
                  <a:pt x="587" y="754"/>
                </a:cubicBezTo>
                <a:cubicBezTo>
                  <a:pt x="591" y="755"/>
                  <a:pt x="591" y="755"/>
                  <a:pt x="591" y="755"/>
                </a:cubicBezTo>
                <a:cubicBezTo>
                  <a:pt x="595" y="756"/>
                  <a:pt x="595" y="756"/>
                  <a:pt x="595" y="756"/>
                </a:cubicBezTo>
                <a:cubicBezTo>
                  <a:pt x="598" y="755"/>
                  <a:pt x="598" y="755"/>
                  <a:pt x="598" y="755"/>
                </a:cubicBezTo>
                <a:cubicBezTo>
                  <a:pt x="600" y="755"/>
                  <a:pt x="600" y="755"/>
                  <a:pt x="600" y="755"/>
                </a:cubicBezTo>
                <a:cubicBezTo>
                  <a:pt x="600" y="756"/>
                  <a:pt x="600" y="756"/>
                  <a:pt x="600" y="756"/>
                </a:cubicBezTo>
                <a:cubicBezTo>
                  <a:pt x="600" y="756"/>
                  <a:pt x="600" y="756"/>
                  <a:pt x="600" y="756"/>
                </a:cubicBezTo>
                <a:cubicBezTo>
                  <a:pt x="602" y="756"/>
                  <a:pt x="602" y="756"/>
                  <a:pt x="602" y="756"/>
                </a:cubicBezTo>
                <a:cubicBezTo>
                  <a:pt x="602" y="759"/>
                  <a:pt x="602" y="759"/>
                  <a:pt x="602" y="759"/>
                </a:cubicBezTo>
                <a:cubicBezTo>
                  <a:pt x="599" y="765"/>
                  <a:pt x="599" y="765"/>
                  <a:pt x="599" y="765"/>
                </a:cubicBezTo>
                <a:cubicBezTo>
                  <a:pt x="599" y="767"/>
                  <a:pt x="599" y="767"/>
                  <a:pt x="599" y="767"/>
                </a:cubicBezTo>
                <a:cubicBezTo>
                  <a:pt x="597" y="770"/>
                  <a:pt x="597" y="770"/>
                  <a:pt x="597" y="770"/>
                </a:cubicBezTo>
                <a:cubicBezTo>
                  <a:pt x="595" y="773"/>
                  <a:pt x="595" y="773"/>
                  <a:pt x="595" y="773"/>
                </a:cubicBezTo>
                <a:cubicBezTo>
                  <a:pt x="596" y="776"/>
                  <a:pt x="596" y="776"/>
                  <a:pt x="596" y="776"/>
                </a:cubicBezTo>
                <a:cubicBezTo>
                  <a:pt x="596" y="776"/>
                  <a:pt x="596" y="776"/>
                  <a:pt x="596" y="776"/>
                </a:cubicBezTo>
                <a:cubicBezTo>
                  <a:pt x="597" y="782"/>
                  <a:pt x="597" y="782"/>
                  <a:pt x="597" y="782"/>
                </a:cubicBezTo>
                <a:cubicBezTo>
                  <a:pt x="593" y="787"/>
                  <a:pt x="593" y="787"/>
                  <a:pt x="593" y="787"/>
                </a:cubicBezTo>
                <a:cubicBezTo>
                  <a:pt x="593" y="789"/>
                  <a:pt x="593" y="789"/>
                  <a:pt x="593" y="789"/>
                </a:cubicBezTo>
                <a:cubicBezTo>
                  <a:pt x="592" y="792"/>
                  <a:pt x="592" y="792"/>
                  <a:pt x="592" y="792"/>
                </a:cubicBezTo>
                <a:cubicBezTo>
                  <a:pt x="590" y="794"/>
                  <a:pt x="590" y="794"/>
                  <a:pt x="590" y="794"/>
                </a:cubicBezTo>
                <a:cubicBezTo>
                  <a:pt x="589" y="799"/>
                  <a:pt x="589" y="799"/>
                  <a:pt x="589" y="799"/>
                </a:cubicBezTo>
                <a:cubicBezTo>
                  <a:pt x="590" y="801"/>
                  <a:pt x="590" y="801"/>
                  <a:pt x="590" y="801"/>
                </a:cubicBezTo>
                <a:cubicBezTo>
                  <a:pt x="592" y="803"/>
                  <a:pt x="592" y="803"/>
                  <a:pt x="592" y="803"/>
                </a:cubicBezTo>
                <a:cubicBezTo>
                  <a:pt x="592" y="806"/>
                  <a:pt x="592" y="806"/>
                  <a:pt x="592" y="806"/>
                </a:cubicBezTo>
                <a:cubicBezTo>
                  <a:pt x="594" y="807"/>
                  <a:pt x="594" y="807"/>
                  <a:pt x="594" y="807"/>
                </a:cubicBezTo>
                <a:cubicBezTo>
                  <a:pt x="596" y="809"/>
                  <a:pt x="596" y="809"/>
                  <a:pt x="596" y="809"/>
                </a:cubicBezTo>
                <a:cubicBezTo>
                  <a:pt x="595" y="811"/>
                  <a:pt x="595" y="811"/>
                  <a:pt x="595" y="811"/>
                </a:cubicBezTo>
                <a:cubicBezTo>
                  <a:pt x="595" y="812"/>
                  <a:pt x="595" y="812"/>
                  <a:pt x="595" y="812"/>
                </a:cubicBezTo>
                <a:cubicBezTo>
                  <a:pt x="595" y="813"/>
                  <a:pt x="595" y="813"/>
                  <a:pt x="595" y="813"/>
                </a:cubicBezTo>
                <a:cubicBezTo>
                  <a:pt x="597" y="814"/>
                  <a:pt x="597" y="814"/>
                  <a:pt x="597" y="814"/>
                </a:cubicBezTo>
                <a:cubicBezTo>
                  <a:pt x="600" y="816"/>
                  <a:pt x="600" y="816"/>
                  <a:pt x="600" y="816"/>
                </a:cubicBezTo>
                <a:cubicBezTo>
                  <a:pt x="601" y="816"/>
                  <a:pt x="601" y="816"/>
                  <a:pt x="601" y="816"/>
                </a:cubicBezTo>
                <a:cubicBezTo>
                  <a:pt x="601" y="817"/>
                  <a:pt x="601" y="817"/>
                  <a:pt x="601" y="817"/>
                </a:cubicBezTo>
                <a:cubicBezTo>
                  <a:pt x="603" y="819"/>
                  <a:pt x="603" y="819"/>
                  <a:pt x="603" y="819"/>
                </a:cubicBezTo>
                <a:cubicBezTo>
                  <a:pt x="603" y="823"/>
                  <a:pt x="603" y="823"/>
                  <a:pt x="603" y="823"/>
                </a:cubicBezTo>
                <a:cubicBezTo>
                  <a:pt x="604" y="825"/>
                  <a:pt x="604" y="825"/>
                  <a:pt x="604" y="825"/>
                </a:cubicBezTo>
                <a:cubicBezTo>
                  <a:pt x="603" y="828"/>
                  <a:pt x="603" y="828"/>
                  <a:pt x="603" y="828"/>
                </a:cubicBezTo>
                <a:cubicBezTo>
                  <a:pt x="598" y="833"/>
                  <a:pt x="598" y="833"/>
                  <a:pt x="598" y="833"/>
                </a:cubicBezTo>
                <a:cubicBezTo>
                  <a:pt x="602" y="831"/>
                  <a:pt x="602" y="831"/>
                  <a:pt x="602" y="831"/>
                </a:cubicBezTo>
                <a:cubicBezTo>
                  <a:pt x="605" y="829"/>
                  <a:pt x="605" y="829"/>
                  <a:pt x="605" y="829"/>
                </a:cubicBezTo>
                <a:cubicBezTo>
                  <a:pt x="608" y="830"/>
                  <a:pt x="608" y="830"/>
                  <a:pt x="608" y="830"/>
                </a:cubicBezTo>
                <a:cubicBezTo>
                  <a:pt x="610" y="832"/>
                  <a:pt x="610" y="832"/>
                  <a:pt x="610" y="832"/>
                </a:cubicBezTo>
                <a:cubicBezTo>
                  <a:pt x="612" y="832"/>
                  <a:pt x="612" y="832"/>
                  <a:pt x="612" y="832"/>
                </a:cubicBezTo>
                <a:cubicBezTo>
                  <a:pt x="613" y="830"/>
                  <a:pt x="613" y="830"/>
                  <a:pt x="613" y="830"/>
                </a:cubicBezTo>
                <a:cubicBezTo>
                  <a:pt x="613" y="828"/>
                  <a:pt x="613" y="828"/>
                  <a:pt x="613" y="828"/>
                </a:cubicBezTo>
                <a:cubicBezTo>
                  <a:pt x="617" y="823"/>
                  <a:pt x="617" y="823"/>
                  <a:pt x="617" y="823"/>
                </a:cubicBezTo>
                <a:cubicBezTo>
                  <a:pt x="618" y="823"/>
                  <a:pt x="618" y="823"/>
                  <a:pt x="618" y="823"/>
                </a:cubicBezTo>
                <a:cubicBezTo>
                  <a:pt x="617" y="825"/>
                  <a:pt x="617" y="825"/>
                  <a:pt x="617" y="825"/>
                </a:cubicBezTo>
                <a:cubicBezTo>
                  <a:pt x="618" y="826"/>
                  <a:pt x="618" y="826"/>
                  <a:pt x="618" y="826"/>
                </a:cubicBezTo>
                <a:cubicBezTo>
                  <a:pt x="619" y="826"/>
                  <a:pt x="619" y="826"/>
                  <a:pt x="619" y="826"/>
                </a:cubicBezTo>
                <a:cubicBezTo>
                  <a:pt x="620" y="831"/>
                  <a:pt x="620" y="831"/>
                  <a:pt x="620" y="831"/>
                </a:cubicBezTo>
                <a:cubicBezTo>
                  <a:pt x="620" y="834"/>
                  <a:pt x="620" y="834"/>
                  <a:pt x="620" y="834"/>
                </a:cubicBezTo>
                <a:cubicBezTo>
                  <a:pt x="622" y="836"/>
                  <a:pt x="622" y="836"/>
                  <a:pt x="622" y="836"/>
                </a:cubicBezTo>
                <a:cubicBezTo>
                  <a:pt x="627" y="837"/>
                  <a:pt x="627" y="837"/>
                  <a:pt x="627" y="837"/>
                </a:cubicBezTo>
                <a:cubicBezTo>
                  <a:pt x="624" y="835"/>
                  <a:pt x="624" y="835"/>
                  <a:pt x="624" y="835"/>
                </a:cubicBezTo>
                <a:cubicBezTo>
                  <a:pt x="622" y="833"/>
                  <a:pt x="622" y="833"/>
                  <a:pt x="622" y="833"/>
                </a:cubicBezTo>
                <a:cubicBezTo>
                  <a:pt x="622" y="830"/>
                  <a:pt x="622" y="830"/>
                  <a:pt x="622" y="830"/>
                </a:cubicBezTo>
                <a:cubicBezTo>
                  <a:pt x="622" y="826"/>
                  <a:pt x="622" y="826"/>
                  <a:pt x="622" y="826"/>
                </a:cubicBezTo>
                <a:cubicBezTo>
                  <a:pt x="623" y="824"/>
                  <a:pt x="623" y="824"/>
                  <a:pt x="623" y="824"/>
                </a:cubicBezTo>
                <a:cubicBezTo>
                  <a:pt x="622" y="823"/>
                  <a:pt x="622" y="823"/>
                  <a:pt x="622" y="823"/>
                </a:cubicBezTo>
                <a:cubicBezTo>
                  <a:pt x="622" y="821"/>
                  <a:pt x="622" y="821"/>
                  <a:pt x="622" y="821"/>
                </a:cubicBezTo>
                <a:cubicBezTo>
                  <a:pt x="623" y="821"/>
                  <a:pt x="623" y="821"/>
                  <a:pt x="623" y="821"/>
                </a:cubicBezTo>
                <a:cubicBezTo>
                  <a:pt x="624" y="821"/>
                  <a:pt x="624" y="821"/>
                  <a:pt x="624" y="821"/>
                </a:cubicBezTo>
                <a:cubicBezTo>
                  <a:pt x="625" y="817"/>
                  <a:pt x="625" y="817"/>
                  <a:pt x="625" y="817"/>
                </a:cubicBezTo>
                <a:cubicBezTo>
                  <a:pt x="628" y="814"/>
                  <a:pt x="628" y="814"/>
                  <a:pt x="628" y="814"/>
                </a:cubicBezTo>
                <a:cubicBezTo>
                  <a:pt x="627" y="813"/>
                  <a:pt x="627" y="813"/>
                  <a:pt x="627" y="813"/>
                </a:cubicBezTo>
                <a:cubicBezTo>
                  <a:pt x="627" y="810"/>
                  <a:pt x="627" y="810"/>
                  <a:pt x="627" y="810"/>
                </a:cubicBezTo>
                <a:cubicBezTo>
                  <a:pt x="626" y="809"/>
                  <a:pt x="626" y="809"/>
                  <a:pt x="626" y="809"/>
                </a:cubicBezTo>
                <a:cubicBezTo>
                  <a:pt x="626" y="806"/>
                  <a:pt x="626" y="806"/>
                  <a:pt x="626" y="806"/>
                </a:cubicBezTo>
                <a:cubicBezTo>
                  <a:pt x="628" y="804"/>
                  <a:pt x="628" y="804"/>
                  <a:pt x="628" y="804"/>
                </a:cubicBezTo>
                <a:cubicBezTo>
                  <a:pt x="627" y="802"/>
                  <a:pt x="627" y="802"/>
                  <a:pt x="627" y="802"/>
                </a:cubicBezTo>
                <a:cubicBezTo>
                  <a:pt x="627" y="801"/>
                  <a:pt x="627" y="801"/>
                  <a:pt x="627" y="801"/>
                </a:cubicBezTo>
                <a:cubicBezTo>
                  <a:pt x="626" y="800"/>
                  <a:pt x="626" y="800"/>
                  <a:pt x="626" y="800"/>
                </a:cubicBezTo>
                <a:cubicBezTo>
                  <a:pt x="625" y="799"/>
                  <a:pt x="625" y="799"/>
                  <a:pt x="625" y="799"/>
                </a:cubicBezTo>
                <a:cubicBezTo>
                  <a:pt x="627" y="793"/>
                  <a:pt x="627" y="793"/>
                  <a:pt x="627" y="793"/>
                </a:cubicBezTo>
                <a:cubicBezTo>
                  <a:pt x="627" y="791"/>
                  <a:pt x="627" y="791"/>
                  <a:pt x="627" y="791"/>
                </a:cubicBezTo>
                <a:cubicBezTo>
                  <a:pt x="627" y="787"/>
                  <a:pt x="627" y="787"/>
                  <a:pt x="627" y="787"/>
                </a:cubicBezTo>
                <a:cubicBezTo>
                  <a:pt x="629" y="785"/>
                  <a:pt x="629" y="785"/>
                  <a:pt x="629" y="785"/>
                </a:cubicBezTo>
                <a:cubicBezTo>
                  <a:pt x="628" y="783"/>
                  <a:pt x="628" y="783"/>
                  <a:pt x="628" y="783"/>
                </a:cubicBezTo>
                <a:cubicBezTo>
                  <a:pt x="629" y="782"/>
                  <a:pt x="629" y="782"/>
                  <a:pt x="629" y="782"/>
                </a:cubicBezTo>
                <a:cubicBezTo>
                  <a:pt x="628" y="780"/>
                  <a:pt x="628" y="780"/>
                  <a:pt x="628" y="780"/>
                </a:cubicBezTo>
                <a:cubicBezTo>
                  <a:pt x="630" y="779"/>
                  <a:pt x="630" y="779"/>
                  <a:pt x="630" y="779"/>
                </a:cubicBezTo>
                <a:cubicBezTo>
                  <a:pt x="629" y="779"/>
                  <a:pt x="629" y="779"/>
                  <a:pt x="629" y="779"/>
                </a:cubicBezTo>
                <a:cubicBezTo>
                  <a:pt x="628" y="777"/>
                  <a:pt x="628" y="777"/>
                  <a:pt x="628" y="777"/>
                </a:cubicBezTo>
                <a:cubicBezTo>
                  <a:pt x="629" y="776"/>
                  <a:pt x="629" y="776"/>
                  <a:pt x="629" y="776"/>
                </a:cubicBezTo>
                <a:cubicBezTo>
                  <a:pt x="628" y="775"/>
                  <a:pt x="628" y="775"/>
                  <a:pt x="628" y="775"/>
                </a:cubicBezTo>
                <a:cubicBezTo>
                  <a:pt x="628" y="772"/>
                  <a:pt x="628" y="772"/>
                  <a:pt x="628" y="772"/>
                </a:cubicBezTo>
                <a:cubicBezTo>
                  <a:pt x="627" y="770"/>
                  <a:pt x="627" y="770"/>
                  <a:pt x="627" y="770"/>
                </a:cubicBezTo>
                <a:cubicBezTo>
                  <a:pt x="627" y="768"/>
                  <a:pt x="627" y="768"/>
                  <a:pt x="627" y="768"/>
                </a:cubicBezTo>
                <a:cubicBezTo>
                  <a:pt x="626" y="767"/>
                  <a:pt x="626" y="767"/>
                  <a:pt x="626" y="767"/>
                </a:cubicBezTo>
                <a:cubicBezTo>
                  <a:pt x="629" y="765"/>
                  <a:pt x="629" y="765"/>
                  <a:pt x="629" y="765"/>
                </a:cubicBezTo>
                <a:cubicBezTo>
                  <a:pt x="634" y="764"/>
                  <a:pt x="634" y="764"/>
                  <a:pt x="634" y="764"/>
                </a:cubicBezTo>
                <a:cubicBezTo>
                  <a:pt x="636" y="762"/>
                  <a:pt x="636" y="762"/>
                  <a:pt x="636" y="762"/>
                </a:cubicBezTo>
                <a:cubicBezTo>
                  <a:pt x="639" y="763"/>
                  <a:pt x="639" y="763"/>
                  <a:pt x="639" y="763"/>
                </a:cubicBezTo>
                <a:cubicBezTo>
                  <a:pt x="641" y="762"/>
                  <a:pt x="641" y="762"/>
                  <a:pt x="641" y="762"/>
                </a:cubicBezTo>
                <a:cubicBezTo>
                  <a:pt x="645" y="759"/>
                  <a:pt x="645" y="759"/>
                  <a:pt x="645" y="759"/>
                </a:cubicBezTo>
                <a:cubicBezTo>
                  <a:pt x="653" y="756"/>
                  <a:pt x="653" y="756"/>
                  <a:pt x="653" y="756"/>
                </a:cubicBezTo>
                <a:cubicBezTo>
                  <a:pt x="653" y="755"/>
                  <a:pt x="653" y="755"/>
                  <a:pt x="653" y="755"/>
                </a:cubicBezTo>
                <a:cubicBezTo>
                  <a:pt x="655" y="754"/>
                  <a:pt x="655" y="754"/>
                  <a:pt x="655" y="754"/>
                </a:cubicBezTo>
                <a:cubicBezTo>
                  <a:pt x="660" y="751"/>
                  <a:pt x="660" y="751"/>
                  <a:pt x="660" y="751"/>
                </a:cubicBezTo>
                <a:cubicBezTo>
                  <a:pt x="661" y="749"/>
                  <a:pt x="661" y="749"/>
                  <a:pt x="661" y="749"/>
                </a:cubicBezTo>
                <a:cubicBezTo>
                  <a:pt x="663" y="748"/>
                  <a:pt x="663" y="748"/>
                  <a:pt x="663" y="748"/>
                </a:cubicBezTo>
                <a:cubicBezTo>
                  <a:pt x="667" y="743"/>
                  <a:pt x="667" y="743"/>
                  <a:pt x="667" y="743"/>
                </a:cubicBezTo>
                <a:cubicBezTo>
                  <a:pt x="668" y="743"/>
                  <a:pt x="668" y="743"/>
                  <a:pt x="668" y="743"/>
                </a:cubicBezTo>
                <a:cubicBezTo>
                  <a:pt x="669" y="744"/>
                  <a:pt x="669" y="744"/>
                  <a:pt x="669" y="744"/>
                </a:cubicBezTo>
                <a:cubicBezTo>
                  <a:pt x="672" y="744"/>
                  <a:pt x="672" y="744"/>
                  <a:pt x="672" y="744"/>
                </a:cubicBezTo>
                <a:cubicBezTo>
                  <a:pt x="674" y="742"/>
                  <a:pt x="674" y="742"/>
                  <a:pt x="674" y="742"/>
                </a:cubicBezTo>
                <a:cubicBezTo>
                  <a:pt x="672" y="739"/>
                  <a:pt x="672" y="739"/>
                  <a:pt x="672" y="739"/>
                </a:cubicBezTo>
                <a:cubicBezTo>
                  <a:pt x="671" y="736"/>
                  <a:pt x="671" y="736"/>
                  <a:pt x="671" y="736"/>
                </a:cubicBezTo>
                <a:cubicBezTo>
                  <a:pt x="670" y="737"/>
                  <a:pt x="670" y="737"/>
                  <a:pt x="670" y="737"/>
                </a:cubicBezTo>
                <a:cubicBezTo>
                  <a:pt x="669" y="740"/>
                  <a:pt x="669" y="740"/>
                  <a:pt x="669" y="740"/>
                </a:cubicBezTo>
                <a:cubicBezTo>
                  <a:pt x="668" y="740"/>
                  <a:pt x="668" y="740"/>
                  <a:pt x="668" y="740"/>
                </a:cubicBezTo>
                <a:cubicBezTo>
                  <a:pt x="669" y="737"/>
                  <a:pt x="669" y="737"/>
                  <a:pt x="669" y="737"/>
                </a:cubicBezTo>
                <a:cubicBezTo>
                  <a:pt x="671" y="731"/>
                  <a:pt x="671" y="731"/>
                  <a:pt x="671" y="731"/>
                </a:cubicBezTo>
                <a:cubicBezTo>
                  <a:pt x="672" y="730"/>
                  <a:pt x="672" y="730"/>
                  <a:pt x="672" y="730"/>
                </a:cubicBezTo>
                <a:cubicBezTo>
                  <a:pt x="672" y="726"/>
                  <a:pt x="672" y="726"/>
                  <a:pt x="672" y="726"/>
                </a:cubicBezTo>
                <a:cubicBezTo>
                  <a:pt x="673" y="723"/>
                  <a:pt x="673" y="723"/>
                  <a:pt x="673" y="723"/>
                </a:cubicBezTo>
                <a:cubicBezTo>
                  <a:pt x="671" y="719"/>
                  <a:pt x="671" y="719"/>
                  <a:pt x="671" y="719"/>
                </a:cubicBezTo>
                <a:cubicBezTo>
                  <a:pt x="671" y="712"/>
                  <a:pt x="671" y="712"/>
                  <a:pt x="671" y="712"/>
                </a:cubicBezTo>
                <a:cubicBezTo>
                  <a:pt x="670" y="705"/>
                  <a:pt x="670" y="705"/>
                  <a:pt x="670" y="705"/>
                </a:cubicBezTo>
                <a:cubicBezTo>
                  <a:pt x="667" y="700"/>
                  <a:pt x="667" y="700"/>
                  <a:pt x="667" y="700"/>
                </a:cubicBezTo>
                <a:cubicBezTo>
                  <a:pt x="664" y="698"/>
                  <a:pt x="664" y="698"/>
                  <a:pt x="664" y="698"/>
                </a:cubicBezTo>
                <a:cubicBezTo>
                  <a:pt x="663" y="695"/>
                  <a:pt x="663" y="695"/>
                  <a:pt x="663" y="695"/>
                </a:cubicBezTo>
                <a:cubicBezTo>
                  <a:pt x="661" y="694"/>
                  <a:pt x="661" y="694"/>
                  <a:pt x="661" y="694"/>
                </a:cubicBezTo>
                <a:cubicBezTo>
                  <a:pt x="660" y="693"/>
                  <a:pt x="660" y="693"/>
                  <a:pt x="660" y="693"/>
                </a:cubicBezTo>
                <a:cubicBezTo>
                  <a:pt x="661" y="688"/>
                  <a:pt x="661" y="688"/>
                  <a:pt x="661" y="688"/>
                </a:cubicBezTo>
                <a:cubicBezTo>
                  <a:pt x="664" y="687"/>
                  <a:pt x="664" y="687"/>
                  <a:pt x="664" y="687"/>
                </a:cubicBezTo>
                <a:cubicBezTo>
                  <a:pt x="670" y="680"/>
                  <a:pt x="670" y="680"/>
                  <a:pt x="670" y="680"/>
                </a:cubicBezTo>
                <a:cubicBezTo>
                  <a:pt x="672" y="680"/>
                  <a:pt x="672" y="680"/>
                  <a:pt x="672" y="680"/>
                </a:cubicBezTo>
                <a:cubicBezTo>
                  <a:pt x="674" y="678"/>
                  <a:pt x="674" y="678"/>
                  <a:pt x="674" y="678"/>
                </a:cubicBezTo>
                <a:cubicBezTo>
                  <a:pt x="674" y="676"/>
                  <a:pt x="674" y="676"/>
                  <a:pt x="674" y="676"/>
                </a:cubicBezTo>
                <a:cubicBezTo>
                  <a:pt x="673" y="676"/>
                  <a:pt x="673" y="676"/>
                  <a:pt x="673" y="676"/>
                </a:cubicBezTo>
                <a:cubicBezTo>
                  <a:pt x="673" y="675"/>
                  <a:pt x="673" y="675"/>
                  <a:pt x="673" y="675"/>
                </a:cubicBezTo>
                <a:cubicBezTo>
                  <a:pt x="675" y="671"/>
                  <a:pt x="675" y="671"/>
                  <a:pt x="675" y="671"/>
                </a:cubicBezTo>
                <a:cubicBezTo>
                  <a:pt x="677" y="671"/>
                  <a:pt x="677" y="671"/>
                  <a:pt x="677" y="671"/>
                </a:cubicBezTo>
                <a:cubicBezTo>
                  <a:pt x="678" y="674"/>
                  <a:pt x="678" y="674"/>
                  <a:pt x="678" y="674"/>
                </a:cubicBezTo>
                <a:cubicBezTo>
                  <a:pt x="680" y="675"/>
                  <a:pt x="680" y="675"/>
                  <a:pt x="680" y="675"/>
                </a:cubicBezTo>
                <a:cubicBezTo>
                  <a:pt x="679" y="674"/>
                  <a:pt x="679" y="674"/>
                  <a:pt x="679" y="674"/>
                </a:cubicBezTo>
                <a:cubicBezTo>
                  <a:pt x="679" y="671"/>
                  <a:pt x="679" y="671"/>
                  <a:pt x="679" y="671"/>
                </a:cubicBezTo>
                <a:cubicBezTo>
                  <a:pt x="682" y="670"/>
                  <a:pt x="682" y="670"/>
                  <a:pt x="682" y="670"/>
                </a:cubicBezTo>
                <a:cubicBezTo>
                  <a:pt x="684" y="665"/>
                  <a:pt x="684" y="665"/>
                  <a:pt x="684" y="665"/>
                </a:cubicBezTo>
                <a:cubicBezTo>
                  <a:pt x="684" y="664"/>
                  <a:pt x="684" y="664"/>
                  <a:pt x="684" y="664"/>
                </a:cubicBezTo>
                <a:cubicBezTo>
                  <a:pt x="680" y="664"/>
                  <a:pt x="680" y="664"/>
                  <a:pt x="680" y="664"/>
                </a:cubicBezTo>
                <a:cubicBezTo>
                  <a:pt x="680" y="663"/>
                  <a:pt x="680" y="663"/>
                  <a:pt x="680" y="663"/>
                </a:cubicBezTo>
                <a:cubicBezTo>
                  <a:pt x="682" y="660"/>
                  <a:pt x="682" y="660"/>
                  <a:pt x="682" y="660"/>
                </a:cubicBezTo>
                <a:cubicBezTo>
                  <a:pt x="681" y="659"/>
                  <a:pt x="681" y="659"/>
                  <a:pt x="681" y="659"/>
                </a:cubicBezTo>
                <a:cubicBezTo>
                  <a:pt x="680" y="657"/>
                  <a:pt x="680" y="657"/>
                  <a:pt x="680" y="657"/>
                </a:cubicBezTo>
                <a:cubicBezTo>
                  <a:pt x="682" y="655"/>
                  <a:pt x="682" y="655"/>
                  <a:pt x="682" y="655"/>
                </a:cubicBezTo>
                <a:cubicBezTo>
                  <a:pt x="684" y="654"/>
                  <a:pt x="684" y="654"/>
                  <a:pt x="684" y="654"/>
                </a:cubicBezTo>
                <a:cubicBezTo>
                  <a:pt x="682" y="654"/>
                  <a:pt x="682" y="654"/>
                  <a:pt x="682" y="654"/>
                </a:cubicBezTo>
                <a:cubicBezTo>
                  <a:pt x="682" y="652"/>
                  <a:pt x="682" y="652"/>
                  <a:pt x="682" y="652"/>
                </a:cubicBezTo>
                <a:cubicBezTo>
                  <a:pt x="683" y="649"/>
                  <a:pt x="683" y="649"/>
                  <a:pt x="683" y="649"/>
                </a:cubicBezTo>
                <a:cubicBezTo>
                  <a:pt x="684" y="648"/>
                  <a:pt x="684" y="648"/>
                  <a:pt x="684" y="648"/>
                </a:cubicBezTo>
                <a:cubicBezTo>
                  <a:pt x="683" y="648"/>
                  <a:pt x="683" y="648"/>
                  <a:pt x="683" y="648"/>
                </a:cubicBezTo>
                <a:cubicBezTo>
                  <a:pt x="679" y="648"/>
                  <a:pt x="679" y="648"/>
                  <a:pt x="679" y="648"/>
                </a:cubicBezTo>
                <a:cubicBezTo>
                  <a:pt x="678" y="647"/>
                  <a:pt x="678" y="647"/>
                  <a:pt x="678" y="647"/>
                </a:cubicBezTo>
                <a:cubicBezTo>
                  <a:pt x="678" y="646"/>
                  <a:pt x="678" y="646"/>
                  <a:pt x="678" y="646"/>
                </a:cubicBezTo>
                <a:cubicBezTo>
                  <a:pt x="683" y="641"/>
                  <a:pt x="683" y="641"/>
                  <a:pt x="683" y="641"/>
                </a:cubicBezTo>
                <a:cubicBezTo>
                  <a:pt x="686" y="637"/>
                  <a:pt x="686" y="637"/>
                  <a:pt x="686" y="637"/>
                </a:cubicBezTo>
                <a:cubicBezTo>
                  <a:pt x="687" y="634"/>
                  <a:pt x="687" y="634"/>
                  <a:pt x="687" y="634"/>
                </a:cubicBezTo>
                <a:cubicBezTo>
                  <a:pt x="689" y="634"/>
                  <a:pt x="689" y="634"/>
                  <a:pt x="689" y="634"/>
                </a:cubicBezTo>
                <a:cubicBezTo>
                  <a:pt x="690" y="633"/>
                  <a:pt x="690" y="633"/>
                  <a:pt x="690" y="633"/>
                </a:cubicBezTo>
                <a:cubicBezTo>
                  <a:pt x="690" y="630"/>
                  <a:pt x="690" y="630"/>
                  <a:pt x="690" y="630"/>
                </a:cubicBezTo>
                <a:cubicBezTo>
                  <a:pt x="688" y="630"/>
                  <a:pt x="688" y="630"/>
                  <a:pt x="688" y="630"/>
                </a:cubicBezTo>
                <a:cubicBezTo>
                  <a:pt x="688" y="629"/>
                  <a:pt x="688" y="629"/>
                  <a:pt x="688" y="629"/>
                </a:cubicBezTo>
                <a:cubicBezTo>
                  <a:pt x="687" y="628"/>
                  <a:pt x="687" y="628"/>
                  <a:pt x="687" y="628"/>
                </a:cubicBezTo>
                <a:cubicBezTo>
                  <a:pt x="685" y="626"/>
                  <a:pt x="685" y="626"/>
                  <a:pt x="685" y="626"/>
                </a:cubicBezTo>
                <a:cubicBezTo>
                  <a:pt x="685" y="621"/>
                  <a:pt x="685" y="621"/>
                  <a:pt x="685" y="621"/>
                </a:cubicBezTo>
                <a:cubicBezTo>
                  <a:pt x="687" y="618"/>
                  <a:pt x="687" y="618"/>
                  <a:pt x="687" y="618"/>
                </a:cubicBezTo>
                <a:cubicBezTo>
                  <a:pt x="687" y="615"/>
                  <a:pt x="687" y="615"/>
                  <a:pt x="687" y="615"/>
                </a:cubicBezTo>
                <a:cubicBezTo>
                  <a:pt x="689" y="613"/>
                  <a:pt x="689" y="613"/>
                  <a:pt x="689" y="613"/>
                </a:cubicBezTo>
                <a:cubicBezTo>
                  <a:pt x="690" y="614"/>
                  <a:pt x="690" y="614"/>
                  <a:pt x="690" y="614"/>
                </a:cubicBezTo>
                <a:cubicBezTo>
                  <a:pt x="692" y="614"/>
                  <a:pt x="692" y="614"/>
                  <a:pt x="692" y="614"/>
                </a:cubicBezTo>
                <a:cubicBezTo>
                  <a:pt x="692" y="613"/>
                  <a:pt x="692" y="613"/>
                  <a:pt x="692" y="613"/>
                </a:cubicBezTo>
                <a:cubicBezTo>
                  <a:pt x="693" y="611"/>
                  <a:pt x="693" y="611"/>
                  <a:pt x="693" y="611"/>
                </a:cubicBezTo>
                <a:cubicBezTo>
                  <a:pt x="695" y="611"/>
                  <a:pt x="695" y="611"/>
                  <a:pt x="695" y="611"/>
                </a:cubicBezTo>
                <a:cubicBezTo>
                  <a:pt x="696" y="610"/>
                  <a:pt x="696" y="610"/>
                  <a:pt x="696" y="610"/>
                </a:cubicBezTo>
                <a:cubicBezTo>
                  <a:pt x="698" y="611"/>
                  <a:pt x="698" y="611"/>
                  <a:pt x="698" y="611"/>
                </a:cubicBezTo>
                <a:cubicBezTo>
                  <a:pt x="702" y="611"/>
                  <a:pt x="702" y="611"/>
                  <a:pt x="702" y="611"/>
                </a:cubicBezTo>
                <a:cubicBezTo>
                  <a:pt x="706" y="614"/>
                  <a:pt x="706" y="614"/>
                  <a:pt x="706" y="614"/>
                </a:cubicBezTo>
                <a:cubicBezTo>
                  <a:pt x="711" y="617"/>
                  <a:pt x="711" y="617"/>
                  <a:pt x="711" y="617"/>
                </a:cubicBezTo>
                <a:cubicBezTo>
                  <a:pt x="714" y="617"/>
                  <a:pt x="714" y="617"/>
                  <a:pt x="714" y="617"/>
                </a:cubicBezTo>
                <a:cubicBezTo>
                  <a:pt x="714" y="619"/>
                  <a:pt x="714" y="619"/>
                  <a:pt x="714" y="619"/>
                </a:cubicBezTo>
                <a:cubicBezTo>
                  <a:pt x="710" y="620"/>
                  <a:pt x="710" y="620"/>
                  <a:pt x="710" y="620"/>
                </a:cubicBezTo>
                <a:cubicBezTo>
                  <a:pt x="714" y="620"/>
                  <a:pt x="714" y="620"/>
                  <a:pt x="714" y="620"/>
                </a:cubicBezTo>
                <a:cubicBezTo>
                  <a:pt x="718" y="617"/>
                  <a:pt x="718" y="617"/>
                  <a:pt x="718" y="617"/>
                </a:cubicBezTo>
                <a:cubicBezTo>
                  <a:pt x="720" y="618"/>
                  <a:pt x="720" y="618"/>
                  <a:pt x="720" y="618"/>
                </a:cubicBezTo>
                <a:cubicBezTo>
                  <a:pt x="721" y="619"/>
                  <a:pt x="721" y="619"/>
                  <a:pt x="721" y="619"/>
                </a:cubicBezTo>
                <a:cubicBezTo>
                  <a:pt x="723" y="619"/>
                  <a:pt x="723" y="619"/>
                  <a:pt x="723" y="619"/>
                </a:cubicBezTo>
                <a:cubicBezTo>
                  <a:pt x="725" y="622"/>
                  <a:pt x="725" y="622"/>
                  <a:pt x="725" y="622"/>
                </a:cubicBezTo>
                <a:cubicBezTo>
                  <a:pt x="725" y="619"/>
                  <a:pt x="725" y="619"/>
                  <a:pt x="725" y="619"/>
                </a:cubicBezTo>
                <a:cubicBezTo>
                  <a:pt x="728" y="620"/>
                  <a:pt x="728" y="620"/>
                  <a:pt x="728" y="620"/>
                </a:cubicBezTo>
                <a:cubicBezTo>
                  <a:pt x="729" y="619"/>
                  <a:pt x="729" y="619"/>
                  <a:pt x="729" y="619"/>
                </a:cubicBezTo>
                <a:cubicBezTo>
                  <a:pt x="731" y="619"/>
                  <a:pt x="731" y="619"/>
                  <a:pt x="731" y="619"/>
                </a:cubicBezTo>
                <a:cubicBezTo>
                  <a:pt x="734" y="617"/>
                  <a:pt x="734" y="617"/>
                  <a:pt x="734" y="617"/>
                </a:cubicBezTo>
                <a:cubicBezTo>
                  <a:pt x="738" y="620"/>
                  <a:pt x="738" y="620"/>
                  <a:pt x="738" y="620"/>
                </a:cubicBezTo>
                <a:cubicBezTo>
                  <a:pt x="738" y="622"/>
                  <a:pt x="738" y="622"/>
                  <a:pt x="738" y="622"/>
                </a:cubicBezTo>
                <a:cubicBezTo>
                  <a:pt x="741" y="625"/>
                  <a:pt x="741" y="625"/>
                  <a:pt x="741" y="625"/>
                </a:cubicBezTo>
                <a:cubicBezTo>
                  <a:pt x="743" y="625"/>
                  <a:pt x="743" y="625"/>
                  <a:pt x="743" y="625"/>
                </a:cubicBezTo>
                <a:cubicBezTo>
                  <a:pt x="743" y="629"/>
                  <a:pt x="743" y="629"/>
                  <a:pt x="743" y="629"/>
                </a:cubicBezTo>
                <a:cubicBezTo>
                  <a:pt x="742" y="631"/>
                  <a:pt x="742" y="631"/>
                  <a:pt x="742" y="631"/>
                </a:cubicBezTo>
                <a:cubicBezTo>
                  <a:pt x="742" y="632"/>
                  <a:pt x="742" y="632"/>
                  <a:pt x="742" y="632"/>
                </a:cubicBezTo>
                <a:cubicBezTo>
                  <a:pt x="743" y="631"/>
                  <a:pt x="743" y="631"/>
                  <a:pt x="743" y="631"/>
                </a:cubicBezTo>
                <a:cubicBezTo>
                  <a:pt x="746" y="634"/>
                  <a:pt x="746" y="634"/>
                  <a:pt x="746" y="634"/>
                </a:cubicBezTo>
                <a:cubicBezTo>
                  <a:pt x="747" y="636"/>
                  <a:pt x="747" y="636"/>
                  <a:pt x="747" y="636"/>
                </a:cubicBezTo>
                <a:cubicBezTo>
                  <a:pt x="745" y="637"/>
                  <a:pt x="745" y="637"/>
                  <a:pt x="745" y="637"/>
                </a:cubicBezTo>
                <a:cubicBezTo>
                  <a:pt x="747" y="638"/>
                  <a:pt x="747" y="638"/>
                  <a:pt x="747" y="638"/>
                </a:cubicBezTo>
                <a:cubicBezTo>
                  <a:pt x="749" y="637"/>
                  <a:pt x="749" y="637"/>
                  <a:pt x="749" y="637"/>
                </a:cubicBezTo>
                <a:cubicBezTo>
                  <a:pt x="751" y="640"/>
                  <a:pt x="751" y="640"/>
                  <a:pt x="751" y="640"/>
                </a:cubicBezTo>
                <a:cubicBezTo>
                  <a:pt x="751" y="641"/>
                  <a:pt x="751" y="641"/>
                  <a:pt x="751" y="641"/>
                </a:cubicBezTo>
                <a:cubicBezTo>
                  <a:pt x="749" y="640"/>
                  <a:pt x="749" y="640"/>
                  <a:pt x="749" y="640"/>
                </a:cubicBezTo>
                <a:cubicBezTo>
                  <a:pt x="748" y="642"/>
                  <a:pt x="748" y="642"/>
                  <a:pt x="748" y="642"/>
                </a:cubicBezTo>
                <a:cubicBezTo>
                  <a:pt x="746" y="642"/>
                  <a:pt x="746" y="642"/>
                  <a:pt x="746" y="642"/>
                </a:cubicBezTo>
                <a:cubicBezTo>
                  <a:pt x="749" y="645"/>
                  <a:pt x="749" y="645"/>
                  <a:pt x="749" y="645"/>
                </a:cubicBezTo>
                <a:cubicBezTo>
                  <a:pt x="749" y="647"/>
                  <a:pt x="749" y="647"/>
                  <a:pt x="749" y="647"/>
                </a:cubicBezTo>
                <a:cubicBezTo>
                  <a:pt x="751" y="645"/>
                  <a:pt x="751" y="645"/>
                  <a:pt x="751" y="645"/>
                </a:cubicBezTo>
                <a:cubicBezTo>
                  <a:pt x="751" y="647"/>
                  <a:pt x="751" y="647"/>
                  <a:pt x="751" y="647"/>
                </a:cubicBezTo>
                <a:cubicBezTo>
                  <a:pt x="753" y="646"/>
                  <a:pt x="753" y="646"/>
                  <a:pt x="753" y="646"/>
                </a:cubicBezTo>
                <a:cubicBezTo>
                  <a:pt x="757" y="649"/>
                  <a:pt x="757" y="649"/>
                  <a:pt x="757" y="649"/>
                </a:cubicBezTo>
                <a:cubicBezTo>
                  <a:pt x="758" y="649"/>
                  <a:pt x="758" y="649"/>
                  <a:pt x="758" y="649"/>
                </a:cubicBezTo>
                <a:cubicBezTo>
                  <a:pt x="759" y="650"/>
                  <a:pt x="759" y="650"/>
                  <a:pt x="759" y="650"/>
                </a:cubicBezTo>
                <a:cubicBezTo>
                  <a:pt x="762" y="649"/>
                  <a:pt x="762" y="649"/>
                  <a:pt x="762" y="649"/>
                </a:cubicBezTo>
                <a:cubicBezTo>
                  <a:pt x="765" y="650"/>
                  <a:pt x="765" y="650"/>
                  <a:pt x="765" y="650"/>
                </a:cubicBezTo>
                <a:cubicBezTo>
                  <a:pt x="764" y="654"/>
                  <a:pt x="764" y="654"/>
                  <a:pt x="764" y="654"/>
                </a:cubicBezTo>
                <a:cubicBezTo>
                  <a:pt x="765" y="656"/>
                  <a:pt x="765" y="656"/>
                  <a:pt x="765" y="656"/>
                </a:cubicBezTo>
                <a:cubicBezTo>
                  <a:pt x="768" y="654"/>
                  <a:pt x="768" y="654"/>
                  <a:pt x="768" y="654"/>
                </a:cubicBezTo>
                <a:cubicBezTo>
                  <a:pt x="769" y="650"/>
                  <a:pt x="769" y="650"/>
                  <a:pt x="769" y="650"/>
                </a:cubicBezTo>
                <a:cubicBezTo>
                  <a:pt x="771" y="650"/>
                  <a:pt x="771" y="650"/>
                  <a:pt x="771" y="650"/>
                </a:cubicBezTo>
                <a:cubicBezTo>
                  <a:pt x="771" y="654"/>
                  <a:pt x="771" y="654"/>
                  <a:pt x="771" y="654"/>
                </a:cubicBezTo>
                <a:cubicBezTo>
                  <a:pt x="770" y="659"/>
                  <a:pt x="770" y="659"/>
                  <a:pt x="770" y="659"/>
                </a:cubicBezTo>
                <a:cubicBezTo>
                  <a:pt x="767" y="659"/>
                  <a:pt x="767" y="659"/>
                  <a:pt x="767" y="659"/>
                </a:cubicBezTo>
                <a:cubicBezTo>
                  <a:pt x="765" y="663"/>
                  <a:pt x="765" y="663"/>
                  <a:pt x="765" y="663"/>
                </a:cubicBezTo>
                <a:cubicBezTo>
                  <a:pt x="765" y="669"/>
                  <a:pt x="765" y="669"/>
                  <a:pt x="765" y="669"/>
                </a:cubicBezTo>
                <a:cubicBezTo>
                  <a:pt x="764" y="671"/>
                  <a:pt x="764" y="671"/>
                  <a:pt x="764" y="671"/>
                </a:cubicBezTo>
                <a:cubicBezTo>
                  <a:pt x="764" y="668"/>
                  <a:pt x="764" y="668"/>
                  <a:pt x="764" y="668"/>
                </a:cubicBezTo>
                <a:cubicBezTo>
                  <a:pt x="763" y="669"/>
                  <a:pt x="763" y="669"/>
                  <a:pt x="763" y="669"/>
                </a:cubicBezTo>
                <a:cubicBezTo>
                  <a:pt x="762" y="673"/>
                  <a:pt x="762" y="673"/>
                  <a:pt x="762" y="673"/>
                </a:cubicBezTo>
                <a:cubicBezTo>
                  <a:pt x="757" y="672"/>
                  <a:pt x="757" y="672"/>
                  <a:pt x="757" y="672"/>
                </a:cubicBezTo>
                <a:cubicBezTo>
                  <a:pt x="750" y="670"/>
                  <a:pt x="750" y="670"/>
                  <a:pt x="750" y="670"/>
                </a:cubicBezTo>
                <a:cubicBezTo>
                  <a:pt x="756" y="673"/>
                  <a:pt x="756" y="673"/>
                  <a:pt x="756" y="673"/>
                </a:cubicBezTo>
                <a:cubicBezTo>
                  <a:pt x="760" y="674"/>
                  <a:pt x="760" y="674"/>
                  <a:pt x="760" y="674"/>
                </a:cubicBezTo>
                <a:cubicBezTo>
                  <a:pt x="764" y="677"/>
                  <a:pt x="764" y="677"/>
                  <a:pt x="764" y="677"/>
                </a:cubicBezTo>
                <a:cubicBezTo>
                  <a:pt x="763" y="681"/>
                  <a:pt x="763" y="681"/>
                  <a:pt x="763" y="681"/>
                </a:cubicBezTo>
                <a:cubicBezTo>
                  <a:pt x="761" y="684"/>
                  <a:pt x="761" y="684"/>
                  <a:pt x="761" y="684"/>
                </a:cubicBezTo>
                <a:cubicBezTo>
                  <a:pt x="761" y="686"/>
                  <a:pt x="761" y="686"/>
                  <a:pt x="761" y="686"/>
                </a:cubicBezTo>
                <a:cubicBezTo>
                  <a:pt x="758" y="689"/>
                  <a:pt x="758" y="689"/>
                  <a:pt x="758" y="689"/>
                </a:cubicBezTo>
                <a:cubicBezTo>
                  <a:pt x="759" y="689"/>
                  <a:pt x="759" y="689"/>
                  <a:pt x="759" y="689"/>
                </a:cubicBezTo>
                <a:cubicBezTo>
                  <a:pt x="762" y="694"/>
                  <a:pt x="762" y="694"/>
                  <a:pt x="762" y="694"/>
                </a:cubicBezTo>
                <a:cubicBezTo>
                  <a:pt x="764" y="695"/>
                  <a:pt x="764" y="695"/>
                  <a:pt x="764" y="695"/>
                </a:cubicBezTo>
                <a:cubicBezTo>
                  <a:pt x="763" y="695"/>
                  <a:pt x="763" y="695"/>
                  <a:pt x="763" y="695"/>
                </a:cubicBezTo>
                <a:cubicBezTo>
                  <a:pt x="759" y="693"/>
                  <a:pt x="759" y="693"/>
                  <a:pt x="759" y="693"/>
                </a:cubicBezTo>
                <a:cubicBezTo>
                  <a:pt x="762" y="697"/>
                  <a:pt x="762" y="697"/>
                  <a:pt x="762" y="697"/>
                </a:cubicBezTo>
                <a:cubicBezTo>
                  <a:pt x="764" y="699"/>
                  <a:pt x="764" y="699"/>
                  <a:pt x="764" y="699"/>
                </a:cubicBezTo>
                <a:cubicBezTo>
                  <a:pt x="765" y="699"/>
                  <a:pt x="765" y="699"/>
                  <a:pt x="765" y="699"/>
                </a:cubicBezTo>
                <a:cubicBezTo>
                  <a:pt x="764" y="696"/>
                  <a:pt x="764" y="696"/>
                  <a:pt x="764" y="696"/>
                </a:cubicBezTo>
                <a:cubicBezTo>
                  <a:pt x="766" y="696"/>
                  <a:pt x="766" y="696"/>
                  <a:pt x="766" y="696"/>
                </a:cubicBezTo>
                <a:cubicBezTo>
                  <a:pt x="768" y="698"/>
                  <a:pt x="768" y="698"/>
                  <a:pt x="768" y="698"/>
                </a:cubicBezTo>
                <a:cubicBezTo>
                  <a:pt x="770" y="701"/>
                  <a:pt x="770" y="701"/>
                  <a:pt x="770" y="701"/>
                </a:cubicBezTo>
                <a:cubicBezTo>
                  <a:pt x="769" y="703"/>
                  <a:pt x="769" y="703"/>
                  <a:pt x="769" y="703"/>
                </a:cubicBezTo>
                <a:cubicBezTo>
                  <a:pt x="769" y="706"/>
                  <a:pt x="769" y="706"/>
                  <a:pt x="769" y="706"/>
                </a:cubicBezTo>
                <a:cubicBezTo>
                  <a:pt x="767" y="710"/>
                  <a:pt x="767" y="710"/>
                  <a:pt x="767" y="710"/>
                </a:cubicBezTo>
                <a:cubicBezTo>
                  <a:pt x="766" y="713"/>
                  <a:pt x="766" y="713"/>
                  <a:pt x="766" y="713"/>
                </a:cubicBezTo>
                <a:cubicBezTo>
                  <a:pt x="764" y="715"/>
                  <a:pt x="764" y="715"/>
                  <a:pt x="764" y="715"/>
                </a:cubicBezTo>
                <a:cubicBezTo>
                  <a:pt x="767" y="714"/>
                  <a:pt x="767" y="714"/>
                  <a:pt x="767" y="714"/>
                </a:cubicBezTo>
                <a:cubicBezTo>
                  <a:pt x="770" y="707"/>
                  <a:pt x="770" y="707"/>
                  <a:pt x="770" y="707"/>
                </a:cubicBezTo>
                <a:cubicBezTo>
                  <a:pt x="773" y="704"/>
                  <a:pt x="773" y="704"/>
                  <a:pt x="773" y="704"/>
                </a:cubicBezTo>
                <a:cubicBezTo>
                  <a:pt x="774" y="705"/>
                  <a:pt x="774" y="705"/>
                  <a:pt x="774" y="705"/>
                </a:cubicBezTo>
                <a:cubicBezTo>
                  <a:pt x="774" y="707"/>
                  <a:pt x="774" y="707"/>
                  <a:pt x="774" y="707"/>
                </a:cubicBezTo>
                <a:cubicBezTo>
                  <a:pt x="774" y="712"/>
                  <a:pt x="774" y="712"/>
                  <a:pt x="774" y="712"/>
                </a:cubicBezTo>
                <a:cubicBezTo>
                  <a:pt x="773" y="713"/>
                  <a:pt x="773" y="713"/>
                  <a:pt x="773" y="713"/>
                </a:cubicBezTo>
                <a:cubicBezTo>
                  <a:pt x="773" y="715"/>
                  <a:pt x="773" y="715"/>
                  <a:pt x="773" y="715"/>
                </a:cubicBezTo>
                <a:cubicBezTo>
                  <a:pt x="772" y="717"/>
                  <a:pt x="772" y="717"/>
                  <a:pt x="772" y="717"/>
                </a:cubicBezTo>
                <a:cubicBezTo>
                  <a:pt x="775" y="714"/>
                  <a:pt x="775" y="714"/>
                  <a:pt x="775" y="714"/>
                </a:cubicBezTo>
                <a:cubicBezTo>
                  <a:pt x="776" y="711"/>
                  <a:pt x="776" y="711"/>
                  <a:pt x="776" y="711"/>
                </a:cubicBezTo>
                <a:cubicBezTo>
                  <a:pt x="778" y="709"/>
                  <a:pt x="778" y="709"/>
                  <a:pt x="778" y="709"/>
                </a:cubicBezTo>
                <a:cubicBezTo>
                  <a:pt x="780" y="709"/>
                  <a:pt x="780" y="709"/>
                  <a:pt x="780" y="709"/>
                </a:cubicBezTo>
                <a:cubicBezTo>
                  <a:pt x="782" y="707"/>
                  <a:pt x="782" y="707"/>
                  <a:pt x="782" y="707"/>
                </a:cubicBezTo>
                <a:cubicBezTo>
                  <a:pt x="784" y="707"/>
                  <a:pt x="784" y="707"/>
                  <a:pt x="784" y="707"/>
                </a:cubicBezTo>
                <a:cubicBezTo>
                  <a:pt x="785" y="708"/>
                  <a:pt x="785" y="708"/>
                  <a:pt x="785" y="708"/>
                </a:cubicBezTo>
                <a:cubicBezTo>
                  <a:pt x="786" y="707"/>
                  <a:pt x="786" y="707"/>
                  <a:pt x="786" y="707"/>
                </a:cubicBezTo>
                <a:cubicBezTo>
                  <a:pt x="788" y="707"/>
                  <a:pt x="788" y="707"/>
                  <a:pt x="788" y="707"/>
                </a:cubicBezTo>
                <a:cubicBezTo>
                  <a:pt x="788" y="704"/>
                  <a:pt x="788" y="704"/>
                  <a:pt x="788" y="704"/>
                </a:cubicBezTo>
                <a:cubicBezTo>
                  <a:pt x="790" y="702"/>
                  <a:pt x="790" y="702"/>
                  <a:pt x="790" y="702"/>
                </a:cubicBezTo>
                <a:cubicBezTo>
                  <a:pt x="793" y="700"/>
                  <a:pt x="793" y="700"/>
                  <a:pt x="793" y="700"/>
                </a:cubicBezTo>
                <a:cubicBezTo>
                  <a:pt x="795" y="701"/>
                  <a:pt x="795" y="701"/>
                  <a:pt x="795" y="701"/>
                </a:cubicBezTo>
                <a:cubicBezTo>
                  <a:pt x="795" y="705"/>
                  <a:pt x="795" y="705"/>
                  <a:pt x="795" y="705"/>
                </a:cubicBezTo>
                <a:cubicBezTo>
                  <a:pt x="795" y="708"/>
                  <a:pt x="795" y="708"/>
                  <a:pt x="795" y="708"/>
                </a:cubicBezTo>
                <a:cubicBezTo>
                  <a:pt x="797" y="704"/>
                  <a:pt x="797" y="704"/>
                  <a:pt x="797" y="704"/>
                </a:cubicBezTo>
                <a:cubicBezTo>
                  <a:pt x="796" y="700"/>
                  <a:pt x="796" y="700"/>
                  <a:pt x="796" y="700"/>
                </a:cubicBezTo>
                <a:cubicBezTo>
                  <a:pt x="797" y="700"/>
                  <a:pt x="797" y="700"/>
                  <a:pt x="797" y="700"/>
                </a:cubicBezTo>
                <a:cubicBezTo>
                  <a:pt x="797" y="699"/>
                  <a:pt x="797" y="699"/>
                  <a:pt x="797" y="699"/>
                </a:cubicBezTo>
                <a:cubicBezTo>
                  <a:pt x="799" y="697"/>
                  <a:pt x="799" y="697"/>
                  <a:pt x="799" y="697"/>
                </a:cubicBezTo>
                <a:cubicBezTo>
                  <a:pt x="801" y="696"/>
                  <a:pt x="801" y="696"/>
                  <a:pt x="801" y="696"/>
                </a:cubicBezTo>
                <a:cubicBezTo>
                  <a:pt x="801" y="693"/>
                  <a:pt x="801" y="693"/>
                  <a:pt x="801" y="693"/>
                </a:cubicBezTo>
                <a:cubicBezTo>
                  <a:pt x="803" y="692"/>
                  <a:pt x="803" y="692"/>
                  <a:pt x="803" y="692"/>
                </a:cubicBezTo>
                <a:cubicBezTo>
                  <a:pt x="805" y="690"/>
                  <a:pt x="805" y="690"/>
                  <a:pt x="805" y="690"/>
                </a:cubicBezTo>
                <a:cubicBezTo>
                  <a:pt x="805" y="688"/>
                  <a:pt x="805" y="688"/>
                  <a:pt x="805" y="688"/>
                </a:cubicBezTo>
                <a:cubicBezTo>
                  <a:pt x="807" y="688"/>
                  <a:pt x="807" y="688"/>
                  <a:pt x="807" y="688"/>
                </a:cubicBezTo>
                <a:cubicBezTo>
                  <a:pt x="809" y="690"/>
                  <a:pt x="809" y="690"/>
                  <a:pt x="809" y="690"/>
                </a:cubicBezTo>
                <a:cubicBezTo>
                  <a:pt x="809" y="689"/>
                  <a:pt x="809" y="689"/>
                  <a:pt x="809" y="689"/>
                </a:cubicBezTo>
                <a:cubicBezTo>
                  <a:pt x="808" y="687"/>
                  <a:pt x="808" y="687"/>
                  <a:pt x="808" y="687"/>
                </a:cubicBezTo>
                <a:cubicBezTo>
                  <a:pt x="806" y="687"/>
                  <a:pt x="806" y="687"/>
                  <a:pt x="806" y="687"/>
                </a:cubicBezTo>
                <a:cubicBezTo>
                  <a:pt x="806" y="685"/>
                  <a:pt x="806" y="685"/>
                  <a:pt x="806" y="685"/>
                </a:cubicBezTo>
                <a:cubicBezTo>
                  <a:pt x="807" y="681"/>
                  <a:pt x="807" y="681"/>
                  <a:pt x="807" y="681"/>
                </a:cubicBezTo>
                <a:cubicBezTo>
                  <a:pt x="808" y="681"/>
                  <a:pt x="808" y="681"/>
                  <a:pt x="808" y="681"/>
                </a:cubicBezTo>
                <a:cubicBezTo>
                  <a:pt x="810" y="682"/>
                  <a:pt x="810" y="682"/>
                  <a:pt x="810" y="682"/>
                </a:cubicBezTo>
                <a:cubicBezTo>
                  <a:pt x="810" y="680"/>
                  <a:pt x="810" y="680"/>
                  <a:pt x="810" y="680"/>
                </a:cubicBezTo>
                <a:cubicBezTo>
                  <a:pt x="811" y="679"/>
                  <a:pt x="811" y="679"/>
                  <a:pt x="811" y="679"/>
                </a:cubicBezTo>
                <a:cubicBezTo>
                  <a:pt x="811" y="677"/>
                  <a:pt x="811" y="677"/>
                  <a:pt x="811" y="677"/>
                </a:cubicBezTo>
                <a:cubicBezTo>
                  <a:pt x="814" y="674"/>
                  <a:pt x="814" y="674"/>
                  <a:pt x="814" y="674"/>
                </a:cubicBezTo>
                <a:cubicBezTo>
                  <a:pt x="815" y="672"/>
                  <a:pt x="815" y="672"/>
                  <a:pt x="815" y="672"/>
                </a:cubicBezTo>
                <a:cubicBezTo>
                  <a:pt x="815" y="670"/>
                  <a:pt x="815" y="670"/>
                  <a:pt x="815" y="670"/>
                </a:cubicBezTo>
                <a:cubicBezTo>
                  <a:pt x="817" y="668"/>
                  <a:pt x="817" y="668"/>
                  <a:pt x="817" y="668"/>
                </a:cubicBezTo>
                <a:cubicBezTo>
                  <a:pt x="819" y="667"/>
                  <a:pt x="819" y="667"/>
                  <a:pt x="819" y="667"/>
                </a:cubicBezTo>
                <a:cubicBezTo>
                  <a:pt x="820" y="668"/>
                  <a:pt x="820" y="668"/>
                  <a:pt x="820" y="668"/>
                </a:cubicBezTo>
                <a:cubicBezTo>
                  <a:pt x="818" y="670"/>
                  <a:pt x="818" y="670"/>
                  <a:pt x="818" y="670"/>
                </a:cubicBezTo>
                <a:cubicBezTo>
                  <a:pt x="820" y="669"/>
                  <a:pt x="820" y="669"/>
                  <a:pt x="820" y="669"/>
                </a:cubicBezTo>
                <a:cubicBezTo>
                  <a:pt x="821" y="670"/>
                  <a:pt x="821" y="670"/>
                  <a:pt x="821" y="670"/>
                </a:cubicBezTo>
                <a:cubicBezTo>
                  <a:pt x="820" y="671"/>
                  <a:pt x="820" y="671"/>
                  <a:pt x="820" y="671"/>
                </a:cubicBezTo>
                <a:cubicBezTo>
                  <a:pt x="819" y="672"/>
                  <a:pt x="819" y="672"/>
                  <a:pt x="819" y="672"/>
                </a:cubicBezTo>
                <a:cubicBezTo>
                  <a:pt x="821" y="673"/>
                  <a:pt x="821" y="673"/>
                  <a:pt x="821" y="673"/>
                </a:cubicBezTo>
                <a:cubicBezTo>
                  <a:pt x="820" y="675"/>
                  <a:pt x="820" y="675"/>
                  <a:pt x="820" y="675"/>
                </a:cubicBezTo>
                <a:cubicBezTo>
                  <a:pt x="818" y="676"/>
                  <a:pt x="818" y="676"/>
                  <a:pt x="818" y="676"/>
                </a:cubicBezTo>
                <a:cubicBezTo>
                  <a:pt x="818" y="676"/>
                  <a:pt x="818" y="676"/>
                  <a:pt x="818" y="676"/>
                </a:cubicBezTo>
                <a:cubicBezTo>
                  <a:pt x="820" y="677"/>
                  <a:pt x="820" y="677"/>
                  <a:pt x="820" y="677"/>
                </a:cubicBezTo>
                <a:cubicBezTo>
                  <a:pt x="821" y="677"/>
                  <a:pt x="821" y="677"/>
                  <a:pt x="821" y="677"/>
                </a:cubicBezTo>
                <a:cubicBezTo>
                  <a:pt x="820" y="679"/>
                  <a:pt x="820" y="679"/>
                  <a:pt x="820" y="679"/>
                </a:cubicBezTo>
                <a:cubicBezTo>
                  <a:pt x="820" y="680"/>
                  <a:pt x="820" y="680"/>
                  <a:pt x="820" y="680"/>
                </a:cubicBezTo>
                <a:cubicBezTo>
                  <a:pt x="822" y="680"/>
                  <a:pt x="822" y="680"/>
                  <a:pt x="822" y="680"/>
                </a:cubicBezTo>
                <a:cubicBezTo>
                  <a:pt x="822" y="682"/>
                  <a:pt x="822" y="682"/>
                  <a:pt x="822" y="682"/>
                </a:cubicBezTo>
                <a:cubicBezTo>
                  <a:pt x="820" y="683"/>
                  <a:pt x="820" y="683"/>
                  <a:pt x="820" y="683"/>
                </a:cubicBezTo>
                <a:cubicBezTo>
                  <a:pt x="821" y="685"/>
                  <a:pt x="821" y="685"/>
                  <a:pt x="821" y="685"/>
                </a:cubicBezTo>
                <a:cubicBezTo>
                  <a:pt x="823" y="687"/>
                  <a:pt x="823" y="687"/>
                  <a:pt x="823" y="687"/>
                </a:cubicBezTo>
                <a:cubicBezTo>
                  <a:pt x="823" y="690"/>
                  <a:pt x="823" y="690"/>
                  <a:pt x="823" y="690"/>
                </a:cubicBezTo>
                <a:cubicBezTo>
                  <a:pt x="822" y="691"/>
                  <a:pt x="822" y="691"/>
                  <a:pt x="822" y="691"/>
                </a:cubicBezTo>
                <a:cubicBezTo>
                  <a:pt x="821" y="690"/>
                  <a:pt x="821" y="690"/>
                  <a:pt x="821" y="690"/>
                </a:cubicBezTo>
                <a:cubicBezTo>
                  <a:pt x="819" y="691"/>
                  <a:pt x="819" y="691"/>
                  <a:pt x="819" y="691"/>
                </a:cubicBezTo>
                <a:cubicBezTo>
                  <a:pt x="821" y="692"/>
                  <a:pt x="821" y="692"/>
                  <a:pt x="821" y="692"/>
                </a:cubicBezTo>
                <a:cubicBezTo>
                  <a:pt x="822" y="694"/>
                  <a:pt x="822" y="694"/>
                  <a:pt x="822" y="694"/>
                </a:cubicBezTo>
                <a:cubicBezTo>
                  <a:pt x="823" y="694"/>
                  <a:pt x="823" y="694"/>
                  <a:pt x="823" y="694"/>
                </a:cubicBezTo>
                <a:cubicBezTo>
                  <a:pt x="824" y="692"/>
                  <a:pt x="824" y="692"/>
                  <a:pt x="824" y="692"/>
                </a:cubicBezTo>
                <a:cubicBezTo>
                  <a:pt x="824" y="694"/>
                  <a:pt x="824" y="694"/>
                  <a:pt x="824" y="694"/>
                </a:cubicBezTo>
                <a:cubicBezTo>
                  <a:pt x="826" y="695"/>
                  <a:pt x="826" y="695"/>
                  <a:pt x="826" y="695"/>
                </a:cubicBezTo>
                <a:cubicBezTo>
                  <a:pt x="824" y="698"/>
                  <a:pt x="824" y="698"/>
                  <a:pt x="824" y="698"/>
                </a:cubicBezTo>
                <a:cubicBezTo>
                  <a:pt x="822" y="699"/>
                  <a:pt x="822" y="699"/>
                  <a:pt x="822" y="699"/>
                </a:cubicBezTo>
                <a:cubicBezTo>
                  <a:pt x="819" y="698"/>
                  <a:pt x="819" y="698"/>
                  <a:pt x="819" y="698"/>
                </a:cubicBezTo>
                <a:cubicBezTo>
                  <a:pt x="818" y="700"/>
                  <a:pt x="818" y="700"/>
                  <a:pt x="818" y="700"/>
                </a:cubicBezTo>
                <a:cubicBezTo>
                  <a:pt x="820" y="701"/>
                  <a:pt x="820" y="701"/>
                  <a:pt x="820" y="701"/>
                </a:cubicBezTo>
                <a:cubicBezTo>
                  <a:pt x="826" y="699"/>
                  <a:pt x="826" y="699"/>
                  <a:pt x="826" y="699"/>
                </a:cubicBezTo>
                <a:cubicBezTo>
                  <a:pt x="828" y="700"/>
                  <a:pt x="828" y="700"/>
                  <a:pt x="828" y="700"/>
                </a:cubicBezTo>
                <a:cubicBezTo>
                  <a:pt x="827" y="702"/>
                  <a:pt x="827" y="702"/>
                  <a:pt x="827" y="702"/>
                </a:cubicBezTo>
                <a:cubicBezTo>
                  <a:pt x="825" y="704"/>
                  <a:pt x="825" y="704"/>
                  <a:pt x="825" y="704"/>
                </a:cubicBezTo>
                <a:cubicBezTo>
                  <a:pt x="826" y="705"/>
                  <a:pt x="826" y="705"/>
                  <a:pt x="826" y="705"/>
                </a:cubicBezTo>
                <a:cubicBezTo>
                  <a:pt x="828" y="704"/>
                  <a:pt x="828" y="704"/>
                  <a:pt x="828" y="704"/>
                </a:cubicBezTo>
                <a:cubicBezTo>
                  <a:pt x="828" y="707"/>
                  <a:pt x="828" y="707"/>
                  <a:pt x="828" y="707"/>
                </a:cubicBezTo>
                <a:cubicBezTo>
                  <a:pt x="826" y="709"/>
                  <a:pt x="826" y="709"/>
                  <a:pt x="826" y="709"/>
                </a:cubicBezTo>
                <a:cubicBezTo>
                  <a:pt x="823" y="709"/>
                  <a:pt x="823" y="709"/>
                  <a:pt x="823" y="709"/>
                </a:cubicBezTo>
                <a:cubicBezTo>
                  <a:pt x="821" y="708"/>
                  <a:pt x="821" y="708"/>
                  <a:pt x="821" y="708"/>
                </a:cubicBezTo>
                <a:cubicBezTo>
                  <a:pt x="820" y="710"/>
                  <a:pt x="820" y="710"/>
                  <a:pt x="820" y="710"/>
                </a:cubicBezTo>
                <a:cubicBezTo>
                  <a:pt x="820" y="711"/>
                  <a:pt x="820" y="711"/>
                  <a:pt x="820" y="711"/>
                </a:cubicBezTo>
                <a:cubicBezTo>
                  <a:pt x="820" y="713"/>
                  <a:pt x="820" y="713"/>
                  <a:pt x="820" y="713"/>
                </a:cubicBezTo>
                <a:cubicBezTo>
                  <a:pt x="823" y="712"/>
                  <a:pt x="823" y="712"/>
                  <a:pt x="823" y="712"/>
                </a:cubicBezTo>
                <a:cubicBezTo>
                  <a:pt x="827" y="712"/>
                  <a:pt x="827" y="712"/>
                  <a:pt x="827" y="712"/>
                </a:cubicBezTo>
                <a:cubicBezTo>
                  <a:pt x="829" y="711"/>
                  <a:pt x="829" y="711"/>
                  <a:pt x="829" y="711"/>
                </a:cubicBezTo>
                <a:cubicBezTo>
                  <a:pt x="830" y="712"/>
                  <a:pt x="830" y="712"/>
                  <a:pt x="830" y="712"/>
                </a:cubicBezTo>
                <a:cubicBezTo>
                  <a:pt x="829" y="713"/>
                  <a:pt x="829" y="713"/>
                  <a:pt x="829" y="713"/>
                </a:cubicBezTo>
                <a:cubicBezTo>
                  <a:pt x="829" y="714"/>
                  <a:pt x="829" y="714"/>
                  <a:pt x="829" y="714"/>
                </a:cubicBezTo>
                <a:cubicBezTo>
                  <a:pt x="827" y="716"/>
                  <a:pt x="827" y="716"/>
                  <a:pt x="827" y="716"/>
                </a:cubicBezTo>
                <a:cubicBezTo>
                  <a:pt x="824" y="716"/>
                  <a:pt x="824" y="716"/>
                  <a:pt x="824" y="716"/>
                </a:cubicBezTo>
                <a:cubicBezTo>
                  <a:pt x="821" y="720"/>
                  <a:pt x="821" y="720"/>
                  <a:pt x="821" y="720"/>
                </a:cubicBezTo>
                <a:cubicBezTo>
                  <a:pt x="825" y="718"/>
                  <a:pt x="825" y="718"/>
                  <a:pt x="825" y="718"/>
                </a:cubicBezTo>
                <a:cubicBezTo>
                  <a:pt x="827" y="718"/>
                  <a:pt x="827" y="718"/>
                  <a:pt x="827" y="718"/>
                </a:cubicBezTo>
                <a:cubicBezTo>
                  <a:pt x="829" y="718"/>
                  <a:pt x="829" y="718"/>
                  <a:pt x="829" y="718"/>
                </a:cubicBezTo>
                <a:cubicBezTo>
                  <a:pt x="831" y="718"/>
                  <a:pt x="831" y="718"/>
                  <a:pt x="831" y="718"/>
                </a:cubicBezTo>
                <a:cubicBezTo>
                  <a:pt x="831" y="720"/>
                  <a:pt x="831" y="720"/>
                  <a:pt x="831" y="720"/>
                </a:cubicBezTo>
                <a:cubicBezTo>
                  <a:pt x="829" y="720"/>
                  <a:pt x="829" y="720"/>
                  <a:pt x="829" y="720"/>
                </a:cubicBezTo>
                <a:cubicBezTo>
                  <a:pt x="827" y="722"/>
                  <a:pt x="827" y="722"/>
                  <a:pt x="827" y="722"/>
                </a:cubicBezTo>
                <a:cubicBezTo>
                  <a:pt x="826" y="724"/>
                  <a:pt x="826" y="724"/>
                  <a:pt x="826" y="724"/>
                </a:cubicBezTo>
                <a:cubicBezTo>
                  <a:pt x="828" y="723"/>
                  <a:pt x="828" y="723"/>
                  <a:pt x="828" y="723"/>
                </a:cubicBezTo>
                <a:cubicBezTo>
                  <a:pt x="830" y="724"/>
                  <a:pt x="830" y="724"/>
                  <a:pt x="830" y="724"/>
                </a:cubicBezTo>
                <a:cubicBezTo>
                  <a:pt x="831" y="722"/>
                  <a:pt x="831" y="722"/>
                  <a:pt x="831" y="722"/>
                </a:cubicBezTo>
                <a:cubicBezTo>
                  <a:pt x="833" y="724"/>
                  <a:pt x="833" y="724"/>
                  <a:pt x="833" y="724"/>
                </a:cubicBezTo>
                <a:cubicBezTo>
                  <a:pt x="835" y="728"/>
                  <a:pt x="835" y="728"/>
                  <a:pt x="835" y="728"/>
                </a:cubicBezTo>
                <a:cubicBezTo>
                  <a:pt x="832" y="730"/>
                  <a:pt x="832" y="730"/>
                  <a:pt x="832" y="730"/>
                </a:cubicBezTo>
                <a:cubicBezTo>
                  <a:pt x="830" y="730"/>
                  <a:pt x="830" y="730"/>
                  <a:pt x="830" y="730"/>
                </a:cubicBezTo>
                <a:cubicBezTo>
                  <a:pt x="829" y="731"/>
                  <a:pt x="829" y="731"/>
                  <a:pt x="829" y="731"/>
                </a:cubicBezTo>
                <a:cubicBezTo>
                  <a:pt x="827" y="731"/>
                  <a:pt x="827" y="731"/>
                  <a:pt x="827" y="731"/>
                </a:cubicBezTo>
                <a:cubicBezTo>
                  <a:pt x="829" y="732"/>
                  <a:pt x="829" y="732"/>
                  <a:pt x="829" y="732"/>
                </a:cubicBezTo>
                <a:cubicBezTo>
                  <a:pt x="830" y="732"/>
                  <a:pt x="830" y="732"/>
                  <a:pt x="830" y="732"/>
                </a:cubicBezTo>
                <a:cubicBezTo>
                  <a:pt x="831" y="733"/>
                  <a:pt x="831" y="733"/>
                  <a:pt x="831" y="733"/>
                </a:cubicBezTo>
                <a:cubicBezTo>
                  <a:pt x="834" y="733"/>
                  <a:pt x="834" y="733"/>
                  <a:pt x="834" y="733"/>
                </a:cubicBezTo>
                <a:cubicBezTo>
                  <a:pt x="835" y="734"/>
                  <a:pt x="835" y="734"/>
                  <a:pt x="835" y="734"/>
                </a:cubicBezTo>
                <a:cubicBezTo>
                  <a:pt x="834" y="736"/>
                  <a:pt x="834" y="736"/>
                  <a:pt x="834" y="736"/>
                </a:cubicBezTo>
                <a:cubicBezTo>
                  <a:pt x="833" y="737"/>
                  <a:pt x="833" y="737"/>
                  <a:pt x="833" y="737"/>
                </a:cubicBezTo>
                <a:cubicBezTo>
                  <a:pt x="835" y="738"/>
                  <a:pt x="835" y="738"/>
                  <a:pt x="835" y="738"/>
                </a:cubicBezTo>
                <a:cubicBezTo>
                  <a:pt x="837" y="737"/>
                  <a:pt x="837" y="737"/>
                  <a:pt x="837" y="737"/>
                </a:cubicBezTo>
                <a:cubicBezTo>
                  <a:pt x="839" y="739"/>
                  <a:pt x="839" y="739"/>
                  <a:pt x="839" y="739"/>
                </a:cubicBezTo>
                <a:cubicBezTo>
                  <a:pt x="838" y="742"/>
                  <a:pt x="838" y="742"/>
                  <a:pt x="838" y="742"/>
                </a:cubicBezTo>
                <a:cubicBezTo>
                  <a:pt x="836" y="743"/>
                  <a:pt x="836" y="743"/>
                  <a:pt x="836" y="743"/>
                </a:cubicBezTo>
                <a:cubicBezTo>
                  <a:pt x="834" y="745"/>
                  <a:pt x="834" y="745"/>
                  <a:pt x="834" y="745"/>
                </a:cubicBezTo>
                <a:cubicBezTo>
                  <a:pt x="832" y="744"/>
                  <a:pt x="832" y="744"/>
                  <a:pt x="832" y="744"/>
                </a:cubicBezTo>
                <a:cubicBezTo>
                  <a:pt x="831" y="745"/>
                  <a:pt x="831" y="745"/>
                  <a:pt x="831" y="745"/>
                </a:cubicBezTo>
                <a:cubicBezTo>
                  <a:pt x="833" y="746"/>
                  <a:pt x="833" y="746"/>
                  <a:pt x="833" y="746"/>
                </a:cubicBezTo>
                <a:cubicBezTo>
                  <a:pt x="833" y="748"/>
                  <a:pt x="833" y="748"/>
                  <a:pt x="833" y="748"/>
                </a:cubicBezTo>
                <a:cubicBezTo>
                  <a:pt x="831" y="748"/>
                  <a:pt x="831" y="748"/>
                  <a:pt x="831" y="748"/>
                </a:cubicBezTo>
                <a:cubicBezTo>
                  <a:pt x="828" y="746"/>
                  <a:pt x="828" y="746"/>
                  <a:pt x="828" y="746"/>
                </a:cubicBezTo>
                <a:cubicBezTo>
                  <a:pt x="824" y="746"/>
                  <a:pt x="824" y="746"/>
                  <a:pt x="824" y="746"/>
                </a:cubicBezTo>
                <a:cubicBezTo>
                  <a:pt x="827" y="748"/>
                  <a:pt x="827" y="748"/>
                  <a:pt x="827" y="748"/>
                </a:cubicBezTo>
                <a:cubicBezTo>
                  <a:pt x="827" y="750"/>
                  <a:pt x="827" y="750"/>
                  <a:pt x="827" y="750"/>
                </a:cubicBezTo>
                <a:cubicBezTo>
                  <a:pt x="830" y="753"/>
                  <a:pt x="830" y="753"/>
                  <a:pt x="830" y="753"/>
                </a:cubicBezTo>
                <a:cubicBezTo>
                  <a:pt x="831" y="754"/>
                  <a:pt x="831" y="754"/>
                  <a:pt x="831" y="754"/>
                </a:cubicBezTo>
                <a:cubicBezTo>
                  <a:pt x="831" y="755"/>
                  <a:pt x="831" y="755"/>
                  <a:pt x="831" y="755"/>
                </a:cubicBezTo>
                <a:cubicBezTo>
                  <a:pt x="828" y="756"/>
                  <a:pt x="828" y="756"/>
                  <a:pt x="828" y="756"/>
                </a:cubicBezTo>
                <a:cubicBezTo>
                  <a:pt x="827" y="757"/>
                  <a:pt x="827" y="757"/>
                  <a:pt x="827" y="757"/>
                </a:cubicBezTo>
                <a:cubicBezTo>
                  <a:pt x="824" y="757"/>
                  <a:pt x="824" y="757"/>
                  <a:pt x="824" y="757"/>
                </a:cubicBezTo>
                <a:cubicBezTo>
                  <a:pt x="828" y="758"/>
                  <a:pt x="828" y="758"/>
                  <a:pt x="828" y="758"/>
                </a:cubicBezTo>
                <a:cubicBezTo>
                  <a:pt x="829" y="758"/>
                  <a:pt x="829" y="758"/>
                  <a:pt x="829" y="758"/>
                </a:cubicBezTo>
                <a:cubicBezTo>
                  <a:pt x="830" y="757"/>
                  <a:pt x="830" y="757"/>
                  <a:pt x="830" y="757"/>
                </a:cubicBezTo>
                <a:cubicBezTo>
                  <a:pt x="833" y="756"/>
                  <a:pt x="833" y="756"/>
                  <a:pt x="833" y="756"/>
                </a:cubicBezTo>
                <a:cubicBezTo>
                  <a:pt x="834" y="756"/>
                  <a:pt x="834" y="756"/>
                  <a:pt x="834" y="756"/>
                </a:cubicBezTo>
                <a:cubicBezTo>
                  <a:pt x="834" y="758"/>
                  <a:pt x="834" y="758"/>
                  <a:pt x="834" y="758"/>
                </a:cubicBezTo>
                <a:cubicBezTo>
                  <a:pt x="835" y="759"/>
                  <a:pt x="835" y="759"/>
                  <a:pt x="835" y="759"/>
                </a:cubicBezTo>
                <a:cubicBezTo>
                  <a:pt x="834" y="760"/>
                  <a:pt x="834" y="760"/>
                  <a:pt x="834" y="760"/>
                </a:cubicBezTo>
                <a:cubicBezTo>
                  <a:pt x="836" y="760"/>
                  <a:pt x="836" y="760"/>
                  <a:pt x="836" y="760"/>
                </a:cubicBezTo>
                <a:cubicBezTo>
                  <a:pt x="836" y="761"/>
                  <a:pt x="836" y="761"/>
                  <a:pt x="836" y="761"/>
                </a:cubicBezTo>
                <a:cubicBezTo>
                  <a:pt x="836" y="763"/>
                  <a:pt x="836" y="763"/>
                  <a:pt x="836" y="763"/>
                </a:cubicBezTo>
                <a:cubicBezTo>
                  <a:pt x="836" y="764"/>
                  <a:pt x="836" y="764"/>
                  <a:pt x="836" y="764"/>
                </a:cubicBezTo>
                <a:cubicBezTo>
                  <a:pt x="839" y="762"/>
                  <a:pt x="839" y="762"/>
                  <a:pt x="839" y="762"/>
                </a:cubicBezTo>
                <a:cubicBezTo>
                  <a:pt x="839" y="763"/>
                  <a:pt x="839" y="763"/>
                  <a:pt x="839" y="763"/>
                </a:cubicBezTo>
                <a:cubicBezTo>
                  <a:pt x="841" y="763"/>
                  <a:pt x="841" y="763"/>
                  <a:pt x="841" y="763"/>
                </a:cubicBezTo>
                <a:cubicBezTo>
                  <a:pt x="841" y="766"/>
                  <a:pt x="841" y="766"/>
                  <a:pt x="841" y="766"/>
                </a:cubicBezTo>
                <a:cubicBezTo>
                  <a:pt x="840" y="768"/>
                  <a:pt x="840" y="768"/>
                  <a:pt x="840" y="768"/>
                </a:cubicBezTo>
                <a:cubicBezTo>
                  <a:pt x="840" y="769"/>
                  <a:pt x="840" y="769"/>
                  <a:pt x="840" y="769"/>
                </a:cubicBezTo>
                <a:cubicBezTo>
                  <a:pt x="841" y="769"/>
                  <a:pt x="841" y="769"/>
                  <a:pt x="841" y="769"/>
                </a:cubicBezTo>
                <a:cubicBezTo>
                  <a:pt x="844" y="765"/>
                  <a:pt x="844" y="765"/>
                  <a:pt x="844" y="765"/>
                </a:cubicBezTo>
                <a:cubicBezTo>
                  <a:pt x="844" y="766"/>
                  <a:pt x="844" y="766"/>
                  <a:pt x="844" y="766"/>
                </a:cubicBezTo>
                <a:cubicBezTo>
                  <a:pt x="844" y="768"/>
                  <a:pt x="844" y="768"/>
                  <a:pt x="844" y="768"/>
                </a:cubicBezTo>
                <a:cubicBezTo>
                  <a:pt x="845" y="769"/>
                  <a:pt x="845" y="769"/>
                  <a:pt x="845" y="769"/>
                </a:cubicBezTo>
                <a:cubicBezTo>
                  <a:pt x="842" y="771"/>
                  <a:pt x="842" y="771"/>
                  <a:pt x="842" y="771"/>
                </a:cubicBezTo>
                <a:cubicBezTo>
                  <a:pt x="839" y="776"/>
                  <a:pt x="839" y="776"/>
                  <a:pt x="839" y="776"/>
                </a:cubicBezTo>
                <a:cubicBezTo>
                  <a:pt x="836" y="778"/>
                  <a:pt x="836" y="778"/>
                  <a:pt x="836" y="778"/>
                </a:cubicBezTo>
                <a:cubicBezTo>
                  <a:pt x="834" y="777"/>
                  <a:pt x="834" y="777"/>
                  <a:pt x="834" y="777"/>
                </a:cubicBezTo>
                <a:cubicBezTo>
                  <a:pt x="836" y="778"/>
                  <a:pt x="836" y="778"/>
                  <a:pt x="836" y="778"/>
                </a:cubicBezTo>
                <a:cubicBezTo>
                  <a:pt x="838" y="778"/>
                  <a:pt x="838" y="778"/>
                  <a:pt x="838" y="778"/>
                </a:cubicBezTo>
                <a:cubicBezTo>
                  <a:pt x="843" y="773"/>
                  <a:pt x="843" y="773"/>
                  <a:pt x="843" y="773"/>
                </a:cubicBezTo>
                <a:cubicBezTo>
                  <a:pt x="845" y="773"/>
                  <a:pt x="845" y="773"/>
                  <a:pt x="845" y="773"/>
                </a:cubicBezTo>
                <a:cubicBezTo>
                  <a:pt x="845" y="775"/>
                  <a:pt x="845" y="775"/>
                  <a:pt x="845" y="775"/>
                </a:cubicBezTo>
                <a:cubicBezTo>
                  <a:pt x="843" y="776"/>
                  <a:pt x="843" y="776"/>
                  <a:pt x="843" y="776"/>
                </a:cubicBezTo>
                <a:cubicBezTo>
                  <a:pt x="842" y="778"/>
                  <a:pt x="842" y="778"/>
                  <a:pt x="842" y="778"/>
                </a:cubicBezTo>
                <a:cubicBezTo>
                  <a:pt x="843" y="779"/>
                  <a:pt x="843" y="779"/>
                  <a:pt x="843" y="779"/>
                </a:cubicBezTo>
                <a:cubicBezTo>
                  <a:pt x="845" y="776"/>
                  <a:pt x="845" y="776"/>
                  <a:pt x="845" y="776"/>
                </a:cubicBezTo>
                <a:cubicBezTo>
                  <a:pt x="847" y="774"/>
                  <a:pt x="847" y="774"/>
                  <a:pt x="847" y="774"/>
                </a:cubicBezTo>
                <a:cubicBezTo>
                  <a:pt x="850" y="773"/>
                  <a:pt x="850" y="773"/>
                  <a:pt x="850" y="773"/>
                </a:cubicBezTo>
                <a:cubicBezTo>
                  <a:pt x="850" y="774"/>
                  <a:pt x="850" y="774"/>
                  <a:pt x="850" y="774"/>
                </a:cubicBezTo>
                <a:cubicBezTo>
                  <a:pt x="848" y="775"/>
                  <a:pt x="848" y="775"/>
                  <a:pt x="848" y="775"/>
                </a:cubicBezTo>
                <a:cubicBezTo>
                  <a:pt x="847" y="776"/>
                  <a:pt x="847" y="776"/>
                  <a:pt x="847" y="776"/>
                </a:cubicBezTo>
                <a:cubicBezTo>
                  <a:pt x="848" y="777"/>
                  <a:pt x="848" y="777"/>
                  <a:pt x="848" y="777"/>
                </a:cubicBezTo>
                <a:cubicBezTo>
                  <a:pt x="851" y="775"/>
                  <a:pt x="851" y="775"/>
                  <a:pt x="851" y="775"/>
                </a:cubicBezTo>
                <a:cubicBezTo>
                  <a:pt x="852" y="776"/>
                  <a:pt x="852" y="776"/>
                  <a:pt x="852" y="776"/>
                </a:cubicBezTo>
                <a:cubicBezTo>
                  <a:pt x="849" y="779"/>
                  <a:pt x="849" y="779"/>
                  <a:pt x="849" y="779"/>
                </a:cubicBezTo>
                <a:cubicBezTo>
                  <a:pt x="847" y="781"/>
                  <a:pt x="847" y="781"/>
                  <a:pt x="847" y="781"/>
                </a:cubicBezTo>
                <a:cubicBezTo>
                  <a:pt x="848" y="781"/>
                  <a:pt x="848" y="781"/>
                  <a:pt x="848" y="781"/>
                </a:cubicBezTo>
                <a:cubicBezTo>
                  <a:pt x="850" y="780"/>
                  <a:pt x="850" y="780"/>
                  <a:pt x="850" y="780"/>
                </a:cubicBezTo>
                <a:cubicBezTo>
                  <a:pt x="855" y="776"/>
                  <a:pt x="855" y="776"/>
                  <a:pt x="855" y="776"/>
                </a:cubicBezTo>
                <a:cubicBezTo>
                  <a:pt x="856" y="776"/>
                  <a:pt x="856" y="776"/>
                  <a:pt x="856" y="776"/>
                </a:cubicBezTo>
                <a:cubicBezTo>
                  <a:pt x="854" y="777"/>
                  <a:pt x="854" y="777"/>
                  <a:pt x="854" y="777"/>
                </a:cubicBezTo>
                <a:cubicBezTo>
                  <a:pt x="854" y="778"/>
                  <a:pt x="854" y="778"/>
                  <a:pt x="854" y="778"/>
                </a:cubicBezTo>
                <a:cubicBezTo>
                  <a:pt x="858" y="776"/>
                  <a:pt x="858" y="776"/>
                  <a:pt x="858" y="776"/>
                </a:cubicBezTo>
                <a:cubicBezTo>
                  <a:pt x="857" y="777"/>
                  <a:pt x="857" y="777"/>
                  <a:pt x="857" y="777"/>
                </a:cubicBezTo>
                <a:cubicBezTo>
                  <a:pt x="857" y="781"/>
                  <a:pt x="857" y="781"/>
                  <a:pt x="857" y="781"/>
                </a:cubicBezTo>
                <a:cubicBezTo>
                  <a:pt x="856" y="781"/>
                  <a:pt x="856" y="781"/>
                  <a:pt x="856" y="781"/>
                </a:cubicBezTo>
                <a:cubicBezTo>
                  <a:pt x="856" y="783"/>
                  <a:pt x="856" y="783"/>
                  <a:pt x="856" y="783"/>
                </a:cubicBezTo>
                <a:cubicBezTo>
                  <a:pt x="859" y="783"/>
                  <a:pt x="859" y="783"/>
                  <a:pt x="859" y="783"/>
                </a:cubicBezTo>
                <a:cubicBezTo>
                  <a:pt x="861" y="784"/>
                  <a:pt x="861" y="784"/>
                  <a:pt x="861" y="784"/>
                </a:cubicBezTo>
                <a:cubicBezTo>
                  <a:pt x="863" y="782"/>
                  <a:pt x="863" y="782"/>
                  <a:pt x="863" y="782"/>
                </a:cubicBezTo>
                <a:cubicBezTo>
                  <a:pt x="867" y="781"/>
                  <a:pt x="867" y="781"/>
                  <a:pt x="867" y="781"/>
                </a:cubicBezTo>
                <a:cubicBezTo>
                  <a:pt x="868" y="782"/>
                  <a:pt x="868" y="782"/>
                  <a:pt x="868" y="782"/>
                </a:cubicBezTo>
                <a:cubicBezTo>
                  <a:pt x="867" y="784"/>
                  <a:pt x="867" y="784"/>
                  <a:pt x="867" y="784"/>
                </a:cubicBezTo>
                <a:cubicBezTo>
                  <a:pt x="866" y="784"/>
                  <a:pt x="866" y="784"/>
                  <a:pt x="866" y="784"/>
                </a:cubicBezTo>
                <a:cubicBezTo>
                  <a:pt x="865" y="785"/>
                  <a:pt x="865" y="785"/>
                  <a:pt x="865" y="785"/>
                </a:cubicBezTo>
                <a:cubicBezTo>
                  <a:pt x="871" y="787"/>
                  <a:pt x="871" y="787"/>
                  <a:pt x="871" y="787"/>
                </a:cubicBezTo>
                <a:cubicBezTo>
                  <a:pt x="873" y="789"/>
                  <a:pt x="873" y="789"/>
                  <a:pt x="873" y="789"/>
                </a:cubicBezTo>
                <a:cubicBezTo>
                  <a:pt x="869" y="789"/>
                  <a:pt x="869" y="789"/>
                  <a:pt x="869" y="789"/>
                </a:cubicBezTo>
                <a:cubicBezTo>
                  <a:pt x="869" y="790"/>
                  <a:pt x="869" y="790"/>
                  <a:pt x="869" y="790"/>
                </a:cubicBezTo>
                <a:cubicBezTo>
                  <a:pt x="864" y="791"/>
                  <a:pt x="864" y="791"/>
                  <a:pt x="864" y="791"/>
                </a:cubicBezTo>
                <a:cubicBezTo>
                  <a:pt x="863" y="790"/>
                  <a:pt x="863" y="790"/>
                  <a:pt x="863" y="790"/>
                </a:cubicBezTo>
                <a:cubicBezTo>
                  <a:pt x="860" y="792"/>
                  <a:pt x="860" y="792"/>
                  <a:pt x="860" y="792"/>
                </a:cubicBezTo>
                <a:cubicBezTo>
                  <a:pt x="858" y="794"/>
                  <a:pt x="858" y="794"/>
                  <a:pt x="858" y="794"/>
                </a:cubicBezTo>
                <a:cubicBezTo>
                  <a:pt x="853" y="794"/>
                  <a:pt x="853" y="794"/>
                  <a:pt x="853" y="794"/>
                </a:cubicBezTo>
                <a:cubicBezTo>
                  <a:pt x="847" y="795"/>
                  <a:pt x="847" y="795"/>
                  <a:pt x="847" y="795"/>
                </a:cubicBezTo>
                <a:cubicBezTo>
                  <a:pt x="846" y="797"/>
                  <a:pt x="846" y="797"/>
                  <a:pt x="846" y="797"/>
                </a:cubicBezTo>
                <a:cubicBezTo>
                  <a:pt x="851" y="796"/>
                  <a:pt x="851" y="796"/>
                  <a:pt x="851" y="796"/>
                </a:cubicBezTo>
                <a:cubicBezTo>
                  <a:pt x="855" y="794"/>
                  <a:pt x="855" y="794"/>
                  <a:pt x="855" y="794"/>
                </a:cubicBezTo>
                <a:cubicBezTo>
                  <a:pt x="857" y="795"/>
                  <a:pt x="857" y="795"/>
                  <a:pt x="857" y="795"/>
                </a:cubicBezTo>
                <a:cubicBezTo>
                  <a:pt x="857" y="796"/>
                  <a:pt x="857" y="796"/>
                  <a:pt x="857" y="796"/>
                </a:cubicBezTo>
                <a:cubicBezTo>
                  <a:pt x="853" y="797"/>
                  <a:pt x="853" y="797"/>
                  <a:pt x="853" y="797"/>
                </a:cubicBezTo>
                <a:cubicBezTo>
                  <a:pt x="848" y="797"/>
                  <a:pt x="848" y="797"/>
                  <a:pt x="848" y="797"/>
                </a:cubicBezTo>
                <a:cubicBezTo>
                  <a:pt x="844" y="800"/>
                  <a:pt x="844" y="800"/>
                  <a:pt x="844" y="800"/>
                </a:cubicBezTo>
                <a:cubicBezTo>
                  <a:pt x="843" y="801"/>
                  <a:pt x="843" y="801"/>
                  <a:pt x="843" y="801"/>
                </a:cubicBezTo>
                <a:cubicBezTo>
                  <a:pt x="840" y="801"/>
                  <a:pt x="840" y="801"/>
                  <a:pt x="840" y="801"/>
                </a:cubicBezTo>
                <a:cubicBezTo>
                  <a:pt x="839" y="803"/>
                  <a:pt x="839" y="803"/>
                  <a:pt x="839" y="803"/>
                </a:cubicBezTo>
                <a:cubicBezTo>
                  <a:pt x="839" y="805"/>
                  <a:pt x="839" y="805"/>
                  <a:pt x="839" y="805"/>
                </a:cubicBezTo>
                <a:cubicBezTo>
                  <a:pt x="834" y="802"/>
                  <a:pt x="834" y="802"/>
                  <a:pt x="834" y="802"/>
                </a:cubicBezTo>
                <a:cubicBezTo>
                  <a:pt x="832" y="797"/>
                  <a:pt x="832" y="797"/>
                  <a:pt x="832" y="797"/>
                </a:cubicBezTo>
                <a:cubicBezTo>
                  <a:pt x="832" y="799"/>
                  <a:pt x="832" y="799"/>
                  <a:pt x="832" y="799"/>
                </a:cubicBezTo>
                <a:cubicBezTo>
                  <a:pt x="831" y="801"/>
                  <a:pt x="831" y="801"/>
                  <a:pt x="831" y="801"/>
                </a:cubicBezTo>
                <a:cubicBezTo>
                  <a:pt x="833" y="801"/>
                  <a:pt x="833" y="801"/>
                  <a:pt x="833" y="801"/>
                </a:cubicBezTo>
                <a:cubicBezTo>
                  <a:pt x="833" y="802"/>
                  <a:pt x="833" y="802"/>
                  <a:pt x="833" y="802"/>
                </a:cubicBezTo>
                <a:cubicBezTo>
                  <a:pt x="838" y="806"/>
                  <a:pt x="838" y="806"/>
                  <a:pt x="838" y="806"/>
                </a:cubicBezTo>
                <a:cubicBezTo>
                  <a:pt x="838" y="808"/>
                  <a:pt x="838" y="808"/>
                  <a:pt x="838" y="808"/>
                </a:cubicBezTo>
                <a:cubicBezTo>
                  <a:pt x="836" y="808"/>
                  <a:pt x="836" y="808"/>
                  <a:pt x="836" y="808"/>
                </a:cubicBezTo>
                <a:cubicBezTo>
                  <a:pt x="835" y="809"/>
                  <a:pt x="835" y="809"/>
                  <a:pt x="835" y="809"/>
                </a:cubicBezTo>
                <a:cubicBezTo>
                  <a:pt x="836" y="811"/>
                  <a:pt x="836" y="811"/>
                  <a:pt x="836" y="811"/>
                </a:cubicBezTo>
                <a:cubicBezTo>
                  <a:pt x="837" y="811"/>
                  <a:pt x="837" y="811"/>
                  <a:pt x="837" y="811"/>
                </a:cubicBezTo>
                <a:cubicBezTo>
                  <a:pt x="838" y="810"/>
                  <a:pt x="838" y="810"/>
                  <a:pt x="838" y="810"/>
                </a:cubicBezTo>
                <a:cubicBezTo>
                  <a:pt x="839" y="810"/>
                  <a:pt x="839" y="810"/>
                  <a:pt x="839" y="810"/>
                </a:cubicBezTo>
                <a:cubicBezTo>
                  <a:pt x="841" y="806"/>
                  <a:pt x="841" y="806"/>
                  <a:pt x="841" y="806"/>
                </a:cubicBezTo>
                <a:cubicBezTo>
                  <a:pt x="845" y="806"/>
                  <a:pt x="845" y="806"/>
                  <a:pt x="845" y="806"/>
                </a:cubicBezTo>
                <a:cubicBezTo>
                  <a:pt x="847" y="804"/>
                  <a:pt x="847" y="804"/>
                  <a:pt x="847" y="804"/>
                </a:cubicBezTo>
                <a:cubicBezTo>
                  <a:pt x="849" y="804"/>
                  <a:pt x="849" y="804"/>
                  <a:pt x="849" y="804"/>
                </a:cubicBezTo>
                <a:cubicBezTo>
                  <a:pt x="850" y="801"/>
                  <a:pt x="850" y="801"/>
                  <a:pt x="850" y="801"/>
                </a:cubicBezTo>
                <a:cubicBezTo>
                  <a:pt x="853" y="799"/>
                  <a:pt x="853" y="799"/>
                  <a:pt x="853" y="799"/>
                </a:cubicBezTo>
                <a:cubicBezTo>
                  <a:pt x="855" y="798"/>
                  <a:pt x="855" y="798"/>
                  <a:pt x="855" y="798"/>
                </a:cubicBezTo>
                <a:cubicBezTo>
                  <a:pt x="859" y="797"/>
                  <a:pt x="859" y="797"/>
                  <a:pt x="859" y="797"/>
                </a:cubicBezTo>
                <a:cubicBezTo>
                  <a:pt x="862" y="797"/>
                  <a:pt x="862" y="797"/>
                  <a:pt x="862" y="797"/>
                </a:cubicBezTo>
                <a:cubicBezTo>
                  <a:pt x="865" y="797"/>
                  <a:pt x="865" y="797"/>
                  <a:pt x="865" y="797"/>
                </a:cubicBezTo>
                <a:cubicBezTo>
                  <a:pt x="864" y="796"/>
                  <a:pt x="864" y="796"/>
                  <a:pt x="864" y="796"/>
                </a:cubicBezTo>
                <a:cubicBezTo>
                  <a:pt x="861" y="796"/>
                  <a:pt x="861" y="796"/>
                  <a:pt x="861" y="796"/>
                </a:cubicBezTo>
                <a:cubicBezTo>
                  <a:pt x="860" y="795"/>
                  <a:pt x="860" y="795"/>
                  <a:pt x="860" y="795"/>
                </a:cubicBezTo>
                <a:cubicBezTo>
                  <a:pt x="862" y="795"/>
                  <a:pt x="862" y="795"/>
                  <a:pt x="862" y="795"/>
                </a:cubicBezTo>
                <a:cubicBezTo>
                  <a:pt x="867" y="794"/>
                  <a:pt x="867" y="794"/>
                  <a:pt x="867" y="794"/>
                </a:cubicBezTo>
                <a:cubicBezTo>
                  <a:pt x="871" y="795"/>
                  <a:pt x="871" y="795"/>
                  <a:pt x="871" y="795"/>
                </a:cubicBezTo>
                <a:cubicBezTo>
                  <a:pt x="873" y="799"/>
                  <a:pt x="873" y="799"/>
                  <a:pt x="873" y="799"/>
                </a:cubicBezTo>
                <a:cubicBezTo>
                  <a:pt x="873" y="801"/>
                  <a:pt x="873" y="801"/>
                  <a:pt x="873" y="801"/>
                </a:cubicBezTo>
                <a:cubicBezTo>
                  <a:pt x="870" y="804"/>
                  <a:pt x="870" y="804"/>
                  <a:pt x="870" y="804"/>
                </a:cubicBezTo>
                <a:cubicBezTo>
                  <a:pt x="869" y="804"/>
                  <a:pt x="869" y="804"/>
                  <a:pt x="869" y="804"/>
                </a:cubicBezTo>
                <a:cubicBezTo>
                  <a:pt x="867" y="806"/>
                  <a:pt x="867" y="806"/>
                  <a:pt x="867" y="806"/>
                </a:cubicBezTo>
                <a:cubicBezTo>
                  <a:pt x="870" y="806"/>
                  <a:pt x="870" y="806"/>
                  <a:pt x="870" y="806"/>
                </a:cubicBezTo>
                <a:cubicBezTo>
                  <a:pt x="871" y="808"/>
                  <a:pt x="871" y="808"/>
                  <a:pt x="871" y="808"/>
                </a:cubicBezTo>
                <a:cubicBezTo>
                  <a:pt x="872" y="807"/>
                  <a:pt x="872" y="807"/>
                  <a:pt x="872" y="807"/>
                </a:cubicBezTo>
                <a:cubicBezTo>
                  <a:pt x="873" y="805"/>
                  <a:pt x="873" y="805"/>
                  <a:pt x="873" y="805"/>
                </a:cubicBezTo>
                <a:cubicBezTo>
                  <a:pt x="876" y="803"/>
                  <a:pt x="876" y="803"/>
                  <a:pt x="876" y="803"/>
                </a:cubicBezTo>
                <a:cubicBezTo>
                  <a:pt x="879" y="803"/>
                  <a:pt x="879" y="803"/>
                  <a:pt x="879" y="803"/>
                </a:cubicBezTo>
                <a:cubicBezTo>
                  <a:pt x="880" y="804"/>
                  <a:pt x="880" y="804"/>
                  <a:pt x="880" y="804"/>
                </a:cubicBezTo>
                <a:cubicBezTo>
                  <a:pt x="879" y="804"/>
                  <a:pt x="879" y="804"/>
                  <a:pt x="879" y="804"/>
                </a:cubicBezTo>
                <a:cubicBezTo>
                  <a:pt x="878" y="806"/>
                  <a:pt x="878" y="806"/>
                  <a:pt x="878" y="806"/>
                </a:cubicBezTo>
                <a:cubicBezTo>
                  <a:pt x="882" y="806"/>
                  <a:pt x="882" y="806"/>
                  <a:pt x="882" y="806"/>
                </a:cubicBezTo>
                <a:cubicBezTo>
                  <a:pt x="885" y="807"/>
                  <a:pt x="885" y="807"/>
                  <a:pt x="885" y="807"/>
                </a:cubicBezTo>
                <a:cubicBezTo>
                  <a:pt x="885" y="809"/>
                  <a:pt x="885" y="809"/>
                  <a:pt x="885" y="809"/>
                </a:cubicBezTo>
                <a:cubicBezTo>
                  <a:pt x="883" y="808"/>
                  <a:pt x="883" y="808"/>
                  <a:pt x="883" y="808"/>
                </a:cubicBezTo>
                <a:cubicBezTo>
                  <a:pt x="882" y="808"/>
                  <a:pt x="882" y="808"/>
                  <a:pt x="882" y="808"/>
                </a:cubicBezTo>
                <a:cubicBezTo>
                  <a:pt x="882" y="810"/>
                  <a:pt x="882" y="810"/>
                  <a:pt x="882" y="810"/>
                </a:cubicBezTo>
                <a:cubicBezTo>
                  <a:pt x="886" y="811"/>
                  <a:pt x="886" y="811"/>
                  <a:pt x="886" y="811"/>
                </a:cubicBezTo>
                <a:cubicBezTo>
                  <a:pt x="886" y="813"/>
                  <a:pt x="886" y="813"/>
                  <a:pt x="886" y="813"/>
                </a:cubicBezTo>
                <a:cubicBezTo>
                  <a:pt x="885" y="815"/>
                  <a:pt x="885" y="815"/>
                  <a:pt x="885" y="815"/>
                </a:cubicBezTo>
                <a:cubicBezTo>
                  <a:pt x="883" y="814"/>
                  <a:pt x="883" y="814"/>
                  <a:pt x="883" y="814"/>
                </a:cubicBezTo>
                <a:cubicBezTo>
                  <a:pt x="881" y="816"/>
                  <a:pt x="881" y="816"/>
                  <a:pt x="881" y="816"/>
                </a:cubicBezTo>
                <a:cubicBezTo>
                  <a:pt x="884" y="817"/>
                  <a:pt x="884" y="817"/>
                  <a:pt x="884" y="817"/>
                </a:cubicBezTo>
                <a:cubicBezTo>
                  <a:pt x="883" y="819"/>
                  <a:pt x="883" y="819"/>
                  <a:pt x="883" y="819"/>
                </a:cubicBezTo>
                <a:cubicBezTo>
                  <a:pt x="882" y="820"/>
                  <a:pt x="882" y="820"/>
                  <a:pt x="882" y="820"/>
                </a:cubicBezTo>
                <a:cubicBezTo>
                  <a:pt x="881" y="822"/>
                  <a:pt x="881" y="822"/>
                  <a:pt x="881" y="822"/>
                </a:cubicBezTo>
                <a:cubicBezTo>
                  <a:pt x="879" y="823"/>
                  <a:pt x="879" y="823"/>
                  <a:pt x="879" y="823"/>
                </a:cubicBezTo>
                <a:cubicBezTo>
                  <a:pt x="876" y="821"/>
                  <a:pt x="876" y="821"/>
                  <a:pt x="876" y="821"/>
                </a:cubicBezTo>
                <a:cubicBezTo>
                  <a:pt x="877" y="823"/>
                  <a:pt x="877" y="823"/>
                  <a:pt x="877" y="823"/>
                </a:cubicBezTo>
                <a:cubicBezTo>
                  <a:pt x="881" y="825"/>
                  <a:pt x="881" y="825"/>
                  <a:pt x="881" y="825"/>
                </a:cubicBezTo>
                <a:cubicBezTo>
                  <a:pt x="883" y="824"/>
                  <a:pt x="883" y="824"/>
                  <a:pt x="883" y="824"/>
                </a:cubicBezTo>
                <a:cubicBezTo>
                  <a:pt x="884" y="826"/>
                  <a:pt x="884" y="826"/>
                  <a:pt x="884" y="826"/>
                </a:cubicBezTo>
                <a:cubicBezTo>
                  <a:pt x="883" y="827"/>
                  <a:pt x="883" y="827"/>
                  <a:pt x="883" y="827"/>
                </a:cubicBezTo>
                <a:cubicBezTo>
                  <a:pt x="880" y="827"/>
                  <a:pt x="880" y="827"/>
                  <a:pt x="880" y="827"/>
                </a:cubicBezTo>
                <a:cubicBezTo>
                  <a:pt x="879" y="827"/>
                  <a:pt x="879" y="827"/>
                  <a:pt x="879" y="827"/>
                </a:cubicBezTo>
                <a:cubicBezTo>
                  <a:pt x="881" y="828"/>
                  <a:pt x="881" y="828"/>
                  <a:pt x="881" y="828"/>
                </a:cubicBezTo>
                <a:cubicBezTo>
                  <a:pt x="883" y="827"/>
                  <a:pt x="883" y="827"/>
                  <a:pt x="883" y="827"/>
                </a:cubicBezTo>
                <a:cubicBezTo>
                  <a:pt x="884" y="828"/>
                  <a:pt x="884" y="828"/>
                  <a:pt x="884" y="828"/>
                </a:cubicBezTo>
                <a:cubicBezTo>
                  <a:pt x="883" y="831"/>
                  <a:pt x="883" y="831"/>
                  <a:pt x="883" y="831"/>
                </a:cubicBezTo>
                <a:cubicBezTo>
                  <a:pt x="883" y="833"/>
                  <a:pt x="883" y="833"/>
                  <a:pt x="883" y="833"/>
                </a:cubicBezTo>
                <a:cubicBezTo>
                  <a:pt x="881" y="833"/>
                  <a:pt x="881" y="833"/>
                  <a:pt x="881" y="833"/>
                </a:cubicBezTo>
                <a:cubicBezTo>
                  <a:pt x="880" y="835"/>
                  <a:pt x="880" y="835"/>
                  <a:pt x="880" y="835"/>
                </a:cubicBezTo>
                <a:cubicBezTo>
                  <a:pt x="877" y="837"/>
                  <a:pt x="877" y="837"/>
                  <a:pt x="877" y="837"/>
                </a:cubicBezTo>
                <a:cubicBezTo>
                  <a:pt x="874" y="837"/>
                  <a:pt x="874" y="837"/>
                  <a:pt x="874" y="837"/>
                </a:cubicBezTo>
                <a:cubicBezTo>
                  <a:pt x="872" y="839"/>
                  <a:pt x="872" y="839"/>
                  <a:pt x="872" y="839"/>
                </a:cubicBezTo>
                <a:cubicBezTo>
                  <a:pt x="871" y="839"/>
                  <a:pt x="871" y="839"/>
                  <a:pt x="871" y="839"/>
                </a:cubicBezTo>
                <a:cubicBezTo>
                  <a:pt x="869" y="841"/>
                  <a:pt x="869" y="841"/>
                  <a:pt x="869" y="841"/>
                </a:cubicBezTo>
                <a:cubicBezTo>
                  <a:pt x="867" y="841"/>
                  <a:pt x="867" y="841"/>
                  <a:pt x="867" y="841"/>
                </a:cubicBezTo>
                <a:cubicBezTo>
                  <a:pt x="867" y="843"/>
                  <a:pt x="867" y="843"/>
                  <a:pt x="867" y="843"/>
                </a:cubicBezTo>
                <a:cubicBezTo>
                  <a:pt x="865" y="843"/>
                  <a:pt x="865" y="843"/>
                  <a:pt x="865" y="843"/>
                </a:cubicBezTo>
                <a:cubicBezTo>
                  <a:pt x="863" y="842"/>
                  <a:pt x="863" y="842"/>
                  <a:pt x="863" y="842"/>
                </a:cubicBezTo>
                <a:cubicBezTo>
                  <a:pt x="862" y="843"/>
                  <a:pt x="862" y="843"/>
                  <a:pt x="862" y="843"/>
                </a:cubicBezTo>
                <a:cubicBezTo>
                  <a:pt x="860" y="843"/>
                  <a:pt x="860" y="843"/>
                  <a:pt x="860" y="843"/>
                </a:cubicBezTo>
                <a:cubicBezTo>
                  <a:pt x="859" y="842"/>
                  <a:pt x="859" y="842"/>
                  <a:pt x="859" y="842"/>
                </a:cubicBezTo>
                <a:cubicBezTo>
                  <a:pt x="857" y="844"/>
                  <a:pt x="857" y="844"/>
                  <a:pt x="857" y="844"/>
                </a:cubicBezTo>
                <a:cubicBezTo>
                  <a:pt x="854" y="843"/>
                  <a:pt x="854" y="843"/>
                  <a:pt x="854" y="843"/>
                </a:cubicBezTo>
                <a:cubicBezTo>
                  <a:pt x="853" y="841"/>
                  <a:pt x="853" y="841"/>
                  <a:pt x="853" y="841"/>
                </a:cubicBezTo>
                <a:cubicBezTo>
                  <a:pt x="852" y="842"/>
                  <a:pt x="852" y="842"/>
                  <a:pt x="852" y="842"/>
                </a:cubicBezTo>
                <a:cubicBezTo>
                  <a:pt x="852" y="844"/>
                  <a:pt x="852" y="844"/>
                  <a:pt x="852" y="844"/>
                </a:cubicBezTo>
                <a:cubicBezTo>
                  <a:pt x="850" y="844"/>
                  <a:pt x="850" y="844"/>
                  <a:pt x="850" y="844"/>
                </a:cubicBezTo>
                <a:cubicBezTo>
                  <a:pt x="848" y="844"/>
                  <a:pt x="848" y="844"/>
                  <a:pt x="848" y="844"/>
                </a:cubicBezTo>
                <a:cubicBezTo>
                  <a:pt x="847" y="845"/>
                  <a:pt x="847" y="845"/>
                  <a:pt x="847" y="845"/>
                </a:cubicBezTo>
                <a:cubicBezTo>
                  <a:pt x="848" y="845"/>
                  <a:pt x="848" y="845"/>
                  <a:pt x="848" y="845"/>
                </a:cubicBezTo>
                <a:cubicBezTo>
                  <a:pt x="847" y="847"/>
                  <a:pt x="847" y="847"/>
                  <a:pt x="847" y="847"/>
                </a:cubicBezTo>
                <a:cubicBezTo>
                  <a:pt x="846" y="848"/>
                  <a:pt x="846" y="848"/>
                  <a:pt x="846" y="848"/>
                </a:cubicBezTo>
                <a:cubicBezTo>
                  <a:pt x="844" y="848"/>
                  <a:pt x="844" y="848"/>
                  <a:pt x="844" y="848"/>
                </a:cubicBezTo>
                <a:cubicBezTo>
                  <a:pt x="844" y="850"/>
                  <a:pt x="844" y="850"/>
                  <a:pt x="844" y="850"/>
                </a:cubicBezTo>
                <a:cubicBezTo>
                  <a:pt x="842" y="854"/>
                  <a:pt x="842" y="854"/>
                  <a:pt x="842" y="854"/>
                </a:cubicBezTo>
                <a:cubicBezTo>
                  <a:pt x="840" y="853"/>
                  <a:pt x="840" y="853"/>
                  <a:pt x="840" y="853"/>
                </a:cubicBezTo>
                <a:cubicBezTo>
                  <a:pt x="840" y="854"/>
                  <a:pt x="840" y="854"/>
                  <a:pt x="840" y="854"/>
                </a:cubicBezTo>
                <a:cubicBezTo>
                  <a:pt x="838" y="856"/>
                  <a:pt x="838" y="856"/>
                  <a:pt x="838" y="856"/>
                </a:cubicBezTo>
                <a:cubicBezTo>
                  <a:pt x="836" y="858"/>
                  <a:pt x="836" y="858"/>
                  <a:pt x="836" y="858"/>
                </a:cubicBezTo>
                <a:cubicBezTo>
                  <a:pt x="835" y="858"/>
                  <a:pt x="835" y="858"/>
                  <a:pt x="835" y="858"/>
                </a:cubicBezTo>
                <a:cubicBezTo>
                  <a:pt x="834" y="858"/>
                  <a:pt x="834" y="858"/>
                  <a:pt x="834" y="858"/>
                </a:cubicBezTo>
                <a:cubicBezTo>
                  <a:pt x="831" y="858"/>
                  <a:pt x="831" y="858"/>
                  <a:pt x="831" y="858"/>
                </a:cubicBezTo>
                <a:cubicBezTo>
                  <a:pt x="831" y="860"/>
                  <a:pt x="831" y="860"/>
                  <a:pt x="831" y="860"/>
                </a:cubicBezTo>
                <a:cubicBezTo>
                  <a:pt x="828" y="861"/>
                  <a:pt x="828" y="861"/>
                  <a:pt x="828" y="861"/>
                </a:cubicBezTo>
                <a:cubicBezTo>
                  <a:pt x="827" y="860"/>
                  <a:pt x="827" y="860"/>
                  <a:pt x="827" y="860"/>
                </a:cubicBezTo>
                <a:cubicBezTo>
                  <a:pt x="823" y="860"/>
                  <a:pt x="823" y="860"/>
                  <a:pt x="823" y="860"/>
                </a:cubicBezTo>
                <a:cubicBezTo>
                  <a:pt x="822" y="859"/>
                  <a:pt x="822" y="859"/>
                  <a:pt x="822" y="859"/>
                </a:cubicBezTo>
                <a:cubicBezTo>
                  <a:pt x="819" y="860"/>
                  <a:pt x="819" y="860"/>
                  <a:pt x="819" y="860"/>
                </a:cubicBezTo>
                <a:cubicBezTo>
                  <a:pt x="818" y="860"/>
                  <a:pt x="818" y="860"/>
                  <a:pt x="818" y="860"/>
                </a:cubicBezTo>
                <a:cubicBezTo>
                  <a:pt x="812" y="862"/>
                  <a:pt x="812" y="862"/>
                  <a:pt x="812" y="862"/>
                </a:cubicBezTo>
                <a:cubicBezTo>
                  <a:pt x="810" y="861"/>
                  <a:pt x="810" y="861"/>
                  <a:pt x="810" y="861"/>
                </a:cubicBezTo>
                <a:cubicBezTo>
                  <a:pt x="811" y="860"/>
                  <a:pt x="811" y="860"/>
                  <a:pt x="811" y="860"/>
                </a:cubicBezTo>
                <a:cubicBezTo>
                  <a:pt x="809" y="859"/>
                  <a:pt x="809" y="859"/>
                  <a:pt x="809" y="859"/>
                </a:cubicBezTo>
                <a:cubicBezTo>
                  <a:pt x="807" y="860"/>
                  <a:pt x="807" y="860"/>
                  <a:pt x="807" y="860"/>
                </a:cubicBezTo>
                <a:cubicBezTo>
                  <a:pt x="805" y="860"/>
                  <a:pt x="805" y="860"/>
                  <a:pt x="805" y="860"/>
                </a:cubicBezTo>
                <a:cubicBezTo>
                  <a:pt x="801" y="859"/>
                  <a:pt x="801" y="859"/>
                  <a:pt x="801" y="859"/>
                </a:cubicBezTo>
                <a:cubicBezTo>
                  <a:pt x="800" y="859"/>
                  <a:pt x="800" y="859"/>
                  <a:pt x="800" y="859"/>
                </a:cubicBezTo>
                <a:cubicBezTo>
                  <a:pt x="797" y="859"/>
                  <a:pt x="797" y="859"/>
                  <a:pt x="797" y="859"/>
                </a:cubicBezTo>
                <a:cubicBezTo>
                  <a:pt x="795" y="857"/>
                  <a:pt x="795" y="857"/>
                  <a:pt x="795" y="857"/>
                </a:cubicBezTo>
                <a:cubicBezTo>
                  <a:pt x="794" y="857"/>
                  <a:pt x="794" y="857"/>
                  <a:pt x="794" y="857"/>
                </a:cubicBezTo>
                <a:cubicBezTo>
                  <a:pt x="792" y="859"/>
                  <a:pt x="792" y="859"/>
                  <a:pt x="792" y="859"/>
                </a:cubicBezTo>
                <a:cubicBezTo>
                  <a:pt x="789" y="858"/>
                  <a:pt x="789" y="858"/>
                  <a:pt x="789" y="858"/>
                </a:cubicBezTo>
                <a:cubicBezTo>
                  <a:pt x="786" y="856"/>
                  <a:pt x="786" y="856"/>
                  <a:pt x="786" y="856"/>
                </a:cubicBezTo>
                <a:cubicBezTo>
                  <a:pt x="784" y="858"/>
                  <a:pt x="784" y="858"/>
                  <a:pt x="784" y="858"/>
                </a:cubicBezTo>
                <a:cubicBezTo>
                  <a:pt x="782" y="858"/>
                  <a:pt x="782" y="858"/>
                  <a:pt x="782" y="858"/>
                </a:cubicBezTo>
                <a:cubicBezTo>
                  <a:pt x="780" y="856"/>
                  <a:pt x="780" y="856"/>
                  <a:pt x="780" y="856"/>
                </a:cubicBezTo>
                <a:cubicBezTo>
                  <a:pt x="777" y="858"/>
                  <a:pt x="777" y="858"/>
                  <a:pt x="777" y="858"/>
                </a:cubicBezTo>
                <a:cubicBezTo>
                  <a:pt x="776" y="857"/>
                  <a:pt x="776" y="857"/>
                  <a:pt x="776" y="857"/>
                </a:cubicBezTo>
                <a:cubicBezTo>
                  <a:pt x="774" y="857"/>
                  <a:pt x="774" y="857"/>
                  <a:pt x="774" y="857"/>
                </a:cubicBezTo>
                <a:cubicBezTo>
                  <a:pt x="771" y="856"/>
                  <a:pt x="771" y="856"/>
                  <a:pt x="771" y="856"/>
                </a:cubicBezTo>
                <a:cubicBezTo>
                  <a:pt x="766" y="857"/>
                  <a:pt x="766" y="857"/>
                  <a:pt x="766" y="857"/>
                </a:cubicBezTo>
                <a:cubicBezTo>
                  <a:pt x="763" y="856"/>
                  <a:pt x="763" y="856"/>
                  <a:pt x="763" y="856"/>
                </a:cubicBezTo>
                <a:cubicBezTo>
                  <a:pt x="760" y="854"/>
                  <a:pt x="760" y="854"/>
                  <a:pt x="760" y="854"/>
                </a:cubicBezTo>
                <a:cubicBezTo>
                  <a:pt x="758" y="855"/>
                  <a:pt x="758" y="855"/>
                  <a:pt x="758" y="855"/>
                </a:cubicBezTo>
                <a:cubicBezTo>
                  <a:pt x="757" y="856"/>
                  <a:pt x="757" y="856"/>
                  <a:pt x="757" y="856"/>
                </a:cubicBezTo>
                <a:cubicBezTo>
                  <a:pt x="758" y="857"/>
                  <a:pt x="758" y="857"/>
                  <a:pt x="758" y="857"/>
                </a:cubicBezTo>
                <a:cubicBezTo>
                  <a:pt x="757" y="858"/>
                  <a:pt x="757" y="858"/>
                  <a:pt x="757" y="858"/>
                </a:cubicBezTo>
                <a:cubicBezTo>
                  <a:pt x="755" y="859"/>
                  <a:pt x="755" y="859"/>
                  <a:pt x="755" y="859"/>
                </a:cubicBezTo>
                <a:cubicBezTo>
                  <a:pt x="751" y="863"/>
                  <a:pt x="751" y="863"/>
                  <a:pt x="751" y="863"/>
                </a:cubicBezTo>
                <a:cubicBezTo>
                  <a:pt x="748" y="864"/>
                  <a:pt x="748" y="864"/>
                  <a:pt x="748" y="864"/>
                </a:cubicBezTo>
                <a:cubicBezTo>
                  <a:pt x="748" y="866"/>
                  <a:pt x="748" y="866"/>
                  <a:pt x="748" y="866"/>
                </a:cubicBezTo>
                <a:cubicBezTo>
                  <a:pt x="747" y="867"/>
                  <a:pt x="747" y="867"/>
                  <a:pt x="747" y="867"/>
                </a:cubicBezTo>
                <a:cubicBezTo>
                  <a:pt x="746" y="870"/>
                  <a:pt x="746" y="870"/>
                  <a:pt x="746" y="870"/>
                </a:cubicBezTo>
                <a:cubicBezTo>
                  <a:pt x="745" y="872"/>
                  <a:pt x="745" y="872"/>
                  <a:pt x="745" y="872"/>
                </a:cubicBezTo>
                <a:cubicBezTo>
                  <a:pt x="741" y="872"/>
                  <a:pt x="741" y="872"/>
                  <a:pt x="741" y="872"/>
                </a:cubicBezTo>
                <a:cubicBezTo>
                  <a:pt x="739" y="873"/>
                  <a:pt x="739" y="873"/>
                  <a:pt x="739" y="873"/>
                </a:cubicBezTo>
                <a:cubicBezTo>
                  <a:pt x="735" y="873"/>
                  <a:pt x="735" y="873"/>
                  <a:pt x="735" y="873"/>
                </a:cubicBezTo>
                <a:cubicBezTo>
                  <a:pt x="733" y="876"/>
                  <a:pt x="733" y="876"/>
                  <a:pt x="733" y="876"/>
                </a:cubicBezTo>
                <a:cubicBezTo>
                  <a:pt x="732" y="876"/>
                  <a:pt x="732" y="876"/>
                  <a:pt x="732" y="876"/>
                </a:cubicBezTo>
                <a:cubicBezTo>
                  <a:pt x="731" y="876"/>
                  <a:pt x="731" y="876"/>
                  <a:pt x="731" y="876"/>
                </a:cubicBezTo>
                <a:cubicBezTo>
                  <a:pt x="729" y="877"/>
                  <a:pt x="729" y="877"/>
                  <a:pt x="729" y="877"/>
                </a:cubicBezTo>
                <a:cubicBezTo>
                  <a:pt x="728" y="879"/>
                  <a:pt x="728" y="879"/>
                  <a:pt x="728" y="879"/>
                </a:cubicBezTo>
                <a:cubicBezTo>
                  <a:pt x="725" y="880"/>
                  <a:pt x="725" y="880"/>
                  <a:pt x="725" y="880"/>
                </a:cubicBezTo>
                <a:cubicBezTo>
                  <a:pt x="723" y="882"/>
                  <a:pt x="723" y="882"/>
                  <a:pt x="723" y="882"/>
                </a:cubicBezTo>
                <a:cubicBezTo>
                  <a:pt x="722" y="883"/>
                  <a:pt x="722" y="883"/>
                  <a:pt x="722" y="883"/>
                </a:cubicBezTo>
                <a:cubicBezTo>
                  <a:pt x="721" y="883"/>
                  <a:pt x="721" y="883"/>
                  <a:pt x="721" y="883"/>
                </a:cubicBezTo>
                <a:cubicBezTo>
                  <a:pt x="718" y="888"/>
                  <a:pt x="718" y="888"/>
                  <a:pt x="718" y="888"/>
                </a:cubicBezTo>
                <a:cubicBezTo>
                  <a:pt x="713" y="890"/>
                  <a:pt x="713" y="890"/>
                  <a:pt x="713" y="890"/>
                </a:cubicBezTo>
                <a:cubicBezTo>
                  <a:pt x="712" y="894"/>
                  <a:pt x="712" y="894"/>
                  <a:pt x="712" y="894"/>
                </a:cubicBezTo>
                <a:cubicBezTo>
                  <a:pt x="709" y="896"/>
                  <a:pt x="709" y="896"/>
                  <a:pt x="709" y="896"/>
                </a:cubicBezTo>
                <a:cubicBezTo>
                  <a:pt x="706" y="899"/>
                  <a:pt x="706" y="899"/>
                  <a:pt x="706" y="899"/>
                </a:cubicBezTo>
                <a:cubicBezTo>
                  <a:pt x="703" y="900"/>
                  <a:pt x="703" y="900"/>
                  <a:pt x="703" y="900"/>
                </a:cubicBezTo>
                <a:cubicBezTo>
                  <a:pt x="702" y="903"/>
                  <a:pt x="702" y="903"/>
                  <a:pt x="702" y="903"/>
                </a:cubicBezTo>
                <a:cubicBezTo>
                  <a:pt x="701" y="905"/>
                  <a:pt x="701" y="905"/>
                  <a:pt x="701" y="905"/>
                </a:cubicBezTo>
                <a:cubicBezTo>
                  <a:pt x="695" y="909"/>
                  <a:pt x="695" y="909"/>
                  <a:pt x="695" y="909"/>
                </a:cubicBezTo>
                <a:cubicBezTo>
                  <a:pt x="695" y="910"/>
                  <a:pt x="695" y="910"/>
                  <a:pt x="695" y="910"/>
                </a:cubicBezTo>
                <a:cubicBezTo>
                  <a:pt x="688" y="913"/>
                  <a:pt x="688" y="913"/>
                  <a:pt x="688" y="913"/>
                </a:cubicBezTo>
                <a:cubicBezTo>
                  <a:pt x="685" y="914"/>
                  <a:pt x="685" y="914"/>
                  <a:pt x="685" y="914"/>
                </a:cubicBezTo>
                <a:cubicBezTo>
                  <a:pt x="688" y="914"/>
                  <a:pt x="688" y="914"/>
                  <a:pt x="688" y="914"/>
                </a:cubicBezTo>
                <a:cubicBezTo>
                  <a:pt x="694" y="911"/>
                  <a:pt x="694" y="911"/>
                  <a:pt x="694" y="911"/>
                </a:cubicBezTo>
                <a:cubicBezTo>
                  <a:pt x="699" y="909"/>
                  <a:pt x="699" y="909"/>
                  <a:pt x="699" y="909"/>
                </a:cubicBezTo>
                <a:cubicBezTo>
                  <a:pt x="703" y="906"/>
                  <a:pt x="703" y="906"/>
                  <a:pt x="703" y="906"/>
                </a:cubicBezTo>
                <a:cubicBezTo>
                  <a:pt x="707" y="902"/>
                  <a:pt x="707" y="902"/>
                  <a:pt x="707" y="902"/>
                </a:cubicBezTo>
                <a:cubicBezTo>
                  <a:pt x="709" y="899"/>
                  <a:pt x="709" y="899"/>
                  <a:pt x="709" y="899"/>
                </a:cubicBezTo>
                <a:cubicBezTo>
                  <a:pt x="711" y="898"/>
                  <a:pt x="711" y="898"/>
                  <a:pt x="711" y="898"/>
                </a:cubicBezTo>
                <a:cubicBezTo>
                  <a:pt x="718" y="893"/>
                  <a:pt x="718" y="893"/>
                  <a:pt x="718" y="893"/>
                </a:cubicBezTo>
                <a:cubicBezTo>
                  <a:pt x="726" y="887"/>
                  <a:pt x="726" y="887"/>
                  <a:pt x="726" y="887"/>
                </a:cubicBezTo>
                <a:cubicBezTo>
                  <a:pt x="731" y="883"/>
                  <a:pt x="731" y="883"/>
                  <a:pt x="731" y="883"/>
                </a:cubicBezTo>
                <a:cubicBezTo>
                  <a:pt x="735" y="883"/>
                  <a:pt x="735" y="883"/>
                  <a:pt x="735" y="883"/>
                </a:cubicBezTo>
                <a:cubicBezTo>
                  <a:pt x="738" y="881"/>
                  <a:pt x="738" y="881"/>
                  <a:pt x="738" y="881"/>
                </a:cubicBezTo>
                <a:cubicBezTo>
                  <a:pt x="744" y="880"/>
                  <a:pt x="744" y="880"/>
                  <a:pt x="744" y="880"/>
                </a:cubicBezTo>
                <a:cubicBezTo>
                  <a:pt x="752" y="877"/>
                  <a:pt x="752" y="877"/>
                  <a:pt x="752" y="877"/>
                </a:cubicBezTo>
                <a:cubicBezTo>
                  <a:pt x="754" y="877"/>
                  <a:pt x="754" y="877"/>
                  <a:pt x="754" y="877"/>
                </a:cubicBezTo>
                <a:cubicBezTo>
                  <a:pt x="757" y="876"/>
                  <a:pt x="757" y="876"/>
                  <a:pt x="757" y="876"/>
                </a:cubicBezTo>
                <a:cubicBezTo>
                  <a:pt x="765" y="876"/>
                  <a:pt x="765" y="876"/>
                  <a:pt x="765" y="876"/>
                </a:cubicBezTo>
                <a:cubicBezTo>
                  <a:pt x="769" y="878"/>
                  <a:pt x="769" y="878"/>
                  <a:pt x="769" y="878"/>
                </a:cubicBezTo>
                <a:cubicBezTo>
                  <a:pt x="774" y="881"/>
                  <a:pt x="774" y="881"/>
                  <a:pt x="774" y="881"/>
                </a:cubicBezTo>
                <a:cubicBezTo>
                  <a:pt x="774" y="882"/>
                  <a:pt x="774" y="882"/>
                  <a:pt x="774" y="882"/>
                </a:cubicBezTo>
                <a:cubicBezTo>
                  <a:pt x="771" y="881"/>
                  <a:pt x="771" y="881"/>
                  <a:pt x="771" y="881"/>
                </a:cubicBezTo>
                <a:cubicBezTo>
                  <a:pt x="771" y="882"/>
                  <a:pt x="771" y="882"/>
                  <a:pt x="771" y="882"/>
                </a:cubicBezTo>
                <a:cubicBezTo>
                  <a:pt x="771" y="882"/>
                  <a:pt x="771" y="882"/>
                  <a:pt x="771" y="882"/>
                </a:cubicBezTo>
                <a:cubicBezTo>
                  <a:pt x="772" y="882"/>
                  <a:pt x="772" y="882"/>
                  <a:pt x="772" y="882"/>
                </a:cubicBezTo>
                <a:cubicBezTo>
                  <a:pt x="775" y="883"/>
                  <a:pt x="775" y="883"/>
                  <a:pt x="775" y="883"/>
                </a:cubicBezTo>
                <a:cubicBezTo>
                  <a:pt x="776" y="885"/>
                  <a:pt x="776" y="885"/>
                  <a:pt x="776" y="885"/>
                </a:cubicBezTo>
                <a:cubicBezTo>
                  <a:pt x="775" y="885"/>
                  <a:pt x="775" y="885"/>
                  <a:pt x="775" y="885"/>
                </a:cubicBezTo>
                <a:cubicBezTo>
                  <a:pt x="776" y="886"/>
                  <a:pt x="776" y="886"/>
                  <a:pt x="776" y="886"/>
                </a:cubicBezTo>
                <a:cubicBezTo>
                  <a:pt x="774" y="890"/>
                  <a:pt x="774" y="890"/>
                  <a:pt x="774" y="890"/>
                </a:cubicBezTo>
                <a:cubicBezTo>
                  <a:pt x="771" y="891"/>
                  <a:pt x="771" y="891"/>
                  <a:pt x="771" y="891"/>
                </a:cubicBezTo>
                <a:cubicBezTo>
                  <a:pt x="769" y="893"/>
                  <a:pt x="769" y="893"/>
                  <a:pt x="769" y="893"/>
                </a:cubicBezTo>
                <a:cubicBezTo>
                  <a:pt x="767" y="893"/>
                  <a:pt x="767" y="893"/>
                  <a:pt x="767" y="893"/>
                </a:cubicBezTo>
                <a:cubicBezTo>
                  <a:pt x="764" y="896"/>
                  <a:pt x="764" y="896"/>
                  <a:pt x="764" y="896"/>
                </a:cubicBezTo>
                <a:cubicBezTo>
                  <a:pt x="761" y="896"/>
                  <a:pt x="761" y="896"/>
                  <a:pt x="761" y="896"/>
                </a:cubicBezTo>
                <a:cubicBezTo>
                  <a:pt x="759" y="894"/>
                  <a:pt x="759" y="894"/>
                  <a:pt x="759" y="894"/>
                </a:cubicBezTo>
                <a:cubicBezTo>
                  <a:pt x="756" y="893"/>
                  <a:pt x="756" y="893"/>
                  <a:pt x="756" y="893"/>
                </a:cubicBezTo>
                <a:cubicBezTo>
                  <a:pt x="755" y="894"/>
                  <a:pt x="755" y="894"/>
                  <a:pt x="755" y="894"/>
                </a:cubicBezTo>
                <a:cubicBezTo>
                  <a:pt x="752" y="895"/>
                  <a:pt x="752" y="895"/>
                  <a:pt x="752" y="895"/>
                </a:cubicBezTo>
                <a:cubicBezTo>
                  <a:pt x="749" y="894"/>
                  <a:pt x="749" y="894"/>
                  <a:pt x="749" y="894"/>
                </a:cubicBezTo>
                <a:cubicBezTo>
                  <a:pt x="746" y="896"/>
                  <a:pt x="746" y="896"/>
                  <a:pt x="746" y="896"/>
                </a:cubicBezTo>
                <a:cubicBezTo>
                  <a:pt x="749" y="895"/>
                  <a:pt x="749" y="895"/>
                  <a:pt x="749" y="895"/>
                </a:cubicBezTo>
                <a:cubicBezTo>
                  <a:pt x="753" y="896"/>
                  <a:pt x="753" y="896"/>
                  <a:pt x="753" y="896"/>
                </a:cubicBezTo>
                <a:cubicBezTo>
                  <a:pt x="758" y="897"/>
                  <a:pt x="758" y="897"/>
                  <a:pt x="758" y="897"/>
                </a:cubicBezTo>
                <a:cubicBezTo>
                  <a:pt x="758" y="899"/>
                  <a:pt x="758" y="899"/>
                  <a:pt x="758" y="899"/>
                </a:cubicBezTo>
                <a:cubicBezTo>
                  <a:pt x="759" y="901"/>
                  <a:pt x="759" y="901"/>
                  <a:pt x="759" y="901"/>
                </a:cubicBezTo>
                <a:cubicBezTo>
                  <a:pt x="762" y="900"/>
                  <a:pt x="762" y="900"/>
                  <a:pt x="762" y="900"/>
                </a:cubicBezTo>
                <a:cubicBezTo>
                  <a:pt x="764" y="898"/>
                  <a:pt x="764" y="898"/>
                  <a:pt x="764" y="898"/>
                </a:cubicBezTo>
                <a:cubicBezTo>
                  <a:pt x="767" y="898"/>
                  <a:pt x="767" y="898"/>
                  <a:pt x="767" y="898"/>
                </a:cubicBezTo>
                <a:cubicBezTo>
                  <a:pt x="767" y="899"/>
                  <a:pt x="767" y="899"/>
                  <a:pt x="767" y="899"/>
                </a:cubicBezTo>
                <a:cubicBezTo>
                  <a:pt x="769" y="899"/>
                  <a:pt x="769" y="899"/>
                  <a:pt x="769" y="899"/>
                </a:cubicBezTo>
                <a:cubicBezTo>
                  <a:pt x="770" y="900"/>
                  <a:pt x="770" y="900"/>
                  <a:pt x="770" y="900"/>
                </a:cubicBezTo>
                <a:cubicBezTo>
                  <a:pt x="767" y="902"/>
                  <a:pt x="767" y="902"/>
                  <a:pt x="767" y="902"/>
                </a:cubicBezTo>
                <a:cubicBezTo>
                  <a:pt x="764" y="908"/>
                  <a:pt x="764" y="908"/>
                  <a:pt x="764" y="908"/>
                </a:cubicBezTo>
                <a:cubicBezTo>
                  <a:pt x="763" y="909"/>
                  <a:pt x="763" y="909"/>
                  <a:pt x="763" y="909"/>
                </a:cubicBezTo>
                <a:cubicBezTo>
                  <a:pt x="761" y="910"/>
                  <a:pt x="761" y="910"/>
                  <a:pt x="761" y="910"/>
                </a:cubicBezTo>
                <a:cubicBezTo>
                  <a:pt x="766" y="910"/>
                  <a:pt x="766" y="910"/>
                  <a:pt x="766" y="910"/>
                </a:cubicBezTo>
                <a:cubicBezTo>
                  <a:pt x="766" y="911"/>
                  <a:pt x="766" y="911"/>
                  <a:pt x="766" y="911"/>
                </a:cubicBezTo>
                <a:cubicBezTo>
                  <a:pt x="764" y="914"/>
                  <a:pt x="764" y="914"/>
                  <a:pt x="764" y="914"/>
                </a:cubicBezTo>
                <a:cubicBezTo>
                  <a:pt x="766" y="915"/>
                  <a:pt x="766" y="915"/>
                  <a:pt x="766" y="915"/>
                </a:cubicBezTo>
                <a:cubicBezTo>
                  <a:pt x="766" y="918"/>
                  <a:pt x="766" y="918"/>
                  <a:pt x="766" y="918"/>
                </a:cubicBezTo>
                <a:cubicBezTo>
                  <a:pt x="766" y="921"/>
                  <a:pt x="766" y="921"/>
                  <a:pt x="766" y="921"/>
                </a:cubicBezTo>
                <a:cubicBezTo>
                  <a:pt x="767" y="922"/>
                  <a:pt x="767" y="922"/>
                  <a:pt x="767" y="922"/>
                </a:cubicBezTo>
                <a:cubicBezTo>
                  <a:pt x="768" y="925"/>
                  <a:pt x="768" y="925"/>
                  <a:pt x="768" y="925"/>
                </a:cubicBezTo>
                <a:cubicBezTo>
                  <a:pt x="771" y="925"/>
                  <a:pt x="771" y="925"/>
                  <a:pt x="771" y="925"/>
                </a:cubicBezTo>
                <a:cubicBezTo>
                  <a:pt x="772" y="926"/>
                  <a:pt x="772" y="926"/>
                  <a:pt x="772" y="926"/>
                </a:cubicBezTo>
                <a:cubicBezTo>
                  <a:pt x="775" y="926"/>
                  <a:pt x="775" y="926"/>
                  <a:pt x="775" y="926"/>
                </a:cubicBezTo>
                <a:cubicBezTo>
                  <a:pt x="775" y="928"/>
                  <a:pt x="775" y="928"/>
                  <a:pt x="775" y="928"/>
                </a:cubicBezTo>
                <a:cubicBezTo>
                  <a:pt x="772" y="929"/>
                  <a:pt x="772" y="929"/>
                  <a:pt x="772" y="929"/>
                </a:cubicBezTo>
                <a:cubicBezTo>
                  <a:pt x="775" y="931"/>
                  <a:pt x="775" y="931"/>
                  <a:pt x="775" y="931"/>
                </a:cubicBezTo>
                <a:cubicBezTo>
                  <a:pt x="779" y="931"/>
                  <a:pt x="779" y="931"/>
                  <a:pt x="779" y="931"/>
                </a:cubicBezTo>
                <a:cubicBezTo>
                  <a:pt x="781" y="932"/>
                  <a:pt x="781" y="932"/>
                  <a:pt x="781" y="932"/>
                </a:cubicBezTo>
                <a:cubicBezTo>
                  <a:pt x="782" y="931"/>
                  <a:pt x="782" y="931"/>
                  <a:pt x="782" y="931"/>
                </a:cubicBezTo>
                <a:cubicBezTo>
                  <a:pt x="786" y="933"/>
                  <a:pt x="786" y="933"/>
                  <a:pt x="786" y="933"/>
                </a:cubicBezTo>
                <a:cubicBezTo>
                  <a:pt x="786" y="934"/>
                  <a:pt x="786" y="934"/>
                  <a:pt x="786" y="934"/>
                </a:cubicBezTo>
                <a:cubicBezTo>
                  <a:pt x="791" y="935"/>
                  <a:pt x="791" y="935"/>
                  <a:pt x="791" y="935"/>
                </a:cubicBezTo>
                <a:cubicBezTo>
                  <a:pt x="791" y="933"/>
                  <a:pt x="791" y="933"/>
                  <a:pt x="791" y="933"/>
                </a:cubicBezTo>
                <a:cubicBezTo>
                  <a:pt x="795" y="931"/>
                  <a:pt x="795" y="931"/>
                  <a:pt x="795" y="931"/>
                </a:cubicBezTo>
                <a:cubicBezTo>
                  <a:pt x="795" y="933"/>
                  <a:pt x="795" y="933"/>
                  <a:pt x="795" y="933"/>
                </a:cubicBezTo>
                <a:cubicBezTo>
                  <a:pt x="795" y="934"/>
                  <a:pt x="795" y="934"/>
                  <a:pt x="795" y="934"/>
                </a:cubicBezTo>
                <a:cubicBezTo>
                  <a:pt x="798" y="934"/>
                  <a:pt x="798" y="934"/>
                  <a:pt x="798" y="934"/>
                </a:cubicBezTo>
                <a:cubicBezTo>
                  <a:pt x="802" y="936"/>
                  <a:pt x="802" y="936"/>
                  <a:pt x="802" y="936"/>
                </a:cubicBezTo>
                <a:cubicBezTo>
                  <a:pt x="802" y="938"/>
                  <a:pt x="802" y="938"/>
                  <a:pt x="802" y="938"/>
                </a:cubicBezTo>
                <a:cubicBezTo>
                  <a:pt x="800" y="938"/>
                  <a:pt x="800" y="938"/>
                  <a:pt x="800" y="938"/>
                </a:cubicBezTo>
                <a:cubicBezTo>
                  <a:pt x="799" y="938"/>
                  <a:pt x="799" y="938"/>
                  <a:pt x="799" y="938"/>
                </a:cubicBezTo>
                <a:cubicBezTo>
                  <a:pt x="801" y="940"/>
                  <a:pt x="801" y="940"/>
                  <a:pt x="801" y="940"/>
                </a:cubicBezTo>
                <a:cubicBezTo>
                  <a:pt x="804" y="940"/>
                  <a:pt x="804" y="940"/>
                  <a:pt x="804" y="940"/>
                </a:cubicBezTo>
                <a:cubicBezTo>
                  <a:pt x="805" y="941"/>
                  <a:pt x="805" y="941"/>
                  <a:pt x="805" y="941"/>
                </a:cubicBezTo>
                <a:cubicBezTo>
                  <a:pt x="803" y="942"/>
                  <a:pt x="803" y="942"/>
                  <a:pt x="803" y="942"/>
                </a:cubicBezTo>
                <a:cubicBezTo>
                  <a:pt x="801" y="941"/>
                  <a:pt x="801" y="941"/>
                  <a:pt x="801" y="941"/>
                </a:cubicBezTo>
                <a:cubicBezTo>
                  <a:pt x="799" y="941"/>
                  <a:pt x="799" y="941"/>
                  <a:pt x="799" y="941"/>
                </a:cubicBezTo>
                <a:cubicBezTo>
                  <a:pt x="796" y="942"/>
                  <a:pt x="796" y="942"/>
                  <a:pt x="796" y="942"/>
                </a:cubicBezTo>
                <a:cubicBezTo>
                  <a:pt x="790" y="945"/>
                  <a:pt x="790" y="945"/>
                  <a:pt x="790" y="945"/>
                </a:cubicBezTo>
                <a:cubicBezTo>
                  <a:pt x="788" y="946"/>
                  <a:pt x="788" y="946"/>
                  <a:pt x="788" y="946"/>
                </a:cubicBezTo>
                <a:cubicBezTo>
                  <a:pt x="784" y="947"/>
                  <a:pt x="784" y="947"/>
                  <a:pt x="784" y="947"/>
                </a:cubicBezTo>
                <a:cubicBezTo>
                  <a:pt x="780" y="948"/>
                  <a:pt x="780" y="948"/>
                  <a:pt x="780" y="948"/>
                </a:cubicBezTo>
                <a:cubicBezTo>
                  <a:pt x="776" y="950"/>
                  <a:pt x="776" y="950"/>
                  <a:pt x="776" y="950"/>
                </a:cubicBezTo>
                <a:cubicBezTo>
                  <a:pt x="774" y="950"/>
                  <a:pt x="774" y="950"/>
                  <a:pt x="774" y="950"/>
                </a:cubicBezTo>
                <a:cubicBezTo>
                  <a:pt x="774" y="951"/>
                  <a:pt x="774" y="951"/>
                  <a:pt x="774" y="951"/>
                </a:cubicBezTo>
                <a:cubicBezTo>
                  <a:pt x="771" y="950"/>
                  <a:pt x="771" y="950"/>
                  <a:pt x="771" y="950"/>
                </a:cubicBezTo>
                <a:cubicBezTo>
                  <a:pt x="770" y="948"/>
                  <a:pt x="770" y="948"/>
                  <a:pt x="770" y="948"/>
                </a:cubicBezTo>
                <a:cubicBezTo>
                  <a:pt x="769" y="948"/>
                  <a:pt x="769" y="948"/>
                  <a:pt x="769" y="948"/>
                </a:cubicBezTo>
                <a:cubicBezTo>
                  <a:pt x="768" y="949"/>
                  <a:pt x="768" y="949"/>
                  <a:pt x="768" y="949"/>
                </a:cubicBezTo>
                <a:cubicBezTo>
                  <a:pt x="767" y="949"/>
                  <a:pt x="767" y="949"/>
                  <a:pt x="767" y="949"/>
                </a:cubicBezTo>
                <a:cubicBezTo>
                  <a:pt x="765" y="952"/>
                  <a:pt x="765" y="952"/>
                  <a:pt x="765" y="952"/>
                </a:cubicBezTo>
                <a:cubicBezTo>
                  <a:pt x="766" y="953"/>
                  <a:pt x="766" y="953"/>
                  <a:pt x="766" y="953"/>
                </a:cubicBezTo>
                <a:cubicBezTo>
                  <a:pt x="762" y="956"/>
                  <a:pt x="762" y="956"/>
                  <a:pt x="762" y="956"/>
                </a:cubicBezTo>
                <a:cubicBezTo>
                  <a:pt x="759" y="960"/>
                  <a:pt x="759" y="960"/>
                  <a:pt x="759" y="960"/>
                </a:cubicBezTo>
                <a:cubicBezTo>
                  <a:pt x="756" y="961"/>
                  <a:pt x="756" y="961"/>
                  <a:pt x="756" y="961"/>
                </a:cubicBezTo>
                <a:cubicBezTo>
                  <a:pt x="754" y="963"/>
                  <a:pt x="754" y="963"/>
                  <a:pt x="754" y="963"/>
                </a:cubicBezTo>
                <a:cubicBezTo>
                  <a:pt x="752" y="963"/>
                  <a:pt x="752" y="963"/>
                  <a:pt x="752" y="963"/>
                </a:cubicBezTo>
                <a:cubicBezTo>
                  <a:pt x="751" y="963"/>
                  <a:pt x="751" y="963"/>
                  <a:pt x="751" y="963"/>
                </a:cubicBezTo>
                <a:cubicBezTo>
                  <a:pt x="751" y="966"/>
                  <a:pt x="751" y="966"/>
                  <a:pt x="751" y="966"/>
                </a:cubicBezTo>
                <a:cubicBezTo>
                  <a:pt x="750" y="966"/>
                  <a:pt x="750" y="966"/>
                  <a:pt x="750" y="966"/>
                </a:cubicBezTo>
                <a:cubicBezTo>
                  <a:pt x="749" y="965"/>
                  <a:pt x="749" y="965"/>
                  <a:pt x="749" y="965"/>
                </a:cubicBezTo>
                <a:cubicBezTo>
                  <a:pt x="747" y="966"/>
                  <a:pt x="747" y="966"/>
                  <a:pt x="747" y="966"/>
                </a:cubicBezTo>
                <a:cubicBezTo>
                  <a:pt x="746" y="965"/>
                  <a:pt x="746" y="965"/>
                  <a:pt x="746" y="965"/>
                </a:cubicBezTo>
                <a:cubicBezTo>
                  <a:pt x="745" y="962"/>
                  <a:pt x="745" y="962"/>
                  <a:pt x="745" y="962"/>
                </a:cubicBezTo>
                <a:cubicBezTo>
                  <a:pt x="744" y="961"/>
                  <a:pt x="744" y="961"/>
                  <a:pt x="744" y="961"/>
                </a:cubicBezTo>
                <a:cubicBezTo>
                  <a:pt x="743" y="962"/>
                  <a:pt x="743" y="962"/>
                  <a:pt x="743" y="962"/>
                </a:cubicBezTo>
                <a:cubicBezTo>
                  <a:pt x="742" y="960"/>
                  <a:pt x="742" y="960"/>
                  <a:pt x="742" y="960"/>
                </a:cubicBezTo>
                <a:cubicBezTo>
                  <a:pt x="742" y="957"/>
                  <a:pt x="742" y="957"/>
                  <a:pt x="742" y="957"/>
                </a:cubicBezTo>
                <a:cubicBezTo>
                  <a:pt x="742" y="955"/>
                  <a:pt x="742" y="955"/>
                  <a:pt x="742" y="955"/>
                </a:cubicBezTo>
                <a:cubicBezTo>
                  <a:pt x="744" y="951"/>
                  <a:pt x="744" y="951"/>
                  <a:pt x="744" y="951"/>
                </a:cubicBezTo>
                <a:cubicBezTo>
                  <a:pt x="747" y="948"/>
                  <a:pt x="747" y="948"/>
                  <a:pt x="747" y="948"/>
                </a:cubicBezTo>
                <a:cubicBezTo>
                  <a:pt x="747" y="946"/>
                  <a:pt x="747" y="946"/>
                  <a:pt x="747" y="946"/>
                </a:cubicBezTo>
                <a:cubicBezTo>
                  <a:pt x="752" y="944"/>
                  <a:pt x="752" y="944"/>
                  <a:pt x="752" y="944"/>
                </a:cubicBezTo>
                <a:cubicBezTo>
                  <a:pt x="757" y="943"/>
                  <a:pt x="757" y="943"/>
                  <a:pt x="757" y="943"/>
                </a:cubicBezTo>
                <a:cubicBezTo>
                  <a:pt x="761" y="940"/>
                  <a:pt x="761" y="940"/>
                  <a:pt x="761" y="940"/>
                </a:cubicBezTo>
                <a:cubicBezTo>
                  <a:pt x="765" y="939"/>
                  <a:pt x="765" y="939"/>
                  <a:pt x="765" y="939"/>
                </a:cubicBezTo>
                <a:cubicBezTo>
                  <a:pt x="766" y="939"/>
                  <a:pt x="766" y="939"/>
                  <a:pt x="766" y="939"/>
                </a:cubicBezTo>
                <a:cubicBezTo>
                  <a:pt x="767" y="942"/>
                  <a:pt x="767" y="942"/>
                  <a:pt x="767" y="942"/>
                </a:cubicBezTo>
                <a:cubicBezTo>
                  <a:pt x="768" y="943"/>
                  <a:pt x="768" y="943"/>
                  <a:pt x="768" y="943"/>
                </a:cubicBezTo>
                <a:cubicBezTo>
                  <a:pt x="768" y="942"/>
                  <a:pt x="768" y="942"/>
                  <a:pt x="768" y="942"/>
                </a:cubicBezTo>
                <a:cubicBezTo>
                  <a:pt x="768" y="940"/>
                  <a:pt x="768" y="940"/>
                  <a:pt x="768" y="940"/>
                </a:cubicBezTo>
                <a:cubicBezTo>
                  <a:pt x="771" y="940"/>
                  <a:pt x="771" y="940"/>
                  <a:pt x="771" y="940"/>
                </a:cubicBezTo>
                <a:cubicBezTo>
                  <a:pt x="774" y="939"/>
                  <a:pt x="774" y="939"/>
                  <a:pt x="774" y="939"/>
                </a:cubicBezTo>
                <a:cubicBezTo>
                  <a:pt x="777" y="938"/>
                  <a:pt x="777" y="938"/>
                  <a:pt x="777" y="938"/>
                </a:cubicBezTo>
                <a:cubicBezTo>
                  <a:pt x="773" y="938"/>
                  <a:pt x="773" y="938"/>
                  <a:pt x="773" y="938"/>
                </a:cubicBezTo>
                <a:cubicBezTo>
                  <a:pt x="768" y="938"/>
                  <a:pt x="768" y="938"/>
                  <a:pt x="768" y="938"/>
                </a:cubicBezTo>
                <a:cubicBezTo>
                  <a:pt x="766" y="937"/>
                  <a:pt x="766" y="937"/>
                  <a:pt x="766" y="937"/>
                </a:cubicBezTo>
                <a:cubicBezTo>
                  <a:pt x="764" y="937"/>
                  <a:pt x="764" y="937"/>
                  <a:pt x="764" y="937"/>
                </a:cubicBezTo>
                <a:cubicBezTo>
                  <a:pt x="762" y="939"/>
                  <a:pt x="762" y="939"/>
                  <a:pt x="762" y="939"/>
                </a:cubicBezTo>
                <a:cubicBezTo>
                  <a:pt x="759" y="938"/>
                  <a:pt x="759" y="938"/>
                  <a:pt x="759" y="938"/>
                </a:cubicBezTo>
                <a:cubicBezTo>
                  <a:pt x="762" y="935"/>
                  <a:pt x="762" y="935"/>
                  <a:pt x="762" y="935"/>
                </a:cubicBezTo>
                <a:cubicBezTo>
                  <a:pt x="764" y="934"/>
                  <a:pt x="764" y="934"/>
                  <a:pt x="764" y="934"/>
                </a:cubicBezTo>
                <a:cubicBezTo>
                  <a:pt x="767" y="932"/>
                  <a:pt x="767" y="932"/>
                  <a:pt x="767" y="932"/>
                </a:cubicBezTo>
                <a:cubicBezTo>
                  <a:pt x="767" y="930"/>
                  <a:pt x="767" y="930"/>
                  <a:pt x="767" y="930"/>
                </a:cubicBezTo>
                <a:cubicBezTo>
                  <a:pt x="765" y="931"/>
                  <a:pt x="765" y="931"/>
                  <a:pt x="765" y="931"/>
                </a:cubicBezTo>
                <a:cubicBezTo>
                  <a:pt x="765" y="930"/>
                  <a:pt x="765" y="930"/>
                  <a:pt x="765" y="930"/>
                </a:cubicBezTo>
                <a:cubicBezTo>
                  <a:pt x="762" y="933"/>
                  <a:pt x="762" y="933"/>
                  <a:pt x="762" y="933"/>
                </a:cubicBezTo>
                <a:cubicBezTo>
                  <a:pt x="760" y="934"/>
                  <a:pt x="760" y="934"/>
                  <a:pt x="760" y="934"/>
                </a:cubicBezTo>
                <a:cubicBezTo>
                  <a:pt x="758" y="937"/>
                  <a:pt x="758" y="937"/>
                  <a:pt x="758" y="937"/>
                </a:cubicBezTo>
                <a:cubicBezTo>
                  <a:pt x="755" y="937"/>
                  <a:pt x="755" y="937"/>
                  <a:pt x="755" y="937"/>
                </a:cubicBezTo>
                <a:cubicBezTo>
                  <a:pt x="754" y="938"/>
                  <a:pt x="754" y="938"/>
                  <a:pt x="754" y="938"/>
                </a:cubicBezTo>
                <a:cubicBezTo>
                  <a:pt x="748" y="940"/>
                  <a:pt x="748" y="940"/>
                  <a:pt x="748" y="940"/>
                </a:cubicBezTo>
                <a:cubicBezTo>
                  <a:pt x="747" y="939"/>
                  <a:pt x="747" y="939"/>
                  <a:pt x="747" y="939"/>
                </a:cubicBezTo>
                <a:cubicBezTo>
                  <a:pt x="748" y="938"/>
                  <a:pt x="748" y="938"/>
                  <a:pt x="748" y="938"/>
                </a:cubicBezTo>
                <a:cubicBezTo>
                  <a:pt x="747" y="938"/>
                  <a:pt x="747" y="938"/>
                  <a:pt x="747" y="938"/>
                </a:cubicBezTo>
                <a:cubicBezTo>
                  <a:pt x="749" y="935"/>
                  <a:pt x="749" y="935"/>
                  <a:pt x="749" y="935"/>
                </a:cubicBezTo>
                <a:cubicBezTo>
                  <a:pt x="747" y="938"/>
                  <a:pt x="747" y="938"/>
                  <a:pt x="747" y="938"/>
                </a:cubicBezTo>
                <a:cubicBezTo>
                  <a:pt x="745" y="940"/>
                  <a:pt x="745" y="940"/>
                  <a:pt x="745" y="940"/>
                </a:cubicBezTo>
                <a:cubicBezTo>
                  <a:pt x="742" y="941"/>
                  <a:pt x="742" y="941"/>
                  <a:pt x="742" y="941"/>
                </a:cubicBezTo>
                <a:cubicBezTo>
                  <a:pt x="741" y="940"/>
                  <a:pt x="741" y="940"/>
                  <a:pt x="741" y="940"/>
                </a:cubicBezTo>
                <a:cubicBezTo>
                  <a:pt x="739" y="941"/>
                  <a:pt x="739" y="941"/>
                  <a:pt x="739" y="941"/>
                </a:cubicBezTo>
                <a:cubicBezTo>
                  <a:pt x="738" y="941"/>
                  <a:pt x="738" y="941"/>
                  <a:pt x="738" y="941"/>
                </a:cubicBezTo>
                <a:cubicBezTo>
                  <a:pt x="737" y="939"/>
                  <a:pt x="737" y="939"/>
                  <a:pt x="737" y="939"/>
                </a:cubicBezTo>
                <a:cubicBezTo>
                  <a:pt x="735" y="940"/>
                  <a:pt x="735" y="940"/>
                  <a:pt x="735" y="940"/>
                </a:cubicBezTo>
                <a:cubicBezTo>
                  <a:pt x="731" y="939"/>
                  <a:pt x="731" y="939"/>
                  <a:pt x="731" y="939"/>
                </a:cubicBezTo>
                <a:cubicBezTo>
                  <a:pt x="731" y="939"/>
                  <a:pt x="731" y="939"/>
                  <a:pt x="731" y="939"/>
                </a:cubicBezTo>
                <a:cubicBezTo>
                  <a:pt x="730" y="938"/>
                  <a:pt x="730" y="938"/>
                  <a:pt x="730" y="938"/>
                </a:cubicBezTo>
                <a:cubicBezTo>
                  <a:pt x="731" y="937"/>
                  <a:pt x="731" y="937"/>
                  <a:pt x="731" y="937"/>
                </a:cubicBezTo>
                <a:cubicBezTo>
                  <a:pt x="731" y="936"/>
                  <a:pt x="731" y="936"/>
                  <a:pt x="731" y="936"/>
                </a:cubicBezTo>
                <a:cubicBezTo>
                  <a:pt x="731" y="935"/>
                  <a:pt x="731" y="935"/>
                  <a:pt x="731" y="935"/>
                </a:cubicBezTo>
                <a:cubicBezTo>
                  <a:pt x="731" y="933"/>
                  <a:pt x="731" y="933"/>
                  <a:pt x="731" y="933"/>
                </a:cubicBezTo>
                <a:cubicBezTo>
                  <a:pt x="730" y="931"/>
                  <a:pt x="730" y="931"/>
                  <a:pt x="730" y="931"/>
                </a:cubicBezTo>
                <a:cubicBezTo>
                  <a:pt x="729" y="930"/>
                  <a:pt x="729" y="930"/>
                  <a:pt x="729" y="930"/>
                </a:cubicBezTo>
                <a:cubicBezTo>
                  <a:pt x="728" y="930"/>
                  <a:pt x="728" y="930"/>
                  <a:pt x="728" y="930"/>
                </a:cubicBezTo>
                <a:cubicBezTo>
                  <a:pt x="729" y="928"/>
                  <a:pt x="729" y="928"/>
                  <a:pt x="729" y="928"/>
                </a:cubicBezTo>
                <a:cubicBezTo>
                  <a:pt x="732" y="912"/>
                  <a:pt x="732" y="912"/>
                  <a:pt x="732" y="912"/>
                </a:cubicBezTo>
                <a:cubicBezTo>
                  <a:pt x="731" y="908"/>
                  <a:pt x="731" y="908"/>
                  <a:pt x="731" y="908"/>
                </a:cubicBezTo>
                <a:cubicBezTo>
                  <a:pt x="727" y="904"/>
                  <a:pt x="727" y="904"/>
                  <a:pt x="727" y="904"/>
                </a:cubicBezTo>
                <a:cubicBezTo>
                  <a:pt x="726" y="905"/>
                  <a:pt x="726" y="905"/>
                  <a:pt x="726" y="905"/>
                </a:cubicBezTo>
                <a:cubicBezTo>
                  <a:pt x="722" y="904"/>
                  <a:pt x="722" y="904"/>
                  <a:pt x="722" y="904"/>
                </a:cubicBezTo>
                <a:cubicBezTo>
                  <a:pt x="720" y="905"/>
                  <a:pt x="720" y="905"/>
                  <a:pt x="720" y="905"/>
                </a:cubicBezTo>
                <a:cubicBezTo>
                  <a:pt x="718" y="903"/>
                  <a:pt x="718" y="903"/>
                  <a:pt x="718" y="903"/>
                </a:cubicBezTo>
                <a:cubicBezTo>
                  <a:pt x="716" y="902"/>
                  <a:pt x="716" y="902"/>
                  <a:pt x="716" y="902"/>
                </a:cubicBezTo>
                <a:cubicBezTo>
                  <a:pt x="716" y="902"/>
                  <a:pt x="716" y="902"/>
                  <a:pt x="716" y="902"/>
                </a:cubicBezTo>
                <a:cubicBezTo>
                  <a:pt x="714" y="904"/>
                  <a:pt x="714" y="904"/>
                  <a:pt x="714" y="904"/>
                </a:cubicBezTo>
                <a:cubicBezTo>
                  <a:pt x="713" y="906"/>
                  <a:pt x="713" y="906"/>
                  <a:pt x="713" y="906"/>
                </a:cubicBezTo>
                <a:cubicBezTo>
                  <a:pt x="708" y="911"/>
                  <a:pt x="708" y="911"/>
                  <a:pt x="708" y="911"/>
                </a:cubicBezTo>
                <a:cubicBezTo>
                  <a:pt x="706" y="914"/>
                  <a:pt x="706" y="914"/>
                  <a:pt x="706" y="914"/>
                </a:cubicBezTo>
                <a:cubicBezTo>
                  <a:pt x="706" y="916"/>
                  <a:pt x="706" y="916"/>
                  <a:pt x="706" y="916"/>
                </a:cubicBezTo>
                <a:cubicBezTo>
                  <a:pt x="703" y="918"/>
                  <a:pt x="703" y="918"/>
                  <a:pt x="703" y="918"/>
                </a:cubicBezTo>
                <a:cubicBezTo>
                  <a:pt x="703" y="920"/>
                  <a:pt x="703" y="920"/>
                  <a:pt x="703" y="920"/>
                </a:cubicBezTo>
                <a:cubicBezTo>
                  <a:pt x="702" y="923"/>
                  <a:pt x="702" y="923"/>
                  <a:pt x="702" y="923"/>
                </a:cubicBezTo>
                <a:cubicBezTo>
                  <a:pt x="699" y="927"/>
                  <a:pt x="699" y="927"/>
                  <a:pt x="699" y="927"/>
                </a:cubicBezTo>
                <a:cubicBezTo>
                  <a:pt x="697" y="927"/>
                  <a:pt x="697" y="927"/>
                  <a:pt x="697" y="927"/>
                </a:cubicBezTo>
                <a:cubicBezTo>
                  <a:pt x="693" y="932"/>
                  <a:pt x="693" y="932"/>
                  <a:pt x="693" y="932"/>
                </a:cubicBezTo>
                <a:cubicBezTo>
                  <a:pt x="693" y="933"/>
                  <a:pt x="693" y="933"/>
                  <a:pt x="693" y="933"/>
                </a:cubicBezTo>
                <a:cubicBezTo>
                  <a:pt x="691" y="934"/>
                  <a:pt x="691" y="934"/>
                  <a:pt x="691" y="934"/>
                </a:cubicBezTo>
                <a:cubicBezTo>
                  <a:pt x="689" y="934"/>
                  <a:pt x="689" y="934"/>
                  <a:pt x="689" y="934"/>
                </a:cubicBezTo>
                <a:cubicBezTo>
                  <a:pt x="687" y="934"/>
                  <a:pt x="687" y="934"/>
                  <a:pt x="687" y="934"/>
                </a:cubicBezTo>
                <a:cubicBezTo>
                  <a:pt x="686" y="935"/>
                  <a:pt x="686" y="935"/>
                  <a:pt x="686" y="935"/>
                </a:cubicBezTo>
                <a:cubicBezTo>
                  <a:pt x="685" y="935"/>
                  <a:pt x="685" y="935"/>
                  <a:pt x="685" y="935"/>
                </a:cubicBezTo>
                <a:cubicBezTo>
                  <a:pt x="683" y="938"/>
                  <a:pt x="683" y="938"/>
                  <a:pt x="683" y="938"/>
                </a:cubicBezTo>
                <a:cubicBezTo>
                  <a:pt x="647" y="937"/>
                  <a:pt x="647" y="937"/>
                  <a:pt x="647" y="937"/>
                </a:cubicBezTo>
                <a:cubicBezTo>
                  <a:pt x="643" y="938"/>
                  <a:pt x="643" y="938"/>
                  <a:pt x="643" y="938"/>
                </a:cubicBezTo>
                <a:cubicBezTo>
                  <a:pt x="641" y="940"/>
                  <a:pt x="641" y="940"/>
                  <a:pt x="641" y="940"/>
                </a:cubicBezTo>
                <a:cubicBezTo>
                  <a:pt x="638" y="941"/>
                  <a:pt x="638" y="941"/>
                  <a:pt x="638" y="941"/>
                </a:cubicBezTo>
                <a:cubicBezTo>
                  <a:pt x="635" y="943"/>
                  <a:pt x="635" y="943"/>
                  <a:pt x="635" y="943"/>
                </a:cubicBezTo>
                <a:cubicBezTo>
                  <a:pt x="630" y="948"/>
                  <a:pt x="630" y="948"/>
                  <a:pt x="630" y="948"/>
                </a:cubicBezTo>
                <a:cubicBezTo>
                  <a:pt x="626" y="949"/>
                  <a:pt x="626" y="949"/>
                  <a:pt x="626" y="949"/>
                </a:cubicBezTo>
                <a:cubicBezTo>
                  <a:pt x="624" y="950"/>
                  <a:pt x="624" y="950"/>
                  <a:pt x="624" y="950"/>
                </a:cubicBezTo>
                <a:cubicBezTo>
                  <a:pt x="614" y="958"/>
                  <a:pt x="614" y="958"/>
                  <a:pt x="614" y="958"/>
                </a:cubicBezTo>
                <a:cubicBezTo>
                  <a:pt x="591" y="965"/>
                  <a:pt x="591" y="965"/>
                  <a:pt x="591" y="965"/>
                </a:cubicBezTo>
                <a:cubicBezTo>
                  <a:pt x="590" y="971"/>
                  <a:pt x="590" y="971"/>
                  <a:pt x="590" y="971"/>
                </a:cubicBezTo>
                <a:cubicBezTo>
                  <a:pt x="585" y="972"/>
                  <a:pt x="585" y="972"/>
                  <a:pt x="585" y="972"/>
                </a:cubicBezTo>
                <a:cubicBezTo>
                  <a:pt x="543" y="984"/>
                  <a:pt x="543" y="984"/>
                  <a:pt x="543" y="984"/>
                </a:cubicBezTo>
                <a:cubicBezTo>
                  <a:pt x="541" y="980"/>
                  <a:pt x="541" y="980"/>
                  <a:pt x="541" y="980"/>
                </a:cubicBezTo>
                <a:cubicBezTo>
                  <a:pt x="543" y="977"/>
                  <a:pt x="543" y="977"/>
                  <a:pt x="543" y="977"/>
                </a:cubicBezTo>
                <a:cubicBezTo>
                  <a:pt x="548" y="975"/>
                  <a:pt x="548" y="975"/>
                  <a:pt x="548" y="975"/>
                </a:cubicBezTo>
                <a:cubicBezTo>
                  <a:pt x="550" y="972"/>
                  <a:pt x="550" y="972"/>
                  <a:pt x="550" y="972"/>
                </a:cubicBezTo>
                <a:cubicBezTo>
                  <a:pt x="551" y="970"/>
                  <a:pt x="551" y="970"/>
                  <a:pt x="551" y="970"/>
                </a:cubicBezTo>
                <a:cubicBezTo>
                  <a:pt x="552" y="967"/>
                  <a:pt x="552" y="967"/>
                  <a:pt x="552" y="967"/>
                </a:cubicBezTo>
                <a:cubicBezTo>
                  <a:pt x="553" y="950"/>
                  <a:pt x="553" y="950"/>
                  <a:pt x="553" y="950"/>
                </a:cubicBezTo>
                <a:cubicBezTo>
                  <a:pt x="545" y="913"/>
                  <a:pt x="545" y="913"/>
                  <a:pt x="545" y="913"/>
                </a:cubicBezTo>
                <a:cubicBezTo>
                  <a:pt x="538" y="907"/>
                  <a:pt x="538" y="907"/>
                  <a:pt x="538" y="907"/>
                </a:cubicBezTo>
                <a:cubicBezTo>
                  <a:pt x="535" y="903"/>
                  <a:pt x="535" y="903"/>
                  <a:pt x="535" y="903"/>
                </a:cubicBezTo>
                <a:cubicBezTo>
                  <a:pt x="486" y="880"/>
                  <a:pt x="486" y="880"/>
                  <a:pt x="486" y="880"/>
                </a:cubicBezTo>
                <a:cubicBezTo>
                  <a:pt x="484" y="879"/>
                  <a:pt x="484" y="879"/>
                  <a:pt x="484" y="879"/>
                </a:cubicBezTo>
                <a:cubicBezTo>
                  <a:pt x="481" y="878"/>
                  <a:pt x="481" y="878"/>
                  <a:pt x="481" y="878"/>
                </a:cubicBezTo>
                <a:cubicBezTo>
                  <a:pt x="480" y="877"/>
                  <a:pt x="480" y="877"/>
                  <a:pt x="480" y="877"/>
                </a:cubicBezTo>
                <a:cubicBezTo>
                  <a:pt x="474" y="877"/>
                  <a:pt x="474" y="877"/>
                  <a:pt x="474" y="877"/>
                </a:cubicBezTo>
                <a:cubicBezTo>
                  <a:pt x="473" y="875"/>
                  <a:pt x="473" y="875"/>
                  <a:pt x="473" y="875"/>
                </a:cubicBezTo>
                <a:cubicBezTo>
                  <a:pt x="472" y="873"/>
                  <a:pt x="472" y="873"/>
                  <a:pt x="472" y="873"/>
                </a:cubicBezTo>
                <a:cubicBezTo>
                  <a:pt x="470" y="875"/>
                  <a:pt x="470" y="875"/>
                  <a:pt x="470" y="875"/>
                </a:cubicBezTo>
                <a:cubicBezTo>
                  <a:pt x="466" y="875"/>
                  <a:pt x="466" y="875"/>
                  <a:pt x="466" y="875"/>
                </a:cubicBezTo>
                <a:cubicBezTo>
                  <a:pt x="464" y="874"/>
                  <a:pt x="464" y="874"/>
                  <a:pt x="464" y="874"/>
                </a:cubicBezTo>
                <a:cubicBezTo>
                  <a:pt x="462" y="872"/>
                  <a:pt x="462" y="872"/>
                  <a:pt x="462" y="872"/>
                </a:cubicBezTo>
                <a:cubicBezTo>
                  <a:pt x="460" y="871"/>
                  <a:pt x="460" y="871"/>
                  <a:pt x="460" y="871"/>
                </a:cubicBezTo>
                <a:cubicBezTo>
                  <a:pt x="456" y="870"/>
                  <a:pt x="456" y="870"/>
                  <a:pt x="456" y="870"/>
                </a:cubicBezTo>
                <a:cubicBezTo>
                  <a:pt x="454" y="867"/>
                  <a:pt x="454" y="867"/>
                  <a:pt x="454" y="867"/>
                </a:cubicBezTo>
                <a:cubicBezTo>
                  <a:pt x="453" y="867"/>
                  <a:pt x="453" y="867"/>
                  <a:pt x="453" y="867"/>
                </a:cubicBezTo>
                <a:cubicBezTo>
                  <a:pt x="450" y="865"/>
                  <a:pt x="450" y="865"/>
                  <a:pt x="450" y="865"/>
                </a:cubicBezTo>
                <a:cubicBezTo>
                  <a:pt x="448" y="865"/>
                  <a:pt x="448" y="865"/>
                  <a:pt x="448" y="865"/>
                </a:cubicBezTo>
                <a:cubicBezTo>
                  <a:pt x="446" y="865"/>
                  <a:pt x="446" y="865"/>
                  <a:pt x="446" y="865"/>
                </a:cubicBezTo>
                <a:cubicBezTo>
                  <a:pt x="444" y="865"/>
                  <a:pt x="444" y="865"/>
                  <a:pt x="444" y="865"/>
                </a:cubicBezTo>
                <a:cubicBezTo>
                  <a:pt x="443" y="866"/>
                  <a:pt x="443" y="866"/>
                  <a:pt x="443" y="866"/>
                </a:cubicBezTo>
                <a:cubicBezTo>
                  <a:pt x="441" y="864"/>
                  <a:pt x="441" y="864"/>
                  <a:pt x="441" y="864"/>
                </a:cubicBezTo>
                <a:cubicBezTo>
                  <a:pt x="439" y="863"/>
                  <a:pt x="439" y="863"/>
                  <a:pt x="439" y="863"/>
                </a:cubicBezTo>
                <a:cubicBezTo>
                  <a:pt x="438" y="863"/>
                  <a:pt x="438" y="863"/>
                  <a:pt x="438" y="863"/>
                </a:cubicBezTo>
                <a:cubicBezTo>
                  <a:pt x="436" y="862"/>
                  <a:pt x="436" y="862"/>
                  <a:pt x="436" y="862"/>
                </a:cubicBezTo>
                <a:cubicBezTo>
                  <a:pt x="435" y="861"/>
                  <a:pt x="435" y="861"/>
                  <a:pt x="435" y="861"/>
                </a:cubicBezTo>
                <a:cubicBezTo>
                  <a:pt x="434" y="860"/>
                  <a:pt x="434" y="860"/>
                  <a:pt x="434" y="860"/>
                </a:cubicBezTo>
                <a:cubicBezTo>
                  <a:pt x="434" y="859"/>
                  <a:pt x="434" y="859"/>
                  <a:pt x="434" y="859"/>
                </a:cubicBezTo>
                <a:cubicBezTo>
                  <a:pt x="431" y="857"/>
                  <a:pt x="431" y="857"/>
                  <a:pt x="431" y="857"/>
                </a:cubicBezTo>
                <a:cubicBezTo>
                  <a:pt x="428" y="857"/>
                  <a:pt x="428" y="857"/>
                  <a:pt x="428" y="857"/>
                </a:cubicBezTo>
                <a:cubicBezTo>
                  <a:pt x="426" y="856"/>
                  <a:pt x="426" y="856"/>
                  <a:pt x="426" y="856"/>
                </a:cubicBezTo>
                <a:lnTo>
                  <a:pt x="109" y="825"/>
                </a:lnTo>
                <a:close/>
              </a:path>
            </a:pathLst>
          </a:custGeom>
          <a:solidFill>
            <a:schemeClr val="accent1"/>
          </a:solidFill>
          <a:ln>
            <a:noFill/>
          </a:ln>
        </p:spPr>
        <p:txBody>
          <a:bodyPr/>
          <a:lstStyle/>
          <a:p>
            <a:endParaRPr lang="en-US" dirty="0">
              <a:latin typeface="RBC Text" panose="02000000000000000000" pitchFamily="2" charset="77"/>
            </a:endParaRPr>
          </a:p>
        </p:txBody>
      </p:sp>
      <p:sp>
        <p:nvSpPr>
          <p:cNvPr id="6" name="Freeform 10"/>
          <p:cNvSpPr>
            <a:spLocks noEditPoints="1"/>
          </p:cNvSpPr>
          <p:nvPr/>
        </p:nvSpPr>
        <p:spPr bwMode="auto">
          <a:xfrm>
            <a:off x="4971369" y="1400629"/>
            <a:ext cx="2674938" cy="2044700"/>
          </a:xfrm>
          <a:custGeom>
            <a:avLst/>
            <a:gdLst>
              <a:gd name="T0" fmla="*/ 2341079 w 657"/>
              <a:gd name="T1" fmla="*/ 1645535 h 502"/>
              <a:gd name="T2" fmla="*/ 2630151 w 657"/>
              <a:gd name="T3" fmla="*/ 346214 h 502"/>
              <a:gd name="T4" fmla="*/ 2459151 w 657"/>
              <a:gd name="T5" fmla="*/ 260679 h 502"/>
              <a:gd name="T6" fmla="*/ 2345150 w 657"/>
              <a:gd name="T7" fmla="*/ 126266 h 502"/>
              <a:gd name="T8" fmla="*/ 2218936 w 657"/>
              <a:gd name="T9" fmla="*/ 81462 h 502"/>
              <a:gd name="T10" fmla="*/ 2096792 w 657"/>
              <a:gd name="T11" fmla="*/ 28512 h 502"/>
              <a:gd name="T12" fmla="*/ 1881006 w 657"/>
              <a:gd name="T13" fmla="*/ 105901 h 502"/>
              <a:gd name="T14" fmla="*/ 1632648 w 657"/>
              <a:gd name="T15" fmla="*/ 452115 h 502"/>
              <a:gd name="T16" fmla="*/ 1600076 w 657"/>
              <a:gd name="T17" fmla="*/ 549870 h 502"/>
              <a:gd name="T18" fmla="*/ 1518648 w 657"/>
              <a:gd name="T19" fmla="*/ 488773 h 502"/>
              <a:gd name="T20" fmla="*/ 1343576 w 657"/>
              <a:gd name="T21" fmla="*/ 623185 h 502"/>
              <a:gd name="T22" fmla="*/ 1425004 w 657"/>
              <a:gd name="T23" fmla="*/ 741306 h 502"/>
              <a:gd name="T24" fmla="*/ 1457576 w 657"/>
              <a:gd name="T25" fmla="*/ 871645 h 502"/>
              <a:gd name="T26" fmla="*/ 1172575 w 657"/>
              <a:gd name="T27" fmla="*/ 969400 h 502"/>
              <a:gd name="T28" fmla="*/ 1172575 w 657"/>
              <a:gd name="T29" fmla="*/ 1099739 h 502"/>
              <a:gd name="T30" fmla="*/ 1131861 w 657"/>
              <a:gd name="T31" fmla="*/ 1254517 h 502"/>
              <a:gd name="T32" fmla="*/ 1164432 w 657"/>
              <a:gd name="T33" fmla="*/ 1352272 h 502"/>
              <a:gd name="T34" fmla="*/ 1258075 w 657"/>
              <a:gd name="T35" fmla="*/ 1409295 h 502"/>
              <a:gd name="T36" fmla="*/ 1237718 w 657"/>
              <a:gd name="T37" fmla="*/ 1543708 h 502"/>
              <a:gd name="T38" fmla="*/ 1009717 w 657"/>
              <a:gd name="T39" fmla="*/ 1674047 h 502"/>
              <a:gd name="T40" fmla="*/ 948646 w 657"/>
              <a:gd name="T41" fmla="*/ 1743290 h 502"/>
              <a:gd name="T42" fmla="*/ 1095218 w 657"/>
              <a:gd name="T43" fmla="*/ 1702559 h 502"/>
              <a:gd name="T44" fmla="*/ 1237718 w 657"/>
              <a:gd name="T45" fmla="*/ 1629243 h 502"/>
              <a:gd name="T46" fmla="*/ 1425004 w 657"/>
              <a:gd name="T47" fmla="*/ 1519269 h 502"/>
              <a:gd name="T48" fmla="*/ 1551219 w 657"/>
              <a:gd name="T49" fmla="*/ 1380783 h 502"/>
              <a:gd name="T50" fmla="*/ 1787363 w 657"/>
              <a:gd name="T51" fmla="*/ 1238225 h 502"/>
              <a:gd name="T52" fmla="*/ 1608219 w 657"/>
              <a:gd name="T53" fmla="*/ 1421515 h 502"/>
              <a:gd name="T54" fmla="*/ 1730363 w 657"/>
              <a:gd name="T55" fmla="*/ 1397076 h 502"/>
              <a:gd name="T56" fmla="*/ 1844363 w 657"/>
              <a:gd name="T57" fmla="*/ 1327833 h 502"/>
              <a:gd name="T58" fmla="*/ 1897292 w 657"/>
              <a:gd name="T59" fmla="*/ 1376710 h 502"/>
              <a:gd name="T60" fmla="*/ 2064221 w 657"/>
              <a:gd name="T61" fmla="*/ 1470392 h 502"/>
              <a:gd name="T62" fmla="*/ 2182293 w 657"/>
              <a:gd name="T63" fmla="*/ 1560000 h 502"/>
              <a:gd name="T64" fmla="*/ 2235221 w 657"/>
              <a:gd name="T65" fmla="*/ 1612951 h 502"/>
              <a:gd name="T66" fmla="*/ 2304436 w 657"/>
              <a:gd name="T67" fmla="*/ 1633316 h 502"/>
              <a:gd name="T68" fmla="*/ 2316650 w 657"/>
              <a:gd name="T69" fmla="*/ 1812533 h 502"/>
              <a:gd name="T70" fmla="*/ 2365507 w 657"/>
              <a:gd name="T71" fmla="*/ 1938799 h 502"/>
              <a:gd name="T72" fmla="*/ 2263721 w 657"/>
              <a:gd name="T73" fmla="*/ 2003969 h 502"/>
              <a:gd name="T74" fmla="*/ 2239293 w 657"/>
              <a:gd name="T75" fmla="*/ 2008042 h 502"/>
              <a:gd name="T76" fmla="*/ 2263721 w 657"/>
              <a:gd name="T77" fmla="*/ 1914361 h 502"/>
              <a:gd name="T78" fmla="*/ 2275936 w 657"/>
              <a:gd name="T79" fmla="*/ 2032481 h 502"/>
              <a:gd name="T80" fmla="*/ 2320722 w 657"/>
              <a:gd name="T81" fmla="*/ 1930653 h 502"/>
              <a:gd name="T82" fmla="*/ 2308507 w 657"/>
              <a:gd name="T83" fmla="*/ 1861410 h 502"/>
              <a:gd name="T84" fmla="*/ 2255579 w 657"/>
              <a:gd name="T85" fmla="*/ 1873629 h 502"/>
              <a:gd name="T86" fmla="*/ 2231150 w 657"/>
              <a:gd name="T87" fmla="*/ 1796240 h 502"/>
              <a:gd name="T88" fmla="*/ 2292222 w 657"/>
              <a:gd name="T89" fmla="*/ 1788094 h 502"/>
              <a:gd name="T90" fmla="*/ 2210793 w 657"/>
              <a:gd name="T91" fmla="*/ 1763656 h 502"/>
              <a:gd name="T92" fmla="*/ 1237718 w 657"/>
              <a:gd name="T93" fmla="*/ 928669 h 502"/>
              <a:gd name="T94" fmla="*/ 1942078 w 657"/>
              <a:gd name="T95" fmla="*/ 1441880 h 502"/>
              <a:gd name="T96" fmla="*/ 1795506 w 657"/>
              <a:gd name="T97" fmla="*/ 1429661 h 502"/>
              <a:gd name="T98" fmla="*/ 1013789 w 657"/>
              <a:gd name="T99" fmla="*/ 765744 h 502"/>
              <a:gd name="T100" fmla="*/ 1030075 w 657"/>
              <a:gd name="T101" fmla="*/ 1173055 h 502"/>
              <a:gd name="T102" fmla="*/ 1502362 w 657"/>
              <a:gd name="T103" fmla="*/ 1502977 h 502"/>
              <a:gd name="T104" fmla="*/ 1429076 w 657"/>
              <a:gd name="T105" fmla="*/ 1564073 h 502"/>
              <a:gd name="T106" fmla="*/ 1453505 w 657"/>
              <a:gd name="T107" fmla="*/ 1588512 h 502"/>
              <a:gd name="T108" fmla="*/ 1355790 w 657"/>
              <a:gd name="T109" fmla="*/ 1669974 h 502"/>
              <a:gd name="T110" fmla="*/ 1042289 w 657"/>
              <a:gd name="T111" fmla="*/ 1759582 h 502"/>
              <a:gd name="T112" fmla="*/ 32572 w 657"/>
              <a:gd name="T113" fmla="*/ 1930653 h 502"/>
              <a:gd name="T114" fmla="*/ 248358 w 657"/>
              <a:gd name="T115" fmla="*/ 1930653 h 502"/>
              <a:gd name="T116" fmla="*/ 468216 w 657"/>
              <a:gd name="T117" fmla="*/ 1910287 h 502"/>
              <a:gd name="T118" fmla="*/ 671788 w 657"/>
              <a:gd name="T119" fmla="*/ 1841045 h 502"/>
              <a:gd name="T120" fmla="*/ 769502 w 657"/>
              <a:gd name="T121" fmla="*/ 1820679 h 502"/>
              <a:gd name="T122" fmla="*/ 810217 w 657"/>
              <a:gd name="T123" fmla="*/ 1759582 h 50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57" h="502">
                <a:moveTo>
                  <a:pt x="592" y="480"/>
                </a:moveTo>
                <a:cubicBezTo>
                  <a:pt x="592" y="479"/>
                  <a:pt x="592" y="479"/>
                  <a:pt x="592" y="479"/>
                </a:cubicBezTo>
                <a:cubicBezTo>
                  <a:pt x="592" y="477"/>
                  <a:pt x="592" y="477"/>
                  <a:pt x="592" y="477"/>
                </a:cubicBezTo>
                <a:cubicBezTo>
                  <a:pt x="593" y="476"/>
                  <a:pt x="593" y="476"/>
                  <a:pt x="593" y="476"/>
                </a:cubicBezTo>
                <a:cubicBezTo>
                  <a:pt x="593" y="475"/>
                  <a:pt x="593" y="475"/>
                  <a:pt x="593" y="475"/>
                </a:cubicBezTo>
                <a:cubicBezTo>
                  <a:pt x="593" y="474"/>
                  <a:pt x="593" y="474"/>
                  <a:pt x="593" y="474"/>
                </a:cubicBezTo>
                <a:cubicBezTo>
                  <a:pt x="593" y="473"/>
                  <a:pt x="593" y="473"/>
                  <a:pt x="593" y="473"/>
                </a:cubicBezTo>
                <a:cubicBezTo>
                  <a:pt x="591" y="472"/>
                  <a:pt x="591" y="472"/>
                  <a:pt x="591" y="472"/>
                </a:cubicBezTo>
                <a:cubicBezTo>
                  <a:pt x="591" y="470"/>
                  <a:pt x="591" y="470"/>
                  <a:pt x="591" y="470"/>
                </a:cubicBezTo>
                <a:cubicBezTo>
                  <a:pt x="590" y="468"/>
                  <a:pt x="590" y="468"/>
                  <a:pt x="590" y="468"/>
                </a:cubicBezTo>
                <a:cubicBezTo>
                  <a:pt x="587" y="466"/>
                  <a:pt x="587" y="466"/>
                  <a:pt x="587" y="466"/>
                </a:cubicBezTo>
                <a:cubicBezTo>
                  <a:pt x="586" y="465"/>
                  <a:pt x="586" y="465"/>
                  <a:pt x="586" y="465"/>
                </a:cubicBezTo>
                <a:cubicBezTo>
                  <a:pt x="585" y="463"/>
                  <a:pt x="585" y="463"/>
                  <a:pt x="585" y="463"/>
                </a:cubicBezTo>
                <a:cubicBezTo>
                  <a:pt x="583" y="460"/>
                  <a:pt x="583" y="460"/>
                  <a:pt x="583" y="460"/>
                </a:cubicBezTo>
                <a:cubicBezTo>
                  <a:pt x="581" y="459"/>
                  <a:pt x="581" y="459"/>
                  <a:pt x="581" y="459"/>
                </a:cubicBezTo>
                <a:cubicBezTo>
                  <a:pt x="579" y="459"/>
                  <a:pt x="579" y="459"/>
                  <a:pt x="579" y="459"/>
                </a:cubicBezTo>
                <a:cubicBezTo>
                  <a:pt x="579" y="458"/>
                  <a:pt x="579" y="458"/>
                  <a:pt x="579" y="458"/>
                </a:cubicBezTo>
                <a:cubicBezTo>
                  <a:pt x="580" y="457"/>
                  <a:pt x="580" y="457"/>
                  <a:pt x="580" y="457"/>
                </a:cubicBezTo>
                <a:cubicBezTo>
                  <a:pt x="580" y="455"/>
                  <a:pt x="580" y="455"/>
                  <a:pt x="580" y="455"/>
                </a:cubicBezTo>
                <a:cubicBezTo>
                  <a:pt x="579" y="454"/>
                  <a:pt x="579" y="454"/>
                  <a:pt x="579" y="454"/>
                </a:cubicBezTo>
                <a:cubicBezTo>
                  <a:pt x="578" y="453"/>
                  <a:pt x="578" y="453"/>
                  <a:pt x="578" y="453"/>
                </a:cubicBezTo>
                <a:cubicBezTo>
                  <a:pt x="579" y="452"/>
                  <a:pt x="579" y="452"/>
                  <a:pt x="579" y="452"/>
                </a:cubicBezTo>
                <a:cubicBezTo>
                  <a:pt x="580" y="451"/>
                  <a:pt x="580" y="451"/>
                  <a:pt x="580" y="451"/>
                </a:cubicBezTo>
                <a:cubicBezTo>
                  <a:pt x="580" y="450"/>
                  <a:pt x="580" y="450"/>
                  <a:pt x="580" y="450"/>
                </a:cubicBezTo>
                <a:cubicBezTo>
                  <a:pt x="579" y="449"/>
                  <a:pt x="579" y="449"/>
                  <a:pt x="579" y="449"/>
                </a:cubicBezTo>
                <a:cubicBezTo>
                  <a:pt x="577" y="449"/>
                  <a:pt x="577" y="449"/>
                  <a:pt x="577" y="449"/>
                </a:cubicBezTo>
                <a:cubicBezTo>
                  <a:pt x="577" y="448"/>
                  <a:pt x="577" y="448"/>
                  <a:pt x="577" y="448"/>
                </a:cubicBezTo>
                <a:cubicBezTo>
                  <a:pt x="579" y="447"/>
                  <a:pt x="579" y="447"/>
                  <a:pt x="579" y="447"/>
                </a:cubicBezTo>
                <a:cubicBezTo>
                  <a:pt x="579" y="438"/>
                  <a:pt x="579" y="438"/>
                  <a:pt x="579" y="438"/>
                </a:cubicBezTo>
                <a:cubicBezTo>
                  <a:pt x="579" y="429"/>
                  <a:pt x="579" y="429"/>
                  <a:pt x="579" y="429"/>
                </a:cubicBezTo>
                <a:cubicBezTo>
                  <a:pt x="580" y="422"/>
                  <a:pt x="580" y="422"/>
                  <a:pt x="580" y="422"/>
                </a:cubicBezTo>
                <a:cubicBezTo>
                  <a:pt x="579" y="420"/>
                  <a:pt x="579" y="420"/>
                  <a:pt x="579" y="420"/>
                </a:cubicBezTo>
                <a:cubicBezTo>
                  <a:pt x="579" y="418"/>
                  <a:pt x="579" y="418"/>
                  <a:pt x="579" y="418"/>
                </a:cubicBezTo>
                <a:cubicBezTo>
                  <a:pt x="580" y="415"/>
                  <a:pt x="580" y="415"/>
                  <a:pt x="580" y="415"/>
                </a:cubicBezTo>
                <a:cubicBezTo>
                  <a:pt x="580" y="413"/>
                  <a:pt x="580" y="413"/>
                  <a:pt x="580" y="413"/>
                </a:cubicBezTo>
                <a:cubicBezTo>
                  <a:pt x="578" y="411"/>
                  <a:pt x="578" y="411"/>
                  <a:pt x="578" y="411"/>
                </a:cubicBezTo>
                <a:cubicBezTo>
                  <a:pt x="578" y="407"/>
                  <a:pt x="578" y="407"/>
                  <a:pt x="578" y="407"/>
                </a:cubicBezTo>
                <a:cubicBezTo>
                  <a:pt x="575" y="404"/>
                  <a:pt x="575" y="404"/>
                  <a:pt x="575" y="404"/>
                </a:cubicBezTo>
                <a:cubicBezTo>
                  <a:pt x="574" y="399"/>
                  <a:pt x="574" y="399"/>
                  <a:pt x="574" y="399"/>
                </a:cubicBezTo>
                <a:cubicBezTo>
                  <a:pt x="575" y="397"/>
                  <a:pt x="575" y="397"/>
                  <a:pt x="575" y="397"/>
                </a:cubicBezTo>
                <a:cubicBezTo>
                  <a:pt x="573" y="390"/>
                  <a:pt x="573" y="390"/>
                  <a:pt x="573" y="390"/>
                </a:cubicBezTo>
                <a:cubicBezTo>
                  <a:pt x="573" y="389"/>
                  <a:pt x="573" y="389"/>
                  <a:pt x="573" y="389"/>
                </a:cubicBezTo>
                <a:cubicBezTo>
                  <a:pt x="575" y="385"/>
                  <a:pt x="575" y="385"/>
                  <a:pt x="575" y="385"/>
                </a:cubicBezTo>
                <a:cubicBezTo>
                  <a:pt x="574" y="383"/>
                  <a:pt x="574" y="383"/>
                  <a:pt x="574" y="383"/>
                </a:cubicBezTo>
                <a:cubicBezTo>
                  <a:pt x="574" y="381"/>
                  <a:pt x="574" y="381"/>
                  <a:pt x="574" y="381"/>
                </a:cubicBezTo>
                <a:cubicBezTo>
                  <a:pt x="572" y="379"/>
                  <a:pt x="572" y="379"/>
                  <a:pt x="572" y="379"/>
                </a:cubicBezTo>
                <a:cubicBezTo>
                  <a:pt x="568" y="379"/>
                  <a:pt x="568" y="379"/>
                  <a:pt x="568" y="379"/>
                </a:cubicBezTo>
                <a:cubicBezTo>
                  <a:pt x="564" y="381"/>
                  <a:pt x="564" y="381"/>
                  <a:pt x="564" y="381"/>
                </a:cubicBezTo>
                <a:cubicBezTo>
                  <a:pt x="563" y="381"/>
                  <a:pt x="563" y="381"/>
                  <a:pt x="563" y="381"/>
                </a:cubicBezTo>
                <a:cubicBezTo>
                  <a:pt x="558" y="383"/>
                  <a:pt x="558" y="383"/>
                  <a:pt x="558" y="383"/>
                </a:cubicBezTo>
                <a:cubicBezTo>
                  <a:pt x="556" y="385"/>
                  <a:pt x="556" y="385"/>
                  <a:pt x="556" y="385"/>
                </a:cubicBezTo>
                <a:cubicBezTo>
                  <a:pt x="552" y="390"/>
                  <a:pt x="552" y="390"/>
                  <a:pt x="552" y="390"/>
                </a:cubicBezTo>
                <a:cubicBezTo>
                  <a:pt x="549" y="392"/>
                  <a:pt x="549" y="392"/>
                  <a:pt x="549" y="392"/>
                </a:cubicBezTo>
                <a:cubicBezTo>
                  <a:pt x="545" y="393"/>
                  <a:pt x="545" y="393"/>
                  <a:pt x="545" y="393"/>
                </a:cubicBezTo>
                <a:cubicBezTo>
                  <a:pt x="541" y="393"/>
                  <a:pt x="541" y="393"/>
                  <a:pt x="541" y="393"/>
                </a:cubicBezTo>
                <a:cubicBezTo>
                  <a:pt x="540" y="394"/>
                  <a:pt x="540" y="394"/>
                  <a:pt x="540" y="394"/>
                </a:cubicBezTo>
                <a:cubicBezTo>
                  <a:pt x="540" y="392"/>
                  <a:pt x="540" y="392"/>
                  <a:pt x="540" y="392"/>
                </a:cubicBezTo>
                <a:cubicBezTo>
                  <a:pt x="542" y="388"/>
                  <a:pt x="542" y="388"/>
                  <a:pt x="542" y="388"/>
                </a:cubicBezTo>
                <a:cubicBezTo>
                  <a:pt x="541" y="385"/>
                  <a:pt x="541" y="385"/>
                  <a:pt x="541" y="385"/>
                </a:cubicBezTo>
                <a:cubicBezTo>
                  <a:pt x="537" y="371"/>
                  <a:pt x="537" y="371"/>
                  <a:pt x="537" y="371"/>
                </a:cubicBezTo>
                <a:cubicBezTo>
                  <a:pt x="535" y="365"/>
                  <a:pt x="535" y="365"/>
                  <a:pt x="535" y="365"/>
                </a:cubicBezTo>
                <a:cubicBezTo>
                  <a:pt x="534" y="362"/>
                  <a:pt x="534" y="362"/>
                  <a:pt x="534" y="362"/>
                </a:cubicBezTo>
                <a:cubicBezTo>
                  <a:pt x="537" y="356"/>
                  <a:pt x="537" y="356"/>
                  <a:pt x="537" y="356"/>
                </a:cubicBezTo>
                <a:cubicBezTo>
                  <a:pt x="531" y="356"/>
                  <a:pt x="531" y="356"/>
                  <a:pt x="531" y="356"/>
                </a:cubicBezTo>
                <a:cubicBezTo>
                  <a:pt x="526" y="358"/>
                  <a:pt x="526" y="358"/>
                  <a:pt x="526" y="358"/>
                </a:cubicBezTo>
                <a:cubicBezTo>
                  <a:pt x="523" y="357"/>
                  <a:pt x="523" y="357"/>
                  <a:pt x="523" y="357"/>
                </a:cubicBezTo>
                <a:cubicBezTo>
                  <a:pt x="515" y="357"/>
                  <a:pt x="515" y="357"/>
                  <a:pt x="515" y="357"/>
                </a:cubicBezTo>
                <a:cubicBezTo>
                  <a:pt x="657" y="99"/>
                  <a:pt x="657" y="99"/>
                  <a:pt x="657" y="99"/>
                </a:cubicBezTo>
                <a:cubicBezTo>
                  <a:pt x="656" y="98"/>
                  <a:pt x="656" y="98"/>
                  <a:pt x="656" y="98"/>
                </a:cubicBezTo>
                <a:cubicBezTo>
                  <a:pt x="654" y="97"/>
                  <a:pt x="654" y="97"/>
                  <a:pt x="654" y="97"/>
                </a:cubicBezTo>
                <a:cubicBezTo>
                  <a:pt x="652" y="97"/>
                  <a:pt x="652" y="97"/>
                  <a:pt x="652" y="97"/>
                </a:cubicBezTo>
                <a:cubicBezTo>
                  <a:pt x="651" y="96"/>
                  <a:pt x="651" y="96"/>
                  <a:pt x="651" y="96"/>
                </a:cubicBezTo>
                <a:cubicBezTo>
                  <a:pt x="650" y="91"/>
                  <a:pt x="650" y="91"/>
                  <a:pt x="650" y="91"/>
                </a:cubicBezTo>
                <a:cubicBezTo>
                  <a:pt x="648" y="88"/>
                  <a:pt x="648" y="88"/>
                  <a:pt x="648" y="88"/>
                </a:cubicBezTo>
                <a:cubicBezTo>
                  <a:pt x="647" y="87"/>
                  <a:pt x="647" y="87"/>
                  <a:pt x="647" y="87"/>
                </a:cubicBezTo>
                <a:cubicBezTo>
                  <a:pt x="646" y="85"/>
                  <a:pt x="646" y="85"/>
                  <a:pt x="646" y="85"/>
                </a:cubicBezTo>
                <a:cubicBezTo>
                  <a:pt x="645" y="82"/>
                  <a:pt x="645" y="82"/>
                  <a:pt x="645" y="82"/>
                </a:cubicBezTo>
                <a:cubicBezTo>
                  <a:pt x="644" y="81"/>
                  <a:pt x="644" y="81"/>
                  <a:pt x="644" y="81"/>
                </a:cubicBezTo>
                <a:cubicBezTo>
                  <a:pt x="639" y="80"/>
                  <a:pt x="639" y="80"/>
                  <a:pt x="639" y="80"/>
                </a:cubicBezTo>
                <a:cubicBezTo>
                  <a:pt x="639" y="81"/>
                  <a:pt x="639" y="81"/>
                  <a:pt x="639" y="81"/>
                </a:cubicBezTo>
                <a:cubicBezTo>
                  <a:pt x="635" y="81"/>
                  <a:pt x="635" y="81"/>
                  <a:pt x="635" y="81"/>
                </a:cubicBezTo>
                <a:cubicBezTo>
                  <a:pt x="632" y="81"/>
                  <a:pt x="632" y="81"/>
                  <a:pt x="632" y="81"/>
                </a:cubicBezTo>
                <a:cubicBezTo>
                  <a:pt x="631" y="80"/>
                  <a:pt x="631" y="80"/>
                  <a:pt x="631" y="80"/>
                </a:cubicBezTo>
                <a:cubicBezTo>
                  <a:pt x="630" y="81"/>
                  <a:pt x="630" y="81"/>
                  <a:pt x="630" y="81"/>
                </a:cubicBezTo>
                <a:cubicBezTo>
                  <a:pt x="629" y="80"/>
                  <a:pt x="629" y="80"/>
                  <a:pt x="629" y="80"/>
                </a:cubicBezTo>
                <a:cubicBezTo>
                  <a:pt x="628" y="81"/>
                  <a:pt x="628" y="81"/>
                  <a:pt x="628" y="81"/>
                </a:cubicBezTo>
                <a:cubicBezTo>
                  <a:pt x="626" y="81"/>
                  <a:pt x="626" y="81"/>
                  <a:pt x="626" y="81"/>
                </a:cubicBezTo>
                <a:cubicBezTo>
                  <a:pt x="626" y="80"/>
                  <a:pt x="626" y="80"/>
                  <a:pt x="626" y="80"/>
                </a:cubicBezTo>
                <a:cubicBezTo>
                  <a:pt x="627" y="80"/>
                  <a:pt x="627" y="80"/>
                  <a:pt x="627" y="80"/>
                </a:cubicBezTo>
                <a:cubicBezTo>
                  <a:pt x="628" y="79"/>
                  <a:pt x="628" y="79"/>
                  <a:pt x="628" y="79"/>
                </a:cubicBezTo>
                <a:cubicBezTo>
                  <a:pt x="625" y="77"/>
                  <a:pt x="625" y="77"/>
                  <a:pt x="625" y="77"/>
                </a:cubicBezTo>
                <a:cubicBezTo>
                  <a:pt x="624" y="78"/>
                  <a:pt x="624" y="78"/>
                  <a:pt x="624" y="78"/>
                </a:cubicBezTo>
                <a:cubicBezTo>
                  <a:pt x="622" y="77"/>
                  <a:pt x="622" y="77"/>
                  <a:pt x="622" y="77"/>
                </a:cubicBezTo>
                <a:cubicBezTo>
                  <a:pt x="623" y="76"/>
                  <a:pt x="623" y="76"/>
                  <a:pt x="623" y="76"/>
                </a:cubicBezTo>
                <a:cubicBezTo>
                  <a:pt x="624" y="76"/>
                  <a:pt x="624" y="76"/>
                  <a:pt x="624" y="76"/>
                </a:cubicBezTo>
                <a:cubicBezTo>
                  <a:pt x="623" y="75"/>
                  <a:pt x="623" y="75"/>
                  <a:pt x="623" y="75"/>
                </a:cubicBezTo>
                <a:cubicBezTo>
                  <a:pt x="622" y="75"/>
                  <a:pt x="622" y="75"/>
                  <a:pt x="622" y="75"/>
                </a:cubicBezTo>
                <a:cubicBezTo>
                  <a:pt x="620" y="75"/>
                  <a:pt x="620" y="75"/>
                  <a:pt x="620" y="75"/>
                </a:cubicBezTo>
                <a:cubicBezTo>
                  <a:pt x="620" y="73"/>
                  <a:pt x="620" y="73"/>
                  <a:pt x="620" y="73"/>
                </a:cubicBezTo>
                <a:cubicBezTo>
                  <a:pt x="618" y="72"/>
                  <a:pt x="618" y="72"/>
                  <a:pt x="618" y="72"/>
                </a:cubicBezTo>
                <a:cubicBezTo>
                  <a:pt x="615" y="69"/>
                  <a:pt x="615" y="69"/>
                  <a:pt x="615" y="69"/>
                </a:cubicBezTo>
                <a:cubicBezTo>
                  <a:pt x="614" y="69"/>
                  <a:pt x="614" y="69"/>
                  <a:pt x="614" y="69"/>
                </a:cubicBezTo>
                <a:cubicBezTo>
                  <a:pt x="613" y="68"/>
                  <a:pt x="613" y="68"/>
                  <a:pt x="613" y="68"/>
                </a:cubicBezTo>
                <a:cubicBezTo>
                  <a:pt x="612" y="68"/>
                  <a:pt x="612" y="68"/>
                  <a:pt x="612" y="68"/>
                </a:cubicBezTo>
                <a:cubicBezTo>
                  <a:pt x="611" y="70"/>
                  <a:pt x="611" y="70"/>
                  <a:pt x="611" y="70"/>
                </a:cubicBezTo>
                <a:cubicBezTo>
                  <a:pt x="611" y="69"/>
                  <a:pt x="611" y="69"/>
                  <a:pt x="611" y="69"/>
                </a:cubicBezTo>
                <a:cubicBezTo>
                  <a:pt x="610" y="68"/>
                  <a:pt x="610" y="68"/>
                  <a:pt x="610" y="68"/>
                </a:cubicBezTo>
                <a:cubicBezTo>
                  <a:pt x="609" y="67"/>
                  <a:pt x="609" y="67"/>
                  <a:pt x="609" y="67"/>
                </a:cubicBezTo>
                <a:cubicBezTo>
                  <a:pt x="607" y="69"/>
                  <a:pt x="607" y="69"/>
                  <a:pt x="607" y="69"/>
                </a:cubicBezTo>
                <a:cubicBezTo>
                  <a:pt x="606" y="68"/>
                  <a:pt x="606" y="68"/>
                  <a:pt x="606" y="68"/>
                </a:cubicBezTo>
                <a:cubicBezTo>
                  <a:pt x="606" y="67"/>
                  <a:pt x="606" y="67"/>
                  <a:pt x="606" y="67"/>
                </a:cubicBezTo>
                <a:cubicBezTo>
                  <a:pt x="607" y="66"/>
                  <a:pt x="607" y="66"/>
                  <a:pt x="607" y="66"/>
                </a:cubicBezTo>
                <a:cubicBezTo>
                  <a:pt x="606" y="65"/>
                  <a:pt x="606" y="65"/>
                  <a:pt x="606" y="65"/>
                </a:cubicBezTo>
                <a:cubicBezTo>
                  <a:pt x="604" y="64"/>
                  <a:pt x="604" y="64"/>
                  <a:pt x="604" y="64"/>
                </a:cubicBezTo>
                <a:cubicBezTo>
                  <a:pt x="603" y="65"/>
                  <a:pt x="603" y="65"/>
                  <a:pt x="603" y="65"/>
                </a:cubicBezTo>
                <a:cubicBezTo>
                  <a:pt x="603" y="63"/>
                  <a:pt x="603" y="63"/>
                  <a:pt x="603" y="63"/>
                </a:cubicBezTo>
                <a:cubicBezTo>
                  <a:pt x="603" y="63"/>
                  <a:pt x="603" y="63"/>
                  <a:pt x="603" y="63"/>
                </a:cubicBezTo>
                <a:cubicBezTo>
                  <a:pt x="601" y="61"/>
                  <a:pt x="601" y="61"/>
                  <a:pt x="601" y="61"/>
                </a:cubicBezTo>
                <a:cubicBezTo>
                  <a:pt x="599" y="59"/>
                  <a:pt x="599" y="59"/>
                  <a:pt x="599" y="59"/>
                </a:cubicBezTo>
                <a:cubicBezTo>
                  <a:pt x="600" y="58"/>
                  <a:pt x="600" y="58"/>
                  <a:pt x="600" y="58"/>
                </a:cubicBezTo>
                <a:cubicBezTo>
                  <a:pt x="599" y="58"/>
                  <a:pt x="599" y="58"/>
                  <a:pt x="599" y="58"/>
                </a:cubicBezTo>
                <a:cubicBezTo>
                  <a:pt x="597" y="57"/>
                  <a:pt x="597" y="57"/>
                  <a:pt x="597" y="57"/>
                </a:cubicBezTo>
                <a:cubicBezTo>
                  <a:pt x="596" y="58"/>
                  <a:pt x="596" y="58"/>
                  <a:pt x="596" y="58"/>
                </a:cubicBezTo>
                <a:cubicBezTo>
                  <a:pt x="592" y="62"/>
                  <a:pt x="592" y="62"/>
                  <a:pt x="592" y="62"/>
                </a:cubicBezTo>
                <a:cubicBezTo>
                  <a:pt x="587" y="65"/>
                  <a:pt x="587" y="65"/>
                  <a:pt x="587" y="65"/>
                </a:cubicBezTo>
                <a:cubicBezTo>
                  <a:pt x="591" y="62"/>
                  <a:pt x="591" y="62"/>
                  <a:pt x="591" y="62"/>
                </a:cubicBezTo>
                <a:cubicBezTo>
                  <a:pt x="594" y="58"/>
                  <a:pt x="594" y="58"/>
                  <a:pt x="594" y="58"/>
                </a:cubicBezTo>
                <a:cubicBezTo>
                  <a:pt x="597" y="55"/>
                  <a:pt x="597" y="55"/>
                  <a:pt x="597" y="55"/>
                </a:cubicBezTo>
                <a:cubicBezTo>
                  <a:pt x="597" y="52"/>
                  <a:pt x="597" y="52"/>
                  <a:pt x="597" y="52"/>
                </a:cubicBezTo>
                <a:cubicBezTo>
                  <a:pt x="596" y="51"/>
                  <a:pt x="596" y="51"/>
                  <a:pt x="596" y="51"/>
                </a:cubicBezTo>
                <a:cubicBezTo>
                  <a:pt x="592" y="49"/>
                  <a:pt x="592" y="49"/>
                  <a:pt x="592" y="49"/>
                </a:cubicBezTo>
                <a:cubicBezTo>
                  <a:pt x="589" y="49"/>
                  <a:pt x="589" y="49"/>
                  <a:pt x="589" y="49"/>
                </a:cubicBezTo>
                <a:cubicBezTo>
                  <a:pt x="586" y="50"/>
                  <a:pt x="586" y="50"/>
                  <a:pt x="586" y="50"/>
                </a:cubicBezTo>
                <a:cubicBezTo>
                  <a:pt x="584" y="50"/>
                  <a:pt x="584" y="50"/>
                  <a:pt x="584" y="50"/>
                </a:cubicBezTo>
                <a:cubicBezTo>
                  <a:pt x="583" y="51"/>
                  <a:pt x="583" y="51"/>
                  <a:pt x="583" y="51"/>
                </a:cubicBezTo>
                <a:cubicBezTo>
                  <a:pt x="580" y="51"/>
                  <a:pt x="580" y="51"/>
                  <a:pt x="580" y="51"/>
                </a:cubicBezTo>
                <a:cubicBezTo>
                  <a:pt x="577" y="55"/>
                  <a:pt x="577" y="55"/>
                  <a:pt x="577" y="55"/>
                </a:cubicBezTo>
                <a:cubicBezTo>
                  <a:pt x="574" y="57"/>
                  <a:pt x="574" y="57"/>
                  <a:pt x="574" y="57"/>
                </a:cubicBezTo>
                <a:cubicBezTo>
                  <a:pt x="576" y="54"/>
                  <a:pt x="576" y="54"/>
                  <a:pt x="576" y="54"/>
                </a:cubicBezTo>
                <a:cubicBezTo>
                  <a:pt x="576" y="51"/>
                  <a:pt x="576" y="51"/>
                  <a:pt x="576" y="51"/>
                </a:cubicBezTo>
                <a:cubicBezTo>
                  <a:pt x="576" y="48"/>
                  <a:pt x="576" y="48"/>
                  <a:pt x="576" y="48"/>
                </a:cubicBezTo>
                <a:cubicBezTo>
                  <a:pt x="576" y="46"/>
                  <a:pt x="576" y="46"/>
                  <a:pt x="576" y="46"/>
                </a:cubicBezTo>
                <a:cubicBezTo>
                  <a:pt x="572" y="44"/>
                  <a:pt x="572" y="44"/>
                  <a:pt x="572" y="44"/>
                </a:cubicBezTo>
                <a:cubicBezTo>
                  <a:pt x="572" y="43"/>
                  <a:pt x="572" y="43"/>
                  <a:pt x="572" y="43"/>
                </a:cubicBezTo>
                <a:cubicBezTo>
                  <a:pt x="575" y="42"/>
                  <a:pt x="575" y="42"/>
                  <a:pt x="575" y="42"/>
                </a:cubicBezTo>
                <a:cubicBezTo>
                  <a:pt x="576" y="42"/>
                  <a:pt x="576" y="42"/>
                  <a:pt x="576" y="42"/>
                </a:cubicBezTo>
                <a:cubicBezTo>
                  <a:pt x="576" y="41"/>
                  <a:pt x="576" y="41"/>
                  <a:pt x="576" y="41"/>
                </a:cubicBezTo>
                <a:cubicBezTo>
                  <a:pt x="570" y="38"/>
                  <a:pt x="570" y="38"/>
                  <a:pt x="570" y="38"/>
                </a:cubicBezTo>
                <a:cubicBezTo>
                  <a:pt x="570" y="36"/>
                  <a:pt x="570" y="36"/>
                  <a:pt x="570" y="36"/>
                </a:cubicBezTo>
                <a:cubicBezTo>
                  <a:pt x="571" y="34"/>
                  <a:pt x="571" y="34"/>
                  <a:pt x="571" y="34"/>
                </a:cubicBezTo>
                <a:cubicBezTo>
                  <a:pt x="574" y="33"/>
                  <a:pt x="574" y="33"/>
                  <a:pt x="574" y="33"/>
                </a:cubicBezTo>
                <a:cubicBezTo>
                  <a:pt x="576" y="31"/>
                  <a:pt x="576" y="31"/>
                  <a:pt x="576" y="31"/>
                </a:cubicBezTo>
                <a:cubicBezTo>
                  <a:pt x="575" y="29"/>
                  <a:pt x="575" y="29"/>
                  <a:pt x="575" y="29"/>
                </a:cubicBezTo>
                <a:cubicBezTo>
                  <a:pt x="573" y="27"/>
                  <a:pt x="573" y="27"/>
                  <a:pt x="573" y="27"/>
                </a:cubicBezTo>
                <a:cubicBezTo>
                  <a:pt x="572" y="27"/>
                  <a:pt x="572" y="27"/>
                  <a:pt x="572" y="27"/>
                </a:cubicBezTo>
                <a:cubicBezTo>
                  <a:pt x="571" y="27"/>
                  <a:pt x="571" y="27"/>
                  <a:pt x="571" y="27"/>
                </a:cubicBezTo>
                <a:cubicBezTo>
                  <a:pt x="570" y="26"/>
                  <a:pt x="570" y="26"/>
                  <a:pt x="570" y="26"/>
                </a:cubicBezTo>
                <a:cubicBezTo>
                  <a:pt x="568" y="25"/>
                  <a:pt x="568" y="25"/>
                  <a:pt x="568" y="25"/>
                </a:cubicBezTo>
                <a:cubicBezTo>
                  <a:pt x="566" y="25"/>
                  <a:pt x="566" y="25"/>
                  <a:pt x="566" y="25"/>
                </a:cubicBezTo>
                <a:cubicBezTo>
                  <a:pt x="563" y="24"/>
                  <a:pt x="563" y="24"/>
                  <a:pt x="563" y="24"/>
                </a:cubicBezTo>
                <a:cubicBezTo>
                  <a:pt x="562" y="23"/>
                  <a:pt x="562" y="23"/>
                  <a:pt x="562" y="23"/>
                </a:cubicBezTo>
                <a:cubicBezTo>
                  <a:pt x="560" y="24"/>
                  <a:pt x="560" y="24"/>
                  <a:pt x="560" y="24"/>
                </a:cubicBezTo>
                <a:cubicBezTo>
                  <a:pt x="557" y="24"/>
                  <a:pt x="557" y="24"/>
                  <a:pt x="557" y="24"/>
                </a:cubicBezTo>
                <a:cubicBezTo>
                  <a:pt x="556" y="26"/>
                  <a:pt x="556" y="26"/>
                  <a:pt x="556" y="26"/>
                </a:cubicBezTo>
                <a:cubicBezTo>
                  <a:pt x="556" y="27"/>
                  <a:pt x="556" y="27"/>
                  <a:pt x="556" y="27"/>
                </a:cubicBezTo>
                <a:cubicBezTo>
                  <a:pt x="555" y="25"/>
                  <a:pt x="555" y="25"/>
                  <a:pt x="555" y="25"/>
                </a:cubicBezTo>
                <a:cubicBezTo>
                  <a:pt x="555" y="23"/>
                  <a:pt x="555" y="23"/>
                  <a:pt x="555" y="23"/>
                </a:cubicBezTo>
                <a:cubicBezTo>
                  <a:pt x="556" y="22"/>
                  <a:pt x="556" y="22"/>
                  <a:pt x="556" y="22"/>
                </a:cubicBezTo>
                <a:cubicBezTo>
                  <a:pt x="556" y="20"/>
                  <a:pt x="556" y="20"/>
                  <a:pt x="556" y="20"/>
                </a:cubicBezTo>
                <a:cubicBezTo>
                  <a:pt x="557" y="19"/>
                  <a:pt x="557" y="19"/>
                  <a:pt x="557" y="19"/>
                </a:cubicBezTo>
                <a:cubicBezTo>
                  <a:pt x="558" y="18"/>
                  <a:pt x="558" y="18"/>
                  <a:pt x="558" y="18"/>
                </a:cubicBezTo>
                <a:cubicBezTo>
                  <a:pt x="559" y="16"/>
                  <a:pt x="559" y="16"/>
                  <a:pt x="559" y="16"/>
                </a:cubicBezTo>
                <a:cubicBezTo>
                  <a:pt x="559" y="14"/>
                  <a:pt x="559" y="14"/>
                  <a:pt x="559" y="14"/>
                </a:cubicBezTo>
                <a:cubicBezTo>
                  <a:pt x="559" y="12"/>
                  <a:pt x="559" y="12"/>
                  <a:pt x="559" y="12"/>
                </a:cubicBezTo>
                <a:cubicBezTo>
                  <a:pt x="558" y="12"/>
                  <a:pt x="558" y="12"/>
                  <a:pt x="558" y="12"/>
                </a:cubicBezTo>
                <a:cubicBezTo>
                  <a:pt x="555" y="15"/>
                  <a:pt x="555" y="15"/>
                  <a:pt x="555" y="15"/>
                </a:cubicBezTo>
                <a:cubicBezTo>
                  <a:pt x="554" y="17"/>
                  <a:pt x="554" y="17"/>
                  <a:pt x="554" y="17"/>
                </a:cubicBezTo>
                <a:cubicBezTo>
                  <a:pt x="554" y="17"/>
                  <a:pt x="554" y="17"/>
                  <a:pt x="554" y="17"/>
                </a:cubicBezTo>
                <a:cubicBezTo>
                  <a:pt x="552" y="16"/>
                  <a:pt x="552" y="16"/>
                  <a:pt x="552" y="16"/>
                </a:cubicBezTo>
                <a:cubicBezTo>
                  <a:pt x="550" y="17"/>
                  <a:pt x="550" y="17"/>
                  <a:pt x="550" y="17"/>
                </a:cubicBezTo>
                <a:cubicBezTo>
                  <a:pt x="549" y="18"/>
                  <a:pt x="549" y="18"/>
                  <a:pt x="549" y="18"/>
                </a:cubicBezTo>
                <a:cubicBezTo>
                  <a:pt x="550" y="20"/>
                  <a:pt x="550" y="20"/>
                  <a:pt x="550" y="20"/>
                </a:cubicBezTo>
                <a:cubicBezTo>
                  <a:pt x="548" y="22"/>
                  <a:pt x="548" y="22"/>
                  <a:pt x="548" y="22"/>
                </a:cubicBezTo>
                <a:cubicBezTo>
                  <a:pt x="547" y="22"/>
                  <a:pt x="547" y="22"/>
                  <a:pt x="547" y="22"/>
                </a:cubicBezTo>
                <a:cubicBezTo>
                  <a:pt x="546" y="21"/>
                  <a:pt x="546" y="21"/>
                  <a:pt x="546" y="21"/>
                </a:cubicBezTo>
                <a:cubicBezTo>
                  <a:pt x="545" y="24"/>
                  <a:pt x="545" y="24"/>
                  <a:pt x="545" y="24"/>
                </a:cubicBezTo>
                <a:cubicBezTo>
                  <a:pt x="545" y="27"/>
                  <a:pt x="545" y="27"/>
                  <a:pt x="545" y="27"/>
                </a:cubicBezTo>
                <a:cubicBezTo>
                  <a:pt x="544" y="24"/>
                  <a:pt x="544" y="24"/>
                  <a:pt x="544" y="24"/>
                </a:cubicBezTo>
                <a:cubicBezTo>
                  <a:pt x="544" y="22"/>
                  <a:pt x="544" y="22"/>
                  <a:pt x="544" y="22"/>
                </a:cubicBezTo>
                <a:cubicBezTo>
                  <a:pt x="545" y="20"/>
                  <a:pt x="545" y="20"/>
                  <a:pt x="545" y="20"/>
                </a:cubicBezTo>
                <a:cubicBezTo>
                  <a:pt x="544" y="19"/>
                  <a:pt x="544" y="19"/>
                  <a:pt x="544" y="19"/>
                </a:cubicBezTo>
                <a:cubicBezTo>
                  <a:pt x="542" y="21"/>
                  <a:pt x="542" y="21"/>
                  <a:pt x="542" y="21"/>
                </a:cubicBezTo>
                <a:cubicBezTo>
                  <a:pt x="542" y="23"/>
                  <a:pt x="542" y="23"/>
                  <a:pt x="542" y="23"/>
                </a:cubicBezTo>
                <a:cubicBezTo>
                  <a:pt x="540" y="23"/>
                  <a:pt x="540" y="23"/>
                  <a:pt x="540" y="23"/>
                </a:cubicBezTo>
                <a:cubicBezTo>
                  <a:pt x="541" y="20"/>
                  <a:pt x="541" y="20"/>
                  <a:pt x="541" y="20"/>
                </a:cubicBezTo>
                <a:cubicBezTo>
                  <a:pt x="540" y="17"/>
                  <a:pt x="540" y="17"/>
                  <a:pt x="540" y="17"/>
                </a:cubicBezTo>
                <a:cubicBezTo>
                  <a:pt x="538" y="17"/>
                  <a:pt x="538" y="17"/>
                  <a:pt x="538" y="17"/>
                </a:cubicBezTo>
                <a:cubicBezTo>
                  <a:pt x="538" y="16"/>
                  <a:pt x="538" y="16"/>
                  <a:pt x="538" y="16"/>
                </a:cubicBezTo>
                <a:cubicBezTo>
                  <a:pt x="541" y="14"/>
                  <a:pt x="541" y="14"/>
                  <a:pt x="541" y="14"/>
                </a:cubicBezTo>
                <a:cubicBezTo>
                  <a:pt x="543" y="13"/>
                  <a:pt x="543" y="13"/>
                  <a:pt x="543" y="13"/>
                </a:cubicBezTo>
                <a:cubicBezTo>
                  <a:pt x="546" y="15"/>
                  <a:pt x="546" y="15"/>
                  <a:pt x="546" y="15"/>
                </a:cubicBezTo>
                <a:cubicBezTo>
                  <a:pt x="549" y="14"/>
                  <a:pt x="549" y="14"/>
                  <a:pt x="549" y="14"/>
                </a:cubicBezTo>
                <a:cubicBezTo>
                  <a:pt x="551" y="13"/>
                  <a:pt x="551" y="13"/>
                  <a:pt x="551" y="13"/>
                </a:cubicBezTo>
                <a:cubicBezTo>
                  <a:pt x="554" y="11"/>
                  <a:pt x="554" y="11"/>
                  <a:pt x="554" y="11"/>
                </a:cubicBezTo>
                <a:cubicBezTo>
                  <a:pt x="554" y="10"/>
                  <a:pt x="554" y="10"/>
                  <a:pt x="554" y="10"/>
                </a:cubicBezTo>
                <a:cubicBezTo>
                  <a:pt x="555" y="8"/>
                  <a:pt x="555" y="8"/>
                  <a:pt x="555" y="8"/>
                </a:cubicBezTo>
                <a:cubicBezTo>
                  <a:pt x="554" y="7"/>
                  <a:pt x="554" y="7"/>
                  <a:pt x="554" y="7"/>
                </a:cubicBezTo>
                <a:cubicBezTo>
                  <a:pt x="551" y="6"/>
                  <a:pt x="551" y="6"/>
                  <a:pt x="551" y="6"/>
                </a:cubicBezTo>
                <a:cubicBezTo>
                  <a:pt x="550" y="6"/>
                  <a:pt x="550" y="6"/>
                  <a:pt x="550" y="6"/>
                </a:cubicBezTo>
                <a:cubicBezTo>
                  <a:pt x="550" y="4"/>
                  <a:pt x="550" y="4"/>
                  <a:pt x="550" y="4"/>
                </a:cubicBezTo>
                <a:cubicBezTo>
                  <a:pt x="549" y="3"/>
                  <a:pt x="549" y="3"/>
                  <a:pt x="549" y="3"/>
                </a:cubicBezTo>
                <a:cubicBezTo>
                  <a:pt x="549" y="3"/>
                  <a:pt x="549" y="3"/>
                  <a:pt x="549" y="3"/>
                </a:cubicBezTo>
                <a:cubicBezTo>
                  <a:pt x="549" y="2"/>
                  <a:pt x="549" y="2"/>
                  <a:pt x="549" y="2"/>
                </a:cubicBezTo>
                <a:cubicBezTo>
                  <a:pt x="550" y="1"/>
                  <a:pt x="550" y="1"/>
                  <a:pt x="550" y="1"/>
                </a:cubicBezTo>
                <a:cubicBezTo>
                  <a:pt x="551" y="1"/>
                  <a:pt x="551" y="1"/>
                  <a:pt x="551" y="1"/>
                </a:cubicBezTo>
                <a:cubicBezTo>
                  <a:pt x="550" y="0"/>
                  <a:pt x="550" y="0"/>
                  <a:pt x="550" y="0"/>
                </a:cubicBezTo>
                <a:cubicBezTo>
                  <a:pt x="545" y="3"/>
                  <a:pt x="545" y="3"/>
                  <a:pt x="545" y="3"/>
                </a:cubicBezTo>
                <a:cubicBezTo>
                  <a:pt x="544" y="4"/>
                  <a:pt x="544" y="4"/>
                  <a:pt x="544" y="4"/>
                </a:cubicBezTo>
                <a:cubicBezTo>
                  <a:pt x="541" y="4"/>
                  <a:pt x="541" y="4"/>
                  <a:pt x="541" y="4"/>
                </a:cubicBezTo>
                <a:cubicBezTo>
                  <a:pt x="538" y="5"/>
                  <a:pt x="538" y="5"/>
                  <a:pt x="538" y="5"/>
                </a:cubicBezTo>
                <a:cubicBezTo>
                  <a:pt x="533" y="10"/>
                  <a:pt x="533" y="10"/>
                  <a:pt x="533" y="10"/>
                </a:cubicBezTo>
                <a:cubicBezTo>
                  <a:pt x="530" y="11"/>
                  <a:pt x="530" y="11"/>
                  <a:pt x="530" y="11"/>
                </a:cubicBezTo>
                <a:cubicBezTo>
                  <a:pt x="524" y="11"/>
                  <a:pt x="524" y="11"/>
                  <a:pt x="524" y="11"/>
                </a:cubicBezTo>
                <a:cubicBezTo>
                  <a:pt x="521" y="9"/>
                  <a:pt x="521" y="9"/>
                  <a:pt x="521" y="9"/>
                </a:cubicBezTo>
                <a:cubicBezTo>
                  <a:pt x="520" y="8"/>
                  <a:pt x="520" y="8"/>
                  <a:pt x="520" y="8"/>
                </a:cubicBezTo>
                <a:cubicBezTo>
                  <a:pt x="519" y="9"/>
                  <a:pt x="519" y="9"/>
                  <a:pt x="519" y="9"/>
                </a:cubicBezTo>
                <a:cubicBezTo>
                  <a:pt x="518" y="9"/>
                  <a:pt x="518" y="9"/>
                  <a:pt x="518" y="9"/>
                </a:cubicBezTo>
                <a:cubicBezTo>
                  <a:pt x="515" y="7"/>
                  <a:pt x="515" y="7"/>
                  <a:pt x="515" y="7"/>
                </a:cubicBezTo>
                <a:cubicBezTo>
                  <a:pt x="513" y="8"/>
                  <a:pt x="513" y="8"/>
                  <a:pt x="513" y="8"/>
                </a:cubicBezTo>
                <a:cubicBezTo>
                  <a:pt x="512" y="10"/>
                  <a:pt x="512" y="10"/>
                  <a:pt x="512" y="10"/>
                </a:cubicBezTo>
                <a:cubicBezTo>
                  <a:pt x="511" y="10"/>
                  <a:pt x="511" y="10"/>
                  <a:pt x="511" y="10"/>
                </a:cubicBezTo>
                <a:cubicBezTo>
                  <a:pt x="511" y="8"/>
                  <a:pt x="511" y="8"/>
                  <a:pt x="511" y="8"/>
                </a:cubicBezTo>
                <a:cubicBezTo>
                  <a:pt x="511" y="7"/>
                  <a:pt x="511" y="7"/>
                  <a:pt x="511" y="7"/>
                </a:cubicBezTo>
                <a:cubicBezTo>
                  <a:pt x="513" y="6"/>
                  <a:pt x="513" y="6"/>
                  <a:pt x="513" y="6"/>
                </a:cubicBezTo>
                <a:cubicBezTo>
                  <a:pt x="512" y="5"/>
                  <a:pt x="512" y="5"/>
                  <a:pt x="512" y="5"/>
                </a:cubicBezTo>
                <a:cubicBezTo>
                  <a:pt x="509" y="5"/>
                  <a:pt x="509" y="5"/>
                  <a:pt x="509" y="5"/>
                </a:cubicBezTo>
                <a:cubicBezTo>
                  <a:pt x="505" y="8"/>
                  <a:pt x="505" y="8"/>
                  <a:pt x="505" y="8"/>
                </a:cubicBezTo>
                <a:cubicBezTo>
                  <a:pt x="501" y="10"/>
                  <a:pt x="501" y="10"/>
                  <a:pt x="501" y="10"/>
                </a:cubicBezTo>
                <a:cubicBezTo>
                  <a:pt x="500" y="12"/>
                  <a:pt x="500" y="12"/>
                  <a:pt x="500" y="12"/>
                </a:cubicBezTo>
                <a:cubicBezTo>
                  <a:pt x="501" y="14"/>
                  <a:pt x="501" y="14"/>
                  <a:pt x="501" y="14"/>
                </a:cubicBezTo>
                <a:cubicBezTo>
                  <a:pt x="504" y="15"/>
                  <a:pt x="504" y="15"/>
                  <a:pt x="504" y="15"/>
                </a:cubicBezTo>
                <a:cubicBezTo>
                  <a:pt x="502" y="16"/>
                  <a:pt x="502" y="16"/>
                  <a:pt x="502" y="16"/>
                </a:cubicBezTo>
                <a:cubicBezTo>
                  <a:pt x="499" y="16"/>
                  <a:pt x="499" y="16"/>
                  <a:pt x="499" y="16"/>
                </a:cubicBezTo>
                <a:cubicBezTo>
                  <a:pt x="496" y="19"/>
                  <a:pt x="496" y="19"/>
                  <a:pt x="496" y="19"/>
                </a:cubicBezTo>
                <a:cubicBezTo>
                  <a:pt x="493" y="24"/>
                  <a:pt x="493" y="24"/>
                  <a:pt x="493" y="24"/>
                </a:cubicBezTo>
                <a:cubicBezTo>
                  <a:pt x="492" y="29"/>
                  <a:pt x="492" y="29"/>
                  <a:pt x="492" y="29"/>
                </a:cubicBezTo>
                <a:cubicBezTo>
                  <a:pt x="491" y="29"/>
                  <a:pt x="491" y="29"/>
                  <a:pt x="491" y="29"/>
                </a:cubicBezTo>
                <a:cubicBezTo>
                  <a:pt x="490" y="28"/>
                  <a:pt x="490" y="28"/>
                  <a:pt x="490" y="28"/>
                </a:cubicBezTo>
                <a:cubicBezTo>
                  <a:pt x="491" y="24"/>
                  <a:pt x="491" y="24"/>
                  <a:pt x="491" y="24"/>
                </a:cubicBezTo>
                <a:cubicBezTo>
                  <a:pt x="495" y="18"/>
                  <a:pt x="495" y="18"/>
                  <a:pt x="495" y="18"/>
                </a:cubicBezTo>
                <a:cubicBezTo>
                  <a:pt x="495" y="17"/>
                  <a:pt x="495" y="17"/>
                  <a:pt x="495" y="17"/>
                </a:cubicBezTo>
                <a:cubicBezTo>
                  <a:pt x="494" y="17"/>
                  <a:pt x="494" y="17"/>
                  <a:pt x="494" y="17"/>
                </a:cubicBezTo>
                <a:cubicBezTo>
                  <a:pt x="487" y="19"/>
                  <a:pt x="487" y="19"/>
                  <a:pt x="487" y="19"/>
                </a:cubicBezTo>
                <a:cubicBezTo>
                  <a:pt x="485" y="19"/>
                  <a:pt x="485" y="19"/>
                  <a:pt x="485" y="19"/>
                </a:cubicBezTo>
                <a:cubicBezTo>
                  <a:pt x="483" y="18"/>
                  <a:pt x="483" y="18"/>
                  <a:pt x="483" y="18"/>
                </a:cubicBezTo>
                <a:cubicBezTo>
                  <a:pt x="481" y="16"/>
                  <a:pt x="481" y="16"/>
                  <a:pt x="481" y="16"/>
                </a:cubicBezTo>
                <a:cubicBezTo>
                  <a:pt x="479" y="15"/>
                  <a:pt x="479" y="15"/>
                  <a:pt x="479" y="15"/>
                </a:cubicBezTo>
                <a:cubicBezTo>
                  <a:pt x="477" y="15"/>
                  <a:pt x="477" y="15"/>
                  <a:pt x="477" y="15"/>
                </a:cubicBezTo>
                <a:cubicBezTo>
                  <a:pt x="477" y="16"/>
                  <a:pt x="477" y="16"/>
                  <a:pt x="477" y="16"/>
                </a:cubicBezTo>
                <a:cubicBezTo>
                  <a:pt x="481" y="18"/>
                  <a:pt x="481" y="18"/>
                  <a:pt x="481" y="18"/>
                </a:cubicBezTo>
                <a:cubicBezTo>
                  <a:pt x="482" y="19"/>
                  <a:pt x="482" y="19"/>
                  <a:pt x="482" y="19"/>
                </a:cubicBezTo>
                <a:cubicBezTo>
                  <a:pt x="481" y="20"/>
                  <a:pt x="481" y="20"/>
                  <a:pt x="481" y="20"/>
                </a:cubicBezTo>
                <a:cubicBezTo>
                  <a:pt x="477" y="19"/>
                  <a:pt x="477" y="19"/>
                  <a:pt x="477" y="19"/>
                </a:cubicBezTo>
                <a:cubicBezTo>
                  <a:pt x="473" y="19"/>
                  <a:pt x="473" y="19"/>
                  <a:pt x="473" y="19"/>
                </a:cubicBezTo>
                <a:cubicBezTo>
                  <a:pt x="468" y="21"/>
                  <a:pt x="468" y="21"/>
                  <a:pt x="468" y="21"/>
                </a:cubicBezTo>
                <a:cubicBezTo>
                  <a:pt x="462" y="26"/>
                  <a:pt x="462" y="26"/>
                  <a:pt x="462" y="26"/>
                </a:cubicBezTo>
                <a:cubicBezTo>
                  <a:pt x="455" y="30"/>
                  <a:pt x="455" y="30"/>
                  <a:pt x="455" y="30"/>
                </a:cubicBezTo>
                <a:cubicBezTo>
                  <a:pt x="450" y="33"/>
                  <a:pt x="450" y="33"/>
                  <a:pt x="450" y="33"/>
                </a:cubicBezTo>
                <a:cubicBezTo>
                  <a:pt x="445" y="38"/>
                  <a:pt x="445" y="38"/>
                  <a:pt x="445" y="38"/>
                </a:cubicBezTo>
                <a:cubicBezTo>
                  <a:pt x="439" y="43"/>
                  <a:pt x="439" y="43"/>
                  <a:pt x="439" y="43"/>
                </a:cubicBezTo>
                <a:cubicBezTo>
                  <a:pt x="435" y="45"/>
                  <a:pt x="435" y="45"/>
                  <a:pt x="435" y="45"/>
                </a:cubicBezTo>
                <a:cubicBezTo>
                  <a:pt x="433" y="45"/>
                  <a:pt x="433" y="45"/>
                  <a:pt x="433" y="45"/>
                </a:cubicBezTo>
                <a:cubicBezTo>
                  <a:pt x="429" y="47"/>
                  <a:pt x="429" y="47"/>
                  <a:pt x="429" y="47"/>
                </a:cubicBezTo>
                <a:cubicBezTo>
                  <a:pt x="427" y="48"/>
                  <a:pt x="427" y="48"/>
                  <a:pt x="427" y="48"/>
                </a:cubicBezTo>
                <a:cubicBezTo>
                  <a:pt x="422" y="50"/>
                  <a:pt x="422" y="50"/>
                  <a:pt x="422" y="50"/>
                </a:cubicBezTo>
                <a:cubicBezTo>
                  <a:pt x="419" y="50"/>
                  <a:pt x="419" y="50"/>
                  <a:pt x="419" y="50"/>
                </a:cubicBezTo>
                <a:cubicBezTo>
                  <a:pt x="417" y="49"/>
                  <a:pt x="417" y="49"/>
                  <a:pt x="417" y="49"/>
                </a:cubicBezTo>
                <a:cubicBezTo>
                  <a:pt x="413" y="49"/>
                  <a:pt x="413" y="49"/>
                  <a:pt x="413" y="49"/>
                </a:cubicBezTo>
                <a:cubicBezTo>
                  <a:pt x="410" y="46"/>
                  <a:pt x="410" y="46"/>
                  <a:pt x="410" y="46"/>
                </a:cubicBezTo>
                <a:cubicBezTo>
                  <a:pt x="408" y="45"/>
                  <a:pt x="408" y="45"/>
                  <a:pt x="408" y="45"/>
                </a:cubicBezTo>
                <a:cubicBezTo>
                  <a:pt x="404" y="43"/>
                  <a:pt x="404" y="43"/>
                  <a:pt x="404" y="43"/>
                </a:cubicBezTo>
                <a:cubicBezTo>
                  <a:pt x="402" y="44"/>
                  <a:pt x="402" y="44"/>
                  <a:pt x="402" y="44"/>
                </a:cubicBezTo>
                <a:cubicBezTo>
                  <a:pt x="400" y="46"/>
                  <a:pt x="400" y="46"/>
                  <a:pt x="400" y="46"/>
                </a:cubicBezTo>
                <a:cubicBezTo>
                  <a:pt x="395" y="51"/>
                  <a:pt x="395" y="51"/>
                  <a:pt x="395" y="51"/>
                </a:cubicBezTo>
                <a:cubicBezTo>
                  <a:pt x="394" y="54"/>
                  <a:pt x="394" y="54"/>
                  <a:pt x="394" y="54"/>
                </a:cubicBezTo>
                <a:cubicBezTo>
                  <a:pt x="392" y="56"/>
                  <a:pt x="392" y="56"/>
                  <a:pt x="392" y="56"/>
                </a:cubicBezTo>
                <a:cubicBezTo>
                  <a:pt x="390" y="59"/>
                  <a:pt x="390" y="59"/>
                  <a:pt x="390" y="59"/>
                </a:cubicBezTo>
                <a:cubicBezTo>
                  <a:pt x="389" y="59"/>
                  <a:pt x="389" y="59"/>
                  <a:pt x="389" y="59"/>
                </a:cubicBezTo>
                <a:cubicBezTo>
                  <a:pt x="387" y="58"/>
                  <a:pt x="387" y="58"/>
                  <a:pt x="387" y="58"/>
                </a:cubicBezTo>
                <a:cubicBezTo>
                  <a:pt x="386" y="59"/>
                  <a:pt x="386" y="59"/>
                  <a:pt x="386" y="59"/>
                </a:cubicBezTo>
                <a:cubicBezTo>
                  <a:pt x="388" y="64"/>
                  <a:pt x="388" y="64"/>
                  <a:pt x="388" y="64"/>
                </a:cubicBezTo>
                <a:cubicBezTo>
                  <a:pt x="391" y="75"/>
                  <a:pt x="391" y="75"/>
                  <a:pt x="391" y="75"/>
                </a:cubicBezTo>
                <a:cubicBezTo>
                  <a:pt x="394" y="83"/>
                  <a:pt x="394" y="83"/>
                  <a:pt x="394" y="83"/>
                </a:cubicBezTo>
                <a:cubicBezTo>
                  <a:pt x="395" y="90"/>
                  <a:pt x="395" y="90"/>
                  <a:pt x="395" y="90"/>
                </a:cubicBezTo>
                <a:cubicBezTo>
                  <a:pt x="394" y="97"/>
                  <a:pt x="394" y="97"/>
                  <a:pt x="394" y="97"/>
                </a:cubicBezTo>
                <a:cubicBezTo>
                  <a:pt x="392" y="102"/>
                  <a:pt x="392" y="102"/>
                  <a:pt x="392" y="102"/>
                </a:cubicBezTo>
                <a:cubicBezTo>
                  <a:pt x="389" y="105"/>
                  <a:pt x="389" y="105"/>
                  <a:pt x="389" y="105"/>
                </a:cubicBezTo>
                <a:cubicBezTo>
                  <a:pt x="389" y="107"/>
                  <a:pt x="389" y="107"/>
                  <a:pt x="389" y="107"/>
                </a:cubicBezTo>
                <a:cubicBezTo>
                  <a:pt x="394" y="112"/>
                  <a:pt x="394" y="112"/>
                  <a:pt x="394" y="112"/>
                </a:cubicBezTo>
                <a:cubicBezTo>
                  <a:pt x="397" y="113"/>
                  <a:pt x="397" y="113"/>
                  <a:pt x="397" y="113"/>
                </a:cubicBezTo>
                <a:cubicBezTo>
                  <a:pt x="396" y="111"/>
                  <a:pt x="396" y="111"/>
                  <a:pt x="396" y="111"/>
                </a:cubicBezTo>
                <a:cubicBezTo>
                  <a:pt x="398" y="112"/>
                  <a:pt x="398" y="112"/>
                  <a:pt x="398" y="112"/>
                </a:cubicBezTo>
                <a:cubicBezTo>
                  <a:pt x="400" y="111"/>
                  <a:pt x="400" y="111"/>
                  <a:pt x="400" y="111"/>
                </a:cubicBezTo>
                <a:cubicBezTo>
                  <a:pt x="401" y="111"/>
                  <a:pt x="401" y="111"/>
                  <a:pt x="401" y="111"/>
                </a:cubicBezTo>
                <a:cubicBezTo>
                  <a:pt x="400" y="112"/>
                  <a:pt x="400" y="112"/>
                  <a:pt x="400" y="112"/>
                </a:cubicBezTo>
                <a:cubicBezTo>
                  <a:pt x="399" y="114"/>
                  <a:pt x="399" y="114"/>
                  <a:pt x="399" y="114"/>
                </a:cubicBezTo>
                <a:cubicBezTo>
                  <a:pt x="405" y="118"/>
                  <a:pt x="405" y="118"/>
                  <a:pt x="405" y="118"/>
                </a:cubicBezTo>
                <a:cubicBezTo>
                  <a:pt x="404" y="119"/>
                  <a:pt x="404" y="119"/>
                  <a:pt x="404" y="119"/>
                </a:cubicBezTo>
                <a:cubicBezTo>
                  <a:pt x="401" y="119"/>
                  <a:pt x="401" y="119"/>
                  <a:pt x="401" y="119"/>
                </a:cubicBezTo>
                <a:cubicBezTo>
                  <a:pt x="401" y="121"/>
                  <a:pt x="401" y="121"/>
                  <a:pt x="401" y="121"/>
                </a:cubicBezTo>
                <a:cubicBezTo>
                  <a:pt x="400" y="127"/>
                  <a:pt x="400" y="127"/>
                  <a:pt x="400" y="127"/>
                </a:cubicBezTo>
                <a:cubicBezTo>
                  <a:pt x="401" y="130"/>
                  <a:pt x="401" y="130"/>
                  <a:pt x="401" y="130"/>
                </a:cubicBezTo>
                <a:cubicBezTo>
                  <a:pt x="402" y="131"/>
                  <a:pt x="402" y="131"/>
                  <a:pt x="402" y="131"/>
                </a:cubicBezTo>
                <a:cubicBezTo>
                  <a:pt x="404" y="129"/>
                  <a:pt x="404" y="129"/>
                  <a:pt x="404" y="129"/>
                </a:cubicBezTo>
                <a:cubicBezTo>
                  <a:pt x="406" y="129"/>
                  <a:pt x="406" y="129"/>
                  <a:pt x="406" y="129"/>
                </a:cubicBezTo>
                <a:cubicBezTo>
                  <a:pt x="408" y="129"/>
                  <a:pt x="408" y="129"/>
                  <a:pt x="408" y="129"/>
                </a:cubicBezTo>
                <a:cubicBezTo>
                  <a:pt x="409" y="131"/>
                  <a:pt x="409" y="131"/>
                  <a:pt x="409" y="131"/>
                </a:cubicBezTo>
                <a:cubicBezTo>
                  <a:pt x="412" y="130"/>
                  <a:pt x="412" y="130"/>
                  <a:pt x="412" y="130"/>
                </a:cubicBezTo>
                <a:cubicBezTo>
                  <a:pt x="416" y="131"/>
                  <a:pt x="416" y="131"/>
                  <a:pt x="416" y="131"/>
                </a:cubicBezTo>
                <a:cubicBezTo>
                  <a:pt x="419" y="133"/>
                  <a:pt x="419" y="133"/>
                  <a:pt x="419" y="133"/>
                </a:cubicBezTo>
                <a:cubicBezTo>
                  <a:pt x="416" y="135"/>
                  <a:pt x="416" y="135"/>
                  <a:pt x="416" y="135"/>
                </a:cubicBezTo>
                <a:cubicBezTo>
                  <a:pt x="417" y="137"/>
                  <a:pt x="417" y="137"/>
                  <a:pt x="417" y="137"/>
                </a:cubicBezTo>
                <a:cubicBezTo>
                  <a:pt x="416" y="140"/>
                  <a:pt x="416" y="140"/>
                  <a:pt x="416" y="140"/>
                </a:cubicBezTo>
                <a:cubicBezTo>
                  <a:pt x="412" y="140"/>
                  <a:pt x="412" y="140"/>
                  <a:pt x="412" y="140"/>
                </a:cubicBezTo>
                <a:cubicBezTo>
                  <a:pt x="412" y="139"/>
                  <a:pt x="412" y="139"/>
                  <a:pt x="412" y="139"/>
                </a:cubicBezTo>
                <a:cubicBezTo>
                  <a:pt x="410" y="137"/>
                  <a:pt x="410" y="137"/>
                  <a:pt x="410" y="137"/>
                </a:cubicBezTo>
                <a:cubicBezTo>
                  <a:pt x="409" y="138"/>
                  <a:pt x="409" y="138"/>
                  <a:pt x="409" y="138"/>
                </a:cubicBezTo>
                <a:cubicBezTo>
                  <a:pt x="405" y="138"/>
                  <a:pt x="405" y="138"/>
                  <a:pt x="405" y="138"/>
                </a:cubicBezTo>
                <a:cubicBezTo>
                  <a:pt x="404" y="136"/>
                  <a:pt x="404" y="136"/>
                  <a:pt x="404" y="136"/>
                </a:cubicBezTo>
                <a:cubicBezTo>
                  <a:pt x="403" y="133"/>
                  <a:pt x="403" y="133"/>
                  <a:pt x="403" y="133"/>
                </a:cubicBezTo>
                <a:cubicBezTo>
                  <a:pt x="401" y="132"/>
                  <a:pt x="401" y="132"/>
                  <a:pt x="401" y="132"/>
                </a:cubicBezTo>
                <a:cubicBezTo>
                  <a:pt x="400" y="132"/>
                  <a:pt x="400" y="132"/>
                  <a:pt x="400" y="132"/>
                </a:cubicBezTo>
                <a:cubicBezTo>
                  <a:pt x="397" y="130"/>
                  <a:pt x="397" y="130"/>
                  <a:pt x="397" y="130"/>
                </a:cubicBezTo>
                <a:cubicBezTo>
                  <a:pt x="397" y="126"/>
                  <a:pt x="397" y="126"/>
                  <a:pt x="397" y="126"/>
                </a:cubicBezTo>
                <a:cubicBezTo>
                  <a:pt x="400" y="119"/>
                  <a:pt x="400" y="119"/>
                  <a:pt x="400" y="119"/>
                </a:cubicBezTo>
                <a:cubicBezTo>
                  <a:pt x="399" y="117"/>
                  <a:pt x="399" y="117"/>
                  <a:pt x="399" y="117"/>
                </a:cubicBezTo>
                <a:cubicBezTo>
                  <a:pt x="398" y="117"/>
                  <a:pt x="398" y="117"/>
                  <a:pt x="398" y="117"/>
                </a:cubicBezTo>
                <a:cubicBezTo>
                  <a:pt x="396" y="119"/>
                  <a:pt x="396" y="119"/>
                  <a:pt x="396" y="119"/>
                </a:cubicBezTo>
                <a:cubicBezTo>
                  <a:pt x="396" y="126"/>
                  <a:pt x="396" y="126"/>
                  <a:pt x="396" y="126"/>
                </a:cubicBezTo>
                <a:cubicBezTo>
                  <a:pt x="395" y="131"/>
                  <a:pt x="395" y="131"/>
                  <a:pt x="395" y="131"/>
                </a:cubicBezTo>
                <a:cubicBezTo>
                  <a:pt x="393" y="133"/>
                  <a:pt x="393" y="133"/>
                  <a:pt x="393" y="133"/>
                </a:cubicBezTo>
                <a:cubicBezTo>
                  <a:pt x="393" y="135"/>
                  <a:pt x="393" y="135"/>
                  <a:pt x="393" y="135"/>
                </a:cubicBezTo>
                <a:cubicBezTo>
                  <a:pt x="394" y="133"/>
                  <a:pt x="394" y="133"/>
                  <a:pt x="394" y="133"/>
                </a:cubicBezTo>
                <a:cubicBezTo>
                  <a:pt x="396" y="133"/>
                  <a:pt x="396" y="133"/>
                  <a:pt x="396" y="133"/>
                </a:cubicBezTo>
                <a:cubicBezTo>
                  <a:pt x="397" y="134"/>
                  <a:pt x="397" y="134"/>
                  <a:pt x="397" y="134"/>
                </a:cubicBezTo>
                <a:cubicBezTo>
                  <a:pt x="400" y="134"/>
                  <a:pt x="400" y="134"/>
                  <a:pt x="400" y="134"/>
                </a:cubicBezTo>
                <a:cubicBezTo>
                  <a:pt x="401" y="137"/>
                  <a:pt x="401" y="137"/>
                  <a:pt x="401" y="137"/>
                </a:cubicBezTo>
                <a:cubicBezTo>
                  <a:pt x="401" y="141"/>
                  <a:pt x="401" y="141"/>
                  <a:pt x="401" y="141"/>
                </a:cubicBezTo>
                <a:cubicBezTo>
                  <a:pt x="399" y="144"/>
                  <a:pt x="399" y="144"/>
                  <a:pt x="399" y="144"/>
                </a:cubicBezTo>
                <a:cubicBezTo>
                  <a:pt x="395" y="145"/>
                  <a:pt x="395" y="145"/>
                  <a:pt x="395" y="145"/>
                </a:cubicBezTo>
                <a:cubicBezTo>
                  <a:pt x="398" y="141"/>
                  <a:pt x="398" y="141"/>
                  <a:pt x="398" y="141"/>
                </a:cubicBezTo>
                <a:cubicBezTo>
                  <a:pt x="398" y="140"/>
                  <a:pt x="398" y="140"/>
                  <a:pt x="398" y="140"/>
                </a:cubicBezTo>
                <a:cubicBezTo>
                  <a:pt x="397" y="139"/>
                  <a:pt x="397" y="139"/>
                  <a:pt x="397" y="139"/>
                </a:cubicBezTo>
                <a:cubicBezTo>
                  <a:pt x="396" y="138"/>
                  <a:pt x="396" y="138"/>
                  <a:pt x="396" y="138"/>
                </a:cubicBezTo>
                <a:cubicBezTo>
                  <a:pt x="394" y="139"/>
                  <a:pt x="394" y="139"/>
                  <a:pt x="394" y="139"/>
                </a:cubicBezTo>
                <a:cubicBezTo>
                  <a:pt x="390" y="142"/>
                  <a:pt x="390" y="142"/>
                  <a:pt x="390" y="142"/>
                </a:cubicBezTo>
                <a:cubicBezTo>
                  <a:pt x="390" y="144"/>
                  <a:pt x="390" y="144"/>
                  <a:pt x="390" y="144"/>
                </a:cubicBezTo>
                <a:cubicBezTo>
                  <a:pt x="388" y="145"/>
                  <a:pt x="388" y="145"/>
                  <a:pt x="388" y="145"/>
                </a:cubicBezTo>
                <a:cubicBezTo>
                  <a:pt x="386" y="146"/>
                  <a:pt x="386" y="146"/>
                  <a:pt x="386" y="146"/>
                </a:cubicBezTo>
                <a:cubicBezTo>
                  <a:pt x="385" y="144"/>
                  <a:pt x="385" y="144"/>
                  <a:pt x="385" y="144"/>
                </a:cubicBezTo>
                <a:cubicBezTo>
                  <a:pt x="384" y="143"/>
                  <a:pt x="384" y="143"/>
                  <a:pt x="384" y="143"/>
                </a:cubicBezTo>
                <a:cubicBezTo>
                  <a:pt x="381" y="143"/>
                  <a:pt x="381" y="143"/>
                  <a:pt x="381" y="143"/>
                </a:cubicBezTo>
                <a:cubicBezTo>
                  <a:pt x="380" y="143"/>
                  <a:pt x="380" y="143"/>
                  <a:pt x="380" y="143"/>
                </a:cubicBezTo>
                <a:cubicBezTo>
                  <a:pt x="379" y="140"/>
                  <a:pt x="379" y="140"/>
                  <a:pt x="379" y="140"/>
                </a:cubicBezTo>
                <a:cubicBezTo>
                  <a:pt x="378" y="140"/>
                  <a:pt x="378" y="140"/>
                  <a:pt x="378" y="140"/>
                </a:cubicBezTo>
                <a:cubicBezTo>
                  <a:pt x="376" y="140"/>
                  <a:pt x="376" y="140"/>
                  <a:pt x="376" y="140"/>
                </a:cubicBezTo>
                <a:cubicBezTo>
                  <a:pt x="374" y="140"/>
                  <a:pt x="374" y="140"/>
                  <a:pt x="374" y="140"/>
                </a:cubicBezTo>
                <a:cubicBezTo>
                  <a:pt x="374" y="138"/>
                  <a:pt x="374" y="138"/>
                  <a:pt x="374" y="138"/>
                </a:cubicBezTo>
                <a:cubicBezTo>
                  <a:pt x="372" y="137"/>
                  <a:pt x="372" y="137"/>
                  <a:pt x="372" y="137"/>
                </a:cubicBezTo>
                <a:cubicBezTo>
                  <a:pt x="371" y="138"/>
                  <a:pt x="371" y="138"/>
                  <a:pt x="371" y="138"/>
                </a:cubicBezTo>
                <a:cubicBezTo>
                  <a:pt x="369" y="138"/>
                  <a:pt x="369" y="138"/>
                  <a:pt x="369" y="138"/>
                </a:cubicBezTo>
                <a:cubicBezTo>
                  <a:pt x="369" y="135"/>
                  <a:pt x="369" y="135"/>
                  <a:pt x="369" y="135"/>
                </a:cubicBezTo>
                <a:cubicBezTo>
                  <a:pt x="368" y="133"/>
                  <a:pt x="368" y="133"/>
                  <a:pt x="368" y="133"/>
                </a:cubicBezTo>
                <a:cubicBezTo>
                  <a:pt x="368" y="132"/>
                  <a:pt x="368" y="132"/>
                  <a:pt x="368" y="132"/>
                </a:cubicBezTo>
                <a:cubicBezTo>
                  <a:pt x="371" y="131"/>
                  <a:pt x="371" y="131"/>
                  <a:pt x="371" y="131"/>
                </a:cubicBezTo>
                <a:cubicBezTo>
                  <a:pt x="373" y="127"/>
                  <a:pt x="373" y="127"/>
                  <a:pt x="373" y="127"/>
                </a:cubicBezTo>
                <a:cubicBezTo>
                  <a:pt x="375" y="127"/>
                  <a:pt x="375" y="127"/>
                  <a:pt x="375" y="127"/>
                </a:cubicBezTo>
                <a:cubicBezTo>
                  <a:pt x="376" y="125"/>
                  <a:pt x="376" y="125"/>
                  <a:pt x="376" y="125"/>
                </a:cubicBezTo>
                <a:cubicBezTo>
                  <a:pt x="376" y="124"/>
                  <a:pt x="376" y="124"/>
                  <a:pt x="376" y="124"/>
                </a:cubicBezTo>
                <a:cubicBezTo>
                  <a:pt x="373" y="120"/>
                  <a:pt x="373" y="120"/>
                  <a:pt x="373" y="120"/>
                </a:cubicBezTo>
                <a:cubicBezTo>
                  <a:pt x="371" y="120"/>
                  <a:pt x="371" y="120"/>
                  <a:pt x="371" y="120"/>
                </a:cubicBezTo>
                <a:cubicBezTo>
                  <a:pt x="368" y="119"/>
                  <a:pt x="368" y="119"/>
                  <a:pt x="368" y="119"/>
                </a:cubicBezTo>
                <a:cubicBezTo>
                  <a:pt x="365" y="122"/>
                  <a:pt x="365" y="122"/>
                  <a:pt x="365" y="122"/>
                </a:cubicBezTo>
                <a:cubicBezTo>
                  <a:pt x="362" y="122"/>
                  <a:pt x="362" y="122"/>
                  <a:pt x="362" y="122"/>
                </a:cubicBezTo>
                <a:cubicBezTo>
                  <a:pt x="360" y="120"/>
                  <a:pt x="360" y="120"/>
                  <a:pt x="360" y="120"/>
                </a:cubicBezTo>
                <a:cubicBezTo>
                  <a:pt x="358" y="120"/>
                  <a:pt x="358" y="120"/>
                  <a:pt x="358" y="120"/>
                </a:cubicBezTo>
                <a:cubicBezTo>
                  <a:pt x="351" y="123"/>
                  <a:pt x="351" y="123"/>
                  <a:pt x="351" y="123"/>
                </a:cubicBezTo>
                <a:cubicBezTo>
                  <a:pt x="350" y="125"/>
                  <a:pt x="350" y="125"/>
                  <a:pt x="350" y="125"/>
                </a:cubicBezTo>
                <a:cubicBezTo>
                  <a:pt x="352" y="126"/>
                  <a:pt x="352" y="126"/>
                  <a:pt x="352" y="126"/>
                </a:cubicBezTo>
                <a:cubicBezTo>
                  <a:pt x="354" y="128"/>
                  <a:pt x="354" y="128"/>
                  <a:pt x="354" y="128"/>
                </a:cubicBezTo>
                <a:cubicBezTo>
                  <a:pt x="354" y="129"/>
                  <a:pt x="354" y="129"/>
                  <a:pt x="354" y="129"/>
                </a:cubicBezTo>
                <a:cubicBezTo>
                  <a:pt x="352" y="129"/>
                  <a:pt x="352" y="129"/>
                  <a:pt x="352" y="129"/>
                </a:cubicBezTo>
                <a:cubicBezTo>
                  <a:pt x="350" y="129"/>
                  <a:pt x="350" y="129"/>
                  <a:pt x="350" y="129"/>
                </a:cubicBezTo>
                <a:cubicBezTo>
                  <a:pt x="349" y="127"/>
                  <a:pt x="349" y="127"/>
                  <a:pt x="349" y="127"/>
                </a:cubicBezTo>
                <a:cubicBezTo>
                  <a:pt x="347" y="127"/>
                  <a:pt x="347" y="127"/>
                  <a:pt x="347" y="127"/>
                </a:cubicBezTo>
                <a:cubicBezTo>
                  <a:pt x="342" y="126"/>
                  <a:pt x="342" y="126"/>
                  <a:pt x="342" y="126"/>
                </a:cubicBezTo>
                <a:cubicBezTo>
                  <a:pt x="338" y="127"/>
                  <a:pt x="338" y="127"/>
                  <a:pt x="338" y="127"/>
                </a:cubicBezTo>
                <a:cubicBezTo>
                  <a:pt x="336" y="128"/>
                  <a:pt x="336" y="128"/>
                  <a:pt x="336" y="128"/>
                </a:cubicBezTo>
                <a:cubicBezTo>
                  <a:pt x="336" y="129"/>
                  <a:pt x="336" y="129"/>
                  <a:pt x="336" y="129"/>
                </a:cubicBezTo>
                <a:cubicBezTo>
                  <a:pt x="333" y="129"/>
                  <a:pt x="333" y="129"/>
                  <a:pt x="333" y="129"/>
                </a:cubicBezTo>
                <a:cubicBezTo>
                  <a:pt x="333" y="129"/>
                  <a:pt x="333" y="129"/>
                  <a:pt x="333" y="129"/>
                </a:cubicBezTo>
                <a:cubicBezTo>
                  <a:pt x="331" y="129"/>
                  <a:pt x="331" y="129"/>
                  <a:pt x="331" y="129"/>
                </a:cubicBezTo>
                <a:cubicBezTo>
                  <a:pt x="328" y="131"/>
                  <a:pt x="328" y="131"/>
                  <a:pt x="328" y="131"/>
                </a:cubicBezTo>
                <a:cubicBezTo>
                  <a:pt x="328" y="132"/>
                  <a:pt x="328" y="132"/>
                  <a:pt x="328" y="132"/>
                </a:cubicBezTo>
                <a:cubicBezTo>
                  <a:pt x="326" y="133"/>
                  <a:pt x="326" y="133"/>
                  <a:pt x="326" y="133"/>
                </a:cubicBezTo>
                <a:cubicBezTo>
                  <a:pt x="322" y="134"/>
                  <a:pt x="322" y="134"/>
                  <a:pt x="322" y="134"/>
                </a:cubicBezTo>
                <a:cubicBezTo>
                  <a:pt x="319" y="136"/>
                  <a:pt x="319" y="136"/>
                  <a:pt x="319" y="136"/>
                </a:cubicBezTo>
                <a:cubicBezTo>
                  <a:pt x="318" y="136"/>
                  <a:pt x="318" y="136"/>
                  <a:pt x="318" y="136"/>
                </a:cubicBezTo>
                <a:cubicBezTo>
                  <a:pt x="319" y="135"/>
                  <a:pt x="319" y="135"/>
                  <a:pt x="319" y="135"/>
                </a:cubicBezTo>
                <a:cubicBezTo>
                  <a:pt x="319" y="134"/>
                  <a:pt x="319" y="134"/>
                  <a:pt x="319" y="134"/>
                </a:cubicBezTo>
                <a:cubicBezTo>
                  <a:pt x="317" y="135"/>
                  <a:pt x="317" y="135"/>
                  <a:pt x="317" y="135"/>
                </a:cubicBezTo>
                <a:cubicBezTo>
                  <a:pt x="315" y="138"/>
                  <a:pt x="315" y="138"/>
                  <a:pt x="315" y="138"/>
                </a:cubicBezTo>
                <a:cubicBezTo>
                  <a:pt x="315" y="138"/>
                  <a:pt x="315" y="138"/>
                  <a:pt x="315" y="138"/>
                </a:cubicBezTo>
                <a:cubicBezTo>
                  <a:pt x="318" y="143"/>
                  <a:pt x="318" y="143"/>
                  <a:pt x="318" y="143"/>
                </a:cubicBezTo>
                <a:cubicBezTo>
                  <a:pt x="322" y="148"/>
                  <a:pt x="322" y="148"/>
                  <a:pt x="322" y="148"/>
                </a:cubicBezTo>
                <a:cubicBezTo>
                  <a:pt x="325" y="148"/>
                  <a:pt x="325" y="148"/>
                  <a:pt x="325" y="148"/>
                </a:cubicBezTo>
                <a:cubicBezTo>
                  <a:pt x="328" y="152"/>
                  <a:pt x="328" y="152"/>
                  <a:pt x="328" y="152"/>
                </a:cubicBezTo>
                <a:cubicBezTo>
                  <a:pt x="330" y="153"/>
                  <a:pt x="330" y="153"/>
                  <a:pt x="330" y="153"/>
                </a:cubicBezTo>
                <a:cubicBezTo>
                  <a:pt x="331" y="156"/>
                  <a:pt x="331" y="156"/>
                  <a:pt x="331" y="156"/>
                </a:cubicBezTo>
                <a:cubicBezTo>
                  <a:pt x="334" y="157"/>
                  <a:pt x="334" y="157"/>
                  <a:pt x="334" y="157"/>
                </a:cubicBezTo>
                <a:cubicBezTo>
                  <a:pt x="337" y="158"/>
                  <a:pt x="337" y="158"/>
                  <a:pt x="337" y="158"/>
                </a:cubicBezTo>
                <a:cubicBezTo>
                  <a:pt x="336" y="159"/>
                  <a:pt x="336" y="159"/>
                  <a:pt x="336" y="159"/>
                </a:cubicBezTo>
                <a:cubicBezTo>
                  <a:pt x="332" y="159"/>
                  <a:pt x="332" y="159"/>
                  <a:pt x="332" y="159"/>
                </a:cubicBezTo>
                <a:cubicBezTo>
                  <a:pt x="331" y="157"/>
                  <a:pt x="331" y="157"/>
                  <a:pt x="331" y="157"/>
                </a:cubicBezTo>
                <a:cubicBezTo>
                  <a:pt x="328" y="155"/>
                  <a:pt x="328" y="155"/>
                  <a:pt x="328" y="155"/>
                </a:cubicBezTo>
                <a:cubicBezTo>
                  <a:pt x="327" y="153"/>
                  <a:pt x="327" y="153"/>
                  <a:pt x="327" y="153"/>
                </a:cubicBezTo>
                <a:cubicBezTo>
                  <a:pt x="325" y="154"/>
                  <a:pt x="325" y="154"/>
                  <a:pt x="325" y="154"/>
                </a:cubicBezTo>
                <a:cubicBezTo>
                  <a:pt x="323" y="156"/>
                  <a:pt x="323" y="156"/>
                  <a:pt x="323" y="156"/>
                </a:cubicBezTo>
                <a:cubicBezTo>
                  <a:pt x="321" y="156"/>
                  <a:pt x="321" y="156"/>
                  <a:pt x="321" y="156"/>
                </a:cubicBezTo>
                <a:cubicBezTo>
                  <a:pt x="320" y="154"/>
                  <a:pt x="320" y="154"/>
                  <a:pt x="320" y="154"/>
                </a:cubicBezTo>
                <a:cubicBezTo>
                  <a:pt x="322" y="152"/>
                  <a:pt x="322" y="152"/>
                  <a:pt x="322" y="152"/>
                </a:cubicBezTo>
                <a:cubicBezTo>
                  <a:pt x="322" y="151"/>
                  <a:pt x="322" y="151"/>
                  <a:pt x="322" y="151"/>
                </a:cubicBezTo>
                <a:cubicBezTo>
                  <a:pt x="320" y="151"/>
                  <a:pt x="320" y="151"/>
                  <a:pt x="320" y="151"/>
                </a:cubicBezTo>
                <a:cubicBezTo>
                  <a:pt x="318" y="154"/>
                  <a:pt x="318" y="154"/>
                  <a:pt x="318" y="154"/>
                </a:cubicBezTo>
                <a:cubicBezTo>
                  <a:pt x="318" y="158"/>
                  <a:pt x="318" y="158"/>
                  <a:pt x="318" y="158"/>
                </a:cubicBezTo>
                <a:cubicBezTo>
                  <a:pt x="319" y="159"/>
                  <a:pt x="319" y="159"/>
                  <a:pt x="319" y="159"/>
                </a:cubicBezTo>
                <a:cubicBezTo>
                  <a:pt x="319" y="161"/>
                  <a:pt x="319" y="161"/>
                  <a:pt x="319" y="161"/>
                </a:cubicBezTo>
                <a:cubicBezTo>
                  <a:pt x="317" y="164"/>
                  <a:pt x="317" y="164"/>
                  <a:pt x="317" y="164"/>
                </a:cubicBezTo>
                <a:cubicBezTo>
                  <a:pt x="315" y="167"/>
                  <a:pt x="315" y="167"/>
                  <a:pt x="315" y="167"/>
                </a:cubicBezTo>
                <a:cubicBezTo>
                  <a:pt x="314" y="170"/>
                  <a:pt x="314" y="170"/>
                  <a:pt x="314" y="170"/>
                </a:cubicBezTo>
                <a:cubicBezTo>
                  <a:pt x="314" y="173"/>
                  <a:pt x="314" y="173"/>
                  <a:pt x="314" y="173"/>
                </a:cubicBezTo>
                <a:cubicBezTo>
                  <a:pt x="319" y="178"/>
                  <a:pt x="319" y="178"/>
                  <a:pt x="319" y="178"/>
                </a:cubicBezTo>
                <a:cubicBezTo>
                  <a:pt x="323" y="180"/>
                  <a:pt x="323" y="180"/>
                  <a:pt x="323" y="180"/>
                </a:cubicBezTo>
                <a:cubicBezTo>
                  <a:pt x="325" y="183"/>
                  <a:pt x="325" y="183"/>
                  <a:pt x="325" y="183"/>
                </a:cubicBezTo>
                <a:cubicBezTo>
                  <a:pt x="327" y="183"/>
                  <a:pt x="327" y="183"/>
                  <a:pt x="327" y="183"/>
                </a:cubicBezTo>
                <a:cubicBezTo>
                  <a:pt x="330" y="180"/>
                  <a:pt x="330" y="180"/>
                  <a:pt x="330" y="180"/>
                </a:cubicBezTo>
                <a:cubicBezTo>
                  <a:pt x="333" y="179"/>
                  <a:pt x="333" y="179"/>
                  <a:pt x="333" y="179"/>
                </a:cubicBezTo>
                <a:cubicBezTo>
                  <a:pt x="336" y="181"/>
                  <a:pt x="336" y="181"/>
                  <a:pt x="336" y="181"/>
                </a:cubicBezTo>
                <a:cubicBezTo>
                  <a:pt x="342" y="182"/>
                  <a:pt x="342" y="182"/>
                  <a:pt x="342" y="182"/>
                </a:cubicBezTo>
                <a:cubicBezTo>
                  <a:pt x="344" y="183"/>
                  <a:pt x="344" y="183"/>
                  <a:pt x="344" y="183"/>
                </a:cubicBezTo>
                <a:cubicBezTo>
                  <a:pt x="345" y="186"/>
                  <a:pt x="345" y="186"/>
                  <a:pt x="345" y="186"/>
                </a:cubicBezTo>
                <a:cubicBezTo>
                  <a:pt x="346" y="187"/>
                  <a:pt x="346" y="187"/>
                  <a:pt x="346" y="187"/>
                </a:cubicBezTo>
                <a:cubicBezTo>
                  <a:pt x="347" y="185"/>
                  <a:pt x="347" y="185"/>
                  <a:pt x="347" y="185"/>
                </a:cubicBezTo>
                <a:cubicBezTo>
                  <a:pt x="347" y="182"/>
                  <a:pt x="347" y="182"/>
                  <a:pt x="347" y="182"/>
                </a:cubicBezTo>
                <a:cubicBezTo>
                  <a:pt x="348" y="181"/>
                  <a:pt x="348" y="181"/>
                  <a:pt x="348" y="181"/>
                </a:cubicBezTo>
                <a:cubicBezTo>
                  <a:pt x="350" y="182"/>
                  <a:pt x="350" y="182"/>
                  <a:pt x="350" y="182"/>
                </a:cubicBezTo>
                <a:cubicBezTo>
                  <a:pt x="350" y="183"/>
                  <a:pt x="350" y="183"/>
                  <a:pt x="350" y="183"/>
                </a:cubicBezTo>
                <a:cubicBezTo>
                  <a:pt x="347" y="186"/>
                  <a:pt x="347" y="186"/>
                  <a:pt x="347" y="186"/>
                </a:cubicBezTo>
                <a:cubicBezTo>
                  <a:pt x="348" y="189"/>
                  <a:pt x="348" y="189"/>
                  <a:pt x="348" y="189"/>
                </a:cubicBezTo>
                <a:cubicBezTo>
                  <a:pt x="349" y="189"/>
                  <a:pt x="349" y="189"/>
                  <a:pt x="349" y="189"/>
                </a:cubicBezTo>
                <a:cubicBezTo>
                  <a:pt x="352" y="186"/>
                  <a:pt x="352" y="186"/>
                  <a:pt x="352" y="186"/>
                </a:cubicBezTo>
                <a:cubicBezTo>
                  <a:pt x="353" y="184"/>
                  <a:pt x="353" y="184"/>
                  <a:pt x="353" y="184"/>
                </a:cubicBezTo>
                <a:cubicBezTo>
                  <a:pt x="357" y="184"/>
                  <a:pt x="357" y="184"/>
                  <a:pt x="357" y="184"/>
                </a:cubicBezTo>
                <a:cubicBezTo>
                  <a:pt x="362" y="181"/>
                  <a:pt x="362" y="181"/>
                  <a:pt x="362" y="181"/>
                </a:cubicBezTo>
                <a:cubicBezTo>
                  <a:pt x="365" y="180"/>
                  <a:pt x="365" y="180"/>
                  <a:pt x="365" y="180"/>
                </a:cubicBezTo>
                <a:cubicBezTo>
                  <a:pt x="367" y="178"/>
                  <a:pt x="367" y="178"/>
                  <a:pt x="367" y="178"/>
                </a:cubicBezTo>
                <a:cubicBezTo>
                  <a:pt x="368" y="178"/>
                  <a:pt x="368" y="178"/>
                  <a:pt x="368" y="178"/>
                </a:cubicBezTo>
                <a:cubicBezTo>
                  <a:pt x="368" y="179"/>
                  <a:pt x="368" y="179"/>
                  <a:pt x="368" y="179"/>
                </a:cubicBezTo>
                <a:cubicBezTo>
                  <a:pt x="370" y="180"/>
                  <a:pt x="370" y="180"/>
                  <a:pt x="370" y="180"/>
                </a:cubicBezTo>
                <a:cubicBezTo>
                  <a:pt x="374" y="177"/>
                  <a:pt x="374" y="177"/>
                  <a:pt x="374" y="177"/>
                </a:cubicBezTo>
                <a:cubicBezTo>
                  <a:pt x="377" y="177"/>
                  <a:pt x="377" y="177"/>
                  <a:pt x="377" y="177"/>
                </a:cubicBezTo>
                <a:cubicBezTo>
                  <a:pt x="378" y="176"/>
                  <a:pt x="378" y="176"/>
                  <a:pt x="378" y="176"/>
                </a:cubicBezTo>
                <a:cubicBezTo>
                  <a:pt x="377" y="178"/>
                  <a:pt x="377" y="178"/>
                  <a:pt x="377" y="178"/>
                </a:cubicBezTo>
                <a:cubicBezTo>
                  <a:pt x="374" y="180"/>
                  <a:pt x="374" y="180"/>
                  <a:pt x="374" y="180"/>
                </a:cubicBezTo>
                <a:cubicBezTo>
                  <a:pt x="374" y="181"/>
                  <a:pt x="374" y="181"/>
                  <a:pt x="374" y="181"/>
                </a:cubicBezTo>
                <a:cubicBezTo>
                  <a:pt x="376" y="181"/>
                  <a:pt x="376" y="181"/>
                  <a:pt x="376" y="181"/>
                </a:cubicBezTo>
                <a:cubicBezTo>
                  <a:pt x="374" y="185"/>
                  <a:pt x="374" y="185"/>
                  <a:pt x="374" y="185"/>
                </a:cubicBezTo>
                <a:cubicBezTo>
                  <a:pt x="370" y="186"/>
                  <a:pt x="370" y="186"/>
                  <a:pt x="370" y="186"/>
                </a:cubicBezTo>
                <a:cubicBezTo>
                  <a:pt x="369" y="185"/>
                  <a:pt x="369" y="185"/>
                  <a:pt x="369" y="185"/>
                </a:cubicBezTo>
                <a:cubicBezTo>
                  <a:pt x="367" y="185"/>
                  <a:pt x="367" y="185"/>
                  <a:pt x="367" y="185"/>
                </a:cubicBezTo>
                <a:cubicBezTo>
                  <a:pt x="364" y="187"/>
                  <a:pt x="364" y="187"/>
                  <a:pt x="364" y="187"/>
                </a:cubicBezTo>
                <a:cubicBezTo>
                  <a:pt x="364" y="188"/>
                  <a:pt x="364" y="188"/>
                  <a:pt x="364" y="188"/>
                </a:cubicBezTo>
                <a:cubicBezTo>
                  <a:pt x="367" y="188"/>
                  <a:pt x="367" y="188"/>
                  <a:pt x="367" y="188"/>
                </a:cubicBezTo>
                <a:cubicBezTo>
                  <a:pt x="369" y="190"/>
                  <a:pt x="369" y="190"/>
                  <a:pt x="369" y="190"/>
                </a:cubicBezTo>
                <a:cubicBezTo>
                  <a:pt x="368" y="193"/>
                  <a:pt x="368" y="193"/>
                  <a:pt x="368" y="193"/>
                </a:cubicBezTo>
                <a:cubicBezTo>
                  <a:pt x="364" y="198"/>
                  <a:pt x="364" y="198"/>
                  <a:pt x="364" y="198"/>
                </a:cubicBezTo>
                <a:cubicBezTo>
                  <a:pt x="364" y="200"/>
                  <a:pt x="364" y="200"/>
                  <a:pt x="364" y="200"/>
                </a:cubicBezTo>
                <a:cubicBezTo>
                  <a:pt x="363" y="202"/>
                  <a:pt x="363" y="202"/>
                  <a:pt x="363" y="202"/>
                </a:cubicBezTo>
                <a:cubicBezTo>
                  <a:pt x="362" y="204"/>
                  <a:pt x="362" y="204"/>
                  <a:pt x="362" y="204"/>
                </a:cubicBezTo>
                <a:cubicBezTo>
                  <a:pt x="363" y="205"/>
                  <a:pt x="363" y="205"/>
                  <a:pt x="363" y="205"/>
                </a:cubicBezTo>
                <a:cubicBezTo>
                  <a:pt x="363" y="207"/>
                  <a:pt x="363" y="207"/>
                  <a:pt x="363" y="207"/>
                </a:cubicBezTo>
                <a:cubicBezTo>
                  <a:pt x="362" y="209"/>
                  <a:pt x="362" y="209"/>
                  <a:pt x="362" y="209"/>
                </a:cubicBezTo>
                <a:cubicBezTo>
                  <a:pt x="360" y="212"/>
                  <a:pt x="360" y="212"/>
                  <a:pt x="360" y="212"/>
                </a:cubicBezTo>
                <a:cubicBezTo>
                  <a:pt x="358" y="214"/>
                  <a:pt x="358" y="214"/>
                  <a:pt x="358" y="214"/>
                </a:cubicBezTo>
                <a:cubicBezTo>
                  <a:pt x="356" y="213"/>
                  <a:pt x="356" y="213"/>
                  <a:pt x="356" y="213"/>
                </a:cubicBezTo>
                <a:cubicBezTo>
                  <a:pt x="354" y="214"/>
                  <a:pt x="354" y="214"/>
                  <a:pt x="354" y="214"/>
                </a:cubicBezTo>
                <a:cubicBezTo>
                  <a:pt x="352" y="216"/>
                  <a:pt x="352" y="216"/>
                  <a:pt x="352" y="216"/>
                </a:cubicBezTo>
                <a:cubicBezTo>
                  <a:pt x="350" y="217"/>
                  <a:pt x="350" y="217"/>
                  <a:pt x="350" y="217"/>
                </a:cubicBezTo>
                <a:cubicBezTo>
                  <a:pt x="347" y="217"/>
                  <a:pt x="347" y="217"/>
                  <a:pt x="347" y="217"/>
                </a:cubicBezTo>
                <a:cubicBezTo>
                  <a:pt x="344" y="215"/>
                  <a:pt x="344" y="215"/>
                  <a:pt x="344" y="215"/>
                </a:cubicBezTo>
                <a:cubicBezTo>
                  <a:pt x="342" y="215"/>
                  <a:pt x="342" y="215"/>
                  <a:pt x="342" y="215"/>
                </a:cubicBezTo>
                <a:cubicBezTo>
                  <a:pt x="341" y="214"/>
                  <a:pt x="341" y="214"/>
                  <a:pt x="341" y="214"/>
                </a:cubicBezTo>
                <a:cubicBezTo>
                  <a:pt x="340" y="212"/>
                  <a:pt x="340" y="212"/>
                  <a:pt x="340" y="212"/>
                </a:cubicBezTo>
                <a:cubicBezTo>
                  <a:pt x="339" y="212"/>
                  <a:pt x="339" y="212"/>
                  <a:pt x="339" y="212"/>
                </a:cubicBezTo>
                <a:cubicBezTo>
                  <a:pt x="336" y="215"/>
                  <a:pt x="336" y="215"/>
                  <a:pt x="336" y="215"/>
                </a:cubicBezTo>
                <a:cubicBezTo>
                  <a:pt x="334" y="217"/>
                  <a:pt x="334" y="217"/>
                  <a:pt x="334" y="217"/>
                </a:cubicBezTo>
                <a:cubicBezTo>
                  <a:pt x="332" y="219"/>
                  <a:pt x="332" y="219"/>
                  <a:pt x="332" y="219"/>
                </a:cubicBezTo>
                <a:cubicBezTo>
                  <a:pt x="327" y="221"/>
                  <a:pt x="327" y="221"/>
                  <a:pt x="327" y="221"/>
                </a:cubicBezTo>
                <a:cubicBezTo>
                  <a:pt x="325" y="222"/>
                  <a:pt x="325" y="222"/>
                  <a:pt x="325" y="222"/>
                </a:cubicBezTo>
                <a:cubicBezTo>
                  <a:pt x="323" y="223"/>
                  <a:pt x="323" y="223"/>
                  <a:pt x="323" y="223"/>
                </a:cubicBezTo>
                <a:cubicBezTo>
                  <a:pt x="321" y="222"/>
                  <a:pt x="321" y="222"/>
                  <a:pt x="321" y="222"/>
                </a:cubicBezTo>
                <a:cubicBezTo>
                  <a:pt x="317" y="222"/>
                  <a:pt x="317" y="222"/>
                  <a:pt x="317" y="222"/>
                </a:cubicBezTo>
                <a:cubicBezTo>
                  <a:pt x="314" y="224"/>
                  <a:pt x="314" y="224"/>
                  <a:pt x="314" y="224"/>
                </a:cubicBezTo>
                <a:cubicBezTo>
                  <a:pt x="311" y="224"/>
                  <a:pt x="311" y="224"/>
                  <a:pt x="311" y="224"/>
                </a:cubicBezTo>
                <a:cubicBezTo>
                  <a:pt x="310" y="226"/>
                  <a:pt x="310" y="226"/>
                  <a:pt x="310" y="226"/>
                </a:cubicBezTo>
                <a:cubicBezTo>
                  <a:pt x="310" y="229"/>
                  <a:pt x="310" y="229"/>
                  <a:pt x="310" y="229"/>
                </a:cubicBezTo>
                <a:cubicBezTo>
                  <a:pt x="308" y="233"/>
                  <a:pt x="308" y="233"/>
                  <a:pt x="308" y="233"/>
                </a:cubicBezTo>
                <a:cubicBezTo>
                  <a:pt x="306" y="235"/>
                  <a:pt x="306" y="235"/>
                  <a:pt x="306" y="235"/>
                </a:cubicBezTo>
                <a:cubicBezTo>
                  <a:pt x="306" y="233"/>
                  <a:pt x="306" y="233"/>
                  <a:pt x="306" y="233"/>
                </a:cubicBezTo>
                <a:cubicBezTo>
                  <a:pt x="303" y="230"/>
                  <a:pt x="303" y="230"/>
                  <a:pt x="303" y="230"/>
                </a:cubicBezTo>
                <a:cubicBezTo>
                  <a:pt x="300" y="230"/>
                  <a:pt x="300" y="230"/>
                  <a:pt x="300" y="230"/>
                </a:cubicBezTo>
                <a:cubicBezTo>
                  <a:pt x="298" y="231"/>
                  <a:pt x="298" y="231"/>
                  <a:pt x="298" y="231"/>
                </a:cubicBezTo>
                <a:cubicBezTo>
                  <a:pt x="299" y="232"/>
                  <a:pt x="299" y="232"/>
                  <a:pt x="299" y="232"/>
                </a:cubicBezTo>
                <a:cubicBezTo>
                  <a:pt x="300" y="234"/>
                  <a:pt x="300" y="234"/>
                  <a:pt x="300" y="234"/>
                </a:cubicBezTo>
                <a:cubicBezTo>
                  <a:pt x="299" y="236"/>
                  <a:pt x="299" y="236"/>
                  <a:pt x="299" y="236"/>
                </a:cubicBezTo>
                <a:cubicBezTo>
                  <a:pt x="298" y="236"/>
                  <a:pt x="298" y="236"/>
                  <a:pt x="298" y="236"/>
                </a:cubicBezTo>
                <a:cubicBezTo>
                  <a:pt x="297" y="233"/>
                  <a:pt x="297" y="233"/>
                  <a:pt x="297" y="233"/>
                </a:cubicBezTo>
                <a:cubicBezTo>
                  <a:pt x="295" y="231"/>
                  <a:pt x="295" y="231"/>
                  <a:pt x="295" y="231"/>
                </a:cubicBezTo>
                <a:cubicBezTo>
                  <a:pt x="294" y="231"/>
                  <a:pt x="294" y="231"/>
                  <a:pt x="294" y="231"/>
                </a:cubicBezTo>
                <a:cubicBezTo>
                  <a:pt x="290" y="235"/>
                  <a:pt x="290" y="235"/>
                  <a:pt x="290" y="235"/>
                </a:cubicBezTo>
                <a:cubicBezTo>
                  <a:pt x="289" y="238"/>
                  <a:pt x="289" y="238"/>
                  <a:pt x="289" y="238"/>
                </a:cubicBezTo>
                <a:cubicBezTo>
                  <a:pt x="288" y="238"/>
                  <a:pt x="288" y="238"/>
                  <a:pt x="288" y="238"/>
                </a:cubicBezTo>
                <a:cubicBezTo>
                  <a:pt x="286" y="238"/>
                  <a:pt x="286" y="238"/>
                  <a:pt x="286" y="238"/>
                </a:cubicBezTo>
                <a:cubicBezTo>
                  <a:pt x="281" y="243"/>
                  <a:pt x="281" y="243"/>
                  <a:pt x="281" y="243"/>
                </a:cubicBezTo>
                <a:cubicBezTo>
                  <a:pt x="280" y="247"/>
                  <a:pt x="280" y="247"/>
                  <a:pt x="280" y="247"/>
                </a:cubicBezTo>
                <a:cubicBezTo>
                  <a:pt x="279" y="248"/>
                  <a:pt x="279" y="248"/>
                  <a:pt x="279" y="248"/>
                </a:cubicBezTo>
                <a:cubicBezTo>
                  <a:pt x="276" y="248"/>
                  <a:pt x="276" y="248"/>
                  <a:pt x="276" y="248"/>
                </a:cubicBezTo>
                <a:cubicBezTo>
                  <a:pt x="274" y="247"/>
                  <a:pt x="274" y="247"/>
                  <a:pt x="274" y="247"/>
                </a:cubicBezTo>
                <a:cubicBezTo>
                  <a:pt x="273" y="248"/>
                  <a:pt x="273" y="248"/>
                  <a:pt x="273" y="248"/>
                </a:cubicBezTo>
                <a:cubicBezTo>
                  <a:pt x="276" y="251"/>
                  <a:pt x="276" y="251"/>
                  <a:pt x="276" y="251"/>
                </a:cubicBezTo>
                <a:cubicBezTo>
                  <a:pt x="275" y="253"/>
                  <a:pt x="275" y="253"/>
                  <a:pt x="275" y="253"/>
                </a:cubicBezTo>
                <a:cubicBezTo>
                  <a:pt x="274" y="253"/>
                  <a:pt x="274" y="253"/>
                  <a:pt x="274" y="253"/>
                </a:cubicBezTo>
                <a:cubicBezTo>
                  <a:pt x="272" y="251"/>
                  <a:pt x="272" y="251"/>
                  <a:pt x="272" y="251"/>
                </a:cubicBezTo>
                <a:cubicBezTo>
                  <a:pt x="271" y="251"/>
                  <a:pt x="271" y="251"/>
                  <a:pt x="271" y="251"/>
                </a:cubicBezTo>
                <a:cubicBezTo>
                  <a:pt x="270" y="253"/>
                  <a:pt x="270" y="253"/>
                  <a:pt x="270" y="253"/>
                </a:cubicBezTo>
                <a:cubicBezTo>
                  <a:pt x="267" y="257"/>
                  <a:pt x="267" y="257"/>
                  <a:pt x="267" y="257"/>
                </a:cubicBezTo>
                <a:cubicBezTo>
                  <a:pt x="267" y="258"/>
                  <a:pt x="267" y="258"/>
                  <a:pt x="267" y="258"/>
                </a:cubicBezTo>
                <a:cubicBezTo>
                  <a:pt x="269" y="261"/>
                  <a:pt x="269" y="261"/>
                  <a:pt x="269" y="261"/>
                </a:cubicBezTo>
                <a:cubicBezTo>
                  <a:pt x="270" y="264"/>
                  <a:pt x="270" y="264"/>
                  <a:pt x="270" y="264"/>
                </a:cubicBezTo>
                <a:cubicBezTo>
                  <a:pt x="269" y="266"/>
                  <a:pt x="269" y="266"/>
                  <a:pt x="269" y="266"/>
                </a:cubicBezTo>
                <a:cubicBezTo>
                  <a:pt x="268" y="268"/>
                  <a:pt x="268" y="268"/>
                  <a:pt x="268" y="268"/>
                </a:cubicBezTo>
                <a:cubicBezTo>
                  <a:pt x="269" y="270"/>
                  <a:pt x="269" y="270"/>
                  <a:pt x="269" y="270"/>
                </a:cubicBezTo>
                <a:cubicBezTo>
                  <a:pt x="270" y="270"/>
                  <a:pt x="270" y="270"/>
                  <a:pt x="270" y="270"/>
                </a:cubicBezTo>
                <a:cubicBezTo>
                  <a:pt x="272" y="268"/>
                  <a:pt x="272" y="268"/>
                  <a:pt x="272" y="268"/>
                </a:cubicBezTo>
                <a:cubicBezTo>
                  <a:pt x="272" y="269"/>
                  <a:pt x="272" y="269"/>
                  <a:pt x="272" y="269"/>
                </a:cubicBezTo>
                <a:cubicBezTo>
                  <a:pt x="273" y="273"/>
                  <a:pt x="273" y="273"/>
                  <a:pt x="273" y="273"/>
                </a:cubicBezTo>
                <a:cubicBezTo>
                  <a:pt x="271" y="274"/>
                  <a:pt x="271" y="274"/>
                  <a:pt x="271" y="274"/>
                </a:cubicBezTo>
                <a:cubicBezTo>
                  <a:pt x="270" y="275"/>
                  <a:pt x="270" y="275"/>
                  <a:pt x="270" y="275"/>
                </a:cubicBezTo>
                <a:cubicBezTo>
                  <a:pt x="271" y="276"/>
                  <a:pt x="271" y="276"/>
                  <a:pt x="271" y="276"/>
                </a:cubicBezTo>
                <a:cubicBezTo>
                  <a:pt x="273" y="275"/>
                  <a:pt x="273" y="275"/>
                  <a:pt x="273" y="275"/>
                </a:cubicBezTo>
                <a:cubicBezTo>
                  <a:pt x="274" y="274"/>
                  <a:pt x="274" y="274"/>
                  <a:pt x="274" y="274"/>
                </a:cubicBezTo>
                <a:cubicBezTo>
                  <a:pt x="275" y="274"/>
                  <a:pt x="275" y="274"/>
                  <a:pt x="275" y="274"/>
                </a:cubicBezTo>
                <a:cubicBezTo>
                  <a:pt x="276" y="275"/>
                  <a:pt x="276" y="275"/>
                  <a:pt x="276" y="275"/>
                </a:cubicBezTo>
                <a:cubicBezTo>
                  <a:pt x="276" y="277"/>
                  <a:pt x="276" y="277"/>
                  <a:pt x="276" y="277"/>
                </a:cubicBezTo>
                <a:cubicBezTo>
                  <a:pt x="279" y="277"/>
                  <a:pt x="279" y="277"/>
                  <a:pt x="279" y="277"/>
                </a:cubicBezTo>
                <a:cubicBezTo>
                  <a:pt x="281" y="278"/>
                  <a:pt x="281" y="278"/>
                  <a:pt x="281" y="278"/>
                </a:cubicBezTo>
                <a:cubicBezTo>
                  <a:pt x="283" y="278"/>
                  <a:pt x="283" y="278"/>
                  <a:pt x="283" y="278"/>
                </a:cubicBezTo>
                <a:cubicBezTo>
                  <a:pt x="285" y="276"/>
                  <a:pt x="285" y="276"/>
                  <a:pt x="285" y="276"/>
                </a:cubicBezTo>
                <a:cubicBezTo>
                  <a:pt x="286" y="272"/>
                  <a:pt x="286" y="272"/>
                  <a:pt x="286" y="272"/>
                </a:cubicBezTo>
                <a:cubicBezTo>
                  <a:pt x="288" y="270"/>
                  <a:pt x="288" y="270"/>
                  <a:pt x="288" y="270"/>
                </a:cubicBezTo>
                <a:cubicBezTo>
                  <a:pt x="292" y="270"/>
                  <a:pt x="292" y="270"/>
                  <a:pt x="292" y="270"/>
                </a:cubicBezTo>
                <a:cubicBezTo>
                  <a:pt x="294" y="269"/>
                  <a:pt x="294" y="269"/>
                  <a:pt x="294" y="269"/>
                </a:cubicBezTo>
                <a:cubicBezTo>
                  <a:pt x="292" y="271"/>
                  <a:pt x="292" y="271"/>
                  <a:pt x="292" y="271"/>
                </a:cubicBezTo>
                <a:cubicBezTo>
                  <a:pt x="290" y="272"/>
                  <a:pt x="290" y="272"/>
                  <a:pt x="290" y="272"/>
                </a:cubicBezTo>
                <a:cubicBezTo>
                  <a:pt x="286" y="275"/>
                  <a:pt x="286" y="275"/>
                  <a:pt x="286" y="275"/>
                </a:cubicBezTo>
                <a:cubicBezTo>
                  <a:pt x="286" y="278"/>
                  <a:pt x="286" y="278"/>
                  <a:pt x="286" y="278"/>
                </a:cubicBezTo>
                <a:cubicBezTo>
                  <a:pt x="284" y="279"/>
                  <a:pt x="284" y="279"/>
                  <a:pt x="284" y="279"/>
                </a:cubicBezTo>
                <a:cubicBezTo>
                  <a:pt x="287" y="282"/>
                  <a:pt x="287" y="282"/>
                  <a:pt x="287" y="282"/>
                </a:cubicBezTo>
                <a:cubicBezTo>
                  <a:pt x="287" y="284"/>
                  <a:pt x="287" y="284"/>
                  <a:pt x="287" y="284"/>
                </a:cubicBezTo>
                <a:cubicBezTo>
                  <a:pt x="284" y="284"/>
                  <a:pt x="284" y="284"/>
                  <a:pt x="284" y="284"/>
                </a:cubicBezTo>
                <a:cubicBezTo>
                  <a:pt x="282" y="283"/>
                  <a:pt x="282" y="283"/>
                  <a:pt x="282" y="283"/>
                </a:cubicBezTo>
                <a:cubicBezTo>
                  <a:pt x="282" y="282"/>
                  <a:pt x="282" y="282"/>
                  <a:pt x="282" y="282"/>
                </a:cubicBezTo>
                <a:cubicBezTo>
                  <a:pt x="281" y="281"/>
                  <a:pt x="281" y="281"/>
                  <a:pt x="281" y="281"/>
                </a:cubicBezTo>
                <a:cubicBezTo>
                  <a:pt x="279" y="281"/>
                  <a:pt x="279" y="281"/>
                  <a:pt x="279" y="281"/>
                </a:cubicBezTo>
                <a:cubicBezTo>
                  <a:pt x="278" y="279"/>
                  <a:pt x="278" y="279"/>
                  <a:pt x="278" y="279"/>
                </a:cubicBezTo>
                <a:cubicBezTo>
                  <a:pt x="275" y="278"/>
                  <a:pt x="275" y="278"/>
                  <a:pt x="275" y="278"/>
                </a:cubicBezTo>
                <a:cubicBezTo>
                  <a:pt x="273" y="277"/>
                  <a:pt x="273" y="277"/>
                  <a:pt x="273" y="277"/>
                </a:cubicBezTo>
                <a:cubicBezTo>
                  <a:pt x="272" y="278"/>
                  <a:pt x="272" y="278"/>
                  <a:pt x="272" y="278"/>
                </a:cubicBezTo>
                <a:cubicBezTo>
                  <a:pt x="270" y="278"/>
                  <a:pt x="270" y="278"/>
                  <a:pt x="270" y="278"/>
                </a:cubicBezTo>
                <a:cubicBezTo>
                  <a:pt x="269" y="280"/>
                  <a:pt x="269" y="280"/>
                  <a:pt x="269" y="280"/>
                </a:cubicBezTo>
                <a:cubicBezTo>
                  <a:pt x="267" y="282"/>
                  <a:pt x="267" y="282"/>
                  <a:pt x="267" y="282"/>
                </a:cubicBezTo>
                <a:cubicBezTo>
                  <a:pt x="265" y="281"/>
                  <a:pt x="265" y="281"/>
                  <a:pt x="265" y="281"/>
                </a:cubicBezTo>
                <a:cubicBezTo>
                  <a:pt x="264" y="283"/>
                  <a:pt x="264" y="283"/>
                  <a:pt x="264" y="283"/>
                </a:cubicBezTo>
                <a:cubicBezTo>
                  <a:pt x="265" y="285"/>
                  <a:pt x="265" y="285"/>
                  <a:pt x="265" y="285"/>
                </a:cubicBezTo>
                <a:cubicBezTo>
                  <a:pt x="267" y="285"/>
                  <a:pt x="267" y="285"/>
                  <a:pt x="267" y="285"/>
                </a:cubicBezTo>
                <a:cubicBezTo>
                  <a:pt x="265" y="287"/>
                  <a:pt x="265" y="287"/>
                  <a:pt x="265" y="287"/>
                </a:cubicBezTo>
                <a:cubicBezTo>
                  <a:pt x="265" y="290"/>
                  <a:pt x="265" y="290"/>
                  <a:pt x="265" y="290"/>
                </a:cubicBezTo>
                <a:cubicBezTo>
                  <a:pt x="265" y="292"/>
                  <a:pt x="265" y="292"/>
                  <a:pt x="265" y="292"/>
                </a:cubicBezTo>
                <a:cubicBezTo>
                  <a:pt x="267" y="292"/>
                  <a:pt x="267" y="292"/>
                  <a:pt x="267" y="292"/>
                </a:cubicBezTo>
                <a:cubicBezTo>
                  <a:pt x="267" y="296"/>
                  <a:pt x="267" y="296"/>
                  <a:pt x="267" y="296"/>
                </a:cubicBezTo>
                <a:cubicBezTo>
                  <a:pt x="268" y="298"/>
                  <a:pt x="268" y="298"/>
                  <a:pt x="268" y="298"/>
                </a:cubicBezTo>
                <a:cubicBezTo>
                  <a:pt x="268" y="300"/>
                  <a:pt x="268" y="300"/>
                  <a:pt x="268" y="300"/>
                </a:cubicBezTo>
                <a:cubicBezTo>
                  <a:pt x="270" y="302"/>
                  <a:pt x="270" y="302"/>
                  <a:pt x="270" y="302"/>
                </a:cubicBezTo>
                <a:cubicBezTo>
                  <a:pt x="270" y="303"/>
                  <a:pt x="270" y="303"/>
                  <a:pt x="270" y="303"/>
                </a:cubicBezTo>
                <a:cubicBezTo>
                  <a:pt x="267" y="303"/>
                  <a:pt x="267" y="303"/>
                  <a:pt x="267" y="303"/>
                </a:cubicBezTo>
                <a:cubicBezTo>
                  <a:pt x="266" y="304"/>
                  <a:pt x="266" y="304"/>
                  <a:pt x="266" y="304"/>
                </a:cubicBezTo>
                <a:cubicBezTo>
                  <a:pt x="274" y="308"/>
                  <a:pt x="274" y="308"/>
                  <a:pt x="274" y="308"/>
                </a:cubicBezTo>
                <a:cubicBezTo>
                  <a:pt x="278" y="308"/>
                  <a:pt x="278" y="308"/>
                  <a:pt x="278" y="308"/>
                </a:cubicBezTo>
                <a:cubicBezTo>
                  <a:pt x="281" y="306"/>
                  <a:pt x="281" y="306"/>
                  <a:pt x="281" y="306"/>
                </a:cubicBezTo>
                <a:cubicBezTo>
                  <a:pt x="283" y="306"/>
                  <a:pt x="283" y="306"/>
                  <a:pt x="283" y="306"/>
                </a:cubicBezTo>
                <a:cubicBezTo>
                  <a:pt x="284" y="306"/>
                  <a:pt x="284" y="306"/>
                  <a:pt x="284" y="306"/>
                </a:cubicBezTo>
                <a:cubicBezTo>
                  <a:pt x="286" y="306"/>
                  <a:pt x="286" y="306"/>
                  <a:pt x="286" y="306"/>
                </a:cubicBezTo>
                <a:cubicBezTo>
                  <a:pt x="289" y="302"/>
                  <a:pt x="289" y="302"/>
                  <a:pt x="289" y="302"/>
                </a:cubicBezTo>
                <a:cubicBezTo>
                  <a:pt x="289" y="300"/>
                  <a:pt x="289" y="300"/>
                  <a:pt x="289" y="300"/>
                </a:cubicBezTo>
                <a:cubicBezTo>
                  <a:pt x="288" y="298"/>
                  <a:pt x="288" y="298"/>
                  <a:pt x="288" y="298"/>
                </a:cubicBezTo>
                <a:cubicBezTo>
                  <a:pt x="288" y="297"/>
                  <a:pt x="288" y="297"/>
                  <a:pt x="288" y="297"/>
                </a:cubicBezTo>
                <a:cubicBezTo>
                  <a:pt x="291" y="295"/>
                  <a:pt x="291" y="295"/>
                  <a:pt x="291" y="295"/>
                </a:cubicBezTo>
                <a:cubicBezTo>
                  <a:pt x="295" y="293"/>
                  <a:pt x="295" y="293"/>
                  <a:pt x="295" y="293"/>
                </a:cubicBezTo>
                <a:cubicBezTo>
                  <a:pt x="300" y="289"/>
                  <a:pt x="300" y="289"/>
                  <a:pt x="300" y="289"/>
                </a:cubicBezTo>
                <a:cubicBezTo>
                  <a:pt x="302" y="290"/>
                  <a:pt x="302" y="290"/>
                  <a:pt x="302" y="290"/>
                </a:cubicBezTo>
                <a:cubicBezTo>
                  <a:pt x="300" y="290"/>
                  <a:pt x="300" y="290"/>
                  <a:pt x="300" y="290"/>
                </a:cubicBezTo>
                <a:cubicBezTo>
                  <a:pt x="295" y="295"/>
                  <a:pt x="295" y="295"/>
                  <a:pt x="295" y="295"/>
                </a:cubicBezTo>
                <a:cubicBezTo>
                  <a:pt x="292" y="297"/>
                  <a:pt x="292" y="297"/>
                  <a:pt x="292" y="297"/>
                </a:cubicBezTo>
                <a:cubicBezTo>
                  <a:pt x="292" y="298"/>
                  <a:pt x="292" y="298"/>
                  <a:pt x="292" y="298"/>
                </a:cubicBezTo>
                <a:cubicBezTo>
                  <a:pt x="294" y="300"/>
                  <a:pt x="294" y="300"/>
                  <a:pt x="294" y="300"/>
                </a:cubicBezTo>
                <a:cubicBezTo>
                  <a:pt x="294" y="301"/>
                  <a:pt x="294" y="301"/>
                  <a:pt x="294" y="301"/>
                </a:cubicBezTo>
                <a:cubicBezTo>
                  <a:pt x="292" y="305"/>
                  <a:pt x="292" y="305"/>
                  <a:pt x="292" y="305"/>
                </a:cubicBezTo>
                <a:cubicBezTo>
                  <a:pt x="289" y="306"/>
                  <a:pt x="289" y="306"/>
                  <a:pt x="289" y="306"/>
                </a:cubicBezTo>
                <a:cubicBezTo>
                  <a:pt x="289" y="309"/>
                  <a:pt x="289" y="309"/>
                  <a:pt x="289" y="309"/>
                </a:cubicBezTo>
                <a:cubicBezTo>
                  <a:pt x="289" y="312"/>
                  <a:pt x="289" y="312"/>
                  <a:pt x="289" y="312"/>
                </a:cubicBezTo>
                <a:cubicBezTo>
                  <a:pt x="288" y="314"/>
                  <a:pt x="288" y="314"/>
                  <a:pt x="288" y="314"/>
                </a:cubicBezTo>
                <a:cubicBezTo>
                  <a:pt x="289" y="316"/>
                  <a:pt x="289" y="316"/>
                  <a:pt x="289" y="316"/>
                </a:cubicBezTo>
                <a:cubicBezTo>
                  <a:pt x="288" y="318"/>
                  <a:pt x="288" y="318"/>
                  <a:pt x="288" y="318"/>
                </a:cubicBezTo>
                <a:cubicBezTo>
                  <a:pt x="289" y="320"/>
                  <a:pt x="289" y="320"/>
                  <a:pt x="289" y="320"/>
                </a:cubicBezTo>
                <a:cubicBezTo>
                  <a:pt x="285" y="321"/>
                  <a:pt x="285" y="321"/>
                  <a:pt x="285" y="321"/>
                </a:cubicBezTo>
                <a:cubicBezTo>
                  <a:pt x="284" y="323"/>
                  <a:pt x="284" y="323"/>
                  <a:pt x="284" y="323"/>
                </a:cubicBezTo>
                <a:cubicBezTo>
                  <a:pt x="283" y="325"/>
                  <a:pt x="283" y="325"/>
                  <a:pt x="283" y="325"/>
                </a:cubicBezTo>
                <a:cubicBezTo>
                  <a:pt x="282" y="324"/>
                  <a:pt x="282" y="324"/>
                  <a:pt x="282" y="324"/>
                </a:cubicBezTo>
                <a:cubicBezTo>
                  <a:pt x="281" y="325"/>
                  <a:pt x="281" y="325"/>
                  <a:pt x="281" y="325"/>
                </a:cubicBezTo>
                <a:cubicBezTo>
                  <a:pt x="282" y="327"/>
                  <a:pt x="282" y="327"/>
                  <a:pt x="282" y="327"/>
                </a:cubicBezTo>
                <a:cubicBezTo>
                  <a:pt x="282" y="330"/>
                  <a:pt x="282" y="330"/>
                  <a:pt x="282" y="330"/>
                </a:cubicBezTo>
                <a:cubicBezTo>
                  <a:pt x="283" y="330"/>
                  <a:pt x="283" y="330"/>
                  <a:pt x="283" y="330"/>
                </a:cubicBezTo>
                <a:cubicBezTo>
                  <a:pt x="286" y="329"/>
                  <a:pt x="286" y="329"/>
                  <a:pt x="286" y="329"/>
                </a:cubicBezTo>
                <a:cubicBezTo>
                  <a:pt x="287" y="329"/>
                  <a:pt x="287" y="329"/>
                  <a:pt x="287" y="329"/>
                </a:cubicBezTo>
                <a:cubicBezTo>
                  <a:pt x="288" y="331"/>
                  <a:pt x="288" y="331"/>
                  <a:pt x="288" y="331"/>
                </a:cubicBezTo>
                <a:cubicBezTo>
                  <a:pt x="286" y="332"/>
                  <a:pt x="286" y="332"/>
                  <a:pt x="286" y="332"/>
                </a:cubicBezTo>
                <a:cubicBezTo>
                  <a:pt x="284" y="332"/>
                  <a:pt x="284" y="332"/>
                  <a:pt x="284" y="332"/>
                </a:cubicBezTo>
                <a:cubicBezTo>
                  <a:pt x="283" y="333"/>
                  <a:pt x="283" y="333"/>
                  <a:pt x="283" y="333"/>
                </a:cubicBezTo>
                <a:cubicBezTo>
                  <a:pt x="283" y="335"/>
                  <a:pt x="283" y="335"/>
                  <a:pt x="283" y="335"/>
                </a:cubicBezTo>
                <a:cubicBezTo>
                  <a:pt x="283" y="336"/>
                  <a:pt x="283" y="336"/>
                  <a:pt x="283" y="336"/>
                </a:cubicBezTo>
                <a:cubicBezTo>
                  <a:pt x="283" y="337"/>
                  <a:pt x="283" y="337"/>
                  <a:pt x="283" y="337"/>
                </a:cubicBezTo>
                <a:cubicBezTo>
                  <a:pt x="282" y="338"/>
                  <a:pt x="282" y="338"/>
                  <a:pt x="282" y="338"/>
                </a:cubicBezTo>
                <a:cubicBezTo>
                  <a:pt x="280" y="339"/>
                  <a:pt x="280" y="339"/>
                  <a:pt x="280" y="339"/>
                </a:cubicBezTo>
                <a:cubicBezTo>
                  <a:pt x="278" y="340"/>
                  <a:pt x="278" y="340"/>
                  <a:pt x="278" y="340"/>
                </a:cubicBezTo>
                <a:cubicBezTo>
                  <a:pt x="276" y="340"/>
                  <a:pt x="276" y="340"/>
                  <a:pt x="276" y="340"/>
                </a:cubicBezTo>
                <a:cubicBezTo>
                  <a:pt x="275" y="340"/>
                  <a:pt x="275" y="340"/>
                  <a:pt x="275" y="340"/>
                </a:cubicBezTo>
                <a:cubicBezTo>
                  <a:pt x="277" y="342"/>
                  <a:pt x="277" y="342"/>
                  <a:pt x="277" y="342"/>
                </a:cubicBezTo>
                <a:cubicBezTo>
                  <a:pt x="279" y="342"/>
                  <a:pt x="279" y="342"/>
                  <a:pt x="279" y="342"/>
                </a:cubicBezTo>
                <a:cubicBezTo>
                  <a:pt x="281" y="343"/>
                  <a:pt x="281" y="343"/>
                  <a:pt x="281" y="343"/>
                </a:cubicBezTo>
                <a:cubicBezTo>
                  <a:pt x="283" y="340"/>
                  <a:pt x="283" y="340"/>
                  <a:pt x="283" y="340"/>
                </a:cubicBezTo>
                <a:cubicBezTo>
                  <a:pt x="288" y="337"/>
                  <a:pt x="288" y="337"/>
                  <a:pt x="288" y="337"/>
                </a:cubicBezTo>
                <a:cubicBezTo>
                  <a:pt x="289" y="337"/>
                  <a:pt x="289" y="337"/>
                  <a:pt x="289" y="337"/>
                </a:cubicBezTo>
                <a:cubicBezTo>
                  <a:pt x="291" y="338"/>
                  <a:pt x="291" y="338"/>
                  <a:pt x="291" y="338"/>
                </a:cubicBezTo>
                <a:cubicBezTo>
                  <a:pt x="293" y="336"/>
                  <a:pt x="293" y="336"/>
                  <a:pt x="293" y="336"/>
                </a:cubicBezTo>
                <a:cubicBezTo>
                  <a:pt x="297" y="334"/>
                  <a:pt x="297" y="334"/>
                  <a:pt x="297" y="334"/>
                </a:cubicBezTo>
                <a:cubicBezTo>
                  <a:pt x="296" y="336"/>
                  <a:pt x="296" y="336"/>
                  <a:pt x="296" y="336"/>
                </a:cubicBezTo>
                <a:cubicBezTo>
                  <a:pt x="295" y="337"/>
                  <a:pt x="295" y="337"/>
                  <a:pt x="295" y="337"/>
                </a:cubicBezTo>
                <a:cubicBezTo>
                  <a:pt x="295" y="338"/>
                  <a:pt x="295" y="338"/>
                  <a:pt x="295" y="338"/>
                </a:cubicBezTo>
                <a:cubicBezTo>
                  <a:pt x="296" y="339"/>
                  <a:pt x="296" y="339"/>
                  <a:pt x="296" y="339"/>
                </a:cubicBezTo>
                <a:cubicBezTo>
                  <a:pt x="297" y="341"/>
                  <a:pt x="297" y="341"/>
                  <a:pt x="297" y="341"/>
                </a:cubicBezTo>
                <a:cubicBezTo>
                  <a:pt x="297" y="342"/>
                  <a:pt x="297" y="342"/>
                  <a:pt x="297" y="342"/>
                </a:cubicBezTo>
                <a:cubicBezTo>
                  <a:pt x="298" y="343"/>
                  <a:pt x="298" y="343"/>
                  <a:pt x="298" y="343"/>
                </a:cubicBezTo>
                <a:cubicBezTo>
                  <a:pt x="300" y="342"/>
                  <a:pt x="300" y="342"/>
                  <a:pt x="300" y="342"/>
                </a:cubicBezTo>
                <a:cubicBezTo>
                  <a:pt x="301" y="340"/>
                  <a:pt x="301" y="340"/>
                  <a:pt x="301" y="340"/>
                </a:cubicBezTo>
                <a:cubicBezTo>
                  <a:pt x="302" y="341"/>
                  <a:pt x="302" y="341"/>
                  <a:pt x="302" y="341"/>
                </a:cubicBezTo>
                <a:cubicBezTo>
                  <a:pt x="302" y="342"/>
                  <a:pt x="302" y="342"/>
                  <a:pt x="302" y="342"/>
                </a:cubicBezTo>
                <a:cubicBezTo>
                  <a:pt x="303" y="345"/>
                  <a:pt x="303" y="345"/>
                  <a:pt x="303" y="345"/>
                </a:cubicBezTo>
                <a:cubicBezTo>
                  <a:pt x="304" y="349"/>
                  <a:pt x="304" y="349"/>
                  <a:pt x="304" y="349"/>
                </a:cubicBezTo>
                <a:cubicBezTo>
                  <a:pt x="303" y="351"/>
                  <a:pt x="303" y="351"/>
                  <a:pt x="303" y="351"/>
                </a:cubicBezTo>
                <a:cubicBezTo>
                  <a:pt x="304" y="354"/>
                  <a:pt x="304" y="354"/>
                  <a:pt x="304" y="354"/>
                </a:cubicBezTo>
                <a:cubicBezTo>
                  <a:pt x="306" y="355"/>
                  <a:pt x="306" y="355"/>
                  <a:pt x="306" y="355"/>
                </a:cubicBezTo>
                <a:cubicBezTo>
                  <a:pt x="307" y="352"/>
                  <a:pt x="307" y="352"/>
                  <a:pt x="307" y="352"/>
                </a:cubicBezTo>
                <a:cubicBezTo>
                  <a:pt x="307" y="349"/>
                  <a:pt x="307" y="349"/>
                  <a:pt x="307" y="349"/>
                </a:cubicBezTo>
                <a:cubicBezTo>
                  <a:pt x="309" y="346"/>
                  <a:pt x="309" y="346"/>
                  <a:pt x="309" y="346"/>
                </a:cubicBezTo>
                <a:cubicBezTo>
                  <a:pt x="309" y="344"/>
                  <a:pt x="309" y="344"/>
                  <a:pt x="309" y="344"/>
                </a:cubicBezTo>
                <a:cubicBezTo>
                  <a:pt x="312" y="341"/>
                  <a:pt x="312" y="341"/>
                  <a:pt x="312" y="341"/>
                </a:cubicBezTo>
                <a:cubicBezTo>
                  <a:pt x="313" y="341"/>
                  <a:pt x="313" y="341"/>
                  <a:pt x="313" y="341"/>
                </a:cubicBezTo>
                <a:cubicBezTo>
                  <a:pt x="315" y="340"/>
                  <a:pt x="315" y="340"/>
                  <a:pt x="315" y="340"/>
                </a:cubicBezTo>
                <a:cubicBezTo>
                  <a:pt x="319" y="339"/>
                  <a:pt x="319" y="339"/>
                  <a:pt x="319" y="339"/>
                </a:cubicBezTo>
                <a:cubicBezTo>
                  <a:pt x="316" y="341"/>
                  <a:pt x="316" y="341"/>
                  <a:pt x="316" y="341"/>
                </a:cubicBezTo>
                <a:cubicBezTo>
                  <a:pt x="312" y="345"/>
                  <a:pt x="312" y="345"/>
                  <a:pt x="312" y="345"/>
                </a:cubicBezTo>
                <a:cubicBezTo>
                  <a:pt x="312" y="346"/>
                  <a:pt x="312" y="346"/>
                  <a:pt x="312" y="346"/>
                </a:cubicBezTo>
                <a:cubicBezTo>
                  <a:pt x="315" y="349"/>
                  <a:pt x="315" y="349"/>
                  <a:pt x="315" y="349"/>
                </a:cubicBezTo>
                <a:cubicBezTo>
                  <a:pt x="317" y="350"/>
                  <a:pt x="317" y="350"/>
                  <a:pt x="317" y="350"/>
                </a:cubicBezTo>
                <a:cubicBezTo>
                  <a:pt x="320" y="348"/>
                  <a:pt x="320" y="348"/>
                  <a:pt x="320" y="348"/>
                </a:cubicBezTo>
                <a:cubicBezTo>
                  <a:pt x="325" y="347"/>
                  <a:pt x="325" y="347"/>
                  <a:pt x="325" y="347"/>
                </a:cubicBezTo>
                <a:cubicBezTo>
                  <a:pt x="327" y="345"/>
                  <a:pt x="327" y="345"/>
                  <a:pt x="327" y="345"/>
                </a:cubicBezTo>
                <a:cubicBezTo>
                  <a:pt x="329" y="345"/>
                  <a:pt x="329" y="345"/>
                  <a:pt x="329" y="345"/>
                </a:cubicBezTo>
                <a:cubicBezTo>
                  <a:pt x="333" y="343"/>
                  <a:pt x="333" y="343"/>
                  <a:pt x="333" y="343"/>
                </a:cubicBezTo>
                <a:cubicBezTo>
                  <a:pt x="334" y="343"/>
                  <a:pt x="334" y="343"/>
                  <a:pt x="334" y="343"/>
                </a:cubicBezTo>
                <a:cubicBezTo>
                  <a:pt x="333" y="344"/>
                  <a:pt x="333" y="344"/>
                  <a:pt x="333" y="344"/>
                </a:cubicBezTo>
                <a:cubicBezTo>
                  <a:pt x="330" y="347"/>
                  <a:pt x="330" y="347"/>
                  <a:pt x="330" y="347"/>
                </a:cubicBezTo>
                <a:cubicBezTo>
                  <a:pt x="330" y="348"/>
                  <a:pt x="330" y="348"/>
                  <a:pt x="330" y="348"/>
                </a:cubicBezTo>
                <a:cubicBezTo>
                  <a:pt x="329" y="350"/>
                  <a:pt x="329" y="350"/>
                  <a:pt x="329" y="350"/>
                </a:cubicBezTo>
                <a:cubicBezTo>
                  <a:pt x="322" y="354"/>
                  <a:pt x="322" y="354"/>
                  <a:pt x="322" y="354"/>
                </a:cubicBezTo>
                <a:cubicBezTo>
                  <a:pt x="319" y="356"/>
                  <a:pt x="319" y="356"/>
                  <a:pt x="319" y="356"/>
                </a:cubicBezTo>
                <a:cubicBezTo>
                  <a:pt x="317" y="360"/>
                  <a:pt x="317" y="360"/>
                  <a:pt x="317" y="360"/>
                </a:cubicBezTo>
                <a:cubicBezTo>
                  <a:pt x="316" y="362"/>
                  <a:pt x="316" y="362"/>
                  <a:pt x="316" y="362"/>
                </a:cubicBezTo>
                <a:cubicBezTo>
                  <a:pt x="317" y="364"/>
                  <a:pt x="317" y="364"/>
                  <a:pt x="317" y="364"/>
                </a:cubicBezTo>
                <a:cubicBezTo>
                  <a:pt x="320" y="366"/>
                  <a:pt x="320" y="366"/>
                  <a:pt x="320" y="366"/>
                </a:cubicBezTo>
                <a:cubicBezTo>
                  <a:pt x="316" y="365"/>
                  <a:pt x="316" y="365"/>
                  <a:pt x="316" y="365"/>
                </a:cubicBezTo>
                <a:cubicBezTo>
                  <a:pt x="314" y="366"/>
                  <a:pt x="314" y="366"/>
                  <a:pt x="314" y="366"/>
                </a:cubicBezTo>
                <a:cubicBezTo>
                  <a:pt x="312" y="369"/>
                  <a:pt x="312" y="369"/>
                  <a:pt x="312" y="369"/>
                </a:cubicBezTo>
                <a:cubicBezTo>
                  <a:pt x="311" y="372"/>
                  <a:pt x="311" y="372"/>
                  <a:pt x="311" y="372"/>
                </a:cubicBezTo>
                <a:cubicBezTo>
                  <a:pt x="308" y="375"/>
                  <a:pt x="308" y="375"/>
                  <a:pt x="308" y="375"/>
                </a:cubicBezTo>
                <a:cubicBezTo>
                  <a:pt x="307" y="377"/>
                  <a:pt x="307" y="377"/>
                  <a:pt x="307" y="377"/>
                </a:cubicBezTo>
                <a:cubicBezTo>
                  <a:pt x="307" y="379"/>
                  <a:pt x="307" y="379"/>
                  <a:pt x="307" y="379"/>
                </a:cubicBezTo>
                <a:cubicBezTo>
                  <a:pt x="308" y="380"/>
                  <a:pt x="308" y="380"/>
                  <a:pt x="308" y="380"/>
                </a:cubicBezTo>
                <a:cubicBezTo>
                  <a:pt x="308" y="381"/>
                  <a:pt x="308" y="381"/>
                  <a:pt x="308" y="381"/>
                </a:cubicBezTo>
                <a:cubicBezTo>
                  <a:pt x="306" y="381"/>
                  <a:pt x="306" y="381"/>
                  <a:pt x="306" y="381"/>
                </a:cubicBezTo>
                <a:cubicBezTo>
                  <a:pt x="305" y="379"/>
                  <a:pt x="305" y="379"/>
                  <a:pt x="305" y="379"/>
                </a:cubicBezTo>
                <a:cubicBezTo>
                  <a:pt x="304" y="379"/>
                  <a:pt x="304" y="379"/>
                  <a:pt x="304" y="379"/>
                </a:cubicBezTo>
                <a:cubicBezTo>
                  <a:pt x="302" y="381"/>
                  <a:pt x="302" y="381"/>
                  <a:pt x="302" y="381"/>
                </a:cubicBezTo>
                <a:cubicBezTo>
                  <a:pt x="299" y="383"/>
                  <a:pt x="299" y="383"/>
                  <a:pt x="299" y="383"/>
                </a:cubicBezTo>
                <a:cubicBezTo>
                  <a:pt x="300" y="385"/>
                  <a:pt x="300" y="385"/>
                  <a:pt x="300" y="385"/>
                </a:cubicBezTo>
                <a:cubicBezTo>
                  <a:pt x="299" y="386"/>
                  <a:pt x="299" y="386"/>
                  <a:pt x="299" y="386"/>
                </a:cubicBezTo>
                <a:cubicBezTo>
                  <a:pt x="297" y="386"/>
                  <a:pt x="297" y="386"/>
                  <a:pt x="297" y="386"/>
                </a:cubicBezTo>
                <a:cubicBezTo>
                  <a:pt x="296" y="385"/>
                  <a:pt x="296" y="385"/>
                  <a:pt x="296" y="385"/>
                </a:cubicBezTo>
                <a:cubicBezTo>
                  <a:pt x="295" y="386"/>
                  <a:pt x="295" y="386"/>
                  <a:pt x="295" y="386"/>
                </a:cubicBezTo>
                <a:cubicBezTo>
                  <a:pt x="290" y="390"/>
                  <a:pt x="290" y="390"/>
                  <a:pt x="290" y="390"/>
                </a:cubicBezTo>
                <a:cubicBezTo>
                  <a:pt x="288" y="393"/>
                  <a:pt x="288" y="393"/>
                  <a:pt x="288" y="393"/>
                </a:cubicBezTo>
                <a:cubicBezTo>
                  <a:pt x="289" y="394"/>
                  <a:pt x="289" y="394"/>
                  <a:pt x="289" y="394"/>
                </a:cubicBezTo>
                <a:cubicBezTo>
                  <a:pt x="288" y="395"/>
                  <a:pt x="288" y="395"/>
                  <a:pt x="288" y="395"/>
                </a:cubicBezTo>
                <a:cubicBezTo>
                  <a:pt x="286" y="394"/>
                  <a:pt x="286" y="394"/>
                  <a:pt x="286" y="394"/>
                </a:cubicBezTo>
                <a:cubicBezTo>
                  <a:pt x="286" y="392"/>
                  <a:pt x="286" y="392"/>
                  <a:pt x="286" y="392"/>
                </a:cubicBezTo>
                <a:cubicBezTo>
                  <a:pt x="282" y="393"/>
                  <a:pt x="282" y="393"/>
                  <a:pt x="282" y="393"/>
                </a:cubicBezTo>
                <a:cubicBezTo>
                  <a:pt x="280" y="395"/>
                  <a:pt x="280" y="395"/>
                  <a:pt x="280" y="395"/>
                </a:cubicBezTo>
                <a:cubicBezTo>
                  <a:pt x="277" y="396"/>
                  <a:pt x="277" y="396"/>
                  <a:pt x="277" y="396"/>
                </a:cubicBezTo>
                <a:cubicBezTo>
                  <a:pt x="277" y="398"/>
                  <a:pt x="277" y="398"/>
                  <a:pt x="277" y="398"/>
                </a:cubicBezTo>
                <a:cubicBezTo>
                  <a:pt x="275" y="399"/>
                  <a:pt x="275" y="399"/>
                  <a:pt x="275" y="399"/>
                </a:cubicBezTo>
                <a:cubicBezTo>
                  <a:pt x="272" y="399"/>
                  <a:pt x="272" y="399"/>
                  <a:pt x="272" y="399"/>
                </a:cubicBezTo>
                <a:cubicBezTo>
                  <a:pt x="268" y="402"/>
                  <a:pt x="268" y="402"/>
                  <a:pt x="268" y="402"/>
                </a:cubicBezTo>
                <a:cubicBezTo>
                  <a:pt x="263" y="404"/>
                  <a:pt x="263" y="404"/>
                  <a:pt x="263" y="404"/>
                </a:cubicBezTo>
                <a:cubicBezTo>
                  <a:pt x="259" y="407"/>
                  <a:pt x="259" y="407"/>
                  <a:pt x="259" y="407"/>
                </a:cubicBezTo>
                <a:cubicBezTo>
                  <a:pt x="257" y="410"/>
                  <a:pt x="257" y="410"/>
                  <a:pt x="257" y="410"/>
                </a:cubicBezTo>
                <a:cubicBezTo>
                  <a:pt x="257" y="412"/>
                  <a:pt x="257" y="412"/>
                  <a:pt x="257" y="412"/>
                </a:cubicBezTo>
                <a:cubicBezTo>
                  <a:pt x="258" y="414"/>
                  <a:pt x="258" y="414"/>
                  <a:pt x="258" y="414"/>
                </a:cubicBezTo>
                <a:cubicBezTo>
                  <a:pt x="258" y="415"/>
                  <a:pt x="258" y="415"/>
                  <a:pt x="258" y="415"/>
                </a:cubicBezTo>
                <a:cubicBezTo>
                  <a:pt x="257" y="416"/>
                  <a:pt x="257" y="416"/>
                  <a:pt x="257" y="416"/>
                </a:cubicBezTo>
                <a:cubicBezTo>
                  <a:pt x="256" y="414"/>
                  <a:pt x="256" y="414"/>
                  <a:pt x="256" y="414"/>
                </a:cubicBezTo>
                <a:cubicBezTo>
                  <a:pt x="255" y="414"/>
                  <a:pt x="255" y="414"/>
                  <a:pt x="255" y="414"/>
                </a:cubicBezTo>
                <a:cubicBezTo>
                  <a:pt x="254" y="415"/>
                  <a:pt x="254" y="415"/>
                  <a:pt x="254" y="415"/>
                </a:cubicBezTo>
                <a:cubicBezTo>
                  <a:pt x="254" y="417"/>
                  <a:pt x="254" y="417"/>
                  <a:pt x="254" y="417"/>
                </a:cubicBezTo>
                <a:cubicBezTo>
                  <a:pt x="253" y="417"/>
                  <a:pt x="253" y="417"/>
                  <a:pt x="253" y="417"/>
                </a:cubicBezTo>
                <a:cubicBezTo>
                  <a:pt x="252" y="416"/>
                  <a:pt x="252" y="416"/>
                  <a:pt x="252" y="416"/>
                </a:cubicBezTo>
                <a:cubicBezTo>
                  <a:pt x="252" y="414"/>
                  <a:pt x="252" y="414"/>
                  <a:pt x="252" y="414"/>
                </a:cubicBezTo>
                <a:cubicBezTo>
                  <a:pt x="253" y="412"/>
                  <a:pt x="253" y="412"/>
                  <a:pt x="253" y="412"/>
                </a:cubicBezTo>
                <a:cubicBezTo>
                  <a:pt x="251" y="411"/>
                  <a:pt x="251" y="411"/>
                  <a:pt x="251" y="411"/>
                </a:cubicBezTo>
                <a:cubicBezTo>
                  <a:pt x="249" y="411"/>
                  <a:pt x="249" y="411"/>
                  <a:pt x="249" y="411"/>
                </a:cubicBezTo>
                <a:cubicBezTo>
                  <a:pt x="248" y="411"/>
                  <a:pt x="248" y="411"/>
                  <a:pt x="248" y="411"/>
                </a:cubicBezTo>
                <a:cubicBezTo>
                  <a:pt x="245" y="411"/>
                  <a:pt x="245" y="411"/>
                  <a:pt x="245" y="411"/>
                </a:cubicBezTo>
                <a:cubicBezTo>
                  <a:pt x="242" y="412"/>
                  <a:pt x="242" y="412"/>
                  <a:pt x="242" y="412"/>
                </a:cubicBezTo>
                <a:cubicBezTo>
                  <a:pt x="239" y="413"/>
                  <a:pt x="239" y="413"/>
                  <a:pt x="239" y="413"/>
                </a:cubicBezTo>
                <a:cubicBezTo>
                  <a:pt x="238" y="415"/>
                  <a:pt x="238" y="415"/>
                  <a:pt x="238" y="415"/>
                </a:cubicBezTo>
                <a:cubicBezTo>
                  <a:pt x="235" y="416"/>
                  <a:pt x="235" y="416"/>
                  <a:pt x="235" y="416"/>
                </a:cubicBezTo>
                <a:cubicBezTo>
                  <a:pt x="232" y="418"/>
                  <a:pt x="232" y="418"/>
                  <a:pt x="232" y="418"/>
                </a:cubicBezTo>
                <a:cubicBezTo>
                  <a:pt x="229" y="421"/>
                  <a:pt x="229" y="421"/>
                  <a:pt x="229" y="421"/>
                </a:cubicBezTo>
                <a:cubicBezTo>
                  <a:pt x="230" y="422"/>
                  <a:pt x="230" y="422"/>
                  <a:pt x="230" y="422"/>
                </a:cubicBezTo>
                <a:cubicBezTo>
                  <a:pt x="229" y="423"/>
                  <a:pt x="229" y="423"/>
                  <a:pt x="229" y="423"/>
                </a:cubicBezTo>
                <a:cubicBezTo>
                  <a:pt x="228" y="423"/>
                  <a:pt x="228" y="423"/>
                  <a:pt x="228" y="423"/>
                </a:cubicBezTo>
                <a:cubicBezTo>
                  <a:pt x="225" y="424"/>
                  <a:pt x="225" y="424"/>
                  <a:pt x="225" y="424"/>
                </a:cubicBezTo>
                <a:cubicBezTo>
                  <a:pt x="223" y="425"/>
                  <a:pt x="223" y="425"/>
                  <a:pt x="223" y="425"/>
                </a:cubicBezTo>
                <a:cubicBezTo>
                  <a:pt x="223" y="427"/>
                  <a:pt x="223" y="427"/>
                  <a:pt x="223" y="427"/>
                </a:cubicBezTo>
                <a:cubicBezTo>
                  <a:pt x="222" y="427"/>
                  <a:pt x="222" y="427"/>
                  <a:pt x="222" y="427"/>
                </a:cubicBezTo>
                <a:cubicBezTo>
                  <a:pt x="220" y="426"/>
                  <a:pt x="220" y="426"/>
                  <a:pt x="220" y="426"/>
                </a:cubicBezTo>
                <a:cubicBezTo>
                  <a:pt x="217" y="427"/>
                  <a:pt x="217" y="427"/>
                  <a:pt x="217" y="427"/>
                </a:cubicBezTo>
                <a:cubicBezTo>
                  <a:pt x="216" y="429"/>
                  <a:pt x="216" y="429"/>
                  <a:pt x="216" y="429"/>
                </a:cubicBezTo>
                <a:cubicBezTo>
                  <a:pt x="216" y="431"/>
                  <a:pt x="216" y="431"/>
                  <a:pt x="216" y="431"/>
                </a:cubicBezTo>
                <a:cubicBezTo>
                  <a:pt x="216" y="433"/>
                  <a:pt x="216" y="433"/>
                  <a:pt x="216" y="433"/>
                </a:cubicBezTo>
                <a:cubicBezTo>
                  <a:pt x="218" y="432"/>
                  <a:pt x="218" y="432"/>
                  <a:pt x="218" y="432"/>
                </a:cubicBezTo>
                <a:cubicBezTo>
                  <a:pt x="219" y="430"/>
                  <a:pt x="219" y="430"/>
                  <a:pt x="219" y="430"/>
                </a:cubicBezTo>
                <a:cubicBezTo>
                  <a:pt x="218" y="429"/>
                  <a:pt x="218" y="429"/>
                  <a:pt x="218" y="429"/>
                </a:cubicBezTo>
                <a:cubicBezTo>
                  <a:pt x="220" y="428"/>
                  <a:pt x="220" y="428"/>
                  <a:pt x="220" y="428"/>
                </a:cubicBezTo>
                <a:cubicBezTo>
                  <a:pt x="221" y="429"/>
                  <a:pt x="221" y="429"/>
                  <a:pt x="221" y="429"/>
                </a:cubicBezTo>
                <a:cubicBezTo>
                  <a:pt x="221" y="431"/>
                  <a:pt x="221" y="431"/>
                  <a:pt x="221" y="431"/>
                </a:cubicBezTo>
                <a:cubicBezTo>
                  <a:pt x="221" y="431"/>
                  <a:pt x="221" y="431"/>
                  <a:pt x="221" y="431"/>
                </a:cubicBezTo>
                <a:cubicBezTo>
                  <a:pt x="223" y="431"/>
                  <a:pt x="223" y="431"/>
                  <a:pt x="223" y="431"/>
                </a:cubicBezTo>
                <a:cubicBezTo>
                  <a:pt x="225" y="428"/>
                  <a:pt x="225" y="428"/>
                  <a:pt x="225" y="428"/>
                </a:cubicBezTo>
                <a:cubicBezTo>
                  <a:pt x="226" y="427"/>
                  <a:pt x="226" y="427"/>
                  <a:pt x="226" y="427"/>
                </a:cubicBezTo>
                <a:cubicBezTo>
                  <a:pt x="227" y="429"/>
                  <a:pt x="227" y="429"/>
                  <a:pt x="227" y="429"/>
                </a:cubicBezTo>
                <a:cubicBezTo>
                  <a:pt x="227" y="430"/>
                  <a:pt x="227" y="430"/>
                  <a:pt x="227" y="430"/>
                </a:cubicBezTo>
                <a:cubicBezTo>
                  <a:pt x="227" y="431"/>
                  <a:pt x="227" y="431"/>
                  <a:pt x="227" y="431"/>
                </a:cubicBezTo>
                <a:cubicBezTo>
                  <a:pt x="229" y="431"/>
                  <a:pt x="229" y="431"/>
                  <a:pt x="229" y="431"/>
                </a:cubicBezTo>
                <a:cubicBezTo>
                  <a:pt x="230" y="429"/>
                  <a:pt x="230" y="429"/>
                  <a:pt x="230" y="429"/>
                </a:cubicBezTo>
                <a:cubicBezTo>
                  <a:pt x="231" y="430"/>
                  <a:pt x="231" y="430"/>
                  <a:pt x="231" y="430"/>
                </a:cubicBezTo>
                <a:cubicBezTo>
                  <a:pt x="231" y="430"/>
                  <a:pt x="231" y="430"/>
                  <a:pt x="231" y="430"/>
                </a:cubicBezTo>
                <a:cubicBezTo>
                  <a:pt x="232" y="429"/>
                  <a:pt x="232" y="429"/>
                  <a:pt x="232" y="429"/>
                </a:cubicBezTo>
                <a:cubicBezTo>
                  <a:pt x="233" y="428"/>
                  <a:pt x="233" y="428"/>
                  <a:pt x="233" y="428"/>
                </a:cubicBezTo>
                <a:cubicBezTo>
                  <a:pt x="236" y="428"/>
                  <a:pt x="236" y="428"/>
                  <a:pt x="236" y="428"/>
                </a:cubicBezTo>
                <a:cubicBezTo>
                  <a:pt x="238" y="426"/>
                  <a:pt x="238" y="426"/>
                  <a:pt x="238" y="426"/>
                </a:cubicBezTo>
                <a:cubicBezTo>
                  <a:pt x="239" y="424"/>
                  <a:pt x="239" y="424"/>
                  <a:pt x="239" y="424"/>
                </a:cubicBezTo>
                <a:cubicBezTo>
                  <a:pt x="239" y="422"/>
                  <a:pt x="239" y="422"/>
                  <a:pt x="239" y="422"/>
                </a:cubicBezTo>
                <a:cubicBezTo>
                  <a:pt x="241" y="420"/>
                  <a:pt x="241" y="420"/>
                  <a:pt x="241" y="420"/>
                </a:cubicBezTo>
                <a:cubicBezTo>
                  <a:pt x="243" y="418"/>
                  <a:pt x="243" y="418"/>
                  <a:pt x="243" y="418"/>
                </a:cubicBezTo>
                <a:cubicBezTo>
                  <a:pt x="244" y="418"/>
                  <a:pt x="244" y="418"/>
                  <a:pt x="244" y="418"/>
                </a:cubicBezTo>
                <a:cubicBezTo>
                  <a:pt x="247" y="420"/>
                  <a:pt x="247" y="420"/>
                  <a:pt x="247" y="420"/>
                </a:cubicBezTo>
                <a:cubicBezTo>
                  <a:pt x="246" y="421"/>
                  <a:pt x="246" y="421"/>
                  <a:pt x="246" y="421"/>
                </a:cubicBezTo>
                <a:cubicBezTo>
                  <a:pt x="244" y="421"/>
                  <a:pt x="244" y="421"/>
                  <a:pt x="244" y="421"/>
                </a:cubicBezTo>
                <a:cubicBezTo>
                  <a:pt x="243" y="423"/>
                  <a:pt x="243" y="423"/>
                  <a:pt x="243" y="423"/>
                </a:cubicBezTo>
                <a:cubicBezTo>
                  <a:pt x="243" y="426"/>
                  <a:pt x="243" y="426"/>
                  <a:pt x="243" y="426"/>
                </a:cubicBezTo>
                <a:cubicBezTo>
                  <a:pt x="243" y="426"/>
                  <a:pt x="243" y="426"/>
                  <a:pt x="243" y="426"/>
                </a:cubicBezTo>
                <a:cubicBezTo>
                  <a:pt x="247" y="424"/>
                  <a:pt x="247" y="424"/>
                  <a:pt x="247" y="424"/>
                </a:cubicBezTo>
                <a:cubicBezTo>
                  <a:pt x="247" y="422"/>
                  <a:pt x="247" y="422"/>
                  <a:pt x="247" y="422"/>
                </a:cubicBezTo>
                <a:cubicBezTo>
                  <a:pt x="249" y="421"/>
                  <a:pt x="249" y="421"/>
                  <a:pt x="249" y="421"/>
                </a:cubicBezTo>
                <a:cubicBezTo>
                  <a:pt x="249" y="422"/>
                  <a:pt x="249" y="422"/>
                  <a:pt x="249" y="422"/>
                </a:cubicBezTo>
                <a:cubicBezTo>
                  <a:pt x="250" y="421"/>
                  <a:pt x="250" y="421"/>
                  <a:pt x="250" y="421"/>
                </a:cubicBezTo>
                <a:cubicBezTo>
                  <a:pt x="251" y="421"/>
                  <a:pt x="251" y="421"/>
                  <a:pt x="251" y="421"/>
                </a:cubicBezTo>
                <a:cubicBezTo>
                  <a:pt x="252" y="423"/>
                  <a:pt x="252" y="423"/>
                  <a:pt x="252" y="423"/>
                </a:cubicBezTo>
                <a:cubicBezTo>
                  <a:pt x="251" y="424"/>
                  <a:pt x="251" y="424"/>
                  <a:pt x="251" y="424"/>
                </a:cubicBezTo>
                <a:cubicBezTo>
                  <a:pt x="252" y="424"/>
                  <a:pt x="252" y="424"/>
                  <a:pt x="252" y="424"/>
                </a:cubicBezTo>
                <a:cubicBezTo>
                  <a:pt x="254" y="422"/>
                  <a:pt x="254" y="422"/>
                  <a:pt x="254" y="422"/>
                </a:cubicBezTo>
                <a:cubicBezTo>
                  <a:pt x="255" y="422"/>
                  <a:pt x="255" y="422"/>
                  <a:pt x="255" y="422"/>
                </a:cubicBezTo>
                <a:cubicBezTo>
                  <a:pt x="257" y="421"/>
                  <a:pt x="257" y="421"/>
                  <a:pt x="257" y="421"/>
                </a:cubicBezTo>
                <a:cubicBezTo>
                  <a:pt x="259" y="421"/>
                  <a:pt x="259" y="421"/>
                  <a:pt x="259" y="421"/>
                </a:cubicBezTo>
                <a:cubicBezTo>
                  <a:pt x="262" y="417"/>
                  <a:pt x="262" y="417"/>
                  <a:pt x="262" y="417"/>
                </a:cubicBezTo>
                <a:cubicBezTo>
                  <a:pt x="264" y="416"/>
                  <a:pt x="264" y="416"/>
                  <a:pt x="264" y="416"/>
                </a:cubicBezTo>
                <a:cubicBezTo>
                  <a:pt x="265" y="417"/>
                  <a:pt x="265" y="417"/>
                  <a:pt x="265" y="417"/>
                </a:cubicBezTo>
                <a:cubicBezTo>
                  <a:pt x="265" y="418"/>
                  <a:pt x="265" y="418"/>
                  <a:pt x="265" y="418"/>
                </a:cubicBezTo>
                <a:cubicBezTo>
                  <a:pt x="264" y="420"/>
                  <a:pt x="264" y="420"/>
                  <a:pt x="264" y="420"/>
                </a:cubicBezTo>
                <a:cubicBezTo>
                  <a:pt x="262" y="423"/>
                  <a:pt x="262" y="423"/>
                  <a:pt x="262" y="423"/>
                </a:cubicBezTo>
                <a:cubicBezTo>
                  <a:pt x="262" y="424"/>
                  <a:pt x="262" y="424"/>
                  <a:pt x="262" y="424"/>
                </a:cubicBezTo>
                <a:cubicBezTo>
                  <a:pt x="263" y="424"/>
                  <a:pt x="263" y="424"/>
                  <a:pt x="263" y="424"/>
                </a:cubicBezTo>
                <a:cubicBezTo>
                  <a:pt x="267" y="421"/>
                  <a:pt x="267" y="421"/>
                  <a:pt x="267" y="421"/>
                </a:cubicBezTo>
                <a:cubicBezTo>
                  <a:pt x="267" y="417"/>
                  <a:pt x="267" y="417"/>
                  <a:pt x="267" y="417"/>
                </a:cubicBezTo>
                <a:cubicBezTo>
                  <a:pt x="267" y="416"/>
                  <a:pt x="267" y="416"/>
                  <a:pt x="267" y="416"/>
                </a:cubicBezTo>
                <a:cubicBezTo>
                  <a:pt x="269" y="418"/>
                  <a:pt x="269" y="418"/>
                  <a:pt x="269" y="418"/>
                </a:cubicBezTo>
                <a:cubicBezTo>
                  <a:pt x="270" y="417"/>
                  <a:pt x="270" y="417"/>
                  <a:pt x="270" y="417"/>
                </a:cubicBezTo>
                <a:cubicBezTo>
                  <a:pt x="272" y="417"/>
                  <a:pt x="272" y="417"/>
                  <a:pt x="272" y="417"/>
                </a:cubicBezTo>
                <a:cubicBezTo>
                  <a:pt x="274" y="417"/>
                  <a:pt x="274" y="417"/>
                  <a:pt x="274" y="417"/>
                </a:cubicBezTo>
                <a:cubicBezTo>
                  <a:pt x="277" y="414"/>
                  <a:pt x="277" y="414"/>
                  <a:pt x="277" y="414"/>
                </a:cubicBezTo>
                <a:cubicBezTo>
                  <a:pt x="277" y="414"/>
                  <a:pt x="277" y="414"/>
                  <a:pt x="277" y="414"/>
                </a:cubicBezTo>
                <a:cubicBezTo>
                  <a:pt x="278" y="415"/>
                  <a:pt x="278" y="415"/>
                  <a:pt x="278" y="415"/>
                </a:cubicBezTo>
                <a:cubicBezTo>
                  <a:pt x="279" y="412"/>
                  <a:pt x="279" y="412"/>
                  <a:pt x="279" y="412"/>
                </a:cubicBezTo>
                <a:cubicBezTo>
                  <a:pt x="280" y="411"/>
                  <a:pt x="280" y="411"/>
                  <a:pt x="280" y="411"/>
                </a:cubicBezTo>
                <a:cubicBezTo>
                  <a:pt x="281" y="412"/>
                  <a:pt x="281" y="412"/>
                  <a:pt x="281" y="412"/>
                </a:cubicBezTo>
                <a:cubicBezTo>
                  <a:pt x="281" y="413"/>
                  <a:pt x="281" y="413"/>
                  <a:pt x="281" y="413"/>
                </a:cubicBezTo>
                <a:cubicBezTo>
                  <a:pt x="281" y="415"/>
                  <a:pt x="281" y="415"/>
                  <a:pt x="281" y="415"/>
                </a:cubicBezTo>
                <a:cubicBezTo>
                  <a:pt x="282" y="415"/>
                  <a:pt x="282" y="415"/>
                  <a:pt x="282" y="415"/>
                </a:cubicBezTo>
                <a:cubicBezTo>
                  <a:pt x="284" y="413"/>
                  <a:pt x="284" y="413"/>
                  <a:pt x="284" y="413"/>
                </a:cubicBezTo>
                <a:cubicBezTo>
                  <a:pt x="283" y="412"/>
                  <a:pt x="283" y="412"/>
                  <a:pt x="283" y="412"/>
                </a:cubicBezTo>
                <a:cubicBezTo>
                  <a:pt x="285" y="411"/>
                  <a:pt x="285" y="411"/>
                  <a:pt x="285" y="411"/>
                </a:cubicBezTo>
                <a:cubicBezTo>
                  <a:pt x="285" y="410"/>
                  <a:pt x="285" y="410"/>
                  <a:pt x="285" y="410"/>
                </a:cubicBezTo>
                <a:cubicBezTo>
                  <a:pt x="281" y="410"/>
                  <a:pt x="281" y="410"/>
                  <a:pt x="281" y="410"/>
                </a:cubicBezTo>
                <a:cubicBezTo>
                  <a:pt x="280" y="409"/>
                  <a:pt x="280" y="409"/>
                  <a:pt x="280" y="409"/>
                </a:cubicBezTo>
                <a:cubicBezTo>
                  <a:pt x="283" y="408"/>
                  <a:pt x="283" y="408"/>
                  <a:pt x="283" y="408"/>
                </a:cubicBezTo>
                <a:cubicBezTo>
                  <a:pt x="287" y="406"/>
                  <a:pt x="287" y="406"/>
                  <a:pt x="287" y="406"/>
                </a:cubicBezTo>
                <a:cubicBezTo>
                  <a:pt x="292" y="406"/>
                  <a:pt x="292" y="406"/>
                  <a:pt x="292" y="406"/>
                </a:cubicBezTo>
                <a:cubicBezTo>
                  <a:pt x="293" y="405"/>
                  <a:pt x="293" y="405"/>
                  <a:pt x="293" y="405"/>
                </a:cubicBezTo>
                <a:cubicBezTo>
                  <a:pt x="293" y="403"/>
                  <a:pt x="293" y="403"/>
                  <a:pt x="293" y="403"/>
                </a:cubicBezTo>
                <a:cubicBezTo>
                  <a:pt x="292" y="403"/>
                  <a:pt x="292" y="403"/>
                  <a:pt x="292" y="403"/>
                </a:cubicBezTo>
                <a:cubicBezTo>
                  <a:pt x="293" y="402"/>
                  <a:pt x="293" y="402"/>
                  <a:pt x="293" y="402"/>
                </a:cubicBezTo>
                <a:cubicBezTo>
                  <a:pt x="295" y="402"/>
                  <a:pt x="295" y="402"/>
                  <a:pt x="295" y="402"/>
                </a:cubicBezTo>
                <a:cubicBezTo>
                  <a:pt x="296" y="401"/>
                  <a:pt x="296" y="401"/>
                  <a:pt x="296" y="401"/>
                </a:cubicBezTo>
                <a:cubicBezTo>
                  <a:pt x="297" y="401"/>
                  <a:pt x="297" y="401"/>
                  <a:pt x="297" y="401"/>
                </a:cubicBezTo>
                <a:cubicBezTo>
                  <a:pt x="298" y="403"/>
                  <a:pt x="298" y="403"/>
                  <a:pt x="298" y="403"/>
                </a:cubicBezTo>
                <a:cubicBezTo>
                  <a:pt x="299" y="403"/>
                  <a:pt x="299" y="403"/>
                  <a:pt x="299" y="403"/>
                </a:cubicBezTo>
                <a:cubicBezTo>
                  <a:pt x="300" y="402"/>
                  <a:pt x="300" y="402"/>
                  <a:pt x="300" y="402"/>
                </a:cubicBezTo>
                <a:cubicBezTo>
                  <a:pt x="300" y="401"/>
                  <a:pt x="300" y="401"/>
                  <a:pt x="300" y="401"/>
                </a:cubicBezTo>
                <a:cubicBezTo>
                  <a:pt x="301" y="399"/>
                  <a:pt x="301" y="399"/>
                  <a:pt x="301" y="399"/>
                </a:cubicBezTo>
                <a:cubicBezTo>
                  <a:pt x="301" y="397"/>
                  <a:pt x="301" y="397"/>
                  <a:pt x="301" y="397"/>
                </a:cubicBezTo>
                <a:cubicBezTo>
                  <a:pt x="302" y="396"/>
                  <a:pt x="302" y="396"/>
                  <a:pt x="302" y="396"/>
                </a:cubicBezTo>
                <a:cubicBezTo>
                  <a:pt x="303" y="397"/>
                  <a:pt x="303" y="397"/>
                  <a:pt x="303" y="397"/>
                </a:cubicBezTo>
                <a:cubicBezTo>
                  <a:pt x="303" y="399"/>
                  <a:pt x="303" y="399"/>
                  <a:pt x="303" y="399"/>
                </a:cubicBezTo>
                <a:cubicBezTo>
                  <a:pt x="304" y="400"/>
                  <a:pt x="304" y="400"/>
                  <a:pt x="304" y="400"/>
                </a:cubicBezTo>
                <a:cubicBezTo>
                  <a:pt x="307" y="398"/>
                  <a:pt x="307" y="398"/>
                  <a:pt x="307" y="398"/>
                </a:cubicBezTo>
                <a:cubicBezTo>
                  <a:pt x="309" y="396"/>
                  <a:pt x="309" y="396"/>
                  <a:pt x="309" y="396"/>
                </a:cubicBezTo>
                <a:cubicBezTo>
                  <a:pt x="310" y="396"/>
                  <a:pt x="310" y="396"/>
                  <a:pt x="310" y="396"/>
                </a:cubicBezTo>
                <a:cubicBezTo>
                  <a:pt x="312" y="394"/>
                  <a:pt x="312" y="394"/>
                  <a:pt x="312" y="394"/>
                </a:cubicBezTo>
                <a:cubicBezTo>
                  <a:pt x="312" y="394"/>
                  <a:pt x="312" y="394"/>
                  <a:pt x="312" y="394"/>
                </a:cubicBezTo>
                <a:cubicBezTo>
                  <a:pt x="314" y="395"/>
                  <a:pt x="314" y="395"/>
                  <a:pt x="314" y="395"/>
                </a:cubicBezTo>
                <a:cubicBezTo>
                  <a:pt x="316" y="395"/>
                  <a:pt x="316" y="395"/>
                  <a:pt x="316" y="395"/>
                </a:cubicBezTo>
                <a:cubicBezTo>
                  <a:pt x="318" y="391"/>
                  <a:pt x="318" y="391"/>
                  <a:pt x="318" y="391"/>
                </a:cubicBezTo>
                <a:cubicBezTo>
                  <a:pt x="318" y="390"/>
                  <a:pt x="318" y="390"/>
                  <a:pt x="318" y="390"/>
                </a:cubicBezTo>
                <a:cubicBezTo>
                  <a:pt x="317" y="389"/>
                  <a:pt x="317" y="389"/>
                  <a:pt x="317" y="389"/>
                </a:cubicBezTo>
                <a:cubicBezTo>
                  <a:pt x="316" y="390"/>
                  <a:pt x="316" y="390"/>
                  <a:pt x="316" y="390"/>
                </a:cubicBezTo>
                <a:cubicBezTo>
                  <a:pt x="315" y="389"/>
                  <a:pt x="315" y="389"/>
                  <a:pt x="315" y="389"/>
                </a:cubicBezTo>
                <a:cubicBezTo>
                  <a:pt x="319" y="387"/>
                  <a:pt x="319" y="387"/>
                  <a:pt x="319" y="387"/>
                </a:cubicBezTo>
                <a:cubicBezTo>
                  <a:pt x="321" y="386"/>
                  <a:pt x="321" y="386"/>
                  <a:pt x="321" y="386"/>
                </a:cubicBezTo>
                <a:cubicBezTo>
                  <a:pt x="323" y="384"/>
                  <a:pt x="323" y="384"/>
                  <a:pt x="323" y="384"/>
                </a:cubicBezTo>
                <a:cubicBezTo>
                  <a:pt x="324" y="384"/>
                  <a:pt x="324" y="384"/>
                  <a:pt x="324" y="384"/>
                </a:cubicBezTo>
                <a:cubicBezTo>
                  <a:pt x="324" y="385"/>
                  <a:pt x="324" y="385"/>
                  <a:pt x="324" y="385"/>
                </a:cubicBezTo>
                <a:cubicBezTo>
                  <a:pt x="327" y="382"/>
                  <a:pt x="327" y="382"/>
                  <a:pt x="327" y="382"/>
                </a:cubicBezTo>
                <a:cubicBezTo>
                  <a:pt x="329" y="381"/>
                  <a:pt x="329" y="381"/>
                  <a:pt x="329" y="381"/>
                </a:cubicBezTo>
                <a:cubicBezTo>
                  <a:pt x="330" y="380"/>
                  <a:pt x="330" y="380"/>
                  <a:pt x="330" y="380"/>
                </a:cubicBezTo>
                <a:cubicBezTo>
                  <a:pt x="331" y="379"/>
                  <a:pt x="331" y="379"/>
                  <a:pt x="331" y="379"/>
                </a:cubicBezTo>
                <a:cubicBezTo>
                  <a:pt x="332" y="378"/>
                  <a:pt x="332" y="378"/>
                  <a:pt x="332" y="378"/>
                </a:cubicBezTo>
                <a:cubicBezTo>
                  <a:pt x="334" y="378"/>
                  <a:pt x="334" y="378"/>
                  <a:pt x="334" y="378"/>
                </a:cubicBezTo>
                <a:cubicBezTo>
                  <a:pt x="334" y="379"/>
                  <a:pt x="334" y="379"/>
                  <a:pt x="334" y="379"/>
                </a:cubicBezTo>
                <a:cubicBezTo>
                  <a:pt x="336" y="380"/>
                  <a:pt x="336" y="380"/>
                  <a:pt x="336" y="380"/>
                </a:cubicBezTo>
                <a:cubicBezTo>
                  <a:pt x="336" y="378"/>
                  <a:pt x="336" y="378"/>
                  <a:pt x="336" y="378"/>
                </a:cubicBezTo>
                <a:cubicBezTo>
                  <a:pt x="338" y="378"/>
                  <a:pt x="338" y="378"/>
                  <a:pt x="338" y="378"/>
                </a:cubicBezTo>
                <a:cubicBezTo>
                  <a:pt x="339" y="377"/>
                  <a:pt x="339" y="377"/>
                  <a:pt x="339" y="377"/>
                </a:cubicBezTo>
                <a:cubicBezTo>
                  <a:pt x="339" y="376"/>
                  <a:pt x="339" y="376"/>
                  <a:pt x="339" y="376"/>
                </a:cubicBezTo>
                <a:cubicBezTo>
                  <a:pt x="341" y="375"/>
                  <a:pt x="341" y="375"/>
                  <a:pt x="341" y="375"/>
                </a:cubicBezTo>
                <a:cubicBezTo>
                  <a:pt x="342" y="374"/>
                  <a:pt x="342" y="374"/>
                  <a:pt x="342" y="374"/>
                </a:cubicBezTo>
                <a:cubicBezTo>
                  <a:pt x="342" y="375"/>
                  <a:pt x="342" y="375"/>
                  <a:pt x="342" y="375"/>
                </a:cubicBezTo>
                <a:cubicBezTo>
                  <a:pt x="346" y="375"/>
                  <a:pt x="346" y="375"/>
                  <a:pt x="346" y="375"/>
                </a:cubicBezTo>
                <a:cubicBezTo>
                  <a:pt x="347" y="373"/>
                  <a:pt x="347" y="373"/>
                  <a:pt x="347" y="373"/>
                </a:cubicBezTo>
                <a:cubicBezTo>
                  <a:pt x="348" y="373"/>
                  <a:pt x="348" y="373"/>
                  <a:pt x="348" y="373"/>
                </a:cubicBezTo>
                <a:cubicBezTo>
                  <a:pt x="348" y="374"/>
                  <a:pt x="348" y="374"/>
                  <a:pt x="348" y="374"/>
                </a:cubicBezTo>
                <a:cubicBezTo>
                  <a:pt x="349" y="374"/>
                  <a:pt x="349" y="374"/>
                  <a:pt x="349" y="374"/>
                </a:cubicBezTo>
                <a:cubicBezTo>
                  <a:pt x="350" y="373"/>
                  <a:pt x="350" y="373"/>
                  <a:pt x="350" y="373"/>
                </a:cubicBezTo>
                <a:cubicBezTo>
                  <a:pt x="351" y="374"/>
                  <a:pt x="351" y="374"/>
                  <a:pt x="351" y="374"/>
                </a:cubicBezTo>
                <a:cubicBezTo>
                  <a:pt x="352" y="373"/>
                  <a:pt x="352" y="373"/>
                  <a:pt x="352" y="373"/>
                </a:cubicBezTo>
                <a:cubicBezTo>
                  <a:pt x="353" y="370"/>
                  <a:pt x="353" y="370"/>
                  <a:pt x="353" y="370"/>
                </a:cubicBezTo>
                <a:cubicBezTo>
                  <a:pt x="352" y="370"/>
                  <a:pt x="352" y="370"/>
                  <a:pt x="352" y="370"/>
                </a:cubicBezTo>
                <a:cubicBezTo>
                  <a:pt x="351" y="370"/>
                  <a:pt x="351" y="370"/>
                  <a:pt x="351" y="370"/>
                </a:cubicBezTo>
                <a:cubicBezTo>
                  <a:pt x="352" y="369"/>
                  <a:pt x="352" y="369"/>
                  <a:pt x="352" y="369"/>
                </a:cubicBezTo>
                <a:cubicBezTo>
                  <a:pt x="354" y="367"/>
                  <a:pt x="354" y="367"/>
                  <a:pt x="354" y="367"/>
                </a:cubicBezTo>
                <a:cubicBezTo>
                  <a:pt x="355" y="367"/>
                  <a:pt x="355" y="367"/>
                  <a:pt x="355" y="367"/>
                </a:cubicBezTo>
                <a:cubicBezTo>
                  <a:pt x="356" y="367"/>
                  <a:pt x="356" y="367"/>
                  <a:pt x="356" y="367"/>
                </a:cubicBezTo>
                <a:cubicBezTo>
                  <a:pt x="357" y="367"/>
                  <a:pt x="357" y="367"/>
                  <a:pt x="357" y="367"/>
                </a:cubicBezTo>
                <a:cubicBezTo>
                  <a:pt x="356" y="365"/>
                  <a:pt x="356" y="365"/>
                  <a:pt x="356" y="365"/>
                </a:cubicBezTo>
                <a:cubicBezTo>
                  <a:pt x="354" y="365"/>
                  <a:pt x="354" y="365"/>
                  <a:pt x="354" y="365"/>
                </a:cubicBezTo>
                <a:cubicBezTo>
                  <a:pt x="355" y="364"/>
                  <a:pt x="355" y="364"/>
                  <a:pt x="355" y="364"/>
                </a:cubicBezTo>
                <a:cubicBezTo>
                  <a:pt x="358" y="365"/>
                  <a:pt x="358" y="365"/>
                  <a:pt x="358" y="365"/>
                </a:cubicBezTo>
                <a:cubicBezTo>
                  <a:pt x="360" y="362"/>
                  <a:pt x="360" y="362"/>
                  <a:pt x="360" y="362"/>
                </a:cubicBezTo>
                <a:cubicBezTo>
                  <a:pt x="363" y="362"/>
                  <a:pt x="363" y="362"/>
                  <a:pt x="363" y="362"/>
                </a:cubicBezTo>
                <a:cubicBezTo>
                  <a:pt x="366" y="360"/>
                  <a:pt x="366" y="360"/>
                  <a:pt x="366" y="360"/>
                </a:cubicBezTo>
                <a:cubicBezTo>
                  <a:pt x="367" y="360"/>
                  <a:pt x="367" y="360"/>
                  <a:pt x="367" y="360"/>
                </a:cubicBezTo>
                <a:cubicBezTo>
                  <a:pt x="370" y="357"/>
                  <a:pt x="370" y="357"/>
                  <a:pt x="370" y="357"/>
                </a:cubicBezTo>
                <a:cubicBezTo>
                  <a:pt x="370" y="353"/>
                  <a:pt x="370" y="353"/>
                  <a:pt x="370" y="353"/>
                </a:cubicBezTo>
                <a:cubicBezTo>
                  <a:pt x="369" y="353"/>
                  <a:pt x="369" y="353"/>
                  <a:pt x="369" y="353"/>
                </a:cubicBezTo>
                <a:cubicBezTo>
                  <a:pt x="369" y="353"/>
                  <a:pt x="369" y="353"/>
                  <a:pt x="369" y="353"/>
                </a:cubicBezTo>
                <a:cubicBezTo>
                  <a:pt x="368" y="350"/>
                  <a:pt x="368" y="350"/>
                  <a:pt x="368" y="350"/>
                </a:cubicBezTo>
                <a:cubicBezTo>
                  <a:pt x="366" y="349"/>
                  <a:pt x="366" y="349"/>
                  <a:pt x="366" y="349"/>
                </a:cubicBezTo>
                <a:cubicBezTo>
                  <a:pt x="363" y="349"/>
                  <a:pt x="363" y="349"/>
                  <a:pt x="363" y="349"/>
                </a:cubicBezTo>
                <a:cubicBezTo>
                  <a:pt x="364" y="347"/>
                  <a:pt x="364" y="347"/>
                  <a:pt x="364" y="347"/>
                </a:cubicBezTo>
                <a:cubicBezTo>
                  <a:pt x="364" y="345"/>
                  <a:pt x="364" y="345"/>
                  <a:pt x="364" y="345"/>
                </a:cubicBezTo>
                <a:cubicBezTo>
                  <a:pt x="367" y="343"/>
                  <a:pt x="367" y="343"/>
                  <a:pt x="367" y="343"/>
                </a:cubicBezTo>
                <a:cubicBezTo>
                  <a:pt x="367" y="342"/>
                  <a:pt x="367" y="342"/>
                  <a:pt x="367" y="342"/>
                </a:cubicBezTo>
                <a:cubicBezTo>
                  <a:pt x="369" y="342"/>
                  <a:pt x="369" y="342"/>
                  <a:pt x="369" y="342"/>
                </a:cubicBezTo>
                <a:cubicBezTo>
                  <a:pt x="370" y="340"/>
                  <a:pt x="370" y="340"/>
                  <a:pt x="370" y="340"/>
                </a:cubicBezTo>
                <a:cubicBezTo>
                  <a:pt x="369" y="340"/>
                  <a:pt x="369" y="340"/>
                  <a:pt x="369" y="340"/>
                </a:cubicBezTo>
                <a:cubicBezTo>
                  <a:pt x="370" y="339"/>
                  <a:pt x="370" y="339"/>
                  <a:pt x="370" y="339"/>
                </a:cubicBezTo>
                <a:cubicBezTo>
                  <a:pt x="373" y="340"/>
                  <a:pt x="373" y="340"/>
                  <a:pt x="373" y="340"/>
                </a:cubicBezTo>
                <a:cubicBezTo>
                  <a:pt x="376" y="337"/>
                  <a:pt x="376" y="337"/>
                  <a:pt x="376" y="337"/>
                </a:cubicBezTo>
                <a:cubicBezTo>
                  <a:pt x="378" y="339"/>
                  <a:pt x="378" y="339"/>
                  <a:pt x="378" y="339"/>
                </a:cubicBezTo>
                <a:cubicBezTo>
                  <a:pt x="381" y="338"/>
                  <a:pt x="381" y="338"/>
                  <a:pt x="381" y="338"/>
                </a:cubicBezTo>
                <a:cubicBezTo>
                  <a:pt x="381" y="339"/>
                  <a:pt x="381" y="339"/>
                  <a:pt x="381" y="339"/>
                </a:cubicBezTo>
                <a:cubicBezTo>
                  <a:pt x="381" y="341"/>
                  <a:pt x="381" y="341"/>
                  <a:pt x="381" y="341"/>
                </a:cubicBezTo>
                <a:cubicBezTo>
                  <a:pt x="383" y="341"/>
                  <a:pt x="383" y="341"/>
                  <a:pt x="383" y="341"/>
                </a:cubicBezTo>
                <a:cubicBezTo>
                  <a:pt x="385" y="338"/>
                  <a:pt x="385" y="338"/>
                  <a:pt x="385" y="338"/>
                </a:cubicBezTo>
                <a:cubicBezTo>
                  <a:pt x="385" y="337"/>
                  <a:pt x="385" y="337"/>
                  <a:pt x="385" y="337"/>
                </a:cubicBezTo>
                <a:cubicBezTo>
                  <a:pt x="384" y="336"/>
                  <a:pt x="384" y="336"/>
                  <a:pt x="384" y="336"/>
                </a:cubicBezTo>
                <a:cubicBezTo>
                  <a:pt x="383" y="335"/>
                  <a:pt x="383" y="335"/>
                  <a:pt x="383" y="335"/>
                </a:cubicBezTo>
                <a:cubicBezTo>
                  <a:pt x="384" y="335"/>
                  <a:pt x="384" y="335"/>
                  <a:pt x="384" y="335"/>
                </a:cubicBezTo>
                <a:cubicBezTo>
                  <a:pt x="387" y="335"/>
                  <a:pt x="387" y="335"/>
                  <a:pt x="387" y="335"/>
                </a:cubicBezTo>
                <a:cubicBezTo>
                  <a:pt x="391" y="334"/>
                  <a:pt x="391" y="334"/>
                  <a:pt x="391" y="334"/>
                </a:cubicBezTo>
                <a:cubicBezTo>
                  <a:pt x="392" y="331"/>
                  <a:pt x="392" y="331"/>
                  <a:pt x="392" y="331"/>
                </a:cubicBezTo>
                <a:cubicBezTo>
                  <a:pt x="391" y="328"/>
                  <a:pt x="391" y="328"/>
                  <a:pt x="391" y="328"/>
                </a:cubicBezTo>
                <a:cubicBezTo>
                  <a:pt x="387" y="326"/>
                  <a:pt x="387" y="326"/>
                  <a:pt x="387" y="326"/>
                </a:cubicBezTo>
                <a:cubicBezTo>
                  <a:pt x="386" y="326"/>
                  <a:pt x="386" y="326"/>
                  <a:pt x="386" y="326"/>
                </a:cubicBezTo>
                <a:cubicBezTo>
                  <a:pt x="385" y="327"/>
                  <a:pt x="385" y="327"/>
                  <a:pt x="385" y="327"/>
                </a:cubicBezTo>
                <a:cubicBezTo>
                  <a:pt x="385" y="326"/>
                  <a:pt x="385" y="326"/>
                  <a:pt x="385" y="326"/>
                </a:cubicBezTo>
                <a:cubicBezTo>
                  <a:pt x="386" y="325"/>
                  <a:pt x="386" y="325"/>
                  <a:pt x="386" y="325"/>
                </a:cubicBezTo>
                <a:cubicBezTo>
                  <a:pt x="389" y="325"/>
                  <a:pt x="389" y="325"/>
                  <a:pt x="389" y="325"/>
                </a:cubicBezTo>
                <a:cubicBezTo>
                  <a:pt x="391" y="326"/>
                  <a:pt x="391" y="326"/>
                  <a:pt x="391" y="326"/>
                </a:cubicBezTo>
                <a:cubicBezTo>
                  <a:pt x="394" y="326"/>
                  <a:pt x="394" y="326"/>
                  <a:pt x="394" y="326"/>
                </a:cubicBezTo>
                <a:cubicBezTo>
                  <a:pt x="397" y="324"/>
                  <a:pt x="397" y="324"/>
                  <a:pt x="397" y="324"/>
                </a:cubicBezTo>
                <a:cubicBezTo>
                  <a:pt x="397" y="323"/>
                  <a:pt x="397" y="323"/>
                  <a:pt x="397" y="323"/>
                </a:cubicBezTo>
                <a:cubicBezTo>
                  <a:pt x="402" y="320"/>
                  <a:pt x="402" y="320"/>
                  <a:pt x="402" y="320"/>
                </a:cubicBezTo>
                <a:cubicBezTo>
                  <a:pt x="405" y="317"/>
                  <a:pt x="405" y="317"/>
                  <a:pt x="405" y="317"/>
                </a:cubicBezTo>
                <a:cubicBezTo>
                  <a:pt x="408" y="317"/>
                  <a:pt x="408" y="317"/>
                  <a:pt x="408" y="317"/>
                </a:cubicBezTo>
                <a:cubicBezTo>
                  <a:pt x="409" y="316"/>
                  <a:pt x="409" y="316"/>
                  <a:pt x="409" y="316"/>
                </a:cubicBezTo>
                <a:cubicBezTo>
                  <a:pt x="409" y="314"/>
                  <a:pt x="409" y="314"/>
                  <a:pt x="409" y="314"/>
                </a:cubicBezTo>
                <a:cubicBezTo>
                  <a:pt x="414" y="311"/>
                  <a:pt x="414" y="311"/>
                  <a:pt x="414" y="311"/>
                </a:cubicBezTo>
                <a:cubicBezTo>
                  <a:pt x="418" y="310"/>
                  <a:pt x="418" y="310"/>
                  <a:pt x="418" y="310"/>
                </a:cubicBezTo>
                <a:cubicBezTo>
                  <a:pt x="423" y="306"/>
                  <a:pt x="423" y="306"/>
                  <a:pt x="423" y="306"/>
                </a:cubicBezTo>
                <a:cubicBezTo>
                  <a:pt x="427" y="305"/>
                  <a:pt x="427" y="305"/>
                  <a:pt x="427" y="305"/>
                </a:cubicBezTo>
                <a:cubicBezTo>
                  <a:pt x="431" y="300"/>
                  <a:pt x="431" y="300"/>
                  <a:pt x="431" y="300"/>
                </a:cubicBezTo>
                <a:cubicBezTo>
                  <a:pt x="430" y="303"/>
                  <a:pt x="430" y="303"/>
                  <a:pt x="430" y="303"/>
                </a:cubicBezTo>
                <a:cubicBezTo>
                  <a:pt x="430" y="306"/>
                  <a:pt x="430" y="306"/>
                  <a:pt x="430" y="306"/>
                </a:cubicBezTo>
                <a:cubicBezTo>
                  <a:pt x="431" y="307"/>
                  <a:pt x="431" y="307"/>
                  <a:pt x="431" y="307"/>
                </a:cubicBezTo>
                <a:cubicBezTo>
                  <a:pt x="433" y="307"/>
                  <a:pt x="433" y="307"/>
                  <a:pt x="433" y="307"/>
                </a:cubicBezTo>
                <a:cubicBezTo>
                  <a:pt x="434" y="308"/>
                  <a:pt x="434" y="308"/>
                  <a:pt x="434" y="308"/>
                </a:cubicBezTo>
                <a:cubicBezTo>
                  <a:pt x="437" y="305"/>
                  <a:pt x="437" y="305"/>
                  <a:pt x="437" y="305"/>
                </a:cubicBezTo>
                <a:cubicBezTo>
                  <a:pt x="439" y="304"/>
                  <a:pt x="439" y="304"/>
                  <a:pt x="439" y="304"/>
                </a:cubicBezTo>
                <a:cubicBezTo>
                  <a:pt x="444" y="302"/>
                  <a:pt x="444" y="302"/>
                  <a:pt x="444" y="302"/>
                </a:cubicBezTo>
                <a:cubicBezTo>
                  <a:pt x="446" y="300"/>
                  <a:pt x="446" y="300"/>
                  <a:pt x="446" y="300"/>
                </a:cubicBezTo>
                <a:cubicBezTo>
                  <a:pt x="445" y="303"/>
                  <a:pt x="445" y="303"/>
                  <a:pt x="445" y="303"/>
                </a:cubicBezTo>
                <a:cubicBezTo>
                  <a:pt x="441" y="305"/>
                  <a:pt x="441" y="305"/>
                  <a:pt x="441" y="305"/>
                </a:cubicBezTo>
                <a:cubicBezTo>
                  <a:pt x="438" y="306"/>
                  <a:pt x="438" y="306"/>
                  <a:pt x="438" y="306"/>
                </a:cubicBezTo>
                <a:cubicBezTo>
                  <a:pt x="433" y="311"/>
                  <a:pt x="433" y="311"/>
                  <a:pt x="433" y="311"/>
                </a:cubicBezTo>
                <a:cubicBezTo>
                  <a:pt x="432" y="313"/>
                  <a:pt x="432" y="313"/>
                  <a:pt x="432" y="313"/>
                </a:cubicBezTo>
                <a:cubicBezTo>
                  <a:pt x="435" y="317"/>
                  <a:pt x="435" y="317"/>
                  <a:pt x="435" y="317"/>
                </a:cubicBezTo>
                <a:cubicBezTo>
                  <a:pt x="436" y="320"/>
                  <a:pt x="436" y="320"/>
                  <a:pt x="436" y="320"/>
                </a:cubicBezTo>
                <a:cubicBezTo>
                  <a:pt x="433" y="318"/>
                  <a:pt x="433" y="318"/>
                  <a:pt x="433" y="318"/>
                </a:cubicBezTo>
                <a:cubicBezTo>
                  <a:pt x="431" y="318"/>
                  <a:pt x="431" y="318"/>
                  <a:pt x="431" y="318"/>
                </a:cubicBezTo>
                <a:cubicBezTo>
                  <a:pt x="430" y="318"/>
                  <a:pt x="430" y="318"/>
                  <a:pt x="430" y="318"/>
                </a:cubicBezTo>
                <a:cubicBezTo>
                  <a:pt x="428" y="318"/>
                  <a:pt x="428" y="318"/>
                  <a:pt x="428" y="318"/>
                </a:cubicBezTo>
                <a:cubicBezTo>
                  <a:pt x="426" y="316"/>
                  <a:pt x="426" y="316"/>
                  <a:pt x="426" y="316"/>
                </a:cubicBezTo>
                <a:cubicBezTo>
                  <a:pt x="425" y="313"/>
                  <a:pt x="425" y="313"/>
                  <a:pt x="425" y="313"/>
                </a:cubicBezTo>
                <a:cubicBezTo>
                  <a:pt x="421" y="315"/>
                  <a:pt x="421" y="315"/>
                  <a:pt x="421" y="315"/>
                </a:cubicBezTo>
                <a:cubicBezTo>
                  <a:pt x="419" y="315"/>
                  <a:pt x="419" y="315"/>
                  <a:pt x="419" y="315"/>
                </a:cubicBezTo>
                <a:cubicBezTo>
                  <a:pt x="416" y="318"/>
                  <a:pt x="416" y="318"/>
                  <a:pt x="416" y="318"/>
                </a:cubicBezTo>
                <a:cubicBezTo>
                  <a:pt x="412" y="318"/>
                  <a:pt x="412" y="318"/>
                  <a:pt x="412" y="318"/>
                </a:cubicBezTo>
                <a:cubicBezTo>
                  <a:pt x="410" y="320"/>
                  <a:pt x="410" y="320"/>
                  <a:pt x="410" y="320"/>
                </a:cubicBezTo>
                <a:cubicBezTo>
                  <a:pt x="410" y="322"/>
                  <a:pt x="410" y="322"/>
                  <a:pt x="410" y="322"/>
                </a:cubicBezTo>
                <a:cubicBezTo>
                  <a:pt x="410" y="324"/>
                  <a:pt x="410" y="324"/>
                  <a:pt x="410" y="324"/>
                </a:cubicBezTo>
                <a:cubicBezTo>
                  <a:pt x="408" y="327"/>
                  <a:pt x="408" y="327"/>
                  <a:pt x="408" y="327"/>
                </a:cubicBezTo>
                <a:cubicBezTo>
                  <a:pt x="406" y="329"/>
                  <a:pt x="406" y="329"/>
                  <a:pt x="406" y="329"/>
                </a:cubicBezTo>
                <a:cubicBezTo>
                  <a:pt x="404" y="332"/>
                  <a:pt x="404" y="332"/>
                  <a:pt x="404" y="332"/>
                </a:cubicBezTo>
                <a:cubicBezTo>
                  <a:pt x="397" y="339"/>
                  <a:pt x="397" y="339"/>
                  <a:pt x="397" y="339"/>
                </a:cubicBezTo>
                <a:cubicBezTo>
                  <a:pt x="396" y="341"/>
                  <a:pt x="396" y="341"/>
                  <a:pt x="396" y="341"/>
                </a:cubicBezTo>
                <a:cubicBezTo>
                  <a:pt x="396" y="343"/>
                  <a:pt x="396" y="343"/>
                  <a:pt x="396" y="343"/>
                </a:cubicBezTo>
                <a:cubicBezTo>
                  <a:pt x="398" y="346"/>
                  <a:pt x="398" y="346"/>
                  <a:pt x="398" y="346"/>
                </a:cubicBezTo>
                <a:cubicBezTo>
                  <a:pt x="399" y="344"/>
                  <a:pt x="399" y="344"/>
                  <a:pt x="399" y="344"/>
                </a:cubicBezTo>
                <a:cubicBezTo>
                  <a:pt x="401" y="344"/>
                  <a:pt x="401" y="344"/>
                  <a:pt x="401" y="344"/>
                </a:cubicBezTo>
                <a:cubicBezTo>
                  <a:pt x="403" y="343"/>
                  <a:pt x="403" y="343"/>
                  <a:pt x="403" y="343"/>
                </a:cubicBezTo>
                <a:cubicBezTo>
                  <a:pt x="405" y="343"/>
                  <a:pt x="405" y="343"/>
                  <a:pt x="405" y="343"/>
                </a:cubicBezTo>
                <a:cubicBezTo>
                  <a:pt x="405" y="344"/>
                  <a:pt x="405" y="344"/>
                  <a:pt x="405" y="344"/>
                </a:cubicBezTo>
                <a:cubicBezTo>
                  <a:pt x="401" y="348"/>
                  <a:pt x="401" y="348"/>
                  <a:pt x="401" y="348"/>
                </a:cubicBezTo>
                <a:cubicBezTo>
                  <a:pt x="399" y="348"/>
                  <a:pt x="399" y="348"/>
                  <a:pt x="399" y="348"/>
                </a:cubicBezTo>
                <a:cubicBezTo>
                  <a:pt x="397" y="350"/>
                  <a:pt x="397" y="350"/>
                  <a:pt x="397" y="350"/>
                </a:cubicBezTo>
                <a:cubicBezTo>
                  <a:pt x="395" y="349"/>
                  <a:pt x="395" y="349"/>
                  <a:pt x="395" y="349"/>
                </a:cubicBezTo>
                <a:cubicBezTo>
                  <a:pt x="393" y="349"/>
                  <a:pt x="393" y="349"/>
                  <a:pt x="393" y="349"/>
                </a:cubicBezTo>
                <a:cubicBezTo>
                  <a:pt x="391" y="350"/>
                  <a:pt x="391" y="350"/>
                  <a:pt x="391" y="350"/>
                </a:cubicBezTo>
                <a:cubicBezTo>
                  <a:pt x="391" y="352"/>
                  <a:pt x="391" y="352"/>
                  <a:pt x="391" y="352"/>
                </a:cubicBezTo>
                <a:cubicBezTo>
                  <a:pt x="390" y="351"/>
                  <a:pt x="390" y="351"/>
                  <a:pt x="390" y="351"/>
                </a:cubicBezTo>
                <a:cubicBezTo>
                  <a:pt x="388" y="352"/>
                  <a:pt x="388" y="352"/>
                  <a:pt x="388" y="352"/>
                </a:cubicBezTo>
                <a:cubicBezTo>
                  <a:pt x="388" y="355"/>
                  <a:pt x="388" y="355"/>
                  <a:pt x="388" y="355"/>
                </a:cubicBezTo>
                <a:cubicBezTo>
                  <a:pt x="391" y="358"/>
                  <a:pt x="391" y="358"/>
                  <a:pt x="391" y="358"/>
                </a:cubicBezTo>
                <a:cubicBezTo>
                  <a:pt x="392" y="358"/>
                  <a:pt x="392" y="358"/>
                  <a:pt x="392" y="358"/>
                </a:cubicBezTo>
                <a:cubicBezTo>
                  <a:pt x="394" y="356"/>
                  <a:pt x="394" y="356"/>
                  <a:pt x="394" y="356"/>
                </a:cubicBezTo>
                <a:cubicBezTo>
                  <a:pt x="395" y="358"/>
                  <a:pt x="395" y="358"/>
                  <a:pt x="395" y="358"/>
                </a:cubicBezTo>
                <a:cubicBezTo>
                  <a:pt x="396" y="355"/>
                  <a:pt x="396" y="355"/>
                  <a:pt x="396" y="355"/>
                </a:cubicBezTo>
                <a:cubicBezTo>
                  <a:pt x="398" y="355"/>
                  <a:pt x="398" y="355"/>
                  <a:pt x="398" y="355"/>
                </a:cubicBezTo>
                <a:cubicBezTo>
                  <a:pt x="397" y="357"/>
                  <a:pt x="397" y="357"/>
                  <a:pt x="397" y="357"/>
                </a:cubicBezTo>
                <a:cubicBezTo>
                  <a:pt x="399" y="356"/>
                  <a:pt x="399" y="356"/>
                  <a:pt x="399" y="356"/>
                </a:cubicBezTo>
                <a:cubicBezTo>
                  <a:pt x="399" y="355"/>
                  <a:pt x="399" y="355"/>
                  <a:pt x="399" y="355"/>
                </a:cubicBezTo>
                <a:cubicBezTo>
                  <a:pt x="401" y="354"/>
                  <a:pt x="401" y="354"/>
                  <a:pt x="401" y="354"/>
                </a:cubicBezTo>
                <a:cubicBezTo>
                  <a:pt x="404" y="352"/>
                  <a:pt x="404" y="352"/>
                  <a:pt x="404" y="352"/>
                </a:cubicBezTo>
                <a:cubicBezTo>
                  <a:pt x="404" y="349"/>
                  <a:pt x="404" y="349"/>
                  <a:pt x="404" y="349"/>
                </a:cubicBezTo>
                <a:cubicBezTo>
                  <a:pt x="406" y="348"/>
                  <a:pt x="406" y="348"/>
                  <a:pt x="406" y="348"/>
                </a:cubicBezTo>
                <a:cubicBezTo>
                  <a:pt x="406" y="349"/>
                  <a:pt x="406" y="349"/>
                  <a:pt x="406" y="349"/>
                </a:cubicBezTo>
                <a:cubicBezTo>
                  <a:pt x="405" y="350"/>
                  <a:pt x="405" y="350"/>
                  <a:pt x="405" y="350"/>
                </a:cubicBezTo>
                <a:cubicBezTo>
                  <a:pt x="406" y="352"/>
                  <a:pt x="406" y="352"/>
                  <a:pt x="406" y="352"/>
                </a:cubicBezTo>
                <a:cubicBezTo>
                  <a:pt x="409" y="352"/>
                  <a:pt x="409" y="352"/>
                  <a:pt x="409" y="352"/>
                </a:cubicBezTo>
                <a:cubicBezTo>
                  <a:pt x="412" y="349"/>
                  <a:pt x="412" y="349"/>
                  <a:pt x="412" y="349"/>
                </a:cubicBezTo>
                <a:cubicBezTo>
                  <a:pt x="415" y="349"/>
                  <a:pt x="415" y="349"/>
                  <a:pt x="415" y="349"/>
                </a:cubicBezTo>
                <a:cubicBezTo>
                  <a:pt x="416" y="350"/>
                  <a:pt x="416" y="350"/>
                  <a:pt x="416" y="350"/>
                </a:cubicBezTo>
                <a:cubicBezTo>
                  <a:pt x="417" y="349"/>
                  <a:pt x="417" y="349"/>
                  <a:pt x="417" y="349"/>
                </a:cubicBezTo>
                <a:cubicBezTo>
                  <a:pt x="418" y="345"/>
                  <a:pt x="418" y="345"/>
                  <a:pt x="418" y="345"/>
                </a:cubicBezTo>
                <a:cubicBezTo>
                  <a:pt x="421" y="343"/>
                  <a:pt x="421" y="343"/>
                  <a:pt x="421" y="343"/>
                </a:cubicBezTo>
                <a:cubicBezTo>
                  <a:pt x="422" y="343"/>
                  <a:pt x="422" y="343"/>
                  <a:pt x="422" y="343"/>
                </a:cubicBezTo>
                <a:cubicBezTo>
                  <a:pt x="419" y="346"/>
                  <a:pt x="419" y="346"/>
                  <a:pt x="419" y="346"/>
                </a:cubicBezTo>
                <a:cubicBezTo>
                  <a:pt x="419" y="348"/>
                  <a:pt x="419" y="348"/>
                  <a:pt x="419" y="348"/>
                </a:cubicBezTo>
                <a:cubicBezTo>
                  <a:pt x="421" y="347"/>
                  <a:pt x="421" y="347"/>
                  <a:pt x="421" y="347"/>
                </a:cubicBezTo>
                <a:cubicBezTo>
                  <a:pt x="423" y="344"/>
                  <a:pt x="423" y="344"/>
                  <a:pt x="423" y="344"/>
                </a:cubicBezTo>
                <a:cubicBezTo>
                  <a:pt x="425" y="339"/>
                  <a:pt x="425" y="339"/>
                  <a:pt x="425" y="339"/>
                </a:cubicBezTo>
                <a:cubicBezTo>
                  <a:pt x="427" y="338"/>
                  <a:pt x="427" y="338"/>
                  <a:pt x="427" y="338"/>
                </a:cubicBezTo>
                <a:cubicBezTo>
                  <a:pt x="427" y="340"/>
                  <a:pt x="427" y="340"/>
                  <a:pt x="427" y="340"/>
                </a:cubicBezTo>
                <a:cubicBezTo>
                  <a:pt x="425" y="343"/>
                  <a:pt x="425" y="343"/>
                  <a:pt x="425" y="343"/>
                </a:cubicBezTo>
                <a:cubicBezTo>
                  <a:pt x="425" y="344"/>
                  <a:pt x="425" y="344"/>
                  <a:pt x="425" y="344"/>
                </a:cubicBezTo>
                <a:cubicBezTo>
                  <a:pt x="428" y="341"/>
                  <a:pt x="428" y="341"/>
                  <a:pt x="428" y="341"/>
                </a:cubicBezTo>
                <a:cubicBezTo>
                  <a:pt x="429" y="343"/>
                  <a:pt x="429" y="343"/>
                  <a:pt x="429" y="343"/>
                </a:cubicBezTo>
                <a:cubicBezTo>
                  <a:pt x="429" y="344"/>
                  <a:pt x="429" y="344"/>
                  <a:pt x="429" y="344"/>
                </a:cubicBezTo>
                <a:cubicBezTo>
                  <a:pt x="431" y="345"/>
                  <a:pt x="431" y="345"/>
                  <a:pt x="431" y="345"/>
                </a:cubicBezTo>
                <a:cubicBezTo>
                  <a:pt x="433" y="345"/>
                  <a:pt x="433" y="345"/>
                  <a:pt x="433" y="345"/>
                </a:cubicBezTo>
                <a:cubicBezTo>
                  <a:pt x="434" y="344"/>
                  <a:pt x="434" y="344"/>
                  <a:pt x="434" y="344"/>
                </a:cubicBezTo>
                <a:cubicBezTo>
                  <a:pt x="436" y="341"/>
                  <a:pt x="436" y="341"/>
                  <a:pt x="436" y="341"/>
                </a:cubicBezTo>
                <a:cubicBezTo>
                  <a:pt x="439" y="341"/>
                  <a:pt x="439" y="341"/>
                  <a:pt x="439" y="341"/>
                </a:cubicBezTo>
                <a:cubicBezTo>
                  <a:pt x="441" y="339"/>
                  <a:pt x="441" y="339"/>
                  <a:pt x="441" y="339"/>
                </a:cubicBezTo>
                <a:cubicBezTo>
                  <a:pt x="439" y="339"/>
                  <a:pt x="439" y="339"/>
                  <a:pt x="439" y="339"/>
                </a:cubicBezTo>
                <a:cubicBezTo>
                  <a:pt x="440" y="336"/>
                  <a:pt x="440" y="336"/>
                  <a:pt x="440" y="336"/>
                </a:cubicBezTo>
                <a:cubicBezTo>
                  <a:pt x="445" y="334"/>
                  <a:pt x="445" y="334"/>
                  <a:pt x="445" y="334"/>
                </a:cubicBezTo>
                <a:cubicBezTo>
                  <a:pt x="445" y="333"/>
                  <a:pt x="445" y="333"/>
                  <a:pt x="445" y="333"/>
                </a:cubicBezTo>
                <a:cubicBezTo>
                  <a:pt x="445" y="330"/>
                  <a:pt x="445" y="330"/>
                  <a:pt x="445" y="330"/>
                </a:cubicBezTo>
                <a:cubicBezTo>
                  <a:pt x="443" y="331"/>
                  <a:pt x="443" y="331"/>
                  <a:pt x="443" y="331"/>
                </a:cubicBezTo>
                <a:cubicBezTo>
                  <a:pt x="442" y="330"/>
                  <a:pt x="442" y="330"/>
                  <a:pt x="442" y="330"/>
                </a:cubicBezTo>
                <a:cubicBezTo>
                  <a:pt x="439" y="329"/>
                  <a:pt x="439" y="329"/>
                  <a:pt x="439" y="329"/>
                </a:cubicBezTo>
                <a:cubicBezTo>
                  <a:pt x="440" y="328"/>
                  <a:pt x="440" y="328"/>
                  <a:pt x="440" y="328"/>
                </a:cubicBezTo>
                <a:cubicBezTo>
                  <a:pt x="442" y="328"/>
                  <a:pt x="442" y="328"/>
                  <a:pt x="442" y="328"/>
                </a:cubicBezTo>
                <a:cubicBezTo>
                  <a:pt x="444" y="328"/>
                  <a:pt x="444" y="328"/>
                  <a:pt x="444" y="328"/>
                </a:cubicBezTo>
                <a:cubicBezTo>
                  <a:pt x="445" y="327"/>
                  <a:pt x="445" y="327"/>
                  <a:pt x="445" y="327"/>
                </a:cubicBezTo>
                <a:cubicBezTo>
                  <a:pt x="445" y="325"/>
                  <a:pt x="445" y="325"/>
                  <a:pt x="445" y="325"/>
                </a:cubicBezTo>
                <a:cubicBezTo>
                  <a:pt x="443" y="326"/>
                  <a:pt x="443" y="326"/>
                  <a:pt x="443" y="326"/>
                </a:cubicBezTo>
                <a:cubicBezTo>
                  <a:pt x="440" y="324"/>
                  <a:pt x="440" y="324"/>
                  <a:pt x="440" y="324"/>
                </a:cubicBezTo>
                <a:cubicBezTo>
                  <a:pt x="440" y="322"/>
                  <a:pt x="440" y="322"/>
                  <a:pt x="440" y="322"/>
                </a:cubicBezTo>
                <a:cubicBezTo>
                  <a:pt x="443" y="322"/>
                  <a:pt x="443" y="322"/>
                  <a:pt x="443" y="322"/>
                </a:cubicBezTo>
                <a:cubicBezTo>
                  <a:pt x="445" y="321"/>
                  <a:pt x="445" y="321"/>
                  <a:pt x="445" y="321"/>
                </a:cubicBezTo>
                <a:cubicBezTo>
                  <a:pt x="446" y="322"/>
                  <a:pt x="446" y="322"/>
                  <a:pt x="446" y="322"/>
                </a:cubicBezTo>
                <a:cubicBezTo>
                  <a:pt x="446" y="320"/>
                  <a:pt x="446" y="320"/>
                  <a:pt x="446" y="320"/>
                </a:cubicBezTo>
                <a:cubicBezTo>
                  <a:pt x="445" y="318"/>
                  <a:pt x="445" y="318"/>
                  <a:pt x="445" y="318"/>
                </a:cubicBezTo>
                <a:cubicBezTo>
                  <a:pt x="449" y="316"/>
                  <a:pt x="449" y="316"/>
                  <a:pt x="449" y="316"/>
                </a:cubicBezTo>
                <a:cubicBezTo>
                  <a:pt x="452" y="318"/>
                  <a:pt x="452" y="318"/>
                  <a:pt x="452" y="318"/>
                </a:cubicBezTo>
                <a:cubicBezTo>
                  <a:pt x="453" y="317"/>
                  <a:pt x="453" y="317"/>
                  <a:pt x="453" y="317"/>
                </a:cubicBezTo>
                <a:cubicBezTo>
                  <a:pt x="456" y="317"/>
                  <a:pt x="456" y="317"/>
                  <a:pt x="456" y="317"/>
                </a:cubicBezTo>
                <a:cubicBezTo>
                  <a:pt x="452" y="320"/>
                  <a:pt x="452" y="320"/>
                  <a:pt x="452" y="320"/>
                </a:cubicBezTo>
                <a:cubicBezTo>
                  <a:pt x="452" y="322"/>
                  <a:pt x="452" y="322"/>
                  <a:pt x="452" y="322"/>
                </a:cubicBezTo>
                <a:cubicBezTo>
                  <a:pt x="453" y="326"/>
                  <a:pt x="453" y="326"/>
                  <a:pt x="453" y="326"/>
                </a:cubicBezTo>
                <a:cubicBezTo>
                  <a:pt x="454" y="326"/>
                  <a:pt x="454" y="326"/>
                  <a:pt x="454" y="326"/>
                </a:cubicBezTo>
                <a:cubicBezTo>
                  <a:pt x="455" y="321"/>
                  <a:pt x="455" y="321"/>
                  <a:pt x="455" y="321"/>
                </a:cubicBezTo>
                <a:cubicBezTo>
                  <a:pt x="457" y="320"/>
                  <a:pt x="457" y="320"/>
                  <a:pt x="457" y="320"/>
                </a:cubicBezTo>
                <a:cubicBezTo>
                  <a:pt x="458" y="320"/>
                  <a:pt x="458" y="320"/>
                  <a:pt x="458" y="320"/>
                </a:cubicBezTo>
                <a:cubicBezTo>
                  <a:pt x="458" y="322"/>
                  <a:pt x="458" y="322"/>
                  <a:pt x="458" y="322"/>
                </a:cubicBezTo>
                <a:cubicBezTo>
                  <a:pt x="456" y="324"/>
                  <a:pt x="456" y="324"/>
                  <a:pt x="456" y="324"/>
                </a:cubicBezTo>
                <a:cubicBezTo>
                  <a:pt x="457" y="325"/>
                  <a:pt x="457" y="325"/>
                  <a:pt x="457" y="325"/>
                </a:cubicBezTo>
                <a:cubicBezTo>
                  <a:pt x="460" y="323"/>
                  <a:pt x="460" y="323"/>
                  <a:pt x="460" y="323"/>
                </a:cubicBezTo>
                <a:cubicBezTo>
                  <a:pt x="460" y="322"/>
                  <a:pt x="460" y="322"/>
                  <a:pt x="460" y="322"/>
                </a:cubicBezTo>
                <a:cubicBezTo>
                  <a:pt x="462" y="323"/>
                  <a:pt x="462" y="323"/>
                  <a:pt x="462" y="323"/>
                </a:cubicBezTo>
                <a:cubicBezTo>
                  <a:pt x="465" y="321"/>
                  <a:pt x="465" y="321"/>
                  <a:pt x="465" y="321"/>
                </a:cubicBezTo>
                <a:cubicBezTo>
                  <a:pt x="466" y="321"/>
                  <a:pt x="466" y="321"/>
                  <a:pt x="466" y="321"/>
                </a:cubicBezTo>
                <a:cubicBezTo>
                  <a:pt x="468" y="320"/>
                  <a:pt x="468" y="320"/>
                  <a:pt x="468" y="320"/>
                </a:cubicBezTo>
                <a:cubicBezTo>
                  <a:pt x="471" y="319"/>
                  <a:pt x="471" y="319"/>
                  <a:pt x="471" y="319"/>
                </a:cubicBezTo>
                <a:cubicBezTo>
                  <a:pt x="473" y="320"/>
                  <a:pt x="473" y="320"/>
                  <a:pt x="473" y="320"/>
                </a:cubicBezTo>
                <a:cubicBezTo>
                  <a:pt x="472" y="321"/>
                  <a:pt x="472" y="321"/>
                  <a:pt x="472" y="321"/>
                </a:cubicBezTo>
                <a:cubicBezTo>
                  <a:pt x="470" y="321"/>
                  <a:pt x="470" y="321"/>
                  <a:pt x="470" y="321"/>
                </a:cubicBezTo>
                <a:cubicBezTo>
                  <a:pt x="467" y="323"/>
                  <a:pt x="467" y="323"/>
                  <a:pt x="467" y="323"/>
                </a:cubicBezTo>
                <a:cubicBezTo>
                  <a:pt x="465" y="323"/>
                  <a:pt x="465" y="323"/>
                  <a:pt x="465" y="323"/>
                </a:cubicBezTo>
                <a:cubicBezTo>
                  <a:pt x="464" y="325"/>
                  <a:pt x="464" y="325"/>
                  <a:pt x="464" y="325"/>
                </a:cubicBezTo>
                <a:cubicBezTo>
                  <a:pt x="465" y="326"/>
                  <a:pt x="465" y="326"/>
                  <a:pt x="465" y="326"/>
                </a:cubicBezTo>
                <a:cubicBezTo>
                  <a:pt x="470" y="327"/>
                  <a:pt x="470" y="327"/>
                  <a:pt x="470" y="327"/>
                </a:cubicBezTo>
                <a:cubicBezTo>
                  <a:pt x="471" y="329"/>
                  <a:pt x="471" y="329"/>
                  <a:pt x="471" y="329"/>
                </a:cubicBezTo>
                <a:cubicBezTo>
                  <a:pt x="471" y="330"/>
                  <a:pt x="471" y="330"/>
                  <a:pt x="471" y="330"/>
                </a:cubicBezTo>
                <a:cubicBezTo>
                  <a:pt x="468" y="328"/>
                  <a:pt x="468" y="328"/>
                  <a:pt x="468" y="328"/>
                </a:cubicBezTo>
                <a:cubicBezTo>
                  <a:pt x="465" y="328"/>
                  <a:pt x="465" y="328"/>
                  <a:pt x="465" y="328"/>
                </a:cubicBezTo>
                <a:cubicBezTo>
                  <a:pt x="463" y="328"/>
                  <a:pt x="463" y="328"/>
                  <a:pt x="463" y="328"/>
                </a:cubicBezTo>
                <a:cubicBezTo>
                  <a:pt x="463" y="331"/>
                  <a:pt x="463" y="331"/>
                  <a:pt x="463" y="331"/>
                </a:cubicBezTo>
                <a:cubicBezTo>
                  <a:pt x="465" y="331"/>
                  <a:pt x="465" y="331"/>
                  <a:pt x="465" y="331"/>
                </a:cubicBezTo>
                <a:cubicBezTo>
                  <a:pt x="467" y="330"/>
                  <a:pt x="467" y="330"/>
                  <a:pt x="467" y="330"/>
                </a:cubicBezTo>
                <a:cubicBezTo>
                  <a:pt x="469" y="331"/>
                  <a:pt x="469" y="331"/>
                  <a:pt x="469" y="331"/>
                </a:cubicBezTo>
                <a:cubicBezTo>
                  <a:pt x="467" y="332"/>
                  <a:pt x="467" y="332"/>
                  <a:pt x="467" y="332"/>
                </a:cubicBezTo>
                <a:cubicBezTo>
                  <a:pt x="465" y="332"/>
                  <a:pt x="465" y="332"/>
                  <a:pt x="465" y="332"/>
                </a:cubicBezTo>
                <a:cubicBezTo>
                  <a:pt x="465" y="334"/>
                  <a:pt x="465" y="334"/>
                  <a:pt x="465" y="334"/>
                </a:cubicBezTo>
                <a:cubicBezTo>
                  <a:pt x="469" y="335"/>
                  <a:pt x="469" y="335"/>
                  <a:pt x="469" y="335"/>
                </a:cubicBezTo>
                <a:cubicBezTo>
                  <a:pt x="470" y="336"/>
                  <a:pt x="470" y="336"/>
                  <a:pt x="470" y="336"/>
                </a:cubicBezTo>
                <a:cubicBezTo>
                  <a:pt x="468" y="337"/>
                  <a:pt x="468" y="337"/>
                  <a:pt x="468" y="337"/>
                </a:cubicBezTo>
                <a:cubicBezTo>
                  <a:pt x="466" y="338"/>
                  <a:pt x="466" y="338"/>
                  <a:pt x="466" y="338"/>
                </a:cubicBezTo>
                <a:cubicBezTo>
                  <a:pt x="466" y="339"/>
                  <a:pt x="466" y="339"/>
                  <a:pt x="466" y="339"/>
                </a:cubicBezTo>
                <a:cubicBezTo>
                  <a:pt x="469" y="339"/>
                  <a:pt x="469" y="339"/>
                  <a:pt x="469" y="339"/>
                </a:cubicBezTo>
                <a:cubicBezTo>
                  <a:pt x="471" y="338"/>
                  <a:pt x="471" y="338"/>
                  <a:pt x="471" y="338"/>
                </a:cubicBezTo>
                <a:cubicBezTo>
                  <a:pt x="473" y="340"/>
                  <a:pt x="473" y="340"/>
                  <a:pt x="473" y="340"/>
                </a:cubicBezTo>
                <a:cubicBezTo>
                  <a:pt x="475" y="341"/>
                  <a:pt x="475" y="341"/>
                  <a:pt x="475" y="341"/>
                </a:cubicBezTo>
                <a:cubicBezTo>
                  <a:pt x="479" y="339"/>
                  <a:pt x="479" y="339"/>
                  <a:pt x="479" y="339"/>
                </a:cubicBezTo>
                <a:cubicBezTo>
                  <a:pt x="480" y="341"/>
                  <a:pt x="480" y="341"/>
                  <a:pt x="480" y="341"/>
                </a:cubicBezTo>
                <a:cubicBezTo>
                  <a:pt x="480" y="342"/>
                  <a:pt x="480" y="342"/>
                  <a:pt x="480" y="342"/>
                </a:cubicBezTo>
                <a:cubicBezTo>
                  <a:pt x="478" y="343"/>
                  <a:pt x="478" y="343"/>
                  <a:pt x="478" y="343"/>
                </a:cubicBezTo>
                <a:cubicBezTo>
                  <a:pt x="479" y="344"/>
                  <a:pt x="479" y="344"/>
                  <a:pt x="479" y="344"/>
                </a:cubicBezTo>
                <a:cubicBezTo>
                  <a:pt x="480" y="345"/>
                  <a:pt x="480" y="345"/>
                  <a:pt x="480" y="345"/>
                </a:cubicBezTo>
                <a:cubicBezTo>
                  <a:pt x="480" y="346"/>
                  <a:pt x="480" y="346"/>
                  <a:pt x="480" y="346"/>
                </a:cubicBezTo>
                <a:cubicBezTo>
                  <a:pt x="482" y="347"/>
                  <a:pt x="482" y="347"/>
                  <a:pt x="482" y="347"/>
                </a:cubicBezTo>
                <a:cubicBezTo>
                  <a:pt x="483" y="345"/>
                  <a:pt x="483" y="345"/>
                  <a:pt x="483" y="345"/>
                </a:cubicBezTo>
                <a:cubicBezTo>
                  <a:pt x="483" y="344"/>
                  <a:pt x="483" y="344"/>
                  <a:pt x="483" y="344"/>
                </a:cubicBezTo>
                <a:cubicBezTo>
                  <a:pt x="483" y="342"/>
                  <a:pt x="483" y="342"/>
                  <a:pt x="483" y="342"/>
                </a:cubicBezTo>
                <a:cubicBezTo>
                  <a:pt x="486" y="343"/>
                  <a:pt x="486" y="343"/>
                  <a:pt x="486" y="343"/>
                </a:cubicBezTo>
                <a:cubicBezTo>
                  <a:pt x="485" y="345"/>
                  <a:pt x="485" y="345"/>
                  <a:pt x="485" y="345"/>
                </a:cubicBezTo>
                <a:cubicBezTo>
                  <a:pt x="485" y="346"/>
                  <a:pt x="485" y="346"/>
                  <a:pt x="485" y="346"/>
                </a:cubicBezTo>
                <a:cubicBezTo>
                  <a:pt x="482" y="349"/>
                  <a:pt x="482" y="349"/>
                  <a:pt x="482" y="349"/>
                </a:cubicBezTo>
                <a:cubicBezTo>
                  <a:pt x="484" y="352"/>
                  <a:pt x="484" y="352"/>
                  <a:pt x="484" y="352"/>
                </a:cubicBezTo>
                <a:cubicBezTo>
                  <a:pt x="483" y="352"/>
                  <a:pt x="483" y="352"/>
                  <a:pt x="483" y="352"/>
                </a:cubicBezTo>
                <a:cubicBezTo>
                  <a:pt x="482" y="352"/>
                  <a:pt x="482" y="352"/>
                  <a:pt x="482" y="352"/>
                </a:cubicBezTo>
                <a:cubicBezTo>
                  <a:pt x="480" y="352"/>
                  <a:pt x="480" y="352"/>
                  <a:pt x="480" y="352"/>
                </a:cubicBezTo>
                <a:cubicBezTo>
                  <a:pt x="481" y="354"/>
                  <a:pt x="481" y="354"/>
                  <a:pt x="481" y="354"/>
                </a:cubicBezTo>
                <a:cubicBezTo>
                  <a:pt x="487" y="355"/>
                  <a:pt x="487" y="355"/>
                  <a:pt x="487" y="355"/>
                </a:cubicBezTo>
                <a:cubicBezTo>
                  <a:pt x="489" y="354"/>
                  <a:pt x="489" y="354"/>
                  <a:pt x="489" y="354"/>
                </a:cubicBezTo>
                <a:cubicBezTo>
                  <a:pt x="490" y="355"/>
                  <a:pt x="490" y="355"/>
                  <a:pt x="490" y="355"/>
                </a:cubicBezTo>
                <a:cubicBezTo>
                  <a:pt x="493" y="354"/>
                  <a:pt x="493" y="354"/>
                  <a:pt x="493" y="354"/>
                </a:cubicBezTo>
                <a:cubicBezTo>
                  <a:pt x="496" y="355"/>
                  <a:pt x="496" y="355"/>
                  <a:pt x="496" y="355"/>
                </a:cubicBezTo>
                <a:cubicBezTo>
                  <a:pt x="499" y="354"/>
                  <a:pt x="499" y="354"/>
                  <a:pt x="499" y="354"/>
                </a:cubicBezTo>
                <a:cubicBezTo>
                  <a:pt x="500" y="354"/>
                  <a:pt x="500" y="354"/>
                  <a:pt x="500" y="354"/>
                </a:cubicBezTo>
                <a:cubicBezTo>
                  <a:pt x="500" y="356"/>
                  <a:pt x="500" y="356"/>
                  <a:pt x="500" y="356"/>
                </a:cubicBezTo>
                <a:cubicBezTo>
                  <a:pt x="501" y="356"/>
                  <a:pt x="501" y="356"/>
                  <a:pt x="501" y="356"/>
                </a:cubicBezTo>
                <a:cubicBezTo>
                  <a:pt x="503" y="358"/>
                  <a:pt x="503" y="358"/>
                  <a:pt x="503" y="358"/>
                </a:cubicBezTo>
                <a:cubicBezTo>
                  <a:pt x="505" y="360"/>
                  <a:pt x="505" y="360"/>
                  <a:pt x="505" y="360"/>
                </a:cubicBezTo>
                <a:cubicBezTo>
                  <a:pt x="505" y="361"/>
                  <a:pt x="505" y="361"/>
                  <a:pt x="505" y="361"/>
                </a:cubicBezTo>
                <a:cubicBezTo>
                  <a:pt x="507" y="361"/>
                  <a:pt x="507" y="361"/>
                  <a:pt x="507" y="361"/>
                </a:cubicBezTo>
                <a:cubicBezTo>
                  <a:pt x="511" y="359"/>
                  <a:pt x="511" y="359"/>
                  <a:pt x="511" y="359"/>
                </a:cubicBezTo>
                <a:cubicBezTo>
                  <a:pt x="511" y="359"/>
                  <a:pt x="511" y="359"/>
                  <a:pt x="511" y="359"/>
                </a:cubicBezTo>
                <a:cubicBezTo>
                  <a:pt x="513" y="359"/>
                  <a:pt x="513" y="359"/>
                  <a:pt x="513" y="359"/>
                </a:cubicBezTo>
                <a:cubicBezTo>
                  <a:pt x="512" y="361"/>
                  <a:pt x="512" y="361"/>
                  <a:pt x="512" y="361"/>
                </a:cubicBezTo>
                <a:cubicBezTo>
                  <a:pt x="511" y="363"/>
                  <a:pt x="511" y="363"/>
                  <a:pt x="511" y="363"/>
                </a:cubicBezTo>
                <a:cubicBezTo>
                  <a:pt x="508" y="363"/>
                  <a:pt x="508" y="363"/>
                  <a:pt x="508" y="363"/>
                </a:cubicBezTo>
                <a:cubicBezTo>
                  <a:pt x="509" y="364"/>
                  <a:pt x="509" y="364"/>
                  <a:pt x="509" y="364"/>
                </a:cubicBezTo>
                <a:cubicBezTo>
                  <a:pt x="512" y="365"/>
                  <a:pt x="512" y="365"/>
                  <a:pt x="512" y="365"/>
                </a:cubicBezTo>
                <a:cubicBezTo>
                  <a:pt x="513" y="367"/>
                  <a:pt x="513" y="367"/>
                  <a:pt x="513" y="367"/>
                </a:cubicBezTo>
                <a:cubicBezTo>
                  <a:pt x="514" y="369"/>
                  <a:pt x="514" y="369"/>
                  <a:pt x="514" y="369"/>
                </a:cubicBezTo>
                <a:cubicBezTo>
                  <a:pt x="518" y="370"/>
                  <a:pt x="518" y="370"/>
                  <a:pt x="518" y="370"/>
                </a:cubicBezTo>
                <a:cubicBezTo>
                  <a:pt x="523" y="369"/>
                  <a:pt x="523" y="369"/>
                  <a:pt x="523" y="369"/>
                </a:cubicBezTo>
                <a:cubicBezTo>
                  <a:pt x="524" y="368"/>
                  <a:pt x="524" y="368"/>
                  <a:pt x="524" y="368"/>
                </a:cubicBezTo>
                <a:cubicBezTo>
                  <a:pt x="525" y="369"/>
                  <a:pt x="525" y="369"/>
                  <a:pt x="525" y="369"/>
                </a:cubicBezTo>
                <a:cubicBezTo>
                  <a:pt x="526" y="368"/>
                  <a:pt x="526" y="368"/>
                  <a:pt x="526" y="368"/>
                </a:cubicBezTo>
                <a:cubicBezTo>
                  <a:pt x="530" y="365"/>
                  <a:pt x="530" y="365"/>
                  <a:pt x="530" y="365"/>
                </a:cubicBezTo>
                <a:cubicBezTo>
                  <a:pt x="531" y="365"/>
                  <a:pt x="531" y="365"/>
                  <a:pt x="531" y="365"/>
                </a:cubicBezTo>
                <a:cubicBezTo>
                  <a:pt x="530" y="367"/>
                  <a:pt x="530" y="367"/>
                  <a:pt x="530" y="367"/>
                </a:cubicBezTo>
                <a:cubicBezTo>
                  <a:pt x="528" y="369"/>
                  <a:pt x="528" y="369"/>
                  <a:pt x="528" y="369"/>
                </a:cubicBezTo>
                <a:cubicBezTo>
                  <a:pt x="527" y="373"/>
                  <a:pt x="527" y="373"/>
                  <a:pt x="527" y="373"/>
                </a:cubicBezTo>
                <a:cubicBezTo>
                  <a:pt x="526" y="375"/>
                  <a:pt x="526" y="375"/>
                  <a:pt x="526" y="375"/>
                </a:cubicBezTo>
                <a:cubicBezTo>
                  <a:pt x="525" y="376"/>
                  <a:pt x="525" y="376"/>
                  <a:pt x="525" y="376"/>
                </a:cubicBezTo>
                <a:cubicBezTo>
                  <a:pt x="522" y="374"/>
                  <a:pt x="522" y="374"/>
                  <a:pt x="522" y="374"/>
                </a:cubicBezTo>
                <a:cubicBezTo>
                  <a:pt x="521" y="375"/>
                  <a:pt x="521" y="375"/>
                  <a:pt x="521" y="375"/>
                </a:cubicBezTo>
                <a:cubicBezTo>
                  <a:pt x="523" y="377"/>
                  <a:pt x="523" y="377"/>
                  <a:pt x="523" y="377"/>
                </a:cubicBezTo>
                <a:cubicBezTo>
                  <a:pt x="523" y="380"/>
                  <a:pt x="523" y="380"/>
                  <a:pt x="523" y="380"/>
                </a:cubicBezTo>
                <a:cubicBezTo>
                  <a:pt x="525" y="381"/>
                  <a:pt x="525" y="381"/>
                  <a:pt x="525" y="381"/>
                </a:cubicBezTo>
                <a:cubicBezTo>
                  <a:pt x="527" y="380"/>
                  <a:pt x="527" y="380"/>
                  <a:pt x="527" y="380"/>
                </a:cubicBezTo>
                <a:cubicBezTo>
                  <a:pt x="528" y="381"/>
                  <a:pt x="528" y="381"/>
                  <a:pt x="528" y="381"/>
                </a:cubicBezTo>
                <a:cubicBezTo>
                  <a:pt x="528" y="383"/>
                  <a:pt x="528" y="383"/>
                  <a:pt x="528" y="383"/>
                </a:cubicBezTo>
                <a:cubicBezTo>
                  <a:pt x="526" y="383"/>
                  <a:pt x="526" y="383"/>
                  <a:pt x="526" y="383"/>
                </a:cubicBezTo>
                <a:cubicBezTo>
                  <a:pt x="526" y="384"/>
                  <a:pt x="526" y="384"/>
                  <a:pt x="526" y="384"/>
                </a:cubicBezTo>
                <a:cubicBezTo>
                  <a:pt x="530" y="387"/>
                  <a:pt x="530" y="387"/>
                  <a:pt x="530" y="387"/>
                </a:cubicBezTo>
                <a:cubicBezTo>
                  <a:pt x="531" y="386"/>
                  <a:pt x="531" y="386"/>
                  <a:pt x="531" y="386"/>
                </a:cubicBezTo>
                <a:cubicBezTo>
                  <a:pt x="534" y="387"/>
                  <a:pt x="534" y="387"/>
                  <a:pt x="534" y="387"/>
                </a:cubicBezTo>
                <a:cubicBezTo>
                  <a:pt x="535" y="384"/>
                  <a:pt x="535" y="384"/>
                  <a:pt x="535" y="384"/>
                </a:cubicBezTo>
                <a:cubicBezTo>
                  <a:pt x="538" y="379"/>
                  <a:pt x="538" y="379"/>
                  <a:pt x="538" y="379"/>
                </a:cubicBezTo>
                <a:cubicBezTo>
                  <a:pt x="536" y="383"/>
                  <a:pt x="536" y="383"/>
                  <a:pt x="536" y="383"/>
                </a:cubicBezTo>
                <a:cubicBezTo>
                  <a:pt x="536" y="386"/>
                  <a:pt x="536" y="386"/>
                  <a:pt x="536" y="386"/>
                </a:cubicBezTo>
                <a:cubicBezTo>
                  <a:pt x="536" y="388"/>
                  <a:pt x="536" y="388"/>
                  <a:pt x="536" y="388"/>
                </a:cubicBezTo>
                <a:cubicBezTo>
                  <a:pt x="534" y="388"/>
                  <a:pt x="534" y="388"/>
                  <a:pt x="534" y="388"/>
                </a:cubicBezTo>
                <a:cubicBezTo>
                  <a:pt x="533" y="390"/>
                  <a:pt x="533" y="390"/>
                  <a:pt x="533" y="390"/>
                </a:cubicBezTo>
                <a:cubicBezTo>
                  <a:pt x="533" y="392"/>
                  <a:pt x="533" y="392"/>
                  <a:pt x="533" y="392"/>
                </a:cubicBezTo>
                <a:cubicBezTo>
                  <a:pt x="535" y="393"/>
                  <a:pt x="535" y="393"/>
                  <a:pt x="535" y="393"/>
                </a:cubicBezTo>
                <a:cubicBezTo>
                  <a:pt x="534" y="394"/>
                  <a:pt x="534" y="394"/>
                  <a:pt x="534" y="394"/>
                </a:cubicBezTo>
                <a:cubicBezTo>
                  <a:pt x="534" y="400"/>
                  <a:pt x="534" y="400"/>
                  <a:pt x="534" y="400"/>
                </a:cubicBezTo>
                <a:cubicBezTo>
                  <a:pt x="535" y="401"/>
                  <a:pt x="535" y="401"/>
                  <a:pt x="535" y="401"/>
                </a:cubicBezTo>
                <a:cubicBezTo>
                  <a:pt x="537" y="401"/>
                  <a:pt x="537" y="401"/>
                  <a:pt x="537" y="401"/>
                </a:cubicBezTo>
                <a:cubicBezTo>
                  <a:pt x="536" y="403"/>
                  <a:pt x="536" y="403"/>
                  <a:pt x="536" y="403"/>
                </a:cubicBezTo>
                <a:cubicBezTo>
                  <a:pt x="537" y="405"/>
                  <a:pt x="537" y="405"/>
                  <a:pt x="537" y="405"/>
                </a:cubicBezTo>
                <a:cubicBezTo>
                  <a:pt x="540" y="409"/>
                  <a:pt x="540" y="409"/>
                  <a:pt x="540" y="409"/>
                </a:cubicBezTo>
                <a:cubicBezTo>
                  <a:pt x="542" y="410"/>
                  <a:pt x="542" y="410"/>
                  <a:pt x="542" y="410"/>
                </a:cubicBezTo>
                <a:cubicBezTo>
                  <a:pt x="542" y="411"/>
                  <a:pt x="542" y="411"/>
                  <a:pt x="542" y="411"/>
                </a:cubicBezTo>
                <a:cubicBezTo>
                  <a:pt x="543" y="410"/>
                  <a:pt x="543" y="410"/>
                  <a:pt x="543" y="410"/>
                </a:cubicBezTo>
                <a:cubicBezTo>
                  <a:pt x="545" y="412"/>
                  <a:pt x="545" y="412"/>
                  <a:pt x="545" y="412"/>
                </a:cubicBezTo>
                <a:cubicBezTo>
                  <a:pt x="546" y="411"/>
                  <a:pt x="546" y="411"/>
                  <a:pt x="546" y="411"/>
                </a:cubicBezTo>
                <a:cubicBezTo>
                  <a:pt x="546" y="410"/>
                  <a:pt x="546" y="410"/>
                  <a:pt x="546" y="410"/>
                </a:cubicBezTo>
                <a:cubicBezTo>
                  <a:pt x="546" y="409"/>
                  <a:pt x="546" y="409"/>
                  <a:pt x="546" y="409"/>
                </a:cubicBezTo>
                <a:cubicBezTo>
                  <a:pt x="547" y="410"/>
                  <a:pt x="547" y="410"/>
                  <a:pt x="547" y="410"/>
                </a:cubicBezTo>
                <a:cubicBezTo>
                  <a:pt x="549" y="411"/>
                  <a:pt x="549" y="411"/>
                  <a:pt x="549" y="411"/>
                </a:cubicBezTo>
                <a:cubicBezTo>
                  <a:pt x="550" y="409"/>
                  <a:pt x="550" y="409"/>
                  <a:pt x="550" y="409"/>
                </a:cubicBezTo>
                <a:cubicBezTo>
                  <a:pt x="548" y="405"/>
                  <a:pt x="548" y="405"/>
                  <a:pt x="548" y="405"/>
                </a:cubicBezTo>
                <a:cubicBezTo>
                  <a:pt x="547" y="405"/>
                  <a:pt x="547" y="405"/>
                  <a:pt x="547" y="405"/>
                </a:cubicBezTo>
                <a:cubicBezTo>
                  <a:pt x="546" y="406"/>
                  <a:pt x="546" y="406"/>
                  <a:pt x="546" y="406"/>
                </a:cubicBezTo>
                <a:cubicBezTo>
                  <a:pt x="545" y="405"/>
                  <a:pt x="545" y="405"/>
                  <a:pt x="545" y="405"/>
                </a:cubicBezTo>
                <a:cubicBezTo>
                  <a:pt x="547" y="403"/>
                  <a:pt x="547" y="403"/>
                  <a:pt x="547" y="403"/>
                </a:cubicBezTo>
                <a:cubicBezTo>
                  <a:pt x="547" y="401"/>
                  <a:pt x="547" y="401"/>
                  <a:pt x="547" y="401"/>
                </a:cubicBezTo>
                <a:cubicBezTo>
                  <a:pt x="546" y="400"/>
                  <a:pt x="546" y="400"/>
                  <a:pt x="546" y="400"/>
                </a:cubicBezTo>
                <a:cubicBezTo>
                  <a:pt x="544" y="399"/>
                  <a:pt x="544" y="399"/>
                  <a:pt x="544" y="399"/>
                </a:cubicBezTo>
                <a:cubicBezTo>
                  <a:pt x="544" y="398"/>
                  <a:pt x="544" y="398"/>
                  <a:pt x="544" y="398"/>
                </a:cubicBezTo>
                <a:cubicBezTo>
                  <a:pt x="545" y="397"/>
                  <a:pt x="545" y="397"/>
                  <a:pt x="545" y="397"/>
                </a:cubicBezTo>
                <a:cubicBezTo>
                  <a:pt x="545" y="394"/>
                  <a:pt x="545" y="394"/>
                  <a:pt x="545" y="394"/>
                </a:cubicBezTo>
                <a:cubicBezTo>
                  <a:pt x="547" y="394"/>
                  <a:pt x="547" y="394"/>
                  <a:pt x="547" y="394"/>
                </a:cubicBezTo>
                <a:cubicBezTo>
                  <a:pt x="547" y="397"/>
                  <a:pt x="547" y="397"/>
                  <a:pt x="547" y="397"/>
                </a:cubicBezTo>
                <a:cubicBezTo>
                  <a:pt x="548" y="398"/>
                  <a:pt x="548" y="398"/>
                  <a:pt x="548" y="398"/>
                </a:cubicBezTo>
                <a:cubicBezTo>
                  <a:pt x="549" y="396"/>
                  <a:pt x="549" y="396"/>
                  <a:pt x="549" y="396"/>
                </a:cubicBezTo>
                <a:cubicBezTo>
                  <a:pt x="550" y="397"/>
                  <a:pt x="550" y="397"/>
                  <a:pt x="550" y="397"/>
                </a:cubicBezTo>
                <a:cubicBezTo>
                  <a:pt x="551" y="399"/>
                  <a:pt x="551" y="399"/>
                  <a:pt x="551" y="399"/>
                </a:cubicBezTo>
                <a:cubicBezTo>
                  <a:pt x="550" y="401"/>
                  <a:pt x="550" y="401"/>
                  <a:pt x="550" y="401"/>
                </a:cubicBezTo>
                <a:cubicBezTo>
                  <a:pt x="551" y="403"/>
                  <a:pt x="551" y="403"/>
                  <a:pt x="551" y="403"/>
                </a:cubicBezTo>
                <a:cubicBezTo>
                  <a:pt x="552" y="403"/>
                  <a:pt x="552" y="403"/>
                  <a:pt x="552" y="403"/>
                </a:cubicBezTo>
                <a:cubicBezTo>
                  <a:pt x="554" y="401"/>
                  <a:pt x="554" y="401"/>
                  <a:pt x="554" y="401"/>
                </a:cubicBezTo>
                <a:cubicBezTo>
                  <a:pt x="555" y="401"/>
                  <a:pt x="555" y="401"/>
                  <a:pt x="555" y="401"/>
                </a:cubicBezTo>
                <a:cubicBezTo>
                  <a:pt x="554" y="403"/>
                  <a:pt x="554" y="403"/>
                  <a:pt x="554" y="403"/>
                </a:cubicBezTo>
                <a:cubicBezTo>
                  <a:pt x="553" y="405"/>
                  <a:pt x="553" y="405"/>
                  <a:pt x="553" y="405"/>
                </a:cubicBezTo>
                <a:cubicBezTo>
                  <a:pt x="553" y="407"/>
                  <a:pt x="553" y="407"/>
                  <a:pt x="553" y="407"/>
                </a:cubicBezTo>
                <a:cubicBezTo>
                  <a:pt x="553" y="409"/>
                  <a:pt x="553" y="409"/>
                  <a:pt x="553" y="409"/>
                </a:cubicBezTo>
                <a:cubicBezTo>
                  <a:pt x="552" y="411"/>
                  <a:pt x="552" y="411"/>
                  <a:pt x="552" y="411"/>
                </a:cubicBezTo>
                <a:cubicBezTo>
                  <a:pt x="553" y="413"/>
                  <a:pt x="553" y="413"/>
                  <a:pt x="553" y="413"/>
                </a:cubicBezTo>
                <a:cubicBezTo>
                  <a:pt x="556" y="413"/>
                  <a:pt x="556" y="413"/>
                  <a:pt x="556" y="413"/>
                </a:cubicBezTo>
                <a:cubicBezTo>
                  <a:pt x="556" y="412"/>
                  <a:pt x="556" y="412"/>
                  <a:pt x="556" y="412"/>
                </a:cubicBezTo>
                <a:cubicBezTo>
                  <a:pt x="557" y="410"/>
                  <a:pt x="557" y="410"/>
                  <a:pt x="557" y="410"/>
                </a:cubicBezTo>
                <a:cubicBezTo>
                  <a:pt x="557" y="412"/>
                  <a:pt x="557" y="412"/>
                  <a:pt x="557" y="412"/>
                </a:cubicBezTo>
                <a:cubicBezTo>
                  <a:pt x="557" y="413"/>
                  <a:pt x="557" y="413"/>
                  <a:pt x="557" y="413"/>
                </a:cubicBezTo>
                <a:cubicBezTo>
                  <a:pt x="558" y="416"/>
                  <a:pt x="558" y="416"/>
                  <a:pt x="558" y="416"/>
                </a:cubicBezTo>
                <a:cubicBezTo>
                  <a:pt x="559" y="417"/>
                  <a:pt x="559" y="417"/>
                  <a:pt x="559" y="417"/>
                </a:cubicBezTo>
                <a:cubicBezTo>
                  <a:pt x="561" y="413"/>
                  <a:pt x="561" y="413"/>
                  <a:pt x="561" y="413"/>
                </a:cubicBezTo>
                <a:cubicBezTo>
                  <a:pt x="561" y="410"/>
                  <a:pt x="561" y="410"/>
                  <a:pt x="561" y="410"/>
                </a:cubicBezTo>
                <a:cubicBezTo>
                  <a:pt x="562" y="408"/>
                  <a:pt x="562" y="408"/>
                  <a:pt x="562" y="408"/>
                </a:cubicBezTo>
                <a:cubicBezTo>
                  <a:pt x="563" y="402"/>
                  <a:pt x="563" y="402"/>
                  <a:pt x="563" y="402"/>
                </a:cubicBezTo>
                <a:cubicBezTo>
                  <a:pt x="565" y="397"/>
                  <a:pt x="565" y="397"/>
                  <a:pt x="565" y="397"/>
                </a:cubicBezTo>
                <a:cubicBezTo>
                  <a:pt x="565" y="392"/>
                  <a:pt x="565" y="392"/>
                  <a:pt x="565" y="392"/>
                </a:cubicBezTo>
                <a:cubicBezTo>
                  <a:pt x="564" y="389"/>
                  <a:pt x="564" y="389"/>
                  <a:pt x="564" y="389"/>
                </a:cubicBezTo>
                <a:cubicBezTo>
                  <a:pt x="563" y="387"/>
                  <a:pt x="563" y="387"/>
                  <a:pt x="563" y="387"/>
                </a:cubicBezTo>
                <a:cubicBezTo>
                  <a:pt x="563" y="386"/>
                  <a:pt x="563" y="386"/>
                  <a:pt x="563" y="386"/>
                </a:cubicBezTo>
                <a:cubicBezTo>
                  <a:pt x="564" y="387"/>
                  <a:pt x="564" y="387"/>
                  <a:pt x="564" y="387"/>
                </a:cubicBezTo>
                <a:cubicBezTo>
                  <a:pt x="565" y="390"/>
                  <a:pt x="565" y="390"/>
                  <a:pt x="565" y="390"/>
                </a:cubicBezTo>
                <a:cubicBezTo>
                  <a:pt x="567" y="390"/>
                  <a:pt x="567" y="390"/>
                  <a:pt x="567" y="390"/>
                </a:cubicBezTo>
                <a:cubicBezTo>
                  <a:pt x="568" y="387"/>
                  <a:pt x="568" y="387"/>
                  <a:pt x="568" y="387"/>
                </a:cubicBezTo>
                <a:cubicBezTo>
                  <a:pt x="570" y="385"/>
                  <a:pt x="570" y="385"/>
                  <a:pt x="570" y="385"/>
                </a:cubicBezTo>
                <a:cubicBezTo>
                  <a:pt x="569" y="389"/>
                  <a:pt x="569" y="389"/>
                  <a:pt x="569" y="389"/>
                </a:cubicBezTo>
                <a:cubicBezTo>
                  <a:pt x="568" y="393"/>
                  <a:pt x="568" y="393"/>
                  <a:pt x="568" y="393"/>
                </a:cubicBezTo>
                <a:cubicBezTo>
                  <a:pt x="568" y="396"/>
                  <a:pt x="568" y="396"/>
                  <a:pt x="568" y="396"/>
                </a:cubicBezTo>
                <a:cubicBezTo>
                  <a:pt x="566" y="401"/>
                  <a:pt x="566" y="401"/>
                  <a:pt x="566" y="401"/>
                </a:cubicBezTo>
                <a:cubicBezTo>
                  <a:pt x="566" y="404"/>
                  <a:pt x="566" y="404"/>
                  <a:pt x="566" y="404"/>
                </a:cubicBezTo>
                <a:cubicBezTo>
                  <a:pt x="567" y="405"/>
                  <a:pt x="567" y="405"/>
                  <a:pt x="567" y="405"/>
                </a:cubicBezTo>
                <a:cubicBezTo>
                  <a:pt x="565" y="407"/>
                  <a:pt x="565" y="407"/>
                  <a:pt x="565" y="407"/>
                </a:cubicBezTo>
                <a:cubicBezTo>
                  <a:pt x="565" y="410"/>
                  <a:pt x="565" y="410"/>
                  <a:pt x="565" y="410"/>
                </a:cubicBezTo>
                <a:cubicBezTo>
                  <a:pt x="565" y="412"/>
                  <a:pt x="565" y="412"/>
                  <a:pt x="565" y="412"/>
                </a:cubicBezTo>
                <a:cubicBezTo>
                  <a:pt x="566" y="415"/>
                  <a:pt x="566" y="415"/>
                  <a:pt x="566" y="415"/>
                </a:cubicBezTo>
                <a:cubicBezTo>
                  <a:pt x="568" y="417"/>
                  <a:pt x="568" y="417"/>
                  <a:pt x="568" y="417"/>
                </a:cubicBezTo>
                <a:cubicBezTo>
                  <a:pt x="568" y="420"/>
                  <a:pt x="568" y="420"/>
                  <a:pt x="568" y="420"/>
                </a:cubicBezTo>
                <a:cubicBezTo>
                  <a:pt x="570" y="420"/>
                  <a:pt x="570" y="420"/>
                  <a:pt x="570" y="420"/>
                </a:cubicBezTo>
                <a:cubicBezTo>
                  <a:pt x="570" y="422"/>
                  <a:pt x="570" y="422"/>
                  <a:pt x="570" y="422"/>
                </a:cubicBezTo>
                <a:cubicBezTo>
                  <a:pt x="571" y="424"/>
                  <a:pt x="571" y="424"/>
                  <a:pt x="571" y="424"/>
                </a:cubicBezTo>
                <a:cubicBezTo>
                  <a:pt x="573" y="423"/>
                  <a:pt x="573" y="423"/>
                  <a:pt x="573" y="423"/>
                </a:cubicBezTo>
                <a:cubicBezTo>
                  <a:pt x="574" y="424"/>
                  <a:pt x="574" y="424"/>
                  <a:pt x="574" y="424"/>
                </a:cubicBezTo>
                <a:cubicBezTo>
                  <a:pt x="576" y="423"/>
                  <a:pt x="576" y="423"/>
                  <a:pt x="576" y="423"/>
                </a:cubicBezTo>
                <a:cubicBezTo>
                  <a:pt x="579" y="423"/>
                  <a:pt x="579" y="423"/>
                  <a:pt x="579" y="423"/>
                </a:cubicBezTo>
                <a:cubicBezTo>
                  <a:pt x="579" y="423"/>
                  <a:pt x="579" y="423"/>
                  <a:pt x="579" y="423"/>
                </a:cubicBezTo>
                <a:cubicBezTo>
                  <a:pt x="576" y="425"/>
                  <a:pt x="576" y="425"/>
                  <a:pt x="576" y="425"/>
                </a:cubicBezTo>
                <a:cubicBezTo>
                  <a:pt x="575" y="426"/>
                  <a:pt x="575" y="426"/>
                  <a:pt x="575" y="426"/>
                </a:cubicBezTo>
                <a:cubicBezTo>
                  <a:pt x="575" y="427"/>
                  <a:pt x="575" y="427"/>
                  <a:pt x="575" y="427"/>
                </a:cubicBezTo>
                <a:cubicBezTo>
                  <a:pt x="576" y="428"/>
                  <a:pt x="576" y="428"/>
                  <a:pt x="576" y="428"/>
                </a:cubicBezTo>
                <a:cubicBezTo>
                  <a:pt x="575" y="429"/>
                  <a:pt x="575" y="429"/>
                  <a:pt x="575" y="429"/>
                </a:cubicBezTo>
                <a:cubicBezTo>
                  <a:pt x="573" y="429"/>
                  <a:pt x="573" y="429"/>
                  <a:pt x="573" y="429"/>
                </a:cubicBezTo>
                <a:cubicBezTo>
                  <a:pt x="573" y="431"/>
                  <a:pt x="573" y="431"/>
                  <a:pt x="573" y="431"/>
                </a:cubicBezTo>
                <a:cubicBezTo>
                  <a:pt x="575" y="433"/>
                  <a:pt x="575" y="433"/>
                  <a:pt x="575" y="433"/>
                </a:cubicBezTo>
                <a:cubicBezTo>
                  <a:pt x="575" y="436"/>
                  <a:pt x="575" y="436"/>
                  <a:pt x="575" y="436"/>
                </a:cubicBezTo>
                <a:cubicBezTo>
                  <a:pt x="574" y="436"/>
                  <a:pt x="574" y="436"/>
                  <a:pt x="574" y="436"/>
                </a:cubicBezTo>
                <a:cubicBezTo>
                  <a:pt x="572" y="435"/>
                  <a:pt x="572" y="435"/>
                  <a:pt x="572" y="435"/>
                </a:cubicBezTo>
                <a:cubicBezTo>
                  <a:pt x="571" y="433"/>
                  <a:pt x="571" y="433"/>
                  <a:pt x="571" y="433"/>
                </a:cubicBezTo>
                <a:cubicBezTo>
                  <a:pt x="571" y="434"/>
                  <a:pt x="571" y="434"/>
                  <a:pt x="571" y="434"/>
                </a:cubicBezTo>
                <a:cubicBezTo>
                  <a:pt x="571" y="435"/>
                  <a:pt x="571" y="435"/>
                  <a:pt x="571" y="435"/>
                </a:cubicBezTo>
                <a:cubicBezTo>
                  <a:pt x="570" y="437"/>
                  <a:pt x="570" y="437"/>
                  <a:pt x="570" y="437"/>
                </a:cubicBezTo>
                <a:cubicBezTo>
                  <a:pt x="570" y="440"/>
                  <a:pt x="570" y="440"/>
                  <a:pt x="570" y="440"/>
                </a:cubicBezTo>
                <a:cubicBezTo>
                  <a:pt x="571" y="441"/>
                  <a:pt x="571" y="441"/>
                  <a:pt x="571" y="441"/>
                </a:cubicBezTo>
                <a:cubicBezTo>
                  <a:pt x="570" y="442"/>
                  <a:pt x="570" y="442"/>
                  <a:pt x="570" y="442"/>
                </a:cubicBezTo>
                <a:cubicBezTo>
                  <a:pt x="568" y="442"/>
                  <a:pt x="568" y="442"/>
                  <a:pt x="568" y="442"/>
                </a:cubicBezTo>
                <a:cubicBezTo>
                  <a:pt x="567" y="444"/>
                  <a:pt x="567" y="444"/>
                  <a:pt x="567" y="444"/>
                </a:cubicBezTo>
                <a:cubicBezTo>
                  <a:pt x="568" y="445"/>
                  <a:pt x="568" y="445"/>
                  <a:pt x="568" y="445"/>
                </a:cubicBezTo>
                <a:cubicBezTo>
                  <a:pt x="569" y="445"/>
                  <a:pt x="569" y="445"/>
                  <a:pt x="569" y="445"/>
                </a:cubicBezTo>
                <a:cubicBezTo>
                  <a:pt x="570" y="445"/>
                  <a:pt x="570" y="445"/>
                  <a:pt x="570" y="445"/>
                </a:cubicBezTo>
                <a:cubicBezTo>
                  <a:pt x="571" y="447"/>
                  <a:pt x="571" y="447"/>
                  <a:pt x="571" y="447"/>
                </a:cubicBezTo>
                <a:cubicBezTo>
                  <a:pt x="573" y="449"/>
                  <a:pt x="573" y="449"/>
                  <a:pt x="573" y="449"/>
                </a:cubicBezTo>
                <a:cubicBezTo>
                  <a:pt x="574" y="448"/>
                  <a:pt x="574" y="448"/>
                  <a:pt x="574" y="448"/>
                </a:cubicBezTo>
                <a:cubicBezTo>
                  <a:pt x="575" y="449"/>
                  <a:pt x="575" y="449"/>
                  <a:pt x="575" y="449"/>
                </a:cubicBezTo>
                <a:cubicBezTo>
                  <a:pt x="575" y="450"/>
                  <a:pt x="575" y="450"/>
                  <a:pt x="575" y="450"/>
                </a:cubicBezTo>
                <a:cubicBezTo>
                  <a:pt x="574" y="450"/>
                  <a:pt x="574" y="450"/>
                  <a:pt x="574" y="450"/>
                </a:cubicBezTo>
                <a:cubicBezTo>
                  <a:pt x="573" y="451"/>
                  <a:pt x="573" y="451"/>
                  <a:pt x="573" y="451"/>
                </a:cubicBezTo>
                <a:cubicBezTo>
                  <a:pt x="573" y="452"/>
                  <a:pt x="573" y="452"/>
                  <a:pt x="573" y="452"/>
                </a:cubicBezTo>
                <a:cubicBezTo>
                  <a:pt x="575" y="453"/>
                  <a:pt x="575" y="453"/>
                  <a:pt x="575" y="453"/>
                </a:cubicBezTo>
                <a:cubicBezTo>
                  <a:pt x="576" y="455"/>
                  <a:pt x="576" y="455"/>
                  <a:pt x="576" y="455"/>
                </a:cubicBezTo>
                <a:cubicBezTo>
                  <a:pt x="578" y="457"/>
                  <a:pt x="578" y="457"/>
                  <a:pt x="578" y="457"/>
                </a:cubicBezTo>
                <a:cubicBezTo>
                  <a:pt x="579" y="457"/>
                  <a:pt x="579" y="457"/>
                  <a:pt x="579" y="457"/>
                </a:cubicBezTo>
                <a:cubicBezTo>
                  <a:pt x="577" y="458"/>
                  <a:pt x="577" y="458"/>
                  <a:pt x="577" y="458"/>
                </a:cubicBezTo>
                <a:cubicBezTo>
                  <a:pt x="576" y="458"/>
                  <a:pt x="576" y="458"/>
                  <a:pt x="576" y="458"/>
                </a:cubicBezTo>
                <a:cubicBezTo>
                  <a:pt x="575" y="460"/>
                  <a:pt x="575" y="460"/>
                  <a:pt x="575" y="460"/>
                </a:cubicBezTo>
                <a:cubicBezTo>
                  <a:pt x="575" y="462"/>
                  <a:pt x="575" y="462"/>
                  <a:pt x="575" y="462"/>
                </a:cubicBezTo>
                <a:cubicBezTo>
                  <a:pt x="577" y="466"/>
                  <a:pt x="577" y="466"/>
                  <a:pt x="577" y="466"/>
                </a:cubicBezTo>
                <a:cubicBezTo>
                  <a:pt x="579" y="467"/>
                  <a:pt x="579" y="467"/>
                  <a:pt x="579" y="467"/>
                </a:cubicBezTo>
                <a:cubicBezTo>
                  <a:pt x="581" y="467"/>
                  <a:pt x="581" y="467"/>
                  <a:pt x="581" y="467"/>
                </a:cubicBezTo>
                <a:cubicBezTo>
                  <a:pt x="583" y="468"/>
                  <a:pt x="583" y="468"/>
                  <a:pt x="583" y="468"/>
                </a:cubicBezTo>
                <a:cubicBezTo>
                  <a:pt x="580" y="469"/>
                  <a:pt x="580" y="469"/>
                  <a:pt x="580" y="469"/>
                </a:cubicBezTo>
                <a:cubicBezTo>
                  <a:pt x="578" y="468"/>
                  <a:pt x="578" y="468"/>
                  <a:pt x="578" y="468"/>
                </a:cubicBezTo>
                <a:cubicBezTo>
                  <a:pt x="576" y="469"/>
                  <a:pt x="576" y="469"/>
                  <a:pt x="576" y="469"/>
                </a:cubicBezTo>
                <a:cubicBezTo>
                  <a:pt x="574" y="472"/>
                  <a:pt x="574" y="472"/>
                  <a:pt x="574" y="472"/>
                </a:cubicBezTo>
                <a:cubicBezTo>
                  <a:pt x="571" y="476"/>
                  <a:pt x="571" y="476"/>
                  <a:pt x="571" y="476"/>
                </a:cubicBezTo>
                <a:cubicBezTo>
                  <a:pt x="568" y="478"/>
                  <a:pt x="568" y="478"/>
                  <a:pt x="568" y="478"/>
                </a:cubicBezTo>
                <a:cubicBezTo>
                  <a:pt x="568" y="481"/>
                  <a:pt x="568" y="481"/>
                  <a:pt x="568" y="481"/>
                </a:cubicBezTo>
                <a:cubicBezTo>
                  <a:pt x="569" y="483"/>
                  <a:pt x="569" y="483"/>
                  <a:pt x="569" y="483"/>
                </a:cubicBezTo>
                <a:cubicBezTo>
                  <a:pt x="572" y="481"/>
                  <a:pt x="572" y="481"/>
                  <a:pt x="572" y="481"/>
                </a:cubicBezTo>
                <a:cubicBezTo>
                  <a:pt x="573" y="477"/>
                  <a:pt x="573" y="477"/>
                  <a:pt x="573" y="477"/>
                </a:cubicBezTo>
                <a:cubicBezTo>
                  <a:pt x="573" y="476"/>
                  <a:pt x="573" y="476"/>
                  <a:pt x="573" y="476"/>
                </a:cubicBezTo>
                <a:cubicBezTo>
                  <a:pt x="575" y="476"/>
                  <a:pt x="575" y="476"/>
                  <a:pt x="575" y="476"/>
                </a:cubicBezTo>
                <a:cubicBezTo>
                  <a:pt x="578" y="473"/>
                  <a:pt x="578" y="473"/>
                  <a:pt x="578" y="473"/>
                </a:cubicBezTo>
                <a:cubicBezTo>
                  <a:pt x="578" y="474"/>
                  <a:pt x="578" y="474"/>
                  <a:pt x="578" y="474"/>
                </a:cubicBezTo>
                <a:cubicBezTo>
                  <a:pt x="580" y="474"/>
                  <a:pt x="580" y="474"/>
                  <a:pt x="580" y="474"/>
                </a:cubicBezTo>
                <a:cubicBezTo>
                  <a:pt x="583" y="473"/>
                  <a:pt x="583" y="473"/>
                  <a:pt x="583" y="473"/>
                </a:cubicBezTo>
                <a:cubicBezTo>
                  <a:pt x="581" y="476"/>
                  <a:pt x="581" y="476"/>
                  <a:pt x="581" y="476"/>
                </a:cubicBezTo>
                <a:cubicBezTo>
                  <a:pt x="582" y="476"/>
                  <a:pt x="582" y="476"/>
                  <a:pt x="582" y="476"/>
                </a:cubicBezTo>
                <a:cubicBezTo>
                  <a:pt x="585" y="476"/>
                  <a:pt x="585" y="476"/>
                  <a:pt x="585" y="476"/>
                </a:cubicBezTo>
                <a:cubicBezTo>
                  <a:pt x="585" y="477"/>
                  <a:pt x="585" y="477"/>
                  <a:pt x="585" y="477"/>
                </a:cubicBezTo>
                <a:cubicBezTo>
                  <a:pt x="582" y="480"/>
                  <a:pt x="582" y="480"/>
                  <a:pt x="582" y="480"/>
                </a:cubicBezTo>
                <a:cubicBezTo>
                  <a:pt x="582" y="482"/>
                  <a:pt x="582" y="482"/>
                  <a:pt x="582" y="482"/>
                </a:cubicBezTo>
                <a:cubicBezTo>
                  <a:pt x="583" y="483"/>
                  <a:pt x="583" y="483"/>
                  <a:pt x="583" y="483"/>
                </a:cubicBezTo>
                <a:cubicBezTo>
                  <a:pt x="581" y="486"/>
                  <a:pt x="581" y="486"/>
                  <a:pt x="581" y="486"/>
                </a:cubicBezTo>
                <a:cubicBezTo>
                  <a:pt x="580" y="488"/>
                  <a:pt x="580" y="488"/>
                  <a:pt x="580" y="488"/>
                </a:cubicBezTo>
                <a:cubicBezTo>
                  <a:pt x="581" y="489"/>
                  <a:pt x="581" y="489"/>
                  <a:pt x="581" y="489"/>
                </a:cubicBezTo>
                <a:cubicBezTo>
                  <a:pt x="581" y="490"/>
                  <a:pt x="581" y="490"/>
                  <a:pt x="581" y="490"/>
                </a:cubicBezTo>
                <a:cubicBezTo>
                  <a:pt x="580" y="490"/>
                  <a:pt x="580" y="490"/>
                  <a:pt x="580" y="490"/>
                </a:cubicBezTo>
                <a:cubicBezTo>
                  <a:pt x="577" y="490"/>
                  <a:pt x="577" y="490"/>
                  <a:pt x="577" y="490"/>
                </a:cubicBezTo>
                <a:cubicBezTo>
                  <a:pt x="576" y="492"/>
                  <a:pt x="576" y="492"/>
                  <a:pt x="576" y="492"/>
                </a:cubicBezTo>
                <a:cubicBezTo>
                  <a:pt x="576" y="493"/>
                  <a:pt x="576" y="493"/>
                  <a:pt x="576" y="493"/>
                </a:cubicBezTo>
                <a:cubicBezTo>
                  <a:pt x="578" y="493"/>
                  <a:pt x="578" y="493"/>
                  <a:pt x="578" y="493"/>
                </a:cubicBezTo>
                <a:cubicBezTo>
                  <a:pt x="579" y="493"/>
                  <a:pt x="579" y="493"/>
                  <a:pt x="579" y="493"/>
                </a:cubicBezTo>
                <a:cubicBezTo>
                  <a:pt x="581" y="493"/>
                  <a:pt x="581" y="493"/>
                  <a:pt x="581" y="493"/>
                </a:cubicBezTo>
                <a:cubicBezTo>
                  <a:pt x="581" y="494"/>
                  <a:pt x="581" y="494"/>
                  <a:pt x="581" y="494"/>
                </a:cubicBezTo>
                <a:cubicBezTo>
                  <a:pt x="579" y="495"/>
                  <a:pt x="579" y="495"/>
                  <a:pt x="579" y="495"/>
                </a:cubicBezTo>
                <a:cubicBezTo>
                  <a:pt x="578" y="495"/>
                  <a:pt x="578" y="495"/>
                  <a:pt x="578" y="495"/>
                </a:cubicBezTo>
                <a:cubicBezTo>
                  <a:pt x="576" y="495"/>
                  <a:pt x="576" y="495"/>
                  <a:pt x="576" y="495"/>
                </a:cubicBezTo>
                <a:cubicBezTo>
                  <a:pt x="575" y="496"/>
                  <a:pt x="575" y="496"/>
                  <a:pt x="575" y="496"/>
                </a:cubicBezTo>
                <a:cubicBezTo>
                  <a:pt x="575" y="499"/>
                  <a:pt x="575" y="499"/>
                  <a:pt x="575" y="499"/>
                </a:cubicBezTo>
                <a:cubicBezTo>
                  <a:pt x="576" y="502"/>
                  <a:pt x="576" y="502"/>
                  <a:pt x="576" y="502"/>
                </a:cubicBezTo>
                <a:cubicBezTo>
                  <a:pt x="577" y="501"/>
                  <a:pt x="577" y="501"/>
                  <a:pt x="577" y="501"/>
                </a:cubicBezTo>
                <a:cubicBezTo>
                  <a:pt x="578" y="499"/>
                  <a:pt x="578" y="499"/>
                  <a:pt x="578" y="499"/>
                </a:cubicBezTo>
                <a:cubicBezTo>
                  <a:pt x="579" y="499"/>
                  <a:pt x="579" y="499"/>
                  <a:pt x="579" y="499"/>
                </a:cubicBezTo>
                <a:cubicBezTo>
                  <a:pt x="582" y="498"/>
                  <a:pt x="582" y="498"/>
                  <a:pt x="582" y="498"/>
                </a:cubicBezTo>
                <a:cubicBezTo>
                  <a:pt x="585" y="495"/>
                  <a:pt x="585" y="495"/>
                  <a:pt x="585" y="495"/>
                </a:cubicBezTo>
                <a:cubicBezTo>
                  <a:pt x="587" y="491"/>
                  <a:pt x="587" y="491"/>
                  <a:pt x="587" y="491"/>
                </a:cubicBezTo>
                <a:cubicBezTo>
                  <a:pt x="588" y="486"/>
                  <a:pt x="588" y="486"/>
                  <a:pt x="588" y="486"/>
                </a:cubicBezTo>
                <a:cubicBezTo>
                  <a:pt x="591" y="480"/>
                  <a:pt x="591" y="480"/>
                  <a:pt x="591" y="480"/>
                </a:cubicBezTo>
                <a:cubicBezTo>
                  <a:pt x="592" y="480"/>
                  <a:pt x="592" y="480"/>
                  <a:pt x="592" y="480"/>
                </a:cubicBezTo>
                <a:cubicBezTo>
                  <a:pt x="592" y="480"/>
                  <a:pt x="592" y="480"/>
                  <a:pt x="592" y="480"/>
                </a:cubicBezTo>
                <a:close/>
                <a:moveTo>
                  <a:pt x="556" y="493"/>
                </a:moveTo>
                <a:cubicBezTo>
                  <a:pt x="555" y="492"/>
                  <a:pt x="555" y="492"/>
                  <a:pt x="555" y="492"/>
                </a:cubicBezTo>
                <a:cubicBezTo>
                  <a:pt x="555" y="490"/>
                  <a:pt x="555" y="490"/>
                  <a:pt x="555" y="490"/>
                </a:cubicBezTo>
                <a:cubicBezTo>
                  <a:pt x="556" y="492"/>
                  <a:pt x="556" y="492"/>
                  <a:pt x="556" y="492"/>
                </a:cubicBezTo>
                <a:cubicBezTo>
                  <a:pt x="556" y="493"/>
                  <a:pt x="556" y="493"/>
                  <a:pt x="556" y="493"/>
                </a:cubicBezTo>
                <a:close/>
                <a:moveTo>
                  <a:pt x="569" y="497"/>
                </a:moveTo>
                <a:cubicBezTo>
                  <a:pt x="571" y="496"/>
                  <a:pt x="571" y="496"/>
                  <a:pt x="571" y="496"/>
                </a:cubicBezTo>
                <a:cubicBezTo>
                  <a:pt x="573" y="497"/>
                  <a:pt x="573" y="497"/>
                  <a:pt x="573" y="497"/>
                </a:cubicBezTo>
                <a:cubicBezTo>
                  <a:pt x="571" y="499"/>
                  <a:pt x="571" y="499"/>
                  <a:pt x="571" y="499"/>
                </a:cubicBezTo>
                <a:cubicBezTo>
                  <a:pt x="569" y="497"/>
                  <a:pt x="569" y="497"/>
                  <a:pt x="569" y="497"/>
                </a:cubicBezTo>
                <a:close/>
                <a:moveTo>
                  <a:pt x="570" y="491"/>
                </a:moveTo>
                <a:cubicBezTo>
                  <a:pt x="572" y="490"/>
                  <a:pt x="572" y="490"/>
                  <a:pt x="572" y="490"/>
                </a:cubicBezTo>
                <a:cubicBezTo>
                  <a:pt x="573" y="493"/>
                  <a:pt x="573" y="493"/>
                  <a:pt x="573" y="493"/>
                </a:cubicBezTo>
                <a:cubicBezTo>
                  <a:pt x="571" y="495"/>
                  <a:pt x="571" y="495"/>
                  <a:pt x="571" y="495"/>
                </a:cubicBezTo>
                <a:cubicBezTo>
                  <a:pt x="569" y="494"/>
                  <a:pt x="569" y="494"/>
                  <a:pt x="569" y="494"/>
                </a:cubicBezTo>
                <a:cubicBezTo>
                  <a:pt x="570" y="492"/>
                  <a:pt x="570" y="492"/>
                  <a:pt x="570" y="492"/>
                </a:cubicBezTo>
                <a:cubicBezTo>
                  <a:pt x="570" y="491"/>
                  <a:pt x="570" y="491"/>
                  <a:pt x="570" y="491"/>
                </a:cubicBezTo>
                <a:close/>
                <a:moveTo>
                  <a:pt x="569" y="485"/>
                </a:moveTo>
                <a:cubicBezTo>
                  <a:pt x="571" y="488"/>
                  <a:pt x="571" y="488"/>
                  <a:pt x="571" y="488"/>
                </a:cubicBezTo>
                <a:cubicBezTo>
                  <a:pt x="569" y="490"/>
                  <a:pt x="569" y="490"/>
                  <a:pt x="569" y="490"/>
                </a:cubicBezTo>
                <a:cubicBezTo>
                  <a:pt x="569" y="488"/>
                  <a:pt x="569" y="488"/>
                  <a:pt x="569" y="488"/>
                </a:cubicBezTo>
                <a:cubicBezTo>
                  <a:pt x="568" y="486"/>
                  <a:pt x="568" y="486"/>
                  <a:pt x="568" y="486"/>
                </a:cubicBezTo>
                <a:cubicBezTo>
                  <a:pt x="569" y="485"/>
                  <a:pt x="569" y="485"/>
                  <a:pt x="569" y="485"/>
                </a:cubicBezTo>
                <a:close/>
                <a:moveTo>
                  <a:pt x="572" y="485"/>
                </a:moveTo>
                <a:cubicBezTo>
                  <a:pt x="574" y="483"/>
                  <a:pt x="574" y="483"/>
                  <a:pt x="574" y="483"/>
                </a:cubicBezTo>
                <a:cubicBezTo>
                  <a:pt x="574" y="482"/>
                  <a:pt x="574" y="482"/>
                  <a:pt x="574" y="482"/>
                </a:cubicBezTo>
                <a:cubicBezTo>
                  <a:pt x="575" y="478"/>
                  <a:pt x="575" y="478"/>
                  <a:pt x="575" y="478"/>
                </a:cubicBezTo>
                <a:cubicBezTo>
                  <a:pt x="577" y="477"/>
                  <a:pt x="577" y="477"/>
                  <a:pt x="577" y="477"/>
                </a:cubicBezTo>
                <a:cubicBezTo>
                  <a:pt x="577" y="476"/>
                  <a:pt x="577" y="476"/>
                  <a:pt x="577" y="476"/>
                </a:cubicBezTo>
                <a:cubicBezTo>
                  <a:pt x="580" y="476"/>
                  <a:pt x="580" y="476"/>
                  <a:pt x="580" y="476"/>
                </a:cubicBezTo>
                <a:cubicBezTo>
                  <a:pt x="581" y="479"/>
                  <a:pt x="581" y="479"/>
                  <a:pt x="581" y="479"/>
                </a:cubicBezTo>
                <a:cubicBezTo>
                  <a:pt x="580" y="481"/>
                  <a:pt x="580" y="481"/>
                  <a:pt x="580" y="481"/>
                </a:cubicBezTo>
                <a:cubicBezTo>
                  <a:pt x="581" y="483"/>
                  <a:pt x="581" y="483"/>
                  <a:pt x="581" y="483"/>
                </a:cubicBezTo>
                <a:cubicBezTo>
                  <a:pt x="578" y="488"/>
                  <a:pt x="578" y="488"/>
                  <a:pt x="578" y="488"/>
                </a:cubicBezTo>
                <a:cubicBezTo>
                  <a:pt x="574" y="491"/>
                  <a:pt x="574" y="491"/>
                  <a:pt x="574" y="491"/>
                </a:cubicBezTo>
                <a:cubicBezTo>
                  <a:pt x="573" y="490"/>
                  <a:pt x="573" y="490"/>
                  <a:pt x="573" y="490"/>
                </a:cubicBezTo>
                <a:cubicBezTo>
                  <a:pt x="575" y="487"/>
                  <a:pt x="575" y="487"/>
                  <a:pt x="575" y="487"/>
                </a:cubicBezTo>
                <a:cubicBezTo>
                  <a:pt x="577" y="485"/>
                  <a:pt x="577" y="485"/>
                  <a:pt x="577" y="485"/>
                </a:cubicBezTo>
                <a:cubicBezTo>
                  <a:pt x="577" y="484"/>
                  <a:pt x="577" y="484"/>
                  <a:pt x="577" y="484"/>
                </a:cubicBezTo>
                <a:cubicBezTo>
                  <a:pt x="572" y="486"/>
                  <a:pt x="572" y="486"/>
                  <a:pt x="572" y="486"/>
                </a:cubicBezTo>
                <a:cubicBezTo>
                  <a:pt x="572" y="485"/>
                  <a:pt x="572" y="485"/>
                  <a:pt x="572" y="485"/>
                </a:cubicBezTo>
                <a:close/>
                <a:moveTo>
                  <a:pt x="550" y="493"/>
                </a:moveTo>
                <a:cubicBezTo>
                  <a:pt x="551" y="492"/>
                  <a:pt x="551" y="492"/>
                  <a:pt x="551" y="492"/>
                </a:cubicBezTo>
                <a:cubicBezTo>
                  <a:pt x="553" y="493"/>
                  <a:pt x="553" y="493"/>
                  <a:pt x="553" y="493"/>
                </a:cubicBezTo>
                <a:cubicBezTo>
                  <a:pt x="552" y="495"/>
                  <a:pt x="552" y="495"/>
                  <a:pt x="552" y="495"/>
                </a:cubicBezTo>
                <a:cubicBezTo>
                  <a:pt x="554" y="497"/>
                  <a:pt x="554" y="497"/>
                  <a:pt x="554" y="497"/>
                </a:cubicBezTo>
                <a:cubicBezTo>
                  <a:pt x="552" y="500"/>
                  <a:pt x="552" y="500"/>
                  <a:pt x="552" y="500"/>
                </a:cubicBezTo>
                <a:cubicBezTo>
                  <a:pt x="551" y="499"/>
                  <a:pt x="551" y="499"/>
                  <a:pt x="551" y="499"/>
                </a:cubicBezTo>
                <a:cubicBezTo>
                  <a:pt x="551" y="497"/>
                  <a:pt x="551" y="497"/>
                  <a:pt x="551" y="497"/>
                </a:cubicBezTo>
                <a:cubicBezTo>
                  <a:pt x="549" y="494"/>
                  <a:pt x="549" y="494"/>
                  <a:pt x="549" y="494"/>
                </a:cubicBezTo>
                <a:cubicBezTo>
                  <a:pt x="550" y="493"/>
                  <a:pt x="550" y="493"/>
                  <a:pt x="550" y="493"/>
                </a:cubicBezTo>
                <a:close/>
                <a:moveTo>
                  <a:pt x="550" y="489"/>
                </a:moveTo>
                <a:cubicBezTo>
                  <a:pt x="552" y="489"/>
                  <a:pt x="552" y="489"/>
                  <a:pt x="552" y="489"/>
                </a:cubicBezTo>
                <a:cubicBezTo>
                  <a:pt x="553" y="489"/>
                  <a:pt x="553" y="489"/>
                  <a:pt x="553" y="489"/>
                </a:cubicBezTo>
                <a:cubicBezTo>
                  <a:pt x="553" y="491"/>
                  <a:pt x="553" y="491"/>
                  <a:pt x="553" y="491"/>
                </a:cubicBezTo>
                <a:cubicBezTo>
                  <a:pt x="551" y="491"/>
                  <a:pt x="551" y="491"/>
                  <a:pt x="551" y="491"/>
                </a:cubicBezTo>
                <a:cubicBezTo>
                  <a:pt x="550" y="489"/>
                  <a:pt x="550" y="489"/>
                  <a:pt x="550" y="489"/>
                </a:cubicBezTo>
                <a:close/>
                <a:moveTo>
                  <a:pt x="549" y="487"/>
                </a:moveTo>
                <a:cubicBezTo>
                  <a:pt x="551" y="485"/>
                  <a:pt x="551" y="485"/>
                  <a:pt x="551" y="485"/>
                </a:cubicBezTo>
                <a:cubicBezTo>
                  <a:pt x="551" y="487"/>
                  <a:pt x="551" y="487"/>
                  <a:pt x="551" y="487"/>
                </a:cubicBezTo>
                <a:cubicBezTo>
                  <a:pt x="549" y="487"/>
                  <a:pt x="549" y="487"/>
                  <a:pt x="549" y="487"/>
                </a:cubicBezTo>
                <a:close/>
                <a:moveTo>
                  <a:pt x="548" y="483"/>
                </a:moveTo>
                <a:cubicBezTo>
                  <a:pt x="550" y="484"/>
                  <a:pt x="550" y="484"/>
                  <a:pt x="550" y="484"/>
                </a:cubicBezTo>
                <a:cubicBezTo>
                  <a:pt x="547" y="486"/>
                  <a:pt x="547" y="486"/>
                  <a:pt x="547" y="486"/>
                </a:cubicBezTo>
                <a:cubicBezTo>
                  <a:pt x="548" y="483"/>
                  <a:pt x="548" y="483"/>
                  <a:pt x="548" y="483"/>
                </a:cubicBezTo>
                <a:close/>
                <a:moveTo>
                  <a:pt x="547" y="472"/>
                </a:moveTo>
                <a:cubicBezTo>
                  <a:pt x="546" y="470"/>
                  <a:pt x="546" y="470"/>
                  <a:pt x="546" y="470"/>
                </a:cubicBezTo>
                <a:cubicBezTo>
                  <a:pt x="548" y="470"/>
                  <a:pt x="548" y="470"/>
                  <a:pt x="548" y="470"/>
                </a:cubicBezTo>
                <a:cubicBezTo>
                  <a:pt x="547" y="472"/>
                  <a:pt x="547" y="472"/>
                  <a:pt x="547" y="472"/>
                </a:cubicBezTo>
                <a:close/>
                <a:moveTo>
                  <a:pt x="553" y="475"/>
                </a:moveTo>
                <a:cubicBezTo>
                  <a:pt x="554" y="474"/>
                  <a:pt x="554" y="474"/>
                  <a:pt x="554" y="474"/>
                </a:cubicBezTo>
                <a:cubicBezTo>
                  <a:pt x="555" y="475"/>
                  <a:pt x="555" y="475"/>
                  <a:pt x="555" y="475"/>
                </a:cubicBezTo>
                <a:cubicBezTo>
                  <a:pt x="554" y="476"/>
                  <a:pt x="554" y="476"/>
                  <a:pt x="554" y="476"/>
                </a:cubicBezTo>
                <a:cubicBezTo>
                  <a:pt x="553" y="475"/>
                  <a:pt x="553" y="475"/>
                  <a:pt x="553" y="475"/>
                </a:cubicBezTo>
                <a:close/>
                <a:moveTo>
                  <a:pt x="553" y="471"/>
                </a:moveTo>
                <a:cubicBezTo>
                  <a:pt x="555" y="468"/>
                  <a:pt x="555" y="468"/>
                  <a:pt x="555" y="468"/>
                </a:cubicBezTo>
                <a:cubicBezTo>
                  <a:pt x="557" y="467"/>
                  <a:pt x="557" y="467"/>
                  <a:pt x="557" y="467"/>
                </a:cubicBezTo>
                <a:cubicBezTo>
                  <a:pt x="559" y="469"/>
                  <a:pt x="559" y="469"/>
                  <a:pt x="559" y="469"/>
                </a:cubicBezTo>
                <a:cubicBezTo>
                  <a:pt x="557" y="470"/>
                  <a:pt x="557" y="470"/>
                  <a:pt x="557" y="470"/>
                </a:cubicBezTo>
                <a:cubicBezTo>
                  <a:pt x="556" y="470"/>
                  <a:pt x="556" y="470"/>
                  <a:pt x="556" y="470"/>
                </a:cubicBezTo>
                <a:cubicBezTo>
                  <a:pt x="554" y="471"/>
                  <a:pt x="554" y="471"/>
                  <a:pt x="554" y="471"/>
                </a:cubicBezTo>
                <a:cubicBezTo>
                  <a:pt x="553" y="471"/>
                  <a:pt x="553" y="471"/>
                  <a:pt x="553" y="471"/>
                </a:cubicBezTo>
                <a:close/>
                <a:moveTo>
                  <a:pt x="559" y="473"/>
                </a:moveTo>
                <a:cubicBezTo>
                  <a:pt x="560" y="469"/>
                  <a:pt x="560" y="469"/>
                  <a:pt x="560" y="469"/>
                </a:cubicBezTo>
                <a:cubicBezTo>
                  <a:pt x="559" y="467"/>
                  <a:pt x="559" y="467"/>
                  <a:pt x="559" y="467"/>
                </a:cubicBezTo>
                <a:cubicBezTo>
                  <a:pt x="558" y="465"/>
                  <a:pt x="558" y="465"/>
                  <a:pt x="558" y="465"/>
                </a:cubicBezTo>
                <a:cubicBezTo>
                  <a:pt x="559" y="464"/>
                  <a:pt x="559" y="464"/>
                  <a:pt x="559" y="464"/>
                </a:cubicBezTo>
                <a:cubicBezTo>
                  <a:pt x="561" y="464"/>
                  <a:pt x="561" y="464"/>
                  <a:pt x="561" y="464"/>
                </a:cubicBezTo>
                <a:cubicBezTo>
                  <a:pt x="563" y="467"/>
                  <a:pt x="563" y="467"/>
                  <a:pt x="563" y="467"/>
                </a:cubicBezTo>
                <a:cubicBezTo>
                  <a:pt x="561" y="469"/>
                  <a:pt x="561" y="469"/>
                  <a:pt x="561" y="469"/>
                </a:cubicBezTo>
                <a:cubicBezTo>
                  <a:pt x="561" y="470"/>
                  <a:pt x="561" y="470"/>
                  <a:pt x="561" y="470"/>
                </a:cubicBezTo>
                <a:cubicBezTo>
                  <a:pt x="562" y="472"/>
                  <a:pt x="562" y="472"/>
                  <a:pt x="562" y="472"/>
                </a:cubicBezTo>
                <a:cubicBezTo>
                  <a:pt x="563" y="472"/>
                  <a:pt x="563" y="472"/>
                  <a:pt x="563" y="472"/>
                </a:cubicBezTo>
                <a:cubicBezTo>
                  <a:pt x="565" y="473"/>
                  <a:pt x="565" y="473"/>
                  <a:pt x="565" y="473"/>
                </a:cubicBezTo>
                <a:cubicBezTo>
                  <a:pt x="565" y="477"/>
                  <a:pt x="565" y="477"/>
                  <a:pt x="565" y="477"/>
                </a:cubicBezTo>
                <a:cubicBezTo>
                  <a:pt x="564" y="477"/>
                  <a:pt x="564" y="477"/>
                  <a:pt x="564" y="477"/>
                </a:cubicBezTo>
                <a:cubicBezTo>
                  <a:pt x="566" y="479"/>
                  <a:pt x="566" y="479"/>
                  <a:pt x="566" y="479"/>
                </a:cubicBezTo>
                <a:cubicBezTo>
                  <a:pt x="566" y="481"/>
                  <a:pt x="566" y="481"/>
                  <a:pt x="566" y="481"/>
                </a:cubicBezTo>
                <a:cubicBezTo>
                  <a:pt x="564" y="481"/>
                  <a:pt x="564" y="481"/>
                  <a:pt x="564" y="481"/>
                </a:cubicBezTo>
                <a:cubicBezTo>
                  <a:pt x="563" y="480"/>
                  <a:pt x="563" y="480"/>
                  <a:pt x="563" y="480"/>
                </a:cubicBezTo>
                <a:cubicBezTo>
                  <a:pt x="562" y="483"/>
                  <a:pt x="562" y="483"/>
                  <a:pt x="562" y="483"/>
                </a:cubicBezTo>
                <a:cubicBezTo>
                  <a:pt x="565" y="485"/>
                  <a:pt x="565" y="485"/>
                  <a:pt x="565" y="485"/>
                </a:cubicBezTo>
                <a:cubicBezTo>
                  <a:pt x="566" y="487"/>
                  <a:pt x="566" y="487"/>
                  <a:pt x="566" y="487"/>
                </a:cubicBezTo>
                <a:cubicBezTo>
                  <a:pt x="564" y="488"/>
                  <a:pt x="564" y="488"/>
                  <a:pt x="564" y="488"/>
                </a:cubicBezTo>
                <a:cubicBezTo>
                  <a:pt x="564" y="489"/>
                  <a:pt x="564" y="489"/>
                  <a:pt x="564" y="489"/>
                </a:cubicBezTo>
                <a:cubicBezTo>
                  <a:pt x="565" y="489"/>
                  <a:pt x="565" y="489"/>
                  <a:pt x="565" y="489"/>
                </a:cubicBezTo>
                <a:cubicBezTo>
                  <a:pt x="566" y="489"/>
                  <a:pt x="566" y="489"/>
                  <a:pt x="566" y="489"/>
                </a:cubicBezTo>
                <a:cubicBezTo>
                  <a:pt x="566" y="491"/>
                  <a:pt x="566" y="491"/>
                  <a:pt x="566" y="491"/>
                </a:cubicBezTo>
                <a:cubicBezTo>
                  <a:pt x="564" y="493"/>
                  <a:pt x="564" y="493"/>
                  <a:pt x="564" y="493"/>
                </a:cubicBezTo>
                <a:cubicBezTo>
                  <a:pt x="563" y="493"/>
                  <a:pt x="563" y="493"/>
                  <a:pt x="563" y="493"/>
                </a:cubicBezTo>
                <a:cubicBezTo>
                  <a:pt x="562" y="495"/>
                  <a:pt x="562" y="495"/>
                  <a:pt x="562" y="495"/>
                </a:cubicBezTo>
                <a:cubicBezTo>
                  <a:pt x="563" y="495"/>
                  <a:pt x="563" y="495"/>
                  <a:pt x="563" y="495"/>
                </a:cubicBezTo>
                <a:cubicBezTo>
                  <a:pt x="564" y="496"/>
                  <a:pt x="564" y="496"/>
                  <a:pt x="564" y="496"/>
                </a:cubicBezTo>
                <a:cubicBezTo>
                  <a:pt x="563" y="497"/>
                  <a:pt x="563" y="497"/>
                  <a:pt x="563" y="497"/>
                </a:cubicBezTo>
                <a:cubicBezTo>
                  <a:pt x="564" y="499"/>
                  <a:pt x="564" y="499"/>
                  <a:pt x="564" y="499"/>
                </a:cubicBezTo>
                <a:cubicBezTo>
                  <a:pt x="562" y="500"/>
                  <a:pt x="562" y="500"/>
                  <a:pt x="562" y="500"/>
                </a:cubicBezTo>
                <a:cubicBezTo>
                  <a:pt x="560" y="500"/>
                  <a:pt x="560" y="500"/>
                  <a:pt x="560" y="500"/>
                </a:cubicBezTo>
                <a:cubicBezTo>
                  <a:pt x="559" y="499"/>
                  <a:pt x="559" y="499"/>
                  <a:pt x="559" y="499"/>
                </a:cubicBezTo>
                <a:cubicBezTo>
                  <a:pt x="560" y="497"/>
                  <a:pt x="560" y="497"/>
                  <a:pt x="560" y="497"/>
                </a:cubicBezTo>
                <a:cubicBezTo>
                  <a:pt x="557" y="495"/>
                  <a:pt x="557" y="495"/>
                  <a:pt x="557" y="495"/>
                </a:cubicBezTo>
                <a:cubicBezTo>
                  <a:pt x="558" y="494"/>
                  <a:pt x="558" y="494"/>
                  <a:pt x="558" y="494"/>
                </a:cubicBezTo>
                <a:cubicBezTo>
                  <a:pt x="559" y="492"/>
                  <a:pt x="559" y="492"/>
                  <a:pt x="559" y="492"/>
                </a:cubicBezTo>
                <a:cubicBezTo>
                  <a:pt x="558" y="491"/>
                  <a:pt x="558" y="491"/>
                  <a:pt x="558" y="491"/>
                </a:cubicBezTo>
                <a:cubicBezTo>
                  <a:pt x="559" y="489"/>
                  <a:pt x="559" y="489"/>
                  <a:pt x="559" y="489"/>
                </a:cubicBezTo>
                <a:cubicBezTo>
                  <a:pt x="560" y="488"/>
                  <a:pt x="560" y="488"/>
                  <a:pt x="560" y="488"/>
                </a:cubicBezTo>
                <a:cubicBezTo>
                  <a:pt x="559" y="487"/>
                  <a:pt x="559" y="487"/>
                  <a:pt x="559" y="487"/>
                </a:cubicBezTo>
                <a:cubicBezTo>
                  <a:pt x="558" y="487"/>
                  <a:pt x="558" y="487"/>
                  <a:pt x="558" y="487"/>
                </a:cubicBezTo>
                <a:cubicBezTo>
                  <a:pt x="557" y="489"/>
                  <a:pt x="557" y="489"/>
                  <a:pt x="557" y="489"/>
                </a:cubicBezTo>
                <a:cubicBezTo>
                  <a:pt x="556" y="488"/>
                  <a:pt x="556" y="488"/>
                  <a:pt x="556" y="488"/>
                </a:cubicBezTo>
                <a:cubicBezTo>
                  <a:pt x="554" y="488"/>
                  <a:pt x="554" y="488"/>
                  <a:pt x="554" y="488"/>
                </a:cubicBezTo>
                <a:cubicBezTo>
                  <a:pt x="554" y="486"/>
                  <a:pt x="554" y="486"/>
                  <a:pt x="554" y="486"/>
                </a:cubicBezTo>
                <a:cubicBezTo>
                  <a:pt x="554" y="485"/>
                  <a:pt x="554" y="485"/>
                  <a:pt x="554" y="485"/>
                </a:cubicBezTo>
                <a:cubicBezTo>
                  <a:pt x="556" y="485"/>
                  <a:pt x="556" y="485"/>
                  <a:pt x="556" y="485"/>
                </a:cubicBezTo>
                <a:cubicBezTo>
                  <a:pt x="556" y="483"/>
                  <a:pt x="556" y="483"/>
                  <a:pt x="556" y="483"/>
                </a:cubicBezTo>
                <a:cubicBezTo>
                  <a:pt x="556" y="482"/>
                  <a:pt x="556" y="482"/>
                  <a:pt x="556" y="482"/>
                </a:cubicBezTo>
                <a:cubicBezTo>
                  <a:pt x="559" y="480"/>
                  <a:pt x="559" y="480"/>
                  <a:pt x="559" y="480"/>
                </a:cubicBezTo>
                <a:cubicBezTo>
                  <a:pt x="559" y="479"/>
                  <a:pt x="559" y="479"/>
                  <a:pt x="559" y="479"/>
                </a:cubicBezTo>
                <a:cubicBezTo>
                  <a:pt x="557" y="479"/>
                  <a:pt x="557" y="479"/>
                  <a:pt x="557" y="479"/>
                </a:cubicBezTo>
                <a:cubicBezTo>
                  <a:pt x="556" y="479"/>
                  <a:pt x="556" y="479"/>
                  <a:pt x="556" y="479"/>
                </a:cubicBezTo>
                <a:cubicBezTo>
                  <a:pt x="555" y="478"/>
                  <a:pt x="555" y="478"/>
                  <a:pt x="555" y="478"/>
                </a:cubicBezTo>
                <a:cubicBezTo>
                  <a:pt x="556" y="477"/>
                  <a:pt x="556" y="477"/>
                  <a:pt x="556" y="477"/>
                </a:cubicBezTo>
                <a:cubicBezTo>
                  <a:pt x="558" y="477"/>
                  <a:pt x="558" y="477"/>
                  <a:pt x="558" y="477"/>
                </a:cubicBezTo>
                <a:cubicBezTo>
                  <a:pt x="559" y="474"/>
                  <a:pt x="559" y="474"/>
                  <a:pt x="559" y="474"/>
                </a:cubicBezTo>
                <a:cubicBezTo>
                  <a:pt x="559" y="473"/>
                  <a:pt x="559" y="473"/>
                  <a:pt x="559" y="473"/>
                </a:cubicBezTo>
                <a:close/>
                <a:moveTo>
                  <a:pt x="573" y="470"/>
                </a:moveTo>
                <a:cubicBezTo>
                  <a:pt x="572" y="468"/>
                  <a:pt x="572" y="468"/>
                  <a:pt x="572" y="468"/>
                </a:cubicBezTo>
                <a:cubicBezTo>
                  <a:pt x="573" y="467"/>
                  <a:pt x="573" y="467"/>
                  <a:pt x="573" y="467"/>
                </a:cubicBezTo>
                <a:cubicBezTo>
                  <a:pt x="574" y="465"/>
                  <a:pt x="574" y="465"/>
                  <a:pt x="574" y="465"/>
                </a:cubicBezTo>
                <a:cubicBezTo>
                  <a:pt x="575" y="466"/>
                  <a:pt x="575" y="466"/>
                  <a:pt x="575" y="466"/>
                </a:cubicBezTo>
                <a:cubicBezTo>
                  <a:pt x="575" y="469"/>
                  <a:pt x="575" y="469"/>
                  <a:pt x="575" y="469"/>
                </a:cubicBezTo>
                <a:cubicBezTo>
                  <a:pt x="573" y="470"/>
                  <a:pt x="573" y="470"/>
                  <a:pt x="573" y="470"/>
                </a:cubicBezTo>
                <a:close/>
                <a:moveTo>
                  <a:pt x="569" y="473"/>
                </a:moveTo>
                <a:cubicBezTo>
                  <a:pt x="570" y="470"/>
                  <a:pt x="570" y="470"/>
                  <a:pt x="570" y="470"/>
                </a:cubicBezTo>
                <a:cubicBezTo>
                  <a:pt x="572" y="470"/>
                  <a:pt x="572" y="470"/>
                  <a:pt x="572" y="470"/>
                </a:cubicBezTo>
                <a:cubicBezTo>
                  <a:pt x="572" y="472"/>
                  <a:pt x="572" y="472"/>
                  <a:pt x="572" y="472"/>
                </a:cubicBezTo>
                <a:cubicBezTo>
                  <a:pt x="570" y="474"/>
                  <a:pt x="570" y="474"/>
                  <a:pt x="570" y="474"/>
                </a:cubicBezTo>
                <a:cubicBezTo>
                  <a:pt x="569" y="473"/>
                  <a:pt x="569" y="473"/>
                  <a:pt x="569" y="473"/>
                </a:cubicBezTo>
                <a:close/>
                <a:moveTo>
                  <a:pt x="567" y="471"/>
                </a:moveTo>
                <a:cubicBezTo>
                  <a:pt x="567" y="469"/>
                  <a:pt x="567" y="469"/>
                  <a:pt x="567" y="469"/>
                </a:cubicBezTo>
                <a:cubicBezTo>
                  <a:pt x="571" y="466"/>
                  <a:pt x="571" y="466"/>
                  <a:pt x="571" y="466"/>
                </a:cubicBezTo>
                <a:cubicBezTo>
                  <a:pt x="571" y="468"/>
                  <a:pt x="571" y="468"/>
                  <a:pt x="571" y="468"/>
                </a:cubicBezTo>
                <a:cubicBezTo>
                  <a:pt x="570" y="469"/>
                  <a:pt x="570" y="469"/>
                  <a:pt x="570" y="469"/>
                </a:cubicBezTo>
                <a:cubicBezTo>
                  <a:pt x="569" y="471"/>
                  <a:pt x="569" y="471"/>
                  <a:pt x="569" y="471"/>
                </a:cubicBezTo>
                <a:cubicBezTo>
                  <a:pt x="567" y="471"/>
                  <a:pt x="567" y="471"/>
                  <a:pt x="567" y="471"/>
                </a:cubicBezTo>
                <a:close/>
                <a:moveTo>
                  <a:pt x="564" y="464"/>
                </a:moveTo>
                <a:cubicBezTo>
                  <a:pt x="567" y="462"/>
                  <a:pt x="567" y="462"/>
                  <a:pt x="567" y="462"/>
                </a:cubicBezTo>
                <a:cubicBezTo>
                  <a:pt x="570" y="463"/>
                  <a:pt x="570" y="463"/>
                  <a:pt x="570" y="463"/>
                </a:cubicBezTo>
                <a:cubicBezTo>
                  <a:pt x="570" y="464"/>
                  <a:pt x="570" y="464"/>
                  <a:pt x="570" y="464"/>
                </a:cubicBezTo>
                <a:cubicBezTo>
                  <a:pt x="568" y="467"/>
                  <a:pt x="568" y="467"/>
                  <a:pt x="568" y="467"/>
                </a:cubicBezTo>
                <a:cubicBezTo>
                  <a:pt x="566" y="466"/>
                  <a:pt x="566" y="466"/>
                  <a:pt x="566" y="466"/>
                </a:cubicBezTo>
                <a:cubicBezTo>
                  <a:pt x="564" y="464"/>
                  <a:pt x="564" y="464"/>
                  <a:pt x="564" y="464"/>
                </a:cubicBezTo>
                <a:close/>
                <a:moveTo>
                  <a:pt x="568" y="459"/>
                </a:moveTo>
                <a:cubicBezTo>
                  <a:pt x="570" y="455"/>
                  <a:pt x="570" y="455"/>
                  <a:pt x="570" y="455"/>
                </a:cubicBezTo>
                <a:cubicBezTo>
                  <a:pt x="572" y="454"/>
                  <a:pt x="572" y="454"/>
                  <a:pt x="572" y="454"/>
                </a:cubicBezTo>
                <a:cubicBezTo>
                  <a:pt x="573" y="458"/>
                  <a:pt x="573" y="458"/>
                  <a:pt x="573" y="458"/>
                </a:cubicBezTo>
                <a:cubicBezTo>
                  <a:pt x="572" y="460"/>
                  <a:pt x="572" y="460"/>
                  <a:pt x="572" y="460"/>
                </a:cubicBezTo>
                <a:cubicBezTo>
                  <a:pt x="569" y="461"/>
                  <a:pt x="569" y="461"/>
                  <a:pt x="569" y="461"/>
                </a:cubicBezTo>
                <a:cubicBezTo>
                  <a:pt x="568" y="460"/>
                  <a:pt x="568" y="460"/>
                  <a:pt x="568" y="460"/>
                </a:cubicBezTo>
                <a:cubicBezTo>
                  <a:pt x="568" y="459"/>
                  <a:pt x="568" y="459"/>
                  <a:pt x="568" y="459"/>
                </a:cubicBezTo>
                <a:close/>
                <a:moveTo>
                  <a:pt x="560" y="462"/>
                </a:moveTo>
                <a:cubicBezTo>
                  <a:pt x="560" y="459"/>
                  <a:pt x="560" y="459"/>
                  <a:pt x="560" y="459"/>
                </a:cubicBezTo>
                <a:cubicBezTo>
                  <a:pt x="561" y="453"/>
                  <a:pt x="561" y="453"/>
                  <a:pt x="561" y="453"/>
                </a:cubicBezTo>
                <a:cubicBezTo>
                  <a:pt x="563" y="452"/>
                  <a:pt x="563" y="452"/>
                  <a:pt x="563" y="452"/>
                </a:cubicBezTo>
                <a:cubicBezTo>
                  <a:pt x="560" y="451"/>
                  <a:pt x="560" y="451"/>
                  <a:pt x="560" y="451"/>
                </a:cubicBezTo>
                <a:cubicBezTo>
                  <a:pt x="561" y="449"/>
                  <a:pt x="561" y="449"/>
                  <a:pt x="561" y="449"/>
                </a:cubicBezTo>
                <a:cubicBezTo>
                  <a:pt x="560" y="447"/>
                  <a:pt x="560" y="447"/>
                  <a:pt x="560" y="447"/>
                </a:cubicBezTo>
                <a:cubicBezTo>
                  <a:pt x="560" y="446"/>
                  <a:pt x="560" y="446"/>
                  <a:pt x="560" y="446"/>
                </a:cubicBezTo>
                <a:cubicBezTo>
                  <a:pt x="563" y="446"/>
                  <a:pt x="563" y="446"/>
                  <a:pt x="563" y="446"/>
                </a:cubicBezTo>
                <a:cubicBezTo>
                  <a:pt x="566" y="448"/>
                  <a:pt x="566" y="448"/>
                  <a:pt x="566" y="448"/>
                </a:cubicBezTo>
                <a:cubicBezTo>
                  <a:pt x="568" y="448"/>
                  <a:pt x="568" y="448"/>
                  <a:pt x="568" y="448"/>
                </a:cubicBezTo>
                <a:cubicBezTo>
                  <a:pt x="570" y="450"/>
                  <a:pt x="570" y="450"/>
                  <a:pt x="570" y="450"/>
                </a:cubicBezTo>
                <a:cubicBezTo>
                  <a:pt x="570" y="454"/>
                  <a:pt x="570" y="454"/>
                  <a:pt x="570" y="454"/>
                </a:cubicBezTo>
                <a:cubicBezTo>
                  <a:pt x="568" y="457"/>
                  <a:pt x="568" y="457"/>
                  <a:pt x="568" y="457"/>
                </a:cubicBezTo>
                <a:cubicBezTo>
                  <a:pt x="567" y="457"/>
                  <a:pt x="567" y="457"/>
                  <a:pt x="567" y="457"/>
                </a:cubicBezTo>
                <a:cubicBezTo>
                  <a:pt x="566" y="454"/>
                  <a:pt x="566" y="454"/>
                  <a:pt x="566" y="454"/>
                </a:cubicBezTo>
                <a:cubicBezTo>
                  <a:pt x="565" y="454"/>
                  <a:pt x="565" y="454"/>
                  <a:pt x="565" y="454"/>
                </a:cubicBezTo>
                <a:cubicBezTo>
                  <a:pt x="565" y="457"/>
                  <a:pt x="565" y="457"/>
                  <a:pt x="565" y="457"/>
                </a:cubicBezTo>
                <a:cubicBezTo>
                  <a:pt x="564" y="458"/>
                  <a:pt x="564" y="458"/>
                  <a:pt x="564" y="458"/>
                </a:cubicBezTo>
                <a:cubicBezTo>
                  <a:pt x="565" y="460"/>
                  <a:pt x="565" y="460"/>
                  <a:pt x="565" y="460"/>
                </a:cubicBezTo>
                <a:cubicBezTo>
                  <a:pt x="564" y="461"/>
                  <a:pt x="564" y="461"/>
                  <a:pt x="564" y="461"/>
                </a:cubicBezTo>
                <a:cubicBezTo>
                  <a:pt x="563" y="460"/>
                  <a:pt x="563" y="460"/>
                  <a:pt x="563" y="460"/>
                </a:cubicBezTo>
                <a:cubicBezTo>
                  <a:pt x="561" y="462"/>
                  <a:pt x="561" y="462"/>
                  <a:pt x="561" y="462"/>
                </a:cubicBezTo>
                <a:cubicBezTo>
                  <a:pt x="560" y="462"/>
                  <a:pt x="560" y="462"/>
                  <a:pt x="560" y="462"/>
                </a:cubicBezTo>
                <a:close/>
                <a:moveTo>
                  <a:pt x="554" y="458"/>
                </a:moveTo>
                <a:cubicBezTo>
                  <a:pt x="552" y="457"/>
                  <a:pt x="552" y="457"/>
                  <a:pt x="552" y="457"/>
                </a:cubicBezTo>
                <a:cubicBezTo>
                  <a:pt x="553" y="454"/>
                  <a:pt x="553" y="454"/>
                  <a:pt x="553" y="454"/>
                </a:cubicBezTo>
                <a:cubicBezTo>
                  <a:pt x="552" y="453"/>
                  <a:pt x="552" y="453"/>
                  <a:pt x="552" y="453"/>
                </a:cubicBezTo>
                <a:cubicBezTo>
                  <a:pt x="553" y="451"/>
                  <a:pt x="553" y="451"/>
                  <a:pt x="553" y="451"/>
                </a:cubicBezTo>
                <a:cubicBezTo>
                  <a:pt x="553" y="449"/>
                  <a:pt x="553" y="449"/>
                  <a:pt x="553" y="449"/>
                </a:cubicBezTo>
                <a:cubicBezTo>
                  <a:pt x="556" y="450"/>
                  <a:pt x="556" y="450"/>
                  <a:pt x="556" y="450"/>
                </a:cubicBezTo>
                <a:cubicBezTo>
                  <a:pt x="556" y="448"/>
                  <a:pt x="556" y="448"/>
                  <a:pt x="556" y="448"/>
                </a:cubicBezTo>
                <a:cubicBezTo>
                  <a:pt x="557" y="448"/>
                  <a:pt x="557" y="448"/>
                  <a:pt x="557" y="448"/>
                </a:cubicBezTo>
                <a:cubicBezTo>
                  <a:pt x="559" y="451"/>
                  <a:pt x="559" y="451"/>
                  <a:pt x="559" y="451"/>
                </a:cubicBezTo>
                <a:cubicBezTo>
                  <a:pt x="558" y="453"/>
                  <a:pt x="558" y="453"/>
                  <a:pt x="558" y="453"/>
                </a:cubicBezTo>
                <a:cubicBezTo>
                  <a:pt x="558" y="454"/>
                  <a:pt x="558" y="454"/>
                  <a:pt x="558" y="454"/>
                </a:cubicBezTo>
                <a:cubicBezTo>
                  <a:pt x="559" y="453"/>
                  <a:pt x="559" y="453"/>
                  <a:pt x="559" y="453"/>
                </a:cubicBezTo>
                <a:cubicBezTo>
                  <a:pt x="560" y="454"/>
                  <a:pt x="560" y="454"/>
                  <a:pt x="560" y="454"/>
                </a:cubicBezTo>
                <a:cubicBezTo>
                  <a:pt x="558" y="459"/>
                  <a:pt x="558" y="459"/>
                  <a:pt x="558" y="459"/>
                </a:cubicBezTo>
                <a:cubicBezTo>
                  <a:pt x="555" y="463"/>
                  <a:pt x="555" y="463"/>
                  <a:pt x="555" y="463"/>
                </a:cubicBezTo>
                <a:cubicBezTo>
                  <a:pt x="555" y="465"/>
                  <a:pt x="555" y="465"/>
                  <a:pt x="555" y="465"/>
                </a:cubicBezTo>
                <a:cubicBezTo>
                  <a:pt x="553" y="466"/>
                  <a:pt x="553" y="466"/>
                  <a:pt x="553" y="466"/>
                </a:cubicBezTo>
                <a:cubicBezTo>
                  <a:pt x="551" y="467"/>
                  <a:pt x="551" y="467"/>
                  <a:pt x="551" y="467"/>
                </a:cubicBezTo>
                <a:cubicBezTo>
                  <a:pt x="552" y="465"/>
                  <a:pt x="552" y="465"/>
                  <a:pt x="552" y="465"/>
                </a:cubicBezTo>
                <a:cubicBezTo>
                  <a:pt x="551" y="464"/>
                  <a:pt x="551" y="464"/>
                  <a:pt x="551" y="464"/>
                </a:cubicBezTo>
                <a:cubicBezTo>
                  <a:pt x="550" y="468"/>
                  <a:pt x="550" y="468"/>
                  <a:pt x="550" y="468"/>
                </a:cubicBezTo>
                <a:cubicBezTo>
                  <a:pt x="549" y="467"/>
                  <a:pt x="549" y="467"/>
                  <a:pt x="549" y="467"/>
                </a:cubicBezTo>
                <a:cubicBezTo>
                  <a:pt x="549" y="465"/>
                  <a:pt x="549" y="465"/>
                  <a:pt x="549" y="465"/>
                </a:cubicBezTo>
                <a:cubicBezTo>
                  <a:pt x="550" y="463"/>
                  <a:pt x="550" y="463"/>
                  <a:pt x="550" y="463"/>
                </a:cubicBezTo>
                <a:cubicBezTo>
                  <a:pt x="550" y="462"/>
                  <a:pt x="550" y="462"/>
                  <a:pt x="550" y="462"/>
                </a:cubicBezTo>
                <a:cubicBezTo>
                  <a:pt x="551" y="460"/>
                  <a:pt x="551" y="460"/>
                  <a:pt x="551" y="460"/>
                </a:cubicBezTo>
                <a:cubicBezTo>
                  <a:pt x="552" y="461"/>
                  <a:pt x="552" y="461"/>
                  <a:pt x="552" y="461"/>
                </a:cubicBezTo>
                <a:cubicBezTo>
                  <a:pt x="554" y="460"/>
                  <a:pt x="554" y="460"/>
                  <a:pt x="554" y="460"/>
                </a:cubicBezTo>
                <a:cubicBezTo>
                  <a:pt x="554" y="458"/>
                  <a:pt x="554" y="458"/>
                  <a:pt x="554" y="458"/>
                </a:cubicBezTo>
                <a:close/>
                <a:moveTo>
                  <a:pt x="552" y="437"/>
                </a:moveTo>
                <a:cubicBezTo>
                  <a:pt x="554" y="437"/>
                  <a:pt x="554" y="437"/>
                  <a:pt x="554" y="437"/>
                </a:cubicBezTo>
                <a:cubicBezTo>
                  <a:pt x="553" y="439"/>
                  <a:pt x="553" y="439"/>
                  <a:pt x="553" y="439"/>
                </a:cubicBezTo>
                <a:cubicBezTo>
                  <a:pt x="552" y="437"/>
                  <a:pt x="552" y="437"/>
                  <a:pt x="552" y="437"/>
                </a:cubicBezTo>
                <a:close/>
                <a:moveTo>
                  <a:pt x="546" y="438"/>
                </a:moveTo>
                <a:cubicBezTo>
                  <a:pt x="548" y="437"/>
                  <a:pt x="548" y="437"/>
                  <a:pt x="548" y="437"/>
                </a:cubicBezTo>
                <a:cubicBezTo>
                  <a:pt x="549" y="436"/>
                  <a:pt x="549" y="436"/>
                  <a:pt x="549" y="436"/>
                </a:cubicBezTo>
                <a:cubicBezTo>
                  <a:pt x="551" y="436"/>
                  <a:pt x="551" y="436"/>
                  <a:pt x="551" y="436"/>
                </a:cubicBezTo>
                <a:cubicBezTo>
                  <a:pt x="552" y="439"/>
                  <a:pt x="552" y="439"/>
                  <a:pt x="552" y="439"/>
                </a:cubicBezTo>
                <a:cubicBezTo>
                  <a:pt x="552" y="444"/>
                  <a:pt x="552" y="444"/>
                  <a:pt x="552" y="444"/>
                </a:cubicBezTo>
                <a:cubicBezTo>
                  <a:pt x="551" y="448"/>
                  <a:pt x="551" y="448"/>
                  <a:pt x="551" y="448"/>
                </a:cubicBezTo>
                <a:cubicBezTo>
                  <a:pt x="550" y="449"/>
                  <a:pt x="550" y="449"/>
                  <a:pt x="550" y="449"/>
                </a:cubicBezTo>
                <a:cubicBezTo>
                  <a:pt x="550" y="453"/>
                  <a:pt x="550" y="453"/>
                  <a:pt x="550" y="453"/>
                </a:cubicBezTo>
                <a:cubicBezTo>
                  <a:pt x="548" y="454"/>
                  <a:pt x="548" y="454"/>
                  <a:pt x="548" y="454"/>
                </a:cubicBezTo>
                <a:cubicBezTo>
                  <a:pt x="547" y="458"/>
                  <a:pt x="547" y="458"/>
                  <a:pt x="547" y="458"/>
                </a:cubicBezTo>
                <a:cubicBezTo>
                  <a:pt x="547" y="461"/>
                  <a:pt x="547" y="461"/>
                  <a:pt x="547" y="461"/>
                </a:cubicBezTo>
                <a:cubicBezTo>
                  <a:pt x="546" y="462"/>
                  <a:pt x="546" y="462"/>
                  <a:pt x="546" y="462"/>
                </a:cubicBezTo>
                <a:cubicBezTo>
                  <a:pt x="545" y="463"/>
                  <a:pt x="545" y="463"/>
                  <a:pt x="545" y="463"/>
                </a:cubicBezTo>
                <a:cubicBezTo>
                  <a:pt x="545" y="461"/>
                  <a:pt x="545" y="461"/>
                  <a:pt x="545" y="461"/>
                </a:cubicBezTo>
                <a:cubicBezTo>
                  <a:pt x="545" y="459"/>
                  <a:pt x="545" y="459"/>
                  <a:pt x="545" y="459"/>
                </a:cubicBezTo>
                <a:cubicBezTo>
                  <a:pt x="544" y="459"/>
                  <a:pt x="544" y="459"/>
                  <a:pt x="544" y="459"/>
                </a:cubicBezTo>
                <a:cubicBezTo>
                  <a:pt x="543" y="455"/>
                  <a:pt x="543" y="455"/>
                  <a:pt x="543" y="455"/>
                </a:cubicBezTo>
                <a:cubicBezTo>
                  <a:pt x="544" y="453"/>
                  <a:pt x="544" y="453"/>
                  <a:pt x="544" y="453"/>
                </a:cubicBezTo>
                <a:cubicBezTo>
                  <a:pt x="546" y="453"/>
                  <a:pt x="546" y="453"/>
                  <a:pt x="546" y="453"/>
                </a:cubicBezTo>
                <a:cubicBezTo>
                  <a:pt x="547" y="452"/>
                  <a:pt x="547" y="452"/>
                  <a:pt x="547" y="452"/>
                </a:cubicBezTo>
                <a:cubicBezTo>
                  <a:pt x="547" y="451"/>
                  <a:pt x="547" y="451"/>
                  <a:pt x="547" y="451"/>
                </a:cubicBezTo>
                <a:cubicBezTo>
                  <a:pt x="546" y="452"/>
                  <a:pt x="546" y="452"/>
                  <a:pt x="546" y="452"/>
                </a:cubicBezTo>
                <a:cubicBezTo>
                  <a:pt x="544" y="452"/>
                  <a:pt x="544" y="452"/>
                  <a:pt x="544" y="452"/>
                </a:cubicBezTo>
                <a:cubicBezTo>
                  <a:pt x="544" y="450"/>
                  <a:pt x="544" y="450"/>
                  <a:pt x="544" y="450"/>
                </a:cubicBezTo>
                <a:cubicBezTo>
                  <a:pt x="545" y="450"/>
                  <a:pt x="545" y="450"/>
                  <a:pt x="545" y="450"/>
                </a:cubicBezTo>
                <a:cubicBezTo>
                  <a:pt x="546" y="449"/>
                  <a:pt x="546" y="449"/>
                  <a:pt x="546" y="449"/>
                </a:cubicBezTo>
                <a:cubicBezTo>
                  <a:pt x="543" y="448"/>
                  <a:pt x="543" y="448"/>
                  <a:pt x="543" y="448"/>
                </a:cubicBezTo>
                <a:cubicBezTo>
                  <a:pt x="543" y="447"/>
                  <a:pt x="543" y="447"/>
                  <a:pt x="543" y="447"/>
                </a:cubicBezTo>
                <a:cubicBezTo>
                  <a:pt x="545" y="446"/>
                  <a:pt x="545" y="446"/>
                  <a:pt x="545" y="446"/>
                </a:cubicBezTo>
                <a:cubicBezTo>
                  <a:pt x="547" y="445"/>
                  <a:pt x="547" y="445"/>
                  <a:pt x="547" y="445"/>
                </a:cubicBezTo>
                <a:cubicBezTo>
                  <a:pt x="547" y="442"/>
                  <a:pt x="547" y="442"/>
                  <a:pt x="547" y="442"/>
                </a:cubicBezTo>
                <a:cubicBezTo>
                  <a:pt x="548" y="441"/>
                  <a:pt x="548" y="441"/>
                  <a:pt x="548" y="441"/>
                </a:cubicBezTo>
                <a:cubicBezTo>
                  <a:pt x="547" y="439"/>
                  <a:pt x="547" y="439"/>
                  <a:pt x="547" y="439"/>
                </a:cubicBezTo>
                <a:cubicBezTo>
                  <a:pt x="546" y="438"/>
                  <a:pt x="546" y="438"/>
                  <a:pt x="546" y="438"/>
                </a:cubicBezTo>
                <a:close/>
                <a:moveTo>
                  <a:pt x="542" y="438"/>
                </a:moveTo>
                <a:cubicBezTo>
                  <a:pt x="543" y="437"/>
                  <a:pt x="543" y="437"/>
                  <a:pt x="543" y="437"/>
                </a:cubicBezTo>
                <a:cubicBezTo>
                  <a:pt x="544" y="439"/>
                  <a:pt x="544" y="439"/>
                  <a:pt x="544" y="439"/>
                </a:cubicBezTo>
                <a:cubicBezTo>
                  <a:pt x="543" y="440"/>
                  <a:pt x="543" y="440"/>
                  <a:pt x="543" y="440"/>
                </a:cubicBezTo>
                <a:cubicBezTo>
                  <a:pt x="543" y="443"/>
                  <a:pt x="543" y="443"/>
                  <a:pt x="543" y="443"/>
                </a:cubicBezTo>
                <a:cubicBezTo>
                  <a:pt x="541" y="444"/>
                  <a:pt x="541" y="444"/>
                  <a:pt x="541" y="444"/>
                </a:cubicBezTo>
                <a:cubicBezTo>
                  <a:pt x="541" y="442"/>
                  <a:pt x="541" y="442"/>
                  <a:pt x="541" y="442"/>
                </a:cubicBezTo>
                <a:cubicBezTo>
                  <a:pt x="542" y="441"/>
                  <a:pt x="542" y="441"/>
                  <a:pt x="542" y="441"/>
                </a:cubicBezTo>
                <a:cubicBezTo>
                  <a:pt x="542" y="440"/>
                  <a:pt x="542" y="440"/>
                  <a:pt x="542" y="440"/>
                </a:cubicBezTo>
                <a:cubicBezTo>
                  <a:pt x="542" y="438"/>
                  <a:pt x="542" y="438"/>
                  <a:pt x="542" y="438"/>
                </a:cubicBezTo>
                <a:close/>
                <a:moveTo>
                  <a:pt x="553" y="444"/>
                </a:moveTo>
                <a:cubicBezTo>
                  <a:pt x="555" y="441"/>
                  <a:pt x="555" y="441"/>
                  <a:pt x="555" y="441"/>
                </a:cubicBezTo>
                <a:cubicBezTo>
                  <a:pt x="555" y="439"/>
                  <a:pt x="555" y="439"/>
                  <a:pt x="555" y="439"/>
                </a:cubicBezTo>
                <a:cubicBezTo>
                  <a:pt x="556" y="437"/>
                  <a:pt x="556" y="437"/>
                  <a:pt x="556" y="437"/>
                </a:cubicBezTo>
                <a:cubicBezTo>
                  <a:pt x="559" y="437"/>
                  <a:pt x="559" y="437"/>
                  <a:pt x="559" y="437"/>
                </a:cubicBezTo>
                <a:cubicBezTo>
                  <a:pt x="558" y="436"/>
                  <a:pt x="558" y="436"/>
                  <a:pt x="558" y="436"/>
                </a:cubicBezTo>
                <a:cubicBezTo>
                  <a:pt x="559" y="434"/>
                  <a:pt x="559" y="434"/>
                  <a:pt x="559" y="434"/>
                </a:cubicBezTo>
                <a:cubicBezTo>
                  <a:pt x="557" y="433"/>
                  <a:pt x="557" y="433"/>
                  <a:pt x="557" y="433"/>
                </a:cubicBezTo>
                <a:cubicBezTo>
                  <a:pt x="558" y="429"/>
                  <a:pt x="558" y="429"/>
                  <a:pt x="558" y="429"/>
                </a:cubicBezTo>
                <a:cubicBezTo>
                  <a:pt x="560" y="426"/>
                  <a:pt x="560" y="426"/>
                  <a:pt x="560" y="426"/>
                </a:cubicBezTo>
                <a:cubicBezTo>
                  <a:pt x="561" y="418"/>
                  <a:pt x="561" y="418"/>
                  <a:pt x="561" y="418"/>
                </a:cubicBezTo>
                <a:cubicBezTo>
                  <a:pt x="562" y="415"/>
                  <a:pt x="562" y="415"/>
                  <a:pt x="562" y="415"/>
                </a:cubicBezTo>
                <a:cubicBezTo>
                  <a:pt x="563" y="416"/>
                  <a:pt x="563" y="416"/>
                  <a:pt x="563" y="416"/>
                </a:cubicBezTo>
                <a:cubicBezTo>
                  <a:pt x="563" y="419"/>
                  <a:pt x="563" y="419"/>
                  <a:pt x="563" y="419"/>
                </a:cubicBezTo>
                <a:cubicBezTo>
                  <a:pt x="566" y="421"/>
                  <a:pt x="566" y="421"/>
                  <a:pt x="566" y="421"/>
                </a:cubicBezTo>
                <a:cubicBezTo>
                  <a:pt x="568" y="423"/>
                  <a:pt x="568" y="423"/>
                  <a:pt x="568" y="423"/>
                </a:cubicBezTo>
                <a:cubicBezTo>
                  <a:pt x="568" y="431"/>
                  <a:pt x="568" y="431"/>
                  <a:pt x="568" y="431"/>
                </a:cubicBezTo>
                <a:cubicBezTo>
                  <a:pt x="567" y="435"/>
                  <a:pt x="567" y="435"/>
                  <a:pt x="567" y="435"/>
                </a:cubicBezTo>
                <a:cubicBezTo>
                  <a:pt x="566" y="434"/>
                  <a:pt x="566" y="434"/>
                  <a:pt x="566" y="434"/>
                </a:cubicBezTo>
                <a:cubicBezTo>
                  <a:pt x="567" y="429"/>
                  <a:pt x="567" y="429"/>
                  <a:pt x="567" y="429"/>
                </a:cubicBezTo>
                <a:cubicBezTo>
                  <a:pt x="566" y="424"/>
                  <a:pt x="566" y="424"/>
                  <a:pt x="566" y="424"/>
                </a:cubicBezTo>
                <a:cubicBezTo>
                  <a:pt x="565" y="426"/>
                  <a:pt x="565" y="426"/>
                  <a:pt x="565" y="426"/>
                </a:cubicBezTo>
                <a:cubicBezTo>
                  <a:pt x="565" y="434"/>
                  <a:pt x="565" y="434"/>
                  <a:pt x="565" y="434"/>
                </a:cubicBezTo>
                <a:cubicBezTo>
                  <a:pt x="564" y="436"/>
                  <a:pt x="564" y="436"/>
                  <a:pt x="564" y="436"/>
                </a:cubicBezTo>
                <a:cubicBezTo>
                  <a:pt x="564" y="438"/>
                  <a:pt x="564" y="438"/>
                  <a:pt x="564" y="438"/>
                </a:cubicBezTo>
                <a:cubicBezTo>
                  <a:pt x="563" y="439"/>
                  <a:pt x="563" y="439"/>
                  <a:pt x="563" y="439"/>
                </a:cubicBezTo>
                <a:cubicBezTo>
                  <a:pt x="561" y="438"/>
                  <a:pt x="561" y="438"/>
                  <a:pt x="561" y="438"/>
                </a:cubicBezTo>
                <a:cubicBezTo>
                  <a:pt x="560" y="442"/>
                  <a:pt x="560" y="442"/>
                  <a:pt x="560" y="442"/>
                </a:cubicBezTo>
                <a:cubicBezTo>
                  <a:pt x="557" y="444"/>
                  <a:pt x="557" y="444"/>
                  <a:pt x="557" y="444"/>
                </a:cubicBezTo>
                <a:cubicBezTo>
                  <a:pt x="555" y="446"/>
                  <a:pt x="555" y="446"/>
                  <a:pt x="555" y="446"/>
                </a:cubicBezTo>
                <a:cubicBezTo>
                  <a:pt x="553" y="444"/>
                  <a:pt x="553" y="444"/>
                  <a:pt x="553" y="444"/>
                </a:cubicBezTo>
                <a:close/>
                <a:moveTo>
                  <a:pt x="547" y="416"/>
                </a:moveTo>
                <a:cubicBezTo>
                  <a:pt x="551" y="415"/>
                  <a:pt x="551" y="415"/>
                  <a:pt x="551" y="415"/>
                </a:cubicBezTo>
                <a:cubicBezTo>
                  <a:pt x="553" y="417"/>
                  <a:pt x="553" y="417"/>
                  <a:pt x="553" y="417"/>
                </a:cubicBezTo>
                <a:cubicBezTo>
                  <a:pt x="553" y="419"/>
                  <a:pt x="553" y="419"/>
                  <a:pt x="553" y="419"/>
                </a:cubicBezTo>
                <a:cubicBezTo>
                  <a:pt x="552" y="420"/>
                  <a:pt x="552" y="420"/>
                  <a:pt x="552" y="420"/>
                </a:cubicBezTo>
                <a:cubicBezTo>
                  <a:pt x="553" y="422"/>
                  <a:pt x="553" y="422"/>
                  <a:pt x="553" y="422"/>
                </a:cubicBezTo>
                <a:cubicBezTo>
                  <a:pt x="554" y="420"/>
                  <a:pt x="554" y="420"/>
                  <a:pt x="554" y="420"/>
                </a:cubicBezTo>
                <a:cubicBezTo>
                  <a:pt x="556" y="420"/>
                  <a:pt x="556" y="420"/>
                  <a:pt x="556" y="420"/>
                </a:cubicBezTo>
                <a:cubicBezTo>
                  <a:pt x="558" y="422"/>
                  <a:pt x="558" y="422"/>
                  <a:pt x="558" y="422"/>
                </a:cubicBezTo>
                <a:cubicBezTo>
                  <a:pt x="558" y="423"/>
                  <a:pt x="558" y="423"/>
                  <a:pt x="558" y="423"/>
                </a:cubicBezTo>
                <a:cubicBezTo>
                  <a:pt x="556" y="424"/>
                  <a:pt x="556" y="424"/>
                  <a:pt x="556" y="424"/>
                </a:cubicBezTo>
                <a:cubicBezTo>
                  <a:pt x="557" y="426"/>
                  <a:pt x="557" y="426"/>
                  <a:pt x="557" y="426"/>
                </a:cubicBezTo>
                <a:cubicBezTo>
                  <a:pt x="555" y="427"/>
                  <a:pt x="555" y="427"/>
                  <a:pt x="555" y="427"/>
                </a:cubicBezTo>
                <a:cubicBezTo>
                  <a:pt x="554" y="426"/>
                  <a:pt x="554" y="426"/>
                  <a:pt x="554" y="426"/>
                </a:cubicBezTo>
                <a:cubicBezTo>
                  <a:pt x="552" y="424"/>
                  <a:pt x="552" y="424"/>
                  <a:pt x="552" y="424"/>
                </a:cubicBezTo>
                <a:cubicBezTo>
                  <a:pt x="549" y="421"/>
                  <a:pt x="549" y="421"/>
                  <a:pt x="549" y="421"/>
                </a:cubicBezTo>
                <a:cubicBezTo>
                  <a:pt x="549" y="422"/>
                  <a:pt x="549" y="422"/>
                  <a:pt x="549" y="422"/>
                </a:cubicBezTo>
                <a:cubicBezTo>
                  <a:pt x="552" y="426"/>
                  <a:pt x="552" y="426"/>
                  <a:pt x="552" y="426"/>
                </a:cubicBezTo>
                <a:cubicBezTo>
                  <a:pt x="552" y="428"/>
                  <a:pt x="552" y="428"/>
                  <a:pt x="552" y="428"/>
                </a:cubicBezTo>
                <a:cubicBezTo>
                  <a:pt x="554" y="429"/>
                  <a:pt x="554" y="429"/>
                  <a:pt x="554" y="429"/>
                </a:cubicBezTo>
                <a:cubicBezTo>
                  <a:pt x="556" y="431"/>
                  <a:pt x="556" y="431"/>
                  <a:pt x="556" y="431"/>
                </a:cubicBezTo>
                <a:cubicBezTo>
                  <a:pt x="554" y="432"/>
                  <a:pt x="554" y="432"/>
                  <a:pt x="554" y="432"/>
                </a:cubicBezTo>
                <a:cubicBezTo>
                  <a:pt x="554" y="435"/>
                  <a:pt x="554" y="435"/>
                  <a:pt x="554" y="435"/>
                </a:cubicBezTo>
                <a:cubicBezTo>
                  <a:pt x="553" y="436"/>
                  <a:pt x="553" y="436"/>
                  <a:pt x="553" y="436"/>
                </a:cubicBezTo>
                <a:cubicBezTo>
                  <a:pt x="550" y="433"/>
                  <a:pt x="550" y="433"/>
                  <a:pt x="550" y="433"/>
                </a:cubicBezTo>
                <a:cubicBezTo>
                  <a:pt x="550" y="431"/>
                  <a:pt x="550" y="431"/>
                  <a:pt x="550" y="431"/>
                </a:cubicBezTo>
                <a:cubicBezTo>
                  <a:pt x="547" y="425"/>
                  <a:pt x="547" y="425"/>
                  <a:pt x="547" y="425"/>
                </a:cubicBezTo>
                <a:cubicBezTo>
                  <a:pt x="547" y="428"/>
                  <a:pt x="547" y="428"/>
                  <a:pt x="547" y="428"/>
                </a:cubicBezTo>
                <a:cubicBezTo>
                  <a:pt x="548" y="431"/>
                  <a:pt x="548" y="431"/>
                  <a:pt x="548" y="431"/>
                </a:cubicBezTo>
                <a:cubicBezTo>
                  <a:pt x="548" y="434"/>
                  <a:pt x="548" y="434"/>
                  <a:pt x="548" y="434"/>
                </a:cubicBezTo>
                <a:cubicBezTo>
                  <a:pt x="547" y="436"/>
                  <a:pt x="547" y="436"/>
                  <a:pt x="547" y="436"/>
                </a:cubicBezTo>
                <a:cubicBezTo>
                  <a:pt x="545" y="436"/>
                  <a:pt x="545" y="436"/>
                  <a:pt x="545" y="436"/>
                </a:cubicBezTo>
                <a:cubicBezTo>
                  <a:pt x="543" y="433"/>
                  <a:pt x="543" y="433"/>
                  <a:pt x="543" y="433"/>
                </a:cubicBezTo>
                <a:cubicBezTo>
                  <a:pt x="544" y="431"/>
                  <a:pt x="544" y="431"/>
                  <a:pt x="544" y="431"/>
                </a:cubicBezTo>
                <a:cubicBezTo>
                  <a:pt x="543" y="430"/>
                  <a:pt x="543" y="430"/>
                  <a:pt x="543" y="430"/>
                </a:cubicBezTo>
                <a:cubicBezTo>
                  <a:pt x="543" y="428"/>
                  <a:pt x="543" y="428"/>
                  <a:pt x="543" y="428"/>
                </a:cubicBezTo>
                <a:cubicBezTo>
                  <a:pt x="542" y="424"/>
                  <a:pt x="542" y="424"/>
                  <a:pt x="542" y="424"/>
                </a:cubicBezTo>
                <a:cubicBezTo>
                  <a:pt x="543" y="422"/>
                  <a:pt x="543" y="422"/>
                  <a:pt x="543" y="422"/>
                </a:cubicBezTo>
                <a:cubicBezTo>
                  <a:pt x="544" y="423"/>
                  <a:pt x="544" y="423"/>
                  <a:pt x="544" y="423"/>
                </a:cubicBezTo>
                <a:cubicBezTo>
                  <a:pt x="545" y="422"/>
                  <a:pt x="545" y="422"/>
                  <a:pt x="545" y="422"/>
                </a:cubicBezTo>
                <a:cubicBezTo>
                  <a:pt x="544" y="421"/>
                  <a:pt x="544" y="421"/>
                  <a:pt x="544" y="421"/>
                </a:cubicBezTo>
                <a:cubicBezTo>
                  <a:pt x="543" y="418"/>
                  <a:pt x="543" y="418"/>
                  <a:pt x="543" y="418"/>
                </a:cubicBezTo>
                <a:cubicBezTo>
                  <a:pt x="545" y="415"/>
                  <a:pt x="545" y="415"/>
                  <a:pt x="545" y="415"/>
                </a:cubicBezTo>
                <a:cubicBezTo>
                  <a:pt x="546" y="418"/>
                  <a:pt x="546" y="418"/>
                  <a:pt x="546" y="418"/>
                </a:cubicBezTo>
                <a:cubicBezTo>
                  <a:pt x="547" y="417"/>
                  <a:pt x="547" y="417"/>
                  <a:pt x="547" y="417"/>
                </a:cubicBezTo>
                <a:cubicBezTo>
                  <a:pt x="547" y="416"/>
                  <a:pt x="547" y="416"/>
                  <a:pt x="547" y="416"/>
                </a:cubicBezTo>
                <a:close/>
                <a:moveTo>
                  <a:pt x="548" y="413"/>
                </a:moveTo>
                <a:cubicBezTo>
                  <a:pt x="550" y="412"/>
                  <a:pt x="550" y="412"/>
                  <a:pt x="550" y="412"/>
                </a:cubicBezTo>
                <a:cubicBezTo>
                  <a:pt x="551" y="413"/>
                  <a:pt x="551" y="413"/>
                  <a:pt x="551" y="413"/>
                </a:cubicBezTo>
                <a:cubicBezTo>
                  <a:pt x="549" y="414"/>
                  <a:pt x="549" y="414"/>
                  <a:pt x="549" y="414"/>
                </a:cubicBezTo>
                <a:cubicBezTo>
                  <a:pt x="548" y="413"/>
                  <a:pt x="548" y="413"/>
                  <a:pt x="548" y="413"/>
                </a:cubicBezTo>
                <a:close/>
                <a:moveTo>
                  <a:pt x="183" y="263"/>
                </a:moveTo>
                <a:cubicBezTo>
                  <a:pt x="182" y="262"/>
                  <a:pt x="182" y="262"/>
                  <a:pt x="182" y="262"/>
                </a:cubicBezTo>
                <a:cubicBezTo>
                  <a:pt x="183" y="261"/>
                  <a:pt x="183" y="261"/>
                  <a:pt x="183" y="261"/>
                </a:cubicBezTo>
                <a:cubicBezTo>
                  <a:pt x="184" y="262"/>
                  <a:pt x="184" y="262"/>
                  <a:pt x="184" y="262"/>
                </a:cubicBezTo>
                <a:cubicBezTo>
                  <a:pt x="183" y="263"/>
                  <a:pt x="183" y="263"/>
                  <a:pt x="183" y="263"/>
                </a:cubicBezTo>
                <a:close/>
                <a:moveTo>
                  <a:pt x="182" y="264"/>
                </a:moveTo>
                <a:cubicBezTo>
                  <a:pt x="184" y="265"/>
                  <a:pt x="184" y="265"/>
                  <a:pt x="184" y="265"/>
                </a:cubicBezTo>
                <a:cubicBezTo>
                  <a:pt x="184" y="267"/>
                  <a:pt x="184" y="267"/>
                  <a:pt x="184" y="267"/>
                </a:cubicBezTo>
                <a:cubicBezTo>
                  <a:pt x="187" y="271"/>
                  <a:pt x="187" y="271"/>
                  <a:pt x="187" y="271"/>
                </a:cubicBezTo>
                <a:cubicBezTo>
                  <a:pt x="187" y="273"/>
                  <a:pt x="187" y="273"/>
                  <a:pt x="187" y="273"/>
                </a:cubicBezTo>
                <a:cubicBezTo>
                  <a:pt x="182" y="269"/>
                  <a:pt x="182" y="269"/>
                  <a:pt x="182" y="269"/>
                </a:cubicBezTo>
                <a:cubicBezTo>
                  <a:pt x="182" y="267"/>
                  <a:pt x="182" y="267"/>
                  <a:pt x="182" y="267"/>
                </a:cubicBezTo>
                <a:cubicBezTo>
                  <a:pt x="181" y="265"/>
                  <a:pt x="181" y="265"/>
                  <a:pt x="181" y="265"/>
                </a:cubicBezTo>
                <a:cubicBezTo>
                  <a:pt x="181" y="265"/>
                  <a:pt x="182" y="264"/>
                  <a:pt x="182" y="264"/>
                </a:cubicBezTo>
                <a:close/>
                <a:moveTo>
                  <a:pt x="309" y="223"/>
                </a:moveTo>
                <a:cubicBezTo>
                  <a:pt x="308" y="226"/>
                  <a:pt x="308" y="226"/>
                  <a:pt x="308" y="226"/>
                </a:cubicBezTo>
                <a:cubicBezTo>
                  <a:pt x="307" y="231"/>
                  <a:pt x="307" y="231"/>
                  <a:pt x="307" y="231"/>
                </a:cubicBezTo>
                <a:cubicBezTo>
                  <a:pt x="306" y="230"/>
                  <a:pt x="306" y="230"/>
                  <a:pt x="306" y="230"/>
                </a:cubicBezTo>
                <a:cubicBezTo>
                  <a:pt x="306" y="229"/>
                  <a:pt x="306" y="229"/>
                  <a:pt x="306" y="229"/>
                </a:cubicBezTo>
                <a:cubicBezTo>
                  <a:pt x="304" y="228"/>
                  <a:pt x="304" y="228"/>
                  <a:pt x="304" y="228"/>
                </a:cubicBezTo>
                <a:cubicBezTo>
                  <a:pt x="301" y="228"/>
                  <a:pt x="301" y="228"/>
                  <a:pt x="301" y="228"/>
                </a:cubicBezTo>
                <a:cubicBezTo>
                  <a:pt x="299" y="227"/>
                  <a:pt x="299" y="227"/>
                  <a:pt x="299" y="227"/>
                </a:cubicBezTo>
                <a:cubicBezTo>
                  <a:pt x="299" y="225"/>
                  <a:pt x="299" y="225"/>
                  <a:pt x="299" y="225"/>
                </a:cubicBezTo>
                <a:cubicBezTo>
                  <a:pt x="305" y="219"/>
                  <a:pt x="305" y="219"/>
                  <a:pt x="305" y="219"/>
                </a:cubicBezTo>
                <a:cubicBezTo>
                  <a:pt x="308" y="217"/>
                  <a:pt x="308" y="217"/>
                  <a:pt x="308" y="217"/>
                </a:cubicBezTo>
                <a:cubicBezTo>
                  <a:pt x="309" y="218"/>
                  <a:pt x="309" y="218"/>
                  <a:pt x="309" y="218"/>
                </a:cubicBezTo>
                <a:cubicBezTo>
                  <a:pt x="309" y="223"/>
                  <a:pt x="309" y="223"/>
                  <a:pt x="309" y="223"/>
                </a:cubicBezTo>
                <a:close/>
                <a:moveTo>
                  <a:pt x="311" y="223"/>
                </a:moveTo>
                <a:cubicBezTo>
                  <a:pt x="311" y="223"/>
                  <a:pt x="312" y="222"/>
                  <a:pt x="312" y="222"/>
                </a:cubicBezTo>
                <a:cubicBezTo>
                  <a:pt x="313" y="220"/>
                  <a:pt x="313" y="220"/>
                  <a:pt x="313" y="220"/>
                </a:cubicBezTo>
                <a:cubicBezTo>
                  <a:pt x="311" y="219"/>
                  <a:pt x="311" y="219"/>
                  <a:pt x="311" y="219"/>
                </a:cubicBezTo>
                <a:cubicBezTo>
                  <a:pt x="311" y="217"/>
                  <a:pt x="311" y="217"/>
                  <a:pt x="311" y="217"/>
                </a:cubicBezTo>
                <a:cubicBezTo>
                  <a:pt x="309" y="215"/>
                  <a:pt x="309" y="215"/>
                  <a:pt x="309" y="215"/>
                </a:cubicBezTo>
                <a:cubicBezTo>
                  <a:pt x="311" y="214"/>
                  <a:pt x="311" y="214"/>
                  <a:pt x="311" y="214"/>
                </a:cubicBezTo>
                <a:cubicBezTo>
                  <a:pt x="316" y="214"/>
                  <a:pt x="316" y="214"/>
                  <a:pt x="316" y="214"/>
                </a:cubicBezTo>
                <a:cubicBezTo>
                  <a:pt x="320" y="216"/>
                  <a:pt x="320" y="216"/>
                  <a:pt x="320" y="216"/>
                </a:cubicBezTo>
                <a:cubicBezTo>
                  <a:pt x="320" y="218"/>
                  <a:pt x="320" y="218"/>
                  <a:pt x="320" y="218"/>
                </a:cubicBezTo>
                <a:cubicBezTo>
                  <a:pt x="318" y="219"/>
                  <a:pt x="318" y="219"/>
                  <a:pt x="318" y="219"/>
                </a:cubicBezTo>
                <a:cubicBezTo>
                  <a:pt x="313" y="224"/>
                  <a:pt x="313" y="224"/>
                  <a:pt x="313" y="224"/>
                </a:cubicBezTo>
                <a:cubicBezTo>
                  <a:pt x="311" y="223"/>
                  <a:pt x="311" y="223"/>
                  <a:pt x="311" y="223"/>
                </a:cubicBezTo>
                <a:close/>
                <a:moveTo>
                  <a:pt x="335" y="208"/>
                </a:moveTo>
                <a:cubicBezTo>
                  <a:pt x="336" y="207"/>
                  <a:pt x="336" y="207"/>
                  <a:pt x="336" y="207"/>
                </a:cubicBezTo>
                <a:cubicBezTo>
                  <a:pt x="339" y="207"/>
                  <a:pt x="339" y="207"/>
                  <a:pt x="339" y="207"/>
                </a:cubicBezTo>
                <a:cubicBezTo>
                  <a:pt x="340" y="208"/>
                  <a:pt x="340" y="208"/>
                  <a:pt x="340" y="208"/>
                </a:cubicBezTo>
                <a:cubicBezTo>
                  <a:pt x="339" y="210"/>
                  <a:pt x="339" y="210"/>
                  <a:pt x="339" y="210"/>
                </a:cubicBezTo>
                <a:cubicBezTo>
                  <a:pt x="338" y="210"/>
                  <a:pt x="338" y="210"/>
                  <a:pt x="338" y="210"/>
                </a:cubicBezTo>
                <a:cubicBezTo>
                  <a:pt x="335" y="208"/>
                  <a:pt x="335" y="208"/>
                  <a:pt x="335" y="208"/>
                </a:cubicBezTo>
                <a:close/>
                <a:moveTo>
                  <a:pt x="459" y="325"/>
                </a:moveTo>
                <a:cubicBezTo>
                  <a:pt x="460" y="324"/>
                  <a:pt x="460" y="324"/>
                  <a:pt x="460" y="324"/>
                </a:cubicBezTo>
                <a:cubicBezTo>
                  <a:pt x="462" y="325"/>
                  <a:pt x="462" y="325"/>
                  <a:pt x="462" y="325"/>
                </a:cubicBezTo>
                <a:cubicBezTo>
                  <a:pt x="461" y="326"/>
                  <a:pt x="461" y="326"/>
                  <a:pt x="461" y="326"/>
                </a:cubicBezTo>
                <a:cubicBezTo>
                  <a:pt x="459" y="325"/>
                  <a:pt x="459" y="325"/>
                  <a:pt x="459" y="325"/>
                </a:cubicBezTo>
                <a:close/>
                <a:moveTo>
                  <a:pt x="447" y="362"/>
                </a:moveTo>
                <a:cubicBezTo>
                  <a:pt x="450" y="360"/>
                  <a:pt x="450" y="360"/>
                  <a:pt x="450" y="360"/>
                </a:cubicBezTo>
                <a:cubicBezTo>
                  <a:pt x="451" y="362"/>
                  <a:pt x="451" y="362"/>
                  <a:pt x="451" y="362"/>
                </a:cubicBezTo>
                <a:cubicBezTo>
                  <a:pt x="447" y="362"/>
                  <a:pt x="447" y="362"/>
                  <a:pt x="447" y="362"/>
                </a:cubicBezTo>
                <a:close/>
                <a:moveTo>
                  <a:pt x="474" y="355"/>
                </a:moveTo>
                <a:cubicBezTo>
                  <a:pt x="477" y="354"/>
                  <a:pt x="477" y="354"/>
                  <a:pt x="477" y="354"/>
                </a:cubicBezTo>
                <a:cubicBezTo>
                  <a:pt x="479" y="354"/>
                  <a:pt x="479" y="354"/>
                  <a:pt x="479" y="354"/>
                </a:cubicBezTo>
                <a:cubicBezTo>
                  <a:pt x="476" y="357"/>
                  <a:pt x="476" y="357"/>
                  <a:pt x="476" y="357"/>
                </a:cubicBezTo>
                <a:cubicBezTo>
                  <a:pt x="474" y="357"/>
                  <a:pt x="474" y="357"/>
                  <a:pt x="474" y="357"/>
                </a:cubicBezTo>
                <a:cubicBezTo>
                  <a:pt x="474" y="355"/>
                  <a:pt x="474" y="355"/>
                  <a:pt x="474" y="355"/>
                </a:cubicBezTo>
                <a:close/>
                <a:moveTo>
                  <a:pt x="455" y="330"/>
                </a:moveTo>
                <a:cubicBezTo>
                  <a:pt x="455" y="329"/>
                  <a:pt x="455" y="329"/>
                  <a:pt x="455" y="329"/>
                </a:cubicBezTo>
                <a:cubicBezTo>
                  <a:pt x="457" y="329"/>
                  <a:pt x="457" y="329"/>
                  <a:pt x="457" y="329"/>
                </a:cubicBezTo>
                <a:cubicBezTo>
                  <a:pt x="457" y="331"/>
                  <a:pt x="457" y="331"/>
                  <a:pt x="457" y="331"/>
                </a:cubicBezTo>
                <a:cubicBezTo>
                  <a:pt x="455" y="330"/>
                  <a:pt x="455" y="330"/>
                  <a:pt x="455" y="330"/>
                </a:cubicBezTo>
                <a:close/>
                <a:moveTo>
                  <a:pt x="458" y="340"/>
                </a:moveTo>
                <a:cubicBezTo>
                  <a:pt x="458" y="336"/>
                  <a:pt x="458" y="336"/>
                  <a:pt x="458" y="336"/>
                </a:cubicBezTo>
                <a:cubicBezTo>
                  <a:pt x="459" y="335"/>
                  <a:pt x="459" y="335"/>
                  <a:pt x="459" y="335"/>
                </a:cubicBezTo>
                <a:cubicBezTo>
                  <a:pt x="461" y="336"/>
                  <a:pt x="461" y="336"/>
                  <a:pt x="461" y="336"/>
                </a:cubicBezTo>
                <a:cubicBezTo>
                  <a:pt x="461" y="338"/>
                  <a:pt x="461" y="338"/>
                  <a:pt x="461" y="338"/>
                </a:cubicBezTo>
                <a:cubicBezTo>
                  <a:pt x="462" y="338"/>
                  <a:pt x="462" y="338"/>
                  <a:pt x="462" y="338"/>
                </a:cubicBezTo>
                <a:cubicBezTo>
                  <a:pt x="463" y="340"/>
                  <a:pt x="463" y="340"/>
                  <a:pt x="463" y="340"/>
                </a:cubicBezTo>
                <a:cubicBezTo>
                  <a:pt x="461" y="341"/>
                  <a:pt x="461" y="341"/>
                  <a:pt x="461" y="341"/>
                </a:cubicBezTo>
                <a:cubicBezTo>
                  <a:pt x="458" y="340"/>
                  <a:pt x="458" y="340"/>
                  <a:pt x="458" y="340"/>
                </a:cubicBezTo>
                <a:close/>
                <a:moveTo>
                  <a:pt x="438" y="350"/>
                </a:moveTo>
                <a:cubicBezTo>
                  <a:pt x="440" y="350"/>
                  <a:pt x="440" y="350"/>
                  <a:pt x="440" y="350"/>
                </a:cubicBezTo>
                <a:cubicBezTo>
                  <a:pt x="441" y="349"/>
                  <a:pt x="441" y="349"/>
                  <a:pt x="441" y="349"/>
                </a:cubicBezTo>
                <a:cubicBezTo>
                  <a:pt x="441" y="348"/>
                  <a:pt x="441" y="348"/>
                  <a:pt x="441" y="348"/>
                </a:cubicBezTo>
                <a:cubicBezTo>
                  <a:pt x="446" y="344"/>
                  <a:pt x="446" y="344"/>
                  <a:pt x="446" y="344"/>
                </a:cubicBezTo>
                <a:cubicBezTo>
                  <a:pt x="448" y="343"/>
                  <a:pt x="448" y="343"/>
                  <a:pt x="448" y="343"/>
                </a:cubicBezTo>
                <a:cubicBezTo>
                  <a:pt x="450" y="340"/>
                  <a:pt x="450" y="340"/>
                  <a:pt x="450" y="340"/>
                </a:cubicBezTo>
                <a:cubicBezTo>
                  <a:pt x="451" y="340"/>
                  <a:pt x="451" y="340"/>
                  <a:pt x="451" y="340"/>
                </a:cubicBezTo>
                <a:cubicBezTo>
                  <a:pt x="454" y="337"/>
                  <a:pt x="454" y="337"/>
                  <a:pt x="454" y="337"/>
                </a:cubicBezTo>
                <a:cubicBezTo>
                  <a:pt x="454" y="338"/>
                  <a:pt x="454" y="338"/>
                  <a:pt x="454" y="338"/>
                </a:cubicBezTo>
                <a:cubicBezTo>
                  <a:pt x="454" y="340"/>
                  <a:pt x="454" y="340"/>
                  <a:pt x="454" y="340"/>
                </a:cubicBezTo>
                <a:cubicBezTo>
                  <a:pt x="455" y="341"/>
                  <a:pt x="455" y="341"/>
                  <a:pt x="455" y="341"/>
                </a:cubicBezTo>
                <a:cubicBezTo>
                  <a:pt x="453" y="342"/>
                  <a:pt x="453" y="342"/>
                  <a:pt x="453" y="342"/>
                </a:cubicBezTo>
                <a:cubicBezTo>
                  <a:pt x="451" y="343"/>
                  <a:pt x="451" y="343"/>
                  <a:pt x="451" y="343"/>
                </a:cubicBezTo>
                <a:cubicBezTo>
                  <a:pt x="447" y="347"/>
                  <a:pt x="447" y="347"/>
                  <a:pt x="447" y="347"/>
                </a:cubicBezTo>
                <a:cubicBezTo>
                  <a:pt x="445" y="348"/>
                  <a:pt x="445" y="348"/>
                  <a:pt x="445" y="348"/>
                </a:cubicBezTo>
                <a:cubicBezTo>
                  <a:pt x="445" y="349"/>
                  <a:pt x="445" y="349"/>
                  <a:pt x="445" y="349"/>
                </a:cubicBezTo>
                <a:cubicBezTo>
                  <a:pt x="445" y="351"/>
                  <a:pt x="445" y="351"/>
                  <a:pt x="445" y="351"/>
                </a:cubicBezTo>
                <a:cubicBezTo>
                  <a:pt x="442" y="350"/>
                  <a:pt x="442" y="350"/>
                  <a:pt x="442" y="350"/>
                </a:cubicBezTo>
                <a:cubicBezTo>
                  <a:pt x="441" y="351"/>
                  <a:pt x="441" y="351"/>
                  <a:pt x="441" y="351"/>
                </a:cubicBezTo>
                <a:cubicBezTo>
                  <a:pt x="438" y="351"/>
                  <a:pt x="438" y="351"/>
                  <a:pt x="438" y="351"/>
                </a:cubicBezTo>
                <a:cubicBezTo>
                  <a:pt x="438" y="350"/>
                  <a:pt x="438" y="350"/>
                  <a:pt x="438" y="350"/>
                </a:cubicBezTo>
                <a:close/>
                <a:moveTo>
                  <a:pt x="438" y="345"/>
                </a:moveTo>
                <a:cubicBezTo>
                  <a:pt x="441" y="343"/>
                  <a:pt x="441" y="343"/>
                  <a:pt x="441" y="343"/>
                </a:cubicBezTo>
                <a:cubicBezTo>
                  <a:pt x="441" y="345"/>
                  <a:pt x="441" y="345"/>
                  <a:pt x="441" y="345"/>
                </a:cubicBezTo>
                <a:cubicBezTo>
                  <a:pt x="439" y="346"/>
                  <a:pt x="439" y="346"/>
                  <a:pt x="439" y="346"/>
                </a:cubicBezTo>
                <a:cubicBezTo>
                  <a:pt x="439" y="346"/>
                  <a:pt x="438" y="345"/>
                  <a:pt x="438" y="345"/>
                </a:cubicBezTo>
                <a:close/>
                <a:moveTo>
                  <a:pt x="444" y="339"/>
                </a:moveTo>
                <a:cubicBezTo>
                  <a:pt x="447" y="336"/>
                  <a:pt x="447" y="336"/>
                  <a:pt x="447" y="336"/>
                </a:cubicBezTo>
                <a:cubicBezTo>
                  <a:pt x="447" y="334"/>
                  <a:pt x="447" y="334"/>
                  <a:pt x="447" y="334"/>
                </a:cubicBezTo>
                <a:cubicBezTo>
                  <a:pt x="449" y="333"/>
                  <a:pt x="449" y="333"/>
                  <a:pt x="449" y="333"/>
                </a:cubicBezTo>
                <a:cubicBezTo>
                  <a:pt x="450" y="333"/>
                  <a:pt x="450" y="333"/>
                  <a:pt x="450" y="333"/>
                </a:cubicBezTo>
                <a:cubicBezTo>
                  <a:pt x="451" y="334"/>
                  <a:pt x="451" y="334"/>
                  <a:pt x="451" y="334"/>
                </a:cubicBezTo>
                <a:cubicBezTo>
                  <a:pt x="449" y="336"/>
                  <a:pt x="449" y="336"/>
                  <a:pt x="449" y="336"/>
                </a:cubicBezTo>
                <a:cubicBezTo>
                  <a:pt x="448" y="337"/>
                  <a:pt x="448" y="337"/>
                  <a:pt x="448" y="337"/>
                </a:cubicBezTo>
                <a:cubicBezTo>
                  <a:pt x="446" y="339"/>
                  <a:pt x="446" y="339"/>
                  <a:pt x="446" y="339"/>
                </a:cubicBezTo>
                <a:cubicBezTo>
                  <a:pt x="445" y="341"/>
                  <a:pt x="445" y="341"/>
                  <a:pt x="445" y="341"/>
                </a:cubicBezTo>
                <a:cubicBezTo>
                  <a:pt x="444" y="341"/>
                  <a:pt x="444" y="341"/>
                  <a:pt x="444" y="341"/>
                </a:cubicBezTo>
                <a:cubicBezTo>
                  <a:pt x="444" y="339"/>
                  <a:pt x="444" y="339"/>
                  <a:pt x="444" y="339"/>
                </a:cubicBezTo>
                <a:close/>
                <a:moveTo>
                  <a:pt x="447" y="324"/>
                </a:moveTo>
                <a:cubicBezTo>
                  <a:pt x="449" y="322"/>
                  <a:pt x="449" y="322"/>
                  <a:pt x="449" y="322"/>
                </a:cubicBezTo>
                <a:cubicBezTo>
                  <a:pt x="450" y="323"/>
                  <a:pt x="450" y="323"/>
                  <a:pt x="450" y="323"/>
                </a:cubicBezTo>
                <a:cubicBezTo>
                  <a:pt x="450" y="324"/>
                  <a:pt x="450" y="324"/>
                  <a:pt x="450" y="324"/>
                </a:cubicBezTo>
                <a:cubicBezTo>
                  <a:pt x="450" y="325"/>
                  <a:pt x="450" y="325"/>
                  <a:pt x="450" y="325"/>
                </a:cubicBezTo>
                <a:cubicBezTo>
                  <a:pt x="449" y="327"/>
                  <a:pt x="449" y="327"/>
                  <a:pt x="449" y="327"/>
                </a:cubicBezTo>
                <a:cubicBezTo>
                  <a:pt x="447" y="324"/>
                  <a:pt x="447" y="324"/>
                  <a:pt x="447" y="324"/>
                </a:cubicBezTo>
                <a:close/>
                <a:moveTo>
                  <a:pt x="300" y="154"/>
                </a:moveTo>
                <a:cubicBezTo>
                  <a:pt x="300" y="154"/>
                  <a:pt x="302" y="153"/>
                  <a:pt x="302" y="153"/>
                </a:cubicBezTo>
                <a:cubicBezTo>
                  <a:pt x="304" y="154"/>
                  <a:pt x="304" y="154"/>
                  <a:pt x="304" y="154"/>
                </a:cubicBezTo>
                <a:cubicBezTo>
                  <a:pt x="302" y="156"/>
                  <a:pt x="302" y="156"/>
                  <a:pt x="302" y="156"/>
                </a:cubicBezTo>
                <a:cubicBezTo>
                  <a:pt x="300" y="154"/>
                  <a:pt x="300" y="154"/>
                  <a:pt x="300" y="154"/>
                </a:cubicBezTo>
                <a:close/>
                <a:moveTo>
                  <a:pt x="253" y="205"/>
                </a:moveTo>
                <a:cubicBezTo>
                  <a:pt x="255" y="202"/>
                  <a:pt x="255" y="202"/>
                  <a:pt x="255" y="202"/>
                </a:cubicBezTo>
                <a:cubicBezTo>
                  <a:pt x="254" y="199"/>
                  <a:pt x="254" y="199"/>
                  <a:pt x="254" y="199"/>
                </a:cubicBezTo>
                <a:cubicBezTo>
                  <a:pt x="252" y="198"/>
                  <a:pt x="252" y="198"/>
                  <a:pt x="252" y="198"/>
                </a:cubicBezTo>
                <a:cubicBezTo>
                  <a:pt x="252" y="194"/>
                  <a:pt x="252" y="194"/>
                  <a:pt x="252" y="194"/>
                </a:cubicBezTo>
                <a:cubicBezTo>
                  <a:pt x="251" y="190"/>
                  <a:pt x="251" y="190"/>
                  <a:pt x="251" y="190"/>
                </a:cubicBezTo>
                <a:cubicBezTo>
                  <a:pt x="249" y="188"/>
                  <a:pt x="249" y="188"/>
                  <a:pt x="249" y="188"/>
                </a:cubicBezTo>
                <a:cubicBezTo>
                  <a:pt x="245" y="188"/>
                  <a:pt x="245" y="188"/>
                  <a:pt x="245" y="188"/>
                </a:cubicBezTo>
                <a:cubicBezTo>
                  <a:pt x="244" y="190"/>
                  <a:pt x="244" y="190"/>
                  <a:pt x="244" y="190"/>
                </a:cubicBezTo>
                <a:cubicBezTo>
                  <a:pt x="241" y="190"/>
                  <a:pt x="241" y="190"/>
                  <a:pt x="241" y="190"/>
                </a:cubicBezTo>
                <a:cubicBezTo>
                  <a:pt x="239" y="187"/>
                  <a:pt x="239" y="187"/>
                  <a:pt x="239" y="187"/>
                </a:cubicBezTo>
                <a:cubicBezTo>
                  <a:pt x="239" y="184"/>
                  <a:pt x="239" y="184"/>
                  <a:pt x="239" y="184"/>
                </a:cubicBezTo>
                <a:cubicBezTo>
                  <a:pt x="245" y="179"/>
                  <a:pt x="245" y="179"/>
                  <a:pt x="245" y="179"/>
                </a:cubicBezTo>
                <a:cubicBezTo>
                  <a:pt x="247" y="174"/>
                  <a:pt x="247" y="174"/>
                  <a:pt x="247" y="174"/>
                </a:cubicBezTo>
                <a:cubicBezTo>
                  <a:pt x="248" y="174"/>
                  <a:pt x="248" y="174"/>
                  <a:pt x="248" y="174"/>
                </a:cubicBezTo>
                <a:cubicBezTo>
                  <a:pt x="248" y="179"/>
                  <a:pt x="248" y="179"/>
                  <a:pt x="248" y="179"/>
                </a:cubicBezTo>
                <a:cubicBezTo>
                  <a:pt x="247" y="181"/>
                  <a:pt x="247" y="181"/>
                  <a:pt x="247" y="181"/>
                </a:cubicBezTo>
                <a:cubicBezTo>
                  <a:pt x="250" y="182"/>
                  <a:pt x="250" y="182"/>
                  <a:pt x="250" y="182"/>
                </a:cubicBezTo>
                <a:cubicBezTo>
                  <a:pt x="250" y="183"/>
                  <a:pt x="250" y="183"/>
                  <a:pt x="250" y="183"/>
                </a:cubicBezTo>
                <a:cubicBezTo>
                  <a:pt x="253" y="184"/>
                  <a:pt x="253" y="184"/>
                  <a:pt x="253" y="184"/>
                </a:cubicBezTo>
                <a:cubicBezTo>
                  <a:pt x="254" y="183"/>
                  <a:pt x="254" y="183"/>
                  <a:pt x="254" y="183"/>
                </a:cubicBezTo>
                <a:cubicBezTo>
                  <a:pt x="259" y="183"/>
                  <a:pt x="259" y="183"/>
                  <a:pt x="259" y="183"/>
                </a:cubicBezTo>
                <a:cubicBezTo>
                  <a:pt x="261" y="185"/>
                  <a:pt x="261" y="185"/>
                  <a:pt x="261" y="185"/>
                </a:cubicBezTo>
                <a:cubicBezTo>
                  <a:pt x="261" y="187"/>
                  <a:pt x="261" y="187"/>
                  <a:pt x="261" y="187"/>
                </a:cubicBezTo>
                <a:cubicBezTo>
                  <a:pt x="259" y="188"/>
                  <a:pt x="259" y="188"/>
                  <a:pt x="259" y="188"/>
                </a:cubicBezTo>
                <a:cubicBezTo>
                  <a:pt x="261" y="191"/>
                  <a:pt x="261" y="191"/>
                  <a:pt x="261" y="191"/>
                </a:cubicBezTo>
                <a:cubicBezTo>
                  <a:pt x="263" y="193"/>
                  <a:pt x="263" y="193"/>
                  <a:pt x="263" y="193"/>
                </a:cubicBezTo>
                <a:cubicBezTo>
                  <a:pt x="263" y="195"/>
                  <a:pt x="263" y="195"/>
                  <a:pt x="263" y="195"/>
                </a:cubicBezTo>
                <a:cubicBezTo>
                  <a:pt x="268" y="200"/>
                  <a:pt x="268" y="200"/>
                  <a:pt x="268" y="200"/>
                </a:cubicBezTo>
                <a:cubicBezTo>
                  <a:pt x="268" y="202"/>
                  <a:pt x="268" y="202"/>
                  <a:pt x="268" y="202"/>
                </a:cubicBezTo>
                <a:cubicBezTo>
                  <a:pt x="266" y="203"/>
                  <a:pt x="266" y="203"/>
                  <a:pt x="266" y="203"/>
                </a:cubicBezTo>
                <a:cubicBezTo>
                  <a:pt x="263" y="201"/>
                  <a:pt x="263" y="201"/>
                  <a:pt x="263" y="201"/>
                </a:cubicBezTo>
                <a:cubicBezTo>
                  <a:pt x="262" y="202"/>
                  <a:pt x="262" y="202"/>
                  <a:pt x="262" y="202"/>
                </a:cubicBezTo>
                <a:cubicBezTo>
                  <a:pt x="261" y="203"/>
                  <a:pt x="261" y="203"/>
                  <a:pt x="261" y="203"/>
                </a:cubicBezTo>
                <a:cubicBezTo>
                  <a:pt x="258" y="203"/>
                  <a:pt x="258" y="203"/>
                  <a:pt x="258" y="203"/>
                </a:cubicBezTo>
                <a:cubicBezTo>
                  <a:pt x="255" y="206"/>
                  <a:pt x="255" y="206"/>
                  <a:pt x="255" y="206"/>
                </a:cubicBezTo>
                <a:cubicBezTo>
                  <a:pt x="253" y="205"/>
                  <a:pt x="253" y="205"/>
                  <a:pt x="253" y="205"/>
                </a:cubicBezTo>
                <a:close/>
                <a:moveTo>
                  <a:pt x="237" y="288"/>
                </a:moveTo>
                <a:cubicBezTo>
                  <a:pt x="239" y="288"/>
                  <a:pt x="239" y="288"/>
                  <a:pt x="239" y="288"/>
                </a:cubicBezTo>
                <a:cubicBezTo>
                  <a:pt x="242" y="289"/>
                  <a:pt x="242" y="289"/>
                  <a:pt x="242" y="289"/>
                </a:cubicBezTo>
                <a:cubicBezTo>
                  <a:pt x="245" y="288"/>
                  <a:pt x="245" y="288"/>
                  <a:pt x="245" y="288"/>
                </a:cubicBezTo>
                <a:cubicBezTo>
                  <a:pt x="247" y="289"/>
                  <a:pt x="247" y="289"/>
                  <a:pt x="247" y="289"/>
                </a:cubicBezTo>
                <a:cubicBezTo>
                  <a:pt x="250" y="287"/>
                  <a:pt x="250" y="287"/>
                  <a:pt x="250" y="287"/>
                </a:cubicBezTo>
                <a:cubicBezTo>
                  <a:pt x="253" y="286"/>
                  <a:pt x="253" y="286"/>
                  <a:pt x="253" y="286"/>
                </a:cubicBezTo>
                <a:cubicBezTo>
                  <a:pt x="253" y="288"/>
                  <a:pt x="253" y="288"/>
                  <a:pt x="253" y="288"/>
                </a:cubicBezTo>
                <a:cubicBezTo>
                  <a:pt x="255" y="290"/>
                  <a:pt x="255" y="290"/>
                  <a:pt x="255" y="290"/>
                </a:cubicBezTo>
                <a:cubicBezTo>
                  <a:pt x="256" y="292"/>
                  <a:pt x="256" y="292"/>
                  <a:pt x="256" y="292"/>
                </a:cubicBezTo>
                <a:cubicBezTo>
                  <a:pt x="253" y="295"/>
                  <a:pt x="253" y="295"/>
                  <a:pt x="253" y="295"/>
                </a:cubicBezTo>
                <a:cubicBezTo>
                  <a:pt x="253" y="298"/>
                  <a:pt x="253" y="298"/>
                  <a:pt x="253" y="298"/>
                </a:cubicBezTo>
                <a:cubicBezTo>
                  <a:pt x="249" y="298"/>
                  <a:pt x="249" y="298"/>
                  <a:pt x="249" y="298"/>
                </a:cubicBezTo>
                <a:cubicBezTo>
                  <a:pt x="247" y="297"/>
                  <a:pt x="247" y="297"/>
                  <a:pt x="247" y="297"/>
                </a:cubicBezTo>
                <a:cubicBezTo>
                  <a:pt x="245" y="299"/>
                  <a:pt x="245" y="299"/>
                  <a:pt x="245" y="299"/>
                </a:cubicBezTo>
                <a:cubicBezTo>
                  <a:pt x="243" y="297"/>
                  <a:pt x="243" y="297"/>
                  <a:pt x="243" y="297"/>
                </a:cubicBezTo>
                <a:cubicBezTo>
                  <a:pt x="240" y="297"/>
                  <a:pt x="240" y="297"/>
                  <a:pt x="240" y="297"/>
                </a:cubicBezTo>
                <a:cubicBezTo>
                  <a:pt x="238" y="292"/>
                  <a:pt x="238" y="292"/>
                  <a:pt x="238" y="292"/>
                </a:cubicBezTo>
                <a:cubicBezTo>
                  <a:pt x="237" y="288"/>
                  <a:pt x="237" y="288"/>
                  <a:pt x="237" y="288"/>
                </a:cubicBezTo>
                <a:close/>
                <a:moveTo>
                  <a:pt x="399" y="325"/>
                </a:moveTo>
                <a:cubicBezTo>
                  <a:pt x="402" y="322"/>
                  <a:pt x="402" y="322"/>
                  <a:pt x="402" y="322"/>
                </a:cubicBezTo>
                <a:cubicBezTo>
                  <a:pt x="404" y="322"/>
                  <a:pt x="404" y="322"/>
                  <a:pt x="404" y="322"/>
                </a:cubicBezTo>
                <a:cubicBezTo>
                  <a:pt x="404" y="323"/>
                  <a:pt x="404" y="323"/>
                  <a:pt x="404" y="323"/>
                </a:cubicBezTo>
                <a:cubicBezTo>
                  <a:pt x="401" y="326"/>
                  <a:pt x="401" y="326"/>
                  <a:pt x="401" y="326"/>
                </a:cubicBezTo>
                <a:cubicBezTo>
                  <a:pt x="399" y="325"/>
                  <a:pt x="399" y="325"/>
                  <a:pt x="399" y="325"/>
                </a:cubicBezTo>
                <a:close/>
                <a:moveTo>
                  <a:pt x="373" y="343"/>
                </a:moveTo>
                <a:cubicBezTo>
                  <a:pt x="375" y="342"/>
                  <a:pt x="375" y="342"/>
                  <a:pt x="375" y="342"/>
                </a:cubicBezTo>
                <a:cubicBezTo>
                  <a:pt x="377" y="343"/>
                  <a:pt x="377" y="343"/>
                  <a:pt x="377" y="343"/>
                </a:cubicBezTo>
                <a:cubicBezTo>
                  <a:pt x="375" y="344"/>
                  <a:pt x="375" y="344"/>
                  <a:pt x="375" y="344"/>
                </a:cubicBezTo>
                <a:cubicBezTo>
                  <a:pt x="373" y="343"/>
                  <a:pt x="373" y="343"/>
                  <a:pt x="373" y="343"/>
                </a:cubicBezTo>
                <a:close/>
                <a:moveTo>
                  <a:pt x="373" y="363"/>
                </a:moveTo>
                <a:cubicBezTo>
                  <a:pt x="374" y="363"/>
                  <a:pt x="374" y="363"/>
                  <a:pt x="374" y="363"/>
                </a:cubicBezTo>
                <a:cubicBezTo>
                  <a:pt x="376" y="363"/>
                  <a:pt x="376" y="363"/>
                  <a:pt x="376" y="363"/>
                </a:cubicBezTo>
                <a:cubicBezTo>
                  <a:pt x="376" y="365"/>
                  <a:pt x="376" y="365"/>
                  <a:pt x="376" y="365"/>
                </a:cubicBezTo>
                <a:cubicBezTo>
                  <a:pt x="374" y="367"/>
                  <a:pt x="374" y="367"/>
                  <a:pt x="374" y="367"/>
                </a:cubicBezTo>
                <a:cubicBezTo>
                  <a:pt x="372" y="365"/>
                  <a:pt x="372" y="365"/>
                  <a:pt x="372" y="365"/>
                </a:cubicBezTo>
                <a:cubicBezTo>
                  <a:pt x="373" y="363"/>
                  <a:pt x="373" y="363"/>
                  <a:pt x="373" y="363"/>
                </a:cubicBezTo>
                <a:close/>
                <a:moveTo>
                  <a:pt x="363" y="375"/>
                </a:moveTo>
                <a:cubicBezTo>
                  <a:pt x="363" y="374"/>
                  <a:pt x="363" y="374"/>
                  <a:pt x="363" y="374"/>
                </a:cubicBezTo>
                <a:cubicBezTo>
                  <a:pt x="364" y="373"/>
                  <a:pt x="364" y="373"/>
                  <a:pt x="364" y="373"/>
                </a:cubicBezTo>
                <a:cubicBezTo>
                  <a:pt x="365" y="374"/>
                  <a:pt x="365" y="374"/>
                  <a:pt x="365" y="374"/>
                </a:cubicBezTo>
                <a:cubicBezTo>
                  <a:pt x="366" y="373"/>
                  <a:pt x="366" y="373"/>
                  <a:pt x="366" y="373"/>
                </a:cubicBezTo>
                <a:cubicBezTo>
                  <a:pt x="368" y="373"/>
                  <a:pt x="368" y="373"/>
                  <a:pt x="368" y="373"/>
                </a:cubicBezTo>
                <a:cubicBezTo>
                  <a:pt x="369" y="371"/>
                  <a:pt x="369" y="371"/>
                  <a:pt x="369" y="371"/>
                </a:cubicBezTo>
                <a:cubicBezTo>
                  <a:pt x="368" y="370"/>
                  <a:pt x="368" y="370"/>
                  <a:pt x="368" y="370"/>
                </a:cubicBezTo>
                <a:cubicBezTo>
                  <a:pt x="369" y="369"/>
                  <a:pt x="369" y="369"/>
                  <a:pt x="369" y="369"/>
                </a:cubicBezTo>
                <a:cubicBezTo>
                  <a:pt x="371" y="368"/>
                  <a:pt x="371" y="368"/>
                  <a:pt x="371" y="368"/>
                </a:cubicBezTo>
                <a:cubicBezTo>
                  <a:pt x="373" y="368"/>
                  <a:pt x="373" y="368"/>
                  <a:pt x="373" y="368"/>
                </a:cubicBezTo>
                <a:cubicBezTo>
                  <a:pt x="372" y="371"/>
                  <a:pt x="372" y="371"/>
                  <a:pt x="372" y="371"/>
                </a:cubicBezTo>
                <a:cubicBezTo>
                  <a:pt x="373" y="371"/>
                  <a:pt x="373" y="371"/>
                  <a:pt x="373" y="371"/>
                </a:cubicBezTo>
                <a:cubicBezTo>
                  <a:pt x="374" y="370"/>
                  <a:pt x="374" y="370"/>
                  <a:pt x="374" y="370"/>
                </a:cubicBezTo>
                <a:cubicBezTo>
                  <a:pt x="376" y="369"/>
                  <a:pt x="376" y="369"/>
                  <a:pt x="376" y="369"/>
                </a:cubicBezTo>
                <a:cubicBezTo>
                  <a:pt x="377" y="371"/>
                  <a:pt x="377" y="371"/>
                  <a:pt x="377" y="371"/>
                </a:cubicBezTo>
                <a:cubicBezTo>
                  <a:pt x="375" y="372"/>
                  <a:pt x="375" y="372"/>
                  <a:pt x="375" y="372"/>
                </a:cubicBezTo>
                <a:cubicBezTo>
                  <a:pt x="374" y="374"/>
                  <a:pt x="374" y="374"/>
                  <a:pt x="374" y="374"/>
                </a:cubicBezTo>
                <a:cubicBezTo>
                  <a:pt x="376" y="374"/>
                  <a:pt x="376" y="374"/>
                  <a:pt x="376" y="374"/>
                </a:cubicBezTo>
                <a:cubicBezTo>
                  <a:pt x="377" y="376"/>
                  <a:pt x="377" y="376"/>
                  <a:pt x="377" y="376"/>
                </a:cubicBezTo>
                <a:cubicBezTo>
                  <a:pt x="375" y="376"/>
                  <a:pt x="375" y="376"/>
                  <a:pt x="375" y="376"/>
                </a:cubicBezTo>
                <a:cubicBezTo>
                  <a:pt x="374" y="375"/>
                  <a:pt x="374" y="375"/>
                  <a:pt x="374" y="375"/>
                </a:cubicBezTo>
                <a:cubicBezTo>
                  <a:pt x="372" y="377"/>
                  <a:pt x="372" y="377"/>
                  <a:pt x="372" y="377"/>
                </a:cubicBezTo>
                <a:cubicBezTo>
                  <a:pt x="370" y="377"/>
                  <a:pt x="370" y="377"/>
                  <a:pt x="370" y="377"/>
                </a:cubicBezTo>
                <a:cubicBezTo>
                  <a:pt x="370" y="376"/>
                  <a:pt x="370" y="376"/>
                  <a:pt x="370" y="376"/>
                </a:cubicBezTo>
                <a:cubicBezTo>
                  <a:pt x="368" y="378"/>
                  <a:pt x="368" y="378"/>
                  <a:pt x="368" y="378"/>
                </a:cubicBezTo>
                <a:cubicBezTo>
                  <a:pt x="366" y="378"/>
                  <a:pt x="366" y="378"/>
                  <a:pt x="366" y="378"/>
                </a:cubicBezTo>
                <a:cubicBezTo>
                  <a:pt x="363" y="375"/>
                  <a:pt x="363" y="375"/>
                  <a:pt x="363" y="375"/>
                </a:cubicBezTo>
                <a:close/>
                <a:moveTo>
                  <a:pt x="338" y="401"/>
                </a:moveTo>
                <a:cubicBezTo>
                  <a:pt x="337" y="402"/>
                  <a:pt x="337" y="402"/>
                  <a:pt x="337" y="402"/>
                </a:cubicBezTo>
                <a:cubicBezTo>
                  <a:pt x="336" y="402"/>
                  <a:pt x="336" y="402"/>
                  <a:pt x="336" y="402"/>
                </a:cubicBezTo>
                <a:cubicBezTo>
                  <a:pt x="334" y="401"/>
                  <a:pt x="334" y="401"/>
                  <a:pt x="334" y="401"/>
                </a:cubicBezTo>
                <a:cubicBezTo>
                  <a:pt x="334" y="399"/>
                  <a:pt x="334" y="399"/>
                  <a:pt x="334" y="399"/>
                </a:cubicBezTo>
                <a:cubicBezTo>
                  <a:pt x="335" y="398"/>
                  <a:pt x="335" y="398"/>
                  <a:pt x="335" y="398"/>
                </a:cubicBezTo>
                <a:cubicBezTo>
                  <a:pt x="336" y="395"/>
                  <a:pt x="336" y="395"/>
                  <a:pt x="336" y="395"/>
                </a:cubicBezTo>
                <a:cubicBezTo>
                  <a:pt x="336" y="392"/>
                  <a:pt x="336" y="392"/>
                  <a:pt x="336" y="392"/>
                </a:cubicBezTo>
                <a:cubicBezTo>
                  <a:pt x="335" y="391"/>
                  <a:pt x="335" y="391"/>
                  <a:pt x="335" y="391"/>
                </a:cubicBezTo>
                <a:cubicBezTo>
                  <a:pt x="335" y="389"/>
                  <a:pt x="335" y="389"/>
                  <a:pt x="335" y="389"/>
                </a:cubicBezTo>
                <a:cubicBezTo>
                  <a:pt x="339" y="387"/>
                  <a:pt x="339" y="387"/>
                  <a:pt x="339" y="387"/>
                </a:cubicBezTo>
                <a:cubicBezTo>
                  <a:pt x="344" y="384"/>
                  <a:pt x="344" y="384"/>
                  <a:pt x="344" y="384"/>
                </a:cubicBezTo>
                <a:cubicBezTo>
                  <a:pt x="347" y="384"/>
                  <a:pt x="347" y="384"/>
                  <a:pt x="347" y="384"/>
                </a:cubicBezTo>
                <a:cubicBezTo>
                  <a:pt x="348" y="385"/>
                  <a:pt x="348" y="385"/>
                  <a:pt x="348" y="385"/>
                </a:cubicBezTo>
                <a:cubicBezTo>
                  <a:pt x="348" y="389"/>
                  <a:pt x="348" y="389"/>
                  <a:pt x="348" y="389"/>
                </a:cubicBezTo>
                <a:cubicBezTo>
                  <a:pt x="349" y="390"/>
                  <a:pt x="349" y="390"/>
                  <a:pt x="349" y="390"/>
                </a:cubicBezTo>
                <a:cubicBezTo>
                  <a:pt x="351" y="387"/>
                  <a:pt x="351" y="387"/>
                  <a:pt x="351" y="387"/>
                </a:cubicBezTo>
                <a:cubicBezTo>
                  <a:pt x="350" y="385"/>
                  <a:pt x="350" y="385"/>
                  <a:pt x="350" y="385"/>
                </a:cubicBezTo>
                <a:cubicBezTo>
                  <a:pt x="351" y="384"/>
                  <a:pt x="351" y="384"/>
                  <a:pt x="351" y="384"/>
                </a:cubicBezTo>
                <a:cubicBezTo>
                  <a:pt x="352" y="386"/>
                  <a:pt x="352" y="386"/>
                  <a:pt x="352" y="386"/>
                </a:cubicBezTo>
                <a:cubicBezTo>
                  <a:pt x="353" y="384"/>
                  <a:pt x="353" y="384"/>
                  <a:pt x="353" y="384"/>
                </a:cubicBezTo>
                <a:cubicBezTo>
                  <a:pt x="351" y="382"/>
                  <a:pt x="351" y="382"/>
                  <a:pt x="351" y="382"/>
                </a:cubicBezTo>
                <a:cubicBezTo>
                  <a:pt x="350" y="381"/>
                  <a:pt x="350" y="381"/>
                  <a:pt x="350" y="381"/>
                </a:cubicBezTo>
                <a:cubicBezTo>
                  <a:pt x="353" y="379"/>
                  <a:pt x="353" y="379"/>
                  <a:pt x="353" y="379"/>
                </a:cubicBezTo>
                <a:cubicBezTo>
                  <a:pt x="354" y="378"/>
                  <a:pt x="354" y="378"/>
                  <a:pt x="354" y="378"/>
                </a:cubicBezTo>
                <a:cubicBezTo>
                  <a:pt x="356" y="380"/>
                  <a:pt x="356" y="380"/>
                  <a:pt x="356" y="380"/>
                </a:cubicBezTo>
                <a:cubicBezTo>
                  <a:pt x="356" y="382"/>
                  <a:pt x="356" y="382"/>
                  <a:pt x="356" y="382"/>
                </a:cubicBezTo>
                <a:cubicBezTo>
                  <a:pt x="355" y="383"/>
                  <a:pt x="355" y="383"/>
                  <a:pt x="355" y="383"/>
                </a:cubicBezTo>
                <a:cubicBezTo>
                  <a:pt x="355" y="385"/>
                  <a:pt x="355" y="385"/>
                  <a:pt x="355" y="385"/>
                </a:cubicBezTo>
                <a:cubicBezTo>
                  <a:pt x="356" y="385"/>
                  <a:pt x="356" y="385"/>
                  <a:pt x="356" y="385"/>
                </a:cubicBezTo>
                <a:cubicBezTo>
                  <a:pt x="357" y="383"/>
                  <a:pt x="357" y="383"/>
                  <a:pt x="357" y="383"/>
                </a:cubicBezTo>
                <a:cubicBezTo>
                  <a:pt x="358" y="382"/>
                  <a:pt x="358" y="382"/>
                  <a:pt x="358" y="382"/>
                </a:cubicBezTo>
                <a:cubicBezTo>
                  <a:pt x="360" y="383"/>
                  <a:pt x="360" y="383"/>
                  <a:pt x="360" y="383"/>
                </a:cubicBezTo>
                <a:cubicBezTo>
                  <a:pt x="360" y="381"/>
                  <a:pt x="360" y="381"/>
                  <a:pt x="360" y="381"/>
                </a:cubicBezTo>
                <a:cubicBezTo>
                  <a:pt x="359" y="379"/>
                  <a:pt x="359" y="379"/>
                  <a:pt x="359" y="379"/>
                </a:cubicBezTo>
                <a:cubicBezTo>
                  <a:pt x="361" y="378"/>
                  <a:pt x="361" y="378"/>
                  <a:pt x="361" y="378"/>
                </a:cubicBezTo>
                <a:cubicBezTo>
                  <a:pt x="363" y="380"/>
                  <a:pt x="363" y="380"/>
                  <a:pt x="363" y="380"/>
                </a:cubicBezTo>
                <a:cubicBezTo>
                  <a:pt x="363" y="382"/>
                  <a:pt x="363" y="382"/>
                  <a:pt x="363" y="382"/>
                </a:cubicBezTo>
                <a:cubicBezTo>
                  <a:pt x="362" y="382"/>
                  <a:pt x="362" y="382"/>
                  <a:pt x="362" y="382"/>
                </a:cubicBezTo>
                <a:cubicBezTo>
                  <a:pt x="362" y="383"/>
                  <a:pt x="362" y="383"/>
                  <a:pt x="362" y="383"/>
                </a:cubicBezTo>
                <a:cubicBezTo>
                  <a:pt x="363" y="384"/>
                  <a:pt x="363" y="384"/>
                  <a:pt x="363" y="384"/>
                </a:cubicBezTo>
                <a:cubicBezTo>
                  <a:pt x="365" y="381"/>
                  <a:pt x="365" y="381"/>
                  <a:pt x="365" y="381"/>
                </a:cubicBezTo>
                <a:cubicBezTo>
                  <a:pt x="367" y="381"/>
                  <a:pt x="367" y="381"/>
                  <a:pt x="367" y="381"/>
                </a:cubicBezTo>
                <a:cubicBezTo>
                  <a:pt x="369" y="381"/>
                  <a:pt x="369" y="381"/>
                  <a:pt x="369" y="381"/>
                </a:cubicBezTo>
                <a:cubicBezTo>
                  <a:pt x="370" y="384"/>
                  <a:pt x="370" y="384"/>
                  <a:pt x="370" y="384"/>
                </a:cubicBezTo>
                <a:cubicBezTo>
                  <a:pt x="368" y="384"/>
                  <a:pt x="368" y="384"/>
                  <a:pt x="368" y="384"/>
                </a:cubicBezTo>
                <a:cubicBezTo>
                  <a:pt x="366" y="384"/>
                  <a:pt x="366" y="384"/>
                  <a:pt x="366" y="384"/>
                </a:cubicBezTo>
                <a:cubicBezTo>
                  <a:pt x="366" y="386"/>
                  <a:pt x="366" y="386"/>
                  <a:pt x="366" y="386"/>
                </a:cubicBezTo>
                <a:cubicBezTo>
                  <a:pt x="367" y="386"/>
                  <a:pt x="367" y="386"/>
                  <a:pt x="367" y="386"/>
                </a:cubicBezTo>
                <a:cubicBezTo>
                  <a:pt x="367" y="388"/>
                  <a:pt x="367" y="388"/>
                  <a:pt x="367" y="388"/>
                </a:cubicBezTo>
                <a:cubicBezTo>
                  <a:pt x="366" y="391"/>
                  <a:pt x="366" y="391"/>
                  <a:pt x="366" y="391"/>
                </a:cubicBezTo>
                <a:cubicBezTo>
                  <a:pt x="364" y="390"/>
                  <a:pt x="364" y="390"/>
                  <a:pt x="364" y="390"/>
                </a:cubicBezTo>
                <a:cubicBezTo>
                  <a:pt x="363" y="389"/>
                  <a:pt x="363" y="389"/>
                  <a:pt x="363" y="389"/>
                </a:cubicBezTo>
                <a:cubicBezTo>
                  <a:pt x="362" y="390"/>
                  <a:pt x="362" y="390"/>
                  <a:pt x="362" y="390"/>
                </a:cubicBezTo>
                <a:cubicBezTo>
                  <a:pt x="360" y="389"/>
                  <a:pt x="360" y="389"/>
                  <a:pt x="360" y="389"/>
                </a:cubicBezTo>
                <a:cubicBezTo>
                  <a:pt x="358" y="389"/>
                  <a:pt x="358" y="389"/>
                  <a:pt x="358" y="389"/>
                </a:cubicBezTo>
                <a:cubicBezTo>
                  <a:pt x="357" y="390"/>
                  <a:pt x="357" y="390"/>
                  <a:pt x="357" y="390"/>
                </a:cubicBezTo>
                <a:cubicBezTo>
                  <a:pt x="360" y="391"/>
                  <a:pt x="360" y="391"/>
                  <a:pt x="360" y="391"/>
                </a:cubicBezTo>
                <a:cubicBezTo>
                  <a:pt x="361" y="393"/>
                  <a:pt x="361" y="393"/>
                  <a:pt x="361" y="393"/>
                </a:cubicBezTo>
                <a:cubicBezTo>
                  <a:pt x="359" y="396"/>
                  <a:pt x="359" y="396"/>
                  <a:pt x="359" y="396"/>
                </a:cubicBezTo>
                <a:cubicBezTo>
                  <a:pt x="357" y="395"/>
                  <a:pt x="357" y="395"/>
                  <a:pt x="357" y="395"/>
                </a:cubicBezTo>
                <a:cubicBezTo>
                  <a:pt x="356" y="393"/>
                  <a:pt x="356" y="393"/>
                  <a:pt x="356" y="393"/>
                </a:cubicBezTo>
                <a:cubicBezTo>
                  <a:pt x="353" y="393"/>
                  <a:pt x="353" y="393"/>
                  <a:pt x="353" y="393"/>
                </a:cubicBezTo>
                <a:cubicBezTo>
                  <a:pt x="351" y="393"/>
                  <a:pt x="351" y="393"/>
                  <a:pt x="351" y="393"/>
                </a:cubicBezTo>
                <a:cubicBezTo>
                  <a:pt x="354" y="395"/>
                  <a:pt x="354" y="395"/>
                  <a:pt x="354" y="395"/>
                </a:cubicBezTo>
                <a:cubicBezTo>
                  <a:pt x="354" y="396"/>
                  <a:pt x="354" y="396"/>
                  <a:pt x="354" y="396"/>
                </a:cubicBezTo>
                <a:cubicBezTo>
                  <a:pt x="353" y="397"/>
                  <a:pt x="353" y="397"/>
                  <a:pt x="353" y="397"/>
                </a:cubicBezTo>
                <a:cubicBezTo>
                  <a:pt x="351" y="397"/>
                  <a:pt x="351" y="397"/>
                  <a:pt x="351" y="397"/>
                </a:cubicBezTo>
                <a:cubicBezTo>
                  <a:pt x="349" y="397"/>
                  <a:pt x="349" y="397"/>
                  <a:pt x="349" y="397"/>
                </a:cubicBezTo>
                <a:cubicBezTo>
                  <a:pt x="348" y="397"/>
                  <a:pt x="348" y="397"/>
                  <a:pt x="348" y="397"/>
                </a:cubicBezTo>
                <a:cubicBezTo>
                  <a:pt x="346" y="400"/>
                  <a:pt x="346" y="400"/>
                  <a:pt x="346" y="400"/>
                </a:cubicBezTo>
                <a:cubicBezTo>
                  <a:pt x="345" y="400"/>
                  <a:pt x="345" y="400"/>
                  <a:pt x="345" y="400"/>
                </a:cubicBezTo>
                <a:cubicBezTo>
                  <a:pt x="344" y="401"/>
                  <a:pt x="344" y="401"/>
                  <a:pt x="344" y="401"/>
                </a:cubicBezTo>
                <a:cubicBezTo>
                  <a:pt x="345" y="402"/>
                  <a:pt x="345" y="402"/>
                  <a:pt x="345" y="402"/>
                </a:cubicBezTo>
                <a:cubicBezTo>
                  <a:pt x="342" y="404"/>
                  <a:pt x="342" y="404"/>
                  <a:pt x="342" y="404"/>
                </a:cubicBezTo>
                <a:cubicBezTo>
                  <a:pt x="342" y="405"/>
                  <a:pt x="342" y="405"/>
                  <a:pt x="342" y="405"/>
                </a:cubicBezTo>
                <a:cubicBezTo>
                  <a:pt x="340" y="406"/>
                  <a:pt x="340" y="406"/>
                  <a:pt x="340" y="406"/>
                </a:cubicBezTo>
                <a:cubicBezTo>
                  <a:pt x="339" y="408"/>
                  <a:pt x="339" y="408"/>
                  <a:pt x="339" y="408"/>
                </a:cubicBezTo>
                <a:cubicBezTo>
                  <a:pt x="337" y="407"/>
                  <a:pt x="337" y="407"/>
                  <a:pt x="337" y="407"/>
                </a:cubicBezTo>
                <a:cubicBezTo>
                  <a:pt x="337" y="406"/>
                  <a:pt x="337" y="406"/>
                  <a:pt x="337" y="406"/>
                </a:cubicBezTo>
                <a:cubicBezTo>
                  <a:pt x="341" y="403"/>
                  <a:pt x="341" y="403"/>
                  <a:pt x="341" y="403"/>
                </a:cubicBezTo>
                <a:cubicBezTo>
                  <a:pt x="341" y="401"/>
                  <a:pt x="341" y="401"/>
                  <a:pt x="341" y="401"/>
                </a:cubicBezTo>
                <a:cubicBezTo>
                  <a:pt x="343" y="399"/>
                  <a:pt x="343" y="399"/>
                  <a:pt x="343" y="399"/>
                </a:cubicBezTo>
                <a:cubicBezTo>
                  <a:pt x="342" y="399"/>
                  <a:pt x="342" y="399"/>
                  <a:pt x="342" y="399"/>
                </a:cubicBezTo>
                <a:cubicBezTo>
                  <a:pt x="340" y="400"/>
                  <a:pt x="340" y="400"/>
                  <a:pt x="340" y="400"/>
                </a:cubicBezTo>
                <a:cubicBezTo>
                  <a:pt x="339" y="400"/>
                  <a:pt x="339" y="400"/>
                  <a:pt x="339" y="400"/>
                </a:cubicBezTo>
                <a:cubicBezTo>
                  <a:pt x="340" y="398"/>
                  <a:pt x="340" y="398"/>
                  <a:pt x="340" y="398"/>
                </a:cubicBezTo>
                <a:cubicBezTo>
                  <a:pt x="337" y="398"/>
                  <a:pt x="337" y="398"/>
                  <a:pt x="337" y="398"/>
                </a:cubicBezTo>
                <a:cubicBezTo>
                  <a:pt x="336" y="400"/>
                  <a:pt x="336" y="400"/>
                  <a:pt x="336" y="400"/>
                </a:cubicBezTo>
                <a:cubicBezTo>
                  <a:pt x="337" y="400"/>
                  <a:pt x="337" y="400"/>
                  <a:pt x="337" y="400"/>
                </a:cubicBezTo>
                <a:cubicBezTo>
                  <a:pt x="338" y="401"/>
                  <a:pt x="338" y="401"/>
                  <a:pt x="338" y="401"/>
                </a:cubicBezTo>
                <a:close/>
                <a:moveTo>
                  <a:pt x="333" y="410"/>
                </a:moveTo>
                <a:cubicBezTo>
                  <a:pt x="335" y="410"/>
                  <a:pt x="335" y="410"/>
                  <a:pt x="335" y="410"/>
                </a:cubicBezTo>
                <a:cubicBezTo>
                  <a:pt x="334" y="411"/>
                  <a:pt x="334" y="411"/>
                  <a:pt x="334" y="411"/>
                </a:cubicBezTo>
                <a:cubicBezTo>
                  <a:pt x="333" y="410"/>
                  <a:pt x="333" y="410"/>
                  <a:pt x="333" y="410"/>
                </a:cubicBezTo>
                <a:close/>
                <a:moveTo>
                  <a:pt x="326" y="413"/>
                </a:moveTo>
                <a:cubicBezTo>
                  <a:pt x="328" y="410"/>
                  <a:pt x="328" y="410"/>
                  <a:pt x="328" y="410"/>
                </a:cubicBezTo>
                <a:cubicBezTo>
                  <a:pt x="333" y="408"/>
                  <a:pt x="333" y="408"/>
                  <a:pt x="333" y="408"/>
                </a:cubicBezTo>
                <a:cubicBezTo>
                  <a:pt x="328" y="413"/>
                  <a:pt x="328" y="413"/>
                  <a:pt x="328" y="413"/>
                </a:cubicBezTo>
                <a:cubicBezTo>
                  <a:pt x="326" y="413"/>
                  <a:pt x="326" y="413"/>
                  <a:pt x="326" y="413"/>
                </a:cubicBezTo>
                <a:close/>
                <a:moveTo>
                  <a:pt x="309" y="427"/>
                </a:moveTo>
                <a:cubicBezTo>
                  <a:pt x="308" y="427"/>
                  <a:pt x="308" y="427"/>
                  <a:pt x="308" y="427"/>
                </a:cubicBezTo>
                <a:cubicBezTo>
                  <a:pt x="309" y="425"/>
                  <a:pt x="309" y="425"/>
                  <a:pt x="309" y="425"/>
                </a:cubicBezTo>
                <a:cubicBezTo>
                  <a:pt x="311" y="424"/>
                  <a:pt x="311" y="424"/>
                  <a:pt x="311" y="424"/>
                </a:cubicBezTo>
                <a:cubicBezTo>
                  <a:pt x="311" y="426"/>
                  <a:pt x="311" y="426"/>
                  <a:pt x="311" y="426"/>
                </a:cubicBezTo>
                <a:cubicBezTo>
                  <a:pt x="309" y="427"/>
                  <a:pt x="309" y="427"/>
                  <a:pt x="309" y="427"/>
                </a:cubicBezTo>
                <a:close/>
                <a:moveTo>
                  <a:pt x="300" y="405"/>
                </a:moveTo>
                <a:cubicBezTo>
                  <a:pt x="303" y="405"/>
                  <a:pt x="303" y="405"/>
                  <a:pt x="303" y="405"/>
                </a:cubicBezTo>
                <a:cubicBezTo>
                  <a:pt x="304" y="406"/>
                  <a:pt x="304" y="406"/>
                  <a:pt x="304" y="406"/>
                </a:cubicBezTo>
                <a:cubicBezTo>
                  <a:pt x="302" y="407"/>
                  <a:pt x="302" y="407"/>
                  <a:pt x="302" y="407"/>
                </a:cubicBezTo>
                <a:cubicBezTo>
                  <a:pt x="300" y="405"/>
                  <a:pt x="300" y="405"/>
                  <a:pt x="300" y="405"/>
                </a:cubicBezTo>
                <a:close/>
                <a:moveTo>
                  <a:pt x="253" y="426"/>
                </a:moveTo>
                <a:cubicBezTo>
                  <a:pt x="253" y="426"/>
                  <a:pt x="254" y="426"/>
                  <a:pt x="254" y="426"/>
                </a:cubicBezTo>
                <a:cubicBezTo>
                  <a:pt x="255" y="427"/>
                  <a:pt x="255" y="427"/>
                  <a:pt x="255" y="427"/>
                </a:cubicBezTo>
                <a:cubicBezTo>
                  <a:pt x="253" y="426"/>
                  <a:pt x="253" y="426"/>
                  <a:pt x="253" y="426"/>
                </a:cubicBezTo>
                <a:close/>
                <a:moveTo>
                  <a:pt x="250" y="427"/>
                </a:moveTo>
                <a:cubicBezTo>
                  <a:pt x="252" y="428"/>
                  <a:pt x="252" y="428"/>
                  <a:pt x="252" y="428"/>
                </a:cubicBezTo>
                <a:cubicBezTo>
                  <a:pt x="250" y="429"/>
                  <a:pt x="250" y="429"/>
                  <a:pt x="250" y="429"/>
                </a:cubicBezTo>
                <a:cubicBezTo>
                  <a:pt x="250" y="427"/>
                  <a:pt x="250" y="427"/>
                  <a:pt x="250" y="427"/>
                </a:cubicBezTo>
                <a:close/>
                <a:moveTo>
                  <a:pt x="261" y="436"/>
                </a:moveTo>
                <a:cubicBezTo>
                  <a:pt x="261" y="438"/>
                  <a:pt x="261" y="438"/>
                  <a:pt x="261" y="438"/>
                </a:cubicBezTo>
                <a:cubicBezTo>
                  <a:pt x="260" y="439"/>
                  <a:pt x="260" y="439"/>
                  <a:pt x="260" y="439"/>
                </a:cubicBezTo>
                <a:cubicBezTo>
                  <a:pt x="260" y="438"/>
                  <a:pt x="260" y="438"/>
                  <a:pt x="260" y="438"/>
                </a:cubicBezTo>
                <a:cubicBezTo>
                  <a:pt x="261" y="436"/>
                  <a:pt x="261" y="436"/>
                  <a:pt x="261" y="436"/>
                </a:cubicBezTo>
                <a:close/>
                <a:moveTo>
                  <a:pt x="259" y="435"/>
                </a:moveTo>
                <a:cubicBezTo>
                  <a:pt x="260" y="432"/>
                  <a:pt x="260" y="432"/>
                  <a:pt x="260" y="432"/>
                </a:cubicBezTo>
                <a:cubicBezTo>
                  <a:pt x="260" y="435"/>
                  <a:pt x="260" y="435"/>
                  <a:pt x="260" y="435"/>
                </a:cubicBezTo>
                <a:cubicBezTo>
                  <a:pt x="260" y="435"/>
                  <a:pt x="259" y="435"/>
                  <a:pt x="259" y="435"/>
                </a:cubicBezTo>
                <a:close/>
                <a:moveTo>
                  <a:pt x="249" y="438"/>
                </a:moveTo>
                <a:cubicBezTo>
                  <a:pt x="250" y="435"/>
                  <a:pt x="250" y="435"/>
                  <a:pt x="250" y="435"/>
                </a:cubicBezTo>
                <a:cubicBezTo>
                  <a:pt x="253" y="433"/>
                  <a:pt x="253" y="433"/>
                  <a:pt x="253" y="433"/>
                </a:cubicBezTo>
                <a:cubicBezTo>
                  <a:pt x="253" y="432"/>
                  <a:pt x="253" y="432"/>
                  <a:pt x="253" y="432"/>
                </a:cubicBezTo>
                <a:cubicBezTo>
                  <a:pt x="256" y="432"/>
                  <a:pt x="256" y="432"/>
                  <a:pt x="256" y="432"/>
                </a:cubicBezTo>
                <a:cubicBezTo>
                  <a:pt x="254" y="433"/>
                  <a:pt x="254" y="433"/>
                  <a:pt x="254" y="433"/>
                </a:cubicBezTo>
                <a:cubicBezTo>
                  <a:pt x="254" y="435"/>
                  <a:pt x="254" y="435"/>
                  <a:pt x="254" y="435"/>
                </a:cubicBezTo>
                <a:cubicBezTo>
                  <a:pt x="251" y="437"/>
                  <a:pt x="251" y="437"/>
                  <a:pt x="251" y="437"/>
                </a:cubicBezTo>
                <a:cubicBezTo>
                  <a:pt x="249" y="438"/>
                  <a:pt x="249" y="438"/>
                  <a:pt x="249" y="438"/>
                </a:cubicBezTo>
                <a:close/>
                <a:moveTo>
                  <a:pt x="246" y="431"/>
                </a:moveTo>
                <a:cubicBezTo>
                  <a:pt x="245" y="429"/>
                  <a:pt x="245" y="429"/>
                  <a:pt x="245" y="429"/>
                </a:cubicBezTo>
                <a:cubicBezTo>
                  <a:pt x="245" y="427"/>
                  <a:pt x="245" y="427"/>
                  <a:pt x="245" y="427"/>
                </a:cubicBezTo>
                <a:cubicBezTo>
                  <a:pt x="247" y="426"/>
                  <a:pt x="247" y="426"/>
                  <a:pt x="247" y="426"/>
                </a:cubicBezTo>
                <a:cubicBezTo>
                  <a:pt x="249" y="427"/>
                  <a:pt x="249" y="427"/>
                  <a:pt x="249" y="427"/>
                </a:cubicBezTo>
                <a:cubicBezTo>
                  <a:pt x="248" y="429"/>
                  <a:pt x="248" y="429"/>
                  <a:pt x="248" y="429"/>
                </a:cubicBezTo>
                <a:cubicBezTo>
                  <a:pt x="247" y="431"/>
                  <a:pt x="247" y="431"/>
                  <a:pt x="247" y="431"/>
                </a:cubicBezTo>
                <a:cubicBezTo>
                  <a:pt x="246" y="431"/>
                  <a:pt x="246" y="431"/>
                  <a:pt x="246" y="431"/>
                </a:cubicBezTo>
                <a:close/>
                <a:moveTo>
                  <a:pt x="234" y="429"/>
                </a:moveTo>
                <a:cubicBezTo>
                  <a:pt x="235" y="429"/>
                  <a:pt x="235" y="429"/>
                  <a:pt x="235" y="429"/>
                </a:cubicBezTo>
                <a:cubicBezTo>
                  <a:pt x="236" y="431"/>
                  <a:pt x="236" y="431"/>
                  <a:pt x="236" y="431"/>
                </a:cubicBezTo>
                <a:cubicBezTo>
                  <a:pt x="234" y="432"/>
                  <a:pt x="234" y="432"/>
                  <a:pt x="234" y="432"/>
                </a:cubicBezTo>
                <a:cubicBezTo>
                  <a:pt x="234" y="429"/>
                  <a:pt x="234" y="429"/>
                  <a:pt x="234" y="429"/>
                </a:cubicBezTo>
                <a:close/>
                <a:moveTo>
                  <a:pt x="226" y="435"/>
                </a:moveTo>
                <a:cubicBezTo>
                  <a:pt x="225" y="434"/>
                  <a:pt x="225" y="434"/>
                  <a:pt x="225" y="434"/>
                </a:cubicBezTo>
                <a:cubicBezTo>
                  <a:pt x="227" y="432"/>
                  <a:pt x="227" y="432"/>
                  <a:pt x="227" y="432"/>
                </a:cubicBezTo>
                <a:cubicBezTo>
                  <a:pt x="227" y="434"/>
                  <a:pt x="227" y="434"/>
                  <a:pt x="227" y="434"/>
                </a:cubicBezTo>
                <a:cubicBezTo>
                  <a:pt x="226" y="435"/>
                  <a:pt x="226" y="435"/>
                  <a:pt x="226" y="435"/>
                </a:cubicBezTo>
                <a:close/>
                <a:moveTo>
                  <a:pt x="217" y="441"/>
                </a:moveTo>
                <a:cubicBezTo>
                  <a:pt x="219" y="443"/>
                  <a:pt x="219" y="443"/>
                  <a:pt x="219" y="443"/>
                </a:cubicBezTo>
                <a:cubicBezTo>
                  <a:pt x="218" y="445"/>
                  <a:pt x="218" y="445"/>
                  <a:pt x="218" y="445"/>
                </a:cubicBezTo>
                <a:cubicBezTo>
                  <a:pt x="216" y="443"/>
                  <a:pt x="216" y="443"/>
                  <a:pt x="216" y="443"/>
                </a:cubicBezTo>
                <a:cubicBezTo>
                  <a:pt x="217" y="441"/>
                  <a:pt x="217" y="441"/>
                  <a:pt x="217" y="441"/>
                </a:cubicBezTo>
                <a:close/>
                <a:moveTo>
                  <a:pt x="2" y="483"/>
                </a:moveTo>
                <a:cubicBezTo>
                  <a:pt x="0" y="486"/>
                  <a:pt x="0" y="486"/>
                  <a:pt x="0" y="486"/>
                </a:cubicBezTo>
                <a:cubicBezTo>
                  <a:pt x="3" y="485"/>
                  <a:pt x="3" y="485"/>
                  <a:pt x="3" y="485"/>
                </a:cubicBezTo>
                <a:cubicBezTo>
                  <a:pt x="2" y="483"/>
                  <a:pt x="2" y="483"/>
                  <a:pt x="2" y="483"/>
                </a:cubicBezTo>
                <a:close/>
                <a:moveTo>
                  <a:pt x="3" y="478"/>
                </a:moveTo>
                <a:cubicBezTo>
                  <a:pt x="2" y="479"/>
                  <a:pt x="2" y="479"/>
                  <a:pt x="2" y="479"/>
                </a:cubicBezTo>
                <a:cubicBezTo>
                  <a:pt x="3" y="481"/>
                  <a:pt x="3" y="481"/>
                  <a:pt x="3" y="481"/>
                </a:cubicBezTo>
                <a:cubicBezTo>
                  <a:pt x="6" y="479"/>
                  <a:pt x="6" y="479"/>
                  <a:pt x="6" y="479"/>
                </a:cubicBezTo>
                <a:cubicBezTo>
                  <a:pt x="3" y="478"/>
                  <a:pt x="3" y="478"/>
                  <a:pt x="3" y="478"/>
                </a:cubicBezTo>
                <a:close/>
                <a:moveTo>
                  <a:pt x="6" y="472"/>
                </a:moveTo>
                <a:cubicBezTo>
                  <a:pt x="8" y="474"/>
                  <a:pt x="8" y="474"/>
                  <a:pt x="8" y="474"/>
                </a:cubicBezTo>
                <a:cubicBezTo>
                  <a:pt x="8" y="471"/>
                  <a:pt x="8" y="471"/>
                  <a:pt x="8" y="471"/>
                </a:cubicBezTo>
                <a:cubicBezTo>
                  <a:pt x="6" y="472"/>
                  <a:pt x="6" y="472"/>
                  <a:pt x="6" y="472"/>
                </a:cubicBezTo>
                <a:close/>
                <a:moveTo>
                  <a:pt x="22" y="474"/>
                </a:moveTo>
                <a:cubicBezTo>
                  <a:pt x="19" y="471"/>
                  <a:pt x="19" y="471"/>
                  <a:pt x="19" y="471"/>
                </a:cubicBezTo>
                <a:cubicBezTo>
                  <a:pt x="17" y="471"/>
                  <a:pt x="17" y="471"/>
                  <a:pt x="17" y="471"/>
                </a:cubicBezTo>
                <a:cubicBezTo>
                  <a:pt x="15" y="472"/>
                  <a:pt x="15" y="472"/>
                  <a:pt x="15" y="472"/>
                </a:cubicBezTo>
                <a:cubicBezTo>
                  <a:pt x="16" y="474"/>
                  <a:pt x="16" y="474"/>
                  <a:pt x="16" y="474"/>
                </a:cubicBezTo>
                <a:cubicBezTo>
                  <a:pt x="18" y="475"/>
                  <a:pt x="18" y="475"/>
                  <a:pt x="18" y="475"/>
                </a:cubicBezTo>
                <a:cubicBezTo>
                  <a:pt x="16" y="475"/>
                  <a:pt x="16" y="475"/>
                  <a:pt x="16" y="475"/>
                </a:cubicBezTo>
                <a:cubicBezTo>
                  <a:pt x="17" y="477"/>
                  <a:pt x="17" y="477"/>
                  <a:pt x="17" y="477"/>
                </a:cubicBezTo>
                <a:cubicBezTo>
                  <a:pt x="19" y="477"/>
                  <a:pt x="19" y="477"/>
                  <a:pt x="19" y="477"/>
                </a:cubicBezTo>
                <a:cubicBezTo>
                  <a:pt x="20" y="475"/>
                  <a:pt x="20" y="475"/>
                  <a:pt x="20" y="475"/>
                </a:cubicBezTo>
                <a:cubicBezTo>
                  <a:pt x="22" y="474"/>
                  <a:pt x="22" y="474"/>
                  <a:pt x="22" y="474"/>
                </a:cubicBezTo>
                <a:close/>
                <a:moveTo>
                  <a:pt x="23" y="479"/>
                </a:moveTo>
                <a:cubicBezTo>
                  <a:pt x="25" y="480"/>
                  <a:pt x="25" y="480"/>
                  <a:pt x="25" y="480"/>
                </a:cubicBezTo>
                <a:cubicBezTo>
                  <a:pt x="27" y="478"/>
                  <a:pt x="27" y="478"/>
                  <a:pt x="27" y="478"/>
                </a:cubicBezTo>
                <a:cubicBezTo>
                  <a:pt x="28" y="476"/>
                  <a:pt x="28" y="476"/>
                  <a:pt x="28" y="476"/>
                </a:cubicBezTo>
                <a:cubicBezTo>
                  <a:pt x="29" y="474"/>
                  <a:pt x="29" y="474"/>
                  <a:pt x="29" y="474"/>
                </a:cubicBezTo>
                <a:cubicBezTo>
                  <a:pt x="28" y="473"/>
                  <a:pt x="28" y="473"/>
                  <a:pt x="28" y="473"/>
                </a:cubicBezTo>
                <a:cubicBezTo>
                  <a:pt x="26" y="475"/>
                  <a:pt x="26" y="475"/>
                  <a:pt x="26" y="475"/>
                </a:cubicBezTo>
                <a:cubicBezTo>
                  <a:pt x="25" y="477"/>
                  <a:pt x="25" y="477"/>
                  <a:pt x="25" y="477"/>
                </a:cubicBezTo>
                <a:cubicBezTo>
                  <a:pt x="23" y="479"/>
                  <a:pt x="23" y="479"/>
                  <a:pt x="23" y="479"/>
                </a:cubicBezTo>
                <a:close/>
                <a:moveTo>
                  <a:pt x="36" y="477"/>
                </a:moveTo>
                <a:cubicBezTo>
                  <a:pt x="35" y="474"/>
                  <a:pt x="35" y="474"/>
                  <a:pt x="35" y="474"/>
                </a:cubicBezTo>
                <a:cubicBezTo>
                  <a:pt x="34" y="474"/>
                  <a:pt x="34" y="474"/>
                  <a:pt x="34" y="474"/>
                </a:cubicBezTo>
                <a:cubicBezTo>
                  <a:pt x="33" y="476"/>
                  <a:pt x="33" y="476"/>
                  <a:pt x="33" y="476"/>
                </a:cubicBezTo>
                <a:cubicBezTo>
                  <a:pt x="32" y="477"/>
                  <a:pt x="32" y="477"/>
                  <a:pt x="32" y="477"/>
                </a:cubicBezTo>
                <a:cubicBezTo>
                  <a:pt x="30" y="480"/>
                  <a:pt x="30" y="480"/>
                  <a:pt x="30" y="480"/>
                </a:cubicBezTo>
                <a:cubicBezTo>
                  <a:pt x="33" y="480"/>
                  <a:pt x="33" y="480"/>
                  <a:pt x="33" y="480"/>
                </a:cubicBezTo>
                <a:cubicBezTo>
                  <a:pt x="36" y="477"/>
                  <a:pt x="36" y="477"/>
                  <a:pt x="36" y="477"/>
                </a:cubicBezTo>
                <a:close/>
                <a:moveTo>
                  <a:pt x="65" y="476"/>
                </a:moveTo>
                <a:cubicBezTo>
                  <a:pt x="65" y="474"/>
                  <a:pt x="65" y="474"/>
                  <a:pt x="65" y="474"/>
                </a:cubicBezTo>
                <a:cubicBezTo>
                  <a:pt x="67" y="473"/>
                  <a:pt x="67" y="473"/>
                  <a:pt x="67" y="473"/>
                </a:cubicBezTo>
                <a:cubicBezTo>
                  <a:pt x="66" y="470"/>
                  <a:pt x="66" y="470"/>
                  <a:pt x="66" y="470"/>
                </a:cubicBezTo>
                <a:cubicBezTo>
                  <a:pt x="65" y="470"/>
                  <a:pt x="65" y="470"/>
                  <a:pt x="65" y="470"/>
                </a:cubicBezTo>
                <a:cubicBezTo>
                  <a:pt x="62" y="471"/>
                  <a:pt x="62" y="471"/>
                  <a:pt x="62" y="471"/>
                </a:cubicBezTo>
                <a:cubicBezTo>
                  <a:pt x="62" y="473"/>
                  <a:pt x="62" y="473"/>
                  <a:pt x="62" y="473"/>
                </a:cubicBezTo>
                <a:cubicBezTo>
                  <a:pt x="61" y="474"/>
                  <a:pt x="61" y="474"/>
                  <a:pt x="61" y="474"/>
                </a:cubicBezTo>
                <a:cubicBezTo>
                  <a:pt x="60" y="473"/>
                  <a:pt x="60" y="473"/>
                  <a:pt x="60" y="473"/>
                </a:cubicBezTo>
                <a:cubicBezTo>
                  <a:pt x="58" y="475"/>
                  <a:pt x="58" y="475"/>
                  <a:pt x="58" y="475"/>
                </a:cubicBezTo>
                <a:cubicBezTo>
                  <a:pt x="56" y="475"/>
                  <a:pt x="56" y="475"/>
                  <a:pt x="56" y="475"/>
                </a:cubicBezTo>
                <a:cubicBezTo>
                  <a:pt x="54" y="475"/>
                  <a:pt x="54" y="475"/>
                  <a:pt x="54" y="475"/>
                </a:cubicBezTo>
                <a:cubicBezTo>
                  <a:pt x="54" y="476"/>
                  <a:pt x="54" y="476"/>
                  <a:pt x="54" y="476"/>
                </a:cubicBezTo>
                <a:cubicBezTo>
                  <a:pt x="55" y="477"/>
                  <a:pt x="55" y="477"/>
                  <a:pt x="55" y="477"/>
                </a:cubicBezTo>
                <a:cubicBezTo>
                  <a:pt x="57" y="477"/>
                  <a:pt x="57" y="477"/>
                  <a:pt x="57" y="477"/>
                </a:cubicBezTo>
                <a:cubicBezTo>
                  <a:pt x="59" y="477"/>
                  <a:pt x="59" y="477"/>
                  <a:pt x="59" y="477"/>
                </a:cubicBezTo>
                <a:cubicBezTo>
                  <a:pt x="62" y="476"/>
                  <a:pt x="62" y="476"/>
                  <a:pt x="62" y="476"/>
                </a:cubicBezTo>
                <a:cubicBezTo>
                  <a:pt x="65" y="476"/>
                  <a:pt x="65" y="476"/>
                  <a:pt x="65" y="476"/>
                </a:cubicBezTo>
                <a:close/>
                <a:moveTo>
                  <a:pt x="69" y="477"/>
                </a:moveTo>
                <a:cubicBezTo>
                  <a:pt x="75" y="478"/>
                  <a:pt x="75" y="478"/>
                  <a:pt x="75" y="478"/>
                </a:cubicBezTo>
                <a:cubicBezTo>
                  <a:pt x="77" y="478"/>
                  <a:pt x="77" y="478"/>
                  <a:pt x="77" y="478"/>
                </a:cubicBezTo>
                <a:cubicBezTo>
                  <a:pt x="79" y="479"/>
                  <a:pt x="79" y="479"/>
                  <a:pt x="79" y="479"/>
                </a:cubicBezTo>
                <a:cubicBezTo>
                  <a:pt x="76" y="480"/>
                  <a:pt x="76" y="480"/>
                  <a:pt x="76" y="480"/>
                </a:cubicBezTo>
                <a:cubicBezTo>
                  <a:pt x="70" y="478"/>
                  <a:pt x="70" y="478"/>
                  <a:pt x="70" y="478"/>
                </a:cubicBezTo>
                <a:cubicBezTo>
                  <a:pt x="68" y="479"/>
                  <a:pt x="68" y="479"/>
                  <a:pt x="68" y="479"/>
                </a:cubicBezTo>
                <a:cubicBezTo>
                  <a:pt x="67" y="478"/>
                  <a:pt x="67" y="478"/>
                  <a:pt x="67" y="478"/>
                </a:cubicBezTo>
                <a:cubicBezTo>
                  <a:pt x="67" y="478"/>
                  <a:pt x="69" y="477"/>
                  <a:pt x="69" y="477"/>
                </a:cubicBezTo>
                <a:close/>
                <a:moveTo>
                  <a:pt x="89" y="474"/>
                </a:moveTo>
                <a:cubicBezTo>
                  <a:pt x="87" y="473"/>
                  <a:pt x="87" y="473"/>
                  <a:pt x="87" y="473"/>
                </a:cubicBezTo>
                <a:cubicBezTo>
                  <a:pt x="84" y="473"/>
                  <a:pt x="84" y="473"/>
                  <a:pt x="84" y="473"/>
                </a:cubicBezTo>
                <a:cubicBezTo>
                  <a:pt x="83" y="475"/>
                  <a:pt x="83" y="475"/>
                  <a:pt x="83" y="475"/>
                </a:cubicBezTo>
                <a:cubicBezTo>
                  <a:pt x="87" y="475"/>
                  <a:pt x="87" y="475"/>
                  <a:pt x="87" y="475"/>
                </a:cubicBezTo>
                <a:cubicBezTo>
                  <a:pt x="89" y="474"/>
                  <a:pt x="89" y="474"/>
                  <a:pt x="89" y="474"/>
                </a:cubicBezTo>
                <a:close/>
                <a:moveTo>
                  <a:pt x="103" y="473"/>
                </a:moveTo>
                <a:cubicBezTo>
                  <a:pt x="102" y="470"/>
                  <a:pt x="102" y="470"/>
                  <a:pt x="102" y="470"/>
                </a:cubicBezTo>
                <a:cubicBezTo>
                  <a:pt x="101" y="472"/>
                  <a:pt x="101" y="472"/>
                  <a:pt x="101" y="472"/>
                </a:cubicBezTo>
                <a:cubicBezTo>
                  <a:pt x="103" y="473"/>
                  <a:pt x="103" y="473"/>
                  <a:pt x="103" y="473"/>
                </a:cubicBezTo>
                <a:close/>
                <a:moveTo>
                  <a:pt x="112" y="469"/>
                </a:moveTo>
                <a:cubicBezTo>
                  <a:pt x="110" y="467"/>
                  <a:pt x="110" y="467"/>
                  <a:pt x="110" y="467"/>
                </a:cubicBezTo>
                <a:cubicBezTo>
                  <a:pt x="108" y="469"/>
                  <a:pt x="108" y="469"/>
                  <a:pt x="108" y="469"/>
                </a:cubicBezTo>
                <a:cubicBezTo>
                  <a:pt x="107" y="471"/>
                  <a:pt x="107" y="471"/>
                  <a:pt x="107" y="471"/>
                </a:cubicBezTo>
                <a:cubicBezTo>
                  <a:pt x="110" y="469"/>
                  <a:pt x="110" y="469"/>
                  <a:pt x="110" y="469"/>
                </a:cubicBezTo>
                <a:cubicBezTo>
                  <a:pt x="112" y="469"/>
                  <a:pt x="112" y="469"/>
                  <a:pt x="112" y="469"/>
                </a:cubicBezTo>
                <a:close/>
                <a:moveTo>
                  <a:pt x="118" y="469"/>
                </a:moveTo>
                <a:cubicBezTo>
                  <a:pt x="117" y="468"/>
                  <a:pt x="117" y="468"/>
                  <a:pt x="117" y="468"/>
                </a:cubicBezTo>
                <a:cubicBezTo>
                  <a:pt x="115" y="469"/>
                  <a:pt x="115" y="469"/>
                  <a:pt x="115" y="469"/>
                </a:cubicBezTo>
                <a:cubicBezTo>
                  <a:pt x="117" y="469"/>
                  <a:pt x="117" y="469"/>
                  <a:pt x="117" y="469"/>
                </a:cubicBezTo>
                <a:cubicBezTo>
                  <a:pt x="118" y="469"/>
                  <a:pt x="118" y="469"/>
                  <a:pt x="118" y="469"/>
                </a:cubicBezTo>
                <a:close/>
                <a:moveTo>
                  <a:pt x="119" y="465"/>
                </a:moveTo>
                <a:cubicBezTo>
                  <a:pt x="118" y="464"/>
                  <a:pt x="118" y="464"/>
                  <a:pt x="118" y="464"/>
                </a:cubicBezTo>
                <a:cubicBezTo>
                  <a:pt x="117" y="465"/>
                  <a:pt x="117" y="465"/>
                  <a:pt x="117" y="465"/>
                </a:cubicBezTo>
                <a:cubicBezTo>
                  <a:pt x="119" y="465"/>
                  <a:pt x="119" y="465"/>
                  <a:pt x="119" y="465"/>
                </a:cubicBezTo>
                <a:close/>
                <a:moveTo>
                  <a:pt x="119" y="467"/>
                </a:moveTo>
                <a:cubicBezTo>
                  <a:pt x="121" y="468"/>
                  <a:pt x="121" y="468"/>
                  <a:pt x="121" y="468"/>
                </a:cubicBezTo>
                <a:cubicBezTo>
                  <a:pt x="123" y="467"/>
                  <a:pt x="123" y="467"/>
                  <a:pt x="123" y="467"/>
                </a:cubicBezTo>
                <a:cubicBezTo>
                  <a:pt x="122" y="465"/>
                  <a:pt x="122" y="465"/>
                  <a:pt x="122" y="465"/>
                </a:cubicBezTo>
                <a:cubicBezTo>
                  <a:pt x="119" y="467"/>
                  <a:pt x="119" y="467"/>
                  <a:pt x="119" y="467"/>
                </a:cubicBezTo>
                <a:close/>
                <a:moveTo>
                  <a:pt x="148" y="453"/>
                </a:moveTo>
                <a:cubicBezTo>
                  <a:pt x="149" y="456"/>
                  <a:pt x="149" y="456"/>
                  <a:pt x="149" y="456"/>
                </a:cubicBezTo>
                <a:cubicBezTo>
                  <a:pt x="150" y="456"/>
                  <a:pt x="150" y="456"/>
                  <a:pt x="150" y="456"/>
                </a:cubicBezTo>
                <a:cubicBezTo>
                  <a:pt x="148" y="457"/>
                  <a:pt x="148" y="457"/>
                  <a:pt x="148" y="457"/>
                </a:cubicBezTo>
                <a:cubicBezTo>
                  <a:pt x="147" y="460"/>
                  <a:pt x="147" y="460"/>
                  <a:pt x="147" y="460"/>
                </a:cubicBezTo>
                <a:cubicBezTo>
                  <a:pt x="143" y="461"/>
                  <a:pt x="143" y="461"/>
                  <a:pt x="143" y="461"/>
                </a:cubicBezTo>
                <a:cubicBezTo>
                  <a:pt x="139" y="465"/>
                  <a:pt x="139" y="465"/>
                  <a:pt x="139" y="465"/>
                </a:cubicBezTo>
                <a:cubicBezTo>
                  <a:pt x="136" y="465"/>
                  <a:pt x="136" y="465"/>
                  <a:pt x="136" y="465"/>
                </a:cubicBezTo>
                <a:cubicBezTo>
                  <a:pt x="133" y="468"/>
                  <a:pt x="133" y="468"/>
                  <a:pt x="133" y="468"/>
                </a:cubicBezTo>
                <a:cubicBezTo>
                  <a:pt x="129" y="469"/>
                  <a:pt x="129" y="469"/>
                  <a:pt x="129" y="469"/>
                </a:cubicBezTo>
                <a:cubicBezTo>
                  <a:pt x="131" y="466"/>
                  <a:pt x="131" y="466"/>
                  <a:pt x="131" y="466"/>
                </a:cubicBezTo>
                <a:cubicBezTo>
                  <a:pt x="133" y="466"/>
                  <a:pt x="133" y="466"/>
                  <a:pt x="133" y="466"/>
                </a:cubicBezTo>
                <a:cubicBezTo>
                  <a:pt x="134" y="464"/>
                  <a:pt x="134" y="464"/>
                  <a:pt x="134" y="464"/>
                </a:cubicBezTo>
                <a:cubicBezTo>
                  <a:pt x="136" y="463"/>
                  <a:pt x="136" y="463"/>
                  <a:pt x="136" y="463"/>
                </a:cubicBezTo>
                <a:cubicBezTo>
                  <a:pt x="136" y="461"/>
                  <a:pt x="136" y="461"/>
                  <a:pt x="136" y="461"/>
                </a:cubicBezTo>
                <a:cubicBezTo>
                  <a:pt x="139" y="459"/>
                  <a:pt x="139" y="459"/>
                  <a:pt x="139" y="459"/>
                </a:cubicBezTo>
                <a:cubicBezTo>
                  <a:pt x="141" y="459"/>
                  <a:pt x="141" y="459"/>
                  <a:pt x="141" y="459"/>
                </a:cubicBezTo>
                <a:cubicBezTo>
                  <a:pt x="142" y="456"/>
                  <a:pt x="142" y="456"/>
                  <a:pt x="142" y="456"/>
                </a:cubicBezTo>
                <a:cubicBezTo>
                  <a:pt x="142" y="455"/>
                  <a:pt x="142" y="455"/>
                  <a:pt x="142" y="455"/>
                </a:cubicBezTo>
                <a:cubicBezTo>
                  <a:pt x="145" y="455"/>
                  <a:pt x="145" y="455"/>
                  <a:pt x="145" y="455"/>
                </a:cubicBezTo>
                <a:cubicBezTo>
                  <a:pt x="145" y="455"/>
                  <a:pt x="148" y="454"/>
                  <a:pt x="148" y="453"/>
                </a:cubicBezTo>
                <a:close/>
                <a:moveTo>
                  <a:pt x="168" y="445"/>
                </a:moveTo>
                <a:cubicBezTo>
                  <a:pt x="166" y="445"/>
                  <a:pt x="166" y="445"/>
                  <a:pt x="166" y="445"/>
                </a:cubicBezTo>
                <a:cubicBezTo>
                  <a:pt x="164" y="448"/>
                  <a:pt x="164" y="448"/>
                  <a:pt x="164" y="448"/>
                </a:cubicBezTo>
                <a:cubicBezTo>
                  <a:pt x="164" y="449"/>
                  <a:pt x="164" y="449"/>
                  <a:pt x="164" y="449"/>
                </a:cubicBezTo>
                <a:cubicBezTo>
                  <a:pt x="166" y="451"/>
                  <a:pt x="166" y="451"/>
                  <a:pt x="166" y="451"/>
                </a:cubicBezTo>
                <a:cubicBezTo>
                  <a:pt x="165" y="452"/>
                  <a:pt x="165" y="452"/>
                  <a:pt x="165" y="452"/>
                </a:cubicBezTo>
                <a:cubicBezTo>
                  <a:pt x="162" y="451"/>
                  <a:pt x="162" y="451"/>
                  <a:pt x="162" y="451"/>
                </a:cubicBezTo>
                <a:cubicBezTo>
                  <a:pt x="160" y="453"/>
                  <a:pt x="160" y="453"/>
                  <a:pt x="160" y="453"/>
                </a:cubicBezTo>
                <a:cubicBezTo>
                  <a:pt x="160" y="454"/>
                  <a:pt x="160" y="454"/>
                  <a:pt x="160" y="454"/>
                </a:cubicBezTo>
                <a:cubicBezTo>
                  <a:pt x="159" y="455"/>
                  <a:pt x="159" y="455"/>
                  <a:pt x="159" y="455"/>
                </a:cubicBezTo>
                <a:cubicBezTo>
                  <a:pt x="157" y="457"/>
                  <a:pt x="157" y="457"/>
                  <a:pt x="157" y="457"/>
                </a:cubicBezTo>
                <a:cubicBezTo>
                  <a:pt x="155" y="457"/>
                  <a:pt x="155" y="457"/>
                  <a:pt x="155" y="457"/>
                </a:cubicBezTo>
                <a:cubicBezTo>
                  <a:pt x="153" y="459"/>
                  <a:pt x="153" y="459"/>
                  <a:pt x="153" y="459"/>
                </a:cubicBezTo>
                <a:cubicBezTo>
                  <a:pt x="150" y="459"/>
                  <a:pt x="150" y="459"/>
                  <a:pt x="150" y="459"/>
                </a:cubicBezTo>
                <a:cubicBezTo>
                  <a:pt x="149" y="460"/>
                  <a:pt x="149" y="460"/>
                  <a:pt x="149" y="460"/>
                </a:cubicBezTo>
                <a:cubicBezTo>
                  <a:pt x="150" y="461"/>
                  <a:pt x="150" y="461"/>
                  <a:pt x="150" y="461"/>
                </a:cubicBezTo>
                <a:cubicBezTo>
                  <a:pt x="154" y="461"/>
                  <a:pt x="154" y="461"/>
                  <a:pt x="154" y="461"/>
                </a:cubicBezTo>
                <a:cubicBezTo>
                  <a:pt x="158" y="460"/>
                  <a:pt x="158" y="460"/>
                  <a:pt x="158" y="460"/>
                </a:cubicBezTo>
                <a:cubicBezTo>
                  <a:pt x="160" y="457"/>
                  <a:pt x="160" y="457"/>
                  <a:pt x="160" y="457"/>
                </a:cubicBezTo>
                <a:cubicBezTo>
                  <a:pt x="161" y="459"/>
                  <a:pt x="161" y="459"/>
                  <a:pt x="161" y="459"/>
                </a:cubicBezTo>
                <a:cubicBezTo>
                  <a:pt x="162" y="460"/>
                  <a:pt x="162" y="460"/>
                  <a:pt x="162" y="460"/>
                </a:cubicBezTo>
                <a:cubicBezTo>
                  <a:pt x="163" y="457"/>
                  <a:pt x="163" y="457"/>
                  <a:pt x="163" y="457"/>
                </a:cubicBezTo>
                <a:cubicBezTo>
                  <a:pt x="163" y="455"/>
                  <a:pt x="163" y="455"/>
                  <a:pt x="163" y="455"/>
                </a:cubicBezTo>
                <a:cubicBezTo>
                  <a:pt x="165" y="456"/>
                  <a:pt x="165" y="456"/>
                  <a:pt x="165" y="456"/>
                </a:cubicBezTo>
                <a:cubicBezTo>
                  <a:pt x="165" y="457"/>
                  <a:pt x="165" y="457"/>
                  <a:pt x="165" y="457"/>
                </a:cubicBezTo>
                <a:cubicBezTo>
                  <a:pt x="167" y="457"/>
                  <a:pt x="167" y="457"/>
                  <a:pt x="167" y="457"/>
                </a:cubicBezTo>
                <a:cubicBezTo>
                  <a:pt x="169" y="455"/>
                  <a:pt x="169" y="455"/>
                  <a:pt x="169" y="455"/>
                </a:cubicBezTo>
                <a:cubicBezTo>
                  <a:pt x="172" y="453"/>
                  <a:pt x="172" y="453"/>
                  <a:pt x="172" y="453"/>
                </a:cubicBezTo>
                <a:cubicBezTo>
                  <a:pt x="172" y="452"/>
                  <a:pt x="172" y="452"/>
                  <a:pt x="172" y="452"/>
                </a:cubicBezTo>
                <a:cubicBezTo>
                  <a:pt x="170" y="451"/>
                  <a:pt x="170" y="451"/>
                  <a:pt x="170" y="451"/>
                </a:cubicBezTo>
                <a:cubicBezTo>
                  <a:pt x="172" y="450"/>
                  <a:pt x="172" y="450"/>
                  <a:pt x="172" y="450"/>
                </a:cubicBezTo>
                <a:cubicBezTo>
                  <a:pt x="172" y="448"/>
                  <a:pt x="172" y="448"/>
                  <a:pt x="172" y="448"/>
                </a:cubicBezTo>
                <a:cubicBezTo>
                  <a:pt x="169" y="447"/>
                  <a:pt x="169" y="447"/>
                  <a:pt x="169" y="447"/>
                </a:cubicBezTo>
                <a:cubicBezTo>
                  <a:pt x="168" y="445"/>
                  <a:pt x="168" y="445"/>
                  <a:pt x="168" y="445"/>
                </a:cubicBezTo>
                <a:close/>
                <a:moveTo>
                  <a:pt x="176" y="449"/>
                </a:moveTo>
                <a:cubicBezTo>
                  <a:pt x="176" y="447"/>
                  <a:pt x="176" y="447"/>
                  <a:pt x="176" y="447"/>
                </a:cubicBezTo>
                <a:cubicBezTo>
                  <a:pt x="174" y="446"/>
                  <a:pt x="174" y="446"/>
                  <a:pt x="174" y="446"/>
                </a:cubicBezTo>
                <a:cubicBezTo>
                  <a:pt x="174" y="448"/>
                  <a:pt x="174" y="448"/>
                  <a:pt x="174" y="448"/>
                </a:cubicBezTo>
                <a:cubicBezTo>
                  <a:pt x="176" y="449"/>
                  <a:pt x="176" y="449"/>
                  <a:pt x="176" y="449"/>
                </a:cubicBezTo>
                <a:close/>
                <a:moveTo>
                  <a:pt x="188" y="447"/>
                </a:moveTo>
                <a:cubicBezTo>
                  <a:pt x="188" y="446"/>
                  <a:pt x="188" y="446"/>
                  <a:pt x="188" y="446"/>
                </a:cubicBezTo>
                <a:cubicBezTo>
                  <a:pt x="190" y="446"/>
                  <a:pt x="190" y="446"/>
                  <a:pt x="190" y="446"/>
                </a:cubicBezTo>
                <a:cubicBezTo>
                  <a:pt x="191" y="447"/>
                  <a:pt x="191" y="447"/>
                  <a:pt x="191" y="447"/>
                </a:cubicBezTo>
                <a:cubicBezTo>
                  <a:pt x="189" y="447"/>
                  <a:pt x="189" y="447"/>
                  <a:pt x="189" y="447"/>
                </a:cubicBezTo>
                <a:cubicBezTo>
                  <a:pt x="188" y="447"/>
                  <a:pt x="188" y="447"/>
                  <a:pt x="188" y="447"/>
                </a:cubicBezTo>
                <a:close/>
                <a:moveTo>
                  <a:pt x="184" y="447"/>
                </a:moveTo>
                <a:cubicBezTo>
                  <a:pt x="185" y="446"/>
                  <a:pt x="185" y="446"/>
                  <a:pt x="185" y="446"/>
                </a:cubicBezTo>
                <a:cubicBezTo>
                  <a:pt x="187" y="447"/>
                  <a:pt x="187" y="447"/>
                  <a:pt x="187" y="447"/>
                </a:cubicBezTo>
                <a:cubicBezTo>
                  <a:pt x="184" y="447"/>
                  <a:pt x="184" y="447"/>
                  <a:pt x="184" y="447"/>
                </a:cubicBezTo>
                <a:close/>
                <a:moveTo>
                  <a:pt x="183" y="445"/>
                </a:moveTo>
                <a:cubicBezTo>
                  <a:pt x="183" y="443"/>
                  <a:pt x="183" y="443"/>
                  <a:pt x="183" y="443"/>
                </a:cubicBezTo>
                <a:cubicBezTo>
                  <a:pt x="183" y="441"/>
                  <a:pt x="183" y="441"/>
                  <a:pt x="183" y="441"/>
                </a:cubicBezTo>
                <a:cubicBezTo>
                  <a:pt x="184" y="442"/>
                  <a:pt x="184" y="442"/>
                  <a:pt x="184" y="442"/>
                </a:cubicBezTo>
                <a:cubicBezTo>
                  <a:pt x="185" y="444"/>
                  <a:pt x="185" y="444"/>
                  <a:pt x="185" y="444"/>
                </a:cubicBezTo>
                <a:cubicBezTo>
                  <a:pt x="183" y="445"/>
                  <a:pt x="183" y="445"/>
                  <a:pt x="183" y="445"/>
                </a:cubicBezTo>
                <a:close/>
                <a:moveTo>
                  <a:pt x="179" y="443"/>
                </a:moveTo>
                <a:cubicBezTo>
                  <a:pt x="176" y="443"/>
                  <a:pt x="176" y="443"/>
                  <a:pt x="176" y="443"/>
                </a:cubicBezTo>
                <a:cubicBezTo>
                  <a:pt x="176" y="445"/>
                  <a:pt x="176" y="445"/>
                  <a:pt x="176" y="445"/>
                </a:cubicBezTo>
                <a:cubicBezTo>
                  <a:pt x="179" y="447"/>
                  <a:pt x="179" y="447"/>
                  <a:pt x="179" y="447"/>
                </a:cubicBezTo>
                <a:cubicBezTo>
                  <a:pt x="180" y="446"/>
                  <a:pt x="180" y="446"/>
                  <a:pt x="180" y="446"/>
                </a:cubicBezTo>
                <a:cubicBezTo>
                  <a:pt x="181" y="445"/>
                  <a:pt x="181" y="445"/>
                  <a:pt x="181" y="445"/>
                </a:cubicBezTo>
                <a:cubicBezTo>
                  <a:pt x="180" y="444"/>
                  <a:pt x="180" y="444"/>
                  <a:pt x="180" y="444"/>
                </a:cubicBezTo>
                <a:cubicBezTo>
                  <a:pt x="179" y="443"/>
                  <a:pt x="179" y="443"/>
                  <a:pt x="179" y="443"/>
                </a:cubicBezTo>
                <a:close/>
                <a:moveTo>
                  <a:pt x="291" y="343"/>
                </a:moveTo>
                <a:cubicBezTo>
                  <a:pt x="291" y="343"/>
                  <a:pt x="291" y="343"/>
                  <a:pt x="291" y="343"/>
                </a:cubicBezTo>
                <a:cubicBezTo>
                  <a:pt x="293" y="342"/>
                  <a:pt x="293" y="342"/>
                  <a:pt x="293" y="342"/>
                </a:cubicBezTo>
                <a:cubicBezTo>
                  <a:pt x="292" y="343"/>
                  <a:pt x="292" y="343"/>
                  <a:pt x="292" y="343"/>
                </a:cubicBezTo>
                <a:cubicBezTo>
                  <a:pt x="291" y="343"/>
                  <a:pt x="291" y="343"/>
                  <a:pt x="291" y="343"/>
                </a:cubicBezTo>
                <a:close/>
                <a:moveTo>
                  <a:pt x="286" y="345"/>
                </a:moveTo>
                <a:cubicBezTo>
                  <a:pt x="285" y="344"/>
                  <a:pt x="285" y="344"/>
                  <a:pt x="285" y="344"/>
                </a:cubicBezTo>
                <a:cubicBezTo>
                  <a:pt x="285" y="342"/>
                  <a:pt x="285" y="342"/>
                  <a:pt x="285" y="342"/>
                </a:cubicBezTo>
                <a:cubicBezTo>
                  <a:pt x="288" y="340"/>
                  <a:pt x="288" y="340"/>
                  <a:pt x="288" y="340"/>
                </a:cubicBezTo>
                <a:cubicBezTo>
                  <a:pt x="290" y="339"/>
                  <a:pt x="290" y="339"/>
                  <a:pt x="290" y="339"/>
                </a:cubicBezTo>
                <a:cubicBezTo>
                  <a:pt x="291" y="340"/>
                  <a:pt x="291" y="340"/>
                  <a:pt x="291" y="340"/>
                </a:cubicBezTo>
                <a:cubicBezTo>
                  <a:pt x="288" y="343"/>
                  <a:pt x="288" y="343"/>
                  <a:pt x="288" y="343"/>
                </a:cubicBezTo>
                <a:cubicBezTo>
                  <a:pt x="286" y="345"/>
                  <a:pt x="286" y="345"/>
                  <a:pt x="286" y="345"/>
                </a:cubicBezTo>
                <a:close/>
                <a:moveTo>
                  <a:pt x="193" y="437"/>
                </a:moveTo>
                <a:cubicBezTo>
                  <a:pt x="194" y="435"/>
                  <a:pt x="194" y="435"/>
                  <a:pt x="194" y="435"/>
                </a:cubicBezTo>
                <a:cubicBezTo>
                  <a:pt x="195" y="434"/>
                  <a:pt x="195" y="434"/>
                  <a:pt x="195" y="434"/>
                </a:cubicBezTo>
                <a:cubicBezTo>
                  <a:pt x="196" y="434"/>
                  <a:pt x="196" y="434"/>
                  <a:pt x="196" y="434"/>
                </a:cubicBezTo>
                <a:cubicBezTo>
                  <a:pt x="198" y="433"/>
                  <a:pt x="198" y="433"/>
                  <a:pt x="198" y="433"/>
                </a:cubicBezTo>
                <a:cubicBezTo>
                  <a:pt x="199" y="432"/>
                  <a:pt x="199" y="432"/>
                  <a:pt x="199" y="432"/>
                </a:cubicBezTo>
                <a:cubicBezTo>
                  <a:pt x="201" y="428"/>
                  <a:pt x="201" y="428"/>
                  <a:pt x="201" y="428"/>
                </a:cubicBezTo>
                <a:cubicBezTo>
                  <a:pt x="202" y="428"/>
                  <a:pt x="202" y="428"/>
                  <a:pt x="202" y="428"/>
                </a:cubicBezTo>
                <a:cubicBezTo>
                  <a:pt x="204" y="430"/>
                  <a:pt x="204" y="430"/>
                  <a:pt x="204" y="430"/>
                </a:cubicBezTo>
                <a:cubicBezTo>
                  <a:pt x="205" y="429"/>
                  <a:pt x="205" y="429"/>
                  <a:pt x="205" y="429"/>
                </a:cubicBezTo>
                <a:cubicBezTo>
                  <a:pt x="207" y="429"/>
                  <a:pt x="207" y="429"/>
                  <a:pt x="207" y="429"/>
                </a:cubicBezTo>
                <a:cubicBezTo>
                  <a:pt x="209" y="429"/>
                  <a:pt x="209" y="429"/>
                  <a:pt x="209" y="429"/>
                </a:cubicBezTo>
                <a:cubicBezTo>
                  <a:pt x="210" y="427"/>
                  <a:pt x="210" y="427"/>
                  <a:pt x="210" y="427"/>
                </a:cubicBezTo>
                <a:cubicBezTo>
                  <a:pt x="213" y="428"/>
                  <a:pt x="213" y="428"/>
                  <a:pt x="213" y="428"/>
                </a:cubicBezTo>
                <a:cubicBezTo>
                  <a:pt x="215" y="430"/>
                  <a:pt x="215" y="430"/>
                  <a:pt x="215" y="430"/>
                </a:cubicBezTo>
                <a:cubicBezTo>
                  <a:pt x="214" y="432"/>
                  <a:pt x="214" y="432"/>
                  <a:pt x="214" y="432"/>
                </a:cubicBezTo>
                <a:cubicBezTo>
                  <a:pt x="217" y="435"/>
                  <a:pt x="217" y="435"/>
                  <a:pt x="217" y="435"/>
                </a:cubicBezTo>
                <a:cubicBezTo>
                  <a:pt x="217" y="436"/>
                  <a:pt x="217" y="436"/>
                  <a:pt x="217" y="436"/>
                </a:cubicBezTo>
                <a:cubicBezTo>
                  <a:pt x="214" y="436"/>
                  <a:pt x="214" y="436"/>
                  <a:pt x="214" y="436"/>
                </a:cubicBezTo>
                <a:cubicBezTo>
                  <a:pt x="212" y="437"/>
                  <a:pt x="212" y="437"/>
                  <a:pt x="212" y="437"/>
                </a:cubicBezTo>
                <a:cubicBezTo>
                  <a:pt x="208" y="438"/>
                  <a:pt x="208" y="438"/>
                  <a:pt x="208" y="438"/>
                </a:cubicBezTo>
                <a:cubicBezTo>
                  <a:pt x="206" y="437"/>
                  <a:pt x="206" y="437"/>
                  <a:pt x="206" y="437"/>
                </a:cubicBezTo>
                <a:cubicBezTo>
                  <a:pt x="201" y="437"/>
                  <a:pt x="201" y="437"/>
                  <a:pt x="201" y="437"/>
                </a:cubicBezTo>
                <a:cubicBezTo>
                  <a:pt x="199" y="440"/>
                  <a:pt x="199" y="440"/>
                  <a:pt x="199" y="440"/>
                </a:cubicBezTo>
                <a:cubicBezTo>
                  <a:pt x="198" y="440"/>
                  <a:pt x="198" y="440"/>
                  <a:pt x="198" y="440"/>
                </a:cubicBezTo>
                <a:cubicBezTo>
                  <a:pt x="196" y="441"/>
                  <a:pt x="196" y="441"/>
                  <a:pt x="196" y="441"/>
                </a:cubicBezTo>
                <a:cubicBezTo>
                  <a:pt x="194" y="439"/>
                  <a:pt x="194" y="439"/>
                  <a:pt x="194" y="439"/>
                </a:cubicBezTo>
                <a:lnTo>
                  <a:pt x="193" y="437"/>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7" name="Freeform 11"/>
          <p:cNvSpPr>
            <a:spLocks/>
          </p:cNvSpPr>
          <p:nvPr/>
        </p:nvSpPr>
        <p:spPr bwMode="auto">
          <a:xfrm>
            <a:off x="9322707" y="5982154"/>
            <a:ext cx="114300" cy="44450"/>
          </a:xfrm>
          <a:custGeom>
            <a:avLst/>
            <a:gdLst>
              <a:gd name="T0" fmla="*/ 15875 w 72"/>
              <a:gd name="T1" fmla="*/ 3175 h 28"/>
              <a:gd name="T2" fmla="*/ 28575 w 72"/>
              <a:gd name="T3" fmla="*/ 3175 h 28"/>
              <a:gd name="T4" fmla="*/ 44450 w 72"/>
              <a:gd name="T5" fmla="*/ 0 h 28"/>
              <a:gd name="T6" fmla="*/ 80963 w 72"/>
              <a:gd name="T7" fmla="*/ 3175 h 28"/>
              <a:gd name="T8" fmla="*/ 93663 w 72"/>
              <a:gd name="T9" fmla="*/ 15875 h 28"/>
              <a:gd name="T10" fmla="*/ 106363 w 72"/>
              <a:gd name="T11" fmla="*/ 20638 h 28"/>
              <a:gd name="T12" fmla="*/ 114300 w 72"/>
              <a:gd name="T13" fmla="*/ 28575 h 28"/>
              <a:gd name="T14" fmla="*/ 114300 w 72"/>
              <a:gd name="T15" fmla="*/ 31750 h 28"/>
              <a:gd name="T16" fmla="*/ 98425 w 72"/>
              <a:gd name="T17" fmla="*/ 31750 h 28"/>
              <a:gd name="T18" fmla="*/ 90488 w 72"/>
              <a:gd name="T19" fmla="*/ 28575 h 28"/>
              <a:gd name="T20" fmla="*/ 85725 w 72"/>
              <a:gd name="T21" fmla="*/ 36513 h 28"/>
              <a:gd name="T22" fmla="*/ 80963 w 72"/>
              <a:gd name="T23" fmla="*/ 39688 h 28"/>
              <a:gd name="T24" fmla="*/ 77788 w 72"/>
              <a:gd name="T25" fmla="*/ 36513 h 28"/>
              <a:gd name="T26" fmla="*/ 69850 w 72"/>
              <a:gd name="T27" fmla="*/ 36513 h 28"/>
              <a:gd name="T28" fmla="*/ 69850 w 72"/>
              <a:gd name="T29" fmla="*/ 44450 h 28"/>
              <a:gd name="T30" fmla="*/ 57150 w 72"/>
              <a:gd name="T31" fmla="*/ 44450 h 28"/>
              <a:gd name="T32" fmla="*/ 49213 w 72"/>
              <a:gd name="T33" fmla="*/ 39688 h 28"/>
              <a:gd name="T34" fmla="*/ 36513 w 72"/>
              <a:gd name="T35" fmla="*/ 39688 h 28"/>
              <a:gd name="T36" fmla="*/ 28575 w 72"/>
              <a:gd name="T37" fmla="*/ 31750 h 28"/>
              <a:gd name="T38" fmla="*/ 23813 w 72"/>
              <a:gd name="T39" fmla="*/ 20638 h 28"/>
              <a:gd name="T40" fmla="*/ 15875 w 72"/>
              <a:gd name="T41" fmla="*/ 15875 h 28"/>
              <a:gd name="T42" fmla="*/ 12700 w 72"/>
              <a:gd name="T43" fmla="*/ 20638 h 28"/>
              <a:gd name="T44" fmla="*/ 0 w 72"/>
              <a:gd name="T45" fmla="*/ 11113 h 28"/>
              <a:gd name="T46" fmla="*/ 7938 w 72"/>
              <a:gd name="T47" fmla="*/ 3175 h 28"/>
              <a:gd name="T48" fmla="*/ 15875 w 72"/>
              <a:gd name="T49" fmla="*/ 3175 h 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2" h="28">
                <a:moveTo>
                  <a:pt x="10" y="2"/>
                </a:moveTo>
                <a:lnTo>
                  <a:pt x="18" y="2"/>
                </a:lnTo>
                <a:lnTo>
                  <a:pt x="28" y="0"/>
                </a:lnTo>
                <a:lnTo>
                  <a:pt x="51" y="2"/>
                </a:lnTo>
                <a:lnTo>
                  <a:pt x="59" y="10"/>
                </a:lnTo>
                <a:lnTo>
                  <a:pt x="67" y="13"/>
                </a:lnTo>
                <a:lnTo>
                  <a:pt x="72" y="18"/>
                </a:lnTo>
                <a:lnTo>
                  <a:pt x="72" y="20"/>
                </a:lnTo>
                <a:lnTo>
                  <a:pt x="62" y="20"/>
                </a:lnTo>
                <a:lnTo>
                  <a:pt x="57" y="18"/>
                </a:lnTo>
                <a:lnTo>
                  <a:pt x="54" y="23"/>
                </a:lnTo>
                <a:lnTo>
                  <a:pt x="51" y="25"/>
                </a:lnTo>
                <a:lnTo>
                  <a:pt x="49" y="23"/>
                </a:lnTo>
                <a:lnTo>
                  <a:pt x="44" y="23"/>
                </a:lnTo>
                <a:lnTo>
                  <a:pt x="44" y="28"/>
                </a:lnTo>
                <a:lnTo>
                  <a:pt x="36" y="28"/>
                </a:lnTo>
                <a:lnTo>
                  <a:pt x="31" y="25"/>
                </a:lnTo>
                <a:lnTo>
                  <a:pt x="23" y="25"/>
                </a:lnTo>
                <a:lnTo>
                  <a:pt x="18" y="20"/>
                </a:lnTo>
                <a:lnTo>
                  <a:pt x="15" y="13"/>
                </a:lnTo>
                <a:lnTo>
                  <a:pt x="10" y="10"/>
                </a:lnTo>
                <a:lnTo>
                  <a:pt x="8" y="13"/>
                </a:lnTo>
                <a:lnTo>
                  <a:pt x="0" y="7"/>
                </a:lnTo>
                <a:lnTo>
                  <a:pt x="5" y="2"/>
                </a:lnTo>
                <a:lnTo>
                  <a:pt x="10" y="2"/>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8" name="Freeform 12"/>
          <p:cNvSpPr>
            <a:spLocks noEditPoints="1"/>
          </p:cNvSpPr>
          <p:nvPr/>
        </p:nvSpPr>
        <p:spPr bwMode="auto">
          <a:xfrm>
            <a:off x="9522732" y="5891667"/>
            <a:ext cx="138112" cy="119062"/>
          </a:xfrm>
          <a:custGeom>
            <a:avLst/>
            <a:gdLst>
              <a:gd name="T0" fmla="*/ 113739 w 34"/>
              <a:gd name="T1" fmla="*/ 106746 h 29"/>
              <a:gd name="T2" fmla="*/ 129988 w 34"/>
              <a:gd name="T3" fmla="*/ 86218 h 29"/>
              <a:gd name="T4" fmla="*/ 125926 w 34"/>
              <a:gd name="T5" fmla="*/ 69796 h 29"/>
              <a:gd name="T6" fmla="*/ 134050 w 34"/>
              <a:gd name="T7" fmla="*/ 61584 h 29"/>
              <a:gd name="T8" fmla="*/ 134050 w 34"/>
              <a:gd name="T9" fmla="*/ 41056 h 29"/>
              <a:gd name="T10" fmla="*/ 138112 w 34"/>
              <a:gd name="T11" fmla="*/ 28739 h 29"/>
              <a:gd name="T12" fmla="*/ 125926 w 34"/>
              <a:gd name="T13" fmla="*/ 24634 h 29"/>
              <a:gd name="T14" fmla="*/ 109677 w 34"/>
              <a:gd name="T15" fmla="*/ 20528 h 29"/>
              <a:gd name="T16" fmla="*/ 81242 w 34"/>
              <a:gd name="T17" fmla="*/ 20528 h 29"/>
              <a:gd name="T18" fmla="*/ 56870 w 34"/>
              <a:gd name="T19" fmla="*/ 16422 h 29"/>
              <a:gd name="T20" fmla="*/ 60932 w 34"/>
              <a:gd name="T21" fmla="*/ 28739 h 29"/>
              <a:gd name="T22" fmla="*/ 85304 w 34"/>
              <a:gd name="T23" fmla="*/ 41056 h 29"/>
              <a:gd name="T24" fmla="*/ 85304 w 34"/>
              <a:gd name="T25" fmla="*/ 61584 h 29"/>
              <a:gd name="T26" fmla="*/ 101553 w 34"/>
              <a:gd name="T27" fmla="*/ 73901 h 29"/>
              <a:gd name="T28" fmla="*/ 109677 w 34"/>
              <a:gd name="T29" fmla="*/ 90324 h 29"/>
              <a:gd name="T30" fmla="*/ 85304 w 34"/>
              <a:gd name="T31" fmla="*/ 94429 h 29"/>
              <a:gd name="T32" fmla="*/ 64994 w 34"/>
              <a:gd name="T33" fmla="*/ 90324 h 29"/>
              <a:gd name="T34" fmla="*/ 40621 w 34"/>
              <a:gd name="T35" fmla="*/ 90324 h 29"/>
              <a:gd name="T36" fmla="*/ 36559 w 34"/>
              <a:gd name="T37" fmla="*/ 86218 h 29"/>
              <a:gd name="T38" fmla="*/ 12186 w 34"/>
              <a:gd name="T39" fmla="*/ 82112 h 29"/>
              <a:gd name="T40" fmla="*/ 0 w 34"/>
              <a:gd name="T41" fmla="*/ 94429 h 29"/>
              <a:gd name="T42" fmla="*/ 12186 w 34"/>
              <a:gd name="T43" fmla="*/ 102641 h 29"/>
              <a:gd name="T44" fmla="*/ 32497 w 34"/>
              <a:gd name="T45" fmla="*/ 119063 h 29"/>
              <a:gd name="T46" fmla="*/ 36559 w 34"/>
              <a:gd name="T47" fmla="*/ 106746 h 29"/>
              <a:gd name="T48" fmla="*/ 69056 w 34"/>
              <a:gd name="T49" fmla="*/ 110852 h 29"/>
              <a:gd name="T50" fmla="*/ 101553 w 34"/>
              <a:gd name="T51" fmla="*/ 106746 h 29"/>
              <a:gd name="T52" fmla="*/ 117801 w 34"/>
              <a:gd name="T53" fmla="*/ 110852 h 29"/>
              <a:gd name="T54" fmla="*/ 85304 w 34"/>
              <a:gd name="T55" fmla="*/ 0 h 29"/>
              <a:gd name="T56" fmla="*/ 85304 w 34"/>
              <a:gd name="T57" fmla="*/ 12317 h 29"/>
              <a:gd name="T58" fmla="*/ 60932 w 34"/>
              <a:gd name="T59" fmla="*/ 69796 h 29"/>
              <a:gd name="T60" fmla="*/ 77180 w 34"/>
              <a:gd name="T61" fmla="*/ 69796 h 29"/>
              <a:gd name="T62" fmla="*/ 64994 w 34"/>
              <a:gd name="T63" fmla="*/ 73901 h 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4" h="29">
                <a:moveTo>
                  <a:pt x="29" y="27"/>
                </a:moveTo>
                <a:cubicBezTo>
                  <a:pt x="28" y="26"/>
                  <a:pt x="28" y="26"/>
                  <a:pt x="28" y="26"/>
                </a:cubicBezTo>
                <a:cubicBezTo>
                  <a:pt x="31" y="23"/>
                  <a:pt x="31" y="23"/>
                  <a:pt x="31" y="23"/>
                </a:cubicBezTo>
                <a:cubicBezTo>
                  <a:pt x="32" y="21"/>
                  <a:pt x="32" y="21"/>
                  <a:pt x="32" y="21"/>
                </a:cubicBezTo>
                <a:cubicBezTo>
                  <a:pt x="32" y="19"/>
                  <a:pt x="32" y="19"/>
                  <a:pt x="32" y="19"/>
                </a:cubicBezTo>
                <a:cubicBezTo>
                  <a:pt x="31" y="17"/>
                  <a:pt x="31" y="17"/>
                  <a:pt x="31" y="17"/>
                </a:cubicBezTo>
                <a:cubicBezTo>
                  <a:pt x="31" y="16"/>
                  <a:pt x="31" y="16"/>
                  <a:pt x="31" y="16"/>
                </a:cubicBezTo>
                <a:cubicBezTo>
                  <a:pt x="33" y="15"/>
                  <a:pt x="33" y="15"/>
                  <a:pt x="33" y="15"/>
                </a:cubicBezTo>
                <a:cubicBezTo>
                  <a:pt x="34" y="12"/>
                  <a:pt x="34" y="12"/>
                  <a:pt x="34" y="12"/>
                </a:cubicBezTo>
                <a:cubicBezTo>
                  <a:pt x="33" y="10"/>
                  <a:pt x="33" y="10"/>
                  <a:pt x="33" y="10"/>
                </a:cubicBezTo>
                <a:cubicBezTo>
                  <a:pt x="34" y="8"/>
                  <a:pt x="34" y="8"/>
                  <a:pt x="34" y="8"/>
                </a:cubicBezTo>
                <a:cubicBezTo>
                  <a:pt x="34" y="7"/>
                  <a:pt x="34" y="7"/>
                  <a:pt x="34" y="7"/>
                </a:cubicBezTo>
                <a:cubicBezTo>
                  <a:pt x="33" y="7"/>
                  <a:pt x="33" y="7"/>
                  <a:pt x="33" y="7"/>
                </a:cubicBezTo>
                <a:cubicBezTo>
                  <a:pt x="31" y="6"/>
                  <a:pt x="31" y="6"/>
                  <a:pt x="31" y="6"/>
                </a:cubicBezTo>
                <a:cubicBezTo>
                  <a:pt x="29" y="7"/>
                  <a:pt x="29" y="7"/>
                  <a:pt x="29" y="7"/>
                </a:cubicBezTo>
                <a:cubicBezTo>
                  <a:pt x="27" y="5"/>
                  <a:pt x="27" y="5"/>
                  <a:pt x="27" y="5"/>
                </a:cubicBezTo>
                <a:cubicBezTo>
                  <a:pt x="22" y="4"/>
                  <a:pt x="22" y="4"/>
                  <a:pt x="22" y="4"/>
                </a:cubicBezTo>
                <a:cubicBezTo>
                  <a:pt x="20" y="5"/>
                  <a:pt x="20" y="5"/>
                  <a:pt x="20" y="5"/>
                </a:cubicBezTo>
                <a:cubicBezTo>
                  <a:pt x="18" y="4"/>
                  <a:pt x="18" y="4"/>
                  <a:pt x="18" y="4"/>
                </a:cubicBezTo>
                <a:cubicBezTo>
                  <a:pt x="14" y="4"/>
                  <a:pt x="14" y="4"/>
                  <a:pt x="14" y="4"/>
                </a:cubicBezTo>
                <a:cubicBezTo>
                  <a:pt x="13" y="6"/>
                  <a:pt x="13" y="6"/>
                  <a:pt x="13" y="6"/>
                </a:cubicBezTo>
                <a:cubicBezTo>
                  <a:pt x="13" y="6"/>
                  <a:pt x="15" y="7"/>
                  <a:pt x="15" y="7"/>
                </a:cubicBezTo>
                <a:cubicBezTo>
                  <a:pt x="22" y="9"/>
                  <a:pt x="22" y="9"/>
                  <a:pt x="22" y="9"/>
                </a:cubicBezTo>
                <a:cubicBezTo>
                  <a:pt x="21" y="10"/>
                  <a:pt x="21" y="10"/>
                  <a:pt x="21" y="10"/>
                </a:cubicBezTo>
                <a:cubicBezTo>
                  <a:pt x="22" y="12"/>
                  <a:pt x="22" y="12"/>
                  <a:pt x="22" y="12"/>
                </a:cubicBezTo>
                <a:cubicBezTo>
                  <a:pt x="21" y="15"/>
                  <a:pt x="21" y="15"/>
                  <a:pt x="21" y="15"/>
                </a:cubicBezTo>
                <a:cubicBezTo>
                  <a:pt x="22" y="18"/>
                  <a:pt x="22" y="18"/>
                  <a:pt x="22" y="18"/>
                </a:cubicBezTo>
                <a:cubicBezTo>
                  <a:pt x="25" y="18"/>
                  <a:pt x="25" y="18"/>
                  <a:pt x="25" y="18"/>
                </a:cubicBezTo>
                <a:cubicBezTo>
                  <a:pt x="27" y="21"/>
                  <a:pt x="27" y="21"/>
                  <a:pt x="27" y="21"/>
                </a:cubicBezTo>
                <a:cubicBezTo>
                  <a:pt x="27" y="22"/>
                  <a:pt x="27" y="22"/>
                  <a:pt x="27" y="22"/>
                </a:cubicBezTo>
                <a:cubicBezTo>
                  <a:pt x="22" y="22"/>
                  <a:pt x="22" y="22"/>
                  <a:pt x="22" y="22"/>
                </a:cubicBezTo>
                <a:cubicBezTo>
                  <a:pt x="21" y="23"/>
                  <a:pt x="21" y="23"/>
                  <a:pt x="21" y="23"/>
                </a:cubicBezTo>
                <a:cubicBezTo>
                  <a:pt x="19" y="22"/>
                  <a:pt x="19" y="22"/>
                  <a:pt x="19" y="22"/>
                </a:cubicBezTo>
                <a:cubicBezTo>
                  <a:pt x="16" y="22"/>
                  <a:pt x="16" y="22"/>
                  <a:pt x="16" y="22"/>
                </a:cubicBezTo>
                <a:cubicBezTo>
                  <a:pt x="13" y="21"/>
                  <a:pt x="13" y="21"/>
                  <a:pt x="13" y="21"/>
                </a:cubicBezTo>
                <a:cubicBezTo>
                  <a:pt x="10" y="22"/>
                  <a:pt x="10" y="22"/>
                  <a:pt x="10" y="22"/>
                </a:cubicBezTo>
                <a:cubicBezTo>
                  <a:pt x="10" y="21"/>
                  <a:pt x="10" y="21"/>
                  <a:pt x="10" y="21"/>
                </a:cubicBezTo>
                <a:cubicBezTo>
                  <a:pt x="9" y="21"/>
                  <a:pt x="9" y="21"/>
                  <a:pt x="9" y="21"/>
                </a:cubicBezTo>
                <a:cubicBezTo>
                  <a:pt x="5" y="22"/>
                  <a:pt x="5" y="22"/>
                  <a:pt x="5" y="22"/>
                </a:cubicBezTo>
                <a:cubicBezTo>
                  <a:pt x="3" y="20"/>
                  <a:pt x="3" y="20"/>
                  <a:pt x="3" y="20"/>
                </a:cubicBezTo>
                <a:cubicBezTo>
                  <a:pt x="1" y="21"/>
                  <a:pt x="1" y="21"/>
                  <a:pt x="1" y="21"/>
                </a:cubicBezTo>
                <a:cubicBezTo>
                  <a:pt x="0" y="23"/>
                  <a:pt x="0" y="23"/>
                  <a:pt x="0" y="23"/>
                </a:cubicBezTo>
                <a:cubicBezTo>
                  <a:pt x="0" y="25"/>
                  <a:pt x="0" y="25"/>
                  <a:pt x="0" y="25"/>
                </a:cubicBezTo>
                <a:cubicBezTo>
                  <a:pt x="3" y="25"/>
                  <a:pt x="3" y="25"/>
                  <a:pt x="3" y="25"/>
                </a:cubicBezTo>
                <a:cubicBezTo>
                  <a:pt x="6" y="28"/>
                  <a:pt x="6" y="28"/>
                  <a:pt x="6" y="28"/>
                </a:cubicBezTo>
                <a:cubicBezTo>
                  <a:pt x="8" y="29"/>
                  <a:pt x="8" y="29"/>
                  <a:pt x="8" y="29"/>
                </a:cubicBezTo>
                <a:cubicBezTo>
                  <a:pt x="8" y="27"/>
                  <a:pt x="8" y="27"/>
                  <a:pt x="8" y="27"/>
                </a:cubicBezTo>
                <a:cubicBezTo>
                  <a:pt x="9" y="26"/>
                  <a:pt x="9" y="26"/>
                  <a:pt x="9" y="26"/>
                </a:cubicBezTo>
                <a:cubicBezTo>
                  <a:pt x="15" y="26"/>
                  <a:pt x="15" y="26"/>
                  <a:pt x="15" y="26"/>
                </a:cubicBezTo>
                <a:cubicBezTo>
                  <a:pt x="17" y="27"/>
                  <a:pt x="17" y="27"/>
                  <a:pt x="17" y="27"/>
                </a:cubicBezTo>
                <a:cubicBezTo>
                  <a:pt x="24" y="27"/>
                  <a:pt x="24" y="27"/>
                  <a:pt x="24" y="27"/>
                </a:cubicBezTo>
                <a:cubicBezTo>
                  <a:pt x="25" y="26"/>
                  <a:pt x="25" y="26"/>
                  <a:pt x="25" y="26"/>
                </a:cubicBezTo>
                <a:cubicBezTo>
                  <a:pt x="27" y="27"/>
                  <a:pt x="27" y="27"/>
                  <a:pt x="27" y="27"/>
                </a:cubicBezTo>
                <a:cubicBezTo>
                  <a:pt x="29" y="27"/>
                  <a:pt x="29" y="27"/>
                  <a:pt x="29" y="27"/>
                </a:cubicBezTo>
                <a:close/>
                <a:moveTo>
                  <a:pt x="19" y="1"/>
                </a:moveTo>
                <a:cubicBezTo>
                  <a:pt x="21" y="0"/>
                  <a:pt x="21" y="0"/>
                  <a:pt x="21" y="0"/>
                </a:cubicBezTo>
                <a:cubicBezTo>
                  <a:pt x="26" y="3"/>
                  <a:pt x="26" y="3"/>
                  <a:pt x="26" y="3"/>
                </a:cubicBezTo>
                <a:cubicBezTo>
                  <a:pt x="21" y="3"/>
                  <a:pt x="21" y="3"/>
                  <a:pt x="21" y="3"/>
                </a:cubicBezTo>
                <a:cubicBezTo>
                  <a:pt x="19" y="1"/>
                  <a:pt x="19" y="1"/>
                  <a:pt x="19" y="1"/>
                </a:cubicBezTo>
                <a:close/>
                <a:moveTo>
                  <a:pt x="15" y="17"/>
                </a:moveTo>
                <a:cubicBezTo>
                  <a:pt x="17" y="15"/>
                  <a:pt x="17" y="15"/>
                  <a:pt x="17" y="15"/>
                </a:cubicBezTo>
                <a:cubicBezTo>
                  <a:pt x="19" y="17"/>
                  <a:pt x="19" y="17"/>
                  <a:pt x="19" y="17"/>
                </a:cubicBezTo>
                <a:cubicBezTo>
                  <a:pt x="20" y="19"/>
                  <a:pt x="20" y="19"/>
                  <a:pt x="20" y="19"/>
                </a:cubicBezTo>
                <a:cubicBezTo>
                  <a:pt x="16" y="18"/>
                  <a:pt x="16" y="18"/>
                  <a:pt x="16" y="18"/>
                </a:cubicBezTo>
                <a:lnTo>
                  <a:pt x="15" y="17"/>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9" name="Freeform 13"/>
          <p:cNvSpPr>
            <a:spLocks noEditPoints="1"/>
          </p:cNvSpPr>
          <p:nvPr/>
        </p:nvSpPr>
        <p:spPr bwMode="auto">
          <a:xfrm>
            <a:off x="9009969" y="5724979"/>
            <a:ext cx="528638" cy="192088"/>
          </a:xfrm>
          <a:custGeom>
            <a:avLst/>
            <a:gdLst>
              <a:gd name="T0" fmla="*/ 112712 w 333"/>
              <a:gd name="T1" fmla="*/ 73025 h 121"/>
              <a:gd name="T2" fmla="*/ 104775 w 333"/>
              <a:gd name="T3" fmla="*/ 98425 h 121"/>
              <a:gd name="T4" fmla="*/ 96837 w 333"/>
              <a:gd name="T5" fmla="*/ 90488 h 121"/>
              <a:gd name="T6" fmla="*/ 101600 w 333"/>
              <a:gd name="T7" fmla="*/ 85725 h 121"/>
              <a:gd name="T8" fmla="*/ 31750 w 333"/>
              <a:gd name="T9" fmla="*/ 52388 h 121"/>
              <a:gd name="T10" fmla="*/ 23812 w 333"/>
              <a:gd name="T11" fmla="*/ 61913 h 121"/>
              <a:gd name="T12" fmla="*/ 0 w 333"/>
              <a:gd name="T13" fmla="*/ 77788 h 121"/>
              <a:gd name="T14" fmla="*/ 23812 w 333"/>
              <a:gd name="T15" fmla="*/ 73025 h 121"/>
              <a:gd name="T16" fmla="*/ 44450 w 333"/>
              <a:gd name="T17" fmla="*/ 73025 h 121"/>
              <a:gd name="T18" fmla="*/ 73025 w 333"/>
              <a:gd name="T19" fmla="*/ 52388 h 121"/>
              <a:gd name="T20" fmla="*/ 104775 w 333"/>
              <a:gd name="T21" fmla="*/ 41275 h 121"/>
              <a:gd name="T22" fmla="*/ 130175 w 333"/>
              <a:gd name="T23" fmla="*/ 33338 h 121"/>
              <a:gd name="T24" fmla="*/ 169862 w 333"/>
              <a:gd name="T25" fmla="*/ 41275 h 121"/>
              <a:gd name="T26" fmla="*/ 146050 w 333"/>
              <a:gd name="T27" fmla="*/ 49213 h 121"/>
              <a:gd name="T28" fmla="*/ 187325 w 333"/>
              <a:gd name="T29" fmla="*/ 57150 h 121"/>
              <a:gd name="T30" fmla="*/ 219075 w 333"/>
              <a:gd name="T31" fmla="*/ 69850 h 121"/>
              <a:gd name="T32" fmla="*/ 234950 w 333"/>
              <a:gd name="T33" fmla="*/ 65088 h 121"/>
              <a:gd name="T34" fmla="*/ 263525 w 333"/>
              <a:gd name="T35" fmla="*/ 85725 h 121"/>
              <a:gd name="T36" fmla="*/ 288925 w 333"/>
              <a:gd name="T37" fmla="*/ 90488 h 121"/>
              <a:gd name="T38" fmla="*/ 317500 w 333"/>
              <a:gd name="T39" fmla="*/ 90488 h 121"/>
              <a:gd name="T40" fmla="*/ 349250 w 333"/>
              <a:gd name="T41" fmla="*/ 138113 h 121"/>
              <a:gd name="T42" fmla="*/ 382587 w 333"/>
              <a:gd name="T43" fmla="*/ 142875 h 121"/>
              <a:gd name="T44" fmla="*/ 390525 w 333"/>
              <a:gd name="T45" fmla="*/ 158750 h 121"/>
              <a:gd name="T46" fmla="*/ 361950 w 333"/>
              <a:gd name="T47" fmla="*/ 187325 h 121"/>
              <a:gd name="T48" fmla="*/ 398462 w 333"/>
              <a:gd name="T49" fmla="*/ 187325 h 121"/>
              <a:gd name="T50" fmla="*/ 450850 w 333"/>
              <a:gd name="T51" fmla="*/ 192088 h 121"/>
              <a:gd name="T52" fmla="*/ 487362 w 333"/>
              <a:gd name="T53" fmla="*/ 179388 h 121"/>
              <a:gd name="T54" fmla="*/ 523875 w 333"/>
              <a:gd name="T55" fmla="*/ 174625 h 121"/>
              <a:gd name="T56" fmla="*/ 515937 w 333"/>
              <a:gd name="T57" fmla="*/ 158750 h 121"/>
              <a:gd name="T58" fmla="*/ 463550 w 333"/>
              <a:gd name="T59" fmla="*/ 134938 h 121"/>
              <a:gd name="T60" fmla="*/ 463550 w 333"/>
              <a:gd name="T61" fmla="*/ 114300 h 121"/>
              <a:gd name="T62" fmla="*/ 439737 w 333"/>
              <a:gd name="T63" fmla="*/ 117475 h 121"/>
              <a:gd name="T64" fmla="*/ 411162 w 333"/>
              <a:gd name="T65" fmla="*/ 101600 h 121"/>
              <a:gd name="T66" fmla="*/ 385762 w 333"/>
              <a:gd name="T67" fmla="*/ 93663 h 121"/>
              <a:gd name="T68" fmla="*/ 377825 w 333"/>
              <a:gd name="T69" fmla="*/ 90488 h 121"/>
              <a:gd name="T70" fmla="*/ 341312 w 333"/>
              <a:gd name="T71" fmla="*/ 69850 h 121"/>
              <a:gd name="T72" fmla="*/ 288925 w 333"/>
              <a:gd name="T73" fmla="*/ 52388 h 121"/>
              <a:gd name="T74" fmla="*/ 263525 w 333"/>
              <a:gd name="T75" fmla="*/ 23813 h 121"/>
              <a:gd name="T76" fmla="*/ 215900 w 333"/>
              <a:gd name="T77" fmla="*/ 15875 h 121"/>
              <a:gd name="T78" fmla="*/ 177800 w 333"/>
              <a:gd name="T79" fmla="*/ 4763 h 121"/>
              <a:gd name="T80" fmla="*/ 125412 w 333"/>
              <a:gd name="T81" fmla="*/ 7938 h 121"/>
              <a:gd name="T82" fmla="*/ 68262 w 333"/>
              <a:gd name="T83" fmla="*/ 23813 h 121"/>
              <a:gd name="T84" fmla="*/ 31750 w 333"/>
              <a:gd name="T85" fmla="*/ 44450 h 1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33" h="121">
                <a:moveTo>
                  <a:pt x="64" y="49"/>
                </a:moveTo>
                <a:lnTo>
                  <a:pt x="66" y="46"/>
                </a:lnTo>
                <a:lnTo>
                  <a:pt x="71" y="46"/>
                </a:lnTo>
                <a:lnTo>
                  <a:pt x="77" y="54"/>
                </a:lnTo>
                <a:lnTo>
                  <a:pt x="77" y="59"/>
                </a:lnTo>
                <a:lnTo>
                  <a:pt x="66" y="62"/>
                </a:lnTo>
                <a:lnTo>
                  <a:pt x="59" y="59"/>
                </a:lnTo>
                <a:lnTo>
                  <a:pt x="59" y="57"/>
                </a:lnTo>
                <a:lnTo>
                  <a:pt x="61" y="57"/>
                </a:lnTo>
                <a:lnTo>
                  <a:pt x="64" y="59"/>
                </a:lnTo>
                <a:lnTo>
                  <a:pt x="69" y="57"/>
                </a:lnTo>
                <a:lnTo>
                  <a:pt x="64" y="54"/>
                </a:lnTo>
                <a:lnTo>
                  <a:pt x="64" y="49"/>
                </a:lnTo>
                <a:close/>
                <a:moveTo>
                  <a:pt x="20" y="33"/>
                </a:moveTo>
                <a:lnTo>
                  <a:pt x="23" y="39"/>
                </a:lnTo>
                <a:lnTo>
                  <a:pt x="20" y="41"/>
                </a:lnTo>
                <a:lnTo>
                  <a:pt x="15" y="39"/>
                </a:lnTo>
                <a:lnTo>
                  <a:pt x="5" y="46"/>
                </a:lnTo>
                <a:lnTo>
                  <a:pt x="0" y="44"/>
                </a:lnTo>
                <a:lnTo>
                  <a:pt x="0" y="49"/>
                </a:lnTo>
                <a:lnTo>
                  <a:pt x="5" y="51"/>
                </a:lnTo>
                <a:lnTo>
                  <a:pt x="12" y="44"/>
                </a:lnTo>
                <a:lnTo>
                  <a:pt x="15" y="46"/>
                </a:lnTo>
                <a:lnTo>
                  <a:pt x="15" y="51"/>
                </a:lnTo>
                <a:lnTo>
                  <a:pt x="23" y="46"/>
                </a:lnTo>
                <a:lnTo>
                  <a:pt x="28" y="46"/>
                </a:lnTo>
                <a:lnTo>
                  <a:pt x="33" y="36"/>
                </a:lnTo>
                <a:lnTo>
                  <a:pt x="43" y="39"/>
                </a:lnTo>
                <a:lnTo>
                  <a:pt x="46" y="33"/>
                </a:lnTo>
                <a:lnTo>
                  <a:pt x="48" y="39"/>
                </a:lnTo>
                <a:lnTo>
                  <a:pt x="56" y="36"/>
                </a:lnTo>
                <a:lnTo>
                  <a:pt x="66" y="26"/>
                </a:lnTo>
                <a:lnTo>
                  <a:pt x="71" y="23"/>
                </a:lnTo>
                <a:lnTo>
                  <a:pt x="74" y="21"/>
                </a:lnTo>
                <a:lnTo>
                  <a:pt x="82" y="21"/>
                </a:lnTo>
                <a:lnTo>
                  <a:pt x="89" y="21"/>
                </a:lnTo>
                <a:lnTo>
                  <a:pt x="102" y="23"/>
                </a:lnTo>
                <a:lnTo>
                  <a:pt x="107" y="26"/>
                </a:lnTo>
                <a:lnTo>
                  <a:pt x="102" y="28"/>
                </a:lnTo>
                <a:lnTo>
                  <a:pt x="95" y="28"/>
                </a:lnTo>
                <a:lnTo>
                  <a:pt x="92" y="31"/>
                </a:lnTo>
                <a:lnTo>
                  <a:pt x="95" y="36"/>
                </a:lnTo>
                <a:lnTo>
                  <a:pt x="115" y="39"/>
                </a:lnTo>
                <a:lnTo>
                  <a:pt x="118" y="36"/>
                </a:lnTo>
                <a:lnTo>
                  <a:pt x="123" y="36"/>
                </a:lnTo>
                <a:lnTo>
                  <a:pt x="128" y="41"/>
                </a:lnTo>
                <a:lnTo>
                  <a:pt x="138" y="44"/>
                </a:lnTo>
                <a:lnTo>
                  <a:pt x="141" y="41"/>
                </a:lnTo>
                <a:lnTo>
                  <a:pt x="143" y="39"/>
                </a:lnTo>
                <a:lnTo>
                  <a:pt x="148" y="41"/>
                </a:lnTo>
                <a:lnTo>
                  <a:pt x="148" y="46"/>
                </a:lnTo>
                <a:lnTo>
                  <a:pt x="159" y="54"/>
                </a:lnTo>
                <a:lnTo>
                  <a:pt x="166" y="54"/>
                </a:lnTo>
                <a:lnTo>
                  <a:pt x="171" y="51"/>
                </a:lnTo>
                <a:lnTo>
                  <a:pt x="177" y="57"/>
                </a:lnTo>
                <a:lnTo>
                  <a:pt x="182" y="57"/>
                </a:lnTo>
                <a:lnTo>
                  <a:pt x="187" y="59"/>
                </a:lnTo>
                <a:lnTo>
                  <a:pt x="195" y="54"/>
                </a:lnTo>
                <a:lnTo>
                  <a:pt x="200" y="57"/>
                </a:lnTo>
                <a:lnTo>
                  <a:pt x="205" y="74"/>
                </a:lnTo>
                <a:lnTo>
                  <a:pt x="215" y="87"/>
                </a:lnTo>
                <a:lnTo>
                  <a:pt x="220" y="87"/>
                </a:lnTo>
                <a:lnTo>
                  <a:pt x="220" y="85"/>
                </a:lnTo>
                <a:lnTo>
                  <a:pt x="228" y="90"/>
                </a:lnTo>
                <a:lnTo>
                  <a:pt x="241" y="90"/>
                </a:lnTo>
                <a:lnTo>
                  <a:pt x="241" y="92"/>
                </a:lnTo>
                <a:lnTo>
                  <a:pt x="246" y="95"/>
                </a:lnTo>
                <a:lnTo>
                  <a:pt x="246" y="100"/>
                </a:lnTo>
                <a:lnTo>
                  <a:pt x="238" y="103"/>
                </a:lnTo>
                <a:lnTo>
                  <a:pt x="228" y="113"/>
                </a:lnTo>
                <a:lnTo>
                  <a:pt x="228" y="118"/>
                </a:lnTo>
                <a:lnTo>
                  <a:pt x="238" y="121"/>
                </a:lnTo>
                <a:lnTo>
                  <a:pt x="246" y="116"/>
                </a:lnTo>
                <a:lnTo>
                  <a:pt x="251" y="118"/>
                </a:lnTo>
                <a:lnTo>
                  <a:pt x="266" y="116"/>
                </a:lnTo>
                <a:lnTo>
                  <a:pt x="274" y="116"/>
                </a:lnTo>
                <a:lnTo>
                  <a:pt x="284" y="121"/>
                </a:lnTo>
                <a:lnTo>
                  <a:pt x="302" y="116"/>
                </a:lnTo>
                <a:lnTo>
                  <a:pt x="302" y="113"/>
                </a:lnTo>
                <a:lnTo>
                  <a:pt x="307" y="113"/>
                </a:lnTo>
                <a:lnTo>
                  <a:pt x="312" y="110"/>
                </a:lnTo>
                <a:lnTo>
                  <a:pt x="323" y="110"/>
                </a:lnTo>
                <a:lnTo>
                  <a:pt x="330" y="110"/>
                </a:lnTo>
                <a:lnTo>
                  <a:pt x="333" y="103"/>
                </a:lnTo>
                <a:lnTo>
                  <a:pt x="330" y="100"/>
                </a:lnTo>
                <a:lnTo>
                  <a:pt x="325" y="100"/>
                </a:lnTo>
                <a:lnTo>
                  <a:pt x="320" y="90"/>
                </a:lnTo>
                <a:lnTo>
                  <a:pt x="307" y="85"/>
                </a:lnTo>
                <a:lnTo>
                  <a:pt x="292" y="85"/>
                </a:lnTo>
                <a:lnTo>
                  <a:pt x="287" y="85"/>
                </a:lnTo>
                <a:lnTo>
                  <a:pt x="289" y="80"/>
                </a:lnTo>
                <a:lnTo>
                  <a:pt x="292" y="72"/>
                </a:lnTo>
                <a:lnTo>
                  <a:pt x="289" y="72"/>
                </a:lnTo>
                <a:lnTo>
                  <a:pt x="284" y="74"/>
                </a:lnTo>
                <a:lnTo>
                  <a:pt x="277" y="74"/>
                </a:lnTo>
                <a:lnTo>
                  <a:pt x="266" y="64"/>
                </a:lnTo>
                <a:lnTo>
                  <a:pt x="264" y="67"/>
                </a:lnTo>
                <a:lnTo>
                  <a:pt x="259" y="64"/>
                </a:lnTo>
                <a:lnTo>
                  <a:pt x="251" y="57"/>
                </a:lnTo>
                <a:lnTo>
                  <a:pt x="246" y="62"/>
                </a:lnTo>
                <a:lnTo>
                  <a:pt x="243" y="59"/>
                </a:lnTo>
                <a:lnTo>
                  <a:pt x="243" y="57"/>
                </a:lnTo>
                <a:lnTo>
                  <a:pt x="241" y="54"/>
                </a:lnTo>
                <a:lnTo>
                  <a:pt x="238" y="57"/>
                </a:lnTo>
                <a:lnTo>
                  <a:pt x="236" y="54"/>
                </a:lnTo>
                <a:lnTo>
                  <a:pt x="223" y="51"/>
                </a:lnTo>
                <a:lnTo>
                  <a:pt x="215" y="44"/>
                </a:lnTo>
                <a:lnTo>
                  <a:pt x="207" y="39"/>
                </a:lnTo>
                <a:lnTo>
                  <a:pt x="200" y="33"/>
                </a:lnTo>
                <a:lnTo>
                  <a:pt x="182" y="33"/>
                </a:lnTo>
                <a:lnTo>
                  <a:pt x="177" y="28"/>
                </a:lnTo>
                <a:lnTo>
                  <a:pt x="174" y="23"/>
                </a:lnTo>
                <a:lnTo>
                  <a:pt x="166" y="15"/>
                </a:lnTo>
                <a:lnTo>
                  <a:pt x="161" y="15"/>
                </a:lnTo>
                <a:lnTo>
                  <a:pt x="159" y="13"/>
                </a:lnTo>
                <a:lnTo>
                  <a:pt x="136" y="10"/>
                </a:lnTo>
                <a:lnTo>
                  <a:pt x="128" y="13"/>
                </a:lnTo>
                <a:lnTo>
                  <a:pt x="118" y="10"/>
                </a:lnTo>
                <a:lnTo>
                  <a:pt x="112" y="3"/>
                </a:lnTo>
                <a:lnTo>
                  <a:pt x="97" y="0"/>
                </a:lnTo>
                <a:lnTo>
                  <a:pt x="84" y="0"/>
                </a:lnTo>
                <a:lnTo>
                  <a:pt x="79" y="5"/>
                </a:lnTo>
                <a:lnTo>
                  <a:pt x="61" y="8"/>
                </a:lnTo>
                <a:lnTo>
                  <a:pt x="48" y="10"/>
                </a:lnTo>
                <a:lnTo>
                  <a:pt x="43" y="15"/>
                </a:lnTo>
                <a:lnTo>
                  <a:pt x="30" y="18"/>
                </a:lnTo>
                <a:lnTo>
                  <a:pt x="25" y="23"/>
                </a:lnTo>
                <a:lnTo>
                  <a:pt x="20" y="28"/>
                </a:lnTo>
                <a:lnTo>
                  <a:pt x="20" y="33"/>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10" name="Freeform 14"/>
          <p:cNvSpPr>
            <a:spLocks noEditPoints="1"/>
          </p:cNvSpPr>
          <p:nvPr/>
        </p:nvSpPr>
        <p:spPr bwMode="auto">
          <a:xfrm>
            <a:off x="9335407" y="5521779"/>
            <a:ext cx="284162" cy="333375"/>
          </a:xfrm>
          <a:custGeom>
            <a:avLst/>
            <a:gdLst>
              <a:gd name="T0" fmla="*/ 268287 w 179"/>
              <a:gd name="T1" fmla="*/ 296863 h 210"/>
              <a:gd name="T2" fmla="*/ 231775 w 179"/>
              <a:gd name="T3" fmla="*/ 333375 h 210"/>
              <a:gd name="T4" fmla="*/ 263525 w 179"/>
              <a:gd name="T5" fmla="*/ 309563 h 210"/>
              <a:gd name="T6" fmla="*/ 244475 w 179"/>
              <a:gd name="T7" fmla="*/ 312738 h 210"/>
              <a:gd name="T8" fmla="*/ 231775 w 179"/>
              <a:gd name="T9" fmla="*/ 333375 h 210"/>
              <a:gd name="T10" fmla="*/ 284162 w 179"/>
              <a:gd name="T11" fmla="*/ 255588 h 210"/>
              <a:gd name="T12" fmla="*/ 263525 w 179"/>
              <a:gd name="T13" fmla="*/ 255588 h 210"/>
              <a:gd name="T14" fmla="*/ 231775 w 179"/>
              <a:gd name="T15" fmla="*/ 227013 h 210"/>
              <a:gd name="T16" fmla="*/ 211137 w 179"/>
              <a:gd name="T17" fmla="*/ 252413 h 210"/>
              <a:gd name="T18" fmla="*/ 211137 w 179"/>
              <a:gd name="T19" fmla="*/ 255588 h 210"/>
              <a:gd name="T20" fmla="*/ 231775 w 179"/>
              <a:gd name="T21" fmla="*/ 227013 h 210"/>
              <a:gd name="T22" fmla="*/ 215900 w 179"/>
              <a:gd name="T23" fmla="*/ 227013 h 210"/>
              <a:gd name="T24" fmla="*/ 203200 w 179"/>
              <a:gd name="T25" fmla="*/ 227013 h 210"/>
              <a:gd name="T26" fmla="*/ 166687 w 179"/>
              <a:gd name="T27" fmla="*/ 182563 h 210"/>
              <a:gd name="T28" fmla="*/ 182562 w 179"/>
              <a:gd name="T29" fmla="*/ 223838 h 210"/>
              <a:gd name="T30" fmla="*/ 161925 w 179"/>
              <a:gd name="T31" fmla="*/ 203200 h 210"/>
              <a:gd name="T32" fmla="*/ 166687 w 179"/>
              <a:gd name="T33" fmla="*/ 182563 h 210"/>
              <a:gd name="T34" fmla="*/ 125412 w 179"/>
              <a:gd name="T35" fmla="*/ 187325 h 210"/>
              <a:gd name="T36" fmla="*/ 130175 w 179"/>
              <a:gd name="T37" fmla="*/ 179388 h 210"/>
              <a:gd name="T38" fmla="*/ 207962 w 179"/>
              <a:gd name="T39" fmla="*/ 171450 h 210"/>
              <a:gd name="T40" fmla="*/ 207962 w 179"/>
              <a:gd name="T41" fmla="*/ 153988 h 210"/>
              <a:gd name="T42" fmla="*/ 158750 w 179"/>
              <a:gd name="T43" fmla="*/ 142875 h 210"/>
              <a:gd name="T44" fmla="*/ 158750 w 179"/>
              <a:gd name="T45" fmla="*/ 166688 h 210"/>
              <a:gd name="T46" fmla="*/ 161925 w 179"/>
              <a:gd name="T47" fmla="*/ 146050 h 210"/>
              <a:gd name="T48" fmla="*/ 150812 w 179"/>
              <a:gd name="T49" fmla="*/ 130175 h 210"/>
              <a:gd name="T50" fmla="*/ 133350 w 179"/>
              <a:gd name="T51" fmla="*/ 104775 h 210"/>
              <a:gd name="T52" fmla="*/ 122237 w 179"/>
              <a:gd name="T53" fmla="*/ 117475 h 210"/>
              <a:gd name="T54" fmla="*/ 122237 w 179"/>
              <a:gd name="T55" fmla="*/ 96838 h 210"/>
              <a:gd name="T56" fmla="*/ 114300 w 179"/>
              <a:gd name="T57" fmla="*/ 85725 h 210"/>
              <a:gd name="T58" fmla="*/ 88900 w 179"/>
              <a:gd name="T59" fmla="*/ 11113 h 210"/>
              <a:gd name="T60" fmla="*/ 96837 w 179"/>
              <a:gd name="T61" fmla="*/ 36513 h 210"/>
              <a:gd name="T62" fmla="*/ 80962 w 179"/>
              <a:gd name="T63" fmla="*/ 60325 h 210"/>
              <a:gd name="T64" fmla="*/ 88900 w 179"/>
              <a:gd name="T65" fmla="*/ 28575 h 210"/>
              <a:gd name="T66" fmla="*/ 60325 w 179"/>
              <a:gd name="T67" fmla="*/ 0 h 210"/>
              <a:gd name="T68" fmla="*/ 11112 w 179"/>
              <a:gd name="T69" fmla="*/ 11113 h 210"/>
              <a:gd name="T70" fmla="*/ 49212 w 179"/>
              <a:gd name="T71" fmla="*/ 7938 h 210"/>
              <a:gd name="T72" fmla="*/ 39687 w 179"/>
              <a:gd name="T73" fmla="*/ 11113 h 210"/>
              <a:gd name="T74" fmla="*/ 0 w 179"/>
              <a:gd name="T75" fmla="*/ 11113 h 210"/>
              <a:gd name="T76" fmla="*/ 73025 w 179"/>
              <a:gd name="T77" fmla="*/ 96838 h 210"/>
              <a:gd name="T78" fmla="*/ 68262 w 179"/>
              <a:gd name="T79" fmla="*/ 109538 h 210"/>
              <a:gd name="T80" fmla="*/ 49212 w 179"/>
              <a:gd name="T81" fmla="*/ 153988 h 210"/>
              <a:gd name="T82" fmla="*/ 49212 w 179"/>
              <a:gd name="T83" fmla="*/ 153988 h 210"/>
              <a:gd name="T84" fmla="*/ 44450 w 179"/>
              <a:gd name="T85" fmla="*/ 150813 h 210"/>
              <a:gd name="T86" fmla="*/ 36512 w 179"/>
              <a:gd name="T87" fmla="*/ 153988 h 210"/>
              <a:gd name="T88" fmla="*/ 44450 w 179"/>
              <a:gd name="T89" fmla="*/ 117475 h 210"/>
              <a:gd name="T90" fmla="*/ 31750 w 179"/>
              <a:gd name="T91" fmla="*/ 117475 h 210"/>
              <a:gd name="T92" fmla="*/ 39687 w 179"/>
              <a:gd name="T93" fmla="*/ 133350 h 210"/>
              <a:gd name="T94" fmla="*/ 52387 w 179"/>
              <a:gd name="T95" fmla="*/ 153988 h 210"/>
              <a:gd name="T96" fmla="*/ 49212 w 179"/>
              <a:gd name="T97" fmla="*/ 182563 h 210"/>
              <a:gd name="T98" fmla="*/ 57150 w 179"/>
              <a:gd name="T99" fmla="*/ 166688 h 2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79" h="210">
                <a:moveTo>
                  <a:pt x="166" y="190"/>
                </a:moveTo>
                <a:lnTo>
                  <a:pt x="169" y="192"/>
                </a:lnTo>
                <a:lnTo>
                  <a:pt x="169" y="187"/>
                </a:lnTo>
                <a:lnTo>
                  <a:pt x="166" y="190"/>
                </a:lnTo>
                <a:close/>
                <a:moveTo>
                  <a:pt x="146" y="210"/>
                </a:moveTo>
                <a:lnTo>
                  <a:pt x="161" y="210"/>
                </a:lnTo>
                <a:lnTo>
                  <a:pt x="166" y="202"/>
                </a:lnTo>
                <a:lnTo>
                  <a:pt x="166" y="195"/>
                </a:lnTo>
                <a:lnTo>
                  <a:pt x="164" y="197"/>
                </a:lnTo>
                <a:lnTo>
                  <a:pt x="161" y="200"/>
                </a:lnTo>
                <a:lnTo>
                  <a:pt x="154" y="197"/>
                </a:lnTo>
                <a:lnTo>
                  <a:pt x="146" y="202"/>
                </a:lnTo>
                <a:lnTo>
                  <a:pt x="146" y="210"/>
                </a:lnTo>
                <a:close/>
                <a:moveTo>
                  <a:pt x="164" y="159"/>
                </a:moveTo>
                <a:lnTo>
                  <a:pt x="169" y="156"/>
                </a:lnTo>
                <a:lnTo>
                  <a:pt x="179" y="161"/>
                </a:lnTo>
                <a:lnTo>
                  <a:pt x="177" y="164"/>
                </a:lnTo>
                <a:lnTo>
                  <a:pt x="172" y="161"/>
                </a:lnTo>
                <a:lnTo>
                  <a:pt x="166" y="161"/>
                </a:lnTo>
                <a:lnTo>
                  <a:pt x="164" y="159"/>
                </a:lnTo>
                <a:close/>
                <a:moveTo>
                  <a:pt x="146" y="143"/>
                </a:moveTo>
                <a:lnTo>
                  <a:pt x="141" y="146"/>
                </a:lnTo>
                <a:lnTo>
                  <a:pt x="141" y="151"/>
                </a:lnTo>
                <a:lnTo>
                  <a:pt x="133" y="159"/>
                </a:lnTo>
                <a:lnTo>
                  <a:pt x="131" y="159"/>
                </a:lnTo>
                <a:lnTo>
                  <a:pt x="131" y="161"/>
                </a:lnTo>
                <a:lnTo>
                  <a:pt x="133" y="161"/>
                </a:lnTo>
                <a:lnTo>
                  <a:pt x="146" y="154"/>
                </a:lnTo>
                <a:lnTo>
                  <a:pt x="146" y="146"/>
                </a:lnTo>
                <a:lnTo>
                  <a:pt x="146" y="143"/>
                </a:lnTo>
                <a:close/>
                <a:moveTo>
                  <a:pt x="128" y="138"/>
                </a:moveTo>
                <a:lnTo>
                  <a:pt x="136" y="143"/>
                </a:lnTo>
                <a:lnTo>
                  <a:pt x="136" y="149"/>
                </a:lnTo>
                <a:lnTo>
                  <a:pt x="131" y="146"/>
                </a:lnTo>
                <a:lnTo>
                  <a:pt x="128" y="143"/>
                </a:lnTo>
                <a:lnTo>
                  <a:pt x="128" y="138"/>
                </a:lnTo>
                <a:close/>
                <a:moveTo>
                  <a:pt x="105" y="115"/>
                </a:moveTo>
                <a:lnTo>
                  <a:pt x="110" y="125"/>
                </a:lnTo>
                <a:lnTo>
                  <a:pt x="110" y="133"/>
                </a:lnTo>
                <a:lnTo>
                  <a:pt x="115" y="141"/>
                </a:lnTo>
                <a:lnTo>
                  <a:pt x="113" y="141"/>
                </a:lnTo>
                <a:lnTo>
                  <a:pt x="107" y="136"/>
                </a:lnTo>
                <a:lnTo>
                  <a:pt x="102" y="128"/>
                </a:lnTo>
                <a:lnTo>
                  <a:pt x="107" y="125"/>
                </a:lnTo>
                <a:lnTo>
                  <a:pt x="102" y="118"/>
                </a:lnTo>
                <a:lnTo>
                  <a:pt x="105" y="115"/>
                </a:lnTo>
                <a:close/>
                <a:moveTo>
                  <a:pt x="82" y="113"/>
                </a:moveTo>
                <a:lnTo>
                  <a:pt x="79" y="118"/>
                </a:lnTo>
                <a:lnTo>
                  <a:pt x="84" y="118"/>
                </a:lnTo>
                <a:lnTo>
                  <a:pt x="82" y="113"/>
                </a:lnTo>
                <a:close/>
                <a:moveTo>
                  <a:pt x="131" y="97"/>
                </a:moveTo>
                <a:lnTo>
                  <a:pt x="125" y="105"/>
                </a:lnTo>
                <a:lnTo>
                  <a:pt x="131" y="108"/>
                </a:lnTo>
                <a:lnTo>
                  <a:pt x="133" y="102"/>
                </a:lnTo>
                <a:lnTo>
                  <a:pt x="131" y="97"/>
                </a:lnTo>
                <a:close/>
                <a:moveTo>
                  <a:pt x="95" y="82"/>
                </a:moveTo>
                <a:lnTo>
                  <a:pt x="95" y="84"/>
                </a:lnTo>
                <a:lnTo>
                  <a:pt x="100" y="90"/>
                </a:lnTo>
                <a:lnTo>
                  <a:pt x="100" y="100"/>
                </a:lnTo>
                <a:lnTo>
                  <a:pt x="97" y="102"/>
                </a:lnTo>
                <a:lnTo>
                  <a:pt x="100" y="105"/>
                </a:lnTo>
                <a:lnTo>
                  <a:pt x="107" y="105"/>
                </a:lnTo>
                <a:lnTo>
                  <a:pt x="107" y="102"/>
                </a:lnTo>
                <a:lnTo>
                  <a:pt x="102" y="92"/>
                </a:lnTo>
                <a:lnTo>
                  <a:pt x="102" y="87"/>
                </a:lnTo>
                <a:lnTo>
                  <a:pt x="95" y="82"/>
                </a:lnTo>
                <a:close/>
                <a:moveTo>
                  <a:pt x="72" y="54"/>
                </a:moveTo>
                <a:lnTo>
                  <a:pt x="79" y="59"/>
                </a:lnTo>
                <a:lnTo>
                  <a:pt x="84" y="66"/>
                </a:lnTo>
                <a:lnTo>
                  <a:pt x="82" y="77"/>
                </a:lnTo>
                <a:lnTo>
                  <a:pt x="79" y="79"/>
                </a:lnTo>
                <a:lnTo>
                  <a:pt x="77" y="74"/>
                </a:lnTo>
                <a:lnTo>
                  <a:pt x="79" y="74"/>
                </a:lnTo>
                <a:lnTo>
                  <a:pt x="82" y="69"/>
                </a:lnTo>
                <a:lnTo>
                  <a:pt x="77" y="61"/>
                </a:lnTo>
                <a:lnTo>
                  <a:pt x="69" y="59"/>
                </a:lnTo>
                <a:lnTo>
                  <a:pt x="72" y="54"/>
                </a:lnTo>
                <a:close/>
                <a:moveTo>
                  <a:pt x="38" y="0"/>
                </a:moveTo>
                <a:lnTo>
                  <a:pt x="46" y="0"/>
                </a:lnTo>
                <a:lnTo>
                  <a:pt x="56" y="7"/>
                </a:lnTo>
                <a:lnTo>
                  <a:pt x="56" y="13"/>
                </a:lnTo>
                <a:lnTo>
                  <a:pt x="61" y="15"/>
                </a:lnTo>
                <a:lnTo>
                  <a:pt x="61" y="23"/>
                </a:lnTo>
                <a:lnTo>
                  <a:pt x="56" y="28"/>
                </a:lnTo>
                <a:lnTo>
                  <a:pt x="56" y="33"/>
                </a:lnTo>
                <a:lnTo>
                  <a:pt x="51" y="38"/>
                </a:lnTo>
                <a:lnTo>
                  <a:pt x="54" y="28"/>
                </a:lnTo>
                <a:lnTo>
                  <a:pt x="51" y="23"/>
                </a:lnTo>
                <a:lnTo>
                  <a:pt x="56" y="18"/>
                </a:lnTo>
                <a:lnTo>
                  <a:pt x="49" y="10"/>
                </a:lnTo>
                <a:lnTo>
                  <a:pt x="49" y="2"/>
                </a:lnTo>
                <a:lnTo>
                  <a:pt x="38" y="0"/>
                </a:lnTo>
                <a:close/>
                <a:moveTo>
                  <a:pt x="0" y="7"/>
                </a:moveTo>
                <a:lnTo>
                  <a:pt x="7" y="7"/>
                </a:lnTo>
                <a:lnTo>
                  <a:pt x="13" y="10"/>
                </a:lnTo>
                <a:lnTo>
                  <a:pt x="20" y="5"/>
                </a:lnTo>
                <a:lnTo>
                  <a:pt x="31" y="5"/>
                </a:lnTo>
                <a:lnTo>
                  <a:pt x="38" y="10"/>
                </a:lnTo>
                <a:lnTo>
                  <a:pt x="33" y="10"/>
                </a:lnTo>
                <a:lnTo>
                  <a:pt x="25" y="7"/>
                </a:lnTo>
                <a:lnTo>
                  <a:pt x="15" y="15"/>
                </a:lnTo>
                <a:lnTo>
                  <a:pt x="7" y="15"/>
                </a:lnTo>
                <a:lnTo>
                  <a:pt x="0" y="7"/>
                </a:lnTo>
                <a:close/>
                <a:moveTo>
                  <a:pt x="38" y="66"/>
                </a:moveTo>
                <a:lnTo>
                  <a:pt x="46" y="61"/>
                </a:lnTo>
                <a:lnTo>
                  <a:pt x="54" y="64"/>
                </a:lnTo>
                <a:lnTo>
                  <a:pt x="51" y="69"/>
                </a:lnTo>
                <a:lnTo>
                  <a:pt x="43" y="69"/>
                </a:lnTo>
                <a:lnTo>
                  <a:pt x="38" y="66"/>
                </a:lnTo>
                <a:close/>
                <a:moveTo>
                  <a:pt x="31" y="97"/>
                </a:moveTo>
                <a:lnTo>
                  <a:pt x="28" y="92"/>
                </a:lnTo>
                <a:lnTo>
                  <a:pt x="33" y="92"/>
                </a:lnTo>
                <a:lnTo>
                  <a:pt x="31" y="97"/>
                </a:lnTo>
                <a:close/>
                <a:moveTo>
                  <a:pt x="23" y="97"/>
                </a:moveTo>
                <a:lnTo>
                  <a:pt x="28" y="95"/>
                </a:lnTo>
                <a:lnTo>
                  <a:pt x="28" y="100"/>
                </a:lnTo>
                <a:lnTo>
                  <a:pt x="23" y="97"/>
                </a:lnTo>
                <a:close/>
                <a:moveTo>
                  <a:pt x="25" y="90"/>
                </a:moveTo>
                <a:lnTo>
                  <a:pt x="33" y="84"/>
                </a:lnTo>
                <a:lnTo>
                  <a:pt x="28" y="74"/>
                </a:lnTo>
                <a:lnTo>
                  <a:pt x="25" y="66"/>
                </a:lnTo>
                <a:lnTo>
                  <a:pt x="23" y="64"/>
                </a:lnTo>
                <a:lnTo>
                  <a:pt x="20" y="74"/>
                </a:lnTo>
                <a:lnTo>
                  <a:pt x="15" y="82"/>
                </a:lnTo>
                <a:lnTo>
                  <a:pt x="18" y="87"/>
                </a:lnTo>
                <a:lnTo>
                  <a:pt x="25" y="84"/>
                </a:lnTo>
                <a:lnTo>
                  <a:pt x="25" y="90"/>
                </a:lnTo>
                <a:close/>
                <a:moveTo>
                  <a:pt x="33" y="97"/>
                </a:moveTo>
                <a:lnTo>
                  <a:pt x="25" y="102"/>
                </a:lnTo>
                <a:lnTo>
                  <a:pt x="25" y="108"/>
                </a:lnTo>
                <a:lnTo>
                  <a:pt x="31" y="115"/>
                </a:lnTo>
                <a:lnTo>
                  <a:pt x="36" y="113"/>
                </a:lnTo>
                <a:lnTo>
                  <a:pt x="38" y="108"/>
                </a:lnTo>
                <a:lnTo>
                  <a:pt x="36" y="105"/>
                </a:lnTo>
                <a:lnTo>
                  <a:pt x="36" y="100"/>
                </a:lnTo>
                <a:lnTo>
                  <a:pt x="33" y="97"/>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11" name="Freeform 15"/>
          <p:cNvSpPr>
            <a:spLocks noEditPoints="1"/>
          </p:cNvSpPr>
          <p:nvPr/>
        </p:nvSpPr>
        <p:spPr bwMode="auto">
          <a:xfrm>
            <a:off x="7263719" y="3961267"/>
            <a:ext cx="2816225" cy="1657350"/>
          </a:xfrm>
          <a:custGeom>
            <a:avLst/>
            <a:gdLst>
              <a:gd name="T0" fmla="*/ 1636015 w 692"/>
              <a:gd name="T1" fmla="*/ 162885 h 407"/>
              <a:gd name="T2" fmla="*/ 1981939 w 692"/>
              <a:gd name="T3" fmla="*/ 317625 h 407"/>
              <a:gd name="T4" fmla="*/ 2352280 w 692"/>
              <a:gd name="T5" fmla="*/ 504942 h 407"/>
              <a:gd name="T6" fmla="*/ 2649368 w 692"/>
              <a:gd name="T7" fmla="*/ 415356 h 407"/>
              <a:gd name="T8" fmla="*/ 2779598 w 692"/>
              <a:gd name="T9" fmla="*/ 337985 h 407"/>
              <a:gd name="T10" fmla="*/ 2804016 w 692"/>
              <a:gd name="T11" fmla="*/ 492726 h 407"/>
              <a:gd name="T12" fmla="*/ 2710413 w 692"/>
              <a:gd name="T13" fmla="*/ 517158 h 407"/>
              <a:gd name="T14" fmla="*/ 2629019 w 692"/>
              <a:gd name="T15" fmla="*/ 561952 h 407"/>
              <a:gd name="T16" fmla="*/ 2616810 w 692"/>
              <a:gd name="T17" fmla="*/ 659682 h 407"/>
              <a:gd name="T18" fmla="*/ 2555765 w 692"/>
              <a:gd name="T19" fmla="*/ 704476 h 407"/>
              <a:gd name="T20" fmla="*/ 2417395 w 692"/>
              <a:gd name="T21" fmla="*/ 761485 h 407"/>
              <a:gd name="T22" fmla="*/ 2364489 w 692"/>
              <a:gd name="T23" fmla="*/ 851072 h 407"/>
              <a:gd name="T24" fmla="*/ 2348211 w 692"/>
              <a:gd name="T25" fmla="*/ 871432 h 407"/>
              <a:gd name="T26" fmla="*/ 2303444 w 692"/>
              <a:gd name="T27" fmla="*/ 928442 h 407"/>
              <a:gd name="T28" fmla="*/ 2291235 w 692"/>
              <a:gd name="T29" fmla="*/ 834783 h 407"/>
              <a:gd name="T30" fmla="*/ 2279026 w 692"/>
              <a:gd name="T31" fmla="*/ 904009 h 407"/>
              <a:gd name="T32" fmla="*/ 2279026 w 692"/>
              <a:gd name="T33" fmla="*/ 936586 h 407"/>
              <a:gd name="T34" fmla="*/ 2250538 w 692"/>
              <a:gd name="T35" fmla="*/ 965091 h 407"/>
              <a:gd name="T36" fmla="*/ 2262747 w 692"/>
              <a:gd name="T37" fmla="*/ 1034317 h 407"/>
              <a:gd name="T38" fmla="*/ 2291235 w 692"/>
              <a:gd name="T39" fmla="*/ 1062821 h 407"/>
              <a:gd name="T40" fmla="*/ 2246468 w 692"/>
              <a:gd name="T41" fmla="*/ 1095398 h 407"/>
              <a:gd name="T42" fmla="*/ 2165075 w 692"/>
              <a:gd name="T43" fmla="*/ 1164624 h 407"/>
              <a:gd name="T44" fmla="*/ 2042984 w 692"/>
              <a:gd name="T45" fmla="*/ 1237922 h 407"/>
              <a:gd name="T46" fmla="*/ 1977869 w 692"/>
              <a:gd name="T47" fmla="*/ 1368230 h 407"/>
              <a:gd name="T48" fmla="*/ 2014496 w 692"/>
              <a:gd name="T49" fmla="*/ 1588124 h 407"/>
              <a:gd name="T50" fmla="*/ 1933102 w 692"/>
              <a:gd name="T51" fmla="*/ 1620701 h 407"/>
              <a:gd name="T52" fmla="*/ 1896475 w 692"/>
              <a:gd name="T53" fmla="*/ 1543331 h 407"/>
              <a:gd name="T54" fmla="*/ 1884266 w 692"/>
              <a:gd name="T55" fmla="*/ 1433384 h 407"/>
              <a:gd name="T56" fmla="*/ 1802872 w 692"/>
              <a:gd name="T57" fmla="*/ 1396735 h 407"/>
              <a:gd name="T58" fmla="*/ 1754036 w 692"/>
              <a:gd name="T59" fmla="*/ 1368230 h 407"/>
              <a:gd name="T60" fmla="*/ 1668573 w 692"/>
              <a:gd name="T61" fmla="*/ 1360086 h 407"/>
              <a:gd name="T62" fmla="*/ 1554621 w 692"/>
              <a:gd name="T63" fmla="*/ 1388591 h 407"/>
              <a:gd name="T64" fmla="*/ 1566830 w 692"/>
              <a:gd name="T65" fmla="*/ 1433384 h 407"/>
              <a:gd name="T66" fmla="*/ 1481367 w 692"/>
              <a:gd name="T67" fmla="*/ 1421167 h 407"/>
              <a:gd name="T68" fmla="*/ 1404043 w 692"/>
              <a:gd name="T69" fmla="*/ 1400807 h 407"/>
              <a:gd name="T70" fmla="*/ 1302301 w 692"/>
              <a:gd name="T71" fmla="*/ 1400807 h 407"/>
              <a:gd name="T72" fmla="*/ 1212767 w 692"/>
              <a:gd name="T73" fmla="*/ 1461889 h 407"/>
              <a:gd name="T74" fmla="*/ 1159861 w 692"/>
              <a:gd name="T75" fmla="*/ 1600340 h 407"/>
              <a:gd name="T76" fmla="*/ 1070328 w 692"/>
              <a:gd name="T77" fmla="*/ 1531114 h 407"/>
              <a:gd name="T78" fmla="*/ 1013353 w 692"/>
              <a:gd name="T79" fmla="*/ 1396735 h 407"/>
              <a:gd name="T80" fmla="*/ 923819 w 692"/>
              <a:gd name="T81" fmla="*/ 1400807 h 407"/>
              <a:gd name="T82" fmla="*/ 854635 w 692"/>
              <a:gd name="T83" fmla="*/ 1396735 h 407"/>
              <a:gd name="T84" fmla="*/ 818008 w 692"/>
              <a:gd name="T85" fmla="*/ 1335653 h 407"/>
              <a:gd name="T86" fmla="*/ 756962 w 692"/>
              <a:gd name="T87" fmla="*/ 1250139 h 407"/>
              <a:gd name="T88" fmla="*/ 199415 w 692"/>
              <a:gd name="T89" fmla="*/ 1095398 h 407"/>
              <a:gd name="T90" fmla="*/ 101742 w 692"/>
              <a:gd name="T91" fmla="*/ 1018028 h 407"/>
              <a:gd name="T92" fmla="*/ 69185 w 692"/>
              <a:gd name="T93" fmla="*/ 891793 h 407"/>
              <a:gd name="T94" fmla="*/ 65115 w 692"/>
              <a:gd name="T95" fmla="*/ 822567 h 407"/>
              <a:gd name="T96" fmla="*/ 48836 w 692"/>
              <a:gd name="T97" fmla="*/ 822567 h 407"/>
              <a:gd name="T98" fmla="*/ 12209 w 692"/>
              <a:gd name="T99" fmla="*/ 651538 h 407"/>
              <a:gd name="T100" fmla="*/ 36627 w 692"/>
              <a:gd name="T101" fmla="*/ 476437 h 407"/>
              <a:gd name="T102" fmla="*/ 122091 w 692"/>
              <a:gd name="T103" fmla="*/ 236183 h 407"/>
              <a:gd name="T104" fmla="*/ 130230 w 692"/>
              <a:gd name="T105" fmla="*/ 203606 h 407"/>
              <a:gd name="T106" fmla="*/ 142439 w 692"/>
              <a:gd name="T107" fmla="*/ 93659 h 407"/>
              <a:gd name="T108" fmla="*/ 211624 w 692"/>
              <a:gd name="T109" fmla="*/ 101803 h 407"/>
              <a:gd name="T110" fmla="*/ 215694 w 692"/>
              <a:gd name="T111" fmla="*/ 142524 h 407"/>
              <a:gd name="T112" fmla="*/ 260460 w 692"/>
              <a:gd name="T113" fmla="*/ 32577 h 407"/>
              <a:gd name="T114" fmla="*/ 2437744 w 692"/>
              <a:gd name="T115" fmla="*/ 745197 h 407"/>
              <a:gd name="T116" fmla="*/ 2494720 w 692"/>
              <a:gd name="T117" fmla="*/ 724836 h 407"/>
              <a:gd name="T118" fmla="*/ 248251 w 692"/>
              <a:gd name="T119" fmla="*/ 52937 h 407"/>
              <a:gd name="T120" fmla="*/ 1176140 w 692"/>
              <a:gd name="T121" fmla="*/ 1531114 h 4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92" h="407">
                <a:moveTo>
                  <a:pt x="61" y="0"/>
                </a:moveTo>
                <a:cubicBezTo>
                  <a:pt x="378" y="31"/>
                  <a:pt x="378" y="31"/>
                  <a:pt x="378" y="31"/>
                </a:cubicBezTo>
                <a:cubicBezTo>
                  <a:pt x="380" y="32"/>
                  <a:pt x="380" y="32"/>
                  <a:pt x="380" y="32"/>
                </a:cubicBezTo>
                <a:cubicBezTo>
                  <a:pt x="383" y="32"/>
                  <a:pt x="383" y="32"/>
                  <a:pt x="383" y="32"/>
                </a:cubicBezTo>
                <a:cubicBezTo>
                  <a:pt x="386" y="34"/>
                  <a:pt x="386" y="34"/>
                  <a:pt x="386" y="34"/>
                </a:cubicBezTo>
                <a:cubicBezTo>
                  <a:pt x="386" y="35"/>
                  <a:pt x="386" y="35"/>
                  <a:pt x="386" y="35"/>
                </a:cubicBezTo>
                <a:cubicBezTo>
                  <a:pt x="387" y="36"/>
                  <a:pt x="387" y="36"/>
                  <a:pt x="387" y="36"/>
                </a:cubicBezTo>
                <a:cubicBezTo>
                  <a:pt x="388" y="37"/>
                  <a:pt x="388" y="37"/>
                  <a:pt x="388" y="37"/>
                </a:cubicBezTo>
                <a:cubicBezTo>
                  <a:pt x="390" y="38"/>
                  <a:pt x="390" y="38"/>
                  <a:pt x="390" y="38"/>
                </a:cubicBezTo>
                <a:cubicBezTo>
                  <a:pt x="391" y="38"/>
                  <a:pt x="391" y="38"/>
                  <a:pt x="391" y="38"/>
                </a:cubicBezTo>
                <a:cubicBezTo>
                  <a:pt x="393" y="39"/>
                  <a:pt x="393" y="39"/>
                  <a:pt x="393" y="39"/>
                </a:cubicBezTo>
                <a:cubicBezTo>
                  <a:pt x="395" y="41"/>
                  <a:pt x="395" y="41"/>
                  <a:pt x="395" y="41"/>
                </a:cubicBezTo>
                <a:cubicBezTo>
                  <a:pt x="396" y="40"/>
                  <a:pt x="396" y="40"/>
                  <a:pt x="396" y="40"/>
                </a:cubicBezTo>
                <a:cubicBezTo>
                  <a:pt x="398" y="40"/>
                  <a:pt x="398" y="40"/>
                  <a:pt x="398" y="40"/>
                </a:cubicBezTo>
                <a:cubicBezTo>
                  <a:pt x="400" y="40"/>
                  <a:pt x="400" y="40"/>
                  <a:pt x="400" y="40"/>
                </a:cubicBezTo>
                <a:cubicBezTo>
                  <a:pt x="402" y="40"/>
                  <a:pt x="402" y="40"/>
                  <a:pt x="402" y="40"/>
                </a:cubicBezTo>
                <a:cubicBezTo>
                  <a:pt x="405" y="42"/>
                  <a:pt x="405" y="42"/>
                  <a:pt x="405" y="42"/>
                </a:cubicBezTo>
                <a:cubicBezTo>
                  <a:pt x="406" y="42"/>
                  <a:pt x="406" y="42"/>
                  <a:pt x="406" y="42"/>
                </a:cubicBezTo>
                <a:cubicBezTo>
                  <a:pt x="408" y="45"/>
                  <a:pt x="408" y="45"/>
                  <a:pt x="408" y="45"/>
                </a:cubicBezTo>
                <a:cubicBezTo>
                  <a:pt x="412" y="46"/>
                  <a:pt x="412" y="46"/>
                  <a:pt x="412" y="46"/>
                </a:cubicBezTo>
                <a:cubicBezTo>
                  <a:pt x="414" y="47"/>
                  <a:pt x="414" y="47"/>
                  <a:pt x="414" y="47"/>
                </a:cubicBezTo>
                <a:cubicBezTo>
                  <a:pt x="416" y="49"/>
                  <a:pt x="416" y="49"/>
                  <a:pt x="416" y="49"/>
                </a:cubicBezTo>
                <a:cubicBezTo>
                  <a:pt x="418" y="50"/>
                  <a:pt x="418" y="50"/>
                  <a:pt x="418" y="50"/>
                </a:cubicBezTo>
                <a:cubicBezTo>
                  <a:pt x="422" y="50"/>
                  <a:pt x="422" y="50"/>
                  <a:pt x="422" y="50"/>
                </a:cubicBezTo>
                <a:cubicBezTo>
                  <a:pt x="424" y="48"/>
                  <a:pt x="424" y="48"/>
                  <a:pt x="424" y="48"/>
                </a:cubicBezTo>
                <a:cubicBezTo>
                  <a:pt x="425" y="50"/>
                  <a:pt x="425" y="50"/>
                  <a:pt x="425" y="50"/>
                </a:cubicBezTo>
                <a:cubicBezTo>
                  <a:pt x="426" y="52"/>
                  <a:pt x="426" y="52"/>
                  <a:pt x="426" y="52"/>
                </a:cubicBezTo>
                <a:cubicBezTo>
                  <a:pt x="432" y="52"/>
                  <a:pt x="432" y="52"/>
                  <a:pt x="432" y="52"/>
                </a:cubicBezTo>
                <a:cubicBezTo>
                  <a:pt x="433" y="53"/>
                  <a:pt x="433" y="53"/>
                  <a:pt x="433" y="53"/>
                </a:cubicBezTo>
                <a:cubicBezTo>
                  <a:pt x="436" y="54"/>
                  <a:pt x="436" y="54"/>
                  <a:pt x="436" y="54"/>
                </a:cubicBezTo>
                <a:cubicBezTo>
                  <a:pt x="438" y="55"/>
                  <a:pt x="438" y="55"/>
                  <a:pt x="438" y="55"/>
                </a:cubicBezTo>
                <a:cubicBezTo>
                  <a:pt x="487" y="78"/>
                  <a:pt x="487" y="78"/>
                  <a:pt x="487" y="78"/>
                </a:cubicBezTo>
                <a:cubicBezTo>
                  <a:pt x="490" y="82"/>
                  <a:pt x="490" y="82"/>
                  <a:pt x="490" y="82"/>
                </a:cubicBezTo>
                <a:cubicBezTo>
                  <a:pt x="497" y="88"/>
                  <a:pt x="497" y="88"/>
                  <a:pt x="497" y="88"/>
                </a:cubicBezTo>
                <a:cubicBezTo>
                  <a:pt x="505" y="125"/>
                  <a:pt x="505" y="125"/>
                  <a:pt x="505" y="125"/>
                </a:cubicBezTo>
                <a:cubicBezTo>
                  <a:pt x="504" y="142"/>
                  <a:pt x="504" y="142"/>
                  <a:pt x="504" y="142"/>
                </a:cubicBezTo>
                <a:cubicBezTo>
                  <a:pt x="503" y="145"/>
                  <a:pt x="503" y="145"/>
                  <a:pt x="503" y="145"/>
                </a:cubicBezTo>
                <a:cubicBezTo>
                  <a:pt x="502" y="147"/>
                  <a:pt x="502" y="147"/>
                  <a:pt x="502" y="147"/>
                </a:cubicBezTo>
                <a:cubicBezTo>
                  <a:pt x="500" y="150"/>
                  <a:pt x="500" y="150"/>
                  <a:pt x="500" y="150"/>
                </a:cubicBezTo>
                <a:cubicBezTo>
                  <a:pt x="495" y="152"/>
                  <a:pt x="495" y="152"/>
                  <a:pt x="495" y="152"/>
                </a:cubicBezTo>
                <a:cubicBezTo>
                  <a:pt x="493" y="155"/>
                  <a:pt x="493" y="155"/>
                  <a:pt x="493" y="155"/>
                </a:cubicBezTo>
                <a:cubicBezTo>
                  <a:pt x="495" y="159"/>
                  <a:pt x="495" y="159"/>
                  <a:pt x="495" y="159"/>
                </a:cubicBezTo>
                <a:cubicBezTo>
                  <a:pt x="537" y="147"/>
                  <a:pt x="537" y="147"/>
                  <a:pt x="537" y="147"/>
                </a:cubicBezTo>
                <a:cubicBezTo>
                  <a:pt x="542" y="146"/>
                  <a:pt x="542" y="146"/>
                  <a:pt x="542" y="146"/>
                </a:cubicBezTo>
                <a:cubicBezTo>
                  <a:pt x="543" y="140"/>
                  <a:pt x="543" y="140"/>
                  <a:pt x="543" y="140"/>
                </a:cubicBezTo>
                <a:cubicBezTo>
                  <a:pt x="566" y="133"/>
                  <a:pt x="566" y="133"/>
                  <a:pt x="566" y="133"/>
                </a:cubicBezTo>
                <a:cubicBezTo>
                  <a:pt x="576" y="125"/>
                  <a:pt x="576" y="125"/>
                  <a:pt x="576" y="125"/>
                </a:cubicBezTo>
                <a:cubicBezTo>
                  <a:pt x="578" y="124"/>
                  <a:pt x="578" y="124"/>
                  <a:pt x="578" y="124"/>
                </a:cubicBezTo>
                <a:cubicBezTo>
                  <a:pt x="582" y="123"/>
                  <a:pt x="582" y="123"/>
                  <a:pt x="582" y="123"/>
                </a:cubicBezTo>
                <a:cubicBezTo>
                  <a:pt x="587" y="118"/>
                  <a:pt x="587" y="118"/>
                  <a:pt x="587" y="118"/>
                </a:cubicBezTo>
                <a:cubicBezTo>
                  <a:pt x="590" y="116"/>
                  <a:pt x="590" y="116"/>
                  <a:pt x="590" y="116"/>
                </a:cubicBezTo>
                <a:cubicBezTo>
                  <a:pt x="593" y="115"/>
                  <a:pt x="593" y="115"/>
                  <a:pt x="593" y="115"/>
                </a:cubicBezTo>
                <a:cubicBezTo>
                  <a:pt x="595" y="113"/>
                  <a:pt x="595" y="113"/>
                  <a:pt x="595" y="113"/>
                </a:cubicBezTo>
                <a:cubicBezTo>
                  <a:pt x="599" y="112"/>
                  <a:pt x="599" y="112"/>
                  <a:pt x="599" y="112"/>
                </a:cubicBezTo>
                <a:cubicBezTo>
                  <a:pt x="635" y="113"/>
                  <a:pt x="635" y="113"/>
                  <a:pt x="635" y="113"/>
                </a:cubicBezTo>
                <a:cubicBezTo>
                  <a:pt x="637" y="110"/>
                  <a:pt x="637" y="110"/>
                  <a:pt x="637" y="110"/>
                </a:cubicBezTo>
                <a:cubicBezTo>
                  <a:pt x="638" y="110"/>
                  <a:pt x="638" y="110"/>
                  <a:pt x="638" y="110"/>
                </a:cubicBezTo>
                <a:cubicBezTo>
                  <a:pt x="639" y="109"/>
                  <a:pt x="639" y="109"/>
                  <a:pt x="639" y="109"/>
                </a:cubicBezTo>
                <a:cubicBezTo>
                  <a:pt x="641" y="109"/>
                  <a:pt x="641" y="109"/>
                  <a:pt x="641" y="109"/>
                </a:cubicBezTo>
                <a:cubicBezTo>
                  <a:pt x="643" y="109"/>
                  <a:pt x="643" y="109"/>
                  <a:pt x="643" y="109"/>
                </a:cubicBezTo>
                <a:cubicBezTo>
                  <a:pt x="645" y="108"/>
                  <a:pt x="645" y="108"/>
                  <a:pt x="645" y="108"/>
                </a:cubicBezTo>
                <a:cubicBezTo>
                  <a:pt x="645" y="107"/>
                  <a:pt x="645" y="107"/>
                  <a:pt x="645" y="107"/>
                </a:cubicBezTo>
                <a:cubicBezTo>
                  <a:pt x="649" y="102"/>
                  <a:pt x="649" y="102"/>
                  <a:pt x="649" y="102"/>
                </a:cubicBezTo>
                <a:cubicBezTo>
                  <a:pt x="651" y="102"/>
                  <a:pt x="651" y="102"/>
                  <a:pt x="651" y="102"/>
                </a:cubicBezTo>
                <a:cubicBezTo>
                  <a:pt x="654" y="98"/>
                  <a:pt x="654" y="98"/>
                  <a:pt x="654" y="98"/>
                </a:cubicBezTo>
                <a:cubicBezTo>
                  <a:pt x="655" y="95"/>
                  <a:pt x="655" y="95"/>
                  <a:pt x="655" y="95"/>
                </a:cubicBezTo>
                <a:cubicBezTo>
                  <a:pt x="655" y="93"/>
                  <a:pt x="655" y="93"/>
                  <a:pt x="655" y="93"/>
                </a:cubicBezTo>
                <a:cubicBezTo>
                  <a:pt x="658" y="91"/>
                  <a:pt x="658" y="91"/>
                  <a:pt x="658" y="91"/>
                </a:cubicBezTo>
                <a:cubicBezTo>
                  <a:pt x="658" y="89"/>
                  <a:pt x="658" y="89"/>
                  <a:pt x="658" y="89"/>
                </a:cubicBezTo>
                <a:cubicBezTo>
                  <a:pt x="660" y="86"/>
                  <a:pt x="660" y="86"/>
                  <a:pt x="660" y="86"/>
                </a:cubicBezTo>
                <a:cubicBezTo>
                  <a:pt x="665" y="81"/>
                  <a:pt x="665" y="81"/>
                  <a:pt x="665" y="81"/>
                </a:cubicBezTo>
                <a:cubicBezTo>
                  <a:pt x="666" y="79"/>
                  <a:pt x="666" y="79"/>
                  <a:pt x="666" y="79"/>
                </a:cubicBezTo>
                <a:cubicBezTo>
                  <a:pt x="668" y="77"/>
                  <a:pt x="668" y="77"/>
                  <a:pt x="668" y="77"/>
                </a:cubicBezTo>
                <a:cubicBezTo>
                  <a:pt x="668" y="77"/>
                  <a:pt x="668" y="77"/>
                  <a:pt x="668" y="77"/>
                </a:cubicBezTo>
                <a:cubicBezTo>
                  <a:pt x="670" y="78"/>
                  <a:pt x="670" y="78"/>
                  <a:pt x="670" y="78"/>
                </a:cubicBezTo>
                <a:cubicBezTo>
                  <a:pt x="672" y="80"/>
                  <a:pt x="672" y="80"/>
                  <a:pt x="672" y="80"/>
                </a:cubicBezTo>
                <a:cubicBezTo>
                  <a:pt x="674" y="79"/>
                  <a:pt x="674" y="79"/>
                  <a:pt x="674" y="79"/>
                </a:cubicBezTo>
                <a:cubicBezTo>
                  <a:pt x="678" y="80"/>
                  <a:pt x="678" y="80"/>
                  <a:pt x="678" y="80"/>
                </a:cubicBezTo>
                <a:cubicBezTo>
                  <a:pt x="679" y="79"/>
                  <a:pt x="679" y="79"/>
                  <a:pt x="679" y="79"/>
                </a:cubicBezTo>
                <a:cubicBezTo>
                  <a:pt x="683" y="83"/>
                  <a:pt x="683" y="83"/>
                  <a:pt x="683" y="83"/>
                </a:cubicBezTo>
                <a:cubicBezTo>
                  <a:pt x="684" y="87"/>
                  <a:pt x="684" y="87"/>
                  <a:pt x="684" y="87"/>
                </a:cubicBezTo>
                <a:cubicBezTo>
                  <a:pt x="681" y="103"/>
                  <a:pt x="681" y="103"/>
                  <a:pt x="681" y="103"/>
                </a:cubicBezTo>
                <a:cubicBezTo>
                  <a:pt x="680" y="105"/>
                  <a:pt x="680" y="105"/>
                  <a:pt x="680" y="105"/>
                </a:cubicBezTo>
                <a:cubicBezTo>
                  <a:pt x="681" y="105"/>
                  <a:pt x="681" y="105"/>
                  <a:pt x="681" y="105"/>
                </a:cubicBezTo>
                <a:cubicBezTo>
                  <a:pt x="682" y="106"/>
                  <a:pt x="682" y="106"/>
                  <a:pt x="682" y="106"/>
                </a:cubicBezTo>
                <a:cubicBezTo>
                  <a:pt x="683" y="108"/>
                  <a:pt x="683" y="108"/>
                  <a:pt x="683" y="108"/>
                </a:cubicBezTo>
                <a:cubicBezTo>
                  <a:pt x="683" y="110"/>
                  <a:pt x="683" y="110"/>
                  <a:pt x="683" y="110"/>
                </a:cubicBezTo>
                <a:cubicBezTo>
                  <a:pt x="683" y="111"/>
                  <a:pt x="683" y="111"/>
                  <a:pt x="683" y="111"/>
                </a:cubicBezTo>
                <a:cubicBezTo>
                  <a:pt x="683" y="112"/>
                  <a:pt x="683" y="112"/>
                  <a:pt x="683" y="112"/>
                </a:cubicBezTo>
                <a:cubicBezTo>
                  <a:pt x="682" y="113"/>
                  <a:pt x="682" y="113"/>
                  <a:pt x="682" y="113"/>
                </a:cubicBezTo>
                <a:cubicBezTo>
                  <a:pt x="683" y="114"/>
                  <a:pt x="683" y="114"/>
                  <a:pt x="683" y="114"/>
                </a:cubicBezTo>
                <a:cubicBezTo>
                  <a:pt x="683" y="114"/>
                  <a:pt x="683" y="114"/>
                  <a:pt x="683" y="114"/>
                </a:cubicBezTo>
                <a:cubicBezTo>
                  <a:pt x="683" y="114"/>
                  <a:pt x="683" y="114"/>
                  <a:pt x="683" y="114"/>
                </a:cubicBezTo>
                <a:cubicBezTo>
                  <a:pt x="688" y="116"/>
                  <a:pt x="688" y="116"/>
                  <a:pt x="688" y="116"/>
                </a:cubicBezTo>
                <a:cubicBezTo>
                  <a:pt x="687" y="119"/>
                  <a:pt x="687" y="119"/>
                  <a:pt x="687" y="119"/>
                </a:cubicBezTo>
                <a:cubicBezTo>
                  <a:pt x="689" y="121"/>
                  <a:pt x="689" y="121"/>
                  <a:pt x="689" y="121"/>
                </a:cubicBezTo>
                <a:cubicBezTo>
                  <a:pt x="690" y="119"/>
                  <a:pt x="690" y="119"/>
                  <a:pt x="690" y="119"/>
                </a:cubicBezTo>
                <a:cubicBezTo>
                  <a:pt x="692" y="121"/>
                  <a:pt x="692" y="121"/>
                  <a:pt x="692" y="121"/>
                </a:cubicBezTo>
                <a:cubicBezTo>
                  <a:pt x="690" y="123"/>
                  <a:pt x="690" y="123"/>
                  <a:pt x="690" y="123"/>
                </a:cubicBezTo>
                <a:cubicBezTo>
                  <a:pt x="688" y="123"/>
                  <a:pt x="688" y="123"/>
                  <a:pt x="688" y="123"/>
                </a:cubicBezTo>
                <a:cubicBezTo>
                  <a:pt x="687" y="122"/>
                  <a:pt x="687" y="122"/>
                  <a:pt x="687" y="122"/>
                </a:cubicBezTo>
                <a:cubicBezTo>
                  <a:pt x="684" y="123"/>
                  <a:pt x="684" y="123"/>
                  <a:pt x="684" y="123"/>
                </a:cubicBezTo>
                <a:cubicBezTo>
                  <a:pt x="682" y="123"/>
                  <a:pt x="682" y="123"/>
                  <a:pt x="682" y="123"/>
                </a:cubicBezTo>
                <a:cubicBezTo>
                  <a:pt x="680" y="125"/>
                  <a:pt x="680" y="125"/>
                  <a:pt x="680" y="125"/>
                </a:cubicBezTo>
                <a:cubicBezTo>
                  <a:pt x="679" y="125"/>
                  <a:pt x="679" y="125"/>
                  <a:pt x="679" y="125"/>
                </a:cubicBezTo>
                <a:cubicBezTo>
                  <a:pt x="677" y="125"/>
                  <a:pt x="677" y="125"/>
                  <a:pt x="677" y="125"/>
                </a:cubicBezTo>
                <a:cubicBezTo>
                  <a:pt x="675" y="127"/>
                  <a:pt x="675" y="127"/>
                  <a:pt x="675" y="127"/>
                </a:cubicBezTo>
                <a:cubicBezTo>
                  <a:pt x="673" y="127"/>
                  <a:pt x="673" y="127"/>
                  <a:pt x="673" y="127"/>
                </a:cubicBezTo>
                <a:cubicBezTo>
                  <a:pt x="673" y="125"/>
                  <a:pt x="673" y="125"/>
                  <a:pt x="673" y="125"/>
                </a:cubicBezTo>
                <a:cubicBezTo>
                  <a:pt x="670" y="125"/>
                  <a:pt x="670" y="125"/>
                  <a:pt x="670" y="125"/>
                </a:cubicBezTo>
                <a:cubicBezTo>
                  <a:pt x="668" y="127"/>
                  <a:pt x="668" y="127"/>
                  <a:pt x="668" y="127"/>
                </a:cubicBezTo>
                <a:cubicBezTo>
                  <a:pt x="666" y="127"/>
                  <a:pt x="666" y="127"/>
                  <a:pt x="666" y="127"/>
                </a:cubicBezTo>
                <a:cubicBezTo>
                  <a:pt x="665" y="125"/>
                  <a:pt x="665" y="125"/>
                  <a:pt x="665" y="125"/>
                </a:cubicBezTo>
                <a:cubicBezTo>
                  <a:pt x="666" y="123"/>
                  <a:pt x="666" y="123"/>
                  <a:pt x="666" y="123"/>
                </a:cubicBezTo>
                <a:cubicBezTo>
                  <a:pt x="663" y="127"/>
                  <a:pt x="663" y="127"/>
                  <a:pt x="663" y="127"/>
                </a:cubicBezTo>
                <a:cubicBezTo>
                  <a:pt x="660" y="131"/>
                  <a:pt x="660" y="131"/>
                  <a:pt x="660" y="131"/>
                </a:cubicBezTo>
                <a:cubicBezTo>
                  <a:pt x="659" y="132"/>
                  <a:pt x="659" y="132"/>
                  <a:pt x="659" y="132"/>
                </a:cubicBezTo>
                <a:cubicBezTo>
                  <a:pt x="658" y="130"/>
                  <a:pt x="658" y="130"/>
                  <a:pt x="658" y="130"/>
                </a:cubicBezTo>
                <a:cubicBezTo>
                  <a:pt x="657" y="133"/>
                  <a:pt x="657" y="133"/>
                  <a:pt x="657" y="133"/>
                </a:cubicBezTo>
                <a:cubicBezTo>
                  <a:pt x="655" y="133"/>
                  <a:pt x="655" y="133"/>
                  <a:pt x="655" y="133"/>
                </a:cubicBezTo>
                <a:cubicBezTo>
                  <a:pt x="655" y="131"/>
                  <a:pt x="655" y="131"/>
                  <a:pt x="655" y="131"/>
                </a:cubicBezTo>
                <a:cubicBezTo>
                  <a:pt x="654" y="133"/>
                  <a:pt x="654" y="133"/>
                  <a:pt x="654" y="133"/>
                </a:cubicBezTo>
                <a:cubicBezTo>
                  <a:pt x="653" y="135"/>
                  <a:pt x="653" y="135"/>
                  <a:pt x="653" y="135"/>
                </a:cubicBezTo>
                <a:cubicBezTo>
                  <a:pt x="651" y="134"/>
                  <a:pt x="651" y="134"/>
                  <a:pt x="651" y="134"/>
                </a:cubicBezTo>
                <a:cubicBezTo>
                  <a:pt x="651" y="133"/>
                  <a:pt x="651" y="133"/>
                  <a:pt x="651" y="133"/>
                </a:cubicBezTo>
                <a:cubicBezTo>
                  <a:pt x="649" y="135"/>
                  <a:pt x="649" y="135"/>
                  <a:pt x="649" y="135"/>
                </a:cubicBezTo>
                <a:cubicBezTo>
                  <a:pt x="648" y="135"/>
                  <a:pt x="648" y="135"/>
                  <a:pt x="648" y="135"/>
                </a:cubicBezTo>
                <a:cubicBezTo>
                  <a:pt x="646" y="138"/>
                  <a:pt x="646" y="138"/>
                  <a:pt x="646" y="138"/>
                </a:cubicBezTo>
                <a:cubicBezTo>
                  <a:pt x="642" y="141"/>
                  <a:pt x="642" y="141"/>
                  <a:pt x="642" y="141"/>
                </a:cubicBezTo>
                <a:cubicBezTo>
                  <a:pt x="640" y="146"/>
                  <a:pt x="640" y="146"/>
                  <a:pt x="640" y="146"/>
                </a:cubicBezTo>
                <a:cubicBezTo>
                  <a:pt x="639" y="148"/>
                  <a:pt x="639" y="148"/>
                  <a:pt x="639" y="148"/>
                </a:cubicBezTo>
                <a:cubicBezTo>
                  <a:pt x="638" y="149"/>
                  <a:pt x="638" y="149"/>
                  <a:pt x="638" y="149"/>
                </a:cubicBezTo>
                <a:cubicBezTo>
                  <a:pt x="637" y="150"/>
                  <a:pt x="637" y="150"/>
                  <a:pt x="637" y="150"/>
                </a:cubicBezTo>
                <a:cubicBezTo>
                  <a:pt x="637" y="152"/>
                  <a:pt x="637" y="152"/>
                  <a:pt x="637" y="152"/>
                </a:cubicBezTo>
                <a:cubicBezTo>
                  <a:pt x="638" y="152"/>
                  <a:pt x="638" y="152"/>
                  <a:pt x="638" y="152"/>
                </a:cubicBezTo>
                <a:cubicBezTo>
                  <a:pt x="639" y="154"/>
                  <a:pt x="639" y="154"/>
                  <a:pt x="639" y="154"/>
                </a:cubicBezTo>
                <a:cubicBezTo>
                  <a:pt x="634" y="158"/>
                  <a:pt x="634" y="158"/>
                  <a:pt x="634" y="158"/>
                </a:cubicBezTo>
                <a:cubicBezTo>
                  <a:pt x="634" y="159"/>
                  <a:pt x="634" y="159"/>
                  <a:pt x="634" y="159"/>
                </a:cubicBezTo>
                <a:cubicBezTo>
                  <a:pt x="637" y="160"/>
                  <a:pt x="637" y="160"/>
                  <a:pt x="637" y="160"/>
                </a:cubicBezTo>
                <a:cubicBezTo>
                  <a:pt x="639" y="164"/>
                  <a:pt x="639" y="164"/>
                  <a:pt x="639" y="164"/>
                </a:cubicBezTo>
                <a:cubicBezTo>
                  <a:pt x="639" y="166"/>
                  <a:pt x="639" y="166"/>
                  <a:pt x="639" y="166"/>
                </a:cubicBezTo>
                <a:cubicBezTo>
                  <a:pt x="643" y="166"/>
                  <a:pt x="643" y="166"/>
                  <a:pt x="643" y="166"/>
                </a:cubicBezTo>
                <a:cubicBezTo>
                  <a:pt x="644" y="164"/>
                  <a:pt x="644" y="164"/>
                  <a:pt x="644" y="164"/>
                </a:cubicBezTo>
                <a:cubicBezTo>
                  <a:pt x="643" y="162"/>
                  <a:pt x="643" y="162"/>
                  <a:pt x="643" y="162"/>
                </a:cubicBezTo>
                <a:cubicBezTo>
                  <a:pt x="644" y="161"/>
                  <a:pt x="644" y="161"/>
                  <a:pt x="644" y="161"/>
                </a:cubicBezTo>
                <a:cubicBezTo>
                  <a:pt x="646" y="165"/>
                  <a:pt x="646" y="165"/>
                  <a:pt x="646" y="165"/>
                </a:cubicBezTo>
                <a:cubicBezTo>
                  <a:pt x="644" y="168"/>
                  <a:pt x="644" y="168"/>
                  <a:pt x="644" y="168"/>
                </a:cubicBezTo>
                <a:cubicBezTo>
                  <a:pt x="638" y="171"/>
                  <a:pt x="638" y="171"/>
                  <a:pt x="638" y="171"/>
                </a:cubicBezTo>
                <a:cubicBezTo>
                  <a:pt x="637" y="170"/>
                  <a:pt x="637" y="170"/>
                  <a:pt x="637" y="170"/>
                </a:cubicBezTo>
                <a:cubicBezTo>
                  <a:pt x="637" y="168"/>
                  <a:pt x="637" y="168"/>
                  <a:pt x="637" y="168"/>
                </a:cubicBezTo>
                <a:cubicBezTo>
                  <a:pt x="636" y="166"/>
                  <a:pt x="636" y="166"/>
                  <a:pt x="636" y="166"/>
                </a:cubicBezTo>
                <a:cubicBezTo>
                  <a:pt x="634" y="170"/>
                  <a:pt x="634" y="170"/>
                  <a:pt x="634" y="170"/>
                </a:cubicBezTo>
                <a:cubicBezTo>
                  <a:pt x="631" y="173"/>
                  <a:pt x="631" y="173"/>
                  <a:pt x="631" y="173"/>
                </a:cubicBezTo>
                <a:cubicBezTo>
                  <a:pt x="630" y="172"/>
                  <a:pt x="630" y="172"/>
                  <a:pt x="630" y="172"/>
                </a:cubicBezTo>
                <a:cubicBezTo>
                  <a:pt x="630" y="171"/>
                  <a:pt x="630" y="171"/>
                  <a:pt x="630" y="171"/>
                </a:cubicBezTo>
                <a:cubicBezTo>
                  <a:pt x="630" y="168"/>
                  <a:pt x="630" y="168"/>
                  <a:pt x="630" y="168"/>
                </a:cubicBezTo>
                <a:cubicBezTo>
                  <a:pt x="628" y="166"/>
                  <a:pt x="628" y="166"/>
                  <a:pt x="628" y="166"/>
                </a:cubicBezTo>
                <a:cubicBezTo>
                  <a:pt x="628" y="169"/>
                  <a:pt x="628" y="169"/>
                  <a:pt x="628" y="169"/>
                </a:cubicBezTo>
                <a:cubicBezTo>
                  <a:pt x="627" y="172"/>
                  <a:pt x="627" y="172"/>
                  <a:pt x="627" y="172"/>
                </a:cubicBezTo>
                <a:cubicBezTo>
                  <a:pt x="628" y="173"/>
                  <a:pt x="628" y="173"/>
                  <a:pt x="628" y="173"/>
                </a:cubicBezTo>
                <a:cubicBezTo>
                  <a:pt x="627" y="173"/>
                  <a:pt x="627" y="173"/>
                  <a:pt x="627" y="173"/>
                </a:cubicBezTo>
                <a:cubicBezTo>
                  <a:pt x="622" y="174"/>
                  <a:pt x="622" y="174"/>
                  <a:pt x="622" y="174"/>
                </a:cubicBezTo>
                <a:cubicBezTo>
                  <a:pt x="619" y="175"/>
                  <a:pt x="619" y="175"/>
                  <a:pt x="619" y="175"/>
                </a:cubicBezTo>
                <a:cubicBezTo>
                  <a:pt x="616" y="174"/>
                  <a:pt x="616" y="174"/>
                  <a:pt x="616" y="174"/>
                </a:cubicBezTo>
                <a:cubicBezTo>
                  <a:pt x="612" y="174"/>
                  <a:pt x="612" y="174"/>
                  <a:pt x="612" y="174"/>
                </a:cubicBezTo>
                <a:cubicBezTo>
                  <a:pt x="611" y="173"/>
                  <a:pt x="611" y="173"/>
                  <a:pt x="611" y="173"/>
                </a:cubicBezTo>
                <a:cubicBezTo>
                  <a:pt x="609" y="174"/>
                  <a:pt x="609" y="174"/>
                  <a:pt x="609" y="174"/>
                </a:cubicBezTo>
                <a:cubicBezTo>
                  <a:pt x="605" y="176"/>
                  <a:pt x="605" y="176"/>
                  <a:pt x="605" y="176"/>
                </a:cubicBezTo>
                <a:cubicBezTo>
                  <a:pt x="603" y="176"/>
                  <a:pt x="603" y="176"/>
                  <a:pt x="603" y="176"/>
                </a:cubicBezTo>
                <a:cubicBezTo>
                  <a:pt x="599" y="178"/>
                  <a:pt x="599" y="178"/>
                  <a:pt x="599" y="178"/>
                </a:cubicBezTo>
                <a:cubicBezTo>
                  <a:pt x="597" y="179"/>
                  <a:pt x="597" y="179"/>
                  <a:pt x="597" y="179"/>
                </a:cubicBezTo>
                <a:cubicBezTo>
                  <a:pt x="595" y="181"/>
                  <a:pt x="595" y="181"/>
                  <a:pt x="595" y="181"/>
                </a:cubicBezTo>
                <a:cubicBezTo>
                  <a:pt x="595" y="182"/>
                  <a:pt x="595" y="182"/>
                  <a:pt x="595" y="182"/>
                </a:cubicBezTo>
                <a:cubicBezTo>
                  <a:pt x="591" y="184"/>
                  <a:pt x="591" y="184"/>
                  <a:pt x="591" y="184"/>
                </a:cubicBezTo>
                <a:cubicBezTo>
                  <a:pt x="592" y="186"/>
                  <a:pt x="592" y="186"/>
                  <a:pt x="592" y="186"/>
                </a:cubicBezTo>
                <a:cubicBezTo>
                  <a:pt x="594" y="187"/>
                  <a:pt x="594" y="187"/>
                  <a:pt x="594" y="187"/>
                </a:cubicBezTo>
                <a:cubicBezTo>
                  <a:pt x="594" y="189"/>
                  <a:pt x="594" y="189"/>
                  <a:pt x="594" y="189"/>
                </a:cubicBezTo>
                <a:cubicBezTo>
                  <a:pt x="593" y="190"/>
                  <a:pt x="593" y="190"/>
                  <a:pt x="593" y="190"/>
                </a:cubicBezTo>
                <a:cubicBezTo>
                  <a:pt x="593" y="191"/>
                  <a:pt x="593" y="191"/>
                  <a:pt x="593" y="191"/>
                </a:cubicBezTo>
                <a:cubicBezTo>
                  <a:pt x="592" y="194"/>
                  <a:pt x="592" y="194"/>
                  <a:pt x="592" y="194"/>
                </a:cubicBezTo>
                <a:cubicBezTo>
                  <a:pt x="592" y="195"/>
                  <a:pt x="592" y="195"/>
                  <a:pt x="592" y="195"/>
                </a:cubicBezTo>
                <a:cubicBezTo>
                  <a:pt x="591" y="196"/>
                  <a:pt x="591" y="196"/>
                  <a:pt x="591" y="196"/>
                </a:cubicBezTo>
                <a:cubicBezTo>
                  <a:pt x="590" y="199"/>
                  <a:pt x="590" y="199"/>
                  <a:pt x="590" y="199"/>
                </a:cubicBezTo>
                <a:cubicBezTo>
                  <a:pt x="589" y="199"/>
                  <a:pt x="589" y="199"/>
                  <a:pt x="589" y="199"/>
                </a:cubicBezTo>
                <a:cubicBezTo>
                  <a:pt x="588" y="200"/>
                  <a:pt x="588" y="200"/>
                  <a:pt x="588" y="200"/>
                </a:cubicBezTo>
                <a:cubicBezTo>
                  <a:pt x="587" y="204"/>
                  <a:pt x="587" y="204"/>
                  <a:pt x="587" y="204"/>
                </a:cubicBezTo>
                <a:cubicBezTo>
                  <a:pt x="585" y="204"/>
                  <a:pt x="585" y="204"/>
                  <a:pt x="585" y="204"/>
                </a:cubicBezTo>
                <a:cubicBezTo>
                  <a:pt x="584" y="206"/>
                  <a:pt x="584" y="206"/>
                  <a:pt x="584" y="206"/>
                </a:cubicBezTo>
                <a:cubicBezTo>
                  <a:pt x="583" y="206"/>
                  <a:pt x="583" y="206"/>
                  <a:pt x="583" y="206"/>
                </a:cubicBezTo>
                <a:cubicBezTo>
                  <a:pt x="583" y="207"/>
                  <a:pt x="583" y="207"/>
                  <a:pt x="583" y="207"/>
                </a:cubicBezTo>
                <a:cubicBezTo>
                  <a:pt x="581" y="210"/>
                  <a:pt x="581" y="210"/>
                  <a:pt x="581" y="210"/>
                </a:cubicBezTo>
                <a:cubicBezTo>
                  <a:pt x="581" y="209"/>
                  <a:pt x="581" y="209"/>
                  <a:pt x="581" y="209"/>
                </a:cubicBezTo>
                <a:cubicBezTo>
                  <a:pt x="579" y="210"/>
                  <a:pt x="579" y="210"/>
                  <a:pt x="579" y="210"/>
                </a:cubicBezTo>
                <a:cubicBezTo>
                  <a:pt x="580" y="207"/>
                  <a:pt x="580" y="207"/>
                  <a:pt x="580" y="207"/>
                </a:cubicBezTo>
                <a:cubicBezTo>
                  <a:pt x="579" y="206"/>
                  <a:pt x="579" y="206"/>
                  <a:pt x="579" y="206"/>
                </a:cubicBezTo>
                <a:cubicBezTo>
                  <a:pt x="578" y="206"/>
                  <a:pt x="578" y="206"/>
                  <a:pt x="578" y="206"/>
                </a:cubicBezTo>
                <a:cubicBezTo>
                  <a:pt x="575" y="204"/>
                  <a:pt x="575" y="204"/>
                  <a:pt x="575" y="204"/>
                </a:cubicBezTo>
                <a:cubicBezTo>
                  <a:pt x="574" y="202"/>
                  <a:pt x="574" y="202"/>
                  <a:pt x="574" y="202"/>
                </a:cubicBezTo>
                <a:cubicBezTo>
                  <a:pt x="575" y="200"/>
                  <a:pt x="575" y="200"/>
                  <a:pt x="575" y="200"/>
                </a:cubicBezTo>
                <a:cubicBezTo>
                  <a:pt x="579" y="196"/>
                  <a:pt x="579" y="196"/>
                  <a:pt x="579" y="196"/>
                </a:cubicBezTo>
                <a:cubicBezTo>
                  <a:pt x="576" y="197"/>
                  <a:pt x="576" y="197"/>
                  <a:pt x="576" y="197"/>
                </a:cubicBezTo>
                <a:cubicBezTo>
                  <a:pt x="574" y="199"/>
                  <a:pt x="574" y="199"/>
                  <a:pt x="574" y="199"/>
                </a:cubicBezTo>
                <a:cubicBezTo>
                  <a:pt x="573" y="201"/>
                  <a:pt x="573" y="201"/>
                  <a:pt x="573" y="201"/>
                </a:cubicBezTo>
                <a:cubicBezTo>
                  <a:pt x="573" y="204"/>
                  <a:pt x="573" y="204"/>
                  <a:pt x="573" y="204"/>
                </a:cubicBezTo>
                <a:cubicBezTo>
                  <a:pt x="574" y="205"/>
                  <a:pt x="574" y="205"/>
                  <a:pt x="574" y="205"/>
                </a:cubicBezTo>
                <a:cubicBezTo>
                  <a:pt x="574" y="208"/>
                  <a:pt x="574" y="208"/>
                  <a:pt x="574" y="208"/>
                </a:cubicBezTo>
                <a:cubicBezTo>
                  <a:pt x="575" y="210"/>
                  <a:pt x="575" y="210"/>
                  <a:pt x="575" y="210"/>
                </a:cubicBezTo>
                <a:cubicBezTo>
                  <a:pt x="577" y="214"/>
                  <a:pt x="577" y="214"/>
                  <a:pt x="577" y="214"/>
                </a:cubicBezTo>
                <a:cubicBezTo>
                  <a:pt x="577" y="217"/>
                  <a:pt x="577" y="217"/>
                  <a:pt x="577" y="217"/>
                </a:cubicBezTo>
                <a:cubicBezTo>
                  <a:pt x="575" y="221"/>
                  <a:pt x="575" y="221"/>
                  <a:pt x="575" y="221"/>
                </a:cubicBezTo>
                <a:cubicBezTo>
                  <a:pt x="572" y="223"/>
                  <a:pt x="572" y="223"/>
                  <a:pt x="572" y="223"/>
                </a:cubicBezTo>
                <a:cubicBezTo>
                  <a:pt x="570" y="228"/>
                  <a:pt x="570" y="228"/>
                  <a:pt x="570" y="228"/>
                </a:cubicBezTo>
                <a:cubicBezTo>
                  <a:pt x="569" y="230"/>
                  <a:pt x="569" y="230"/>
                  <a:pt x="569" y="230"/>
                </a:cubicBezTo>
                <a:cubicBezTo>
                  <a:pt x="569" y="232"/>
                  <a:pt x="569" y="232"/>
                  <a:pt x="569" y="232"/>
                </a:cubicBezTo>
                <a:cubicBezTo>
                  <a:pt x="568" y="233"/>
                  <a:pt x="568" y="233"/>
                  <a:pt x="568" y="233"/>
                </a:cubicBezTo>
                <a:cubicBezTo>
                  <a:pt x="568" y="232"/>
                  <a:pt x="568" y="232"/>
                  <a:pt x="568" y="232"/>
                </a:cubicBezTo>
                <a:cubicBezTo>
                  <a:pt x="568" y="231"/>
                  <a:pt x="568" y="231"/>
                  <a:pt x="568" y="231"/>
                </a:cubicBezTo>
                <a:cubicBezTo>
                  <a:pt x="565" y="235"/>
                  <a:pt x="565" y="235"/>
                  <a:pt x="565" y="235"/>
                </a:cubicBezTo>
                <a:cubicBezTo>
                  <a:pt x="565" y="236"/>
                  <a:pt x="565" y="236"/>
                  <a:pt x="565" y="236"/>
                </a:cubicBezTo>
                <a:cubicBezTo>
                  <a:pt x="564" y="237"/>
                  <a:pt x="564" y="237"/>
                  <a:pt x="564" y="237"/>
                </a:cubicBezTo>
                <a:cubicBezTo>
                  <a:pt x="564" y="235"/>
                  <a:pt x="564" y="235"/>
                  <a:pt x="564" y="235"/>
                </a:cubicBezTo>
                <a:cubicBezTo>
                  <a:pt x="565" y="232"/>
                  <a:pt x="565" y="232"/>
                  <a:pt x="565" y="232"/>
                </a:cubicBezTo>
                <a:cubicBezTo>
                  <a:pt x="566" y="230"/>
                  <a:pt x="566" y="230"/>
                  <a:pt x="566" y="230"/>
                </a:cubicBezTo>
                <a:cubicBezTo>
                  <a:pt x="566" y="228"/>
                  <a:pt x="566" y="228"/>
                  <a:pt x="566" y="228"/>
                </a:cubicBezTo>
                <a:cubicBezTo>
                  <a:pt x="567" y="226"/>
                  <a:pt x="567" y="226"/>
                  <a:pt x="567" y="226"/>
                </a:cubicBezTo>
                <a:cubicBezTo>
                  <a:pt x="567" y="226"/>
                  <a:pt x="567" y="226"/>
                  <a:pt x="567" y="226"/>
                </a:cubicBezTo>
                <a:cubicBezTo>
                  <a:pt x="569" y="225"/>
                  <a:pt x="569" y="225"/>
                  <a:pt x="569" y="225"/>
                </a:cubicBezTo>
                <a:cubicBezTo>
                  <a:pt x="566" y="225"/>
                  <a:pt x="566" y="225"/>
                  <a:pt x="566" y="225"/>
                </a:cubicBezTo>
                <a:cubicBezTo>
                  <a:pt x="565" y="223"/>
                  <a:pt x="565" y="223"/>
                  <a:pt x="565" y="223"/>
                </a:cubicBezTo>
                <a:cubicBezTo>
                  <a:pt x="566" y="222"/>
                  <a:pt x="566" y="222"/>
                  <a:pt x="566" y="222"/>
                </a:cubicBezTo>
                <a:cubicBezTo>
                  <a:pt x="566" y="221"/>
                  <a:pt x="566" y="221"/>
                  <a:pt x="566" y="221"/>
                </a:cubicBezTo>
                <a:cubicBezTo>
                  <a:pt x="565" y="221"/>
                  <a:pt x="565" y="221"/>
                  <a:pt x="565" y="221"/>
                </a:cubicBezTo>
                <a:cubicBezTo>
                  <a:pt x="564" y="220"/>
                  <a:pt x="564" y="220"/>
                  <a:pt x="564" y="220"/>
                </a:cubicBezTo>
                <a:cubicBezTo>
                  <a:pt x="564" y="221"/>
                  <a:pt x="564" y="221"/>
                  <a:pt x="564" y="221"/>
                </a:cubicBezTo>
                <a:cubicBezTo>
                  <a:pt x="562" y="219"/>
                  <a:pt x="562" y="219"/>
                  <a:pt x="562" y="219"/>
                </a:cubicBezTo>
                <a:cubicBezTo>
                  <a:pt x="562" y="217"/>
                  <a:pt x="562" y="217"/>
                  <a:pt x="562" y="217"/>
                </a:cubicBezTo>
                <a:cubicBezTo>
                  <a:pt x="563" y="214"/>
                  <a:pt x="563" y="214"/>
                  <a:pt x="563" y="214"/>
                </a:cubicBezTo>
                <a:cubicBezTo>
                  <a:pt x="564" y="211"/>
                  <a:pt x="564" y="211"/>
                  <a:pt x="564" y="211"/>
                </a:cubicBezTo>
                <a:cubicBezTo>
                  <a:pt x="562" y="207"/>
                  <a:pt x="562" y="207"/>
                  <a:pt x="562" y="207"/>
                </a:cubicBezTo>
                <a:cubicBezTo>
                  <a:pt x="563" y="205"/>
                  <a:pt x="563" y="205"/>
                  <a:pt x="563" y="205"/>
                </a:cubicBezTo>
                <a:cubicBezTo>
                  <a:pt x="565" y="204"/>
                  <a:pt x="565" y="204"/>
                  <a:pt x="565" y="204"/>
                </a:cubicBezTo>
                <a:cubicBezTo>
                  <a:pt x="565" y="203"/>
                  <a:pt x="565" y="203"/>
                  <a:pt x="565" y="203"/>
                </a:cubicBezTo>
                <a:cubicBezTo>
                  <a:pt x="565" y="200"/>
                  <a:pt x="565" y="200"/>
                  <a:pt x="565" y="200"/>
                </a:cubicBezTo>
                <a:cubicBezTo>
                  <a:pt x="565" y="200"/>
                  <a:pt x="565" y="200"/>
                  <a:pt x="565" y="200"/>
                </a:cubicBezTo>
                <a:cubicBezTo>
                  <a:pt x="565" y="200"/>
                  <a:pt x="565" y="200"/>
                  <a:pt x="565" y="200"/>
                </a:cubicBezTo>
                <a:cubicBezTo>
                  <a:pt x="564" y="203"/>
                  <a:pt x="564" y="203"/>
                  <a:pt x="564" y="203"/>
                </a:cubicBezTo>
                <a:cubicBezTo>
                  <a:pt x="562" y="204"/>
                  <a:pt x="562" y="204"/>
                  <a:pt x="562" y="204"/>
                </a:cubicBezTo>
                <a:cubicBezTo>
                  <a:pt x="560" y="206"/>
                  <a:pt x="560" y="206"/>
                  <a:pt x="560" y="206"/>
                </a:cubicBezTo>
                <a:cubicBezTo>
                  <a:pt x="559" y="206"/>
                  <a:pt x="559" y="206"/>
                  <a:pt x="559" y="206"/>
                </a:cubicBezTo>
                <a:cubicBezTo>
                  <a:pt x="560" y="207"/>
                  <a:pt x="560" y="207"/>
                  <a:pt x="560" y="207"/>
                </a:cubicBezTo>
                <a:cubicBezTo>
                  <a:pt x="560" y="209"/>
                  <a:pt x="560" y="209"/>
                  <a:pt x="560" y="209"/>
                </a:cubicBezTo>
                <a:cubicBezTo>
                  <a:pt x="559" y="212"/>
                  <a:pt x="559" y="212"/>
                  <a:pt x="559" y="212"/>
                </a:cubicBezTo>
                <a:cubicBezTo>
                  <a:pt x="560" y="214"/>
                  <a:pt x="560" y="214"/>
                  <a:pt x="560" y="214"/>
                </a:cubicBezTo>
                <a:cubicBezTo>
                  <a:pt x="560" y="215"/>
                  <a:pt x="560" y="215"/>
                  <a:pt x="560" y="215"/>
                </a:cubicBezTo>
                <a:cubicBezTo>
                  <a:pt x="560" y="218"/>
                  <a:pt x="560" y="218"/>
                  <a:pt x="560" y="218"/>
                </a:cubicBezTo>
                <a:cubicBezTo>
                  <a:pt x="560" y="222"/>
                  <a:pt x="560" y="222"/>
                  <a:pt x="560" y="222"/>
                </a:cubicBezTo>
                <a:cubicBezTo>
                  <a:pt x="559" y="223"/>
                  <a:pt x="559" y="223"/>
                  <a:pt x="559" y="223"/>
                </a:cubicBezTo>
                <a:cubicBezTo>
                  <a:pt x="556" y="219"/>
                  <a:pt x="556" y="219"/>
                  <a:pt x="556" y="219"/>
                </a:cubicBezTo>
                <a:cubicBezTo>
                  <a:pt x="554" y="219"/>
                  <a:pt x="554" y="219"/>
                  <a:pt x="554" y="219"/>
                </a:cubicBezTo>
                <a:cubicBezTo>
                  <a:pt x="552" y="216"/>
                  <a:pt x="552" y="216"/>
                  <a:pt x="552" y="216"/>
                </a:cubicBezTo>
                <a:cubicBezTo>
                  <a:pt x="551" y="216"/>
                  <a:pt x="551" y="216"/>
                  <a:pt x="551" y="216"/>
                </a:cubicBezTo>
                <a:cubicBezTo>
                  <a:pt x="550" y="215"/>
                  <a:pt x="550" y="215"/>
                  <a:pt x="550" y="215"/>
                </a:cubicBezTo>
                <a:cubicBezTo>
                  <a:pt x="552" y="212"/>
                  <a:pt x="552" y="212"/>
                  <a:pt x="552" y="212"/>
                </a:cubicBezTo>
                <a:cubicBezTo>
                  <a:pt x="550" y="215"/>
                  <a:pt x="550" y="215"/>
                  <a:pt x="550" y="215"/>
                </a:cubicBezTo>
                <a:cubicBezTo>
                  <a:pt x="550" y="217"/>
                  <a:pt x="550" y="217"/>
                  <a:pt x="550" y="217"/>
                </a:cubicBezTo>
                <a:cubicBezTo>
                  <a:pt x="552" y="217"/>
                  <a:pt x="552" y="217"/>
                  <a:pt x="552" y="217"/>
                </a:cubicBezTo>
                <a:cubicBezTo>
                  <a:pt x="553" y="220"/>
                  <a:pt x="553" y="220"/>
                  <a:pt x="553" y="220"/>
                </a:cubicBezTo>
                <a:cubicBezTo>
                  <a:pt x="556" y="221"/>
                  <a:pt x="556" y="221"/>
                  <a:pt x="556" y="221"/>
                </a:cubicBezTo>
                <a:cubicBezTo>
                  <a:pt x="558" y="224"/>
                  <a:pt x="558" y="224"/>
                  <a:pt x="558" y="224"/>
                </a:cubicBezTo>
                <a:cubicBezTo>
                  <a:pt x="560" y="225"/>
                  <a:pt x="560" y="225"/>
                  <a:pt x="560" y="225"/>
                </a:cubicBezTo>
                <a:cubicBezTo>
                  <a:pt x="560" y="227"/>
                  <a:pt x="560" y="227"/>
                  <a:pt x="560" y="227"/>
                </a:cubicBezTo>
                <a:cubicBezTo>
                  <a:pt x="560" y="230"/>
                  <a:pt x="560" y="230"/>
                  <a:pt x="560" y="230"/>
                </a:cubicBezTo>
                <a:cubicBezTo>
                  <a:pt x="558" y="230"/>
                  <a:pt x="558" y="230"/>
                  <a:pt x="558" y="230"/>
                </a:cubicBezTo>
                <a:cubicBezTo>
                  <a:pt x="557" y="228"/>
                  <a:pt x="557" y="228"/>
                  <a:pt x="557" y="228"/>
                </a:cubicBezTo>
                <a:cubicBezTo>
                  <a:pt x="556" y="227"/>
                  <a:pt x="556" y="227"/>
                  <a:pt x="556" y="227"/>
                </a:cubicBezTo>
                <a:cubicBezTo>
                  <a:pt x="557" y="230"/>
                  <a:pt x="557" y="230"/>
                  <a:pt x="557" y="230"/>
                </a:cubicBezTo>
                <a:cubicBezTo>
                  <a:pt x="560" y="232"/>
                  <a:pt x="560" y="232"/>
                  <a:pt x="560" y="232"/>
                </a:cubicBezTo>
                <a:cubicBezTo>
                  <a:pt x="560" y="233"/>
                  <a:pt x="560" y="233"/>
                  <a:pt x="560" y="233"/>
                </a:cubicBezTo>
                <a:cubicBezTo>
                  <a:pt x="560" y="234"/>
                  <a:pt x="560" y="234"/>
                  <a:pt x="560" y="234"/>
                </a:cubicBezTo>
                <a:cubicBezTo>
                  <a:pt x="560" y="235"/>
                  <a:pt x="560" y="235"/>
                  <a:pt x="560" y="235"/>
                </a:cubicBezTo>
                <a:cubicBezTo>
                  <a:pt x="557" y="235"/>
                  <a:pt x="557" y="235"/>
                  <a:pt x="557" y="235"/>
                </a:cubicBezTo>
                <a:cubicBezTo>
                  <a:pt x="560" y="237"/>
                  <a:pt x="560" y="237"/>
                  <a:pt x="560" y="237"/>
                </a:cubicBezTo>
                <a:cubicBezTo>
                  <a:pt x="559" y="239"/>
                  <a:pt x="559" y="239"/>
                  <a:pt x="559" y="239"/>
                </a:cubicBezTo>
                <a:cubicBezTo>
                  <a:pt x="558" y="238"/>
                  <a:pt x="558" y="238"/>
                  <a:pt x="558" y="238"/>
                </a:cubicBezTo>
                <a:cubicBezTo>
                  <a:pt x="556" y="236"/>
                  <a:pt x="556" y="236"/>
                  <a:pt x="556" y="236"/>
                </a:cubicBezTo>
                <a:cubicBezTo>
                  <a:pt x="553" y="236"/>
                  <a:pt x="553" y="236"/>
                  <a:pt x="553" y="236"/>
                </a:cubicBezTo>
                <a:cubicBezTo>
                  <a:pt x="551" y="235"/>
                  <a:pt x="551" y="235"/>
                  <a:pt x="551" y="235"/>
                </a:cubicBezTo>
                <a:cubicBezTo>
                  <a:pt x="553" y="237"/>
                  <a:pt x="553" y="237"/>
                  <a:pt x="553" y="237"/>
                </a:cubicBezTo>
                <a:cubicBezTo>
                  <a:pt x="555" y="238"/>
                  <a:pt x="555" y="238"/>
                  <a:pt x="555" y="238"/>
                </a:cubicBezTo>
                <a:cubicBezTo>
                  <a:pt x="556" y="238"/>
                  <a:pt x="556" y="238"/>
                  <a:pt x="556" y="238"/>
                </a:cubicBezTo>
                <a:cubicBezTo>
                  <a:pt x="557" y="241"/>
                  <a:pt x="557" y="241"/>
                  <a:pt x="557" y="241"/>
                </a:cubicBezTo>
                <a:cubicBezTo>
                  <a:pt x="560" y="241"/>
                  <a:pt x="560" y="241"/>
                  <a:pt x="560" y="241"/>
                </a:cubicBezTo>
                <a:cubicBezTo>
                  <a:pt x="561" y="241"/>
                  <a:pt x="561" y="241"/>
                  <a:pt x="561" y="241"/>
                </a:cubicBezTo>
                <a:cubicBezTo>
                  <a:pt x="562" y="242"/>
                  <a:pt x="562" y="242"/>
                  <a:pt x="562" y="242"/>
                </a:cubicBezTo>
                <a:cubicBezTo>
                  <a:pt x="563" y="244"/>
                  <a:pt x="563" y="244"/>
                  <a:pt x="563" y="244"/>
                </a:cubicBezTo>
                <a:cubicBezTo>
                  <a:pt x="562" y="246"/>
                  <a:pt x="562" y="246"/>
                  <a:pt x="562" y="246"/>
                </a:cubicBezTo>
                <a:cubicBezTo>
                  <a:pt x="561" y="246"/>
                  <a:pt x="561" y="246"/>
                  <a:pt x="561" y="246"/>
                </a:cubicBezTo>
                <a:cubicBezTo>
                  <a:pt x="561" y="247"/>
                  <a:pt x="561" y="247"/>
                  <a:pt x="561" y="247"/>
                </a:cubicBezTo>
                <a:cubicBezTo>
                  <a:pt x="562" y="248"/>
                  <a:pt x="562" y="248"/>
                  <a:pt x="562" y="248"/>
                </a:cubicBezTo>
                <a:cubicBezTo>
                  <a:pt x="562" y="251"/>
                  <a:pt x="562" y="251"/>
                  <a:pt x="562" y="251"/>
                </a:cubicBezTo>
                <a:cubicBezTo>
                  <a:pt x="561" y="252"/>
                  <a:pt x="561" y="252"/>
                  <a:pt x="561" y="252"/>
                </a:cubicBezTo>
                <a:cubicBezTo>
                  <a:pt x="560" y="252"/>
                  <a:pt x="560" y="252"/>
                  <a:pt x="560" y="252"/>
                </a:cubicBezTo>
                <a:cubicBezTo>
                  <a:pt x="559" y="253"/>
                  <a:pt x="559" y="253"/>
                  <a:pt x="559" y="253"/>
                </a:cubicBezTo>
                <a:cubicBezTo>
                  <a:pt x="556" y="254"/>
                  <a:pt x="556" y="254"/>
                  <a:pt x="556" y="254"/>
                </a:cubicBezTo>
                <a:cubicBezTo>
                  <a:pt x="555" y="255"/>
                  <a:pt x="555" y="255"/>
                  <a:pt x="555" y="255"/>
                </a:cubicBezTo>
                <a:cubicBezTo>
                  <a:pt x="553" y="254"/>
                  <a:pt x="553" y="254"/>
                  <a:pt x="553" y="254"/>
                </a:cubicBezTo>
                <a:cubicBezTo>
                  <a:pt x="552" y="252"/>
                  <a:pt x="552" y="252"/>
                  <a:pt x="552" y="252"/>
                </a:cubicBezTo>
                <a:cubicBezTo>
                  <a:pt x="551" y="252"/>
                  <a:pt x="551" y="252"/>
                  <a:pt x="551" y="252"/>
                </a:cubicBezTo>
                <a:cubicBezTo>
                  <a:pt x="551" y="256"/>
                  <a:pt x="551" y="256"/>
                  <a:pt x="551" y="256"/>
                </a:cubicBezTo>
                <a:cubicBezTo>
                  <a:pt x="551" y="257"/>
                  <a:pt x="551" y="257"/>
                  <a:pt x="551" y="257"/>
                </a:cubicBezTo>
                <a:cubicBezTo>
                  <a:pt x="553" y="256"/>
                  <a:pt x="553" y="256"/>
                  <a:pt x="553" y="256"/>
                </a:cubicBezTo>
                <a:cubicBezTo>
                  <a:pt x="558" y="256"/>
                  <a:pt x="558" y="256"/>
                  <a:pt x="558" y="256"/>
                </a:cubicBezTo>
                <a:cubicBezTo>
                  <a:pt x="559" y="256"/>
                  <a:pt x="559" y="256"/>
                  <a:pt x="559" y="256"/>
                </a:cubicBezTo>
                <a:cubicBezTo>
                  <a:pt x="559" y="260"/>
                  <a:pt x="559" y="260"/>
                  <a:pt x="559" y="260"/>
                </a:cubicBezTo>
                <a:cubicBezTo>
                  <a:pt x="560" y="260"/>
                  <a:pt x="560" y="260"/>
                  <a:pt x="560" y="260"/>
                </a:cubicBezTo>
                <a:cubicBezTo>
                  <a:pt x="561" y="259"/>
                  <a:pt x="561" y="259"/>
                  <a:pt x="561" y="259"/>
                </a:cubicBezTo>
                <a:cubicBezTo>
                  <a:pt x="562" y="256"/>
                  <a:pt x="562" y="256"/>
                  <a:pt x="562" y="256"/>
                </a:cubicBezTo>
                <a:cubicBezTo>
                  <a:pt x="563" y="256"/>
                  <a:pt x="563" y="256"/>
                  <a:pt x="563" y="256"/>
                </a:cubicBezTo>
                <a:cubicBezTo>
                  <a:pt x="563" y="258"/>
                  <a:pt x="563" y="258"/>
                  <a:pt x="563" y="258"/>
                </a:cubicBezTo>
                <a:cubicBezTo>
                  <a:pt x="563" y="261"/>
                  <a:pt x="563" y="261"/>
                  <a:pt x="563" y="261"/>
                </a:cubicBezTo>
                <a:cubicBezTo>
                  <a:pt x="562" y="261"/>
                  <a:pt x="562" y="261"/>
                  <a:pt x="562" y="261"/>
                </a:cubicBezTo>
                <a:cubicBezTo>
                  <a:pt x="560" y="263"/>
                  <a:pt x="560" y="263"/>
                  <a:pt x="560" y="263"/>
                </a:cubicBezTo>
                <a:cubicBezTo>
                  <a:pt x="559" y="265"/>
                  <a:pt x="559" y="265"/>
                  <a:pt x="559" y="265"/>
                </a:cubicBezTo>
                <a:cubicBezTo>
                  <a:pt x="558" y="266"/>
                  <a:pt x="558" y="266"/>
                  <a:pt x="558" y="266"/>
                </a:cubicBezTo>
                <a:cubicBezTo>
                  <a:pt x="556" y="265"/>
                  <a:pt x="556" y="265"/>
                  <a:pt x="556" y="265"/>
                </a:cubicBezTo>
                <a:cubicBezTo>
                  <a:pt x="554" y="265"/>
                  <a:pt x="554" y="265"/>
                  <a:pt x="554" y="265"/>
                </a:cubicBezTo>
                <a:cubicBezTo>
                  <a:pt x="553" y="262"/>
                  <a:pt x="553" y="262"/>
                  <a:pt x="553" y="262"/>
                </a:cubicBezTo>
                <a:cubicBezTo>
                  <a:pt x="553" y="264"/>
                  <a:pt x="553" y="264"/>
                  <a:pt x="553" y="264"/>
                </a:cubicBezTo>
                <a:cubicBezTo>
                  <a:pt x="551" y="265"/>
                  <a:pt x="551" y="265"/>
                  <a:pt x="551" y="265"/>
                </a:cubicBezTo>
                <a:cubicBezTo>
                  <a:pt x="550" y="264"/>
                  <a:pt x="550" y="264"/>
                  <a:pt x="550" y="264"/>
                </a:cubicBezTo>
                <a:cubicBezTo>
                  <a:pt x="548" y="264"/>
                  <a:pt x="548" y="264"/>
                  <a:pt x="548" y="264"/>
                </a:cubicBezTo>
                <a:cubicBezTo>
                  <a:pt x="549" y="265"/>
                  <a:pt x="549" y="265"/>
                  <a:pt x="549" y="265"/>
                </a:cubicBezTo>
                <a:cubicBezTo>
                  <a:pt x="552" y="266"/>
                  <a:pt x="552" y="266"/>
                  <a:pt x="552" y="266"/>
                </a:cubicBezTo>
                <a:cubicBezTo>
                  <a:pt x="553" y="267"/>
                  <a:pt x="553" y="267"/>
                  <a:pt x="553" y="267"/>
                </a:cubicBezTo>
                <a:cubicBezTo>
                  <a:pt x="552" y="268"/>
                  <a:pt x="552" y="268"/>
                  <a:pt x="552" y="268"/>
                </a:cubicBezTo>
                <a:cubicBezTo>
                  <a:pt x="552" y="269"/>
                  <a:pt x="552" y="269"/>
                  <a:pt x="552" y="269"/>
                </a:cubicBezTo>
                <a:cubicBezTo>
                  <a:pt x="549" y="270"/>
                  <a:pt x="549" y="270"/>
                  <a:pt x="549" y="270"/>
                </a:cubicBezTo>
                <a:cubicBezTo>
                  <a:pt x="547" y="270"/>
                  <a:pt x="547" y="270"/>
                  <a:pt x="547" y="270"/>
                </a:cubicBezTo>
                <a:cubicBezTo>
                  <a:pt x="549" y="271"/>
                  <a:pt x="549" y="271"/>
                  <a:pt x="549" y="271"/>
                </a:cubicBezTo>
                <a:cubicBezTo>
                  <a:pt x="552" y="272"/>
                  <a:pt x="552" y="272"/>
                  <a:pt x="552" y="272"/>
                </a:cubicBezTo>
                <a:cubicBezTo>
                  <a:pt x="554" y="270"/>
                  <a:pt x="554" y="270"/>
                  <a:pt x="554" y="270"/>
                </a:cubicBezTo>
                <a:cubicBezTo>
                  <a:pt x="555" y="270"/>
                  <a:pt x="555" y="270"/>
                  <a:pt x="555" y="270"/>
                </a:cubicBezTo>
                <a:cubicBezTo>
                  <a:pt x="555" y="271"/>
                  <a:pt x="555" y="271"/>
                  <a:pt x="555" y="271"/>
                </a:cubicBezTo>
                <a:cubicBezTo>
                  <a:pt x="553" y="273"/>
                  <a:pt x="553" y="273"/>
                  <a:pt x="553" y="273"/>
                </a:cubicBezTo>
                <a:cubicBezTo>
                  <a:pt x="551" y="274"/>
                  <a:pt x="551" y="274"/>
                  <a:pt x="551" y="274"/>
                </a:cubicBezTo>
                <a:cubicBezTo>
                  <a:pt x="551" y="273"/>
                  <a:pt x="551" y="273"/>
                  <a:pt x="551" y="273"/>
                </a:cubicBezTo>
                <a:cubicBezTo>
                  <a:pt x="549" y="273"/>
                  <a:pt x="549" y="273"/>
                  <a:pt x="549" y="273"/>
                </a:cubicBezTo>
                <a:cubicBezTo>
                  <a:pt x="548" y="274"/>
                  <a:pt x="548" y="274"/>
                  <a:pt x="548" y="274"/>
                </a:cubicBezTo>
                <a:cubicBezTo>
                  <a:pt x="545" y="274"/>
                  <a:pt x="545" y="274"/>
                  <a:pt x="545" y="274"/>
                </a:cubicBezTo>
                <a:cubicBezTo>
                  <a:pt x="540" y="277"/>
                  <a:pt x="540" y="277"/>
                  <a:pt x="540" y="277"/>
                </a:cubicBezTo>
                <a:cubicBezTo>
                  <a:pt x="534" y="282"/>
                  <a:pt x="534" y="282"/>
                  <a:pt x="534" y="282"/>
                </a:cubicBezTo>
                <a:cubicBezTo>
                  <a:pt x="532" y="286"/>
                  <a:pt x="532" y="286"/>
                  <a:pt x="532" y="286"/>
                </a:cubicBezTo>
                <a:cubicBezTo>
                  <a:pt x="530" y="286"/>
                  <a:pt x="530" y="286"/>
                  <a:pt x="530" y="286"/>
                </a:cubicBezTo>
                <a:cubicBezTo>
                  <a:pt x="529" y="285"/>
                  <a:pt x="529" y="285"/>
                  <a:pt x="529" y="285"/>
                </a:cubicBezTo>
                <a:cubicBezTo>
                  <a:pt x="526" y="286"/>
                  <a:pt x="526" y="286"/>
                  <a:pt x="526" y="286"/>
                </a:cubicBezTo>
                <a:cubicBezTo>
                  <a:pt x="523" y="288"/>
                  <a:pt x="523" y="288"/>
                  <a:pt x="523" y="288"/>
                </a:cubicBezTo>
                <a:cubicBezTo>
                  <a:pt x="519" y="294"/>
                  <a:pt x="519" y="294"/>
                  <a:pt x="519" y="294"/>
                </a:cubicBezTo>
                <a:cubicBezTo>
                  <a:pt x="519" y="295"/>
                  <a:pt x="519" y="295"/>
                  <a:pt x="519" y="295"/>
                </a:cubicBezTo>
                <a:cubicBezTo>
                  <a:pt x="517" y="297"/>
                  <a:pt x="517" y="297"/>
                  <a:pt x="517" y="297"/>
                </a:cubicBezTo>
                <a:cubicBezTo>
                  <a:pt x="516" y="297"/>
                  <a:pt x="516" y="297"/>
                  <a:pt x="516" y="297"/>
                </a:cubicBezTo>
                <a:cubicBezTo>
                  <a:pt x="515" y="299"/>
                  <a:pt x="515" y="299"/>
                  <a:pt x="515" y="299"/>
                </a:cubicBezTo>
                <a:cubicBezTo>
                  <a:pt x="513" y="301"/>
                  <a:pt x="513" y="301"/>
                  <a:pt x="513" y="301"/>
                </a:cubicBezTo>
                <a:cubicBezTo>
                  <a:pt x="512" y="300"/>
                  <a:pt x="512" y="300"/>
                  <a:pt x="512" y="300"/>
                </a:cubicBezTo>
                <a:cubicBezTo>
                  <a:pt x="511" y="301"/>
                  <a:pt x="511" y="301"/>
                  <a:pt x="511" y="301"/>
                </a:cubicBezTo>
                <a:cubicBezTo>
                  <a:pt x="510" y="302"/>
                  <a:pt x="510" y="302"/>
                  <a:pt x="510" y="302"/>
                </a:cubicBezTo>
                <a:cubicBezTo>
                  <a:pt x="507" y="302"/>
                  <a:pt x="507" y="302"/>
                  <a:pt x="507" y="302"/>
                </a:cubicBezTo>
                <a:cubicBezTo>
                  <a:pt x="506" y="303"/>
                  <a:pt x="506" y="303"/>
                  <a:pt x="506" y="303"/>
                </a:cubicBezTo>
                <a:cubicBezTo>
                  <a:pt x="502" y="304"/>
                  <a:pt x="502" y="304"/>
                  <a:pt x="502" y="304"/>
                </a:cubicBezTo>
                <a:cubicBezTo>
                  <a:pt x="502" y="305"/>
                  <a:pt x="502" y="305"/>
                  <a:pt x="502" y="305"/>
                </a:cubicBezTo>
                <a:cubicBezTo>
                  <a:pt x="499" y="305"/>
                  <a:pt x="499" y="305"/>
                  <a:pt x="499" y="305"/>
                </a:cubicBezTo>
                <a:cubicBezTo>
                  <a:pt x="499" y="306"/>
                  <a:pt x="499" y="306"/>
                  <a:pt x="499" y="306"/>
                </a:cubicBezTo>
                <a:cubicBezTo>
                  <a:pt x="496" y="306"/>
                  <a:pt x="496" y="306"/>
                  <a:pt x="496" y="306"/>
                </a:cubicBezTo>
                <a:cubicBezTo>
                  <a:pt x="495" y="307"/>
                  <a:pt x="495" y="307"/>
                  <a:pt x="495" y="307"/>
                </a:cubicBezTo>
                <a:cubicBezTo>
                  <a:pt x="496" y="308"/>
                  <a:pt x="496" y="308"/>
                  <a:pt x="496" y="308"/>
                </a:cubicBezTo>
                <a:cubicBezTo>
                  <a:pt x="496" y="310"/>
                  <a:pt x="496" y="310"/>
                  <a:pt x="496" y="310"/>
                </a:cubicBezTo>
                <a:cubicBezTo>
                  <a:pt x="494" y="312"/>
                  <a:pt x="494" y="312"/>
                  <a:pt x="494" y="312"/>
                </a:cubicBezTo>
                <a:cubicBezTo>
                  <a:pt x="493" y="312"/>
                  <a:pt x="493" y="312"/>
                  <a:pt x="493" y="312"/>
                </a:cubicBezTo>
                <a:cubicBezTo>
                  <a:pt x="492" y="314"/>
                  <a:pt x="492" y="314"/>
                  <a:pt x="492" y="314"/>
                </a:cubicBezTo>
                <a:cubicBezTo>
                  <a:pt x="490" y="314"/>
                  <a:pt x="490" y="314"/>
                  <a:pt x="490" y="314"/>
                </a:cubicBezTo>
                <a:cubicBezTo>
                  <a:pt x="488" y="318"/>
                  <a:pt x="488" y="318"/>
                  <a:pt x="488" y="318"/>
                </a:cubicBezTo>
                <a:cubicBezTo>
                  <a:pt x="486" y="321"/>
                  <a:pt x="486" y="321"/>
                  <a:pt x="486" y="321"/>
                </a:cubicBezTo>
                <a:cubicBezTo>
                  <a:pt x="486" y="325"/>
                  <a:pt x="486" y="325"/>
                  <a:pt x="486" y="325"/>
                </a:cubicBezTo>
                <a:cubicBezTo>
                  <a:pt x="486" y="333"/>
                  <a:pt x="486" y="333"/>
                  <a:pt x="486" y="333"/>
                </a:cubicBezTo>
                <a:cubicBezTo>
                  <a:pt x="486" y="336"/>
                  <a:pt x="486" y="336"/>
                  <a:pt x="486" y="336"/>
                </a:cubicBezTo>
                <a:cubicBezTo>
                  <a:pt x="485" y="342"/>
                  <a:pt x="485" y="342"/>
                  <a:pt x="485" y="342"/>
                </a:cubicBezTo>
                <a:cubicBezTo>
                  <a:pt x="487" y="345"/>
                  <a:pt x="487" y="345"/>
                  <a:pt x="487" y="345"/>
                </a:cubicBezTo>
                <a:cubicBezTo>
                  <a:pt x="487" y="350"/>
                  <a:pt x="487" y="350"/>
                  <a:pt x="487" y="350"/>
                </a:cubicBezTo>
                <a:cubicBezTo>
                  <a:pt x="488" y="352"/>
                  <a:pt x="488" y="352"/>
                  <a:pt x="488" y="352"/>
                </a:cubicBezTo>
                <a:cubicBezTo>
                  <a:pt x="490" y="358"/>
                  <a:pt x="490" y="358"/>
                  <a:pt x="490" y="358"/>
                </a:cubicBezTo>
                <a:cubicBezTo>
                  <a:pt x="491" y="360"/>
                  <a:pt x="491" y="360"/>
                  <a:pt x="491" y="360"/>
                </a:cubicBezTo>
                <a:cubicBezTo>
                  <a:pt x="492" y="363"/>
                  <a:pt x="492" y="363"/>
                  <a:pt x="492" y="363"/>
                </a:cubicBezTo>
                <a:cubicBezTo>
                  <a:pt x="491" y="365"/>
                  <a:pt x="491" y="365"/>
                  <a:pt x="491" y="365"/>
                </a:cubicBezTo>
                <a:cubicBezTo>
                  <a:pt x="491" y="369"/>
                  <a:pt x="491" y="369"/>
                  <a:pt x="491" y="369"/>
                </a:cubicBezTo>
                <a:cubicBezTo>
                  <a:pt x="491" y="370"/>
                  <a:pt x="491" y="370"/>
                  <a:pt x="491" y="370"/>
                </a:cubicBezTo>
                <a:cubicBezTo>
                  <a:pt x="493" y="378"/>
                  <a:pt x="493" y="378"/>
                  <a:pt x="493" y="378"/>
                </a:cubicBezTo>
                <a:cubicBezTo>
                  <a:pt x="495" y="380"/>
                  <a:pt x="495" y="380"/>
                  <a:pt x="495" y="380"/>
                </a:cubicBezTo>
                <a:cubicBezTo>
                  <a:pt x="496" y="383"/>
                  <a:pt x="496" y="383"/>
                  <a:pt x="496" y="383"/>
                </a:cubicBezTo>
                <a:cubicBezTo>
                  <a:pt x="495" y="385"/>
                  <a:pt x="495" y="385"/>
                  <a:pt x="495" y="385"/>
                </a:cubicBezTo>
                <a:cubicBezTo>
                  <a:pt x="495" y="386"/>
                  <a:pt x="495" y="386"/>
                  <a:pt x="495" y="386"/>
                </a:cubicBezTo>
                <a:cubicBezTo>
                  <a:pt x="495" y="390"/>
                  <a:pt x="495" y="390"/>
                  <a:pt x="495" y="390"/>
                </a:cubicBezTo>
                <a:cubicBezTo>
                  <a:pt x="494" y="391"/>
                  <a:pt x="494" y="391"/>
                  <a:pt x="494" y="391"/>
                </a:cubicBezTo>
                <a:cubicBezTo>
                  <a:pt x="494" y="393"/>
                  <a:pt x="494" y="393"/>
                  <a:pt x="494" y="393"/>
                </a:cubicBezTo>
                <a:cubicBezTo>
                  <a:pt x="492" y="398"/>
                  <a:pt x="492" y="398"/>
                  <a:pt x="492" y="398"/>
                </a:cubicBezTo>
                <a:cubicBezTo>
                  <a:pt x="491" y="400"/>
                  <a:pt x="491" y="400"/>
                  <a:pt x="491" y="400"/>
                </a:cubicBezTo>
                <a:cubicBezTo>
                  <a:pt x="490" y="403"/>
                  <a:pt x="490" y="403"/>
                  <a:pt x="490" y="403"/>
                </a:cubicBezTo>
                <a:cubicBezTo>
                  <a:pt x="489" y="406"/>
                  <a:pt x="489" y="406"/>
                  <a:pt x="489" y="406"/>
                </a:cubicBezTo>
                <a:cubicBezTo>
                  <a:pt x="487" y="406"/>
                  <a:pt x="487" y="406"/>
                  <a:pt x="487" y="406"/>
                </a:cubicBezTo>
                <a:cubicBezTo>
                  <a:pt x="485" y="407"/>
                  <a:pt x="485" y="407"/>
                  <a:pt x="485" y="407"/>
                </a:cubicBezTo>
                <a:cubicBezTo>
                  <a:pt x="483" y="407"/>
                  <a:pt x="483" y="407"/>
                  <a:pt x="483" y="407"/>
                </a:cubicBezTo>
                <a:cubicBezTo>
                  <a:pt x="482" y="405"/>
                  <a:pt x="482" y="405"/>
                  <a:pt x="482" y="405"/>
                </a:cubicBezTo>
                <a:cubicBezTo>
                  <a:pt x="479" y="404"/>
                  <a:pt x="479" y="404"/>
                  <a:pt x="479" y="404"/>
                </a:cubicBezTo>
                <a:cubicBezTo>
                  <a:pt x="480" y="404"/>
                  <a:pt x="480" y="404"/>
                  <a:pt x="480" y="404"/>
                </a:cubicBezTo>
                <a:cubicBezTo>
                  <a:pt x="477" y="401"/>
                  <a:pt x="477" y="401"/>
                  <a:pt x="477" y="401"/>
                </a:cubicBezTo>
                <a:cubicBezTo>
                  <a:pt x="478" y="399"/>
                  <a:pt x="478" y="399"/>
                  <a:pt x="478" y="399"/>
                </a:cubicBezTo>
                <a:cubicBezTo>
                  <a:pt x="477" y="398"/>
                  <a:pt x="477" y="398"/>
                  <a:pt x="477" y="398"/>
                </a:cubicBezTo>
                <a:cubicBezTo>
                  <a:pt x="475" y="398"/>
                  <a:pt x="475" y="398"/>
                  <a:pt x="475" y="398"/>
                </a:cubicBezTo>
                <a:cubicBezTo>
                  <a:pt x="474" y="397"/>
                  <a:pt x="474" y="397"/>
                  <a:pt x="474" y="397"/>
                </a:cubicBezTo>
                <a:cubicBezTo>
                  <a:pt x="474" y="394"/>
                  <a:pt x="474" y="394"/>
                  <a:pt x="474" y="394"/>
                </a:cubicBezTo>
                <a:cubicBezTo>
                  <a:pt x="474" y="391"/>
                  <a:pt x="474" y="391"/>
                  <a:pt x="474" y="391"/>
                </a:cubicBezTo>
                <a:cubicBezTo>
                  <a:pt x="471" y="389"/>
                  <a:pt x="471" y="389"/>
                  <a:pt x="471" y="389"/>
                </a:cubicBezTo>
                <a:cubicBezTo>
                  <a:pt x="470" y="387"/>
                  <a:pt x="470" y="387"/>
                  <a:pt x="470" y="387"/>
                </a:cubicBezTo>
                <a:cubicBezTo>
                  <a:pt x="471" y="386"/>
                  <a:pt x="471" y="386"/>
                  <a:pt x="471" y="386"/>
                </a:cubicBezTo>
                <a:cubicBezTo>
                  <a:pt x="472" y="384"/>
                  <a:pt x="472" y="384"/>
                  <a:pt x="472" y="384"/>
                </a:cubicBezTo>
                <a:cubicBezTo>
                  <a:pt x="474" y="382"/>
                  <a:pt x="474" y="382"/>
                  <a:pt x="474" y="382"/>
                </a:cubicBezTo>
                <a:cubicBezTo>
                  <a:pt x="471" y="383"/>
                  <a:pt x="471" y="383"/>
                  <a:pt x="471" y="383"/>
                </a:cubicBezTo>
                <a:cubicBezTo>
                  <a:pt x="470" y="382"/>
                  <a:pt x="470" y="382"/>
                  <a:pt x="470" y="382"/>
                </a:cubicBezTo>
                <a:cubicBezTo>
                  <a:pt x="470" y="383"/>
                  <a:pt x="470" y="383"/>
                  <a:pt x="470" y="383"/>
                </a:cubicBezTo>
                <a:cubicBezTo>
                  <a:pt x="470" y="384"/>
                  <a:pt x="470" y="384"/>
                  <a:pt x="470" y="384"/>
                </a:cubicBezTo>
                <a:cubicBezTo>
                  <a:pt x="469" y="382"/>
                  <a:pt x="469" y="382"/>
                  <a:pt x="469" y="382"/>
                </a:cubicBezTo>
                <a:cubicBezTo>
                  <a:pt x="468" y="382"/>
                  <a:pt x="468" y="382"/>
                  <a:pt x="468" y="382"/>
                </a:cubicBezTo>
                <a:cubicBezTo>
                  <a:pt x="468" y="381"/>
                  <a:pt x="468" y="381"/>
                  <a:pt x="468" y="381"/>
                </a:cubicBezTo>
                <a:cubicBezTo>
                  <a:pt x="466" y="379"/>
                  <a:pt x="466" y="379"/>
                  <a:pt x="466" y="379"/>
                </a:cubicBezTo>
                <a:cubicBezTo>
                  <a:pt x="466" y="377"/>
                  <a:pt x="466" y="377"/>
                  <a:pt x="466" y="377"/>
                </a:cubicBezTo>
                <a:cubicBezTo>
                  <a:pt x="465" y="376"/>
                  <a:pt x="465" y="376"/>
                  <a:pt x="465" y="376"/>
                </a:cubicBezTo>
                <a:cubicBezTo>
                  <a:pt x="468" y="371"/>
                  <a:pt x="468" y="371"/>
                  <a:pt x="468" y="371"/>
                </a:cubicBezTo>
                <a:cubicBezTo>
                  <a:pt x="468" y="369"/>
                  <a:pt x="468" y="369"/>
                  <a:pt x="468" y="369"/>
                </a:cubicBezTo>
                <a:cubicBezTo>
                  <a:pt x="466" y="368"/>
                  <a:pt x="466" y="368"/>
                  <a:pt x="466" y="368"/>
                </a:cubicBezTo>
                <a:cubicBezTo>
                  <a:pt x="465" y="369"/>
                  <a:pt x="465" y="369"/>
                  <a:pt x="465" y="369"/>
                </a:cubicBezTo>
                <a:cubicBezTo>
                  <a:pt x="466" y="370"/>
                  <a:pt x="466" y="370"/>
                  <a:pt x="466" y="370"/>
                </a:cubicBezTo>
                <a:cubicBezTo>
                  <a:pt x="464" y="372"/>
                  <a:pt x="464" y="372"/>
                  <a:pt x="464" y="372"/>
                </a:cubicBezTo>
                <a:cubicBezTo>
                  <a:pt x="464" y="373"/>
                  <a:pt x="464" y="373"/>
                  <a:pt x="464" y="373"/>
                </a:cubicBezTo>
                <a:cubicBezTo>
                  <a:pt x="462" y="370"/>
                  <a:pt x="462" y="370"/>
                  <a:pt x="462" y="370"/>
                </a:cubicBezTo>
                <a:cubicBezTo>
                  <a:pt x="462" y="368"/>
                  <a:pt x="462" y="368"/>
                  <a:pt x="462" y="368"/>
                </a:cubicBezTo>
                <a:cubicBezTo>
                  <a:pt x="465" y="364"/>
                  <a:pt x="465" y="364"/>
                  <a:pt x="465" y="364"/>
                </a:cubicBezTo>
                <a:cubicBezTo>
                  <a:pt x="466" y="358"/>
                  <a:pt x="466" y="358"/>
                  <a:pt x="466" y="358"/>
                </a:cubicBezTo>
                <a:cubicBezTo>
                  <a:pt x="467" y="355"/>
                  <a:pt x="467" y="355"/>
                  <a:pt x="467" y="355"/>
                </a:cubicBezTo>
                <a:cubicBezTo>
                  <a:pt x="465" y="352"/>
                  <a:pt x="465" y="352"/>
                  <a:pt x="465" y="352"/>
                </a:cubicBezTo>
                <a:cubicBezTo>
                  <a:pt x="463" y="352"/>
                  <a:pt x="463" y="352"/>
                  <a:pt x="463" y="352"/>
                </a:cubicBezTo>
                <a:cubicBezTo>
                  <a:pt x="462" y="350"/>
                  <a:pt x="462" y="350"/>
                  <a:pt x="462" y="350"/>
                </a:cubicBezTo>
                <a:cubicBezTo>
                  <a:pt x="462" y="349"/>
                  <a:pt x="462" y="349"/>
                  <a:pt x="462" y="349"/>
                </a:cubicBezTo>
                <a:cubicBezTo>
                  <a:pt x="461" y="349"/>
                  <a:pt x="461" y="349"/>
                  <a:pt x="461" y="349"/>
                </a:cubicBezTo>
                <a:cubicBezTo>
                  <a:pt x="459" y="348"/>
                  <a:pt x="459" y="348"/>
                  <a:pt x="459" y="348"/>
                </a:cubicBezTo>
                <a:cubicBezTo>
                  <a:pt x="459" y="346"/>
                  <a:pt x="459" y="346"/>
                  <a:pt x="459" y="346"/>
                </a:cubicBezTo>
                <a:cubicBezTo>
                  <a:pt x="458" y="345"/>
                  <a:pt x="458" y="345"/>
                  <a:pt x="458" y="345"/>
                </a:cubicBezTo>
                <a:cubicBezTo>
                  <a:pt x="457" y="344"/>
                  <a:pt x="457" y="344"/>
                  <a:pt x="457" y="344"/>
                </a:cubicBezTo>
                <a:cubicBezTo>
                  <a:pt x="456" y="340"/>
                  <a:pt x="456" y="340"/>
                  <a:pt x="456" y="340"/>
                </a:cubicBezTo>
                <a:cubicBezTo>
                  <a:pt x="453" y="339"/>
                  <a:pt x="453" y="339"/>
                  <a:pt x="453" y="339"/>
                </a:cubicBezTo>
                <a:cubicBezTo>
                  <a:pt x="451" y="338"/>
                  <a:pt x="451" y="338"/>
                  <a:pt x="451" y="338"/>
                </a:cubicBezTo>
                <a:cubicBezTo>
                  <a:pt x="449" y="338"/>
                  <a:pt x="449" y="338"/>
                  <a:pt x="449" y="338"/>
                </a:cubicBezTo>
                <a:cubicBezTo>
                  <a:pt x="447" y="340"/>
                  <a:pt x="447" y="340"/>
                  <a:pt x="447" y="340"/>
                </a:cubicBezTo>
                <a:cubicBezTo>
                  <a:pt x="447" y="340"/>
                  <a:pt x="447" y="340"/>
                  <a:pt x="447" y="340"/>
                </a:cubicBezTo>
                <a:cubicBezTo>
                  <a:pt x="447" y="341"/>
                  <a:pt x="447" y="341"/>
                  <a:pt x="447" y="341"/>
                </a:cubicBezTo>
                <a:cubicBezTo>
                  <a:pt x="446" y="340"/>
                  <a:pt x="446" y="340"/>
                  <a:pt x="446" y="340"/>
                </a:cubicBezTo>
                <a:cubicBezTo>
                  <a:pt x="443" y="343"/>
                  <a:pt x="443" y="343"/>
                  <a:pt x="443" y="343"/>
                </a:cubicBezTo>
                <a:cubicBezTo>
                  <a:pt x="441" y="344"/>
                  <a:pt x="441" y="344"/>
                  <a:pt x="441" y="344"/>
                </a:cubicBezTo>
                <a:cubicBezTo>
                  <a:pt x="437" y="344"/>
                  <a:pt x="437" y="344"/>
                  <a:pt x="437" y="344"/>
                </a:cubicBezTo>
                <a:cubicBezTo>
                  <a:pt x="436" y="343"/>
                  <a:pt x="436" y="343"/>
                  <a:pt x="436" y="343"/>
                </a:cubicBezTo>
                <a:cubicBezTo>
                  <a:pt x="437" y="342"/>
                  <a:pt x="437" y="342"/>
                  <a:pt x="437" y="342"/>
                </a:cubicBezTo>
                <a:cubicBezTo>
                  <a:pt x="437" y="343"/>
                  <a:pt x="437" y="343"/>
                  <a:pt x="437" y="343"/>
                </a:cubicBezTo>
                <a:cubicBezTo>
                  <a:pt x="438" y="343"/>
                  <a:pt x="438" y="343"/>
                  <a:pt x="438" y="343"/>
                </a:cubicBezTo>
                <a:cubicBezTo>
                  <a:pt x="437" y="342"/>
                  <a:pt x="437" y="342"/>
                  <a:pt x="437" y="342"/>
                </a:cubicBezTo>
                <a:cubicBezTo>
                  <a:pt x="436" y="340"/>
                  <a:pt x="436" y="340"/>
                  <a:pt x="436" y="340"/>
                </a:cubicBezTo>
                <a:cubicBezTo>
                  <a:pt x="433" y="338"/>
                  <a:pt x="433" y="338"/>
                  <a:pt x="433" y="338"/>
                </a:cubicBezTo>
                <a:cubicBezTo>
                  <a:pt x="433" y="338"/>
                  <a:pt x="433" y="338"/>
                  <a:pt x="433" y="338"/>
                </a:cubicBezTo>
                <a:cubicBezTo>
                  <a:pt x="435" y="339"/>
                  <a:pt x="435" y="339"/>
                  <a:pt x="435" y="339"/>
                </a:cubicBezTo>
                <a:cubicBezTo>
                  <a:pt x="435" y="338"/>
                  <a:pt x="435" y="338"/>
                  <a:pt x="435" y="338"/>
                </a:cubicBezTo>
                <a:cubicBezTo>
                  <a:pt x="433" y="336"/>
                  <a:pt x="433" y="336"/>
                  <a:pt x="433" y="336"/>
                </a:cubicBezTo>
                <a:cubicBezTo>
                  <a:pt x="433" y="335"/>
                  <a:pt x="433" y="335"/>
                  <a:pt x="433" y="335"/>
                </a:cubicBezTo>
                <a:cubicBezTo>
                  <a:pt x="431" y="335"/>
                  <a:pt x="431" y="335"/>
                  <a:pt x="431" y="335"/>
                </a:cubicBezTo>
                <a:cubicBezTo>
                  <a:pt x="431" y="336"/>
                  <a:pt x="431" y="336"/>
                  <a:pt x="431" y="336"/>
                </a:cubicBezTo>
                <a:cubicBezTo>
                  <a:pt x="432" y="337"/>
                  <a:pt x="432" y="337"/>
                  <a:pt x="432" y="337"/>
                </a:cubicBezTo>
                <a:cubicBezTo>
                  <a:pt x="431" y="336"/>
                  <a:pt x="431" y="336"/>
                  <a:pt x="431" y="336"/>
                </a:cubicBezTo>
                <a:cubicBezTo>
                  <a:pt x="429" y="335"/>
                  <a:pt x="429" y="335"/>
                  <a:pt x="429" y="335"/>
                </a:cubicBezTo>
                <a:cubicBezTo>
                  <a:pt x="425" y="335"/>
                  <a:pt x="425" y="335"/>
                  <a:pt x="425" y="335"/>
                </a:cubicBezTo>
                <a:cubicBezTo>
                  <a:pt x="422" y="334"/>
                  <a:pt x="422" y="334"/>
                  <a:pt x="422" y="334"/>
                </a:cubicBezTo>
                <a:cubicBezTo>
                  <a:pt x="423" y="334"/>
                  <a:pt x="423" y="334"/>
                  <a:pt x="423" y="334"/>
                </a:cubicBezTo>
                <a:cubicBezTo>
                  <a:pt x="426" y="334"/>
                  <a:pt x="426" y="334"/>
                  <a:pt x="426" y="334"/>
                </a:cubicBezTo>
                <a:cubicBezTo>
                  <a:pt x="427" y="333"/>
                  <a:pt x="427" y="333"/>
                  <a:pt x="427" y="333"/>
                </a:cubicBezTo>
                <a:cubicBezTo>
                  <a:pt x="427" y="333"/>
                  <a:pt x="427" y="333"/>
                  <a:pt x="427" y="333"/>
                </a:cubicBezTo>
                <a:cubicBezTo>
                  <a:pt x="424" y="332"/>
                  <a:pt x="424" y="332"/>
                  <a:pt x="424" y="332"/>
                </a:cubicBezTo>
                <a:cubicBezTo>
                  <a:pt x="421" y="334"/>
                  <a:pt x="421" y="334"/>
                  <a:pt x="421" y="334"/>
                </a:cubicBezTo>
                <a:cubicBezTo>
                  <a:pt x="420" y="334"/>
                  <a:pt x="420" y="334"/>
                  <a:pt x="420" y="334"/>
                </a:cubicBezTo>
                <a:cubicBezTo>
                  <a:pt x="416" y="334"/>
                  <a:pt x="416" y="334"/>
                  <a:pt x="416" y="334"/>
                </a:cubicBezTo>
                <a:cubicBezTo>
                  <a:pt x="415" y="333"/>
                  <a:pt x="415" y="333"/>
                  <a:pt x="415" y="333"/>
                </a:cubicBezTo>
                <a:cubicBezTo>
                  <a:pt x="413" y="334"/>
                  <a:pt x="413" y="334"/>
                  <a:pt x="413" y="334"/>
                </a:cubicBezTo>
                <a:cubicBezTo>
                  <a:pt x="410" y="334"/>
                  <a:pt x="410" y="334"/>
                  <a:pt x="410" y="334"/>
                </a:cubicBezTo>
                <a:cubicBezTo>
                  <a:pt x="408" y="335"/>
                  <a:pt x="408" y="335"/>
                  <a:pt x="408" y="335"/>
                </a:cubicBezTo>
                <a:cubicBezTo>
                  <a:pt x="406" y="333"/>
                  <a:pt x="406" y="333"/>
                  <a:pt x="406" y="333"/>
                </a:cubicBezTo>
                <a:cubicBezTo>
                  <a:pt x="405" y="331"/>
                  <a:pt x="405" y="331"/>
                  <a:pt x="405" y="331"/>
                </a:cubicBezTo>
                <a:cubicBezTo>
                  <a:pt x="406" y="330"/>
                  <a:pt x="406" y="330"/>
                  <a:pt x="406" y="330"/>
                </a:cubicBezTo>
                <a:cubicBezTo>
                  <a:pt x="404" y="329"/>
                  <a:pt x="404" y="329"/>
                  <a:pt x="404" y="329"/>
                </a:cubicBezTo>
                <a:cubicBezTo>
                  <a:pt x="403" y="331"/>
                  <a:pt x="403" y="331"/>
                  <a:pt x="403" y="331"/>
                </a:cubicBezTo>
                <a:cubicBezTo>
                  <a:pt x="402" y="333"/>
                  <a:pt x="402" y="333"/>
                  <a:pt x="402" y="333"/>
                </a:cubicBezTo>
                <a:cubicBezTo>
                  <a:pt x="400" y="333"/>
                  <a:pt x="400" y="333"/>
                  <a:pt x="400" y="333"/>
                </a:cubicBezTo>
                <a:cubicBezTo>
                  <a:pt x="399" y="334"/>
                  <a:pt x="399" y="334"/>
                  <a:pt x="399" y="334"/>
                </a:cubicBezTo>
                <a:cubicBezTo>
                  <a:pt x="396" y="333"/>
                  <a:pt x="396" y="333"/>
                  <a:pt x="396" y="333"/>
                </a:cubicBezTo>
                <a:cubicBezTo>
                  <a:pt x="389" y="334"/>
                  <a:pt x="389" y="334"/>
                  <a:pt x="389" y="334"/>
                </a:cubicBezTo>
                <a:cubicBezTo>
                  <a:pt x="387" y="336"/>
                  <a:pt x="387" y="336"/>
                  <a:pt x="387" y="336"/>
                </a:cubicBezTo>
                <a:cubicBezTo>
                  <a:pt x="383" y="338"/>
                  <a:pt x="383" y="338"/>
                  <a:pt x="383" y="338"/>
                </a:cubicBezTo>
                <a:cubicBezTo>
                  <a:pt x="381" y="340"/>
                  <a:pt x="381" y="340"/>
                  <a:pt x="381" y="340"/>
                </a:cubicBezTo>
                <a:cubicBezTo>
                  <a:pt x="381" y="342"/>
                  <a:pt x="381" y="342"/>
                  <a:pt x="381" y="342"/>
                </a:cubicBezTo>
                <a:cubicBezTo>
                  <a:pt x="382" y="341"/>
                  <a:pt x="382" y="341"/>
                  <a:pt x="382" y="341"/>
                </a:cubicBezTo>
                <a:cubicBezTo>
                  <a:pt x="384" y="340"/>
                  <a:pt x="384" y="340"/>
                  <a:pt x="384" y="340"/>
                </a:cubicBezTo>
                <a:cubicBezTo>
                  <a:pt x="384" y="340"/>
                  <a:pt x="384" y="340"/>
                  <a:pt x="384" y="340"/>
                </a:cubicBezTo>
                <a:cubicBezTo>
                  <a:pt x="385" y="341"/>
                  <a:pt x="385" y="341"/>
                  <a:pt x="385" y="341"/>
                </a:cubicBezTo>
                <a:cubicBezTo>
                  <a:pt x="387" y="342"/>
                  <a:pt x="387" y="342"/>
                  <a:pt x="387" y="342"/>
                </a:cubicBezTo>
                <a:cubicBezTo>
                  <a:pt x="387" y="343"/>
                  <a:pt x="387" y="343"/>
                  <a:pt x="387" y="343"/>
                </a:cubicBezTo>
                <a:cubicBezTo>
                  <a:pt x="383" y="344"/>
                  <a:pt x="383" y="344"/>
                  <a:pt x="383" y="344"/>
                </a:cubicBezTo>
                <a:cubicBezTo>
                  <a:pt x="383" y="347"/>
                  <a:pt x="383" y="347"/>
                  <a:pt x="383" y="347"/>
                </a:cubicBezTo>
                <a:cubicBezTo>
                  <a:pt x="384" y="348"/>
                  <a:pt x="384" y="348"/>
                  <a:pt x="384" y="348"/>
                </a:cubicBezTo>
                <a:cubicBezTo>
                  <a:pt x="387" y="350"/>
                  <a:pt x="387" y="350"/>
                  <a:pt x="387" y="350"/>
                </a:cubicBezTo>
                <a:cubicBezTo>
                  <a:pt x="390" y="352"/>
                  <a:pt x="390" y="352"/>
                  <a:pt x="390" y="352"/>
                </a:cubicBezTo>
                <a:cubicBezTo>
                  <a:pt x="390" y="353"/>
                  <a:pt x="390" y="353"/>
                  <a:pt x="390" y="353"/>
                </a:cubicBezTo>
                <a:cubicBezTo>
                  <a:pt x="388" y="353"/>
                  <a:pt x="388" y="353"/>
                  <a:pt x="388" y="353"/>
                </a:cubicBezTo>
                <a:cubicBezTo>
                  <a:pt x="387" y="355"/>
                  <a:pt x="387" y="355"/>
                  <a:pt x="387" y="355"/>
                </a:cubicBezTo>
                <a:cubicBezTo>
                  <a:pt x="387" y="352"/>
                  <a:pt x="387" y="352"/>
                  <a:pt x="387" y="352"/>
                </a:cubicBezTo>
                <a:cubicBezTo>
                  <a:pt x="386" y="351"/>
                  <a:pt x="386" y="351"/>
                  <a:pt x="386" y="351"/>
                </a:cubicBezTo>
                <a:cubicBezTo>
                  <a:pt x="385" y="352"/>
                  <a:pt x="385" y="352"/>
                  <a:pt x="385" y="352"/>
                </a:cubicBezTo>
                <a:cubicBezTo>
                  <a:pt x="384" y="350"/>
                  <a:pt x="384" y="350"/>
                  <a:pt x="384" y="350"/>
                </a:cubicBezTo>
                <a:cubicBezTo>
                  <a:pt x="382" y="349"/>
                  <a:pt x="382" y="349"/>
                  <a:pt x="382" y="349"/>
                </a:cubicBezTo>
                <a:cubicBezTo>
                  <a:pt x="380" y="347"/>
                  <a:pt x="380" y="347"/>
                  <a:pt x="380" y="347"/>
                </a:cubicBezTo>
                <a:cubicBezTo>
                  <a:pt x="378" y="347"/>
                  <a:pt x="378" y="347"/>
                  <a:pt x="378" y="347"/>
                </a:cubicBezTo>
                <a:cubicBezTo>
                  <a:pt x="379" y="349"/>
                  <a:pt x="379" y="349"/>
                  <a:pt x="379" y="349"/>
                </a:cubicBezTo>
                <a:cubicBezTo>
                  <a:pt x="379" y="352"/>
                  <a:pt x="379" y="352"/>
                  <a:pt x="379" y="352"/>
                </a:cubicBezTo>
                <a:cubicBezTo>
                  <a:pt x="377" y="353"/>
                  <a:pt x="377" y="353"/>
                  <a:pt x="377" y="353"/>
                </a:cubicBezTo>
                <a:cubicBezTo>
                  <a:pt x="376" y="351"/>
                  <a:pt x="376" y="351"/>
                  <a:pt x="376" y="351"/>
                </a:cubicBezTo>
                <a:cubicBezTo>
                  <a:pt x="374" y="350"/>
                  <a:pt x="374" y="350"/>
                  <a:pt x="374" y="350"/>
                </a:cubicBezTo>
                <a:cubicBezTo>
                  <a:pt x="372" y="351"/>
                  <a:pt x="372" y="351"/>
                  <a:pt x="372" y="351"/>
                </a:cubicBezTo>
                <a:cubicBezTo>
                  <a:pt x="371" y="353"/>
                  <a:pt x="371" y="353"/>
                  <a:pt x="371" y="353"/>
                </a:cubicBezTo>
                <a:cubicBezTo>
                  <a:pt x="368" y="352"/>
                  <a:pt x="368" y="352"/>
                  <a:pt x="368" y="352"/>
                </a:cubicBezTo>
                <a:cubicBezTo>
                  <a:pt x="366" y="351"/>
                  <a:pt x="366" y="351"/>
                  <a:pt x="366" y="351"/>
                </a:cubicBezTo>
                <a:cubicBezTo>
                  <a:pt x="364" y="351"/>
                  <a:pt x="364" y="351"/>
                  <a:pt x="364" y="351"/>
                </a:cubicBezTo>
                <a:cubicBezTo>
                  <a:pt x="363" y="350"/>
                  <a:pt x="363" y="350"/>
                  <a:pt x="363" y="350"/>
                </a:cubicBezTo>
                <a:cubicBezTo>
                  <a:pt x="364" y="349"/>
                  <a:pt x="364" y="349"/>
                  <a:pt x="364" y="349"/>
                </a:cubicBezTo>
                <a:cubicBezTo>
                  <a:pt x="365" y="348"/>
                  <a:pt x="365" y="348"/>
                  <a:pt x="365" y="348"/>
                </a:cubicBezTo>
                <a:cubicBezTo>
                  <a:pt x="365" y="347"/>
                  <a:pt x="365" y="347"/>
                  <a:pt x="365" y="347"/>
                </a:cubicBezTo>
                <a:cubicBezTo>
                  <a:pt x="362" y="347"/>
                  <a:pt x="362" y="347"/>
                  <a:pt x="362" y="347"/>
                </a:cubicBezTo>
                <a:cubicBezTo>
                  <a:pt x="361" y="346"/>
                  <a:pt x="361" y="346"/>
                  <a:pt x="361" y="346"/>
                </a:cubicBezTo>
                <a:cubicBezTo>
                  <a:pt x="361" y="344"/>
                  <a:pt x="361" y="344"/>
                  <a:pt x="361" y="344"/>
                </a:cubicBezTo>
                <a:cubicBezTo>
                  <a:pt x="361" y="343"/>
                  <a:pt x="361" y="343"/>
                  <a:pt x="361" y="343"/>
                </a:cubicBezTo>
                <a:cubicBezTo>
                  <a:pt x="359" y="344"/>
                  <a:pt x="359" y="344"/>
                  <a:pt x="359" y="344"/>
                </a:cubicBezTo>
                <a:cubicBezTo>
                  <a:pt x="358" y="343"/>
                  <a:pt x="358" y="343"/>
                  <a:pt x="358" y="343"/>
                </a:cubicBezTo>
                <a:cubicBezTo>
                  <a:pt x="359" y="342"/>
                  <a:pt x="359" y="342"/>
                  <a:pt x="359" y="342"/>
                </a:cubicBezTo>
                <a:cubicBezTo>
                  <a:pt x="357" y="341"/>
                  <a:pt x="357" y="341"/>
                  <a:pt x="357" y="341"/>
                </a:cubicBezTo>
                <a:cubicBezTo>
                  <a:pt x="355" y="342"/>
                  <a:pt x="355" y="342"/>
                  <a:pt x="355" y="342"/>
                </a:cubicBezTo>
                <a:cubicBezTo>
                  <a:pt x="355" y="344"/>
                  <a:pt x="355" y="344"/>
                  <a:pt x="355" y="344"/>
                </a:cubicBezTo>
                <a:cubicBezTo>
                  <a:pt x="355" y="345"/>
                  <a:pt x="355" y="345"/>
                  <a:pt x="355" y="345"/>
                </a:cubicBezTo>
                <a:cubicBezTo>
                  <a:pt x="353" y="345"/>
                  <a:pt x="353" y="345"/>
                  <a:pt x="353" y="345"/>
                </a:cubicBezTo>
                <a:cubicBezTo>
                  <a:pt x="346" y="345"/>
                  <a:pt x="346" y="345"/>
                  <a:pt x="346" y="345"/>
                </a:cubicBezTo>
                <a:cubicBezTo>
                  <a:pt x="345" y="344"/>
                  <a:pt x="345" y="344"/>
                  <a:pt x="345" y="344"/>
                </a:cubicBezTo>
                <a:cubicBezTo>
                  <a:pt x="339" y="342"/>
                  <a:pt x="339" y="342"/>
                  <a:pt x="339" y="342"/>
                </a:cubicBezTo>
                <a:cubicBezTo>
                  <a:pt x="336" y="342"/>
                  <a:pt x="336" y="342"/>
                  <a:pt x="336" y="342"/>
                </a:cubicBezTo>
                <a:cubicBezTo>
                  <a:pt x="332" y="343"/>
                  <a:pt x="332" y="343"/>
                  <a:pt x="332" y="343"/>
                </a:cubicBezTo>
                <a:cubicBezTo>
                  <a:pt x="330" y="344"/>
                  <a:pt x="330" y="344"/>
                  <a:pt x="330" y="344"/>
                </a:cubicBezTo>
                <a:cubicBezTo>
                  <a:pt x="328" y="344"/>
                  <a:pt x="328" y="344"/>
                  <a:pt x="328" y="344"/>
                </a:cubicBezTo>
                <a:cubicBezTo>
                  <a:pt x="326" y="347"/>
                  <a:pt x="326" y="347"/>
                  <a:pt x="326" y="347"/>
                </a:cubicBezTo>
                <a:cubicBezTo>
                  <a:pt x="324" y="348"/>
                  <a:pt x="324" y="348"/>
                  <a:pt x="324" y="348"/>
                </a:cubicBezTo>
                <a:cubicBezTo>
                  <a:pt x="324" y="345"/>
                  <a:pt x="324" y="345"/>
                  <a:pt x="324" y="345"/>
                </a:cubicBezTo>
                <a:cubicBezTo>
                  <a:pt x="323" y="344"/>
                  <a:pt x="323" y="344"/>
                  <a:pt x="323" y="344"/>
                </a:cubicBezTo>
                <a:cubicBezTo>
                  <a:pt x="325" y="342"/>
                  <a:pt x="325" y="342"/>
                  <a:pt x="325" y="342"/>
                </a:cubicBezTo>
                <a:cubicBezTo>
                  <a:pt x="324" y="339"/>
                  <a:pt x="324" y="339"/>
                  <a:pt x="324" y="339"/>
                </a:cubicBezTo>
                <a:cubicBezTo>
                  <a:pt x="324" y="341"/>
                  <a:pt x="324" y="341"/>
                  <a:pt x="324" y="341"/>
                </a:cubicBezTo>
                <a:cubicBezTo>
                  <a:pt x="321" y="343"/>
                  <a:pt x="321" y="343"/>
                  <a:pt x="321" y="343"/>
                </a:cubicBezTo>
                <a:cubicBezTo>
                  <a:pt x="320" y="343"/>
                  <a:pt x="320" y="343"/>
                  <a:pt x="320" y="343"/>
                </a:cubicBezTo>
                <a:cubicBezTo>
                  <a:pt x="319" y="341"/>
                  <a:pt x="319" y="341"/>
                  <a:pt x="319" y="341"/>
                </a:cubicBezTo>
                <a:cubicBezTo>
                  <a:pt x="320" y="344"/>
                  <a:pt x="320" y="344"/>
                  <a:pt x="320" y="344"/>
                </a:cubicBezTo>
                <a:cubicBezTo>
                  <a:pt x="320" y="347"/>
                  <a:pt x="320" y="347"/>
                  <a:pt x="320" y="347"/>
                </a:cubicBezTo>
                <a:cubicBezTo>
                  <a:pt x="321" y="349"/>
                  <a:pt x="321" y="349"/>
                  <a:pt x="321" y="349"/>
                </a:cubicBezTo>
                <a:cubicBezTo>
                  <a:pt x="319" y="351"/>
                  <a:pt x="319" y="351"/>
                  <a:pt x="319" y="351"/>
                </a:cubicBezTo>
                <a:cubicBezTo>
                  <a:pt x="318" y="351"/>
                  <a:pt x="318" y="351"/>
                  <a:pt x="318" y="351"/>
                </a:cubicBezTo>
                <a:cubicBezTo>
                  <a:pt x="314" y="354"/>
                  <a:pt x="314" y="354"/>
                  <a:pt x="314" y="354"/>
                </a:cubicBezTo>
                <a:cubicBezTo>
                  <a:pt x="308" y="357"/>
                  <a:pt x="308" y="357"/>
                  <a:pt x="308" y="357"/>
                </a:cubicBezTo>
                <a:cubicBezTo>
                  <a:pt x="307" y="357"/>
                  <a:pt x="307" y="357"/>
                  <a:pt x="307" y="357"/>
                </a:cubicBezTo>
                <a:cubicBezTo>
                  <a:pt x="305" y="359"/>
                  <a:pt x="305" y="359"/>
                  <a:pt x="305" y="359"/>
                </a:cubicBezTo>
                <a:cubicBezTo>
                  <a:pt x="303" y="359"/>
                  <a:pt x="303" y="359"/>
                  <a:pt x="303" y="359"/>
                </a:cubicBezTo>
                <a:cubicBezTo>
                  <a:pt x="305" y="357"/>
                  <a:pt x="305" y="357"/>
                  <a:pt x="305" y="357"/>
                </a:cubicBezTo>
                <a:cubicBezTo>
                  <a:pt x="303" y="356"/>
                  <a:pt x="303" y="356"/>
                  <a:pt x="303" y="356"/>
                </a:cubicBezTo>
                <a:cubicBezTo>
                  <a:pt x="302" y="356"/>
                  <a:pt x="302" y="356"/>
                  <a:pt x="302" y="356"/>
                </a:cubicBezTo>
                <a:cubicBezTo>
                  <a:pt x="301" y="356"/>
                  <a:pt x="301" y="356"/>
                  <a:pt x="301" y="356"/>
                </a:cubicBezTo>
                <a:cubicBezTo>
                  <a:pt x="299" y="357"/>
                  <a:pt x="299" y="357"/>
                  <a:pt x="299" y="357"/>
                </a:cubicBezTo>
                <a:cubicBezTo>
                  <a:pt x="300" y="358"/>
                  <a:pt x="300" y="358"/>
                  <a:pt x="300" y="358"/>
                </a:cubicBezTo>
                <a:cubicBezTo>
                  <a:pt x="298" y="359"/>
                  <a:pt x="298" y="359"/>
                  <a:pt x="298" y="359"/>
                </a:cubicBezTo>
                <a:cubicBezTo>
                  <a:pt x="296" y="358"/>
                  <a:pt x="296" y="358"/>
                  <a:pt x="296" y="358"/>
                </a:cubicBezTo>
                <a:cubicBezTo>
                  <a:pt x="297" y="361"/>
                  <a:pt x="297" y="361"/>
                  <a:pt x="297" y="361"/>
                </a:cubicBezTo>
                <a:cubicBezTo>
                  <a:pt x="294" y="362"/>
                  <a:pt x="294" y="362"/>
                  <a:pt x="294" y="362"/>
                </a:cubicBezTo>
                <a:cubicBezTo>
                  <a:pt x="293" y="361"/>
                  <a:pt x="293" y="361"/>
                  <a:pt x="293" y="361"/>
                </a:cubicBezTo>
                <a:cubicBezTo>
                  <a:pt x="291" y="364"/>
                  <a:pt x="291" y="364"/>
                  <a:pt x="291" y="364"/>
                </a:cubicBezTo>
                <a:cubicBezTo>
                  <a:pt x="292" y="366"/>
                  <a:pt x="292" y="366"/>
                  <a:pt x="292" y="366"/>
                </a:cubicBezTo>
                <a:cubicBezTo>
                  <a:pt x="290" y="368"/>
                  <a:pt x="290" y="368"/>
                  <a:pt x="290" y="368"/>
                </a:cubicBezTo>
                <a:cubicBezTo>
                  <a:pt x="288" y="368"/>
                  <a:pt x="288" y="368"/>
                  <a:pt x="288" y="368"/>
                </a:cubicBezTo>
                <a:cubicBezTo>
                  <a:pt x="289" y="373"/>
                  <a:pt x="289" y="373"/>
                  <a:pt x="289" y="373"/>
                </a:cubicBezTo>
                <a:cubicBezTo>
                  <a:pt x="287" y="375"/>
                  <a:pt x="287" y="375"/>
                  <a:pt x="287" y="375"/>
                </a:cubicBezTo>
                <a:cubicBezTo>
                  <a:pt x="286" y="379"/>
                  <a:pt x="286" y="379"/>
                  <a:pt x="286" y="379"/>
                </a:cubicBezTo>
                <a:cubicBezTo>
                  <a:pt x="285" y="382"/>
                  <a:pt x="285" y="382"/>
                  <a:pt x="285" y="382"/>
                </a:cubicBezTo>
                <a:cubicBezTo>
                  <a:pt x="286" y="384"/>
                  <a:pt x="286" y="384"/>
                  <a:pt x="286" y="384"/>
                </a:cubicBezTo>
                <a:cubicBezTo>
                  <a:pt x="286" y="389"/>
                  <a:pt x="286" y="389"/>
                  <a:pt x="286" y="389"/>
                </a:cubicBezTo>
                <a:cubicBezTo>
                  <a:pt x="286" y="391"/>
                  <a:pt x="286" y="391"/>
                  <a:pt x="286" y="391"/>
                </a:cubicBezTo>
                <a:cubicBezTo>
                  <a:pt x="285" y="393"/>
                  <a:pt x="285" y="393"/>
                  <a:pt x="285" y="393"/>
                </a:cubicBezTo>
                <a:cubicBezTo>
                  <a:pt x="284" y="397"/>
                  <a:pt x="284" y="397"/>
                  <a:pt x="284" y="397"/>
                </a:cubicBezTo>
                <a:cubicBezTo>
                  <a:pt x="283" y="396"/>
                  <a:pt x="283" y="396"/>
                  <a:pt x="283" y="396"/>
                </a:cubicBezTo>
                <a:cubicBezTo>
                  <a:pt x="282" y="395"/>
                  <a:pt x="282" y="395"/>
                  <a:pt x="282" y="395"/>
                </a:cubicBezTo>
                <a:cubicBezTo>
                  <a:pt x="280" y="394"/>
                  <a:pt x="280" y="394"/>
                  <a:pt x="280" y="394"/>
                </a:cubicBezTo>
                <a:cubicBezTo>
                  <a:pt x="278" y="393"/>
                  <a:pt x="278" y="393"/>
                  <a:pt x="278" y="393"/>
                </a:cubicBezTo>
                <a:cubicBezTo>
                  <a:pt x="274" y="392"/>
                  <a:pt x="274" y="392"/>
                  <a:pt x="274" y="392"/>
                </a:cubicBezTo>
                <a:cubicBezTo>
                  <a:pt x="272" y="390"/>
                  <a:pt x="272" y="390"/>
                  <a:pt x="272" y="390"/>
                </a:cubicBezTo>
                <a:cubicBezTo>
                  <a:pt x="270" y="389"/>
                  <a:pt x="270" y="389"/>
                  <a:pt x="270" y="389"/>
                </a:cubicBezTo>
                <a:cubicBezTo>
                  <a:pt x="269" y="389"/>
                  <a:pt x="269" y="389"/>
                  <a:pt x="269" y="389"/>
                </a:cubicBezTo>
                <a:cubicBezTo>
                  <a:pt x="267" y="389"/>
                  <a:pt x="267" y="389"/>
                  <a:pt x="267" y="389"/>
                </a:cubicBezTo>
                <a:cubicBezTo>
                  <a:pt x="267" y="388"/>
                  <a:pt x="267" y="388"/>
                  <a:pt x="267" y="388"/>
                </a:cubicBezTo>
                <a:cubicBezTo>
                  <a:pt x="266" y="387"/>
                  <a:pt x="266" y="387"/>
                  <a:pt x="266" y="387"/>
                </a:cubicBezTo>
                <a:cubicBezTo>
                  <a:pt x="266" y="384"/>
                  <a:pt x="266" y="384"/>
                  <a:pt x="266" y="384"/>
                </a:cubicBezTo>
                <a:cubicBezTo>
                  <a:pt x="264" y="377"/>
                  <a:pt x="264" y="377"/>
                  <a:pt x="264" y="377"/>
                </a:cubicBezTo>
                <a:cubicBezTo>
                  <a:pt x="263" y="376"/>
                  <a:pt x="263" y="376"/>
                  <a:pt x="263" y="376"/>
                </a:cubicBezTo>
                <a:cubicBezTo>
                  <a:pt x="263" y="376"/>
                  <a:pt x="263" y="376"/>
                  <a:pt x="263" y="376"/>
                </a:cubicBezTo>
                <a:cubicBezTo>
                  <a:pt x="264" y="373"/>
                  <a:pt x="264" y="373"/>
                  <a:pt x="264" y="373"/>
                </a:cubicBezTo>
                <a:cubicBezTo>
                  <a:pt x="264" y="371"/>
                  <a:pt x="264" y="371"/>
                  <a:pt x="264" y="371"/>
                </a:cubicBezTo>
                <a:cubicBezTo>
                  <a:pt x="262" y="369"/>
                  <a:pt x="262" y="369"/>
                  <a:pt x="262" y="369"/>
                </a:cubicBezTo>
                <a:cubicBezTo>
                  <a:pt x="261" y="367"/>
                  <a:pt x="261" y="367"/>
                  <a:pt x="261" y="367"/>
                </a:cubicBezTo>
                <a:cubicBezTo>
                  <a:pt x="260" y="365"/>
                  <a:pt x="260" y="365"/>
                  <a:pt x="260" y="365"/>
                </a:cubicBezTo>
                <a:cubicBezTo>
                  <a:pt x="258" y="364"/>
                  <a:pt x="258" y="364"/>
                  <a:pt x="258" y="364"/>
                </a:cubicBezTo>
                <a:cubicBezTo>
                  <a:pt x="258" y="362"/>
                  <a:pt x="258" y="362"/>
                  <a:pt x="258" y="362"/>
                </a:cubicBezTo>
                <a:cubicBezTo>
                  <a:pt x="257" y="361"/>
                  <a:pt x="257" y="361"/>
                  <a:pt x="257" y="361"/>
                </a:cubicBezTo>
                <a:cubicBezTo>
                  <a:pt x="255" y="357"/>
                  <a:pt x="255" y="357"/>
                  <a:pt x="255" y="357"/>
                </a:cubicBezTo>
                <a:cubicBezTo>
                  <a:pt x="254" y="355"/>
                  <a:pt x="254" y="355"/>
                  <a:pt x="254" y="355"/>
                </a:cubicBezTo>
                <a:cubicBezTo>
                  <a:pt x="253" y="355"/>
                  <a:pt x="253" y="355"/>
                  <a:pt x="253" y="355"/>
                </a:cubicBezTo>
                <a:cubicBezTo>
                  <a:pt x="253" y="352"/>
                  <a:pt x="253" y="352"/>
                  <a:pt x="253" y="352"/>
                </a:cubicBezTo>
                <a:cubicBezTo>
                  <a:pt x="253" y="350"/>
                  <a:pt x="253" y="350"/>
                  <a:pt x="253" y="350"/>
                </a:cubicBezTo>
                <a:cubicBezTo>
                  <a:pt x="252" y="349"/>
                  <a:pt x="252" y="349"/>
                  <a:pt x="252" y="349"/>
                </a:cubicBezTo>
                <a:cubicBezTo>
                  <a:pt x="251" y="346"/>
                  <a:pt x="251" y="346"/>
                  <a:pt x="251" y="346"/>
                </a:cubicBezTo>
                <a:cubicBezTo>
                  <a:pt x="249" y="343"/>
                  <a:pt x="249" y="343"/>
                  <a:pt x="249" y="343"/>
                </a:cubicBezTo>
                <a:cubicBezTo>
                  <a:pt x="247" y="341"/>
                  <a:pt x="247" y="341"/>
                  <a:pt x="247" y="341"/>
                </a:cubicBezTo>
                <a:cubicBezTo>
                  <a:pt x="246" y="340"/>
                  <a:pt x="246" y="340"/>
                  <a:pt x="246" y="340"/>
                </a:cubicBezTo>
                <a:cubicBezTo>
                  <a:pt x="244" y="339"/>
                  <a:pt x="244" y="339"/>
                  <a:pt x="244" y="339"/>
                </a:cubicBezTo>
                <a:cubicBezTo>
                  <a:pt x="243" y="339"/>
                  <a:pt x="243" y="339"/>
                  <a:pt x="243" y="339"/>
                </a:cubicBezTo>
                <a:cubicBezTo>
                  <a:pt x="242" y="338"/>
                  <a:pt x="242" y="338"/>
                  <a:pt x="242" y="338"/>
                </a:cubicBezTo>
                <a:cubicBezTo>
                  <a:pt x="241" y="338"/>
                  <a:pt x="241" y="338"/>
                  <a:pt x="241" y="338"/>
                </a:cubicBezTo>
                <a:cubicBezTo>
                  <a:pt x="239" y="338"/>
                  <a:pt x="239" y="338"/>
                  <a:pt x="239" y="338"/>
                </a:cubicBezTo>
                <a:cubicBezTo>
                  <a:pt x="237" y="338"/>
                  <a:pt x="237" y="338"/>
                  <a:pt x="237" y="338"/>
                </a:cubicBezTo>
                <a:cubicBezTo>
                  <a:pt x="234" y="338"/>
                  <a:pt x="234" y="338"/>
                  <a:pt x="234" y="338"/>
                </a:cubicBezTo>
                <a:cubicBezTo>
                  <a:pt x="234" y="339"/>
                  <a:pt x="234" y="339"/>
                  <a:pt x="234" y="339"/>
                </a:cubicBezTo>
                <a:cubicBezTo>
                  <a:pt x="233" y="339"/>
                  <a:pt x="233" y="339"/>
                  <a:pt x="233" y="339"/>
                </a:cubicBezTo>
                <a:cubicBezTo>
                  <a:pt x="233" y="339"/>
                  <a:pt x="233" y="339"/>
                  <a:pt x="233" y="339"/>
                </a:cubicBezTo>
                <a:cubicBezTo>
                  <a:pt x="232" y="339"/>
                  <a:pt x="232" y="339"/>
                  <a:pt x="232" y="339"/>
                </a:cubicBezTo>
                <a:cubicBezTo>
                  <a:pt x="230" y="339"/>
                  <a:pt x="230" y="339"/>
                  <a:pt x="230" y="339"/>
                </a:cubicBezTo>
                <a:cubicBezTo>
                  <a:pt x="229" y="341"/>
                  <a:pt x="229" y="341"/>
                  <a:pt x="229" y="341"/>
                </a:cubicBezTo>
                <a:cubicBezTo>
                  <a:pt x="227" y="344"/>
                  <a:pt x="227" y="344"/>
                  <a:pt x="227" y="344"/>
                </a:cubicBezTo>
                <a:cubicBezTo>
                  <a:pt x="226" y="345"/>
                  <a:pt x="226" y="345"/>
                  <a:pt x="226" y="345"/>
                </a:cubicBezTo>
                <a:cubicBezTo>
                  <a:pt x="226" y="346"/>
                  <a:pt x="226" y="346"/>
                  <a:pt x="226" y="346"/>
                </a:cubicBezTo>
                <a:cubicBezTo>
                  <a:pt x="226" y="347"/>
                  <a:pt x="226" y="347"/>
                  <a:pt x="226" y="347"/>
                </a:cubicBezTo>
                <a:cubicBezTo>
                  <a:pt x="225" y="347"/>
                  <a:pt x="225" y="347"/>
                  <a:pt x="225" y="347"/>
                </a:cubicBezTo>
                <a:cubicBezTo>
                  <a:pt x="223" y="349"/>
                  <a:pt x="223" y="349"/>
                  <a:pt x="223" y="349"/>
                </a:cubicBezTo>
                <a:cubicBezTo>
                  <a:pt x="223" y="349"/>
                  <a:pt x="223" y="349"/>
                  <a:pt x="223" y="349"/>
                </a:cubicBezTo>
                <a:cubicBezTo>
                  <a:pt x="222" y="350"/>
                  <a:pt x="222" y="350"/>
                  <a:pt x="222" y="350"/>
                </a:cubicBezTo>
                <a:cubicBezTo>
                  <a:pt x="221" y="350"/>
                  <a:pt x="221" y="350"/>
                  <a:pt x="221" y="350"/>
                </a:cubicBezTo>
                <a:cubicBezTo>
                  <a:pt x="220" y="349"/>
                  <a:pt x="220" y="349"/>
                  <a:pt x="220" y="349"/>
                </a:cubicBezTo>
                <a:cubicBezTo>
                  <a:pt x="218" y="348"/>
                  <a:pt x="218" y="348"/>
                  <a:pt x="218" y="348"/>
                </a:cubicBezTo>
                <a:cubicBezTo>
                  <a:pt x="216" y="347"/>
                  <a:pt x="216" y="347"/>
                  <a:pt x="216" y="347"/>
                </a:cubicBezTo>
                <a:cubicBezTo>
                  <a:pt x="215" y="346"/>
                  <a:pt x="215" y="346"/>
                  <a:pt x="215" y="346"/>
                </a:cubicBezTo>
                <a:cubicBezTo>
                  <a:pt x="213" y="345"/>
                  <a:pt x="213" y="345"/>
                  <a:pt x="213" y="345"/>
                </a:cubicBezTo>
                <a:cubicBezTo>
                  <a:pt x="211" y="345"/>
                  <a:pt x="211" y="345"/>
                  <a:pt x="211" y="345"/>
                </a:cubicBezTo>
                <a:cubicBezTo>
                  <a:pt x="211" y="344"/>
                  <a:pt x="211" y="344"/>
                  <a:pt x="211" y="344"/>
                </a:cubicBezTo>
                <a:cubicBezTo>
                  <a:pt x="210" y="343"/>
                  <a:pt x="210" y="343"/>
                  <a:pt x="210" y="343"/>
                </a:cubicBezTo>
                <a:cubicBezTo>
                  <a:pt x="210" y="342"/>
                  <a:pt x="210" y="342"/>
                  <a:pt x="210" y="342"/>
                </a:cubicBezTo>
                <a:cubicBezTo>
                  <a:pt x="209" y="342"/>
                  <a:pt x="209" y="342"/>
                  <a:pt x="209" y="342"/>
                </a:cubicBezTo>
                <a:cubicBezTo>
                  <a:pt x="208" y="342"/>
                  <a:pt x="208" y="342"/>
                  <a:pt x="208" y="342"/>
                </a:cubicBezTo>
                <a:cubicBezTo>
                  <a:pt x="207" y="341"/>
                  <a:pt x="207" y="341"/>
                  <a:pt x="207" y="341"/>
                </a:cubicBezTo>
                <a:cubicBezTo>
                  <a:pt x="206" y="341"/>
                  <a:pt x="206" y="341"/>
                  <a:pt x="206" y="341"/>
                </a:cubicBezTo>
                <a:cubicBezTo>
                  <a:pt x="206" y="340"/>
                  <a:pt x="206" y="340"/>
                  <a:pt x="206" y="340"/>
                </a:cubicBezTo>
                <a:cubicBezTo>
                  <a:pt x="206" y="338"/>
                  <a:pt x="206" y="338"/>
                  <a:pt x="206" y="338"/>
                </a:cubicBezTo>
                <a:cubicBezTo>
                  <a:pt x="204" y="336"/>
                  <a:pt x="204" y="336"/>
                  <a:pt x="204" y="336"/>
                </a:cubicBezTo>
                <a:cubicBezTo>
                  <a:pt x="202" y="334"/>
                  <a:pt x="202" y="334"/>
                  <a:pt x="202" y="334"/>
                </a:cubicBezTo>
                <a:cubicBezTo>
                  <a:pt x="202" y="333"/>
                  <a:pt x="202" y="333"/>
                  <a:pt x="202" y="333"/>
                </a:cubicBezTo>
                <a:cubicBezTo>
                  <a:pt x="203" y="333"/>
                  <a:pt x="203" y="333"/>
                  <a:pt x="203" y="333"/>
                </a:cubicBezTo>
                <a:cubicBezTo>
                  <a:pt x="204" y="332"/>
                  <a:pt x="204" y="332"/>
                  <a:pt x="204" y="332"/>
                </a:cubicBezTo>
                <a:cubicBezTo>
                  <a:pt x="204" y="330"/>
                  <a:pt x="204" y="330"/>
                  <a:pt x="204" y="330"/>
                </a:cubicBezTo>
                <a:cubicBezTo>
                  <a:pt x="203" y="329"/>
                  <a:pt x="203" y="329"/>
                  <a:pt x="203" y="329"/>
                </a:cubicBezTo>
                <a:cubicBezTo>
                  <a:pt x="202" y="328"/>
                  <a:pt x="202" y="328"/>
                  <a:pt x="202" y="328"/>
                </a:cubicBezTo>
                <a:cubicBezTo>
                  <a:pt x="201" y="328"/>
                  <a:pt x="201" y="328"/>
                  <a:pt x="201" y="328"/>
                </a:cubicBezTo>
                <a:cubicBezTo>
                  <a:pt x="201" y="327"/>
                  <a:pt x="201" y="327"/>
                  <a:pt x="201" y="327"/>
                </a:cubicBezTo>
                <a:cubicBezTo>
                  <a:pt x="200" y="324"/>
                  <a:pt x="200" y="324"/>
                  <a:pt x="200" y="324"/>
                </a:cubicBezTo>
                <a:cubicBezTo>
                  <a:pt x="199" y="322"/>
                  <a:pt x="199" y="322"/>
                  <a:pt x="199" y="322"/>
                </a:cubicBezTo>
                <a:cubicBezTo>
                  <a:pt x="198" y="321"/>
                  <a:pt x="198" y="321"/>
                  <a:pt x="198" y="321"/>
                </a:cubicBezTo>
                <a:cubicBezTo>
                  <a:pt x="196" y="321"/>
                  <a:pt x="196" y="321"/>
                  <a:pt x="196" y="321"/>
                </a:cubicBezTo>
                <a:cubicBezTo>
                  <a:pt x="197" y="320"/>
                  <a:pt x="197" y="320"/>
                  <a:pt x="197" y="320"/>
                </a:cubicBezTo>
                <a:cubicBezTo>
                  <a:pt x="197" y="319"/>
                  <a:pt x="197" y="319"/>
                  <a:pt x="197" y="319"/>
                </a:cubicBezTo>
                <a:cubicBezTo>
                  <a:pt x="195" y="317"/>
                  <a:pt x="195" y="317"/>
                  <a:pt x="195" y="317"/>
                </a:cubicBezTo>
                <a:cubicBezTo>
                  <a:pt x="193" y="317"/>
                  <a:pt x="193" y="317"/>
                  <a:pt x="193" y="317"/>
                </a:cubicBezTo>
                <a:cubicBezTo>
                  <a:pt x="194" y="315"/>
                  <a:pt x="194" y="315"/>
                  <a:pt x="194" y="315"/>
                </a:cubicBezTo>
                <a:cubicBezTo>
                  <a:pt x="192" y="314"/>
                  <a:pt x="192" y="314"/>
                  <a:pt x="192" y="314"/>
                </a:cubicBezTo>
                <a:cubicBezTo>
                  <a:pt x="191" y="314"/>
                  <a:pt x="191" y="314"/>
                  <a:pt x="191" y="314"/>
                </a:cubicBezTo>
                <a:cubicBezTo>
                  <a:pt x="191" y="313"/>
                  <a:pt x="191" y="313"/>
                  <a:pt x="191" y="313"/>
                </a:cubicBezTo>
                <a:cubicBezTo>
                  <a:pt x="190" y="311"/>
                  <a:pt x="190" y="311"/>
                  <a:pt x="190" y="311"/>
                </a:cubicBezTo>
                <a:cubicBezTo>
                  <a:pt x="188" y="309"/>
                  <a:pt x="188" y="309"/>
                  <a:pt x="188" y="309"/>
                </a:cubicBezTo>
                <a:cubicBezTo>
                  <a:pt x="186" y="307"/>
                  <a:pt x="186" y="307"/>
                  <a:pt x="186" y="307"/>
                </a:cubicBezTo>
                <a:cubicBezTo>
                  <a:pt x="166" y="307"/>
                  <a:pt x="166" y="307"/>
                  <a:pt x="166" y="307"/>
                </a:cubicBezTo>
                <a:cubicBezTo>
                  <a:pt x="166" y="311"/>
                  <a:pt x="166" y="311"/>
                  <a:pt x="166" y="311"/>
                </a:cubicBezTo>
                <a:cubicBezTo>
                  <a:pt x="131" y="310"/>
                  <a:pt x="131" y="310"/>
                  <a:pt x="131" y="310"/>
                </a:cubicBezTo>
                <a:cubicBezTo>
                  <a:pt x="89" y="291"/>
                  <a:pt x="89" y="291"/>
                  <a:pt x="89" y="291"/>
                </a:cubicBezTo>
                <a:cubicBezTo>
                  <a:pt x="90" y="290"/>
                  <a:pt x="90" y="290"/>
                  <a:pt x="90" y="290"/>
                </a:cubicBezTo>
                <a:cubicBezTo>
                  <a:pt x="89" y="289"/>
                  <a:pt x="89" y="289"/>
                  <a:pt x="89" y="289"/>
                </a:cubicBezTo>
                <a:cubicBezTo>
                  <a:pt x="60" y="289"/>
                  <a:pt x="60" y="289"/>
                  <a:pt x="60" y="289"/>
                </a:cubicBezTo>
                <a:cubicBezTo>
                  <a:pt x="60" y="287"/>
                  <a:pt x="60" y="287"/>
                  <a:pt x="60" y="287"/>
                </a:cubicBezTo>
                <a:cubicBezTo>
                  <a:pt x="60" y="285"/>
                  <a:pt x="60" y="285"/>
                  <a:pt x="60" y="285"/>
                </a:cubicBezTo>
                <a:cubicBezTo>
                  <a:pt x="60" y="281"/>
                  <a:pt x="60" y="281"/>
                  <a:pt x="60" y="281"/>
                </a:cubicBezTo>
                <a:cubicBezTo>
                  <a:pt x="55" y="274"/>
                  <a:pt x="55" y="274"/>
                  <a:pt x="55" y="274"/>
                </a:cubicBezTo>
                <a:cubicBezTo>
                  <a:pt x="53" y="272"/>
                  <a:pt x="53" y="272"/>
                  <a:pt x="53" y="272"/>
                </a:cubicBezTo>
                <a:cubicBezTo>
                  <a:pt x="51" y="272"/>
                  <a:pt x="51" y="272"/>
                  <a:pt x="51" y="272"/>
                </a:cubicBezTo>
                <a:cubicBezTo>
                  <a:pt x="50" y="272"/>
                  <a:pt x="50" y="272"/>
                  <a:pt x="50" y="272"/>
                </a:cubicBezTo>
                <a:cubicBezTo>
                  <a:pt x="49" y="272"/>
                  <a:pt x="49" y="272"/>
                  <a:pt x="49" y="272"/>
                </a:cubicBezTo>
                <a:cubicBezTo>
                  <a:pt x="49" y="269"/>
                  <a:pt x="49" y="269"/>
                  <a:pt x="49" y="269"/>
                </a:cubicBezTo>
                <a:cubicBezTo>
                  <a:pt x="49" y="268"/>
                  <a:pt x="49" y="268"/>
                  <a:pt x="49" y="268"/>
                </a:cubicBezTo>
                <a:cubicBezTo>
                  <a:pt x="46" y="267"/>
                  <a:pt x="46" y="267"/>
                  <a:pt x="46" y="267"/>
                </a:cubicBezTo>
                <a:cubicBezTo>
                  <a:pt x="44" y="267"/>
                  <a:pt x="44" y="267"/>
                  <a:pt x="44" y="267"/>
                </a:cubicBezTo>
                <a:cubicBezTo>
                  <a:pt x="40" y="265"/>
                  <a:pt x="40" y="265"/>
                  <a:pt x="40" y="265"/>
                </a:cubicBezTo>
                <a:cubicBezTo>
                  <a:pt x="40" y="263"/>
                  <a:pt x="40" y="263"/>
                  <a:pt x="40" y="263"/>
                </a:cubicBezTo>
                <a:cubicBezTo>
                  <a:pt x="39" y="262"/>
                  <a:pt x="39" y="262"/>
                  <a:pt x="39" y="262"/>
                </a:cubicBezTo>
                <a:cubicBezTo>
                  <a:pt x="36" y="262"/>
                  <a:pt x="36" y="262"/>
                  <a:pt x="36" y="262"/>
                </a:cubicBezTo>
                <a:cubicBezTo>
                  <a:pt x="34" y="261"/>
                  <a:pt x="34" y="261"/>
                  <a:pt x="34" y="261"/>
                </a:cubicBezTo>
                <a:cubicBezTo>
                  <a:pt x="32" y="260"/>
                  <a:pt x="32" y="260"/>
                  <a:pt x="32" y="260"/>
                </a:cubicBezTo>
                <a:cubicBezTo>
                  <a:pt x="29" y="259"/>
                  <a:pt x="29" y="259"/>
                  <a:pt x="29" y="259"/>
                </a:cubicBezTo>
                <a:cubicBezTo>
                  <a:pt x="25" y="259"/>
                  <a:pt x="25" y="259"/>
                  <a:pt x="25" y="259"/>
                </a:cubicBezTo>
                <a:cubicBezTo>
                  <a:pt x="24" y="259"/>
                  <a:pt x="24" y="259"/>
                  <a:pt x="24" y="259"/>
                </a:cubicBezTo>
                <a:cubicBezTo>
                  <a:pt x="23" y="257"/>
                  <a:pt x="23" y="257"/>
                  <a:pt x="23" y="257"/>
                </a:cubicBezTo>
                <a:cubicBezTo>
                  <a:pt x="24" y="256"/>
                  <a:pt x="24" y="256"/>
                  <a:pt x="24" y="256"/>
                </a:cubicBezTo>
                <a:cubicBezTo>
                  <a:pt x="24" y="254"/>
                  <a:pt x="24" y="254"/>
                  <a:pt x="24" y="254"/>
                </a:cubicBezTo>
                <a:cubicBezTo>
                  <a:pt x="25" y="250"/>
                  <a:pt x="25" y="250"/>
                  <a:pt x="25" y="250"/>
                </a:cubicBezTo>
                <a:cubicBezTo>
                  <a:pt x="25" y="248"/>
                  <a:pt x="25" y="248"/>
                  <a:pt x="25" y="248"/>
                </a:cubicBezTo>
                <a:cubicBezTo>
                  <a:pt x="23" y="246"/>
                  <a:pt x="23" y="246"/>
                  <a:pt x="23" y="246"/>
                </a:cubicBezTo>
                <a:cubicBezTo>
                  <a:pt x="22" y="245"/>
                  <a:pt x="22" y="245"/>
                  <a:pt x="22" y="245"/>
                </a:cubicBezTo>
                <a:cubicBezTo>
                  <a:pt x="23" y="244"/>
                  <a:pt x="23" y="244"/>
                  <a:pt x="23" y="244"/>
                </a:cubicBezTo>
                <a:cubicBezTo>
                  <a:pt x="22" y="243"/>
                  <a:pt x="22" y="243"/>
                  <a:pt x="22" y="243"/>
                </a:cubicBezTo>
                <a:cubicBezTo>
                  <a:pt x="20" y="241"/>
                  <a:pt x="20" y="241"/>
                  <a:pt x="20" y="241"/>
                </a:cubicBezTo>
                <a:cubicBezTo>
                  <a:pt x="17" y="235"/>
                  <a:pt x="17" y="235"/>
                  <a:pt x="17" y="235"/>
                </a:cubicBezTo>
                <a:cubicBezTo>
                  <a:pt x="17" y="231"/>
                  <a:pt x="17" y="231"/>
                  <a:pt x="17" y="231"/>
                </a:cubicBezTo>
                <a:cubicBezTo>
                  <a:pt x="15" y="230"/>
                  <a:pt x="15" y="230"/>
                  <a:pt x="15" y="230"/>
                </a:cubicBezTo>
                <a:cubicBezTo>
                  <a:pt x="15" y="228"/>
                  <a:pt x="15" y="228"/>
                  <a:pt x="15" y="228"/>
                </a:cubicBezTo>
                <a:cubicBezTo>
                  <a:pt x="15" y="226"/>
                  <a:pt x="15" y="226"/>
                  <a:pt x="15" y="226"/>
                </a:cubicBezTo>
                <a:cubicBezTo>
                  <a:pt x="14" y="223"/>
                  <a:pt x="14" y="223"/>
                  <a:pt x="14" y="223"/>
                </a:cubicBezTo>
                <a:cubicBezTo>
                  <a:pt x="14" y="222"/>
                  <a:pt x="14" y="222"/>
                  <a:pt x="14" y="222"/>
                </a:cubicBezTo>
                <a:cubicBezTo>
                  <a:pt x="15" y="223"/>
                  <a:pt x="15" y="223"/>
                  <a:pt x="15" y="223"/>
                </a:cubicBezTo>
                <a:cubicBezTo>
                  <a:pt x="17" y="221"/>
                  <a:pt x="17" y="221"/>
                  <a:pt x="17" y="221"/>
                </a:cubicBezTo>
                <a:cubicBezTo>
                  <a:pt x="17" y="219"/>
                  <a:pt x="17" y="219"/>
                  <a:pt x="17" y="219"/>
                </a:cubicBezTo>
                <a:cubicBezTo>
                  <a:pt x="16" y="218"/>
                  <a:pt x="16" y="218"/>
                  <a:pt x="16" y="218"/>
                </a:cubicBezTo>
                <a:cubicBezTo>
                  <a:pt x="14" y="216"/>
                  <a:pt x="14" y="216"/>
                  <a:pt x="14" y="216"/>
                </a:cubicBezTo>
                <a:cubicBezTo>
                  <a:pt x="13" y="214"/>
                  <a:pt x="13" y="214"/>
                  <a:pt x="13" y="214"/>
                </a:cubicBezTo>
                <a:cubicBezTo>
                  <a:pt x="12" y="213"/>
                  <a:pt x="12" y="213"/>
                  <a:pt x="12" y="213"/>
                </a:cubicBezTo>
                <a:cubicBezTo>
                  <a:pt x="12" y="211"/>
                  <a:pt x="12" y="211"/>
                  <a:pt x="12" y="211"/>
                </a:cubicBezTo>
                <a:cubicBezTo>
                  <a:pt x="12" y="209"/>
                  <a:pt x="12" y="209"/>
                  <a:pt x="12" y="209"/>
                </a:cubicBezTo>
                <a:cubicBezTo>
                  <a:pt x="12" y="208"/>
                  <a:pt x="12" y="208"/>
                  <a:pt x="12" y="208"/>
                </a:cubicBezTo>
                <a:cubicBezTo>
                  <a:pt x="13" y="207"/>
                  <a:pt x="13" y="207"/>
                  <a:pt x="13" y="207"/>
                </a:cubicBezTo>
                <a:cubicBezTo>
                  <a:pt x="13" y="206"/>
                  <a:pt x="13" y="206"/>
                  <a:pt x="13" y="206"/>
                </a:cubicBezTo>
                <a:cubicBezTo>
                  <a:pt x="14" y="204"/>
                  <a:pt x="14" y="204"/>
                  <a:pt x="14" y="204"/>
                </a:cubicBezTo>
                <a:cubicBezTo>
                  <a:pt x="15" y="205"/>
                  <a:pt x="15" y="205"/>
                  <a:pt x="15" y="205"/>
                </a:cubicBezTo>
                <a:cubicBezTo>
                  <a:pt x="16" y="207"/>
                  <a:pt x="16" y="207"/>
                  <a:pt x="16" y="207"/>
                </a:cubicBezTo>
                <a:cubicBezTo>
                  <a:pt x="18" y="208"/>
                  <a:pt x="18" y="208"/>
                  <a:pt x="18" y="208"/>
                </a:cubicBezTo>
                <a:cubicBezTo>
                  <a:pt x="17" y="207"/>
                  <a:pt x="17" y="207"/>
                  <a:pt x="17" y="207"/>
                </a:cubicBezTo>
                <a:cubicBezTo>
                  <a:pt x="16" y="205"/>
                  <a:pt x="16" y="205"/>
                  <a:pt x="16" y="205"/>
                </a:cubicBezTo>
                <a:cubicBezTo>
                  <a:pt x="16" y="202"/>
                  <a:pt x="16" y="202"/>
                  <a:pt x="16" y="202"/>
                </a:cubicBezTo>
                <a:cubicBezTo>
                  <a:pt x="15" y="201"/>
                  <a:pt x="15" y="201"/>
                  <a:pt x="15" y="201"/>
                </a:cubicBezTo>
                <a:cubicBezTo>
                  <a:pt x="15" y="200"/>
                  <a:pt x="15" y="200"/>
                  <a:pt x="15" y="200"/>
                </a:cubicBezTo>
                <a:cubicBezTo>
                  <a:pt x="16" y="200"/>
                  <a:pt x="16" y="200"/>
                  <a:pt x="16" y="200"/>
                </a:cubicBezTo>
                <a:cubicBezTo>
                  <a:pt x="17" y="201"/>
                  <a:pt x="17" y="201"/>
                  <a:pt x="17" y="201"/>
                </a:cubicBezTo>
                <a:cubicBezTo>
                  <a:pt x="19" y="200"/>
                  <a:pt x="19" y="200"/>
                  <a:pt x="19" y="200"/>
                </a:cubicBezTo>
                <a:cubicBezTo>
                  <a:pt x="22" y="199"/>
                  <a:pt x="22" y="199"/>
                  <a:pt x="22" y="199"/>
                </a:cubicBezTo>
                <a:cubicBezTo>
                  <a:pt x="18" y="199"/>
                  <a:pt x="18" y="199"/>
                  <a:pt x="18" y="199"/>
                </a:cubicBezTo>
                <a:cubicBezTo>
                  <a:pt x="18" y="198"/>
                  <a:pt x="18" y="198"/>
                  <a:pt x="18" y="198"/>
                </a:cubicBezTo>
                <a:cubicBezTo>
                  <a:pt x="16" y="198"/>
                  <a:pt x="16" y="198"/>
                  <a:pt x="16" y="198"/>
                </a:cubicBezTo>
                <a:cubicBezTo>
                  <a:pt x="16" y="197"/>
                  <a:pt x="16" y="197"/>
                  <a:pt x="16" y="197"/>
                </a:cubicBezTo>
                <a:cubicBezTo>
                  <a:pt x="15" y="198"/>
                  <a:pt x="15" y="198"/>
                  <a:pt x="15" y="198"/>
                </a:cubicBezTo>
                <a:cubicBezTo>
                  <a:pt x="13" y="197"/>
                  <a:pt x="13" y="197"/>
                  <a:pt x="13" y="197"/>
                </a:cubicBezTo>
                <a:cubicBezTo>
                  <a:pt x="13" y="199"/>
                  <a:pt x="13" y="199"/>
                  <a:pt x="13" y="199"/>
                </a:cubicBezTo>
                <a:cubicBezTo>
                  <a:pt x="13" y="202"/>
                  <a:pt x="13" y="202"/>
                  <a:pt x="13" y="202"/>
                </a:cubicBezTo>
                <a:cubicBezTo>
                  <a:pt x="13" y="202"/>
                  <a:pt x="13" y="202"/>
                  <a:pt x="13" y="202"/>
                </a:cubicBezTo>
                <a:cubicBezTo>
                  <a:pt x="12" y="202"/>
                  <a:pt x="12" y="202"/>
                  <a:pt x="12" y="202"/>
                </a:cubicBezTo>
                <a:cubicBezTo>
                  <a:pt x="11" y="201"/>
                  <a:pt x="11" y="201"/>
                  <a:pt x="11" y="201"/>
                </a:cubicBezTo>
                <a:cubicBezTo>
                  <a:pt x="9" y="198"/>
                  <a:pt x="9" y="198"/>
                  <a:pt x="9" y="198"/>
                </a:cubicBezTo>
                <a:cubicBezTo>
                  <a:pt x="8" y="196"/>
                  <a:pt x="8" y="196"/>
                  <a:pt x="8" y="196"/>
                </a:cubicBezTo>
                <a:cubicBezTo>
                  <a:pt x="9" y="195"/>
                  <a:pt x="9" y="195"/>
                  <a:pt x="9" y="195"/>
                </a:cubicBezTo>
                <a:cubicBezTo>
                  <a:pt x="8" y="192"/>
                  <a:pt x="8" y="192"/>
                  <a:pt x="8" y="192"/>
                </a:cubicBezTo>
                <a:cubicBezTo>
                  <a:pt x="3" y="184"/>
                  <a:pt x="3" y="184"/>
                  <a:pt x="3" y="184"/>
                </a:cubicBezTo>
                <a:cubicBezTo>
                  <a:pt x="3" y="183"/>
                  <a:pt x="3" y="183"/>
                  <a:pt x="3" y="183"/>
                </a:cubicBezTo>
                <a:cubicBezTo>
                  <a:pt x="3" y="181"/>
                  <a:pt x="3" y="181"/>
                  <a:pt x="3" y="181"/>
                </a:cubicBezTo>
                <a:cubicBezTo>
                  <a:pt x="4" y="180"/>
                  <a:pt x="4" y="180"/>
                  <a:pt x="4" y="180"/>
                </a:cubicBezTo>
                <a:cubicBezTo>
                  <a:pt x="4" y="177"/>
                  <a:pt x="4" y="177"/>
                  <a:pt x="4" y="177"/>
                </a:cubicBezTo>
                <a:cubicBezTo>
                  <a:pt x="3" y="175"/>
                  <a:pt x="3" y="175"/>
                  <a:pt x="3" y="175"/>
                </a:cubicBezTo>
                <a:cubicBezTo>
                  <a:pt x="3" y="174"/>
                  <a:pt x="3" y="174"/>
                  <a:pt x="3" y="174"/>
                </a:cubicBezTo>
                <a:cubicBezTo>
                  <a:pt x="4" y="172"/>
                  <a:pt x="4" y="172"/>
                  <a:pt x="4" y="172"/>
                </a:cubicBezTo>
                <a:cubicBezTo>
                  <a:pt x="5" y="169"/>
                  <a:pt x="5" y="169"/>
                  <a:pt x="5" y="169"/>
                </a:cubicBezTo>
                <a:cubicBezTo>
                  <a:pt x="4" y="164"/>
                  <a:pt x="4" y="164"/>
                  <a:pt x="4" y="164"/>
                </a:cubicBezTo>
                <a:cubicBezTo>
                  <a:pt x="3" y="160"/>
                  <a:pt x="3" y="160"/>
                  <a:pt x="3" y="160"/>
                </a:cubicBezTo>
                <a:cubicBezTo>
                  <a:pt x="0" y="157"/>
                  <a:pt x="0" y="157"/>
                  <a:pt x="0" y="157"/>
                </a:cubicBezTo>
                <a:cubicBezTo>
                  <a:pt x="0" y="154"/>
                  <a:pt x="0" y="154"/>
                  <a:pt x="0" y="154"/>
                </a:cubicBezTo>
                <a:cubicBezTo>
                  <a:pt x="2" y="151"/>
                  <a:pt x="2" y="151"/>
                  <a:pt x="2" y="151"/>
                </a:cubicBezTo>
                <a:cubicBezTo>
                  <a:pt x="5" y="149"/>
                  <a:pt x="5" y="149"/>
                  <a:pt x="5" y="149"/>
                </a:cubicBezTo>
                <a:cubicBezTo>
                  <a:pt x="7" y="145"/>
                  <a:pt x="7" y="145"/>
                  <a:pt x="7" y="145"/>
                </a:cubicBezTo>
                <a:cubicBezTo>
                  <a:pt x="6" y="145"/>
                  <a:pt x="6" y="145"/>
                  <a:pt x="6" y="145"/>
                </a:cubicBezTo>
                <a:cubicBezTo>
                  <a:pt x="5" y="143"/>
                  <a:pt x="5" y="143"/>
                  <a:pt x="5" y="143"/>
                </a:cubicBezTo>
                <a:cubicBezTo>
                  <a:pt x="7" y="142"/>
                  <a:pt x="7" y="142"/>
                  <a:pt x="7" y="142"/>
                </a:cubicBezTo>
                <a:cubicBezTo>
                  <a:pt x="8" y="139"/>
                  <a:pt x="8" y="139"/>
                  <a:pt x="8" y="139"/>
                </a:cubicBezTo>
                <a:cubicBezTo>
                  <a:pt x="9" y="134"/>
                  <a:pt x="9" y="134"/>
                  <a:pt x="9" y="134"/>
                </a:cubicBezTo>
                <a:cubicBezTo>
                  <a:pt x="8" y="131"/>
                  <a:pt x="8" y="131"/>
                  <a:pt x="8" y="131"/>
                </a:cubicBezTo>
                <a:cubicBezTo>
                  <a:pt x="8" y="129"/>
                  <a:pt x="8" y="129"/>
                  <a:pt x="8" y="129"/>
                </a:cubicBezTo>
                <a:cubicBezTo>
                  <a:pt x="9" y="128"/>
                  <a:pt x="9" y="128"/>
                  <a:pt x="9" y="128"/>
                </a:cubicBezTo>
                <a:cubicBezTo>
                  <a:pt x="7" y="125"/>
                  <a:pt x="7" y="125"/>
                  <a:pt x="7" y="125"/>
                </a:cubicBezTo>
                <a:cubicBezTo>
                  <a:pt x="7" y="122"/>
                  <a:pt x="7" y="122"/>
                  <a:pt x="7" y="122"/>
                </a:cubicBezTo>
                <a:cubicBezTo>
                  <a:pt x="9" y="117"/>
                  <a:pt x="9" y="117"/>
                  <a:pt x="9" y="117"/>
                </a:cubicBezTo>
                <a:cubicBezTo>
                  <a:pt x="8" y="113"/>
                  <a:pt x="8" y="113"/>
                  <a:pt x="8" y="113"/>
                </a:cubicBezTo>
                <a:cubicBezTo>
                  <a:pt x="9" y="111"/>
                  <a:pt x="9" y="111"/>
                  <a:pt x="9" y="111"/>
                </a:cubicBezTo>
                <a:cubicBezTo>
                  <a:pt x="12" y="107"/>
                  <a:pt x="12" y="107"/>
                  <a:pt x="12" y="107"/>
                </a:cubicBezTo>
                <a:cubicBezTo>
                  <a:pt x="13" y="104"/>
                  <a:pt x="13" y="104"/>
                  <a:pt x="13" y="104"/>
                </a:cubicBezTo>
                <a:cubicBezTo>
                  <a:pt x="14" y="103"/>
                  <a:pt x="14" y="103"/>
                  <a:pt x="14" y="103"/>
                </a:cubicBezTo>
                <a:cubicBezTo>
                  <a:pt x="16" y="99"/>
                  <a:pt x="16" y="99"/>
                  <a:pt x="16" y="99"/>
                </a:cubicBezTo>
                <a:cubicBezTo>
                  <a:pt x="18" y="96"/>
                  <a:pt x="18" y="96"/>
                  <a:pt x="18" y="96"/>
                </a:cubicBezTo>
                <a:cubicBezTo>
                  <a:pt x="20" y="93"/>
                  <a:pt x="20" y="93"/>
                  <a:pt x="20" y="93"/>
                </a:cubicBezTo>
                <a:cubicBezTo>
                  <a:pt x="20" y="87"/>
                  <a:pt x="20" y="87"/>
                  <a:pt x="20" y="87"/>
                </a:cubicBezTo>
                <a:cubicBezTo>
                  <a:pt x="23" y="81"/>
                  <a:pt x="23" y="81"/>
                  <a:pt x="23" y="81"/>
                </a:cubicBezTo>
                <a:cubicBezTo>
                  <a:pt x="24" y="75"/>
                  <a:pt x="24" y="75"/>
                  <a:pt x="24" y="75"/>
                </a:cubicBezTo>
                <a:cubicBezTo>
                  <a:pt x="27" y="68"/>
                  <a:pt x="27" y="68"/>
                  <a:pt x="27" y="68"/>
                </a:cubicBezTo>
                <a:cubicBezTo>
                  <a:pt x="29" y="65"/>
                  <a:pt x="29" y="65"/>
                  <a:pt x="29" y="65"/>
                </a:cubicBezTo>
                <a:cubicBezTo>
                  <a:pt x="30" y="62"/>
                  <a:pt x="30" y="62"/>
                  <a:pt x="30" y="62"/>
                </a:cubicBezTo>
                <a:cubicBezTo>
                  <a:pt x="30" y="60"/>
                  <a:pt x="30" y="60"/>
                  <a:pt x="30" y="60"/>
                </a:cubicBezTo>
                <a:cubicBezTo>
                  <a:pt x="30" y="58"/>
                  <a:pt x="30" y="58"/>
                  <a:pt x="30" y="58"/>
                </a:cubicBezTo>
                <a:cubicBezTo>
                  <a:pt x="33" y="55"/>
                  <a:pt x="33" y="55"/>
                  <a:pt x="33" y="55"/>
                </a:cubicBezTo>
                <a:cubicBezTo>
                  <a:pt x="33" y="53"/>
                  <a:pt x="33" y="53"/>
                  <a:pt x="33" y="53"/>
                </a:cubicBezTo>
                <a:cubicBezTo>
                  <a:pt x="33" y="53"/>
                  <a:pt x="33" y="53"/>
                  <a:pt x="33" y="53"/>
                </a:cubicBezTo>
                <a:cubicBezTo>
                  <a:pt x="35" y="54"/>
                  <a:pt x="35" y="54"/>
                  <a:pt x="35" y="54"/>
                </a:cubicBezTo>
                <a:cubicBezTo>
                  <a:pt x="39" y="54"/>
                  <a:pt x="39" y="54"/>
                  <a:pt x="39" y="54"/>
                </a:cubicBezTo>
                <a:cubicBezTo>
                  <a:pt x="41" y="55"/>
                  <a:pt x="41" y="55"/>
                  <a:pt x="41" y="55"/>
                </a:cubicBezTo>
                <a:cubicBezTo>
                  <a:pt x="42" y="55"/>
                  <a:pt x="42" y="55"/>
                  <a:pt x="42" y="55"/>
                </a:cubicBezTo>
                <a:cubicBezTo>
                  <a:pt x="44" y="56"/>
                  <a:pt x="44" y="56"/>
                  <a:pt x="44" y="56"/>
                </a:cubicBezTo>
                <a:cubicBezTo>
                  <a:pt x="45" y="59"/>
                  <a:pt x="45" y="59"/>
                  <a:pt x="45" y="59"/>
                </a:cubicBezTo>
                <a:cubicBezTo>
                  <a:pt x="45" y="56"/>
                  <a:pt x="45" y="56"/>
                  <a:pt x="45" y="56"/>
                </a:cubicBezTo>
                <a:cubicBezTo>
                  <a:pt x="44" y="54"/>
                  <a:pt x="44" y="54"/>
                  <a:pt x="44" y="54"/>
                </a:cubicBezTo>
                <a:cubicBezTo>
                  <a:pt x="41" y="54"/>
                  <a:pt x="41" y="54"/>
                  <a:pt x="41" y="54"/>
                </a:cubicBezTo>
                <a:cubicBezTo>
                  <a:pt x="39" y="52"/>
                  <a:pt x="39" y="52"/>
                  <a:pt x="39" y="52"/>
                </a:cubicBezTo>
                <a:cubicBezTo>
                  <a:pt x="36" y="52"/>
                  <a:pt x="36" y="52"/>
                  <a:pt x="36" y="52"/>
                </a:cubicBezTo>
                <a:cubicBezTo>
                  <a:pt x="33" y="51"/>
                  <a:pt x="33" y="51"/>
                  <a:pt x="33" y="51"/>
                </a:cubicBezTo>
                <a:cubicBezTo>
                  <a:pt x="32" y="50"/>
                  <a:pt x="32" y="50"/>
                  <a:pt x="32" y="50"/>
                </a:cubicBezTo>
                <a:cubicBezTo>
                  <a:pt x="33" y="49"/>
                  <a:pt x="33" y="49"/>
                  <a:pt x="33" y="49"/>
                </a:cubicBezTo>
                <a:cubicBezTo>
                  <a:pt x="34" y="49"/>
                  <a:pt x="34" y="49"/>
                  <a:pt x="34" y="49"/>
                </a:cubicBezTo>
                <a:cubicBezTo>
                  <a:pt x="35" y="47"/>
                  <a:pt x="35" y="47"/>
                  <a:pt x="35" y="47"/>
                </a:cubicBezTo>
                <a:cubicBezTo>
                  <a:pt x="35" y="45"/>
                  <a:pt x="35" y="45"/>
                  <a:pt x="35" y="45"/>
                </a:cubicBezTo>
                <a:cubicBezTo>
                  <a:pt x="36" y="43"/>
                  <a:pt x="36" y="43"/>
                  <a:pt x="36" y="43"/>
                </a:cubicBezTo>
                <a:cubicBezTo>
                  <a:pt x="34" y="42"/>
                  <a:pt x="34" y="42"/>
                  <a:pt x="34" y="42"/>
                </a:cubicBezTo>
                <a:cubicBezTo>
                  <a:pt x="33" y="41"/>
                  <a:pt x="33" y="41"/>
                  <a:pt x="33" y="41"/>
                </a:cubicBezTo>
                <a:cubicBezTo>
                  <a:pt x="34" y="39"/>
                  <a:pt x="34" y="39"/>
                  <a:pt x="34" y="39"/>
                </a:cubicBezTo>
                <a:cubicBezTo>
                  <a:pt x="35" y="39"/>
                  <a:pt x="35" y="39"/>
                  <a:pt x="35" y="39"/>
                </a:cubicBezTo>
                <a:cubicBezTo>
                  <a:pt x="36" y="38"/>
                  <a:pt x="36" y="38"/>
                  <a:pt x="36" y="38"/>
                </a:cubicBezTo>
                <a:cubicBezTo>
                  <a:pt x="36" y="37"/>
                  <a:pt x="36" y="37"/>
                  <a:pt x="36" y="37"/>
                </a:cubicBezTo>
                <a:cubicBezTo>
                  <a:pt x="34" y="37"/>
                  <a:pt x="34" y="37"/>
                  <a:pt x="34" y="37"/>
                </a:cubicBezTo>
                <a:cubicBezTo>
                  <a:pt x="34" y="35"/>
                  <a:pt x="34" y="35"/>
                  <a:pt x="34" y="35"/>
                </a:cubicBezTo>
                <a:cubicBezTo>
                  <a:pt x="35" y="32"/>
                  <a:pt x="35" y="32"/>
                  <a:pt x="35" y="32"/>
                </a:cubicBezTo>
                <a:cubicBezTo>
                  <a:pt x="34" y="29"/>
                  <a:pt x="34" y="29"/>
                  <a:pt x="34" y="29"/>
                </a:cubicBezTo>
                <a:cubicBezTo>
                  <a:pt x="35" y="23"/>
                  <a:pt x="35" y="23"/>
                  <a:pt x="35" y="23"/>
                </a:cubicBezTo>
                <a:cubicBezTo>
                  <a:pt x="34" y="18"/>
                  <a:pt x="34" y="18"/>
                  <a:pt x="34" y="18"/>
                </a:cubicBezTo>
                <a:cubicBezTo>
                  <a:pt x="34" y="16"/>
                  <a:pt x="34" y="16"/>
                  <a:pt x="34" y="16"/>
                </a:cubicBezTo>
                <a:cubicBezTo>
                  <a:pt x="36" y="11"/>
                  <a:pt x="36" y="11"/>
                  <a:pt x="36" y="11"/>
                </a:cubicBezTo>
                <a:cubicBezTo>
                  <a:pt x="36" y="9"/>
                  <a:pt x="36" y="9"/>
                  <a:pt x="36" y="9"/>
                </a:cubicBezTo>
                <a:cubicBezTo>
                  <a:pt x="37" y="9"/>
                  <a:pt x="37" y="9"/>
                  <a:pt x="37" y="9"/>
                </a:cubicBezTo>
                <a:cubicBezTo>
                  <a:pt x="43" y="14"/>
                  <a:pt x="43" y="14"/>
                  <a:pt x="43" y="14"/>
                </a:cubicBezTo>
                <a:cubicBezTo>
                  <a:pt x="46" y="16"/>
                  <a:pt x="46" y="16"/>
                  <a:pt x="46" y="16"/>
                </a:cubicBezTo>
                <a:cubicBezTo>
                  <a:pt x="51" y="16"/>
                  <a:pt x="51" y="16"/>
                  <a:pt x="51" y="16"/>
                </a:cubicBezTo>
                <a:cubicBezTo>
                  <a:pt x="53" y="17"/>
                  <a:pt x="53" y="17"/>
                  <a:pt x="53" y="17"/>
                </a:cubicBezTo>
                <a:cubicBezTo>
                  <a:pt x="54" y="19"/>
                  <a:pt x="54" y="19"/>
                  <a:pt x="54" y="19"/>
                </a:cubicBezTo>
                <a:cubicBezTo>
                  <a:pt x="55" y="19"/>
                  <a:pt x="55" y="19"/>
                  <a:pt x="55" y="19"/>
                </a:cubicBezTo>
                <a:cubicBezTo>
                  <a:pt x="57" y="19"/>
                  <a:pt x="57" y="19"/>
                  <a:pt x="57" y="19"/>
                </a:cubicBezTo>
                <a:cubicBezTo>
                  <a:pt x="57" y="20"/>
                  <a:pt x="57" y="20"/>
                  <a:pt x="57" y="20"/>
                </a:cubicBezTo>
                <a:cubicBezTo>
                  <a:pt x="57" y="21"/>
                  <a:pt x="57" y="21"/>
                  <a:pt x="57" y="21"/>
                </a:cubicBezTo>
                <a:cubicBezTo>
                  <a:pt x="54" y="22"/>
                  <a:pt x="54" y="22"/>
                  <a:pt x="54" y="22"/>
                </a:cubicBezTo>
                <a:cubicBezTo>
                  <a:pt x="52" y="25"/>
                  <a:pt x="52" y="25"/>
                  <a:pt x="52" y="25"/>
                </a:cubicBezTo>
                <a:cubicBezTo>
                  <a:pt x="52" y="26"/>
                  <a:pt x="52" y="26"/>
                  <a:pt x="52" y="26"/>
                </a:cubicBezTo>
                <a:cubicBezTo>
                  <a:pt x="54" y="26"/>
                  <a:pt x="54" y="26"/>
                  <a:pt x="54" y="26"/>
                </a:cubicBezTo>
                <a:cubicBezTo>
                  <a:pt x="55" y="24"/>
                  <a:pt x="55" y="24"/>
                  <a:pt x="55" y="24"/>
                </a:cubicBezTo>
                <a:cubicBezTo>
                  <a:pt x="57" y="22"/>
                  <a:pt x="57" y="22"/>
                  <a:pt x="57" y="22"/>
                </a:cubicBezTo>
                <a:cubicBezTo>
                  <a:pt x="58" y="22"/>
                  <a:pt x="58" y="22"/>
                  <a:pt x="58" y="22"/>
                </a:cubicBezTo>
                <a:cubicBezTo>
                  <a:pt x="59" y="24"/>
                  <a:pt x="59" y="24"/>
                  <a:pt x="59" y="24"/>
                </a:cubicBezTo>
                <a:cubicBezTo>
                  <a:pt x="57" y="26"/>
                  <a:pt x="57" y="26"/>
                  <a:pt x="57" y="26"/>
                </a:cubicBezTo>
                <a:cubicBezTo>
                  <a:pt x="55" y="29"/>
                  <a:pt x="55" y="29"/>
                  <a:pt x="55" y="29"/>
                </a:cubicBezTo>
                <a:cubicBezTo>
                  <a:pt x="55" y="32"/>
                  <a:pt x="55" y="32"/>
                  <a:pt x="55" y="32"/>
                </a:cubicBezTo>
                <a:cubicBezTo>
                  <a:pt x="54" y="32"/>
                  <a:pt x="54" y="32"/>
                  <a:pt x="54" y="32"/>
                </a:cubicBezTo>
                <a:cubicBezTo>
                  <a:pt x="54" y="31"/>
                  <a:pt x="54" y="31"/>
                  <a:pt x="54" y="31"/>
                </a:cubicBezTo>
                <a:cubicBezTo>
                  <a:pt x="53" y="32"/>
                  <a:pt x="53" y="32"/>
                  <a:pt x="53" y="32"/>
                </a:cubicBezTo>
                <a:cubicBezTo>
                  <a:pt x="52" y="31"/>
                  <a:pt x="52" y="31"/>
                  <a:pt x="52" y="31"/>
                </a:cubicBezTo>
                <a:cubicBezTo>
                  <a:pt x="50" y="33"/>
                  <a:pt x="50" y="33"/>
                  <a:pt x="50" y="33"/>
                </a:cubicBezTo>
                <a:cubicBezTo>
                  <a:pt x="51" y="34"/>
                  <a:pt x="51" y="34"/>
                  <a:pt x="51" y="34"/>
                </a:cubicBezTo>
                <a:cubicBezTo>
                  <a:pt x="53" y="35"/>
                  <a:pt x="53" y="35"/>
                  <a:pt x="53" y="35"/>
                </a:cubicBezTo>
                <a:cubicBezTo>
                  <a:pt x="56" y="34"/>
                  <a:pt x="56" y="34"/>
                  <a:pt x="56" y="34"/>
                </a:cubicBezTo>
                <a:cubicBezTo>
                  <a:pt x="56" y="32"/>
                  <a:pt x="56" y="32"/>
                  <a:pt x="56" y="32"/>
                </a:cubicBezTo>
                <a:cubicBezTo>
                  <a:pt x="58" y="30"/>
                  <a:pt x="58" y="30"/>
                  <a:pt x="58" y="30"/>
                </a:cubicBezTo>
                <a:cubicBezTo>
                  <a:pt x="58" y="27"/>
                  <a:pt x="58" y="27"/>
                  <a:pt x="58" y="27"/>
                </a:cubicBezTo>
                <a:cubicBezTo>
                  <a:pt x="59" y="26"/>
                  <a:pt x="59" y="26"/>
                  <a:pt x="59" y="26"/>
                </a:cubicBezTo>
                <a:cubicBezTo>
                  <a:pt x="60" y="23"/>
                  <a:pt x="60" y="23"/>
                  <a:pt x="60" y="23"/>
                </a:cubicBezTo>
                <a:cubicBezTo>
                  <a:pt x="62" y="22"/>
                  <a:pt x="62" y="22"/>
                  <a:pt x="62" y="22"/>
                </a:cubicBezTo>
                <a:cubicBezTo>
                  <a:pt x="64" y="19"/>
                  <a:pt x="64" y="19"/>
                  <a:pt x="64" y="19"/>
                </a:cubicBezTo>
                <a:cubicBezTo>
                  <a:pt x="63" y="18"/>
                  <a:pt x="63" y="18"/>
                  <a:pt x="63" y="18"/>
                </a:cubicBezTo>
                <a:cubicBezTo>
                  <a:pt x="63" y="16"/>
                  <a:pt x="63" y="16"/>
                  <a:pt x="63" y="16"/>
                </a:cubicBezTo>
                <a:cubicBezTo>
                  <a:pt x="62" y="15"/>
                  <a:pt x="62" y="15"/>
                  <a:pt x="62" y="15"/>
                </a:cubicBezTo>
                <a:cubicBezTo>
                  <a:pt x="63" y="13"/>
                  <a:pt x="63" y="13"/>
                  <a:pt x="63" y="13"/>
                </a:cubicBezTo>
                <a:cubicBezTo>
                  <a:pt x="64" y="13"/>
                  <a:pt x="64" y="13"/>
                  <a:pt x="64" y="13"/>
                </a:cubicBezTo>
                <a:cubicBezTo>
                  <a:pt x="62" y="11"/>
                  <a:pt x="62" y="11"/>
                  <a:pt x="62" y="11"/>
                </a:cubicBezTo>
                <a:cubicBezTo>
                  <a:pt x="62" y="9"/>
                  <a:pt x="62" y="9"/>
                  <a:pt x="62" y="9"/>
                </a:cubicBezTo>
                <a:cubicBezTo>
                  <a:pt x="64" y="8"/>
                  <a:pt x="64" y="8"/>
                  <a:pt x="64" y="8"/>
                </a:cubicBezTo>
                <a:cubicBezTo>
                  <a:pt x="64" y="6"/>
                  <a:pt x="64" y="6"/>
                  <a:pt x="64" y="6"/>
                </a:cubicBezTo>
                <a:cubicBezTo>
                  <a:pt x="62" y="4"/>
                  <a:pt x="62" y="4"/>
                  <a:pt x="62" y="4"/>
                </a:cubicBezTo>
                <a:cubicBezTo>
                  <a:pt x="61" y="0"/>
                  <a:pt x="61" y="0"/>
                  <a:pt x="61" y="0"/>
                </a:cubicBezTo>
                <a:close/>
                <a:moveTo>
                  <a:pt x="635" y="173"/>
                </a:moveTo>
                <a:cubicBezTo>
                  <a:pt x="635" y="174"/>
                  <a:pt x="635" y="174"/>
                  <a:pt x="635" y="174"/>
                </a:cubicBezTo>
                <a:cubicBezTo>
                  <a:pt x="637" y="174"/>
                  <a:pt x="637" y="174"/>
                  <a:pt x="637" y="174"/>
                </a:cubicBezTo>
                <a:cubicBezTo>
                  <a:pt x="638" y="173"/>
                  <a:pt x="638" y="173"/>
                  <a:pt x="638" y="173"/>
                </a:cubicBezTo>
                <a:cubicBezTo>
                  <a:pt x="639" y="173"/>
                  <a:pt x="639" y="173"/>
                  <a:pt x="639" y="173"/>
                </a:cubicBezTo>
                <a:cubicBezTo>
                  <a:pt x="638" y="172"/>
                  <a:pt x="638" y="172"/>
                  <a:pt x="638" y="172"/>
                </a:cubicBezTo>
                <a:cubicBezTo>
                  <a:pt x="636" y="172"/>
                  <a:pt x="636" y="172"/>
                  <a:pt x="636" y="172"/>
                </a:cubicBezTo>
                <a:cubicBezTo>
                  <a:pt x="636" y="173"/>
                  <a:pt x="636" y="173"/>
                  <a:pt x="636" y="173"/>
                </a:cubicBezTo>
                <a:cubicBezTo>
                  <a:pt x="635" y="173"/>
                  <a:pt x="635" y="173"/>
                  <a:pt x="635" y="173"/>
                </a:cubicBezTo>
                <a:close/>
                <a:moveTo>
                  <a:pt x="598" y="183"/>
                </a:moveTo>
                <a:cubicBezTo>
                  <a:pt x="597" y="184"/>
                  <a:pt x="597" y="184"/>
                  <a:pt x="597" y="184"/>
                </a:cubicBezTo>
                <a:cubicBezTo>
                  <a:pt x="598" y="184"/>
                  <a:pt x="598" y="184"/>
                  <a:pt x="598" y="184"/>
                </a:cubicBezTo>
                <a:cubicBezTo>
                  <a:pt x="599" y="183"/>
                  <a:pt x="599" y="183"/>
                  <a:pt x="599" y="183"/>
                </a:cubicBezTo>
                <a:cubicBezTo>
                  <a:pt x="602" y="183"/>
                  <a:pt x="602" y="183"/>
                  <a:pt x="602" y="183"/>
                </a:cubicBezTo>
                <a:cubicBezTo>
                  <a:pt x="604" y="182"/>
                  <a:pt x="604" y="182"/>
                  <a:pt x="604" y="182"/>
                </a:cubicBezTo>
                <a:cubicBezTo>
                  <a:pt x="608" y="182"/>
                  <a:pt x="608" y="182"/>
                  <a:pt x="608" y="182"/>
                </a:cubicBezTo>
                <a:cubicBezTo>
                  <a:pt x="610" y="181"/>
                  <a:pt x="610" y="181"/>
                  <a:pt x="610" y="181"/>
                </a:cubicBezTo>
                <a:cubicBezTo>
                  <a:pt x="614" y="181"/>
                  <a:pt x="614" y="181"/>
                  <a:pt x="614" y="181"/>
                </a:cubicBezTo>
                <a:cubicBezTo>
                  <a:pt x="615" y="180"/>
                  <a:pt x="615" y="180"/>
                  <a:pt x="615" y="180"/>
                </a:cubicBezTo>
                <a:cubicBezTo>
                  <a:pt x="616" y="180"/>
                  <a:pt x="616" y="180"/>
                  <a:pt x="616" y="180"/>
                </a:cubicBezTo>
                <a:cubicBezTo>
                  <a:pt x="619" y="179"/>
                  <a:pt x="619" y="179"/>
                  <a:pt x="619" y="179"/>
                </a:cubicBezTo>
                <a:cubicBezTo>
                  <a:pt x="620" y="178"/>
                  <a:pt x="620" y="178"/>
                  <a:pt x="620" y="178"/>
                </a:cubicBezTo>
                <a:cubicBezTo>
                  <a:pt x="618" y="179"/>
                  <a:pt x="618" y="179"/>
                  <a:pt x="618" y="179"/>
                </a:cubicBezTo>
                <a:cubicBezTo>
                  <a:pt x="617" y="178"/>
                  <a:pt x="617" y="178"/>
                  <a:pt x="617" y="178"/>
                </a:cubicBezTo>
                <a:cubicBezTo>
                  <a:pt x="615" y="179"/>
                  <a:pt x="615" y="179"/>
                  <a:pt x="615" y="179"/>
                </a:cubicBezTo>
                <a:cubicBezTo>
                  <a:pt x="615" y="178"/>
                  <a:pt x="615" y="178"/>
                  <a:pt x="615" y="178"/>
                </a:cubicBezTo>
                <a:cubicBezTo>
                  <a:pt x="616" y="177"/>
                  <a:pt x="616" y="177"/>
                  <a:pt x="616" y="177"/>
                </a:cubicBezTo>
                <a:cubicBezTo>
                  <a:pt x="616" y="176"/>
                  <a:pt x="616" y="176"/>
                  <a:pt x="616" y="176"/>
                </a:cubicBezTo>
                <a:cubicBezTo>
                  <a:pt x="613" y="178"/>
                  <a:pt x="613" y="178"/>
                  <a:pt x="613" y="178"/>
                </a:cubicBezTo>
                <a:cubicBezTo>
                  <a:pt x="609" y="178"/>
                  <a:pt x="609" y="178"/>
                  <a:pt x="609" y="178"/>
                </a:cubicBezTo>
                <a:cubicBezTo>
                  <a:pt x="606" y="179"/>
                  <a:pt x="606" y="179"/>
                  <a:pt x="606" y="179"/>
                </a:cubicBezTo>
                <a:cubicBezTo>
                  <a:pt x="603" y="179"/>
                  <a:pt x="603" y="179"/>
                  <a:pt x="603" y="179"/>
                </a:cubicBezTo>
                <a:cubicBezTo>
                  <a:pt x="600" y="180"/>
                  <a:pt x="600" y="180"/>
                  <a:pt x="600" y="180"/>
                </a:cubicBezTo>
                <a:cubicBezTo>
                  <a:pt x="597" y="180"/>
                  <a:pt x="597" y="180"/>
                  <a:pt x="597" y="180"/>
                </a:cubicBezTo>
                <a:cubicBezTo>
                  <a:pt x="596" y="182"/>
                  <a:pt x="596" y="182"/>
                  <a:pt x="596" y="182"/>
                </a:cubicBezTo>
                <a:cubicBezTo>
                  <a:pt x="596" y="183"/>
                  <a:pt x="596" y="183"/>
                  <a:pt x="596" y="183"/>
                </a:cubicBezTo>
                <a:cubicBezTo>
                  <a:pt x="598" y="183"/>
                  <a:pt x="598" y="183"/>
                  <a:pt x="598" y="183"/>
                </a:cubicBezTo>
                <a:close/>
                <a:moveTo>
                  <a:pt x="61" y="12"/>
                </a:moveTo>
                <a:cubicBezTo>
                  <a:pt x="58" y="14"/>
                  <a:pt x="58" y="14"/>
                  <a:pt x="58" y="14"/>
                </a:cubicBezTo>
                <a:cubicBezTo>
                  <a:pt x="58" y="17"/>
                  <a:pt x="58" y="17"/>
                  <a:pt x="58" y="17"/>
                </a:cubicBezTo>
                <a:cubicBezTo>
                  <a:pt x="60" y="21"/>
                  <a:pt x="60" y="21"/>
                  <a:pt x="60" y="21"/>
                </a:cubicBezTo>
                <a:cubicBezTo>
                  <a:pt x="61" y="20"/>
                  <a:pt x="61" y="20"/>
                  <a:pt x="61" y="20"/>
                </a:cubicBezTo>
                <a:cubicBezTo>
                  <a:pt x="60" y="16"/>
                  <a:pt x="60" y="16"/>
                  <a:pt x="60" y="16"/>
                </a:cubicBezTo>
                <a:cubicBezTo>
                  <a:pt x="60" y="14"/>
                  <a:pt x="60" y="14"/>
                  <a:pt x="60" y="14"/>
                </a:cubicBezTo>
                <a:cubicBezTo>
                  <a:pt x="61" y="13"/>
                  <a:pt x="61" y="13"/>
                  <a:pt x="61" y="13"/>
                </a:cubicBezTo>
                <a:cubicBezTo>
                  <a:pt x="61" y="12"/>
                  <a:pt x="61" y="12"/>
                  <a:pt x="61" y="12"/>
                </a:cubicBezTo>
                <a:close/>
                <a:moveTo>
                  <a:pt x="292" y="368"/>
                </a:moveTo>
                <a:cubicBezTo>
                  <a:pt x="293" y="367"/>
                  <a:pt x="293" y="367"/>
                  <a:pt x="293" y="367"/>
                </a:cubicBezTo>
                <a:cubicBezTo>
                  <a:pt x="296" y="364"/>
                  <a:pt x="296" y="364"/>
                  <a:pt x="296" y="364"/>
                </a:cubicBezTo>
                <a:cubicBezTo>
                  <a:pt x="298" y="362"/>
                  <a:pt x="298" y="362"/>
                  <a:pt x="298" y="362"/>
                </a:cubicBezTo>
                <a:cubicBezTo>
                  <a:pt x="295" y="364"/>
                  <a:pt x="295" y="364"/>
                  <a:pt x="295" y="364"/>
                </a:cubicBezTo>
                <a:cubicBezTo>
                  <a:pt x="292" y="368"/>
                  <a:pt x="292" y="368"/>
                  <a:pt x="292" y="368"/>
                </a:cubicBezTo>
                <a:close/>
                <a:moveTo>
                  <a:pt x="290" y="375"/>
                </a:moveTo>
                <a:cubicBezTo>
                  <a:pt x="290" y="374"/>
                  <a:pt x="290" y="374"/>
                  <a:pt x="290" y="374"/>
                </a:cubicBezTo>
                <a:cubicBezTo>
                  <a:pt x="292" y="371"/>
                  <a:pt x="292" y="371"/>
                  <a:pt x="292" y="371"/>
                </a:cubicBezTo>
                <a:cubicBezTo>
                  <a:pt x="291" y="370"/>
                  <a:pt x="291" y="370"/>
                  <a:pt x="291" y="370"/>
                </a:cubicBezTo>
                <a:cubicBezTo>
                  <a:pt x="290" y="375"/>
                  <a:pt x="290" y="375"/>
                  <a:pt x="290" y="375"/>
                </a:cubicBezTo>
                <a:close/>
                <a:moveTo>
                  <a:pt x="289" y="391"/>
                </a:moveTo>
                <a:cubicBezTo>
                  <a:pt x="287" y="387"/>
                  <a:pt x="287" y="387"/>
                  <a:pt x="287" y="387"/>
                </a:cubicBezTo>
                <a:cubicBezTo>
                  <a:pt x="288" y="382"/>
                  <a:pt x="288" y="382"/>
                  <a:pt x="288" y="382"/>
                </a:cubicBezTo>
                <a:cubicBezTo>
                  <a:pt x="289" y="376"/>
                  <a:pt x="289" y="376"/>
                  <a:pt x="289" y="376"/>
                </a:cubicBezTo>
                <a:cubicBezTo>
                  <a:pt x="287" y="381"/>
                  <a:pt x="287" y="381"/>
                  <a:pt x="287" y="381"/>
                </a:cubicBezTo>
                <a:cubicBezTo>
                  <a:pt x="287" y="387"/>
                  <a:pt x="287" y="387"/>
                  <a:pt x="287" y="387"/>
                </a:cubicBezTo>
                <a:cubicBezTo>
                  <a:pt x="287" y="387"/>
                  <a:pt x="289" y="391"/>
                  <a:pt x="289" y="391"/>
                </a:cubicBezTo>
                <a:close/>
              </a:path>
            </a:pathLst>
          </a:custGeom>
          <a:solidFill>
            <a:schemeClr val="accent2"/>
          </a:solidFill>
          <a:ln>
            <a:noFill/>
          </a:ln>
        </p:spPr>
        <p:txBody>
          <a:bodyPr/>
          <a:lstStyle/>
          <a:p>
            <a:endParaRPr lang="en-US" dirty="0">
              <a:latin typeface="RBC Text" panose="02000000000000000000" pitchFamily="2" charset="77"/>
            </a:endParaRPr>
          </a:p>
        </p:txBody>
      </p:sp>
      <p:sp>
        <p:nvSpPr>
          <p:cNvPr id="12" name="Freeform 16"/>
          <p:cNvSpPr>
            <a:spLocks/>
          </p:cNvSpPr>
          <p:nvPr/>
        </p:nvSpPr>
        <p:spPr bwMode="auto">
          <a:xfrm>
            <a:off x="9082994" y="6442529"/>
            <a:ext cx="276225" cy="125413"/>
          </a:xfrm>
          <a:custGeom>
            <a:avLst/>
            <a:gdLst>
              <a:gd name="T0" fmla="*/ 236538 w 174"/>
              <a:gd name="T1" fmla="*/ 109538 h 79"/>
              <a:gd name="T2" fmla="*/ 219075 w 174"/>
              <a:gd name="T3" fmla="*/ 80963 h 79"/>
              <a:gd name="T4" fmla="*/ 231775 w 174"/>
              <a:gd name="T5" fmla="*/ 65088 h 79"/>
              <a:gd name="T6" fmla="*/ 244475 w 174"/>
              <a:gd name="T7" fmla="*/ 60325 h 79"/>
              <a:gd name="T8" fmla="*/ 236538 w 174"/>
              <a:gd name="T9" fmla="*/ 52388 h 79"/>
              <a:gd name="T10" fmla="*/ 223838 w 174"/>
              <a:gd name="T11" fmla="*/ 65088 h 79"/>
              <a:gd name="T12" fmla="*/ 215900 w 174"/>
              <a:gd name="T13" fmla="*/ 52388 h 79"/>
              <a:gd name="T14" fmla="*/ 203200 w 174"/>
              <a:gd name="T15" fmla="*/ 36513 h 79"/>
              <a:gd name="T16" fmla="*/ 187325 w 174"/>
              <a:gd name="T17" fmla="*/ 23813 h 79"/>
              <a:gd name="T18" fmla="*/ 158750 w 174"/>
              <a:gd name="T19" fmla="*/ 36513 h 79"/>
              <a:gd name="T20" fmla="*/ 161925 w 174"/>
              <a:gd name="T21" fmla="*/ 49213 h 79"/>
              <a:gd name="T22" fmla="*/ 146050 w 174"/>
              <a:gd name="T23" fmla="*/ 65088 h 79"/>
              <a:gd name="T24" fmla="*/ 125413 w 174"/>
              <a:gd name="T25" fmla="*/ 73025 h 79"/>
              <a:gd name="T26" fmla="*/ 125413 w 174"/>
              <a:gd name="T27" fmla="*/ 85725 h 79"/>
              <a:gd name="T28" fmla="*/ 142875 w 174"/>
              <a:gd name="T29" fmla="*/ 96838 h 79"/>
              <a:gd name="T30" fmla="*/ 138113 w 174"/>
              <a:gd name="T31" fmla="*/ 109538 h 79"/>
              <a:gd name="T32" fmla="*/ 122238 w 174"/>
              <a:gd name="T33" fmla="*/ 114300 h 79"/>
              <a:gd name="T34" fmla="*/ 101600 w 174"/>
              <a:gd name="T35" fmla="*/ 122238 h 79"/>
              <a:gd name="T36" fmla="*/ 96838 w 174"/>
              <a:gd name="T37" fmla="*/ 109538 h 79"/>
              <a:gd name="T38" fmla="*/ 96838 w 174"/>
              <a:gd name="T39" fmla="*/ 93663 h 79"/>
              <a:gd name="T40" fmla="*/ 88900 w 174"/>
              <a:gd name="T41" fmla="*/ 88900 h 79"/>
              <a:gd name="T42" fmla="*/ 88900 w 174"/>
              <a:gd name="T43" fmla="*/ 96838 h 79"/>
              <a:gd name="T44" fmla="*/ 77788 w 174"/>
              <a:gd name="T45" fmla="*/ 104775 h 79"/>
              <a:gd name="T46" fmla="*/ 65088 w 174"/>
              <a:gd name="T47" fmla="*/ 85725 h 79"/>
              <a:gd name="T48" fmla="*/ 44450 w 174"/>
              <a:gd name="T49" fmla="*/ 73025 h 79"/>
              <a:gd name="T50" fmla="*/ 36513 w 174"/>
              <a:gd name="T51" fmla="*/ 65088 h 79"/>
              <a:gd name="T52" fmla="*/ 28575 w 174"/>
              <a:gd name="T53" fmla="*/ 65088 h 79"/>
              <a:gd name="T54" fmla="*/ 12700 w 174"/>
              <a:gd name="T55" fmla="*/ 65088 h 79"/>
              <a:gd name="T56" fmla="*/ 0 w 174"/>
              <a:gd name="T57" fmla="*/ 60325 h 79"/>
              <a:gd name="T58" fmla="*/ 3175 w 174"/>
              <a:gd name="T59" fmla="*/ 49213 h 79"/>
              <a:gd name="T60" fmla="*/ 3175 w 174"/>
              <a:gd name="T61" fmla="*/ 31750 h 79"/>
              <a:gd name="T62" fmla="*/ 0 w 174"/>
              <a:gd name="T63" fmla="*/ 23813 h 79"/>
              <a:gd name="T64" fmla="*/ 7938 w 174"/>
              <a:gd name="T65" fmla="*/ 7938 h 79"/>
              <a:gd name="T66" fmla="*/ 20638 w 174"/>
              <a:gd name="T67" fmla="*/ 3175 h 79"/>
              <a:gd name="T68" fmla="*/ 28575 w 174"/>
              <a:gd name="T69" fmla="*/ 15875 h 79"/>
              <a:gd name="T70" fmla="*/ 36513 w 174"/>
              <a:gd name="T71" fmla="*/ 20638 h 79"/>
              <a:gd name="T72" fmla="*/ 36513 w 174"/>
              <a:gd name="T73" fmla="*/ 23813 h 79"/>
              <a:gd name="T74" fmla="*/ 36513 w 174"/>
              <a:gd name="T75" fmla="*/ 28575 h 79"/>
              <a:gd name="T76" fmla="*/ 52388 w 174"/>
              <a:gd name="T77" fmla="*/ 31750 h 79"/>
              <a:gd name="T78" fmla="*/ 49213 w 174"/>
              <a:gd name="T79" fmla="*/ 23813 h 79"/>
              <a:gd name="T80" fmla="*/ 60325 w 174"/>
              <a:gd name="T81" fmla="*/ 23813 h 79"/>
              <a:gd name="T82" fmla="*/ 93663 w 174"/>
              <a:gd name="T83" fmla="*/ 36513 h 79"/>
              <a:gd name="T84" fmla="*/ 114300 w 174"/>
              <a:gd name="T85" fmla="*/ 28575 h 79"/>
              <a:gd name="T86" fmla="*/ 158750 w 174"/>
              <a:gd name="T87" fmla="*/ 7938 h 79"/>
              <a:gd name="T88" fmla="*/ 179388 w 174"/>
              <a:gd name="T89" fmla="*/ 0 h 79"/>
              <a:gd name="T90" fmla="*/ 187325 w 174"/>
              <a:gd name="T91" fmla="*/ 7938 h 79"/>
              <a:gd name="T92" fmla="*/ 215900 w 174"/>
              <a:gd name="T93" fmla="*/ 7938 h 79"/>
              <a:gd name="T94" fmla="*/ 247650 w 174"/>
              <a:gd name="T95" fmla="*/ 23813 h 79"/>
              <a:gd name="T96" fmla="*/ 260350 w 174"/>
              <a:gd name="T97" fmla="*/ 39688 h 79"/>
              <a:gd name="T98" fmla="*/ 273050 w 174"/>
              <a:gd name="T99" fmla="*/ 49213 h 79"/>
              <a:gd name="T100" fmla="*/ 273050 w 174"/>
              <a:gd name="T101" fmla="*/ 60325 h 79"/>
              <a:gd name="T102" fmla="*/ 268288 w 174"/>
              <a:gd name="T103" fmla="*/ 88900 h 79"/>
              <a:gd name="T104" fmla="*/ 260350 w 174"/>
              <a:gd name="T105" fmla="*/ 104775 h 79"/>
              <a:gd name="T106" fmla="*/ 247650 w 174"/>
              <a:gd name="T107" fmla="*/ 117475 h 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4" h="79">
                <a:moveTo>
                  <a:pt x="156" y="74"/>
                </a:moveTo>
                <a:lnTo>
                  <a:pt x="149" y="69"/>
                </a:lnTo>
                <a:lnTo>
                  <a:pt x="141" y="59"/>
                </a:lnTo>
                <a:lnTo>
                  <a:pt x="138" y="51"/>
                </a:lnTo>
                <a:lnTo>
                  <a:pt x="141" y="48"/>
                </a:lnTo>
                <a:lnTo>
                  <a:pt x="146" y="41"/>
                </a:lnTo>
                <a:lnTo>
                  <a:pt x="151" y="41"/>
                </a:lnTo>
                <a:lnTo>
                  <a:pt x="154" y="38"/>
                </a:lnTo>
                <a:lnTo>
                  <a:pt x="151" y="33"/>
                </a:lnTo>
                <a:lnTo>
                  <a:pt x="149" y="33"/>
                </a:lnTo>
                <a:lnTo>
                  <a:pt x="143" y="38"/>
                </a:lnTo>
                <a:lnTo>
                  <a:pt x="141" y="41"/>
                </a:lnTo>
                <a:lnTo>
                  <a:pt x="138" y="38"/>
                </a:lnTo>
                <a:lnTo>
                  <a:pt x="136" y="33"/>
                </a:lnTo>
                <a:lnTo>
                  <a:pt x="131" y="25"/>
                </a:lnTo>
                <a:lnTo>
                  <a:pt x="128" y="23"/>
                </a:lnTo>
                <a:lnTo>
                  <a:pt x="120" y="18"/>
                </a:lnTo>
                <a:lnTo>
                  <a:pt x="118" y="15"/>
                </a:lnTo>
                <a:lnTo>
                  <a:pt x="110" y="18"/>
                </a:lnTo>
                <a:lnTo>
                  <a:pt x="100" y="23"/>
                </a:lnTo>
                <a:lnTo>
                  <a:pt x="100" y="28"/>
                </a:lnTo>
                <a:lnTo>
                  <a:pt x="102" y="31"/>
                </a:lnTo>
                <a:lnTo>
                  <a:pt x="102" y="33"/>
                </a:lnTo>
                <a:lnTo>
                  <a:pt x="92" y="41"/>
                </a:lnTo>
                <a:lnTo>
                  <a:pt x="84" y="43"/>
                </a:lnTo>
                <a:lnTo>
                  <a:pt x="79" y="46"/>
                </a:lnTo>
                <a:lnTo>
                  <a:pt x="77" y="48"/>
                </a:lnTo>
                <a:lnTo>
                  <a:pt x="79" y="54"/>
                </a:lnTo>
                <a:lnTo>
                  <a:pt x="84" y="59"/>
                </a:lnTo>
                <a:lnTo>
                  <a:pt x="90" y="61"/>
                </a:lnTo>
                <a:lnTo>
                  <a:pt x="90" y="69"/>
                </a:lnTo>
                <a:lnTo>
                  <a:pt x="87" y="69"/>
                </a:lnTo>
                <a:lnTo>
                  <a:pt x="79" y="69"/>
                </a:lnTo>
                <a:lnTo>
                  <a:pt x="77" y="72"/>
                </a:lnTo>
                <a:lnTo>
                  <a:pt x="72" y="79"/>
                </a:lnTo>
                <a:lnTo>
                  <a:pt x="64" y="77"/>
                </a:lnTo>
                <a:lnTo>
                  <a:pt x="61" y="74"/>
                </a:lnTo>
                <a:lnTo>
                  <a:pt x="61" y="69"/>
                </a:lnTo>
                <a:lnTo>
                  <a:pt x="61" y="64"/>
                </a:lnTo>
                <a:lnTo>
                  <a:pt x="61" y="59"/>
                </a:lnTo>
                <a:lnTo>
                  <a:pt x="61" y="56"/>
                </a:lnTo>
                <a:lnTo>
                  <a:pt x="56" y="56"/>
                </a:lnTo>
                <a:lnTo>
                  <a:pt x="54" y="59"/>
                </a:lnTo>
                <a:lnTo>
                  <a:pt x="56" y="61"/>
                </a:lnTo>
                <a:lnTo>
                  <a:pt x="54" y="66"/>
                </a:lnTo>
                <a:lnTo>
                  <a:pt x="49" y="66"/>
                </a:lnTo>
                <a:lnTo>
                  <a:pt x="43" y="64"/>
                </a:lnTo>
                <a:lnTo>
                  <a:pt x="41" y="54"/>
                </a:lnTo>
                <a:lnTo>
                  <a:pt x="38" y="46"/>
                </a:lnTo>
                <a:lnTo>
                  <a:pt x="28" y="46"/>
                </a:lnTo>
                <a:lnTo>
                  <a:pt x="23" y="43"/>
                </a:lnTo>
                <a:lnTo>
                  <a:pt x="23" y="41"/>
                </a:lnTo>
                <a:lnTo>
                  <a:pt x="20" y="38"/>
                </a:lnTo>
                <a:lnTo>
                  <a:pt x="18" y="41"/>
                </a:lnTo>
                <a:lnTo>
                  <a:pt x="13" y="43"/>
                </a:lnTo>
                <a:lnTo>
                  <a:pt x="8" y="41"/>
                </a:lnTo>
                <a:lnTo>
                  <a:pt x="2" y="41"/>
                </a:lnTo>
                <a:lnTo>
                  <a:pt x="0" y="38"/>
                </a:lnTo>
                <a:lnTo>
                  <a:pt x="0" y="36"/>
                </a:lnTo>
                <a:lnTo>
                  <a:pt x="2" y="31"/>
                </a:lnTo>
                <a:lnTo>
                  <a:pt x="8" y="25"/>
                </a:lnTo>
                <a:lnTo>
                  <a:pt x="2" y="20"/>
                </a:lnTo>
                <a:lnTo>
                  <a:pt x="0" y="20"/>
                </a:lnTo>
                <a:lnTo>
                  <a:pt x="0" y="15"/>
                </a:lnTo>
                <a:lnTo>
                  <a:pt x="5" y="10"/>
                </a:lnTo>
                <a:lnTo>
                  <a:pt x="5" y="5"/>
                </a:lnTo>
                <a:lnTo>
                  <a:pt x="8" y="2"/>
                </a:lnTo>
                <a:lnTo>
                  <a:pt x="13" y="2"/>
                </a:lnTo>
                <a:lnTo>
                  <a:pt x="13" y="7"/>
                </a:lnTo>
                <a:lnTo>
                  <a:pt x="18" y="10"/>
                </a:lnTo>
                <a:lnTo>
                  <a:pt x="20" y="13"/>
                </a:lnTo>
                <a:lnTo>
                  <a:pt x="23" y="13"/>
                </a:lnTo>
                <a:lnTo>
                  <a:pt x="25" y="13"/>
                </a:lnTo>
                <a:lnTo>
                  <a:pt x="23" y="15"/>
                </a:lnTo>
                <a:lnTo>
                  <a:pt x="23" y="18"/>
                </a:lnTo>
                <a:lnTo>
                  <a:pt x="28" y="20"/>
                </a:lnTo>
                <a:lnTo>
                  <a:pt x="33" y="20"/>
                </a:lnTo>
                <a:lnTo>
                  <a:pt x="33" y="18"/>
                </a:lnTo>
                <a:lnTo>
                  <a:pt x="31" y="15"/>
                </a:lnTo>
                <a:lnTo>
                  <a:pt x="31" y="13"/>
                </a:lnTo>
                <a:lnTo>
                  <a:pt x="38" y="15"/>
                </a:lnTo>
                <a:lnTo>
                  <a:pt x="49" y="23"/>
                </a:lnTo>
                <a:lnTo>
                  <a:pt x="59" y="23"/>
                </a:lnTo>
                <a:lnTo>
                  <a:pt x="66" y="23"/>
                </a:lnTo>
                <a:lnTo>
                  <a:pt x="72" y="18"/>
                </a:lnTo>
                <a:lnTo>
                  <a:pt x="90" y="7"/>
                </a:lnTo>
                <a:lnTo>
                  <a:pt x="100" y="5"/>
                </a:lnTo>
                <a:lnTo>
                  <a:pt x="108" y="0"/>
                </a:lnTo>
                <a:lnTo>
                  <a:pt x="113" y="0"/>
                </a:lnTo>
                <a:lnTo>
                  <a:pt x="115" y="2"/>
                </a:lnTo>
                <a:lnTo>
                  <a:pt x="118" y="5"/>
                </a:lnTo>
                <a:lnTo>
                  <a:pt x="123" y="5"/>
                </a:lnTo>
                <a:lnTo>
                  <a:pt x="136" y="5"/>
                </a:lnTo>
                <a:lnTo>
                  <a:pt x="143" y="7"/>
                </a:lnTo>
                <a:lnTo>
                  <a:pt x="156" y="15"/>
                </a:lnTo>
                <a:lnTo>
                  <a:pt x="164" y="20"/>
                </a:lnTo>
                <a:lnTo>
                  <a:pt x="164" y="25"/>
                </a:lnTo>
                <a:lnTo>
                  <a:pt x="169" y="28"/>
                </a:lnTo>
                <a:lnTo>
                  <a:pt x="172" y="31"/>
                </a:lnTo>
                <a:lnTo>
                  <a:pt x="169" y="36"/>
                </a:lnTo>
                <a:lnTo>
                  <a:pt x="172" y="38"/>
                </a:lnTo>
                <a:lnTo>
                  <a:pt x="174" y="46"/>
                </a:lnTo>
                <a:lnTo>
                  <a:pt x="169" y="56"/>
                </a:lnTo>
                <a:lnTo>
                  <a:pt x="166" y="61"/>
                </a:lnTo>
                <a:lnTo>
                  <a:pt x="164" y="66"/>
                </a:lnTo>
                <a:lnTo>
                  <a:pt x="159" y="66"/>
                </a:lnTo>
                <a:lnTo>
                  <a:pt x="156" y="74"/>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13" name="Freeform 17"/>
          <p:cNvSpPr>
            <a:spLocks/>
          </p:cNvSpPr>
          <p:nvPr/>
        </p:nvSpPr>
        <p:spPr bwMode="auto">
          <a:xfrm>
            <a:off x="8936944" y="6359979"/>
            <a:ext cx="166688" cy="158750"/>
          </a:xfrm>
          <a:custGeom>
            <a:avLst/>
            <a:gdLst>
              <a:gd name="T0" fmla="*/ 146050 w 105"/>
              <a:gd name="T1" fmla="*/ 142875 h 100"/>
              <a:gd name="T2" fmla="*/ 149225 w 105"/>
              <a:gd name="T3" fmla="*/ 147638 h 100"/>
              <a:gd name="T4" fmla="*/ 149225 w 105"/>
              <a:gd name="T5" fmla="*/ 158750 h 100"/>
              <a:gd name="T6" fmla="*/ 138112 w 105"/>
              <a:gd name="T7" fmla="*/ 155575 h 100"/>
              <a:gd name="T8" fmla="*/ 133350 w 105"/>
              <a:gd name="T9" fmla="*/ 150813 h 100"/>
              <a:gd name="T10" fmla="*/ 125412 w 105"/>
              <a:gd name="T11" fmla="*/ 131763 h 100"/>
              <a:gd name="T12" fmla="*/ 112712 w 105"/>
              <a:gd name="T13" fmla="*/ 131763 h 100"/>
              <a:gd name="T14" fmla="*/ 125412 w 105"/>
              <a:gd name="T15" fmla="*/ 134938 h 100"/>
              <a:gd name="T16" fmla="*/ 125412 w 105"/>
              <a:gd name="T17" fmla="*/ 150813 h 100"/>
              <a:gd name="T18" fmla="*/ 117475 w 105"/>
              <a:gd name="T19" fmla="*/ 147638 h 100"/>
              <a:gd name="T20" fmla="*/ 101600 w 105"/>
              <a:gd name="T21" fmla="*/ 139700 h 100"/>
              <a:gd name="T22" fmla="*/ 104775 w 105"/>
              <a:gd name="T23" fmla="*/ 122238 h 100"/>
              <a:gd name="T24" fmla="*/ 92075 w 105"/>
              <a:gd name="T25" fmla="*/ 106363 h 100"/>
              <a:gd name="T26" fmla="*/ 76200 w 105"/>
              <a:gd name="T27" fmla="*/ 93663 h 100"/>
              <a:gd name="T28" fmla="*/ 65087 w 105"/>
              <a:gd name="T29" fmla="*/ 77788 h 100"/>
              <a:gd name="T30" fmla="*/ 52387 w 105"/>
              <a:gd name="T31" fmla="*/ 61913 h 100"/>
              <a:gd name="T32" fmla="*/ 36512 w 105"/>
              <a:gd name="T33" fmla="*/ 49213 h 100"/>
              <a:gd name="T34" fmla="*/ 36512 w 105"/>
              <a:gd name="T35" fmla="*/ 57150 h 100"/>
              <a:gd name="T36" fmla="*/ 47625 w 105"/>
              <a:gd name="T37" fmla="*/ 77788 h 100"/>
              <a:gd name="T38" fmla="*/ 39687 w 105"/>
              <a:gd name="T39" fmla="*/ 85725 h 100"/>
              <a:gd name="T40" fmla="*/ 26987 w 105"/>
              <a:gd name="T41" fmla="*/ 74613 h 100"/>
              <a:gd name="T42" fmla="*/ 0 w 105"/>
              <a:gd name="T43" fmla="*/ 61913 h 100"/>
              <a:gd name="T44" fmla="*/ 3175 w 105"/>
              <a:gd name="T45" fmla="*/ 41275 h 100"/>
              <a:gd name="T46" fmla="*/ 11112 w 105"/>
              <a:gd name="T47" fmla="*/ 25400 h 100"/>
              <a:gd name="T48" fmla="*/ 0 w 105"/>
              <a:gd name="T49" fmla="*/ 20638 h 100"/>
              <a:gd name="T50" fmla="*/ 3175 w 105"/>
              <a:gd name="T51" fmla="*/ 9525 h 100"/>
              <a:gd name="T52" fmla="*/ 7937 w 105"/>
              <a:gd name="T53" fmla="*/ 4763 h 100"/>
              <a:gd name="T54" fmla="*/ 23812 w 105"/>
              <a:gd name="T55" fmla="*/ 0 h 100"/>
              <a:gd name="T56" fmla="*/ 60325 w 105"/>
              <a:gd name="T57" fmla="*/ 9525 h 100"/>
              <a:gd name="T58" fmla="*/ 80962 w 105"/>
              <a:gd name="T59" fmla="*/ 12700 h 100"/>
              <a:gd name="T60" fmla="*/ 84137 w 105"/>
              <a:gd name="T61" fmla="*/ 20638 h 100"/>
              <a:gd name="T62" fmla="*/ 101600 w 105"/>
              <a:gd name="T63" fmla="*/ 25400 h 100"/>
              <a:gd name="T64" fmla="*/ 104775 w 105"/>
              <a:gd name="T65" fmla="*/ 28575 h 100"/>
              <a:gd name="T66" fmla="*/ 117475 w 105"/>
              <a:gd name="T67" fmla="*/ 25400 h 100"/>
              <a:gd name="T68" fmla="*/ 125412 w 105"/>
              <a:gd name="T69" fmla="*/ 33338 h 100"/>
              <a:gd name="T70" fmla="*/ 130175 w 105"/>
              <a:gd name="T71" fmla="*/ 53975 h 100"/>
              <a:gd name="T72" fmla="*/ 146050 w 105"/>
              <a:gd name="T73" fmla="*/ 69850 h 100"/>
              <a:gd name="T74" fmla="*/ 158750 w 105"/>
              <a:gd name="T75" fmla="*/ 82550 h 100"/>
              <a:gd name="T76" fmla="*/ 166687 w 105"/>
              <a:gd name="T77" fmla="*/ 85725 h 100"/>
              <a:gd name="T78" fmla="*/ 153987 w 105"/>
              <a:gd name="T79" fmla="*/ 90488 h 100"/>
              <a:gd name="T80" fmla="*/ 146050 w 105"/>
              <a:gd name="T81" fmla="*/ 106363 h 100"/>
              <a:gd name="T82" fmla="*/ 149225 w 105"/>
              <a:gd name="T83" fmla="*/ 114300 h 100"/>
              <a:gd name="T84" fmla="*/ 149225 w 105"/>
              <a:gd name="T85" fmla="*/ 131763 h 100"/>
              <a:gd name="T86" fmla="*/ 146050 w 105"/>
              <a:gd name="T87" fmla="*/ 142875 h 100"/>
              <a:gd name="T88" fmla="*/ 146050 w 105"/>
              <a:gd name="T89" fmla="*/ 142875 h 1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5" h="100">
                <a:moveTo>
                  <a:pt x="92" y="90"/>
                </a:moveTo>
                <a:lnTo>
                  <a:pt x="92" y="90"/>
                </a:lnTo>
                <a:lnTo>
                  <a:pt x="94" y="93"/>
                </a:lnTo>
                <a:lnTo>
                  <a:pt x="94" y="98"/>
                </a:lnTo>
                <a:lnTo>
                  <a:pt x="94" y="100"/>
                </a:lnTo>
                <a:lnTo>
                  <a:pt x="89" y="100"/>
                </a:lnTo>
                <a:lnTo>
                  <a:pt x="87" y="98"/>
                </a:lnTo>
                <a:lnTo>
                  <a:pt x="84" y="95"/>
                </a:lnTo>
                <a:lnTo>
                  <a:pt x="84" y="90"/>
                </a:lnTo>
                <a:lnTo>
                  <a:pt x="79" y="83"/>
                </a:lnTo>
                <a:lnTo>
                  <a:pt x="74" y="80"/>
                </a:lnTo>
                <a:lnTo>
                  <a:pt x="71" y="83"/>
                </a:lnTo>
                <a:lnTo>
                  <a:pt x="79" y="85"/>
                </a:lnTo>
                <a:lnTo>
                  <a:pt x="82" y="90"/>
                </a:lnTo>
                <a:lnTo>
                  <a:pt x="79" y="95"/>
                </a:lnTo>
                <a:lnTo>
                  <a:pt x="76" y="98"/>
                </a:lnTo>
                <a:lnTo>
                  <a:pt x="74" y="93"/>
                </a:lnTo>
                <a:lnTo>
                  <a:pt x="66" y="90"/>
                </a:lnTo>
                <a:lnTo>
                  <a:pt x="64" y="88"/>
                </a:lnTo>
                <a:lnTo>
                  <a:pt x="64" y="83"/>
                </a:lnTo>
                <a:lnTo>
                  <a:pt x="66" y="77"/>
                </a:lnTo>
                <a:lnTo>
                  <a:pt x="66" y="75"/>
                </a:lnTo>
                <a:lnTo>
                  <a:pt x="58" y="67"/>
                </a:lnTo>
                <a:lnTo>
                  <a:pt x="56" y="65"/>
                </a:lnTo>
                <a:lnTo>
                  <a:pt x="48" y="59"/>
                </a:lnTo>
                <a:lnTo>
                  <a:pt x="43" y="54"/>
                </a:lnTo>
                <a:lnTo>
                  <a:pt x="41" y="49"/>
                </a:lnTo>
                <a:lnTo>
                  <a:pt x="33" y="44"/>
                </a:lnTo>
                <a:lnTo>
                  <a:pt x="33" y="39"/>
                </a:lnTo>
                <a:lnTo>
                  <a:pt x="28" y="36"/>
                </a:lnTo>
                <a:lnTo>
                  <a:pt x="23" y="31"/>
                </a:lnTo>
                <a:lnTo>
                  <a:pt x="20" y="34"/>
                </a:lnTo>
                <a:lnTo>
                  <a:pt x="23" y="36"/>
                </a:lnTo>
                <a:lnTo>
                  <a:pt x="30" y="44"/>
                </a:lnTo>
                <a:lnTo>
                  <a:pt x="30" y="49"/>
                </a:lnTo>
                <a:lnTo>
                  <a:pt x="28" y="54"/>
                </a:lnTo>
                <a:lnTo>
                  <a:pt x="25" y="54"/>
                </a:lnTo>
                <a:lnTo>
                  <a:pt x="23" y="49"/>
                </a:lnTo>
                <a:lnTo>
                  <a:pt x="17" y="47"/>
                </a:lnTo>
                <a:lnTo>
                  <a:pt x="10" y="47"/>
                </a:lnTo>
                <a:lnTo>
                  <a:pt x="0" y="39"/>
                </a:lnTo>
                <a:lnTo>
                  <a:pt x="0" y="34"/>
                </a:lnTo>
                <a:lnTo>
                  <a:pt x="2" y="26"/>
                </a:lnTo>
                <a:lnTo>
                  <a:pt x="7" y="23"/>
                </a:lnTo>
                <a:lnTo>
                  <a:pt x="7" y="16"/>
                </a:lnTo>
                <a:lnTo>
                  <a:pt x="2" y="16"/>
                </a:lnTo>
                <a:lnTo>
                  <a:pt x="0" y="13"/>
                </a:lnTo>
                <a:lnTo>
                  <a:pt x="2" y="13"/>
                </a:lnTo>
                <a:lnTo>
                  <a:pt x="2" y="6"/>
                </a:lnTo>
                <a:lnTo>
                  <a:pt x="5" y="3"/>
                </a:lnTo>
                <a:lnTo>
                  <a:pt x="15" y="0"/>
                </a:lnTo>
                <a:lnTo>
                  <a:pt x="33" y="6"/>
                </a:lnTo>
                <a:lnTo>
                  <a:pt x="38" y="6"/>
                </a:lnTo>
                <a:lnTo>
                  <a:pt x="46" y="3"/>
                </a:lnTo>
                <a:lnTo>
                  <a:pt x="51" y="8"/>
                </a:lnTo>
                <a:lnTo>
                  <a:pt x="53" y="11"/>
                </a:lnTo>
                <a:lnTo>
                  <a:pt x="53" y="13"/>
                </a:lnTo>
                <a:lnTo>
                  <a:pt x="61" y="18"/>
                </a:lnTo>
                <a:lnTo>
                  <a:pt x="64" y="16"/>
                </a:lnTo>
                <a:lnTo>
                  <a:pt x="66" y="16"/>
                </a:lnTo>
                <a:lnTo>
                  <a:pt x="66" y="18"/>
                </a:lnTo>
                <a:lnTo>
                  <a:pt x="71" y="18"/>
                </a:lnTo>
                <a:lnTo>
                  <a:pt x="74" y="16"/>
                </a:lnTo>
                <a:lnTo>
                  <a:pt x="76" y="16"/>
                </a:lnTo>
                <a:lnTo>
                  <a:pt x="79" y="21"/>
                </a:lnTo>
                <a:lnTo>
                  <a:pt x="79" y="29"/>
                </a:lnTo>
                <a:lnTo>
                  <a:pt x="82" y="34"/>
                </a:lnTo>
                <a:lnTo>
                  <a:pt x="89" y="39"/>
                </a:lnTo>
                <a:lnTo>
                  <a:pt x="92" y="44"/>
                </a:lnTo>
                <a:lnTo>
                  <a:pt x="94" y="49"/>
                </a:lnTo>
                <a:lnTo>
                  <a:pt x="100" y="52"/>
                </a:lnTo>
                <a:lnTo>
                  <a:pt x="105" y="54"/>
                </a:lnTo>
                <a:lnTo>
                  <a:pt x="100" y="54"/>
                </a:lnTo>
                <a:lnTo>
                  <a:pt x="97" y="57"/>
                </a:lnTo>
                <a:lnTo>
                  <a:pt x="97" y="62"/>
                </a:lnTo>
                <a:lnTo>
                  <a:pt x="92" y="67"/>
                </a:lnTo>
                <a:lnTo>
                  <a:pt x="92" y="72"/>
                </a:lnTo>
                <a:lnTo>
                  <a:pt x="94" y="72"/>
                </a:lnTo>
                <a:lnTo>
                  <a:pt x="100" y="77"/>
                </a:lnTo>
                <a:lnTo>
                  <a:pt x="94" y="83"/>
                </a:lnTo>
                <a:lnTo>
                  <a:pt x="92" y="88"/>
                </a:lnTo>
                <a:lnTo>
                  <a:pt x="92" y="90"/>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14" name="Freeform 18"/>
          <p:cNvSpPr>
            <a:spLocks/>
          </p:cNvSpPr>
          <p:nvPr/>
        </p:nvSpPr>
        <p:spPr bwMode="auto">
          <a:xfrm>
            <a:off x="8854394" y="6164717"/>
            <a:ext cx="228600" cy="223837"/>
          </a:xfrm>
          <a:custGeom>
            <a:avLst/>
            <a:gdLst>
              <a:gd name="T0" fmla="*/ 89807 w 56"/>
              <a:gd name="T1" fmla="*/ 199419 h 55"/>
              <a:gd name="T2" fmla="*/ 106136 w 56"/>
              <a:gd name="T3" fmla="*/ 195350 h 55"/>
              <a:gd name="T4" fmla="*/ 142875 w 56"/>
              <a:gd name="T5" fmla="*/ 203489 h 55"/>
              <a:gd name="T6" fmla="*/ 163286 w 56"/>
              <a:gd name="T7" fmla="*/ 207559 h 55"/>
              <a:gd name="T8" fmla="*/ 167368 w 56"/>
              <a:gd name="T9" fmla="*/ 215698 h 55"/>
              <a:gd name="T10" fmla="*/ 183696 w 56"/>
              <a:gd name="T11" fmla="*/ 219768 h 55"/>
              <a:gd name="T12" fmla="*/ 187779 w 56"/>
              <a:gd name="T13" fmla="*/ 219768 h 55"/>
              <a:gd name="T14" fmla="*/ 191861 w 56"/>
              <a:gd name="T15" fmla="*/ 207559 h 55"/>
              <a:gd name="T16" fmla="*/ 183696 w 56"/>
              <a:gd name="T17" fmla="*/ 191280 h 55"/>
              <a:gd name="T18" fmla="*/ 195943 w 56"/>
              <a:gd name="T19" fmla="*/ 170931 h 55"/>
              <a:gd name="T20" fmla="*/ 191861 w 56"/>
              <a:gd name="T21" fmla="*/ 166861 h 55"/>
              <a:gd name="T22" fmla="*/ 183696 w 56"/>
              <a:gd name="T23" fmla="*/ 175001 h 55"/>
              <a:gd name="T24" fmla="*/ 187779 w 56"/>
              <a:gd name="T25" fmla="*/ 158721 h 55"/>
              <a:gd name="T26" fmla="*/ 191861 w 56"/>
              <a:gd name="T27" fmla="*/ 142442 h 55"/>
              <a:gd name="T28" fmla="*/ 195943 w 56"/>
              <a:gd name="T29" fmla="*/ 122093 h 55"/>
              <a:gd name="T30" fmla="*/ 200025 w 56"/>
              <a:gd name="T31" fmla="*/ 126163 h 55"/>
              <a:gd name="T32" fmla="*/ 200025 w 56"/>
              <a:gd name="T33" fmla="*/ 146512 h 55"/>
              <a:gd name="T34" fmla="*/ 204107 w 56"/>
              <a:gd name="T35" fmla="*/ 138373 h 55"/>
              <a:gd name="T36" fmla="*/ 208189 w 56"/>
              <a:gd name="T37" fmla="*/ 97675 h 55"/>
              <a:gd name="T38" fmla="*/ 204107 w 56"/>
              <a:gd name="T39" fmla="*/ 85465 h 55"/>
              <a:gd name="T40" fmla="*/ 204107 w 56"/>
              <a:gd name="T41" fmla="*/ 81396 h 55"/>
              <a:gd name="T42" fmla="*/ 208189 w 56"/>
              <a:gd name="T43" fmla="*/ 77326 h 55"/>
              <a:gd name="T44" fmla="*/ 216354 w 56"/>
              <a:gd name="T45" fmla="*/ 69186 h 55"/>
              <a:gd name="T46" fmla="*/ 224518 w 56"/>
              <a:gd name="T47" fmla="*/ 48837 h 55"/>
              <a:gd name="T48" fmla="*/ 220436 w 56"/>
              <a:gd name="T49" fmla="*/ 40698 h 55"/>
              <a:gd name="T50" fmla="*/ 224518 w 56"/>
              <a:gd name="T51" fmla="*/ 32558 h 55"/>
              <a:gd name="T52" fmla="*/ 224518 w 56"/>
              <a:gd name="T53" fmla="*/ 8140 h 55"/>
              <a:gd name="T54" fmla="*/ 228600 w 56"/>
              <a:gd name="T55" fmla="*/ 0 h 55"/>
              <a:gd name="T56" fmla="*/ 216354 w 56"/>
              <a:gd name="T57" fmla="*/ 4070 h 55"/>
              <a:gd name="T58" fmla="*/ 208189 w 56"/>
              <a:gd name="T59" fmla="*/ 0 h 55"/>
              <a:gd name="T60" fmla="*/ 204107 w 56"/>
              <a:gd name="T61" fmla="*/ 8140 h 55"/>
              <a:gd name="T62" fmla="*/ 187779 w 56"/>
              <a:gd name="T63" fmla="*/ 16279 h 55"/>
              <a:gd name="T64" fmla="*/ 175532 w 56"/>
              <a:gd name="T65" fmla="*/ 24419 h 55"/>
              <a:gd name="T66" fmla="*/ 163286 w 56"/>
              <a:gd name="T67" fmla="*/ 24419 h 55"/>
              <a:gd name="T68" fmla="*/ 155121 w 56"/>
              <a:gd name="T69" fmla="*/ 12209 h 55"/>
              <a:gd name="T70" fmla="*/ 146957 w 56"/>
              <a:gd name="T71" fmla="*/ 24419 h 55"/>
              <a:gd name="T72" fmla="*/ 130629 w 56"/>
              <a:gd name="T73" fmla="*/ 36628 h 55"/>
              <a:gd name="T74" fmla="*/ 126546 w 56"/>
              <a:gd name="T75" fmla="*/ 44768 h 55"/>
              <a:gd name="T76" fmla="*/ 106136 w 56"/>
              <a:gd name="T77" fmla="*/ 56977 h 55"/>
              <a:gd name="T78" fmla="*/ 93889 w 56"/>
              <a:gd name="T79" fmla="*/ 61047 h 55"/>
              <a:gd name="T80" fmla="*/ 85725 w 56"/>
              <a:gd name="T81" fmla="*/ 56977 h 55"/>
              <a:gd name="T82" fmla="*/ 57150 w 56"/>
              <a:gd name="T83" fmla="*/ 61047 h 55"/>
              <a:gd name="T84" fmla="*/ 40821 w 56"/>
              <a:gd name="T85" fmla="*/ 73256 h 55"/>
              <a:gd name="T86" fmla="*/ 40821 w 56"/>
              <a:gd name="T87" fmla="*/ 93605 h 55"/>
              <a:gd name="T88" fmla="*/ 24493 w 56"/>
              <a:gd name="T89" fmla="*/ 101745 h 55"/>
              <a:gd name="T90" fmla="*/ 16329 w 56"/>
              <a:gd name="T91" fmla="*/ 109884 h 55"/>
              <a:gd name="T92" fmla="*/ 4082 w 56"/>
              <a:gd name="T93" fmla="*/ 105814 h 55"/>
              <a:gd name="T94" fmla="*/ 16329 w 56"/>
              <a:gd name="T95" fmla="*/ 130233 h 55"/>
              <a:gd name="T96" fmla="*/ 28575 w 56"/>
              <a:gd name="T97" fmla="*/ 142442 h 55"/>
              <a:gd name="T98" fmla="*/ 53068 w 56"/>
              <a:gd name="T99" fmla="*/ 175001 h 55"/>
              <a:gd name="T100" fmla="*/ 81643 w 56"/>
              <a:gd name="T101" fmla="*/ 199419 h 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6" h="55">
                <a:moveTo>
                  <a:pt x="21" y="50"/>
                </a:moveTo>
                <a:cubicBezTo>
                  <a:pt x="22" y="49"/>
                  <a:pt x="22" y="49"/>
                  <a:pt x="22" y="49"/>
                </a:cubicBezTo>
                <a:cubicBezTo>
                  <a:pt x="22" y="49"/>
                  <a:pt x="22" y="49"/>
                  <a:pt x="22" y="49"/>
                </a:cubicBezTo>
                <a:cubicBezTo>
                  <a:pt x="26" y="48"/>
                  <a:pt x="26" y="48"/>
                  <a:pt x="26" y="48"/>
                </a:cubicBezTo>
                <a:cubicBezTo>
                  <a:pt x="33" y="50"/>
                  <a:pt x="33" y="50"/>
                  <a:pt x="33" y="50"/>
                </a:cubicBezTo>
                <a:cubicBezTo>
                  <a:pt x="35" y="50"/>
                  <a:pt x="35" y="50"/>
                  <a:pt x="35" y="50"/>
                </a:cubicBezTo>
                <a:cubicBezTo>
                  <a:pt x="38" y="49"/>
                  <a:pt x="38" y="49"/>
                  <a:pt x="38" y="49"/>
                </a:cubicBezTo>
                <a:cubicBezTo>
                  <a:pt x="40" y="51"/>
                  <a:pt x="40" y="51"/>
                  <a:pt x="40" y="51"/>
                </a:cubicBezTo>
                <a:cubicBezTo>
                  <a:pt x="41" y="52"/>
                  <a:pt x="41" y="52"/>
                  <a:pt x="41" y="52"/>
                </a:cubicBezTo>
                <a:cubicBezTo>
                  <a:pt x="41" y="53"/>
                  <a:pt x="41" y="53"/>
                  <a:pt x="41" y="53"/>
                </a:cubicBezTo>
                <a:cubicBezTo>
                  <a:pt x="44" y="55"/>
                  <a:pt x="44" y="55"/>
                  <a:pt x="44" y="55"/>
                </a:cubicBezTo>
                <a:cubicBezTo>
                  <a:pt x="45" y="54"/>
                  <a:pt x="45" y="54"/>
                  <a:pt x="45" y="54"/>
                </a:cubicBezTo>
                <a:cubicBezTo>
                  <a:pt x="46" y="54"/>
                  <a:pt x="46" y="54"/>
                  <a:pt x="46" y="54"/>
                </a:cubicBezTo>
                <a:cubicBezTo>
                  <a:pt x="46" y="54"/>
                  <a:pt x="46" y="54"/>
                  <a:pt x="46" y="54"/>
                </a:cubicBezTo>
                <a:cubicBezTo>
                  <a:pt x="48" y="53"/>
                  <a:pt x="48" y="53"/>
                  <a:pt x="48" y="53"/>
                </a:cubicBezTo>
                <a:cubicBezTo>
                  <a:pt x="47" y="51"/>
                  <a:pt x="47" y="51"/>
                  <a:pt x="47" y="51"/>
                </a:cubicBezTo>
                <a:cubicBezTo>
                  <a:pt x="46" y="50"/>
                  <a:pt x="46" y="50"/>
                  <a:pt x="46" y="50"/>
                </a:cubicBezTo>
                <a:cubicBezTo>
                  <a:pt x="45" y="47"/>
                  <a:pt x="45" y="47"/>
                  <a:pt x="45" y="47"/>
                </a:cubicBezTo>
                <a:cubicBezTo>
                  <a:pt x="47" y="44"/>
                  <a:pt x="47" y="44"/>
                  <a:pt x="47" y="44"/>
                </a:cubicBezTo>
                <a:cubicBezTo>
                  <a:pt x="48" y="42"/>
                  <a:pt x="48" y="42"/>
                  <a:pt x="48" y="42"/>
                </a:cubicBezTo>
                <a:cubicBezTo>
                  <a:pt x="48" y="40"/>
                  <a:pt x="48" y="40"/>
                  <a:pt x="48" y="40"/>
                </a:cubicBezTo>
                <a:cubicBezTo>
                  <a:pt x="47" y="41"/>
                  <a:pt x="47" y="41"/>
                  <a:pt x="47" y="41"/>
                </a:cubicBezTo>
                <a:cubicBezTo>
                  <a:pt x="47" y="42"/>
                  <a:pt x="47" y="42"/>
                  <a:pt x="47" y="42"/>
                </a:cubicBezTo>
                <a:cubicBezTo>
                  <a:pt x="45" y="43"/>
                  <a:pt x="45" y="43"/>
                  <a:pt x="45" y="43"/>
                </a:cubicBezTo>
                <a:cubicBezTo>
                  <a:pt x="45" y="41"/>
                  <a:pt x="45" y="41"/>
                  <a:pt x="45" y="41"/>
                </a:cubicBezTo>
                <a:cubicBezTo>
                  <a:pt x="46" y="39"/>
                  <a:pt x="46" y="39"/>
                  <a:pt x="46" y="39"/>
                </a:cubicBezTo>
                <a:cubicBezTo>
                  <a:pt x="47" y="37"/>
                  <a:pt x="47" y="37"/>
                  <a:pt x="47" y="37"/>
                </a:cubicBezTo>
                <a:cubicBezTo>
                  <a:pt x="47" y="35"/>
                  <a:pt x="47" y="35"/>
                  <a:pt x="47" y="35"/>
                </a:cubicBezTo>
                <a:cubicBezTo>
                  <a:pt x="47" y="34"/>
                  <a:pt x="47" y="34"/>
                  <a:pt x="47" y="34"/>
                </a:cubicBezTo>
                <a:cubicBezTo>
                  <a:pt x="48" y="30"/>
                  <a:pt x="48" y="30"/>
                  <a:pt x="48" y="30"/>
                </a:cubicBezTo>
                <a:cubicBezTo>
                  <a:pt x="49" y="30"/>
                  <a:pt x="49" y="30"/>
                  <a:pt x="49" y="30"/>
                </a:cubicBezTo>
                <a:cubicBezTo>
                  <a:pt x="49" y="31"/>
                  <a:pt x="49" y="31"/>
                  <a:pt x="49" y="31"/>
                </a:cubicBezTo>
                <a:cubicBezTo>
                  <a:pt x="49" y="31"/>
                  <a:pt x="49" y="33"/>
                  <a:pt x="49" y="33"/>
                </a:cubicBezTo>
                <a:cubicBezTo>
                  <a:pt x="49" y="34"/>
                  <a:pt x="49" y="36"/>
                  <a:pt x="49" y="36"/>
                </a:cubicBezTo>
                <a:cubicBezTo>
                  <a:pt x="49" y="36"/>
                  <a:pt x="49" y="36"/>
                  <a:pt x="49" y="36"/>
                </a:cubicBezTo>
                <a:cubicBezTo>
                  <a:pt x="50" y="34"/>
                  <a:pt x="50" y="34"/>
                  <a:pt x="50" y="34"/>
                </a:cubicBezTo>
                <a:cubicBezTo>
                  <a:pt x="51" y="29"/>
                  <a:pt x="51" y="29"/>
                  <a:pt x="51" y="29"/>
                </a:cubicBezTo>
                <a:cubicBezTo>
                  <a:pt x="51" y="24"/>
                  <a:pt x="51" y="24"/>
                  <a:pt x="51" y="24"/>
                </a:cubicBezTo>
                <a:cubicBezTo>
                  <a:pt x="51" y="23"/>
                  <a:pt x="51" y="23"/>
                  <a:pt x="51" y="23"/>
                </a:cubicBezTo>
                <a:cubicBezTo>
                  <a:pt x="50" y="21"/>
                  <a:pt x="50" y="21"/>
                  <a:pt x="50" y="21"/>
                </a:cubicBezTo>
                <a:cubicBezTo>
                  <a:pt x="50" y="21"/>
                  <a:pt x="50" y="21"/>
                  <a:pt x="50" y="21"/>
                </a:cubicBezTo>
                <a:cubicBezTo>
                  <a:pt x="50" y="20"/>
                  <a:pt x="50" y="20"/>
                  <a:pt x="50" y="20"/>
                </a:cubicBezTo>
                <a:cubicBezTo>
                  <a:pt x="51" y="19"/>
                  <a:pt x="51" y="19"/>
                  <a:pt x="51" y="19"/>
                </a:cubicBezTo>
                <a:cubicBezTo>
                  <a:pt x="51" y="19"/>
                  <a:pt x="51" y="19"/>
                  <a:pt x="51" y="19"/>
                </a:cubicBezTo>
                <a:cubicBezTo>
                  <a:pt x="52" y="20"/>
                  <a:pt x="52" y="20"/>
                  <a:pt x="52" y="20"/>
                </a:cubicBezTo>
                <a:cubicBezTo>
                  <a:pt x="53" y="17"/>
                  <a:pt x="53" y="17"/>
                  <a:pt x="53" y="17"/>
                </a:cubicBezTo>
                <a:cubicBezTo>
                  <a:pt x="55" y="14"/>
                  <a:pt x="55" y="14"/>
                  <a:pt x="55" y="14"/>
                </a:cubicBezTo>
                <a:cubicBezTo>
                  <a:pt x="55" y="12"/>
                  <a:pt x="55" y="12"/>
                  <a:pt x="55" y="12"/>
                </a:cubicBezTo>
                <a:cubicBezTo>
                  <a:pt x="56" y="11"/>
                  <a:pt x="56" y="11"/>
                  <a:pt x="56" y="11"/>
                </a:cubicBezTo>
                <a:cubicBezTo>
                  <a:pt x="54" y="10"/>
                  <a:pt x="54" y="10"/>
                  <a:pt x="54" y="10"/>
                </a:cubicBezTo>
                <a:cubicBezTo>
                  <a:pt x="54" y="9"/>
                  <a:pt x="54" y="9"/>
                  <a:pt x="54" y="9"/>
                </a:cubicBezTo>
                <a:cubicBezTo>
                  <a:pt x="55" y="8"/>
                  <a:pt x="55" y="8"/>
                  <a:pt x="55" y="8"/>
                </a:cubicBezTo>
                <a:cubicBezTo>
                  <a:pt x="55" y="6"/>
                  <a:pt x="55" y="6"/>
                  <a:pt x="55" y="6"/>
                </a:cubicBezTo>
                <a:cubicBezTo>
                  <a:pt x="55" y="2"/>
                  <a:pt x="55" y="2"/>
                  <a:pt x="55" y="2"/>
                </a:cubicBezTo>
                <a:cubicBezTo>
                  <a:pt x="56" y="1"/>
                  <a:pt x="56" y="1"/>
                  <a:pt x="56" y="1"/>
                </a:cubicBezTo>
                <a:cubicBezTo>
                  <a:pt x="56" y="0"/>
                  <a:pt x="56" y="0"/>
                  <a:pt x="56" y="0"/>
                </a:cubicBezTo>
                <a:cubicBezTo>
                  <a:pt x="55" y="1"/>
                  <a:pt x="55" y="1"/>
                  <a:pt x="55" y="1"/>
                </a:cubicBezTo>
                <a:cubicBezTo>
                  <a:pt x="53" y="1"/>
                  <a:pt x="53" y="1"/>
                  <a:pt x="53" y="1"/>
                </a:cubicBezTo>
                <a:cubicBezTo>
                  <a:pt x="53" y="0"/>
                  <a:pt x="53" y="0"/>
                  <a:pt x="53" y="0"/>
                </a:cubicBezTo>
                <a:cubicBezTo>
                  <a:pt x="51" y="0"/>
                  <a:pt x="51" y="0"/>
                  <a:pt x="51" y="0"/>
                </a:cubicBezTo>
                <a:cubicBezTo>
                  <a:pt x="50" y="0"/>
                  <a:pt x="50" y="0"/>
                  <a:pt x="50" y="0"/>
                </a:cubicBezTo>
                <a:cubicBezTo>
                  <a:pt x="50" y="2"/>
                  <a:pt x="50" y="2"/>
                  <a:pt x="50" y="2"/>
                </a:cubicBezTo>
                <a:cubicBezTo>
                  <a:pt x="48" y="3"/>
                  <a:pt x="48" y="3"/>
                  <a:pt x="48" y="3"/>
                </a:cubicBezTo>
                <a:cubicBezTo>
                  <a:pt x="46" y="4"/>
                  <a:pt x="46" y="4"/>
                  <a:pt x="46" y="4"/>
                </a:cubicBezTo>
                <a:cubicBezTo>
                  <a:pt x="44" y="4"/>
                  <a:pt x="44" y="4"/>
                  <a:pt x="44" y="4"/>
                </a:cubicBezTo>
                <a:cubicBezTo>
                  <a:pt x="43" y="6"/>
                  <a:pt x="43" y="6"/>
                  <a:pt x="43" y="6"/>
                </a:cubicBezTo>
                <a:cubicBezTo>
                  <a:pt x="42" y="5"/>
                  <a:pt x="42" y="5"/>
                  <a:pt x="42" y="5"/>
                </a:cubicBezTo>
                <a:cubicBezTo>
                  <a:pt x="40" y="6"/>
                  <a:pt x="40" y="6"/>
                  <a:pt x="40" y="6"/>
                </a:cubicBezTo>
                <a:cubicBezTo>
                  <a:pt x="39" y="5"/>
                  <a:pt x="39" y="5"/>
                  <a:pt x="39" y="5"/>
                </a:cubicBezTo>
                <a:cubicBezTo>
                  <a:pt x="38" y="3"/>
                  <a:pt x="38" y="3"/>
                  <a:pt x="38" y="3"/>
                </a:cubicBezTo>
                <a:cubicBezTo>
                  <a:pt x="37" y="4"/>
                  <a:pt x="37" y="4"/>
                  <a:pt x="37" y="4"/>
                </a:cubicBezTo>
                <a:cubicBezTo>
                  <a:pt x="36" y="6"/>
                  <a:pt x="36" y="6"/>
                  <a:pt x="36" y="6"/>
                </a:cubicBezTo>
                <a:cubicBezTo>
                  <a:pt x="34" y="6"/>
                  <a:pt x="34" y="6"/>
                  <a:pt x="34" y="6"/>
                </a:cubicBezTo>
                <a:cubicBezTo>
                  <a:pt x="32" y="9"/>
                  <a:pt x="32" y="9"/>
                  <a:pt x="32" y="9"/>
                </a:cubicBezTo>
                <a:cubicBezTo>
                  <a:pt x="32" y="10"/>
                  <a:pt x="32" y="10"/>
                  <a:pt x="32" y="10"/>
                </a:cubicBezTo>
                <a:cubicBezTo>
                  <a:pt x="31" y="11"/>
                  <a:pt x="31" y="11"/>
                  <a:pt x="31" y="11"/>
                </a:cubicBezTo>
                <a:cubicBezTo>
                  <a:pt x="28" y="13"/>
                  <a:pt x="28" y="13"/>
                  <a:pt x="28" y="13"/>
                </a:cubicBezTo>
                <a:cubicBezTo>
                  <a:pt x="26" y="14"/>
                  <a:pt x="26" y="14"/>
                  <a:pt x="26" y="14"/>
                </a:cubicBezTo>
                <a:cubicBezTo>
                  <a:pt x="25" y="15"/>
                  <a:pt x="25" y="15"/>
                  <a:pt x="25" y="15"/>
                </a:cubicBezTo>
                <a:cubicBezTo>
                  <a:pt x="23" y="15"/>
                  <a:pt x="23" y="15"/>
                  <a:pt x="23" y="15"/>
                </a:cubicBezTo>
                <a:cubicBezTo>
                  <a:pt x="22" y="15"/>
                  <a:pt x="22" y="15"/>
                  <a:pt x="22" y="15"/>
                </a:cubicBezTo>
                <a:cubicBezTo>
                  <a:pt x="21" y="14"/>
                  <a:pt x="21" y="14"/>
                  <a:pt x="21" y="14"/>
                </a:cubicBezTo>
                <a:cubicBezTo>
                  <a:pt x="18" y="13"/>
                  <a:pt x="18" y="13"/>
                  <a:pt x="18" y="13"/>
                </a:cubicBezTo>
                <a:cubicBezTo>
                  <a:pt x="14" y="15"/>
                  <a:pt x="14" y="15"/>
                  <a:pt x="14" y="15"/>
                </a:cubicBezTo>
                <a:cubicBezTo>
                  <a:pt x="10" y="16"/>
                  <a:pt x="10" y="16"/>
                  <a:pt x="10" y="16"/>
                </a:cubicBezTo>
                <a:cubicBezTo>
                  <a:pt x="10" y="18"/>
                  <a:pt x="10" y="18"/>
                  <a:pt x="10" y="18"/>
                </a:cubicBezTo>
                <a:cubicBezTo>
                  <a:pt x="10" y="20"/>
                  <a:pt x="10" y="20"/>
                  <a:pt x="10" y="20"/>
                </a:cubicBezTo>
                <a:cubicBezTo>
                  <a:pt x="10" y="23"/>
                  <a:pt x="10" y="23"/>
                  <a:pt x="10" y="23"/>
                </a:cubicBezTo>
                <a:cubicBezTo>
                  <a:pt x="9" y="25"/>
                  <a:pt x="9" y="25"/>
                  <a:pt x="9" y="25"/>
                </a:cubicBezTo>
                <a:cubicBezTo>
                  <a:pt x="6" y="25"/>
                  <a:pt x="6" y="25"/>
                  <a:pt x="6" y="25"/>
                </a:cubicBezTo>
                <a:cubicBezTo>
                  <a:pt x="4" y="25"/>
                  <a:pt x="4" y="25"/>
                  <a:pt x="4" y="25"/>
                </a:cubicBezTo>
                <a:cubicBezTo>
                  <a:pt x="4" y="27"/>
                  <a:pt x="4" y="27"/>
                  <a:pt x="4" y="27"/>
                </a:cubicBezTo>
                <a:cubicBezTo>
                  <a:pt x="3" y="27"/>
                  <a:pt x="3" y="27"/>
                  <a:pt x="3" y="27"/>
                </a:cubicBezTo>
                <a:cubicBezTo>
                  <a:pt x="1" y="26"/>
                  <a:pt x="1" y="26"/>
                  <a:pt x="1" y="26"/>
                </a:cubicBezTo>
                <a:cubicBezTo>
                  <a:pt x="0" y="27"/>
                  <a:pt x="0" y="27"/>
                  <a:pt x="0" y="27"/>
                </a:cubicBezTo>
                <a:cubicBezTo>
                  <a:pt x="4" y="32"/>
                  <a:pt x="4" y="32"/>
                  <a:pt x="4" y="32"/>
                </a:cubicBezTo>
                <a:cubicBezTo>
                  <a:pt x="7" y="34"/>
                  <a:pt x="7" y="34"/>
                  <a:pt x="7" y="34"/>
                </a:cubicBezTo>
                <a:cubicBezTo>
                  <a:pt x="7" y="35"/>
                  <a:pt x="7" y="35"/>
                  <a:pt x="7" y="35"/>
                </a:cubicBezTo>
                <a:cubicBezTo>
                  <a:pt x="10" y="38"/>
                  <a:pt x="10" y="38"/>
                  <a:pt x="10" y="38"/>
                </a:cubicBezTo>
                <a:cubicBezTo>
                  <a:pt x="13" y="43"/>
                  <a:pt x="13" y="43"/>
                  <a:pt x="13" y="43"/>
                </a:cubicBezTo>
                <a:cubicBezTo>
                  <a:pt x="19" y="49"/>
                  <a:pt x="19" y="49"/>
                  <a:pt x="19" y="49"/>
                </a:cubicBezTo>
                <a:cubicBezTo>
                  <a:pt x="20" y="49"/>
                  <a:pt x="20" y="49"/>
                  <a:pt x="20" y="49"/>
                </a:cubicBezTo>
                <a:lnTo>
                  <a:pt x="21" y="50"/>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15" name="Freeform 19"/>
          <p:cNvSpPr>
            <a:spLocks/>
          </p:cNvSpPr>
          <p:nvPr/>
        </p:nvSpPr>
        <p:spPr bwMode="auto">
          <a:xfrm>
            <a:off x="8757557" y="6107567"/>
            <a:ext cx="328612" cy="163512"/>
          </a:xfrm>
          <a:custGeom>
            <a:avLst/>
            <a:gdLst>
              <a:gd name="T0" fmla="*/ 122237 w 207"/>
              <a:gd name="T1" fmla="*/ 158750 h 103"/>
              <a:gd name="T2" fmla="*/ 138112 w 207"/>
              <a:gd name="T3" fmla="*/ 150813 h 103"/>
              <a:gd name="T4" fmla="*/ 138112 w 207"/>
              <a:gd name="T5" fmla="*/ 130175 h 103"/>
              <a:gd name="T6" fmla="*/ 153987 w 207"/>
              <a:gd name="T7" fmla="*/ 119063 h 103"/>
              <a:gd name="T8" fmla="*/ 182562 w 207"/>
              <a:gd name="T9" fmla="*/ 114300 h 103"/>
              <a:gd name="T10" fmla="*/ 190500 w 207"/>
              <a:gd name="T11" fmla="*/ 119063 h 103"/>
              <a:gd name="T12" fmla="*/ 203200 w 207"/>
              <a:gd name="T13" fmla="*/ 114300 h 103"/>
              <a:gd name="T14" fmla="*/ 223837 w 207"/>
              <a:gd name="T15" fmla="*/ 101600 h 103"/>
              <a:gd name="T16" fmla="*/ 227012 w 207"/>
              <a:gd name="T17" fmla="*/ 93663 h 103"/>
              <a:gd name="T18" fmla="*/ 244475 w 207"/>
              <a:gd name="T19" fmla="*/ 82550 h 103"/>
              <a:gd name="T20" fmla="*/ 252412 w 207"/>
              <a:gd name="T21" fmla="*/ 69850 h 103"/>
              <a:gd name="T22" fmla="*/ 260350 w 207"/>
              <a:gd name="T23" fmla="*/ 82550 h 103"/>
              <a:gd name="T24" fmla="*/ 271462 w 207"/>
              <a:gd name="T25" fmla="*/ 82550 h 103"/>
              <a:gd name="T26" fmla="*/ 284162 w 207"/>
              <a:gd name="T27" fmla="*/ 73025 h 103"/>
              <a:gd name="T28" fmla="*/ 300037 w 207"/>
              <a:gd name="T29" fmla="*/ 65088 h 103"/>
              <a:gd name="T30" fmla="*/ 304800 w 207"/>
              <a:gd name="T31" fmla="*/ 57150 h 103"/>
              <a:gd name="T32" fmla="*/ 312737 w 207"/>
              <a:gd name="T33" fmla="*/ 61913 h 103"/>
              <a:gd name="T34" fmla="*/ 325437 w 207"/>
              <a:gd name="T35" fmla="*/ 57150 h 103"/>
              <a:gd name="T36" fmla="*/ 325437 w 207"/>
              <a:gd name="T37" fmla="*/ 49213 h 103"/>
              <a:gd name="T38" fmla="*/ 304800 w 207"/>
              <a:gd name="T39" fmla="*/ 36513 h 103"/>
              <a:gd name="T40" fmla="*/ 309562 w 207"/>
              <a:gd name="T41" fmla="*/ 46038 h 103"/>
              <a:gd name="T42" fmla="*/ 284162 w 207"/>
              <a:gd name="T43" fmla="*/ 46038 h 103"/>
              <a:gd name="T44" fmla="*/ 268287 w 207"/>
              <a:gd name="T45" fmla="*/ 41275 h 103"/>
              <a:gd name="T46" fmla="*/ 263525 w 207"/>
              <a:gd name="T47" fmla="*/ 36513 h 103"/>
              <a:gd name="T48" fmla="*/ 268287 w 207"/>
              <a:gd name="T49" fmla="*/ 28575 h 103"/>
              <a:gd name="T50" fmla="*/ 280987 w 207"/>
              <a:gd name="T51" fmla="*/ 28575 h 103"/>
              <a:gd name="T52" fmla="*/ 296862 w 207"/>
              <a:gd name="T53" fmla="*/ 33338 h 103"/>
              <a:gd name="T54" fmla="*/ 276225 w 207"/>
              <a:gd name="T55" fmla="*/ 17463 h 103"/>
              <a:gd name="T56" fmla="*/ 260350 w 207"/>
              <a:gd name="T57" fmla="*/ 20638 h 103"/>
              <a:gd name="T58" fmla="*/ 252412 w 207"/>
              <a:gd name="T59" fmla="*/ 25400 h 103"/>
              <a:gd name="T60" fmla="*/ 223837 w 207"/>
              <a:gd name="T61" fmla="*/ 17463 h 103"/>
              <a:gd name="T62" fmla="*/ 190500 w 207"/>
              <a:gd name="T63" fmla="*/ 4763 h 103"/>
              <a:gd name="T64" fmla="*/ 179387 w 207"/>
              <a:gd name="T65" fmla="*/ 7938 h 103"/>
              <a:gd name="T66" fmla="*/ 174625 w 207"/>
              <a:gd name="T67" fmla="*/ 12700 h 103"/>
              <a:gd name="T68" fmla="*/ 161925 w 207"/>
              <a:gd name="T69" fmla="*/ 12700 h 103"/>
              <a:gd name="T70" fmla="*/ 122237 w 207"/>
              <a:gd name="T71" fmla="*/ 17463 h 103"/>
              <a:gd name="T72" fmla="*/ 80962 w 207"/>
              <a:gd name="T73" fmla="*/ 25400 h 103"/>
              <a:gd name="T74" fmla="*/ 73025 w 207"/>
              <a:gd name="T75" fmla="*/ 25400 h 103"/>
              <a:gd name="T76" fmla="*/ 65087 w 207"/>
              <a:gd name="T77" fmla="*/ 36513 h 103"/>
              <a:gd name="T78" fmla="*/ 39687 w 207"/>
              <a:gd name="T79" fmla="*/ 46038 h 103"/>
              <a:gd name="T80" fmla="*/ 20637 w 207"/>
              <a:gd name="T81" fmla="*/ 65088 h 103"/>
              <a:gd name="T82" fmla="*/ 15875 w 207"/>
              <a:gd name="T83" fmla="*/ 85725 h 103"/>
              <a:gd name="T84" fmla="*/ 3175 w 207"/>
              <a:gd name="T85" fmla="*/ 98425 h 103"/>
              <a:gd name="T86" fmla="*/ 3175 w 207"/>
              <a:gd name="T87" fmla="*/ 101600 h 103"/>
              <a:gd name="T88" fmla="*/ 3175 w 207"/>
              <a:gd name="T89" fmla="*/ 139700 h 103"/>
              <a:gd name="T90" fmla="*/ 28575 w 207"/>
              <a:gd name="T91" fmla="*/ 147638 h 103"/>
              <a:gd name="T92" fmla="*/ 44450 w 207"/>
              <a:gd name="T93" fmla="*/ 150813 h 103"/>
              <a:gd name="T94" fmla="*/ 39687 w 207"/>
              <a:gd name="T95" fmla="*/ 147638 h 103"/>
              <a:gd name="T96" fmla="*/ 57150 w 207"/>
              <a:gd name="T97" fmla="*/ 155575 h 103"/>
              <a:gd name="T98" fmla="*/ 85725 w 207"/>
              <a:gd name="T99" fmla="*/ 163513 h 103"/>
              <a:gd name="T100" fmla="*/ 88900 w 207"/>
              <a:gd name="T101" fmla="*/ 147638 h 103"/>
              <a:gd name="T102" fmla="*/ 96837 w 207"/>
              <a:gd name="T103" fmla="*/ 147638 h 103"/>
              <a:gd name="T104" fmla="*/ 104775 w 207"/>
              <a:gd name="T105" fmla="*/ 150813 h 103"/>
              <a:gd name="T106" fmla="*/ 109537 w 207"/>
              <a:gd name="T107" fmla="*/ 150813 h 103"/>
              <a:gd name="T108" fmla="*/ 112712 w 207"/>
              <a:gd name="T109" fmla="*/ 158750 h 10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07" h="103">
                <a:moveTo>
                  <a:pt x="71" y="100"/>
                </a:moveTo>
                <a:lnTo>
                  <a:pt x="77" y="100"/>
                </a:lnTo>
                <a:lnTo>
                  <a:pt x="84" y="100"/>
                </a:lnTo>
                <a:lnTo>
                  <a:pt x="87" y="95"/>
                </a:lnTo>
                <a:lnTo>
                  <a:pt x="87" y="88"/>
                </a:lnTo>
                <a:lnTo>
                  <a:pt x="87" y="82"/>
                </a:lnTo>
                <a:lnTo>
                  <a:pt x="87" y="77"/>
                </a:lnTo>
                <a:lnTo>
                  <a:pt x="97" y="75"/>
                </a:lnTo>
                <a:lnTo>
                  <a:pt x="107" y="70"/>
                </a:lnTo>
                <a:lnTo>
                  <a:pt x="115" y="72"/>
                </a:lnTo>
                <a:lnTo>
                  <a:pt x="118" y="75"/>
                </a:lnTo>
                <a:lnTo>
                  <a:pt x="120" y="75"/>
                </a:lnTo>
                <a:lnTo>
                  <a:pt x="125" y="75"/>
                </a:lnTo>
                <a:lnTo>
                  <a:pt x="128" y="72"/>
                </a:lnTo>
                <a:lnTo>
                  <a:pt x="133" y="70"/>
                </a:lnTo>
                <a:lnTo>
                  <a:pt x="141" y="64"/>
                </a:lnTo>
                <a:lnTo>
                  <a:pt x="143" y="62"/>
                </a:lnTo>
                <a:lnTo>
                  <a:pt x="143" y="59"/>
                </a:lnTo>
                <a:lnTo>
                  <a:pt x="148" y="52"/>
                </a:lnTo>
                <a:lnTo>
                  <a:pt x="154" y="52"/>
                </a:lnTo>
                <a:lnTo>
                  <a:pt x="156" y="46"/>
                </a:lnTo>
                <a:lnTo>
                  <a:pt x="159" y="44"/>
                </a:lnTo>
                <a:lnTo>
                  <a:pt x="161" y="49"/>
                </a:lnTo>
                <a:lnTo>
                  <a:pt x="164" y="52"/>
                </a:lnTo>
                <a:lnTo>
                  <a:pt x="169" y="49"/>
                </a:lnTo>
                <a:lnTo>
                  <a:pt x="171" y="52"/>
                </a:lnTo>
                <a:lnTo>
                  <a:pt x="174" y="46"/>
                </a:lnTo>
                <a:lnTo>
                  <a:pt x="179" y="46"/>
                </a:lnTo>
                <a:lnTo>
                  <a:pt x="184" y="44"/>
                </a:lnTo>
                <a:lnTo>
                  <a:pt x="189" y="41"/>
                </a:lnTo>
                <a:lnTo>
                  <a:pt x="189" y="36"/>
                </a:lnTo>
                <a:lnTo>
                  <a:pt x="192" y="36"/>
                </a:lnTo>
                <a:lnTo>
                  <a:pt x="197" y="36"/>
                </a:lnTo>
                <a:lnTo>
                  <a:pt x="197" y="39"/>
                </a:lnTo>
                <a:lnTo>
                  <a:pt x="202" y="39"/>
                </a:lnTo>
                <a:lnTo>
                  <a:pt x="205" y="36"/>
                </a:lnTo>
                <a:lnTo>
                  <a:pt x="207" y="34"/>
                </a:lnTo>
                <a:lnTo>
                  <a:pt x="205" y="31"/>
                </a:lnTo>
                <a:lnTo>
                  <a:pt x="200" y="26"/>
                </a:lnTo>
                <a:lnTo>
                  <a:pt x="192" y="23"/>
                </a:lnTo>
                <a:lnTo>
                  <a:pt x="195" y="29"/>
                </a:lnTo>
                <a:lnTo>
                  <a:pt x="187" y="29"/>
                </a:lnTo>
                <a:lnTo>
                  <a:pt x="179" y="29"/>
                </a:lnTo>
                <a:lnTo>
                  <a:pt x="177" y="26"/>
                </a:lnTo>
                <a:lnTo>
                  <a:pt x="169" y="26"/>
                </a:lnTo>
                <a:lnTo>
                  <a:pt x="164" y="26"/>
                </a:lnTo>
                <a:lnTo>
                  <a:pt x="166" y="23"/>
                </a:lnTo>
                <a:lnTo>
                  <a:pt x="171" y="21"/>
                </a:lnTo>
                <a:lnTo>
                  <a:pt x="169" y="18"/>
                </a:lnTo>
                <a:lnTo>
                  <a:pt x="171" y="18"/>
                </a:lnTo>
                <a:lnTo>
                  <a:pt x="177" y="18"/>
                </a:lnTo>
                <a:lnTo>
                  <a:pt x="187" y="21"/>
                </a:lnTo>
                <a:lnTo>
                  <a:pt x="182" y="16"/>
                </a:lnTo>
                <a:lnTo>
                  <a:pt x="174" y="11"/>
                </a:lnTo>
                <a:lnTo>
                  <a:pt x="169" y="11"/>
                </a:lnTo>
                <a:lnTo>
                  <a:pt x="164" y="13"/>
                </a:lnTo>
                <a:lnTo>
                  <a:pt x="159" y="11"/>
                </a:lnTo>
                <a:lnTo>
                  <a:pt x="159" y="16"/>
                </a:lnTo>
                <a:lnTo>
                  <a:pt x="154" y="11"/>
                </a:lnTo>
                <a:lnTo>
                  <a:pt x="141" y="11"/>
                </a:lnTo>
                <a:lnTo>
                  <a:pt x="128" y="11"/>
                </a:lnTo>
                <a:lnTo>
                  <a:pt x="120" y="3"/>
                </a:lnTo>
                <a:lnTo>
                  <a:pt x="113" y="0"/>
                </a:lnTo>
                <a:lnTo>
                  <a:pt x="113" y="5"/>
                </a:lnTo>
                <a:lnTo>
                  <a:pt x="115" y="5"/>
                </a:lnTo>
                <a:lnTo>
                  <a:pt x="110" y="8"/>
                </a:lnTo>
                <a:lnTo>
                  <a:pt x="107" y="11"/>
                </a:lnTo>
                <a:lnTo>
                  <a:pt x="102" y="8"/>
                </a:lnTo>
                <a:lnTo>
                  <a:pt x="92" y="11"/>
                </a:lnTo>
                <a:lnTo>
                  <a:pt x="77" y="11"/>
                </a:lnTo>
                <a:lnTo>
                  <a:pt x="59" y="11"/>
                </a:lnTo>
                <a:lnTo>
                  <a:pt x="51" y="16"/>
                </a:lnTo>
                <a:lnTo>
                  <a:pt x="48" y="13"/>
                </a:lnTo>
                <a:lnTo>
                  <a:pt x="46" y="16"/>
                </a:lnTo>
                <a:lnTo>
                  <a:pt x="43" y="18"/>
                </a:lnTo>
                <a:lnTo>
                  <a:pt x="41" y="23"/>
                </a:lnTo>
                <a:lnTo>
                  <a:pt x="30" y="29"/>
                </a:lnTo>
                <a:lnTo>
                  <a:pt x="25" y="29"/>
                </a:lnTo>
                <a:lnTo>
                  <a:pt x="18" y="36"/>
                </a:lnTo>
                <a:lnTo>
                  <a:pt x="13" y="41"/>
                </a:lnTo>
                <a:lnTo>
                  <a:pt x="15" y="46"/>
                </a:lnTo>
                <a:lnTo>
                  <a:pt x="10" y="54"/>
                </a:lnTo>
                <a:lnTo>
                  <a:pt x="2" y="62"/>
                </a:lnTo>
                <a:lnTo>
                  <a:pt x="2" y="64"/>
                </a:lnTo>
                <a:lnTo>
                  <a:pt x="0" y="82"/>
                </a:lnTo>
                <a:lnTo>
                  <a:pt x="2" y="88"/>
                </a:lnTo>
                <a:lnTo>
                  <a:pt x="5" y="88"/>
                </a:lnTo>
                <a:lnTo>
                  <a:pt x="18" y="93"/>
                </a:lnTo>
                <a:lnTo>
                  <a:pt x="25" y="98"/>
                </a:lnTo>
                <a:lnTo>
                  <a:pt x="28" y="95"/>
                </a:lnTo>
                <a:lnTo>
                  <a:pt x="23" y="93"/>
                </a:lnTo>
                <a:lnTo>
                  <a:pt x="25" y="93"/>
                </a:lnTo>
                <a:lnTo>
                  <a:pt x="30" y="93"/>
                </a:lnTo>
                <a:lnTo>
                  <a:pt x="36" y="98"/>
                </a:lnTo>
                <a:lnTo>
                  <a:pt x="38" y="100"/>
                </a:lnTo>
                <a:lnTo>
                  <a:pt x="54" y="103"/>
                </a:lnTo>
                <a:lnTo>
                  <a:pt x="59" y="95"/>
                </a:lnTo>
                <a:lnTo>
                  <a:pt x="56" y="93"/>
                </a:lnTo>
                <a:lnTo>
                  <a:pt x="59" y="90"/>
                </a:lnTo>
                <a:lnTo>
                  <a:pt x="61" y="93"/>
                </a:lnTo>
                <a:lnTo>
                  <a:pt x="64" y="95"/>
                </a:lnTo>
                <a:lnTo>
                  <a:pt x="66" y="95"/>
                </a:lnTo>
                <a:lnTo>
                  <a:pt x="66" y="93"/>
                </a:lnTo>
                <a:lnTo>
                  <a:pt x="69" y="95"/>
                </a:lnTo>
                <a:lnTo>
                  <a:pt x="69" y="98"/>
                </a:lnTo>
                <a:lnTo>
                  <a:pt x="71" y="100"/>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16" name="Freeform 20"/>
          <p:cNvSpPr>
            <a:spLocks/>
          </p:cNvSpPr>
          <p:nvPr/>
        </p:nvSpPr>
        <p:spPr bwMode="auto">
          <a:xfrm>
            <a:off x="8786132" y="5990092"/>
            <a:ext cx="57150" cy="125412"/>
          </a:xfrm>
          <a:custGeom>
            <a:avLst/>
            <a:gdLst>
              <a:gd name="T0" fmla="*/ 0 w 36"/>
              <a:gd name="T1" fmla="*/ 31750 h 79"/>
              <a:gd name="T2" fmla="*/ 0 w 36"/>
              <a:gd name="T3" fmla="*/ 31750 h 79"/>
              <a:gd name="T4" fmla="*/ 0 w 36"/>
              <a:gd name="T5" fmla="*/ 23813 h 79"/>
              <a:gd name="T6" fmla="*/ 3175 w 36"/>
              <a:gd name="T7" fmla="*/ 20638 h 79"/>
              <a:gd name="T8" fmla="*/ 11113 w 36"/>
              <a:gd name="T9" fmla="*/ 23813 h 79"/>
              <a:gd name="T10" fmla="*/ 11113 w 36"/>
              <a:gd name="T11" fmla="*/ 23813 h 79"/>
              <a:gd name="T12" fmla="*/ 15875 w 36"/>
              <a:gd name="T13" fmla="*/ 28575 h 79"/>
              <a:gd name="T14" fmla="*/ 15875 w 36"/>
              <a:gd name="T15" fmla="*/ 23813 h 79"/>
              <a:gd name="T16" fmla="*/ 19050 w 36"/>
              <a:gd name="T17" fmla="*/ 23813 h 79"/>
              <a:gd name="T18" fmla="*/ 19050 w 36"/>
              <a:gd name="T19" fmla="*/ 20638 h 79"/>
              <a:gd name="T20" fmla="*/ 28575 w 36"/>
              <a:gd name="T21" fmla="*/ 12700 h 79"/>
              <a:gd name="T22" fmla="*/ 28575 w 36"/>
              <a:gd name="T23" fmla="*/ 7938 h 79"/>
              <a:gd name="T24" fmla="*/ 31750 w 36"/>
              <a:gd name="T25" fmla="*/ 3175 h 79"/>
              <a:gd name="T26" fmla="*/ 36513 w 36"/>
              <a:gd name="T27" fmla="*/ 0 h 79"/>
              <a:gd name="T28" fmla="*/ 39688 w 36"/>
              <a:gd name="T29" fmla="*/ 0 h 79"/>
              <a:gd name="T30" fmla="*/ 44450 w 36"/>
              <a:gd name="T31" fmla="*/ 3175 h 79"/>
              <a:gd name="T32" fmla="*/ 47625 w 36"/>
              <a:gd name="T33" fmla="*/ 0 h 79"/>
              <a:gd name="T34" fmla="*/ 57150 w 36"/>
              <a:gd name="T35" fmla="*/ 0 h 79"/>
              <a:gd name="T36" fmla="*/ 57150 w 36"/>
              <a:gd name="T37" fmla="*/ 3175 h 79"/>
              <a:gd name="T38" fmla="*/ 52388 w 36"/>
              <a:gd name="T39" fmla="*/ 12700 h 79"/>
              <a:gd name="T40" fmla="*/ 52388 w 36"/>
              <a:gd name="T41" fmla="*/ 36513 h 79"/>
              <a:gd name="T42" fmla="*/ 47625 w 36"/>
              <a:gd name="T43" fmla="*/ 44450 h 79"/>
              <a:gd name="T44" fmla="*/ 44450 w 36"/>
              <a:gd name="T45" fmla="*/ 60325 h 79"/>
              <a:gd name="T46" fmla="*/ 52388 w 36"/>
              <a:gd name="T47" fmla="*/ 65088 h 79"/>
              <a:gd name="T48" fmla="*/ 52388 w 36"/>
              <a:gd name="T49" fmla="*/ 80963 h 79"/>
              <a:gd name="T50" fmla="*/ 44450 w 36"/>
              <a:gd name="T51" fmla="*/ 93663 h 79"/>
              <a:gd name="T52" fmla="*/ 31750 w 36"/>
              <a:gd name="T53" fmla="*/ 114300 h 79"/>
              <a:gd name="T54" fmla="*/ 28575 w 36"/>
              <a:gd name="T55" fmla="*/ 109538 h 79"/>
              <a:gd name="T56" fmla="*/ 15875 w 36"/>
              <a:gd name="T57" fmla="*/ 117475 h 79"/>
              <a:gd name="T58" fmla="*/ 11113 w 36"/>
              <a:gd name="T59" fmla="*/ 125413 h 79"/>
              <a:gd name="T60" fmla="*/ 11113 w 36"/>
              <a:gd name="T61" fmla="*/ 125413 h 79"/>
              <a:gd name="T62" fmla="*/ 7938 w 36"/>
              <a:gd name="T63" fmla="*/ 125413 h 79"/>
              <a:gd name="T64" fmla="*/ 3175 w 36"/>
              <a:gd name="T65" fmla="*/ 125413 h 79"/>
              <a:gd name="T66" fmla="*/ 0 w 36"/>
              <a:gd name="T67" fmla="*/ 125413 h 79"/>
              <a:gd name="T68" fmla="*/ 0 w 36"/>
              <a:gd name="T69" fmla="*/ 31750 h 79"/>
              <a:gd name="T70" fmla="*/ 0 w 36"/>
              <a:gd name="T71" fmla="*/ 31750 h 7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6" h="79">
                <a:moveTo>
                  <a:pt x="0" y="20"/>
                </a:moveTo>
                <a:lnTo>
                  <a:pt x="0" y="20"/>
                </a:lnTo>
                <a:lnTo>
                  <a:pt x="0" y="15"/>
                </a:lnTo>
                <a:lnTo>
                  <a:pt x="2" y="13"/>
                </a:lnTo>
                <a:lnTo>
                  <a:pt x="7" y="15"/>
                </a:lnTo>
                <a:lnTo>
                  <a:pt x="10" y="18"/>
                </a:lnTo>
                <a:lnTo>
                  <a:pt x="10" y="15"/>
                </a:lnTo>
                <a:lnTo>
                  <a:pt x="12" y="15"/>
                </a:lnTo>
                <a:lnTo>
                  <a:pt x="12" y="13"/>
                </a:lnTo>
                <a:lnTo>
                  <a:pt x="18" y="8"/>
                </a:lnTo>
                <a:lnTo>
                  <a:pt x="18" y="5"/>
                </a:lnTo>
                <a:lnTo>
                  <a:pt x="20" y="2"/>
                </a:lnTo>
                <a:lnTo>
                  <a:pt x="23" y="0"/>
                </a:lnTo>
                <a:lnTo>
                  <a:pt x="25" y="0"/>
                </a:lnTo>
                <a:lnTo>
                  <a:pt x="28" y="2"/>
                </a:lnTo>
                <a:lnTo>
                  <a:pt x="30" y="0"/>
                </a:lnTo>
                <a:lnTo>
                  <a:pt x="36" y="0"/>
                </a:lnTo>
                <a:lnTo>
                  <a:pt x="36" y="2"/>
                </a:lnTo>
                <a:lnTo>
                  <a:pt x="33" y="8"/>
                </a:lnTo>
                <a:lnTo>
                  <a:pt x="33" y="23"/>
                </a:lnTo>
                <a:lnTo>
                  <a:pt x="30" y="28"/>
                </a:lnTo>
                <a:lnTo>
                  <a:pt x="28" y="38"/>
                </a:lnTo>
                <a:lnTo>
                  <a:pt x="33" y="41"/>
                </a:lnTo>
                <a:lnTo>
                  <a:pt x="33" y="51"/>
                </a:lnTo>
                <a:lnTo>
                  <a:pt x="28" y="59"/>
                </a:lnTo>
                <a:lnTo>
                  <a:pt x="20" y="72"/>
                </a:lnTo>
                <a:lnTo>
                  <a:pt x="18" y="69"/>
                </a:lnTo>
                <a:lnTo>
                  <a:pt x="10" y="74"/>
                </a:lnTo>
                <a:lnTo>
                  <a:pt x="7" y="79"/>
                </a:lnTo>
                <a:lnTo>
                  <a:pt x="5" y="79"/>
                </a:lnTo>
                <a:lnTo>
                  <a:pt x="2" y="79"/>
                </a:lnTo>
                <a:lnTo>
                  <a:pt x="0" y="79"/>
                </a:lnTo>
                <a:lnTo>
                  <a:pt x="0" y="20"/>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17" name="Freeform 21"/>
          <p:cNvSpPr>
            <a:spLocks/>
          </p:cNvSpPr>
          <p:nvPr/>
        </p:nvSpPr>
        <p:spPr bwMode="auto">
          <a:xfrm>
            <a:off x="8627382" y="6021842"/>
            <a:ext cx="206375" cy="215900"/>
          </a:xfrm>
          <a:custGeom>
            <a:avLst/>
            <a:gdLst>
              <a:gd name="T0" fmla="*/ 101600 w 130"/>
              <a:gd name="T1" fmla="*/ 215900 h 136"/>
              <a:gd name="T2" fmla="*/ 104775 w 130"/>
              <a:gd name="T3" fmla="*/ 207963 h 136"/>
              <a:gd name="T4" fmla="*/ 104775 w 130"/>
              <a:gd name="T5" fmla="*/ 204788 h 136"/>
              <a:gd name="T6" fmla="*/ 112713 w 130"/>
              <a:gd name="T7" fmla="*/ 192088 h 136"/>
              <a:gd name="T8" fmla="*/ 125413 w 130"/>
              <a:gd name="T9" fmla="*/ 192088 h 136"/>
              <a:gd name="T10" fmla="*/ 133350 w 130"/>
              <a:gd name="T11" fmla="*/ 187325 h 136"/>
              <a:gd name="T12" fmla="*/ 133350 w 130"/>
              <a:gd name="T13" fmla="*/ 184150 h 136"/>
              <a:gd name="T14" fmla="*/ 146050 w 130"/>
              <a:gd name="T15" fmla="*/ 171450 h 136"/>
              <a:gd name="T16" fmla="*/ 153988 w 130"/>
              <a:gd name="T17" fmla="*/ 158750 h 136"/>
              <a:gd name="T18" fmla="*/ 150813 w 130"/>
              <a:gd name="T19" fmla="*/ 150813 h 136"/>
              <a:gd name="T20" fmla="*/ 158750 w 130"/>
              <a:gd name="T21" fmla="*/ 142875 h 136"/>
              <a:gd name="T22" fmla="*/ 169863 w 130"/>
              <a:gd name="T23" fmla="*/ 131763 h 136"/>
              <a:gd name="T24" fmla="*/ 177800 w 130"/>
              <a:gd name="T25" fmla="*/ 131763 h 136"/>
              <a:gd name="T26" fmla="*/ 195263 w 130"/>
              <a:gd name="T27" fmla="*/ 122238 h 136"/>
              <a:gd name="T28" fmla="*/ 198438 w 130"/>
              <a:gd name="T29" fmla="*/ 114300 h 136"/>
              <a:gd name="T30" fmla="*/ 203200 w 130"/>
              <a:gd name="T31" fmla="*/ 111125 h 136"/>
              <a:gd name="T32" fmla="*/ 206375 w 130"/>
              <a:gd name="T33" fmla="*/ 106363 h 136"/>
              <a:gd name="T34" fmla="*/ 203200 w 130"/>
              <a:gd name="T35" fmla="*/ 103188 h 136"/>
              <a:gd name="T36" fmla="*/ 190500 w 130"/>
              <a:gd name="T37" fmla="*/ 98425 h 136"/>
              <a:gd name="T38" fmla="*/ 190500 w 130"/>
              <a:gd name="T39" fmla="*/ 106363 h 136"/>
              <a:gd name="T40" fmla="*/ 182563 w 130"/>
              <a:gd name="T41" fmla="*/ 103188 h 136"/>
              <a:gd name="T42" fmla="*/ 174625 w 130"/>
              <a:gd name="T43" fmla="*/ 103188 h 136"/>
              <a:gd name="T44" fmla="*/ 169863 w 130"/>
              <a:gd name="T45" fmla="*/ 93663 h 136"/>
              <a:gd name="T46" fmla="*/ 166688 w 130"/>
              <a:gd name="T47" fmla="*/ 93663 h 136"/>
              <a:gd name="T48" fmla="*/ 161925 w 130"/>
              <a:gd name="T49" fmla="*/ 93663 h 136"/>
              <a:gd name="T50" fmla="*/ 158750 w 130"/>
              <a:gd name="T51" fmla="*/ 93663 h 136"/>
              <a:gd name="T52" fmla="*/ 158750 w 130"/>
              <a:gd name="T53" fmla="*/ 0 h 136"/>
              <a:gd name="T54" fmla="*/ 158750 w 130"/>
              <a:gd name="T55" fmla="*/ 0 h 136"/>
              <a:gd name="T56" fmla="*/ 73025 w 130"/>
              <a:gd name="T57" fmla="*/ 0 h 136"/>
              <a:gd name="T58" fmla="*/ 68263 w 130"/>
              <a:gd name="T59" fmla="*/ 25400 h 136"/>
              <a:gd name="T60" fmla="*/ 47625 w 130"/>
              <a:gd name="T61" fmla="*/ 28575 h 136"/>
              <a:gd name="T62" fmla="*/ 57150 w 130"/>
              <a:gd name="T63" fmla="*/ 33338 h 136"/>
              <a:gd name="T64" fmla="*/ 57150 w 130"/>
              <a:gd name="T65" fmla="*/ 36513 h 136"/>
              <a:gd name="T66" fmla="*/ 65088 w 130"/>
              <a:gd name="T67" fmla="*/ 49213 h 136"/>
              <a:gd name="T68" fmla="*/ 73025 w 130"/>
              <a:gd name="T69" fmla="*/ 53975 h 136"/>
              <a:gd name="T70" fmla="*/ 80963 w 130"/>
              <a:gd name="T71" fmla="*/ 53975 h 136"/>
              <a:gd name="T72" fmla="*/ 84138 w 130"/>
              <a:gd name="T73" fmla="*/ 61913 h 136"/>
              <a:gd name="T74" fmla="*/ 84138 w 130"/>
              <a:gd name="T75" fmla="*/ 69850 h 136"/>
              <a:gd name="T76" fmla="*/ 88900 w 130"/>
              <a:gd name="T77" fmla="*/ 69850 h 136"/>
              <a:gd name="T78" fmla="*/ 96838 w 130"/>
              <a:gd name="T79" fmla="*/ 74613 h 136"/>
              <a:gd name="T80" fmla="*/ 101600 w 130"/>
              <a:gd name="T81" fmla="*/ 74613 h 136"/>
              <a:gd name="T82" fmla="*/ 101600 w 130"/>
              <a:gd name="T83" fmla="*/ 82550 h 136"/>
              <a:gd name="T84" fmla="*/ 96838 w 130"/>
              <a:gd name="T85" fmla="*/ 85725 h 136"/>
              <a:gd name="T86" fmla="*/ 31750 w 130"/>
              <a:gd name="T87" fmla="*/ 85725 h 136"/>
              <a:gd name="T88" fmla="*/ 3175 w 130"/>
              <a:gd name="T89" fmla="*/ 134938 h 136"/>
              <a:gd name="T90" fmla="*/ 3175 w 130"/>
              <a:gd name="T91" fmla="*/ 142875 h 136"/>
              <a:gd name="T92" fmla="*/ 3175 w 130"/>
              <a:gd name="T93" fmla="*/ 147638 h 136"/>
              <a:gd name="T94" fmla="*/ 3175 w 130"/>
              <a:gd name="T95" fmla="*/ 150813 h 136"/>
              <a:gd name="T96" fmla="*/ 7938 w 130"/>
              <a:gd name="T97" fmla="*/ 155575 h 136"/>
              <a:gd name="T98" fmla="*/ 7938 w 130"/>
              <a:gd name="T99" fmla="*/ 155575 h 136"/>
              <a:gd name="T100" fmla="*/ 7938 w 130"/>
              <a:gd name="T101" fmla="*/ 158750 h 136"/>
              <a:gd name="T102" fmla="*/ 3175 w 130"/>
              <a:gd name="T103" fmla="*/ 163513 h 136"/>
              <a:gd name="T104" fmla="*/ 0 w 130"/>
              <a:gd name="T105" fmla="*/ 168275 h 136"/>
              <a:gd name="T106" fmla="*/ 0 w 130"/>
              <a:gd name="T107" fmla="*/ 171450 h 136"/>
              <a:gd name="T108" fmla="*/ 7938 w 130"/>
              <a:gd name="T109" fmla="*/ 179388 h 136"/>
              <a:gd name="T110" fmla="*/ 11113 w 130"/>
              <a:gd name="T111" fmla="*/ 192088 h 136"/>
              <a:gd name="T112" fmla="*/ 19050 w 130"/>
              <a:gd name="T113" fmla="*/ 192088 h 136"/>
              <a:gd name="T114" fmla="*/ 28575 w 130"/>
              <a:gd name="T115" fmla="*/ 200025 h 136"/>
              <a:gd name="T116" fmla="*/ 52388 w 130"/>
              <a:gd name="T117" fmla="*/ 207963 h 136"/>
              <a:gd name="T118" fmla="*/ 68263 w 130"/>
              <a:gd name="T119" fmla="*/ 207963 h 136"/>
              <a:gd name="T120" fmla="*/ 80963 w 130"/>
              <a:gd name="T121" fmla="*/ 207963 h 136"/>
              <a:gd name="T122" fmla="*/ 101600 w 130"/>
              <a:gd name="T123" fmla="*/ 215900 h 1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30" h="136">
                <a:moveTo>
                  <a:pt x="64" y="136"/>
                </a:moveTo>
                <a:lnTo>
                  <a:pt x="66" y="131"/>
                </a:lnTo>
                <a:lnTo>
                  <a:pt x="66" y="129"/>
                </a:lnTo>
                <a:lnTo>
                  <a:pt x="71" y="121"/>
                </a:lnTo>
                <a:lnTo>
                  <a:pt x="79" y="121"/>
                </a:lnTo>
                <a:lnTo>
                  <a:pt x="84" y="118"/>
                </a:lnTo>
                <a:lnTo>
                  <a:pt x="84" y="116"/>
                </a:lnTo>
                <a:lnTo>
                  <a:pt x="92" y="108"/>
                </a:lnTo>
                <a:lnTo>
                  <a:pt x="97" y="100"/>
                </a:lnTo>
                <a:lnTo>
                  <a:pt x="95" y="95"/>
                </a:lnTo>
                <a:lnTo>
                  <a:pt x="100" y="90"/>
                </a:lnTo>
                <a:lnTo>
                  <a:pt x="107" y="83"/>
                </a:lnTo>
                <a:lnTo>
                  <a:pt x="112" y="83"/>
                </a:lnTo>
                <a:lnTo>
                  <a:pt x="123" y="77"/>
                </a:lnTo>
                <a:lnTo>
                  <a:pt x="125" y="72"/>
                </a:lnTo>
                <a:lnTo>
                  <a:pt x="128" y="70"/>
                </a:lnTo>
                <a:lnTo>
                  <a:pt x="130" y="67"/>
                </a:lnTo>
                <a:lnTo>
                  <a:pt x="128" y="65"/>
                </a:lnTo>
                <a:lnTo>
                  <a:pt x="120" y="62"/>
                </a:lnTo>
                <a:lnTo>
                  <a:pt x="120" y="67"/>
                </a:lnTo>
                <a:lnTo>
                  <a:pt x="115" y="65"/>
                </a:lnTo>
                <a:lnTo>
                  <a:pt x="110" y="65"/>
                </a:lnTo>
                <a:lnTo>
                  <a:pt x="107" y="59"/>
                </a:lnTo>
                <a:lnTo>
                  <a:pt x="105" y="59"/>
                </a:lnTo>
                <a:lnTo>
                  <a:pt x="102" y="59"/>
                </a:lnTo>
                <a:lnTo>
                  <a:pt x="100" y="59"/>
                </a:lnTo>
                <a:lnTo>
                  <a:pt x="100" y="0"/>
                </a:lnTo>
                <a:lnTo>
                  <a:pt x="46" y="0"/>
                </a:lnTo>
                <a:lnTo>
                  <a:pt x="43" y="16"/>
                </a:lnTo>
                <a:lnTo>
                  <a:pt x="30" y="18"/>
                </a:lnTo>
                <a:lnTo>
                  <a:pt x="36" y="21"/>
                </a:lnTo>
                <a:lnTo>
                  <a:pt x="36" y="23"/>
                </a:lnTo>
                <a:lnTo>
                  <a:pt x="41" y="31"/>
                </a:lnTo>
                <a:lnTo>
                  <a:pt x="46" y="34"/>
                </a:lnTo>
                <a:lnTo>
                  <a:pt x="51" y="34"/>
                </a:lnTo>
                <a:lnTo>
                  <a:pt x="53" y="39"/>
                </a:lnTo>
                <a:lnTo>
                  <a:pt x="53" y="44"/>
                </a:lnTo>
                <a:lnTo>
                  <a:pt x="56" y="44"/>
                </a:lnTo>
                <a:lnTo>
                  <a:pt x="61" y="47"/>
                </a:lnTo>
                <a:lnTo>
                  <a:pt x="64" y="47"/>
                </a:lnTo>
                <a:lnTo>
                  <a:pt x="64" y="52"/>
                </a:lnTo>
                <a:lnTo>
                  <a:pt x="61" y="54"/>
                </a:lnTo>
                <a:lnTo>
                  <a:pt x="20" y="54"/>
                </a:lnTo>
                <a:lnTo>
                  <a:pt x="2" y="85"/>
                </a:lnTo>
                <a:lnTo>
                  <a:pt x="2" y="90"/>
                </a:lnTo>
                <a:lnTo>
                  <a:pt x="2" y="93"/>
                </a:lnTo>
                <a:lnTo>
                  <a:pt x="2" y="95"/>
                </a:lnTo>
                <a:lnTo>
                  <a:pt x="5" y="98"/>
                </a:lnTo>
                <a:lnTo>
                  <a:pt x="5" y="100"/>
                </a:lnTo>
                <a:lnTo>
                  <a:pt x="2" y="103"/>
                </a:lnTo>
                <a:lnTo>
                  <a:pt x="0" y="106"/>
                </a:lnTo>
                <a:lnTo>
                  <a:pt x="0" y="108"/>
                </a:lnTo>
                <a:lnTo>
                  <a:pt x="5" y="113"/>
                </a:lnTo>
                <a:lnTo>
                  <a:pt x="7" y="121"/>
                </a:lnTo>
                <a:lnTo>
                  <a:pt x="12" y="121"/>
                </a:lnTo>
                <a:lnTo>
                  <a:pt x="18" y="126"/>
                </a:lnTo>
                <a:lnTo>
                  <a:pt x="33" y="131"/>
                </a:lnTo>
                <a:lnTo>
                  <a:pt x="43" y="131"/>
                </a:lnTo>
                <a:lnTo>
                  <a:pt x="51" y="131"/>
                </a:lnTo>
                <a:lnTo>
                  <a:pt x="64" y="136"/>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18" name="Freeform 22"/>
          <p:cNvSpPr>
            <a:spLocks noEditPoints="1"/>
          </p:cNvSpPr>
          <p:nvPr/>
        </p:nvSpPr>
        <p:spPr bwMode="auto">
          <a:xfrm>
            <a:off x="7508194" y="5139192"/>
            <a:ext cx="1419225" cy="1054100"/>
          </a:xfrm>
          <a:custGeom>
            <a:avLst/>
            <a:gdLst>
              <a:gd name="T0" fmla="*/ 531813 w 894"/>
              <a:gd name="T1" fmla="*/ 96838 h 664"/>
              <a:gd name="T2" fmla="*/ 568325 w 894"/>
              <a:gd name="T3" fmla="*/ 141288 h 664"/>
              <a:gd name="T4" fmla="*/ 593725 w 894"/>
              <a:gd name="T5" fmla="*/ 198438 h 664"/>
              <a:gd name="T6" fmla="*/ 630238 w 894"/>
              <a:gd name="T7" fmla="*/ 231775 h 664"/>
              <a:gd name="T8" fmla="*/ 674688 w 894"/>
              <a:gd name="T9" fmla="*/ 227013 h 664"/>
              <a:gd name="T10" fmla="*/ 736600 w 894"/>
              <a:gd name="T11" fmla="*/ 198438 h 664"/>
              <a:gd name="T12" fmla="*/ 784225 w 894"/>
              <a:gd name="T13" fmla="*/ 268288 h 664"/>
              <a:gd name="T14" fmla="*/ 825500 w 894"/>
              <a:gd name="T15" fmla="*/ 354013 h 664"/>
              <a:gd name="T16" fmla="*/ 885825 w 894"/>
              <a:gd name="T17" fmla="*/ 422275 h 664"/>
              <a:gd name="T18" fmla="*/ 919163 w 894"/>
              <a:gd name="T19" fmla="*/ 442913 h 664"/>
              <a:gd name="T20" fmla="*/ 895350 w 894"/>
              <a:gd name="T21" fmla="*/ 492125 h 664"/>
              <a:gd name="T22" fmla="*/ 877888 w 894"/>
              <a:gd name="T23" fmla="*/ 622300 h 664"/>
              <a:gd name="T24" fmla="*/ 890588 w 894"/>
              <a:gd name="T25" fmla="*/ 703263 h 664"/>
              <a:gd name="T26" fmla="*/ 968375 w 894"/>
              <a:gd name="T27" fmla="*/ 825500 h 664"/>
              <a:gd name="T28" fmla="*/ 1077913 w 894"/>
              <a:gd name="T29" fmla="*/ 846138 h 664"/>
              <a:gd name="T30" fmla="*/ 1163638 w 894"/>
              <a:gd name="T31" fmla="*/ 858838 h 664"/>
              <a:gd name="T32" fmla="*/ 1212850 w 894"/>
              <a:gd name="T33" fmla="*/ 781050 h 664"/>
              <a:gd name="T34" fmla="*/ 1338263 w 894"/>
              <a:gd name="T35" fmla="*/ 684213 h 664"/>
              <a:gd name="T36" fmla="*/ 1403350 w 894"/>
              <a:gd name="T37" fmla="*/ 731838 h 664"/>
              <a:gd name="T38" fmla="*/ 1366838 w 894"/>
              <a:gd name="T39" fmla="*/ 809625 h 664"/>
              <a:gd name="T40" fmla="*/ 1343025 w 894"/>
              <a:gd name="T41" fmla="*/ 830263 h 664"/>
              <a:gd name="T42" fmla="*/ 1293813 w 894"/>
              <a:gd name="T43" fmla="*/ 874713 h 664"/>
              <a:gd name="T44" fmla="*/ 1176338 w 894"/>
              <a:gd name="T45" fmla="*/ 919163 h 664"/>
              <a:gd name="T46" fmla="*/ 1150938 w 894"/>
              <a:gd name="T47" fmla="*/ 968375 h 664"/>
              <a:gd name="T48" fmla="*/ 1111250 w 894"/>
              <a:gd name="T49" fmla="*/ 1041400 h 664"/>
              <a:gd name="T50" fmla="*/ 1012825 w 894"/>
              <a:gd name="T51" fmla="*/ 965200 h 664"/>
              <a:gd name="T52" fmla="*/ 1008063 w 894"/>
              <a:gd name="T53" fmla="*/ 965200 h 664"/>
              <a:gd name="T54" fmla="*/ 992188 w 894"/>
              <a:gd name="T55" fmla="*/ 973138 h 664"/>
              <a:gd name="T56" fmla="*/ 830263 w 894"/>
              <a:gd name="T57" fmla="*/ 965200 h 664"/>
              <a:gd name="T58" fmla="*/ 715963 w 894"/>
              <a:gd name="T59" fmla="*/ 923925 h 664"/>
              <a:gd name="T60" fmla="*/ 593725 w 894"/>
              <a:gd name="T61" fmla="*/ 863600 h 664"/>
              <a:gd name="T62" fmla="*/ 512763 w 894"/>
              <a:gd name="T63" fmla="*/ 806450 h 664"/>
              <a:gd name="T64" fmla="*/ 487363 w 894"/>
              <a:gd name="T65" fmla="*/ 731838 h 664"/>
              <a:gd name="T66" fmla="*/ 484188 w 894"/>
              <a:gd name="T67" fmla="*/ 627063 h 664"/>
              <a:gd name="T68" fmla="*/ 377825 w 894"/>
              <a:gd name="T69" fmla="*/ 496888 h 664"/>
              <a:gd name="T70" fmla="*/ 328613 w 894"/>
              <a:gd name="T71" fmla="*/ 434975 h 664"/>
              <a:gd name="T72" fmla="*/ 333375 w 894"/>
              <a:gd name="T73" fmla="*/ 385763 h 664"/>
              <a:gd name="T74" fmla="*/ 276225 w 894"/>
              <a:gd name="T75" fmla="*/ 312738 h 664"/>
              <a:gd name="T76" fmla="*/ 227013 w 894"/>
              <a:gd name="T77" fmla="*/ 260350 h 664"/>
              <a:gd name="T78" fmla="*/ 190500 w 894"/>
              <a:gd name="T79" fmla="*/ 174625 h 664"/>
              <a:gd name="T80" fmla="*/ 161925 w 894"/>
              <a:gd name="T81" fmla="*/ 84138 h 664"/>
              <a:gd name="T82" fmla="*/ 101600 w 894"/>
              <a:gd name="T83" fmla="*/ 96838 h 664"/>
              <a:gd name="T84" fmla="*/ 138113 w 894"/>
              <a:gd name="T85" fmla="*/ 227013 h 664"/>
              <a:gd name="T86" fmla="*/ 185738 w 894"/>
              <a:gd name="T87" fmla="*/ 309563 h 664"/>
              <a:gd name="T88" fmla="*/ 219075 w 894"/>
              <a:gd name="T89" fmla="*/ 361950 h 664"/>
              <a:gd name="T90" fmla="*/ 242888 w 894"/>
              <a:gd name="T91" fmla="*/ 455613 h 664"/>
              <a:gd name="T92" fmla="*/ 268288 w 894"/>
              <a:gd name="T93" fmla="*/ 512763 h 664"/>
              <a:gd name="T94" fmla="*/ 279400 w 894"/>
              <a:gd name="T95" fmla="*/ 590550 h 664"/>
              <a:gd name="T96" fmla="*/ 206375 w 894"/>
              <a:gd name="T97" fmla="*/ 504825 h 664"/>
              <a:gd name="T98" fmla="*/ 174625 w 894"/>
              <a:gd name="T99" fmla="*/ 393700 h 664"/>
              <a:gd name="T100" fmla="*/ 117475 w 894"/>
              <a:gd name="T101" fmla="*/ 354013 h 664"/>
              <a:gd name="T102" fmla="*/ 76200 w 894"/>
              <a:gd name="T103" fmla="*/ 296863 h 664"/>
              <a:gd name="T104" fmla="*/ 109538 w 894"/>
              <a:gd name="T105" fmla="*/ 276225 h 664"/>
              <a:gd name="T106" fmla="*/ 47625 w 894"/>
              <a:gd name="T107" fmla="*/ 182563 h 664"/>
              <a:gd name="T108" fmla="*/ 26988 w 894"/>
              <a:gd name="T109" fmla="*/ 93663 h 664"/>
              <a:gd name="T110" fmla="*/ 260350 w 894"/>
              <a:gd name="T111" fmla="*/ 476250 h 664"/>
              <a:gd name="T112" fmla="*/ 263525 w 894"/>
              <a:gd name="T113" fmla="*/ 500063 h 664"/>
              <a:gd name="T114" fmla="*/ 898525 w 894"/>
              <a:gd name="T115" fmla="*/ 492125 h 6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94" h="664">
                <a:moveTo>
                  <a:pt x="0" y="0"/>
                </a:moveTo>
                <a:lnTo>
                  <a:pt x="74" y="0"/>
                </a:lnTo>
                <a:lnTo>
                  <a:pt x="76" y="2"/>
                </a:lnTo>
                <a:lnTo>
                  <a:pt x="74" y="5"/>
                </a:lnTo>
                <a:lnTo>
                  <a:pt x="182" y="53"/>
                </a:lnTo>
                <a:lnTo>
                  <a:pt x="271" y="56"/>
                </a:lnTo>
                <a:lnTo>
                  <a:pt x="271" y="46"/>
                </a:lnTo>
                <a:lnTo>
                  <a:pt x="323" y="46"/>
                </a:lnTo>
                <a:lnTo>
                  <a:pt x="328" y="51"/>
                </a:lnTo>
                <a:lnTo>
                  <a:pt x="333" y="56"/>
                </a:lnTo>
                <a:lnTo>
                  <a:pt x="335" y="61"/>
                </a:lnTo>
                <a:lnTo>
                  <a:pt x="335" y="64"/>
                </a:lnTo>
                <a:lnTo>
                  <a:pt x="338" y="64"/>
                </a:lnTo>
                <a:lnTo>
                  <a:pt x="343" y="66"/>
                </a:lnTo>
                <a:lnTo>
                  <a:pt x="341" y="71"/>
                </a:lnTo>
                <a:lnTo>
                  <a:pt x="346" y="71"/>
                </a:lnTo>
                <a:lnTo>
                  <a:pt x="351" y="77"/>
                </a:lnTo>
                <a:lnTo>
                  <a:pt x="351" y="79"/>
                </a:lnTo>
                <a:lnTo>
                  <a:pt x="348" y="82"/>
                </a:lnTo>
                <a:lnTo>
                  <a:pt x="353" y="82"/>
                </a:lnTo>
                <a:lnTo>
                  <a:pt x="356" y="84"/>
                </a:lnTo>
                <a:lnTo>
                  <a:pt x="358" y="89"/>
                </a:lnTo>
                <a:lnTo>
                  <a:pt x="361" y="97"/>
                </a:lnTo>
                <a:lnTo>
                  <a:pt x="361" y="100"/>
                </a:lnTo>
                <a:lnTo>
                  <a:pt x="364" y="100"/>
                </a:lnTo>
                <a:lnTo>
                  <a:pt x="366" y="102"/>
                </a:lnTo>
                <a:lnTo>
                  <a:pt x="369" y="105"/>
                </a:lnTo>
                <a:lnTo>
                  <a:pt x="369" y="110"/>
                </a:lnTo>
                <a:lnTo>
                  <a:pt x="366" y="112"/>
                </a:lnTo>
                <a:lnTo>
                  <a:pt x="364" y="112"/>
                </a:lnTo>
                <a:lnTo>
                  <a:pt x="364" y="115"/>
                </a:lnTo>
                <a:lnTo>
                  <a:pt x="369" y="120"/>
                </a:lnTo>
                <a:lnTo>
                  <a:pt x="374" y="125"/>
                </a:lnTo>
                <a:lnTo>
                  <a:pt x="374" y="130"/>
                </a:lnTo>
                <a:lnTo>
                  <a:pt x="374" y="133"/>
                </a:lnTo>
                <a:lnTo>
                  <a:pt x="376" y="133"/>
                </a:lnTo>
                <a:lnTo>
                  <a:pt x="379" y="136"/>
                </a:lnTo>
                <a:lnTo>
                  <a:pt x="382" y="136"/>
                </a:lnTo>
                <a:lnTo>
                  <a:pt x="384" y="136"/>
                </a:lnTo>
                <a:lnTo>
                  <a:pt x="384" y="138"/>
                </a:lnTo>
                <a:lnTo>
                  <a:pt x="387" y="141"/>
                </a:lnTo>
                <a:lnTo>
                  <a:pt x="387" y="143"/>
                </a:lnTo>
                <a:lnTo>
                  <a:pt x="392" y="143"/>
                </a:lnTo>
                <a:lnTo>
                  <a:pt x="397" y="146"/>
                </a:lnTo>
                <a:lnTo>
                  <a:pt x="400" y="148"/>
                </a:lnTo>
                <a:lnTo>
                  <a:pt x="405" y="151"/>
                </a:lnTo>
                <a:lnTo>
                  <a:pt x="410" y="153"/>
                </a:lnTo>
                <a:lnTo>
                  <a:pt x="412" y="156"/>
                </a:lnTo>
                <a:lnTo>
                  <a:pt x="415" y="156"/>
                </a:lnTo>
                <a:lnTo>
                  <a:pt x="417" y="153"/>
                </a:lnTo>
                <a:lnTo>
                  <a:pt x="423" y="148"/>
                </a:lnTo>
                <a:lnTo>
                  <a:pt x="425" y="148"/>
                </a:lnTo>
                <a:lnTo>
                  <a:pt x="425" y="146"/>
                </a:lnTo>
                <a:lnTo>
                  <a:pt x="425" y="143"/>
                </a:lnTo>
                <a:lnTo>
                  <a:pt x="428" y="141"/>
                </a:lnTo>
                <a:lnTo>
                  <a:pt x="433" y="133"/>
                </a:lnTo>
                <a:lnTo>
                  <a:pt x="435" y="128"/>
                </a:lnTo>
                <a:lnTo>
                  <a:pt x="441" y="128"/>
                </a:lnTo>
                <a:lnTo>
                  <a:pt x="443" y="128"/>
                </a:lnTo>
                <a:lnTo>
                  <a:pt x="446" y="128"/>
                </a:lnTo>
                <a:lnTo>
                  <a:pt x="446" y="125"/>
                </a:lnTo>
                <a:lnTo>
                  <a:pt x="453" y="125"/>
                </a:lnTo>
                <a:lnTo>
                  <a:pt x="458" y="125"/>
                </a:lnTo>
                <a:lnTo>
                  <a:pt x="464" y="125"/>
                </a:lnTo>
                <a:lnTo>
                  <a:pt x="466" y="125"/>
                </a:lnTo>
                <a:lnTo>
                  <a:pt x="469" y="128"/>
                </a:lnTo>
                <a:lnTo>
                  <a:pt x="471" y="128"/>
                </a:lnTo>
                <a:lnTo>
                  <a:pt x="476" y="130"/>
                </a:lnTo>
                <a:lnTo>
                  <a:pt x="479" y="133"/>
                </a:lnTo>
                <a:lnTo>
                  <a:pt x="484" y="138"/>
                </a:lnTo>
                <a:lnTo>
                  <a:pt x="489" y="146"/>
                </a:lnTo>
                <a:lnTo>
                  <a:pt x="492" y="153"/>
                </a:lnTo>
                <a:lnTo>
                  <a:pt x="494" y="156"/>
                </a:lnTo>
                <a:lnTo>
                  <a:pt x="494" y="161"/>
                </a:lnTo>
                <a:lnTo>
                  <a:pt x="494" y="169"/>
                </a:lnTo>
                <a:lnTo>
                  <a:pt x="497" y="169"/>
                </a:lnTo>
                <a:lnTo>
                  <a:pt x="500" y="174"/>
                </a:lnTo>
                <a:lnTo>
                  <a:pt x="505" y="184"/>
                </a:lnTo>
                <a:lnTo>
                  <a:pt x="507" y="187"/>
                </a:lnTo>
                <a:lnTo>
                  <a:pt x="507" y="192"/>
                </a:lnTo>
                <a:lnTo>
                  <a:pt x="512" y="195"/>
                </a:lnTo>
                <a:lnTo>
                  <a:pt x="515" y="200"/>
                </a:lnTo>
                <a:lnTo>
                  <a:pt x="517" y="205"/>
                </a:lnTo>
                <a:lnTo>
                  <a:pt x="523" y="210"/>
                </a:lnTo>
                <a:lnTo>
                  <a:pt x="523" y="215"/>
                </a:lnTo>
                <a:lnTo>
                  <a:pt x="520" y="223"/>
                </a:lnTo>
                <a:lnTo>
                  <a:pt x="523" y="225"/>
                </a:lnTo>
                <a:lnTo>
                  <a:pt x="528" y="243"/>
                </a:lnTo>
                <a:lnTo>
                  <a:pt x="528" y="251"/>
                </a:lnTo>
                <a:lnTo>
                  <a:pt x="530" y="254"/>
                </a:lnTo>
                <a:lnTo>
                  <a:pt x="530" y="256"/>
                </a:lnTo>
                <a:lnTo>
                  <a:pt x="535" y="256"/>
                </a:lnTo>
                <a:lnTo>
                  <a:pt x="538" y="256"/>
                </a:lnTo>
                <a:lnTo>
                  <a:pt x="543" y="259"/>
                </a:lnTo>
                <a:lnTo>
                  <a:pt x="548" y="264"/>
                </a:lnTo>
                <a:lnTo>
                  <a:pt x="558" y="266"/>
                </a:lnTo>
                <a:lnTo>
                  <a:pt x="564" y="269"/>
                </a:lnTo>
                <a:lnTo>
                  <a:pt x="569" y="272"/>
                </a:lnTo>
                <a:lnTo>
                  <a:pt x="571" y="274"/>
                </a:lnTo>
                <a:lnTo>
                  <a:pt x="574" y="277"/>
                </a:lnTo>
                <a:lnTo>
                  <a:pt x="571" y="282"/>
                </a:lnTo>
                <a:lnTo>
                  <a:pt x="579" y="277"/>
                </a:lnTo>
                <a:lnTo>
                  <a:pt x="579" y="269"/>
                </a:lnTo>
                <a:lnTo>
                  <a:pt x="584" y="264"/>
                </a:lnTo>
                <a:lnTo>
                  <a:pt x="584" y="269"/>
                </a:lnTo>
                <a:lnTo>
                  <a:pt x="582" y="277"/>
                </a:lnTo>
                <a:lnTo>
                  <a:pt x="579" y="279"/>
                </a:lnTo>
                <a:lnTo>
                  <a:pt x="579" y="287"/>
                </a:lnTo>
                <a:lnTo>
                  <a:pt x="574" y="292"/>
                </a:lnTo>
                <a:lnTo>
                  <a:pt x="571" y="297"/>
                </a:lnTo>
                <a:lnTo>
                  <a:pt x="569" y="300"/>
                </a:lnTo>
                <a:lnTo>
                  <a:pt x="569" y="295"/>
                </a:lnTo>
                <a:lnTo>
                  <a:pt x="571" y="290"/>
                </a:lnTo>
                <a:lnTo>
                  <a:pt x="566" y="290"/>
                </a:lnTo>
                <a:lnTo>
                  <a:pt x="566" y="297"/>
                </a:lnTo>
                <a:lnTo>
                  <a:pt x="561" y="302"/>
                </a:lnTo>
                <a:lnTo>
                  <a:pt x="566" y="305"/>
                </a:lnTo>
                <a:lnTo>
                  <a:pt x="564" y="310"/>
                </a:lnTo>
                <a:lnTo>
                  <a:pt x="561" y="318"/>
                </a:lnTo>
                <a:lnTo>
                  <a:pt x="558" y="320"/>
                </a:lnTo>
                <a:lnTo>
                  <a:pt x="558" y="328"/>
                </a:lnTo>
                <a:lnTo>
                  <a:pt x="561" y="331"/>
                </a:lnTo>
                <a:lnTo>
                  <a:pt x="558" y="336"/>
                </a:lnTo>
                <a:lnTo>
                  <a:pt x="558" y="341"/>
                </a:lnTo>
                <a:lnTo>
                  <a:pt x="556" y="356"/>
                </a:lnTo>
                <a:lnTo>
                  <a:pt x="558" y="364"/>
                </a:lnTo>
                <a:lnTo>
                  <a:pt x="556" y="379"/>
                </a:lnTo>
                <a:lnTo>
                  <a:pt x="551" y="387"/>
                </a:lnTo>
                <a:lnTo>
                  <a:pt x="553" y="392"/>
                </a:lnTo>
                <a:lnTo>
                  <a:pt x="553" y="402"/>
                </a:lnTo>
                <a:lnTo>
                  <a:pt x="553" y="410"/>
                </a:lnTo>
                <a:lnTo>
                  <a:pt x="561" y="423"/>
                </a:lnTo>
                <a:lnTo>
                  <a:pt x="561" y="433"/>
                </a:lnTo>
                <a:lnTo>
                  <a:pt x="558" y="423"/>
                </a:lnTo>
                <a:lnTo>
                  <a:pt x="551" y="415"/>
                </a:lnTo>
                <a:lnTo>
                  <a:pt x="551" y="420"/>
                </a:lnTo>
                <a:lnTo>
                  <a:pt x="556" y="426"/>
                </a:lnTo>
                <a:lnTo>
                  <a:pt x="558" y="438"/>
                </a:lnTo>
                <a:lnTo>
                  <a:pt x="561" y="443"/>
                </a:lnTo>
                <a:lnTo>
                  <a:pt x="558" y="446"/>
                </a:lnTo>
                <a:lnTo>
                  <a:pt x="564" y="451"/>
                </a:lnTo>
                <a:lnTo>
                  <a:pt x="564" y="459"/>
                </a:lnTo>
                <a:lnTo>
                  <a:pt x="582" y="477"/>
                </a:lnTo>
                <a:lnTo>
                  <a:pt x="584" y="485"/>
                </a:lnTo>
                <a:lnTo>
                  <a:pt x="589" y="492"/>
                </a:lnTo>
                <a:lnTo>
                  <a:pt x="589" y="497"/>
                </a:lnTo>
                <a:lnTo>
                  <a:pt x="592" y="503"/>
                </a:lnTo>
                <a:lnTo>
                  <a:pt x="605" y="518"/>
                </a:lnTo>
                <a:lnTo>
                  <a:pt x="607" y="523"/>
                </a:lnTo>
                <a:lnTo>
                  <a:pt x="610" y="520"/>
                </a:lnTo>
                <a:lnTo>
                  <a:pt x="620" y="520"/>
                </a:lnTo>
                <a:lnTo>
                  <a:pt x="623" y="523"/>
                </a:lnTo>
                <a:lnTo>
                  <a:pt x="630" y="528"/>
                </a:lnTo>
                <a:lnTo>
                  <a:pt x="638" y="538"/>
                </a:lnTo>
                <a:lnTo>
                  <a:pt x="641" y="546"/>
                </a:lnTo>
                <a:lnTo>
                  <a:pt x="648" y="541"/>
                </a:lnTo>
                <a:lnTo>
                  <a:pt x="658" y="538"/>
                </a:lnTo>
                <a:lnTo>
                  <a:pt x="661" y="544"/>
                </a:lnTo>
                <a:lnTo>
                  <a:pt x="664" y="544"/>
                </a:lnTo>
                <a:lnTo>
                  <a:pt x="676" y="536"/>
                </a:lnTo>
                <a:lnTo>
                  <a:pt x="679" y="533"/>
                </a:lnTo>
                <a:lnTo>
                  <a:pt x="692" y="531"/>
                </a:lnTo>
                <a:lnTo>
                  <a:pt x="697" y="531"/>
                </a:lnTo>
                <a:lnTo>
                  <a:pt x="705" y="526"/>
                </a:lnTo>
                <a:lnTo>
                  <a:pt x="712" y="526"/>
                </a:lnTo>
                <a:lnTo>
                  <a:pt x="717" y="528"/>
                </a:lnTo>
                <a:lnTo>
                  <a:pt x="720" y="526"/>
                </a:lnTo>
                <a:lnTo>
                  <a:pt x="730" y="528"/>
                </a:lnTo>
                <a:lnTo>
                  <a:pt x="725" y="531"/>
                </a:lnTo>
                <a:lnTo>
                  <a:pt x="723" y="533"/>
                </a:lnTo>
                <a:lnTo>
                  <a:pt x="730" y="538"/>
                </a:lnTo>
                <a:lnTo>
                  <a:pt x="733" y="541"/>
                </a:lnTo>
                <a:lnTo>
                  <a:pt x="735" y="538"/>
                </a:lnTo>
                <a:lnTo>
                  <a:pt x="738" y="538"/>
                </a:lnTo>
                <a:lnTo>
                  <a:pt x="743" y="531"/>
                </a:lnTo>
                <a:lnTo>
                  <a:pt x="746" y="520"/>
                </a:lnTo>
                <a:lnTo>
                  <a:pt x="746" y="515"/>
                </a:lnTo>
                <a:lnTo>
                  <a:pt x="741" y="520"/>
                </a:lnTo>
                <a:lnTo>
                  <a:pt x="738" y="518"/>
                </a:lnTo>
                <a:lnTo>
                  <a:pt x="753" y="510"/>
                </a:lnTo>
                <a:lnTo>
                  <a:pt x="758" y="510"/>
                </a:lnTo>
                <a:lnTo>
                  <a:pt x="764" y="503"/>
                </a:lnTo>
                <a:lnTo>
                  <a:pt x="764" y="492"/>
                </a:lnTo>
                <a:lnTo>
                  <a:pt x="774" y="479"/>
                </a:lnTo>
                <a:lnTo>
                  <a:pt x="774" y="477"/>
                </a:lnTo>
                <a:lnTo>
                  <a:pt x="774" y="459"/>
                </a:lnTo>
                <a:lnTo>
                  <a:pt x="787" y="446"/>
                </a:lnTo>
                <a:lnTo>
                  <a:pt x="782" y="446"/>
                </a:lnTo>
                <a:lnTo>
                  <a:pt x="782" y="441"/>
                </a:lnTo>
                <a:lnTo>
                  <a:pt x="802" y="436"/>
                </a:lnTo>
                <a:lnTo>
                  <a:pt x="828" y="436"/>
                </a:lnTo>
                <a:lnTo>
                  <a:pt x="833" y="431"/>
                </a:lnTo>
                <a:lnTo>
                  <a:pt x="841" y="428"/>
                </a:lnTo>
                <a:lnTo>
                  <a:pt x="843" y="431"/>
                </a:lnTo>
                <a:lnTo>
                  <a:pt x="851" y="428"/>
                </a:lnTo>
                <a:lnTo>
                  <a:pt x="851" y="426"/>
                </a:lnTo>
                <a:lnTo>
                  <a:pt x="864" y="423"/>
                </a:lnTo>
                <a:lnTo>
                  <a:pt x="876" y="428"/>
                </a:lnTo>
                <a:lnTo>
                  <a:pt x="882" y="426"/>
                </a:lnTo>
                <a:lnTo>
                  <a:pt x="879" y="423"/>
                </a:lnTo>
                <a:lnTo>
                  <a:pt x="887" y="423"/>
                </a:lnTo>
                <a:lnTo>
                  <a:pt x="894" y="433"/>
                </a:lnTo>
                <a:lnTo>
                  <a:pt x="894" y="441"/>
                </a:lnTo>
                <a:lnTo>
                  <a:pt x="889" y="449"/>
                </a:lnTo>
                <a:lnTo>
                  <a:pt x="884" y="461"/>
                </a:lnTo>
                <a:lnTo>
                  <a:pt x="869" y="472"/>
                </a:lnTo>
                <a:lnTo>
                  <a:pt x="866" y="477"/>
                </a:lnTo>
                <a:lnTo>
                  <a:pt x="866" y="485"/>
                </a:lnTo>
                <a:lnTo>
                  <a:pt x="861" y="490"/>
                </a:lnTo>
                <a:lnTo>
                  <a:pt x="858" y="492"/>
                </a:lnTo>
                <a:lnTo>
                  <a:pt x="861" y="495"/>
                </a:lnTo>
                <a:lnTo>
                  <a:pt x="866" y="495"/>
                </a:lnTo>
                <a:lnTo>
                  <a:pt x="866" y="500"/>
                </a:lnTo>
                <a:lnTo>
                  <a:pt x="858" y="508"/>
                </a:lnTo>
                <a:lnTo>
                  <a:pt x="858" y="510"/>
                </a:lnTo>
                <a:lnTo>
                  <a:pt x="861" y="510"/>
                </a:lnTo>
                <a:lnTo>
                  <a:pt x="864" y="508"/>
                </a:lnTo>
                <a:lnTo>
                  <a:pt x="869" y="508"/>
                </a:lnTo>
                <a:lnTo>
                  <a:pt x="864" y="513"/>
                </a:lnTo>
                <a:lnTo>
                  <a:pt x="858" y="531"/>
                </a:lnTo>
                <a:lnTo>
                  <a:pt x="853" y="541"/>
                </a:lnTo>
                <a:lnTo>
                  <a:pt x="853" y="544"/>
                </a:lnTo>
                <a:lnTo>
                  <a:pt x="851" y="538"/>
                </a:lnTo>
                <a:lnTo>
                  <a:pt x="843" y="533"/>
                </a:lnTo>
                <a:lnTo>
                  <a:pt x="843" y="531"/>
                </a:lnTo>
                <a:lnTo>
                  <a:pt x="846" y="528"/>
                </a:lnTo>
                <a:lnTo>
                  <a:pt x="846" y="523"/>
                </a:lnTo>
                <a:lnTo>
                  <a:pt x="843" y="523"/>
                </a:lnTo>
                <a:lnTo>
                  <a:pt x="835" y="531"/>
                </a:lnTo>
                <a:lnTo>
                  <a:pt x="830" y="536"/>
                </a:lnTo>
                <a:lnTo>
                  <a:pt x="828" y="536"/>
                </a:lnTo>
                <a:lnTo>
                  <a:pt x="825" y="538"/>
                </a:lnTo>
                <a:lnTo>
                  <a:pt x="823" y="541"/>
                </a:lnTo>
                <a:lnTo>
                  <a:pt x="823" y="544"/>
                </a:lnTo>
                <a:lnTo>
                  <a:pt x="817" y="549"/>
                </a:lnTo>
                <a:lnTo>
                  <a:pt x="817" y="551"/>
                </a:lnTo>
                <a:lnTo>
                  <a:pt x="815" y="551"/>
                </a:lnTo>
                <a:lnTo>
                  <a:pt x="815" y="554"/>
                </a:lnTo>
                <a:lnTo>
                  <a:pt x="812" y="551"/>
                </a:lnTo>
                <a:lnTo>
                  <a:pt x="807" y="549"/>
                </a:lnTo>
                <a:lnTo>
                  <a:pt x="805" y="551"/>
                </a:lnTo>
                <a:lnTo>
                  <a:pt x="805" y="556"/>
                </a:lnTo>
                <a:lnTo>
                  <a:pt x="751" y="556"/>
                </a:lnTo>
                <a:lnTo>
                  <a:pt x="748" y="572"/>
                </a:lnTo>
                <a:lnTo>
                  <a:pt x="735" y="574"/>
                </a:lnTo>
                <a:lnTo>
                  <a:pt x="741" y="577"/>
                </a:lnTo>
                <a:lnTo>
                  <a:pt x="741" y="579"/>
                </a:lnTo>
                <a:lnTo>
                  <a:pt x="746" y="587"/>
                </a:lnTo>
                <a:lnTo>
                  <a:pt x="751" y="590"/>
                </a:lnTo>
                <a:lnTo>
                  <a:pt x="756" y="590"/>
                </a:lnTo>
                <a:lnTo>
                  <a:pt x="758" y="595"/>
                </a:lnTo>
                <a:lnTo>
                  <a:pt x="758" y="600"/>
                </a:lnTo>
                <a:lnTo>
                  <a:pt x="761" y="600"/>
                </a:lnTo>
                <a:lnTo>
                  <a:pt x="766" y="603"/>
                </a:lnTo>
                <a:lnTo>
                  <a:pt x="769" y="603"/>
                </a:lnTo>
                <a:lnTo>
                  <a:pt x="769" y="608"/>
                </a:lnTo>
                <a:lnTo>
                  <a:pt x="766" y="610"/>
                </a:lnTo>
                <a:lnTo>
                  <a:pt x="725" y="610"/>
                </a:lnTo>
                <a:lnTo>
                  <a:pt x="707" y="641"/>
                </a:lnTo>
                <a:lnTo>
                  <a:pt x="707" y="646"/>
                </a:lnTo>
                <a:lnTo>
                  <a:pt x="707" y="649"/>
                </a:lnTo>
                <a:lnTo>
                  <a:pt x="707" y="651"/>
                </a:lnTo>
                <a:lnTo>
                  <a:pt x="710" y="654"/>
                </a:lnTo>
                <a:lnTo>
                  <a:pt x="710" y="656"/>
                </a:lnTo>
                <a:lnTo>
                  <a:pt x="707" y="659"/>
                </a:lnTo>
                <a:lnTo>
                  <a:pt x="705" y="662"/>
                </a:lnTo>
                <a:lnTo>
                  <a:pt x="705" y="664"/>
                </a:lnTo>
                <a:lnTo>
                  <a:pt x="700" y="656"/>
                </a:lnTo>
                <a:lnTo>
                  <a:pt x="692" y="651"/>
                </a:lnTo>
                <a:lnTo>
                  <a:pt x="689" y="646"/>
                </a:lnTo>
                <a:lnTo>
                  <a:pt x="684" y="644"/>
                </a:lnTo>
                <a:lnTo>
                  <a:pt x="661" y="626"/>
                </a:lnTo>
                <a:lnTo>
                  <a:pt x="658" y="623"/>
                </a:lnTo>
                <a:lnTo>
                  <a:pt x="658" y="621"/>
                </a:lnTo>
                <a:lnTo>
                  <a:pt x="653" y="613"/>
                </a:lnTo>
                <a:lnTo>
                  <a:pt x="648" y="608"/>
                </a:lnTo>
                <a:lnTo>
                  <a:pt x="643" y="608"/>
                </a:lnTo>
                <a:lnTo>
                  <a:pt x="641" y="608"/>
                </a:lnTo>
                <a:lnTo>
                  <a:pt x="638" y="608"/>
                </a:lnTo>
                <a:lnTo>
                  <a:pt x="648" y="613"/>
                </a:lnTo>
                <a:lnTo>
                  <a:pt x="656" y="621"/>
                </a:lnTo>
                <a:lnTo>
                  <a:pt x="656" y="623"/>
                </a:lnTo>
                <a:lnTo>
                  <a:pt x="653" y="618"/>
                </a:lnTo>
                <a:lnTo>
                  <a:pt x="643" y="613"/>
                </a:lnTo>
                <a:lnTo>
                  <a:pt x="638" y="610"/>
                </a:lnTo>
                <a:lnTo>
                  <a:pt x="633" y="610"/>
                </a:lnTo>
                <a:lnTo>
                  <a:pt x="630" y="610"/>
                </a:lnTo>
                <a:lnTo>
                  <a:pt x="633" y="608"/>
                </a:lnTo>
                <a:lnTo>
                  <a:pt x="635" y="608"/>
                </a:lnTo>
                <a:lnTo>
                  <a:pt x="635" y="605"/>
                </a:lnTo>
                <a:lnTo>
                  <a:pt x="630" y="605"/>
                </a:lnTo>
                <a:lnTo>
                  <a:pt x="628" y="608"/>
                </a:lnTo>
                <a:lnTo>
                  <a:pt x="628" y="603"/>
                </a:lnTo>
                <a:lnTo>
                  <a:pt x="625" y="603"/>
                </a:lnTo>
                <a:lnTo>
                  <a:pt x="617" y="608"/>
                </a:lnTo>
                <a:lnTo>
                  <a:pt x="617" y="610"/>
                </a:lnTo>
                <a:lnTo>
                  <a:pt x="623" y="610"/>
                </a:lnTo>
                <a:lnTo>
                  <a:pt x="628" y="610"/>
                </a:lnTo>
                <a:lnTo>
                  <a:pt x="628" y="613"/>
                </a:lnTo>
                <a:lnTo>
                  <a:pt x="625" y="613"/>
                </a:lnTo>
                <a:lnTo>
                  <a:pt x="617" y="613"/>
                </a:lnTo>
                <a:lnTo>
                  <a:pt x="612" y="613"/>
                </a:lnTo>
                <a:lnTo>
                  <a:pt x="602" y="621"/>
                </a:lnTo>
                <a:lnTo>
                  <a:pt x="597" y="621"/>
                </a:lnTo>
                <a:lnTo>
                  <a:pt x="579" y="626"/>
                </a:lnTo>
                <a:lnTo>
                  <a:pt x="574" y="628"/>
                </a:lnTo>
                <a:lnTo>
                  <a:pt x="558" y="621"/>
                </a:lnTo>
                <a:lnTo>
                  <a:pt x="551" y="618"/>
                </a:lnTo>
                <a:lnTo>
                  <a:pt x="538" y="618"/>
                </a:lnTo>
                <a:lnTo>
                  <a:pt x="528" y="613"/>
                </a:lnTo>
                <a:lnTo>
                  <a:pt x="523" y="608"/>
                </a:lnTo>
                <a:lnTo>
                  <a:pt x="520" y="610"/>
                </a:lnTo>
                <a:lnTo>
                  <a:pt x="515" y="608"/>
                </a:lnTo>
                <a:lnTo>
                  <a:pt x="507" y="605"/>
                </a:lnTo>
                <a:lnTo>
                  <a:pt x="502" y="597"/>
                </a:lnTo>
                <a:lnTo>
                  <a:pt x="500" y="597"/>
                </a:lnTo>
                <a:lnTo>
                  <a:pt x="494" y="600"/>
                </a:lnTo>
                <a:lnTo>
                  <a:pt x="487" y="595"/>
                </a:lnTo>
                <a:lnTo>
                  <a:pt x="479" y="595"/>
                </a:lnTo>
                <a:lnTo>
                  <a:pt x="474" y="587"/>
                </a:lnTo>
                <a:lnTo>
                  <a:pt x="466" y="585"/>
                </a:lnTo>
                <a:lnTo>
                  <a:pt x="451" y="582"/>
                </a:lnTo>
                <a:lnTo>
                  <a:pt x="438" y="577"/>
                </a:lnTo>
                <a:lnTo>
                  <a:pt x="430" y="567"/>
                </a:lnTo>
                <a:lnTo>
                  <a:pt x="425" y="567"/>
                </a:lnTo>
                <a:lnTo>
                  <a:pt x="410" y="551"/>
                </a:lnTo>
                <a:lnTo>
                  <a:pt x="407" y="549"/>
                </a:lnTo>
                <a:lnTo>
                  <a:pt x="405" y="549"/>
                </a:lnTo>
                <a:lnTo>
                  <a:pt x="402" y="551"/>
                </a:lnTo>
                <a:lnTo>
                  <a:pt x="397" y="551"/>
                </a:lnTo>
                <a:lnTo>
                  <a:pt x="384" y="546"/>
                </a:lnTo>
                <a:lnTo>
                  <a:pt x="382" y="546"/>
                </a:lnTo>
                <a:lnTo>
                  <a:pt x="374" y="544"/>
                </a:lnTo>
                <a:lnTo>
                  <a:pt x="371" y="544"/>
                </a:lnTo>
                <a:lnTo>
                  <a:pt x="366" y="541"/>
                </a:lnTo>
                <a:lnTo>
                  <a:pt x="361" y="533"/>
                </a:lnTo>
                <a:lnTo>
                  <a:pt x="356" y="526"/>
                </a:lnTo>
                <a:lnTo>
                  <a:pt x="348" y="518"/>
                </a:lnTo>
                <a:lnTo>
                  <a:pt x="341" y="515"/>
                </a:lnTo>
                <a:lnTo>
                  <a:pt x="341" y="513"/>
                </a:lnTo>
                <a:lnTo>
                  <a:pt x="343" y="510"/>
                </a:lnTo>
                <a:lnTo>
                  <a:pt x="341" y="508"/>
                </a:lnTo>
                <a:lnTo>
                  <a:pt x="333" y="510"/>
                </a:lnTo>
                <a:lnTo>
                  <a:pt x="323" y="508"/>
                </a:lnTo>
                <a:lnTo>
                  <a:pt x="320" y="503"/>
                </a:lnTo>
                <a:lnTo>
                  <a:pt x="317" y="503"/>
                </a:lnTo>
                <a:lnTo>
                  <a:pt x="312" y="500"/>
                </a:lnTo>
                <a:lnTo>
                  <a:pt x="312" y="492"/>
                </a:lnTo>
                <a:lnTo>
                  <a:pt x="305" y="485"/>
                </a:lnTo>
                <a:lnTo>
                  <a:pt x="305" y="482"/>
                </a:lnTo>
                <a:lnTo>
                  <a:pt x="302" y="477"/>
                </a:lnTo>
                <a:lnTo>
                  <a:pt x="297" y="467"/>
                </a:lnTo>
                <a:lnTo>
                  <a:pt x="297" y="464"/>
                </a:lnTo>
                <a:lnTo>
                  <a:pt x="302" y="461"/>
                </a:lnTo>
                <a:lnTo>
                  <a:pt x="307" y="461"/>
                </a:lnTo>
                <a:lnTo>
                  <a:pt x="310" y="459"/>
                </a:lnTo>
                <a:lnTo>
                  <a:pt x="307" y="454"/>
                </a:lnTo>
                <a:lnTo>
                  <a:pt x="305" y="454"/>
                </a:lnTo>
                <a:lnTo>
                  <a:pt x="305" y="451"/>
                </a:lnTo>
                <a:lnTo>
                  <a:pt x="312" y="443"/>
                </a:lnTo>
                <a:lnTo>
                  <a:pt x="315" y="438"/>
                </a:lnTo>
                <a:lnTo>
                  <a:pt x="315" y="431"/>
                </a:lnTo>
                <a:lnTo>
                  <a:pt x="307" y="415"/>
                </a:lnTo>
                <a:lnTo>
                  <a:pt x="305" y="405"/>
                </a:lnTo>
                <a:lnTo>
                  <a:pt x="302" y="400"/>
                </a:lnTo>
                <a:lnTo>
                  <a:pt x="305" y="395"/>
                </a:lnTo>
                <a:lnTo>
                  <a:pt x="305" y="390"/>
                </a:lnTo>
                <a:lnTo>
                  <a:pt x="292" y="374"/>
                </a:lnTo>
                <a:lnTo>
                  <a:pt x="292" y="369"/>
                </a:lnTo>
                <a:lnTo>
                  <a:pt x="282" y="359"/>
                </a:lnTo>
                <a:lnTo>
                  <a:pt x="274" y="346"/>
                </a:lnTo>
                <a:lnTo>
                  <a:pt x="266" y="333"/>
                </a:lnTo>
                <a:lnTo>
                  <a:pt x="256" y="325"/>
                </a:lnTo>
                <a:lnTo>
                  <a:pt x="253" y="323"/>
                </a:lnTo>
                <a:lnTo>
                  <a:pt x="253" y="320"/>
                </a:lnTo>
                <a:lnTo>
                  <a:pt x="246" y="315"/>
                </a:lnTo>
                <a:lnTo>
                  <a:pt x="238" y="313"/>
                </a:lnTo>
                <a:lnTo>
                  <a:pt x="238" y="310"/>
                </a:lnTo>
                <a:lnTo>
                  <a:pt x="243" y="310"/>
                </a:lnTo>
                <a:lnTo>
                  <a:pt x="246" y="302"/>
                </a:lnTo>
                <a:lnTo>
                  <a:pt x="243" y="300"/>
                </a:lnTo>
                <a:lnTo>
                  <a:pt x="241" y="295"/>
                </a:lnTo>
                <a:lnTo>
                  <a:pt x="238" y="290"/>
                </a:lnTo>
                <a:lnTo>
                  <a:pt x="235" y="290"/>
                </a:lnTo>
                <a:lnTo>
                  <a:pt x="228" y="290"/>
                </a:lnTo>
                <a:lnTo>
                  <a:pt x="215" y="279"/>
                </a:lnTo>
                <a:lnTo>
                  <a:pt x="212" y="277"/>
                </a:lnTo>
                <a:lnTo>
                  <a:pt x="207" y="274"/>
                </a:lnTo>
                <a:lnTo>
                  <a:pt x="202" y="272"/>
                </a:lnTo>
                <a:lnTo>
                  <a:pt x="200" y="266"/>
                </a:lnTo>
                <a:lnTo>
                  <a:pt x="202" y="256"/>
                </a:lnTo>
                <a:lnTo>
                  <a:pt x="210" y="251"/>
                </a:lnTo>
                <a:lnTo>
                  <a:pt x="212" y="248"/>
                </a:lnTo>
                <a:lnTo>
                  <a:pt x="215" y="254"/>
                </a:lnTo>
                <a:lnTo>
                  <a:pt x="217" y="248"/>
                </a:lnTo>
                <a:lnTo>
                  <a:pt x="217" y="246"/>
                </a:lnTo>
                <a:lnTo>
                  <a:pt x="215" y="243"/>
                </a:lnTo>
                <a:lnTo>
                  <a:pt x="215" y="246"/>
                </a:lnTo>
                <a:lnTo>
                  <a:pt x="210" y="243"/>
                </a:lnTo>
                <a:lnTo>
                  <a:pt x="210" y="238"/>
                </a:lnTo>
                <a:lnTo>
                  <a:pt x="202" y="233"/>
                </a:lnTo>
                <a:lnTo>
                  <a:pt x="197" y="233"/>
                </a:lnTo>
                <a:lnTo>
                  <a:pt x="192" y="230"/>
                </a:lnTo>
                <a:lnTo>
                  <a:pt x="189" y="225"/>
                </a:lnTo>
                <a:lnTo>
                  <a:pt x="192" y="220"/>
                </a:lnTo>
                <a:lnTo>
                  <a:pt x="187" y="218"/>
                </a:lnTo>
                <a:lnTo>
                  <a:pt x="184" y="220"/>
                </a:lnTo>
                <a:lnTo>
                  <a:pt x="174" y="210"/>
                </a:lnTo>
                <a:lnTo>
                  <a:pt x="171" y="202"/>
                </a:lnTo>
                <a:lnTo>
                  <a:pt x="174" y="197"/>
                </a:lnTo>
                <a:lnTo>
                  <a:pt x="174" y="189"/>
                </a:lnTo>
                <a:lnTo>
                  <a:pt x="171" y="187"/>
                </a:lnTo>
                <a:lnTo>
                  <a:pt x="166" y="189"/>
                </a:lnTo>
                <a:lnTo>
                  <a:pt x="164" y="187"/>
                </a:lnTo>
                <a:lnTo>
                  <a:pt x="161" y="187"/>
                </a:lnTo>
                <a:lnTo>
                  <a:pt x="158" y="184"/>
                </a:lnTo>
                <a:lnTo>
                  <a:pt x="156" y="182"/>
                </a:lnTo>
                <a:lnTo>
                  <a:pt x="153" y="177"/>
                </a:lnTo>
                <a:lnTo>
                  <a:pt x="151" y="169"/>
                </a:lnTo>
                <a:lnTo>
                  <a:pt x="146" y="166"/>
                </a:lnTo>
                <a:lnTo>
                  <a:pt x="143" y="164"/>
                </a:lnTo>
                <a:lnTo>
                  <a:pt x="143" y="156"/>
                </a:lnTo>
                <a:lnTo>
                  <a:pt x="141" y="151"/>
                </a:lnTo>
                <a:lnTo>
                  <a:pt x="135" y="151"/>
                </a:lnTo>
                <a:lnTo>
                  <a:pt x="133" y="141"/>
                </a:lnTo>
                <a:lnTo>
                  <a:pt x="130" y="136"/>
                </a:lnTo>
                <a:lnTo>
                  <a:pt x="128" y="136"/>
                </a:lnTo>
                <a:lnTo>
                  <a:pt x="128" y="133"/>
                </a:lnTo>
                <a:lnTo>
                  <a:pt x="128" y="130"/>
                </a:lnTo>
                <a:lnTo>
                  <a:pt x="128" y="125"/>
                </a:lnTo>
                <a:lnTo>
                  <a:pt x="120" y="115"/>
                </a:lnTo>
                <a:lnTo>
                  <a:pt x="120" y="110"/>
                </a:lnTo>
                <a:lnTo>
                  <a:pt x="120" y="105"/>
                </a:lnTo>
                <a:lnTo>
                  <a:pt x="120" y="100"/>
                </a:lnTo>
                <a:lnTo>
                  <a:pt x="117" y="94"/>
                </a:lnTo>
                <a:lnTo>
                  <a:pt x="115" y="82"/>
                </a:lnTo>
                <a:lnTo>
                  <a:pt x="112" y="74"/>
                </a:lnTo>
                <a:lnTo>
                  <a:pt x="112" y="69"/>
                </a:lnTo>
                <a:lnTo>
                  <a:pt x="115" y="64"/>
                </a:lnTo>
                <a:lnTo>
                  <a:pt x="115" y="61"/>
                </a:lnTo>
                <a:lnTo>
                  <a:pt x="110" y="59"/>
                </a:lnTo>
                <a:lnTo>
                  <a:pt x="102" y="59"/>
                </a:lnTo>
                <a:lnTo>
                  <a:pt x="102" y="53"/>
                </a:lnTo>
                <a:lnTo>
                  <a:pt x="97" y="48"/>
                </a:lnTo>
                <a:lnTo>
                  <a:pt x="92" y="51"/>
                </a:lnTo>
                <a:lnTo>
                  <a:pt x="87" y="53"/>
                </a:lnTo>
                <a:lnTo>
                  <a:pt x="84" y="48"/>
                </a:lnTo>
                <a:lnTo>
                  <a:pt x="79" y="41"/>
                </a:lnTo>
                <a:lnTo>
                  <a:pt x="71" y="35"/>
                </a:lnTo>
                <a:lnTo>
                  <a:pt x="66" y="30"/>
                </a:lnTo>
                <a:lnTo>
                  <a:pt x="69" y="35"/>
                </a:lnTo>
                <a:lnTo>
                  <a:pt x="69" y="43"/>
                </a:lnTo>
                <a:lnTo>
                  <a:pt x="66" y="53"/>
                </a:lnTo>
                <a:lnTo>
                  <a:pt x="64" y="61"/>
                </a:lnTo>
                <a:lnTo>
                  <a:pt x="66" y="74"/>
                </a:lnTo>
                <a:lnTo>
                  <a:pt x="66" y="94"/>
                </a:lnTo>
                <a:lnTo>
                  <a:pt x="64" y="100"/>
                </a:lnTo>
                <a:lnTo>
                  <a:pt x="66" y="105"/>
                </a:lnTo>
                <a:lnTo>
                  <a:pt x="71" y="112"/>
                </a:lnTo>
                <a:lnTo>
                  <a:pt x="71" y="120"/>
                </a:lnTo>
                <a:lnTo>
                  <a:pt x="74" y="120"/>
                </a:lnTo>
                <a:lnTo>
                  <a:pt x="76" y="125"/>
                </a:lnTo>
                <a:lnTo>
                  <a:pt x="87" y="130"/>
                </a:lnTo>
                <a:lnTo>
                  <a:pt x="87" y="138"/>
                </a:lnTo>
                <a:lnTo>
                  <a:pt x="87" y="143"/>
                </a:lnTo>
                <a:lnTo>
                  <a:pt x="89" y="148"/>
                </a:lnTo>
                <a:lnTo>
                  <a:pt x="94" y="151"/>
                </a:lnTo>
                <a:lnTo>
                  <a:pt x="97" y="156"/>
                </a:lnTo>
                <a:lnTo>
                  <a:pt x="100" y="161"/>
                </a:lnTo>
                <a:lnTo>
                  <a:pt x="100" y="164"/>
                </a:lnTo>
                <a:lnTo>
                  <a:pt x="105" y="166"/>
                </a:lnTo>
                <a:lnTo>
                  <a:pt x="110" y="174"/>
                </a:lnTo>
                <a:lnTo>
                  <a:pt x="110" y="179"/>
                </a:lnTo>
                <a:lnTo>
                  <a:pt x="110" y="187"/>
                </a:lnTo>
                <a:lnTo>
                  <a:pt x="115" y="192"/>
                </a:lnTo>
                <a:lnTo>
                  <a:pt x="117" y="195"/>
                </a:lnTo>
                <a:lnTo>
                  <a:pt x="123" y="202"/>
                </a:lnTo>
                <a:lnTo>
                  <a:pt x="125" y="215"/>
                </a:lnTo>
                <a:lnTo>
                  <a:pt x="128" y="215"/>
                </a:lnTo>
                <a:lnTo>
                  <a:pt x="130" y="218"/>
                </a:lnTo>
                <a:lnTo>
                  <a:pt x="128" y="223"/>
                </a:lnTo>
                <a:lnTo>
                  <a:pt x="128" y="225"/>
                </a:lnTo>
                <a:lnTo>
                  <a:pt x="133" y="236"/>
                </a:lnTo>
                <a:lnTo>
                  <a:pt x="135" y="233"/>
                </a:lnTo>
                <a:lnTo>
                  <a:pt x="135" y="230"/>
                </a:lnTo>
                <a:lnTo>
                  <a:pt x="135" y="228"/>
                </a:lnTo>
                <a:lnTo>
                  <a:pt x="138" y="228"/>
                </a:lnTo>
                <a:lnTo>
                  <a:pt x="141" y="233"/>
                </a:lnTo>
                <a:lnTo>
                  <a:pt x="143" y="238"/>
                </a:lnTo>
                <a:lnTo>
                  <a:pt x="146" y="251"/>
                </a:lnTo>
                <a:lnTo>
                  <a:pt x="143" y="254"/>
                </a:lnTo>
                <a:lnTo>
                  <a:pt x="146" y="261"/>
                </a:lnTo>
                <a:lnTo>
                  <a:pt x="146" y="266"/>
                </a:lnTo>
                <a:lnTo>
                  <a:pt x="146" y="272"/>
                </a:lnTo>
                <a:lnTo>
                  <a:pt x="151" y="274"/>
                </a:lnTo>
                <a:lnTo>
                  <a:pt x="151" y="279"/>
                </a:lnTo>
                <a:lnTo>
                  <a:pt x="153" y="284"/>
                </a:lnTo>
                <a:lnTo>
                  <a:pt x="153" y="287"/>
                </a:lnTo>
                <a:lnTo>
                  <a:pt x="151" y="292"/>
                </a:lnTo>
                <a:lnTo>
                  <a:pt x="156" y="297"/>
                </a:lnTo>
                <a:lnTo>
                  <a:pt x="156" y="305"/>
                </a:lnTo>
                <a:lnTo>
                  <a:pt x="153" y="310"/>
                </a:lnTo>
                <a:lnTo>
                  <a:pt x="153" y="315"/>
                </a:lnTo>
                <a:lnTo>
                  <a:pt x="158" y="320"/>
                </a:lnTo>
                <a:lnTo>
                  <a:pt x="164" y="325"/>
                </a:lnTo>
                <a:lnTo>
                  <a:pt x="166" y="328"/>
                </a:lnTo>
                <a:lnTo>
                  <a:pt x="169" y="328"/>
                </a:lnTo>
                <a:lnTo>
                  <a:pt x="169" y="323"/>
                </a:lnTo>
                <a:lnTo>
                  <a:pt x="171" y="323"/>
                </a:lnTo>
                <a:lnTo>
                  <a:pt x="176" y="328"/>
                </a:lnTo>
                <a:lnTo>
                  <a:pt x="176" y="331"/>
                </a:lnTo>
                <a:lnTo>
                  <a:pt x="182" y="336"/>
                </a:lnTo>
                <a:lnTo>
                  <a:pt x="184" y="341"/>
                </a:lnTo>
                <a:lnTo>
                  <a:pt x="187" y="343"/>
                </a:lnTo>
                <a:lnTo>
                  <a:pt x="189" y="349"/>
                </a:lnTo>
                <a:lnTo>
                  <a:pt x="192" y="351"/>
                </a:lnTo>
                <a:lnTo>
                  <a:pt x="192" y="359"/>
                </a:lnTo>
                <a:lnTo>
                  <a:pt x="187" y="369"/>
                </a:lnTo>
                <a:lnTo>
                  <a:pt x="176" y="372"/>
                </a:lnTo>
                <a:lnTo>
                  <a:pt x="174" y="372"/>
                </a:lnTo>
                <a:lnTo>
                  <a:pt x="171" y="364"/>
                </a:lnTo>
                <a:lnTo>
                  <a:pt x="171" y="359"/>
                </a:lnTo>
                <a:lnTo>
                  <a:pt x="166" y="356"/>
                </a:lnTo>
                <a:lnTo>
                  <a:pt x="166" y="349"/>
                </a:lnTo>
                <a:lnTo>
                  <a:pt x="164" y="343"/>
                </a:lnTo>
                <a:lnTo>
                  <a:pt x="156" y="343"/>
                </a:lnTo>
                <a:lnTo>
                  <a:pt x="151" y="338"/>
                </a:lnTo>
                <a:lnTo>
                  <a:pt x="148" y="333"/>
                </a:lnTo>
                <a:lnTo>
                  <a:pt x="146" y="331"/>
                </a:lnTo>
                <a:lnTo>
                  <a:pt x="130" y="318"/>
                </a:lnTo>
                <a:lnTo>
                  <a:pt x="128" y="310"/>
                </a:lnTo>
                <a:lnTo>
                  <a:pt x="123" y="310"/>
                </a:lnTo>
                <a:lnTo>
                  <a:pt x="120" y="305"/>
                </a:lnTo>
                <a:lnTo>
                  <a:pt x="117" y="307"/>
                </a:lnTo>
                <a:lnTo>
                  <a:pt x="112" y="302"/>
                </a:lnTo>
                <a:lnTo>
                  <a:pt x="112" y="297"/>
                </a:lnTo>
                <a:lnTo>
                  <a:pt x="117" y="287"/>
                </a:lnTo>
                <a:lnTo>
                  <a:pt x="117" y="277"/>
                </a:lnTo>
                <a:lnTo>
                  <a:pt x="117" y="264"/>
                </a:lnTo>
                <a:lnTo>
                  <a:pt x="112" y="254"/>
                </a:lnTo>
                <a:lnTo>
                  <a:pt x="110" y="248"/>
                </a:lnTo>
                <a:lnTo>
                  <a:pt x="107" y="248"/>
                </a:lnTo>
                <a:lnTo>
                  <a:pt x="102" y="246"/>
                </a:lnTo>
                <a:lnTo>
                  <a:pt x="92" y="236"/>
                </a:lnTo>
                <a:lnTo>
                  <a:pt x="89" y="225"/>
                </a:lnTo>
                <a:lnTo>
                  <a:pt x="92" y="220"/>
                </a:lnTo>
                <a:lnTo>
                  <a:pt x="89" y="220"/>
                </a:lnTo>
                <a:lnTo>
                  <a:pt x="84" y="228"/>
                </a:lnTo>
                <a:lnTo>
                  <a:pt x="82" y="228"/>
                </a:lnTo>
                <a:lnTo>
                  <a:pt x="76" y="228"/>
                </a:lnTo>
                <a:lnTo>
                  <a:pt x="74" y="225"/>
                </a:lnTo>
                <a:lnTo>
                  <a:pt x="74" y="223"/>
                </a:lnTo>
                <a:lnTo>
                  <a:pt x="71" y="220"/>
                </a:lnTo>
                <a:lnTo>
                  <a:pt x="66" y="220"/>
                </a:lnTo>
                <a:lnTo>
                  <a:pt x="66" y="218"/>
                </a:lnTo>
                <a:lnTo>
                  <a:pt x="58" y="215"/>
                </a:lnTo>
                <a:lnTo>
                  <a:pt x="53" y="213"/>
                </a:lnTo>
                <a:lnTo>
                  <a:pt x="51" y="207"/>
                </a:lnTo>
                <a:lnTo>
                  <a:pt x="51" y="200"/>
                </a:lnTo>
                <a:lnTo>
                  <a:pt x="46" y="197"/>
                </a:lnTo>
                <a:lnTo>
                  <a:pt x="38" y="189"/>
                </a:lnTo>
                <a:lnTo>
                  <a:pt x="41" y="187"/>
                </a:lnTo>
                <a:lnTo>
                  <a:pt x="48" y="187"/>
                </a:lnTo>
                <a:lnTo>
                  <a:pt x="53" y="189"/>
                </a:lnTo>
                <a:lnTo>
                  <a:pt x="61" y="189"/>
                </a:lnTo>
                <a:lnTo>
                  <a:pt x="66" y="192"/>
                </a:lnTo>
                <a:lnTo>
                  <a:pt x="66" y="189"/>
                </a:lnTo>
                <a:lnTo>
                  <a:pt x="69" y="187"/>
                </a:lnTo>
                <a:lnTo>
                  <a:pt x="64" y="184"/>
                </a:lnTo>
                <a:lnTo>
                  <a:pt x="66" y="179"/>
                </a:lnTo>
                <a:lnTo>
                  <a:pt x="69" y="182"/>
                </a:lnTo>
                <a:lnTo>
                  <a:pt x="71" y="177"/>
                </a:lnTo>
                <a:lnTo>
                  <a:pt x="69" y="174"/>
                </a:lnTo>
                <a:lnTo>
                  <a:pt x="69" y="169"/>
                </a:lnTo>
                <a:lnTo>
                  <a:pt x="71" y="166"/>
                </a:lnTo>
                <a:lnTo>
                  <a:pt x="69" y="159"/>
                </a:lnTo>
                <a:lnTo>
                  <a:pt x="66" y="156"/>
                </a:lnTo>
                <a:lnTo>
                  <a:pt x="64" y="148"/>
                </a:lnTo>
                <a:lnTo>
                  <a:pt x="56" y="141"/>
                </a:lnTo>
                <a:lnTo>
                  <a:pt x="53" y="136"/>
                </a:lnTo>
                <a:lnTo>
                  <a:pt x="48" y="128"/>
                </a:lnTo>
                <a:lnTo>
                  <a:pt x="41" y="120"/>
                </a:lnTo>
                <a:lnTo>
                  <a:pt x="35" y="120"/>
                </a:lnTo>
                <a:lnTo>
                  <a:pt x="30" y="115"/>
                </a:lnTo>
                <a:lnTo>
                  <a:pt x="28" y="107"/>
                </a:lnTo>
                <a:lnTo>
                  <a:pt x="28" y="97"/>
                </a:lnTo>
                <a:lnTo>
                  <a:pt x="25" y="92"/>
                </a:lnTo>
                <a:lnTo>
                  <a:pt x="23" y="89"/>
                </a:lnTo>
                <a:lnTo>
                  <a:pt x="23" y="82"/>
                </a:lnTo>
                <a:lnTo>
                  <a:pt x="25" y="79"/>
                </a:lnTo>
                <a:lnTo>
                  <a:pt x="23" y="74"/>
                </a:lnTo>
                <a:lnTo>
                  <a:pt x="17" y="69"/>
                </a:lnTo>
                <a:lnTo>
                  <a:pt x="15" y="64"/>
                </a:lnTo>
                <a:lnTo>
                  <a:pt x="17" y="61"/>
                </a:lnTo>
                <a:lnTo>
                  <a:pt x="17" y="59"/>
                </a:lnTo>
                <a:lnTo>
                  <a:pt x="10" y="48"/>
                </a:lnTo>
                <a:lnTo>
                  <a:pt x="7" y="43"/>
                </a:lnTo>
                <a:lnTo>
                  <a:pt x="10" y="38"/>
                </a:lnTo>
                <a:lnTo>
                  <a:pt x="12" y="35"/>
                </a:lnTo>
                <a:lnTo>
                  <a:pt x="7" y="30"/>
                </a:lnTo>
                <a:lnTo>
                  <a:pt x="5" y="25"/>
                </a:lnTo>
                <a:lnTo>
                  <a:pt x="0" y="7"/>
                </a:lnTo>
                <a:lnTo>
                  <a:pt x="0" y="0"/>
                </a:lnTo>
                <a:close/>
                <a:moveTo>
                  <a:pt x="161" y="302"/>
                </a:moveTo>
                <a:lnTo>
                  <a:pt x="164" y="300"/>
                </a:lnTo>
                <a:lnTo>
                  <a:pt x="164" y="295"/>
                </a:lnTo>
                <a:lnTo>
                  <a:pt x="161" y="290"/>
                </a:lnTo>
                <a:lnTo>
                  <a:pt x="158" y="292"/>
                </a:lnTo>
                <a:lnTo>
                  <a:pt x="161" y="295"/>
                </a:lnTo>
                <a:lnTo>
                  <a:pt x="161" y="302"/>
                </a:lnTo>
                <a:close/>
                <a:moveTo>
                  <a:pt x="166" y="315"/>
                </a:moveTo>
                <a:lnTo>
                  <a:pt x="166" y="320"/>
                </a:lnTo>
                <a:lnTo>
                  <a:pt x="169" y="320"/>
                </a:lnTo>
                <a:lnTo>
                  <a:pt x="169" y="315"/>
                </a:lnTo>
                <a:lnTo>
                  <a:pt x="166" y="315"/>
                </a:lnTo>
                <a:close/>
                <a:moveTo>
                  <a:pt x="566" y="305"/>
                </a:moveTo>
                <a:lnTo>
                  <a:pt x="569" y="305"/>
                </a:lnTo>
                <a:lnTo>
                  <a:pt x="571" y="302"/>
                </a:lnTo>
                <a:lnTo>
                  <a:pt x="569" y="302"/>
                </a:lnTo>
                <a:lnTo>
                  <a:pt x="566" y="305"/>
                </a:lnTo>
                <a:close/>
                <a:moveTo>
                  <a:pt x="566" y="313"/>
                </a:moveTo>
                <a:lnTo>
                  <a:pt x="566" y="315"/>
                </a:lnTo>
                <a:lnTo>
                  <a:pt x="569" y="310"/>
                </a:lnTo>
                <a:lnTo>
                  <a:pt x="566" y="310"/>
                </a:lnTo>
                <a:lnTo>
                  <a:pt x="566" y="313"/>
                </a:lnTo>
                <a:close/>
                <a:moveTo>
                  <a:pt x="561" y="328"/>
                </a:moveTo>
                <a:lnTo>
                  <a:pt x="566" y="323"/>
                </a:lnTo>
                <a:lnTo>
                  <a:pt x="566" y="318"/>
                </a:lnTo>
                <a:lnTo>
                  <a:pt x="561" y="328"/>
                </a:lnTo>
                <a:close/>
              </a:path>
            </a:pathLst>
          </a:custGeom>
          <a:solidFill>
            <a:schemeClr val="tx1">
              <a:alpha val="15000"/>
            </a:schemeClr>
          </a:solidFill>
          <a:ln>
            <a:noFill/>
          </a:ln>
        </p:spPr>
        <p:txBody>
          <a:bodyPr/>
          <a:lstStyle/>
          <a:p>
            <a:endParaRPr lang="en-US" dirty="0">
              <a:latin typeface="RBC Text" panose="02000000000000000000" pitchFamily="2" charset="77"/>
            </a:endParaRPr>
          </a:p>
        </p:txBody>
      </p:sp>
      <p:sp>
        <p:nvSpPr>
          <p:cNvPr id="20" name="Rectangle 24"/>
          <p:cNvSpPr>
            <a:spLocks noChangeArrowheads="1"/>
          </p:cNvSpPr>
          <p:nvPr/>
        </p:nvSpPr>
        <p:spPr bwMode="auto">
          <a:xfrm>
            <a:off x="7825694" y="3053217"/>
            <a:ext cx="41036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1000" b="1" spc="-150" dirty="0">
                <a:solidFill>
                  <a:srgbClr val="FFFFFF"/>
                </a:solidFill>
                <a:latin typeface="RBC Display" panose="02000000000000000000" pitchFamily="2" charset="77"/>
                <a:ea typeface="Open Sans" charset="0"/>
                <a:cs typeface="Open Sans" charset="0"/>
              </a:rPr>
              <a:t>C a n a d a</a:t>
            </a:r>
          </a:p>
        </p:txBody>
      </p:sp>
      <p:sp>
        <p:nvSpPr>
          <p:cNvPr id="36" name="Rectangle 40"/>
          <p:cNvSpPr>
            <a:spLocks noChangeArrowheads="1"/>
          </p:cNvSpPr>
          <p:nvPr/>
        </p:nvSpPr>
        <p:spPr bwMode="auto">
          <a:xfrm>
            <a:off x="7711394" y="4621667"/>
            <a:ext cx="149560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1000" b="1" dirty="0">
                <a:solidFill>
                  <a:srgbClr val="FFFFFF"/>
                </a:solidFill>
                <a:latin typeface="RBC Display" panose="02000000000000000000" pitchFamily="2" charset="77"/>
                <a:ea typeface="Open Sans" charset="0"/>
                <a:cs typeface="Open Sans" charset="0"/>
              </a:rPr>
              <a:t>United states of </a:t>
            </a:r>
            <a:r>
              <a:rPr lang="en-US" altLang="en-US" sz="1000" b="1" dirty="0" err="1">
                <a:solidFill>
                  <a:srgbClr val="FFFFFF"/>
                </a:solidFill>
                <a:latin typeface="RBC Display" panose="02000000000000000000" pitchFamily="2" charset="77"/>
                <a:ea typeface="Open Sans" charset="0"/>
                <a:cs typeface="Open Sans" charset="0"/>
              </a:rPr>
              <a:t>america</a:t>
            </a:r>
            <a:endParaRPr lang="en-US" altLang="en-US" sz="1000" b="1" dirty="0">
              <a:solidFill>
                <a:srgbClr val="FFFFFF"/>
              </a:solidFill>
              <a:latin typeface="RBC Display" panose="02000000000000000000" pitchFamily="2" charset="77"/>
              <a:ea typeface="Open Sans" charset="0"/>
              <a:cs typeface="Open Sans" charset="0"/>
            </a:endParaRPr>
          </a:p>
        </p:txBody>
      </p:sp>
      <p:sp>
        <p:nvSpPr>
          <p:cNvPr id="30" name="TextBox 29"/>
          <p:cNvSpPr txBox="1"/>
          <p:nvPr/>
        </p:nvSpPr>
        <p:spPr>
          <a:xfrm>
            <a:off x="1124224" y="4133841"/>
            <a:ext cx="668581" cy="276999"/>
          </a:xfrm>
          <a:prstGeom prst="rect">
            <a:avLst/>
          </a:prstGeom>
          <a:noFill/>
        </p:spPr>
        <p:txBody>
          <a:bodyPr wrap="none" lIns="0" rIns="0" rtlCol="0">
            <a:spAutoFit/>
          </a:bodyPr>
          <a:lstStyle/>
          <a:p>
            <a:r>
              <a:rPr lang="en-US" sz="1200" b="1" dirty="0">
                <a:solidFill>
                  <a:schemeClr val="tx1">
                    <a:alpha val="60000"/>
                  </a:schemeClr>
                </a:solidFill>
                <a:latin typeface="RBC Display" panose="02000000000000000000" pitchFamily="2" charset="77"/>
                <a:ea typeface="Open Sans" charset="0"/>
                <a:cs typeface="Open Sans" charset="0"/>
              </a:rPr>
              <a:t>New York</a:t>
            </a:r>
          </a:p>
        </p:txBody>
      </p:sp>
      <p:sp>
        <p:nvSpPr>
          <p:cNvPr id="31" name="TextBox 30"/>
          <p:cNvSpPr txBox="1"/>
          <p:nvPr/>
        </p:nvSpPr>
        <p:spPr>
          <a:xfrm>
            <a:off x="925164" y="4402261"/>
            <a:ext cx="2677473" cy="526298"/>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a:t>
            </a:r>
          </a:p>
        </p:txBody>
      </p:sp>
      <p:sp>
        <p:nvSpPr>
          <p:cNvPr id="32" name="TextBox 31"/>
          <p:cNvSpPr txBox="1"/>
          <p:nvPr/>
        </p:nvSpPr>
        <p:spPr>
          <a:xfrm>
            <a:off x="917226" y="3726275"/>
            <a:ext cx="904094" cy="461665"/>
          </a:xfrm>
          <a:prstGeom prst="rect">
            <a:avLst/>
          </a:prstGeom>
          <a:noFill/>
        </p:spPr>
        <p:txBody>
          <a:bodyPr wrap="none" lIns="0" rIns="0" rtlCol="0">
            <a:spAutoFit/>
          </a:bodyPr>
          <a:lstStyle/>
          <a:p>
            <a:r>
              <a:rPr lang="en-US" sz="2400" b="1" dirty="0">
                <a:latin typeface="RBC Display" panose="02000000000000000000" pitchFamily="2" charset="77"/>
                <a:ea typeface="Open Sans" charset="0"/>
                <a:cs typeface="Open Sans" charset="0"/>
              </a:rPr>
              <a:t>$500B</a:t>
            </a:r>
          </a:p>
        </p:txBody>
      </p:sp>
      <p:sp>
        <p:nvSpPr>
          <p:cNvPr id="33" name="TextBox 32"/>
          <p:cNvSpPr txBox="1"/>
          <p:nvPr/>
        </p:nvSpPr>
        <p:spPr>
          <a:xfrm>
            <a:off x="1124224" y="5267962"/>
            <a:ext cx="668581" cy="276999"/>
          </a:xfrm>
          <a:prstGeom prst="rect">
            <a:avLst/>
          </a:prstGeom>
          <a:noFill/>
        </p:spPr>
        <p:txBody>
          <a:bodyPr wrap="none" lIns="0" rIns="0" rtlCol="0">
            <a:spAutoFit/>
          </a:bodyPr>
          <a:lstStyle/>
          <a:p>
            <a:r>
              <a:rPr lang="en-US" sz="1200" b="1" dirty="0">
                <a:solidFill>
                  <a:schemeClr val="tx1">
                    <a:alpha val="60000"/>
                  </a:schemeClr>
                </a:solidFill>
                <a:latin typeface="RBC Display" panose="02000000000000000000" pitchFamily="2" charset="77"/>
                <a:ea typeface="Open Sans" charset="0"/>
                <a:cs typeface="Open Sans" charset="0"/>
              </a:rPr>
              <a:t>New York</a:t>
            </a:r>
          </a:p>
        </p:txBody>
      </p:sp>
      <p:sp>
        <p:nvSpPr>
          <p:cNvPr id="34" name="TextBox 33"/>
          <p:cNvSpPr txBox="1"/>
          <p:nvPr/>
        </p:nvSpPr>
        <p:spPr>
          <a:xfrm>
            <a:off x="925164" y="5536382"/>
            <a:ext cx="2677473" cy="526298"/>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a:t>
            </a:r>
          </a:p>
        </p:txBody>
      </p:sp>
      <p:sp>
        <p:nvSpPr>
          <p:cNvPr id="35" name="TextBox 34"/>
          <p:cNvSpPr txBox="1"/>
          <p:nvPr/>
        </p:nvSpPr>
        <p:spPr>
          <a:xfrm>
            <a:off x="917226" y="4860396"/>
            <a:ext cx="913583" cy="461665"/>
          </a:xfrm>
          <a:prstGeom prst="rect">
            <a:avLst/>
          </a:prstGeom>
          <a:noFill/>
        </p:spPr>
        <p:txBody>
          <a:bodyPr wrap="none" lIns="0" rIns="0" rtlCol="0">
            <a:spAutoFit/>
          </a:bodyPr>
          <a:lstStyle/>
          <a:p>
            <a:r>
              <a:rPr lang="en-US" sz="2400" b="1" dirty="0">
                <a:latin typeface="RBC Display" panose="02000000000000000000" pitchFamily="2" charset="77"/>
                <a:ea typeface="Open Sans" charset="0"/>
                <a:cs typeface="Open Sans" charset="0"/>
              </a:rPr>
              <a:t>$340B</a:t>
            </a:r>
          </a:p>
        </p:txBody>
      </p:sp>
      <p:sp>
        <p:nvSpPr>
          <p:cNvPr id="38" name="Oval 37"/>
          <p:cNvSpPr/>
          <p:nvPr/>
        </p:nvSpPr>
        <p:spPr>
          <a:xfrm>
            <a:off x="931904" y="4201192"/>
            <a:ext cx="130546" cy="130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47" name="Oval 46"/>
          <p:cNvSpPr/>
          <p:nvPr/>
        </p:nvSpPr>
        <p:spPr>
          <a:xfrm>
            <a:off x="931904" y="5335620"/>
            <a:ext cx="130546" cy="13054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9" name="Text Placeholder 6">
            <a:extLst>
              <a:ext uri="{FF2B5EF4-FFF2-40B4-BE49-F238E27FC236}">
                <a16:creationId xmlns:a16="http://schemas.microsoft.com/office/drawing/2014/main" id="{116A0971-4E71-7041-8317-D4E34AC89668}"/>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203075711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solidFill>
                  <a:schemeClr val="accent1"/>
                </a:solidFill>
              </a:rPr>
              <a:t>Line</a:t>
            </a:r>
            <a:r>
              <a:rPr lang="en-US"/>
              <a:t> Chart</a:t>
            </a:r>
            <a:br>
              <a:rPr lang="en-US"/>
            </a:br>
            <a:r>
              <a:rPr lang="en-US"/>
              <a:t>Style</a:t>
            </a:r>
            <a:endParaRPr lang="en-US" dirty="0"/>
          </a:p>
        </p:txBody>
      </p:sp>
      <p:graphicFrame>
        <p:nvGraphicFramePr>
          <p:cNvPr id="10" name="Chart 9"/>
          <p:cNvGraphicFramePr/>
          <p:nvPr>
            <p:extLst>
              <p:ext uri="{D42A27DB-BD31-4B8C-83A1-F6EECF244321}">
                <p14:modId xmlns:p14="http://schemas.microsoft.com/office/powerpoint/2010/main" val="1169403683"/>
              </p:ext>
            </p:extLst>
          </p:nvPr>
        </p:nvGraphicFramePr>
        <p:xfrm>
          <a:off x="4572000" y="1384300"/>
          <a:ext cx="6985000" cy="537210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ECCB1BB4-A8C2-FC4C-ADFB-1B2F3002FD4E}"/>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78565219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ustered</a:t>
            </a:r>
            <a:br>
              <a:rPr lang="en-US" dirty="0"/>
            </a:br>
            <a:r>
              <a:rPr lang="en-US" dirty="0"/>
              <a:t>Chart Style</a:t>
            </a:r>
          </a:p>
        </p:txBody>
      </p:sp>
      <p:graphicFrame>
        <p:nvGraphicFramePr>
          <p:cNvPr id="6" name="Chart 5"/>
          <p:cNvGraphicFramePr/>
          <p:nvPr>
            <p:extLst>
              <p:ext uri="{D42A27DB-BD31-4B8C-83A1-F6EECF244321}">
                <p14:modId xmlns:p14="http://schemas.microsoft.com/office/powerpoint/2010/main" val="3042612869"/>
              </p:ext>
            </p:extLst>
          </p:nvPr>
        </p:nvGraphicFramePr>
        <p:xfrm>
          <a:off x="4457700" y="1549656"/>
          <a:ext cx="7010400" cy="501624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15CA9910-A741-6A46-9592-44DBE4747337}"/>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72691238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Clustered</a:t>
            </a:r>
            <a:br>
              <a:rPr lang="en-US" dirty="0"/>
            </a:br>
            <a:r>
              <a:rPr lang="en-US" dirty="0"/>
              <a:t>Chart Style</a:t>
            </a:r>
          </a:p>
        </p:txBody>
      </p:sp>
      <p:graphicFrame>
        <p:nvGraphicFramePr>
          <p:cNvPr id="6" name="Chart 5"/>
          <p:cNvGraphicFramePr/>
          <p:nvPr>
            <p:extLst>
              <p:ext uri="{D42A27DB-BD31-4B8C-83A1-F6EECF244321}">
                <p14:modId xmlns:p14="http://schemas.microsoft.com/office/powerpoint/2010/main" val="1835654093"/>
              </p:ext>
            </p:extLst>
          </p:nvPr>
        </p:nvGraphicFramePr>
        <p:xfrm>
          <a:off x="4508500" y="1549656"/>
          <a:ext cx="7162800" cy="511784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86294D66-0F32-6C41-B25A-81AFF12F8FE1}"/>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97489826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Stacked</a:t>
            </a:r>
            <a:br>
              <a:rPr lang="en-US" dirty="0"/>
            </a:br>
            <a:r>
              <a:rPr lang="en-US" dirty="0"/>
              <a:t>Chart Style</a:t>
            </a:r>
          </a:p>
        </p:txBody>
      </p:sp>
      <p:graphicFrame>
        <p:nvGraphicFramePr>
          <p:cNvPr id="6" name="Chart 5"/>
          <p:cNvGraphicFramePr/>
          <p:nvPr>
            <p:extLst>
              <p:ext uri="{D42A27DB-BD31-4B8C-83A1-F6EECF244321}">
                <p14:modId xmlns:p14="http://schemas.microsoft.com/office/powerpoint/2010/main" val="1682696640"/>
              </p:ext>
            </p:extLst>
          </p:nvPr>
        </p:nvGraphicFramePr>
        <p:xfrm>
          <a:off x="4991100" y="1143000"/>
          <a:ext cx="6616700" cy="571500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523D6A03-0486-6146-8267-CCE9756DF306}"/>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9623464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Stacked</a:t>
            </a:r>
            <a:br>
              <a:rPr lang="en-US" dirty="0"/>
            </a:br>
            <a:r>
              <a:rPr lang="en-US" dirty="0"/>
              <a:t>Bar Style</a:t>
            </a:r>
          </a:p>
        </p:txBody>
      </p:sp>
      <p:graphicFrame>
        <p:nvGraphicFramePr>
          <p:cNvPr id="6" name="Chart 5"/>
          <p:cNvGraphicFramePr/>
          <p:nvPr>
            <p:extLst>
              <p:ext uri="{D42A27DB-BD31-4B8C-83A1-F6EECF244321}">
                <p14:modId xmlns:p14="http://schemas.microsoft.com/office/powerpoint/2010/main" val="190850354"/>
              </p:ext>
            </p:extLst>
          </p:nvPr>
        </p:nvGraphicFramePr>
        <p:xfrm>
          <a:off x="4254500" y="1244600"/>
          <a:ext cx="7353300" cy="561339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491FE9F4-D766-7D45-AEB5-2F2102C99BA5}"/>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0328747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Clustered</a:t>
            </a:r>
            <a:br>
              <a:rPr lang="en-US" dirty="0"/>
            </a:br>
            <a:r>
              <a:rPr lang="en-US" dirty="0"/>
              <a:t>Bar Style</a:t>
            </a:r>
          </a:p>
        </p:txBody>
      </p:sp>
      <p:graphicFrame>
        <p:nvGraphicFramePr>
          <p:cNvPr id="6" name="Chart 5"/>
          <p:cNvGraphicFramePr/>
          <p:nvPr>
            <p:extLst>
              <p:ext uri="{D42A27DB-BD31-4B8C-83A1-F6EECF244321}">
                <p14:modId xmlns:p14="http://schemas.microsoft.com/office/powerpoint/2010/main" val="1413750369"/>
              </p:ext>
            </p:extLst>
          </p:nvPr>
        </p:nvGraphicFramePr>
        <p:xfrm>
          <a:off x="4673601" y="1244600"/>
          <a:ext cx="6756400" cy="561339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14D1CAC5-FE85-AA4B-893B-B0E9060C2564}"/>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78573832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Pie</a:t>
            </a:r>
            <a:r>
              <a:rPr lang="en-US" dirty="0"/>
              <a:t> Chart</a:t>
            </a:r>
            <a:br>
              <a:rPr lang="en-US" dirty="0"/>
            </a:br>
            <a:r>
              <a:rPr lang="en-US" dirty="0"/>
              <a:t>Style</a:t>
            </a:r>
          </a:p>
        </p:txBody>
      </p:sp>
      <p:graphicFrame>
        <p:nvGraphicFramePr>
          <p:cNvPr id="6" name="Chart 5"/>
          <p:cNvGraphicFramePr/>
          <p:nvPr>
            <p:extLst>
              <p:ext uri="{D42A27DB-BD31-4B8C-83A1-F6EECF244321}">
                <p14:modId xmlns:p14="http://schemas.microsoft.com/office/powerpoint/2010/main" val="557048567"/>
              </p:ext>
            </p:extLst>
          </p:nvPr>
        </p:nvGraphicFramePr>
        <p:xfrm>
          <a:off x="4572000" y="626620"/>
          <a:ext cx="6972301" cy="593928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2997B1CF-DF64-B446-AFD6-F58784FA7F2D}"/>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02701564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Area</a:t>
            </a:r>
            <a:r>
              <a:rPr lang="en-US" dirty="0"/>
              <a:t> Chart</a:t>
            </a:r>
            <a:br>
              <a:rPr lang="en-US" dirty="0"/>
            </a:br>
            <a:r>
              <a:rPr lang="en-US" dirty="0"/>
              <a:t>Style</a:t>
            </a:r>
          </a:p>
        </p:txBody>
      </p:sp>
      <p:graphicFrame>
        <p:nvGraphicFramePr>
          <p:cNvPr id="6" name="Chart 5"/>
          <p:cNvGraphicFramePr/>
          <p:nvPr>
            <p:extLst>
              <p:ext uri="{D42A27DB-BD31-4B8C-83A1-F6EECF244321}">
                <p14:modId xmlns:p14="http://schemas.microsoft.com/office/powerpoint/2010/main" val="949293157"/>
              </p:ext>
            </p:extLst>
          </p:nvPr>
        </p:nvGraphicFramePr>
        <p:xfrm>
          <a:off x="4914899" y="1244600"/>
          <a:ext cx="6832601" cy="561339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63CD6CF4-9CCA-A849-9B05-0F5A0AAAAF8F}"/>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72585776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Area</a:t>
            </a:r>
            <a:r>
              <a:rPr lang="en-US" dirty="0"/>
              <a:t> Chart</a:t>
            </a:r>
            <a:br>
              <a:rPr lang="en-US" dirty="0"/>
            </a:br>
            <a:r>
              <a:rPr lang="en-US" dirty="0"/>
              <a:t>Style</a:t>
            </a:r>
          </a:p>
        </p:txBody>
      </p:sp>
      <p:graphicFrame>
        <p:nvGraphicFramePr>
          <p:cNvPr id="6" name="Chart 5"/>
          <p:cNvGraphicFramePr/>
          <p:nvPr>
            <p:extLst>
              <p:ext uri="{D42A27DB-BD31-4B8C-83A1-F6EECF244321}">
                <p14:modId xmlns:p14="http://schemas.microsoft.com/office/powerpoint/2010/main" val="528502004"/>
              </p:ext>
            </p:extLst>
          </p:nvPr>
        </p:nvGraphicFramePr>
        <p:xfrm>
          <a:off x="4914899" y="1244600"/>
          <a:ext cx="6642101" cy="561339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CA39836A-3CBD-4348-B206-2DC47C202A68}"/>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4299035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3" name="Picture Placeholder 2"/>
          <p:cNvSpPr>
            <a:spLocks noGrp="1"/>
          </p:cNvSpPr>
          <p:nvPr>
            <p:ph type="pic" sz="quarter" idx="13"/>
          </p:nvPr>
        </p:nvSpPr>
        <p:spPr/>
        <p:txBody>
          <a:bodyPr/>
          <a:lstStyle/>
          <a:p>
            <a:endParaRPr lang="en-CA"/>
          </a:p>
        </p:txBody>
      </p:sp>
      <p:sp>
        <p:nvSpPr>
          <p:cNvPr id="11" name="Title 10"/>
          <p:cNvSpPr>
            <a:spLocks noGrp="1"/>
          </p:cNvSpPr>
          <p:nvPr>
            <p:ph type="title"/>
          </p:nvPr>
        </p:nvSpPr>
        <p:spPr>
          <a:xfrm>
            <a:off x="913016" y="1255290"/>
            <a:ext cx="10558547" cy="1325563"/>
          </a:xfrm>
          <a:prstGeom prst="rect">
            <a:avLst/>
          </a:prstGeom>
        </p:spPr>
        <p:txBody>
          <a:bodyPr/>
          <a:lstStyle/>
          <a:p>
            <a:r>
              <a:rPr lang="en-US" dirty="0" err="1"/>
              <a:t>BlockChain</a:t>
            </a:r>
            <a:endParaRPr lang="en-US" dirty="0"/>
          </a:p>
        </p:txBody>
      </p:sp>
      <p:sp>
        <p:nvSpPr>
          <p:cNvPr id="15" name="TextBox 14"/>
          <p:cNvSpPr txBox="1"/>
          <p:nvPr/>
        </p:nvSpPr>
        <p:spPr>
          <a:xfrm>
            <a:off x="913016" y="2580853"/>
            <a:ext cx="807850" cy="276999"/>
          </a:xfrm>
          <a:prstGeom prst="rect">
            <a:avLst/>
          </a:prstGeom>
          <a:noFill/>
        </p:spPr>
        <p:txBody>
          <a:bodyPr wrap="none" lIns="0" rIns="0" rtlCol="0">
            <a:spAutoFit/>
          </a:bodyPr>
          <a:lstStyle/>
          <a:p>
            <a:r>
              <a:rPr lang="en-US" sz="1200" dirty="0" err="1">
                <a:latin typeface="RBC Text" panose="02000000000000000000" pitchFamily="2" charset="77"/>
              </a:rPr>
              <a:t>Blockchain</a:t>
            </a:r>
            <a:endParaRPr lang="en-US" sz="1200" dirty="0">
              <a:latin typeface="RBC Text" panose="02000000000000000000" pitchFamily="2" charset="77"/>
            </a:endParaRPr>
          </a:p>
        </p:txBody>
      </p:sp>
      <p:sp>
        <p:nvSpPr>
          <p:cNvPr id="16" name="TextBox 15"/>
          <p:cNvSpPr txBox="1"/>
          <p:nvPr/>
        </p:nvSpPr>
        <p:spPr>
          <a:xfrm>
            <a:off x="8249327" y="5042546"/>
            <a:ext cx="2307042" cy="461665"/>
          </a:xfrm>
          <a:prstGeom prst="rect">
            <a:avLst/>
          </a:prstGeom>
          <a:noFill/>
        </p:spPr>
        <p:txBody>
          <a:bodyPr wrap="none" lIns="0" rIns="0" rtlCol="0">
            <a:spAutoFit/>
          </a:bodyPr>
          <a:lstStyle/>
          <a:p>
            <a:r>
              <a:rPr lang="en-US" sz="1200" dirty="0">
                <a:solidFill>
                  <a:srgbClr val="FFFFFF"/>
                </a:solidFill>
                <a:latin typeface="RBC Display" panose="02000000000000000000" pitchFamily="2" charset="77"/>
              </a:rPr>
              <a:t>A red flare silhouetted the jagged</a:t>
            </a:r>
          </a:p>
          <a:p>
            <a:r>
              <a:rPr lang="en-US" sz="1200" dirty="0">
                <a:solidFill>
                  <a:srgbClr val="FFFFFF"/>
                </a:solidFill>
                <a:latin typeface="RBC Display" panose="02000000000000000000" pitchFamily="2" charset="77"/>
              </a:rPr>
              <a:t>Edge of a wing.</a:t>
            </a:r>
          </a:p>
        </p:txBody>
      </p:sp>
      <p:sp>
        <p:nvSpPr>
          <p:cNvPr id="17" name="TextBox 16"/>
          <p:cNvSpPr txBox="1"/>
          <p:nvPr/>
        </p:nvSpPr>
        <p:spPr>
          <a:xfrm>
            <a:off x="3588483" y="2580853"/>
            <a:ext cx="495649" cy="276999"/>
          </a:xfrm>
          <a:prstGeom prst="rect">
            <a:avLst/>
          </a:prstGeom>
          <a:noFill/>
        </p:spPr>
        <p:txBody>
          <a:bodyPr wrap="none" lIns="0" rIns="0" rtlCol="0">
            <a:spAutoFit/>
          </a:bodyPr>
          <a:lstStyle/>
          <a:p>
            <a:r>
              <a:rPr lang="en-US" sz="1200" dirty="0">
                <a:latin typeface="RBC Text" panose="02000000000000000000" pitchFamily="2" charset="77"/>
              </a:rPr>
              <a:t>Crypto</a:t>
            </a:r>
          </a:p>
        </p:txBody>
      </p:sp>
      <p:sp>
        <p:nvSpPr>
          <p:cNvPr id="18" name="TextBox 17"/>
          <p:cNvSpPr txBox="1"/>
          <p:nvPr/>
        </p:nvSpPr>
        <p:spPr>
          <a:xfrm>
            <a:off x="3588483" y="2877009"/>
            <a:ext cx="2307042" cy="461665"/>
          </a:xfrm>
          <a:prstGeom prst="rect">
            <a:avLst/>
          </a:prstGeom>
          <a:noFill/>
        </p:spPr>
        <p:txBody>
          <a:bodyPr wrap="none" lIns="0" rIns="0" rtlCol="0">
            <a:spAutoFit/>
          </a:bodyPr>
          <a:lstStyle/>
          <a:p>
            <a:r>
              <a:rPr lang="en-US" sz="1200" dirty="0">
                <a:latin typeface="RBC Display" panose="02000000000000000000" pitchFamily="2" charset="77"/>
              </a:rPr>
              <a:t>A red flare silhouetted the jagged</a:t>
            </a:r>
          </a:p>
          <a:p>
            <a:r>
              <a:rPr lang="en-US" sz="1200" dirty="0">
                <a:latin typeface="RBC Display" panose="02000000000000000000" pitchFamily="2" charset="77"/>
              </a:rPr>
              <a:t>Edge of a wing.</a:t>
            </a:r>
          </a:p>
        </p:txBody>
      </p:sp>
      <p:grpSp>
        <p:nvGrpSpPr>
          <p:cNvPr id="24" name="Group 23"/>
          <p:cNvGrpSpPr/>
          <p:nvPr/>
        </p:nvGrpSpPr>
        <p:grpSpPr>
          <a:xfrm>
            <a:off x="913016" y="4970134"/>
            <a:ext cx="1322863" cy="1047633"/>
            <a:chOff x="913016" y="4970134"/>
            <a:chExt cx="1322863" cy="1047633"/>
          </a:xfrm>
        </p:grpSpPr>
        <p:sp>
          <p:nvSpPr>
            <p:cNvPr id="21" name="TextBox 20"/>
            <p:cNvSpPr txBox="1"/>
            <p:nvPr/>
          </p:nvSpPr>
          <p:spPr>
            <a:xfrm>
              <a:off x="913016" y="4970134"/>
              <a:ext cx="314189"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USD</a:t>
              </a:r>
            </a:p>
          </p:txBody>
        </p:sp>
        <p:sp>
          <p:nvSpPr>
            <p:cNvPr id="22" name="TextBox 21"/>
            <p:cNvSpPr txBox="1"/>
            <p:nvPr/>
          </p:nvSpPr>
          <p:spPr>
            <a:xfrm>
              <a:off x="913016" y="5083069"/>
              <a:ext cx="1322863" cy="646331"/>
            </a:xfrm>
            <a:prstGeom prst="rect">
              <a:avLst/>
            </a:prstGeom>
            <a:noFill/>
          </p:spPr>
          <p:txBody>
            <a:bodyPr wrap="none" lIns="0" rIns="0" rtlCol="0">
              <a:spAutoFit/>
            </a:bodyPr>
            <a:lstStyle/>
            <a:p>
              <a:r>
                <a:rPr lang="en-US" sz="3600" dirty="0">
                  <a:latin typeface="RBC Text" panose="02000000000000000000" pitchFamily="2" charset="77"/>
                </a:rPr>
                <a:t>10,476</a:t>
              </a:r>
            </a:p>
          </p:txBody>
        </p:sp>
        <p:sp>
          <p:nvSpPr>
            <p:cNvPr id="23" name="TextBox 22"/>
            <p:cNvSpPr txBox="1"/>
            <p:nvPr/>
          </p:nvSpPr>
          <p:spPr>
            <a:xfrm>
              <a:off x="913016" y="5740768"/>
              <a:ext cx="517770"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Bitcoin</a:t>
              </a:r>
            </a:p>
          </p:txBody>
        </p:sp>
      </p:grpSp>
      <p:grpSp>
        <p:nvGrpSpPr>
          <p:cNvPr id="25" name="Group 24"/>
          <p:cNvGrpSpPr/>
          <p:nvPr/>
        </p:nvGrpSpPr>
        <p:grpSpPr>
          <a:xfrm>
            <a:off x="2691016" y="4970134"/>
            <a:ext cx="964816" cy="1047633"/>
            <a:chOff x="913016" y="4970134"/>
            <a:chExt cx="964816" cy="1047633"/>
          </a:xfrm>
        </p:grpSpPr>
        <p:sp>
          <p:nvSpPr>
            <p:cNvPr id="26" name="TextBox 25"/>
            <p:cNvSpPr txBox="1"/>
            <p:nvPr/>
          </p:nvSpPr>
          <p:spPr>
            <a:xfrm>
              <a:off x="913016" y="4970134"/>
              <a:ext cx="314189"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USD</a:t>
              </a:r>
            </a:p>
          </p:txBody>
        </p:sp>
        <p:sp>
          <p:nvSpPr>
            <p:cNvPr id="27" name="TextBox 26"/>
            <p:cNvSpPr txBox="1"/>
            <p:nvPr/>
          </p:nvSpPr>
          <p:spPr>
            <a:xfrm>
              <a:off x="913016" y="5083069"/>
              <a:ext cx="964816" cy="646331"/>
            </a:xfrm>
            <a:prstGeom prst="rect">
              <a:avLst/>
            </a:prstGeom>
            <a:noFill/>
          </p:spPr>
          <p:txBody>
            <a:bodyPr wrap="none" lIns="0" rIns="0" rtlCol="0">
              <a:spAutoFit/>
            </a:bodyPr>
            <a:lstStyle/>
            <a:p>
              <a:r>
                <a:rPr lang="en-US" sz="3600" dirty="0">
                  <a:latin typeface="RBC Text" panose="02000000000000000000" pitchFamily="2" charset="77"/>
                </a:rPr>
                <a:t>181.5</a:t>
              </a:r>
            </a:p>
          </p:txBody>
        </p:sp>
        <p:sp>
          <p:nvSpPr>
            <p:cNvPr id="28" name="TextBox 27"/>
            <p:cNvSpPr txBox="1"/>
            <p:nvPr/>
          </p:nvSpPr>
          <p:spPr>
            <a:xfrm>
              <a:off x="913016" y="5740768"/>
              <a:ext cx="589905" cy="276999"/>
            </a:xfrm>
            <a:prstGeom prst="rect">
              <a:avLst/>
            </a:prstGeom>
            <a:noFill/>
          </p:spPr>
          <p:txBody>
            <a:bodyPr wrap="none" lIns="0" rIns="0" rtlCol="0">
              <a:spAutoFit/>
            </a:bodyPr>
            <a:lstStyle/>
            <a:p>
              <a:r>
                <a:rPr lang="en-US" sz="1200" dirty="0" err="1">
                  <a:solidFill>
                    <a:schemeClr val="tx1">
                      <a:alpha val="40000"/>
                    </a:schemeClr>
                  </a:solidFill>
                  <a:latin typeface="RBC Text" panose="02000000000000000000" pitchFamily="2" charset="77"/>
                </a:rPr>
                <a:t>Litecoin</a:t>
              </a:r>
              <a:endParaRPr lang="en-US" sz="1200" dirty="0">
                <a:solidFill>
                  <a:schemeClr val="tx1">
                    <a:alpha val="40000"/>
                  </a:schemeClr>
                </a:solidFill>
                <a:latin typeface="RBC Text" panose="02000000000000000000" pitchFamily="2" charset="77"/>
              </a:endParaRPr>
            </a:p>
          </p:txBody>
        </p:sp>
      </p:grpSp>
      <p:sp>
        <p:nvSpPr>
          <p:cNvPr id="33" name="Rectangle 32"/>
          <p:cNvSpPr/>
          <p:nvPr/>
        </p:nvSpPr>
        <p:spPr>
          <a:xfrm>
            <a:off x="6808108" y="3935894"/>
            <a:ext cx="1196636" cy="11966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34" name="TextBox 33"/>
          <p:cNvSpPr txBox="1"/>
          <p:nvPr/>
        </p:nvSpPr>
        <p:spPr>
          <a:xfrm>
            <a:off x="8249327" y="5633538"/>
            <a:ext cx="3411143" cy="757130"/>
          </a:xfrm>
          <a:prstGeom prst="rect">
            <a:avLst/>
          </a:prstGeom>
          <a:noFill/>
        </p:spPr>
        <p:txBody>
          <a:bodyPr wrap="square" lIns="0" rIns="0" rtlCol="0">
            <a:spAutoFit/>
          </a:bodyPr>
          <a:lstStyle/>
          <a:p>
            <a:pPr>
              <a:lnSpc>
                <a:spcPct val="120000"/>
              </a:lnSpc>
            </a:pPr>
            <a:r>
              <a:rPr lang="en-US" sz="1200" dirty="0">
                <a:solidFill>
                  <a:srgbClr val="FFFFFF">
                    <a:alpha val="70000"/>
                  </a:srgbClr>
                </a:solidFill>
                <a:latin typeface="RBC Text" panose="02000000000000000000" pitchFamily="2" charset="77"/>
              </a:rPr>
              <a:t>A peep at some distant orb has power to raise and purify our thoughts like a strain of sacred music, or a noble picture, or a passage</a:t>
            </a:r>
          </a:p>
        </p:txBody>
      </p:sp>
      <p:sp>
        <p:nvSpPr>
          <p:cNvPr id="36" name="TextBox 35"/>
          <p:cNvSpPr txBox="1"/>
          <p:nvPr/>
        </p:nvSpPr>
        <p:spPr>
          <a:xfrm>
            <a:off x="909268" y="2877009"/>
            <a:ext cx="2307042" cy="461665"/>
          </a:xfrm>
          <a:prstGeom prst="rect">
            <a:avLst/>
          </a:prstGeom>
          <a:noFill/>
        </p:spPr>
        <p:txBody>
          <a:bodyPr wrap="none" lIns="0" rIns="0" rtlCol="0">
            <a:spAutoFit/>
          </a:bodyPr>
          <a:lstStyle/>
          <a:p>
            <a:r>
              <a:rPr lang="en-US" sz="1200" dirty="0">
                <a:latin typeface="RBC Display" panose="02000000000000000000" pitchFamily="2" charset="77"/>
              </a:rPr>
              <a:t>A red flare silhouetted the jagged</a:t>
            </a:r>
          </a:p>
          <a:p>
            <a:r>
              <a:rPr lang="en-US" sz="1200" dirty="0">
                <a:latin typeface="RBC Display" panose="02000000000000000000" pitchFamily="2" charset="77"/>
              </a:rPr>
              <a:t>Edge of a wing.</a:t>
            </a:r>
          </a:p>
        </p:txBody>
      </p:sp>
      <p:sp>
        <p:nvSpPr>
          <p:cNvPr id="37" name="Freeform 36">
            <a:extLst>
              <a:ext uri="{FF2B5EF4-FFF2-40B4-BE49-F238E27FC236}">
                <a16:creationId xmlns:a16="http://schemas.microsoft.com/office/drawing/2014/main" id="{5983F9A5-9D2B-4C77-993E-13999CBD0A3F}"/>
              </a:ext>
            </a:extLst>
          </p:cNvPr>
          <p:cNvSpPr>
            <a:spLocks noEditPoints="1"/>
          </p:cNvSpPr>
          <p:nvPr/>
        </p:nvSpPr>
        <p:spPr bwMode="auto">
          <a:xfrm>
            <a:off x="7207194" y="4259574"/>
            <a:ext cx="398463" cy="549275"/>
          </a:xfrm>
          <a:custGeom>
            <a:avLst/>
            <a:gdLst>
              <a:gd name="T0" fmla="*/ 41 w 117"/>
              <a:gd name="T1" fmla="*/ 4 h 160"/>
              <a:gd name="T2" fmla="*/ 59 w 117"/>
              <a:gd name="T3" fmla="*/ 132 h 160"/>
              <a:gd name="T4" fmla="*/ 76 w 117"/>
              <a:gd name="T5" fmla="*/ 146 h 160"/>
              <a:gd name="T6" fmla="*/ 82 w 117"/>
              <a:gd name="T7" fmla="*/ 105 h 160"/>
              <a:gd name="T8" fmla="*/ 107 w 117"/>
              <a:gd name="T9" fmla="*/ 71 h 160"/>
              <a:gd name="T10" fmla="*/ 92 w 117"/>
              <a:gd name="T11" fmla="*/ 38 h 160"/>
              <a:gd name="T12" fmla="*/ 16 w 117"/>
              <a:gd name="T13" fmla="*/ 71 h 160"/>
              <a:gd name="T14" fmla="*/ 30 w 117"/>
              <a:gd name="T15" fmla="*/ 54 h 160"/>
              <a:gd name="T16" fmla="*/ 35 w 117"/>
              <a:gd name="T17" fmla="*/ 54 h 160"/>
              <a:gd name="T18" fmla="*/ 59 w 117"/>
              <a:gd name="T19" fmla="*/ 71 h 160"/>
              <a:gd name="T20" fmla="*/ 64 w 117"/>
              <a:gd name="T21" fmla="*/ 6 h 160"/>
              <a:gd name="T22" fmla="*/ 64 w 117"/>
              <a:gd name="T23" fmla="*/ 6 h 160"/>
              <a:gd name="T24" fmla="*/ 39 w 117"/>
              <a:gd name="T25" fmla="*/ 32 h 160"/>
              <a:gd name="T26" fmla="*/ 59 w 117"/>
              <a:gd name="T27" fmla="*/ 102 h 160"/>
              <a:gd name="T28" fmla="*/ 64 w 117"/>
              <a:gd name="T29" fmla="*/ 102 h 160"/>
              <a:gd name="T30" fmla="*/ 64 w 117"/>
              <a:gd name="T31" fmla="*/ 102 h 160"/>
              <a:gd name="T32" fmla="*/ 86 w 117"/>
              <a:gd name="T33" fmla="*/ 38 h 160"/>
              <a:gd name="T34" fmla="*/ 64 w 117"/>
              <a:gd name="T35" fmla="*/ 71 h 160"/>
              <a:gd name="T36" fmla="*/ 91 w 117"/>
              <a:gd name="T37" fmla="*/ 32 h 160"/>
              <a:gd name="T38" fmla="*/ 105 w 117"/>
              <a:gd name="T39" fmla="*/ 32 h 160"/>
              <a:gd name="T40" fmla="*/ 39 w 117"/>
              <a:gd name="T41" fmla="*/ 18 h 160"/>
              <a:gd name="T42" fmla="*/ 43 w 117"/>
              <a:gd name="T43" fmla="*/ 10 h 160"/>
              <a:gd name="T44" fmla="*/ 46 w 117"/>
              <a:gd name="T45" fmla="*/ 101 h 160"/>
              <a:gd name="T46" fmla="*/ 62 w 117"/>
              <a:gd name="T47" fmla="*/ 154 h 160"/>
              <a:gd name="T48" fmla="*/ 70 w 117"/>
              <a:gd name="T49" fmla="*/ 146 h 160"/>
              <a:gd name="T50" fmla="*/ 90 w 117"/>
              <a:gd name="T51" fmla="*/ 77 h 160"/>
              <a:gd name="T52" fmla="*/ 38 w 117"/>
              <a:gd name="T53" fmla="*/ 146 h 160"/>
              <a:gd name="T54" fmla="*/ 41 w 117"/>
              <a:gd name="T55" fmla="*/ 143 h 160"/>
              <a:gd name="T56" fmla="*/ 22 w 117"/>
              <a:gd name="T57" fmla="*/ 149 h 160"/>
              <a:gd name="T58" fmla="*/ 19 w 117"/>
              <a:gd name="T59" fmla="*/ 146 h 160"/>
              <a:gd name="T60" fmla="*/ 34 w 117"/>
              <a:gd name="T61" fmla="*/ 146 h 160"/>
              <a:gd name="T62" fmla="*/ 10 w 117"/>
              <a:gd name="T63" fmla="*/ 144 h 160"/>
              <a:gd name="T64" fmla="*/ 12 w 117"/>
              <a:gd name="T65" fmla="*/ 149 h 160"/>
              <a:gd name="T66" fmla="*/ 14 w 117"/>
              <a:gd name="T67" fmla="*/ 144 h 160"/>
              <a:gd name="T68" fmla="*/ 109 w 117"/>
              <a:gd name="T69" fmla="*/ 144 h 160"/>
              <a:gd name="T70" fmla="*/ 111 w 117"/>
              <a:gd name="T71" fmla="*/ 149 h 160"/>
              <a:gd name="T72" fmla="*/ 113 w 117"/>
              <a:gd name="T73" fmla="*/ 144 h 160"/>
              <a:gd name="T74" fmla="*/ 102 w 117"/>
              <a:gd name="T75" fmla="*/ 143 h 160"/>
              <a:gd name="T76" fmla="*/ 104 w 117"/>
              <a:gd name="T77" fmla="*/ 146 h 160"/>
              <a:gd name="T78" fmla="*/ 89 w 117"/>
              <a:gd name="T79" fmla="*/ 146 h 160"/>
              <a:gd name="T80" fmla="*/ 92 w 117"/>
              <a:gd name="T81" fmla="*/ 143 h 160"/>
              <a:gd name="T82" fmla="*/ 85 w 117"/>
              <a:gd name="T83"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7" h="160">
                <a:moveTo>
                  <a:pt x="112" y="34"/>
                </a:moveTo>
                <a:cubicBezTo>
                  <a:pt x="103" y="13"/>
                  <a:pt x="84" y="0"/>
                  <a:pt x="62" y="0"/>
                </a:cubicBezTo>
                <a:cubicBezTo>
                  <a:pt x="54" y="0"/>
                  <a:pt x="47" y="1"/>
                  <a:pt x="41" y="4"/>
                </a:cubicBezTo>
                <a:cubicBezTo>
                  <a:pt x="13" y="16"/>
                  <a:pt x="0" y="48"/>
                  <a:pt x="11" y="75"/>
                </a:cubicBezTo>
                <a:cubicBezTo>
                  <a:pt x="19" y="95"/>
                  <a:pt x="38" y="108"/>
                  <a:pt x="59" y="109"/>
                </a:cubicBezTo>
                <a:cubicBezTo>
                  <a:pt x="59" y="132"/>
                  <a:pt x="59" y="132"/>
                  <a:pt x="59" y="132"/>
                </a:cubicBezTo>
                <a:cubicBezTo>
                  <a:pt x="52" y="133"/>
                  <a:pt x="47" y="139"/>
                  <a:pt x="47" y="146"/>
                </a:cubicBezTo>
                <a:cubicBezTo>
                  <a:pt x="47" y="154"/>
                  <a:pt x="54" y="160"/>
                  <a:pt x="62" y="160"/>
                </a:cubicBezTo>
                <a:cubicBezTo>
                  <a:pt x="69" y="160"/>
                  <a:pt x="76" y="154"/>
                  <a:pt x="76" y="146"/>
                </a:cubicBezTo>
                <a:cubicBezTo>
                  <a:pt x="76" y="139"/>
                  <a:pt x="71" y="133"/>
                  <a:pt x="64" y="132"/>
                </a:cubicBezTo>
                <a:cubicBezTo>
                  <a:pt x="64" y="109"/>
                  <a:pt x="64" y="109"/>
                  <a:pt x="64" y="109"/>
                </a:cubicBezTo>
                <a:cubicBezTo>
                  <a:pt x="71" y="109"/>
                  <a:pt x="77" y="107"/>
                  <a:pt x="82" y="105"/>
                </a:cubicBezTo>
                <a:cubicBezTo>
                  <a:pt x="96" y="99"/>
                  <a:pt x="106" y="89"/>
                  <a:pt x="112" y="75"/>
                </a:cubicBezTo>
                <a:cubicBezTo>
                  <a:pt x="117" y="62"/>
                  <a:pt x="117" y="47"/>
                  <a:pt x="112" y="34"/>
                </a:cubicBezTo>
                <a:close/>
                <a:moveTo>
                  <a:pt x="107" y="71"/>
                </a:moveTo>
                <a:cubicBezTo>
                  <a:pt x="92" y="71"/>
                  <a:pt x="92" y="71"/>
                  <a:pt x="92" y="71"/>
                </a:cubicBezTo>
                <a:cubicBezTo>
                  <a:pt x="93" y="66"/>
                  <a:pt x="94" y="60"/>
                  <a:pt x="94" y="54"/>
                </a:cubicBezTo>
                <a:cubicBezTo>
                  <a:pt x="94" y="49"/>
                  <a:pt x="94" y="43"/>
                  <a:pt x="92" y="38"/>
                </a:cubicBezTo>
                <a:cubicBezTo>
                  <a:pt x="107" y="38"/>
                  <a:pt x="107" y="38"/>
                  <a:pt x="107" y="38"/>
                </a:cubicBezTo>
                <a:cubicBezTo>
                  <a:pt x="111" y="49"/>
                  <a:pt x="111" y="60"/>
                  <a:pt x="107" y="71"/>
                </a:cubicBezTo>
                <a:close/>
                <a:moveTo>
                  <a:pt x="16" y="71"/>
                </a:moveTo>
                <a:cubicBezTo>
                  <a:pt x="12" y="60"/>
                  <a:pt x="12" y="48"/>
                  <a:pt x="16" y="38"/>
                </a:cubicBezTo>
                <a:cubicBezTo>
                  <a:pt x="31" y="38"/>
                  <a:pt x="31" y="38"/>
                  <a:pt x="31" y="38"/>
                </a:cubicBezTo>
                <a:cubicBezTo>
                  <a:pt x="30" y="43"/>
                  <a:pt x="30" y="49"/>
                  <a:pt x="30" y="54"/>
                </a:cubicBezTo>
                <a:cubicBezTo>
                  <a:pt x="30" y="60"/>
                  <a:pt x="30" y="66"/>
                  <a:pt x="32" y="71"/>
                </a:cubicBezTo>
                <a:cubicBezTo>
                  <a:pt x="16" y="71"/>
                  <a:pt x="16" y="71"/>
                  <a:pt x="16" y="71"/>
                </a:cubicBezTo>
                <a:close/>
                <a:moveTo>
                  <a:pt x="35" y="54"/>
                </a:moveTo>
                <a:cubicBezTo>
                  <a:pt x="35" y="49"/>
                  <a:pt x="36" y="43"/>
                  <a:pt x="37" y="38"/>
                </a:cubicBezTo>
                <a:cubicBezTo>
                  <a:pt x="59" y="38"/>
                  <a:pt x="59" y="38"/>
                  <a:pt x="59" y="38"/>
                </a:cubicBezTo>
                <a:cubicBezTo>
                  <a:pt x="59" y="71"/>
                  <a:pt x="59" y="71"/>
                  <a:pt x="59" y="71"/>
                </a:cubicBezTo>
                <a:cubicBezTo>
                  <a:pt x="38" y="71"/>
                  <a:pt x="38" y="71"/>
                  <a:pt x="38" y="71"/>
                </a:cubicBezTo>
                <a:cubicBezTo>
                  <a:pt x="36" y="66"/>
                  <a:pt x="35" y="60"/>
                  <a:pt x="35" y="54"/>
                </a:cubicBezTo>
                <a:close/>
                <a:moveTo>
                  <a:pt x="64" y="6"/>
                </a:moveTo>
                <a:cubicBezTo>
                  <a:pt x="73" y="8"/>
                  <a:pt x="81" y="18"/>
                  <a:pt x="85" y="32"/>
                </a:cubicBezTo>
                <a:cubicBezTo>
                  <a:pt x="64" y="32"/>
                  <a:pt x="64" y="32"/>
                  <a:pt x="64" y="32"/>
                </a:cubicBezTo>
                <a:lnTo>
                  <a:pt x="64" y="6"/>
                </a:lnTo>
                <a:close/>
                <a:moveTo>
                  <a:pt x="59" y="7"/>
                </a:moveTo>
                <a:cubicBezTo>
                  <a:pt x="59" y="32"/>
                  <a:pt x="59" y="32"/>
                  <a:pt x="59" y="32"/>
                </a:cubicBezTo>
                <a:cubicBezTo>
                  <a:pt x="39" y="32"/>
                  <a:pt x="39" y="32"/>
                  <a:pt x="39" y="32"/>
                </a:cubicBezTo>
                <a:cubicBezTo>
                  <a:pt x="43" y="19"/>
                  <a:pt x="50" y="9"/>
                  <a:pt x="59" y="7"/>
                </a:cubicBezTo>
                <a:close/>
                <a:moveTo>
                  <a:pt x="59" y="77"/>
                </a:moveTo>
                <a:cubicBezTo>
                  <a:pt x="59" y="102"/>
                  <a:pt x="59" y="102"/>
                  <a:pt x="59" y="102"/>
                </a:cubicBezTo>
                <a:cubicBezTo>
                  <a:pt x="51" y="100"/>
                  <a:pt x="44" y="90"/>
                  <a:pt x="39" y="77"/>
                </a:cubicBezTo>
                <a:lnTo>
                  <a:pt x="59" y="77"/>
                </a:lnTo>
                <a:close/>
                <a:moveTo>
                  <a:pt x="64" y="102"/>
                </a:moveTo>
                <a:cubicBezTo>
                  <a:pt x="64" y="77"/>
                  <a:pt x="64" y="77"/>
                  <a:pt x="64" y="77"/>
                </a:cubicBezTo>
                <a:cubicBezTo>
                  <a:pt x="84" y="77"/>
                  <a:pt x="84" y="77"/>
                  <a:pt x="84" y="77"/>
                </a:cubicBezTo>
                <a:cubicBezTo>
                  <a:pt x="80" y="90"/>
                  <a:pt x="73" y="100"/>
                  <a:pt x="64" y="102"/>
                </a:cubicBezTo>
                <a:close/>
                <a:moveTo>
                  <a:pt x="64" y="71"/>
                </a:moveTo>
                <a:cubicBezTo>
                  <a:pt x="64" y="38"/>
                  <a:pt x="64" y="38"/>
                  <a:pt x="64" y="38"/>
                </a:cubicBezTo>
                <a:cubicBezTo>
                  <a:pt x="86" y="38"/>
                  <a:pt x="86" y="38"/>
                  <a:pt x="86" y="38"/>
                </a:cubicBezTo>
                <a:cubicBezTo>
                  <a:pt x="88" y="43"/>
                  <a:pt x="88" y="49"/>
                  <a:pt x="88" y="54"/>
                </a:cubicBezTo>
                <a:cubicBezTo>
                  <a:pt x="88" y="60"/>
                  <a:pt x="87" y="66"/>
                  <a:pt x="86" y="71"/>
                </a:cubicBezTo>
                <a:cubicBezTo>
                  <a:pt x="64" y="71"/>
                  <a:pt x="64" y="71"/>
                  <a:pt x="64" y="71"/>
                </a:cubicBezTo>
                <a:cubicBezTo>
                  <a:pt x="64" y="71"/>
                  <a:pt x="64" y="71"/>
                  <a:pt x="64" y="71"/>
                </a:cubicBezTo>
                <a:close/>
                <a:moveTo>
                  <a:pt x="105" y="32"/>
                </a:moveTo>
                <a:cubicBezTo>
                  <a:pt x="91" y="32"/>
                  <a:pt x="91" y="32"/>
                  <a:pt x="91" y="32"/>
                </a:cubicBezTo>
                <a:cubicBezTo>
                  <a:pt x="89" y="27"/>
                  <a:pt x="88" y="22"/>
                  <a:pt x="85" y="18"/>
                </a:cubicBezTo>
                <a:cubicBezTo>
                  <a:pt x="83" y="14"/>
                  <a:pt x="81" y="12"/>
                  <a:pt x="79" y="9"/>
                </a:cubicBezTo>
                <a:cubicBezTo>
                  <a:pt x="90" y="13"/>
                  <a:pt x="99" y="21"/>
                  <a:pt x="105" y="32"/>
                </a:cubicBezTo>
                <a:close/>
                <a:moveTo>
                  <a:pt x="43" y="10"/>
                </a:moveTo>
                <a:cubicBezTo>
                  <a:pt x="43" y="9"/>
                  <a:pt x="44" y="9"/>
                  <a:pt x="45" y="9"/>
                </a:cubicBezTo>
                <a:cubicBezTo>
                  <a:pt x="42" y="11"/>
                  <a:pt x="40" y="14"/>
                  <a:pt x="39" y="18"/>
                </a:cubicBezTo>
                <a:cubicBezTo>
                  <a:pt x="36" y="22"/>
                  <a:pt x="34" y="27"/>
                  <a:pt x="33" y="32"/>
                </a:cubicBezTo>
                <a:cubicBezTo>
                  <a:pt x="19" y="32"/>
                  <a:pt x="19" y="32"/>
                  <a:pt x="19" y="32"/>
                </a:cubicBezTo>
                <a:cubicBezTo>
                  <a:pt x="24" y="22"/>
                  <a:pt x="32" y="14"/>
                  <a:pt x="43" y="10"/>
                </a:cubicBezTo>
                <a:close/>
                <a:moveTo>
                  <a:pt x="19" y="77"/>
                </a:moveTo>
                <a:cubicBezTo>
                  <a:pt x="33" y="77"/>
                  <a:pt x="33" y="77"/>
                  <a:pt x="33" y="77"/>
                </a:cubicBezTo>
                <a:cubicBezTo>
                  <a:pt x="36" y="86"/>
                  <a:pt x="41" y="95"/>
                  <a:pt x="46" y="101"/>
                </a:cubicBezTo>
                <a:cubicBezTo>
                  <a:pt x="34" y="97"/>
                  <a:pt x="24" y="88"/>
                  <a:pt x="19" y="77"/>
                </a:cubicBezTo>
                <a:close/>
                <a:moveTo>
                  <a:pt x="70" y="146"/>
                </a:moveTo>
                <a:cubicBezTo>
                  <a:pt x="70" y="150"/>
                  <a:pt x="66" y="154"/>
                  <a:pt x="62" y="154"/>
                </a:cubicBezTo>
                <a:cubicBezTo>
                  <a:pt x="57" y="154"/>
                  <a:pt x="53" y="150"/>
                  <a:pt x="53" y="146"/>
                </a:cubicBezTo>
                <a:cubicBezTo>
                  <a:pt x="53" y="141"/>
                  <a:pt x="57" y="137"/>
                  <a:pt x="62" y="137"/>
                </a:cubicBezTo>
                <a:cubicBezTo>
                  <a:pt x="66" y="137"/>
                  <a:pt x="70" y="141"/>
                  <a:pt x="70" y="146"/>
                </a:cubicBezTo>
                <a:close/>
                <a:moveTo>
                  <a:pt x="80" y="99"/>
                </a:moveTo>
                <a:cubicBezTo>
                  <a:pt x="79" y="100"/>
                  <a:pt x="79" y="100"/>
                  <a:pt x="78" y="100"/>
                </a:cubicBezTo>
                <a:cubicBezTo>
                  <a:pt x="83" y="95"/>
                  <a:pt x="88" y="86"/>
                  <a:pt x="90" y="77"/>
                </a:cubicBezTo>
                <a:cubicBezTo>
                  <a:pt x="105" y="77"/>
                  <a:pt x="105" y="77"/>
                  <a:pt x="105" y="77"/>
                </a:cubicBezTo>
                <a:cubicBezTo>
                  <a:pt x="99" y="87"/>
                  <a:pt x="91" y="95"/>
                  <a:pt x="80" y="99"/>
                </a:cubicBezTo>
                <a:close/>
                <a:moveTo>
                  <a:pt x="38" y="146"/>
                </a:moveTo>
                <a:cubicBezTo>
                  <a:pt x="38" y="147"/>
                  <a:pt x="39" y="149"/>
                  <a:pt x="41" y="149"/>
                </a:cubicBezTo>
                <a:cubicBezTo>
                  <a:pt x="42" y="149"/>
                  <a:pt x="44" y="147"/>
                  <a:pt x="44" y="146"/>
                </a:cubicBezTo>
                <a:cubicBezTo>
                  <a:pt x="44" y="144"/>
                  <a:pt x="42" y="143"/>
                  <a:pt x="41" y="143"/>
                </a:cubicBezTo>
                <a:cubicBezTo>
                  <a:pt x="39" y="143"/>
                  <a:pt x="38" y="144"/>
                  <a:pt x="38" y="146"/>
                </a:cubicBezTo>
                <a:close/>
                <a:moveTo>
                  <a:pt x="19" y="146"/>
                </a:moveTo>
                <a:cubicBezTo>
                  <a:pt x="19" y="147"/>
                  <a:pt x="20" y="149"/>
                  <a:pt x="22" y="149"/>
                </a:cubicBezTo>
                <a:cubicBezTo>
                  <a:pt x="23" y="149"/>
                  <a:pt x="25" y="147"/>
                  <a:pt x="25" y="146"/>
                </a:cubicBezTo>
                <a:cubicBezTo>
                  <a:pt x="25" y="144"/>
                  <a:pt x="23" y="143"/>
                  <a:pt x="22" y="143"/>
                </a:cubicBezTo>
                <a:cubicBezTo>
                  <a:pt x="20" y="143"/>
                  <a:pt x="19" y="144"/>
                  <a:pt x="19" y="146"/>
                </a:cubicBezTo>
                <a:close/>
                <a:moveTo>
                  <a:pt x="28" y="146"/>
                </a:moveTo>
                <a:cubicBezTo>
                  <a:pt x="28" y="147"/>
                  <a:pt x="29" y="149"/>
                  <a:pt x="31" y="149"/>
                </a:cubicBezTo>
                <a:cubicBezTo>
                  <a:pt x="33" y="149"/>
                  <a:pt x="34" y="147"/>
                  <a:pt x="34" y="146"/>
                </a:cubicBezTo>
                <a:cubicBezTo>
                  <a:pt x="34" y="144"/>
                  <a:pt x="33" y="143"/>
                  <a:pt x="31" y="143"/>
                </a:cubicBezTo>
                <a:cubicBezTo>
                  <a:pt x="29" y="143"/>
                  <a:pt x="28" y="144"/>
                  <a:pt x="28" y="146"/>
                </a:cubicBezTo>
                <a:close/>
                <a:moveTo>
                  <a:pt x="10" y="144"/>
                </a:moveTo>
                <a:cubicBezTo>
                  <a:pt x="9" y="144"/>
                  <a:pt x="9" y="145"/>
                  <a:pt x="9" y="146"/>
                </a:cubicBezTo>
                <a:cubicBezTo>
                  <a:pt x="9" y="147"/>
                  <a:pt x="9" y="147"/>
                  <a:pt x="10" y="148"/>
                </a:cubicBezTo>
                <a:cubicBezTo>
                  <a:pt x="10" y="148"/>
                  <a:pt x="11" y="149"/>
                  <a:pt x="12" y="149"/>
                </a:cubicBezTo>
                <a:cubicBezTo>
                  <a:pt x="13" y="149"/>
                  <a:pt x="14" y="148"/>
                  <a:pt x="14" y="148"/>
                </a:cubicBezTo>
                <a:cubicBezTo>
                  <a:pt x="15" y="147"/>
                  <a:pt x="15" y="147"/>
                  <a:pt x="15" y="146"/>
                </a:cubicBezTo>
                <a:cubicBezTo>
                  <a:pt x="15" y="145"/>
                  <a:pt x="15" y="144"/>
                  <a:pt x="14" y="144"/>
                </a:cubicBezTo>
                <a:cubicBezTo>
                  <a:pt x="14" y="143"/>
                  <a:pt x="13" y="143"/>
                  <a:pt x="12" y="143"/>
                </a:cubicBezTo>
                <a:cubicBezTo>
                  <a:pt x="11" y="143"/>
                  <a:pt x="10" y="143"/>
                  <a:pt x="10" y="144"/>
                </a:cubicBezTo>
                <a:close/>
                <a:moveTo>
                  <a:pt x="109" y="144"/>
                </a:moveTo>
                <a:cubicBezTo>
                  <a:pt x="108" y="144"/>
                  <a:pt x="108" y="145"/>
                  <a:pt x="108" y="146"/>
                </a:cubicBezTo>
                <a:cubicBezTo>
                  <a:pt x="108" y="147"/>
                  <a:pt x="108" y="147"/>
                  <a:pt x="109" y="148"/>
                </a:cubicBezTo>
                <a:cubicBezTo>
                  <a:pt x="110" y="148"/>
                  <a:pt x="110" y="149"/>
                  <a:pt x="111" y="149"/>
                </a:cubicBezTo>
                <a:cubicBezTo>
                  <a:pt x="112" y="149"/>
                  <a:pt x="113" y="148"/>
                  <a:pt x="113" y="148"/>
                </a:cubicBezTo>
                <a:cubicBezTo>
                  <a:pt x="114" y="147"/>
                  <a:pt x="114" y="147"/>
                  <a:pt x="114" y="146"/>
                </a:cubicBezTo>
                <a:cubicBezTo>
                  <a:pt x="114" y="145"/>
                  <a:pt x="114" y="144"/>
                  <a:pt x="113" y="144"/>
                </a:cubicBezTo>
                <a:cubicBezTo>
                  <a:pt x="113" y="143"/>
                  <a:pt x="112" y="143"/>
                  <a:pt x="111" y="143"/>
                </a:cubicBezTo>
                <a:cubicBezTo>
                  <a:pt x="110" y="143"/>
                  <a:pt x="110" y="143"/>
                  <a:pt x="109" y="144"/>
                </a:cubicBezTo>
                <a:close/>
                <a:moveTo>
                  <a:pt x="102" y="143"/>
                </a:moveTo>
                <a:cubicBezTo>
                  <a:pt x="100" y="143"/>
                  <a:pt x="99" y="144"/>
                  <a:pt x="99" y="146"/>
                </a:cubicBezTo>
                <a:cubicBezTo>
                  <a:pt x="99" y="147"/>
                  <a:pt x="100" y="149"/>
                  <a:pt x="102" y="149"/>
                </a:cubicBezTo>
                <a:cubicBezTo>
                  <a:pt x="103" y="149"/>
                  <a:pt x="104" y="147"/>
                  <a:pt x="104" y="146"/>
                </a:cubicBezTo>
                <a:cubicBezTo>
                  <a:pt x="104" y="144"/>
                  <a:pt x="103" y="143"/>
                  <a:pt x="102" y="143"/>
                </a:cubicBezTo>
                <a:close/>
                <a:moveTo>
                  <a:pt x="92" y="143"/>
                </a:moveTo>
                <a:cubicBezTo>
                  <a:pt x="90" y="143"/>
                  <a:pt x="89" y="144"/>
                  <a:pt x="89" y="146"/>
                </a:cubicBezTo>
                <a:cubicBezTo>
                  <a:pt x="89" y="147"/>
                  <a:pt x="90" y="149"/>
                  <a:pt x="92" y="149"/>
                </a:cubicBezTo>
                <a:cubicBezTo>
                  <a:pt x="94" y="149"/>
                  <a:pt x="95" y="147"/>
                  <a:pt x="95" y="146"/>
                </a:cubicBezTo>
                <a:cubicBezTo>
                  <a:pt x="95" y="144"/>
                  <a:pt x="94" y="143"/>
                  <a:pt x="92" y="143"/>
                </a:cubicBezTo>
                <a:close/>
                <a:moveTo>
                  <a:pt x="79" y="146"/>
                </a:moveTo>
                <a:cubicBezTo>
                  <a:pt x="79" y="147"/>
                  <a:pt x="81" y="149"/>
                  <a:pt x="82" y="149"/>
                </a:cubicBezTo>
                <a:cubicBezTo>
                  <a:pt x="84" y="149"/>
                  <a:pt x="85" y="147"/>
                  <a:pt x="85" y="146"/>
                </a:cubicBezTo>
                <a:cubicBezTo>
                  <a:pt x="85" y="144"/>
                  <a:pt x="84" y="143"/>
                  <a:pt x="82" y="143"/>
                </a:cubicBezTo>
                <a:cubicBezTo>
                  <a:pt x="81" y="143"/>
                  <a:pt x="79" y="144"/>
                  <a:pt x="79" y="14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Tree>
    <p:extLst>
      <p:ext uri="{BB962C8B-B14F-4D97-AF65-F5344CB8AC3E}">
        <p14:creationId xmlns:p14="http://schemas.microsoft.com/office/powerpoint/2010/main" val="118359167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Area</a:t>
            </a:r>
            <a:r>
              <a:rPr lang="en-US" dirty="0"/>
              <a:t> Chart</a:t>
            </a:r>
            <a:br>
              <a:rPr lang="en-US" dirty="0"/>
            </a:br>
            <a:r>
              <a:rPr lang="en-US" dirty="0"/>
              <a:t>Style</a:t>
            </a:r>
          </a:p>
        </p:txBody>
      </p:sp>
      <p:graphicFrame>
        <p:nvGraphicFramePr>
          <p:cNvPr id="6" name="Chart 5"/>
          <p:cNvGraphicFramePr/>
          <p:nvPr>
            <p:extLst>
              <p:ext uri="{D42A27DB-BD31-4B8C-83A1-F6EECF244321}">
                <p14:modId xmlns:p14="http://schemas.microsoft.com/office/powerpoint/2010/main" val="2033166245"/>
              </p:ext>
            </p:extLst>
          </p:nvPr>
        </p:nvGraphicFramePr>
        <p:xfrm>
          <a:off x="4914899" y="1244600"/>
          <a:ext cx="6680201" cy="561339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17141DFE-874F-D54C-AE46-732E76D9CDF6}"/>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25404357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Clustered</a:t>
            </a:r>
            <a:br>
              <a:rPr lang="en-US" dirty="0"/>
            </a:br>
            <a:r>
              <a:rPr lang="en-US" dirty="0"/>
              <a:t>Bar Style</a:t>
            </a:r>
          </a:p>
        </p:txBody>
      </p:sp>
      <p:graphicFrame>
        <p:nvGraphicFramePr>
          <p:cNvPr id="6" name="Chart 5"/>
          <p:cNvGraphicFramePr/>
          <p:nvPr>
            <p:extLst>
              <p:ext uri="{D42A27DB-BD31-4B8C-83A1-F6EECF244321}">
                <p14:modId xmlns:p14="http://schemas.microsoft.com/office/powerpoint/2010/main" val="554369041"/>
              </p:ext>
            </p:extLst>
          </p:nvPr>
        </p:nvGraphicFramePr>
        <p:xfrm>
          <a:off x="4610100" y="1244600"/>
          <a:ext cx="7048499" cy="561339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467ADA8E-8AF5-314F-A214-E600F509F566}"/>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30576933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8" name="RBC_Template_deck copy.png" descr="RBC_Template_deck copy.png"/>
          <p:cNvPicPr>
            <a:picLocks noChangeAspect="1"/>
          </p:cNvPicPr>
          <p:nvPr/>
        </p:nvPicPr>
        <p:blipFill>
          <a:blip r:embed="rId2">
            <a:alphaModFix amt="0"/>
          </a:blip>
          <a:stretch>
            <a:fillRect/>
          </a:stretch>
        </p:blipFill>
        <p:spPr>
          <a:xfrm>
            <a:off x="0" y="0"/>
            <a:ext cx="12192000" cy="6858000"/>
          </a:xfrm>
          <a:prstGeom prst="rect">
            <a:avLst/>
          </a:prstGeom>
          <a:ln w="3175">
            <a:miter lim="400000"/>
          </a:ln>
        </p:spPr>
      </p:pic>
      <p:sp>
        <p:nvSpPr>
          <p:cNvPr id="850" name="Icon Library Grey #585858 /  Icon Library"/>
          <p:cNvSpPr txBox="1"/>
          <p:nvPr/>
        </p:nvSpPr>
        <p:spPr>
          <a:xfrm>
            <a:off x="473064" y="286421"/>
            <a:ext cx="4547777" cy="30296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719" tIns="35719" rIns="35719" bIns="35719">
            <a:spAutoFit/>
          </a:bodyPr>
          <a:lstStyle/>
          <a:p>
            <a:pPr algn="l">
              <a:defRPr sz="3000">
                <a:latin typeface="Helvetica"/>
                <a:ea typeface="Helvetica"/>
                <a:cs typeface="Helvetica"/>
                <a:sym typeface="Helvetica"/>
              </a:defRPr>
            </a:pPr>
            <a:r>
              <a:rPr lang="en-US" sz="1500" dirty="0">
                <a:latin typeface="Roboto Regular" panose="02000000000000000000" pitchFamily="2" charset="0"/>
                <a:ea typeface="Roboto Regular" panose="02000000000000000000" pitchFamily="2" charset="0"/>
                <a:sym typeface="Fira Sans Regular"/>
              </a:rPr>
              <a:t>Official </a:t>
            </a:r>
            <a:r>
              <a:rPr sz="1500" dirty="0">
                <a:latin typeface="Roboto Regular" panose="02000000000000000000" pitchFamily="2" charset="0"/>
                <a:ea typeface="Roboto Regular" panose="02000000000000000000" pitchFamily="2" charset="0"/>
                <a:sym typeface="Fira Sans Regular"/>
              </a:rPr>
              <a:t>Icon Library Grey #585858 </a:t>
            </a:r>
            <a:r>
              <a:rPr sz="900" i="1" dirty="0">
                <a:solidFill>
                  <a:srgbClr val="53585F"/>
                </a:solidFill>
                <a:latin typeface="Georgia"/>
                <a:ea typeface="Georgia"/>
                <a:cs typeface="Georgia"/>
                <a:sym typeface="Georgia"/>
              </a:rPr>
              <a:t>/  Icon Library </a:t>
            </a:r>
          </a:p>
        </p:txBody>
      </p:sp>
      <p:pic>
        <p:nvPicPr>
          <p:cNvPr id="851" name="Image" descr="Image"/>
          <p:cNvPicPr>
            <a:picLocks noChangeAspect="1"/>
          </p:cNvPicPr>
          <p:nvPr/>
        </p:nvPicPr>
        <p:blipFill>
          <a:blip r:embed="rId3"/>
          <a:stretch>
            <a:fillRect/>
          </a:stretch>
        </p:blipFill>
        <p:spPr>
          <a:xfrm>
            <a:off x="540442" y="1048171"/>
            <a:ext cx="484575" cy="484575"/>
          </a:xfrm>
          <a:prstGeom prst="rect">
            <a:avLst/>
          </a:prstGeom>
          <a:ln w="3175">
            <a:miter lim="400000"/>
          </a:ln>
        </p:spPr>
      </p:pic>
      <p:pic>
        <p:nvPicPr>
          <p:cNvPr id="852" name="Image" descr="Image"/>
          <p:cNvPicPr>
            <a:picLocks noChangeAspect="1"/>
          </p:cNvPicPr>
          <p:nvPr/>
        </p:nvPicPr>
        <p:blipFill>
          <a:blip r:embed="rId4"/>
          <a:stretch>
            <a:fillRect/>
          </a:stretch>
        </p:blipFill>
        <p:spPr>
          <a:xfrm>
            <a:off x="1523787" y="1048171"/>
            <a:ext cx="484575" cy="484575"/>
          </a:xfrm>
          <a:prstGeom prst="rect">
            <a:avLst/>
          </a:prstGeom>
          <a:ln w="3175">
            <a:miter lim="400000"/>
          </a:ln>
        </p:spPr>
      </p:pic>
      <p:pic>
        <p:nvPicPr>
          <p:cNvPr id="853" name="Image" descr="Image"/>
          <p:cNvPicPr>
            <a:picLocks noChangeAspect="1"/>
          </p:cNvPicPr>
          <p:nvPr/>
        </p:nvPicPr>
        <p:blipFill>
          <a:blip r:embed="rId5"/>
          <a:stretch>
            <a:fillRect/>
          </a:stretch>
        </p:blipFill>
        <p:spPr>
          <a:xfrm>
            <a:off x="2538388" y="1048171"/>
            <a:ext cx="484581" cy="484575"/>
          </a:xfrm>
          <a:prstGeom prst="rect">
            <a:avLst/>
          </a:prstGeom>
          <a:ln w="3175">
            <a:miter lim="400000"/>
          </a:ln>
        </p:spPr>
      </p:pic>
      <p:pic>
        <p:nvPicPr>
          <p:cNvPr id="854" name="Image" descr="Image"/>
          <p:cNvPicPr>
            <a:picLocks noChangeAspect="1"/>
          </p:cNvPicPr>
          <p:nvPr/>
        </p:nvPicPr>
        <p:blipFill>
          <a:blip r:embed="rId6"/>
          <a:stretch>
            <a:fillRect/>
          </a:stretch>
        </p:blipFill>
        <p:spPr>
          <a:xfrm>
            <a:off x="3666387" y="1048171"/>
            <a:ext cx="287716" cy="484575"/>
          </a:xfrm>
          <a:prstGeom prst="rect">
            <a:avLst/>
          </a:prstGeom>
          <a:ln w="3175">
            <a:miter lim="400000"/>
          </a:ln>
        </p:spPr>
      </p:pic>
      <p:pic>
        <p:nvPicPr>
          <p:cNvPr id="855" name="Image" descr="Image"/>
          <p:cNvPicPr>
            <a:picLocks noChangeAspect="1"/>
          </p:cNvPicPr>
          <p:nvPr/>
        </p:nvPicPr>
        <p:blipFill>
          <a:blip r:embed="rId7"/>
          <a:stretch>
            <a:fillRect/>
          </a:stretch>
        </p:blipFill>
        <p:spPr>
          <a:xfrm>
            <a:off x="4584295" y="1084138"/>
            <a:ext cx="484575" cy="412645"/>
          </a:xfrm>
          <a:prstGeom prst="rect">
            <a:avLst/>
          </a:prstGeom>
          <a:ln w="3175">
            <a:miter lim="400000"/>
          </a:ln>
        </p:spPr>
      </p:pic>
      <p:pic>
        <p:nvPicPr>
          <p:cNvPr id="856" name="Image" descr="Image"/>
          <p:cNvPicPr>
            <a:picLocks noChangeAspect="1"/>
          </p:cNvPicPr>
          <p:nvPr/>
        </p:nvPicPr>
        <p:blipFill>
          <a:blip r:embed="rId8"/>
          <a:stretch>
            <a:fillRect/>
          </a:stretch>
        </p:blipFill>
        <p:spPr>
          <a:xfrm>
            <a:off x="5596505" y="1048171"/>
            <a:ext cx="484575" cy="484575"/>
          </a:xfrm>
          <a:prstGeom prst="rect">
            <a:avLst/>
          </a:prstGeom>
          <a:ln w="3175">
            <a:miter lim="400000"/>
          </a:ln>
        </p:spPr>
      </p:pic>
      <p:pic>
        <p:nvPicPr>
          <p:cNvPr id="857" name="Image" descr="Image"/>
          <p:cNvPicPr>
            <a:picLocks noChangeAspect="1"/>
          </p:cNvPicPr>
          <p:nvPr/>
        </p:nvPicPr>
        <p:blipFill>
          <a:blip r:embed="rId9"/>
          <a:stretch>
            <a:fillRect/>
          </a:stretch>
        </p:blipFill>
        <p:spPr>
          <a:xfrm>
            <a:off x="6595606" y="1058679"/>
            <a:ext cx="484575" cy="463560"/>
          </a:xfrm>
          <a:prstGeom prst="rect">
            <a:avLst/>
          </a:prstGeom>
          <a:ln w="3175">
            <a:miter lim="400000"/>
          </a:ln>
        </p:spPr>
      </p:pic>
      <p:pic>
        <p:nvPicPr>
          <p:cNvPr id="858" name="Image" descr="Image"/>
          <p:cNvPicPr>
            <a:picLocks noChangeAspect="1"/>
          </p:cNvPicPr>
          <p:nvPr/>
        </p:nvPicPr>
        <p:blipFill>
          <a:blip r:embed="rId10"/>
          <a:stretch>
            <a:fillRect/>
          </a:stretch>
        </p:blipFill>
        <p:spPr>
          <a:xfrm>
            <a:off x="7642203" y="1058677"/>
            <a:ext cx="484575" cy="463563"/>
          </a:xfrm>
          <a:prstGeom prst="rect">
            <a:avLst/>
          </a:prstGeom>
          <a:ln w="3175">
            <a:miter lim="400000"/>
          </a:ln>
        </p:spPr>
      </p:pic>
      <p:pic>
        <p:nvPicPr>
          <p:cNvPr id="859" name="Image" descr="Image"/>
          <p:cNvPicPr>
            <a:picLocks noChangeAspect="1"/>
          </p:cNvPicPr>
          <p:nvPr/>
        </p:nvPicPr>
        <p:blipFill>
          <a:blip r:embed="rId11"/>
          <a:stretch>
            <a:fillRect/>
          </a:stretch>
        </p:blipFill>
        <p:spPr>
          <a:xfrm>
            <a:off x="8646051" y="1048171"/>
            <a:ext cx="484575" cy="484575"/>
          </a:xfrm>
          <a:prstGeom prst="rect">
            <a:avLst/>
          </a:prstGeom>
          <a:ln w="3175">
            <a:miter lim="400000"/>
          </a:ln>
        </p:spPr>
      </p:pic>
      <p:pic>
        <p:nvPicPr>
          <p:cNvPr id="860" name="Image" descr="Image"/>
          <p:cNvPicPr>
            <a:picLocks noChangeAspect="1"/>
          </p:cNvPicPr>
          <p:nvPr/>
        </p:nvPicPr>
        <p:blipFill>
          <a:blip r:embed="rId12"/>
          <a:stretch>
            <a:fillRect/>
          </a:stretch>
        </p:blipFill>
        <p:spPr>
          <a:xfrm>
            <a:off x="9678747" y="1048171"/>
            <a:ext cx="484575" cy="484575"/>
          </a:xfrm>
          <a:prstGeom prst="rect">
            <a:avLst/>
          </a:prstGeom>
          <a:ln w="3175">
            <a:miter lim="400000"/>
          </a:ln>
        </p:spPr>
      </p:pic>
      <p:pic>
        <p:nvPicPr>
          <p:cNvPr id="861" name="Image" descr="Image"/>
          <p:cNvPicPr>
            <a:picLocks noChangeAspect="1"/>
          </p:cNvPicPr>
          <p:nvPr/>
        </p:nvPicPr>
        <p:blipFill>
          <a:blip r:embed="rId13"/>
          <a:stretch>
            <a:fillRect/>
          </a:stretch>
        </p:blipFill>
        <p:spPr>
          <a:xfrm>
            <a:off x="10741490" y="1048171"/>
            <a:ext cx="377381" cy="484575"/>
          </a:xfrm>
          <a:prstGeom prst="rect">
            <a:avLst/>
          </a:prstGeom>
          <a:ln w="3175">
            <a:miter lim="400000"/>
          </a:ln>
        </p:spPr>
      </p:pic>
      <p:pic>
        <p:nvPicPr>
          <p:cNvPr id="862" name="Image" descr="Image"/>
          <p:cNvPicPr>
            <a:picLocks noChangeAspect="1"/>
          </p:cNvPicPr>
          <p:nvPr/>
        </p:nvPicPr>
        <p:blipFill>
          <a:blip r:embed="rId14"/>
          <a:stretch>
            <a:fillRect/>
          </a:stretch>
        </p:blipFill>
        <p:spPr>
          <a:xfrm>
            <a:off x="530978" y="2021227"/>
            <a:ext cx="503503" cy="503507"/>
          </a:xfrm>
          <a:prstGeom prst="rect">
            <a:avLst/>
          </a:prstGeom>
          <a:ln w="3175">
            <a:miter lim="400000"/>
          </a:ln>
        </p:spPr>
      </p:pic>
      <p:pic>
        <p:nvPicPr>
          <p:cNvPr id="863" name="Image" descr="Image"/>
          <p:cNvPicPr>
            <a:picLocks noChangeAspect="1"/>
          </p:cNvPicPr>
          <p:nvPr/>
        </p:nvPicPr>
        <p:blipFill>
          <a:blip r:embed="rId15"/>
          <a:stretch>
            <a:fillRect/>
          </a:stretch>
        </p:blipFill>
        <p:spPr>
          <a:xfrm>
            <a:off x="1523787" y="2106410"/>
            <a:ext cx="484575" cy="333145"/>
          </a:xfrm>
          <a:prstGeom prst="rect">
            <a:avLst/>
          </a:prstGeom>
          <a:ln w="3175">
            <a:miter lim="400000"/>
          </a:ln>
        </p:spPr>
      </p:pic>
      <p:pic>
        <p:nvPicPr>
          <p:cNvPr id="864" name="Image" descr="Image"/>
          <p:cNvPicPr>
            <a:picLocks noChangeAspect="1"/>
          </p:cNvPicPr>
          <p:nvPr/>
        </p:nvPicPr>
        <p:blipFill>
          <a:blip r:embed="rId16"/>
          <a:stretch>
            <a:fillRect/>
          </a:stretch>
        </p:blipFill>
        <p:spPr>
          <a:xfrm>
            <a:off x="2538393" y="2061015"/>
            <a:ext cx="484575" cy="423935"/>
          </a:xfrm>
          <a:prstGeom prst="rect">
            <a:avLst/>
          </a:prstGeom>
          <a:ln w="3175">
            <a:miter lim="400000"/>
          </a:ln>
        </p:spPr>
      </p:pic>
      <p:pic>
        <p:nvPicPr>
          <p:cNvPr id="865" name="Image" descr="Image"/>
          <p:cNvPicPr>
            <a:picLocks noChangeAspect="1"/>
          </p:cNvPicPr>
          <p:nvPr/>
        </p:nvPicPr>
        <p:blipFill>
          <a:blip r:embed="rId17"/>
          <a:stretch>
            <a:fillRect/>
          </a:stretch>
        </p:blipFill>
        <p:spPr>
          <a:xfrm>
            <a:off x="3567957" y="2060979"/>
            <a:ext cx="484575" cy="424003"/>
          </a:xfrm>
          <a:prstGeom prst="rect">
            <a:avLst/>
          </a:prstGeom>
          <a:ln w="3175">
            <a:miter lim="400000"/>
          </a:ln>
        </p:spPr>
      </p:pic>
      <p:pic>
        <p:nvPicPr>
          <p:cNvPr id="866" name="Image" descr="Image"/>
          <p:cNvPicPr>
            <a:picLocks noChangeAspect="1"/>
          </p:cNvPicPr>
          <p:nvPr/>
        </p:nvPicPr>
        <p:blipFill>
          <a:blip r:embed="rId18"/>
          <a:stretch>
            <a:fillRect/>
          </a:stretch>
        </p:blipFill>
        <p:spPr>
          <a:xfrm>
            <a:off x="4584295" y="2045084"/>
            <a:ext cx="484575" cy="455795"/>
          </a:xfrm>
          <a:prstGeom prst="rect">
            <a:avLst/>
          </a:prstGeom>
          <a:ln w="3175">
            <a:miter lim="400000"/>
          </a:ln>
        </p:spPr>
      </p:pic>
      <p:pic>
        <p:nvPicPr>
          <p:cNvPr id="867" name="Image" descr="Image"/>
          <p:cNvPicPr>
            <a:picLocks noChangeAspect="1"/>
          </p:cNvPicPr>
          <p:nvPr/>
        </p:nvPicPr>
        <p:blipFill>
          <a:blip r:embed="rId19"/>
          <a:stretch>
            <a:fillRect/>
          </a:stretch>
        </p:blipFill>
        <p:spPr>
          <a:xfrm>
            <a:off x="5596505" y="2045837"/>
            <a:ext cx="484575" cy="454288"/>
          </a:xfrm>
          <a:prstGeom prst="rect">
            <a:avLst/>
          </a:prstGeom>
          <a:ln w="3175">
            <a:miter lim="400000"/>
          </a:ln>
        </p:spPr>
      </p:pic>
      <p:pic>
        <p:nvPicPr>
          <p:cNvPr id="868" name="Image" descr="Image"/>
          <p:cNvPicPr>
            <a:picLocks noChangeAspect="1"/>
          </p:cNvPicPr>
          <p:nvPr/>
        </p:nvPicPr>
        <p:blipFill>
          <a:blip r:embed="rId20"/>
          <a:stretch>
            <a:fillRect/>
          </a:stretch>
        </p:blipFill>
        <p:spPr>
          <a:xfrm>
            <a:off x="6598355" y="2032677"/>
            <a:ext cx="479077" cy="480611"/>
          </a:xfrm>
          <a:prstGeom prst="rect">
            <a:avLst/>
          </a:prstGeom>
          <a:ln w="3175">
            <a:miter lim="400000"/>
          </a:ln>
        </p:spPr>
      </p:pic>
      <p:pic>
        <p:nvPicPr>
          <p:cNvPr id="869" name="Image" descr="Image"/>
          <p:cNvPicPr>
            <a:picLocks noChangeAspect="1"/>
          </p:cNvPicPr>
          <p:nvPr/>
        </p:nvPicPr>
        <p:blipFill>
          <a:blip r:embed="rId21"/>
          <a:stretch>
            <a:fillRect/>
          </a:stretch>
        </p:blipFill>
        <p:spPr>
          <a:xfrm>
            <a:off x="7642203" y="2030694"/>
            <a:ext cx="484575" cy="484575"/>
          </a:xfrm>
          <a:prstGeom prst="rect">
            <a:avLst/>
          </a:prstGeom>
          <a:ln w="3175">
            <a:miter lim="400000"/>
          </a:ln>
        </p:spPr>
      </p:pic>
      <p:pic>
        <p:nvPicPr>
          <p:cNvPr id="870" name="Image" descr="Image"/>
          <p:cNvPicPr>
            <a:picLocks noChangeAspect="1"/>
          </p:cNvPicPr>
          <p:nvPr/>
        </p:nvPicPr>
        <p:blipFill>
          <a:blip r:embed="rId22"/>
          <a:stretch>
            <a:fillRect/>
          </a:stretch>
        </p:blipFill>
        <p:spPr>
          <a:xfrm>
            <a:off x="8687693" y="2030694"/>
            <a:ext cx="401288" cy="484575"/>
          </a:xfrm>
          <a:prstGeom prst="rect">
            <a:avLst/>
          </a:prstGeom>
          <a:ln w="3175">
            <a:miter lim="400000"/>
          </a:ln>
        </p:spPr>
      </p:pic>
      <p:pic>
        <p:nvPicPr>
          <p:cNvPr id="871" name="Image" descr="Image"/>
          <p:cNvPicPr>
            <a:picLocks noChangeAspect="1"/>
          </p:cNvPicPr>
          <p:nvPr/>
        </p:nvPicPr>
        <p:blipFill>
          <a:blip r:embed="rId23"/>
          <a:stretch>
            <a:fillRect/>
          </a:stretch>
        </p:blipFill>
        <p:spPr>
          <a:xfrm>
            <a:off x="9689158" y="2030694"/>
            <a:ext cx="463753" cy="484575"/>
          </a:xfrm>
          <a:prstGeom prst="rect">
            <a:avLst/>
          </a:prstGeom>
          <a:ln w="3175">
            <a:miter lim="400000"/>
          </a:ln>
        </p:spPr>
      </p:pic>
      <p:pic>
        <p:nvPicPr>
          <p:cNvPr id="872" name="Image" descr="Image"/>
          <p:cNvPicPr>
            <a:picLocks noChangeAspect="1"/>
          </p:cNvPicPr>
          <p:nvPr/>
        </p:nvPicPr>
        <p:blipFill>
          <a:blip r:embed="rId24"/>
          <a:stretch>
            <a:fillRect/>
          </a:stretch>
        </p:blipFill>
        <p:spPr>
          <a:xfrm>
            <a:off x="10687894" y="2059390"/>
            <a:ext cx="484575" cy="427183"/>
          </a:xfrm>
          <a:prstGeom prst="rect">
            <a:avLst/>
          </a:prstGeom>
          <a:ln w="3175">
            <a:miter lim="400000"/>
          </a:ln>
        </p:spPr>
      </p:pic>
      <p:pic>
        <p:nvPicPr>
          <p:cNvPr id="873" name="Image" descr="Image"/>
          <p:cNvPicPr>
            <a:picLocks noChangeAspect="1"/>
          </p:cNvPicPr>
          <p:nvPr/>
        </p:nvPicPr>
        <p:blipFill>
          <a:blip r:embed="rId25"/>
          <a:stretch>
            <a:fillRect/>
          </a:stretch>
        </p:blipFill>
        <p:spPr>
          <a:xfrm>
            <a:off x="540442" y="3016785"/>
            <a:ext cx="484575" cy="403340"/>
          </a:xfrm>
          <a:prstGeom prst="rect">
            <a:avLst/>
          </a:prstGeom>
          <a:ln w="3175">
            <a:miter lim="400000"/>
          </a:ln>
        </p:spPr>
      </p:pic>
      <p:pic>
        <p:nvPicPr>
          <p:cNvPr id="874" name="Image" descr="Image"/>
          <p:cNvPicPr>
            <a:picLocks noChangeAspect="1"/>
          </p:cNvPicPr>
          <p:nvPr/>
        </p:nvPicPr>
        <p:blipFill>
          <a:blip r:embed="rId26"/>
          <a:stretch>
            <a:fillRect/>
          </a:stretch>
        </p:blipFill>
        <p:spPr>
          <a:xfrm>
            <a:off x="1523787" y="3016786"/>
            <a:ext cx="484575" cy="403340"/>
          </a:xfrm>
          <a:prstGeom prst="rect">
            <a:avLst/>
          </a:prstGeom>
          <a:ln w="3175">
            <a:miter lim="400000"/>
          </a:ln>
        </p:spPr>
      </p:pic>
      <p:pic>
        <p:nvPicPr>
          <p:cNvPr id="875" name="Image" descr="Image"/>
          <p:cNvPicPr>
            <a:picLocks noChangeAspect="1"/>
          </p:cNvPicPr>
          <p:nvPr/>
        </p:nvPicPr>
        <p:blipFill>
          <a:blip r:embed="rId27"/>
          <a:stretch>
            <a:fillRect/>
          </a:stretch>
        </p:blipFill>
        <p:spPr>
          <a:xfrm>
            <a:off x="2538393" y="2976169"/>
            <a:ext cx="484575" cy="484575"/>
          </a:xfrm>
          <a:prstGeom prst="rect">
            <a:avLst/>
          </a:prstGeom>
          <a:ln w="3175">
            <a:miter lim="400000"/>
          </a:ln>
        </p:spPr>
      </p:pic>
      <p:pic>
        <p:nvPicPr>
          <p:cNvPr id="876" name="Image" descr="Image"/>
          <p:cNvPicPr>
            <a:picLocks noChangeAspect="1"/>
          </p:cNvPicPr>
          <p:nvPr/>
        </p:nvPicPr>
        <p:blipFill>
          <a:blip r:embed="rId28"/>
          <a:stretch>
            <a:fillRect/>
          </a:stretch>
        </p:blipFill>
        <p:spPr>
          <a:xfrm>
            <a:off x="3567957" y="2976169"/>
            <a:ext cx="484575" cy="484575"/>
          </a:xfrm>
          <a:prstGeom prst="rect">
            <a:avLst/>
          </a:prstGeom>
          <a:ln w="3175">
            <a:miter lim="400000"/>
          </a:ln>
        </p:spPr>
      </p:pic>
      <p:pic>
        <p:nvPicPr>
          <p:cNvPr id="877" name="Image" descr="Image"/>
          <p:cNvPicPr>
            <a:picLocks noChangeAspect="1"/>
          </p:cNvPicPr>
          <p:nvPr/>
        </p:nvPicPr>
        <p:blipFill>
          <a:blip r:embed="rId29"/>
          <a:stretch>
            <a:fillRect/>
          </a:stretch>
        </p:blipFill>
        <p:spPr>
          <a:xfrm>
            <a:off x="4639158" y="2976516"/>
            <a:ext cx="374852" cy="483877"/>
          </a:xfrm>
          <a:prstGeom prst="rect">
            <a:avLst/>
          </a:prstGeom>
          <a:ln w="3175">
            <a:miter lim="400000"/>
          </a:ln>
        </p:spPr>
      </p:pic>
      <p:pic>
        <p:nvPicPr>
          <p:cNvPr id="878" name="Image" descr="Image"/>
          <p:cNvPicPr>
            <a:picLocks noChangeAspect="1"/>
          </p:cNvPicPr>
          <p:nvPr/>
        </p:nvPicPr>
        <p:blipFill>
          <a:blip r:embed="rId30"/>
          <a:stretch>
            <a:fillRect/>
          </a:stretch>
        </p:blipFill>
        <p:spPr>
          <a:xfrm>
            <a:off x="5596505" y="2986921"/>
            <a:ext cx="484575" cy="463067"/>
          </a:xfrm>
          <a:prstGeom prst="rect">
            <a:avLst/>
          </a:prstGeom>
          <a:ln w="3175">
            <a:miter lim="400000"/>
          </a:ln>
        </p:spPr>
      </p:pic>
      <p:pic>
        <p:nvPicPr>
          <p:cNvPr id="879" name="Image" descr="Image"/>
          <p:cNvPicPr>
            <a:picLocks noChangeAspect="1"/>
          </p:cNvPicPr>
          <p:nvPr/>
        </p:nvPicPr>
        <p:blipFill>
          <a:blip r:embed="rId31"/>
          <a:stretch>
            <a:fillRect/>
          </a:stretch>
        </p:blipFill>
        <p:spPr>
          <a:xfrm>
            <a:off x="6595606" y="2976908"/>
            <a:ext cx="484575" cy="483091"/>
          </a:xfrm>
          <a:prstGeom prst="rect">
            <a:avLst/>
          </a:prstGeom>
          <a:ln w="3175">
            <a:miter lim="400000"/>
          </a:ln>
        </p:spPr>
      </p:pic>
      <p:pic>
        <p:nvPicPr>
          <p:cNvPr id="880" name="Image" descr="Image"/>
          <p:cNvPicPr>
            <a:picLocks noChangeAspect="1"/>
          </p:cNvPicPr>
          <p:nvPr/>
        </p:nvPicPr>
        <p:blipFill>
          <a:blip r:embed="rId32"/>
          <a:stretch>
            <a:fillRect/>
          </a:stretch>
        </p:blipFill>
        <p:spPr>
          <a:xfrm>
            <a:off x="7642203" y="3036741"/>
            <a:ext cx="484575" cy="363431"/>
          </a:xfrm>
          <a:prstGeom prst="rect">
            <a:avLst/>
          </a:prstGeom>
          <a:ln w="3175">
            <a:miter lim="400000"/>
          </a:ln>
        </p:spPr>
      </p:pic>
      <p:pic>
        <p:nvPicPr>
          <p:cNvPr id="881" name="Image" descr="Image"/>
          <p:cNvPicPr>
            <a:picLocks noChangeAspect="1"/>
          </p:cNvPicPr>
          <p:nvPr/>
        </p:nvPicPr>
        <p:blipFill>
          <a:blip r:embed="rId33"/>
          <a:stretch>
            <a:fillRect/>
          </a:stretch>
        </p:blipFill>
        <p:spPr>
          <a:xfrm>
            <a:off x="8680123" y="2976169"/>
            <a:ext cx="416431" cy="484575"/>
          </a:xfrm>
          <a:prstGeom prst="rect">
            <a:avLst/>
          </a:prstGeom>
          <a:ln w="3175">
            <a:miter lim="400000"/>
          </a:ln>
        </p:spPr>
      </p:pic>
      <p:pic>
        <p:nvPicPr>
          <p:cNvPr id="882" name="Image" descr="Image"/>
          <p:cNvPicPr>
            <a:picLocks noChangeAspect="1"/>
          </p:cNvPicPr>
          <p:nvPr/>
        </p:nvPicPr>
        <p:blipFill>
          <a:blip r:embed="rId34"/>
          <a:stretch>
            <a:fillRect/>
          </a:stretch>
        </p:blipFill>
        <p:spPr>
          <a:xfrm>
            <a:off x="9678747" y="3025384"/>
            <a:ext cx="484575" cy="386145"/>
          </a:xfrm>
          <a:prstGeom prst="rect">
            <a:avLst/>
          </a:prstGeom>
          <a:ln w="3175">
            <a:miter lim="400000"/>
          </a:ln>
        </p:spPr>
      </p:pic>
      <p:pic>
        <p:nvPicPr>
          <p:cNvPr id="883" name="Image" descr="Image"/>
          <p:cNvPicPr>
            <a:picLocks noChangeAspect="1"/>
          </p:cNvPicPr>
          <p:nvPr/>
        </p:nvPicPr>
        <p:blipFill>
          <a:blip r:embed="rId35"/>
          <a:stretch>
            <a:fillRect/>
          </a:stretch>
        </p:blipFill>
        <p:spPr>
          <a:xfrm>
            <a:off x="10687894" y="3056205"/>
            <a:ext cx="484575" cy="324503"/>
          </a:xfrm>
          <a:prstGeom prst="rect">
            <a:avLst/>
          </a:prstGeom>
          <a:ln w="3175">
            <a:miter lim="400000"/>
          </a:ln>
        </p:spPr>
      </p:pic>
      <p:pic>
        <p:nvPicPr>
          <p:cNvPr id="884" name="Image" descr="Image"/>
          <p:cNvPicPr>
            <a:picLocks noChangeAspect="1"/>
          </p:cNvPicPr>
          <p:nvPr/>
        </p:nvPicPr>
        <p:blipFill>
          <a:blip r:embed="rId36"/>
          <a:stretch>
            <a:fillRect/>
          </a:stretch>
        </p:blipFill>
        <p:spPr>
          <a:xfrm>
            <a:off x="540442" y="3891980"/>
            <a:ext cx="484575" cy="465645"/>
          </a:xfrm>
          <a:prstGeom prst="rect">
            <a:avLst/>
          </a:prstGeom>
          <a:ln w="3175">
            <a:miter lim="400000"/>
          </a:ln>
        </p:spPr>
      </p:pic>
      <p:pic>
        <p:nvPicPr>
          <p:cNvPr id="885" name="Image" descr="Image"/>
          <p:cNvPicPr>
            <a:picLocks noChangeAspect="1"/>
          </p:cNvPicPr>
          <p:nvPr/>
        </p:nvPicPr>
        <p:blipFill>
          <a:blip r:embed="rId37"/>
          <a:stretch>
            <a:fillRect/>
          </a:stretch>
        </p:blipFill>
        <p:spPr>
          <a:xfrm>
            <a:off x="1523787" y="3997982"/>
            <a:ext cx="484575" cy="253644"/>
          </a:xfrm>
          <a:prstGeom prst="rect">
            <a:avLst/>
          </a:prstGeom>
          <a:ln w="3175">
            <a:miter lim="400000"/>
          </a:ln>
        </p:spPr>
      </p:pic>
      <p:pic>
        <p:nvPicPr>
          <p:cNvPr id="886" name="Image" descr="Image"/>
          <p:cNvPicPr>
            <a:picLocks noChangeAspect="1"/>
          </p:cNvPicPr>
          <p:nvPr/>
        </p:nvPicPr>
        <p:blipFill>
          <a:blip r:embed="rId38"/>
          <a:stretch>
            <a:fillRect/>
          </a:stretch>
        </p:blipFill>
        <p:spPr>
          <a:xfrm>
            <a:off x="2538393" y="3898764"/>
            <a:ext cx="484575" cy="452081"/>
          </a:xfrm>
          <a:prstGeom prst="rect">
            <a:avLst/>
          </a:prstGeom>
          <a:ln w="3175">
            <a:miter lim="400000"/>
          </a:ln>
        </p:spPr>
      </p:pic>
      <p:pic>
        <p:nvPicPr>
          <p:cNvPr id="887" name="Image" descr="Image"/>
          <p:cNvPicPr>
            <a:picLocks noChangeAspect="1"/>
          </p:cNvPicPr>
          <p:nvPr/>
        </p:nvPicPr>
        <p:blipFill>
          <a:blip r:embed="rId39"/>
          <a:stretch>
            <a:fillRect/>
          </a:stretch>
        </p:blipFill>
        <p:spPr>
          <a:xfrm>
            <a:off x="3568081" y="3954663"/>
            <a:ext cx="484328" cy="340277"/>
          </a:xfrm>
          <a:prstGeom prst="rect">
            <a:avLst/>
          </a:prstGeom>
          <a:ln w="3175">
            <a:miter lim="400000"/>
          </a:ln>
        </p:spPr>
      </p:pic>
      <p:pic>
        <p:nvPicPr>
          <p:cNvPr id="888" name="Image" descr="Image"/>
          <p:cNvPicPr>
            <a:picLocks noChangeAspect="1"/>
          </p:cNvPicPr>
          <p:nvPr/>
        </p:nvPicPr>
        <p:blipFill>
          <a:blip r:embed="rId40"/>
          <a:stretch>
            <a:fillRect/>
          </a:stretch>
        </p:blipFill>
        <p:spPr>
          <a:xfrm>
            <a:off x="4584295" y="3882517"/>
            <a:ext cx="484575" cy="484575"/>
          </a:xfrm>
          <a:prstGeom prst="rect">
            <a:avLst/>
          </a:prstGeom>
          <a:ln w="3175">
            <a:miter lim="400000"/>
          </a:ln>
        </p:spPr>
      </p:pic>
      <p:pic>
        <p:nvPicPr>
          <p:cNvPr id="889" name="Image" descr="Image"/>
          <p:cNvPicPr>
            <a:picLocks noChangeAspect="1"/>
          </p:cNvPicPr>
          <p:nvPr/>
        </p:nvPicPr>
        <p:blipFill>
          <a:blip r:embed="rId41"/>
          <a:stretch>
            <a:fillRect/>
          </a:stretch>
        </p:blipFill>
        <p:spPr>
          <a:xfrm>
            <a:off x="5611661" y="3899933"/>
            <a:ext cx="454259" cy="449743"/>
          </a:xfrm>
          <a:prstGeom prst="rect">
            <a:avLst/>
          </a:prstGeom>
          <a:ln w="3175">
            <a:miter lim="400000"/>
          </a:ln>
        </p:spPr>
      </p:pic>
      <p:pic>
        <p:nvPicPr>
          <p:cNvPr id="890" name="Image" descr="Image"/>
          <p:cNvPicPr>
            <a:picLocks noChangeAspect="1"/>
          </p:cNvPicPr>
          <p:nvPr/>
        </p:nvPicPr>
        <p:blipFill>
          <a:blip r:embed="rId42"/>
          <a:stretch>
            <a:fillRect/>
          </a:stretch>
        </p:blipFill>
        <p:spPr>
          <a:xfrm>
            <a:off x="6595606" y="3919913"/>
            <a:ext cx="484575" cy="409776"/>
          </a:xfrm>
          <a:prstGeom prst="rect">
            <a:avLst/>
          </a:prstGeom>
          <a:ln w="3175">
            <a:miter lim="400000"/>
          </a:ln>
        </p:spPr>
      </p:pic>
      <p:pic>
        <p:nvPicPr>
          <p:cNvPr id="891" name="Image" descr="Image"/>
          <p:cNvPicPr>
            <a:picLocks noChangeAspect="1"/>
          </p:cNvPicPr>
          <p:nvPr/>
        </p:nvPicPr>
        <p:blipFill>
          <a:blip r:embed="rId43"/>
          <a:stretch>
            <a:fillRect/>
          </a:stretch>
        </p:blipFill>
        <p:spPr>
          <a:xfrm>
            <a:off x="7643097" y="3883407"/>
            <a:ext cx="482788" cy="482792"/>
          </a:xfrm>
          <a:prstGeom prst="rect">
            <a:avLst/>
          </a:prstGeom>
          <a:ln w="3175">
            <a:miter lim="400000"/>
          </a:ln>
        </p:spPr>
      </p:pic>
      <p:pic>
        <p:nvPicPr>
          <p:cNvPr id="892" name="Image" descr="Image"/>
          <p:cNvPicPr>
            <a:picLocks noChangeAspect="1"/>
          </p:cNvPicPr>
          <p:nvPr/>
        </p:nvPicPr>
        <p:blipFill>
          <a:blip r:embed="rId44"/>
          <a:stretch>
            <a:fillRect/>
          </a:stretch>
        </p:blipFill>
        <p:spPr>
          <a:xfrm>
            <a:off x="8646593" y="3913117"/>
            <a:ext cx="483492" cy="423371"/>
          </a:xfrm>
          <a:prstGeom prst="rect">
            <a:avLst/>
          </a:prstGeom>
          <a:ln w="3175">
            <a:miter lim="400000"/>
          </a:ln>
        </p:spPr>
      </p:pic>
      <p:pic>
        <p:nvPicPr>
          <p:cNvPr id="893" name="Image" descr="Image"/>
          <p:cNvPicPr>
            <a:picLocks noChangeAspect="1"/>
          </p:cNvPicPr>
          <p:nvPr/>
        </p:nvPicPr>
        <p:blipFill>
          <a:blip r:embed="rId45"/>
          <a:stretch>
            <a:fillRect/>
          </a:stretch>
        </p:blipFill>
        <p:spPr>
          <a:xfrm>
            <a:off x="10687894" y="3908068"/>
            <a:ext cx="484575" cy="433467"/>
          </a:xfrm>
          <a:prstGeom prst="rect">
            <a:avLst/>
          </a:prstGeom>
          <a:ln w="3175">
            <a:miter lim="400000"/>
          </a:ln>
        </p:spPr>
      </p:pic>
      <p:pic>
        <p:nvPicPr>
          <p:cNvPr id="894" name="Image" descr="Image"/>
          <p:cNvPicPr>
            <a:picLocks noChangeAspect="1"/>
          </p:cNvPicPr>
          <p:nvPr/>
        </p:nvPicPr>
        <p:blipFill>
          <a:blip r:embed="rId46"/>
          <a:stretch>
            <a:fillRect/>
          </a:stretch>
        </p:blipFill>
        <p:spPr>
          <a:xfrm>
            <a:off x="606010" y="4878149"/>
            <a:ext cx="353439" cy="470025"/>
          </a:xfrm>
          <a:prstGeom prst="rect">
            <a:avLst/>
          </a:prstGeom>
          <a:ln w="3175">
            <a:miter lim="400000"/>
          </a:ln>
        </p:spPr>
      </p:pic>
      <p:pic>
        <p:nvPicPr>
          <p:cNvPr id="895" name="Image" descr="Image"/>
          <p:cNvPicPr>
            <a:picLocks noChangeAspect="1"/>
          </p:cNvPicPr>
          <p:nvPr/>
        </p:nvPicPr>
        <p:blipFill>
          <a:blip r:embed="rId47"/>
          <a:stretch>
            <a:fillRect/>
          </a:stretch>
        </p:blipFill>
        <p:spPr>
          <a:xfrm>
            <a:off x="1523787" y="4870875"/>
            <a:ext cx="484575" cy="484575"/>
          </a:xfrm>
          <a:prstGeom prst="rect">
            <a:avLst/>
          </a:prstGeom>
          <a:ln w="3175">
            <a:miter lim="400000"/>
          </a:ln>
        </p:spPr>
      </p:pic>
      <p:pic>
        <p:nvPicPr>
          <p:cNvPr id="896" name="Image" descr="Image"/>
          <p:cNvPicPr>
            <a:picLocks noChangeAspect="1"/>
          </p:cNvPicPr>
          <p:nvPr/>
        </p:nvPicPr>
        <p:blipFill>
          <a:blip r:embed="rId48"/>
          <a:stretch>
            <a:fillRect/>
          </a:stretch>
        </p:blipFill>
        <p:spPr>
          <a:xfrm>
            <a:off x="2603961" y="4878150"/>
            <a:ext cx="353439" cy="470025"/>
          </a:xfrm>
          <a:prstGeom prst="rect">
            <a:avLst/>
          </a:prstGeom>
          <a:ln w="3175">
            <a:miter lim="400000"/>
          </a:ln>
        </p:spPr>
      </p:pic>
      <p:pic>
        <p:nvPicPr>
          <p:cNvPr id="897" name="Image" descr="Image"/>
          <p:cNvPicPr>
            <a:picLocks noChangeAspect="1"/>
          </p:cNvPicPr>
          <p:nvPr/>
        </p:nvPicPr>
        <p:blipFill>
          <a:blip r:embed="rId49"/>
          <a:stretch>
            <a:fillRect/>
          </a:stretch>
        </p:blipFill>
        <p:spPr>
          <a:xfrm>
            <a:off x="3567957" y="4870875"/>
            <a:ext cx="484575" cy="484575"/>
          </a:xfrm>
          <a:prstGeom prst="rect">
            <a:avLst/>
          </a:prstGeom>
          <a:ln w="3175">
            <a:miter lim="400000"/>
          </a:ln>
        </p:spPr>
      </p:pic>
      <p:pic>
        <p:nvPicPr>
          <p:cNvPr id="898" name="Image" descr="Image"/>
          <p:cNvPicPr>
            <a:picLocks noChangeAspect="1"/>
          </p:cNvPicPr>
          <p:nvPr/>
        </p:nvPicPr>
        <p:blipFill>
          <a:blip r:embed="rId50"/>
          <a:stretch>
            <a:fillRect/>
          </a:stretch>
        </p:blipFill>
        <p:spPr>
          <a:xfrm>
            <a:off x="4590089" y="4876666"/>
            <a:ext cx="472991" cy="472993"/>
          </a:xfrm>
          <a:prstGeom prst="rect">
            <a:avLst/>
          </a:prstGeom>
          <a:ln w="3175">
            <a:miter lim="400000"/>
          </a:ln>
        </p:spPr>
      </p:pic>
      <p:pic>
        <p:nvPicPr>
          <p:cNvPr id="899" name="Image" descr="Image"/>
          <p:cNvPicPr>
            <a:picLocks noChangeAspect="1"/>
          </p:cNvPicPr>
          <p:nvPr/>
        </p:nvPicPr>
        <p:blipFill>
          <a:blip r:embed="rId51"/>
          <a:stretch>
            <a:fillRect/>
          </a:stretch>
        </p:blipFill>
        <p:spPr>
          <a:xfrm>
            <a:off x="5596505" y="4870875"/>
            <a:ext cx="484575" cy="484575"/>
          </a:xfrm>
          <a:prstGeom prst="rect">
            <a:avLst/>
          </a:prstGeom>
          <a:ln w="3175">
            <a:miter lim="400000"/>
          </a:ln>
        </p:spPr>
      </p:pic>
      <p:pic>
        <p:nvPicPr>
          <p:cNvPr id="900" name="Image" descr="Image"/>
          <p:cNvPicPr>
            <a:picLocks noChangeAspect="1"/>
          </p:cNvPicPr>
          <p:nvPr/>
        </p:nvPicPr>
        <p:blipFill>
          <a:blip r:embed="rId52"/>
          <a:stretch>
            <a:fillRect/>
          </a:stretch>
        </p:blipFill>
        <p:spPr>
          <a:xfrm>
            <a:off x="6627781" y="4870875"/>
            <a:ext cx="420224" cy="484575"/>
          </a:xfrm>
          <a:prstGeom prst="rect">
            <a:avLst/>
          </a:prstGeom>
          <a:ln w="3175">
            <a:miter lim="400000"/>
          </a:ln>
        </p:spPr>
      </p:pic>
      <p:pic>
        <p:nvPicPr>
          <p:cNvPr id="901" name="Image" descr="Image"/>
          <p:cNvPicPr>
            <a:picLocks noChangeAspect="1"/>
          </p:cNvPicPr>
          <p:nvPr/>
        </p:nvPicPr>
        <p:blipFill>
          <a:blip r:embed="rId53"/>
          <a:stretch>
            <a:fillRect/>
          </a:stretch>
        </p:blipFill>
        <p:spPr>
          <a:xfrm>
            <a:off x="7674367" y="4870875"/>
            <a:ext cx="420247" cy="484575"/>
          </a:xfrm>
          <a:prstGeom prst="rect">
            <a:avLst/>
          </a:prstGeom>
          <a:ln w="3175">
            <a:miter lim="400000"/>
          </a:ln>
        </p:spPr>
      </p:pic>
      <p:pic>
        <p:nvPicPr>
          <p:cNvPr id="902" name="Image" descr="Image"/>
          <p:cNvPicPr>
            <a:picLocks noChangeAspect="1"/>
          </p:cNvPicPr>
          <p:nvPr/>
        </p:nvPicPr>
        <p:blipFill>
          <a:blip r:embed="rId54"/>
          <a:stretch>
            <a:fillRect/>
          </a:stretch>
        </p:blipFill>
        <p:spPr>
          <a:xfrm>
            <a:off x="8650783" y="4870875"/>
            <a:ext cx="475109" cy="484575"/>
          </a:xfrm>
          <a:prstGeom prst="rect">
            <a:avLst/>
          </a:prstGeom>
          <a:ln w="3175">
            <a:miter lim="400000"/>
          </a:ln>
        </p:spPr>
      </p:pic>
      <p:pic>
        <p:nvPicPr>
          <p:cNvPr id="903" name="Image" descr="Image"/>
          <p:cNvPicPr>
            <a:picLocks noChangeAspect="1"/>
          </p:cNvPicPr>
          <p:nvPr/>
        </p:nvPicPr>
        <p:blipFill>
          <a:blip r:embed="rId55"/>
          <a:stretch>
            <a:fillRect/>
          </a:stretch>
        </p:blipFill>
        <p:spPr>
          <a:xfrm>
            <a:off x="9678211" y="4870875"/>
            <a:ext cx="485645" cy="484575"/>
          </a:xfrm>
          <a:prstGeom prst="rect">
            <a:avLst/>
          </a:prstGeom>
          <a:ln w="3175">
            <a:miter lim="400000"/>
          </a:ln>
        </p:spPr>
      </p:pic>
      <p:pic>
        <p:nvPicPr>
          <p:cNvPr id="904" name="Image" descr="Image"/>
          <p:cNvPicPr>
            <a:picLocks noChangeAspect="1"/>
          </p:cNvPicPr>
          <p:nvPr/>
        </p:nvPicPr>
        <p:blipFill>
          <a:blip r:embed="rId56"/>
          <a:stretch>
            <a:fillRect/>
          </a:stretch>
        </p:blipFill>
        <p:spPr>
          <a:xfrm>
            <a:off x="9699195" y="3907450"/>
            <a:ext cx="443677" cy="434708"/>
          </a:xfrm>
          <a:prstGeom prst="rect">
            <a:avLst/>
          </a:prstGeom>
          <a:ln w="3175">
            <a:miter lim="400000"/>
          </a:ln>
        </p:spPr>
      </p:pic>
      <p:pic>
        <p:nvPicPr>
          <p:cNvPr id="905" name="Image" descr="Image"/>
          <p:cNvPicPr>
            <a:picLocks noChangeAspect="1"/>
          </p:cNvPicPr>
          <p:nvPr/>
        </p:nvPicPr>
        <p:blipFill>
          <a:blip r:embed="rId57"/>
          <a:stretch>
            <a:fillRect/>
          </a:stretch>
        </p:blipFill>
        <p:spPr>
          <a:xfrm>
            <a:off x="10691764" y="4874747"/>
            <a:ext cx="476832" cy="476831"/>
          </a:xfrm>
          <a:prstGeom prst="rect">
            <a:avLst/>
          </a:prstGeom>
          <a:ln w="3175">
            <a:miter lim="400000"/>
          </a:ln>
        </p:spPr>
      </p:pic>
      <p:pic>
        <p:nvPicPr>
          <p:cNvPr id="906" name="Image" descr="Image"/>
          <p:cNvPicPr>
            <a:picLocks noChangeAspect="1"/>
          </p:cNvPicPr>
          <p:nvPr/>
        </p:nvPicPr>
        <p:blipFill>
          <a:blip r:embed="rId58"/>
          <a:stretch>
            <a:fillRect/>
          </a:stretch>
        </p:blipFill>
        <p:spPr>
          <a:xfrm>
            <a:off x="507299" y="5812845"/>
            <a:ext cx="550860" cy="551279"/>
          </a:xfrm>
          <a:prstGeom prst="rect">
            <a:avLst/>
          </a:prstGeom>
          <a:ln w="3175">
            <a:miter lim="400000"/>
          </a:ln>
        </p:spPr>
      </p:pic>
      <p:pic>
        <p:nvPicPr>
          <p:cNvPr id="907" name="Image" descr="Image"/>
          <p:cNvPicPr>
            <a:picLocks noChangeAspect="1"/>
          </p:cNvPicPr>
          <p:nvPr/>
        </p:nvPicPr>
        <p:blipFill>
          <a:blip r:embed="rId59"/>
          <a:stretch>
            <a:fillRect/>
          </a:stretch>
        </p:blipFill>
        <p:spPr>
          <a:xfrm>
            <a:off x="1540587" y="5811297"/>
            <a:ext cx="450975" cy="554371"/>
          </a:xfrm>
          <a:prstGeom prst="rect">
            <a:avLst/>
          </a:prstGeom>
          <a:ln w="3175">
            <a:miter lim="400000"/>
          </a:ln>
        </p:spPr>
      </p:pic>
      <p:pic>
        <p:nvPicPr>
          <p:cNvPr id="908" name="Image" descr="Image"/>
          <p:cNvPicPr>
            <a:picLocks noChangeAspect="1"/>
          </p:cNvPicPr>
          <p:nvPr/>
        </p:nvPicPr>
        <p:blipFill>
          <a:blip r:embed="rId60"/>
          <a:stretch>
            <a:fillRect/>
          </a:stretch>
        </p:blipFill>
        <p:spPr>
          <a:xfrm>
            <a:off x="2580272" y="5812197"/>
            <a:ext cx="400817" cy="552571"/>
          </a:xfrm>
          <a:prstGeom prst="rect">
            <a:avLst/>
          </a:prstGeom>
          <a:ln w="3175">
            <a:miter lim="400000"/>
          </a:ln>
        </p:spPr>
      </p:pic>
      <p:pic>
        <p:nvPicPr>
          <p:cNvPr id="909" name="Image" descr="Image"/>
          <p:cNvPicPr>
            <a:picLocks noChangeAspect="1"/>
          </p:cNvPicPr>
          <p:nvPr/>
        </p:nvPicPr>
        <p:blipFill>
          <a:blip r:embed="rId61"/>
          <a:stretch>
            <a:fillRect/>
          </a:stretch>
        </p:blipFill>
        <p:spPr>
          <a:xfrm>
            <a:off x="3553945" y="5832183"/>
            <a:ext cx="512599" cy="512604"/>
          </a:xfrm>
          <a:prstGeom prst="rect">
            <a:avLst/>
          </a:prstGeom>
          <a:ln w="3175">
            <a:miter lim="400000"/>
          </a:ln>
        </p:spPr>
      </p:pic>
      <p:pic>
        <p:nvPicPr>
          <p:cNvPr id="910" name="Image" descr="Image"/>
          <p:cNvPicPr>
            <a:picLocks noChangeAspect="1"/>
          </p:cNvPicPr>
          <p:nvPr/>
        </p:nvPicPr>
        <p:blipFill>
          <a:blip r:embed="rId62"/>
          <a:stretch>
            <a:fillRect/>
          </a:stretch>
        </p:blipFill>
        <p:spPr>
          <a:xfrm>
            <a:off x="4570283" y="5836729"/>
            <a:ext cx="512599" cy="503507"/>
          </a:xfrm>
          <a:prstGeom prst="rect">
            <a:avLst/>
          </a:prstGeom>
          <a:ln w="3175">
            <a:miter lim="400000"/>
          </a:ln>
        </p:spPr>
      </p:pic>
      <p:pic>
        <p:nvPicPr>
          <p:cNvPr id="911" name="Image" descr="Image"/>
          <p:cNvPicPr>
            <a:picLocks noChangeAspect="1"/>
          </p:cNvPicPr>
          <p:nvPr/>
        </p:nvPicPr>
        <p:blipFill>
          <a:blip r:embed="rId63"/>
          <a:stretch>
            <a:fillRect/>
          </a:stretch>
        </p:blipFill>
        <p:spPr>
          <a:xfrm>
            <a:off x="5587041" y="5837814"/>
            <a:ext cx="503503" cy="501343"/>
          </a:xfrm>
          <a:prstGeom prst="rect">
            <a:avLst/>
          </a:prstGeom>
          <a:ln w="3175">
            <a:miter lim="400000"/>
          </a:ln>
        </p:spPr>
      </p:pic>
      <p:pic>
        <p:nvPicPr>
          <p:cNvPr id="912" name="Image" descr="Image"/>
          <p:cNvPicPr>
            <a:picLocks noChangeAspect="1"/>
          </p:cNvPicPr>
          <p:nvPr/>
        </p:nvPicPr>
        <p:blipFill>
          <a:blip r:embed="rId64"/>
          <a:stretch>
            <a:fillRect/>
          </a:stretch>
        </p:blipFill>
        <p:spPr>
          <a:xfrm>
            <a:off x="6600461" y="5851053"/>
            <a:ext cx="474864" cy="474865"/>
          </a:xfrm>
          <a:prstGeom prst="rect">
            <a:avLst/>
          </a:prstGeom>
          <a:ln w="3175">
            <a:miter lim="400000"/>
          </a:ln>
        </p:spPr>
      </p:pic>
      <p:pic>
        <p:nvPicPr>
          <p:cNvPr id="913" name="Image" descr="Image"/>
          <p:cNvPicPr>
            <a:picLocks noChangeAspect="1"/>
          </p:cNvPicPr>
          <p:nvPr/>
        </p:nvPicPr>
        <p:blipFill>
          <a:blip r:embed="rId65"/>
          <a:stretch>
            <a:fillRect/>
          </a:stretch>
        </p:blipFill>
        <p:spPr>
          <a:xfrm>
            <a:off x="7608851" y="5812846"/>
            <a:ext cx="551279" cy="551279"/>
          </a:xfrm>
          <a:prstGeom prst="rect">
            <a:avLst/>
          </a:prstGeom>
          <a:ln w="3175">
            <a:miter lim="400000"/>
          </a:ln>
        </p:spPr>
      </p:pic>
      <p:pic>
        <p:nvPicPr>
          <p:cNvPr id="914" name="Image" descr="Image"/>
          <p:cNvPicPr>
            <a:picLocks noChangeAspect="1"/>
          </p:cNvPicPr>
          <p:nvPr/>
        </p:nvPicPr>
        <p:blipFill>
          <a:blip r:embed="rId66"/>
          <a:stretch>
            <a:fillRect/>
          </a:stretch>
        </p:blipFill>
        <p:spPr>
          <a:xfrm>
            <a:off x="8612051" y="5849807"/>
            <a:ext cx="552571" cy="477352"/>
          </a:xfrm>
          <a:prstGeom prst="rect">
            <a:avLst/>
          </a:prstGeom>
          <a:ln w="3175">
            <a:miter lim="400000"/>
          </a:ln>
        </p:spPr>
      </p:pic>
      <p:pic>
        <p:nvPicPr>
          <p:cNvPr id="915" name="Image" descr="Image"/>
          <p:cNvPicPr>
            <a:picLocks noChangeAspect="1"/>
          </p:cNvPicPr>
          <p:nvPr/>
        </p:nvPicPr>
        <p:blipFill>
          <a:blip r:embed="rId67"/>
          <a:stretch>
            <a:fillRect/>
          </a:stretch>
        </p:blipFill>
        <p:spPr>
          <a:xfrm>
            <a:off x="9644747" y="5812197"/>
            <a:ext cx="552571" cy="552571"/>
          </a:xfrm>
          <a:prstGeom prst="rect">
            <a:avLst/>
          </a:prstGeom>
          <a:ln w="3175">
            <a:miter lim="400000"/>
          </a:ln>
        </p:spPr>
      </p:pic>
      <p:pic>
        <p:nvPicPr>
          <p:cNvPr id="916" name="Image" descr="Image"/>
          <p:cNvPicPr>
            <a:picLocks noChangeAspect="1"/>
          </p:cNvPicPr>
          <p:nvPr/>
        </p:nvPicPr>
        <p:blipFill>
          <a:blip r:embed="rId68"/>
          <a:stretch>
            <a:fillRect/>
          </a:stretch>
        </p:blipFill>
        <p:spPr>
          <a:xfrm>
            <a:off x="10665999" y="5832183"/>
            <a:ext cx="528363" cy="512604"/>
          </a:xfrm>
          <a:prstGeom prst="rect">
            <a:avLst/>
          </a:prstGeom>
          <a:ln w="3175">
            <a:miter lim="400000"/>
          </a:ln>
        </p:spPr>
      </p:pic>
    </p:spTree>
    <p:extLst>
      <p:ext uri="{BB962C8B-B14F-4D97-AF65-F5344CB8AC3E}">
        <p14:creationId xmlns:p14="http://schemas.microsoft.com/office/powerpoint/2010/main" val="422845133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0" name="Icon Library Grey #585858 /  Icon Library"/>
          <p:cNvSpPr txBox="1"/>
          <p:nvPr/>
        </p:nvSpPr>
        <p:spPr>
          <a:xfrm>
            <a:off x="473064" y="286421"/>
            <a:ext cx="4547777" cy="30296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719" tIns="35719" rIns="35719" bIns="35719">
            <a:spAutoFit/>
          </a:bodyPr>
          <a:lstStyle/>
          <a:p>
            <a:pPr>
              <a:defRPr sz="3000">
                <a:latin typeface="Helvetica"/>
                <a:ea typeface="Helvetica"/>
                <a:cs typeface="Helvetica"/>
                <a:sym typeface="Helvetica"/>
              </a:defRPr>
            </a:pPr>
            <a:r>
              <a:rPr lang="en-US" sz="1500" dirty="0">
                <a:latin typeface="Roboto Regular" panose="02000000000000000000" pitchFamily="2" charset="0"/>
                <a:ea typeface="Roboto Regular" panose="02000000000000000000" pitchFamily="2" charset="0"/>
                <a:sym typeface="Fira Sans Regular"/>
              </a:rPr>
              <a:t>Official </a:t>
            </a:r>
            <a:r>
              <a:rPr sz="1500" dirty="0">
                <a:latin typeface="Roboto Regular" panose="02000000000000000000" pitchFamily="2" charset="0"/>
                <a:ea typeface="Roboto Regular" panose="02000000000000000000" pitchFamily="2" charset="0"/>
                <a:sym typeface="Fira Sans Regular"/>
              </a:rPr>
              <a:t>Icon Library Grey #585858 </a:t>
            </a:r>
            <a:r>
              <a:rPr sz="900" i="1" dirty="0">
                <a:solidFill>
                  <a:srgbClr val="53585F"/>
                </a:solidFill>
                <a:latin typeface="Georgia"/>
                <a:ea typeface="Georgia"/>
                <a:cs typeface="Georgia"/>
                <a:sym typeface="Georgia"/>
              </a:rPr>
              <a:t>/  Icon Library </a:t>
            </a:r>
          </a:p>
        </p:txBody>
      </p:sp>
      <p:pic>
        <p:nvPicPr>
          <p:cNvPr id="991" name="Image" descr="Image"/>
          <p:cNvPicPr>
            <a:picLocks noChangeAspect="1"/>
          </p:cNvPicPr>
          <p:nvPr/>
        </p:nvPicPr>
        <p:blipFill>
          <a:blip r:embed="rId2"/>
          <a:stretch>
            <a:fillRect/>
          </a:stretch>
        </p:blipFill>
        <p:spPr>
          <a:xfrm>
            <a:off x="510280" y="1034520"/>
            <a:ext cx="512651" cy="512649"/>
          </a:xfrm>
          <a:prstGeom prst="rect">
            <a:avLst/>
          </a:prstGeom>
          <a:ln w="3175">
            <a:miter lim="400000"/>
          </a:ln>
        </p:spPr>
      </p:pic>
      <p:pic>
        <p:nvPicPr>
          <p:cNvPr id="992" name="Image" descr="Image"/>
          <p:cNvPicPr>
            <a:picLocks noChangeAspect="1"/>
          </p:cNvPicPr>
          <p:nvPr/>
        </p:nvPicPr>
        <p:blipFill>
          <a:blip r:embed="rId3"/>
          <a:stretch>
            <a:fillRect/>
          </a:stretch>
        </p:blipFill>
        <p:spPr>
          <a:xfrm>
            <a:off x="1559749" y="1052218"/>
            <a:ext cx="432159" cy="477252"/>
          </a:xfrm>
          <a:prstGeom prst="rect">
            <a:avLst/>
          </a:prstGeom>
          <a:ln w="3175">
            <a:miter lim="400000"/>
          </a:ln>
        </p:spPr>
      </p:pic>
      <p:pic>
        <p:nvPicPr>
          <p:cNvPr id="993" name="Image" descr="Image"/>
          <p:cNvPicPr>
            <a:picLocks noChangeAspect="1"/>
          </p:cNvPicPr>
          <p:nvPr/>
        </p:nvPicPr>
        <p:blipFill>
          <a:blip r:embed="rId4"/>
          <a:stretch>
            <a:fillRect/>
          </a:stretch>
        </p:blipFill>
        <p:spPr>
          <a:xfrm>
            <a:off x="2538085" y="1073860"/>
            <a:ext cx="512713" cy="433968"/>
          </a:xfrm>
          <a:prstGeom prst="rect">
            <a:avLst/>
          </a:prstGeom>
          <a:ln w="3175">
            <a:miter lim="400000"/>
          </a:ln>
        </p:spPr>
      </p:pic>
      <p:pic>
        <p:nvPicPr>
          <p:cNvPr id="994" name="Image" descr="Image"/>
          <p:cNvPicPr>
            <a:picLocks noChangeAspect="1"/>
          </p:cNvPicPr>
          <p:nvPr/>
        </p:nvPicPr>
        <p:blipFill>
          <a:blip r:embed="rId5"/>
          <a:stretch>
            <a:fillRect/>
          </a:stretch>
        </p:blipFill>
        <p:spPr>
          <a:xfrm>
            <a:off x="3540815" y="1028863"/>
            <a:ext cx="524019" cy="524019"/>
          </a:xfrm>
          <a:prstGeom prst="rect">
            <a:avLst/>
          </a:prstGeom>
          <a:ln w="3175">
            <a:miter lim="400000"/>
          </a:ln>
        </p:spPr>
      </p:pic>
      <p:pic>
        <p:nvPicPr>
          <p:cNvPr id="995" name="Image" descr="Image"/>
          <p:cNvPicPr>
            <a:picLocks noChangeAspect="1"/>
          </p:cNvPicPr>
          <p:nvPr/>
        </p:nvPicPr>
        <p:blipFill>
          <a:blip r:embed="rId6"/>
          <a:stretch>
            <a:fillRect/>
          </a:stretch>
        </p:blipFill>
        <p:spPr>
          <a:xfrm>
            <a:off x="4697002" y="1205100"/>
            <a:ext cx="267692" cy="171491"/>
          </a:xfrm>
          <a:prstGeom prst="rect">
            <a:avLst/>
          </a:prstGeom>
          <a:ln w="3175">
            <a:miter lim="400000"/>
          </a:ln>
        </p:spPr>
      </p:pic>
      <p:pic>
        <p:nvPicPr>
          <p:cNvPr id="996" name="Image" descr="Image"/>
          <p:cNvPicPr>
            <a:picLocks noChangeAspect="1"/>
          </p:cNvPicPr>
          <p:nvPr/>
        </p:nvPicPr>
        <p:blipFill>
          <a:blip r:embed="rId7"/>
          <a:stretch>
            <a:fillRect/>
          </a:stretch>
        </p:blipFill>
        <p:spPr>
          <a:xfrm>
            <a:off x="5583314" y="1028833"/>
            <a:ext cx="524031" cy="524031"/>
          </a:xfrm>
          <a:prstGeom prst="rect">
            <a:avLst/>
          </a:prstGeom>
          <a:ln w="3175">
            <a:miter lim="400000"/>
          </a:ln>
        </p:spPr>
      </p:pic>
      <p:pic>
        <p:nvPicPr>
          <p:cNvPr id="997" name="Image" descr="Image"/>
          <p:cNvPicPr>
            <a:picLocks noChangeAspect="1"/>
          </p:cNvPicPr>
          <p:nvPr/>
        </p:nvPicPr>
        <p:blipFill>
          <a:blip r:embed="rId8"/>
          <a:stretch>
            <a:fillRect/>
          </a:stretch>
        </p:blipFill>
        <p:spPr>
          <a:xfrm>
            <a:off x="6605173" y="1028833"/>
            <a:ext cx="524024" cy="524024"/>
          </a:xfrm>
          <a:prstGeom prst="rect">
            <a:avLst/>
          </a:prstGeom>
          <a:ln w="3175">
            <a:miter lim="400000"/>
          </a:ln>
        </p:spPr>
      </p:pic>
      <p:pic>
        <p:nvPicPr>
          <p:cNvPr id="998" name="Image" descr="Image"/>
          <p:cNvPicPr>
            <a:picLocks noChangeAspect="1"/>
          </p:cNvPicPr>
          <p:nvPr/>
        </p:nvPicPr>
        <p:blipFill>
          <a:blip r:embed="rId9"/>
          <a:stretch>
            <a:fillRect/>
          </a:stretch>
        </p:blipFill>
        <p:spPr>
          <a:xfrm>
            <a:off x="7610580" y="1028833"/>
            <a:ext cx="524024" cy="524024"/>
          </a:xfrm>
          <a:prstGeom prst="rect">
            <a:avLst/>
          </a:prstGeom>
          <a:ln w="3175">
            <a:miter lim="400000"/>
          </a:ln>
        </p:spPr>
      </p:pic>
      <p:pic>
        <p:nvPicPr>
          <p:cNvPr id="999" name="Image" descr="Image"/>
          <p:cNvPicPr>
            <a:picLocks noChangeAspect="1"/>
          </p:cNvPicPr>
          <p:nvPr/>
        </p:nvPicPr>
        <p:blipFill>
          <a:blip r:embed="rId10"/>
          <a:stretch>
            <a:fillRect/>
          </a:stretch>
        </p:blipFill>
        <p:spPr>
          <a:xfrm>
            <a:off x="8684274" y="1023153"/>
            <a:ext cx="424743" cy="535383"/>
          </a:xfrm>
          <a:prstGeom prst="rect">
            <a:avLst/>
          </a:prstGeom>
          <a:ln w="3175">
            <a:miter lim="400000"/>
          </a:ln>
        </p:spPr>
      </p:pic>
      <p:pic>
        <p:nvPicPr>
          <p:cNvPr id="1000" name="Image" descr="Image"/>
          <p:cNvPicPr>
            <a:picLocks noChangeAspect="1"/>
          </p:cNvPicPr>
          <p:nvPr/>
        </p:nvPicPr>
        <p:blipFill>
          <a:blip r:embed="rId11"/>
          <a:stretch>
            <a:fillRect/>
          </a:stretch>
        </p:blipFill>
        <p:spPr>
          <a:xfrm>
            <a:off x="9708996" y="1023147"/>
            <a:ext cx="401552" cy="535396"/>
          </a:xfrm>
          <a:prstGeom prst="rect">
            <a:avLst/>
          </a:prstGeom>
          <a:ln w="3175">
            <a:miter lim="400000"/>
          </a:ln>
        </p:spPr>
      </p:pic>
      <p:pic>
        <p:nvPicPr>
          <p:cNvPr id="1001" name="Image" descr="Image"/>
          <p:cNvPicPr>
            <a:picLocks noChangeAspect="1"/>
          </p:cNvPicPr>
          <p:nvPr/>
        </p:nvPicPr>
        <p:blipFill>
          <a:blip r:embed="rId12"/>
          <a:stretch>
            <a:fillRect/>
          </a:stretch>
        </p:blipFill>
        <p:spPr>
          <a:xfrm>
            <a:off x="10719725" y="1023147"/>
            <a:ext cx="401552" cy="535396"/>
          </a:xfrm>
          <a:prstGeom prst="rect">
            <a:avLst/>
          </a:prstGeom>
          <a:ln w="3175">
            <a:miter lim="400000"/>
          </a:ln>
        </p:spPr>
      </p:pic>
      <p:pic>
        <p:nvPicPr>
          <p:cNvPr id="1002" name="Image" descr="Image"/>
          <p:cNvPicPr>
            <a:picLocks noChangeAspect="1"/>
          </p:cNvPicPr>
          <p:nvPr/>
        </p:nvPicPr>
        <p:blipFill>
          <a:blip r:embed="rId13"/>
          <a:stretch>
            <a:fillRect/>
          </a:stretch>
        </p:blipFill>
        <p:spPr>
          <a:xfrm>
            <a:off x="565861" y="2022647"/>
            <a:ext cx="401552" cy="535395"/>
          </a:xfrm>
          <a:prstGeom prst="rect">
            <a:avLst/>
          </a:prstGeom>
          <a:ln w="3175">
            <a:miter lim="400000"/>
          </a:ln>
        </p:spPr>
      </p:pic>
      <p:pic>
        <p:nvPicPr>
          <p:cNvPr id="1003" name="Image" descr="Image"/>
          <p:cNvPicPr>
            <a:picLocks noChangeAspect="1"/>
          </p:cNvPicPr>
          <p:nvPr/>
        </p:nvPicPr>
        <p:blipFill>
          <a:blip r:embed="rId14"/>
          <a:stretch>
            <a:fillRect/>
          </a:stretch>
        </p:blipFill>
        <p:spPr>
          <a:xfrm>
            <a:off x="1575051" y="2022647"/>
            <a:ext cx="401552" cy="535395"/>
          </a:xfrm>
          <a:prstGeom prst="rect">
            <a:avLst/>
          </a:prstGeom>
          <a:ln w="3175">
            <a:miter lim="400000"/>
          </a:ln>
        </p:spPr>
      </p:pic>
      <p:pic>
        <p:nvPicPr>
          <p:cNvPr id="1004" name="Image" descr="Image"/>
          <p:cNvPicPr>
            <a:picLocks noChangeAspect="1"/>
          </p:cNvPicPr>
          <p:nvPr/>
        </p:nvPicPr>
        <p:blipFill>
          <a:blip r:embed="rId15"/>
          <a:stretch>
            <a:fillRect/>
          </a:stretch>
        </p:blipFill>
        <p:spPr>
          <a:xfrm>
            <a:off x="2593665" y="2022647"/>
            <a:ext cx="401552" cy="535395"/>
          </a:xfrm>
          <a:prstGeom prst="rect">
            <a:avLst/>
          </a:prstGeom>
          <a:ln w="3175">
            <a:miter lim="400000"/>
          </a:ln>
        </p:spPr>
      </p:pic>
      <p:pic>
        <p:nvPicPr>
          <p:cNvPr id="1005" name="Image" descr="Image"/>
          <p:cNvPicPr>
            <a:picLocks noChangeAspect="1"/>
          </p:cNvPicPr>
          <p:nvPr/>
        </p:nvPicPr>
        <p:blipFill>
          <a:blip r:embed="rId16"/>
          <a:stretch>
            <a:fillRect/>
          </a:stretch>
        </p:blipFill>
        <p:spPr>
          <a:xfrm>
            <a:off x="3602052" y="2022647"/>
            <a:ext cx="401552" cy="535395"/>
          </a:xfrm>
          <a:prstGeom prst="rect">
            <a:avLst/>
          </a:prstGeom>
          <a:ln w="3175">
            <a:miter lim="400000"/>
          </a:ln>
        </p:spPr>
      </p:pic>
      <p:pic>
        <p:nvPicPr>
          <p:cNvPr id="1006" name="Image" descr="Image"/>
          <p:cNvPicPr>
            <a:picLocks noChangeAspect="1"/>
          </p:cNvPicPr>
          <p:nvPr/>
        </p:nvPicPr>
        <p:blipFill>
          <a:blip r:embed="rId17"/>
          <a:stretch>
            <a:fillRect/>
          </a:stretch>
        </p:blipFill>
        <p:spPr>
          <a:xfrm>
            <a:off x="4563104" y="2022647"/>
            <a:ext cx="535437" cy="535395"/>
          </a:xfrm>
          <a:prstGeom prst="rect">
            <a:avLst/>
          </a:prstGeom>
          <a:ln w="3175">
            <a:miter lim="400000"/>
          </a:ln>
        </p:spPr>
      </p:pic>
      <p:pic>
        <p:nvPicPr>
          <p:cNvPr id="1007" name="Image" descr="Image"/>
          <p:cNvPicPr>
            <a:picLocks noChangeAspect="1"/>
          </p:cNvPicPr>
          <p:nvPr/>
        </p:nvPicPr>
        <p:blipFill>
          <a:blip r:embed="rId18"/>
          <a:stretch>
            <a:fillRect/>
          </a:stretch>
        </p:blipFill>
        <p:spPr>
          <a:xfrm>
            <a:off x="5592617" y="2037634"/>
            <a:ext cx="505420" cy="505421"/>
          </a:xfrm>
          <a:prstGeom prst="rect">
            <a:avLst/>
          </a:prstGeom>
          <a:ln w="3175">
            <a:miter lim="400000"/>
          </a:ln>
        </p:spPr>
      </p:pic>
      <p:pic>
        <p:nvPicPr>
          <p:cNvPr id="1008" name="Image" descr="Image"/>
          <p:cNvPicPr>
            <a:picLocks noChangeAspect="1"/>
          </p:cNvPicPr>
          <p:nvPr/>
        </p:nvPicPr>
        <p:blipFill>
          <a:blip r:embed="rId19"/>
          <a:stretch>
            <a:fillRect/>
          </a:stretch>
        </p:blipFill>
        <p:spPr>
          <a:xfrm>
            <a:off x="6614475" y="2037634"/>
            <a:ext cx="505420" cy="505421"/>
          </a:xfrm>
          <a:prstGeom prst="rect">
            <a:avLst/>
          </a:prstGeom>
          <a:ln w="3175">
            <a:miter lim="400000"/>
          </a:ln>
        </p:spPr>
      </p:pic>
      <p:pic>
        <p:nvPicPr>
          <p:cNvPr id="1009" name="Image" descr="Image"/>
          <p:cNvPicPr>
            <a:picLocks noChangeAspect="1"/>
          </p:cNvPicPr>
          <p:nvPr/>
        </p:nvPicPr>
        <p:blipFill>
          <a:blip r:embed="rId20"/>
          <a:stretch>
            <a:fillRect/>
          </a:stretch>
        </p:blipFill>
        <p:spPr>
          <a:xfrm>
            <a:off x="7619883" y="2037634"/>
            <a:ext cx="505420" cy="505421"/>
          </a:xfrm>
          <a:prstGeom prst="rect">
            <a:avLst/>
          </a:prstGeom>
          <a:ln w="3175">
            <a:miter lim="400000"/>
          </a:ln>
        </p:spPr>
      </p:pic>
      <p:pic>
        <p:nvPicPr>
          <p:cNvPr id="1010" name="Image" descr="Image"/>
          <p:cNvPicPr>
            <a:picLocks noChangeAspect="1"/>
          </p:cNvPicPr>
          <p:nvPr/>
        </p:nvPicPr>
        <p:blipFill>
          <a:blip r:embed="rId21"/>
          <a:stretch>
            <a:fillRect/>
          </a:stretch>
        </p:blipFill>
        <p:spPr>
          <a:xfrm>
            <a:off x="8634635" y="2028333"/>
            <a:ext cx="524024" cy="524024"/>
          </a:xfrm>
          <a:prstGeom prst="rect">
            <a:avLst/>
          </a:prstGeom>
          <a:ln w="3175">
            <a:miter lim="400000"/>
          </a:ln>
        </p:spPr>
      </p:pic>
      <p:pic>
        <p:nvPicPr>
          <p:cNvPr id="1011" name="Image" descr="Image"/>
          <p:cNvPicPr>
            <a:picLocks noChangeAspect="1"/>
          </p:cNvPicPr>
          <p:nvPr/>
        </p:nvPicPr>
        <p:blipFill>
          <a:blip r:embed="rId22"/>
          <a:stretch>
            <a:fillRect/>
          </a:stretch>
        </p:blipFill>
        <p:spPr>
          <a:xfrm>
            <a:off x="9671146" y="2051719"/>
            <a:ext cx="477252" cy="477252"/>
          </a:xfrm>
          <a:prstGeom prst="rect">
            <a:avLst/>
          </a:prstGeom>
          <a:ln w="3175">
            <a:miter lim="400000"/>
          </a:ln>
        </p:spPr>
      </p:pic>
      <p:pic>
        <p:nvPicPr>
          <p:cNvPr id="1012" name="Image" descr="Image"/>
          <p:cNvPicPr>
            <a:picLocks noChangeAspect="1"/>
          </p:cNvPicPr>
          <p:nvPr/>
        </p:nvPicPr>
        <p:blipFill>
          <a:blip r:embed="rId23"/>
          <a:stretch>
            <a:fillRect/>
          </a:stretch>
        </p:blipFill>
        <p:spPr>
          <a:xfrm>
            <a:off x="10681878" y="2051719"/>
            <a:ext cx="477252" cy="477252"/>
          </a:xfrm>
          <a:prstGeom prst="rect">
            <a:avLst/>
          </a:prstGeom>
          <a:ln w="3175">
            <a:miter lim="400000"/>
          </a:ln>
        </p:spPr>
      </p:pic>
      <p:pic>
        <p:nvPicPr>
          <p:cNvPr id="1013" name="Image" descr="Image"/>
          <p:cNvPicPr>
            <a:picLocks noChangeAspect="1"/>
          </p:cNvPicPr>
          <p:nvPr/>
        </p:nvPicPr>
        <p:blipFill>
          <a:blip r:embed="rId24"/>
          <a:stretch>
            <a:fillRect/>
          </a:stretch>
        </p:blipFill>
        <p:spPr>
          <a:xfrm>
            <a:off x="538681" y="3094419"/>
            <a:ext cx="455912" cy="372275"/>
          </a:xfrm>
          <a:prstGeom prst="rect">
            <a:avLst/>
          </a:prstGeom>
          <a:ln w="3175">
            <a:miter lim="400000"/>
          </a:ln>
        </p:spPr>
      </p:pic>
      <p:pic>
        <p:nvPicPr>
          <p:cNvPr id="1014" name="Image" descr="Image"/>
          <p:cNvPicPr>
            <a:picLocks noChangeAspect="1"/>
          </p:cNvPicPr>
          <p:nvPr/>
        </p:nvPicPr>
        <p:blipFill>
          <a:blip r:embed="rId25"/>
          <a:stretch>
            <a:fillRect/>
          </a:stretch>
        </p:blipFill>
        <p:spPr>
          <a:xfrm>
            <a:off x="1547871" y="3094419"/>
            <a:ext cx="455912" cy="372275"/>
          </a:xfrm>
          <a:prstGeom prst="rect">
            <a:avLst/>
          </a:prstGeom>
          <a:ln w="3175">
            <a:miter lim="400000"/>
          </a:ln>
        </p:spPr>
      </p:pic>
      <p:pic>
        <p:nvPicPr>
          <p:cNvPr id="1015" name="Image" descr="Image"/>
          <p:cNvPicPr>
            <a:picLocks noChangeAspect="1"/>
          </p:cNvPicPr>
          <p:nvPr/>
        </p:nvPicPr>
        <p:blipFill>
          <a:blip r:embed="rId26"/>
          <a:stretch>
            <a:fillRect/>
          </a:stretch>
        </p:blipFill>
        <p:spPr>
          <a:xfrm>
            <a:off x="2526750" y="3012867"/>
            <a:ext cx="535383" cy="535383"/>
          </a:xfrm>
          <a:prstGeom prst="rect">
            <a:avLst/>
          </a:prstGeom>
          <a:ln w="3175">
            <a:miter lim="400000"/>
          </a:ln>
        </p:spPr>
      </p:pic>
      <p:pic>
        <p:nvPicPr>
          <p:cNvPr id="1016" name="Image" descr="Image"/>
          <p:cNvPicPr>
            <a:picLocks noChangeAspect="1"/>
          </p:cNvPicPr>
          <p:nvPr/>
        </p:nvPicPr>
        <p:blipFill>
          <a:blip r:embed="rId27"/>
          <a:stretch>
            <a:fillRect/>
          </a:stretch>
        </p:blipFill>
        <p:spPr>
          <a:xfrm>
            <a:off x="3553404" y="3270815"/>
            <a:ext cx="498845" cy="19487"/>
          </a:xfrm>
          <a:prstGeom prst="rect">
            <a:avLst/>
          </a:prstGeom>
          <a:ln w="3175">
            <a:miter lim="400000"/>
          </a:ln>
        </p:spPr>
      </p:pic>
      <p:pic>
        <p:nvPicPr>
          <p:cNvPr id="1017" name="Image" descr="Image"/>
          <p:cNvPicPr>
            <a:picLocks noChangeAspect="1"/>
          </p:cNvPicPr>
          <p:nvPr/>
        </p:nvPicPr>
        <p:blipFill>
          <a:blip r:embed="rId28"/>
          <a:stretch>
            <a:fillRect/>
          </a:stretch>
        </p:blipFill>
        <p:spPr>
          <a:xfrm>
            <a:off x="4602891" y="3052600"/>
            <a:ext cx="455912" cy="455912"/>
          </a:xfrm>
          <a:prstGeom prst="rect">
            <a:avLst/>
          </a:prstGeom>
          <a:ln w="3175">
            <a:miter lim="400000"/>
          </a:ln>
        </p:spPr>
      </p:pic>
      <p:pic>
        <p:nvPicPr>
          <p:cNvPr id="1018" name="Image" descr="Image"/>
          <p:cNvPicPr>
            <a:picLocks noChangeAspect="1"/>
          </p:cNvPicPr>
          <p:nvPr/>
        </p:nvPicPr>
        <p:blipFill>
          <a:blip r:embed="rId29"/>
          <a:stretch>
            <a:fillRect/>
          </a:stretch>
        </p:blipFill>
        <p:spPr>
          <a:xfrm>
            <a:off x="5595902" y="3104951"/>
            <a:ext cx="498847" cy="351215"/>
          </a:xfrm>
          <a:prstGeom prst="rect">
            <a:avLst/>
          </a:prstGeom>
          <a:ln w="3175">
            <a:miter lim="400000"/>
          </a:ln>
        </p:spPr>
      </p:pic>
      <p:pic>
        <p:nvPicPr>
          <p:cNvPr id="1019" name="Image" descr="Image"/>
          <p:cNvPicPr>
            <a:picLocks noChangeAspect="1"/>
          </p:cNvPicPr>
          <p:nvPr/>
        </p:nvPicPr>
        <p:blipFill>
          <a:blip r:embed="rId30"/>
          <a:stretch>
            <a:fillRect/>
          </a:stretch>
        </p:blipFill>
        <p:spPr>
          <a:xfrm>
            <a:off x="6716593" y="3012867"/>
            <a:ext cx="301183" cy="535383"/>
          </a:xfrm>
          <a:prstGeom prst="rect">
            <a:avLst/>
          </a:prstGeom>
          <a:ln w="3175">
            <a:miter lim="400000"/>
          </a:ln>
        </p:spPr>
      </p:pic>
      <p:pic>
        <p:nvPicPr>
          <p:cNvPr id="1020" name="Image" descr="Image"/>
          <p:cNvPicPr>
            <a:picLocks noChangeAspect="1"/>
          </p:cNvPicPr>
          <p:nvPr/>
        </p:nvPicPr>
        <p:blipFill>
          <a:blip r:embed="rId31"/>
          <a:stretch>
            <a:fillRect/>
          </a:stretch>
        </p:blipFill>
        <p:spPr>
          <a:xfrm>
            <a:off x="7633966" y="3156609"/>
            <a:ext cx="477252" cy="247900"/>
          </a:xfrm>
          <a:prstGeom prst="rect">
            <a:avLst/>
          </a:prstGeom>
          <a:ln w="3175">
            <a:miter lim="400000"/>
          </a:ln>
        </p:spPr>
      </p:pic>
      <p:pic>
        <p:nvPicPr>
          <p:cNvPr id="1021" name="Image" descr="Image"/>
          <p:cNvPicPr>
            <a:picLocks noChangeAspect="1"/>
          </p:cNvPicPr>
          <p:nvPr/>
        </p:nvPicPr>
        <p:blipFill>
          <a:blip r:embed="rId32"/>
          <a:stretch>
            <a:fillRect/>
          </a:stretch>
        </p:blipFill>
        <p:spPr>
          <a:xfrm>
            <a:off x="8763275" y="3023799"/>
            <a:ext cx="266739" cy="513519"/>
          </a:xfrm>
          <a:prstGeom prst="rect">
            <a:avLst/>
          </a:prstGeom>
          <a:ln w="3175">
            <a:miter lim="400000"/>
          </a:ln>
        </p:spPr>
      </p:pic>
      <p:pic>
        <p:nvPicPr>
          <p:cNvPr id="1022" name="Image" descr="Image"/>
          <p:cNvPicPr>
            <a:picLocks noChangeAspect="1"/>
          </p:cNvPicPr>
          <p:nvPr/>
        </p:nvPicPr>
        <p:blipFill>
          <a:blip r:embed="rId33"/>
          <a:stretch>
            <a:fillRect/>
          </a:stretch>
        </p:blipFill>
        <p:spPr>
          <a:xfrm>
            <a:off x="9660349" y="3151001"/>
            <a:ext cx="498847" cy="259116"/>
          </a:xfrm>
          <a:prstGeom prst="rect">
            <a:avLst/>
          </a:prstGeom>
          <a:ln w="3175">
            <a:miter lim="400000"/>
          </a:ln>
        </p:spPr>
      </p:pic>
      <p:pic>
        <p:nvPicPr>
          <p:cNvPr id="1023" name="Image" descr="Image"/>
          <p:cNvPicPr>
            <a:picLocks noChangeAspect="1"/>
          </p:cNvPicPr>
          <p:nvPr/>
        </p:nvPicPr>
        <p:blipFill>
          <a:blip r:embed="rId34"/>
          <a:stretch>
            <a:fillRect/>
          </a:stretch>
        </p:blipFill>
        <p:spPr>
          <a:xfrm>
            <a:off x="10789238" y="3027849"/>
            <a:ext cx="262532" cy="505420"/>
          </a:xfrm>
          <a:prstGeom prst="rect">
            <a:avLst/>
          </a:prstGeom>
          <a:ln w="3175">
            <a:miter lim="400000"/>
          </a:ln>
        </p:spPr>
      </p:pic>
      <p:pic>
        <p:nvPicPr>
          <p:cNvPr id="1024" name="Image" descr="Image"/>
          <p:cNvPicPr>
            <a:picLocks noChangeAspect="1"/>
          </p:cNvPicPr>
          <p:nvPr/>
        </p:nvPicPr>
        <p:blipFill>
          <a:blip r:embed="rId35"/>
          <a:stretch>
            <a:fillRect/>
          </a:stretch>
        </p:blipFill>
        <p:spPr>
          <a:xfrm>
            <a:off x="498947" y="4029159"/>
            <a:ext cx="535383" cy="535383"/>
          </a:xfrm>
          <a:prstGeom prst="rect">
            <a:avLst/>
          </a:prstGeom>
          <a:ln w="3175">
            <a:miter lim="400000"/>
          </a:ln>
        </p:spPr>
      </p:pic>
      <p:pic>
        <p:nvPicPr>
          <p:cNvPr id="1025" name="Image" descr="Image"/>
          <p:cNvPicPr>
            <a:picLocks noChangeAspect="1"/>
          </p:cNvPicPr>
          <p:nvPr/>
        </p:nvPicPr>
        <p:blipFill>
          <a:blip r:embed="rId36"/>
          <a:stretch>
            <a:fillRect/>
          </a:stretch>
        </p:blipFill>
        <p:spPr>
          <a:xfrm>
            <a:off x="1508137" y="4029161"/>
            <a:ext cx="535383" cy="535383"/>
          </a:xfrm>
          <a:prstGeom prst="rect">
            <a:avLst/>
          </a:prstGeom>
          <a:ln w="3175">
            <a:miter lim="400000"/>
          </a:ln>
        </p:spPr>
      </p:pic>
      <p:pic>
        <p:nvPicPr>
          <p:cNvPr id="1026" name="Image" descr="Image"/>
          <p:cNvPicPr>
            <a:picLocks noChangeAspect="1"/>
          </p:cNvPicPr>
          <p:nvPr/>
        </p:nvPicPr>
        <p:blipFill>
          <a:blip r:embed="rId37"/>
          <a:stretch>
            <a:fillRect/>
          </a:stretch>
        </p:blipFill>
        <p:spPr>
          <a:xfrm>
            <a:off x="2526750" y="4029161"/>
            <a:ext cx="535383" cy="535383"/>
          </a:xfrm>
          <a:prstGeom prst="rect">
            <a:avLst/>
          </a:prstGeom>
          <a:ln w="3175">
            <a:miter lim="400000"/>
          </a:ln>
        </p:spPr>
      </p:pic>
      <p:pic>
        <p:nvPicPr>
          <p:cNvPr id="1027" name="Image" descr="Image"/>
          <p:cNvPicPr>
            <a:picLocks noChangeAspect="1"/>
          </p:cNvPicPr>
          <p:nvPr/>
        </p:nvPicPr>
        <p:blipFill>
          <a:blip r:embed="rId38"/>
          <a:stretch>
            <a:fillRect/>
          </a:stretch>
        </p:blipFill>
        <p:spPr>
          <a:xfrm>
            <a:off x="3535135" y="4029161"/>
            <a:ext cx="535383" cy="535383"/>
          </a:xfrm>
          <a:prstGeom prst="rect">
            <a:avLst/>
          </a:prstGeom>
          <a:ln w="3175">
            <a:miter lim="400000"/>
          </a:ln>
        </p:spPr>
      </p:pic>
      <p:pic>
        <p:nvPicPr>
          <p:cNvPr id="1028" name="Image" descr="Image"/>
          <p:cNvPicPr>
            <a:picLocks noChangeAspect="1"/>
          </p:cNvPicPr>
          <p:nvPr/>
        </p:nvPicPr>
        <p:blipFill>
          <a:blip r:embed="rId39"/>
          <a:stretch>
            <a:fillRect/>
          </a:stretch>
        </p:blipFill>
        <p:spPr>
          <a:xfrm>
            <a:off x="4563157" y="4029161"/>
            <a:ext cx="535383" cy="535383"/>
          </a:xfrm>
          <a:prstGeom prst="rect">
            <a:avLst/>
          </a:prstGeom>
          <a:ln w="3175">
            <a:miter lim="400000"/>
          </a:ln>
        </p:spPr>
      </p:pic>
      <p:pic>
        <p:nvPicPr>
          <p:cNvPr id="1029" name="Image" descr="Image"/>
          <p:cNvPicPr>
            <a:picLocks noChangeAspect="1"/>
          </p:cNvPicPr>
          <p:nvPr/>
        </p:nvPicPr>
        <p:blipFill>
          <a:blip r:embed="rId40"/>
          <a:stretch>
            <a:fillRect/>
          </a:stretch>
        </p:blipFill>
        <p:spPr>
          <a:xfrm>
            <a:off x="5577634" y="4029161"/>
            <a:ext cx="535383" cy="535383"/>
          </a:xfrm>
          <a:prstGeom prst="rect">
            <a:avLst/>
          </a:prstGeom>
          <a:ln w="3175">
            <a:miter lim="400000"/>
          </a:ln>
        </p:spPr>
      </p:pic>
      <p:pic>
        <p:nvPicPr>
          <p:cNvPr id="1030" name="Image" descr="Image"/>
          <p:cNvPicPr>
            <a:picLocks noChangeAspect="1"/>
          </p:cNvPicPr>
          <p:nvPr/>
        </p:nvPicPr>
        <p:blipFill>
          <a:blip r:embed="rId41"/>
          <a:stretch>
            <a:fillRect/>
          </a:stretch>
        </p:blipFill>
        <p:spPr>
          <a:xfrm>
            <a:off x="6599493" y="4029161"/>
            <a:ext cx="535383" cy="535383"/>
          </a:xfrm>
          <a:prstGeom prst="rect">
            <a:avLst/>
          </a:prstGeom>
          <a:ln w="3175">
            <a:miter lim="400000"/>
          </a:ln>
        </p:spPr>
      </p:pic>
      <p:pic>
        <p:nvPicPr>
          <p:cNvPr id="1031" name="Image" descr="Image"/>
          <p:cNvPicPr>
            <a:picLocks noChangeAspect="1"/>
          </p:cNvPicPr>
          <p:nvPr/>
        </p:nvPicPr>
        <p:blipFill>
          <a:blip r:embed="rId42"/>
          <a:stretch>
            <a:fillRect/>
          </a:stretch>
        </p:blipFill>
        <p:spPr>
          <a:xfrm>
            <a:off x="7604901" y="4029161"/>
            <a:ext cx="535383" cy="535383"/>
          </a:xfrm>
          <a:prstGeom prst="rect">
            <a:avLst/>
          </a:prstGeom>
          <a:ln w="3175">
            <a:miter lim="400000"/>
          </a:ln>
        </p:spPr>
      </p:pic>
      <p:pic>
        <p:nvPicPr>
          <p:cNvPr id="1032" name="Image" descr="Image"/>
          <p:cNvPicPr>
            <a:picLocks noChangeAspect="1"/>
          </p:cNvPicPr>
          <p:nvPr/>
        </p:nvPicPr>
        <p:blipFill>
          <a:blip r:embed="rId43"/>
          <a:stretch>
            <a:fillRect/>
          </a:stretch>
        </p:blipFill>
        <p:spPr>
          <a:xfrm>
            <a:off x="8628954" y="4029161"/>
            <a:ext cx="535383" cy="535383"/>
          </a:xfrm>
          <a:prstGeom prst="rect">
            <a:avLst/>
          </a:prstGeom>
          <a:ln w="3175">
            <a:miter lim="400000"/>
          </a:ln>
        </p:spPr>
      </p:pic>
      <p:pic>
        <p:nvPicPr>
          <p:cNvPr id="1033" name="Image" descr="Image"/>
          <p:cNvPicPr>
            <a:picLocks noChangeAspect="1"/>
          </p:cNvPicPr>
          <p:nvPr/>
        </p:nvPicPr>
        <p:blipFill>
          <a:blip r:embed="rId44"/>
          <a:stretch>
            <a:fillRect/>
          </a:stretch>
        </p:blipFill>
        <p:spPr>
          <a:xfrm>
            <a:off x="9642081" y="4029161"/>
            <a:ext cx="535383" cy="535383"/>
          </a:xfrm>
          <a:prstGeom prst="rect">
            <a:avLst/>
          </a:prstGeom>
          <a:ln w="3175">
            <a:miter lim="400000"/>
          </a:ln>
        </p:spPr>
      </p:pic>
      <p:pic>
        <p:nvPicPr>
          <p:cNvPr id="1034" name="Image" descr="Image"/>
          <p:cNvPicPr>
            <a:picLocks noChangeAspect="1"/>
          </p:cNvPicPr>
          <p:nvPr/>
        </p:nvPicPr>
        <p:blipFill>
          <a:blip r:embed="rId45"/>
          <a:stretch>
            <a:fillRect/>
          </a:stretch>
        </p:blipFill>
        <p:spPr>
          <a:xfrm>
            <a:off x="10652813" y="4029161"/>
            <a:ext cx="535383" cy="535383"/>
          </a:xfrm>
          <a:prstGeom prst="rect">
            <a:avLst/>
          </a:prstGeom>
          <a:ln w="3175">
            <a:miter lim="400000"/>
          </a:ln>
        </p:spPr>
      </p:pic>
      <p:pic>
        <p:nvPicPr>
          <p:cNvPr id="1035" name="Image" descr="Image"/>
          <p:cNvPicPr>
            <a:picLocks noChangeAspect="1"/>
          </p:cNvPicPr>
          <p:nvPr/>
        </p:nvPicPr>
        <p:blipFill>
          <a:blip r:embed="rId46"/>
          <a:stretch>
            <a:fillRect/>
          </a:stretch>
        </p:blipFill>
        <p:spPr>
          <a:xfrm>
            <a:off x="498665" y="5046275"/>
            <a:ext cx="535944" cy="535944"/>
          </a:xfrm>
          <a:prstGeom prst="rect">
            <a:avLst/>
          </a:prstGeom>
          <a:ln w="3175">
            <a:miter lim="400000"/>
          </a:ln>
        </p:spPr>
      </p:pic>
      <p:pic>
        <p:nvPicPr>
          <p:cNvPr id="1036" name="Image" descr="Image"/>
          <p:cNvPicPr>
            <a:picLocks noChangeAspect="1"/>
          </p:cNvPicPr>
          <p:nvPr/>
        </p:nvPicPr>
        <p:blipFill>
          <a:blip r:embed="rId47"/>
          <a:stretch>
            <a:fillRect/>
          </a:stretch>
        </p:blipFill>
        <p:spPr>
          <a:xfrm>
            <a:off x="1507853" y="5046275"/>
            <a:ext cx="535944" cy="535944"/>
          </a:xfrm>
          <a:prstGeom prst="rect">
            <a:avLst/>
          </a:prstGeom>
          <a:ln w="3175">
            <a:miter lim="400000"/>
          </a:ln>
        </p:spPr>
      </p:pic>
      <p:pic>
        <p:nvPicPr>
          <p:cNvPr id="1037" name="Image" descr="Image"/>
          <p:cNvPicPr>
            <a:picLocks noChangeAspect="1"/>
          </p:cNvPicPr>
          <p:nvPr/>
        </p:nvPicPr>
        <p:blipFill>
          <a:blip r:embed="rId48"/>
          <a:stretch>
            <a:fillRect/>
          </a:stretch>
        </p:blipFill>
        <p:spPr>
          <a:xfrm>
            <a:off x="2526468" y="5046275"/>
            <a:ext cx="535944" cy="535944"/>
          </a:xfrm>
          <a:prstGeom prst="rect">
            <a:avLst/>
          </a:prstGeom>
          <a:ln w="3175">
            <a:miter lim="400000"/>
          </a:ln>
        </p:spPr>
      </p:pic>
      <p:pic>
        <p:nvPicPr>
          <p:cNvPr id="1038" name="Image" descr="Image"/>
          <p:cNvPicPr>
            <a:picLocks noChangeAspect="1"/>
          </p:cNvPicPr>
          <p:nvPr/>
        </p:nvPicPr>
        <p:blipFill>
          <a:blip r:embed="rId49"/>
          <a:stretch>
            <a:fillRect/>
          </a:stretch>
        </p:blipFill>
        <p:spPr>
          <a:xfrm>
            <a:off x="3534855" y="5046275"/>
            <a:ext cx="535944" cy="535944"/>
          </a:xfrm>
          <a:prstGeom prst="rect">
            <a:avLst/>
          </a:prstGeom>
          <a:ln w="3175">
            <a:miter lim="400000"/>
          </a:ln>
        </p:spPr>
      </p:pic>
      <p:pic>
        <p:nvPicPr>
          <p:cNvPr id="1039" name="Image" descr="Image"/>
          <p:cNvPicPr>
            <a:picLocks noChangeAspect="1"/>
          </p:cNvPicPr>
          <p:nvPr/>
        </p:nvPicPr>
        <p:blipFill>
          <a:blip r:embed="rId50"/>
          <a:stretch>
            <a:fillRect/>
          </a:stretch>
        </p:blipFill>
        <p:spPr>
          <a:xfrm>
            <a:off x="4562873" y="5046275"/>
            <a:ext cx="535944" cy="535944"/>
          </a:xfrm>
          <a:prstGeom prst="rect">
            <a:avLst/>
          </a:prstGeom>
          <a:ln w="3175">
            <a:miter lim="400000"/>
          </a:ln>
        </p:spPr>
      </p:pic>
      <p:pic>
        <p:nvPicPr>
          <p:cNvPr id="1040" name="Image" descr="Image"/>
          <p:cNvPicPr>
            <a:picLocks noChangeAspect="1"/>
          </p:cNvPicPr>
          <p:nvPr/>
        </p:nvPicPr>
        <p:blipFill>
          <a:blip r:embed="rId51"/>
          <a:stretch>
            <a:fillRect/>
          </a:stretch>
        </p:blipFill>
        <p:spPr>
          <a:xfrm>
            <a:off x="5577352" y="5046275"/>
            <a:ext cx="535944" cy="535944"/>
          </a:xfrm>
          <a:prstGeom prst="rect">
            <a:avLst/>
          </a:prstGeom>
          <a:ln w="3175">
            <a:miter lim="400000"/>
          </a:ln>
        </p:spPr>
      </p:pic>
      <p:pic>
        <p:nvPicPr>
          <p:cNvPr id="1041" name="Image" descr="Image"/>
          <p:cNvPicPr>
            <a:picLocks noChangeAspect="1"/>
          </p:cNvPicPr>
          <p:nvPr/>
        </p:nvPicPr>
        <p:blipFill>
          <a:blip r:embed="rId52"/>
          <a:stretch>
            <a:fillRect/>
          </a:stretch>
        </p:blipFill>
        <p:spPr>
          <a:xfrm>
            <a:off x="6599211" y="5046275"/>
            <a:ext cx="535944" cy="535944"/>
          </a:xfrm>
          <a:prstGeom prst="rect">
            <a:avLst/>
          </a:prstGeom>
          <a:ln w="3175">
            <a:miter lim="400000"/>
          </a:ln>
        </p:spPr>
      </p:pic>
      <p:pic>
        <p:nvPicPr>
          <p:cNvPr id="1042" name="Image" descr="Image"/>
          <p:cNvPicPr>
            <a:picLocks noChangeAspect="1"/>
          </p:cNvPicPr>
          <p:nvPr/>
        </p:nvPicPr>
        <p:blipFill>
          <a:blip r:embed="rId53"/>
          <a:stretch>
            <a:fillRect/>
          </a:stretch>
        </p:blipFill>
        <p:spPr>
          <a:xfrm>
            <a:off x="7604619" y="5046275"/>
            <a:ext cx="535944" cy="535944"/>
          </a:xfrm>
          <a:prstGeom prst="rect">
            <a:avLst/>
          </a:prstGeom>
          <a:ln w="3175">
            <a:miter lim="400000"/>
          </a:ln>
        </p:spPr>
      </p:pic>
      <p:pic>
        <p:nvPicPr>
          <p:cNvPr id="1043" name="Image" descr="Image"/>
          <p:cNvPicPr>
            <a:picLocks noChangeAspect="1"/>
          </p:cNvPicPr>
          <p:nvPr/>
        </p:nvPicPr>
        <p:blipFill>
          <a:blip r:embed="rId54"/>
          <a:stretch>
            <a:fillRect/>
          </a:stretch>
        </p:blipFill>
        <p:spPr>
          <a:xfrm>
            <a:off x="8628672" y="5046275"/>
            <a:ext cx="535944" cy="535944"/>
          </a:xfrm>
          <a:prstGeom prst="rect">
            <a:avLst/>
          </a:prstGeom>
          <a:ln w="3175">
            <a:miter lim="400000"/>
          </a:ln>
        </p:spPr>
      </p:pic>
      <p:pic>
        <p:nvPicPr>
          <p:cNvPr id="1044" name="Image" descr="Image"/>
          <p:cNvPicPr>
            <a:picLocks noChangeAspect="1"/>
          </p:cNvPicPr>
          <p:nvPr/>
        </p:nvPicPr>
        <p:blipFill>
          <a:blip r:embed="rId55"/>
          <a:stretch>
            <a:fillRect/>
          </a:stretch>
        </p:blipFill>
        <p:spPr>
          <a:xfrm>
            <a:off x="9641799" y="5046275"/>
            <a:ext cx="535944" cy="535944"/>
          </a:xfrm>
          <a:prstGeom prst="rect">
            <a:avLst/>
          </a:prstGeom>
          <a:ln w="3175">
            <a:miter lim="400000"/>
          </a:ln>
        </p:spPr>
      </p:pic>
      <p:pic>
        <p:nvPicPr>
          <p:cNvPr id="1045" name="Image" descr="Image"/>
          <p:cNvPicPr>
            <a:picLocks noChangeAspect="1"/>
          </p:cNvPicPr>
          <p:nvPr/>
        </p:nvPicPr>
        <p:blipFill>
          <a:blip r:embed="rId56"/>
          <a:stretch>
            <a:fillRect/>
          </a:stretch>
        </p:blipFill>
        <p:spPr>
          <a:xfrm>
            <a:off x="10652529" y="5046275"/>
            <a:ext cx="535944" cy="535944"/>
          </a:xfrm>
          <a:prstGeom prst="rect">
            <a:avLst/>
          </a:prstGeom>
          <a:ln w="3175">
            <a:miter lim="400000"/>
          </a:ln>
        </p:spPr>
      </p:pic>
      <p:pic>
        <p:nvPicPr>
          <p:cNvPr id="1046" name="Image" descr="Image"/>
          <p:cNvPicPr>
            <a:picLocks noChangeAspect="1"/>
          </p:cNvPicPr>
          <p:nvPr/>
        </p:nvPicPr>
        <p:blipFill>
          <a:blip r:embed="rId57"/>
          <a:stretch>
            <a:fillRect/>
          </a:stretch>
        </p:blipFill>
        <p:spPr>
          <a:xfrm>
            <a:off x="498665" y="6032803"/>
            <a:ext cx="535944" cy="535944"/>
          </a:xfrm>
          <a:prstGeom prst="rect">
            <a:avLst/>
          </a:prstGeom>
          <a:ln w="3175">
            <a:miter lim="400000"/>
          </a:ln>
        </p:spPr>
      </p:pic>
      <p:pic>
        <p:nvPicPr>
          <p:cNvPr id="1047" name="Image" descr="Image"/>
          <p:cNvPicPr>
            <a:picLocks noChangeAspect="1"/>
          </p:cNvPicPr>
          <p:nvPr/>
        </p:nvPicPr>
        <p:blipFill>
          <a:blip r:embed="rId58"/>
          <a:stretch>
            <a:fillRect/>
          </a:stretch>
        </p:blipFill>
        <p:spPr>
          <a:xfrm>
            <a:off x="1509905" y="6076529"/>
            <a:ext cx="531840" cy="462800"/>
          </a:xfrm>
          <a:prstGeom prst="rect">
            <a:avLst/>
          </a:prstGeom>
          <a:ln w="3175">
            <a:miter lim="400000"/>
          </a:ln>
        </p:spPr>
      </p:pic>
    </p:spTree>
    <p:extLst>
      <p:ext uri="{BB962C8B-B14F-4D97-AF65-F5344CB8AC3E}">
        <p14:creationId xmlns:p14="http://schemas.microsoft.com/office/powerpoint/2010/main" val="288484234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068">
            <a:extLst>
              <a:ext uri="{FF2B5EF4-FFF2-40B4-BE49-F238E27FC236}">
                <a16:creationId xmlns:a16="http://schemas.microsoft.com/office/drawing/2014/main" id="{977210DC-CA09-7E4D-8A16-DC0E48B76592}"/>
              </a:ext>
            </a:extLst>
          </p:cNvPr>
          <p:cNvSpPr>
            <a:spLocks noEditPoints="1"/>
          </p:cNvSpPr>
          <p:nvPr/>
        </p:nvSpPr>
        <p:spPr bwMode="auto">
          <a:xfrm>
            <a:off x="609596" y="365125"/>
            <a:ext cx="546100" cy="550863"/>
          </a:xfrm>
          <a:custGeom>
            <a:avLst/>
            <a:gdLst>
              <a:gd name="T0" fmla="*/ 133 w 160"/>
              <a:gd name="T1" fmla="*/ 59 h 160"/>
              <a:gd name="T2" fmla="*/ 133 w 160"/>
              <a:gd name="T3" fmla="*/ 64 h 160"/>
              <a:gd name="T4" fmla="*/ 125 w 160"/>
              <a:gd name="T5" fmla="*/ 72 h 160"/>
              <a:gd name="T6" fmla="*/ 48 w 160"/>
              <a:gd name="T7" fmla="*/ 19 h 160"/>
              <a:gd name="T8" fmla="*/ 96 w 160"/>
              <a:gd name="T9" fmla="*/ 24 h 160"/>
              <a:gd name="T10" fmla="*/ 115 w 160"/>
              <a:gd name="T11" fmla="*/ 35 h 160"/>
              <a:gd name="T12" fmla="*/ 45 w 160"/>
              <a:gd name="T13" fmla="*/ 35 h 160"/>
              <a:gd name="T14" fmla="*/ 115 w 160"/>
              <a:gd name="T15" fmla="*/ 35 h 160"/>
              <a:gd name="T16" fmla="*/ 48 w 160"/>
              <a:gd name="T17" fmla="*/ 120 h 160"/>
              <a:gd name="T18" fmla="*/ 112 w 160"/>
              <a:gd name="T19" fmla="*/ 115 h 160"/>
              <a:gd name="T20" fmla="*/ 112 w 160"/>
              <a:gd name="T21" fmla="*/ 133 h 160"/>
              <a:gd name="T22" fmla="*/ 48 w 160"/>
              <a:gd name="T23" fmla="*/ 128 h 160"/>
              <a:gd name="T24" fmla="*/ 136 w 160"/>
              <a:gd name="T25" fmla="*/ 45 h 160"/>
              <a:gd name="T26" fmla="*/ 24 w 160"/>
              <a:gd name="T27" fmla="*/ 45 h 160"/>
              <a:gd name="T28" fmla="*/ 16 w 160"/>
              <a:gd name="T29" fmla="*/ 136 h 160"/>
              <a:gd name="T30" fmla="*/ 24 w 160"/>
              <a:gd name="T31" fmla="*/ 160 h 160"/>
              <a:gd name="T32" fmla="*/ 144 w 160"/>
              <a:gd name="T33" fmla="*/ 144 h 160"/>
              <a:gd name="T34" fmla="*/ 160 w 160"/>
              <a:gd name="T35" fmla="*/ 45 h 160"/>
              <a:gd name="T36" fmla="*/ 131 w 160"/>
              <a:gd name="T37" fmla="*/ 5 h 160"/>
              <a:gd name="T38" fmla="*/ 29 w 160"/>
              <a:gd name="T39" fmla="*/ 5 h 160"/>
              <a:gd name="T40" fmla="*/ 155 w 160"/>
              <a:gd name="T41" fmla="*/ 51 h 160"/>
              <a:gd name="T42" fmla="*/ 5 w 160"/>
              <a:gd name="T43" fmla="*/ 51 h 160"/>
              <a:gd name="T44" fmla="*/ 21 w 160"/>
              <a:gd name="T45" fmla="*/ 133 h 160"/>
              <a:gd name="T46" fmla="*/ 19 w 160"/>
              <a:gd name="T47" fmla="*/ 117 h 160"/>
              <a:gd name="T48" fmla="*/ 5 w 160"/>
              <a:gd name="T49" fmla="*/ 131 h 160"/>
              <a:gd name="T50" fmla="*/ 24 w 160"/>
              <a:gd name="T51" fmla="*/ 139 h 160"/>
              <a:gd name="T52" fmla="*/ 29 w 160"/>
              <a:gd name="T53" fmla="*/ 155 h 160"/>
              <a:gd name="T54" fmla="*/ 131 w 160"/>
              <a:gd name="T55" fmla="*/ 99 h 160"/>
              <a:gd name="T56" fmla="*/ 144 w 160"/>
              <a:gd name="T57" fmla="*/ 131 h 160"/>
              <a:gd name="T58" fmla="*/ 139 w 160"/>
              <a:gd name="T59" fmla="*/ 120 h 160"/>
              <a:gd name="T60" fmla="*/ 139 w 160"/>
              <a:gd name="T61" fmla="*/ 139 h 160"/>
              <a:gd name="T62" fmla="*/ 155 w 160"/>
              <a:gd name="T63" fmla="*/ 99 h 160"/>
              <a:gd name="T64" fmla="*/ 13 w 160"/>
              <a:gd name="T65" fmla="*/ 61 h 160"/>
              <a:gd name="T66" fmla="*/ 27 w 160"/>
              <a:gd name="T67" fmla="*/ 61 h 160"/>
              <a:gd name="T68" fmla="*/ 13 w 160"/>
              <a:gd name="T69" fmla="*/ 61 h 160"/>
              <a:gd name="T70" fmla="*/ 24 w 160"/>
              <a:gd name="T71" fmla="*/ 69 h 160"/>
              <a:gd name="T72" fmla="*/ 16 w 160"/>
              <a:gd name="T73" fmla="*/ 75 h 160"/>
              <a:gd name="T74" fmla="*/ 16 w 160"/>
              <a:gd name="T75" fmla="*/ 80 h 160"/>
              <a:gd name="T76" fmla="*/ 24 w 160"/>
              <a:gd name="T77" fmla="*/ 85 h 160"/>
              <a:gd name="T78" fmla="*/ 32 w 160"/>
              <a:gd name="T79" fmla="*/ 61 h 160"/>
              <a:gd name="T80" fmla="*/ 45 w 160"/>
              <a:gd name="T81" fmla="*/ 61 h 160"/>
              <a:gd name="T82" fmla="*/ 32 w 160"/>
              <a:gd name="T83" fmla="*/ 61 h 160"/>
              <a:gd name="T84" fmla="*/ 43 w 160"/>
              <a:gd name="T85" fmla="*/ 69 h 160"/>
              <a:gd name="T86" fmla="*/ 35 w 160"/>
              <a:gd name="T87" fmla="*/ 75 h 160"/>
              <a:gd name="T88" fmla="*/ 35 w 160"/>
              <a:gd name="T89" fmla="*/ 80 h 160"/>
              <a:gd name="T90" fmla="*/ 43 w 160"/>
              <a:gd name="T91" fmla="*/ 85 h 160"/>
              <a:gd name="T92" fmla="*/ 51 w 160"/>
              <a:gd name="T93" fmla="*/ 61 h 160"/>
              <a:gd name="T94" fmla="*/ 64 w 160"/>
              <a:gd name="T95" fmla="*/ 61 h 160"/>
              <a:gd name="T96" fmla="*/ 51 w 160"/>
              <a:gd name="T97" fmla="*/ 61 h 160"/>
              <a:gd name="T98" fmla="*/ 61 w 160"/>
              <a:gd name="T99" fmla="*/ 69 h 160"/>
              <a:gd name="T100" fmla="*/ 53 w 160"/>
              <a:gd name="T101" fmla="*/ 75 h 160"/>
              <a:gd name="T102" fmla="*/ 53 w 160"/>
              <a:gd name="T103" fmla="*/ 80 h 160"/>
              <a:gd name="T104" fmla="*/ 61 w 160"/>
              <a:gd name="T105" fmla="*/ 8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0" h="160">
                <a:moveTo>
                  <a:pt x="133" y="85"/>
                </a:moveTo>
                <a:cubicBezTo>
                  <a:pt x="141" y="85"/>
                  <a:pt x="147" y="79"/>
                  <a:pt x="147" y="72"/>
                </a:cubicBezTo>
                <a:cubicBezTo>
                  <a:pt x="147" y="65"/>
                  <a:pt x="141" y="59"/>
                  <a:pt x="133" y="59"/>
                </a:cubicBezTo>
                <a:cubicBezTo>
                  <a:pt x="126" y="59"/>
                  <a:pt x="120" y="65"/>
                  <a:pt x="120" y="72"/>
                </a:cubicBezTo>
                <a:cubicBezTo>
                  <a:pt x="120" y="79"/>
                  <a:pt x="126" y="85"/>
                  <a:pt x="133" y="85"/>
                </a:cubicBezTo>
                <a:close/>
                <a:moveTo>
                  <a:pt x="133" y="64"/>
                </a:moveTo>
                <a:cubicBezTo>
                  <a:pt x="138" y="64"/>
                  <a:pt x="141" y="68"/>
                  <a:pt x="141" y="72"/>
                </a:cubicBezTo>
                <a:cubicBezTo>
                  <a:pt x="141" y="76"/>
                  <a:pt x="138" y="80"/>
                  <a:pt x="133" y="80"/>
                </a:cubicBezTo>
                <a:cubicBezTo>
                  <a:pt x="129" y="80"/>
                  <a:pt x="125" y="76"/>
                  <a:pt x="125" y="72"/>
                </a:cubicBezTo>
                <a:cubicBezTo>
                  <a:pt x="125" y="68"/>
                  <a:pt x="129" y="64"/>
                  <a:pt x="133" y="64"/>
                </a:cubicBezTo>
                <a:close/>
                <a:moveTo>
                  <a:pt x="45" y="21"/>
                </a:moveTo>
                <a:cubicBezTo>
                  <a:pt x="45" y="20"/>
                  <a:pt x="47" y="19"/>
                  <a:pt x="48" y="19"/>
                </a:cubicBezTo>
                <a:cubicBezTo>
                  <a:pt x="96" y="19"/>
                  <a:pt x="96" y="19"/>
                  <a:pt x="96" y="19"/>
                </a:cubicBezTo>
                <a:cubicBezTo>
                  <a:pt x="97" y="19"/>
                  <a:pt x="99" y="20"/>
                  <a:pt x="99" y="21"/>
                </a:cubicBezTo>
                <a:cubicBezTo>
                  <a:pt x="99" y="23"/>
                  <a:pt x="97" y="24"/>
                  <a:pt x="96" y="24"/>
                </a:cubicBezTo>
                <a:cubicBezTo>
                  <a:pt x="48" y="24"/>
                  <a:pt x="48" y="24"/>
                  <a:pt x="48" y="24"/>
                </a:cubicBezTo>
                <a:cubicBezTo>
                  <a:pt x="47" y="24"/>
                  <a:pt x="45" y="23"/>
                  <a:pt x="45" y="21"/>
                </a:cubicBezTo>
                <a:close/>
                <a:moveTo>
                  <a:pt x="115" y="35"/>
                </a:moveTo>
                <a:cubicBezTo>
                  <a:pt x="115" y="36"/>
                  <a:pt x="113" y="37"/>
                  <a:pt x="112" y="37"/>
                </a:cubicBezTo>
                <a:cubicBezTo>
                  <a:pt x="48" y="37"/>
                  <a:pt x="48" y="37"/>
                  <a:pt x="48" y="37"/>
                </a:cubicBezTo>
                <a:cubicBezTo>
                  <a:pt x="47" y="37"/>
                  <a:pt x="45" y="36"/>
                  <a:pt x="45" y="35"/>
                </a:cubicBezTo>
                <a:cubicBezTo>
                  <a:pt x="45" y="33"/>
                  <a:pt x="47" y="32"/>
                  <a:pt x="48" y="32"/>
                </a:cubicBezTo>
                <a:cubicBezTo>
                  <a:pt x="112" y="32"/>
                  <a:pt x="112" y="32"/>
                  <a:pt x="112" y="32"/>
                </a:cubicBezTo>
                <a:cubicBezTo>
                  <a:pt x="113" y="32"/>
                  <a:pt x="115" y="33"/>
                  <a:pt x="115" y="35"/>
                </a:cubicBezTo>
                <a:close/>
                <a:moveTo>
                  <a:pt x="115" y="117"/>
                </a:moveTo>
                <a:cubicBezTo>
                  <a:pt x="115" y="119"/>
                  <a:pt x="113" y="120"/>
                  <a:pt x="112" y="120"/>
                </a:cubicBezTo>
                <a:cubicBezTo>
                  <a:pt x="48" y="120"/>
                  <a:pt x="48" y="120"/>
                  <a:pt x="48" y="120"/>
                </a:cubicBezTo>
                <a:cubicBezTo>
                  <a:pt x="47" y="120"/>
                  <a:pt x="45" y="119"/>
                  <a:pt x="45" y="117"/>
                </a:cubicBezTo>
                <a:cubicBezTo>
                  <a:pt x="45" y="116"/>
                  <a:pt x="47" y="115"/>
                  <a:pt x="48" y="115"/>
                </a:cubicBezTo>
                <a:cubicBezTo>
                  <a:pt x="112" y="115"/>
                  <a:pt x="112" y="115"/>
                  <a:pt x="112" y="115"/>
                </a:cubicBezTo>
                <a:cubicBezTo>
                  <a:pt x="113" y="115"/>
                  <a:pt x="115" y="116"/>
                  <a:pt x="115" y="117"/>
                </a:cubicBezTo>
                <a:close/>
                <a:moveTo>
                  <a:pt x="115" y="131"/>
                </a:moveTo>
                <a:cubicBezTo>
                  <a:pt x="115" y="132"/>
                  <a:pt x="113" y="133"/>
                  <a:pt x="112" y="133"/>
                </a:cubicBezTo>
                <a:cubicBezTo>
                  <a:pt x="48" y="133"/>
                  <a:pt x="48" y="133"/>
                  <a:pt x="48" y="133"/>
                </a:cubicBezTo>
                <a:cubicBezTo>
                  <a:pt x="47" y="133"/>
                  <a:pt x="45" y="132"/>
                  <a:pt x="45" y="131"/>
                </a:cubicBezTo>
                <a:cubicBezTo>
                  <a:pt x="45" y="129"/>
                  <a:pt x="47" y="128"/>
                  <a:pt x="48" y="128"/>
                </a:cubicBezTo>
                <a:cubicBezTo>
                  <a:pt x="112" y="128"/>
                  <a:pt x="112" y="128"/>
                  <a:pt x="112" y="128"/>
                </a:cubicBezTo>
                <a:cubicBezTo>
                  <a:pt x="113" y="128"/>
                  <a:pt x="115" y="129"/>
                  <a:pt x="115" y="131"/>
                </a:cubicBezTo>
                <a:close/>
                <a:moveTo>
                  <a:pt x="136" y="45"/>
                </a:moveTo>
                <a:cubicBezTo>
                  <a:pt x="136" y="0"/>
                  <a:pt x="136" y="0"/>
                  <a:pt x="136" y="0"/>
                </a:cubicBezTo>
                <a:cubicBezTo>
                  <a:pt x="24" y="0"/>
                  <a:pt x="24" y="0"/>
                  <a:pt x="24" y="0"/>
                </a:cubicBezTo>
                <a:cubicBezTo>
                  <a:pt x="24" y="45"/>
                  <a:pt x="24" y="45"/>
                  <a:pt x="24" y="45"/>
                </a:cubicBezTo>
                <a:cubicBezTo>
                  <a:pt x="0" y="45"/>
                  <a:pt x="0" y="45"/>
                  <a:pt x="0" y="45"/>
                </a:cubicBezTo>
                <a:cubicBezTo>
                  <a:pt x="0" y="136"/>
                  <a:pt x="0" y="136"/>
                  <a:pt x="0" y="136"/>
                </a:cubicBezTo>
                <a:cubicBezTo>
                  <a:pt x="16" y="136"/>
                  <a:pt x="16" y="136"/>
                  <a:pt x="16" y="136"/>
                </a:cubicBezTo>
                <a:cubicBezTo>
                  <a:pt x="16" y="144"/>
                  <a:pt x="16" y="144"/>
                  <a:pt x="16" y="144"/>
                </a:cubicBezTo>
                <a:cubicBezTo>
                  <a:pt x="24" y="144"/>
                  <a:pt x="24" y="144"/>
                  <a:pt x="24" y="144"/>
                </a:cubicBezTo>
                <a:cubicBezTo>
                  <a:pt x="24" y="160"/>
                  <a:pt x="24" y="160"/>
                  <a:pt x="24" y="160"/>
                </a:cubicBezTo>
                <a:cubicBezTo>
                  <a:pt x="136" y="160"/>
                  <a:pt x="136" y="160"/>
                  <a:pt x="136" y="160"/>
                </a:cubicBezTo>
                <a:cubicBezTo>
                  <a:pt x="136" y="144"/>
                  <a:pt x="136" y="144"/>
                  <a:pt x="136" y="144"/>
                </a:cubicBezTo>
                <a:cubicBezTo>
                  <a:pt x="144" y="144"/>
                  <a:pt x="144" y="144"/>
                  <a:pt x="144" y="144"/>
                </a:cubicBezTo>
                <a:cubicBezTo>
                  <a:pt x="144" y="136"/>
                  <a:pt x="144" y="136"/>
                  <a:pt x="144" y="136"/>
                </a:cubicBezTo>
                <a:cubicBezTo>
                  <a:pt x="160" y="136"/>
                  <a:pt x="160" y="136"/>
                  <a:pt x="160" y="136"/>
                </a:cubicBezTo>
                <a:cubicBezTo>
                  <a:pt x="160" y="45"/>
                  <a:pt x="160" y="45"/>
                  <a:pt x="160" y="45"/>
                </a:cubicBezTo>
                <a:lnTo>
                  <a:pt x="136" y="45"/>
                </a:lnTo>
                <a:close/>
                <a:moveTo>
                  <a:pt x="29" y="5"/>
                </a:moveTo>
                <a:cubicBezTo>
                  <a:pt x="131" y="5"/>
                  <a:pt x="131" y="5"/>
                  <a:pt x="131" y="5"/>
                </a:cubicBezTo>
                <a:cubicBezTo>
                  <a:pt x="131" y="45"/>
                  <a:pt x="131" y="45"/>
                  <a:pt x="131" y="45"/>
                </a:cubicBezTo>
                <a:cubicBezTo>
                  <a:pt x="29" y="45"/>
                  <a:pt x="29" y="45"/>
                  <a:pt x="29" y="45"/>
                </a:cubicBezTo>
                <a:lnTo>
                  <a:pt x="29" y="5"/>
                </a:lnTo>
                <a:close/>
                <a:moveTo>
                  <a:pt x="24" y="51"/>
                </a:moveTo>
                <a:cubicBezTo>
                  <a:pt x="136" y="51"/>
                  <a:pt x="136" y="51"/>
                  <a:pt x="136" y="51"/>
                </a:cubicBezTo>
                <a:cubicBezTo>
                  <a:pt x="155" y="51"/>
                  <a:pt x="155" y="51"/>
                  <a:pt x="155" y="51"/>
                </a:cubicBezTo>
                <a:cubicBezTo>
                  <a:pt x="155" y="93"/>
                  <a:pt x="155" y="93"/>
                  <a:pt x="155" y="93"/>
                </a:cubicBezTo>
                <a:cubicBezTo>
                  <a:pt x="5" y="93"/>
                  <a:pt x="5" y="93"/>
                  <a:pt x="5" y="93"/>
                </a:cubicBezTo>
                <a:cubicBezTo>
                  <a:pt x="5" y="51"/>
                  <a:pt x="5" y="51"/>
                  <a:pt x="5" y="51"/>
                </a:cubicBezTo>
                <a:lnTo>
                  <a:pt x="24" y="51"/>
                </a:lnTo>
                <a:close/>
                <a:moveTo>
                  <a:pt x="21" y="139"/>
                </a:moveTo>
                <a:cubicBezTo>
                  <a:pt x="21" y="133"/>
                  <a:pt x="21" y="133"/>
                  <a:pt x="21" y="133"/>
                </a:cubicBezTo>
                <a:cubicBezTo>
                  <a:pt x="21" y="131"/>
                  <a:pt x="21" y="131"/>
                  <a:pt x="21" y="131"/>
                </a:cubicBezTo>
                <a:cubicBezTo>
                  <a:pt x="21" y="120"/>
                  <a:pt x="21" y="120"/>
                  <a:pt x="21" y="120"/>
                </a:cubicBezTo>
                <a:cubicBezTo>
                  <a:pt x="21" y="119"/>
                  <a:pt x="20" y="117"/>
                  <a:pt x="19" y="117"/>
                </a:cubicBezTo>
                <a:cubicBezTo>
                  <a:pt x="17" y="117"/>
                  <a:pt x="16" y="119"/>
                  <a:pt x="16" y="120"/>
                </a:cubicBezTo>
                <a:cubicBezTo>
                  <a:pt x="16" y="131"/>
                  <a:pt x="16" y="131"/>
                  <a:pt x="16" y="131"/>
                </a:cubicBezTo>
                <a:cubicBezTo>
                  <a:pt x="5" y="131"/>
                  <a:pt x="5" y="131"/>
                  <a:pt x="5" y="131"/>
                </a:cubicBezTo>
                <a:cubicBezTo>
                  <a:pt x="5" y="99"/>
                  <a:pt x="5" y="99"/>
                  <a:pt x="5" y="99"/>
                </a:cubicBezTo>
                <a:cubicBezTo>
                  <a:pt x="24" y="99"/>
                  <a:pt x="24" y="99"/>
                  <a:pt x="24" y="99"/>
                </a:cubicBezTo>
                <a:cubicBezTo>
                  <a:pt x="24" y="139"/>
                  <a:pt x="24" y="139"/>
                  <a:pt x="24" y="139"/>
                </a:cubicBezTo>
                <a:lnTo>
                  <a:pt x="21" y="139"/>
                </a:lnTo>
                <a:close/>
                <a:moveTo>
                  <a:pt x="131" y="155"/>
                </a:moveTo>
                <a:cubicBezTo>
                  <a:pt x="29" y="155"/>
                  <a:pt x="29" y="155"/>
                  <a:pt x="29" y="155"/>
                </a:cubicBezTo>
                <a:cubicBezTo>
                  <a:pt x="29" y="144"/>
                  <a:pt x="29" y="144"/>
                  <a:pt x="29" y="144"/>
                </a:cubicBezTo>
                <a:cubicBezTo>
                  <a:pt x="29" y="99"/>
                  <a:pt x="29" y="99"/>
                  <a:pt x="29" y="99"/>
                </a:cubicBezTo>
                <a:cubicBezTo>
                  <a:pt x="131" y="99"/>
                  <a:pt x="131" y="99"/>
                  <a:pt x="131" y="99"/>
                </a:cubicBezTo>
                <a:cubicBezTo>
                  <a:pt x="131" y="144"/>
                  <a:pt x="131" y="144"/>
                  <a:pt x="131" y="144"/>
                </a:cubicBezTo>
                <a:lnTo>
                  <a:pt x="131" y="155"/>
                </a:lnTo>
                <a:close/>
                <a:moveTo>
                  <a:pt x="144" y="131"/>
                </a:moveTo>
                <a:cubicBezTo>
                  <a:pt x="144" y="120"/>
                  <a:pt x="144" y="120"/>
                  <a:pt x="144" y="120"/>
                </a:cubicBezTo>
                <a:cubicBezTo>
                  <a:pt x="144" y="119"/>
                  <a:pt x="143" y="117"/>
                  <a:pt x="141" y="117"/>
                </a:cubicBezTo>
                <a:cubicBezTo>
                  <a:pt x="140" y="117"/>
                  <a:pt x="139" y="119"/>
                  <a:pt x="139" y="120"/>
                </a:cubicBezTo>
                <a:cubicBezTo>
                  <a:pt x="139" y="131"/>
                  <a:pt x="139" y="131"/>
                  <a:pt x="139" y="131"/>
                </a:cubicBezTo>
                <a:cubicBezTo>
                  <a:pt x="139" y="133"/>
                  <a:pt x="139" y="133"/>
                  <a:pt x="139" y="133"/>
                </a:cubicBezTo>
                <a:cubicBezTo>
                  <a:pt x="139" y="139"/>
                  <a:pt x="139" y="139"/>
                  <a:pt x="139" y="139"/>
                </a:cubicBezTo>
                <a:cubicBezTo>
                  <a:pt x="136" y="139"/>
                  <a:pt x="136" y="139"/>
                  <a:pt x="136" y="139"/>
                </a:cubicBezTo>
                <a:cubicBezTo>
                  <a:pt x="136" y="99"/>
                  <a:pt x="136" y="99"/>
                  <a:pt x="136" y="99"/>
                </a:cubicBezTo>
                <a:cubicBezTo>
                  <a:pt x="155" y="99"/>
                  <a:pt x="155" y="99"/>
                  <a:pt x="155" y="99"/>
                </a:cubicBezTo>
                <a:cubicBezTo>
                  <a:pt x="155" y="131"/>
                  <a:pt x="155" y="131"/>
                  <a:pt x="155" y="131"/>
                </a:cubicBezTo>
                <a:lnTo>
                  <a:pt x="144" y="131"/>
                </a:lnTo>
                <a:close/>
                <a:moveTo>
                  <a:pt x="13" y="61"/>
                </a:moveTo>
                <a:cubicBezTo>
                  <a:pt x="13" y="60"/>
                  <a:pt x="15" y="59"/>
                  <a:pt x="16" y="59"/>
                </a:cubicBezTo>
                <a:cubicBezTo>
                  <a:pt x="24" y="59"/>
                  <a:pt x="24" y="59"/>
                  <a:pt x="24" y="59"/>
                </a:cubicBezTo>
                <a:cubicBezTo>
                  <a:pt x="25" y="59"/>
                  <a:pt x="27" y="60"/>
                  <a:pt x="27" y="61"/>
                </a:cubicBezTo>
                <a:cubicBezTo>
                  <a:pt x="27" y="63"/>
                  <a:pt x="25" y="64"/>
                  <a:pt x="24" y="64"/>
                </a:cubicBezTo>
                <a:cubicBezTo>
                  <a:pt x="16" y="64"/>
                  <a:pt x="16" y="64"/>
                  <a:pt x="16" y="64"/>
                </a:cubicBezTo>
                <a:cubicBezTo>
                  <a:pt x="15" y="64"/>
                  <a:pt x="13" y="63"/>
                  <a:pt x="13" y="61"/>
                </a:cubicBezTo>
                <a:close/>
                <a:moveTo>
                  <a:pt x="13" y="72"/>
                </a:moveTo>
                <a:cubicBezTo>
                  <a:pt x="13" y="71"/>
                  <a:pt x="15" y="69"/>
                  <a:pt x="16" y="69"/>
                </a:cubicBezTo>
                <a:cubicBezTo>
                  <a:pt x="24" y="69"/>
                  <a:pt x="24" y="69"/>
                  <a:pt x="24" y="69"/>
                </a:cubicBezTo>
                <a:cubicBezTo>
                  <a:pt x="25" y="69"/>
                  <a:pt x="27" y="71"/>
                  <a:pt x="27" y="72"/>
                </a:cubicBezTo>
                <a:cubicBezTo>
                  <a:pt x="27" y="73"/>
                  <a:pt x="25" y="75"/>
                  <a:pt x="24" y="75"/>
                </a:cubicBezTo>
                <a:cubicBezTo>
                  <a:pt x="16" y="75"/>
                  <a:pt x="16" y="75"/>
                  <a:pt x="16" y="75"/>
                </a:cubicBezTo>
                <a:cubicBezTo>
                  <a:pt x="15" y="75"/>
                  <a:pt x="13" y="73"/>
                  <a:pt x="13" y="72"/>
                </a:cubicBezTo>
                <a:close/>
                <a:moveTo>
                  <a:pt x="13" y="83"/>
                </a:moveTo>
                <a:cubicBezTo>
                  <a:pt x="13" y="81"/>
                  <a:pt x="15" y="80"/>
                  <a:pt x="16" y="80"/>
                </a:cubicBezTo>
                <a:cubicBezTo>
                  <a:pt x="24" y="80"/>
                  <a:pt x="24" y="80"/>
                  <a:pt x="24" y="80"/>
                </a:cubicBezTo>
                <a:cubicBezTo>
                  <a:pt x="25" y="80"/>
                  <a:pt x="27" y="81"/>
                  <a:pt x="27" y="83"/>
                </a:cubicBezTo>
                <a:cubicBezTo>
                  <a:pt x="27" y="84"/>
                  <a:pt x="25" y="85"/>
                  <a:pt x="24" y="85"/>
                </a:cubicBezTo>
                <a:cubicBezTo>
                  <a:pt x="16" y="85"/>
                  <a:pt x="16" y="85"/>
                  <a:pt x="16" y="85"/>
                </a:cubicBezTo>
                <a:cubicBezTo>
                  <a:pt x="15" y="85"/>
                  <a:pt x="13" y="84"/>
                  <a:pt x="13" y="83"/>
                </a:cubicBezTo>
                <a:close/>
                <a:moveTo>
                  <a:pt x="32" y="61"/>
                </a:moveTo>
                <a:cubicBezTo>
                  <a:pt x="32" y="60"/>
                  <a:pt x="33" y="59"/>
                  <a:pt x="35" y="59"/>
                </a:cubicBezTo>
                <a:cubicBezTo>
                  <a:pt x="43" y="59"/>
                  <a:pt x="43" y="59"/>
                  <a:pt x="43" y="59"/>
                </a:cubicBezTo>
                <a:cubicBezTo>
                  <a:pt x="44" y="59"/>
                  <a:pt x="45" y="60"/>
                  <a:pt x="45" y="61"/>
                </a:cubicBezTo>
                <a:cubicBezTo>
                  <a:pt x="45" y="63"/>
                  <a:pt x="44" y="64"/>
                  <a:pt x="43" y="64"/>
                </a:cubicBezTo>
                <a:cubicBezTo>
                  <a:pt x="35" y="64"/>
                  <a:pt x="35" y="64"/>
                  <a:pt x="35" y="64"/>
                </a:cubicBezTo>
                <a:cubicBezTo>
                  <a:pt x="33" y="64"/>
                  <a:pt x="32" y="63"/>
                  <a:pt x="32" y="61"/>
                </a:cubicBezTo>
                <a:close/>
                <a:moveTo>
                  <a:pt x="32" y="72"/>
                </a:moveTo>
                <a:cubicBezTo>
                  <a:pt x="32" y="71"/>
                  <a:pt x="33" y="69"/>
                  <a:pt x="35" y="69"/>
                </a:cubicBezTo>
                <a:cubicBezTo>
                  <a:pt x="43" y="69"/>
                  <a:pt x="43" y="69"/>
                  <a:pt x="43" y="69"/>
                </a:cubicBezTo>
                <a:cubicBezTo>
                  <a:pt x="44" y="69"/>
                  <a:pt x="45" y="71"/>
                  <a:pt x="45" y="72"/>
                </a:cubicBezTo>
                <a:cubicBezTo>
                  <a:pt x="45" y="73"/>
                  <a:pt x="44" y="75"/>
                  <a:pt x="43" y="75"/>
                </a:cubicBezTo>
                <a:cubicBezTo>
                  <a:pt x="35" y="75"/>
                  <a:pt x="35" y="75"/>
                  <a:pt x="35" y="75"/>
                </a:cubicBezTo>
                <a:cubicBezTo>
                  <a:pt x="33" y="75"/>
                  <a:pt x="32" y="73"/>
                  <a:pt x="32" y="72"/>
                </a:cubicBezTo>
                <a:close/>
                <a:moveTo>
                  <a:pt x="32" y="83"/>
                </a:moveTo>
                <a:cubicBezTo>
                  <a:pt x="32" y="81"/>
                  <a:pt x="33" y="80"/>
                  <a:pt x="35" y="80"/>
                </a:cubicBezTo>
                <a:cubicBezTo>
                  <a:pt x="43" y="80"/>
                  <a:pt x="43" y="80"/>
                  <a:pt x="43" y="80"/>
                </a:cubicBezTo>
                <a:cubicBezTo>
                  <a:pt x="44" y="80"/>
                  <a:pt x="45" y="81"/>
                  <a:pt x="45" y="83"/>
                </a:cubicBezTo>
                <a:cubicBezTo>
                  <a:pt x="45" y="84"/>
                  <a:pt x="44" y="85"/>
                  <a:pt x="43" y="85"/>
                </a:cubicBezTo>
                <a:cubicBezTo>
                  <a:pt x="35" y="85"/>
                  <a:pt x="35" y="85"/>
                  <a:pt x="35" y="85"/>
                </a:cubicBezTo>
                <a:cubicBezTo>
                  <a:pt x="33" y="85"/>
                  <a:pt x="32" y="84"/>
                  <a:pt x="32" y="83"/>
                </a:cubicBezTo>
                <a:close/>
                <a:moveTo>
                  <a:pt x="51" y="61"/>
                </a:moveTo>
                <a:cubicBezTo>
                  <a:pt x="51" y="60"/>
                  <a:pt x="52" y="59"/>
                  <a:pt x="53" y="59"/>
                </a:cubicBezTo>
                <a:cubicBezTo>
                  <a:pt x="61" y="59"/>
                  <a:pt x="61" y="59"/>
                  <a:pt x="61" y="59"/>
                </a:cubicBezTo>
                <a:cubicBezTo>
                  <a:pt x="63" y="59"/>
                  <a:pt x="64" y="60"/>
                  <a:pt x="64" y="61"/>
                </a:cubicBezTo>
                <a:cubicBezTo>
                  <a:pt x="64" y="63"/>
                  <a:pt x="63" y="64"/>
                  <a:pt x="61" y="64"/>
                </a:cubicBezTo>
                <a:cubicBezTo>
                  <a:pt x="53" y="64"/>
                  <a:pt x="53" y="64"/>
                  <a:pt x="53" y="64"/>
                </a:cubicBezTo>
                <a:cubicBezTo>
                  <a:pt x="52" y="64"/>
                  <a:pt x="51" y="63"/>
                  <a:pt x="51" y="61"/>
                </a:cubicBezTo>
                <a:close/>
                <a:moveTo>
                  <a:pt x="51" y="72"/>
                </a:moveTo>
                <a:cubicBezTo>
                  <a:pt x="51" y="71"/>
                  <a:pt x="52" y="69"/>
                  <a:pt x="53" y="69"/>
                </a:cubicBezTo>
                <a:cubicBezTo>
                  <a:pt x="61" y="69"/>
                  <a:pt x="61" y="69"/>
                  <a:pt x="61" y="69"/>
                </a:cubicBezTo>
                <a:cubicBezTo>
                  <a:pt x="63" y="69"/>
                  <a:pt x="64" y="71"/>
                  <a:pt x="64" y="72"/>
                </a:cubicBezTo>
                <a:cubicBezTo>
                  <a:pt x="64" y="73"/>
                  <a:pt x="63" y="75"/>
                  <a:pt x="61" y="75"/>
                </a:cubicBezTo>
                <a:cubicBezTo>
                  <a:pt x="53" y="75"/>
                  <a:pt x="53" y="75"/>
                  <a:pt x="53" y="75"/>
                </a:cubicBezTo>
                <a:cubicBezTo>
                  <a:pt x="52" y="75"/>
                  <a:pt x="51" y="73"/>
                  <a:pt x="51" y="72"/>
                </a:cubicBezTo>
                <a:close/>
                <a:moveTo>
                  <a:pt x="51" y="83"/>
                </a:moveTo>
                <a:cubicBezTo>
                  <a:pt x="51" y="81"/>
                  <a:pt x="52" y="80"/>
                  <a:pt x="53" y="80"/>
                </a:cubicBezTo>
                <a:cubicBezTo>
                  <a:pt x="61" y="80"/>
                  <a:pt x="61" y="80"/>
                  <a:pt x="61" y="80"/>
                </a:cubicBezTo>
                <a:cubicBezTo>
                  <a:pt x="63" y="80"/>
                  <a:pt x="64" y="81"/>
                  <a:pt x="64" y="83"/>
                </a:cubicBezTo>
                <a:cubicBezTo>
                  <a:pt x="64" y="84"/>
                  <a:pt x="63" y="85"/>
                  <a:pt x="61" y="85"/>
                </a:cubicBezTo>
                <a:cubicBezTo>
                  <a:pt x="53" y="85"/>
                  <a:pt x="53" y="85"/>
                  <a:pt x="53" y="85"/>
                </a:cubicBezTo>
                <a:cubicBezTo>
                  <a:pt x="52" y="85"/>
                  <a:pt x="51" y="84"/>
                  <a:pt x="51" y="83"/>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Freeform 2069">
            <a:extLst>
              <a:ext uri="{FF2B5EF4-FFF2-40B4-BE49-F238E27FC236}">
                <a16:creationId xmlns:a16="http://schemas.microsoft.com/office/drawing/2014/main" id="{8DC02E8C-607E-CC43-AAD9-9D63C25E5D4E}"/>
              </a:ext>
            </a:extLst>
          </p:cNvPr>
          <p:cNvSpPr>
            <a:spLocks noEditPoints="1"/>
          </p:cNvSpPr>
          <p:nvPr/>
        </p:nvSpPr>
        <p:spPr bwMode="auto">
          <a:xfrm>
            <a:off x="663571" y="984250"/>
            <a:ext cx="438150" cy="550863"/>
          </a:xfrm>
          <a:custGeom>
            <a:avLst/>
            <a:gdLst>
              <a:gd name="T0" fmla="*/ 104 w 128"/>
              <a:gd name="T1" fmla="*/ 72 h 160"/>
              <a:gd name="T2" fmla="*/ 35 w 128"/>
              <a:gd name="T3" fmla="*/ 69 h 160"/>
              <a:gd name="T4" fmla="*/ 104 w 128"/>
              <a:gd name="T5" fmla="*/ 67 h 160"/>
              <a:gd name="T6" fmla="*/ 37 w 128"/>
              <a:gd name="T7" fmla="*/ 51 h 160"/>
              <a:gd name="T8" fmla="*/ 67 w 128"/>
              <a:gd name="T9" fmla="*/ 48 h 160"/>
              <a:gd name="T10" fmla="*/ 37 w 128"/>
              <a:gd name="T11" fmla="*/ 45 h 160"/>
              <a:gd name="T12" fmla="*/ 37 w 128"/>
              <a:gd name="T13" fmla="*/ 51 h 160"/>
              <a:gd name="T14" fmla="*/ 37 w 128"/>
              <a:gd name="T15" fmla="*/ 88 h 160"/>
              <a:gd name="T16" fmla="*/ 37 w 128"/>
              <a:gd name="T17" fmla="*/ 93 h 160"/>
              <a:gd name="T18" fmla="*/ 107 w 128"/>
              <a:gd name="T19" fmla="*/ 91 h 160"/>
              <a:gd name="T20" fmla="*/ 104 w 128"/>
              <a:gd name="T21" fmla="*/ 109 h 160"/>
              <a:gd name="T22" fmla="*/ 35 w 128"/>
              <a:gd name="T23" fmla="*/ 112 h 160"/>
              <a:gd name="T24" fmla="*/ 104 w 128"/>
              <a:gd name="T25" fmla="*/ 115 h 160"/>
              <a:gd name="T26" fmla="*/ 104 w 128"/>
              <a:gd name="T27" fmla="*/ 109 h 160"/>
              <a:gd name="T28" fmla="*/ 37 w 128"/>
              <a:gd name="T29" fmla="*/ 131 h 160"/>
              <a:gd name="T30" fmla="*/ 37 w 128"/>
              <a:gd name="T31" fmla="*/ 136 h 160"/>
              <a:gd name="T32" fmla="*/ 107 w 128"/>
              <a:gd name="T33" fmla="*/ 133 h 160"/>
              <a:gd name="T34" fmla="*/ 128 w 128"/>
              <a:gd name="T35" fmla="*/ 52 h 160"/>
              <a:gd name="T36" fmla="*/ 13 w 128"/>
              <a:gd name="T37" fmla="*/ 160 h 160"/>
              <a:gd name="T38" fmla="*/ 0 w 128"/>
              <a:gd name="T39" fmla="*/ 147 h 160"/>
              <a:gd name="T40" fmla="*/ 115 w 128"/>
              <a:gd name="T41" fmla="*/ 0 h 160"/>
              <a:gd name="T42" fmla="*/ 128 w 128"/>
              <a:gd name="T43" fmla="*/ 52 h 160"/>
              <a:gd name="T44" fmla="*/ 119 w 128"/>
              <a:gd name="T45" fmla="*/ 51 h 160"/>
              <a:gd name="T46" fmla="*/ 91 w 128"/>
              <a:gd name="T47" fmla="*/ 22 h 160"/>
              <a:gd name="T48" fmla="*/ 13 w 128"/>
              <a:gd name="T49" fmla="*/ 141 h 160"/>
              <a:gd name="T50" fmla="*/ 89 w 128"/>
              <a:gd name="T51" fmla="*/ 13 h 160"/>
              <a:gd name="T52" fmla="*/ 109 w 128"/>
              <a:gd name="T53" fmla="*/ 5 h 160"/>
              <a:gd name="T54" fmla="*/ 5 w 128"/>
              <a:gd name="T55" fmla="*/ 141 h 160"/>
              <a:gd name="T56" fmla="*/ 123 w 128"/>
              <a:gd name="T57" fmla="*/ 155 h 160"/>
              <a:gd name="T58" fmla="*/ 85 w 128"/>
              <a:gd name="T59" fmla="*/ 56 h 160"/>
              <a:gd name="T60" fmla="*/ 19 w 128"/>
              <a:gd name="T61" fmla="*/ 19 h 160"/>
              <a:gd name="T62" fmla="*/ 19 w 128"/>
              <a:gd name="T63"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160">
                <a:moveTo>
                  <a:pt x="107" y="69"/>
                </a:moveTo>
                <a:cubicBezTo>
                  <a:pt x="107" y="71"/>
                  <a:pt x="105" y="72"/>
                  <a:pt x="104" y="72"/>
                </a:cubicBezTo>
                <a:cubicBezTo>
                  <a:pt x="37" y="72"/>
                  <a:pt x="37" y="72"/>
                  <a:pt x="37" y="72"/>
                </a:cubicBezTo>
                <a:cubicBezTo>
                  <a:pt x="36" y="72"/>
                  <a:pt x="35" y="71"/>
                  <a:pt x="35" y="69"/>
                </a:cubicBezTo>
                <a:cubicBezTo>
                  <a:pt x="35" y="68"/>
                  <a:pt x="36" y="67"/>
                  <a:pt x="37" y="67"/>
                </a:cubicBezTo>
                <a:cubicBezTo>
                  <a:pt x="104" y="67"/>
                  <a:pt x="104" y="67"/>
                  <a:pt x="104" y="67"/>
                </a:cubicBezTo>
                <a:cubicBezTo>
                  <a:pt x="105" y="67"/>
                  <a:pt x="107" y="68"/>
                  <a:pt x="107" y="69"/>
                </a:cubicBezTo>
                <a:close/>
                <a:moveTo>
                  <a:pt x="37" y="51"/>
                </a:moveTo>
                <a:cubicBezTo>
                  <a:pt x="64" y="51"/>
                  <a:pt x="64" y="51"/>
                  <a:pt x="64" y="51"/>
                </a:cubicBezTo>
                <a:cubicBezTo>
                  <a:pt x="65" y="51"/>
                  <a:pt x="67" y="49"/>
                  <a:pt x="67" y="48"/>
                </a:cubicBezTo>
                <a:cubicBezTo>
                  <a:pt x="67" y="47"/>
                  <a:pt x="65" y="45"/>
                  <a:pt x="64" y="45"/>
                </a:cubicBezTo>
                <a:cubicBezTo>
                  <a:pt x="37" y="45"/>
                  <a:pt x="37" y="45"/>
                  <a:pt x="37" y="45"/>
                </a:cubicBezTo>
                <a:cubicBezTo>
                  <a:pt x="36" y="45"/>
                  <a:pt x="35" y="47"/>
                  <a:pt x="35" y="48"/>
                </a:cubicBezTo>
                <a:cubicBezTo>
                  <a:pt x="35" y="49"/>
                  <a:pt x="36" y="51"/>
                  <a:pt x="37" y="51"/>
                </a:cubicBezTo>
                <a:close/>
                <a:moveTo>
                  <a:pt x="104" y="88"/>
                </a:moveTo>
                <a:cubicBezTo>
                  <a:pt x="37" y="88"/>
                  <a:pt x="37" y="88"/>
                  <a:pt x="37" y="88"/>
                </a:cubicBezTo>
                <a:cubicBezTo>
                  <a:pt x="36" y="88"/>
                  <a:pt x="35" y="89"/>
                  <a:pt x="35" y="91"/>
                </a:cubicBezTo>
                <a:cubicBezTo>
                  <a:pt x="35" y="92"/>
                  <a:pt x="36" y="93"/>
                  <a:pt x="37" y="93"/>
                </a:cubicBezTo>
                <a:cubicBezTo>
                  <a:pt x="104" y="93"/>
                  <a:pt x="104" y="93"/>
                  <a:pt x="104" y="93"/>
                </a:cubicBezTo>
                <a:cubicBezTo>
                  <a:pt x="105" y="93"/>
                  <a:pt x="107" y="92"/>
                  <a:pt x="107" y="91"/>
                </a:cubicBezTo>
                <a:cubicBezTo>
                  <a:pt x="107" y="89"/>
                  <a:pt x="105" y="88"/>
                  <a:pt x="104" y="88"/>
                </a:cubicBezTo>
                <a:close/>
                <a:moveTo>
                  <a:pt x="104" y="109"/>
                </a:moveTo>
                <a:cubicBezTo>
                  <a:pt x="37" y="109"/>
                  <a:pt x="37" y="109"/>
                  <a:pt x="37" y="109"/>
                </a:cubicBezTo>
                <a:cubicBezTo>
                  <a:pt x="36" y="109"/>
                  <a:pt x="35" y="111"/>
                  <a:pt x="35" y="112"/>
                </a:cubicBezTo>
                <a:cubicBezTo>
                  <a:pt x="35" y="113"/>
                  <a:pt x="36" y="115"/>
                  <a:pt x="37" y="115"/>
                </a:cubicBezTo>
                <a:cubicBezTo>
                  <a:pt x="104" y="115"/>
                  <a:pt x="104" y="115"/>
                  <a:pt x="104" y="115"/>
                </a:cubicBezTo>
                <a:cubicBezTo>
                  <a:pt x="105" y="115"/>
                  <a:pt x="107" y="113"/>
                  <a:pt x="107" y="112"/>
                </a:cubicBezTo>
                <a:cubicBezTo>
                  <a:pt x="107" y="111"/>
                  <a:pt x="105" y="109"/>
                  <a:pt x="104" y="109"/>
                </a:cubicBezTo>
                <a:close/>
                <a:moveTo>
                  <a:pt x="104" y="131"/>
                </a:moveTo>
                <a:cubicBezTo>
                  <a:pt x="37" y="131"/>
                  <a:pt x="37" y="131"/>
                  <a:pt x="37" y="131"/>
                </a:cubicBezTo>
                <a:cubicBezTo>
                  <a:pt x="36" y="131"/>
                  <a:pt x="35" y="132"/>
                  <a:pt x="35" y="133"/>
                </a:cubicBezTo>
                <a:cubicBezTo>
                  <a:pt x="35" y="135"/>
                  <a:pt x="36" y="136"/>
                  <a:pt x="37" y="136"/>
                </a:cubicBezTo>
                <a:cubicBezTo>
                  <a:pt x="104" y="136"/>
                  <a:pt x="104" y="136"/>
                  <a:pt x="104" y="136"/>
                </a:cubicBezTo>
                <a:cubicBezTo>
                  <a:pt x="105" y="136"/>
                  <a:pt x="107" y="135"/>
                  <a:pt x="107" y="133"/>
                </a:cubicBezTo>
                <a:cubicBezTo>
                  <a:pt x="107" y="132"/>
                  <a:pt x="105" y="131"/>
                  <a:pt x="104" y="131"/>
                </a:cubicBezTo>
                <a:close/>
                <a:moveTo>
                  <a:pt x="128" y="52"/>
                </a:moveTo>
                <a:cubicBezTo>
                  <a:pt x="128" y="160"/>
                  <a:pt x="128" y="160"/>
                  <a:pt x="128" y="160"/>
                </a:cubicBezTo>
                <a:cubicBezTo>
                  <a:pt x="13" y="160"/>
                  <a:pt x="13" y="160"/>
                  <a:pt x="13" y="160"/>
                </a:cubicBezTo>
                <a:cubicBezTo>
                  <a:pt x="13" y="147"/>
                  <a:pt x="13" y="147"/>
                  <a:pt x="13" y="147"/>
                </a:cubicBezTo>
                <a:cubicBezTo>
                  <a:pt x="0" y="147"/>
                  <a:pt x="0" y="147"/>
                  <a:pt x="0" y="147"/>
                </a:cubicBezTo>
                <a:cubicBezTo>
                  <a:pt x="0" y="0"/>
                  <a:pt x="0" y="0"/>
                  <a:pt x="0" y="0"/>
                </a:cubicBezTo>
                <a:cubicBezTo>
                  <a:pt x="115" y="0"/>
                  <a:pt x="115" y="0"/>
                  <a:pt x="115" y="0"/>
                </a:cubicBezTo>
                <a:cubicBezTo>
                  <a:pt x="115" y="39"/>
                  <a:pt x="115" y="39"/>
                  <a:pt x="115" y="39"/>
                </a:cubicBezTo>
                <a:lnTo>
                  <a:pt x="128" y="52"/>
                </a:lnTo>
                <a:close/>
                <a:moveTo>
                  <a:pt x="91" y="51"/>
                </a:moveTo>
                <a:cubicBezTo>
                  <a:pt x="119" y="51"/>
                  <a:pt x="119" y="51"/>
                  <a:pt x="119" y="51"/>
                </a:cubicBezTo>
                <a:cubicBezTo>
                  <a:pt x="115" y="46"/>
                  <a:pt x="115" y="46"/>
                  <a:pt x="115" y="46"/>
                </a:cubicBezTo>
                <a:cubicBezTo>
                  <a:pt x="91" y="22"/>
                  <a:pt x="91" y="22"/>
                  <a:pt x="91" y="22"/>
                </a:cubicBezTo>
                <a:lnTo>
                  <a:pt x="91" y="51"/>
                </a:lnTo>
                <a:close/>
                <a:moveTo>
                  <a:pt x="13" y="141"/>
                </a:moveTo>
                <a:cubicBezTo>
                  <a:pt x="13" y="13"/>
                  <a:pt x="13" y="13"/>
                  <a:pt x="13" y="13"/>
                </a:cubicBezTo>
                <a:cubicBezTo>
                  <a:pt x="89" y="13"/>
                  <a:pt x="89" y="13"/>
                  <a:pt x="89" y="13"/>
                </a:cubicBezTo>
                <a:cubicBezTo>
                  <a:pt x="109" y="34"/>
                  <a:pt x="109" y="34"/>
                  <a:pt x="109" y="34"/>
                </a:cubicBezTo>
                <a:cubicBezTo>
                  <a:pt x="109" y="5"/>
                  <a:pt x="109" y="5"/>
                  <a:pt x="109" y="5"/>
                </a:cubicBezTo>
                <a:cubicBezTo>
                  <a:pt x="5" y="5"/>
                  <a:pt x="5" y="5"/>
                  <a:pt x="5" y="5"/>
                </a:cubicBezTo>
                <a:cubicBezTo>
                  <a:pt x="5" y="141"/>
                  <a:pt x="5" y="141"/>
                  <a:pt x="5" y="141"/>
                </a:cubicBezTo>
                <a:lnTo>
                  <a:pt x="13" y="141"/>
                </a:lnTo>
                <a:close/>
                <a:moveTo>
                  <a:pt x="123" y="155"/>
                </a:moveTo>
                <a:cubicBezTo>
                  <a:pt x="123" y="56"/>
                  <a:pt x="123" y="56"/>
                  <a:pt x="123" y="56"/>
                </a:cubicBezTo>
                <a:cubicBezTo>
                  <a:pt x="85" y="56"/>
                  <a:pt x="85" y="56"/>
                  <a:pt x="85" y="56"/>
                </a:cubicBezTo>
                <a:cubicBezTo>
                  <a:pt x="85" y="19"/>
                  <a:pt x="85" y="19"/>
                  <a:pt x="85" y="19"/>
                </a:cubicBezTo>
                <a:cubicBezTo>
                  <a:pt x="19" y="19"/>
                  <a:pt x="19" y="19"/>
                  <a:pt x="19" y="19"/>
                </a:cubicBezTo>
                <a:cubicBezTo>
                  <a:pt x="19" y="147"/>
                  <a:pt x="19" y="147"/>
                  <a:pt x="19" y="147"/>
                </a:cubicBezTo>
                <a:cubicBezTo>
                  <a:pt x="19" y="155"/>
                  <a:pt x="19" y="155"/>
                  <a:pt x="19" y="155"/>
                </a:cubicBezTo>
                <a:lnTo>
                  <a:pt x="123" y="155"/>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2070">
            <a:extLst>
              <a:ext uri="{FF2B5EF4-FFF2-40B4-BE49-F238E27FC236}">
                <a16:creationId xmlns:a16="http://schemas.microsoft.com/office/drawing/2014/main" id="{2F03E5E9-5360-6A48-899C-B67412D9CA9A}"/>
              </a:ext>
            </a:extLst>
          </p:cNvPr>
          <p:cNvSpPr>
            <a:spLocks noEditPoints="1"/>
          </p:cNvSpPr>
          <p:nvPr/>
        </p:nvSpPr>
        <p:spPr bwMode="auto">
          <a:xfrm>
            <a:off x="663571" y="1603375"/>
            <a:ext cx="438150" cy="550863"/>
          </a:xfrm>
          <a:custGeom>
            <a:avLst/>
            <a:gdLst>
              <a:gd name="T0" fmla="*/ 127 w 128"/>
              <a:gd name="T1" fmla="*/ 155 h 160"/>
              <a:gd name="T2" fmla="*/ 120 w 128"/>
              <a:gd name="T3" fmla="*/ 148 h 160"/>
              <a:gd name="T4" fmla="*/ 120 w 128"/>
              <a:gd name="T5" fmla="*/ 55 h 160"/>
              <a:gd name="T6" fmla="*/ 119 w 128"/>
              <a:gd name="T7" fmla="*/ 54 h 160"/>
              <a:gd name="T8" fmla="*/ 107 w 128"/>
              <a:gd name="T9" fmla="*/ 42 h 160"/>
              <a:gd name="T10" fmla="*/ 107 w 128"/>
              <a:gd name="T11" fmla="*/ 0 h 160"/>
              <a:gd name="T12" fmla="*/ 0 w 128"/>
              <a:gd name="T13" fmla="*/ 0 h 160"/>
              <a:gd name="T14" fmla="*/ 0 w 128"/>
              <a:gd name="T15" fmla="*/ 139 h 160"/>
              <a:gd name="T16" fmla="*/ 13 w 128"/>
              <a:gd name="T17" fmla="*/ 139 h 160"/>
              <a:gd name="T18" fmla="*/ 13 w 128"/>
              <a:gd name="T19" fmla="*/ 152 h 160"/>
              <a:gd name="T20" fmla="*/ 116 w 128"/>
              <a:gd name="T21" fmla="*/ 152 h 160"/>
              <a:gd name="T22" fmla="*/ 123 w 128"/>
              <a:gd name="T23" fmla="*/ 159 h 160"/>
              <a:gd name="T24" fmla="*/ 125 w 128"/>
              <a:gd name="T25" fmla="*/ 160 h 160"/>
              <a:gd name="T26" fmla="*/ 127 w 128"/>
              <a:gd name="T27" fmla="*/ 159 h 160"/>
              <a:gd name="T28" fmla="*/ 127 w 128"/>
              <a:gd name="T29" fmla="*/ 155 h 160"/>
              <a:gd name="T30" fmla="*/ 111 w 128"/>
              <a:gd name="T31" fmla="*/ 53 h 160"/>
              <a:gd name="T32" fmla="*/ 80 w 128"/>
              <a:gd name="T33" fmla="*/ 53 h 160"/>
              <a:gd name="T34" fmla="*/ 80 w 128"/>
              <a:gd name="T35" fmla="*/ 22 h 160"/>
              <a:gd name="T36" fmla="*/ 107 w 128"/>
              <a:gd name="T37" fmla="*/ 49 h 160"/>
              <a:gd name="T38" fmla="*/ 111 w 128"/>
              <a:gd name="T39" fmla="*/ 53 h 160"/>
              <a:gd name="T40" fmla="*/ 5 w 128"/>
              <a:gd name="T41" fmla="*/ 133 h 160"/>
              <a:gd name="T42" fmla="*/ 5 w 128"/>
              <a:gd name="T43" fmla="*/ 5 h 160"/>
              <a:gd name="T44" fmla="*/ 101 w 128"/>
              <a:gd name="T45" fmla="*/ 5 h 160"/>
              <a:gd name="T46" fmla="*/ 101 w 128"/>
              <a:gd name="T47" fmla="*/ 36 h 160"/>
              <a:gd name="T48" fmla="*/ 80 w 128"/>
              <a:gd name="T49" fmla="*/ 15 h 160"/>
              <a:gd name="T50" fmla="*/ 78 w 128"/>
              <a:gd name="T51" fmla="*/ 13 h 160"/>
              <a:gd name="T52" fmla="*/ 13 w 128"/>
              <a:gd name="T53" fmla="*/ 13 h 160"/>
              <a:gd name="T54" fmla="*/ 13 w 128"/>
              <a:gd name="T55" fmla="*/ 133 h 160"/>
              <a:gd name="T56" fmla="*/ 5 w 128"/>
              <a:gd name="T57" fmla="*/ 133 h 160"/>
              <a:gd name="T58" fmla="*/ 19 w 128"/>
              <a:gd name="T59" fmla="*/ 147 h 160"/>
              <a:gd name="T60" fmla="*/ 19 w 128"/>
              <a:gd name="T61" fmla="*/ 139 h 160"/>
              <a:gd name="T62" fmla="*/ 19 w 128"/>
              <a:gd name="T63" fmla="*/ 19 h 160"/>
              <a:gd name="T64" fmla="*/ 75 w 128"/>
              <a:gd name="T65" fmla="*/ 19 h 160"/>
              <a:gd name="T66" fmla="*/ 75 w 128"/>
              <a:gd name="T67" fmla="*/ 59 h 160"/>
              <a:gd name="T68" fmla="*/ 115 w 128"/>
              <a:gd name="T69" fmla="*/ 59 h 160"/>
              <a:gd name="T70" fmla="*/ 115 w 128"/>
              <a:gd name="T71" fmla="*/ 143 h 160"/>
              <a:gd name="T72" fmla="*/ 95 w 128"/>
              <a:gd name="T73" fmla="*/ 123 h 160"/>
              <a:gd name="T74" fmla="*/ 102 w 128"/>
              <a:gd name="T75" fmla="*/ 103 h 160"/>
              <a:gd name="T76" fmla="*/ 71 w 128"/>
              <a:gd name="T77" fmla="*/ 71 h 160"/>
              <a:gd name="T78" fmla="*/ 39 w 128"/>
              <a:gd name="T79" fmla="*/ 103 h 160"/>
              <a:gd name="T80" fmla="*/ 71 w 128"/>
              <a:gd name="T81" fmla="*/ 134 h 160"/>
              <a:gd name="T82" fmla="*/ 91 w 128"/>
              <a:gd name="T83" fmla="*/ 127 h 160"/>
              <a:gd name="T84" fmla="*/ 111 w 128"/>
              <a:gd name="T85" fmla="*/ 147 h 160"/>
              <a:gd name="T86" fmla="*/ 19 w 128"/>
              <a:gd name="T87" fmla="*/ 147 h 160"/>
              <a:gd name="T88" fmla="*/ 71 w 128"/>
              <a:gd name="T89" fmla="*/ 129 h 160"/>
              <a:gd name="T90" fmla="*/ 44 w 128"/>
              <a:gd name="T91" fmla="*/ 103 h 160"/>
              <a:gd name="T92" fmla="*/ 71 w 128"/>
              <a:gd name="T93" fmla="*/ 76 h 160"/>
              <a:gd name="T94" fmla="*/ 97 w 128"/>
              <a:gd name="T95" fmla="*/ 103 h 160"/>
              <a:gd name="T96" fmla="*/ 71 w 128"/>
              <a:gd name="T97" fmla="*/ 129 h 160"/>
              <a:gd name="T98" fmla="*/ 52 w 128"/>
              <a:gd name="T99" fmla="*/ 93 h 160"/>
              <a:gd name="T100" fmla="*/ 55 w 128"/>
              <a:gd name="T101" fmla="*/ 91 h 160"/>
              <a:gd name="T102" fmla="*/ 71 w 128"/>
              <a:gd name="T103" fmla="*/ 91 h 160"/>
              <a:gd name="T104" fmla="*/ 74 w 128"/>
              <a:gd name="T105" fmla="*/ 93 h 160"/>
              <a:gd name="T106" fmla="*/ 71 w 128"/>
              <a:gd name="T107" fmla="*/ 96 h 160"/>
              <a:gd name="T108" fmla="*/ 55 w 128"/>
              <a:gd name="T109" fmla="*/ 96 h 160"/>
              <a:gd name="T110" fmla="*/ 52 w 128"/>
              <a:gd name="T111" fmla="*/ 93 h 160"/>
              <a:gd name="T112" fmla="*/ 90 w 128"/>
              <a:gd name="T113" fmla="*/ 109 h 160"/>
              <a:gd name="T114" fmla="*/ 87 w 128"/>
              <a:gd name="T115" fmla="*/ 112 h 160"/>
              <a:gd name="T116" fmla="*/ 55 w 128"/>
              <a:gd name="T117" fmla="*/ 112 h 160"/>
              <a:gd name="T118" fmla="*/ 52 w 128"/>
              <a:gd name="T119" fmla="*/ 109 h 160"/>
              <a:gd name="T120" fmla="*/ 55 w 128"/>
              <a:gd name="T121" fmla="*/ 107 h 160"/>
              <a:gd name="T122" fmla="*/ 87 w 128"/>
              <a:gd name="T123" fmla="*/ 107 h 160"/>
              <a:gd name="T124" fmla="*/ 90 w 128"/>
              <a:gd name="T125"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 h="160">
                <a:moveTo>
                  <a:pt x="127" y="155"/>
                </a:moveTo>
                <a:cubicBezTo>
                  <a:pt x="120" y="148"/>
                  <a:pt x="120" y="148"/>
                  <a:pt x="120" y="148"/>
                </a:cubicBezTo>
                <a:cubicBezTo>
                  <a:pt x="120" y="55"/>
                  <a:pt x="120" y="55"/>
                  <a:pt x="120" y="55"/>
                </a:cubicBezTo>
                <a:cubicBezTo>
                  <a:pt x="119" y="54"/>
                  <a:pt x="119" y="54"/>
                  <a:pt x="119" y="54"/>
                </a:cubicBezTo>
                <a:cubicBezTo>
                  <a:pt x="107" y="42"/>
                  <a:pt x="107" y="42"/>
                  <a:pt x="107" y="42"/>
                </a:cubicBezTo>
                <a:cubicBezTo>
                  <a:pt x="107" y="0"/>
                  <a:pt x="107" y="0"/>
                  <a:pt x="107" y="0"/>
                </a:cubicBezTo>
                <a:cubicBezTo>
                  <a:pt x="0" y="0"/>
                  <a:pt x="0" y="0"/>
                  <a:pt x="0" y="0"/>
                </a:cubicBezTo>
                <a:cubicBezTo>
                  <a:pt x="0" y="139"/>
                  <a:pt x="0" y="139"/>
                  <a:pt x="0" y="139"/>
                </a:cubicBezTo>
                <a:cubicBezTo>
                  <a:pt x="13" y="139"/>
                  <a:pt x="13" y="139"/>
                  <a:pt x="13" y="139"/>
                </a:cubicBezTo>
                <a:cubicBezTo>
                  <a:pt x="13" y="152"/>
                  <a:pt x="13" y="152"/>
                  <a:pt x="13" y="152"/>
                </a:cubicBezTo>
                <a:cubicBezTo>
                  <a:pt x="116" y="152"/>
                  <a:pt x="116" y="152"/>
                  <a:pt x="116" y="152"/>
                </a:cubicBezTo>
                <a:cubicBezTo>
                  <a:pt x="123" y="159"/>
                  <a:pt x="123" y="159"/>
                  <a:pt x="123" y="159"/>
                </a:cubicBezTo>
                <a:cubicBezTo>
                  <a:pt x="124" y="160"/>
                  <a:pt x="125" y="160"/>
                  <a:pt x="125" y="160"/>
                </a:cubicBezTo>
                <a:cubicBezTo>
                  <a:pt x="126" y="160"/>
                  <a:pt x="127" y="160"/>
                  <a:pt x="127" y="159"/>
                </a:cubicBezTo>
                <a:cubicBezTo>
                  <a:pt x="128" y="158"/>
                  <a:pt x="128" y="156"/>
                  <a:pt x="127" y="155"/>
                </a:cubicBezTo>
                <a:close/>
                <a:moveTo>
                  <a:pt x="111" y="53"/>
                </a:moveTo>
                <a:cubicBezTo>
                  <a:pt x="80" y="53"/>
                  <a:pt x="80" y="53"/>
                  <a:pt x="80" y="53"/>
                </a:cubicBezTo>
                <a:cubicBezTo>
                  <a:pt x="80" y="22"/>
                  <a:pt x="80" y="22"/>
                  <a:pt x="80" y="22"/>
                </a:cubicBezTo>
                <a:cubicBezTo>
                  <a:pt x="107" y="49"/>
                  <a:pt x="107" y="49"/>
                  <a:pt x="107" y="49"/>
                </a:cubicBezTo>
                <a:lnTo>
                  <a:pt x="111" y="53"/>
                </a:lnTo>
                <a:close/>
                <a:moveTo>
                  <a:pt x="5" y="133"/>
                </a:moveTo>
                <a:cubicBezTo>
                  <a:pt x="5" y="5"/>
                  <a:pt x="5" y="5"/>
                  <a:pt x="5" y="5"/>
                </a:cubicBezTo>
                <a:cubicBezTo>
                  <a:pt x="101" y="5"/>
                  <a:pt x="101" y="5"/>
                  <a:pt x="101" y="5"/>
                </a:cubicBezTo>
                <a:cubicBezTo>
                  <a:pt x="101" y="36"/>
                  <a:pt x="101" y="36"/>
                  <a:pt x="101" y="36"/>
                </a:cubicBezTo>
                <a:cubicBezTo>
                  <a:pt x="80" y="15"/>
                  <a:pt x="80" y="15"/>
                  <a:pt x="80" y="15"/>
                </a:cubicBezTo>
                <a:cubicBezTo>
                  <a:pt x="78" y="13"/>
                  <a:pt x="78" y="13"/>
                  <a:pt x="78" y="13"/>
                </a:cubicBezTo>
                <a:cubicBezTo>
                  <a:pt x="13" y="13"/>
                  <a:pt x="13" y="13"/>
                  <a:pt x="13" y="13"/>
                </a:cubicBezTo>
                <a:cubicBezTo>
                  <a:pt x="13" y="133"/>
                  <a:pt x="13" y="133"/>
                  <a:pt x="13" y="133"/>
                </a:cubicBezTo>
                <a:lnTo>
                  <a:pt x="5" y="133"/>
                </a:lnTo>
                <a:close/>
                <a:moveTo>
                  <a:pt x="19" y="147"/>
                </a:moveTo>
                <a:cubicBezTo>
                  <a:pt x="19" y="139"/>
                  <a:pt x="19" y="139"/>
                  <a:pt x="19" y="139"/>
                </a:cubicBezTo>
                <a:cubicBezTo>
                  <a:pt x="19" y="19"/>
                  <a:pt x="19" y="19"/>
                  <a:pt x="19" y="19"/>
                </a:cubicBezTo>
                <a:cubicBezTo>
                  <a:pt x="75" y="19"/>
                  <a:pt x="75" y="19"/>
                  <a:pt x="75" y="19"/>
                </a:cubicBezTo>
                <a:cubicBezTo>
                  <a:pt x="75" y="59"/>
                  <a:pt x="75" y="59"/>
                  <a:pt x="75" y="59"/>
                </a:cubicBezTo>
                <a:cubicBezTo>
                  <a:pt x="115" y="59"/>
                  <a:pt x="115" y="59"/>
                  <a:pt x="115" y="59"/>
                </a:cubicBezTo>
                <a:cubicBezTo>
                  <a:pt x="115" y="143"/>
                  <a:pt x="115" y="143"/>
                  <a:pt x="115" y="143"/>
                </a:cubicBezTo>
                <a:cubicBezTo>
                  <a:pt x="95" y="123"/>
                  <a:pt x="95" y="123"/>
                  <a:pt x="95" y="123"/>
                </a:cubicBezTo>
                <a:cubicBezTo>
                  <a:pt x="99" y="117"/>
                  <a:pt x="102" y="110"/>
                  <a:pt x="102" y="103"/>
                </a:cubicBezTo>
                <a:cubicBezTo>
                  <a:pt x="102" y="85"/>
                  <a:pt x="88" y="71"/>
                  <a:pt x="71" y="71"/>
                </a:cubicBezTo>
                <a:cubicBezTo>
                  <a:pt x="53" y="71"/>
                  <a:pt x="39" y="85"/>
                  <a:pt x="39" y="103"/>
                </a:cubicBezTo>
                <a:cubicBezTo>
                  <a:pt x="39" y="120"/>
                  <a:pt x="53" y="134"/>
                  <a:pt x="71" y="134"/>
                </a:cubicBezTo>
                <a:cubicBezTo>
                  <a:pt x="78" y="134"/>
                  <a:pt x="85" y="131"/>
                  <a:pt x="91" y="127"/>
                </a:cubicBezTo>
                <a:cubicBezTo>
                  <a:pt x="111" y="147"/>
                  <a:pt x="111" y="147"/>
                  <a:pt x="111" y="147"/>
                </a:cubicBezTo>
                <a:lnTo>
                  <a:pt x="19" y="147"/>
                </a:lnTo>
                <a:close/>
                <a:moveTo>
                  <a:pt x="71" y="129"/>
                </a:moveTo>
                <a:cubicBezTo>
                  <a:pt x="56" y="129"/>
                  <a:pt x="44" y="117"/>
                  <a:pt x="44" y="103"/>
                </a:cubicBezTo>
                <a:cubicBezTo>
                  <a:pt x="44" y="88"/>
                  <a:pt x="56" y="76"/>
                  <a:pt x="71" y="76"/>
                </a:cubicBezTo>
                <a:cubicBezTo>
                  <a:pt x="85" y="76"/>
                  <a:pt x="97" y="88"/>
                  <a:pt x="97" y="103"/>
                </a:cubicBezTo>
                <a:cubicBezTo>
                  <a:pt x="97" y="117"/>
                  <a:pt x="85" y="129"/>
                  <a:pt x="71" y="129"/>
                </a:cubicBezTo>
                <a:close/>
                <a:moveTo>
                  <a:pt x="52" y="93"/>
                </a:moveTo>
                <a:cubicBezTo>
                  <a:pt x="52" y="92"/>
                  <a:pt x="54" y="91"/>
                  <a:pt x="55" y="91"/>
                </a:cubicBezTo>
                <a:cubicBezTo>
                  <a:pt x="71" y="91"/>
                  <a:pt x="71" y="91"/>
                  <a:pt x="71" y="91"/>
                </a:cubicBezTo>
                <a:cubicBezTo>
                  <a:pt x="72" y="91"/>
                  <a:pt x="74" y="92"/>
                  <a:pt x="74" y="93"/>
                </a:cubicBezTo>
                <a:cubicBezTo>
                  <a:pt x="74" y="95"/>
                  <a:pt x="72" y="96"/>
                  <a:pt x="71" y="96"/>
                </a:cubicBezTo>
                <a:cubicBezTo>
                  <a:pt x="55" y="96"/>
                  <a:pt x="55" y="96"/>
                  <a:pt x="55" y="96"/>
                </a:cubicBezTo>
                <a:cubicBezTo>
                  <a:pt x="54" y="96"/>
                  <a:pt x="52" y="95"/>
                  <a:pt x="52" y="93"/>
                </a:cubicBezTo>
                <a:close/>
                <a:moveTo>
                  <a:pt x="90" y="109"/>
                </a:moveTo>
                <a:cubicBezTo>
                  <a:pt x="90" y="111"/>
                  <a:pt x="88" y="112"/>
                  <a:pt x="87" y="112"/>
                </a:cubicBezTo>
                <a:cubicBezTo>
                  <a:pt x="55" y="112"/>
                  <a:pt x="55" y="112"/>
                  <a:pt x="55" y="112"/>
                </a:cubicBezTo>
                <a:cubicBezTo>
                  <a:pt x="54" y="112"/>
                  <a:pt x="52" y="111"/>
                  <a:pt x="52" y="109"/>
                </a:cubicBezTo>
                <a:cubicBezTo>
                  <a:pt x="52" y="108"/>
                  <a:pt x="54" y="107"/>
                  <a:pt x="55" y="107"/>
                </a:cubicBezTo>
                <a:cubicBezTo>
                  <a:pt x="87" y="107"/>
                  <a:pt x="87" y="107"/>
                  <a:pt x="87" y="107"/>
                </a:cubicBezTo>
                <a:cubicBezTo>
                  <a:pt x="88" y="107"/>
                  <a:pt x="90" y="108"/>
                  <a:pt x="90" y="109"/>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2071">
            <a:extLst>
              <a:ext uri="{FF2B5EF4-FFF2-40B4-BE49-F238E27FC236}">
                <a16:creationId xmlns:a16="http://schemas.microsoft.com/office/drawing/2014/main" id="{1AED57F5-DD5D-1C4E-8DA9-1B6CB2F352AD}"/>
              </a:ext>
            </a:extLst>
          </p:cNvPr>
          <p:cNvSpPr>
            <a:spLocks noEditPoints="1"/>
          </p:cNvSpPr>
          <p:nvPr/>
        </p:nvSpPr>
        <p:spPr bwMode="auto">
          <a:xfrm>
            <a:off x="663571" y="2222500"/>
            <a:ext cx="427038" cy="550863"/>
          </a:xfrm>
          <a:custGeom>
            <a:avLst/>
            <a:gdLst>
              <a:gd name="T0" fmla="*/ 99 w 125"/>
              <a:gd name="T1" fmla="*/ 61 h 160"/>
              <a:gd name="T2" fmla="*/ 96 w 125"/>
              <a:gd name="T3" fmla="*/ 64 h 160"/>
              <a:gd name="T4" fmla="*/ 29 w 125"/>
              <a:gd name="T5" fmla="*/ 64 h 160"/>
              <a:gd name="T6" fmla="*/ 27 w 125"/>
              <a:gd name="T7" fmla="*/ 61 h 160"/>
              <a:gd name="T8" fmla="*/ 29 w 125"/>
              <a:gd name="T9" fmla="*/ 59 h 160"/>
              <a:gd name="T10" fmla="*/ 96 w 125"/>
              <a:gd name="T11" fmla="*/ 59 h 160"/>
              <a:gd name="T12" fmla="*/ 99 w 125"/>
              <a:gd name="T13" fmla="*/ 61 h 160"/>
              <a:gd name="T14" fmla="*/ 29 w 125"/>
              <a:gd name="T15" fmla="*/ 43 h 160"/>
              <a:gd name="T16" fmla="*/ 56 w 125"/>
              <a:gd name="T17" fmla="*/ 43 h 160"/>
              <a:gd name="T18" fmla="*/ 59 w 125"/>
              <a:gd name="T19" fmla="*/ 40 h 160"/>
              <a:gd name="T20" fmla="*/ 56 w 125"/>
              <a:gd name="T21" fmla="*/ 37 h 160"/>
              <a:gd name="T22" fmla="*/ 29 w 125"/>
              <a:gd name="T23" fmla="*/ 37 h 160"/>
              <a:gd name="T24" fmla="*/ 27 w 125"/>
              <a:gd name="T25" fmla="*/ 40 h 160"/>
              <a:gd name="T26" fmla="*/ 29 w 125"/>
              <a:gd name="T27" fmla="*/ 43 h 160"/>
              <a:gd name="T28" fmla="*/ 96 w 125"/>
              <a:gd name="T29" fmla="*/ 80 h 160"/>
              <a:gd name="T30" fmla="*/ 29 w 125"/>
              <a:gd name="T31" fmla="*/ 80 h 160"/>
              <a:gd name="T32" fmla="*/ 27 w 125"/>
              <a:gd name="T33" fmla="*/ 83 h 160"/>
              <a:gd name="T34" fmla="*/ 29 w 125"/>
              <a:gd name="T35" fmla="*/ 85 h 160"/>
              <a:gd name="T36" fmla="*/ 96 w 125"/>
              <a:gd name="T37" fmla="*/ 85 h 160"/>
              <a:gd name="T38" fmla="*/ 99 w 125"/>
              <a:gd name="T39" fmla="*/ 83 h 160"/>
              <a:gd name="T40" fmla="*/ 96 w 125"/>
              <a:gd name="T41" fmla="*/ 80 h 160"/>
              <a:gd name="T42" fmla="*/ 96 w 125"/>
              <a:gd name="T43" fmla="*/ 101 h 160"/>
              <a:gd name="T44" fmla="*/ 29 w 125"/>
              <a:gd name="T45" fmla="*/ 101 h 160"/>
              <a:gd name="T46" fmla="*/ 27 w 125"/>
              <a:gd name="T47" fmla="*/ 104 h 160"/>
              <a:gd name="T48" fmla="*/ 29 w 125"/>
              <a:gd name="T49" fmla="*/ 107 h 160"/>
              <a:gd name="T50" fmla="*/ 96 w 125"/>
              <a:gd name="T51" fmla="*/ 107 h 160"/>
              <a:gd name="T52" fmla="*/ 99 w 125"/>
              <a:gd name="T53" fmla="*/ 104 h 160"/>
              <a:gd name="T54" fmla="*/ 96 w 125"/>
              <a:gd name="T55" fmla="*/ 101 h 160"/>
              <a:gd name="T56" fmla="*/ 96 w 125"/>
              <a:gd name="T57" fmla="*/ 123 h 160"/>
              <a:gd name="T58" fmla="*/ 29 w 125"/>
              <a:gd name="T59" fmla="*/ 123 h 160"/>
              <a:gd name="T60" fmla="*/ 27 w 125"/>
              <a:gd name="T61" fmla="*/ 125 h 160"/>
              <a:gd name="T62" fmla="*/ 29 w 125"/>
              <a:gd name="T63" fmla="*/ 128 h 160"/>
              <a:gd name="T64" fmla="*/ 96 w 125"/>
              <a:gd name="T65" fmla="*/ 128 h 160"/>
              <a:gd name="T66" fmla="*/ 99 w 125"/>
              <a:gd name="T67" fmla="*/ 125 h 160"/>
              <a:gd name="T68" fmla="*/ 96 w 125"/>
              <a:gd name="T69" fmla="*/ 123 h 160"/>
              <a:gd name="T70" fmla="*/ 125 w 125"/>
              <a:gd name="T71" fmla="*/ 39 h 160"/>
              <a:gd name="T72" fmla="*/ 125 w 125"/>
              <a:gd name="T73" fmla="*/ 160 h 160"/>
              <a:gd name="T74" fmla="*/ 0 w 125"/>
              <a:gd name="T75" fmla="*/ 160 h 160"/>
              <a:gd name="T76" fmla="*/ 0 w 125"/>
              <a:gd name="T77" fmla="*/ 0 h 160"/>
              <a:gd name="T78" fmla="*/ 86 w 125"/>
              <a:gd name="T79" fmla="*/ 0 h 160"/>
              <a:gd name="T80" fmla="*/ 125 w 125"/>
              <a:gd name="T81" fmla="*/ 39 h 160"/>
              <a:gd name="T82" fmla="*/ 88 w 125"/>
              <a:gd name="T83" fmla="*/ 37 h 160"/>
              <a:gd name="T84" fmla="*/ 116 w 125"/>
              <a:gd name="T85" fmla="*/ 37 h 160"/>
              <a:gd name="T86" fmla="*/ 88 w 125"/>
              <a:gd name="T87" fmla="*/ 9 h 160"/>
              <a:gd name="T88" fmla="*/ 88 w 125"/>
              <a:gd name="T89" fmla="*/ 37 h 160"/>
              <a:gd name="T90" fmla="*/ 120 w 125"/>
              <a:gd name="T91" fmla="*/ 155 h 160"/>
              <a:gd name="T92" fmla="*/ 120 w 125"/>
              <a:gd name="T93" fmla="*/ 43 h 160"/>
              <a:gd name="T94" fmla="*/ 83 w 125"/>
              <a:gd name="T95" fmla="*/ 43 h 160"/>
              <a:gd name="T96" fmla="*/ 83 w 125"/>
              <a:gd name="T97" fmla="*/ 5 h 160"/>
              <a:gd name="T98" fmla="*/ 5 w 125"/>
              <a:gd name="T99" fmla="*/ 5 h 160"/>
              <a:gd name="T100" fmla="*/ 5 w 125"/>
              <a:gd name="T101" fmla="*/ 155 h 160"/>
              <a:gd name="T102" fmla="*/ 120 w 125"/>
              <a:gd name="T103"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5" h="160">
                <a:moveTo>
                  <a:pt x="99" y="61"/>
                </a:moveTo>
                <a:cubicBezTo>
                  <a:pt x="99" y="63"/>
                  <a:pt x="97" y="64"/>
                  <a:pt x="96" y="64"/>
                </a:cubicBezTo>
                <a:cubicBezTo>
                  <a:pt x="29" y="64"/>
                  <a:pt x="29" y="64"/>
                  <a:pt x="29" y="64"/>
                </a:cubicBezTo>
                <a:cubicBezTo>
                  <a:pt x="28" y="64"/>
                  <a:pt x="27" y="63"/>
                  <a:pt x="27" y="61"/>
                </a:cubicBezTo>
                <a:cubicBezTo>
                  <a:pt x="27" y="60"/>
                  <a:pt x="28" y="59"/>
                  <a:pt x="29" y="59"/>
                </a:cubicBezTo>
                <a:cubicBezTo>
                  <a:pt x="96" y="59"/>
                  <a:pt x="96" y="59"/>
                  <a:pt x="96" y="59"/>
                </a:cubicBezTo>
                <a:cubicBezTo>
                  <a:pt x="97" y="59"/>
                  <a:pt x="99" y="60"/>
                  <a:pt x="99" y="61"/>
                </a:cubicBezTo>
                <a:close/>
                <a:moveTo>
                  <a:pt x="29" y="43"/>
                </a:moveTo>
                <a:cubicBezTo>
                  <a:pt x="56" y="43"/>
                  <a:pt x="56" y="43"/>
                  <a:pt x="56" y="43"/>
                </a:cubicBezTo>
                <a:cubicBezTo>
                  <a:pt x="57" y="43"/>
                  <a:pt x="59" y="41"/>
                  <a:pt x="59" y="40"/>
                </a:cubicBezTo>
                <a:cubicBezTo>
                  <a:pt x="59" y="39"/>
                  <a:pt x="57" y="37"/>
                  <a:pt x="56" y="37"/>
                </a:cubicBezTo>
                <a:cubicBezTo>
                  <a:pt x="29" y="37"/>
                  <a:pt x="29" y="37"/>
                  <a:pt x="29" y="37"/>
                </a:cubicBezTo>
                <a:cubicBezTo>
                  <a:pt x="28" y="37"/>
                  <a:pt x="27" y="39"/>
                  <a:pt x="27" y="40"/>
                </a:cubicBezTo>
                <a:cubicBezTo>
                  <a:pt x="27" y="41"/>
                  <a:pt x="28" y="43"/>
                  <a:pt x="29" y="43"/>
                </a:cubicBezTo>
                <a:close/>
                <a:moveTo>
                  <a:pt x="96" y="80"/>
                </a:moveTo>
                <a:cubicBezTo>
                  <a:pt x="29" y="80"/>
                  <a:pt x="29" y="80"/>
                  <a:pt x="29" y="80"/>
                </a:cubicBezTo>
                <a:cubicBezTo>
                  <a:pt x="28" y="80"/>
                  <a:pt x="27" y="81"/>
                  <a:pt x="27" y="83"/>
                </a:cubicBezTo>
                <a:cubicBezTo>
                  <a:pt x="27" y="84"/>
                  <a:pt x="28" y="85"/>
                  <a:pt x="29" y="85"/>
                </a:cubicBezTo>
                <a:cubicBezTo>
                  <a:pt x="96" y="85"/>
                  <a:pt x="96" y="85"/>
                  <a:pt x="96" y="85"/>
                </a:cubicBezTo>
                <a:cubicBezTo>
                  <a:pt x="97" y="85"/>
                  <a:pt x="99" y="84"/>
                  <a:pt x="99" y="83"/>
                </a:cubicBezTo>
                <a:cubicBezTo>
                  <a:pt x="99" y="81"/>
                  <a:pt x="97" y="80"/>
                  <a:pt x="96" y="80"/>
                </a:cubicBezTo>
                <a:close/>
                <a:moveTo>
                  <a:pt x="96" y="101"/>
                </a:moveTo>
                <a:cubicBezTo>
                  <a:pt x="29" y="101"/>
                  <a:pt x="29" y="101"/>
                  <a:pt x="29" y="101"/>
                </a:cubicBezTo>
                <a:cubicBezTo>
                  <a:pt x="28" y="101"/>
                  <a:pt x="27" y="103"/>
                  <a:pt x="27" y="104"/>
                </a:cubicBezTo>
                <a:cubicBezTo>
                  <a:pt x="27" y="105"/>
                  <a:pt x="28" y="107"/>
                  <a:pt x="29" y="107"/>
                </a:cubicBezTo>
                <a:cubicBezTo>
                  <a:pt x="96" y="107"/>
                  <a:pt x="96" y="107"/>
                  <a:pt x="96" y="107"/>
                </a:cubicBezTo>
                <a:cubicBezTo>
                  <a:pt x="97" y="107"/>
                  <a:pt x="99" y="105"/>
                  <a:pt x="99" y="104"/>
                </a:cubicBezTo>
                <a:cubicBezTo>
                  <a:pt x="99" y="103"/>
                  <a:pt x="97" y="101"/>
                  <a:pt x="96" y="101"/>
                </a:cubicBezTo>
                <a:close/>
                <a:moveTo>
                  <a:pt x="96" y="123"/>
                </a:moveTo>
                <a:cubicBezTo>
                  <a:pt x="29" y="123"/>
                  <a:pt x="29" y="123"/>
                  <a:pt x="29" y="123"/>
                </a:cubicBezTo>
                <a:cubicBezTo>
                  <a:pt x="28" y="123"/>
                  <a:pt x="27" y="124"/>
                  <a:pt x="27" y="125"/>
                </a:cubicBezTo>
                <a:cubicBezTo>
                  <a:pt x="27" y="127"/>
                  <a:pt x="28" y="128"/>
                  <a:pt x="29" y="128"/>
                </a:cubicBezTo>
                <a:cubicBezTo>
                  <a:pt x="96" y="128"/>
                  <a:pt x="96" y="128"/>
                  <a:pt x="96" y="128"/>
                </a:cubicBezTo>
                <a:cubicBezTo>
                  <a:pt x="97" y="128"/>
                  <a:pt x="99" y="127"/>
                  <a:pt x="99" y="125"/>
                </a:cubicBezTo>
                <a:cubicBezTo>
                  <a:pt x="99" y="124"/>
                  <a:pt x="97" y="123"/>
                  <a:pt x="96" y="123"/>
                </a:cubicBezTo>
                <a:close/>
                <a:moveTo>
                  <a:pt x="125" y="39"/>
                </a:moveTo>
                <a:cubicBezTo>
                  <a:pt x="125" y="160"/>
                  <a:pt x="125" y="160"/>
                  <a:pt x="125" y="160"/>
                </a:cubicBezTo>
                <a:cubicBezTo>
                  <a:pt x="0" y="160"/>
                  <a:pt x="0" y="160"/>
                  <a:pt x="0" y="160"/>
                </a:cubicBezTo>
                <a:cubicBezTo>
                  <a:pt x="0" y="0"/>
                  <a:pt x="0" y="0"/>
                  <a:pt x="0" y="0"/>
                </a:cubicBezTo>
                <a:cubicBezTo>
                  <a:pt x="86" y="0"/>
                  <a:pt x="86" y="0"/>
                  <a:pt x="86" y="0"/>
                </a:cubicBezTo>
                <a:lnTo>
                  <a:pt x="125" y="39"/>
                </a:lnTo>
                <a:close/>
                <a:moveTo>
                  <a:pt x="88" y="37"/>
                </a:moveTo>
                <a:cubicBezTo>
                  <a:pt x="116" y="37"/>
                  <a:pt x="116" y="37"/>
                  <a:pt x="116" y="37"/>
                </a:cubicBezTo>
                <a:cubicBezTo>
                  <a:pt x="88" y="9"/>
                  <a:pt x="88" y="9"/>
                  <a:pt x="88" y="9"/>
                </a:cubicBezTo>
                <a:lnTo>
                  <a:pt x="88" y="37"/>
                </a:lnTo>
                <a:close/>
                <a:moveTo>
                  <a:pt x="120" y="155"/>
                </a:moveTo>
                <a:cubicBezTo>
                  <a:pt x="120" y="43"/>
                  <a:pt x="120" y="43"/>
                  <a:pt x="120" y="43"/>
                </a:cubicBezTo>
                <a:cubicBezTo>
                  <a:pt x="83" y="43"/>
                  <a:pt x="83" y="43"/>
                  <a:pt x="83" y="43"/>
                </a:cubicBezTo>
                <a:cubicBezTo>
                  <a:pt x="83" y="5"/>
                  <a:pt x="83" y="5"/>
                  <a:pt x="83" y="5"/>
                </a:cubicBezTo>
                <a:cubicBezTo>
                  <a:pt x="5" y="5"/>
                  <a:pt x="5" y="5"/>
                  <a:pt x="5" y="5"/>
                </a:cubicBezTo>
                <a:cubicBezTo>
                  <a:pt x="5" y="155"/>
                  <a:pt x="5" y="155"/>
                  <a:pt x="5" y="155"/>
                </a:cubicBezTo>
                <a:lnTo>
                  <a:pt x="120" y="155"/>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072">
            <a:extLst>
              <a:ext uri="{FF2B5EF4-FFF2-40B4-BE49-F238E27FC236}">
                <a16:creationId xmlns:a16="http://schemas.microsoft.com/office/drawing/2014/main" id="{AAA92F22-06AA-3A46-93EC-24E2E808717F}"/>
              </a:ext>
            </a:extLst>
          </p:cNvPr>
          <p:cNvSpPr>
            <a:spLocks noEditPoints="1"/>
          </p:cNvSpPr>
          <p:nvPr/>
        </p:nvSpPr>
        <p:spPr bwMode="auto">
          <a:xfrm>
            <a:off x="609596" y="2841625"/>
            <a:ext cx="546100" cy="550863"/>
          </a:xfrm>
          <a:custGeom>
            <a:avLst/>
            <a:gdLst>
              <a:gd name="T0" fmla="*/ 79 w 160"/>
              <a:gd name="T1" fmla="*/ 0 h 160"/>
              <a:gd name="T2" fmla="*/ 160 w 160"/>
              <a:gd name="T3" fmla="*/ 157 h 160"/>
              <a:gd name="T4" fmla="*/ 79 w 160"/>
              <a:gd name="T5" fmla="*/ 152 h 160"/>
              <a:gd name="T6" fmla="*/ 146 w 160"/>
              <a:gd name="T7" fmla="*/ 79 h 160"/>
              <a:gd name="T8" fmla="*/ 141 w 160"/>
              <a:gd name="T9" fmla="*/ 79 h 160"/>
              <a:gd name="T10" fmla="*/ 106 w 160"/>
              <a:gd name="T11" fmla="*/ 60 h 160"/>
              <a:gd name="T12" fmla="*/ 101 w 160"/>
              <a:gd name="T13" fmla="*/ 63 h 160"/>
              <a:gd name="T14" fmla="*/ 95 w 160"/>
              <a:gd name="T15" fmla="*/ 70 h 160"/>
              <a:gd name="T16" fmla="*/ 92 w 160"/>
              <a:gd name="T17" fmla="*/ 76 h 160"/>
              <a:gd name="T18" fmla="*/ 93 w 160"/>
              <a:gd name="T19" fmla="*/ 85 h 160"/>
              <a:gd name="T20" fmla="*/ 98 w 160"/>
              <a:gd name="T21" fmla="*/ 92 h 160"/>
              <a:gd name="T22" fmla="*/ 103 w 160"/>
              <a:gd name="T23" fmla="*/ 96 h 160"/>
              <a:gd name="T24" fmla="*/ 111 w 160"/>
              <a:gd name="T25" fmla="*/ 98 h 160"/>
              <a:gd name="T26" fmla="*/ 104 w 160"/>
              <a:gd name="T27" fmla="*/ 90 h 160"/>
              <a:gd name="T28" fmla="*/ 100 w 160"/>
              <a:gd name="T29" fmla="*/ 86 h 160"/>
              <a:gd name="T30" fmla="*/ 98 w 160"/>
              <a:gd name="T31" fmla="*/ 79 h 160"/>
              <a:gd name="T32" fmla="*/ 100 w 160"/>
              <a:gd name="T33" fmla="*/ 71 h 160"/>
              <a:gd name="T34" fmla="*/ 104 w 160"/>
              <a:gd name="T35" fmla="*/ 67 h 160"/>
              <a:gd name="T36" fmla="*/ 114 w 160"/>
              <a:gd name="T37" fmla="*/ 79 h 160"/>
              <a:gd name="T38" fmla="*/ 61 w 160"/>
              <a:gd name="T39" fmla="*/ 90 h 160"/>
              <a:gd name="T40" fmla="*/ 64 w 160"/>
              <a:gd name="T41" fmla="*/ 85 h 160"/>
              <a:gd name="T42" fmla="*/ 65 w 160"/>
              <a:gd name="T43" fmla="*/ 75 h 160"/>
              <a:gd name="T44" fmla="*/ 61 w 160"/>
              <a:gd name="T45" fmla="*/ 67 h 160"/>
              <a:gd name="T46" fmla="*/ 57 w 160"/>
              <a:gd name="T47" fmla="*/ 63 h 160"/>
              <a:gd name="T48" fmla="*/ 49 w 160"/>
              <a:gd name="T49" fmla="*/ 60 h 160"/>
              <a:gd name="T50" fmla="*/ 49 w 160"/>
              <a:gd name="T51" fmla="*/ 97 h 160"/>
              <a:gd name="T52" fmla="*/ 54 w 160"/>
              <a:gd name="T53" fmla="*/ 96 h 160"/>
              <a:gd name="T54" fmla="*/ 61 w 160"/>
              <a:gd name="T55" fmla="*/ 90 h 160"/>
              <a:gd name="T56" fmla="*/ 57 w 160"/>
              <a:gd name="T57" fmla="*/ 86 h 160"/>
              <a:gd name="T58" fmla="*/ 53 w 160"/>
              <a:gd name="T59" fmla="*/ 90 h 160"/>
              <a:gd name="T60" fmla="*/ 54 w 160"/>
              <a:gd name="T61" fmla="*/ 68 h 160"/>
              <a:gd name="T62" fmla="*/ 58 w 160"/>
              <a:gd name="T63" fmla="*/ 73 h 160"/>
              <a:gd name="T64" fmla="*/ 59 w 160"/>
              <a:gd name="T65" fmla="*/ 81 h 160"/>
              <a:gd name="T66" fmla="*/ 46 w 160"/>
              <a:gd name="T67" fmla="*/ 92 h 160"/>
              <a:gd name="T68" fmla="*/ 60 w 160"/>
              <a:gd name="T69" fmla="*/ 51 h 160"/>
              <a:gd name="T70" fmla="*/ 65 w 160"/>
              <a:gd name="T71" fmla="*/ 59 h 160"/>
              <a:gd name="T72" fmla="*/ 70 w 160"/>
              <a:gd name="T73" fmla="*/ 63 h 160"/>
              <a:gd name="T74" fmla="*/ 79 w 160"/>
              <a:gd name="T75" fmla="*/ 65 h 160"/>
              <a:gd name="T76" fmla="*/ 88 w 160"/>
              <a:gd name="T77" fmla="*/ 63 h 160"/>
              <a:gd name="T78" fmla="*/ 93 w 160"/>
              <a:gd name="T79" fmla="*/ 59 h 160"/>
              <a:gd name="T80" fmla="*/ 97 w 160"/>
              <a:gd name="T81" fmla="*/ 51 h 160"/>
              <a:gd name="T82" fmla="*/ 79 w 160"/>
              <a:gd name="T83" fmla="*/ 27 h 160"/>
              <a:gd name="T84" fmla="*/ 89 w 160"/>
              <a:gd name="T85" fmla="*/ 55 h 160"/>
              <a:gd name="T86" fmla="*/ 83 w 160"/>
              <a:gd name="T87" fmla="*/ 59 h 160"/>
              <a:gd name="T88" fmla="*/ 75 w 160"/>
              <a:gd name="T89" fmla="*/ 59 h 160"/>
              <a:gd name="T90" fmla="*/ 69 w 160"/>
              <a:gd name="T91" fmla="*/ 56 h 160"/>
              <a:gd name="T92" fmla="*/ 91 w 160"/>
              <a:gd name="T93" fmla="*/ 52 h 160"/>
              <a:gd name="T94" fmla="*/ 65 w 160"/>
              <a:gd name="T95" fmla="*/ 46 h 160"/>
              <a:gd name="T96" fmla="*/ 97 w 160"/>
              <a:gd name="T97" fmla="*/ 106 h 160"/>
              <a:gd name="T98" fmla="*/ 93 w 160"/>
              <a:gd name="T99" fmla="*/ 99 h 160"/>
              <a:gd name="T100" fmla="*/ 88 w 160"/>
              <a:gd name="T101" fmla="*/ 94 h 160"/>
              <a:gd name="T102" fmla="*/ 79 w 160"/>
              <a:gd name="T103" fmla="*/ 92 h 160"/>
              <a:gd name="T104" fmla="*/ 70 w 160"/>
              <a:gd name="T105" fmla="*/ 94 h 160"/>
              <a:gd name="T106" fmla="*/ 65 w 160"/>
              <a:gd name="T107" fmla="*/ 99 h 160"/>
              <a:gd name="T108" fmla="*/ 60 w 160"/>
              <a:gd name="T109" fmla="*/ 106 h 160"/>
              <a:gd name="T110" fmla="*/ 79 w 160"/>
              <a:gd name="T111" fmla="*/ 130 h 160"/>
              <a:gd name="T112" fmla="*/ 68 w 160"/>
              <a:gd name="T113" fmla="*/ 103 h 160"/>
              <a:gd name="T114" fmla="*/ 73 w 160"/>
              <a:gd name="T115" fmla="*/ 99 h 160"/>
              <a:gd name="T116" fmla="*/ 81 w 160"/>
              <a:gd name="T117" fmla="*/ 98 h 160"/>
              <a:gd name="T118" fmla="*/ 86 w 160"/>
              <a:gd name="T119" fmla="*/ 100 h 160"/>
              <a:gd name="T120" fmla="*/ 91 w 160"/>
              <a:gd name="T121" fmla="*/ 106 h 160"/>
              <a:gd name="T122" fmla="*/ 65 w 160"/>
              <a:gd name="T123" fmla="*/ 11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 h="160">
                <a:moveTo>
                  <a:pt x="157" y="155"/>
                </a:moveTo>
                <a:cubicBezTo>
                  <a:pt x="145" y="155"/>
                  <a:pt x="136" y="145"/>
                  <a:pt x="136" y="133"/>
                </a:cubicBezTo>
                <a:cubicBezTo>
                  <a:pt x="136" y="133"/>
                  <a:pt x="136" y="133"/>
                  <a:pt x="136" y="133"/>
                </a:cubicBezTo>
                <a:cubicBezTo>
                  <a:pt x="149" y="119"/>
                  <a:pt x="157" y="100"/>
                  <a:pt x="157" y="79"/>
                </a:cubicBezTo>
                <a:cubicBezTo>
                  <a:pt x="157" y="35"/>
                  <a:pt x="122" y="0"/>
                  <a:pt x="79" y="0"/>
                </a:cubicBezTo>
                <a:cubicBezTo>
                  <a:pt x="35" y="0"/>
                  <a:pt x="0" y="35"/>
                  <a:pt x="0" y="79"/>
                </a:cubicBezTo>
                <a:cubicBezTo>
                  <a:pt x="0" y="122"/>
                  <a:pt x="35" y="157"/>
                  <a:pt x="79" y="157"/>
                </a:cubicBezTo>
                <a:cubicBezTo>
                  <a:pt x="99" y="157"/>
                  <a:pt x="117" y="150"/>
                  <a:pt x="131" y="138"/>
                </a:cubicBezTo>
                <a:cubicBezTo>
                  <a:pt x="133" y="150"/>
                  <a:pt x="144" y="160"/>
                  <a:pt x="157" y="160"/>
                </a:cubicBezTo>
                <a:cubicBezTo>
                  <a:pt x="159" y="160"/>
                  <a:pt x="160" y="159"/>
                  <a:pt x="160" y="157"/>
                </a:cubicBezTo>
                <a:cubicBezTo>
                  <a:pt x="160" y="156"/>
                  <a:pt x="159" y="155"/>
                  <a:pt x="157" y="155"/>
                </a:cubicBezTo>
                <a:close/>
                <a:moveTo>
                  <a:pt x="5" y="79"/>
                </a:moveTo>
                <a:cubicBezTo>
                  <a:pt x="5" y="38"/>
                  <a:pt x="38" y="5"/>
                  <a:pt x="79" y="5"/>
                </a:cubicBezTo>
                <a:cubicBezTo>
                  <a:pt x="119" y="5"/>
                  <a:pt x="152" y="38"/>
                  <a:pt x="152" y="79"/>
                </a:cubicBezTo>
                <a:cubicBezTo>
                  <a:pt x="152" y="119"/>
                  <a:pt x="119" y="152"/>
                  <a:pt x="79" y="152"/>
                </a:cubicBezTo>
                <a:cubicBezTo>
                  <a:pt x="38" y="152"/>
                  <a:pt x="5" y="119"/>
                  <a:pt x="5" y="79"/>
                </a:cubicBezTo>
                <a:close/>
                <a:moveTo>
                  <a:pt x="79" y="11"/>
                </a:moveTo>
                <a:cubicBezTo>
                  <a:pt x="41" y="11"/>
                  <a:pt x="11" y="41"/>
                  <a:pt x="11" y="79"/>
                </a:cubicBezTo>
                <a:cubicBezTo>
                  <a:pt x="11" y="116"/>
                  <a:pt x="41" y="146"/>
                  <a:pt x="79" y="146"/>
                </a:cubicBezTo>
                <a:cubicBezTo>
                  <a:pt x="116" y="146"/>
                  <a:pt x="146" y="116"/>
                  <a:pt x="146" y="79"/>
                </a:cubicBezTo>
                <a:cubicBezTo>
                  <a:pt x="146" y="41"/>
                  <a:pt x="116" y="11"/>
                  <a:pt x="79" y="11"/>
                </a:cubicBezTo>
                <a:close/>
                <a:moveTo>
                  <a:pt x="79" y="141"/>
                </a:moveTo>
                <a:cubicBezTo>
                  <a:pt x="44" y="141"/>
                  <a:pt x="16" y="113"/>
                  <a:pt x="16" y="79"/>
                </a:cubicBezTo>
                <a:cubicBezTo>
                  <a:pt x="16" y="44"/>
                  <a:pt x="44" y="16"/>
                  <a:pt x="79" y="16"/>
                </a:cubicBezTo>
                <a:cubicBezTo>
                  <a:pt x="113" y="16"/>
                  <a:pt x="141" y="44"/>
                  <a:pt x="141" y="79"/>
                </a:cubicBezTo>
                <a:cubicBezTo>
                  <a:pt x="141" y="113"/>
                  <a:pt x="113" y="141"/>
                  <a:pt x="79" y="141"/>
                </a:cubicBezTo>
                <a:close/>
                <a:moveTo>
                  <a:pt x="111" y="60"/>
                </a:moveTo>
                <a:cubicBezTo>
                  <a:pt x="110" y="60"/>
                  <a:pt x="109" y="60"/>
                  <a:pt x="109" y="60"/>
                </a:cubicBezTo>
                <a:cubicBezTo>
                  <a:pt x="108" y="60"/>
                  <a:pt x="108" y="60"/>
                  <a:pt x="108" y="60"/>
                </a:cubicBezTo>
                <a:cubicBezTo>
                  <a:pt x="106" y="60"/>
                  <a:pt x="106" y="60"/>
                  <a:pt x="106" y="60"/>
                </a:cubicBezTo>
                <a:cubicBezTo>
                  <a:pt x="106" y="60"/>
                  <a:pt x="106" y="60"/>
                  <a:pt x="106" y="60"/>
                </a:cubicBezTo>
                <a:cubicBezTo>
                  <a:pt x="105" y="61"/>
                  <a:pt x="104" y="61"/>
                  <a:pt x="103" y="61"/>
                </a:cubicBezTo>
                <a:cubicBezTo>
                  <a:pt x="103" y="61"/>
                  <a:pt x="103" y="61"/>
                  <a:pt x="103" y="61"/>
                </a:cubicBezTo>
                <a:cubicBezTo>
                  <a:pt x="102" y="62"/>
                  <a:pt x="102" y="62"/>
                  <a:pt x="101" y="63"/>
                </a:cubicBezTo>
                <a:cubicBezTo>
                  <a:pt x="101" y="63"/>
                  <a:pt x="101" y="63"/>
                  <a:pt x="101" y="63"/>
                </a:cubicBezTo>
                <a:cubicBezTo>
                  <a:pt x="100" y="63"/>
                  <a:pt x="99" y="64"/>
                  <a:pt x="99" y="65"/>
                </a:cubicBezTo>
                <a:cubicBezTo>
                  <a:pt x="98" y="65"/>
                  <a:pt x="98" y="65"/>
                  <a:pt x="98" y="65"/>
                </a:cubicBezTo>
                <a:cubicBezTo>
                  <a:pt x="97" y="66"/>
                  <a:pt x="97" y="66"/>
                  <a:pt x="96" y="67"/>
                </a:cubicBezTo>
                <a:cubicBezTo>
                  <a:pt x="96" y="67"/>
                  <a:pt x="96" y="67"/>
                  <a:pt x="96" y="67"/>
                </a:cubicBezTo>
                <a:cubicBezTo>
                  <a:pt x="95" y="68"/>
                  <a:pt x="95" y="69"/>
                  <a:pt x="95" y="70"/>
                </a:cubicBezTo>
                <a:cubicBezTo>
                  <a:pt x="95" y="70"/>
                  <a:pt x="94" y="70"/>
                  <a:pt x="94" y="70"/>
                </a:cubicBezTo>
                <a:cubicBezTo>
                  <a:pt x="94" y="70"/>
                  <a:pt x="94" y="71"/>
                  <a:pt x="93" y="72"/>
                </a:cubicBezTo>
                <a:cubicBezTo>
                  <a:pt x="93" y="72"/>
                  <a:pt x="93" y="72"/>
                  <a:pt x="93" y="73"/>
                </a:cubicBezTo>
                <a:cubicBezTo>
                  <a:pt x="93" y="73"/>
                  <a:pt x="93" y="74"/>
                  <a:pt x="93" y="75"/>
                </a:cubicBezTo>
                <a:cubicBezTo>
                  <a:pt x="92" y="75"/>
                  <a:pt x="92" y="76"/>
                  <a:pt x="92" y="76"/>
                </a:cubicBezTo>
                <a:cubicBezTo>
                  <a:pt x="92" y="77"/>
                  <a:pt x="92" y="78"/>
                  <a:pt x="92" y="79"/>
                </a:cubicBezTo>
                <a:cubicBezTo>
                  <a:pt x="92" y="80"/>
                  <a:pt x="92" y="81"/>
                  <a:pt x="92" y="82"/>
                </a:cubicBezTo>
                <a:cubicBezTo>
                  <a:pt x="92" y="82"/>
                  <a:pt x="92" y="82"/>
                  <a:pt x="93" y="82"/>
                </a:cubicBezTo>
                <a:cubicBezTo>
                  <a:pt x="93" y="83"/>
                  <a:pt x="93" y="84"/>
                  <a:pt x="93" y="85"/>
                </a:cubicBezTo>
                <a:cubicBezTo>
                  <a:pt x="93" y="85"/>
                  <a:pt x="93" y="85"/>
                  <a:pt x="93" y="85"/>
                </a:cubicBezTo>
                <a:cubicBezTo>
                  <a:pt x="94" y="86"/>
                  <a:pt x="94" y="87"/>
                  <a:pt x="94" y="88"/>
                </a:cubicBezTo>
                <a:cubicBezTo>
                  <a:pt x="95" y="88"/>
                  <a:pt x="95" y="88"/>
                  <a:pt x="95" y="88"/>
                </a:cubicBezTo>
                <a:cubicBezTo>
                  <a:pt x="95" y="89"/>
                  <a:pt x="95" y="89"/>
                  <a:pt x="96" y="90"/>
                </a:cubicBezTo>
                <a:cubicBezTo>
                  <a:pt x="96" y="90"/>
                  <a:pt x="96" y="90"/>
                  <a:pt x="96" y="90"/>
                </a:cubicBezTo>
                <a:cubicBezTo>
                  <a:pt x="97" y="91"/>
                  <a:pt x="97" y="92"/>
                  <a:pt x="98" y="92"/>
                </a:cubicBezTo>
                <a:cubicBezTo>
                  <a:pt x="98" y="92"/>
                  <a:pt x="98" y="93"/>
                  <a:pt x="99" y="93"/>
                </a:cubicBezTo>
                <a:cubicBezTo>
                  <a:pt x="99" y="93"/>
                  <a:pt x="100" y="94"/>
                  <a:pt x="101" y="94"/>
                </a:cubicBezTo>
                <a:cubicBezTo>
                  <a:pt x="101" y="94"/>
                  <a:pt x="101" y="94"/>
                  <a:pt x="101" y="94"/>
                </a:cubicBezTo>
                <a:cubicBezTo>
                  <a:pt x="102" y="95"/>
                  <a:pt x="102" y="95"/>
                  <a:pt x="103" y="96"/>
                </a:cubicBezTo>
                <a:cubicBezTo>
                  <a:pt x="103" y="96"/>
                  <a:pt x="103" y="96"/>
                  <a:pt x="103" y="96"/>
                </a:cubicBezTo>
                <a:cubicBezTo>
                  <a:pt x="104" y="96"/>
                  <a:pt x="105" y="97"/>
                  <a:pt x="106" y="97"/>
                </a:cubicBezTo>
                <a:cubicBezTo>
                  <a:pt x="106" y="97"/>
                  <a:pt x="106" y="97"/>
                  <a:pt x="106" y="97"/>
                </a:cubicBezTo>
                <a:cubicBezTo>
                  <a:pt x="108" y="98"/>
                  <a:pt x="108" y="98"/>
                  <a:pt x="108" y="98"/>
                </a:cubicBezTo>
                <a:cubicBezTo>
                  <a:pt x="109" y="97"/>
                  <a:pt x="109" y="97"/>
                  <a:pt x="109" y="97"/>
                </a:cubicBezTo>
                <a:cubicBezTo>
                  <a:pt x="109" y="98"/>
                  <a:pt x="110" y="98"/>
                  <a:pt x="111" y="98"/>
                </a:cubicBezTo>
                <a:cubicBezTo>
                  <a:pt x="122" y="98"/>
                  <a:pt x="130" y="89"/>
                  <a:pt x="130" y="79"/>
                </a:cubicBezTo>
                <a:cubicBezTo>
                  <a:pt x="130" y="68"/>
                  <a:pt x="122" y="60"/>
                  <a:pt x="111" y="60"/>
                </a:cubicBezTo>
                <a:close/>
                <a:moveTo>
                  <a:pt x="108" y="79"/>
                </a:moveTo>
                <a:cubicBezTo>
                  <a:pt x="108" y="83"/>
                  <a:pt x="108" y="87"/>
                  <a:pt x="106" y="91"/>
                </a:cubicBezTo>
                <a:cubicBezTo>
                  <a:pt x="105" y="91"/>
                  <a:pt x="104" y="90"/>
                  <a:pt x="104" y="90"/>
                </a:cubicBezTo>
                <a:cubicBezTo>
                  <a:pt x="104" y="90"/>
                  <a:pt x="103" y="90"/>
                  <a:pt x="103" y="90"/>
                </a:cubicBezTo>
                <a:cubicBezTo>
                  <a:pt x="103" y="89"/>
                  <a:pt x="102" y="89"/>
                  <a:pt x="102" y="89"/>
                </a:cubicBezTo>
                <a:cubicBezTo>
                  <a:pt x="102" y="88"/>
                  <a:pt x="102" y="88"/>
                  <a:pt x="101" y="88"/>
                </a:cubicBezTo>
                <a:cubicBezTo>
                  <a:pt x="101" y="87"/>
                  <a:pt x="101" y="87"/>
                  <a:pt x="100" y="86"/>
                </a:cubicBezTo>
                <a:cubicBezTo>
                  <a:pt x="100" y="86"/>
                  <a:pt x="100" y="86"/>
                  <a:pt x="100" y="86"/>
                </a:cubicBezTo>
                <a:cubicBezTo>
                  <a:pt x="99" y="86"/>
                  <a:pt x="99" y="85"/>
                  <a:pt x="99" y="84"/>
                </a:cubicBezTo>
                <a:cubicBezTo>
                  <a:pt x="99" y="84"/>
                  <a:pt x="99" y="84"/>
                  <a:pt x="99" y="83"/>
                </a:cubicBezTo>
                <a:cubicBezTo>
                  <a:pt x="98" y="83"/>
                  <a:pt x="98" y="82"/>
                  <a:pt x="98" y="82"/>
                </a:cubicBezTo>
                <a:cubicBezTo>
                  <a:pt x="98" y="82"/>
                  <a:pt x="98" y="81"/>
                  <a:pt x="98" y="81"/>
                </a:cubicBezTo>
                <a:cubicBezTo>
                  <a:pt x="98" y="80"/>
                  <a:pt x="98" y="79"/>
                  <a:pt x="98" y="79"/>
                </a:cubicBezTo>
                <a:cubicBezTo>
                  <a:pt x="98" y="78"/>
                  <a:pt x="98" y="77"/>
                  <a:pt x="98" y="76"/>
                </a:cubicBezTo>
                <a:cubicBezTo>
                  <a:pt x="98" y="76"/>
                  <a:pt x="98" y="76"/>
                  <a:pt x="98" y="75"/>
                </a:cubicBezTo>
                <a:cubicBezTo>
                  <a:pt x="98" y="75"/>
                  <a:pt x="98" y="74"/>
                  <a:pt x="99" y="74"/>
                </a:cubicBezTo>
                <a:cubicBezTo>
                  <a:pt x="99" y="74"/>
                  <a:pt x="99" y="73"/>
                  <a:pt x="99" y="73"/>
                </a:cubicBezTo>
                <a:cubicBezTo>
                  <a:pt x="99" y="72"/>
                  <a:pt x="99" y="72"/>
                  <a:pt x="100" y="71"/>
                </a:cubicBezTo>
                <a:cubicBezTo>
                  <a:pt x="100" y="71"/>
                  <a:pt x="100" y="71"/>
                  <a:pt x="100" y="71"/>
                </a:cubicBezTo>
                <a:cubicBezTo>
                  <a:pt x="101" y="70"/>
                  <a:pt x="101" y="70"/>
                  <a:pt x="101" y="69"/>
                </a:cubicBezTo>
                <a:cubicBezTo>
                  <a:pt x="102" y="69"/>
                  <a:pt x="102" y="69"/>
                  <a:pt x="102" y="69"/>
                </a:cubicBezTo>
                <a:cubicBezTo>
                  <a:pt x="102" y="68"/>
                  <a:pt x="103" y="68"/>
                  <a:pt x="103" y="68"/>
                </a:cubicBezTo>
                <a:cubicBezTo>
                  <a:pt x="103" y="68"/>
                  <a:pt x="104" y="67"/>
                  <a:pt x="104" y="67"/>
                </a:cubicBezTo>
                <a:cubicBezTo>
                  <a:pt x="104" y="67"/>
                  <a:pt x="105" y="67"/>
                  <a:pt x="106" y="66"/>
                </a:cubicBezTo>
                <a:cubicBezTo>
                  <a:pt x="108" y="70"/>
                  <a:pt x="108" y="74"/>
                  <a:pt x="108" y="79"/>
                </a:cubicBezTo>
                <a:close/>
                <a:moveTo>
                  <a:pt x="111" y="92"/>
                </a:moveTo>
                <a:cubicBezTo>
                  <a:pt x="111" y="92"/>
                  <a:pt x="111" y="92"/>
                  <a:pt x="111" y="92"/>
                </a:cubicBezTo>
                <a:cubicBezTo>
                  <a:pt x="113" y="88"/>
                  <a:pt x="114" y="83"/>
                  <a:pt x="114" y="79"/>
                </a:cubicBezTo>
                <a:cubicBezTo>
                  <a:pt x="114" y="74"/>
                  <a:pt x="113" y="69"/>
                  <a:pt x="111" y="65"/>
                </a:cubicBezTo>
                <a:cubicBezTo>
                  <a:pt x="111" y="65"/>
                  <a:pt x="111" y="65"/>
                  <a:pt x="111" y="65"/>
                </a:cubicBezTo>
                <a:cubicBezTo>
                  <a:pt x="119" y="65"/>
                  <a:pt x="125" y="71"/>
                  <a:pt x="125" y="79"/>
                </a:cubicBezTo>
                <a:cubicBezTo>
                  <a:pt x="125" y="86"/>
                  <a:pt x="119" y="92"/>
                  <a:pt x="111" y="92"/>
                </a:cubicBezTo>
                <a:close/>
                <a:moveTo>
                  <a:pt x="61" y="90"/>
                </a:moveTo>
                <a:cubicBezTo>
                  <a:pt x="61" y="90"/>
                  <a:pt x="61" y="90"/>
                  <a:pt x="61" y="90"/>
                </a:cubicBezTo>
                <a:cubicBezTo>
                  <a:pt x="62" y="89"/>
                  <a:pt x="62" y="89"/>
                  <a:pt x="63" y="88"/>
                </a:cubicBezTo>
                <a:cubicBezTo>
                  <a:pt x="63" y="88"/>
                  <a:pt x="63" y="88"/>
                  <a:pt x="63" y="88"/>
                </a:cubicBezTo>
                <a:cubicBezTo>
                  <a:pt x="63" y="87"/>
                  <a:pt x="64" y="86"/>
                  <a:pt x="64" y="85"/>
                </a:cubicBezTo>
                <a:cubicBezTo>
                  <a:pt x="64" y="85"/>
                  <a:pt x="64" y="85"/>
                  <a:pt x="64" y="85"/>
                </a:cubicBezTo>
                <a:cubicBezTo>
                  <a:pt x="64" y="84"/>
                  <a:pt x="65" y="83"/>
                  <a:pt x="65" y="82"/>
                </a:cubicBezTo>
                <a:cubicBezTo>
                  <a:pt x="65" y="82"/>
                  <a:pt x="65" y="82"/>
                  <a:pt x="65" y="82"/>
                </a:cubicBezTo>
                <a:cubicBezTo>
                  <a:pt x="65" y="81"/>
                  <a:pt x="65" y="80"/>
                  <a:pt x="65" y="79"/>
                </a:cubicBezTo>
                <a:cubicBezTo>
                  <a:pt x="65" y="78"/>
                  <a:pt x="65" y="77"/>
                  <a:pt x="65" y="76"/>
                </a:cubicBezTo>
                <a:cubicBezTo>
                  <a:pt x="65" y="76"/>
                  <a:pt x="65" y="75"/>
                  <a:pt x="65" y="75"/>
                </a:cubicBezTo>
                <a:cubicBezTo>
                  <a:pt x="65" y="74"/>
                  <a:pt x="64" y="73"/>
                  <a:pt x="64" y="73"/>
                </a:cubicBezTo>
                <a:cubicBezTo>
                  <a:pt x="64" y="72"/>
                  <a:pt x="64" y="72"/>
                  <a:pt x="64" y="72"/>
                </a:cubicBezTo>
                <a:cubicBezTo>
                  <a:pt x="64" y="71"/>
                  <a:pt x="63" y="70"/>
                  <a:pt x="63" y="70"/>
                </a:cubicBezTo>
                <a:cubicBezTo>
                  <a:pt x="63" y="70"/>
                  <a:pt x="63" y="70"/>
                  <a:pt x="63" y="70"/>
                </a:cubicBezTo>
                <a:cubicBezTo>
                  <a:pt x="62" y="69"/>
                  <a:pt x="62" y="68"/>
                  <a:pt x="61" y="67"/>
                </a:cubicBezTo>
                <a:cubicBezTo>
                  <a:pt x="61" y="67"/>
                  <a:pt x="61" y="67"/>
                  <a:pt x="61" y="67"/>
                </a:cubicBezTo>
                <a:cubicBezTo>
                  <a:pt x="60" y="66"/>
                  <a:pt x="60" y="66"/>
                  <a:pt x="59" y="65"/>
                </a:cubicBezTo>
                <a:cubicBezTo>
                  <a:pt x="59" y="65"/>
                  <a:pt x="59" y="65"/>
                  <a:pt x="59" y="65"/>
                </a:cubicBezTo>
                <a:cubicBezTo>
                  <a:pt x="58" y="64"/>
                  <a:pt x="57" y="63"/>
                  <a:pt x="57" y="63"/>
                </a:cubicBezTo>
                <a:cubicBezTo>
                  <a:pt x="57" y="63"/>
                  <a:pt x="57" y="63"/>
                  <a:pt x="57" y="63"/>
                </a:cubicBezTo>
                <a:cubicBezTo>
                  <a:pt x="56" y="62"/>
                  <a:pt x="55" y="62"/>
                  <a:pt x="54" y="61"/>
                </a:cubicBezTo>
                <a:cubicBezTo>
                  <a:pt x="54" y="61"/>
                  <a:pt x="54" y="61"/>
                  <a:pt x="54" y="61"/>
                </a:cubicBezTo>
                <a:cubicBezTo>
                  <a:pt x="53" y="61"/>
                  <a:pt x="52" y="61"/>
                  <a:pt x="51" y="60"/>
                </a:cubicBezTo>
                <a:cubicBezTo>
                  <a:pt x="51" y="60"/>
                  <a:pt x="51" y="60"/>
                  <a:pt x="51" y="60"/>
                </a:cubicBezTo>
                <a:cubicBezTo>
                  <a:pt x="49" y="60"/>
                  <a:pt x="49" y="60"/>
                  <a:pt x="49" y="60"/>
                </a:cubicBezTo>
                <a:cubicBezTo>
                  <a:pt x="49" y="60"/>
                  <a:pt x="49" y="60"/>
                  <a:pt x="49" y="60"/>
                </a:cubicBezTo>
                <a:cubicBezTo>
                  <a:pt x="48" y="60"/>
                  <a:pt x="47" y="60"/>
                  <a:pt x="46" y="60"/>
                </a:cubicBezTo>
                <a:cubicBezTo>
                  <a:pt x="36" y="60"/>
                  <a:pt x="27" y="68"/>
                  <a:pt x="27" y="79"/>
                </a:cubicBezTo>
                <a:cubicBezTo>
                  <a:pt x="27" y="89"/>
                  <a:pt x="36" y="98"/>
                  <a:pt x="46" y="98"/>
                </a:cubicBezTo>
                <a:cubicBezTo>
                  <a:pt x="47" y="98"/>
                  <a:pt x="48" y="98"/>
                  <a:pt x="49" y="97"/>
                </a:cubicBezTo>
                <a:cubicBezTo>
                  <a:pt x="49" y="98"/>
                  <a:pt x="49" y="98"/>
                  <a:pt x="49" y="98"/>
                </a:cubicBezTo>
                <a:cubicBezTo>
                  <a:pt x="51" y="97"/>
                  <a:pt x="51" y="97"/>
                  <a:pt x="51" y="97"/>
                </a:cubicBezTo>
                <a:cubicBezTo>
                  <a:pt x="51" y="97"/>
                  <a:pt x="51" y="97"/>
                  <a:pt x="51" y="97"/>
                </a:cubicBezTo>
                <a:cubicBezTo>
                  <a:pt x="52" y="97"/>
                  <a:pt x="53" y="96"/>
                  <a:pt x="54" y="96"/>
                </a:cubicBezTo>
                <a:cubicBezTo>
                  <a:pt x="54" y="96"/>
                  <a:pt x="54" y="96"/>
                  <a:pt x="54" y="96"/>
                </a:cubicBezTo>
                <a:cubicBezTo>
                  <a:pt x="55" y="95"/>
                  <a:pt x="56" y="95"/>
                  <a:pt x="57" y="94"/>
                </a:cubicBezTo>
                <a:cubicBezTo>
                  <a:pt x="57" y="94"/>
                  <a:pt x="57" y="94"/>
                  <a:pt x="57" y="94"/>
                </a:cubicBezTo>
                <a:cubicBezTo>
                  <a:pt x="57" y="94"/>
                  <a:pt x="58" y="93"/>
                  <a:pt x="59" y="93"/>
                </a:cubicBezTo>
                <a:cubicBezTo>
                  <a:pt x="59" y="93"/>
                  <a:pt x="59" y="92"/>
                  <a:pt x="59" y="92"/>
                </a:cubicBezTo>
                <a:cubicBezTo>
                  <a:pt x="60" y="92"/>
                  <a:pt x="60" y="91"/>
                  <a:pt x="61" y="90"/>
                </a:cubicBezTo>
                <a:close/>
                <a:moveTo>
                  <a:pt x="59" y="81"/>
                </a:moveTo>
                <a:cubicBezTo>
                  <a:pt x="59" y="81"/>
                  <a:pt x="59" y="82"/>
                  <a:pt x="59" y="82"/>
                </a:cubicBezTo>
                <a:cubicBezTo>
                  <a:pt x="59" y="82"/>
                  <a:pt x="59" y="83"/>
                  <a:pt x="59" y="83"/>
                </a:cubicBezTo>
                <a:cubicBezTo>
                  <a:pt x="59" y="84"/>
                  <a:pt x="59" y="84"/>
                  <a:pt x="58" y="84"/>
                </a:cubicBezTo>
                <a:cubicBezTo>
                  <a:pt x="58" y="85"/>
                  <a:pt x="58" y="86"/>
                  <a:pt x="57" y="86"/>
                </a:cubicBezTo>
                <a:cubicBezTo>
                  <a:pt x="57" y="86"/>
                  <a:pt x="57" y="86"/>
                  <a:pt x="57" y="86"/>
                </a:cubicBezTo>
                <a:cubicBezTo>
                  <a:pt x="57" y="87"/>
                  <a:pt x="56" y="88"/>
                  <a:pt x="56" y="88"/>
                </a:cubicBezTo>
                <a:cubicBezTo>
                  <a:pt x="56" y="88"/>
                  <a:pt x="56" y="88"/>
                  <a:pt x="55" y="89"/>
                </a:cubicBezTo>
                <a:cubicBezTo>
                  <a:pt x="55" y="89"/>
                  <a:pt x="55" y="89"/>
                  <a:pt x="54" y="90"/>
                </a:cubicBezTo>
                <a:cubicBezTo>
                  <a:pt x="54" y="90"/>
                  <a:pt x="54" y="90"/>
                  <a:pt x="53" y="90"/>
                </a:cubicBezTo>
                <a:cubicBezTo>
                  <a:pt x="53" y="90"/>
                  <a:pt x="52" y="91"/>
                  <a:pt x="52" y="91"/>
                </a:cubicBezTo>
                <a:cubicBezTo>
                  <a:pt x="50" y="87"/>
                  <a:pt x="49" y="83"/>
                  <a:pt x="49" y="79"/>
                </a:cubicBezTo>
                <a:cubicBezTo>
                  <a:pt x="49" y="74"/>
                  <a:pt x="50" y="70"/>
                  <a:pt x="52" y="66"/>
                </a:cubicBezTo>
                <a:cubicBezTo>
                  <a:pt x="52" y="67"/>
                  <a:pt x="53" y="67"/>
                  <a:pt x="53" y="67"/>
                </a:cubicBezTo>
                <a:cubicBezTo>
                  <a:pt x="54" y="67"/>
                  <a:pt x="54" y="68"/>
                  <a:pt x="54" y="68"/>
                </a:cubicBezTo>
                <a:cubicBezTo>
                  <a:pt x="55" y="68"/>
                  <a:pt x="55" y="68"/>
                  <a:pt x="55" y="69"/>
                </a:cubicBezTo>
                <a:cubicBezTo>
                  <a:pt x="56" y="69"/>
                  <a:pt x="56" y="69"/>
                  <a:pt x="56" y="69"/>
                </a:cubicBezTo>
                <a:cubicBezTo>
                  <a:pt x="56" y="70"/>
                  <a:pt x="57" y="70"/>
                  <a:pt x="57" y="71"/>
                </a:cubicBezTo>
                <a:cubicBezTo>
                  <a:pt x="57" y="71"/>
                  <a:pt x="57" y="71"/>
                  <a:pt x="57" y="71"/>
                </a:cubicBezTo>
                <a:cubicBezTo>
                  <a:pt x="58" y="72"/>
                  <a:pt x="58" y="72"/>
                  <a:pt x="58" y="73"/>
                </a:cubicBezTo>
                <a:cubicBezTo>
                  <a:pt x="59" y="73"/>
                  <a:pt x="59" y="74"/>
                  <a:pt x="59" y="74"/>
                </a:cubicBezTo>
                <a:cubicBezTo>
                  <a:pt x="59" y="74"/>
                  <a:pt x="59" y="75"/>
                  <a:pt x="59" y="75"/>
                </a:cubicBezTo>
                <a:cubicBezTo>
                  <a:pt x="59" y="76"/>
                  <a:pt x="59" y="76"/>
                  <a:pt x="59" y="76"/>
                </a:cubicBezTo>
                <a:cubicBezTo>
                  <a:pt x="60" y="77"/>
                  <a:pt x="60" y="78"/>
                  <a:pt x="60" y="79"/>
                </a:cubicBezTo>
                <a:cubicBezTo>
                  <a:pt x="60" y="79"/>
                  <a:pt x="60" y="80"/>
                  <a:pt x="59" y="81"/>
                </a:cubicBezTo>
                <a:close/>
                <a:moveTo>
                  <a:pt x="33" y="79"/>
                </a:moveTo>
                <a:cubicBezTo>
                  <a:pt x="33" y="71"/>
                  <a:pt x="39" y="65"/>
                  <a:pt x="46" y="65"/>
                </a:cubicBezTo>
                <a:cubicBezTo>
                  <a:pt x="46" y="65"/>
                  <a:pt x="46" y="65"/>
                  <a:pt x="46" y="65"/>
                </a:cubicBezTo>
                <a:cubicBezTo>
                  <a:pt x="44" y="69"/>
                  <a:pt x="43" y="74"/>
                  <a:pt x="43" y="79"/>
                </a:cubicBezTo>
                <a:cubicBezTo>
                  <a:pt x="43" y="83"/>
                  <a:pt x="44" y="88"/>
                  <a:pt x="46" y="92"/>
                </a:cubicBezTo>
                <a:cubicBezTo>
                  <a:pt x="46" y="92"/>
                  <a:pt x="46" y="92"/>
                  <a:pt x="46" y="92"/>
                </a:cubicBezTo>
                <a:cubicBezTo>
                  <a:pt x="39" y="92"/>
                  <a:pt x="33" y="86"/>
                  <a:pt x="33" y="79"/>
                </a:cubicBezTo>
                <a:close/>
                <a:moveTo>
                  <a:pt x="60" y="49"/>
                </a:moveTo>
                <a:cubicBezTo>
                  <a:pt x="60" y="51"/>
                  <a:pt x="60" y="51"/>
                  <a:pt x="60" y="51"/>
                </a:cubicBezTo>
                <a:cubicBezTo>
                  <a:pt x="60" y="51"/>
                  <a:pt x="60" y="51"/>
                  <a:pt x="60" y="51"/>
                </a:cubicBezTo>
                <a:cubicBezTo>
                  <a:pt x="61" y="52"/>
                  <a:pt x="61" y="53"/>
                  <a:pt x="61" y="54"/>
                </a:cubicBezTo>
                <a:cubicBezTo>
                  <a:pt x="61" y="54"/>
                  <a:pt x="61" y="54"/>
                  <a:pt x="61" y="54"/>
                </a:cubicBezTo>
                <a:cubicBezTo>
                  <a:pt x="62" y="55"/>
                  <a:pt x="62" y="56"/>
                  <a:pt x="63" y="57"/>
                </a:cubicBezTo>
                <a:cubicBezTo>
                  <a:pt x="63" y="57"/>
                  <a:pt x="63" y="57"/>
                  <a:pt x="63" y="57"/>
                </a:cubicBezTo>
                <a:cubicBezTo>
                  <a:pt x="63" y="57"/>
                  <a:pt x="64" y="58"/>
                  <a:pt x="65" y="59"/>
                </a:cubicBezTo>
                <a:cubicBezTo>
                  <a:pt x="65" y="59"/>
                  <a:pt x="65" y="59"/>
                  <a:pt x="65" y="59"/>
                </a:cubicBezTo>
                <a:cubicBezTo>
                  <a:pt x="66" y="60"/>
                  <a:pt x="66" y="60"/>
                  <a:pt x="67" y="61"/>
                </a:cubicBezTo>
                <a:cubicBezTo>
                  <a:pt x="67" y="61"/>
                  <a:pt x="67" y="61"/>
                  <a:pt x="67" y="61"/>
                </a:cubicBezTo>
                <a:cubicBezTo>
                  <a:pt x="68" y="62"/>
                  <a:pt x="69" y="62"/>
                  <a:pt x="70" y="63"/>
                </a:cubicBezTo>
                <a:cubicBezTo>
                  <a:pt x="70" y="63"/>
                  <a:pt x="70" y="63"/>
                  <a:pt x="70" y="63"/>
                </a:cubicBezTo>
                <a:cubicBezTo>
                  <a:pt x="70" y="63"/>
                  <a:pt x="71" y="64"/>
                  <a:pt x="72" y="64"/>
                </a:cubicBezTo>
                <a:cubicBezTo>
                  <a:pt x="72" y="64"/>
                  <a:pt x="72" y="64"/>
                  <a:pt x="73" y="64"/>
                </a:cubicBezTo>
                <a:cubicBezTo>
                  <a:pt x="73" y="64"/>
                  <a:pt x="74" y="65"/>
                  <a:pt x="75" y="65"/>
                </a:cubicBezTo>
                <a:cubicBezTo>
                  <a:pt x="75" y="65"/>
                  <a:pt x="76" y="65"/>
                  <a:pt x="76" y="65"/>
                </a:cubicBezTo>
                <a:cubicBezTo>
                  <a:pt x="77" y="65"/>
                  <a:pt x="78" y="65"/>
                  <a:pt x="79" y="65"/>
                </a:cubicBezTo>
                <a:cubicBezTo>
                  <a:pt x="80" y="65"/>
                  <a:pt x="81" y="65"/>
                  <a:pt x="82" y="65"/>
                </a:cubicBezTo>
                <a:cubicBezTo>
                  <a:pt x="82" y="65"/>
                  <a:pt x="82" y="65"/>
                  <a:pt x="82" y="65"/>
                </a:cubicBezTo>
                <a:cubicBezTo>
                  <a:pt x="83" y="65"/>
                  <a:pt x="84" y="64"/>
                  <a:pt x="85" y="64"/>
                </a:cubicBezTo>
                <a:cubicBezTo>
                  <a:pt x="85" y="64"/>
                  <a:pt x="85" y="64"/>
                  <a:pt x="85" y="64"/>
                </a:cubicBezTo>
                <a:cubicBezTo>
                  <a:pt x="86" y="64"/>
                  <a:pt x="87" y="63"/>
                  <a:pt x="88" y="63"/>
                </a:cubicBezTo>
                <a:cubicBezTo>
                  <a:pt x="88" y="63"/>
                  <a:pt x="88" y="63"/>
                  <a:pt x="88" y="63"/>
                </a:cubicBezTo>
                <a:cubicBezTo>
                  <a:pt x="89" y="62"/>
                  <a:pt x="89" y="62"/>
                  <a:pt x="90" y="61"/>
                </a:cubicBezTo>
                <a:cubicBezTo>
                  <a:pt x="90" y="61"/>
                  <a:pt x="90" y="61"/>
                  <a:pt x="90" y="61"/>
                </a:cubicBezTo>
                <a:cubicBezTo>
                  <a:pt x="91" y="60"/>
                  <a:pt x="92" y="60"/>
                  <a:pt x="92" y="59"/>
                </a:cubicBezTo>
                <a:cubicBezTo>
                  <a:pt x="92" y="59"/>
                  <a:pt x="93" y="59"/>
                  <a:pt x="93" y="59"/>
                </a:cubicBezTo>
                <a:cubicBezTo>
                  <a:pt x="93" y="58"/>
                  <a:pt x="94" y="57"/>
                  <a:pt x="94" y="57"/>
                </a:cubicBezTo>
                <a:cubicBezTo>
                  <a:pt x="94" y="57"/>
                  <a:pt x="94" y="57"/>
                  <a:pt x="94" y="57"/>
                </a:cubicBezTo>
                <a:cubicBezTo>
                  <a:pt x="95" y="56"/>
                  <a:pt x="96" y="55"/>
                  <a:pt x="96" y="54"/>
                </a:cubicBezTo>
                <a:cubicBezTo>
                  <a:pt x="96" y="54"/>
                  <a:pt x="96" y="54"/>
                  <a:pt x="96" y="54"/>
                </a:cubicBezTo>
                <a:cubicBezTo>
                  <a:pt x="96" y="53"/>
                  <a:pt x="97" y="52"/>
                  <a:pt x="97" y="51"/>
                </a:cubicBezTo>
                <a:cubicBezTo>
                  <a:pt x="97" y="51"/>
                  <a:pt x="97" y="51"/>
                  <a:pt x="97" y="51"/>
                </a:cubicBezTo>
                <a:cubicBezTo>
                  <a:pt x="98" y="49"/>
                  <a:pt x="98" y="49"/>
                  <a:pt x="98" y="49"/>
                </a:cubicBezTo>
                <a:cubicBezTo>
                  <a:pt x="97" y="49"/>
                  <a:pt x="97" y="49"/>
                  <a:pt x="97" y="49"/>
                </a:cubicBezTo>
                <a:cubicBezTo>
                  <a:pt x="98" y="48"/>
                  <a:pt x="98" y="47"/>
                  <a:pt x="98" y="46"/>
                </a:cubicBezTo>
                <a:cubicBezTo>
                  <a:pt x="98" y="36"/>
                  <a:pt x="89" y="27"/>
                  <a:pt x="79" y="27"/>
                </a:cubicBezTo>
                <a:cubicBezTo>
                  <a:pt x="68" y="27"/>
                  <a:pt x="60" y="36"/>
                  <a:pt x="60" y="46"/>
                </a:cubicBezTo>
                <a:cubicBezTo>
                  <a:pt x="60" y="47"/>
                  <a:pt x="60" y="48"/>
                  <a:pt x="60" y="49"/>
                </a:cubicBezTo>
                <a:close/>
                <a:moveTo>
                  <a:pt x="90" y="53"/>
                </a:moveTo>
                <a:cubicBezTo>
                  <a:pt x="90" y="54"/>
                  <a:pt x="90" y="54"/>
                  <a:pt x="90" y="54"/>
                </a:cubicBezTo>
                <a:cubicBezTo>
                  <a:pt x="89" y="55"/>
                  <a:pt x="89" y="55"/>
                  <a:pt x="89" y="55"/>
                </a:cubicBezTo>
                <a:cubicBezTo>
                  <a:pt x="88" y="56"/>
                  <a:pt x="88" y="56"/>
                  <a:pt x="88" y="56"/>
                </a:cubicBezTo>
                <a:cubicBezTo>
                  <a:pt x="87" y="56"/>
                  <a:pt x="87" y="57"/>
                  <a:pt x="86" y="57"/>
                </a:cubicBezTo>
                <a:cubicBezTo>
                  <a:pt x="86" y="57"/>
                  <a:pt x="86" y="57"/>
                  <a:pt x="86" y="57"/>
                </a:cubicBezTo>
                <a:cubicBezTo>
                  <a:pt x="86" y="58"/>
                  <a:pt x="85" y="58"/>
                  <a:pt x="84" y="58"/>
                </a:cubicBezTo>
                <a:cubicBezTo>
                  <a:pt x="84" y="59"/>
                  <a:pt x="84" y="59"/>
                  <a:pt x="83" y="59"/>
                </a:cubicBezTo>
                <a:cubicBezTo>
                  <a:pt x="83" y="59"/>
                  <a:pt x="82" y="59"/>
                  <a:pt x="82" y="59"/>
                </a:cubicBezTo>
                <a:cubicBezTo>
                  <a:pt x="82" y="59"/>
                  <a:pt x="81" y="59"/>
                  <a:pt x="81" y="59"/>
                </a:cubicBezTo>
                <a:cubicBezTo>
                  <a:pt x="80" y="60"/>
                  <a:pt x="79" y="60"/>
                  <a:pt x="79" y="60"/>
                </a:cubicBezTo>
                <a:cubicBezTo>
                  <a:pt x="78" y="60"/>
                  <a:pt x="77" y="60"/>
                  <a:pt x="76" y="59"/>
                </a:cubicBezTo>
                <a:cubicBezTo>
                  <a:pt x="76" y="59"/>
                  <a:pt x="76" y="59"/>
                  <a:pt x="75" y="59"/>
                </a:cubicBezTo>
                <a:cubicBezTo>
                  <a:pt x="75" y="59"/>
                  <a:pt x="74" y="59"/>
                  <a:pt x="74" y="59"/>
                </a:cubicBezTo>
                <a:cubicBezTo>
                  <a:pt x="74" y="59"/>
                  <a:pt x="73" y="59"/>
                  <a:pt x="73" y="58"/>
                </a:cubicBezTo>
                <a:cubicBezTo>
                  <a:pt x="72" y="58"/>
                  <a:pt x="72" y="58"/>
                  <a:pt x="71" y="57"/>
                </a:cubicBezTo>
                <a:cubicBezTo>
                  <a:pt x="71" y="57"/>
                  <a:pt x="71" y="57"/>
                  <a:pt x="71" y="57"/>
                </a:cubicBezTo>
                <a:cubicBezTo>
                  <a:pt x="70" y="57"/>
                  <a:pt x="70" y="56"/>
                  <a:pt x="69" y="56"/>
                </a:cubicBezTo>
                <a:cubicBezTo>
                  <a:pt x="69" y="56"/>
                  <a:pt x="69" y="56"/>
                  <a:pt x="69" y="55"/>
                </a:cubicBezTo>
                <a:cubicBezTo>
                  <a:pt x="68" y="55"/>
                  <a:pt x="68" y="55"/>
                  <a:pt x="68" y="54"/>
                </a:cubicBezTo>
                <a:cubicBezTo>
                  <a:pt x="68" y="54"/>
                  <a:pt x="67" y="54"/>
                  <a:pt x="67" y="53"/>
                </a:cubicBezTo>
                <a:cubicBezTo>
                  <a:pt x="67" y="53"/>
                  <a:pt x="67" y="52"/>
                  <a:pt x="66" y="52"/>
                </a:cubicBezTo>
                <a:cubicBezTo>
                  <a:pt x="74" y="48"/>
                  <a:pt x="83" y="48"/>
                  <a:pt x="91" y="52"/>
                </a:cubicBezTo>
                <a:cubicBezTo>
                  <a:pt x="91" y="52"/>
                  <a:pt x="90" y="53"/>
                  <a:pt x="90" y="53"/>
                </a:cubicBezTo>
                <a:close/>
                <a:moveTo>
                  <a:pt x="79" y="33"/>
                </a:moveTo>
                <a:cubicBezTo>
                  <a:pt x="86" y="33"/>
                  <a:pt x="92" y="39"/>
                  <a:pt x="92" y="46"/>
                </a:cubicBezTo>
                <a:cubicBezTo>
                  <a:pt x="92" y="46"/>
                  <a:pt x="92" y="46"/>
                  <a:pt x="92" y="46"/>
                </a:cubicBezTo>
                <a:cubicBezTo>
                  <a:pt x="84" y="43"/>
                  <a:pt x="74" y="43"/>
                  <a:pt x="65" y="46"/>
                </a:cubicBezTo>
                <a:cubicBezTo>
                  <a:pt x="65" y="46"/>
                  <a:pt x="65" y="46"/>
                  <a:pt x="65" y="46"/>
                </a:cubicBezTo>
                <a:cubicBezTo>
                  <a:pt x="65" y="39"/>
                  <a:pt x="71" y="33"/>
                  <a:pt x="79" y="33"/>
                </a:cubicBezTo>
                <a:close/>
                <a:moveTo>
                  <a:pt x="98" y="108"/>
                </a:moveTo>
                <a:cubicBezTo>
                  <a:pt x="97" y="106"/>
                  <a:pt x="97" y="106"/>
                  <a:pt x="97" y="106"/>
                </a:cubicBezTo>
                <a:cubicBezTo>
                  <a:pt x="97" y="106"/>
                  <a:pt x="97" y="106"/>
                  <a:pt x="97" y="106"/>
                </a:cubicBezTo>
                <a:cubicBezTo>
                  <a:pt x="97" y="105"/>
                  <a:pt x="96" y="104"/>
                  <a:pt x="96" y="103"/>
                </a:cubicBezTo>
                <a:cubicBezTo>
                  <a:pt x="96" y="103"/>
                  <a:pt x="96" y="103"/>
                  <a:pt x="96" y="103"/>
                </a:cubicBezTo>
                <a:cubicBezTo>
                  <a:pt x="95" y="102"/>
                  <a:pt x="95" y="102"/>
                  <a:pt x="94" y="101"/>
                </a:cubicBezTo>
                <a:cubicBezTo>
                  <a:pt x="94" y="101"/>
                  <a:pt x="94" y="101"/>
                  <a:pt x="94" y="101"/>
                </a:cubicBezTo>
                <a:cubicBezTo>
                  <a:pt x="94" y="100"/>
                  <a:pt x="93" y="99"/>
                  <a:pt x="93" y="99"/>
                </a:cubicBezTo>
                <a:cubicBezTo>
                  <a:pt x="93" y="98"/>
                  <a:pt x="92" y="98"/>
                  <a:pt x="92" y="98"/>
                </a:cubicBezTo>
                <a:cubicBezTo>
                  <a:pt x="92" y="97"/>
                  <a:pt x="91" y="97"/>
                  <a:pt x="90" y="96"/>
                </a:cubicBezTo>
                <a:cubicBezTo>
                  <a:pt x="90" y="96"/>
                  <a:pt x="90" y="96"/>
                  <a:pt x="90" y="96"/>
                </a:cubicBezTo>
                <a:cubicBezTo>
                  <a:pt x="89" y="95"/>
                  <a:pt x="89" y="95"/>
                  <a:pt x="88" y="95"/>
                </a:cubicBezTo>
                <a:cubicBezTo>
                  <a:pt x="88" y="95"/>
                  <a:pt x="88" y="94"/>
                  <a:pt x="88" y="94"/>
                </a:cubicBezTo>
                <a:cubicBezTo>
                  <a:pt x="87" y="94"/>
                  <a:pt x="86" y="94"/>
                  <a:pt x="85" y="93"/>
                </a:cubicBezTo>
                <a:cubicBezTo>
                  <a:pt x="85" y="93"/>
                  <a:pt x="85" y="93"/>
                  <a:pt x="85" y="93"/>
                </a:cubicBezTo>
                <a:cubicBezTo>
                  <a:pt x="84" y="93"/>
                  <a:pt x="83" y="93"/>
                  <a:pt x="82" y="93"/>
                </a:cubicBezTo>
                <a:cubicBezTo>
                  <a:pt x="82" y="92"/>
                  <a:pt x="82" y="92"/>
                  <a:pt x="82" y="92"/>
                </a:cubicBezTo>
                <a:cubicBezTo>
                  <a:pt x="81" y="92"/>
                  <a:pt x="80" y="92"/>
                  <a:pt x="79" y="92"/>
                </a:cubicBezTo>
                <a:cubicBezTo>
                  <a:pt x="78" y="92"/>
                  <a:pt x="77" y="92"/>
                  <a:pt x="76" y="92"/>
                </a:cubicBezTo>
                <a:cubicBezTo>
                  <a:pt x="76" y="92"/>
                  <a:pt x="75" y="92"/>
                  <a:pt x="75" y="93"/>
                </a:cubicBezTo>
                <a:cubicBezTo>
                  <a:pt x="74" y="93"/>
                  <a:pt x="73" y="93"/>
                  <a:pt x="73" y="93"/>
                </a:cubicBezTo>
                <a:cubicBezTo>
                  <a:pt x="72" y="93"/>
                  <a:pt x="72" y="93"/>
                  <a:pt x="72" y="93"/>
                </a:cubicBezTo>
                <a:cubicBezTo>
                  <a:pt x="71" y="94"/>
                  <a:pt x="70" y="94"/>
                  <a:pt x="70" y="94"/>
                </a:cubicBezTo>
                <a:cubicBezTo>
                  <a:pt x="70" y="95"/>
                  <a:pt x="70" y="95"/>
                  <a:pt x="70" y="95"/>
                </a:cubicBezTo>
                <a:cubicBezTo>
                  <a:pt x="69" y="95"/>
                  <a:pt x="68" y="95"/>
                  <a:pt x="67" y="96"/>
                </a:cubicBezTo>
                <a:cubicBezTo>
                  <a:pt x="67" y="96"/>
                  <a:pt x="67" y="96"/>
                  <a:pt x="67" y="96"/>
                </a:cubicBezTo>
                <a:cubicBezTo>
                  <a:pt x="66" y="97"/>
                  <a:pt x="66" y="97"/>
                  <a:pt x="65" y="98"/>
                </a:cubicBezTo>
                <a:cubicBezTo>
                  <a:pt x="65" y="98"/>
                  <a:pt x="65" y="98"/>
                  <a:pt x="65" y="99"/>
                </a:cubicBezTo>
                <a:cubicBezTo>
                  <a:pt x="64" y="99"/>
                  <a:pt x="63" y="100"/>
                  <a:pt x="63" y="101"/>
                </a:cubicBezTo>
                <a:cubicBezTo>
                  <a:pt x="63" y="101"/>
                  <a:pt x="63" y="101"/>
                  <a:pt x="63" y="101"/>
                </a:cubicBezTo>
                <a:cubicBezTo>
                  <a:pt x="62" y="102"/>
                  <a:pt x="62" y="102"/>
                  <a:pt x="61" y="103"/>
                </a:cubicBezTo>
                <a:cubicBezTo>
                  <a:pt x="61" y="103"/>
                  <a:pt x="61" y="103"/>
                  <a:pt x="61" y="103"/>
                </a:cubicBezTo>
                <a:cubicBezTo>
                  <a:pt x="61" y="104"/>
                  <a:pt x="61" y="105"/>
                  <a:pt x="60" y="106"/>
                </a:cubicBezTo>
                <a:cubicBezTo>
                  <a:pt x="60" y="106"/>
                  <a:pt x="60" y="106"/>
                  <a:pt x="60" y="106"/>
                </a:cubicBezTo>
                <a:cubicBezTo>
                  <a:pt x="60" y="108"/>
                  <a:pt x="60" y="108"/>
                  <a:pt x="60" y="108"/>
                </a:cubicBezTo>
                <a:cubicBezTo>
                  <a:pt x="60" y="109"/>
                  <a:pt x="60" y="109"/>
                  <a:pt x="60" y="109"/>
                </a:cubicBezTo>
                <a:cubicBezTo>
                  <a:pt x="60" y="109"/>
                  <a:pt x="60" y="110"/>
                  <a:pt x="60" y="111"/>
                </a:cubicBezTo>
                <a:cubicBezTo>
                  <a:pt x="60" y="122"/>
                  <a:pt x="68" y="130"/>
                  <a:pt x="79" y="130"/>
                </a:cubicBezTo>
                <a:cubicBezTo>
                  <a:pt x="89" y="130"/>
                  <a:pt x="98" y="122"/>
                  <a:pt x="98" y="111"/>
                </a:cubicBezTo>
                <a:cubicBezTo>
                  <a:pt x="98" y="110"/>
                  <a:pt x="98" y="109"/>
                  <a:pt x="97" y="109"/>
                </a:cubicBezTo>
                <a:lnTo>
                  <a:pt x="98" y="108"/>
                </a:lnTo>
                <a:close/>
                <a:moveTo>
                  <a:pt x="67" y="104"/>
                </a:moveTo>
                <a:cubicBezTo>
                  <a:pt x="67" y="104"/>
                  <a:pt x="68" y="103"/>
                  <a:pt x="68" y="103"/>
                </a:cubicBezTo>
                <a:cubicBezTo>
                  <a:pt x="68" y="103"/>
                  <a:pt x="68" y="102"/>
                  <a:pt x="69" y="102"/>
                </a:cubicBezTo>
                <a:cubicBezTo>
                  <a:pt x="69" y="102"/>
                  <a:pt x="69" y="102"/>
                  <a:pt x="69" y="101"/>
                </a:cubicBezTo>
                <a:cubicBezTo>
                  <a:pt x="70" y="101"/>
                  <a:pt x="70" y="101"/>
                  <a:pt x="71" y="100"/>
                </a:cubicBezTo>
                <a:cubicBezTo>
                  <a:pt x="71" y="100"/>
                  <a:pt x="71" y="100"/>
                  <a:pt x="71" y="100"/>
                </a:cubicBezTo>
                <a:cubicBezTo>
                  <a:pt x="72" y="99"/>
                  <a:pt x="72" y="99"/>
                  <a:pt x="73" y="99"/>
                </a:cubicBezTo>
                <a:cubicBezTo>
                  <a:pt x="73" y="99"/>
                  <a:pt x="74" y="99"/>
                  <a:pt x="74" y="99"/>
                </a:cubicBezTo>
                <a:cubicBezTo>
                  <a:pt x="74" y="98"/>
                  <a:pt x="75" y="98"/>
                  <a:pt x="75" y="98"/>
                </a:cubicBezTo>
                <a:cubicBezTo>
                  <a:pt x="76" y="98"/>
                  <a:pt x="76" y="98"/>
                  <a:pt x="76" y="98"/>
                </a:cubicBezTo>
                <a:cubicBezTo>
                  <a:pt x="77" y="98"/>
                  <a:pt x="78" y="98"/>
                  <a:pt x="79" y="98"/>
                </a:cubicBezTo>
                <a:cubicBezTo>
                  <a:pt x="79" y="98"/>
                  <a:pt x="80" y="98"/>
                  <a:pt x="81" y="98"/>
                </a:cubicBezTo>
                <a:cubicBezTo>
                  <a:pt x="81" y="98"/>
                  <a:pt x="82" y="98"/>
                  <a:pt x="82" y="98"/>
                </a:cubicBezTo>
                <a:cubicBezTo>
                  <a:pt x="82" y="98"/>
                  <a:pt x="83" y="98"/>
                  <a:pt x="83" y="99"/>
                </a:cubicBezTo>
                <a:cubicBezTo>
                  <a:pt x="84" y="99"/>
                  <a:pt x="84" y="99"/>
                  <a:pt x="84" y="99"/>
                </a:cubicBezTo>
                <a:cubicBezTo>
                  <a:pt x="85" y="99"/>
                  <a:pt x="86" y="99"/>
                  <a:pt x="86" y="100"/>
                </a:cubicBezTo>
                <a:cubicBezTo>
                  <a:pt x="86" y="100"/>
                  <a:pt x="86" y="100"/>
                  <a:pt x="86" y="100"/>
                </a:cubicBezTo>
                <a:cubicBezTo>
                  <a:pt x="87" y="101"/>
                  <a:pt x="88" y="101"/>
                  <a:pt x="88" y="101"/>
                </a:cubicBezTo>
                <a:cubicBezTo>
                  <a:pt x="88" y="102"/>
                  <a:pt x="88" y="102"/>
                  <a:pt x="89" y="102"/>
                </a:cubicBezTo>
                <a:cubicBezTo>
                  <a:pt x="89" y="102"/>
                  <a:pt x="89" y="103"/>
                  <a:pt x="90" y="103"/>
                </a:cubicBezTo>
                <a:cubicBezTo>
                  <a:pt x="90" y="103"/>
                  <a:pt x="90" y="104"/>
                  <a:pt x="90" y="104"/>
                </a:cubicBezTo>
                <a:cubicBezTo>
                  <a:pt x="90" y="104"/>
                  <a:pt x="91" y="105"/>
                  <a:pt x="91" y="106"/>
                </a:cubicBezTo>
                <a:cubicBezTo>
                  <a:pt x="83" y="109"/>
                  <a:pt x="74" y="109"/>
                  <a:pt x="66" y="106"/>
                </a:cubicBezTo>
                <a:cubicBezTo>
                  <a:pt x="67" y="105"/>
                  <a:pt x="67" y="104"/>
                  <a:pt x="67" y="104"/>
                </a:cubicBezTo>
                <a:close/>
                <a:moveTo>
                  <a:pt x="79" y="125"/>
                </a:moveTo>
                <a:cubicBezTo>
                  <a:pt x="71" y="125"/>
                  <a:pt x="65" y="119"/>
                  <a:pt x="65" y="111"/>
                </a:cubicBezTo>
                <a:cubicBezTo>
                  <a:pt x="65" y="111"/>
                  <a:pt x="65" y="111"/>
                  <a:pt x="65" y="111"/>
                </a:cubicBezTo>
                <a:cubicBezTo>
                  <a:pt x="69" y="113"/>
                  <a:pt x="74" y="114"/>
                  <a:pt x="79" y="114"/>
                </a:cubicBezTo>
                <a:cubicBezTo>
                  <a:pt x="83" y="114"/>
                  <a:pt x="88" y="113"/>
                  <a:pt x="92" y="111"/>
                </a:cubicBezTo>
                <a:cubicBezTo>
                  <a:pt x="92" y="111"/>
                  <a:pt x="92" y="111"/>
                  <a:pt x="92" y="111"/>
                </a:cubicBezTo>
                <a:cubicBezTo>
                  <a:pt x="92" y="119"/>
                  <a:pt x="86" y="125"/>
                  <a:pt x="79" y="125"/>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2073">
            <a:extLst>
              <a:ext uri="{FF2B5EF4-FFF2-40B4-BE49-F238E27FC236}">
                <a16:creationId xmlns:a16="http://schemas.microsoft.com/office/drawing/2014/main" id="{6F06AB4D-DCDF-F549-83A6-7F9725BCD7BE}"/>
              </a:ext>
            </a:extLst>
          </p:cNvPr>
          <p:cNvSpPr>
            <a:spLocks noEditPoints="1"/>
          </p:cNvSpPr>
          <p:nvPr/>
        </p:nvSpPr>
        <p:spPr bwMode="auto">
          <a:xfrm>
            <a:off x="595309" y="3462338"/>
            <a:ext cx="542925" cy="549275"/>
          </a:xfrm>
          <a:custGeom>
            <a:avLst/>
            <a:gdLst>
              <a:gd name="T0" fmla="*/ 91 w 159"/>
              <a:gd name="T1" fmla="*/ 157 h 160"/>
              <a:gd name="T2" fmla="*/ 88 w 159"/>
              <a:gd name="T3" fmla="*/ 160 h 160"/>
              <a:gd name="T4" fmla="*/ 80 w 159"/>
              <a:gd name="T5" fmla="*/ 74 h 160"/>
              <a:gd name="T6" fmla="*/ 86 w 159"/>
              <a:gd name="T7" fmla="*/ 72 h 160"/>
              <a:gd name="T8" fmla="*/ 83 w 159"/>
              <a:gd name="T9" fmla="*/ 0 h 160"/>
              <a:gd name="T10" fmla="*/ 41 w 159"/>
              <a:gd name="T11" fmla="*/ 13 h 160"/>
              <a:gd name="T12" fmla="*/ 44 w 159"/>
              <a:gd name="T13" fmla="*/ 18 h 160"/>
              <a:gd name="T14" fmla="*/ 83 w 159"/>
              <a:gd name="T15" fmla="*/ 5 h 160"/>
              <a:gd name="T16" fmla="*/ 153 w 159"/>
              <a:gd name="T17" fmla="*/ 87 h 160"/>
              <a:gd name="T18" fmla="*/ 156 w 159"/>
              <a:gd name="T19" fmla="*/ 89 h 160"/>
              <a:gd name="T20" fmla="*/ 150 w 159"/>
              <a:gd name="T21" fmla="*/ 45 h 160"/>
              <a:gd name="T22" fmla="*/ 33 w 159"/>
              <a:gd name="T23" fmla="*/ 23 h 160"/>
              <a:gd name="T24" fmla="*/ 13 w 159"/>
              <a:gd name="T25" fmla="*/ 109 h 160"/>
              <a:gd name="T26" fmla="*/ 17 w 159"/>
              <a:gd name="T27" fmla="*/ 111 h 160"/>
              <a:gd name="T28" fmla="*/ 33 w 159"/>
              <a:gd name="T29" fmla="*/ 26 h 160"/>
              <a:gd name="T30" fmla="*/ 61 w 159"/>
              <a:gd name="T31" fmla="*/ 21 h 160"/>
              <a:gd name="T32" fmla="*/ 30 w 159"/>
              <a:gd name="T33" fmla="*/ 97 h 160"/>
              <a:gd name="T34" fmla="*/ 34 w 159"/>
              <a:gd name="T35" fmla="*/ 138 h 160"/>
              <a:gd name="T36" fmla="*/ 36 w 159"/>
              <a:gd name="T37" fmla="*/ 97 h 160"/>
              <a:gd name="T38" fmla="*/ 63 w 159"/>
              <a:gd name="T39" fmla="*/ 26 h 160"/>
              <a:gd name="T40" fmla="*/ 133 w 159"/>
              <a:gd name="T41" fmla="*/ 59 h 160"/>
              <a:gd name="T42" fmla="*/ 140 w 159"/>
              <a:gd name="T43" fmla="*/ 133 h 160"/>
              <a:gd name="T44" fmla="*/ 138 w 159"/>
              <a:gd name="T45" fmla="*/ 57 h 160"/>
              <a:gd name="T46" fmla="*/ 83 w 159"/>
              <a:gd name="T47" fmla="*/ 33 h 160"/>
              <a:gd name="T48" fmla="*/ 72 w 159"/>
              <a:gd name="T49" fmla="*/ 37 h 160"/>
              <a:gd name="T50" fmla="*/ 83 w 159"/>
              <a:gd name="T51" fmla="*/ 38 h 160"/>
              <a:gd name="T52" fmla="*/ 121 w 159"/>
              <a:gd name="T53" fmla="*/ 144 h 160"/>
              <a:gd name="T54" fmla="*/ 124 w 159"/>
              <a:gd name="T55" fmla="*/ 146 h 160"/>
              <a:gd name="T56" fmla="*/ 120 w 159"/>
              <a:gd name="T57" fmla="*/ 57 h 160"/>
              <a:gd name="T58" fmla="*/ 63 w 159"/>
              <a:gd name="T59" fmla="*/ 44 h 160"/>
              <a:gd name="T60" fmla="*/ 60 w 159"/>
              <a:gd name="T61" fmla="*/ 40 h 160"/>
              <a:gd name="T62" fmla="*/ 50 w 159"/>
              <a:gd name="T63" fmla="*/ 138 h 160"/>
              <a:gd name="T64" fmla="*/ 56 w 159"/>
              <a:gd name="T65" fmla="*/ 138 h 160"/>
              <a:gd name="T66" fmla="*/ 63 w 159"/>
              <a:gd name="T67" fmla="*/ 44 h 160"/>
              <a:gd name="T68" fmla="*/ 107 w 159"/>
              <a:gd name="T69" fmla="*/ 127 h 160"/>
              <a:gd name="T70" fmla="*/ 104 w 159"/>
              <a:gd name="T71" fmla="*/ 130 h 160"/>
              <a:gd name="T72" fmla="*/ 105 w 159"/>
              <a:gd name="T73" fmla="*/ 152 h 160"/>
              <a:gd name="T74" fmla="*/ 107 w 159"/>
              <a:gd name="T75" fmla="*/ 155 h 160"/>
              <a:gd name="T76" fmla="*/ 110 w 159"/>
              <a:gd name="T77" fmla="*/ 138 h 160"/>
              <a:gd name="T78" fmla="*/ 83 w 159"/>
              <a:gd name="T79" fmla="*/ 52 h 160"/>
              <a:gd name="T80" fmla="*/ 63 w 159"/>
              <a:gd name="T81" fmla="*/ 81 h 160"/>
              <a:gd name="T82" fmla="*/ 69 w 159"/>
              <a:gd name="T83" fmla="*/ 155 h 160"/>
              <a:gd name="T84" fmla="*/ 68 w 159"/>
              <a:gd name="T85" fmla="*/ 79 h 160"/>
              <a:gd name="T86" fmla="*/ 83 w 159"/>
              <a:gd name="T87" fmla="*/ 57 h 160"/>
              <a:gd name="T88" fmla="*/ 105 w 159"/>
              <a:gd name="T89" fmla="*/ 117 h 160"/>
              <a:gd name="T90" fmla="*/ 108 w 159"/>
              <a:gd name="T91" fmla="*/ 119 h 160"/>
              <a:gd name="T92" fmla="*/ 103 w 159"/>
              <a:gd name="T93" fmla="*/ 6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9" h="160">
                <a:moveTo>
                  <a:pt x="86" y="72"/>
                </a:moveTo>
                <a:cubicBezTo>
                  <a:pt x="86" y="74"/>
                  <a:pt x="93" y="99"/>
                  <a:pt x="91" y="157"/>
                </a:cubicBezTo>
                <a:cubicBezTo>
                  <a:pt x="91" y="159"/>
                  <a:pt x="90" y="160"/>
                  <a:pt x="88" y="160"/>
                </a:cubicBezTo>
                <a:cubicBezTo>
                  <a:pt x="88" y="160"/>
                  <a:pt x="88" y="160"/>
                  <a:pt x="88" y="160"/>
                </a:cubicBezTo>
                <a:cubicBezTo>
                  <a:pt x="87" y="160"/>
                  <a:pt x="86" y="159"/>
                  <a:pt x="86" y="157"/>
                </a:cubicBezTo>
                <a:cubicBezTo>
                  <a:pt x="88" y="100"/>
                  <a:pt x="80" y="74"/>
                  <a:pt x="80" y="74"/>
                </a:cubicBezTo>
                <a:cubicBezTo>
                  <a:pt x="80" y="73"/>
                  <a:pt x="81" y="71"/>
                  <a:pt x="82" y="71"/>
                </a:cubicBezTo>
                <a:cubicBezTo>
                  <a:pt x="84" y="70"/>
                  <a:pt x="85" y="71"/>
                  <a:pt x="86" y="72"/>
                </a:cubicBezTo>
                <a:close/>
                <a:moveTo>
                  <a:pt x="150" y="45"/>
                </a:moveTo>
                <a:cubicBezTo>
                  <a:pt x="139" y="18"/>
                  <a:pt x="112" y="0"/>
                  <a:pt x="83" y="0"/>
                </a:cubicBezTo>
                <a:cubicBezTo>
                  <a:pt x="73" y="0"/>
                  <a:pt x="64" y="2"/>
                  <a:pt x="55" y="6"/>
                </a:cubicBezTo>
                <a:cubicBezTo>
                  <a:pt x="50" y="8"/>
                  <a:pt x="45" y="10"/>
                  <a:pt x="41" y="13"/>
                </a:cubicBezTo>
                <a:cubicBezTo>
                  <a:pt x="40" y="14"/>
                  <a:pt x="39" y="15"/>
                  <a:pt x="40" y="17"/>
                </a:cubicBezTo>
                <a:cubicBezTo>
                  <a:pt x="41" y="18"/>
                  <a:pt x="42" y="18"/>
                  <a:pt x="44" y="18"/>
                </a:cubicBezTo>
                <a:cubicBezTo>
                  <a:pt x="48" y="15"/>
                  <a:pt x="52" y="13"/>
                  <a:pt x="57" y="11"/>
                </a:cubicBezTo>
                <a:cubicBezTo>
                  <a:pt x="65" y="7"/>
                  <a:pt x="74" y="5"/>
                  <a:pt x="83" y="5"/>
                </a:cubicBezTo>
                <a:cubicBezTo>
                  <a:pt x="110" y="5"/>
                  <a:pt x="135" y="22"/>
                  <a:pt x="145" y="47"/>
                </a:cubicBezTo>
                <a:cubicBezTo>
                  <a:pt x="150" y="57"/>
                  <a:pt x="152" y="77"/>
                  <a:pt x="153" y="87"/>
                </a:cubicBezTo>
                <a:cubicBezTo>
                  <a:pt x="153" y="88"/>
                  <a:pt x="155" y="89"/>
                  <a:pt x="156" y="89"/>
                </a:cubicBezTo>
                <a:cubicBezTo>
                  <a:pt x="156" y="89"/>
                  <a:pt x="156" y="89"/>
                  <a:pt x="156" y="89"/>
                </a:cubicBezTo>
                <a:cubicBezTo>
                  <a:pt x="158" y="89"/>
                  <a:pt x="159" y="88"/>
                  <a:pt x="159" y="87"/>
                </a:cubicBezTo>
                <a:cubicBezTo>
                  <a:pt x="157" y="73"/>
                  <a:pt x="155" y="55"/>
                  <a:pt x="150" y="45"/>
                </a:cubicBezTo>
                <a:close/>
                <a:moveTo>
                  <a:pt x="33" y="26"/>
                </a:moveTo>
                <a:cubicBezTo>
                  <a:pt x="34" y="25"/>
                  <a:pt x="34" y="24"/>
                  <a:pt x="33" y="23"/>
                </a:cubicBezTo>
                <a:cubicBezTo>
                  <a:pt x="32" y="21"/>
                  <a:pt x="30" y="21"/>
                  <a:pt x="29" y="22"/>
                </a:cubicBezTo>
                <a:cubicBezTo>
                  <a:pt x="14" y="37"/>
                  <a:pt x="0" y="64"/>
                  <a:pt x="13" y="109"/>
                </a:cubicBezTo>
                <a:cubicBezTo>
                  <a:pt x="14" y="110"/>
                  <a:pt x="15" y="111"/>
                  <a:pt x="16" y="111"/>
                </a:cubicBezTo>
                <a:cubicBezTo>
                  <a:pt x="16" y="111"/>
                  <a:pt x="17" y="111"/>
                  <a:pt x="17" y="111"/>
                </a:cubicBezTo>
                <a:cubicBezTo>
                  <a:pt x="18" y="111"/>
                  <a:pt x="19" y="109"/>
                  <a:pt x="19" y="108"/>
                </a:cubicBezTo>
                <a:cubicBezTo>
                  <a:pt x="8" y="74"/>
                  <a:pt x="13" y="45"/>
                  <a:pt x="33" y="26"/>
                </a:cubicBezTo>
                <a:close/>
                <a:moveTo>
                  <a:pt x="85" y="16"/>
                </a:moveTo>
                <a:cubicBezTo>
                  <a:pt x="77" y="16"/>
                  <a:pt x="69" y="17"/>
                  <a:pt x="61" y="21"/>
                </a:cubicBezTo>
                <a:cubicBezTo>
                  <a:pt x="34" y="32"/>
                  <a:pt x="20" y="61"/>
                  <a:pt x="28" y="89"/>
                </a:cubicBezTo>
                <a:cubicBezTo>
                  <a:pt x="29" y="91"/>
                  <a:pt x="30" y="94"/>
                  <a:pt x="30" y="97"/>
                </a:cubicBezTo>
                <a:cubicBezTo>
                  <a:pt x="31" y="104"/>
                  <a:pt x="31" y="116"/>
                  <a:pt x="31" y="136"/>
                </a:cubicBezTo>
                <a:cubicBezTo>
                  <a:pt x="31" y="137"/>
                  <a:pt x="32" y="138"/>
                  <a:pt x="34" y="138"/>
                </a:cubicBezTo>
                <a:cubicBezTo>
                  <a:pt x="35" y="138"/>
                  <a:pt x="37" y="137"/>
                  <a:pt x="37" y="136"/>
                </a:cubicBezTo>
                <a:cubicBezTo>
                  <a:pt x="37" y="115"/>
                  <a:pt x="37" y="104"/>
                  <a:pt x="36" y="97"/>
                </a:cubicBezTo>
                <a:cubicBezTo>
                  <a:pt x="35" y="93"/>
                  <a:pt x="34" y="90"/>
                  <a:pt x="33" y="87"/>
                </a:cubicBezTo>
                <a:cubicBezTo>
                  <a:pt x="26" y="62"/>
                  <a:pt x="39" y="36"/>
                  <a:pt x="63" y="26"/>
                </a:cubicBezTo>
                <a:cubicBezTo>
                  <a:pt x="70" y="23"/>
                  <a:pt x="77" y="21"/>
                  <a:pt x="85" y="22"/>
                </a:cubicBezTo>
                <a:cubicBezTo>
                  <a:pt x="104" y="22"/>
                  <a:pt x="126" y="39"/>
                  <a:pt x="133" y="59"/>
                </a:cubicBezTo>
                <a:cubicBezTo>
                  <a:pt x="138" y="76"/>
                  <a:pt x="138" y="104"/>
                  <a:pt x="138" y="130"/>
                </a:cubicBezTo>
                <a:cubicBezTo>
                  <a:pt x="138" y="132"/>
                  <a:pt x="139" y="133"/>
                  <a:pt x="140" y="133"/>
                </a:cubicBezTo>
                <a:cubicBezTo>
                  <a:pt x="142" y="133"/>
                  <a:pt x="143" y="132"/>
                  <a:pt x="143" y="130"/>
                </a:cubicBezTo>
                <a:cubicBezTo>
                  <a:pt x="144" y="104"/>
                  <a:pt x="144" y="75"/>
                  <a:pt x="138" y="57"/>
                </a:cubicBezTo>
                <a:cubicBezTo>
                  <a:pt x="130" y="35"/>
                  <a:pt x="107" y="17"/>
                  <a:pt x="85" y="16"/>
                </a:cubicBezTo>
                <a:close/>
                <a:moveTo>
                  <a:pt x="83" y="33"/>
                </a:moveTo>
                <a:cubicBezTo>
                  <a:pt x="80" y="33"/>
                  <a:pt x="77" y="33"/>
                  <a:pt x="74" y="33"/>
                </a:cubicBezTo>
                <a:cubicBezTo>
                  <a:pt x="73" y="34"/>
                  <a:pt x="72" y="35"/>
                  <a:pt x="72" y="37"/>
                </a:cubicBezTo>
                <a:cubicBezTo>
                  <a:pt x="72" y="38"/>
                  <a:pt x="74" y="39"/>
                  <a:pt x="75" y="39"/>
                </a:cubicBezTo>
                <a:cubicBezTo>
                  <a:pt x="78" y="38"/>
                  <a:pt x="80" y="38"/>
                  <a:pt x="83" y="38"/>
                </a:cubicBezTo>
                <a:cubicBezTo>
                  <a:pt x="97" y="38"/>
                  <a:pt x="110" y="46"/>
                  <a:pt x="115" y="59"/>
                </a:cubicBezTo>
                <a:cubicBezTo>
                  <a:pt x="122" y="75"/>
                  <a:pt x="122" y="100"/>
                  <a:pt x="121" y="144"/>
                </a:cubicBezTo>
                <a:cubicBezTo>
                  <a:pt x="121" y="145"/>
                  <a:pt x="122" y="146"/>
                  <a:pt x="124" y="146"/>
                </a:cubicBezTo>
                <a:cubicBezTo>
                  <a:pt x="124" y="146"/>
                  <a:pt x="124" y="146"/>
                  <a:pt x="124" y="146"/>
                </a:cubicBezTo>
                <a:cubicBezTo>
                  <a:pt x="125" y="146"/>
                  <a:pt x="126" y="145"/>
                  <a:pt x="126" y="144"/>
                </a:cubicBezTo>
                <a:cubicBezTo>
                  <a:pt x="128" y="98"/>
                  <a:pt x="127" y="74"/>
                  <a:pt x="120" y="57"/>
                </a:cubicBezTo>
                <a:cubicBezTo>
                  <a:pt x="114" y="42"/>
                  <a:pt x="99" y="33"/>
                  <a:pt x="83" y="33"/>
                </a:cubicBezTo>
                <a:close/>
                <a:moveTo>
                  <a:pt x="63" y="44"/>
                </a:moveTo>
                <a:cubicBezTo>
                  <a:pt x="64" y="43"/>
                  <a:pt x="64" y="42"/>
                  <a:pt x="63" y="41"/>
                </a:cubicBezTo>
                <a:cubicBezTo>
                  <a:pt x="63" y="39"/>
                  <a:pt x="61" y="39"/>
                  <a:pt x="60" y="40"/>
                </a:cubicBezTo>
                <a:cubicBezTo>
                  <a:pt x="46" y="50"/>
                  <a:pt x="40" y="69"/>
                  <a:pt x="45" y="87"/>
                </a:cubicBezTo>
                <a:cubicBezTo>
                  <a:pt x="45" y="87"/>
                  <a:pt x="50" y="107"/>
                  <a:pt x="50" y="138"/>
                </a:cubicBezTo>
                <a:cubicBezTo>
                  <a:pt x="50" y="140"/>
                  <a:pt x="51" y="141"/>
                  <a:pt x="53" y="141"/>
                </a:cubicBezTo>
                <a:cubicBezTo>
                  <a:pt x="54" y="141"/>
                  <a:pt x="56" y="140"/>
                  <a:pt x="56" y="138"/>
                </a:cubicBezTo>
                <a:cubicBezTo>
                  <a:pt x="56" y="106"/>
                  <a:pt x="50" y="86"/>
                  <a:pt x="50" y="85"/>
                </a:cubicBezTo>
                <a:cubicBezTo>
                  <a:pt x="45" y="69"/>
                  <a:pt x="51" y="53"/>
                  <a:pt x="63" y="44"/>
                </a:cubicBezTo>
                <a:close/>
                <a:moveTo>
                  <a:pt x="110" y="130"/>
                </a:moveTo>
                <a:cubicBezTo>
                  <a:pt x="110" y="129"/>
                  <a:pt x="109" y="127"/>
                  <a:pt x="107" y="127"/>
                </a:cubicBezTo>
                <a:cubicBezTo>
                  <a:pt x="107" y="127"/>
                  <a:pt x="107" y="127"/>
                  <a:pt x="107" y="127"/>
                </a:cubicBezTo>
                <a:cubicBezTo>
                  <a:pt x="106" y="127"/>
                  <a:pt x="104" y="129"/>
                  <a:pt x="104" y="130"/>
                </a:cubicBezTo>
                <a:cubicBezTo>
                  <a:pt x="104" y="132"/>
                  <a:pt x="104" y="135"/>
                  <a:pt x="105" y="138"/>
                </a:cubicBezTo>
                <a:cubicBezTo>
                  <a:pt x="105" y="143"/>
                  <a:pt x="105" y="148"/>
                  <a:pt x="105" y="152"/>
                </a:cubicBezTo>
                <a:cubicBezTo>
                  <a:pt x="105" y="153"/>
                  <a:pt x="106" y="155"/>
                  <a:pt x="107" y="155"/>
                </a:cubicBezTo>
                <a:cubicBezTo>
                  <a:pt x="107" y="155"/>
                  <a:pt x="107" y="155"/>
                  <a:pt x="107" y="155"/>
                </a:cubicBezTo>
                <a:cubicBezTo>
                  <a:pt x="109" y="155"/>
                  <a:pt x="110" y="153"/>
                  <a:pt x="110" y="152"/>
                </a:cubicBezTo>
                <a:cubicBezTo>
                  <a:pt x="110" y="148"/>
                  <a:pt x="110" y="143"/>
                  <a:pt x="110" y="138"/>
                </a:cubicBezTo>
                <a:cubicBezTo>
                  <a:pt x="110" y="135"/>
                  <a:pt x="110" y="132"/>
                  <a:pt x="110" y="130"/>
                </a:cubicBezTo>
                <a:close/>
                <a:moveTo>
                  <a:pt x="83" y="52"/>
                </a:moveTo>
                <a:cubicBezTo>
                  <a:pt x="80" y="52"/>
                  <a:pt x="77" y="52"/>
                  <a:pt x="75" y="53"/>
                </a:cubicBezTo>
                <a:cubicBezTo>
                  <a:pt x="64" y="58"/>
                  <a:pt x="59" y="70"/>
                  <a:pt x="63" y="81"/>
                </a:cubicBezTo>
                <a:cubicBezTo>
                  <a:pt x="65" y="87"/>
                  <a:pt x="66" y="120"/>
                  <a:pt x="66" y="152"/>
                </a:cubicBezTo>
                <a:cubicBezTo>
                  <a:pt x="66" y="153"/>
                  <a:pt x="68" y="155"/>
                  <a:pt x="69" y="155"/>
                </a:cubicBezTo>
                <a:cubicBezTo>
                  <a:pt x="71" y="155"/>
                  <a:pt x="72" y="153"/>
                  <a:pt x="72" y="152"/>
                </a:cubicBezTo>
                <a:cubicBezTo>
                  <a:pt x="72" y="123"/>
                  <a:pt x="70" y="87"/>
                  <a:pt x="68" y="79"/>
                </a:cubicBezTo>
                <a:cubicBezTo>
                  <a:pt x="65" y="71"/>
                  <a:pt x="69" y="62"/>
                  <a:pt x="77" y="58"/>
                </a:cubicBezTo>
                <a:cubicBezTo>
                  <a:pt x="79" y="57"/>
                  <a:pt x="81" y="57"/>
                  <a:pt x="83" y="57"/>
                </a:cubicBezTo>
                <a:cubicBezTo>
                  <a:pt x="89" y="57"/>
                  <a:pt x="95" y="61"/>
                  <a:pt x="98" y="67"/>
                </a:cubicBezTo>
                <a:cubicBezTo>
                  <a:pt x="103" y="79"/>
                  <a:pt x="105" y="101"/>
                  <a:pt x="105" y="117"/>
                </a:cubicBezTo>
                <a:cubicBezTo>
                  <a:pt x="105" y="118"/>
                  <a:pt x="106" y="119"/>
                  <a:pt x="108" y="119"/>
                </a:cubicBezTo>
                <a:cubicBezTo>
                  <a:pt x="108" y="119"/>
                  <a:pt x="108" y="119"/>
                  <a:pt x="108" y="119"/>
                </a:cubicBezTo>
                <a:cubicBezTo>
                  <a:pt x="109" y="119"/>
                  <a:pt x="110" y="118"/>
                  <a:pt x="110" y="117"/>
                </a:cubicBezTo>
                <a:cubicBezTo>
                  <a:pt x="110" y="100"/>
                  <a:pt x="108" y="78"/>
                  <a:pt x="103" y="65"/>
                </a:cubicBezTo>
                <a:cubicBezTo>
                  <a:pt x="100" y="57"/>
                  <a:pt x="92" y="52"/>
                  <a:pt x="83" y="52"/>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2074">
            <a:extLst>
              <a:ext uri="{FF2B5EF4-FFF2-40B4-BE49-F238E27FC236}">
                <a16:creationId xmlns:a16="http://schemas.microsoft.com/office/drawing/2014/main" id="{5FBE6E1E-084B-2440-8C0C-DB7D72F40C41}"/>
              </a:ext>
            </a:extLst>
          </p:cNvPr>
          <p:cNvSpPr>
            <a:spLocks noEditPoints="1"/>
          </p:cNvSpPr>
          <p:nvPr/>
        </p:nvSpPr>
        <p:spPr bwMode="auto">
          <a:xfrm>
            <a:off x="663571" y="4081463"/>
            <a:ext cx="427038" cy="550863"/>
          </a:xfrm>
          <a:custGeom>
            <a:avLst/>
            <a:gdLst>
              <a:gd name="T0" fmla="*/ 123 w 125"/>
              <a:gd name="T1" fmla="*/ 8 h 160"/>
              <a:gd name="T2" fmla="*/ 5 w 125"/>
              <a:gd name="T3" fmla="*/ 8 h 160"/>
              <a:gd name="T4" fmla="*/ 5 w 125"/>
              <a:gd name="T5" fmla="*/ 3 h 160"/>
              <a:gd name="T6" fmla="*/ 3 w 125"/>
              <a:gd name="T7" fmla="*/ 0 h 160"/>
              <a:gd name="T8" fmla="*/ 0 w 125"/>
              <a:gd name="T9" fmla="*/ 3 h 160"/>
              <a:gd name="T10" fmla="*/ 0 w 125"/>
              <a:gd name="T11" fmla="*/ 11 h 160"/>
              <a:gd name="T12" fmla="*/ 0 w 125"/>
              <a:gd name="T13" fmla="*/ 88 h 160"/>
              <a:gd name="T14" fmla="*/ 0 w 125"/>
              <a:gd name="T15" fmla="*/ 96 h 160"/>
              <a:gd name="T16" fmla="*/ 0 w 125"/>
              <a:gd name="T17" fmla="*/ 157 h 160"/>
              <a:gd name="T18" fmla="*/ 3 w 125"/>
              <a:gd name="T19" fmla="*/ 160 h 160"/>
              <a:gd name="T20" fmla="*/ 5 w 125"/>
              <a:gd name="T21" fmla="*/ 157 h 160"/>
              <a:gd name="T22" fmla="*/ 5 w 125"/>
              <a:gd name="T23" fmla="*/ 99 h 160"/>
              <a:gd name="T24" fmla="*/ 123 w 125"/>
              <a:gd name="T25" fmla="*/ 99 h 160"/>
              <a:gd name="T26" fmla="*/ 125 w 125"/>
              <a:gd name="T27" fmla="*/ 96 h 160"/>
              <a:gd name="T28" fmla="*/ 125 w 125"/>
              <a:gd name="T29" fmla="*/ 11 h 160"/>
              <a:gd name="T30" fmla="*/ 123 w 125"/>
              <a:gd name="T31" fmla="*/ 8 h 160"/>
              <a:gd name="T32" fmla="*/ 120 w 125"/>
              <a:gd name="T33" fmla="*/ 93 h 160"/>
              <a:gd name="T34" fmla="*/ 5 w 125"/>
              <a:gd name="T35" fmla="*/ 93 h 160"/>
              <a:gd name="T36" fmla="*/ 5 w 125"/>
              <a:gd name="T37" fmla="*/ 88 h 160"/>
              <a:gd name="T38" fmla="*/ 5 w 125"/>
              <a:gd name="T39" fmla="*/ 13 h 160"/>
              <a:gd name="T40" fmla="*/ 120 w 125"/>
              <a:gd name="T41" fmla="*/ 13 h 160"/>
              <a:gd name="T42" fmla="*/ 120 w 125"/>
              <a:gd name="T43" fmla="*/ 9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160">
                <a:moveTo>
                  <a:pt x="123" y="8"/>
                </a:moveTo>
                <a:cubicBezTo>
                  <a:pt x="5" y="8"/>
                  <a:pt x="5" y="8"/>
                  <a:pt x="5" y="8"/>
                </a:cubicBezTo>
                <a:cubicBezTo>
                  <a:pt x="5" y="3"/>
                  <a:pt x="5" y="3"/>
                  <a:pt x="5" y="3"/>
                </a:cubicBezTo>
                <a:cubicBezTo>
                  <a:pt x="5" y="1"/>
                  <a:pt x="4" y="0"/>
                  <a:pt x="3" y="0"/>
                </a:cubicBezTo>
                <a:cubicBezTo>
                  <a:pt x="1" y="0"/>
                  <a:pt x="0" y="1"/>
                  <a:pt x="0" y="3"/>
                </a:cubicBezTo>
                <a:cubicBezTo>
                  <a:pt x="0" y="11"/>
                  <a:pt x="0" y="11"/>
                  <a:pt x="0" y="11"/>
                </a:cubicBezTo>
                <a:cubicBezTo>
                  <a:pt x="0" y="88"/>
                  <a:pt x="0" y="88"/>
                  <a:pt x="0" y="88"/>
                </a:cubicBezTo>
                <a:cubicBezTo>
                  <a:pt x="0" y="96"/>
                  <a:pt x="0" y="96"/>
                  <a:pt x="0" y="96"/>
                </a:cubicBezTo>
                <a:cubicBezTo>
                  <a:pt x="0" y="157"/>
                  <a:pt x="0" y="157"/>
                  <a:pt x="0" y="157"/>
                </a:cubicBezTo>
                <a:cubicBezTo>
                  <a:pt x="0" y="159"/>
                  <a:pt x="1" y="160"/>
                  <a:pt x="3" y="160"/>
                </a:cubicBezTo>
                <a:cubicBezTo>
                  <a:pt x="4" y="160"/>
                  <a:pt x="5" y="159"/>
                  <a:pt x="5" y="157"/>
                </a:cubicBezTo>
                <a:cubicBezTo>
                  <a:pt x="5" y="99"/>
                  <a:pt x="5" y="99"/>
                  <a:pt x="5" y="99"/>
                </a:cubicBezTo>
                <a:cubicBezTo>
                  <a:pt x="123" y="99"/>
                  <a:pt x="123" y="99"/>
                  <a:pt x="123" y="99"/>
                </a:cubicBezTo>
                <a:cubicBezTo>
                  <a:pt x="124" y="99"/>
                  <a:pt x="125" y="97"/>
                  <a:pt x="125" y="96"/>
                </a:cubicBezTo>
                <a:cubicBezTo>
                  <a:pt x="125" y="11"/>
                  <a:pt x="125" y="11"/>
                  <a:pt x="125" y="11"/>
                </a:cubicBezTo>
                <a:cubicBezTo>
                  <a:pt x="125" y="9"/>
                  <a:pt x="124" y="8"/>
                  <a:pt x="123" y="8"/>
                </a:cubicBezTo>
                <a:close/>
                <a:moveTo>
                  <a:pt x="120" y="93"/>
                </a:moveTo>
                <a:cubicBezTo>
                  <a:pt x="5" y="93"/>
                  <a:pt x="5" y="93"/>
                  <a:pt x="5" y="93"/>
                </a:cubicBezTo>
                <a:cubicBezTo>
                  <a:pt x="5" y="88"/>
                  <a:pt x="5" y="88"/>
                  <a:pt x="5" y="88"/>
                </a:cubicBezTo>
                <a:cubicBezTo>
                  <a:pt x="5" y="13"/>
                  <a:pt x="5" y="13"/>
                  <a:pt x="5" y="13"/>
                </a:cubicBezTo>
                <a:cubicBezTo>
                  <a:pt x="120" y="13"/>
                  <a:pt x="120" y="13"/>
                  <a:pt x="120" y="13"/>
                </a:cubicBezTo>
                <a:lnTo>
                  <a:pt x="120" y="93"/>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2075">
            <a:extLst>
              <a:ext uri="{FF2B5EF4-FFF2-40B4-BE49-F238E27FC236}">
                <a16:creationId xmlns:a16="http://schemas.microsoft.com/office/drawing/2014/main" id="{FA3367EA-86DA-B945-B083-DAC8958EB0AA}"/>
              </a:ext>
            </a:extLst>
          </p:cNvPr>
          <p:cNvSpPr>
            <a:spLocks noEditPoints="1"/>
          </p:cNvSpPr>
          <p:nvPr/>
        </p:nvSpPr>
        <p:spPr bwMode="auto">
          <a:xfrm>
            <a:off x="677859" y="4689475"/>
            <a:ext cx="400050" cy="561975"/>
          </a:xfrm>
          <a:custGeom>
            <a:avLst/>
            <a:gdLst>
              <a:gd name="T0" fmla="*/ 116 w 117"/>
              <a:gd name="T1" fmla="*/ 11 h 163"/>
              <a:gd name="T2" fmla="*/ 63 w 117"/>
              <a:gd name="T3" fmla="*/ 12 h 163"/>
              <a:gd name="T4" fmla="*/ 5 w 117"/>
              <a:gd name="T5" fmla="*/ 12 h 163"/>
              <a:gd name="T6" fmla="*/ 5 w 117"/>
              <a:gd name="T7" fmla="*/ 6 h 163"/>
              <a:gd name="T8" fmla="*/ 3 w 117"/>
              <a:gd name="T9" fmla="*/ 3 h 163"/>
              <a:gd name="T10" fmla="*/ 0 w 117"/>
              <a:gd name="T11" fmla="*/ 6 h 163"/>
              <a:gd name="T12" fmla="*/ 0 w 117"/>
              <a:gd name="T13" fmla="*/ 14 h 163"/>
              <a:gd name="T14" fmla="*/ 0 w 117"/>
              <a:gd name="T15" fmla="*/ 14 h 163"/>
              <a:gd name="T16" fmla="*/ 0 w 117"/>
              <a:gd name="T17" fmla="*/ 14 h 163"/>
              <a:gd name="T18" fmla="*/ 0 w 117"/>
              <a:gd name="T19" fmla="*/ 91 h 163"/>
              <a:gd name="T20" fmla="*/ 0 w 117"/>
              <a:gd name="T21" fmla="*/ 94 h 163"/>
              <a:gd name="T22" fmla="*/ 0 w 117"/>
              <a:gd name="T23" fmla="*/ 160 h 163"/>
              <a:gd name="T24" fmla="*/ 3 w 117"/>
              <a:gd name="T25" fmla="*/ 163 h 163"/>
              <a:gd name="T26" fmla="*/ 5 w 117"/>
              <a:gd name="T27" fmla="*/ 160 h 163"/>
              <a:gd name="T28" fmla="*/ 5 w 117"/>
              <a:gd name="T29" fmla="*/ 97 h 163"/>
              <a:gd name="T30" fmla="*/ 38 w 117"/>
              <a:gd name="T31" fmla="*/ 102 h 163"/>
              <a:gd name="T32" fmla="*/ 65 w 117"/>
              <a:gd name="T33" fmla="*/ 96 h 163"/>
              <a:gd name="T34" fmla="*/ 114 w 117"/>
              <a:gd name="T35" fmla="*/ 96 h 163"/>
              <a:gd name="T36" fmla="*/ 116 w 117"/>
              <a:gd name="T37" fmla="*/ 96 h 163"/>
              <a:gd name="T38" fmla="*/ 117 w 117"/>
              <a:gd name="T39" fmla="*/ 94 h 163"/>
              <a:gd name="T40" fmla="*/ 117 w 117"/>
              <a:gd name="T41" fmla="*/ 14 h 163"/>
              <a:gd name="T42" fmla="*/ 116 w 117"/>
              <a:gd name="T43" fmla="*/ 11 h 163"/>
              <a:gd name="T44" fmla="*/ 112 w 117"/>
              <a:gd name="T45" fmla="*/ 90 h 163"/>
              <a:gd name="T46" fmla="*/ 63 w 117"/>
              <a:gd name="T47" fmla="*/ 92 h 163"/>
              <a:gd name="T48" fmla="*/ 5 w 117"/>
              <a:gd name="T49" fmla="*/ 92 h 163"/>
              <a:gd name="T50" fmla="*/ 5 w 117"/>
              <a:gd name="T51" fmla="*/ 91 h 163"/>
              <a:gd name="T52" fmla="*/ 5 w 117"/>
              <a:gd name="T53" fmla="*/ 17 h 163"/>
              <a:gd name="T54" fmla="*/ 65 w 117"/>
              <a:gd name="T55" fmla="*/ 16 h 163"/>
              <a:gd name="T56" fmla="*/ 112 w 117"/>
              <a:gd name="T57" fmla="*/ 16 h 163"/>
              <a:gd name="T58" fmla="*/ 112 w 117"/>
              <a:gd name="T59" fmla="*/ 9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 h="163">
                <a:moveTo>
                  <a:pt x="116" y="11"/>
                </a:moveTo>
                <a:cubicBezTo>
                  <a:pt x="114" y="11"/>
                  <a:pt x="85" y="0"/>
                  <a:pt x="63" y="12"/>
                </a:cubicBezTo>
                <a:cubicBezTo>
                  <a:pt x="45" y="21"/>
                  <a:pt x="13" y="14"/>
                  <a:pt x="5" y="12"/>
                </a:cubicBezTo>
                <a:cubicBezTo>
                  <a:pt x="5" y="6"/>
                  <a:pt x="5" y="6"/>
                  <a:pt x="5" y="6"/>
                </a:cubicBezTo>
                <a:cubicBezTo>
                  <a:pt x="5" y="4"/>
                  <a:pt x="4" y="3"/>
                  <a:pt x="3" y="3"/>
                </a:cubicBezTo>
                <a:cubicBezTo>
                  <a:pt x="1" y="3"/>
                  <a:pt x="0" y="4"/>
                  <a:pt x="0" y="6"/>
                </a:cubicBezTo>
                <a:cubicBezTo>
                  <a:pt x="0" y="14"/>
                  <a:pt x="0" y="14"/>
                  <a:pt x="0" y="14"/>
                </a:cubicBezTo>
                <a:cubicBezTo>
                  <a:pt x="0" y="14"/>
                  <a:pt x="0" y="14"/>
                  <a:pt x="0" y="14"/>
                </a:cubicBezTo>
                <a:cubicBezTo>
                  <a:pt x="0" y="14"/>
                  <a:pt x="0" y="14"/>
                  <a:pt x="0" y="14"/>
                </a:cubicBezTo>
                <a:cubicBezTo>
                  <a:pt x="0" y="91"/>
                  <a:pt x="0" y="91"/>
                  <a:pt x="0" y="91"/>
                </a:cubicBezTo>
                <a:cubicBezTo>
                  <a:pt x="0" y="94"/>
                  <a:pt x="0" y="94"/>
                  <a:pt x="0" y="94"/>
                </a:cubicBezTo>
                <a:cubicBezTo>
                  <a:pt x="0" y="160"/>
                  <a:pt x="0" y="160"/>
                  <a:pt x="0" y="160"/>
                </a:cubicBezTo>
                <a:cubicBezTo>
                  <a:pt x="0" y="162"/>
                  <a:pt x="1" y="163"/>
                  <a:pt x="3" y="163"/>
                </a:cubicBezTo>
                <a:cubicBezTo>
                  <a:pt x="4" y="163"/>
                  <a:pt x="5" y="162"/>
                  <a:pt x="5" y="160"/>
                </a:cubicBezTo>
                <a:cubicBezTo>
                  <a:pt x="5" y="97"/>
                  <a:pt x="5" y="97"/>
                  <a:pt x="5" y="97"/>
                </a:cubicBezTo>
                <a:cubicBezTo>
                  <a:pt x="11" y="99"/>
                  <a:pt x="25" y="102"/>
                  <a:pt x="38" y="102"/>
                </a:cubicBezTo>
                <a:cubicBezTo>
                  <a:pt x="48" y="102"/>
                  <a:pt x="58" y="100"/>
                  <a:pt x="65" y="96"/>
                </a:cubicBezTo>
                <a:cubicBezTo>
                  <a:pt x="86" y="85"/>
                  <a:pt x="113" y="96"/>
                  <a:pt x="114" y="96"/>
                </a:cubicBezTo>
                <a:cubicBezTo>
                  <a:pt x="115" y="97"/>
                  <a:pt x="115" y="97"/>
                  <a:pt x="116" y="96"/>
                </a:cubicBezTo>
                <a:cubicBezTo>
                  <a:pt x="117" y="96"/>
                  <a:pt x="117" y="95"/>
                  <a:pt x="117" y="94"/>
                </a:cubicBezTo>
                <a:cubicBezTo>
                  <a:pt x="117" y="14"/>
                  <a:pt x="117" y="14"/>
                  <a:pt x="117" y="14"/>
                </a:cubicBezTo>
                <a:cubicBezTo>
                  <a:pt x="117" y="13"/>
                  <a:pt x="117" y="12"/>
                  <a:pt x="116" y="11"/>
                </a:cubicBezTo>
                <a:close/>
                <a:moveTo>
                  <a:pt x="112" y="90"/>
                </a:moveTo>
                <a:cubicBezTo>
                  <a:pt x="103" y="87"/>
                  <a:pt x="81" y="82"/>
                  <a:pt x="63" y="92"/>
                </a:cubicBezTo>
                <a:cubicBezTo>
                  <a:pt x="45" y="101"/>
                  <a:pt x="13" y="94"/>
                  <a:pt x="5" y="92"/>
                </a:cubicBezTo>
                <a:cubicBezTo>
                  <a:pt x="5" y="91"/>
                  <a:pt x="5" y="91"/>
                  <a:pt x="5" y="91"/>
                </a:cubicBezTo>
                <a:cubicBezTo>
                  <a:pt x="5" y="17"/>
                  <a:pt x="5" y="17"/>
                  <a:pt x="5" y="17"/>
                </a:cubicBezTo>
                <a:cubicBezTo>
                  <a:pt x="16" y="20"/>
                  <a:pt x="46" y="26"/>
                  <a:pt x="65" y="16"/>
                </a:cubicBezTo>
                <a:cubicBezTo>
                  <a:pt x="83" y="7"/>
                  <a:pt x="106" y="14"/>
                  <a:pt x="112" y="16"/>
                </a:cubicBezTo>
                <a:lnTo>
                  <a:pt x="112" y="90"/>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2076">
            <a:extLst>
              <a:ext uri="{FF2B5EF4-FFF2-40B4-BE49-F238E27FC236}">
                <a16:creationId xmlns:a16="http://schemas.microsoft.com/office/drawing/2014/main" id="{D6471819-2B69-4E46-8CC9-56F406778E4C}"/>
              </a:ext>
            </a:extLst>
          </p:cNvPr>
          <p:cNvSpPr>
            <a:spLocks noEditPoints="1"/>
          </p:cNvSpPr>
          <p:nvPr/>
        </p:nvSpPr>
        <p:spPr bwMode="auto">
          <a:xfrm>
            <a:off x="663571" y="5319713"/>
            <a:ext cx="438150" cy="550863"/>
          </a:xfrm>
          <a:custGeom>
            <a:avLst/>
            <a:gdLst>
              <a:gd name="T0" fmla="*/ 102 w 128"/>
              <a:gd name="T1" fmla="*/ 53 h 160"/>
              <a:gd name="T2" fmla="*/ 128 w 128"/>
              <a:gd name="T3" fmla="*/ 12 h 160"/>
              <a:gd name="T4" fmla="*/ 128 w 128"/>
              <a:gd name="T5" fmla="*/ 9 h 160"/>
              <a:gd name="T6" fmla="*/ 125 w 128"/>
              <a:gd name="T7" fmla="*/ 8 h 160"/>
              <a:gd name="T8" fmla="*/ 5 w 128"/>
              <a:gd name="T9" fmla="*/ 8 h 160"/>
              <a:gd name="T10" fmla="*/ 5 w 128"/>
              <a:gd name="T11" fmla="*/ 3 h 160"/>
              <a:gd name="T12" fmla="*/ 3 w 128"/>
              <a:gd name="T13" fmla="*/ 0 h 160"/>
              <a:gd name="T14" fmla="*/ 0 w 128"/>
              <a:gd name="T15" fmla="*/ 3 h 160"/>
              <a:gd name="T16" fmla="*/ 0 w 128"/>
              <a:gd name="T17" fmla="*/ 11 h 160"/>
              <a:gd name="T18" fmla="*/ 0 w 128"/>
              <a:gd name="T19" fmla="*/ 88 h 160"/>
              <a:gd name="T20" fmla="*/ 0 w 128"/>
              <a:gd name="T21" fmla="*/ 96 h 160"/>
              <a:gd name="T22" fmla="*/ 0 w 128"/>
              <a:gd name="T23" fmla="*/ 157 h 160"/>
              <a:gd name="T24" fmla="*/ 3 w 128"/>
              <a:gd name="T25" fmla="*/ 160 h 160"/>
              <a:gd name="T26" fmla="*/ 5 w 128"/>
              <a:gd name="T27" fmla="*/ 157 h 160"/>
              <a:gd name="T28" fmla="*/ 5 w 128"/>
              <a:gd name="T29" fmla="*/ 99 h 160"/>
              <a:gd name="T30" fmla="*/ 125 w 128"/>
              <a:gd name="T31" fmla="*/ 99 h 160"/>
              <a:gd name="T32" fmla="*/ 128 w 128"/>
              <a:gd name="T33" fmla="*/ 97 h 160"/>
              <a:gd name="T34" fmla="*/ 128 w 128"/>
              <a:gd name="T35" fmla="*/ 95 h 160"/>
              <a:gd name="T36" fmla="*/ 102 w 128"/>
              <a:gd name="T37" fmla="*/ 53 h 160"/>
              <a:gd name="T38" fmla="*/ 5 w 128"/>
              <a:gd name="T39" fmla="*/ 93 h 160"/>
              <a:gd name="T40" fmla="*/ 5 w 128"/>
              <a:gd name="T41" fmla="*/ 88 h 160"/>
              <a:gd name="T42" fmla="*/ 5 w 128"/>
              <a:gd name="T43" fmla="*/ 13 h 160"/>
              <a:gd name="T44" fmla="*/ 121 w 128"/>
              <a:gd name="T45" fmla="*/ 13 h 160"/>
              <a:gd name="T46" fmla="*/ 96 w 128"/>
              <a:gd name="T47" fmla="*/ 52 h 160"/>
              <a:gd name="T48" fmla="*/ 96 w 128"/>
              <a:gd name="T49" fmla="*/ 55 h 160"/>
              <a:gd name="T50" fmla="*/ 121 w 128"/>
              <a:gd name="T51" fmla="*/ 93 h 160"/>
              <a:gd name="T52" fmla="*/ 5 w 128"/>
              <a:gd name="T53" fmla="*/ 9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160">
                <a:moveTo>
                  <a:pt x="102" y="53"/>
                </a:moveTo>
                <a:cubicBezTo>
                  <a:pt x="128" y="12"/>
                  <a:pt x="128" y="12"/>
                  <a:pt x="128" y="12"/>
                </a:cubicBezTo>
                <a:cubicBezTo>
                  <a:pt x="128" y="11"/>
                  <a:pt x="128" y="10"/>
                  <a:pt x="128" y="9"/>
                </a:cubicBezTo>
                <a:cubicBezTo>
                  <a:pt x="127" y="9"/>
                  <a:pt x="126" y="8"/>
                  <a:pt x="125" y="8"/>
                </a:cubicBezTo>
                <a:cubicBezTo>
                  <a:pt x="5" y="8"/>
                  <a:pt x="5" y="8"/>
                  <a:pt x="5" y="8"/>
                </a:cubicBezTo>
                <a:cubicBezTo>
                  <a:pt x="5" y="3"/>
                  <a:pt x="5" y="3"/>
                  <a:pt x="5" y="3"/>
                </a:cubicBezTo>
                <a:cubicBezTo>
                  <a:pt x="5" y="1"/>
                  <a:pt x="4" y="0"/>
                  <a:pt x="3" y="0"/>
                </a:cubicBezTo>
                <a:cubicBezTo>
                  <a:pt x="1" y="0"/>
                  <a:pt x="0" y="1"/>
                  <a:pt x="0" y="3"/>
                </a:cubicBezTo>
                <a:cubicBezTo>
                  <a:pt x="0" y="11"/>
                  <a:pt x="0" y="11"/>
                  <a:pt x="0" y="11"/>
                </a:cubicBezTo>
                <a:cubicBezTo>
                  <a:pt x="0" y="88"/>
                  <a:pt x="0" y="88"/>
                  <a:pt x="0" y="88"/>
                </a:cubicBezTo>
                <a:cubicBezTo>
                  <a:pt x="0" y="96"/>
                  <a:pt x="0" y="96"/>
                  <a:pt x="0" y="96"/>
                </a:cubicBezTo>
                <a:cubicBezTo>
                  <a:pt x="0" y="157"/>
                  <a:pt x="0" y="157"/>
                  <a:pt x="0" y="157"/>
                </a:cubicBezTo>
                <a:cubicBezTo>
                  <a:pt x="0" y="159"/>
                  <a:pt x="1" y="160"/>
                  <a:pt x="3" y="160"/>
                </a:cubicBezTo>
                <a:cubicBezTo>
                  <a:pt x="4" y="160"/>
                  <a:pt x="5" y="159"/>
                  <a:pt x="5" y="157"/>
                </a:cubicBezTo>
                <a:cubicBezTo>
                  <a:pt x="5" y="99"/>
                  <a:pt x="5" y="99"/>
                  <a:pt x="5" y="99"/>
                </a:cubicBezTo>
                <a:cubicBezTo>
                  <a:pt x="125" y="99"/>
                  <a:pt x="125" y="99"/>
                  <a:pt x="125" y="99"/>
                </a:cubicBezTo>
                <a:cubicBezTo>
                  <a:pt x="126" y="99"/>
                  <a:pt x="127" y="98"/>
                  <a:pt x="128" y="97"/>
                </a:cubicBezTo>
                <a:cubicBezTo>
                  <a:pt x="128" y="96"/>
                  <a:pt x="128" y="95"/>
                  <a:pt x="128" y="95"/>
                </a:cubicBezTo>
                <a:lnTo>
                  <a:pt x="102" y="53"/>
                </a:lnTo>
                <a:close/>
                <a:moveTo>
                  <a:pt x="5" y="93"/>
                </a:moveTo>
                <a:cubicBezTo>
                  <a:pt x="5" y="88"/>
                  <a:pt x="5" y="88"/>
                  <a:pt x="5" y="88"/>
                </a:cubicBezTo>
                <a:cubicBezTo>
                  <a:pt x="5" y="13"/>
                  <a:pt x="5" y="13"/>
                  <a:pt x="5" y="13"/>
                </a:cubicBezTo>
                <a:cubicBezTo>
                  <a:pt x="121" y="13"/>
                  <a:pt x="121" y="13"/>
                  <a:pt x="121" y="13"/>
                </a:cubicBezTo>
                <a:cubicBezTo>
                  <a:pt x="96" y="52"/>
                  <a:pt x="96" y="52"/>
                  <a:pt x="96" y="52"/>
                </a:cubicBezTo>
                <a:cubicBezTo>
                  <a:pt x="96" y="53"/>
                  <a:pt x="96" y="54"/>
                  <a:pt x="96" y="55"/>
                </a:cubicBezTo>
                <a:cubicBezTo>
                  <a:pt x="121" y="93"/>
                  <a:pt x="121" y="93"/>
                  <a:pt x="121" y="93"/>
                </a:cubicBezTo>
                <a:lnTo>
                  <a:pt x="5" y="93"/>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2077">
            <a:extLst>
              <a:ext uri="{FF2B5EF4-FFF2-40B4-BE49-F238E27FC236}">
                <a16:creationId xmlns:a16="http://schemas.microsoft.com/office/drawing/2014/main" id="{249B302F-9B06-ED48-8AF7-AF7B6C44E174}"/>
              </a:ext>
            </a:extLst>
          </p:cNvPr>
          <p:cNvSpPr>
            <a:spLocks noEditPoints="1"/>
          </p:cNvSpPr>
          <p:nvPr/>
        </p:nvSpPr>
        <p:spPr bwMode="auto">
          <a:xfrm>
            <a:off x="636584" y="5938838"/>
            <a:ext cx="501650" cy="550863"/>
          </a:xfrm>
          <a:custGeom>
            <a:avLst/>
            <a:gdLst>
              <a:gd name="T0" fmla="*/ 118 w 147"/>
              <a:gd name="T1" fmla="*/ 67 h 160"/>
              <a:gd name="T2" fmla="*/ 146 w 147"/>
              <a:gd name="T3" fmla="*/ 26 h 160"/>
              <a:gd name="T4" fmla="*/ 146 w 147"/>
              <a:gd name="T5" fmla="*/ 23 h 160"/>
              <a:gd name="T6" fmla="*/ 144 w 147"/>
              <a:gd name="T7" fmla="*/ 21 h 160"/>
              <a:gd name="T8" fmla="*/ 64 w 147"/>
              <a:gd name="T9" fmla="*/ 21 h 160"/>
              <a:gd name="T10" fmla="*/ 64 w 147"/>
              <a:gd name="T11" fmla="*/ 11 h 160"/>
              <a:gd name="T12" fmla="*/ 61 w 147"/>
              <a:gd name="T13" fmla="*/ 8 h 160"/>
              <a:gd name="T14" fmla="*/ 5 w 147"/>
              <a:gd name="T15" fmla="*/ 8 h 160"/>
              <a:gd name="T16" fmla="*/ 5 w 147"/>
              <a:gd name="T17" fmla="*/ 3 h 160"/>
              <a:gd name="T18" fmla="*/ 3 w 147"/>
              <a:gd name="T19" fmla="*/ 0 h 160"/>
              <a:gd name="T20" fmla="*/ 0 w 147"/>
              <a:gd name="T21" fmla="*/ 3 h 160"/>
              <a:gd name="T22" fmla="*/ 0 w 147"/>
              <a:gd name="T23" fmla="*/ 11 h 160"/>
              <a:gd name="T24" fmla="*/ 0 w 147"/>
              <a:gd name="T25" fmla="*/ 88 h 160"/>
              <a:gd name="T26" fmla="*/ 0 w 147"/>
              <a:gd name="T27" fmla="*/ 157 h 160"/>
              <a:gd name="T28" fmla="*/ 3 w 147"/>
              <a:gd name="T29" fmla="*/ 160 h 160"/>
              <a:gd name="T30" fmla="*/ 5 w 147"/>
              <a:gd name="T31" fmla="*/ 157 h 160"/>
              <a:gd name="T32" fmla="*/ 5 w 147"/>
              <a:gd name="T33" fmla="*/ 91 h 160"/>
              <a:gd name="T34" fmla="*/ 35 w 147"/>
              <a:gd name="T35" fmla="*/ 91 h 160"/>
              <a:gd name="T36" fmla="*/ 32 w 147"/>
              <a:gd name="T37" fmla="*/ 99 h 160"/>
              <a:gd name="T38" fmla="*/ 45 w 147"/>
              <a:gd name="T39" fmla="*/ 112 h 160"/>
              <a:gd name="T40" fmla="*/ 144 w 147"/>
              <a:gd name="T41" fmla="*/ 112 h 160"/>
              <a:gd name="T42" fmla="*/ 146 w 147"/>
              <a:gd name="T43" fmla="*/ 111 h 160"/>
              <a:gd name="T44" fmla="*/ 146 w 147"/>
              <a:gd name="T45" fmla="*/ 108 h 160"/>
              <a:gd name="T46" fmla="*/ 118 w 147"/>
              <a:gd name="T47" fmla="*/ 67 h 160"/>
              <a:gd name="T48" fmla="*/ 5 w 147"/>
              <a:gd name="T49" fmla="*/ 13 h 160"/>
              <a:gd name="T50" fmla="*/ 59 w 147"/>
              <a:gd name="T51" fmla="*/ 13 h 160"/>
              <a:gd name="T52" fmla="*/ 59 w 147"/>
              <a:gd name="T53" fmla="*/ 24 h 160"/>
              <a:gd name="T54" fmla="*/ 59 w 147"/>
              <a:gd name="T55" fmla="*/ 85 h 160"/>
              <a:gd name="T56" fmla="*/ 45 w 147"/>
              <a:gd name="T57" fmla="*/ 85 h 160"/>
              <a:gd name="T58" fmla="*/ 5 w 147"/>
              <a:gd name="T59" fmla="*/ 85 h 160"/>
              <a:gd name="T60" fmla="*/ 5 w 147"/>
              <a:gd name="T61" fmla="*/ 13 h 160"/>
              <a:gd name="T62" fmla="*/ 45 w 147"/>
              <a:gd name="T63" fmla="*/ 107 h 160"/>
              <a:gd name="T64" fmla="*/ 37 w 147"/>
              <a:gd name="T65" fmla="*/ 99 h 160"/>
              <a:gd name="T66" fmla="*/ 45 w 147"/>
              <a:gd name="T67" fmla="*/ 91 h 160"/>
              <a:gd name="T68" fmla="*/ 61 w 147"/>
              <a:gd name="T69" fmla="*/ 91 h 160"/>
              <a:gd name="T70" fmla="*/ 64 w 147"/>
              <a:gd name="T71" fmla="*/ 88 h 160"/>
              <a:gd name="T72" fmla="*/ 64 w 147"/>
              <a:gd name="T73" fmla="*/ 27 h 160"/>
              <a:gd name="T74" fmla="*/ 139 w 147"/>
              <a:gd name="T75" fmla="*/ 27 h 160"/>
              <a:gd name="T76" fmla="*/ 112 w 147"/>
              <a:gd name="T77" fmla="*/ 65 h 160"/>
              <a:gd name="T78" fmla="*/ 112 w 147"/>
              <a:gd name="T79" fmla="*/ 68 h 160"/>
              <a:gd name="T80" fmla="*/ 139 w 147"/>
              <a:gd name="T81" fmla="*/ 107 h 160"/>
              <a:gd name="T82" fmla="*/ 45 w 147"/>
              <a:gd name="T83" fmla="*/ 10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7" h="160">
                <a:moveTo>
                  <a:pt x="118" y="67"/>
                </a:moveTo>
                <a:cubicBezTo>
                  <a:pt x="146" y="26"/>
                  <a:pt x="146" y="26"/>
                  <a:pt x="146" y="26"/>
                </a:cubicBezTo>
                <a:cubicBezTo>
                  <a:pt x="147" y="25"/>
                  <a:pt x="147" y="24"/>
                  <a:pt x="146" y="23"/>
                </a:cubicBezTo>
                <a:cubicBezTo>
                  <a:pt x="146" y="22"/>
                  <a:pt x="145" y="21"/>
                  <a:pt x="144" y="21"/>
                </a:cubicBezTo>
                <a:cubicBezTo>
                  <a:pt x="64" y="21"/>
                  <a:pt x="64" y="21"/>
                  <a:pt x="64" y="21"/>
                </a:cubicBezTo>
                <a:cubicBezTo>
                  <a:pt x="64" y="11"/>
                  <a:pt x="64" y="11"/>
                  <a:pt x="64" y="11"/>
                </a:cubicBezTo>
                <a:cubicBezTo>
                  <a:pt x="64" y="9"/>
                  <a:pt x="63" y="8"/>
                  <a:pt x="61" y="8"/>
                </a:cubicBezTo>
                <a:cubicBezTo>
                  <a:pt x="5" y="8"/>
                  <a:pt x="5" y="8"/>
                  <a:pt x="5" y="8"/>
                </a:cubicBezTo>
                <a:cubicBezTo>
                  <a:pt x="5" y="3"/>
                  <a:pt x="5" y="3"/>
                  <a:pt x="5" y="3"/>
                </a:cubicBezTo>
                <a:cubicBezTo>
                  <a:pt x="5" y="1"/>
                  <a:pt x="4" y="0"/>
                  <a:pt x="3" y="0"/>
                </a:cubicBezTo>
                <a:cubicBezTo>
                  <a:pt x="1" y="0"/>
                  <a:pt x="0" y="1"/>
                  <a:pt x="0" y="3"/>
                </a:cubicBezTo>
                <a:cubicBezTo>
                  <a:pt x="0" y="11"/>
                  <a:pt x="0" y="11"/>
                  <a:pt x="0" y="11"/>
                </a:cubicBezTo>
                <a:cubicBezTo>
                  <a:pt x="0" y="88"/>
                  <a:pt x="0" y="88"/>
                  <a:pt x="0" y="88"/>
                </a:cubicBezTo>
                <a:cubicBezTo>
                  <a:pt x="0" y="157"/>
                  <a:pt x="0" y="157"/>
                  <a:pt x="0" y="157"/>
                </a:cubicBezTo>
                <a:cubicBezTo>
                  <a:pt x="0" y="159"/>
                  <a:pt x="1" y="160"/>
                  <a:pt x="3" y="160"/>
                </a:cubicBezTo>
                <a:cubicBezTo>
                  <a:pt x="4" y="160"/>
                  <a:pt x="5" y="159"/>
                  <a:pt x="5" y="157"/>
                </a:cubicBezTo>
                <a:cubicBezTo>
                  <a:pt x="5" y="91"/>
                  <a:pt x="5" y="91"/>
                  <a:pt x="5" y="91"/>
                </a:cubicBezTo>
                <a:cubicBezTo>
                  <a:pt x="35" y="91"/>
                  <a:pt x="35" y="91"/>
                  <a:pt x="35" y="91"/>
                </a:cubicBezTo>
                <a:cubicBezTo>
                  <a:pt x="33" y="93"/>
                  <a:pt x="32" y="96"/>
                  <a:pt x="32" y="99"/>
                </a:cubicBezTo>
                <a:cubicBezTo>
                  <a:pt x="32" y="106"/>
                  <a:pt x="38" y="112"/>
                  <a:pt x="45" y="112"/>
                </a:cubicBezTo>
                <a:cubicBezTo>
                  <a:pt x="144" y="112"/>
                  <a:pt x="144" y="112"/>
                  <a:pt x="144" y="112"/>
                </a:cubicBezTo>
                <a:cubicBezTo>
                  <a:pt x="145" y="112"/>
                  <a:pt x="146" y="111"/>
                  <a:pt x="146" y="111"/>
                </a:cubicBezTo>
                <a:cubicBezTo>
                  <a:pt x="147" y="110"/>
                  <a:pt x="147" y="109"/>
                  <a:pt x="146" y="108"/>
                </a:cubicBezTo>
                <a:lnTo>
                  <a:pt x="118" y="67"/>
                </a:lnTo>
                <a:close/>
                <a:moveTo>
                  <a:pt x="5" y="13"/>
                </a:moveTo>
                <a:cubicBezTo>
                  <a:pt x="59" y="13"/>
                  <a:pt x="59" y="13"/>
                  <a:pt x="59" y="13"/>
                </a:cubicBezTo>
                <a:cubicBezTo>
                  <a:pt x="59" y="24"/>
                  <a:pt x="59" y="24"/>
                  <a:pt x="59" y="24"/>
                </a:cubicBezTo>
                <a:cubicBezTo>
                  <a:pt x="59" y="85"/>
                  <a:pt x="59" y="85"/>
                  <a:pt x="59" y="85"/>
                </a:cubicBezTo>
                <a:cubicBezTo>
                  <a:pt x="45" y="85"/>
                  <a:pt x="45" y="85"/>
                  <a:pt x="45" y="85"/>
                </a:cubicBezTo>
                <a:cubicBezTo>
                  <a:pt x="5" y="85"/>
                  <a:pt x="5" y="85"/>
                  <a:pt x="5" y="85"/>
                </a:cubicBezTo>
                <a:lnTo>
                  <a:pt x="5" y="13"/>
                </a:lnTo>
                <a:close/>
                <a:moveTo>
                  <a:pt x="45" y="107"/>
                </a:moveTo>
                <a:cubicBezTo>
                  <a:pt x="41" y="107"/>
                  <a:pt x="37" y="103"/>
                  <a:pt x="37" y="99"/>
                </a:cubicBezTo>
                <a:cubicBezTo>
                  <a:pt x="37" y="94"/>
                  <a:pt x="41" y="91"/>
                  <a:pt x="45" y="91"/>
                </a:cubicBezTo>
                <a:cubicBezTo>
                  <a:pt x="61" y="91"/>
                  <a:pt x="61" y="91"/>
                  <a:pt x="61" y="91"/>
                </a:cubicBezTo>
                <a:cubicBezTo>
                  <a:pt x="63" y="91"/>
                  <a:pt x="64" y="89"/>
                  <a:pt x="64" y="88"/>
                </a:cubicBezTo>
                <a:cubicBezTo>
                  <a:pt x="64" y="27"/>
                  <a:pt x="64" y="27"/>
                  <a:pt x="64" y="27"/>
                </a:cubicBezTo>
                <a:cubicBezTo>
                  <a:pt x="139" y="27"/>
                  <a:pt x="139" y="27"/>
                  <a:pt x="139" y="27"/>
                </a:cubicBezTo>
                <a:cubicBezTo>
                  <a:pt x="112" y="65"/>
                  <a:pt x="112" y="65"/>
                  <a:pt x="112" y="65"/>
                </a:cubicBezTo>
                <a:cubicBezTo>
                  <a:pt x="112" y="66"/>
                  <a:pt x="112" y="67"/>
                  <a:pt x="112" y="68"/>
                </a:cubicBezTo>
                <a:cubicBezTo>
                  <a:pt x="139" y="107"/>
                  <a:pt x="139" y="107"/>
                  <a:pt x="139" y="107"/>
                </a:cubicBezTo>
                <a:lnTo>
                  <a:pt x="45" y="107"/>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2078">
            <a:extLst>
              <a:ext uri="{FF2B5EF4-FFF2-40B4-BE49-F238E27FC236}">
                <a16:creationId xmlns:a16="http://schemas.microsoft.com/office/drawing/2014/main" id="{A49C9EA8-07BE-2B4A-AE70-87D73C391A47}"/>
              </a:ext>
            </a:extLst>
          </p:cNvPr>
          <p:cNvSpPr>
            <a:spLocks noEditPoints="1"/>
          </p:cNvSpPr>
          <p:nvPr/>
        </p:nvSpPr>
        <p:spPr bwMode="auto">
          <a:xfrm>
            <a:off x="1633534" y="365125"/>
            <a:ext cx="400050" cy="550863"/>
          </a:xfrm>
          <a:custGeom>
            <a:avLst/>
            <a:gdLst>
              <a:gd name="T0" fmla="*/ 116 w 117"/>
              <a:gd name="T1" fmla="*/ 60 h 160"/>
              <a:gd name="T2" fmla="*/ 5 w 117"/>
              <a:gd name="T3" fmla="*/ 9 h 160"/>
              <a:gd name="T4" fmla="*/ 5 w 117"/>
              <a:gd name="T5" fmla="*/ 3 h 160"/>
              <a:gd name="T6" fmla="*/ 3 w 117"/>
              <a:gd name="T7" fmla="*/ 0 h 160"/>
              <a:gd name="T8" fmla="*/ 0 w 117"/>
              <a:gd name="T9" fmla="*/ 3 h 160"/>
              <a:gd name="T10" fmla="*/ 0 w 117"/>
              <a:gd name="T11" fmla="*/ 11 h 160"/>
              <a:gd name="T12" fmla="*/ 0 w 117"/>
              <a:gd name="T13" fmla="*/ 99 h 160"/>
              <a:gd name="T14" fmla="*/ 0 w 117"/>
              <a:gd name="T15" fmla="*/ 107 h 160"/>
              <a:gd name="T16" fmla="*/ 0 w 117"/>
              <a:gd name="T17" fmla="*/ 157 h 160"/>
              <a:gd name="T18" fmla="*/ 3 w 117"/>
              <a:gd name="T19" fmla="*/ 160 h 160"/>
              <a:gd name="T20" fmla="*/ 5 w 117"/>
              <a:gd name="T21" fmla="*/ 157 h 160"/>
              <a:gd name="T22" fmla="*/ 5 w 117"/>
              <a:gd name="T23" fmla="*/ 108 h 160"/>
              <a:gd name="T24" fmla="*/ 116 w 117"/>
              <a:gd name="T25" fmla="*/ 65 h 160"/>
              <a:gd name="T26" fmla="*/ 117 w 117"/>
              <a:gd name="T27" fmla="*/ 63 h 160"/>
              <a:gd name="T28" fmla="*/ 116 w 117"/>
              <a:gd name="T29" fmla="*/ 60 h 160"/>
              <a:gd name="T30" fmla="*/ 5 w 117"/>
              <a:gd name="T31" fmla="*/ 103 h 160"/>
              <a:gd name="T32" fmla="*/ 5 w 117"/>
              <a:gd name="T33" fmla="*/ 99 h 160"/>
              <a:gd name="T34" fmla="*/ 5 w 117"/>
              <a:gd name="T35" fmla="*/ 15 h 160"/>
              <a:gd name="T36" fmla="*/ 108 w 117"/>
              <a:gd name="T37" fmla="*/ 62 h 160"/>
              <a:gd name="T38" fmla="*/ 5 w 117"/>
              <a:gd name="T39" fmla="*/ 10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60">
                <a:moveTo>
                  <a:pt x="116" y="60"/>
                </a:moveTo>
                <a:cubicBezTo>
                  <a:pt x="5" y="9"/>
                  <a:pt x="5" y="9"/>
                  <a:pt x="5" y="9"/>
                </a:cubicBezTo>
                <a:cubicBezTo>
                  <a:pt x="5" y="3"/>
                  <a:pt x="5" y="3"/>
                  <a:pt x="5" y="3"/>
                </a:cubicBezTo>
                <a:cubicBezTo>
                  <a:pt x="5" y="1"/>
                  <a:pt x="4" y="0"/>
                  <a:pt x="3" y="0"/>
                </a:cubicBezTo>
                <a:cubicBezTo>
                  <a:pt x="1" y="0"/>
                  <a:pt x="0" y="1"/>
                  <a:pt x="0" y="3"/>
                </a:cubicBezTo>
                <a:cubicBezTo>
                  <a:pt x="0" y="11"/>
                  <a:pt x="0" y="11"/>
                  <a:pt x="0" y="11"/>
                </a:cubicBezTo>
                <a:cubicBezTo>
                  <a:pt x="0" y="99"/>
                  <a:pt x="0" y="99"/>
                  <a:pt x="0" y="99"/>
                </a:cubicBezTo>
                <a:cubicBezTo>
                  <a:pt x="0" y="107"/>
                  <a:pt x="0" y="107"/>
                  <a:pt x="0" y="107"/>
                </a:cubicBezTo>
                <a:cubicBezTo>
                  <a:pt x="0" y="157"/>
                  <a:pt x="0" y="157"/>
                  <a:pt x="0" y="157"/>
                </a:cubicBezTo>
                <a:cubicBezTo>
                  <a:pt x="0" y="159"/>
                  <a:pt x="1" y="160"/>
                  <a:pt x="3" y="160"/>
                </a:cubicBezTo>
                <a:cubicBezTo>
                  <a:pt x="4" y="160"/>
                  <a:pt x="5" y="159"/>
                  <a:pt x="5" y="157"/>
                </a:cubicBezTo>
                <a:cubicBezTo>
                  <a:pt x="5" y="108"/>
                  <a:pt x="5" y="108"/>
                  <a:pt x="5" y="108"/>
                </a:cubicBezTo>
                <a:cubicBezTo>
                  <a:pt x="116" y="65"/>
                  <a:pt x="116" y="65"/>
                  <a:pt x="116" y="65"/>
                </a:cubicBezTo>
                <a:cubicBezTo>
                  <a:pt x="117" y="65"/>
                  <a:pt x="117" y="64"/>
                  <a:pt x="117" y="63"/>
                </a:cubicBezTo>
                <a:cubicBezTo>
                  <a:pt x="117" y="62"/>
                  <a:pt x="117" y="61"/>
                  <a:pt x="116" y="60"/>
                </a:cubicBezTo>
                <a:close/>
                <a:moveTo>
                  <a:pt x="5" y="103"/>
                </a:moveTo>
                <a:cubicBezTo>
                  <a:pt x="5" y="99"/>
                  <a:pt x="5" y="99"/>
                  <a:pt x="5" y="99"/>
                </a:cubicBezTo>
                <a:cubicBezTo>
                  <a:pt x="5" y="15"/>
                  <a:pt x="5" y="15"/>
                  <a:pt x="5" y="15"/>
                </a:cubicBezTo>
                <a:cubicBezTo>
                  <a:pt x="108" y="62"/>
                  <a:pt x="108" y="62"/>
                  <a:pt x="108" y="62"/>
                </a:cubicBezTo>
                <a:lnTo>
                  <a:pt x="5" y="103"/>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2079">
            <a:extLst>
              <a:ext uri="{FF2B5EF4-FFF2-40B4-BE49-F238E27FC236}">
                <a16:creationId xmlns:a16="http://schemas.microsoft.com/office/drawing/2014/main" id="{E58B44A4-09B0-FB40-AA46-818ADF0D76F3}"/>
              </a:ext>
            </a:extLst>
          </p:cNvPr>
          <p:cNvSpPr>
            <a:spLocks noEditPoints="1"/>
          </p:cNvSpPr>
          <p:nvPr/>
        </p:nvSpPr>
        <p:spPr bwMode="auto">
          <a:xfrm>
            <a:off x="1565271" y="984250"/>
            <a:ext cx="536575" cy="550863"/>
          </a:xfrm>
          <a:custGeom>
            <a:avLst/>
            <a:gdLst>
              <a:gd name="T0" fmla="*/ 136 w 157"/>
              <a:gd name="T1" fmla="*/ 58 h 160"/>
              <a:gd name="T2" fmla="*/ 79 w 157"/>
              <a:gd name="T3" fmla="*/ 35 h 160"/>
              <a:gd name="T4" fmla="*/ 21 w 157"/>
              <a:gd name="T5" fmla="*/ 58 h 160"/>
              <a:gd name="T6" fmla="*/ 0 w 157"/>
              <a:gd name="T7" fmla="*/ 80 h 160"/>
              <a:gd name="T8" fmla="*/ 21 w 157"/>
              <a:gd name="T9" fmla="*/ 100 h 160"/>
              <a:gd name="T10" fmla="*/ 78 w 157"/>
              <a:gd name="T11" fmla="*/ 124 h 160"/>
              <a:gd name="T12" fmla="*/ 136 w 157"/>
              <a:gd name="T13" fmla="*/ 100 h 160"/>
              <a:gd name="T14" fmla="*/ 157 w 157"/>
              <a:gd name="T15" fmla="*/ 79 h 160"/>
              <a:gd name="T16" fmla="*/ 136 w 157"/>
              <a:gd name="T17" fmla="*/ 58 h 160"/>
              <a:gd name="T18" fmla="*/ 132 w 157"/>
              <a:gd name="T19" fmla="*/ 96 h 160"/>
              <a:gd name="T20" fmla="*/ 78 w 157"/>
              <a:gd name="T21" fmla="*/ 119 h 160"/>
              <a:gd name="T22" fmla="*/ 24 w 157"/>
              <a:gd name="T23" fmla="*/ 96 h 160"/>
              <a:gd name="T24" fmla="*/ 8 w 157"/>
              <a:gd name="T25" fmla="*/ 80 h 160"/>
              <a:gd name="T26" fmla="*/ 25 w 157"/>
              <a:gd name="T27" fmla="*/ 62 h 160"/>
              <a:gd name="T28" fmla="*/ 79 w 157"/>
              <a:gd name="T29" fmla="*/ 40 h 160"/>
              <a:gd name="T30" fmla="*/ 132 w 157"/>
              <a:gd name="T31" fmla="*/ 62 h 160"/>
              <a:gd name="T32" fmla="*/ 149 w 157"/>
              <a:gd name="T33" fmla="*/ 79 h 160"/>
              <a:gd name="T34" fmla="*/ 132 w 157"/>
              <a:gd name="T35" fmla="*/ 96 h 160"/>
              <a:gd name="T36" fmla="*/ 77 w 157"/>
              <a:gd name="T37" fmla="*/ 45 h 160"/>
              <a:gd name="T38" fmla="*/ 43 w 157"/>
              <a:gd name="T39" fmla="*/ 79 h 160"/>
              <a:gd name="T40" fmla="*/ 77 w 157"/>
              <a:gd name="T41" fmla="*/ 114 h 160"/>
              <a:gd name="T42" fmla="*/ 112 w 157"/>
              <a:gd name="T43" fmla="*/ 79 h 160"/>
              <a:gd name="T44" fmla="*/ 77 w 157"/>
              <a:gd name="T45" fmla="*/ 45 h 160"/>
              <a:gd name="T46" fmla="*/ 77 w 157"/>
              <a:gd name="T47" fmla="*/ 108 h 160"/>
              <a:gd name="T48" fmla="*/ 49 w 157"/>
              <a:gd name="T49" fmla="*/ 79 h 160"/>
              <a:gd name="T50" fmla="*/ 77 w 157"/>
              <a:gd name="T51" fmla="*/ 51 h 160"/>
              <a:gd name="T52" fmla="*/ 106 w 157"/>
              <a:gd name="T53" fmla="*/ 79 h 160"/>
              <a:gd name="T54" fmla="*/ 77 w 157"/>
              <a:gd name="T55" fmla="*/ 108 h 160"/>
              <a:gd name="T56" fmla="*/ 66 w 157"/>
              <a:gd name="T57" fmla="*/ 21 h 160"/>
              <a:gd name="T58" fmla="*/ 66 w 157"/>
              <a:gd name="T59" fmla="*/ 17 h 160"/>
              <a:gd name="T60" fmla="*/ 70 w 157"/>
              <a:gd name="T61" fmla="*/ 17 h 160"/>
              <a:gd name="T62" fmla="*/ 76 w 157"/>
              <a:gd name="T63" fmla="*/ 23 h 160"/>
              <a:gd name="T64" fmla="*/ 76 w 157"/>
              <a:gd name="T65" fmla="*/ 3 h 160"/>
              <a:gd name="T66" fmla="*/ 78 w 157"/>
              <a:gd name="T67" fmla="*/ 0 h 160"/>
              <a:gd name="T68" fmla="*/ 81 w 157"/>
              <a:gd name="T69" fmla="*/ 3 h 160"/>
              <a:gd name="T70" fmla="*/ 81 w 157"/>
              <a:gd name="T71" fmla="*/ 23 h 160"/>
              <a:gd name="T72" fmla="*/ 87 w 157"/>
              <a:gd name="T73" fmla="*/ 17 h 160"/>
              <a:gd name="T74" fmla="*/ 91 w 157"/>
              <a:gd name="T75" fmla="*/ 17 h 160"/>
              <a:gd name="T76" fmla="*/ 91 w 157"/>
              <a:gd name="T77" fmla="*/ 21 h 160"/>
              <a:gd name="T78" fmla="*/ 80 w 157"/>
              <a:gd name="T79" fmla="*/ 31 h 160"/>
              <a:gd name="T80" fmla="*/ 79 w 157"/>
              <a:gd name="T81" fmla="*/ 32 h 160"/>
              <a:gd name="T82" fmla="*/ 78 w 157"/>
              <a:gd name="T83" fmla="*/ 32 h 160"/>
              <a:gd name="T84" fmla="*/ 77 w 157"/>
              <a:gd name="T85" fmla="*/ 32 h 160"/>
              <a:gd name="T86" fmla="*/ 76 w 157"/>
              <a:gd name="T87" fmla="*/ 31 h 160"/>
              <a:gd name="T88" fmla="*/ 66 w 157"/>
              <a:gd name="T89" fmla="*/ 21 h 160"/>
              <a:gd name="T90" fmla="*/ 91 w 157"/>
              <a:gd name="T91" fmla="*/ 139 h 160"/>
              <a:gd name="T92" fmla="*/ 91 w 157"/>
              <a:gd name="T93" fmla="*/ 143 h 160"/>
              <a:gd name="T94" fmla="*/ 89 w 157"/>
              <a:gd name="T95" fmla="*/ 144 h 160"/>
              <a:gd name="T96" fmla="*/ 87 w 157"/>
              <a:gd name="T97" fmla="*/ 143 h 160"/>
              <a:gd name="T98" fmla="*/ 81 w 157"/>
              <a:gd name="T99" fmla="*/ 137 h 160"/>
              <a:gd name="T100" fmla="*/ 81 w 157"/>
              <a:gd name="T101" fmla="*/ 157 h 160"/>
              <a:gd name="T102" fmla="*/ 78 w 157"/>
              <a:gd name="T103" fmla="*/ 160 h 160"/>
              <a:gd name="T104" fmla="*/ 76 w 157"/>
              <a:gd name="T105" fmla="*/ 157 h 160"/>
              <a:gd name="T106" fmla="*/ 76 w 157"/>
              <a:gd name="T107" fmla="*/ 137 h 160"/>
              <a:gd name="T108" fmla="*/ 70 w 157"/>
              <a:gd name="T109" fmla="*/ 143 h 160"/>
              <a:gd name="T110" fmla="*/ 68 w 157"/>
              <a:gd name="T111" fmla="*/ 144 h 160"/>
              <a:gd name="T112" fmla="*/ 66 w 157"/>
              <a:gd name="T113" fmla="*/ 143 h 160"/>
              <a:gd name="T114" fmla="*/ 66 w 157"/>
              <a:gd name="T115" fmla="*/ 139 h 160"/>
              <a:gd name="T116" fmla="*/ 76 w 157"/>
              <a:gd name="T117" fmla="*/ 129 h 160"/>
              <a:gd name="T118" fmla="*/ 77 w 157"/>
              <a:gd name="T119" fmla="*/ 128 h 160"/>
              <a:gd name="T120" fmla="*/ 79 w 157"/>
              <a:gd name="T121" fmla="*/ 128 h 160"/>
              <a:gd name="T122" fmla="*/ 80 w 157"/>
              <a:gd name="T123" fmla="*/ 129 h 160"/>
              <a:gd name="T124" fmla="*/ 91 w 157"/>
              <a:gd name="T125"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 h="160">
                <a:moveTo>
                  <a:pt x="136" y="58"/>
                </a:moveTo>
                <a:cubicBezTo>
                  <a:pt x="121" y="43"/>
                  <a:pt x="100" y="35"/>
                  <a:pt x="79" y="35"/>
                </a:cubicBezTo>
                <a:cubicBezTo>
                  <a:pt x="57" y="35"/>
                  <a:pt x="37" y="43"/>
                  <a:pt x="21" y="58"/>
                </a:cubicBezTo>
                <a:cubicBezTo>
                  <a:pt x="0" y="80"/>
                  <a:pt x="0" y="80"/>
                  <a:pt x="0" y="80"/>
                </a:cubicBezTo>
                <a:cubicBezTo>
                  <a:pt x="21" y="100"/>
                  <a:pt x="21" y="100"/>
                  <a:pt x="21" y="100"/>
                </a:cubicBezTo>
                <a:cubicBezTo>
                  <a:pt x="36" y="116"/>
                  <a:pt x="56" y="124"/>
                  <a:pt x="78" y="124"/>
                </a:cubicBezTo>
                <a:cubicBezTo>
                  <a:pt x="100" y="124"/>
                  <a:pt x="120" y="116"/>
                  <a:pt x="136" y="100"/>
                </a:cubicBezTo>
                <a:cubicBezTo>
                  <a:pt x="157" y="79"/>
                  <a:pt x="157" y="79"/>
                  <a:pt x="157" y="79"/>
                </a:cubicBezTo>
                <a:lnTo>
                  <a:pt x="136" y="58"/>
                </a:lnTo>
                <a:close/>
                <a:moveTo>
                  <a:pt x="132" y="96"/>
                </a:moveTo>
                <a:cubicBezTo>
                  <a:pt x="117" y="111"/>
                  <a:pt x="98" y="119"/>
                  <a:pt x="78" y="119"/>
                </a:cubicBezTo>
                <a:cubicBezTo>
                  <a:pt x="58" y="119"/>
                  <a:pt x="39" y="111"/>
                  <a:pt x="24" y="96"/>
                </a:cubicBezTo>
                <a:cubicBezTo>
                  <a:pt x="8" y="80"/>
                  <a:pt x="8" y="80"/>
                  <a:pt x="8" y="80"/>
                </a:cubicBezTo>
                <a:cubicBezTo>
                  <a:pt x="25" y="62"/>
                  <a:pt x="25" y="62"/>
                  <a:pt x="25" y="62"/>
                </a:cubicBezTo>
                <a:cubicBezTo>
                  <a:pt x="39" y="48"/>
                  <a:pt x="58" y="40"/>
                  <a:pt x="79" y="40"/>
                </a:cubicBezTo>
                <a:cubicBezTo>
                  <a:pt x="99" y="40"/>
                  <a:pt x="118" y="48"/>
                  <a:pt x="132" y="62"/>
                </a:cubicBezTo>
                <a:cubicBezTo>
                  <a:pt x="149" y="79"/>
                  <a:pt x="149" y="79"/>
                  <a:pt x="149" y="79"/>
                </a:cubicBezTo>
                <a:lnTo>
                  <a:pt x="132" y="96"/>
                </a:lnTo>
                <a:close/>
                <a:moveTo>
                  <a:pt x="77" y="45"/>
                </a:moveTo>
                <a:cubicBezTo>
                  <a:pt x="59" y="45"/>
                  <a:pt x="43" y="61"/>
                  <a:pt x="43" y="79"/>
                </a:cubicBezTo>
                <a:cubicBezTo>
                  <a:pt x="43" y="98"/>
                  <a:pt x="59" y="114"/>
                  <a:pt x="77" y="114"/>
                </a:cubicBezTo>
                <a:cubicBezTo>
                  <a:pt x="96" y="114"/>
                  <a:pt x="112" y="98"/>
                  <a:pt x="112" y="79"/>
                </a:cubicBezTo>
                <a:cubicBezTo>
                  <a:pt x="112" y="61"/>
                  <a:pt x="96" y="45"/>
                  <a:pt x="77" y="45"/>
                </a:cubicBezTo>
                <a:close/>
                <a:moveTo>
                  <a:pt x="77" y="108"/>
                </a:moveTo>
                <a:cubicBezTo>
                  <a:pt x="62" y="108"/>
                  <a:pt x="49" y="95"/>
                  <a:pt x="49" y="79"/>
                </a:cubicBezTo>
                <a:cubicBezTo>
                  <a:pt x="49" y="64"/>
                  <a:pt x="62" y="51"/>
                  <a:pt x="77" y="51"/>
                </a:cubicBezTo>
                <a:cubicBezTo>
                  <a:pt x="93" y="51"/>
                  <a:pt x="106" y="64"/>
                  <a:pt x="106" y="79"/>
                </a:cubicBezTo>
                <a:cubicBezTo>
                  <a:pt x="106" y="95"/>
                  <a:pt x="93" y="108"/>
                  <a:pt x="77" y="108"/>
                </a:cubicBezTo>
                <a:close/>
                <a:moveTo>
                  <a:pt x="66" y="21"/>
                </a:moveTo>
                <a:cubicBezTo>
                  <a:pt x="65" y="20"/>
                  <a:pt x="65" y="18"/>
                  <a:pt x="66" y="17"/>
                </a:cubicBezTo>
                <a:cubicBezTo>
                  <a:pt x="67" y="16"/>
                  <a:pt x="68" y="16"/>
                  <a:pt x="70" y="17"/>
                </a:cubicBezTo>
                <a:cubicBezTo>
                  <a:pt x="76" y="23"/>
                  <a:pt x="76" y="23"/>
                  <a:pt x="76" y="23"/>
                </a:cubicBezTo>
                <a:cubicBezTo>
                  <a:pt x="76" y="3"/>
                  <a:pt x="76" y="3"/>
                  <a:pt x="76" y="3"/>
                </a:cubicBezTo>
                <a:cubicBezTo>
                  <a:pt x="76" y="1"/>
                  <a:pt x="77" y="0"/>
                  <a:pt x="78" y="0"/>
                </a:cubicBezTo>
                <a:cubicBezTo>
                  <a:pt x="80" y="0"/>
                  <a:pt x="81" y="1"/>
                  <a:pt x="81" y="3"/>
                </a:cubicBezTo>
                <a:cubicBezTo>
                  <a:pt x="81" y="23"/>
                  <a:pt x="81" y="23"/>
                  <a:pt x="81" y="23"/>
                </a:cubicBezTo>
                <a:cubicBezTo>
                  <a:pt x="87" y="17"/>
                  <a:pt x="87" y="17"/>
                  <a:pt x="87" y="17"/>
                </a:cubicBezTo>
                <a:cubicBezTo>
                  <a:pt x="88" y="16"/>
                  <a:pt x="90" y="16"/>
                  <a:pt x="91" y="17"/>
                </a:cubicBezTo>
                <a:cubicBezTo>
                  <a:pt x="92" y="18"/>
                  <a:pt x="92" y="20"/>
                  <a:pt x="91" y="21"/>
                </a:cubicBezTo>
                <a:cubicBezTo>
                  <a:pt x="80" y="31"/>
                  <a:pt x="80" y="31"/>
                  <a:pt x="80" y="31"/>
                </a:cubicBezTo>
                <a:cubicBezTo>
                  <a:pt x="80" y="31"/>
                  <a:pt x="80" y="32"/>
                  <a:pt x="79" y="32"/>
                </a:cubicBezTo>
                <a:cubicBezTo>
                  <a:pt x="79" y="32"/>
                  <a:pt x="79" y="32"/>
                  <a:pt x="78" y="32"/>
                </a:cubicBezTo>
                <a:cubicBezTo>
                  <a:pt x="78" y="32"/>
                  <a:pt x="78" y="32"/>
                  <a:pt x="77" y="32"/>
                </a:cubicBezTo>
                <a:cubicBezTo>
                  <a:pt x="77" y="32"/>
                  <a:pt x="77" y="31"/>
                  <a:pt x="76" y="31"/>
                </a:cubicBezTo>
                <a:lnTo>
                  <a:pt x="66" y="21"/>
                </a:lnTo>
                <a:close/>
                <a:moveTo>
                  <a:pt x="91" y="139"/>
                </a:moveTo>
                <a:cubicBezTo>
                  <a:pt x="92" y="140"/>
                  <a:pt x="92" y="142"/>
                  <a:pt x="91" y="143"/>
                </a:cubicBezTo>
                <a:cubicBezTo>
                  <a:pt x="90" y="144"/>
                  <a:pt x="90" y="144"/>
                  <a:pt x="89" y="144"/>
                </a:cubicBezTo>
                <a:cubicBezTo>
                  <a:pt x="88" y="144"/>
                  <a:pt x="88" y="144"/>
                  <a:pt x="87" y="143"/>
                </a:cubicBezTo>
                <a:cubicBezTo>
                  <a:pt x="81" y="137"/>
                  <a:pt x="81" y="137"/>
                  <a:pt x="81" y="137"/>
                </a:cubicBezTo>
                <a:cubicBezTo>
                  <a:pt x="81" y="157"/>
                  <a:pt x="81" y="157"/>
                  <a:pt x="81" y="157"/>
                </a:cubicBezTo>
                <a:cubicBezTo>
                  <a:pt x="81" y="159"/>
                  <a:pt x="80" y="160"/>
                  <a:pt x="78" y="160"/>
                </a:cubicBezTo>
                <a:cubicBezTo>
                  <a:pt x="77" y="160"/>
                  <a:pt x="76" y="159"/>
                  <a:pt x="76" y="157"/>
                </a:cubicBezTo>
                <a:cubicBezTo>
                  <a:pt x="76" y="137"/>
                  <a:pt x="76" y="137"/>
                  <a:pt x="76" y="137"/>
                </a:cubicBezTo>
                <a:cubicBezTo>
                  <a:pt x="70" y="143"/>
                  <a:pt x="70" y="143"/>
                  <a:pt x="70" y="143"/>
                </a:cubicBezTo>
                <a:cubicBezTo>
                  <a:pt x="69" y="144"/>
                  <a:pt x="68" y="144"/>
                  <a:pt x="68" y="144"/>
                </a:cubicBezTo>
                <a:cubicBezTo>
                  <a:pt x="67" y="144"/>
                  <a:pt x="66" y="144"/>
                  <a:pt x="66" y="143"/>
                </a:cubicBezTo>
                <a:cubicBezTo>
                  <a:pt x="65" y="142"/>
                  <a:pt x="65" y="140"/>
                  <a:pt x="66" y="139"/>
                </a:cubicBezTo>
                <a:cubicBezTo>
                  <a:pt x="76" y="129"/>
                  <a:pt x="76" y="129"/>
                  <a:pt x="76" y="129"/>
                </a:cubicBezTo>
                <a:cubicBezTo>
                  <a:pt x="77" y="129"/>
                  <a:pt x="77" y="128"/>
                  <a:pt x="77" y="128"/>
                </a:cubicBezTo>
                <a:cubicBezTo>
                  <a:pt x="78" y="128"/>
                  <a:pt x="79" y="128"/>
                  <a:pt x="79" y="128"/>
                </a:cubicBezTo>
                <a:cubicBezTo>
                  <a:pt x="80" y="128"/>
                  <a:pt x="80" y="129"/>
                  <a:pt x="80" y="129"/>
                </a:cubicBezTo>
                <a:lnTo>
                  <a:pt x="91" y="139"/>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2080">
            <a:extLst>
              <a:ext uri="{FF2B5EF4-FFF2-40B4-BE49-F238E27FC236}">
                <a16:creationId xmlns:a16="http://schemas.microsoft.com/office/drawing/2014/main" id="{1CEE294A-E5E1-E440-9CA6-EF6E772041BA}"/>
              </a:ext>
            </a:extLst>
          </p:cNvPr>
          <p:cNvSpPr>
            <a:spLocks noEditPoints="1"/>
          </p:cNvSpPr>
          <p:nvPr/>
        </p:nvSpPr>
        <p:spPr bwMode="auto">
          <a:xfrm>
            <a:off x="1565271" y="1630363"/>
            <a:ext cx="546100" cy="485775"/>
          </a:xfrm>
          <a:custGeom>
            <a:avLst/>
            <a:gdLst>
              <a:gd name="T0" fmla="*/ 71 w 160"/>
              <a:gd name="T1" fmla="*/ 19 h 141"/>
              <a:gd name="T2" fmla="*/ 58 w 160"/>
              <a:gd name="T3" fmla="*/ 1 h 141"/>
              <a:gd name="T4" fmla="*/ 57 w 160"/>
              <a:gd name="T5" fmla="*/ 0 h 141"/>
              <a:gd name="T6" fmla="*/ 0 w 160"/>
              <a:gd name="T7" fmla="*/ 0 h 141"/>
              <a:gd name="T8" fmla="*/ 0 w 160"/>
              <a:gd name="T9" fmla="*/ 141 h 141"/>
              <a:gd name="T10" fmla="*/ 160 w 160"/>
              <a:gd name="T11" fmla="*/ 141 h 141"/>
              <a:gd name="T12" fmla="*/ 160 w 160"/>
              <a:gd name="T13" fmla="*/ 19 h 141"/>
              <a:gd name="T14" fmla="*/ 71 w 160"/>
              <a:gd name="T15" fmla="*/ 19 h 141"/>
              <a:gd name="T16" fmla="*/ 155 w 160"/>
              <a:gd name="T17" fmla="*/ 24 h 141"/>
              <a:gd name="T18" fmla="*/ 155 w 160"/>
              <a:gd name="T19" fmla="*/ 37 h 141"/>
              <a:gd name="T20" fmla="*/ 84 w 160"/>
              <a:gd name="T21" fmla="*/ 37 h 141"/>
              <a:gd name="T22" fmla="*/ 75 w 160"/>
              <a:gd name="T23" fmla="*/ 24 h 141"/>
              <a:gd name="T24" fmla="*/ 155 w 160"/>
              <a:gd name="T25" fmla="*/ 24 h 141"/>
              <a:gd name="T26" fmla="*/ 5 w 160"/>
              <a:gd name="T27" fmla="*/ 136 h 141"/>
              <a:gd name="T28" fmla="*/ 5 w 160"/>
              <a:gd name="T29" fmla="*/ 5 h 141"/>
              <a:gd name="T30" fmla="*/ 55 w 160"/>
              <a:gd name="T31" fmla="*/ 5 h 141"/>
              <a:gd name="T32" fmla="*/ 68 w 160"/>
              <a:gd name="T33" fmla="*/ 24 h 141"/>
              <a:gd name="T34" fmla="*/ 68 w 160"/>
              <a:gd name="T35" fmla="*/ 24 h 141"/>
              <a:gd name="T36" fmla="*/ 80 w 160"/>
              <a:gd name="T37" fmla="*/ 41 h 141"/>
              <a:gd name="T38" fmla="*/ 83 w 160"/>
              <a:gd name="T39" fmla="*/ 43 h 141"/>
              <a:gd name="T40" fmla="*/ 83 w 160"/>
              <a:gd name="T41" fmla="*/ 43 h 141"/>
              <a:gd name="T42" fmla="*/ 155 w 160"/>
              <a:gd name="T43" fmla="*/ 43 h 141"/>
              <a:gd name="T44" fmla="*/ 155 w 160"/>
              <a:gd name="T45" fmla="*/ 136 h 141"/>
              <a:gd name="T46" fmla="*/ 5 w 160"/>
              <a:gd name="T47" fmla="*/ 136 h 141"/>
              <a:gd name="T48" fmla="*/ 48 w 160"/>
              <a:gd name="T49" fmla="*/ 69 h 141"/>
              <a:gd name="T50" fmla="*/ 51 w 160"/>
              <a:gd name="T51" fmla="*/ 67 h 141"/>
              <a:gd name="T52" fmla="*/ 88 w 160"/>
              <a:gd name="T53" fmla="*/ 67 h 141"/>
              <a:gd name="T54" fmla="*/ 91 w 160"/>
              <a:gd name="T55" fmla="*/ 69 h 141"/>
              <a:gd name="T56" fmla="*/ 88 w 160"/>
              <a:gd name="T57" fmla="*/ 72 h 141"/>
              <a:gd name="T58" fmla="*/ 51 w 160"/>
              <a:gd name="T59" fmla="*/ 72 h 141"/>
              <a:gd name="T60" fmla="*/ 48 w 160"/>
              <a:gd name="T61" fmla="*/ 69 h 141"/>
              <a:gd name="T62" fmla="*/ 112 w 160"/>
              <a:gd name="T63" fmla="*/ 85 h 141"/>
              <a:gd name="T64" fmla="*/ 109 w 160"/>
              <a:gd name="T65" fmla="*/ 88 h 141"/>
              <a:gd name="T66" fmla="*/ 51 w 160"/>
              <a:gd name="T67" fmla="*/ 88 h 141"/>
              <a:gd name="T68" fmla="*/ 48 w 160"/>
              <a:gd name="T69" fmla="*/ 85 h 141"/>
              <a:gd name="T70" fmla="*/ 51 w 160"/>
              <a:gd name="T71" fmla="*/ 83 h 141"/>
              <a:gd name="T72" fmla="*/ 109 w 160"/>
              <a:gd name="T73" fmla="*/ 83 h 141"/>
              <a:gd name="T74" fmla="*/ 112 w 160"/>
              <a:gd name="T75" fmla="*/ 85 h 141"/>
              <a:gd name="T76" fmla="*/ 112 w 160"/>
              <a:gd name="T77" fmla="*/ 101 h 141"/>
              <a:gd name="T78" fmla="*/ 109 w 160"/>
              <a:gd name="T79" fmla="*/ 104 h 141"/>
              <a:gd name="T80" fmla="*/ 51 w 160"/>
              <a:gd name="T81" fmla="*/ 104 h 141"/>
              <a:gd name="T82" fmla="*/ 48 w 160"/>
              <a:gd name="T83" fmla="*/ 101 h 141"/>
              <a:gd name="T84" fmla="*/ 51 w 160"/>
              <a:gd name="T85" fmla="*/ 99 h 141"/>
              <a:gd name="T86" fmla="*/ 109 w 160"/>
              <a:gd name="T87" fmla="*/ 99 h 141"/>
              <a:gd name="T88" fmla="*/ 112 w 160"/>
              <a:gd name="T89" fmla="*/ 10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141">
                <a:moveTo>
                  <a:pt x="71" y="19"/>
                </a:moveTo>
                <a:cubicBezTo>
                  <a:pt x="58" y="1"/>
                  <a:pt x="58" y="1"/>
                  <a:pt x="58" y="1"/>
                </a:cubicBezTo>
                <a:cubicBezTo>
                  <a:pt x="57" y="0"/>
                  <a:pt x="57" y="0"/>
                  <a:pt x="57" y="0"/>
                </a:cubicBezTo>
                <a:cubicBezTo>
                  <a:pt x="0" y="0"/>
                  <a:pt x="0" y="0"/>
                  <a:pt x="0" y="0"/>
                </a:cubicBezTo>
                <a:cubicBezTo>
                  <a:pt x="0" y="141"/>
                  <a:pt x="0" y="141"/>
                  <a:pt x="0" y="141"/>
                </a:cubicBezTo>
                <a:cubicBezTo>
                  <a:pt x="160" y="141"/>
                  <a:pt x="160" y="141"/>
                  <a:pt x="160" y="141"/>
                </a:cubicBezTo>
                <a:cubicBezTo>
                  <a:pt x="160" y="19"/>
                  <a:pt x="160" y="19"/>
                  <a:pt x="160" y="19"/>
                </a:cubicBezTo>
                <a:lnTo>
                  <a:pt x="71" y="19"/>
                </a:lnTo>
                <a:close/>
                <a:moveTo>
                  <a:pt x="155" y="24"/>
                </a:moveTo>
                <a:cubicBezTo>
                  <a:pt x="155" y="37"/>
                  <a:pt x="155" y="37"/>
                  <a:pt x="155" y="37"/>
                </a:cubicBezTo>
                <a:cubicBezTo>
                  <a:pt x="84" y="37"/>
                  <a:pt x="84" y="37"/>
                  <a:pt x="84" y="37"/>
                </a:cubicBezTo>
                <a:cubicBezTo>
                  <a:pt x="75" y="24"/>
                  <a:pt x="75" y="24"/>
                  <a:pt x="75" y="24"/>
                </a:cubicBezTo>
                <a:lnTo>
                  <a:pt x="155" y="24"/>
                </a:lnTo>
                <a:close/>
                <a:moveTo>
                  <a:pt x="5" y="136"/>
                </a:moveTo>
                <a:cubicBezTo>
                  <a:pt x="5" y="5"/>
                  <a:pt x="5" y="5"/>
                  <a:pt x="5" y="5"/>
                </a:cubicBezTo>
                <a:cubicBezTo>
                  <a:pt x="55" y="5"/>
                  <a:pt x="55" y="5"/>
                  <a:pt x="55" y="5"/>
                </a:cubicBezTo>
                <a:cubicBezTo>
                  <a:pt x="68" y="24"/>
                  <a:pt x="68" y="24"/>
                  <a:pt x="68" y="24"/>
                </a:cubicBezTo>
                <a:cubicBezTo>
                  <a:pt x="68" y="24"/>
                  <a:pt x="68" y="24"/>
                  <a:pt x="68" y="24"/>
                </a:cubicBezTo>
                <a:cubicBezTo>
                  <a:pt x="80" y="41"/>
                  <a:pt x="80" y="41"/>
                  <a:pt x="80" y="41"/>
                </a:cubicBezTo>
                <a:cubicBezTo>
                  <a:pt x="81" y="42"/>
                  <a:pt x="82" y="43"/>
                  <a:pt x="83" y="43"/>
                </a:cubicBezTo>
                <a:cubicBezTo>
                  <a:pt x="83" y="43"/>
                  <a:pt x="83" y="43"/>
                  <a:pt x="83" y="43"/>
                </a:cubicBezTo>
                <a:cubicBezTo>
                  <a:pt x="155" y="43"/>
                  <a:pt x="155" y="43"/>
                  <a:pt x="155" y="43"/>
                </a:cubicBezTo>
                <a:cubicBezTo>
                  <a:pt x="155" y="136"/>
                  <a:pt x="155" y="136"/>
                  <a:pt x="155" y="136"/>
                </a:cubicBezTo>
                <a:lnTo>
                  <a:pt x="5" y="136"/>
                </a:lnTo>
                <a:close/>
                <a:moveTo>
                  <a:pt x="48" y="69"/>
                </a:moveTo>
                <a:cubicBezTo>
                  <a:pt x="48" y="68"/>
                  <a:pt x="49" y="67"/>
                  <a:pt x="51" y="67"/>
                </a:cubicBezTo>
                <a:cubicBezTo>
                  <a:pt x="88" y="67"/>
                  <a:pt x="88" y="67"/>
                  <a:pt x="88" y="67"/>
                </a:cubicBezTo>
                <a:cubicBezTo>
                  <a:pt x="89" y="67"/>
                  <a:pt x="91" y="68"/>
                  <a:pt x="91" y="69"/>
                </a:cubicBezTo>
                <a:cubicBezTo>
                  <a:pt x="91" y="71"/>
                  <a:pt x="89" y="72"/>
                  <a:pt x="88" y="72"/>
                </a:cubicBezTo>
                <a:cubicBezTo>
                  <a:pt x="51" y="72"/>
                  <a:pt x="51" y="72"/>
                  <a:pt x="51" y="72"/>
                </a:cubicBezTo>
                <a:cubicBezTo>
                  <a:pt x="49" y="72"/>
                  <a:pt x="48" y="71"/>
                  <a:pt x="48" y="69"/>
                </a:cubicBezTo>
                <a:close/>
                <a:moveTo>
                  <a:pt x="112" y="85"/>
                </a:moveTo>
                <a:cubicBezTo>
                  <a:pt x="112" y="87"/>
                  <a:pt x="111" y="88"/>
                  <a:pt x="109" y="88"/>
                </a:cubicBezTo>
                <a:cubicBezTo>
                  <a:pt x="51" y="88"/>
                  <a:pt x="51" y="88"/>
                  <a:pt x="51" y="88"/>
                </a:cubicBezTo>
                <a:cubicBezTo>
                  <a:pt x="49" y="88"/>
                  <a:pt x="48" y="87"/>
                  <a:pt x="48" y="85"/>
                </a:cubicBezTo>
                <a:cubicBezTo>
                  <a:pt x="48" y="84"/>
                  <a:pt x="49" y="83"/>
                  <a:pt x="51" y="83"/>
                </a:cubicBezTo>
                <a:cubicBezTo>
                  <a:pt x="109" y="83"/>
                  <a:pt x="109" y="83"/>
                  <a:pt x="109" y="83"/>
                </a:cubicBezTo>
                <a:cubicBezTo>
                  <a:pt x="111" y="83"/>
                  <a:pt x="112" y="84"/>
                  <a:pt x="112" y="85"/>
                </a:cubicBezTo>
                <a:close/>
                <a:moveTo>
                  <a:pt x="112" y="101"/>
                </a:moveTo>
                <a:cubicBezTo>
                  <a:pt x="112" y="103"/>
                  <a:pt x="111" y="104"/>
                  <a:pt x="109" y="104"/>
                </a:cubicBezTo>
                <a:cubicBezTo>
                  <a:pt x="51" y="104"/>
                  <a:pt x="51" y="104"/>
                  <a:pt x="51" y="104"/>
                </a:cubicBezTo>
                <a:cubicBezTo>
                  <a:pt x="49" y="104"/>
                  <a:pt x="48" y="103"/>
                  <a:pt x="48" y="101"/>
                </a:cubicBezTo>
                <a:cubicBezTo>
                  <a:pt x="48" y="100"/>
                  <a:pt x="49" y="99"/>
                  <a:pt x="51" y="99"/>
                </a:cubicBezTo>
                <a:cubicBezTo>
                  <a:pt x="109" y="99"/>
                  <a:pt x="109" y="99"/>
                  <a:pt x="109" y="99"/>
                </a:cubicBezTo>
                <a:cubicBezTo>
                  <a:pt x="111" y="99"/>
                  <a:pt x="112" y="100"/>
                  <a:pt x="112" y="101"/>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2081">
            <a:extLst>
              <a:ext uri="{FF2B5EF4-FFF2-40B4-BE49-F238E27FC236}">
                <a16:creationId xmlns:a16="http://schemas.microsoft.com/office/drawing/2014/main" id="{C0169C5D-F62A-C04E-B6D1-CF915AE59B9E}"/>
              </a:ext>
            </a:extLst>
          </p:cNvPr>
          <p:cNvSpPr>
            <a:spLocks noEditPoints="1"/>
          </p:cNvSpPr>
          <p:nvPr/>
        </p:nvSpPr>
        <p:spPr bwMode="auto">
          <a:xfrm>
            <a:off x="1565271" y="2263775"/>
            <a:ext cx="546100" cy="450850"/>
          </a:xfrm>
          <a:custGeom>
            <a:avLst/>
            <a:gdLst>
              <a:gd name="T0" fmla="*/ 153 w 160"/>
              <a:gd name="T1" fmla="*/ 43 h 131"/>
              <a:gd name="T2" fmla="*/ 144 w 160"/>
              <a:gd name="T3" fmla="*/ 43 h 131"/>
              <a:gd name="T4" fmla="*/ 144 w 160"/>
              <a:gd name="T5" fmla="*/ 26 h 131"/>
              <a:gd name="T6" fmla="*/ 137 w 160"/>
              <a:gd name="T7" fmla="*/ 19 h 131"/>
              <a:gd name="T8" fmla="*/ 71 w 160"/>
              <a:gd name="T9" fmla="*/ 19 h 131"/>
              <a:gd name="T10" fmla="*/ 57 w 160"/>
              <a:gd name="T11" fmla="*/ 0 h 131"/>
              <a:gd name="T12" fmla="*/ 7 w 160"/>
              <a:gd name="T13" fmla="*/ 0 h 131"/>
              <a:gd name="T14" fmla="*/ 0 w 160"/>
              <a:gd name="T15" fmla="*/ 7 h 131"/>
              <a:gd name="T16" fmla="*/ 0 w 160"/>
              <a:gd name="T17" fmla="*/ 124 h 131"/>
              <a:gd name="T18" fmla="*/ 0 w 160"/>
              <a:gd name="T19" fmla="*/ 124 h 131"/>
              <a:gd name="T20" fmla="*/ 1 w 160"/>
              <a:gd name="T21" fmla="*/ 128 h 131"/>
              <a:gd name="T22" fmla="*/ 7 w 160"/>
              <a:gd name="T23" fmla="*/ 131 h 131"/>
              <a:gd name="T24" fmla="*/ 126 w 160"/>
              <a:gd name="T25" fmla="*/ 131 h 131"/>
              <a:gd name="T26" fmla="*/ 133 w 160"/>
              <a:gd name="T27" fmla="*/ 126 h 131"/>
              <a:gd name="T28" fmla="*/ 160 w 160"/>
              <a:gd name="T29" fmla="*/ 51 h 131"/>
              <a:gd name="T30" fmla="*/ 160 w 160"/>
              <a:gd name="T31" fmla="*/ 51 h 131"/>
              <a:gd name="T32" fmla="*/ 153 w 160"/>
              <a:gd name="T33" fmla="*/ 43 h 131"/>
              <a:gd name="T34" fmla="*/ 5 w 160"/>
              <a:gd name="T35" fmla="*/ 7 h 131"/>
              <a:gd name="T36" fmla="*/ 7 w 160"/>
              <a:gd name="T37" fmla="*/ 5 h 131"/>
              <a:gd name="T38" fmla="*/ 55 w 160"/>
              <a:gd name="T39" fmla="*/ 5 h 131"/>
              <a:gd name="T40" fmla="*/ 68 w 160"/>
              <a:gd name="T41" fmla="*/ 24 h 131"/>
              <a:gd name="T42" fmla="*/ 137 w 160"/>
              <a:gd name="T43" fmla="*/ 24 h 131"/>
              <a:gd name="T44" fmla="*/ 139 w 160"/>
              <a:gd name="T45" fmla="*/ 26 h 131"/>
              <a:gd name="T46" fmla="*/ 139 w 160"/>
              <a:gd name="T47" fmla="*/ 43 h 131"/>
              <a:gd name="T48" fmla="*/ 34 w 160"/>
              <a:gd name="T49" fmla="*/ 43 h 131"/>
              <a:gd name="T50" fmla="*/ 33 w 160"/>
              <a:gd name="T51" fmla="*/ 43 h 131"/>
              <a:gd name="T52" fmla="*/ 27 w 160"/>
              <a:gd name="T53" fmla="*/ 48 h 131"/>
              <a:gd name="T54" fmla="*/ 5 w 160"/>
              <a:gd name="T55" fmla="*/ 108 h 131"/>
              <a:gd name="T56" fmla="*/ 5 w 160"/>
              <a:gd name="T57" fmla="*/ 7 h 131"/>
              <a:gd name="T58" fmla="*/ 128 w 160"/>
              <a:gd name="T59" fmla="*/ 124 h 131"/>
              <a:gd name="T60" fmla="*/ 126 w 160"/>
              <a:gd name="T61" fmla="*/ 125 h 131"/>
              <a:gd name="T62" fmla="*/ 7 w 160"/>
              <a:gd name="T63" fmla="*/ 125 h 131"/>
              <a:gd name="T64" fmla="*/ 6 w 160"/>
              <a:gd name="T65" fmla="*/ 125 h 131"/>
              <a:gd name="T66" fmla="*/ 5 w 160"/>
              <a:gd name="T67" fmla="*/ 124 h 131"/>
              <a:gd name="T68" fmla="*/ 32 w 160"/>
              <a:gd name="T69" fmla="*/ 49 h 131"/>
              <a:gd name="T70" fmla="*/ 34 w 160"/>
              <a:gd name="T71" fmla="*/ 48 h 131"/>
              <a:gd name="T72" fmla="*/ 144 w 160"/>
              <a:gd name="T73" fmla="*/ 48 h 131"/>
              <a:gd name="T74" fmla="*/ 153 w 160"/>
              <a:gd name="T75" fmla="*/ 48 h 131"/>
              <a:gd name="T76" fmla="*/ 155 w 160"/>
              <a:gd name="T77" fmla="*/ 50 h 131"/>
              <a:gd name="T78" fmla="*/ 128 w 160"/>
              <a:gd name="T79" fmla="*/ 12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31">
                <a:moveTo>
                  <a:pt x="153" y="43"/>
                </a:moveTo>
                <a:cubicBezTo>
                  <a:pt x="144" y="43"/>
                  <a:pt x="144" y="43"/>
                  <a:pt x="144" y="43"/>
                </a:cubicBezTo>
                <a:cubicBezTo>
                  <a:pt x="144" y="26"/>
                  <a:pt x="144" y="26"/>
                  <a:pt x="144" y="26"/>
                </a:cubicBezTo>
                <a:cubicBezTo>
                  <a:pt x="144" y="22"/>
                  <a:pt x="141" y="19"/>
                  <a:pt x="137" y="19"/>
                </a:cubicBezTo>
                <a:cubicBezTo>
                  <a:pt x="71" y="19"/>
                  <a:pt x="71" y="19"/>
                  <a:pt x="71" y="19"/>
                </a:cubicBezTo>
                <a:cubicBezTo>
                  <a:pt x="57" y="0"/>
                  <a:pt x="57" y="0"/>
                  <a:pt x="57" y="0"/>
                </a:cubicBezTo>
                <a:cubicBezTo>
                  <a:pt x="7" y="0"/>
                  <a:pt x="7" y="0"/>
                  <a:pt x="7" y="0"/>
                </a:cubicBezTo>
                <a:cubicBezTo>
                  <a:pt x="3" y="0"/>
                  <a:pt x="0" y="3"/>
                  <a:pt x="0" y="7"/>
                </a:cubicBezTo>
                <a:cubicBezTo>
                  <a:pt x="0" y="124"/>
                  <a:pt x="0" y="124"/>
                  <a:pt x="0" y="124"/>
                </a:cubicBezTo>
                <a:cubicBezTo>
                  <a:pt x="0" y="124"/>
                  <a:pt x="0" y="124"/>
                  <a:pt x="0" y="124"/>
                </a:cubicBezTo>
                <a:cubicBezTo>
                  <a:pt x="0" y="125"/>
                  <a:pt x="0" y="127"/>
                  <a:pt x="1" y="128"/>
                </a:cubicBezTo>
                <a:cubicBezTo>
                  <a:pt x="3" y="130"/>
                  <a:pt x="5" y="131"/>
                  <a:pt x="7" y="131"/>
                </a:cubicBezTo>
                <a:cubicBezTo>
                  <a:pt x="126" y="131"/>
                  <a:pt x="126" y="131"/>
                  <a:pt x="126" y="131"/>
                </a:cubicBezTo>
                <a:cubicBezTo>
                  <a:pt x="129" y="131"/>
                  <a:pt x="132" y="129"/>
                  <a:pt x="133" y="126"/>
                </a:cubicBezTo>
                <a:cubicBezTo>
                  <a:pt x="160" y="51"/>
                  <a:pt x="160" y="51"/>
                  <a:pt x="160" y="51"/>
                </a:cubicBezTo>
                <a:cubicBezTo>
                  <a:pt x="160" y="51"/>
                  <a:pt x="160" y="51"/>
                  <a:pt x="160" y="51"/>
                </a:cubicBezTo>
                <a:cubicBezTo>
                  <a:pt x="160" y="46"/>
                  <a:pt x="157" y="43"/>
                  <a:pt x="153" y="43"/>
                </a:cubicBezTo>
                <a:close/>
                <a:moveTo>
                  <a:pt x="5" y="7"/>
                </a:moveTo>
                <a:cubicBezTo>
                  <a:pt x="5" y="6"/>
                  <a:pt x="6" y="5"/>
                  <a:pt x="7" y="5"/>
                </a:cubicBezTo>
                <a:cubicBezTo>
                  <a:pt x="55" y="5"/>
                  <a:pt x="55" y="5"/>
                  <a:pt x="55" y="5"/>
                </a:cubicBezTo>
                <a:cubicBezTo>
                  <a:pt x="68" y="24"/>
                  <a:pt x="68" y="24"/>
                  <a:pt x="68" y="24"/>
                </a:cubicBezTo>
                <a:cubicBezTo>
                  <a:pt x="137" y="24"/>
                  <a:pt x="137" y="24"/>
                  <a:pt x="137" y="24"/>
                </a:cubicBezTo>
                <a:cubicBezTo>
                  <a:pt x="138" y="24"/>
                  <a:pt x="139" y="25"/>
                  <a:pt x="139" y="26"/>
                </a:cubicBezTo>
                <a:cubicBezTo>
                  <a:pt x="139" y="43"/>
                  <a:pt x="139" y="43"/>
                  <a:pt x="139" y="43"/>
                </a:cubicBezTo>
                <a:cubicBezTo>
                  <a:pt x="34" y="43"/>
                  <a:pt x="34" y="43"/>
                  <a:pt x="34" y="43"/>
                </a:cubicBezTo>
                <a:cubicBezTo>
                  <a:pt x="34" y="43"/>
                  <a:pt x="33" y="43"/>
                  <a:pt x="33" y="43"/>
                </a:cubicBezTo>
                <a:cubicBezTo>
                  <a:pt x="30" y="43"/>
                  <a:pt x="28" y="45"/>
                  <a:pt x="27" y="48"/>
                </a:cubicBezTo>
                <a:cubicBezTo>
                  <a:pt x="5" y="108"/>
                  <a:pt x="5" y="108"/>
                  <a:pt x="5" y="108"/>
                </a:cubicBezTo>
                <a:lnTo>
                  <a:pt x="5" y="7"/>
                </a:lnTo>
                <a:close/>
                <a:moveTo>
                  <a:pt x="128" y="124"/>
                </a:moveTo>
                <a:cubicBezTo>
                  <a:pt x="127" y="125"/>
                  <a:pt x="127" y="125"/>
                  <a:pt x="126" y="125"/>
                </a:cubicBezTo>
                <a:cubicBezTo>
                  <a:pt x="7" y="125"/>
                  <a:pt x="7" y="125"/>
                  <a:pt x="7" y="125"/>
                </a:cubicBezTo>
                <a:cubicBezTo>
                  <a:pt x="6" y="125"/>
                  <a:pt x="6" y="125"/>
                  <a:pt x="6" y="125"/>
                </a:cubicBezTo>
                <a:cubicBezTo>
                  <a:pt x="5" y="125"/>
                  <a:pt x="5" y="124"/>
                  <a:pt x="5" y="124"/>
                </a:cubicBezTo>
                <a:cubicBezTo>
                  <a:pt x="32" y="49"/>
                  <a:pt x="32" y="49"/>
                  <a:pt x="32" y="49"/>
                </a:cubicBezTo>
                <a:cubicBezTo>
                  <a:pt x="33" y="48"/>
                  <a:pt x="33" y="48"/>
                  <a:pt x="34" y="48"/>
                </a:cubicBezTo>
                <a:cubicBezTo>
                  <a:pt x="144" y="48"/>
                  <a:pt x="144" y="48"/>
                  <a:pt x="144" y="48"/>
                </a:cubicBezTo>
                <a:cubicBezTo>
                  <a:pt x="153" y="48"/>
                  <a:pt x="153" y="48"/>
                  <a:pt x="153" y="48"/>
                </a:cubicBezTo>
                <a:cubicBezTo>
                  <a:pt x="154" y="48"/>
                  <a:pt x="155" y="49"/>
                  <a:pt x="155" y="50"/>
                </a:cubicBezTo>
                <a:lnTo>
                  <a:pt x="128" y="124"/>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2082">
            <a:extLst>
              <a:ext uri="{FF2B5EF4-FFF2-40B4-BE49-F238E27FC236}">
                <a16:creationId xmlns:a16="http://schemas.microsoft.com/office/drawing/2014/main" id="{4AF2B442-6ABD-3544-BDD6-4A396ACC7D2D}"/>
              </a:ext>
            </a:extLst>
          </p:cNvPr>
          <p:cNvSpPr>
            <a:spLocks noEditPoints="1"/>
          </p:cNvSpPr>
          <p:nvPr/>
        </p:nvSpPr>
        <p:spPr bwMode="auto">
          <a:xfrm>
            <a:off x="1565271" y="2882900"/>
            <a:ext cx="546100" cy="450850"/>
          </a:xfrm>
          <a:custGeom>
            <a:avLst/>
            <a:gdLst>
              <a:gd name="T0" fmla="*/ 147 w 160"/>
              <a:gd name="T1" fmla="*/ 43 h 131"/>
              <a:gd name="T2" fmla="*/ 71 w 160"/>
              <a:gd name="T3" fmla="*/ 19 h 131"/>
              <a:gd name="T4" fmla="*/ 7 w 160"/>
              <a:gd name="T5" fmla="*/ 0 h 131"/>
              <a:gd name="T6" fmla="*/ 0 w 160"/>
              <a:gd name="T7" fmla="*/ 124 h 131"/>
              <a:gd name="T8" fmla="*/ 1 w 160"/>
              <a:gd name="T9" fmla="*/ 128 h 131"/>
              <a:gd name="T10" fmla="*/ 126 w 160"/>
              <a:gd name="T11" fmla="*/ 131 h 131"/>
              <a:gd name="T12" fmla="*/ 160 w 160"/>
              <a:gd name="T13" fmla="*/ 51 h 131"/>
              <a:gd name="T14" fmla="*/ 153 w 160"/>
              <a:gd name="T15" fmla="*/ 43 h 131"/>
              <a:gd name="T16" fmla="*/ 141 w 160"/>
              <a:gd name="T17" fmla="*/ 43 h 131"/>
              <a:gd name="T18" fmla="*/ 120 w 160"/>
              <a:gd name="T19" fmla="*/ 35 h 131"/>
              <a:gd name="T20" fmla="*/ 115 w 160"/>
              <a:gd name="T21" fmla="*/ 35 h 131"/>
              <a:gd name="T22" fmla="*/ 101 w 160"/>
              <a:gd name="T23" fmla="*/ 43 h 131"/>
              <a:gd name="T24" fmla="*/ 99 w 160"/>
              <a:gd name="T25" fmla="*/ 32 h 131"/>
              <a:gd name="T26" fmla="*/ 96 w 160"/>
              <a:gd name="T27" fmla="*/ 43 h 131"/>
              <a:gd name="T28" fmla="*/ 83 w 160"/>
              <a:gd name="T29" fmla="*/ 35 h 131"/>
              <a:gd name="T30" fmla="*/ 77 w 160"/>
              <a:gd name="T31" fmla="*/ 35 h 131"/>
              <a:gd name="T32" fmla="*/ 64 w 160"/>
              <a:gd name="T33" fmla="*/ 43 h 131"/>
              <a:gd name="T34" fmla="*/ 61 w 160"/>
              <a:gd name="T35" fmla="*/ 32 h 131"/>
              <a:gd name="T36" fmla="*/ 59 w 160"/>
              <a:gd name="T37" fmla="*/ 43 h 131"/>
              <a:gd name="T38" fmla="*/ 45 w 160"/>
              <a:gd name="T39" fmla="*/ 35 h 131"/>
              <a:gd name="T40" fmla="*/ 40 w 160"/>
              <a:gd name="T41" fmla="*/ 35 h 131"/>
              <a:gd name="T42" fmla="*/ 34 w 160"/>
              <a:gd name="T43" fmla="*/ 43 h 131"/>
              <a:gd name="T44" fmla="*/ 27 w 160"/>
              <a:gd name="T45" fmla="*/ 48 h 131"/>
              <a:gd name="T46" fmla="*/ 13 w 160"/>
              <a:gd name="T47" fmla="*/ 86 h 131"/>
              <a:gd name="T48" fmla="*/ 29 w 160"/>
              <a:gd name="T49" fmla="*/ 40 h 131"/>
              <a:gd name="T50" fmla="*/ 75 w 160"/>
              <a:gd name="T51" fmla="*/ 24 h 131"/>
              <a:gd name="T52" fmla="*/ 17 w 160"/>
              <a:gd name="T53" fmla="*/ 35 h 131"/>
              <a:gd name="T54" fmla="*/ 24 w 160"/>
              <a:gd name="T55" fmla="*/ 35 h 131"/>
              <a:gd name="T56" fmla="*/ 5 w 160"/>
              <a:gd name="T57" fmla="*/ 7 h 131"/>
              <a:gd name="T58" fmla="*/ 55 w 160"/>
              <a:gd name="T59" fmla="*/ 5 h 131"/>
              <a:gd name="T60" fmla="*/ 26 w 160"/>
              <a:gd name="T61" fmla="*/ 19 h 131"/>
              <a:gd name="T62" fmla="*/ 8 w 160"/>
              <a:gd name="T63" fmla="*/ 100 h 131"/>
              <a:gd name="T64" fmla="*/ 5 w 160"/>
              <a:gd name="T65" fmla="*/ 7 h 131"/>
              <a:gd name="T66" fmla="*/ 126 w 160"/>
              <a:gd name="T67" fmla="*/ 125 h 131"/>
              <a:gd name="T68" fmla="*/ 6 w 160"/>
              <a:gd name="T69" fmla="*/ 125 h 131"/>
              <a:gd name="T70" fmla="*/ 8 w 160"/>
              <a:gd name="T71" fmla="*/ 116 h 131"/>
              <a:gd name="T72" fmla="*/ 32 w 160"/>
              <a:gd name="T73" fmla="*/ 49 h 131"/>
              <a:gd name="T74" fmla="*/ 34 w 160"/>
              <a:gd name="T75" fmla="*/ 48 h 131"/>
              <a:gd name="T76" fmla="*/ 153 w 160"/>
              <a:gd name="T77" fmla="*/ 48 h 131"/>
              <a:gd name="T78" fmla="*/ 128 w 160"/>
              <a:gd name="T79" fmla="*/ 12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31">
                <a:moveTo>
                  <a:pt x="153" y="43"/>
                </a:moveTo>
                <a:cubicBezTo>
                  <a:pt x="147" y="43"/>
                  <a:pt x="147" y="43"/>
                  <a:pt x="147" y="43"/>
                </a:cubicBezTo>
                <a:cubicBezTo>
                  <a:pt x="147" y="19"/>
                  <a:pt x="147" y="19"/>
                  <a:pt x="147" y="19"/>
                </a:cubicBezTo>
                <a:cubicBezTo>
                  <a:pt x="71" y="19"/>
                  <a:pt x="71" y="19"/>
                  <a:pt x="71" y="19"/>
                </a:cubicBezTo>
                <a:cubicBezTo>
                  <a:pt x="57" y="0"/>
                  <a:pt x="57" y="0"/>
                  <a:pt x="57" y="0"/>
                </a:cubicBezTo>
                <a:cubicBezTo>
                  <a:pt x="7" y="0"/>
                  <a:pt x="7" y="0"/>
                  <a:pt x="7" y="0"/>
                </a:cubicBezTo>
                <a:cubicBezTo>
                  <a:pt x="3" y="0"/>
                  <a:pt x="0" y="3"/>
                  <a:pt x="0" y="7"/>
                </a:cubicBezTo>
                <a:cubicBezTo>
                  <a:pt x="0" y="124"/>
                  <a:pt x="0" y="124"/>
                  <a:pt x="0" y="124"/>
                </a:cubicBezTo>
                <a:cubicBezTo>
                  <a:pt x="0" y="124"/>
                  <a:pt x="0" y="124"/>
                  <a:pt x="0" y="124"/>
                </a:cubicBezTo>
                <a:cubicBezTo>
                  <a:pt x="0" y="125"/>
                  <a:pt x="0" y="127"/>
                  <a:pt x="1" y="128"/>
                </a:cubicBezTo>
                <a:cubicBezTo>
                  <a:pt x="3" y="130"/>
                  <a:pt x="5" y="131"/>
                  <a:pt x="7" y="131"/>
                </a:cubicBezTo>
                <a:cubicBezTo>
                  <a:pt x="126" y="131"/>
                  <a:pt x="126" y="131"/>
                  <a:pt x="126" y="131"/>
                </a:cubicBezTo>
                <a:cubicBezTo>
                  <a:pt x="129" y="131"/>
                  <a:pt x="132" y="129"/>
                  <a:pt x="133" y="126"/>
                </a:cubicBezTo>
                <a:cubicBezTo>
                  <a:pt x="160" y="51"/>
                  <a:pt x="160" y="51"/>
                  <a:pt x="160" y="51"/>
                </a:cubicBezTo>
                <a:cubicBezTo>
                  <a:pt x="160" y="51"/>
                  <a:pt x="160" y="51"/>
                  <a:pt x="160" y="51"/>
                </a:cubicBezTo>
                <a:cubicBezTo>
                  <a:pt x="160" y="46"/>
                  <a:pt x="157" y="43"/>
                  <a:pt x="153" y="43"/>
                </a:cubicBezTo>
                <a:close/>
                <a:moveTo>
                  <a:pt x="141" y="24"/>
                </a:moveTo>
                <a:cubicBezTo>
                  <a:pt x="141" y="43"/>
                  <a:pt x="141" y="43"/>
                  <a:pt x="141" y="43"/>
                </a:cubicBezTo>
                <a:cubicBezTo>
                  <a:pt x="120" y="43"/>
                  <a:pt x="120" y="43"/>
                  <a:pt x="120" y="43"/>
                </a:cubicBezTo>
                <a:cubicBezTo>
                  <a:pt x="120" y="35"/>
                  <a:pt x="120" y="35"/>
                  <a:pt x="120" y="35"/>
                </a:cubicBezTo>
                <a:cubicBezTo>
                  <a:pt x="120" y="33"/>
                  <a:pt x="119" y="32"/>
                  <a:pt x="117" y="32"/>
                </a:cubicBezTo>
                <a:cubicBezTo>
                  <a:pt x="116" y="32"/>
                  <a:pt x="115" y="33"/>
                  <a:pt x="115" y="35"/>
                </a:cubicBezTo>
                <a:cubicBezTo>
                  <a:pt x="115" y="43"/>
                  <a:pt x="115" y="43"/>
                  <a:pt x="115" y="43"/>
                </a:cubicBezTo>
                <a:cubicBezTo>
                  <a:pt x="101" y="43"/>
                  <a:pt x="101" y="43"/>
                  <a:pt x="101" y="43"/>
                </a:cubicBezTo>
                <a:cubicBezTo>
                  <a:pt x="101" y="35"/>
                  <a:pt x="101" y="35"/>
                  <a:pt x="101" y="35"/>
                </a:cubicBezTo>
                <a:cubicBezTo>
                  <a:pt x="101" y="33"/>
                  <a:pt x="100" y="32"/>
                  <a:pt x="99" y="32"/>
                </a:cubicBezTo>
                <a:cubicBezTo>
                  <a:pt x="97" y="32"/>
                  <a:pt x="96" y="33"/>
                  <a:pt x="96" y="35"/>
                </a:cubicBezTo>
                <a:cubicBezTo>
                  <a:pt x="96" y="43"/>
                  <a:pt x="96" y="43"/>
                  <a:pt x="96" y="43"/>
                </a:cubicBezTo>
                <a:cubicBezTo>
                  <a:pt x="83" y="43"/>
                  <a:pt x="83" y="43"/>
                  <a:pt x="83" y="43"/>
                </a:cubicBezTo>
                <a:cubicBezTo>
                  <a:pt x="83" y="35"/>
                  <a:pt x="83" y="35"/>
                  <a:pt x="83" y="35"/>
                </a:cubicBezTo>
                <a:cubicBezTo>
                  <a:pt x="83" y="33"/>
                  <a:pt x="81" y="32"/>
                  <a:pt x="80" y="32"/>
                </a:cubicBezTo>
                <a:cubicBezTo>
                  <a:pt x="79" y="32"/>
                  <a:pt x="77" y="33"/>
                  <a:pt x="77" y="35"/>
                </a:cubicBezTo>
                <a:cubicBezTo>
                  <a:pt x="77" y="43"/>
                  <a:pt x="77" y="43"/>
                  <a:pt x="77" y="43"/>
                </a:cubicBezTo>
                <a:cubicBezTo>
                  <a:pt x="64" y="43"/>
                  <a:pt x="64" y="43"/>
                  <a:pt x="64" y="43"/>
                </a:cubicBezTo>
                <a:cubicBezTo>
                  <a:pt x="64" y="35"/>
                  <a:pt x="64" y="35"/>
                  <a:pt x="64" y="35"/>
                </a:cubicBezTo>
                <a:cubicBezTo>
                  <a:pt x="64" y="33"/>
                  <a:pt x="63" y="32"/>
                  <a:pt x="61" y="32"/>
                </a:cubicBezTo>
                <a:cubicBezTo>
                  <a:pt x="60" y="32"/>
                  <a:pt x="59" y="33"/>
                  <a:pt x="59" y="35"/>
                </a:cubicBezTo>
                <a:cubicBezTo>
                  <a:pt x="59" y="43"/>
                  <a:pt x="59" y="43"/>
                  <a:pt x="59" y="43"/>
                </a:cubicBezTo>
                <a:cubicBezTo>
                  <a:pt x="45" y="43"/>
                  <a:pt x="45" y="43"/>
                  <a:pt x="45" y="43"/>
                </a:cubicBezTo>
                <a:cubicBezTo>
                  <a:pt x="45" y="35"/>
                  <a:pt x="45" y="35"/>
                  <a:pt x="45" y="35"/>
                </a:cubicBezTo>
                <a:cubicBezTo>
                  <a:pt x="45" y="33"/>
                  <a:pt x="44" y="32"/>
                  <a:pt x="43" y="32"/>
                </a:cubicBezTo>
                <a:cubicBezTo>
                  <a:pt x="41" y="32"/>
                  <a:pt x="40" y="33"/>
                  <a:pt x="40" y="35"/>
                </a:cubicBezTo>
                <a:cubicBezTo>
                  <a:pt x="40" y="43"/>
                  <a:pt x="40" y="43"/>
                  <a:pt x="40" y="43"/>
                </a:cubicBezTo>
                <a:cubicBezTo>
                  <a:pt x="34" y="43"/>
                  <a:pt x="34" y="43"/>
                  <a:pt x="34" y="43"/>
                </a:cubicBezTo>
                <a:cubicBezTo>
                  <a:pt x="34" y="43"/>
                  <a:pt x="33" y="43"/>
                  <a:pt x="33" y="43"/>
                </a:cubicBezTo>
                <a:cubicBezTo>
                  <a:pt x="30" y="43"/>
                  <a:pt x="28" y="45"/>
                  <a:pt x="27" y="48"/>
                </a:cubicBezTo>
                <a:cubicBezTo>
                  <a:pt x="27" y="50"/>
                  <a:pt x="27" y="50"/>
                  <a:pt x="27" y="50"/>
                </a:cubicBezTo>
                <a:cubicBezTo>
                  <a:pt x="13" y="86"/>
                  <a:pt x="13" y="86"/>
                  <a:pt x="13" y="86"/>
                </a:cubicBezTo>
                <a:cubicBezTo>
                  <a:pt x="13" y="40"/>
                  <a:pt x="13" y="40"/>
                  <a:pt x="13" y="40"/>
                </a:cubicBezTo>
                <a:cubicBezTo>
                  <a:pt x="29" y="40"/>
                  <a:pt x="29" y="40"/>
                  <a:pt x="29" y="40"/>
                </a:cubicBezTo>
                <a:cubicBezTo>
                  <a:pt x="29" y="24"/>
                  <a:pt x="29" y="24"/>
                  <a:pt x="29" y="24"/>
                </a:cubicBezTo>
                <a:cubicBezTo>
                  <a:pt x="75" y="24"/>
                  <a:pt x="75" y="24"/>
                  <a:pt x="75" y="24"/>
                </a:cubicBezTo>
                <a:lnTo>
                  <a:pt x="141" y="24"/>
                </a:lnTo>
                <a:close/>
                <a:moveTo>
                  <a:pt x="17" y="35"/>
                </a:moveTo>
                <a:cubicBezTo>
                  <a:pt x="24" y="28"/>
                  <a:pt x="24" y="28"/>
                  <a:pt x="24" y="28"/>
                </a:cubicBezTo>
                <a:cubicBezTo>
                  <a:pt x="24" y="35"/>
                  <a:pt x="24" y="35"/>
                  <a:pt x="24" y="35"/>
                </a:cubicBezTo>
                <a:lnTo>
                  <a:pt x="17" y="35"/>
                </a:lnTo>
                <a:close/>
                <a:moveTo>
                  <a:pt x="5" y="7"/>
                </a:moveTo>
                <a:cubicBezTo>
                  <a:pt x="5" y="6"/>
                  <a:pt x="6" y="5"/>
                  <a:pt x="7" y="5"/>
                </a:cubicBezTo>
                <a:cubicBezTo>
                  <a:pt x="55" y="5"/>
                  <a:pt x="55" y="5"/>
                  <a:pt x="55" y="5"/>
                </a:cubicBezTo>
                <a:cubicBezTo>
                  <a:pt x="64" y="19"/>
                  <a:pt x="64" y="19"/>
                  <a:pt x="64" y="19"/>
                </a:cubicBezTo>
                <a:cubicBezTo>
                  <a:pt x="26" y="19"/>
                  <a:pt x="26" y="19"/>
                  <a:pt x="26" y="19"/>
                </a:cubicBezTo>
                <a:cubicBezTo>
                  <a:pt x="8" y="36"/>
                  <a:pt x="8" y="36"/>
                  <a:pt x="8" y="36"/>
                </a:cubicBezTo>
                <a:cubicBezTo>
                  <a:pt x="8" y="100"/>
                  <a:pt x="8" y="100"/>
                  <a:pt x="8" y="100"/>
                </a:cubicBezTo>
                <a:cubicBezTo>
                  <a:pt x="5" y="108"/>
                  <a:pt x="5" y="108"/>
                  <a:pt x="5" y="108"/>
                </a:cubicBezTo>
                <a:lnTo>
                  <a:pt x="5" y="7"/>
                </a:lnTo>
                <a:close/>
                <a:moveTo>
                  <a:pt x="128" y="124"/>
                </a:moveTo>
                <a:cubicBezTo>
                  <a:pt x="127" y="125"/>
                  <a:pt x="127" y="125"/>
                  <a:pt x="126" y="125"/>
                </a:cubicBezTo>
                <a:cubicBezTo>
                  <a:pt x="7" y="125"/>
                  <a:pt x="7" y="125"/>
                  <a:pt x="7" y="125"/>
                </a:cubicBezTo>
                <a:cubicBezTo>
                  <a:pt x="6" y="125"/>
                  <a:pt x="6" y="125"/>
                  <a:pt x="6" y="125"/>
                </a:cubicBezTo>
                <a:cubicBezTo>
                  <a:pt x="5" y="125"/>
                  <a:pt x="5" y="124"/>
                  <a:pt x="5" y="124"/>
                </a:cubicBezTo>
                <a:cubicBezTo>
                  <a:pt x="8" y="116"/>
                  <a:pt x="8" y="116"/>
                  <a:pt x="8" y="116"/>
                </a:cubicBezTo>
                <a:cubicBezTo>
                  <a:pt x="8" y="116"/>
                  <a:pt x="8" y="116"/>
                  <a:pt x="8" y="116"/>
                </a:cubicBezTo>
                <a:cubicBezTo>
                  <a:pt x="32" y="49"/>
                  <a:pt x="32" y="49"/>
                  <a:pt x="32" y="49"/>
                </a:cubicBezTo>
                <a:cubicBezTo>
                  <a:pt x="32" y="49"/>
                  <a:pt x="32" y="49"/>
                  <a:pt x="32" y="49"/>
                </a:cubicBezTo>
                <a:cubicBezTo>
                  <a:pt x="33" y="48"/>
                  <a:pt x="33" y="48"/>
                  <a:pt x="34" y="48"/>
                </a:cubicBezTo>
                <a:cubicBezTo>
                  <a:pt x="147" y="48"/>
                  <a:pt x="147" y="48"/>
                  <a:pt x="147" y="48"/>
                </a:cubicBezTo>
                <a:cubicBezTo>
                  <a:pt x="153" y="48"/>
                  <a:pt x="153" y="48"/>
                  <a:pt x="153" y="48"/>
                </a:cubicBezTo>
                <a:cubicBezTo>
                  <a:pt x="154" y="48"/>
                  <a:pt x="155" y="49"/>
                  <a:pt x="155" y="50"/>
                </a:cubicBezTo>
                <a:lnTo>
                  <a:pt x="128" y="124"/>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2083">
            <a:extLst>
              <a:ext uri="{FF2B5EF4-FFF2-40B4-BE49-F238E27FC236}">
                <a16:creationId xmlns:a16="http://schemas.microsoft.com/office/drawing/2014/main" id="{46BC45FF-C20D-0B47-A0BD-DCF2212D544F}"/>
              </a:ext>
            </a:extLst>
          </p:cNvPr>
          <p:cNvSpPr>
            <a:spLocks noEditPoints="1"/>
          </p:cNvSpPr>
          <p:nvPr/>
        </p:nvSpPr>
        <p:spPr bwMode="auto">
          <a:xfrm>
            <a:off x="1565271" y="3503613"/>
            <a:ext cx="546100" cy="449263"/>
          </a:xfrm>
          <a:custGeom>
            <a:avLst/>
            <a:gdLst>
              <a:gd name="T0" fmla="*/ 147 w 160"/>
              <a:gd name="T1" fmla="*/ 43 h 131"/>
              <a:gd name="T2" fmla="*/ 141 w 160"/>
              <a:gd name="T3" fmla="*/ 24 h 131"/>
              <a:gd name="T4" fmla="*/ 67 w 160"/>
              <a:gd name="T5" fmla="*/ 13 h 131"/>
              <a:gd name="T6" fmla="*/ 7 w 160"/>
              <a:gd name="T7" fmla="*/ 0 h 131"/>
              <a:gd name="T8" fmla="*/ 0 w 160"/>
              <a:gd name="T9" fmla="*/ 124 h 131"/>
              <a:gd name="T10" fmla="*/ 1 w 160"/>
              <a:gd name="T11" fmla="*/ 128 h 131"/>
              <a:gd name="T12" fmla="*/ 126 w 160"/>
              <a:gd name="T13" fmla="*/ 131 h 131"/>
              <a:gd name="T14" fmla="*/ 160 w 160"/>
              <a:gd name="T15" fmla="*/ 51 h 131"/>
              <a:gd name="T16" fmla="*/ 153 w 160"/>
              <a:gd name="T17" fmla="*/ 43 h 131"/>
              <a:gd name="T18" fmla="*/ 120 w 160"/>
              <a:gd name="T19" fmla="*/ 43 h 131"/>
              <a:gd name="T20" fmla="*/ 117 w 160"/>
              <a:gd name="T21" fmla="*/ 37 h 131"/>
              <a:gd name="T22" fmla="*/ 115 w 160"/>
              <a:gd name="T23" fmla="*/ 43 h 131"/>
              <a:gd name="T24" fmla="*/ 101 w 160"/>
              <a:gd name="T25" fmla="*/ 40 h 131"/>
              <a:gd name="T26" fmla="*/ 96 w 160"/>
              <a:gd name="T27" fmla="*/ 40 h 131"/>
              <a:gd name="T28" fmla="*/ 83 w 160"/>
              <a:gd name="T29" fmla="*/ 43 h 131"/>
              <a:gd name="T30" fmla="*/ 80 w 160"/>
              <a:gd name="T31" fmla="*/ 37 h 131"/>
              <a:gd name="T32" fmla="*/ 77 w 160"/>
              <a:gd name="T33" fmla="*/ 43 h 131"/>
              <a:gd name="T34" fmla="*/ 64 w 160"/>
              <a:gd name="T35" fmla="*/ 40 h 131"/>
              <a:gd name="T36" fmla="*/ 59 w 160"/>
              <a:gd name="T37" fmla="*/ 40 h 131"/>
              <a:gd name="T38" fmla="*/ 45 w 160"/>
              <a:gd name="T39" fmla="*/ 43 h 131"/>
              <a:gd name="T40" fmla="*/ 43 w 160"/>
              <a:gd name="T41" fmla="*/ 37 h 131"/>
              <a:gd name="T42" fmla="*/ 40 w 160"/>
              <a:gd name="T43" fmla="*/ 43 h 131"/>
              <a:gd name="T44" fmla="*/ 33 w 160"/>
              <a:gd name="T45" fmla="*/ 43 h 131"/>
              <a:gd name="T46" fmla="*/ 29 w 160"/>
              <a:gd name="T47" fmla="*/ 29 h 131"/>
              <a:gd name="T48" fmla="*/ 141 w 160"/>
              <a:gd name="T49" fmla="*/ 43 h 131"/>
              <a:gd name="T50" fmla="*/ 13 w 160"/>
              <a:gd name="T51" fmla="*/ 45 h 131"/>
              <a:gd name="T52" fmla="*/ 27 w 160"/>
              <a:gd name="T53" fmla="*/ 48 h 131"/>
              <a:gd name="T54" fmla="*/ 13 w 160"/>
              <a:gd name="T55" fmla="*/ 86 h 131"/>
              <a:gd name="T56" fmla="*/ 17 w 160"/>
              <a:gd name="T57" fmla="*/ 40 h 131"/>
              <a:gd name="T58" fmla="*/ 24 w 160"/>
              <a:gd name="T59" fmla="*/ 33 h 131"/>
              <a:gd name="T60" fmla="*/ 136 w 160"/>
              <a:gd name="T61" fmla="*/ 19 h 131"/>
              <a:gd name="T62" fmla="*/ 26 w 160"/>
              <a:gd name="T63" fmla="*/ 24 h 131"/>
              <a:gd name="T64" fmla="*/ 19 w 160"/>
              <a:gd name="T65" fmla="*/ 19 h 131"/>
              <a:gd name="T66" fmla="*/ 136 w 160"/>
              <a:gd name="T67" fmla="*/ 19 h 131"/>
              <a:gd name="T68" fmla="*/ 7 w 160"/>
              <a:gd name="T69" fmla="*/ 5 h 131"/>
              <a:gd name="T70" fmla="*/ 60 w 160"/>
              <a:gd name="T71" fmla="*/ 13 h 131"/>
              <a:gd name="T72" fmla="*/ 13 w 160"/>
              <a:gd name="T73" fmla="*/ 36 h 131"/>
              <a:gd name="T74" fmla="*/ 8 w 160"/>
              <a:gd name="T75" fmla="*/ 100 h 131"/>
              <a:gd name="T76" fmla="*/ 5 w 160"/>
              <a:gd name="T77" fmla="*/ 7 h 131"/>
              <a:gd name="T78" fmla="*/ 126 w 160"/>
              <a:gd name="T79" fmla="*/ 125 h 131"/>
              <a:gd name="T80" fmla="*/ 6 w 160"/>
              <a:gd name="T81" fmla="*/ 125 h 131"/>
              <a:gd name="T82" fmla="*/ 8 w 160"/>
              <a:gd name="T83" fmla="*/ 116 h 131"/>
              <a:gd name="T84" fmla="*/ 32 w 160"/>
              <a:gd name="T85" fmla="*/ 49 h 131"/>
              <a:gd name="T86" fmla="*/ 34 w 160"/>
              <a:gd name="T87" fmla="*/ 48 h 131"/>
              <a:gd name="T88" fmla="*/ 153 w 160"/>
              <a:gd name="T89" fmla="*/ 48 h 131"/>
              <a:gd name="T90" fmla="*/ 128 w 160"/>
              <a:gd name="T91" fmla="*/ 12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31">
                <a:moveTo>
                  <a:pt x="153" y="43"/>
                </a:moveTo>
                <a:cubicBezTo>
                  <a:pt x="147" y="43"/>
                  <a:pt x="147" y="43"/>
                  <a:pt x="147" y="43"/>
                </a:cubicBezTo>
                <a:cubicBezTo>
                  <a:pt x="147" y="24"/>
                  <a:pt x="147" y="24"/>
                  <a:pt x="147" y="24"/>
                </a:cubicBezTo>
                <a:cubicBezTo>
                  <a:pt x="141" y="24"/>
                  <a:pt x="141" y="24"/>
                  <a:pt x="141" y="24"/>
                </a:cubicBezTo>
                <a:cubicBezTo>
                  <a:pt x="141" y="13"/>
                  <a:pt x="141" y="13"/>
                  <a:pt x="141" y="13"/>
                </a:cubicBezTo>
                <a:cubicBezTo>
                  <a:pt x="67" y="13"/>
                  <a:pt x="67" y="13"/>
                  <a:pt x="67" y="13"/>
                </a:cubicBezTo>
                <a:cubicBezTo>
                  <a:pt x="57" y="0"/>
                  <a:pt x="57" y="0"/>
                  <a:pt x="57" y="0"/>
                </a:cubicBezTo>
                <a:cubicBezTo>
                  <a:pt x="7" y="0"/>
                  <a:pt x="7" y="0"/>
                  <a:pt x="7" y="0"/>
                </a:cubicBezTo>
                <a:cubicBezTo>
                  <a:pt x="3" y="0"/>
                  <a:pt x="0" y="3"/>
                  <a:pt x="0" y="7"/>
                </a:cubicBezTo>
                <a:cubicBezTo>
                  <a:pt x="0" y="124"/>
                  <a:pt x="0" y="124"/>
                  <a:pt x="0" y="124"/>
                </a:cubicBezTo>
                <a:cubicBezTo>
                  <a:pt x="0" y="124"/>
                  <a:pt x="0" y="124"/>
                  <a:pt x="0" y="124"/>
                </a:cubicBezTo>
                <a:cubicBezTo>
                  <a:pt x="0" y="125"/>
                  <a:pt x="0" y="127"/>
                  <a:pt x="1" y="128"/>
                </a:cubicBezTo>
                <a:cubicBezTo>
                  <a:pt x="3" y="130"/>
                  <a:pt x="5" y="131"/>
                  <a:pt x="7" y="131"/>
                </a:cubicBezTo>
                <a:cubicBezTo>
                  <a:pt x="126" y="131"/>
                  <a:pt x="126" y="131"/>
                  <a:pt x="126" y="131"/>
                </a:cubicBezTo>
                <a:cubicBezTo>
                  <a:pt x="129" y="131"/>
                  <a:pt x="132" y="129"/>
                  <a:pt x="133" y="126"/>
                </a:cubicBezTo>
                <a:cubicBezTo>
                  <a:pt x="160" y="51"/>
                  <a:pt x="160" y="51"/>
                  <a:pt x="160" y="51"/>
                </a:cubicBezTo>
                <a:cubicBezTo>
                  <a:pt x="160" y="51"/>
                  <a:pt x="160" y="51"/>
                  <a:pt x="160" y="51"/>
                </a:cubicBezTo>
                <a:cubicBezTo>
                  <a:pt x="160" y="46"/>
                  <a:pt x="157" y="43"/>
                  <a:pt x="153" y="43"/>
                </a:cubicBezTo>
                <a:close/>
                <a:moveTo>
                  <a:pt x="141" y="43"/>
                </a:moveTo>
                <a:cubicBezTo>
                  <a:pt x="120" y="43"/>
                  <a:pt x="120" y="43"/>
                  <a:pt x="120" y="43"/>
                </a:cubicBezTo>
                <a:cubicBezTo>
                  <a:pt x="120" y="40"/>
                  <a:pt x="120" y="40"/>
                  <a:pt x="120" y="40"/>
                </a:cubicBezTo>
                <a:cubicBezTo>
                  <a:pt x="120" y="39"/>
                  <a:pt x="119" y="37"/>
                  <a:pt x="117" y="37"/>
                </a:cubicBezTo>
                <a:cubicBezTo>
                  <a:pt x="116" y="37"/>
                  <a:pt x="115" y="39"/>
                  <a:pt x="115" y="40"/>
                </a:cubicBezTo>
                <a:cubicBezTo>
                  <a:pt x="115" y="43"/>
                  <a:pt x="115" y="43"/>
                  <a:pt x="115" y="43"/>
                </a:cubicBezTo>
                <a:cubicBezTo>
                  <a:pt x="101" y="43"/>
                  <a:pt x="101" y="43"/>
                  <a:pt x="101" y="43"/>
                </a:cubicBezTo>
                <a:cubicBezTo>
                  <a:pt x="101" y="40"/>
                  <a:pt x="101" y="40"/>
                  <a:pt x="101" y="40"/>
                </a:cubicBezTo>
                <a:cubicBezTo>
                  <a:pt x="101" y="39"/>
                  <a:pt x="100" y="37"/>
                  <a:pt x="99" y="37"/>
                </a:cubicBezTo>
                <a:cubicBezTo>
                  <a:pt x="97" y="37"/>
                  <a:pt x="96" y="39"/>
                  <a:pt x="96" y="40"/>
                </a:cubicBezTo>
                <a:cubicBezTo>
                  <a:pt x="96" y="43"/>
                  <a:pt x="96" y="43"/>
                  <a:pt x="96" y="43"/>
                </a:cubicBezTo>
                <a:cubicBezTo>
                  <a:pt x="83" y="43"/>
                  <a:pt x="83" y="43"/>
                  <a:pt x="83" y="43"/>
                </a:cubicBezTo>
                <a:cubicBezTo>
                  <a:pt x="83" y="40"/>
                  <a:pt x="83" y="40"/>
                  <a:pt x="83" y="40"/>
                </a:cubicBezTo>
                <a:cubicBezTo>
                  <a:pt x="83" y="39"/>
                  <a:pt x="81" y="37"/>
                  <a:pt x="80" y="37"/>
                </a:cubicBezTo>
                <a:cubicBezTo>
                  <a:pt x="79" y="37"/>
                  <a:pt x="77" y="39"/>
                  <a:pt x="77" y="40"/>
                </a:cubicBezTo>
                <a:cubicBezTo>
                  <a:pt x="77" y="43"/>
                  <a:pt x="77" y="43"/>
                  <a:pt x="77" y="43"/>
                </a:cubicBezTo>
                <a:cubicBezTo>
                  <a:pt x="64" y="43"/>
                  <a:pt x="64" y="43"/>
                  <a:pt x="64" y="43"/>
                </a:cubicBezTo>
                <a:cubicBezTo>
                  <a:pt x="64" y="40"/>
                  <a:pt x="64" y="40"/>
                  <a:pt x="64" y="40"/>
                </a:cubicBezTo>
                <a:cubicBezTo>
                  <a:pt x="64" y="39"/>
                  <a:pt x="63" y="37"/>
                  <a:pt x="61" y="37"/>
                </a:cubicBezTo>
                <a:cubicBezTo>
                  <a:pt x="60" y="37"/>
                  <a:pt x="59" y="39"/>
                  <a:pt x="59" y="40"/>
                </a:cubicBezTo>
                <a:cubicBezTo>
                  <a:pt x="59" y="43"/>
                  <a:pt x="59" y="43"/>
                  <a:pt x="59" y="43"/>
                </a:cubicBezTo>
                <a:cubicBezTo>
                  <a:pt x="45" y="43"/>
                  <a:pt x="45" y="43"/>
                  <a:pt x="45" y="43"/>
                </a:cubicBezTo>
                <a:cubicBezTo>
                  <a:pt x="45" y="40"/>
                  <a:pt x="45" y="40"/>
                  <a:pt x="45" y="40"/>
                </a:cubicBezTo>
                <a:cubicBezTo>
                  <a:pt x="45" y="39"/>
                  <a:pt x="44" y="37"/>
                  <a:pt x="43" y="37"/>
                </a:cubicBezTo>
                <a:cubicBezTo>
                  <a:pt x="41" y="37"/>
                  <a:pt x="40" y="39"/>
                  <a:pt x="40" y="40"/>
                </a:cubicBezTo>
                <a:cubicBezTo>
                  <a:pt x="40" y="43"/>
                  <a:pt x="40" y="43"/>
                  <a:pt x="40" y="43"/>
                </a:cubicBezTo>
                <a:cubicBezTo>
                  <a:pt x="34" y="43"/>
                  <a:pt x="34" y="43"/>
                  <a:pt x="34" y="43"/>
                </a:cubicBezTo>
                <a:cubicBezTo>
                  <a:pt x="34" y="43"/>
                  <a:pt x="33" y="43"/>
                  <a:pt x="33" y="43"/>
                </a:cubicBezTo>
                <a:cubicBezTo>
                  <a:pt x="31" y="43"/>
                  <a:pt x="30" y="44"/>
                  <a:pt x="29" y="44"/>
                </a:cubicBezTo>
                <a:cubicBezTo>
                  <a:pt x="29" y="29"/>
                  <a:pt x="29" y="29"/>
                  <a:pt x="29" y="29"/>
                </a:cubicBezTo>
                <a:cubicBezTo>
                  <a:pt x="141" y="29"/>
                  <a:pt x="141" y="29"/>
                  <a:pt x="141" y="29"/>
                </a:cubicBezTo>
                <a:lnTo>
                  <a:pt x="141" y="43"/>
                </a:lnTo>
                <a:close/>
                <a:moveTo>
                  <a:pt x="13" y="86"/>
                </a:moveTo>
                <a:cubicBezTo>
                  <a:pt x="13" y="45"/>
                  <a:pt x="13" y="45"/>
                  <a:pt x="13" y="45"/>
                </a:cubicBezTo>
                <a:cubicBezTo>
                  <a:pt x="29" y="45"/>
                  <a:pt x="29" y="45"/>
                  <a:pt x="29" y="45"/>
                </a:cubicBezTo>
                <a:cubicBezTo>
                  <a:pt x="28" y="46"/>
                  <a:pt x="28" y="47"/>
                  <a:pt x="27" y="48"/>
                </a:cubicBezTo>
                <a:cubicBezTo>
                  <a:pt x="27" y="50"/>
                  <a:pt x="27" y="50"/>
                  <a:pt x="27" y="50"/>
                </a:cubicBezTo>
                <a:lnTo>
                  <a:pt x="13" y="86"/>
                </a:lnTo>
                <a:close/>
                <a:moveTo>
                  <a:pt x="24" y="40"/>
                </a:moveTo>
                <a:cubicBezTo>
                  <a:pt x="17" y="40"/>
                  <a:pt x="17" y="40"/>
                  <a:pt x="17" y="40"/>
                </a:cubicBezTo>
                <a:cubicBezTo>
                  <a:pt x="19" y="38"/>
                  <a:pt x="19" y="38"/>
                  <a:pt x="19" y="38"/>
                </a:cubicBezTo>
                <a:cubicBezTo>
                  <a:pt x="24" y="33"/>
                  <a:pt x="24" y="33"/>
                  <a:pt x="24" y="33"/>
                </a:cubicBezTo>
                <a:lnTo>
                  <a:pt x="24" y="40"/>
                </a:lnTo>
                <a:close/>
                <a:moveTo>
                  <a:pt x="136" y="19"/>
                </a:moveTo>
                <a:cubicBezTo>
                  <a:pt x="136" y="24"/>
                  <a:pt x="136" y="24"/>
                  <a:pt x="136" y="24"/>
                </a:cubicBezTo>
                <a:cubicBezTo>
                  <a:pt x="26" y="24"/>
                  <a:pt x="26" y="24"/>
                  <a:pt x="26" y="24"/>
                </a:cubicBezTo>
                <a:cubicBezTo>
                  <a:pt x="19" y="31"/>
                  <a:pt x="19" y="31"/>
                  <a:pt x="19" y="31"/>
                </a:cubicBezTo>
                <a:cubicBezTo>
                  <a:pt x="19" y="19"/>
                  <a:pt x="19" y="19"/>
                  <a:pt x="19" y="19"/>
                </a:cubicBezTo>
                <a:cubicBezTo>
                  <a:pt x="71" y="19"/>
                  <a:pt x="71" y="19"/>
                  <a:pt x="71" y="19"/>
                </a:cubicBezTo>
                <a:lnTo>
                  <a:pt x="136" y="19"/>
                </a:lnTo>
                <a:close/>
                <a:moveTo>
                  <a:pt x="5" y="7"/>
                </a:moveTo>
                <a:cubicBezTo>
                  <a:pt x="5" y="6"/>
                  <a:pt x="6" y="5"/>
                  <a:pt x="7" y="5"/>
                </a:cubicBezTo>
                <a:cubicBezTo>
                  <a:pt x="55" y="5"/>
                  <a:pt x="55" y="5"/>
                  <a:pt x="55" y="5"/>
                </a:cubicBezTo>
                <a:cubicBezTo>
                  <a:pt x="60" y="13"/>
                  <a:pt x="60" y="13"/>
                  <a:pt x="60" y="13"/>
                </a:cubicBezTo>
                <a:cubicBezTo>
                  <a:pt x="13" y="13"/>
                  <a:pt x="13" y="13"/>
                  <a:pt x="13" y="13"/>
                </a:cubicBezTo>
                <a:cubicBezTo>
                  <a:pt x="13" y="36"/>
                  <a:pt x="13" y="36"/>
                  <a:pt x="13" y="36"/>
                </a:cubicBezTo>
                <a:cubicBezTo>
                  <a:pt x="8" y="42"/>
                  <a:pt x="8" y="42"/>
                  <a:pt x="8" y="42"/>
                </a:cubicBezTo>
                <a:cubicBezTo>
                  <a:pt x="8" y="100"/>
                  <a:pt x="8" y="100"/>
                  <a:pt x="8" y="100"/>
                </a:cubicBezTo>
                <a:cubicBezTo>
                  <a:pt x="5" y="108"/>
                  <a:pt x="5" y="108"/>
                  <a:pt x="5" y="108"/>
                </a:cubicBezTo>
                <a:lnTo>
                  <a:pt x="5" y="7"/>
                </a:lnTo>
                <a:close/>
                <a:moveTo>
                  <a:pt x="128" y="124"/>
                </a:moveTo>
                <a:cubicBezTo>
                  <a:pt x="127" y="125"/>
                  <a:pt x="127" y="125"/>
                  <a:pt x="126" y="125"/>
                </a:cubicBezTo>
                <a:cubicBezTo>
                  <a:pt x="7" y="125"/>
                  <a:pt x="7" y="125"/>
                  <a:pt x="7" y="125"/>
                </a:cubicBezTo>
                <a:cubicBezTo>
                  <a:pt x="6" y="125"/>
                  <a:pt x="6" y="125"/>
                  <a:pt x="6" y="125"/>
                </a:cubicBezTo>
                <a:cubicBezTo>
                  <a:pt x="5" y="125"/>
                  <a:pt x="5" y="124"/>
                  <a:pt x="5" y="124"/>
                </a:cubicBezTo>
                <a:cubicBezTo>
                  <a:pt x="8" y="116"/>
                  <a:pt x="8" y="116"/>
                  <a:pt x="8" y="116"/>
                </a:cubicBezTo>
                <a:cubicBezTo>
                  <a:pt x="8" y="116"/>
                  <a:pt x="8" y="116"/>
                  <a:pt x="8" y="116"/>
                </a:cubicBezTo>
                <a:cubicBezTo>
                  <a:pt x="32" y="49"/>
                  <a:pt x="32" y="49"/>
                  <a:pt x="32" y="49"/>
                </a:cubicBezTo>
                <a:cubicBezTo>
                  <a:pt x="32" y="49"/>
                  <a:pt x="32" y="49"/>
                  <a:pt x="32" y="49"/>
                </a:cubicBezTo>
                <a:cubicBezTo>
                  <a:pt x="33" y="48"/>
                  <a:pt x="33" y="48"/>
                  <a:pt x="34" y="48"/>
                </a:cubicBezTo>
                <a:cubicBezTo>
                  <a:pt x="147" y="48"/>
                  <a:pt x="147" y="48"/>
                  <a:pt x="147" y="48"/>
                </a:cubicBezTo>
                <a:cubicBezTo>
                  <a:pt x="153" y="48"/>
                  <a:pt x="153" y="48"/>
                  <a:pt x="153" y="48"/>
                </a:cubicBezTo>
                <a:cubicBezTo>
                  <a:pt x="154" y="48"/>
                  <a:pt x="155" y="49"/>
                  <a:pt x="155" y="50"/>
                </a:cubicBezTo>
                <a:lnTo>
                  <a:pt x="128" y="124"/>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2084">
            <a:extLst>
              <a:ext uri="{FF2B5EF4-FFF2-40B4-BE49-F238E27FC236}">
                <a16:creationId xmlns:a16="http://schemas.microsoft.com/office/drawing/2014/main" id="{625C5282-8674-254D-BC0E-A8DD3A490EBA}"/>
              </a:ext>
            </a:extLst>
          </p:cNvPr>
          <p:cNvSpPr>
            <a:spLocks noEditPoints="1"/>
          </p:cNvSpPr>
          <p:nvPr/>
        </p:nvSpPr>
        <p:spPr bwMode="auto">
          <a:xfrm>
            <a:off x="1565271" y="4081463"/>
            <a:ext cx="546100" cy="550863"/>
          </a:xfrm>
          <a:custGeom>
            <a:avLst/>
            <a:gdLst>
              <a:gd name="T0" fmla="*/ 144 w 160"/>
              <a:gd name="T1" fmla="*/ 72 h 160"/>
              <a:gd name="T2" fmla="*/ 137 w 160"/>
              <a:gd name="T3" fmla="*/ 48 h 160"/>
              <a:gd name="T4" fmla="*/ 128 w 160"/>
              <a:gd name="T5" fmla="*/ 42 h 160"/>
              <a:gd name="T6" fmla="*/ 127 w 160"/>
              <a:gd name="T7" fmla="*/ 40 h 160"/>
              <a:gd name="T8" fmla="*/ 86 w 160"/>
              <a:gd name="T9" fmla="*/ 0 h 160"/>
              <a:gd name="T10" fmla="*/ 21 w 160"/>
              <a:gd name="T11" fmla="*/ 29 h 160"/>
              <a:gd name="T12" fmla="*/ 0 w 160"/>
              <a:gd name="T13" fmla="*/ 37 h 160"/>
              <a:gd name="T14" fmla="*/ 0 w 160"/>
              <a:gd name="T15" fmla="*/ 153 h 160"/>
              <a:gd name="T16" fmla="*/ 7 w 160"/>
              <a:gd name="T17" fmla="*/ 160 h 160"/>
              <a:gd name="T18" fmla="*/ 133 w 160"/>
              <a:gd name="T19" fmla="*/ 155 h 160"/>
              <a:gd name="T20" fmla="*/ 160 w 160"/>
              <a:gd name="T21" fmla="*/ 80 h 160"/>
              <a:gd name="T22" fmla="*/ 137 w 160"/>
              <a:gd name="T23" fmla="*/ 53 h 160"/>
              <a:gd name="T24" fmla="*/ 139 w 160"/>
              <a:gd name="T25" fmla="*/ 72 h 160"/>
              <a:gd name="T26" fmla="*/ 128 w 160"/>
              <a:gd name="T27" fmla="*/ 53 h 160"/>
              <a:gd name="T28" fmla="*/ 88 w 160"/>
              <a:gd name="T29" fmla="*/ 9 h 160"/>
              <a:gd name="T30" fmla="*/ 88 w 160"/>
              <a:gd name="T31" fmla="*/ 40 h 160"/>
              <a:gd name="T32" fmla="*/ 27 w 160"/>
              <a:gd name="T33" fmla="*/ 5 h 160"/>
              <a:gd name="T34" fmla="*/ 83 w 160"/>
              <a:gd name="T35" fmla="*/ 45 h 160"/>
              <a:gd name="T36" fmla="*/ 123 w 160"/>
              <a:gd name="T37" fmla="*/ 48 h 160"/>
              <a:gd name="T38" fmla="*/ 34 w 160"/>
              <a:gd name="T39" fmla="*/ 72 h 160"/>
              <a:gd name="T40" fmla="*/ 27 w 160"/>
              <a:gd name="T41" fmla="*/ 77 h 160"/>
              <a:gd name="T42" fmla="*/ 27 w 160"/>
              <a:gd name="T43" fmla="*/ 29 h 160"/>
              <a:gd name="T44" fmla="*/ 5 w 160"/>
              <a:gd name="T45" fmla="*/ 37 h 160"/>
              <a:gd name="T46" fmla="*/ 21 w 160"/>
              <a:gd name="T47" fmla="*/ 35 h 160"/>
              <a:gd name="T48" fmla="*/ 5 w 160"/>
              <a:gd name="T49" fmla="*/ 137 h 160"/>
              <a:gd name="T50" fmla="*/ 128 w 160"/>
              <a:gd name="T51" fmla="*/ 154 h 160"/>
              <a:gd name="T52" fmla="*/ 7 w 160"/>
              <a:gd name="T53" fmla="*/ 155 h 160"/>
              <a:gd name="T54" fmla="*/ 5 w 160"/>
              <a:gd name="T55" fmla="*/ 153 h 160"/>
              <a:gd name="T56" fmla="*/ 21 w 160"/>
              <a:gd name="T57" fmla="*/ 109 h 160"/>
              <a:gd name="T58" fmla="*/ 32 w 160"/>
              <a:gd name="T59" fmla="*/ 78 h 160"/>
              <a:gd name="T60" fmla="*/ 123 w 160"/>
              <a:gd name="T61" fmla="*/ 77 h 160"/>
              <a:gd name="T62" fmla="*/ 144 w 160"/>
              <a:gd name="T63" fmla="*/ 77 h 160"/>
              <a:gd name="T64" fmla="*/ 155 w 160"/>
              <a:gd name="T65" fmla="*/ 80 h 160"/>
              <a:gd name="T66" fmla="*/ 40 w 160"/>
              <a:gd name="T67" fmla="*/ 43 h 160"/>
              <a:gd name="T68" fmla="*/ 69 w 160"/>
              <a:gd name="T69" fmla="*/ 40 h 160"/>
              <a:gd name="T70" fmla="*/ 69 w 160"/>
              <a:gd name="T71" fmla="*/ 45 h 160"/>
              <a:gd name="T72" fmla="*/ 40 w 160"/>
              <a:gd name="T73" fmla="*/ 43 h 160"/>
              <a:gd name="T74" fmla="*/ 43 w 160"/>
              <a:gd name="T75" fmla="*/ 21 h 160"/>
              <a:gd name="T76" fmla="*/ 72 w 160"/>
              <a:gd name="T77" fmla="*/ 24 h 160"/>
              <a:gd name="T78" fmla="*/ 43 w 160"/>
              <a:gd name="T79" fmla="*/ 27 h 160"/>
              <a:gd name="T80" fmla="*/ 40 w 160"/>
              <a:gd name="T81" fmla="*/ 61 h 160"/>
              <a:gd name="T82" fmla="*/ 107 w 160"/>
              <a:gd name="T83" fmla="*/ 59 h 160"/>
              <a:gd name="T84" fmla="*/ 107 w 160"/>
              <a:gd name="T85" fmla="*/ 64 h 160"/>
              <a:gd name="T86" fmla="*/ 40 w 160"/>
              <a:gd name="T87" fmla="*/ 6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0">
                <a:moveTo>
                  <a:pt x="153" y="72"/>
                </a:moveTo>
                <a:cubicBezTo>
                  <a:pt x="144" y="72"/>
                  <a:pt x="144" y="72"/>
                  <a:pt x="144" y="72"/>
                </a:cubicBezTo>
                <a:cubicBezTo>
                  <a:pt x="144" y="55"/>
                  <a:pt x="144" y="55"/>
                  <a:pt x="144" y="55"/>
                </a:cubicBezTo>
                <a:cubicBezTo>
                  <a:pt x="144" y="51"/>
                  <a:pt x="141" y="48"/>
                  <a:pt x="137" y="48"/>
                </a:cubicBezTo>
                <a:cubicBezTo>
                  <a:pt x="128" y="48"/>
                  <a:pt x="128" y="48"/>
                  <a:pt x="128" y="48"/>
                </a:cubicBezTo>
                <a:cubicBezTo>
                  <a:pt x="128" y="42"/>
                  <a:pt x="128" y="42"/>
                  <a:pt x="128" y="42"/>
                </a:cubicBezTo>
                <a:cubicBezTo>
                  <a:pt x="127" y="40"/>
                  <a:pt x="127" y="40"/>
                  <a:pt x="127" y="40"/>
                </a:cubicBezTo>
                <a:cubicBezTo>
                  <a:pt x="127" y="40"/>
                  <a:pt x="127" y="40"/>
                  <a:pt x="127" y="40"/>
                </a:cubicBezTo>
                <a:cubicBezTo>
                  <a:pt x="107" y="21"/>
                  <a:pt x="107" y="21"/>
                  <a:pt x="107" y="21"/>
                </a:cubicBezTo>
                <a:cubicBezTo>
                  <a:pt x="86" y="0"/>
                  <a:pt x="86" y="0"/>
                  <a:pt x="86" y="0"/>
                </a:cubicBezTo>
                <a:cubicBezTo>
                  <a:pt x="21" y="0"/>
                  <a:pt x="21" y="0"/>
                  <a:pt x="21" y="0"/>
                </a:cubicBezTo>
                <a:cubicBezTo>
                  <a:pt x="21" y="29"/>
                  <a:pt x="21" y="29"/>
                  <a:pt x="21" y="29"/>
                </a:cubicBezTo>
                <a:cubicBezTo>
                  <a:pt x="7" y="29"/>
                  <a:pt x="7" y="29"/>
                  <a:pt x="7" y="29"/>
                </a:cubicBezTo>
                <a:cubicBezTo>
                  <a:pt x="3" y="29"/>
                  <a:pt x="0" y="33"/>
                  <a:pt x="0" y="37"/>
                </a:cubicBezTo>
                <a:cubicBezTo>
                  <a:pt x="0" y="153"/>
                  <a:pt x="0" y="153"/>
                  <a:pt x="0" y="153"/>
                </a:cubicBezTo>
                <a:cubicBezTo>
                  <a:pt x="0" y="153"/>
                  <a:pt x="0" y="153"/>
                  <a:pt x="0" y="153"/>
                </a:cubicBezTo>
                <a:cubicBezTo>
                  <a:pt x="0" y="155"/>
                  <a:pt x="0" y="156"/>
                  <a:pt x="1" y="157"/>
                </a:cubicBezTo>
                <a:cubicBezTo>
                  <a:pt x="3" y="159"/>
                  <a:pt x="5" y="160"/>
                  <a:pt x="7" y="160"/>
                </a:cubicBezTo>
                <a:cubicBezTo>
                  <a:pt x="126" y="160"/>
                  <a:pt x="126" y="160"/>
                  <a:pt x="126" y="160"/>
                </a:cubicBezTo>
                <a:cubicBezTo>
                  <a:pt x="129" y="160"/>
                  <a:pt x="132" y="158"/>
                  <a:pt x="133" y="155"/>
                </a:cubicBezTo>
                <a:cubicBezTo>
                  <a:pt x="160" y="80"/>
                  <a:pt x="160" y="80"/>
                  <a:pt x="160" y="80"/>
                </a:cubicBezTo>
                <a:cubicBezTo>
                  <a:pt x="160" y="80"/>
                  <a:pt x="160" y="80"/>
                  <a:pt x="160" y="80"/>
                </a:cubicBezTo>
                <a:cubicBezTo>
                  <a:pt x="160" y="75"/>
                  <a:pt x="157" y="72"/>
                  <a:pt x="153" y="72"/>
                </a:cubicBezTo>
                <a:close/>
                <a:moveTo>
                  <a:pt x="137" y="53"/>
                </a:moveTo>
                <a:cubicBezTo>
                  <a:pt x="138" y="53"/>
                  <a:pt x="139" y="54"/>
                  <a:pt x="139" y="55"/>
                </a:cubicBezTo>
                <a:cubicBezTo>
                  <a:pt x="139" y="72"/>
                  <a:pt x="139" y="72"/>
                  <a:pt x="139" y="72"/>
                </a:cubicBezTo>
                <a:cubicBezTo>
                  <a:pt x="128" y="72"/>
                  <a:pt x="128" y="72"/>
                  <a:pt x="128" y="72"/>
                </a:cubicBezTo>
                <a:cubicBezTo>
                  <a:pt x="128" y="53"/>
                  <a:pt x="128" y="53"/>
                  <a:pt x="128" y="53"/>
                </a:cubicBezTo>
                <a:lnTo>
                  <a:pt x="137" y="53"/>
                </a:lnTo>
                <a:close/>
                <a:moveTo>
                  <a:pt x="88" y="9"/>
                </a:moveTo>
                <a:cubicBezTo>
                  <a:pt x="119" y="40"/>
                  <a:pt x="119" y="40"/>
                  <a:pt x="119" y="40"/>
                </a:cubicBezTo>
                <a:cubicBezTo>
                  <a:pt x="88" y="40"/>
                  <a:pt x="88" y="40"/>
                  <a:pt x="88" y="40"/>
                </a:cubicBezTo>
                <a:lnTo>
                  <a:pt x="88" y="9"/>
                </a:lnTo>
                <a:close/>
                <a:moveTo>
                  <a:pt x="27" y="5"/>
                </a:moveTo>
                <a:cubicBezTo>
                  <a:pt x="83" y="5"/>
                  <a:pt x="83" y="5"/>
                  <a:pt x="83" y="5"/>
                </a:cubicBezTo>
                <a:cubicBezTo>
                  <a:pt x="83" y="45"/>
                  <a:pt x="83" y="45"/>
                  <a:pt x="83" y="45"/>
                </a:cubicBezTo>
                <a:cubicBezTo>
                  <a:pt x="123" y="45"/>
                  <a:pt x="123" y="45"/>
                  <a:pt x="123" y="45"/>
                </a:cubicBezTo>
                <a:cubicBezTo>
                  <a:pt x="123" y="48"/>
                  <a:pt x="123" y="48"/>
                  <a:pt x="123" y="48"/>
                </a:cubicBezTo>
                <a:cubicBezTo>
                  <a:pt x="123" y="72"/>
                  <a:pt x="123" y="72"/>
                  <a:pt x="123" y="72"/>
                </a:cubicBezTo>
                <a:cubicBezTo>
                  <a:pt x="34" y="72"/>
                  <a:pt x="34" y="72"/>
                  <a:pt x="34" y="72"/>
                </a:cubicBezTo>
                <a:cubicBezTo>
                  <a:pt x="34" y="72"/>
                  <a:pt x="33" y="72"/>
                  <a:pt x="33" y="72"/>
                </a:cubicBezTo>
                <a:cubicBezTo>
                  <a:pt x="30" y="73"/>
                  <a:pt x="28" y="74"/>
                  <a:pt x="27" y="77"/>
                </a:cubicBezTo>
                <a:cubicBezTo>
                  <a:pt x="27" y="79"/>
                  <a:pt x="27" y="79"/>
                  <a:pt x="27" y="79"/>
                </a:cubicBezTo>
                <a:cubicBezTo>
                  <a:pt x="27" y="29"/>
                  <a:pt x="27" y="29"/>
                  <a:pt x="27" y="29"/>
                </a:cubicBezTo>
                <a:lnTo>
                  <a:pt x="27" y="5"/>
                </a:lnTo>
                <a:close/>
                <a:moveTo>
                  <a:pt x="5" y="37"/>
                </a:moveTo>
                <a:cubicBezTo>
                  <a:pt x="5" y="36"/>
                  <a:pt x="6" y="35"/>
                  <a:pt x="7" y="35"/>
                </a:cubicBezTo>
                <a:cubicBezTo>
                  <a:pt x="21" y="35"/>
                  <a:pt x="21" y="35"/>
                  <a:pt x="21" y="35"/>
                </a:cubicBezTo>
                <a:cubicBezTo>
                  <a:pt x="21" y="93"/>
                  <a:pt x="21" y="93"/>
                  <a:pt x="21" y="93"/>
                </a:cubicBezTo>
                <a:cubicBezTo>
                  <a:pt x="5" y="137"/>
                  <a:pt x="5" y="137"/>
                  <a:pt x="5" y="137"/>
                </a:cubicBezTo>
                <a:lnTo>
                  <a:pt x="5" y="37"/>
                </a:lnTo>
                <a:close/>
                <a:moveTo>
                  <a:pt x="128" y="154"/>
                </a:moveTo>
                <a:cubicBezTo>
                  <a:pt x="127" y="154"/>
                  <a:pt x="127" y="155"/>
                  <a:pt x="126" y="155"/>
                </a:cubicBezTo>
                <a:cubicBezTo>
                  <a:pt x="7" y="155"/>
                  <a:pt x="7" y="155"/>
                  <a:pt x="7" y="155"/>
                </a:cubicBezTo>
                <a:cubicBezTo>
                  <a:pt x="6" y="155"/>
                  <a:pt x="6" y="154"/>
                  <a:pt x="6" y="154"/>
                </a:cubicBezTo>
                <a:cubicBezTo>
                  <a:pt x="5" y="154"/>
                  <a:pt x="5" y="153"/>
                  <a:pt x="5" y="153"/>
                </a:cubicBezTo>
                <a:cubicBezTo>
                  <a:pt x="21" y="109"/>
                  <a:pt x="21" y="109"/>
                  <a:pt x="21" y="109"/>
                </a:cubicBezTo>
                <a:cubicBezTo>
                  <a:pt x="21" y="109"/>
                  <a:pt x="21" y="109"/>
                  <a:pt x="21" y="109"/>
                </a:cubicBezTo>
                <a:cubicBezTo>
                  <a:pt x="32" y="79"/>
                  <a:pt x="32" y="79"/>
                  <a:pt x="32" y="79"/>
                </a:cubicBezTo>
                <a:cubicBezTo>
                  <a:pt x="32" y="78"/>
                  <a:pt x="32" y="78"/>
                  <a:pt x="32" y="78"/>
                </a:cubicBezTo>
                <a:cubicBezTo>
                  <a:pt x="33" y="78"/>
                  <a:pt x="33" y="77"/>
                  <a:pt x="34" y="77"/>
                </a:cubicBezTo>
                <a:cubicBezTo>
                  <a:pt x="123" y="77"/>
                  <a:pt x="123" y="77"/>
                  <a:pt x="123" y="77"/>
                </a:cubicBezTo>
                <a:cubicBezTo>
                  <a:pt x="128" y="77"/>
                  <a:pt x="128" y="77"/>
                  <a:pt x="128" y="77"/>
                </a:cubicBezTo>
                <a:cubicBezTo>
                  <a:pt x="144" y="77"/>
                  <a:pt x="144" y="77"/>
                  <a:pt x="144" y="77"/>
                </a:cubicBezTo>
                <a:cubicBezTo>
                  <a:pt x="153" y="77"/>
                  <a:pt x="153" y="77"/>
                  <a:pt x="153" y="77"/>
                </a:cubicBezTo>
                <a:cubicBezTo>
                  <a:pt x="154" y="77"/>
                  <a:pt x="155" y="79"/>
                  <a:pt x="155" y="80"/>
                </a:cubicBezTo>
                <a:lnTo>
                  <a:pt x="128" y="154"/>
                </a:lnTo>
                <a:close/>
                <a:moveTo>
                  <a:pt x="40" y="43"/>
                </a:moveTo>
                <a:cubicBezTo>
                  <a:pt x="40" y="41"/>
                  <a:pt x="41" y="40"/>
                  <a:pt x="43" y="40"/>
                </a:cubicBezTo>
                <a:cubicBezTo>
                  <a:pt x="69" y="40"/>
                  <a:pt x="69" y="40"/>
                  <a:pt x="69" y="40"/>
                </a:cubicBezTo>
                <a:cubicBezTo>
                  <a:pt x="71" y="40"/>
                  <a:pt x="72" y="41"/>
                  <a:pt x="72" y="43"/>
                </a:cubicBezTo>
                <a:cubicBezTo>
                  <a:pt x="72" y="44"/>
                  <a:pt x="71" y="45"/>
                  <a:pt x="69" y="45"/>
                </a:cubicBezTo>
                <a:cubicBezTo>
                  <a:pt x="43" y="45"/>
                  <a:pt x="43" y="45"/>
                  <a:pt x="43" y="45"/>
                </a:cubicBezTo>
                <a:cubicBezTo>
                  <a:pt x="41" y="45"/>
                  <a:pt x="40" y="44"/>
                  <a:pt x="40" y="43"/>
                </a:cubicBezTo>
                <a:close/>
                <a:moveTo>
                  <a:pt x="40" y="24"/>
                </a:moveTo>
                <a:cubicBezTo>
                  <a:pt x="40" y="23"/>
                  <a:pt x="41" y="21"/>
                  <a:pt x="43" y="21"/>
                </a:cubicBezTo>
                <a:cubicBezTo>
                  <a:pt x="69" y="21"/>
                  <a:pt x="69" y="21"/>
                  <a:pt x="69" y="21"/>
                </a:cubicBezTo>
                <a:cubicBezTo>
                  <a:pt x="71" y="21"/>
                  <a:pt x="72" y="23"/>
                  <a:pt x="72" y="24"/>
                </a:cubicBezTo>
                <a:cubicBezTo>
                  <a:pt x="72" y="25"/>
                  <a:pt x="71" y="27"/>
                  <a:pt x="69" y="27"/>
                </a:cubicBezTo>
                <a:cubicBezTo>
                  <a:pt x="43" y="27"/>
                  <a:pt x="43" y="27"/>
                  <a:pt x="43" y="27"/>
                </a:cubicBezTo>
                <a:cubicBezTo>
                  <a:pt x="41" y="27"/>
                  <a:pt x="40" y="25"/>
                  <a:pt x="40" y="24"/>
                </a:cubicBezTo>
                <a:close/>
                <a:moveTo>
                  <a:pt x="40" y="61"/>
                </a:moveTo>
                <a:cubicBezTo>
                  <a:pt x="40" y="60"/>
                  <a:pt x="41" y="59"/>
                  <a:pt x="43" y="59"/>
                </a:cubicBezTo>
                <a:cubicBezTo>
                  <a:pt x="107" y="59"/>
                  <a:pt x="107" y="59"/>
                  <a:pt x="107" y="59"/>
                </a:cubicBezTo>
                <a:cubicBezTo>
                  <a:pt x="108" y="59"/>
                  <a:pt x="109" y="60"/>
                  <a:pt x="109" y="61"/>
                </a:cubicBezTo>
                <a:cubicBezTo>
                  <a:pt x="109" y="63"/>
                  <a:pt x="108" y="64"/>
                  <a:pt x="107" y="64"/>
                </a:cubicBezTo>
                <a:cubicBezTo>
                  <a:pt x="43" y="64"/>
                  <a:pt x="43" y="64"/>
                  <a:pt x="43" y="64"/>
                </a:cubicBezTo>
                <a:cubicBezTo>
                  <a:pt x="41" y="64"/>
                  <a:pt x="40" y="63"/>
                  <a:pt x="40" y="61"/>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085">
            <a:extLst>
              <a:ext uri="{FF2B5EF4-FFF2-40B4-BE49-F238E27FC236}">
                <a16:creationId xmlns:a16="http://schemas.microsoft.com/office/drawing/2014/main" id="{CCBBC97C-9B1F-4842-858B-7CFFB1427D7B}"/>
              </a:ext>
            </a:extLst>
          </p:cNvPr>
          <p:cNvSpPr>
            <a:spLocks noEditPoints="1"/>
          </p:cNvSpPr>
          <p:nvPr/>
        </p:nvSpPr>
        <p:spPr bwMode="auto">
          <a:xfrm>
            <a:off x="1565271" y="4700588"/>
            <a:ext cx="546100" cy="550863"/>
          </a:xfrm>
          <a:custGeom>
            <a:avLst/>
            <a:gdLst>
              <a:gd name="T0" fmla="*/ 144 w 160"/>
              <a:gd name="T1" fmla="*/ 72 h 160"/>
              <a:gd name="T2" fmla="*/ 137 w 160"/>
              <a:gd name="T3" fmla="*/ 48 h 160"/>
              <a:gd name="T4" fmla="*/ 133 w 160"/>
              <a:gd name="T5" fmla="*/ 0 h 160"/>
              <a:gd name="T6" fmla="*/ 27 w 160"/>
              <a:gd name="T7" fmla="*/ 5 h 160"/>
              <a:gd name="T8" fmla="*/ 19 w 160"/>
              <a:gd name="T9" fmla="*/ 11 h 160"/>
              <a:gd name="T10" fmla="*/ 11 w 160"/>
              <a:gd name="T11" fmla="*/ 29 h 160"/>
              <a:gd name="T12" fmla="*/ 0 w 160"/>
              <a:gd name="T13" fmla="*/ 37 h 160"/>
              <a:gd name="T14" fmla="*/ 0 w 160"/>
              <a:gd name="T15" fmla="*/ 153 h 160"/>
              <a:gd name="T16" fmla="*/ 7 w 160"/>
              <a:gd name="T17" fmla="*/ 160 h 160"/>
              <a:gd name="T18" fmla="*/ 133 w 160"/>
              <a:gd name="T19" fmla="*/ 155 h 160"/>
              <a:gd name="T20" fmla="*/ 160 w 160"/>
              <a:gd name="T21" fmla="*/ 80 h 160"/>
              <a:gd name="T22" fmla="*/ 137 w 160"/>
              <a:gd name="T23" fmla="*/ 53 h 160"/>
              <a:gd name="T24" fmla="*/ 139 w 160"/>
              <a:gd name="T25" fmla="*/ 72 h 160"/>
              <a:gd name="T26" fmla="*/ 133 w 160"/>
              <a:gd name="T27" fmla="*/ 53 h 160"/>
              <a:gd name="T28" fmla="*/ 128 w 160"/>
              <a:gd name="T29" fmla="*/ 5 h 160"/>
              <a:gd name="T30" fmla="*/ 128 w 160"/>
              <a:gd name="T31" fmla="*/ 72 h 160"/>
              <a:gd name="T32" fmla="*/ 32 w 160"/>
              <a:gd name="T33" fmla="*/ 72 h 160"/>
              <a:gd name="T34" fmla="*/ 32 w 160"/>
              <a:gd name="T35" fmla="*/ 5 h 160"/>
              <a:gd name="T36" fmla="*/ 27 w 160"/>
              <a:gd name="T37" fmla="*/ 11 h 160"/>
              <a:gd name="T38" fmla="*/ 26 w 160"/>
              <a:gd name="T39" fmla="*/ 79 h 160"/>
              <a:gd name="T40" fmla="*/ 24 w 160"/>
              <a:gd name="T41" fmla="*/ 11 h 160"/>
              <a:gd name="T42" fmla="*/ 16 w 160"/>
              <a:gd name="T43" fmla="*/ 16 h 160"/>
              <a:gd name="T44" fmla="*/ 19 w 160"/>
              <a:gd name="T45" fmla="*/ 101 h 160"/>
              <a:gd name="T46" fmla="*/ 16 w 160"/>
              <a:gd name="T47" fmla="*/ 29 h 160"/>
              <a:gd name="T48" fmla="*/ 5 w 160"/>
              <a:gd name="T49" fmla="*/ 37 h 160"/>
              <a:gd name="T50" fmla="*/ 11 w 160"/>
              <a:gd name="T51" fmla="*/ 35 h 160"/>
              <a:gd name="T52" fmla="*/ 5 w 160"/>
              <a:gd name="T53" fmla="*/ 137 h 160"/>
              <a:gd name="T54" fmla="*/ 128 w 160"/>
              <a:gd name="T55" fmla="*/ 154 h 160"/>
              <a:gd name="T56" fmla="*/ 7 w 160"/>
              <a:gd name="T57" fmla="*/ 155 h 160"/>
              <a:gd name="T58" fmla="*/ 5 w 160"/>
              <a:gd name="T59" fmla="*/ 153 h 160"/>
              <a:gd name="T60" fmla="*/ 11 w 160"/>
              <a:gd name="T61" fmla="*/ 138 h 160"/>
              <a:gd name="T62" fmla="*/ 19 w 160"/>
              <a:gd name="T63" fmla="*/ 116 h 160"/>
              <a:gd name="T64" fmla="*/ 27 w 160"/>
              <a:gd name="T65" fmla="*/ 94 h 160"/>
              <a:gd name="T66" fmla="*/ 32 w 160"/>
              <a:gd name="T67" fmla="*/ 80 h 160"/>
              <a:gd name="T68" fmla="*/ 32 w 160"/>
              <a:gd name="T69" fmla="*/ 79 h 160"/>
              <a:gd name="T70" fmla="*/ 34 w 160"/>
              <a:gd name="T71" fmla="*/ 77 h 160"/>
              <a:gd name="T72" fmla="*/ 133 w 160"/>
              <a:gd name="T73" fmla="*/ 77 h 160"/>
              <a:gd name="T74" fmla="*/ 153 w 160"/>
              <a:gd name="T75" fmla="*/ 77 h 160"/>
              <a:gd name="T76" fmla="*/ 128 w 160"/>
              <a:gd name="T77" fmla="*/ 154 h 160"/>
              <a:gd name="T78" fmla="*/ 48 w 160"/>
              <a:gd name="T79" fmla="*/ 40 h 160"/>
              <a:gd name="T80" fmla="*/ 115 w 160"/>
              <a:gd name="T81" fmla="*/ 43 h 160"/>
              <a:gd name="T82" fmla="*/ 48 w 160"/>
              <a:gd name="T83" fmla="*/ 45 h 160"/>
              <a:gd name="T84" fmla="*/ 45 w 160"/>
              <a:gd name="T85" fmla="*/ 24 h 160"/>
              <a:gd name="T86" fmla="*/ 75 w 160"/>
              <a:gd name="T87" fmla="*/ 21 h 160"/>
              <a:gd name="T88" fmla="*/ 75 w 160"/>
              <a:gd name="T89" fmla="*/ 27 h 160"/>
              <a:gd name="T90" fmla="*/ 45 w 160"/>
              <a:gd name="T91" fmla="*/ 24 h 160"/>
              <a:gd name="T92" fmla="*/ 48 w 160"/>
              <a:gd name="T93" fmla="*/ 59 h 160"/>
              <a:gd name="T94" fmla="*/ 115 w 160"/>
              <a:gd name="T95" fmla="*/ 61 h 160"/>
              <a:gd name="T96" fmla="*/ 48 w 160"/>
              <a:gd name="T97"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60">
                <a:moveTo>
                  <a:pt x="153" y="72"/>
                </a:moveTo>
                <a:cubicBezTo>
                  <a:pt x="144" y="72"/>
                  <a:pt x="144" y="72"/>
                  <a:pt x="144" y="72"/>
                </a:cubicBezTo>
                <a:cubicBezTo>
                  <a:pt x="144" y="55"/>
                  <a:pt x="144" y="55"/>
                  <a:pt x="144" y="55"/>
                </a:cubicBezTo>
                <a:cubicBezTo>
                  <a:pt x="144" y="51"/>
                  <a:pt x="141" y="48"/>
                  <a:pt x="137" y="48"/>
                </a:cubicBezTo>
                <a:cubicBezTo>
                  <a:pt x="133" y="48"/>
                  <a:pt x="133" y="48"/>
                  <a:pt x="133" y="48"/>
                </a:cubicBezTo>
                <a:cubicBezTo>
                  <a:pt x="133" y="0"/>
                  <a:pt x="133" y="0"/>
                  <a:pt x="133" y="0"/>
                </a:cubicBezTo>
                <a:cubicBezTo>
                  <a:pt x="27" y="0"/>
                  <a:pt x="27" y="0"/>
                  <a:pt x="27" y="0"/>
                </a:cubicBezTo>
                <a:cubicBezTo>
                  <a:pt x="27" y="5"/>
                  <a:pt x="27" y="5"/>
                  <a:pt x="27" y="5"/>
                </a:cubicBezTo>
                <a:cubicBezTo>
                  <a:pt x="19" y="5"/>
                  <a:pt x="19" y="5"/>
                  <a:pt x="19" y="5"/>
                </a:cubicBezTo>
                <a:cubicBezTo>
                  <a:pt x="19" y="11"/>
                  <a:pt x="19" y="11"/>
                  <a:pt x="19" y="11"/>
                </a:cubicBezTo>
                <a:cubicBezTo>
                  <a:pt x="11" y="11"/>
                  <a:pt x="11" y="11"/>
                  <a:pt x="11" y="11"/>
                </a:cubicBezTo>
                <a:cubicBezTo>
                  <a:pt x="11" y="29"/>
                  <a:pt x="11" y="29"/>
                  <a:pt x="11" y="29"/>
                </a:cubicBezTo>
                <a:cubicBezTo>
                  <a:pt x="7" y="29"/>
                  <a:pt x="7" y="29"/>
                  <a:pt x="7" y="29"/>
                </a:cubicBezTo>
                <a:cubicBezTo>
                  <a:pt x="3" y="29"/>
                  <a:pt x="0" y="33"/>
                  <a:pt x="0" y="37"/>
                </a:cubicBezTo>
                <a:cubicBezTo>
                  <a:pt x="0" y="153"/>
                  <a:pt x="0" y="153"/>
                  <a:pt x="0" y="153"/>
                </a:cubicBezTo>
                <a:cubicBezTo>
                  <a:pt x="0" y="153"/>
                  <a:pt x="0" y="153"/>
                  <a:pt x="0" y="153"/>
                </a:cubicBezTo>
                <a:cubicBezTo>
                  <a:pt x="0" y="155"/>
                  <a:pt x="0" y="156"/>
                  <a:pt x="1" y="157"/>
                </a:cubicBezTo>
                <a:cubicBezTo>
                  <a:pt x="3" y="159"/>
                  <a:pt x="5" y="160"/>
                  <a:pt x="7" y="160"/>
                </a:cubicBezTo>
                <a:cubicBezTo>
                  <a:pt x="126" y="160"/>
                  <a:pt x="126" y="160"/>
                  <a:pt x="126" y="160"/>
                </a:cubicBezTo>
                <a:cubicBezTo>
                  <a:pt x="129" y="160"/>
                  <a:pt x="132" y="158"/>
                  <a:pt x="133" y="155"/>
                </a:cubicBezTo>
                <a:cubicBezTo>
                  <a:pt x="160" y="80"/>
                  <a:pt x="160" y="80"/>
                  <a:pt x="160" y="80"/>
                </a:cubicBezTo>
                <a:cubicBezTo>
                  <a:pt x="160" y="80"/>
                  <a:pt x="160" y="80"/>
                  <a:pt x="160" y="80"/>
                </a:cubicBezTo>
                <a:cubicBezTo>
                  <a:pt x="160" y="75"/>
                  <a:pt x="157" y="72"/>
                  <a:pt x="153" y="72"/>
                </a:cubicBezTo>
                <a:close/>
                <a:moveTo>
                  <a:pt x="137" y="53"/>
                </a:moveTo>
                <a:cubicBezTo>
                  <a:pt x="138" y="53"/>
                  <a:pt x="139" y="54"/>
                  <a:pt x="139" y="55"/>
                </a:cubicBezTo>
                <a:cubicBezTo>
                  <a:pt x="139" y="72"/>
                  <a:pt x="139" y="72"/>
                  <a:pt x="139" y="72"/>
                </a:cubicBezTo>
                <a:cubicBezTo>
                  <a:pt x="133" y="72"/>
                  <a:pt x="133" y="72"/>
                  <a:pt x="133" y="72"/>
                </a:cubicBezTo>
                <a:cubicBezTo>
                  <a:pt x="133" y="53"/>
                  <a:pt x="133" y="53"/>
                  <a:pt x="133" y="53"/>
                </a:cubicBezTo>
                <a:lnTo>
                  <a:pt x="137" y="53"/>
                </a:lnTo>
                <a:close/>
                <a:moveTo>
                  <a:pt x="128" y="5"/>
                </a:moveTo>
                <a:cubicBezTo>
                  <a:pt x="128" y="48"/>
                  <a:pt x="128" y="48"/>
                  <a:pt x="128" y="48"/>
                </a:cubicBezTo>
                <a:cubicBezTo>
                  <a:pt x="128" y="72"/>
                  <a:pt x="128" y="72"/>
                  <a:pt x="128" y="72"/>
                </a:cubicBezTo>
                <a:cubicBezTo>
                  <a:pt x="34" y="72"/>
                  <a:pt x="34" y="72"/>
                  <a:pt x="34" y="72"/>
                </a:cubicBezTo>
                <a:cubicBezTo>
                  <a:pt x="33" y="72"/>
                  <a:pt x="33" y="72"/>
                  <a:pt x="32" y="72"/>
                </a:cubicBezTo>
                <a:cubicBezTo>
                  <a:pt x="32" y="72"/>
                  <a:pt x="32" y="72"/>
                  <a:pt x="32" y="72"/>
                </a:cubicBezTo>
                <a:cubicBezTo>
                  <a:pt x="32" y="5"/>
                  <a:pt x="32" y="5"/>
                  <a:pt x="32" y="5"/>
                </a:cubicBezTo>
                <a:lnTo>
                  <a:pt x="128" y="5"/>
                </a:lnTo>
                <a:close/>
                <a:moveTo>
                  <a:pt x="27" y="11"/>
                </a:moveTo>
                <a:cubicBezTo>
                  <a:pt x="27" y="79"/>
                  <a:pt x="27" y="79"/>
                  <a:pt x="27" y="79"/>
                </a:cubicBezTo>
                <a:cubicBezTo>
                  <a:pt x="26" y="79"/>
                  <a:pt x="26" y="79"/>
                  <a:pt x="26" y="79"/>
                </a:cubicBezTo>
                <a:cubicBezTo>
                  <a:pt x="24" y="86"/>
                  <a:pt x="24" y="86"/>
                  <a:pt x="24" y="86"/>
                </a:cubicBezTo>
                <a:cubicBezTo>
                  <a:pt x="24" y="11"/>
                  <a:pt x="24" y="11"/>
                  <a:pt x="24" y="11"/>
                </a:cubicBezTo>
                <a:lnTo>
                  <a:pt x="27" y="11"/>
                </a:lnTo>
                <a:close/>
                <a:moveTo>
                  <a:pt x="16" y="16"/>
                </a:moveTo>
                <a:cubicBezTo>
                  <a:pt x="19" y="16"/>
                  <a:pt x="19" y="16"/>
                  <a:pt x="19" y="16"/>
                </a:cubicBezTo>
                <a:cubicBezTo>
                  <a:pt x="19" y="101"/>
                  <a:pt x="19" y="101"/>
                  <a:pt x="19" y="101"/>
                </a:cubicBezTo>
                <a:cubicBezTo>
                  <a:pt x="16" y="108"/>
                  <a:pt x="16" y="108"/>
                  <a:pt x="16" y="108"/>
                </a:cubicBezTo>
                <a:cubicBezTo>
                  <a:pt x="16" y="29"/>
                  <a:pt x="16" y="29"/>
                  <a:pt x="16" y="29"/>
                </a:cubicBezTo>
                <a:lnTo>
                  <a:pt x="16" y="16"/>
                </a:lnTo>
                <a:close/>
                <a:moveTo>
                  <a:pt x="5" y="37"/>
                </a:moveTo>
                <a:cubicBezTo>
                  <a:pt x="5" y="36"/>
                  <a:pt x="6" y="35"/>
                  <a:pt x="7" y="35"/>
                </a:cubicBezTo>
                <a:cubicBezTo>
                  <a:pt x="11" y="35"/>
                  <a:pt x="11" y="35"/>
                  <a:pt x="11" y="35"/>
                </a:cubicBezTo>
                <a:cubicBezTo>
                  <a:pt x="11" y="123"/>
                  <a:pt x="11" y="123"/>
                  <a:pt x="11" y="123"/>
                </a:cubicBezTo>
                <a:cubicBezTo>
                  <a:pt x="5" y="137"/>
                  <a:pt x="5" y="137"/>
                  <a:pt x="5" y="137"/>
                </a:cubicBezTo>
                <a:lnTo>
                  <a:pt x="5" y="37"/>
                </a:lnTo>
                <a:close/>
                <a:moveTo>
                  <a:pt x="128" y="154"/>
                </a:moveTo>
                <a:cubicBezTo>
                  <a:pt x="127" y="154"/>
                  <a:pt x="127" y="155"/>
                  <a:pt x="126" y="155"/>
                </a:cubicBezTo>
                <a:cubicBezTo>
                  <a:pt x="7" y="155"/>
                  <a:pt x="7" y="155"/>
                  <a:pt x="7" y="155"/>
                </a:cubicBezTo>
                <a:cubicBezTo>
                  <a:pt x="6" y="155"/>
                  <a:pt x="6" y="154"/>
                  <a:pt x="6" y="154"/>
                </a:cubicBezTo>
                <a:cubicBezTo>
                  <a:pt x="5" y="154"/>
                  <a:pt x="5" y="153"/>
                  <a:pt x="5" y="153"/>
                </a:cubicBezTo>
                <a:cubicBezTo>
                  <a:pt x="11" y="138"/>
                  <a:pt x="11" y="138"/>
                  <a:pt x="11" y="138"/>
                </a:cubicBezTo>
                <a:cubicBezTo>
                  <a:pt x="11" y="138"/>
                  <a:pt x="11" y="138"/>
                  <a:pt x="11" y="138"/>
                </a:cubicBezTo>
                <a:cubicBezTo>
                  <a:pt x="19" y="116"/>
                  <a:pt x="19" y="116"/>
                  <a:pt x="19" y="116"/>
                </a:cubicBezTo>
                <a:cubicBezTo>
                  <a:pt x="19" y="116"/>
                  <a:pt x="19" y="116"/>
                  <a:pt x="19" y="116"/>
                </a:cubicBezTo>
                <a:cubicBezTo>
                  <a:pt x="27" y="94"/>
                  <a:pt x="27" y="94"/>
                  <a:pt x="27" y="94"/>
                </a:cubicBezTo>
                <a:cubicBezTo>
                  <a:pt x="27" y="94"/>
                  <a:pt x="27" y="94"/>
                  <a:pt x="27" y="94"/>
                </a:cubicBezTo>
                <a:cubicBezTo>
                  <a:pt x="32" y="80"/>
                  <a:pt x="32" y="80"/>
                  <a:pt x="32" y="80"/>
                </a:cubicBezTo>
                <a:cubicBezTo>
                  <a:pt x="32" y="80"/>
                  <a:pt x="32" y="80"/>
                  <a:pt x="32" y="80"/>
                </a:cubicBezTo>
                <a:cubicBezTo>
                  <a:pt x="32" y="80"/>
                  <a:pt x="32" y="80"/>
                  <a:pt x="32" y="80"/>
                </a:cubicBezTo>
                <a:cubicBezTo>
                  <a:pt x="32" y="79"/>
                  <a:pt x="32" y="79"/>
                  <a:pt x="32" y="79"/>
                </a:cubicBezTo>
                <a:cubicBezTo>
                  <a:pt x="32" y="78"/>
                  <a:pt x="32" y="78"/>
                  <a:pt x="32" y="78"/>
                </a:cubicBezTo>
                <a:cubicBezTo>
                  <a:pt x="33" y="78"/>
                  <a:pt x="33" y="77"/>
                  <a:pt x="34" y="77"/>
                </a:cubicBezTo>
                <a:cubicBezTo>
                  <a:pt x="128" y="77"/>
                  <a:pt x="128" y="77"/>
                  <a:pt x="128" y="77"/>
                </a:cubicBezTo>
                <a:cubicBezTo>
                  <a:pt x="133" y="77"/>
                  <a:pt x="133" y="77"/>
                  <a:pt x="133" y="77"/>
                </a:cubicBezTo>
                <a:cubicBezTo>
                  <a:pt x="144" y="77"/>
                  <a:pt x="144" y="77"/>
                  <a:pt x="144" y="77"/>
                </a:cubicBezTo>
                <a:cubicBezTo>
                  <a:pt x="153" y="77"/>
                  <a:pt x="153" y="77"/>
                  <a:pt x="153" y="77"/>
                </a:cubicBezTo>
                <a:cubicBezTo>
                  <a:pt x="154" y="77"/>
                  <a:pt x="155" y="79"/>
                  <a:pt x="155" y="80"/>
                </a:cubicBezTo>
                <a:lnTo>
                  <a:pt x="128" y="154"/>
                </a:lnTo>
                <a:close/>
                <a:moveTo>
                  <a:pt x="45" y="43"/>
                </a:moveTo>
                <a:cubicBezTo>
                  <a:pt x="45" y="41"/>
                  <a:pt x="47" y="40"/>
                  <a:pt x="48" y="40"/>
                </a:cubicBezTo>
                <a:cubicBezTo>
                  <a:pt x="112" y="40"/>
                  <a:pt x="112" y="40"/>
                  <a:pt x="112" y="40"/>
                </a:cubicBezTo>
                <a:cubicBezTo>
                  <a:pt x="113" y="40"/>
                  <a:pt x="115" y="41"/>
                  <a:pt x="115" y="43"/>
                </a:cubicBezTo>
                <a:cubicBezTo>
                  <a:pt x="115" y="44"/>
                  <a:pt x="113" y="45"/>
                  <a:pt x="112" y="45"/>
                </a:cubicBezTo>
                <a:cubicBezTo>
                  <a:pt x="48" y="45"/>
                  <a:pt x="48" y="45"/>
                  <a:pt x="48" y="45"/>
                </a:cubicBezTo>
                <a:cubicBezTo>
                  <a:pt x="47" y="45"/>
                  <a:pt x="45" y="44"/>
                  <a:pt x="45" y="43"/>
                </a:cubicBezTo>
                <a:close/>
                <a:moveTo>
                  <a:pt x="45" y="24"/>
                </a:moveTo>
                <a:cubicBezTo>
                  <a:pt x="45" y="23"/>
                  <a:pt x="47" y="21"/>
                  <a:pt x="48" y="21"/>
                </a:cubicBezTo>
                <a:cubicBezTo>
                  <a:pt x="75" y="21"/>
                  <a:pt x="75" y="21"/>
                  <a:pt x="75" y="21"/>
                </a:cubicBezTo>
                <a:cubicBezTo>
                  <a:pt x="76" y="21"/>
                  <a:pt x="77" y="23"/>
                  <a:pt x="77" y="24"/>
                </a:cubicBezTo>
                <a:cubicBezTo>
                  <a:pt x="77" y="25"/>
                  <a:pt x="76" y="27"/>
                  <a:pt x="75" y="27"/>
                </a:cubicBezTo>
                <a:cubicBezTo>
                  <a:pt x="48" y="27"/>
                  <a:pt x="48" y="27"/>
                  <a:pt x="48" y="27"/>
                </a:cubicBezTo>
                <a:cubicBezTo>
                  <a:pt x="47" y="27"/>
                  <a:pt x="45" y="25"/>
                  <a:pt x="45" y="24"/>
                </a:cubicBezTo>
                <a:close/>
                <a:moveTo>
                  <a:pt x="45" y="61"/>
                </a:moveTo>
                <a:cubicBezTo>
                  <a:pt x="45" y="60"/>
                  <a:pt x="47" y="59"/>
                  <a:pt x="48" y="59"/>
                </a:cubicBezTo>
                <a:cubicBezTo>
                  <a:pt x="112" y="59"/>
                  <a:pt x="112" y="59"/>
                  <a:pt x="112" y="59"/>
                </a:cubicBezTo>
                <a:cubicBezTo>
                  <a:pt x="113" y="59"/>
                  <a:pt x="115" y="60"/>
                  <a:pt x="115" y="61"/>
                </a:cubicBezTo>
                <a:cubicBezTo>
                  <a:pt x="115" y="63"/>
                  <a:pt x="113" y="64"/>
                  <a:pt x="112" y="64"/>
                </a:cubicBezTo>
                <a:cubicBezTo>
                  <a:pt x="48" y="64"/>
                  <a:pt x="48" y="64"/>
                  <a:pt x="48" y="64"/>
                </a:cubicBezTo>
                <a:cubicBezTo>
                  <a:pt x="47" y="64"/>
                  <a:pt x="45" y="63"/>
                  <a:pt x="45" y="61"/>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2086">
            <a:extLst>
              <a:ext uri="{FF2B5EF4-FFF2-40B4-BE49-F238E27FC236}">
                <a16:creationId xmlns:a16="http://schemas.microsoft.com/office/drawing/2014/main" id="{39415476-B272-8047-A022-2B5AF1373D0C}"/>
              </a:ext>
            </a:extLst>
          </p:cNvPr>
          <p:cNvSpPr>
            <a:spLocks noEditPoints="1"/>
          </p:cNvSpPr>
          <p:nvPr/>
        </p:nvSpPr>
        <p:spPr bwMode="auto">
          <a:xfrm>
            <a:off x="1565271" y="5346700"/>
            <a:ext cx="546100" cy="485775"/>
          </a:xfrm>
          <a:custGeom>
            <a:avLst/>
            <a:gdLst>
              <a:gd name="T0" fmla="*/ 71 w 160"/>
              <a:gd name="T1" fmla="*/ 19 h 141"/>
              <a:gd name="T2" fmla="*/ 58 w 160"/>
              <a:gd name="T3" fmla="*/ 1 h 141"/>
              <a:gd name="T4" fmla="*/ 58 w 160"/>
              <a:gd name="T5" fmla="*/ 1 h 141"/>
              <a:gd name="T6" fmla="*/ 57 w 160"/>
              <a:gd name="T7" fmla="*/ 0 h 141"/>
              <a:gd name="T8" fmla="*/ 0 w 160"/>
              <a:gd name="T9" fmla="*/ 0 h 141"/>
              <a:gd name="T10" fmla="*/ 0 w 160"/>
              <a:gd name="T11" fmla="*/ 141 h 141"/>
              <a:gd name="T12" fmla="*/ 160 w 160"/>
              <a:gd name="T13" fmla="*/ 141 h 141"/>
              <a:gd name="T14" fmla="*/ 160 w 160"/>
              <a:gd name="T15" fmla="*/ 19 h 141"/>
              <a:gd name="T16" fmla="*/ 71 w 160"/>
              <a:gd name="T17" fmla="*/ 19 h 141"/>
              <a:gd name="T18" fmla="*/ 155 w 160"/>
              <a:gd name="T19" fmla="*/ 24 h 141"/>
              <a:gd name="T20" fmla="*/ 155 w 160"/>
              <a:gd name="T21" fmla="*/ 37 h 141"/>
              <a:gd name="T22" fmla="*/ 84 w 160"/>
              <a:gd name="T23" fmla="*/ 37 h 141"/>
              <a:gd name="T24" fmla="*/ 75 w 160"/>
              <a:gd name="T25" fmla="*/ 24 h 141"/>
              <a:gd name="T26" fmla="*/ 155 w 160"/>
              <a:gd name="T27" fmla="*/ 24 h 141"/>
              <a:gd name="T28" fmla="*/ 5 w 160"/>
              <a:gd name="T29" fmla="*/ 136 h 141"/>
              <a:gd name="T30" fmla="*/ 5 w 160"/>
              <a:gd name="T31" fmla="*/ 5 h 141"/>
              <a:gd name="T32" fmla="*/ 55 w 160"/>
              <a:gd name="T33" fmla="*/ 5 h 141"/>
              <a:gd name="T34" fmla="*/ 68 w 160"/>
              <a:gd name="T35" fmla="*/ 24 h 141"/>
              <a:gd name="T36" fmla="*/ 68 w 160"/>
              <a:gd name="T37" fmla="*/ 24 h 141"/>
              <a:gd name="T38" fmla="*/ 80 w 160"/>
              <a:gd name="T39" fmla="*/ 41 h 141"/>
              <a:gd name="T40" fmla="*/ 83 w 160"/>
              <a:gd name="T41" fmla="*/ 43 h 141"/>
              <a:gd name="T42" fmla="*/ 83 w 160"/>
              <a:gd name="T43" fmla="*/ 43 h 141"/>
              <a:gd name="T44" fmla="*/ 155 w 160"/>
              <a:gd name="T45" fmla="*/ 43 h 141"/>
              <a:gd name="T46" fmla="*/ 155 w 160"/>
              <a:gd name="T47" fmla="*/ 136 h 141"/>
              <a:gd name="T48" fmla="*/ 5 w 160"/>
              <a:gd name="T49" fmla="*/ 136 h 141"/>
              <a:gd name="T50" fmla="*/ 99 w 160"/>
              <a:gd name="T51" fmla="*/ 89 h 141"/>
              <a:gd name="T52" fmla="*/ 103 w 160"/>
              <a:gd name="T53" fmla="*/ 93 h 141"/>
              <a:gd name="T54" fmla="*/ 80 w 160"/>
              <a:gd name="T55" fmla="*/ 116 h 141"/>
              <a:gd name="T56" fmla="*/ 57 w 160"/>
              <a:gd name="T57" fmla="*/ 93 h 141"/>
              <a:gd name="T58" fmla="*/ 61 w 160"/>
              <a:gd name="T59" fmla="*/ 89 h 141"/>
              <a:gd name="T60" fmla="*/ 77 w 160"/>
              <a:gd name="T61" fmla="*/ 106 h 141"/>
              <a:gd name="T62" fmla="*/ 77 w 160"/>
              <a:gd name="T63" fmla="*/ 59 h 141"/>
              <a:gd name="T64" fmla="*/ 83 w 160"/>
              <a:gd name="T65" fmla="*/ 59 h 141"/>
              <a:gd name="T66" fmla="*/ 83 w 160"/>
              <a:gd name="T67" fmla="*/ 106 h 141"/>
              <a:gd name="T68" fmla="*/ 99 w 160"/>
              <a:gd name="T69" fmla="*/ 8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41">
                <a:moveTo>
                  <a:pt x="71" y="19"/>
                </a:moveTo>
                <a:cubicBezTo>
                  <a:pt x="58" y="1"/>
                  <a:pt x="58" y="1"/>
                  <a:pt x="58" y="1"/>
                </a:cubicBezTo>
                <a:cubicBezTo>
                  <a:pt x="58" y="1"/>
                  <a:pt x="58" y="1"/>
                  <a:pt x="58" y="1"/>
                </a:cubicBezTo>
                <a:cubicBezTo>
                  <a:pt x="57" y="0"/>
                  <a:pt x="57" y="0"/>
                  <a:pt x="57" y="0"/>
                </a:cubicBezTo>
                <a:cubicBezTo>
                  <a:pt x="0" y="0"/>
                  <a:pt x="0" y="0"/>
                  <a:pt x="0" y="0"/>
                </a:cubicBezTo>
                <a:cubicBezTo>
                  <a:pt x="0" y="141"/>
                  <a:pt x="0" y="141"/>
                  <a:pt x="0" y="141"/>
                </a:cubicBezTo>
                <a:cubicBezTo>
                  <a:pt x="160" y="141"/>
                  <a:pt x="160" y="141"/>
                  <a:pt x="160" y="141"/>
                </a:cubicBezTo>
                <a:cubicBezTo>
                  <a:pt x="160" y="19"/>
                  <a:pt x="160" y="19"/>
                  <a:pt x="160" y="19"/>
                </a:cubicBezTo>
                <a:lnTo>
                  <a:pt x="71" y="19"/>
                </a:lnTo>
                <a:close/>
                <a:moveTo>
                  <a:pt x="155" y="24"/>
                </a:moveTo>
                <a:cubicBezTo>
                  <a:pt x="155" y="37"/>
                  <a:pt x="155" y="37"/>
                  <a:pt x="155" y="37"/>
                </a:cubicBezTo>
                <a:cubicBezTo>
                  <a:pt x="84" y="37"/>
                  <a:pt x="84" y="37"/>
                  <a:pt x="84" y="37"/>
                </a:cubicBezTo>
                <a:cubicBezTo>
                  <a:pt x="75" y="24"/>
                  <a:pt x="75" y="24"/>
                  <a:pt x="75" y="24"/>
                </a:cubicBezTo>
                <a:lnTo>
                  <a:pt x="155" y="24"/>
                </a:lnTo>
                <a:close/>
                <a:moveTo>
                  <a:pt x="5" y="136"/>
                </a:moveTo>
                <a:cubicBezTo>
                  <a:pt x="5" y="5"/>
                  <a:pt x="5" y="5"/>
                  <a:pt x="5" y="5"/>
                </a:cubicBezTo>
                <a:cubicBezTo>
                  <a:pt x="55" y="5"/>
                  <a:pt x="55" y="5"/>
                  <a:pt x="55" y="5"/>
                </a:cubicBezTo>
                <a:cubicBezTo>
                  <a:pt x="68" y="24"/>
                  <a:pt x="68" y="24"/>
                  <a:pt x="68" y="24"/>
                </a:cubicBezTo>
                <a:cubicBezTo>
                  <a:pt x="68" y="24"/>
                  <a:pt x="68" y="24"/>
                  <a:pt x="68" y="24"/>
                </a:cubicBezTo>
                <a:cubicBezTo>
                  <a:pt x="80" y="41"/>
                  <a:pt x="80" y="41"/>
                  <a:pt x="80" y="41"/>
                </a:cubicBezTo>
                <a:cubicBezTo>
                  <a:pt x="81" y="42"/>
                  <a:pt x="82" y="43"/>
                  <a:pt x="83" y="43"/>
                </a:cubicBezTo>
                <a:cubicBezTo>
                  <a:pt x="83" y="43"/>
                  <a:pt x="83" y="43"/>
                  <a:pt x="83" y="43"/>
                </a:cubicBezTo>
                <a:cubicBezTo>
                  <a:pt x="155" y="43"/>
                  <a:pt x="155" y="43"/>
                  <a:pt x="155" y="43"/>
                </a:cubicBezTo>
                <a:cubicBezTo>
                  <a:pt x="155" y="136"/>
                  <a:pt x="155" y="136"/>
                  <a:pt x="155" y="136"/>
                </a:cubicBezTo>
                <a:lnTo>
                  <a:pt x="5" y="136"/>
                </a:lnTo>
                <a:close/>
                <a:moveTo>
                  <a:pt x="99" y="89"/>
                </a:moveTo>
                <a:cubicBezTo>
                  <a:pt x="103" y="93"/>
                  <a:pt x="103" y="93"/>
                  <a:pt x="103" y="93"/>
                </a:cubicBezTo>
                <a:cubicBezTo>
                  <a:pt x="80" y="116"/>
                  <a:pt x="80" y="116"/>
                  <a:pt x="80" y="116"/>
                </a:cubicBezTo>
                <a:cubicBezTo>
                  <a:pt x="57" y="93"/>
                  <a:pt x="57" y="93"/>
                  <a:pt x="57" y="93"/>
                </a:cubicBezTo>
                <a:cubicBezTo>
                  <a:pt x="61" y="89"/>
                  <a:pt x="61" y="89"/>
                  <a:pt x="61" y="89"/>
                </a:cubicBezTo>
                <a:cubicBezTo>
                  <a:pt x="77" y="106"/>
                  <a:pt x="77" y="106"/>
                  <a:pt x="77" y="106"/>
                </a:cubicBezTo>
                <a:cubicBezTo>
                  <a:pt x="77" y="59"/>
                  <a:pt x="77" y="59"/>
                  <a:pt x="77" y="59"/>
                </a:cubicBezTo>
                <a:cubicBezTo>
                  <a:pt x="83" y="59"/>
                  <a:pt x="83" y="59"/>
                  <a:pt x="83" y="59"/>
                </a:cubicBezTo>
                <a:cubicBezTo>
                  <a:pt x="83" y="106"/>
                  <a:pt x="83" y="106"/>
                  <a:pt x="83" y="106"/>
                </a:cubicBezTo>
                <a:lnTo>
                  <a:pt x="99" y="89"/>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087">
            <a:extLst>
              <a:ext uri="{FF2B5EF4-FFF2-40B4-BE49-F238E27FC236}">
                <a16:creationId xmlns:a16="http://schemas.microsoft.com/office/drawing/2014/main" id="{CD83AFB1-A670-1041-BFD8-9C7C12406A79}"/>
              </a:ext>
            </a:extLst>
          </p:cNvPr>
          <p:cNvSpPr>
            <a:spLocks noEditPoints="1"/>
          </p:cNvSpPr>
          <p:nvPr/>
        </p:nvSpPr>
        <p:spPr bwMode="auto">
          <a:xfrm>
            <a:off x="1565271" y="5967413"/>
            <a:ext cx="546100" cy="484188"/>
          </a:xfrm>
          <a:custGeom>
            <a:avLst/>
            <a:gdLst>
              <a:gd name="T0" fmla="*/ 71 w 160"/>
              <a:gd name="T1" fmla="*/ 19 h 141"/>
              <a:gd name="T2" fmla="*/ 58 w 160"/>
              <a:gd name="T3" fmla="*/ 1 h 141"/>
              <a:gd name="T4" fmla="*/ 58 w 160"/>
              <a:gd name="T5" fmla="*/ 1 h 141"/>
              <a:gd name="T6" fmla="*/ 57 w 160"/>
              <a:gd name="T7" fmla="*/ 0 h 141"/>
              <a:gd name="T8" fmla="*/ 0 w 160"/>
              <a:gd name="T9" fmla="*/ 0 h 141"/>
              <a:gd name="T10" fmla="*/ 0 w 160"/>
              <a:gd name="T11" fmla="*/ 141 h 141"/>
              <a:gd name="T12" fmla="*/ 160 w 160"/>
              <a:gd name="T13" fmla="*/ 141 h 141"/>
              <a:gd name="T14" fmla="*/ 160 w 160"/>
              <a:gd name="T15" fmla="*/ 19 h 141"/>
              <a:gd name="T16" fmla="*/ 71 w 160"/>
              <a:gd name="T17" fmla="*/ 19 h 141"/>
              <a:gd name="T18" fmla="*/ 155 w 160"/>
              <a:gd name="T19" fmla="*/ 24 h 141"/>
              <a:gd name="T20" fmla="*/ 155 w 160"/>
              <a:gd name="T21" fmla="*/ 37 h 141"/>
              <a:gd name="T22" fmla="*/ 84 w 160"/>
              <a:gd name="T23" fmla="*/ 37 h 141"/>
              <a:gd name="T24" fmla="*/ 75 w 160"/>
              <a:gd name="T25" fmla="*/ 24 h 141"/>
              <a:gd name="T26" fmla="*/ 155 w 160"/>
              <a:gd name="T27" fmla="*/ 24 h 141"/>
              <a:gd name="T28" fmla="*/ 5 w 160"/>
              <a:gd name="T29" fmla="*/ 136 h 141"/>
              <a:gd name="T30" fmla="*/ 5 w 160"/>
              <a:gd name="T31" fmla="*/ 5 h 141"/>
              <a:gd name="T32" fmla="*/ 55 w 160"/>
              <a:gd name="T33" fmla="*/ 5 h 141"/>
              <a:gd name="T34" fmla="*/ 68 w 160"/>
              <a:gd name="T35" fmla="*/ 24 h 141"/>
              <a:gd name="T36" fmla="*/ 68 w 160"/>
              <a:gd name="T37" fmla="*/ 24 h 141"/>
              <a:gd name="T38" fmla="*/ 80 w 160"/>
              <a:gd name="T39" fmla="*/ 41 h 141"/>
              <a:gd name="T40" fmla="*/ 83 w 160"/>
              <a:gd name="T41" fmla="*/ 43 h 141"/>
              <a:gd name="T42" fmla="*/ 83 w 160"/>
              <a:gd name="T43" fmla="*/ 43 h 141"/>
              <a:gd name="T44" fmla="*/ 155 w 160"/>
              <a:gd name="T45" fmla="*/ 43 h 141"/>
              <a:gd name="T46" fmla="*/ 155 w 160"/>
              <a:gd name="T47" fmla="*/ 136 h 141"/>
              <a:gd name="T48" fmla="*/ 5 w 160"/>
              <a:gd name="T49" fmla="*/ 136 h 141"/>
              <a:gd name="T50" fmla="*/ 80 w 160"/>
              <a:gd name="T51" fmla="*/ 55 h 141"/>
              <a:gd name="T52" fmla="*/ 103 w 160"/>
              <a:gd name="T53" fmla="*/ 78 h 141"/>
              <a:gd name="T54" fmla="*/ 99 w 160"/>
              <a:gd name="T55" fmla="*/ 82 h 141"/>
              <a:gd name="T56" fmla="*/ 83 w 160"/>
              <a:gd name="T57" fmla="*/ 65 h 141"/>
              <a:gd name="T58" fmla="*/ 83 w 160"/>
              <a:gd name="T59" fmla="*/ 112 h 141"/>
              <a:gd name="T60" fmla="*/ 77 w 160"/>
              <a:gd name="T61" fmla="*/ 112 h 141"/>
              <a:gd name="T62" fmla="*/ 77 w 160"/>
              <a:gd name="T63" fmla="*/ 65 h 141"/>
              <a:gd name="T64" fmla="*/ 61 w 160"/>
              <a:gd name="T65" fmla="*/ 82 h 141"/>
              <a:gd name="T66" fmla="*/ 57 w 160"/>
              <a:gd name="T67" fmla="*/ 78 h 141"/>
              <a:gd name="T68" fmla="*/ 80 w 160"/>
              <a:gd name="T69" fmla="*/ 5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41">
                <a:moveTo>
                  <a:pt x="71" y="19"/>
                </a:moveTo>
                <a:cubicBezTo>
                  <a:pt x="58" y="1"/>
                  <a:pt x="58" y="1"/>
                  <a:pt x="58" y="1"/>
                </a:cubicBezTo>
                <a:cubicBezTo>
                  <a:pt x="58" y="1"/>
                  <a:pt x="58" y="1"/>
                  <a:pt x="58" y="1"/>
                </a:cubicBezTo>
                <a:cubicBezTo>
                  <a:pt x="57" y="0"/>
                  <a:pt x="57" y="0"/>
                  <a:pt x="57" y="0"/>
                </a:cubicBezTo>
                <a:cubicBezTo>
                  <a:pt x="0" y="0"/>
                  <a:pt x="0" y="0"/>
                  <a:pt x="0" y="0"/>
                </a:cubicBezTo>
                <a:cubicBezTo>
                  <a:pt x="0" y="141"/>
                  <a:pt x="0" y="141"/>
                  <a:pt x="0" y="141"/>
                </a:cubicBezTo>
                <a:cubicBezTo>
                  <a:pt x="160" y="141"/>
                  <a:pt x="160" y="141"/>
                  <a:pt x="160" y="141"/>
                </a:cubicBezTo>
                <a:cubicBezTo>
                  <a:pt x="160" y="19"/>
                  <a:pt x="160" y="19"/>
                  <a:pt x="160" y="19"/>
                </a:cubicBezTo>
                <a:lnTo>
                  <a:pt x="71" y="19"/>
                </a:lnTo>
                <a:close/>
                <a:moveTo>
                  <a:pt x="155" y="24"/>
                </a:moveTo>
                <a:cubicBezTo>
                  <a:pt x="155" y="37"/>
                  <a:pt x="155" y="37"/>
                  <a:pt x="155" y="37"/>
                </a:cubicBezTo>
                <a:cubicBezTo>
                  <a:pt x="84" y="37"/>
                  <a:pt x="84" y="37"/>
                  <a:pt x="84" y="37"/>
                </a:cubicBezTo>
                <a:cubicBezTo>
                  <a:pt x="75" y="24"/>
                  <a:pt x="75" y="24"/>
                  <a:pt x="75" y="24"/>
                </a:cubicBezTo>
                <a:lnTo>
                  <a:pt x="155" y="24"/>
                </a:lnTo>
                <a:close/>
                <a:moveTo>
                  <a:pt x="5" y="136"/>
                </a:moveTo>
                <a:cubicBezTo>
                  <a:pt x="5" y="5"/>
                  <a:pt x="5" y="5"/>
                  <a:pt x="5" y="5"/>
                </a:cubicBezTo>
                <a:cubicBezTo>
                  <a:pt x="55" y="5"/>
                  <a:pt x="55" y="5"/>
                  <a:pt x="55" y="5"/>
                </a:cubicBezTo>
                <a:cubicBezTo>
                  <a:pt x="68" y="24"/>
                  <a:pt x="68" y="24"/>
                  <a:pt x="68" y="24"/>
                </a:cubicBezTo>
                <a:cubicBezTo>
                  <a:pt x="68" y="24"/>
                  <a:pt x="68" y="24"/>
                  <a:pt x="68" y="24"/>
                </a:cubicBezTo>
                <a:cubicBezTo>
                  <a:pt x="80" y="41"/>
                  <a:pt x="80" y="41"/>
                  <a:pt x="80" y="41"/>
                </a:cubicBezTo>
                <a:cubicBezTo>
                  <a:pt x="81" y="42"/>
                  <a:pt x="82" y="43"/>
                  <a:pt x="83" y="43"/>
                </a:cubicBezTo>
                <a:cubicBezTo>
                  <a:pt x="83" y="43"/>
                  <a:pt x="83" y="43"/>
                  <a:pt x="83" y="43"/>
                </a:cubicBezTo>
                <a:cubicBezTo>
                  <a:pt x="155" y="43"/>
                  <a:pt x="155" y="43"/>
                  <a:pt x="155" y="43"/>
                </a:cubicBezTo>
                <a:cubicBezTo>
                  <a:pt x="155" y="136"/>
                  <a:pt x="155" y="136"/>
                  <a:pt x="155" y="136"/>
                </a:cubicBezTo>
                <a:lnTo>
                  <a:pt x="5" y="136"/>
                </a:lnTo>
                <a:close/>
                <a:moveTo>
                  <a:pt x="80" y="55"/>
                </a:moveTo>
                <a:cubicBezTo>
                  <a:pt x="103" y="78"/>
                  <a:pt x="103" y="78"/>
                  <a:pt x="103" y="78"/>
                </a:cubicBezTo>
                <a:cubicBezTo>
                  <a:pt x="99" y="82"/>
                  <a:pt x="99" y="82"/>
                  <a:pt x="99" y="82"/>
                </a:cubicBezTo>
                <a:cubicBezTo>
                  <a:pt x="83" y="65"/>
                  <a:pt x="83" y="65"/>
                  <a:pt x="83" y="65"/>
                </a:cubicBezTo>
                <a:cubicBezTo>
                  <a:pt x="83" y="112"/>
                  <a:pt x="83" y="112"/>
                  <a:pt x="83" y="112"/>
                </a:cubicBezTo>
                <a:cubicBezTo>
                  <a:pt x="77" y="112"/>
                  <a:pt x="77" y="112"/>
                  <a:pt x="77" y="112"/>
                </a:cubicBezTo>
                <a:cubicBezTo>
                  <a:pt x="77" y="65"/>
                  <a:pt x="77" y="65"/>
                  <a:pt x="77" y="65"/>
                </a:cubicBezTo>
                <a:cubicBezTo>
                  <a:pt x="61" y="82"/>
                  <a:pt x="61" y="82"/>
                  <a:pt x="61" y="82"/>
                </a:cubicBezTo>
                <a:cubicBezTo>
                  <a:pt x="57" y="78"/>
                  <a:pt x="57" y="78"/>
                  <a:pt x="57" y="78"/>
                </a:cubicBezTo>
                <a:lnTo>
                  <a:pt x="80" y="55"/>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2088">
            <a:extLst>
              <a:ext uri="{FF2B5EF4-FFF2-40B4-BE49-F238E27FC236}">
                <a16:creationId xmlns:a16="http://schemas.microsoft.com/office/drawing/2014/main" id="{0EB5527B-2D66-8B4E-B156-F2F17E7D6A3C}"/>
              </a:ext>
            </a:extLst>
          </p:cNvPr>
          <p:cNvSpPr>
            <a:spLocks noEditPoints="1"/>
          </p:cNvSpPr>
          <p:nvPr/>
        </p:nvSpPr>
        <p:spPr bwMode="auto">
          <a:xfrm>
            <a:off x="2520946" y="392113"/>
            <a:ext cx="546100" cy="485775"/>
          </a:xfrm>
          <a:custGeom>
            <a:avLst/>
            <a:gdLst>
              <a:gd name="T0" fmla="*/ 71 w 160"/>
              <a:gd name="T1" fmla="*/ 19 h 141"/>
              <a:gd name="T2" fmla="*/ 58 w 160"/>
              <a:gd name="T3" fmla="*/ 1 h 141"/>
              <a:gd name="T4" fmla="*/ 58 w 160"/>
              <a:gd name="T5" fmla="*/ 1 h 141"/>
              <a:gd name="T6" fmla="*/ 57 w 160"/>
              <a:gd name="T7" fmla="*/ 0 h 141"/>
              <a:gd name="T8" fmla="*/ 0 w 160"/>
              <a:gd name="T9" fmla="*/ 0 h 141"/>
              <a:gd name="T10" fmla="*/ 0 w 160"/>
              <a:gd name="T11" fmla="*/ 141 h 141"/>
              <a:gd name="T12" fmla="*/ 160 w 160"/>
              <a:gd name="T13" fmla="*/ 141 h 141"/>
              <a:gd name="T14" fmla="*/ 160 w 160"/>
              <a:gd name="T15" fmla="*/ 19 h 141"/>
              <a:gd name="T16" fmla="*/ 71 w 160"/>
              <a:gd name="T17" fmla="*/ 19 h 141"/>
              <a:gd name="T18" fmla="*/ 155 w 160"/>
              <a:gd name="T19" fmla="*/ 24 h 141"/>
              <a:gd name="T20" fmla="*/ 155 w 160"/>
              <a:gd name="T21" fmla="*/ 37 h 141"/>
              <a:gd name="T22" fmla="*/ 84 w 160"/>
              <a:gd name="T23" fmla="*/ 37 h 141"/>
              <a:gd name="T24" fmla="*/ 75 w 160"/>
              <a:gd name="T25" fmla="*/ 24 h 141"/>
              <a:gd name="T26" fmla="*/ 155 w 160"/>
              <a:gd name="T27" fmla="*/ 24 h 141"/>
              <a:gd name="T28" fmla="*/ 5 w 160"/>
              <a:gd name="T29" fmla="*/ 136 h 141"/>
              <a:gd name="T30" fmla="*/ 5 w 160"/>
              <a:gd name="T31" fmla="*/ 5 h 141"/>
              <a:gd name="T32" fmla="*/ 55 w 160"/>
              <a:gd name="T33" fmla="*/ 5 h 141"/>
              <a:gd name="T34" fmla="*/ 68 w 160"/>
              <a:gd name="T35" fmla="*/ 24 h 141"/>
              <a:gd name="T36" fmla="*/ 68 w 160"/>
              <a:gd name="T37" fmla="*/ 24 h 141"/>
              <a:gd name="T38" fmla="*/ 80 w 160"/>
              <a:gd name="T39" fmla="*/ 41 h 141"/>
              <a:gd name="T40" fmla="*/ 83 w 160"/>
              <a:gd name="T41" fmla="*/ 43 h 141"/>
              <a:gd name="T42" fmla="*/ 83 w 160"/>
              <a:gd name="T43" fmla="*/ 43 h 141"/>
              <a:gd name="T44" fmla="*/ 155 w 160"/>
              <a:gd name="T45" fmla="*/ 43 h 141"/>
              <a:gd name="T46" fmla="*/ 155 w 160"/>
              <a:gd name="T47" fmla="*/ 136 h 141"/>
              <a:gd name="T48" fmla="*/ 5 w 160"/>
              <a:gd name="T49" fmla="*/ 136 h 141"/>
              <a:gd name="T50" fmla="*/ 96 w 160"/>
              <a:gd name="T51" fmla="*/ 69 h 141"/>
              <a:gd name="T52" fmla="*/ 80 w 160"/>
              <a:gd name="T53" fmla="*/ 53 h 141"/>
              <a:gd name="T54" fmla="*/ 64 w 160"/>
              <a:gd name="T55" fmla="*/ 69 h 141"/>
              <a:gd name="T56" fmla="*/ 64 w 160"/>
              <a:gd name="T57" fmla="*/ 80 h 141"/>
              <a:gd name="T58" fmla="*/ 53 w 160"/>
              <a:gd name="T59" fmla="*/ 80 h 141"/>
              <a:gd name="T60" fmla="*/ 53 w 160"/>
              <a:gd name="T61" fmla="*/ 123 h 141"/>
              <a:gd name="T62" fmla="*/ 107 w 160"/>
              <a:gd name="T63" fmla="*/ 123 h 141"/>
              <a:gd name="T64" fmla="*/ 107 w 160"/>
              <a:gd name="T65" fmla="*/ 80 h 141"/>
              <a:gd name="T66" fmla="*/ 96 w 160"/>
              <a:gd name="T67" fmla="*/ 80 h 141"/>
              <a:gd name="T68" fmla="*/ 96 w 160"/>
              <a:gd name="T69" fmla="*/ 69 h 141"/>
              <a:gd name="T70" fmla="*/ 69 w 160"/>
              <a:gd name="T71" fmla="*/ 69 h 141"/>
              <a:gd name="T72" fmla="*/ 80 w 160"/>
              <a:gd name="T73" fmla="*/ 59 h 141"/>
              <a:gd name="T74" fmla="*/ 91 w 160"/>
              <a:gd name="T75" fmla="*/ 69 h 141"/>
              <a:gd name="T76" fmla="*/ 91 w 160"/>
              <a:gd name="T77" fmla="*/ 80 h 141"/>
              <a:gd name="T78" fmla="*/ 69 w 160"/>
              <a:gd name="T79" fmla="*/ 80 h 141"/>
              <a:gd name="T80" fmla="*/ 69 w 160"/>
              <a:gd name="T81" fmla="*/ 69 h 141"/>
              <a:gd name="T82" fmla="*/ 101 w 160"/>
              <a:gd name="T83" fmla="*/ 85 h 141"/>
              <a:gd name="T84" fmla="*/ 101 w 160"/>
              <a:gd name="T85" fmla="*/ 117 h 141"/>
              <a:gd name="T86" fmla="*/ 59 w 160"/>
              <a:gd name="T87" fmla="*/ 117 h 141"/>
              <a:gd name="T88" fmla="*/ 59 w 160"/>
              <a:gd name="T89" fmla="*/ 85 h 141"/>
              <a:gd name="T90" fmla="*/ 64 w 160"/>
              <a:gd name="T91" fmla="*/ 85 h 141"/>
              <a:gd name="T92" fmla="*/ 96 w 160"/>
              <a:gd name="T93" fmla="*/ 85 h 141"/>
              <a:gd name="T94" fmla="*/ 101 w 160"/>
              <a:gd name="T95" fmla="*/ 85 h 141"/>
              <a:gd name="T96" fmla="*/ 77 w 160"/>
              <a:gd name="T97" fmla="*/ 109 h 141"/>
              <a:gd name="T98" fmla="*/ 77 w 160"/>
              <a:gd name="T99" fmla="*/ 112 h 141"/>
              <a:gd name="T100" fmla="*/ 80 w 160"/>
              <a:gd name="T101" fmla="*/ 115 h 141"/>
              <a:gd name="T102" fmla="*/ 83 w 160"/>
              <a:gd name="T103" fmla="*/ 112 h 141"/>
              <a:gd name="T104" fmla="*/ 83 w 160"/>
              <a:gd name="T105" fmla="*/ 109 h 141"/>
              <a:gd name="T106" fmla="*/ 91 w 160"/>
              <a:gd name="T107" fmla="*/ 99 h 141"/>
              <a:gd name="T108" fmla="*/ 80 w 160"/>
              <a:gd name="T109" fmla="*/ 88 h 141"/>
              <a:gd name="T110" fmla="*/ 69 w 160"/>
              <a:gd name="T111" fmla="*/ 99 h 141"/>
              <a:gd name="T112" fmla="*/ 77 w 160"/>
              <a:gd name="T113" fmla="*/ 109 h 141"/>
              <a:gd name="T114" fmla="*/ 80 w 160"/>
              <a:gd name="T115" fmla="*/ 93 h 141"/>
              <a:gd name="T116" fmla="*/ 85 w 160"/>
              <a:gd name="T117" fmla="*/ 99 h 141"/>
              <a:gd name="T118" fmla="*/ 80 w 160"/>
              <a:gd name="T119" fmla="*/ 104 h 141"/>
              <a:gd name="T120" fmla="*/ 75 w 160"/>
              <a:gd name="T121" fmla="*/ 99 h 141"/>
              <a:gd name="T122" fmla="*/ 80 w 160"/>
              <a:gd name="T123" fmla="*/ 9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 h="141">
                <a:moveTo>
                  <a:pt x="71" y="19"/>
                </a:moveTo>
                <a:cubicBezTo>
                  <a:pt x="58" y="1"/>
                  <a:pt x="58" y="1"/>
                  <a:pt x="58" y="1"/>
                </a:cubicBezTo>
                <a:cubicBezTo>
                  <a:pt x="58" y="1"/>
                  <a:pt x="58" y="1"/>
                  <a:pt x="58" y="1"/>
                </a:cubicBezTo>
                <a:cubicBezTo>
                  <a:pt x="57" y="0"/>
                  <a:pt x="57" y="0"/>
                  <a:pt x="57" y="0"/>
                </a:cubicBezTo>
                <a:cubicBezTo>
                  <a:pt x="0" y="0"/>
                  <a:pt x="0" y="0"/>
                  <a:pt x="0" y="0"/>
                </a:cubicBezTo>
                <a:cubicBezTo>
                  <a:pt x="0" y="141"/>
                  <a:pt x="0" y="141"/>
                  <a:pt x="0" y="141"/>
                </a:cubicBezTo>
                <a:cubicBezTo>
                  <a:pt x="160" y="141"/>
                  <a:pt x="160" y="141"/>
                  <a:pt x="160" y="141"/>
                </a:cubicBezTo>
                <a:cubicBezTo>
                  <a:pt x="160" y="19"/>
                  <a:pt x="160" y="19"/>
                  <a:pt x="160" y="19"/>
                </a:cubicBezTo>
                <a:lnTo>
                  <a:pt x="71" y="19"/>
                </a:lnTo>
                <a:close/>
                <a:moveTo>
                  <a:pt x="155" y="24"/>
                </a:moveTo>
                <a:cubicBezTo>
                  <a:pt x="155" y="37"/>
                  <a:pt x="155" y="37"/>
                  <a:pt x="155" y="37"/>
                </a:cubicBezTo>
                <a:cubicBezTo>
                  <a:pt x="84" y="37"/>
                  <a:pt x="84" y="37"/>
                  <a:pt x="84" y="37"/>
                </a:cubicBezTo>
                <a:cubicBezTo>
                  <a:pt x="75" y="24"/>
                  <a:pt x="75" y="24"/>
                  <a:pt x="75" y="24"/>
                </a:cubicBezTo>
                <a:lnTo>
                  <a:pt x="155" y="24"/>
                </a:lnTo>
                <a:close/>
                <a:moveTo>
                  <a:pt x="5" y="136"/>
                </a:moveTo>
                <a:cubicBezTo>
                  <a:pt x="5" y="5"/>
                  <a:pt x="5" y="5"/>
                  <a:pt x="5" y="5"/>
                </a:cubicBezTo>
                <a:cubicBezTo>
                  <a:pt x="55" y="5"/>
                  <a:pt x="55" y="5"/>
                  <a:pt x="55" y="5"/>
                </a:cubicBezTo>
                <a:cubicBezTo>
                  <a:pt x="68" y="24"/>
                  <a:pt x="68" y="24"/>
                  <a:pt x="68" y="24"/>
                </a:cubicBezTo>
                <a:cubicBezTo>
                  <a:pt x="68" y="24"/>
                  <a:pt x="68" y="24"/>
                  <a:pt x="68" y="24"/>
                </a:cubicBezTo>
                <a:cubicBezTo>
                  <a:pt x="80" y="41"/>
                  <a:pt x="80" y="41"/>
                  <a:pt x="80" y="41"/>
                </a:cubicBezTo>
                <a:cubicBezTo>
                  <a:pt x="81" y="42"/>
                  <a:pt x="82" y="43"/>
                  <a:pt x="83" y="43"/>
                </a:cubicBezTo>
                <a:cubicBezTo>
                  <a:pt x="83" y="43"/>
                  <a:pt x="83" y="43"/>
                  <a:pt x="83" y="43"/>
                </a:cubicBezTo>
                <a:cubicBezTo>
                  <a:pt x="155" y="43"/>
                  <a:pt x="155" y="43"/>
                  <a:pt x="155" y="43"/>
                </a:cubicBezTo>
                <a:cubicBezTo>
                  <a:pt x="155" y="136"/>
                  <a:pt x="155" y="136"/>
                  <a:pt x="155" y="136"/>
                </a:cubicBezTo>
                <a:lnTo>
                  <a:pt x="5" y="136"/>
                </a:lnTo>
                <a:close/>
                <a:moveTo>
                  <a:pt x="96" y="69"/>
                </a:moveTo>
                <a:cubicBezTo>
                  <a:pt x="96" y="61"/>
                  <a:pt x="89" y="53"/>
                  <a:pt x="80" y="53"/>
                </a:cubicBezTo>
                <a:cubicBezTo>
                  <a:pt x="71" y="53"/>
                  <a:pt x="64" y="61"/>
                  <a:pt x="64" y="69"/>
                </a:cubicBezTo>
                <a:cubicBezTo>
                  <a:pt x="64" y="80"/>
                  <a:pt x="64" y="80"/>
                  <a:pt x="64" y="80"/>
                </a:cubicBezTo>
                <a:cubicBezTo>
                  <a:pt x="53" y="80"/>
                  <a:pt x="53" y="80"/>
                  <a:pt x="53" y="80"/>
                </a:cubicBezTo>
                <a:cubicBezTo>
                  <a:pt x="53" y="123"/>
                  <a:pt x="53" y="123"/>
                  <a:pt x="53" y="123"/>
                </a:cubicBezTo>
                <a:cubicBezTo>
                  <a:pt x="107" y="123"/>
                  <a:pt x="107" y="123"/>
                  <a:pt x="107" y="123"/>
                </a:cubicBezTo>
                <a:cubicBezTo>
                  <a:pt x="107" y="80"/>
                  <a:pt x="107" y="80"/>
                  <a:pt x="107" y="80"/>
                </a:cubicBezTo>
                <a:cubicBezTo>
                  <a:pt x="96" y="80"/>
                  <a:pt x="96" y="80"/>
                  <a:pt x="96" y="80"/>
                </a:cubicBezTo>
                <a:lnTo>
                  <a:pt x="96" y="69"/>
                </a:lnTo>
                <a:close/>
                <a:moveTo>
                  <a:pt x="69" y="69"/>
                </a:moveTo>
                <a:cubicBezTo>
                  <a:pt x="69" y="63"/>
                  <a:pt x="74" y="59"/>
                  <a:pt x="80" y="59"/>
                </a:cubicBezTo>
                <a:cubicBezTo>
                  <a:pt x="86" y="59"/>
                  <a:pt x="91" y="63"/>
                  <a:pt x="91" y="69"/>
                </a:cubicBezTo>
                <a:cubicBezTo>
                  <a:pt x="91" y="80"/>
                  <a:pt x="91" y="80"/>
                  <a:pt x="91" y="80"/>
                </a:cubicBezTo>
                <a:cubicBezTo>
                  <a:pt x="69" y="80"/>
                  <a:pt x="69" y="80"/>
                  <a:pt x="69" y="80"/>
                </a:cubicBezTo>
                <a:lnTo>
                  <a:pt x="69" y="69"/>
                </a:lnTo>
                <a:close/>
                <a:moveTo>
                  <a:pt x="101" y="85"/>
                </a:moveTo>
                <a:cubicBezTo>
                  <a:pt x="101" y="117"/>
                  <a:pt x="101" y="117"/>
                  <a:pt x="101" y="117"/>
                </a:cubicBezTo>
                <a:cubicBezTo>
                  <a:pt x="59" y="117"/>
                  <a:pt x="59" y="117"/>
                  <a:pt x="59" y="117"/>
                </a:cubicBezTo>
                <a:cubicBezTo>
                  <a:pt x="59" y="85"/>
                  <a:pt x="59" y="85"/>
                  <a:pt x="59" y="85"/>
                </a:cubicBezTo>
                <a:cubicBezTo>
                  <a:pt x="64" y="85"/>
                  <a:pt x="64" y="85"/>
                  <a:pt x="64" y="85"/>
                </a:cubicBezTo>
                <a:cubicBezTo>
                  <a:pt x="96" y="85"/>
                  <a:pt x="96" y="85"/>
                  <a:pt x="96" y="85"/>
                </a:cubicBezTo>
                <a:lnTo>
                  <a:pt x="101" y="85"/>
                </a:lnTo>
                <a:close/>
                <a:moveTo>
                  <a:pt x="77" y="109"/>
                </a:moveTo>
                <a:cubicBezTo>
                  <a:pt x="77" y="112"/>
                  <a:pt x="77" y="112"/>
                  <a:pt x="77" y="112"/>
                </a:cubicBezTo>
                <a:cubicBezTo>
                  <a:pt x="77" y="113"/>
                  <a:pt x="79" y="115"/>
                  <a:pt x="80" y="115"/>
                </a:cubicBezTo>
                <a:cubicBezTo>
                  <a:pt x="81" y="115"/>
                  <a:pt x="83" y="113"/>
                  <a:pt x="83" y="112"/>
                </a:cubicBezTo>
                <a:cubicBezTo>
                  <a:pt x="83" y="109"/>
                  <a:pt x="83" y="109"/>
                  <a:pt x="83" y="109"/>
                </a:cubicBezTo>
                <a:cubicBezTo>
                  <a:pt x="87" y="108"/>
                  <a:pt x="91" y="104"/>
                  <a:pt x="91" y="99"/>
                </a:cubicBezTo>
                <a:cubicBezTo>
                  <a:pt x="91" y="93"/>
                  <a:pt x="86" y="88"/>
                  <a:pt x="80" y="88"/>
                </a:cubicBezTo>
                <a:cubicBezTo>
                  <a:pt x="74" y="88"/>
                  <a:pt x="69" y="93"/>
                  <a:pt x="69" y="99"/>
                </a:cubicBezTo>
                <a:cubicBezTo>
                  <a:pt x="69" y="104"/>
                  <a:pt x="73" y="108"/>
                  <a:pt x="77" y="109"/>
                </a:cubicBezTo>
                <a:close/>
                <a:moveTo>
                  <a:pt x="80" y="93"/>
                </a:moveTo>
                <a:cubicBezTo>
                  <a:pt x="83" y="93"/>
                  <a:pt x="85" y="96"/>
                  <a:pt x="85" y="99"/>
                </a:cubicBezTo>
                <a:cubicBezTo>
                  <a:pt x="85" y="102"/>
                  <a:pt x="83" y="104"/>
                  <a:pt x="80" y="104"/>
                </a:cubicBezTo>
                <a:cubicBezTo>
                  <a:pt x="77" y="104"/>
                  <a:pt x="75" y="102"/>
                  <a:pt x="75" y="99"/>
                </a:cubicBezTo>
                <a:cubicBezTo>
                  <a:pt x="75" y="96"/>
                  <a:pt x="77" y="93"/>
                  <a:pt x="80" y="93"/>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2089">
            <a:extLst>
              <a:ext uri="{FF2B5EF4-FFF2-40B4-BE49-F238E27FC236}">
                <a16:creationId xmlns:a16="http://schemas.microsoft.com/office/drawing/2014/main" id="{8667C7B9-58C7-644C-866F-170BE022F275}"/>
              </a:ext>
            </a:extLst>
          </p:cNvPr>
          <p:cNvSpPr>
            <a:spLocks noEditPoints="1"/>
          </p:cNvSpPr>
          <p:nvPr/>
        </p:nvSpPr>
        <p:spPr bwMode="auto">
          <a:xfrm>
            <a:off x="2520946" y="1011238"/>
            <a:ext cx="546100" cy="485775"/>
          </a:xfrm>
          <a:custGeom>
            <a:avLst/>
            <a:gdLst>
              <a:gd name="T0" fmla="*/ 71 w 160"/>
              <a:gd name="T1" fmla="*/ 19 h 141"/>
              <a:gd name="T2" fmla="*/ 58 w 160"/>
              <a:gd name="T3" fmla="*/ 1 h 141"/>
              <a:gd name="T4" fmla="*/ 58 w 160"/>
              <a:gd name="T5" fmla="*/ 1 h 141"/>
              <a:gd name="T6" fmla="*/ 57 w 160"/>
              <a:gd name="T7" fmla="*/ 0 h 141"/>
              <a:gd name="T8" fmla="*/ 0 w 160"/>
              <a:gd name="T9" fmla="*/ 0 h 141"/>
              <a:gd name="T10" fmla="*/ 0 w 160"/>
              <a:gd name="T11" fmla="*/ 141 h 141"/>
              <a:gd name="T12" fmla="*/ 160 w 160"/>
              <a:gd name="T13" fmla="*/ 141 h 141"/>
              <a:gd name="T14" fmla="*/ 160 w 160"/>
              <a:gd name="T15" fmla="*/ 19 h 141"/>
              <a:gd name="T16" fmla="*/ 71 w 160"/>
              <a:gd name="T17" fmla="*/ 19 h 141"/>
              <a:gd name="T18" fmla="*/ 155 w 160"/>
              <a:gd name="T19" fmla="*/ 24 h 141"/>
              <a:gd name="T20" fmla="*/ 155 w 160"/>
              <a:gd name="T21" fmla="*/ 37 h 141"/>
              <a:gd name="T22" fmla="*/ 84 w 160"/>
              <a:gd name="T23" fmla="*/ 37 h 141"/>
              <a:gd name="T24" fmla="*/ 75 w 160"/>
              <a:gd name="T25" fmla="*/ 24 h 141"/>
              <a:gd name="T26" fmla="*/ 155 w 160"/>
              <a:gd name="T27" fmla="*/ 24 h 141"/>
              <a:gd name="T28" fmla="*/ 5 w 160"/>
              <a:gd name="T29" fmla="*/ 136 h 141"/>
              <a:gd name="T30" fmla="*/ 5 w 160"/>
              <a:gd name="T31" fmla="*/ 5 h 141"/>
              <a:gd name="T32" fmla="*/ 55 w 160"/>
              <a:gd name="T33" fmla="*/ 5 h 141"/>
              <a:gd name="T34" fmla="*/ 68 w 160"/>
              <a:gd name="T35" fmla="*/ 24 h 141"/>
              <a:gd name="T36" fmla="*/ 68 w 160"/>
              <a:gd name="T37" fmla="*/ 24 h 141"/>
              <a:gd name="T38" fmla="*/ 80 w 160"/>
              <a:gd name="T39" fmla="*/ 41 h 141"/>
              <a:gd name="T40" fmla="*/ 83 w 160"/>
              <a:gd name="T41" fmla="*/ 43 h 141"/>
              <a:gd name="T42" fmla="*/ 83 w 160"/>
              <a:gd name="T43" fmla="*/ 43 h 141"/>
              <a:gd name="T44" fmla="*/ 155 w 160"/>
              <a:gd name="T45" fmla="*/ 43 h 141"/>
              <a:gd name="T46" fmla="*/ 155 w 160"/>
              <a:gd name="T47" fmla="*/ 136 h 141"/>
              <a:gd name="T48" fmla="*/ 5 w 160"/>
              <a:gd name="T49" fmla="*/ 136 h 141"/>
              <a:gd name="T50" fmla="*/ 96 w 160"/>
              <a:gd name="T51" fmla="*/ 69 h 141"/>
              <a:gd name="T52" fmla="*/ 80 w 160"/>
              <a:gd name="T53" fmla="*/ 53 h 141"/>
              <a:gd name="T54" fmla="*/ 64 w 160"/>
              <a:gd name="T55" fmla="*/ 69 h 141"/>
              <a:gd name="T56" fmla="*/ 67 w 160"/>
              <a:gd name="T57" fmla="*/ 72 h 141"/>
              <a:gd name="T58" fmla="*/ 69 w 160"/>
              <a:gd name="T59" fmla="*/ 69 h 141"/>
              <a:gd name="T60" fmla="*/ 80 w 160"/>
              <a:gd name="T61" fmla="*/ 59 h 141"/>
              <a:gd name="T62" fmla="*/ 91 w 160"/>
              <a:gd name="T63" fmla="*/ 69 h 141"/>
              <a:gd name="T64" fmla="*/ 91 w 160"/>
              <a:gd name="T65" fmla="*/ 80 h 141"/>
              <a:gd name="T66" fmla="*/ 53 w 160"/>
              <a:gd name="T67" fmla="*/ 80 h 141"/>
              <a:gd name="T68" fmla="*/ 53 w 160"/>
              <a:gd name="T69" fmla="*/ 123 h 141"/>
              <a:gd name="T70" fmla="*/ 107 w 160"/>
              <a:gd name="T71" fmla="*/ 123 h 141"/>
              <a:gd name="T72" fmla="*/ 107 w 160"/>
              <a:gd name="T73" fmla="*/ 80 h 141"/>
              <a:gd name="T74" fmla="*/ 96 w 160"/>
              <a:gd name="T75" fmla="*/ 80 h 141"/>
              <a:gd name="T76" fmla="*/ 96 w 160"/>
              <a:gd name="T77" fmla="*/ 69 h 141"/>
              <a:gd name="T78" fmla="*/ 101 w 160"/>
              <a:gd name="T79" fmla="*/ 117 h 141"/>
              <a:gd name="T80" fmla="*/ 59 w 160"/>
              <a:gd name="T81" fmla="*/ 117 h 141"/>
              <a:gd name="T82" fmla="*/ 59 w 160"/>
              <a:gd name="T83" fmla="*/ 85 h 141"/>
              <a:gd name="T84" fmla="*/ 101 w 160"/>
              <a:gd name="T85" fmla="*/ 85 h 141"/>
              <a:gd name="T86" fmla="*/ 101 w 160"/>
              <a:gd name="T87" fmla="*/ 117 h 141"/>
              <a:gd name="T88" fmla="*/ 80 w 160"/>
              <a:gd name="T89" fmla="*/ 88 h 141"/>
              <a:gd name="T90" fmla="*/ 69 w 160"/>
              <a:gd name="T91" fmla="*/ 99 h 141"/>
              <a:gd name="T92" fmla="*/ 77 w 160"/>
              <a:gd name="T93" fmla="*/ 109 h 141"/>
              <a:gd name="T94" fmla="*/ 77 w 160"/>
              <a:gd name="T95" fmla="*/ 112 h 141"/>
              <a:gd name="T96" fmla="*/ 80 w 160"/>
              <a:gd name="T97" fmla="*/ 115 h 141"/>
              <a:gd name="T98" fmla="*/ 83 w 160"/>
              <a:gd name="T99" fmla="*/ 112 h 141"/>
              <a:gd name="T100" fmla="*/ 83 w 160"/>
              <a:gd name="T101" fmla="*/ 109 h 141"/>
              <a:gd name="T102" fmla="*/ 91 w 160"/>
              <a:gd name="T103" fmla="*/ 99 h 141"/>
              <a:gd name="T104" fmla="*/ 80 w 160"/>
              <a:gd name="T105" fmla="*/ 88 h 141"/>
              <a:gd name="T106" fmla="*/ 80 w 160"/>
              <a:gd name="T107" fmla="*/ 104 h 141"/>
              <a:gd name="T108" fmla="*/ 75 w 160"/>
              <a:gd name="T109" fmla="*/ 99 h 141"/>
              <a:gd name="T110" fmla="*/ 80 w 160"/>
              <a:gd name="T111" fmla="*/ 93 h 141"/>
              <a:gd name="T112" fmla="*/ 85 w 160"/>
              <a:gd name="T113" fmla="*/ 99 h 141"/>
              <a:gd name="T114" fmla="*/ 80 w 160"/>
              <a:gd name="T115" fmla="*/ 10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41">
                <a:moveTo>
                  <a:pt x="71" y="19"/>
                </a:moveTo>
                <a:cubicBezTo>
                  <a:pt x="58" y="1"/>
                  <a:pt x="58" y="1"/>
                  <a:pt x="58" y="1"/>
                </a:cubicBezTo>
                <a:cubicBezTo>
                  <a:pt x="58" y="1"/>
                  <a:pt x="58" y="1"/>
                  <a:pt x="58" y="1"/>
                </a:cubicBezTo>
                <a:cubicBezTo>
                  <a:pt x="57" y="0"/>
                  <a:pt x="57" y="0"/>
                  <a:pt x="57" y="0"/>
                </a:cubicBezTo>
                <a:cubicBezTo>
                  <a:pt x="0" y="0"/>
                  <a:pt x="0" y="0"/>
                  <a:pt x="0" y="0"/>
                </a:cubicBezTo>
                <a:cubicBezTo>
                  <a:pt x="0" y="141"/>
                  <a:pt x="0" y="141"/>
                  <a:pt x="0" y="141"/>
                </a:cubicBezTo>
                <a:cubicBezTo>
                  <a:pt x="160" y="141"/>
                  <a:pt x="160" y="141"/>
                  <a:pt x="160" y="141"/>
                </a:cubicBezTo>
                <a:cubicBezTo>
                  <a:pt x="160" y="19"/>
                  <a:pt x="160" y="19"/>
                  <a:pt x="160" y="19"/>
                </a:cubicBezTo>
                <a:lnTo>
                  <a:pt x="71" y="19"/>
                </a:lnTo>
                <a:close/>
                <a:moveTo>
                  <a:pt x="155" y="24"/>
                </a:moveTo>
                <a:cubicBezTo>
                  <a:pt x="155" y="37"/>
                  <a:pt x="155" y="37"/>
                  <a:pt x="155" y="37"/>
                </a:cubicBezTo>
                <a:cubicBezTo>
                  <a:pt x="84" y="37"/>
                  <a:pt x="84" y="37"/>
                  <a:pt x="84" y="37"/>
                </a:cubicBezTo>
                <a:cubicBezTo>
                  <a:pt x="75" y="24"/>
                  <a:pt x="75" y="24"/>
                  <a:pt x="75" y="24"/>
                </a:cubicBezTo>
                <a:lnTo>
                  <a:pt x="155" y="24"/>
                </a:lnTo>
                <a:close/>
                <a:moveTo>
                  <a:pt x="5" y="136"/>
                </a:moveTo>
                <a:cubicBezTo>
                  <a:pt x="5" y="5"/>
                  <a:pt x="5" y="5"/>
                  <a:pt x="5" y="5"/>
                </a:cubicBezTo>
                <a:cubicBezTo>
                  <a:pt x="55" y="5"/>
                  <a:pt x="55" y="5"/>
                  <a:pt x="55" y="5"/>
                </a:cubicBezTo>
                <a:cubicBezTo>
                  <a:pt x="68" y="24"/>
                  <a:pt x="68" y="24"/>
                  <a:pt x="68" y="24"/>
                </a:cubicBezTo>
                <a:cubicBezTo>
                  <a:pt x="68" y="24"/>
                  <a:pt x="68" y="24"/>
                  <a:pt x="68" y="24"/>
                </a:cubicBezTo>
                <a:cubicBezTo>
                  <a:pt x="80" y="41"/>
                  <a:pt x="80" y="41"/>
                  <a:pt x="80" y="41"/>
                </a:cubicBezTo>
                <a:cubicBezTo>
                  <a:pt x="81" y="42"/>
                  <a:pt x="82" y="43"/>
                  <a:pt x="83" y="43"/>
                </a:cubicBezTo>
                <a:cubicBezTo>
                  <a:pt x="83" y="43"/>
                  <a:pt x="83" y="43"/>
                  <a:pt x="83" y="43"/>
                </a:cubicBezTo>
                <a:cubicBezTo>
                  <a:pt x="155" y="43"/>
                  <a:pt x="155" y="43"/>
                  <a:pt x="155" y="43"/>
                </a:cubicBezTo>
                <a:cubicBezTo>
                  <a:pt x="155" y="136"/>
                  <a:pt x="155" y="136"/>
                  <a:pt x="155" y="136"/>
                </a:cubicBezTo>
                <a:lnTo>
                  <a:pt x="5" y="136"/>
                </a:lnTo>
                <a:close/>
                <a:moveTo>
                  <a:pt x="96" y="69"/>
                </a:moveTo>
                <a:cubicBezTo>
                  <a:pt x="96" y="61"/>
                  <a:pt x="89" y="53"/>
                  <a:pt x="80" y="53"/>
                </a:cubicBezTo>
                <a:cubicBezTo>
                  <a:pt x="71" y="53"/>
                  <a:pt x="64" y="61"/>
                  <a:pt x="64" y="69"/>
                </a:cubicBezTo>
                <a:cubicBezTo>
                  <a:pt x="64" y="71"/>
                  <a:pt x="65" y="72"/>
                  <a:pt x="67" y="72"/>
                </a:cubicBezTo>
                <a:cubicBezTo>
                  <a:pt x="68" y="72"/>
                  <a:pt x="69" y="71"/>
                  <a:pt x="69" y="69"/>
                </a:cubicBezTo>
                <a:cubicBezTo>
                  <a:pt x="69" y="63"/>
                  <a:pt x="74" y="59"/>
                  <a:pt x="80" y="59"/>
                </a:cubicBezTo>
                <a:cubicBezTo>
                  <a:pt x="86" y="59"/>
                  <a:pt x="91" y="63"/>
                  <a:pt x="91" y="69"/>
                </a:cubicBezTo>
                <a:cubicBezTo>
                  <a:pt x="91" y="80"/>
                  <a:pt x="91" y="80"/>
                  <a:pt x="91" y="80"/>
                </a:cubicBezTo>
                <a:cubicBezTo>
                  <a:pt x="53" y="80"/>
                  <a:pt x="53" y="80"/>
                  <a:pt x="53" y="80"/>
                </a:cubicBezTo>
                <a:cubicBezTo>
                  <a:pt x="53" y="123"/>
                  <a:pt x="53" y="123"/>
                  <a:pt x="53" y="123"/>
                </a:cubicBezTo>
                <a:cubicBezTo>
                  <a:pt x="107" y="123"/>
                  <a:pt x="107" y="123"/>
                  <a:pt x="107" y="123"/>
                </a:cubicBezTo>
                <a:cubicBezTo>
                  <a:pt x="107" y="80"/>
                  <a:pt x="107" y="80"/>
                  <a:pt x="107" y="80"/>
                </a:cubicBezTo>
                <a:cubicBezTo>
                  <a:pt x="96" y="80"/>
                  <a:pt x="96" y="80"/>
                  <a:pt x="96" y="80"/>
                </a:cubicBezTo>
                <a:lnTo>
                  <a:pt x="96" y="69"/>
                </a:lnTo>
                <a:close/>
                <a:moveTo>
                  <a:pt x="101" y="117"/>
                </a:moveTo>
                <a:cubicBezTo>
                  <a:pt x="59" y="117"/>
                  <a:pt x="59" y="117"/>
                  <a:pt x="59" y="117"/>
                </a:cubicBezTo>
                <a:cubicBezTo>
                  <a:pt x="59" y="85"/>
                  <a:pt x="59" y="85"/>
                  <a:pt x="59" y="85"/>
                </a:cubicBezTo>
                <a:cubicBezTo>
                  <a:pt x="101" y="85"/>
                  <a:pt x="101" y="85"/>
                  <a:pt x="101" y="85"/>
                </a:cubicBezTo>
                <a:lnTo>
                  <a:pt x="101" y="117"/>
                </a:lnTo>
                <a:close/>
                <a:moveTo>
                  <a:pt x="80" y="88"/>
                </a:moveTo>
                <a:cubicBezTo>
                  <a:pt x="74" y="88"/>
                  <a:pt x="69" y="93"/>
                  <a:pt x="69" y="99"/>
                </a:cubicBezTo>
                <a:cubicBezTo>
                  <a:pt x="69" y="104"/>
                  <a:pt x="73" y="108"/>
                  <a:pt x="77" y="109"/>
                </a:cubicBezTo>
                <a:cubicBezTo>
                  <a:pt x="77" y="112"/>
                  <a:pt x="77" y="112"/>
                  <a:pt x="77" y="112"/>
                </a:cubicBezTo>
                <a:cubicBezTo>
                  <a:pt x="77" y="113"/>
                  <a:pt x="79" y="115"/>
                  <a:pt x="80" y="115"/>
                </a:cubicBezTo>
                <a:cubicBezTo>
                  <a:pt x="81" y="115"/>
                  <a:pt x="83" y="113"/>
                  <a:pt x="83" y="112"/>
                </a:cubicBezTo>
                <a:cubicBezTo>
                  <a:pt x="83" y="109"/>
                  <a:pt x="83" y="109"/>
                  <a:pt x="83" y="109"/>
                </a:cubicBezTo>
                <a:cubicBezTo>
                  <a:pt x="87" y="108"/>
                  <a:pt x="91" y="104"/>
                  <a:pt x="91" y="99"/>
                </a:cubicBezTo>
                <a:cubicBezTo>
                  <a:pt x="91" y="93"/>
                  <a:pt x="86" y="88"/>
                  <a:pt x="80" y="88"/>
                </a:cubicBezTo>
                <a:close/>
                <a:moveTo>
                  <a:pt x="80" y="104"/>
                </a:moveTo>
                <a:cubicBezTo>
                  <a:pt x="77" y="104"/>
                  <a:pt x="75" y="102"/>
                  <a:pt x="75" y="99"/>
                </a:cubicBezTo>
                <a:cubicBezTo>
                  <a:pt x="75" y="96"/>
                  <a:pt x="77" y="93"/>
                  <a:pt x="80" y="93"/>
                </a:cubicBezTo>
                <a:cubicBezTo>
                  <a:pt x="83" y="93"/>
                  <a:pt x="85" y="96"/>
                  <a:pt x="85" y="99"/>
                </a:cubicBezTo>
                <a:cubicBezTo>
                  <a:pt x="85" y="102"/>
                  <a:pt x="83" y="104"/>
                  <a:pt x="80" y="104"/>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2090">
            <a:extLst>
              <a:ext uri="{FF2B5EF4-FFF2-40B4-BE49-F238E27FC236}">
                <a16:creationId xmlns:a16="http://schemas.microsoft.com/office/drawing/2014/main" id="{3E897F36-D70B-1A40-A9E4-A10444EBFB47}"/>
              </a:ext>
            </a:extLst>
          </p:cNvPr>
          <p:cNvSpPr>
            <a:spLocks noEditPoints="1"/>
          </p:cNvSpPr>
          <p:nvPr/>
        </p:nvSpPr>
        <p:spPr bwMode="auto">
          <a:xfrm>
            <a:off x="2520946" y="1603375"/>
            <a:ext cx="546100" cy="550863"/>
          </a:xfrm>
          <a:custGeom>
            <a:avLst/>
            <a:gdLst>
              <a:gd name="T0" fmla="*/ 73 w 160"/>
              <a:gd name="T1" fmla="*/ 0 h 160"/>
              <a:gd name="T2" fmla="*/ 16 w 160"/>
              <a:gd name="T3" fmla="*/ 11 h 160"/>
              <a:gd name="T4" fmla="*/ 8 w 160"/>
              <a:gd name="T5" fmla="*/ 21 h 160"/>
              <a:gd name="T6" fmla="*/ 0 w 160"/>
              <a:gd name="T7" fmla="*/ 160 h 160"/>
              <a:gd name="T8" fmla="*/ 155 w 160"/>
              <a:gd name="T9" fmla="*/ 160 h 160"/>
              <a:gd name="T10" fmla="*/ 160 w 160"/>
              <a:gd name="T11" fmla="*/ 45 h 160"/>
              <a:gd name="T12" fmla="*/ 160 w 160"/>
              <a:gd name="T13" fmla="*/ 35 h 160"/>
              <a:gd name="T14" fmla="*/ 160 w 160"/>
              <a:gd name="T15" fmla="*/ 19 h 160"/>
              <a:gd name="T16" fmla="*/ 5 w 160"/>
              <a:gd name="T17" fmla="*/ 155 h 160"/>
              <a:gd name="T18" fmla="*/ 8 w 160"/>
              <a:gd name="T19" fmla="*/ 27 h 160"/>
              <a:gd name="T20" fmla="*/ 68 w 160"/>
              <a:gd name="T21" fmla="*/ 45 h 160"/>
              <a:gd name="T22" fmla="*/ 80 w 160"/>
              <a:gd name="T23" fmla="*/ 63 h 160"/>
              <a:gd name="T24" fmla="*/ 83 w 160"/>
              <a:gd name="T25" fmla="*/ 64 h 160"/>
              <a:gd name="T26" fmla="*/ 155 w 160"/>
              <a:gd name="T27" fmla="*/ 155 h 160"/>
              <a:gd name="T28" fmla="*/ 155 w 160"/>
              <a:gd name="T29" fmla="*/ 59 h 160"/>
              <a:gd name="T30" fmla="*/ 75 w 160"/>
              <a:gd name="T31" fmla="*/ 45 h 160"/>
              <a:gd name="T32" fmla="*/ 155 w 160"/>
              <a:gd name="T33" fmla="*/ 59 h 160"/>
              <a:gd name="T34" fmla="*/ 71 w 160"/>
              <a:gd name="T35" fmla="*/ 40 h 160"/>
              <a:gd name="T36" fmla="*/ 58 w 160"/>
              <a:gd name="T37" fmla="*/ 22 h 160"/>
              <a:gd name="T38" fmla="*/ 13 w 160"/>
              <a:gd name="T39" fmla="*/ 21 h 160"/>
              <a:gd name="T40" fmla="*/ 16 w 160"/>
              <a:gd name="T41" fmla="*/ 16 h 160"/>
              <a:gd name="T42" fmla="*/ 76 w 160"/>
              <a:gd name="T43" fmla="*/ 35 h 160"/>
              <a:gd name="T44" fmla="*/ 155 w 160"/>
              <a:gd name="T45" fmla="*/ 40 h 160"/>
              <a:gd name="T46" fmla="*/ 65 w 160"/>
              <a:gd name="T47" fmla="*/ 11 h 160"/>
              <a:gd name="T48" fmla="*/ 21 w 160"/>
              <a:gd name="T49" fmla="*/ 5 h 160"/>
              <a:gd name="T50" fmla="*/ 84 w 160"/>
              <a:gd name="T51" fmla="*/ 24 h 160"/>
              <a:gd name="T52" fmla="*/ 155 w 160"/>
              <a:gd name="T53" fmla="*/ 29 h 160"/>
              <a:gd name="T54" fmla="*/ 72 w 160"/>
              <a:gd name="T55" fmla="*/ 147 h 160"/>
              <a:gd name="T56" fmla="*/ 147 w 160"/>
              <a:gd name="T57" fmla="*/ 93 h 160"/>
              <a:gd name="T58" fmla="*/ 72 w 160"/>
              <a:gd name="T59" fmla="*/ 147 h 160"/>
              <a:gd name="T60" fmla="*/ 141 w 160"/>
              <a:gd name="T61" fmla="*/ 99 h 160"/>
              <a:gd name="T62" fmla="*/ 77 w 160"/>
              <a:gd name="T63" fmla="*/ 141 h 160"/>
              <a:gd name="T64" fmla="*/ 88 w 160"/>
              <a:gd name="T65" fmla="*/ 107 h 160"/>
              <a:gd name="T66" fmla="*/ 115 w 160"/>
              <a:gd name="T67" fmla="*/ 112 h 160"/>
              <a:gd name="T68" fmla="*/ 88 w 160"/>
              <a:gd name="T69" fmla="*/ 107 h 160"/>
              <a:gd name="T70" fmla="*/ 131 w 160"/>
              <a:gd name="T71" fmla="*/ 117 h 160"/>
              <a:gd name="T72" fmla="*/ 88 w 160"/>
              <a:gd name="T73" fmla="*/ 123 h 160"/>
              <a:gd name="T74" fmla="*/ 88 w 160"/>
              <a:gd name="T75" fmla="*/ 128 h 160"/>
              <a:gd name="T76" fmla="*/ 131 w 160"/>
              <a:gd name="T77" fmla="*/ 133 h 160"/>
              <a:gd name="T78" fmla="*/ 88 w 160"/>
              <a:gd name="T79"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60">
                <a:moveTo>
                  <a:pt x="87" y="19"/>
                </a:moveTo>
                <a:cubicBezTo>
                  <a:pt x="73" y="0"/>
                  <a:pt x="73" y="0"/>
                  <a:pt x="73" y="0"/>
                </a:cubicBezTo>
                <a:cubicBezTo>
                  <a:pt x="16" y="0"/>
                  <a:pt x="16" y="0"/>
                  <a:pt x="16" y="0"/>
                </a:cubicBezTo>
                <a:cubicBezTo>
                  <a:pt x="16" y="11"/>
                  <a:pt x="16" y="11"/>
                  <a:pt x="16" y="11"/>
                </a:cubicBezTo>
                <a:cubicBezTo>
                  <a:pt x="8" y="11"/>
                  <a:pt x="8" y="11"/>
                  <a:pt x="8" y="11"/>
                </a:cubicBezTo>
                <a:cubicBezTo>
                  <a:pt x="8" y="21"/>
                  <a:pt x="8" y="21"/>
                  <a:pt x="8" y="21"/>
                </a:cubicBezTo>
                <a:cubicBezTo>
                  <a:pt x="0" y="21"/>
                  <a:pt x="0" y="21"/>
                  <a:pt x="0" y="21"/>
                </a:cubicBezTo>
                <a:cubicBezTo>
                  <a:pt x="0" y="160"/>
                  <a:pt x="0" y="160"/>
                  <a:pt x="0" y="160"/>
                </a:cubicBezTo>
                <a:cubicBezTo>
                  <a:pt x="5" y="160"/>
                  <a:pt x="5" y="160"/>
                  <a:pt x="5" y="160"/>
                </a:cubicBezTo>
                <a:cubicBezTo>
                  <a:pt x="155" y="160"/>
                  <a:pt x="155" y="160"/>
                  <a:pt x="155" y="160"/>
                </a:cubicBezTo>
                <a:cubicBezTo>
                  <a:pt x="160" y="160"/>
                  <a:pt x="160" y="160"/>
                  <a:pt x="160" y="160"/>
                </a:cubicBezTo>
                <a:cubicBezTo>
                  <a:pt x="160" y="45"/>
                  <a:pt x="160" y="45"/>
                  <a:pt x="160" y="45"/>
                </a:cubicBezTo>
                <a:cubicBezTo>
                  <a:pt x="160" y="40"/>
                  <a:pt x="160" y="40"/>
                  <a:pt x="160" y="40"/>
                </a:cubicBezTo>
                <a:cubicBezTo>
                  <a:pt x="160" y="35"/>
                  <a:pt x="160" y="35"/>
                  <a:pt x="160" y="35"/>
                </a:cubicBezTo>
                <a:cubicBezTo>
                  <a:pt x="160" y="29"/>
                  <a:pt x="160" y="29"/>
                  <a:pt x="160" y="29"/>
                </a:cubicBezTo>
                <a:cubicBezTo>
                  <a:pt x="160" y="19"/>
                  <a:pt x="160" y="19"/>
                  <a:pt x="160" y="19"/>
                </a:cubicBezTo>
                <a:lnTo>
                  <a:pt x="87" y="19"/>
                </a:lnTo>
                <a:close/>
                <a:moveTo>
                  <a:pt x="5" y="155"/>
                </a:moveTo>
                <a:cubicBezTo>
                  <a:pt x="5" y="27"/>
                  <a:pt x="5" y="27"/>
                  <a:pt x="5" y="27"/>
                </a:cubicBezTo>
                <a:cubicBezTo>
                  <a:pt x="8" y="27"/>
                  <a:pt x="8" y="27"/>
                  <a:pt x="8" y="27"/>
                </a:cubicBezTo>
                <a:cubicBezTo>
                  <a:pt x="55" y="27"/>
                  <a:pt x="55" y="27"/>
                  <a:pt x="55" y="27"/>
                </a:cubicBezTo>
                <a:cubicBezTo>
                  <a:pt x="68" y="45"/>
                  <a:pt x="68" y="45"/>
                  <a:pt x="68" y="45"/>
                </a:cubicBezTo>
                <a:cubicBezTo>
                  <a:pt x="68" y="45"/>
                  <a:pt x="68" y="45"/>
                  <a:pt x="68" y="45"/>
                </a:cubicBezTo>
                <a:cubicBezTo>
                  <a:pt x="80" y="63"/>
                  <a:pt x="80" y="63"/>
                  <a:pt x="80" y="63"/>
                </a:cubicBezTo>
                <a:cubicBezTo>
                  <a:pt x="81" y="64"/>
                  <a:pt x="82" y="64"/>
                  <a:pt x="83" y="64"/>
                </a:cubicBezTo>
                <a:cubicBezTo>
                  <a:pt x="83" y="64"/>
                  <a:pt x="83" y="64"/>
                  <a:pt x="83" y="64"/>
                </a:cubicBezTo>
                <a:cubicBezTo>
                  <a:pt x="155" y="64"/>
                  <a:pt x="155" y="64"/>
                  <a:pt x="155" y="64"/>
                </a:cubicBezTo>
                <a:cubicBezTo>
                  <a:pt x="155" y="155"/>
                  <a:pt x="155" y="155"/>
                  <a:pt x="155" y="155"/>
                </a:cubicBezTo>
                <a:lnTo>
                  <a:pt x="5" y="155"/>
                </a:lnTo>
                <a:close/>
                <a:moveTo>
                  <a:pt x="155" y="59"/>
                </a:moveTo>
                <a:cubicBezTo>
                  <a:pt x="84" y="59"/>
                  <a:pt x="84" y="59"/>
                  <a:pt x="84" y="59"/>
                </a:cubicBezTo>
                <a:cubicBezTo>
                  <a:pt x="75" y="45"/>
                  <a:pt x="75" y="45"/>
                  <a:pt x="75" y="45"/>
                </a:cubicBezTo>
                <a:cubicBezTo>
                  <a:pt x="155" y="45"/>
                  <a:pt x="155" y="45"/>
                  <a:pt x="155" y="45"/>
                </a:cubicBezTo>
                <a:lnTo>
                  <a:pt x="155" y="59"/>
                </a:lnTo>
                <a:close/>
                <a:moveTo>
                  <a:pt x="155" y="40"/>
                </a:moveTo>
                <a:cubicBezTo>
                  <a:pt x="71" y="40"/>
                  <a:pt x="71" y="40"/>
                  <a:pt x="71" y="40"/>
                </a:cubicBezTo>
                <a:cubicBezTo>
                  <a:pt x="58" y="22"/>
                  <a:pt x="58" y="22"/>
                  <a:pt x="58" y="22"/>
                </a:cubicBezTo>
                <a:cubicBezTo>
                  <a:pt x="58" y="22"/>
                  <a:pt x="58" y="22"/>
                  <a:pt x="58" y="22"/>
                </a:cubicBezTo>
                <a:cubicBezTo>
                  <a:pt x="57" y="21"/>
                  <a:pt x="57" y="21"/>
                  <a:pt x="57" y="21"/>
                </a:cubicBezTo>
                <a:cubicBezTo>
                  <a:pt x="13" y="21"/>
                  <a:pt x="13" y="21"/>
                  <a:pt x="13" y="21"/>
                </a:cubicBezTo>
                <a:cubicBezTo>
                  <a:pt x="13" y="16"/>
                  <a:pt x="13" y="16"/>
                  <a:pt x="13" y="16"/>
                </a:cubicBezTo>
                <a:cubicBezTo>
                  <a:pt x="16" y="16"/>
                  <a:pt x="16" y="16"/>
                  <a:pt x="16" y="16"/>
                </a:cubicBezTo>
                <a:cubicBezTo>
                  <a:pt x="63" y="16"/>
                  <a:pt x="63" y="16"/>
                  <a:pt x="63" y="16"/>
                </a:cubicBezTo>
                <a:cubicBezTo>
                  <a:pt x="76" y="35"/>
                  <a:pt x="76" y="35"/>
                  <a:pt x="76" y="35"/>
                </a:cubicBezTo>
                <a:cubicBezTo>
                  <a:pt x="155" y="35"/>
                  <a:pt x="155" y="35"/>
                  <a:pt x="155" y="35"/>
                </a:cubicBezTo>
                <a:lnTo>
                  <a:pt x="155" y="40"/>
                </a:lnTo>
                <a:close/>
                <a:moveTo>
                  <a:pt x="79" y="29"/>
                </a:moveTo>
                <a:cubicBezTo>
                  <a:pt x="65" y="11"/>
                  <a:pt x="65" y="11"/>
                  <a:pt x="65" y="11"/>
                </a:cubicBezTo>
                <a:cubicBezTo>
                  <a:pt x="21" y="11"/>
                  <a:pt x="21" y="11"/>
                  <a:pt x="21" y="11"/>
                </a:cubicBezTo>
                <a:cubicBezTo>
                  <a:pt x="21" y="5"/>
                  <a:pt x="21" y="5"/>
                  <a:pt x="21" y="5"/>
                </a:cubicBezTo>
                <a:cubicBezTo>
                  <a:pt x="71" y="5"/>
                  <a:pt x="71" y="5"/>
                  <a:pt x="71" y="5"/>
                </a:cubicBezTo>
                <a:cubicBezTo>
                  <a:pt x="84" y="24"/>
                  <a:pt x="84" y="24"/>
                  <a:pt x="84" y="24"/>
                </a:cubicBezTo>
                <a:cubicBezTo>
                  <a:pt x="155" y="24"/>
                  <a:pt x="155" y="24"/>
                  <a:pt x="155" y="24"/>
                </a:cubicBezTo>
                <a:cubicBezTo>
                  <a:pt x="155" y="29"/>
                  <a:pt x="155" y="29"/>
                  <a:pt x="155" y="29"/>
                </a:cubicBezTo>
                <a:lnTo>
                  <a:pt x="79" y="29"/>
                </a:lnTo>
                <a:close/>
                <a:moveTo>
                  <a:pt x="72" y="147"/>
                </a:moveTo>
                <a:cubicBezTo>
                  <a:pt x="147" y="147"/>
                  <a:pt x="147" y="147"/>
                  <a:pt x="147" y="147"/>
                </a:cubicBezTo>
                <a:cubicBezTo>
                  <a:pt x="147" y="93"/>
                  <a:pt x="147" y="93"/>
                  <a:pt x="147" y="93"/>
                </a:cubicBezTo>
                <a:cubicBezTo>
                  <a:pt x="72" y="93"/>
                  <a:pt x="72" y="93"/>
                  <a:pt x="72" y="93"/>
                </a:cubicBezTo>
                <a:lnTo>
                  <a:pt x="72" y="147"/>
                </a:lnTo>
                <a:close/>
                <a:moveTo>
                  <a:pt x="77" y="99"/>
                </a:moveTo>
                <a:cubicBezTo>
                  <a:pt x="141" y="99"/>
                  <a:pt x="141" y="99"/>
                  <a:pt x="141" y="99"/>
                </a:cubicBezTo>
                <a:cubicBezTo>
                  <a:pt x="141" y="141"/>
                  <a:pt x="141" y="141"/>
                  <a:pt x="141" y="141"/>
                </a:cubicBezTo>
                <a:cubicBezTo>
                  <a:pt x="77" y="141"/>
                  <a:pt x="77" y="141"/>
                  <a:pt x="77" y="141"/>
                </a:cubicBezTo>
                <a:lnTo>
                  <a:pt x="77" y="99"/>
                </a:lnTo>
                <a:close/>
                <a:moveTo>
                  <a:pt x="88" y="107"/>
                </a:moveTo>
                <a:cubicBezTo>
                  <a:pt x="115" y="107"/>
                  <a:pt x="115" y="107"/>
                  <a:pt x="115" y="107"/>
                </a:cubicBezTo>
                <a:cubicBezTo>
                  <a:pt x="115" y="112"/>
                  <a:pt x="115" y="112"/>
                  <a:pt x="115" y="112"/>
                </a:cubicBezTo>
                <a:cubicBezTo>
                  <a:pt x="88" y="112"/>
                  <a:pt x="88" y="112"/>
                  <a:pt x="88" y="112"/>
                </a:cubicBezTo>
                <a:lnTo>
                  <a:pt x="88" y="107"/>
                </a:lnTo>
                <a:close/>
                <a:moveTo>
                  <a:pt x="88" y="117"/>
                </a:moveTo>
                <a:cubicBezTo>
                  <a:pt x="131" y="117"/>
                  <a:pt x="131" y="117"/>
                  <a:pt x="131" y="117"/>
                </a:cubicBezTo>
                <a:cubicBezTo>
                  <a:pt x="131" y="123"/>
                  <a:pt x="131" y="123"/>
                  <a:pt x="131" y="123"/>
                </a:cubicBezTo>
                <a:cubicBezTo>
                  <a:pt x="88" y="123"/>
                  <a:pt x="88" y="123"/>
                  <a:pt x="88" y="123"/>
                </a:cubicBezTo>
                <a:lnTo>
                  <a:pt x="88" y="117"/>
                </a:lnTo>
                <a:close/>
                <a:moveTo>
                  <a:pt x="88" y="128"/>
                </a:moveTo>
                <a:cubicBezTo>
                  <a:pt x="131" y="128"/>
                  <a:pt x="131" y="128"/>
                  <a:pt x="131" y="128"/>
                </a:cubicBezTo>
                <a:cubicBezTo>
                  <a:pt x="131" y="133"/>
                  <a:pt x="131" y="133"/>
                  <a:pt x="131" y="133"/>
                </a:cubicBezTo>
                <a:cubicBezTo>
                  <a:pt x="88" y="133"/>
                  <a:pt x="88" y="133"/>
                  <a:pt x="88" y="133"/>
                </a:cubicBezTo>
                <a:lnTo>
                  <a:pt x="88" y="128"/>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2091">
            <a:extLst>
              <a:ext uri="{FF2B5EF4-FFF2-40B4-BE49-F238E27FC236}">
                <a16:creationId xmlns:a16="http://schemas.microsoft.com/office/drawing/2014/main" id="{7D79040A-86F6-E847-BFDF-647CE2BE676F}"/>
              </a:ext>
            </a:extLst>
          </p:cNvPr>
          <p:cNvSpPr>
            <a:spLocks noEditPoints="1"/>
          </p:cNvSpPr>
          <p:nvPr/>
        </p:nvSpPr>
        <p:spPr bwMode="auto">
          <a:xfrm>
            <a:off x="2520946" y="2251075"/>
            <a:ext cx="546100" cy="484188"/>
          </a:xfrm>
          <a:custGeom>
            <a:avLst/>
            <a:gdLst>
              <a:gd name="T0" fmla="*/ 71 w 160"/>
              <a:gd name="T1" fmla="*/ 19 h 141"/>
              <a:gd name="T2" fmla="*/ 58 w 160"/>
              <a:gd name="T3" fmla="*/ 1 h 141"/>
              <a:gd name="T4" fmla="*/ 57 w 160"/>
              <a:gd name="T5" fmla="*/ 0 h 141"/>
              <a:gd name="T6" fmla="*/ 0 w 160"/>
              <a:gd name="T7" fmla="*/ 0 h 141"/>
              <a:gd name="T8" fmla="*/ 0 w 160"/>
              <a:gd name="T9" fmla="*/ 141 h 141"/>
              <a:gd name="T10" fmla="*/ 160 w 160"/>
              <a:gd name="T11" fmla="*/ 141 h 141"/>
              <a:gd name="T12" fmla="*/ 160 w 160"/>
              <a:gd name="T13" fmla="*/ 19 h 141"/>
              <a:gd name="T14" fmla="*/ 71 w 160"/>
              <a:gd name="T15" fmla="*/ 19 h 141"/>
              <a:gd name="T16" fmla="*/ 155 w 160"/>
              <a:gd name="T17" fmla="*/ 24 h 141"/>
              <a:gd name="T18" fmla="*/ 155 w 160"/>
              <a:gd name="T19" fmla="*/ 37 h 141"/>
              <a:gd name="T20" fmla="*/ 84 w 160"/>
              <a:gd name="T21" fmla="*/ 37 h 141"/>
              <a:gd name="T22" fmla="*/ 75 w 160"/>
              <a:gd name="T23" fmla="*/ 24 h 141"/>
              <a:gd name="T24" fmla="*/ 155 w 160"/>
              <a:gd name="T25" fmla="*/ 24 h 141"/>
              <a:gd name="T26" fmla="*/ 5 w 160"/>
              <a:gd name="T27" fmla="*/ 136 h 141"/>
              <a:gd name="T28" fmla="*/ 5 w 160"/>
              <a:gd name="T29" fmla="*/ 5 h 141"/>
              <a:gd name="T30" fmla="*/ 55 w 160"/>
              <a:gd name="T31" fmla="*/ 5 h 141"/>
              <a:gd name="T32" fmla="*/ 68 w 160"/>
              <a:gd name="T33" fmla="*/ 24 h 141"/>
              <a:gd name="T34" fmla="*/ 68 w 160"/>
              <a:gd name="T35" fmla="*/ 24 h 141"/>
              <a:gd name="T36" fmla="*/ 80 w 160"/>
              <a:gd name="T37" fmla="*/ 41 h 141"/>
              <a:gd name="T38" fmla="*/ 83 w 160"/>
              <a:gd name="T39" fmla="*/ 43 h 141"/>
              <a:gd name="T40" fmla="*/ 83 w 160"/>
              <a:gd name="T41" fmla="*/ 43 h 141"/>
              <a:gd name="T42" fmla="*/ 155 w 160"/>
              <a:gd name="T43" fmla="*/ 43 h 141"/>
              <a:gd name="T44" fmla="*/ 155 w 160"/>
              <a:gd name="T45" fmla="*/ 136 h 141"/>
              <a:gd name="T46" fmla="*/ 5 w 160"/>
              <a:gd name="T47" fmla="*/ 13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141">
                <a:moveTo>
                  <a:pt x="71" y="19"/>
                </a:moveTo>
                <a:cubicBezTo>
                  <a:pt x="58" y="1"/>
                  <a:pt x="58" y="1"/>
                  <a:pt x="58" y="1"/>
                </a:cubicBezTo>
                <a:cubicBezTo>
                  <a:pt x="57" y="0"/>
                  <a:pt x="57" y="0"/>
                  <a:pt x="57" y="0"/>
                </a:cubicBezTo>
                <a:cubicBezTo>
                  <a:pt x="0" y="0"/>
                  <a:pt x="0" y="0"/>
                  <a:pt x="0" y="0"/>
                </a:cubicBezTo>
                <a:cubicBezTo>
                  <a:pt x="0" y="141"/>
                  <a:pt x="0" y="141"/>
                  <a:pt x="0" y="141"/>
                </a:cubicBezTo>
                <a:cubicBezTo>
                  <a:pt x="160" y="141"/>
                  <a:pt x="160" y="141"/>
                  <a:pt x="160" y="141"/>
                </a:cubicBezTo>
                <a:cubicBezTo>
                  <a:pt x="160" y="19"/>
                  <a:pt x="160" y="19"/>
                  <a:pt x="160" y="19"/>
                </a:cubicBezTo>
                <a:lnTo>
                  <a:pt x="71" y="19"/>
                </a:lnTo>
                <a:close/>
                <a:moveTo>
                  <a:pt x="155" y="24"/>
                </a:moveTo>
                <a:cubicBezTo>
                  <a:pt x="155" y="37"/>
                  <a:pt x="155" y="37"/>
                  <a:pt x="155" y="37"/>
                </a:cubicBezTo>
                <a:cubicBezTo>
                  <a:pt x="84" y="37"/>
                  <a:pt x="84" y="37"/>
                  <a:pt x="84" y="37"/>
                </a:cubicBezTo>
                <a:cubicBezTo>
                  <a:pt x="75" y="24"/>
                  <a:pt x="75" y="24"/>
                  <a:pt x="75" y="24"/>
                </a:cubicBezTo>
                <a:lnTo>
                  <a:pt x="155" y="24"/>
                </a:lnTo>
                <a:close/>
                <a:moveTo>
                  <a:pt x="5" y="136"/>
                </a:moveTo>
                <a:cubicBezTo>
                  <a:pt x="5" y="5"/>
                  <a:pt x="5" y="5"/>
                  <a:pt x="5" y="5"/>
                </a:cubicBezTo>
                <a:cubicBezTo>
                  <a:pt x="55" y="5"/>
                  <a:pt x="55" y="5"/>
                  <a:pt x="55" y="5"/>
                </a:cubicBezTo>
                <a:cubicBezTo>
                  <a:pt x="68" y="24"/>
                  <a:pt x="68" y="24"/>
                  <a:pt x="68" y="24"/>
                </a:cubicBezTo>
                <a:cubicBezTo>
                  <a:pt x="68" y="24"/>
                  <a:pt x="68" y="24"/>
                  <a:pt x="68" y="24"/>
                </a:cubicBezTo>
                <a:cubicBezTo>
                  <a:pt x="80" y="41"/>
                  <a:pt x="80" y="41"/>
                  <a:pt x="80" y="41"/>
                </a:cubicBezTo>
                <a:cubicBezTo>
                  <a:pt x="81" y="42"/>
                  <a:pt x="82" y="43"/>
                  <a:pt x="83" y="43"/>
                </a:cubicBezTo>
                <a:cubicBezTo>
                  <a:pt x="83" y="43"/>
                  <a:pt x="83" y="43"/>
                  <a:pt x="83" y="43"/>
                </a:cubicBezTo>
                <a:cubicBezTo>
                  <a:pt x="155" y="43"/>
                  <a:pt x="155" y="43"/>
                  <a:pt x="155" y="43"/>
                </a:cubicBezTo>
                <a:cubicBezTo>
                  <a:pt x="155" y="136"/>
                  <a:pt x="155" y="136"/>
                  <a:pt x="155" y="136"/>
                </a:cubicBezTo>
                <a:lnTo>
                  <a:pt x="5" y="136"/>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2092">
            <a:extLst>
              <a:ext uri="{FF2B5EF4-FFF2-40B4-BE49-F238E27FC236}">
                <a16:creationId xmlns:a16="http://schemas.microsoft.com/office/drawing/2014/main" id="{EB5C4820-39CC-2B46-9421-B55E8D645C49}"/>
              </a:ext>
            </a:extLst>
          </p:cNvPr>
          <p:cNvSpPr>
            <a:spLocks noEditPoints="1"/>
          </p:cNvSpPr>
          <p:nvPr/>
        </p:nvSpPr>
        <p:spPr bwMode="auto">
          <a:xfrm>
            <a:off x="2520946" y="2870200"/>
            <a:ext cx="546100" cy="484188"/>
          </a:xfrm>
          <a:custGeom>
            <a:avLst/>
            <a:gdLst>
              <a:gd name="T0" fmla="*/ 75 w 160"/>
              <a:gd name="T1" fmla="*/ 21 h 141"/>
              <a:gd name="T2" fmla="*/ 67 w 160"/>
              <a:gd name="T3" fmla="*/ 0 h 141"/>
              <a:gd name="T4" fmla="*/ 0 w 160"/>
              <a:gd name="T5" fmla="*/ 8 h 141"/>
              <a:gd name="T6" fmla="*/ 0 w 160"/>
              <a:gd name="T7" fmla="*/ 51 h 141"/>
              <a:gd name="T8" fmla="*/ 8 w 160"/>
              <a:gd name="T9" fmla="*/ 141 h 141"/>
              <a:gd name="T10" fmla="*/ 160 w 160"/>
              <a:gd name="T11" fmla="*/ 133 h 141"/>
              <a:gd name="T12" fmla="*/ 160 w 160"/>
              <a:gd name="T13" fmla="*/ 45 h 141"/>
              <a:gd name="T14" fmla="*/ 152 w 160"/>
              <a:gd name="T15" fmla="*/ 21 h 141"/>
              <a:gd name="T16" fmla="*/ 152 w 160"/>
              <a:gd name="T17" fmla="*/ 136 h 141"/>
              <a:gd name="T18" fmla="*/ 5 w 160"/>
              <a:gd name="T19" fmla="*/ 133 h 141"/>
              <a:gd name="T20" fmla="*/ 155 w 160"/>
              <a:gd name="T21" fmla="*/ 51 h 141"/>
              <a:gd name="T22" fmla="*/ 5 w 160"/>
              <a:gd name="T23" fmla="*/ 45 h 141"/>
              <a:gd name="T24" fmla="*/ 8 w 160"/>
              <a:gd name="T25" fmla="*/ 5 h 141"/>
              <a:gd name="T26" fmla="*/ 69 w 160"/>
              <a:gd name="T27" fmla="*/ 8 h 141"/>
              <a:gd name="T28" fmla="*/ 152 w 160"/>
              <a:gd name="T29" fmla="*/ 27 h 141"/>
              <a:gd name="T30" fmla="*/ 155 w 160"/>
              <a:gd name="T31" fmla="*/ 45 h 141"/>
              <a:gd name="T32" fmla="*/ 147 w 160"/>
              <a:gd name="T33" fmla="*/ 91 h 141"/>
              <a:gd name="T34" fmla="*/ 91 w 160"/>
              <a:gd name="T35" fmla="*/ 128 h 141"/>
              <a:gd name="T36" fmla="*/ 147 w 160"/>
              <a:gd name="T37" fmla="*/ 91 h 141"/>
              <a:gd name="T38" fmla="*/ 96 w 160"/>
              <a:gd name="T39" fmla="*/ 123 h 141"/>
              <a:gd name="T40" fmla="*/ 141 w 160"/>
              <a:gd name="T41" fmla="*/ 96 h 141"/>
              <a:gd name="T42" fmla="*/ 101 w 160"/>
              <a:gd name="T43" fmla="*/ 104 h 141"/>
              <a:gd name="T44" fmla="*/ 115 w 160"/>
              <a:gd name="T45" fmla="*/ 101 h 141"/>
              <a:gd name="T46" fmla="*/ 115 w 160"/>
              <a:gd name="T47" fmla="*/ 107 h 141"/>
              <a:gd name="T48" fmla="*/ 101 w 160"/>
              <a:gd name="T49" fmla="*/ 104 h 141"/>
              <a:gd name="T50" fmla="*/ 125 w 160"/>
              <a:gd name="T51" fmla="*/ 101 h 141"/>
              <a:gd name="T52" fmla="*/ 131 w 160"/>
              <a:gd name="T53" fmla="*/ 104 h 141"/>
              <a:gd name="T54" fmla="*/ 125 w 160"/>
              <a:gd name="T55" fmla="*/ 107 h 141"/>
              <a:gd name="T56" fmla="*/ 101 w 160"/>
              <a:gd name="T57" fmla="*/ 115 h 141"/>
              <a:gd name="T58" fmla="*/ 133 w 160"/>
              <a:gd name="T59" fmla="*/ 112 h 141"/>
              <a:gd name="T60" fmla="*/ 133 w 160"/>
              <a:gd name="T61" fmla="*/ 117 h 141"/>
              <a:gd name="T62" fmla="*/ 101 w 160"/>
              <a:gd name="T63" fmla="*/ 11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41">
                <a:moveTo>
                  <a:pt x="152" y="21"/>
                </a:moveTo>
                <a:cubicBezTo>
                  <a:pt x="75" y="21"/>
                  <a:pt x="75" y="21"/>
                  <a:pt x="75" y="21"/>
                </a:cubicBezTo>
                <a:cubicBezTo>
                  <a:pt x="75" y="8"/>
                  <a:pt x="75" y="8"/>
                  <a:pt x="75" y="8"/>
                </a:cubicBezTo>
                <a:cubicBezTo>
                  <a:pt x="75" y="4"/>
                  <a:pt x="71" y="0"/>
                  <a:pt x="67" y="0"/>
                </a:cubicBezTo>
                <a:cubicBezTo>
                  <a:pt x="8" y="0"/>
                  <a:pt x="8" y="0"/>
                  <a:pt x="8" y="0"/>
                </a:cubicBezTo>
                <a:cubicBezTo>
                  <a:pt x="4" y="0"/>
                  <a:pt x="0" y="4"/>
                  <a:pt x="0" y="8"/>
                </a:cubicBezTo>
                <a:cubicBezTo>
                  <a:pt x="0" y="45"/>
                  <a:pt x="0" y="45"/>
                  <a:pt x="0" y="45"/>
                </a:cubicBezTo>
                <a:cubicBezTo>
                  <a:pt x="0" y="51"/>
                  <a:pt x="0" y="51"/>
                  <a:pt x="0" y="51"/>
                </a:cubicBezTo>
                <a:cubicBezTo>
                  <a:pt x="0" y="133"/>
                  <a:pt x="0" y="133"/>
                  <a:pt x="0" y="133"/>
                </a:cubicBezTo>
                <a:cubicBezTo>
                  <a:pt x="0" y="138"/>
                  <a:pt x="4" y="141"/>
                  <a:pt x="8" y="141"/>
                </a:cubicBezTo>
                <a:cubicBezTo>
                  <a:pt x="152" y="141"/>
                  <a:pt x="152" y="141"/>
                  <a:pt x="152" y="141"/>
                </a:cubicBezTo>
                <a:cubicBezTo>
                  <a:pt x="156" y="141"/>
                  <a:pt x="160" y="138"/>
                  <a:pt x="160" y="133"/>
                </a:cubicBezTo>
                <a:cubicBezTo>
                  <a:pt x="160" y="51"/>
                  <a:pt x="160" y="51"/>
                  <a:pt x="160" y="51"/>
                </a:cubicBezTo>
                <a:cubicBezTo>
                  <a:pt x="160" y="45"/>
                  <a:pt x="160" y="45"/>
                  <a:pt x="160" y="45"/>
                </a:cubicBezTo>
                <a:cubicBezTo>
                  <a:pt x="160" y="29"/>
                  <a:pt x="160" y="29"/>
                  <a:pt x="160" y="29"/>
                </a:cubicBezTo>
                <a:cubicBezTo>
                  <a:pt x="160" y="25"/>
                  <a:pt x="156" y="21"/>
                  <a:pt x="152" y="21"/>
                </a:cubicBezTo>
                <a:close/>
                <a:moveTo>
                  <a:pt x="155" y="133"/>
                </a:moveTo>
                <a:cubicBezTo>
                  <a:pt x="155" y="135"/>
                  <a:pt x="153" y="136"/>
                  <a:pt x="152" y="136"/>
                </a:cubicBezTo>
                <a:cubicBezTo>
                  <a:pt x="8" y="136"/>
                  <a:pt x="8" y="136"/>
                  <a:pt x="8" y="136"/>
                </a:cubicBezTo>
                <a:cubicBezTo>
                  <a:pt x="7" y="136"/>
                  <a:pt x="5" y="135"/>
                  <a:pt x="5" y="133"/>
                </a:cubicBezTo>
                <a:cubicBezTo>
                  <a:pt x="5" y="51"/>
                  <a:pt x="5" y="51"/>
                  <a:pt x="5" y="51"/>
                </a:cubicBezTo>
                <a:cubicBezTo>
                  <a:pt x="155" y="51"/>
                  <a:pt x="155" y="51"/>
                  <a:pt x="155" y="51"/>
                </a:cubicBezTo>
                <a:lnTo>
                  <a:pt x="155" y="133"/>
                </a:lnTo>
                <a:close/>
                <a:moveTo>
                  <a:pt x="5" y="45"/>
                </a:moveTo>
                <a:cubicBezTo>
                  <a:pt x="5" y="8"/>
                  <a:pt x="5" y="8"/>
                  <a:pt x="5" y="8"/>
                </a:cubicBezTo>
                <a:cubicBezTo>
                  <a:pt x="5" y="7"/>
                  <a:pt x="7" y="5"/>
                  <a:pt x="8" y="5"/>
                </a:cubicBezTo>
                <a:cubicBezTo>
                  <a:pt x="67" y="5"/>
                  <a:pt x="67" y="5"/>
                  <a:pt x="67" y="5"/>
                </a:cubicBezTo>
                <a:cubicBezTo>
                  <a:pt x="68" y="5"/>
                  <a:pt x="69" y="7"/>
                  <a:pt x="69" y="8"/>
                </a:cubicBezTo>
                <a:cubicBezTo>
                  <a:pt x="69" y="27"/>
                  <a:pt x="69" y="27"/>
                  <a:pt x="69" y="27"/>
                </a:cubicBezTo>
                <a:cubicBezTo>
                  <a:pt x="152" y="27"/>
                  <a:pt x="152" y="27"/>
                  <a:pt x="152" y="27"/>
                </a:cubicBezTo>
                <a:cubicBezTo>
                  <a:pt x="153" y="27"/>
                  <a:pt x="155" y="28"/>
                  <a:pt x="155" y="29"/>
                </a:cubicBezTo>
                <a:cubicBezTo>
                  <a:pt x="155" y="45"/>
                  <a:pt x="155" y="45"/>
                  <a:pt x="155" y="45"/>
                </a:cubicBezTo>
                <a:lnTo>
                  <a:pt x="5" y="45"/>
                </a:lnTo>
                <a:close/>
                <a:moveTo>
                  <a:pt x="147" y="91"/>
                </a:moveTo>
                <a:cubicBezTo>
                  <a:pt x="91" y="91"/>
                  <a:pt x="91" y="91"/>
                  <a:pt x="91" y="91"/>
                </a:cubicBezTo>
                <a:cubicBezTo>
                  <a:pt x="91" y="128"/>
                  <a:pt x="91" y="128"/>
                  <a:pt x="91" y="128"/>
                </a:cubicBezTo>
                <a:cubicBezTo>
                  <a:pt x="147" y="128"/>
                  <a:pt x="147" y="128"/>
                  <a:pt x="147" y="128"/>
                </a:cubicBezTo>
                <a:lnTo>
                  <a:pt x="147" y="91"/>
                </a:lnTo>
                <a:close/>
                <a:moveTo>
                  <a:pt x="141" y="123"/>
                </a:moveTo>
                <a:cubicBezTo>
                  <a:pt x="96" y="123"/>
                  <a:pt x="96" y="123"/>
                  <a:pt x="96" y="123"/>
                </a:cubicBezTo>
                <a:cubicBezTo>
                  <a:pt x="96" y="96"/>
                  <a:pt x="96" y="96"/>
                  <a:pt x="96" y="96"/>
                </a:cubicBezTo>
                <a:cubicBezTo>
                  <a:pt x="141" y="96"/>
                  <a:pt x="141" y="96"/>
                  <a:pt x="141" y="96"/>
                </a:cubicBezTo>
                <a:lnTo>
                  <a:pt x="141" y="123"/>
                </a:lnTo>
                <a:close/>
                <a:moveTo>
                  <a:pt x="101" y="104"/>
                </a:moveTo>
                <a:cubicBezTo>
                  <a:pt x="101" y="103"/>
                  <a:pt x="103" y="101"/>
                  <a:pt x="104" y="101"/>
                </a:cubicBezTo>
                <a:cubicBezTo>
                  <a:pt x="115" y="101"/>
                  <a:pt x="115" y="101"/>
                  <a:pt x="115" y="101"/>
                </a:cubicBezTo>
                <a:cubicBezTo>
                  <a:pt x="116" y="101"/>
                  <a:pt x="117" y="103"/>
                  <a:pt x="117" y="104"/>
                </a:cubicBezTo>
                <a:cubicBezTo>
                  <a:pt x="117" y="105"/>
                  <a:pt x="116" y="107"/>
                  <a:pt x="115" y="107"/>
                </a:cubicBezTo>
                <a:cubicBezTo>
                  <a:pt x="104" y="107"/>
                  <a:pt x="104" y="107"/>
                  <a:pt x="104" y="107"/>
                </a:cubicBezTo>
                <a:cubicBezTo>
                  <a:pt x="103" y="107"/>
                  <a:pt x="101" y="105"/>
                  <a:pt x="101" y="104"/>
                </a:cubicBezTo>
                <a:close/>
                <a:moveTo>
                  <a:pt x="123" y="104"/>
                </a:moveTo>
                <a:cubicBezTo>
                  <a:pt x="123" y="103"/>
                  <a:pt x="124" y="101"/>
                  <a:pt x="125" y="101"/>
                </a:cubicBezTo>
                <a:cubicBezTo>
                  <a:pt x="128" y="101"/>
                  <a:pt x="128" y="101"/>
                  <a:pt x="128" y="101"/>
                </a:cubicBezTo>
                <a:cubicBezTo>
                  <a:pt x="129" y="101"/>
                  <a:pt x="131" y="103"/>
                  <a:pt x="131" y="104"/>
                </a:cubicBezTo>
                <a:cubicBezTo>
                  <a:pt x="131" y="105"/>
                  <a:pt x="129" y="107"/>
                  <a:pt x="128" y="107"/>
                </a:cubicBezTo>
                <a:cubicBezTo>
                  <a:pt x="125" y="107"/>
                  <a:pt x="125" y="107"/>
                  <a:pt x="125" y="107"/>
                </a:cubicBezTo>
                <a:cubicBezTo>
                  <a:pt x="124" y="107"/>
                  <a:pt x="123" y="105"/>
                  <a:pt x="123" y="104"/>
                </a:cubicBezTo>
                <a:close/>
                <a:moveTo>
                  <a:pt x="101" y="115"/>
                </a:moveTo>
                <a:cubicBezTo>
                  <a:pt x="101" y="113"/>
                  <a:pt x="103" y="112"/>
                  <a:pt x="104" y="112"/>
                </a:cubicBezTo>
                <a:cubicBezTo>
                  <a:pt x="133" y="112"/>
                  <a:pt x="133" y="112"/>
                  <a:pt x="133" y="112"/>
                </a:cubicBezTo>
                <a:cubicBezTo>
                  <a:pt x="135" y="112"/>
                  <a:pt x="136" y="113"/>
                  <a:pt x="136" y="115"/>
                </a:cubicBezTo>
                <a:cubicBezTo>
                  <a:pt x="136" y="116"/>
                  <a:pt x="135" y="117"/>
                  <a:pt x="133" y="117"/>
                </a:cubicBezTo>
                <a:cubicBezTo>
                  <a:pt x="104" y="117"/>
                  <a:pt x="104" y="117"/>
                  <a:pt x="104" y="117"/>
                </a:cubicBezTo>
                <a:cubicBezTo>
                  <a:pt x="103" y="117"/>
                  <a:pt x="101" y="116"/>
                  <a:pt x="101" y="115"/>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2093">
            <a:extLst>
              <a:ext uri="{FF2B5EF4-FFF2-40B4-BE49-F238E27FC236}">
                <a16:creationId xmlns:a16="http://schemas.microsoft.com/office/drawing/2014/main" id="{47C25A32-2261-9F46-9DEC-21536F08834C}"/>
              </a:ext>
            </a:extLst>
          </p:cNvPr>
          <p:cNvSpPr>
            <a:spLocks noEditPoints="1"/>
          </p:cNvSpPr>
          <p:nvPr/>
        </p:nvSpPr>
        <p:spPr bwMode="auto">
          <a:xfrm>
            <a:off x="2520946" y="3489325"/>
            <a:ext cx="546100" cy="485775"/>
          </a:xfrm>
          <a:custGeom>
            <a:avLst/>
            <a:gdLst>
              <a:gd name="T0" fmla="*/ 152 w 160"/>
              <a:gd name="T1" fmla="*/ 21 h 141"/>
              <a:gd name="T2" fmla="*/ 75 w 160"/>
              <a:gd name="T3" fmla="*/ 21 h 141"/>
              <a:gd name="T4" fmla="*/ 75 w 160"/>
              <a:gd name="T5" fmla="*/ 8 h 141"/>
              <a:gd name="T6" fmla="*/ 67 w 160"/>
              <a:gd name="T7" fmla="*/ 0 h 141"/>
              <a:gd name="T8" fmla="*/ 8 w 160"/>
              <a:gd name="T9" fmla="*/ 0 h 141"/>
              <a:gd name="T10" fmla="*/ 0 w 160"/>
              <a:gd name="T11" fmla="*/ 8 h 141"/>
              <a:gd name="T12" fmla="*/ 0 w 160"/>
              <a:gd name="T13" fmla="*/ 45 h 141"/>
              <a:gd name="T14" fmla="*/ 0 w 160"/>
              <a:gd name="T15" fmla="*/ 51 h 141"/>
              <a:gd name="T16" fmla="*/ 0 w 160"/>
              <a:gd name="T17" fmla="*/ 133 h 141"/>
              <a:gd name="T18" fmla="*/ 8 w 160"/>
              <a:gd name="T19" fmla="*/ 141 h 141"/>
              <a:gd name="T20" fmla="*/ 152 w 160"/>
              <a:gd name="T21" fmla="*/ 141 h 141"/>
              <a:gd name="T22" fmla="*/ 160 w 160"/>
              <a:gd name="T23" fmla="*/ 133 h 141"/>
              <a:gd name="T24" fmla="*/ 160 w 160"/>
              <a:gd name="T25" fmla="*/ 51 h 141"/>
              <a:gd name="T26" fmla="*/ 160 w 160"/>
              <a:gd name="T27" fmla="*/ 45 h 141"/>
              <a:gd name="T28" fmla="*/ 160 w 160"/>
              <a:gd name="T29" fmla="*/ 29 h 141"/>
              <a:gd name="T30" fmla="*/ 152 w 160"/>
              <a:gd name="T31" fmla="*/ 21 h 141"/>
              <a:gd name="T32" fmla="*/ 155 w 160"/>
              <a:gd name="T33" fmla="*/ 133 h 141"/>
              <a:gd name="T34" fmla="*/ 152 w 160"/>
              <a:gd name="T35" fmla="*/ 136 h 141"/>
              <a:gd name="T36" fmla="*/ 8 w 160"/>
              <a:gd name="T37" fmla="*/ 136 h 141"/>
              <a:gd name="T38" fmla="*/ 5 w 160"/>
              <a:gd name="T39" fmla="*/ 133 h 141"/>
              <a:gd name="T40" fmla="*/ 5 w 160"/>
              <a:gd name="T41" fmla="*/ 51 h 141"/>
              <a:gd name="T42" fmla="*/ 155 w 160"/>
              <a:gd name="T43" fmla="*/ 51 h 141"/>
              <a:gd name="T44" fmla="*/ 155 w 160"/>
              <a:gd name="T45" fmla="*/ 133 h 141"/>
              <a:gd name="T46" fmla="*/ 5 w 160"/>
              <a:gd name="T47" fmla="*/ 45 h 141"/>
              <a:gd name="T48" fmla="*/ 5 w 160"/>
              <a:gd name="T49" fmla="*/ 8 h 141"/>
              <a:gd name="T50" fmla="*/ 8 w 160"/>
              <a:gd name="T51" fmla="*/ 5 h 141"/>
              <a:gd name="T52" fmla="*/ 67 w 160"/>
              <a:gd name="T53" fmla="*/ 5 h 141"/>
              <a:gd name="T54" fmla="*/ 69 w 160"/>
              <a:gd name="T55" fmla="*/ 8 h 141"/>
              <a:gd name="T56" fmla="*/ 69 w 160"/>
              <a:gd name="T57" fmla="*/ 27 h 141"/>
              <a:gd name="T58" fmla="*/ 152 w 160"/>
              <a:gd name="T59" fmla="*/ 27 h 141"/>
              <a:gd name="T60" fmla="*/ 155 w 160"/>
              <a:gd name="T61" fmla="*/ 29 h 141"/>
              <a:gd name="T62" fmla="*/ 155 w 160"/>
              <a:gd name="T63" fmla="*/ 45 h 141"/>
              <a:gd name="T64" fmla="*/ 5 w 160"/>
              <a:gd name="T65" fmla="*/ 45 h 141"/>
              <a:gd name="T66" fmla="*/ 48 w 160"/>
              <a:gd name="T67" fmla="*/ 77 h 141"/>
              <a:gd name="T68" fmla="*/ 51 w 160"/>
              <a:gd name="T69" fmla="*/ 75 h 141"/>
              <a:gd name="T70" fmla="*/ 88 w 160"/>
              <a:gd name="T71" fmla="*/ 75 h 141"/>
              <a:gd name="T72" fmla="*/ 91 w 160"/>
              <a:gd name="T73" fmla="*/ 77 h 141"/>
              <a:gd name="T74" fmla="*/ 88 w 160"/>
              <a:gd name="T75" fmla="*/ 80 h 141"/>
              <a:gd name="T76" fmla="*/ 51 w 160"/>
              <a:gd name="T77" fmla="*/ 80 h 141"/>
              <a:gd name="T78" fmla="*/ 48 w 160"/>
              <a:gd name="T79" fmla="*/ 77 h 141"/>
              <a:gd name="T80" fmla="*/ 48 w 160"/>
              <a:gd name="T81" fmla="*/ 93 h 141"/>
              <a:gd name="T82" fmla="*/ 51 w 160"/>
              <a:gd name="T83" fmla="*/ 91 h 141"/>
              <a:gd name="T84" fmla="*/ 109 w 160"/>
              <a:gd name="T85" fmla="*/ 91 h 141"/>
              <a:gd name="T86" fmla="*/ 112 w 160"/>
              <a:gd name="T87" fmla="*/ 93 h 141"/>
              <a:gd name="T88" fmla="*/ 109 w 160"/>
              <a:gd name="T89" fmla="*/ 96 h 141"/>
              <a:gd name="T90" fmla="*/ 51 w 160"/>
              <a:gd name="T91" fmla="*/ 96 h 141"/>
              <a:gd name="T92" fmla="*/ 48 w 160"/>
              <a:gd name="T93" fmla="*/ 93 h 141"/>
              <a:gd name="T94" fmla="*/ 48 w 160"/>
              <a:gd name="T95" fmla="*/ 109 h 141"/>
              <a:gd name="T96" fmla="*/ 51 w 160"/>
              <a:gd name="T97" fmla="*/ 107 h 141"/>
              <a:gd name="T98" fmla="*/ 109 w 160"/>
              <a:gd name="T99" fmla="*/ 107 h 141"/>
              <a:gd name="T100" fmla="*/ 112 w 160"/>
              <a:gd name="T101" fmla="*/ 109 h 141"/>
              <a:gd name="T102" fmla="*/ 109 w 160"/>
              <a:gd name="T103" fmla="*/ 112 h 141"/>
              <a:gd name="T104" fmla="*/ 51 w 160"/>
              <a:gd name="T105" fmla="*/ 112 h 141"/>
              <a:gd name="T106" fmla="*/ 48 w 160"/>
              <a:gd name="T107" fmla="*/ 10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41">
                <a:moveTo>
                  <a:pt x="152" y="21"/>
                </a:moveTo>
                <a:cubicBezTo>
                  <a:pt x="75" y="21"/>
                  <a:pt x="75" y="21"/>
                  <a:pt x="75" y="21"/>
                </a:cubicBezTo>
                <a:cubicBezTo>
                  <a:pt x="75" y="8"/>
                  <a:pt x="75" y="8"/>
                  <a:pt x="75" y="8"/>
                </a:cubicBezTo>
                <a:cubicBezTo>
                  <a:pt x="75" y="4"/>
                  <a:pt x="71" y="0"/>
                  <a:pt x="67" y="0"/>
                </a:cubicBezTo>
                <a:cubicBezTo>
                  <a:pt x="8" y="0"/>
                  <a:pt x="8" y="0"/>
                  <a:pt x="8" y="0"/>
                </a:cubicBezTo>
                <a:cubicBezTo>
                  <a:pt x="4" y="0"/>
                  <a:pt x="0" y="4"/>
                  <a:pt x="0" y="8"/>
                </a:cubicBezTo>
                <a:cubicBezTo>
                  <a:pt x="0" y="45"/>
                  <a:pt x="0" y="45"/>
                  <a:pt x="0" y="45"/>
                </a:cubicBezTo>
                <a:cubicBezTo>
                  <a:pt x="0" y="51"/>
                  <a:pt x="0" y="51"/>
                  <a:pt x="0" y="51"/>
                </a:cubicBezTo>
                <a:cubicBezTo>
                  <a:pt x="0" y="133"/>
                  <a:pt x="0" y="133"/>
                  <a:pt x="0" y="133"/>
                </a:cubicBezTo>
                <a:cubicBezTo>
                  <a:pt x="0" y="138"/>
                  <a:pt x="4" y="141"/>
                  <a:pt x="8" y="141"/>
                </a:cubicBezTo>
                <a:cubicBezTo>
                  <a:pt x="152" y="141"/>
                  <a:pt x="152" y="141"/>
                  <a:pt x="152" y="141"/>
                </a:cubicBezTo>
                <a:cubicBezTo>
                  <a:pt x="156" y="141"/>
                  <a:pt x="160" y="138"/>
                  <a:pt x="160" y="133"/>
                </a:cubicBezTo>
                <a:cubicBezTo>
                  <a:pt x="160" y="51"/>
                  <a:pt x="160" y="51"/>
                  <a:pt x="160" y="51"/>
                </a:cubicBezTo>
                <a:cubicBezTo>
                  <a:pt x="160" y="45"/>
                  <a:pt x="160" y="45"/>
                  <a:pt x="160" y="45"/>
                </a:cubicBezTo>
                <a:cubicBezTo>
                  <a:pt x="160" y="29"/>
                  <a:pt x="160" y="29"/>
                  <a:pt x="160" y="29"/>
                </a:cubicBezTo>
                <a:cubicBezTo>
                  <a:pt x="160" y="25"/>
                  <a:pt x="156" y="21"/>
                  <a:pt x="152" y="21"/>
                </a:cubicBezTo>
                <a:close/>
                <a:moveTo>
                  <a:pt x="155" y="133"/>
                </a:moveTo>
                <a:cubicBezTo>
                  <a:pt x="155" y="135"/>
                  <a:pt x="153" y="136"/>
                  <a:pt x="152" y="136"/>
                </a:cubicBezTo>
                <a:cubicBezTo>
                  <a:pt x="8" y="136"/>
                  <a:pt x="8" y="136"/>
                  <a:pt x="8" y="136"/>
                </a:cubicBezTo>
                <a:cubicBezTo>
                  <a:pt x="7" y="136"/>
                  <a:pt x="5" y="135"/>
                  <a:pt x="5" y="133"/>
                </a:cubicBezTo>
                <a:cubicBezTo>
                  <a:pt x="5" y="51"/>
                  <a:pt x="5" y="51"/>
                  <a:pt x="5" y="51"/>
                </a:cubicBezTo>
                <a:cubicBezTo>
                  <a:pt x="155" y="51"/>
                  <a:pt x="155" y="51"/>
                  <a:pt x="155" y="51"/>
                </a:cubicBezTo>
                <a:lnTo>
                  <a:pt x="155" y="133"/>
                </a:lnTo>
                <a:close/>
                <a:moveTo>
                  <a:pt x="5" y="45"/>
                </a:moveTo>
                <a:cubicBezTo>
                  <a:pt x="5" y="8"/>
                  <a:pt x="5" y="8"/>
                  <a:pt x="5" y="8"/>
                </a:cubicBezTo>
                <a:cubicBezTo>
                  <a:pt x="5" y="7"/>
                  <a:pt x="7" y="5"/>
                  <a:pt x="8" y="5"/>
                </a:cubicBezTo>
                <a:cubicBezTo>
                  <a:pt x="67" y="5"/>
                  <a:pt x="67" y="5"/>
                  <a:pt x="67" y="5"/>
                </a:cubicBezTo>
                <a:cubicBezTo>
                  <a:pt x="68" y="5"/>
                  <a:pt x="69" y="7"/>
                  <a:pt x="69" y="8"/>
                </a:cubicBezTo>
                <a:cubicBezTo>
                  <a:pt x="69" y="27"/>
                  <a:pt x="69" y="27"/>
                  <a:pt x="69" y="27"/>
                </a:cubicBezTo>
                <a:cubicBezTo>
                  <a:pt x="152" y="27"/>
                  <a:pt x="152" y="27"/>
                  <a:pt x="152" y="27"/>
                </a:cubicBezTo>
                <a:cubicBezTo>
                  <a:pt x="153" y="27"/>
                  <a:pt x="155" y="28"/>
                  <a:pt x="155" y="29"/>
                </a:cubicBezTo>
                <a:cubicBezTo>
                  <a:pt x="155" y="45"/>
                  <a:pt x="155" y="45"/>
                  <a:pt x="155" y="45"/>
                </a:cubicBezTo>
                <a:lnTo>
                  <a:pt x="5" y="45"/>
                </a:lnTo>
                <a:close/>
                <a:moveTo>
                  <a:pt x="48" y="77"/>
                </a:moveTo>
                <a:cubicBezTo>
                  <a:pt x="48" y="76"/>
                  <a:pt x="49" y="75"/>
                  <a:pt x="51" y="75"/>
                </a:cubicBezTo>
                <a:cubicBezTo>
                  <a:pt x="88" y="75"/>
                  <a:pt x="88" y="75"/>
                  <a:pt x="88" y="75"/>
                </a:cubicBezTo>
                <a:cubicBezTo>
                  <a:pt x="89" y="75"/>
                  <a:pt x="91" y="76"/>
                  <a:pt x="91" y="77"/>
                </a:cubicBezTo>
                <a:cubicBezTo>
                  <a:pt x="91" y="79"/>
                  <a:pt x="89" y="80"/>
                  <a:pt x="88" y="80"/>
                </a:cubicBezTo>
                <a:cubicBezTo>
                  <a:pt x="51" y="80"/>
                  <a:pt x="51" y="80"/>
                  <a:pt x="51" y="80"/>
                </a:cubicBezTo>
                <a:cubicBezTo>
                  <a:pt x="49" y="80"/>
                  <a:pt x="48" y="79"/>
                  <a:pt x="48" y="77"/>
                </a:cubicBezTo>
                <a:close/>
                <a:moveTo>
                  <a:pt x="48" y="93"/>
                </a:moveTo>
                <a:cubicBezTo>
                  <a:pt x="48" y="92"/>
                  <a:pt x="49" y="91"/>
                  <a:pt x="51" y="91"/>
                </a:cubicBezTo>
                <a:cubicBezTo>
                  <a:pt x="109" y="91"/>
                  <a:pt x="109" y="91"/>
                  <a:pt x="109" y="91"/>
                </a:cubicBezTo>
                <a:cubicBezTo>
                  <a:pt x="111" y="91"/>
                  <a:pt x="112" y="92"/>
                  <a:pt x="112" y="93"/>
                </a:cubicBezTo>
                <a:cubicBezTo>
                  <a:pt x="112" y="95"/>
                  <a:pt x="111" y="96"/>
                  <a:pt x="109" y="96"/>
                </a:cubicBezTo>
                <a:cubicBezTo>
                  <a:pt x="51" y="96"/>
                  <a:pt x="51" y="96"/>
                  <a:pt x="51" y="96"/>
                </a:cubicBezTo>
                <a:cubicBezTo>
                  <a:pt x="49" y="96"/>
                  <a:pt x="48" y="95"/>
                  <a:pt x="48" y="93"/>
                </a:cubicBezTo>
                <a:close/>
                <a:moveTo>
                  <a:pt x="48" y="109"/>
                </a:moveTo>
                <a:cubicBezTo>
                  <a:pt x="48" y="108"/>
                  <a:pt x="49" y="107"/>
                  <a:pt x="51" y="107"/>
                </a:cubicBezTo>
                <a:cubicBezTo>
                  <a:pt x="109" y="107"/>
                  <a:pt x="109" y="107"/>
                  <a:pt x="109" y="107"/>
                </a:cubicBezTo>
                <a:cubicBezTo>
                  <a:pt x="111" y="107"/>
                  <a:pt x="112" y="108"/>
                  <a:pt x="112" y="109"/>
                </a:cubicBezTo>
                <a:cubicBezTo>
                  <a:pt x="112" y="111"/>
                  <a:pt x="111" y="112"/>
                  <a:pt x="109" y="112"/>
                </a:cubicBezTo>
                <a:cubicBezTo>
                  <a:pt x="51" y="112"/>
                  <a:pt x="51" y="112"/>
                  <a:pt x="51" y="112"/>
                </a:cubicBezTo>
                <a:cubicBezTo>
                  <a:pt x="49" y="112"/>
                  <a:pt x="48" y="111"/>
                  <a:pt x="48" y="109"/>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2094">
            <a:extLst>
              <a:ext uri="{FF2B5EF4-FFF2-40B4-BE49-F238E27FC236}">
                <a16:creationId xmlns:a16="http://schemas.microsoft.com/office/drawing/2014/main" id="{7EAB275A-70F7-F949-B8AB-75F57684A5D5}"/>
              </a:ext>
            </a:extLst>
          </p:cNvPr>
          <p:cNvSpPr>
            <a:spLocks noEditPoints="1"/>
          </p:cNvSpPr>
          <p:nvPr/>
        </p:nvSpPr>
        <p:spPr bwMode="auto">
          <a:xfrm>
            <a:off x="2520946" y="4108450"/>
            <a:ext cx="546100" cy="485775"/>
          </a:xfrm>
          <a:custGeom>
            <a:avLst/>
            <a:gdLst>
              <a:gd name="T0" fmla="*/ 152 w 160"/>
              <a:gd name="T1" fmla="*/ 21 h 141"/>
              <a:gd name="T2" fmla="*/ 75 w 160"/>
              <a:gd name="T3" fmla="*/ 21 h 141"/>
              <a:gd name="T4" fmla="*/ 75 w 160"/>
              <a:gd name="T5" fmla="*/ 8 h 141"/>
              <a:gd name="T6" fmla="*/ 67 w 160"/>
              <a:gd name="T7" fmla="*/ 0 h 141"/>
              <a:gd name="T8" fmla="*/ 8 w 160"/>
              <a:gd name="T9" fmla="*/ 0 h 141"/>
              <a:gd name="T10" fmla="*/ 0 w 160"/>
              <a:gd name="T11" fmla="*/ 8 h 141"/>
              <a:gd name="T12" fmla="*/ 0 w 160"/>
              <a:gd name="T13" fmla="*/ 45 h 141"/>
              <a:gd name="T14" fmla="*/ 0 w 160"/>
              <a:gd name="T15" fmla="*/ 51 h 141"/>
              <a:gd name="T16" fmla="*/ 0 w 160"/>
              <a:gd name="T17" fmla="*/ 133 h 141"/>
              <a:gd name="T18" fmla="*/ 8 w 160"/>
              <a:gd name="T19" fmla="*/ 141 h 141"/>
              <a:gd name="T20" fmla="*/ 152 w 160"/>
              <a:gd name="T21" fmla="*/ 141 h 141"/>
              <a:gd name="T22" fmla="*/ 160 w 160"/>
              <a:gd name="T23" fmla="*/ 133 h 141"/>
              <a:gd name="T24" fmla="*/ 160 w 160"/>
              <a:gd name="T25" fmla="*/ 51 h 141"/>
              <a:gd name="T26" fmla="*/ 160 w 160"/>
              <a:gd name="T27" fmla="*/ 45 h 141"/>
              <a:gd name="T28" fmla="*/ 160 w 160"/>
              <a:gd name="T29" fmla="*/ 29 h 141"/>
              <a:gd name="T30" fmla="*/ 152 w 160"/>
              <a:gd name="T31" fmla="*/ 21 h 141"/>
              <a:gd name="T32" fmla="*/ 155 w 160"/>
              <a:gd name="T33" fmla="*/ 133 h 141"/>
              <a:gd name="T34" fmla="*/ 152 w 160"/>
              <a:gd name="T35" fmla="*/ 136 h 141"/>
              <a:gd name="T36" fmla="*/ 8 w 160"/>
              <a:gd name="T37" fmla="*/ 136 h 141"/>
              <a:gd name="T38" fmla="*/ 5 w 160"/>
              <a:gd name="T39" fmla="*/ 133 h 141"/>
              <a:gd name="T40" fmla="*/ 5 w 160"/>
              <a:gd name="T41" fmla="*/ 51 h 141"/>
              <a:gd name="T42" fmla="*/ 155 w 160"/>
              <a:gd name="T43" fmla="*/ 51 h 141"/>
              <a:gd name="T44" fmla="*/ 155 w 160"/>
              <a:gd name="T45" fmla="*/ 133 h 141"/>
              <a:gd name="T46" fmla="*/ 5 w 160"/>
              <a:gd name="T47" fmla="*/ 45 h 141"/>
              <a:gd name="T48" fmla="*/ 5 w 160"/>
              <a:gd name="T49" fmla="*/ 8 h 141"/>
              <a:gd name="T50" fmla="*/ 8 w 160"/>
              <a:gd name="T51" fmla="*/ 5 h 141"/>
              <a:gd name="T52" fmla="*/ 67 w 160"/>
              <a:gd name="T53" fmla="*/ 5 h 141"/>
              <a:gd name="T54" fmla="*/ 69 w 160"/>
              <a:gd name="T55" fmla="*/ 8 h 141"/>
              <a:gd name="T56" fmla="*/ 69 w 160"/>
              <a:gd name="T57" fmla="*/ 27 h 141"/>
              <a:gd name="T58" fmla="*/ 152 w 160"/>
              <a:gd name="T59" fmla="*/ 27 h 141"/>
              <a:gd name="T60" fmla="*/ 155 w 160"/>
              <a:gd name="T61" fmla="*/ 29 h 141"/>
              <a:gd name="T62" fmla="*/ 155 w 160"/>
              <a:gd name="T63" fmla="*/ 45 h 141"/>
              <a:gd name="T64" fmla="*/ 5 w 160"/>
              <a:gd name="T65" fmla="*/ 4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41">
                <a:moveTo>
                  <a:pt x="152" y="21"/>
                </a:moveTo>
                <a:cubicBezTo>
                  <a:pt x="75" y="21"/>
                  <a:pt x="75" y="21"/>
                  <a:pt x="75" y="21"/>
                </a:cubicBezTo>
                <a:cubicBezTo>
                  <a:pt x="75" y="8"/>
                  <a:pt x="75" y="8"/>
                  <a:pt x="75" y="8"/>
                </a:cubicBezTo>
                <a:cubicBezTo>
                  <a:pt x="75" y="4"/>
                  <a:pt x="71" y="0"/>
                  <a:pt x="67" y="0"/>
                </a:cubicBezTo>
                <a:cubicBezTo>
                  <a:pt x="8" y="0"/>
                  <a:pt x="8" y="0"/>
                  <a:pt x="8" y="0"/>
                </a:cubicBezTo>
                <a:cubicBezTo>
                  <a:pt x="4" y="0"/>
                  <a:pt x="0" y="4"/>
                  <a:pt x="0" y="8"/>
                </a:cubicBezTo>
                <a:cubicBezTo>
                  <a:pt x="0" y="45"/>
                  <a:pt x="0" y="45"/>
                  <a:pt x="0" y="45"/>
                </a:cubicBezTo>
                <a:cubicBezTo>
                  <a:pt x="0" y="51"/>
                  <a:pt x="0" y="51"/>
                  <a:pt x="0" y="51"/>
                </a:cubicBezTo>
                <a:cubicBezTo>
                  <a:pt x="0" y="133"/>
                  <a:pt x="0" y="133"/>
                  <a:pt x="0" y="133"/>
                </a:cubicBezTo>
                <a:cubicBezTo>
                  <a:pt x="0" y="138"/>
                  <a:pt x="4" y="141"/>
                  <a:pt x="8" y="141"/>
                </a:cubicBezTo>
                <a:cubicBezTo>
                  <a:pt x="152" y="141"/>
                  <a:pt x="152" y="141"/>
                  <a:pt x="152" y="141"/>
                </a:cubicBezTo>
                <a:cubicBezTo>
                  <a:pt x="156" y="141"/>
                  <a:pt x="160" y="138"/>
                  <a:pt x="160" y="133"/>
                </a:cubicBezTo>
                <a:cubicBezTo>
                  <a:pt x="160" y="51"/>
                  <a:pt x="160" y="51"/>
                  <a:pt x="160" y="51"/>
                </a:cubicBezTo>
                <a:cubicBezTo>
                  <a:pt x="160" y="45"/>
                  <a:pt x="160" y="45"/>
                  <a:pt x="160" y="45"/>
                </a:cubicBezTo>
                <a:cubicBezTo>
                  <a:pt x="160" y="29"/>
                  <a:pt x="160" y="29"/>
                  <a:pt x="160" y="29"/>
                </a:cubicBezTo>
                <a:cubicBezTo>
                  <a:pt x="160" y="25"/>
                  <a:pt x="156" y="21"/>
                  <a:pt x="152" y="21"/>
                </a:cubicBezTo>
                <a:close/>
                <a:moveTo>
                  <a:pt x="155" y="133"/>
                </a:moveTo>
                <a:cubicBezTo>
                  <a:pt x="155" y="135"/>
                  <a:pt x="153" y="136"/>
                  <a:pt x="152" y="136"/>
                </a:cubicBezTo>
                <a:cubicBezTo>
                  <a:pt x="8" y="136"/>
                  <a:pt x="8" y="136"/>
                  <a:pt x="8" y="136"/>
                </a:cubicBezTo>
                <a:cubicBezTo>
                  <a:pt x="7" y="136"/>
                  <a:pt x="5" y="135"/>
                  <a:pt x="5" y="133"/>
                </a:cubicBezTo>
                <a:cubicBezTo>
                  <a:pt x="5" y="51"/>
                  <a:pt x="5" y="51"/>
                  <a:pt x="5" y="51"/>
                </a:cubicBezTo>
                <a:cubicBezTo>
                  <a:pt x="155" y="51"/>
                  <a:pt x="155" y="51"/>
                  <a:pt x="155" y="51"/>
                </a:cubicBezTo>
                <a:lnTo>
                  <a:pt x="155" y="133"/>
                </a:lnTo>
                <a:close/>
                <a:moveTo>
                  <a:pt x="5" y="45"/>
                </a:moveTo>
                <a:cubicBezTo>
                  <a:pt x="5" y="8"/>
                  <a:pt x="5" y="8"/>
                  <a:pt x="5" y="8"/>
                </a:cubicBezTo>
                <a:cubicBezTo>
                  <a:pt x="5" y="7"/>
                  <a:pt x="7" y="5"/>
                  <a:pt x="8" y="5"/>
                </a:cubicBezTo>
                <a:cubicBezTo>
                  <a:pt x="67" y="5"/>
                  <a:pt x="67" y="5"/>
                  <a:pt x="67" y="5"/>
                </a:cubicBezTo>
                <a:cubicBezTo>
                  <a:pt x="68" y="5"/>
                  <a:pt x="69" y="7"/>
                  <a:pt x="69" y="8"/>
                </a:cubicBezTo>
                <a:cubicBezTo>
                  <a:pt x="69" y="27"/>
                  <a:pt x="69" y="27"/>
                  <a:pt x="69" y="27"/>
                </a:cubicBezTo>
                <a:cubicBezTo>
                  <a:pt x="152" y="27"/>
                  <a:pt x="152" y="27"/>
                  <a:pt x="152" y="27"/>
                </a:cubicBezTo>
                <a:cubicBezTo>
                  <a:pt x="153" y="27"/>
                  <a:pt x="155" y="28"/>
                  <a:pt x="155" y="29"/>
                </a:cubicBezTo>
                <a:cubicBezTo>
                  <a:pt x="155" y="45"/>
                  <a:pt x="155" y="45"/>
                  <a:pt x="155" y="45"/>
                </a:cubicBezTo>
                <a:lnTo>
                  <a:pt x="5" y="45"/>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2095">
            <a:extLst>
              <a:ext uri="{FF2B5EF4-FFF2-40B4-BE49-F238E27FC236}">
                <a16:creationId xmlns:a16="http://schemas.microsoft.com/office/drawing/2014/main" id="{724D030B-B100-F940-A6FD-6B5FA74F0269}"/>
              </a:ext>
            </a:extLst>
          </p:cNvPr>
          <p:cNvSpPr>
            <a:spLocks noEditPoints="1"/>
          </p:cNvSpPr>
          <p:nvPr/>
        </p:nvSpPr>
        <p:spPr bwMode="auto">
          <a:xfrm>
            <a:off x="2520946" y="4714875"/>
            <a:ext cx="546100" cy="515938"/>
          </a:xfrm>
          <a:custGeom>
            <a:avLst/>
            <a:gdLst>
              <a:gd name="T0" fmla="*/ 159 w 160"/>
              <a:gd name="T1" fmla="*/ 57 h 150"/>
              <a:gd name="T2" fmla="*/ 157 w 160"/>
              <a:gd name="T3" fmla="*/ 56 h 150"/>
              <a:gd name="T4" fmla="*/ 149 w 160"/>
              <a:gd name="T5" fmla="*/ 56 h 150"/>
              <a:gd name="T6" fmla="*/ 149 w 160"/>
              <a:gd name="T7" fmla="*/ 18 h 150"/>
              <a:gd name="T8" fmla="*/ 145 w 160"/>
              <a:gd name="T9" fmla="*/ 13 h 150"/>
              <a:gd name="T10" fmla="*/ 63 w 160"/>
              <a:gd name="T11" fmla="*/ 13 h 150"/>
              <a:gd name="T12" fmla="*/ 56 w 160"/>
              <a:gd name="T13" fmla="*/ 2 h 150"/>
              <a:gd name="T14" fmla="*/ 52 w 160"/>
              <a:gd name="T15" fmla="*/ 0 h 150"/>
              <a:gd name="T16" fmla="*/ 15 w 160"/>
              <a:gd name="T17" fmla="*/ 0 h 150"/>
              <a:gd name="T18" fmla="*/ 11 w 160"/>
              <a:gd name="T19" fmla="*/ 5 h 150"/>
              <a:gd name="T20" fmla="*/ 11 w 160"/>
              <a:gd name="T21" fmla="*/ 56 h 150"/>
              <a:gd name="T22" fmla="*/ 3 w 160"/>
              <a:gd name="T23" fmla="*/ 56 h 150"/>
              <a:gd name="T24" fmla="*/ 1 w 160"/>
              <a:gd name="T25" fmla="*/ 57 h 150"/>
              <a:gd name="T26" fmla="*/ 0 w 160"/>
              <a:gd name="T27" fmla="*/ 60 h 150"/>
              <a:gd name="T28" fmla="*/ 13 w 160"/>
              <a:gd name="T29" fmla="*/ 147 h 150"/>
              <a:gd name="T30" fmla="*/ 17 w 160"/>
              <a:gd name="T31" fmla="*/ 150 h 150"/>
              <a:gd name="T32" fmla="*/ 143 w 160"/>
              <a:gd name="T33" fmla="*/ 150 h 150"/>
              <a:gd name="T34" fmla="*/ 147 w 160"/>
              <a:gd name="T35" fmla="*/ 147 h 150"/>
              <a:gd name="T36" fmla="*/ 160 w 160"/>
              <a:gd name="T37" fmla="*/ 60 h 150"/>
              <a:gd name="T38" fmla="*/ 159 w 160"/>
              <a:gd name="T39" fmla="*/ 57 h 150"/>
              <a:gd name="T40" fmla="*/ 16 w 160"/>
              <a:gd name="T41" fmla="*/ 5 h 150"/>
              <a:gd name="T42" fmla="*/ 52 w 160"/>
              <a:gd name="T43" fmla="*/ 5 h 150"/>
              <a:gd name="T44" fmla="*/ 58 w 160"/>
              <a:gd name="T45" fmla="*/ 16 h 150"/>
              <a:gd name="T46" fmla="*/ 62 w 160"/>
              <a:gd name="T47" fmla="*/ 19 h 150"/>
              <a:gd name="T48" fmla="*/ 144 w 160"/>
              <a:gd name="T49" fmla="*/ 19 h 150"/>
              <a:gd name="T50" fmla="*/ 144 w 160"/>
              <a:gd name="T51" fmla="*/ 56 h 150"/>
              <a:gd name="T52" fmla="*/ 139 w 160"/>
              <a:gd name="T53" fmla="*/ 56 h 150"/>
              <a:gd name="T54" fmla="*/ 139 w 160"/>
              <a:gd name="T55" fmla="*/ 37 h 150"/>
              <a:gd name="T56" fmla="*/ 21 w 160"/>
              <a:gd name="T57" fmla="*/ 37 h 150"/>
              <a:gd name="T58" fmla="*/ 21 w 160"/>
              <a:gd name="T59" fmla="*/ 56 h 150"/>
              <a:gd name="T60" fmla="*/ 16 w 160"/>
              <a:gd name="T61" fmla="*/ 56 h 150"/>
              <a:gd name="T62" fmla="*/ 16 w 160"/>
              <a:gd name="T63" fmla="*/ 5 h 150"/>
              <a:gd name="T64" fmla="*/ 133 w 160"/>
              <a:gd name="T65" fmla="*/ 56 h 150"/>
              <a:gd name="T66" fmla="*/ 27 w 160"/>
              <a:gd name="T67" fmla="*/ 56 h 150"/>
              <a:gd name="T68" fmla="*/ 27 w 160"/>
              <a:gd name="T69" fmla="*/ 43 h 150"/>
              <a:gd name="T70" fmla="*/ 133 w 160"/>
              <a:gd name="T71" fmla="*/ 43 h 150"/>
              <a:gd name="T72" fmla="*/ 133 w 160"/>
              <a:gd name="T73" fmla="*/ 56 h 150"/>
              <a:gd name="T74" fmla="*/ 142 w 160"/>
              <a:gd name="T75" fmla="*/ 144 h 150"/>
              <a:gd name="T76" fmla="*/ 18 w 160"/>
              <a:gd name="T77" fmla="*/ 144 h 150"/>
              <a:gd name="T78" fmla="*/ 6 w 160"/>
              <a:gd name="T79" fmla="*/ 61 h 150"/>
              <a:gd name="T80" fmla="*/ 11 w 160"/>
              <a:gd name="T81" fmla="*/ 61 h 150"/>
              <a:gd name="T82" fmla="*/ 21 w 160"/>
              <a:gd name="T83" fmla="*/ 61 h 150"/>
              <a:gd name="T84" fmla="*/ 139 w 160"/>
              <a:gd name="T85" fmla="*/ 61 h 150"/>
              <a:gd name="T86" fmla="*/ 149 w 160"/>
              <a:gd name="T87" fmla="*/ 61 h 150"/>
              <a:gd name="T88" fmla="*/ 154 w 160"/>
              <a:gd name="T89" fmla="*/ 61 h 150"/>
              <a:gd name="T90" fmla="*/ 142 w 160"/>
              <a:gd name="T91" fmla="*/ 14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50">
                <a:moveTo>
                  <a:pt x="159" y="57"/>
                </a:moveTo>
                <a:cubicBezTo>
                  <a:pt x="159" y="57"/>
                  <a:pt x="158" y="56"/>
                  <a:pt x="157" y="56"/>
                </a:cubicBezTo>
                <a:cubicBezTo>
                  <a:pt x="149" y="56"/>
                  <a:pt x="149" y="56"/>
                  <a:pt x="149" y="56"/>
                </a:cubicBezTo>
                <a:cubicBezTo>
                  <a:pt x="149" y="18"/>
                  <a:pt x="149" y="18"/>
                  <a:pt x="149" y="18"/>
                </a:cubicBezTo>
                <a:cubicBezTo>
                  <a:pt x="149" y="15"/>
                  <a:pt x="147" y="13"/>
                  <a:pt x="145" y="13"/>
                </a:cubicBezTo>
                <a:cubicBezTo>
                  <a:pt x="63" y="13"/>
                  <a:pt x="63" y="13"/>
                  <a:pt x="63" y="13"/>
                </a:cubicBezTo>
                <a:cubicBezTo>
                  <a:pt x="56" y="2"/>
                  <a:pt x="56" y="2"/>
                  <a:pt x="56" y="2"/>
                </a:cubicBezTo>
                <a:cubicBezTo>
                  <a:pt x="55" y="1"/>
                  <a:pt x="54" y="0"/>
                  <a:pt x="52" y="0"/>
                </a:cubicBezTo>
                <a:cubicBezTo>
                  <a:pt x="15" y="0"/>
                  <a:pt x="15" y="0"/>
                  <a:pt x="15" y="0"/>
                </a:cubicBezTo>
                <a:cubicBezTo>
                  <a:pt x="13" y="0"/>
                  <a:pt x="11" y="2"/>
                  <a:pt x="11" y="5"/>
                </a:cubicBezTo>
                <a:cubicBezTo>
                  <a:pt x="11" y="56"/>
                  <a:pt x="11" y="56"/>
                  <a:pt x="11" y="56"/>
                </a:cubicBezTo>
                <a:cubicBezTo>
                  <a:pt x="3" y="56"/>
                  <a:pt x="3" y="56"/>
                  <a:pt x="3" y="56"/>
                </a:cubicBezTo>
                <a:cubicBezTo>
                  <a:pt x="2" y="56"/>
                  <a:pt x="1" y="57"/>
                  <a:pt x="1" y="57"/>
                </a:cubicBezTo>
                <a:cubicBezTo>
                  <a:pt x="0" y="58"/>
                  <a:pt x="0" y="59"/>
                  <a:pt x="0" y="60"/>
                </a:cubicBezTo>
                <a:cubicBezTo>
                  <a:pt x="13" y="147"/>
                  <a:pt x="13" y="147"/>
                  <a:pt x="13" y="147"/>
                </a:cubicBezTo>
                <a:cubicBezTo>
                  <a:pt x="13" y="148"/>
                  <a:pt x="15" y="150"/>
                  <a:pt x="17" y="150"/>
                </a:cubicBezTo>
                <a:cubicBezTo>
                  <a:pt x="143" y="150"/>
                  <a:pt x="143" y="150"/>
                  <a:pt x="143" y="150"/>
                </a:cubicBezTo>
                <a:cubicBezTo>
                  <a:pt x="145" y="150"/>
                  <a:pt x="147" y="148"/>
                  <a:pt x="147" y="147"/>
                </a:cubicBezTo>
                <a:cubicBezTo>
                  <a:pt x="160" y="60"/>
                  <a:pt x="160" y="60"/>
                  <a:pt x="160" y="60"/>
                </a:cubicBezTo>
                <a:cubicBezTo>
                  <a:pt x="160" y="59"/>
                  <a:pt x="160" y="58"/>
                  <a:pt x="159" y="57"/>
                </a:cubicBezTo>
                <a:close/>
                <a:moveTo>
                  <a:pt x="16" y="5"/>
                </a:moveTo>
                <a:cubicBezTo>
                  <a:pt x="52" y="5"/>
                  <a:pt x="52" y="5"/>
                  <a:pt x="52" y="5"/>
                </a:cubicBezTo>
                <a:cubicBezTo>
                  <a:pt x="58" y="16"/>
                  <a:pt x="58" y="16"/>
                  <a:pt x="58" y="16"/>
                </a:cubicBezTo>
                <a:cubicBezTo>
                  <a:pt x="59" y="18"/>
                  <a:pt x="61" y="19"/>
                  <a:pt x="62" y="19"/>
                </a:cubicBezTo>
                <a:cubicBezTo>
                  <a:pt x="144" y="19"/>
                  <a:pt x="144" y="19"/>
                  <a:pt x="144" y="19"/>
                </a:cubicBezTo>
                <a:cubicBezTo>
                  <a:pt x="144" y="56"/>
                  <a:pt x="144" y="56"/>
                  <a:pt x="144" y="56"/>
                </a:cubicBezTo>
                <a:cubicBezTo>
                  <a:pt x="139" y="56"/>
                  <a:pt x="139" y="56"/>
                  <a:pt x="139" y="56"/>
                </a:cubicBezTo>
                <a:cubicBezTo>
                  <a:pt x="139" y="37"/>
                  <a:pt x="139" y="37"/>
                  <a:pt x="139" y="37"/>
                </a:cubicBezTo>
                <a:cubicBezTo>
                  <a:pt x="21" y="37"/>
                  <a:pt x="21" y="37"/>
                  <a:pt x="21" y="37"/>
                </a:cubicBezTo>
                <a:cubicBezTo>
                  <a:pt x="21" y="56"/>
                  <a:pt x="21" y="56"/>
                  <a:pt x="21" y="56"/>
                </a:cubicBezTo>
                <a:cubicBezTo>
                  <a:pt x="16" y="56"/>
                  <a:pt x="16" y="56"/>
                  <a:pt x="16" y="56"/>
                </a:cubicBezTo>
                <a:lnTo>
                  <a:pt x="16" y="5"/>
                </a:lnTo>
                <a:close/>
                <a:moveTo>
                  <a:pt x="133" y="56"/>
                </a:moveTo>
                <a:cubicBezTo>
                  <a:pt x="27" y="56"/>
                  <a:pt x="27" y="56"/>
                  <a:pt x="27" y="56"/>
                </a:cubicBezTo>
                <a:cubicBezTo>
                  <a:pt x="27" y="43"/>
                  <a:pt x="27" y="43"/>
                  <a:pt x="27" y="43"/>
                </a:cubicBezTo>
                <a:cubicBezTo>
                  <a:pt x="133" y="43"/>
                  <a:pt x="133" y="43"/>
                  <a:pt x="133" y="43"/>
                </a:cubicBezTo>
                <a:lnTo>
                  <a:pt x="133" y="56"/>
                </a:lnTo>
                <a:close/>
                <a:moveTo>
                  <a:pt x="142" y="144"/>
                </a:moveTo>
                <a:cubicBezTo>
                  <a:pt x="18" y="144"/>
                  <a:pt x="18" y="144"/>
                  <a:pt x="18" y="144"/>
                </a:cubicBezTo>
                <a:cubicBezTo>
                  <a:pt x="6" y="61"/>
                  <a:pt x="6" y="61"/>
                  <a:pt x="6" y="61"/>
                </a:cubicBezTo>
                <a:cubicBezTo>
                  <a:pt x="11" y="61"/>
                  <a:pt x="11" y="61"/>
                  <a:pt x="11" y="61"/>
                </a:cubicBezTo>
                <a:cubicBezTo>
                  <a:pt x="21" y="61"/>
                  <a:pt x="21" y="61"/>
                  <a:pt x="21" y="61"/>
                </a:cubicBezTo>
                <a:cubicBezTo>
                  <a:pt x="139" y="61"/>
                  <a:pt x="139" y="61"/>
                  <a:pt x="139" y="61"/>
                </a:cubicBezTo>
                <a:cubicBezTo>
                  <a:pt x="149" y="61"/>
                  <a:pt x="149" y="61"/>
                  <a:pt x="149" y="61"/>
                </a:cubicBezTo>
                <a:cubicBezTo>
                  <a:pt x="154" y="61"/>
                  <a:pt x="154" y="61"/>
                  <a:pt x="154" y="61"/>
                </a:cubicBezTo>
                <a:lnTo>
                  <a:pt x="142" y="144"/>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2096">
            <a:extLst>
              <a:ext uri="{FF2B5EF4-FFF2-40B4-BE49-F238E27FC236}">
                <a16:creationId xmlns:a16="http://schemas.microsoft.com/office/drawing/2014/main" id="{B581BBE5-88C1-A649-AD4B-8181721DD4E9}"/>
              </a:ext>
            </a:extLst>
          </p:cNvPr>
          <p:cNvSpPr>
            <a:spLocks noEditPoints="1"/>
          </p:cNvSpPr>
          <p:nvPr/>
        </p:nvSpPr>
        <p:spPr bwMode="auto">
          <a:xfrm>
            <a:off x="2520946" y="5334000"/>
            <a:ext cx="546100" cy="515938"/>
          </a:xfrm>
          <a:custGeom>
            <a:avLst/>
            <a:gdLst>
              <a:gd name="T0" fmla="*/ 157 w 160"/>
              <a:gd name="T1" fmla="*/ 56 h 150"/>
              <a:gd name="T2" fmla="*/ 150 w 160"/>
              <a:gd name="T3" fmla="*/ 18 h 150"/>
              <a:gd name="T4" fmla="*/ 63 w 160"/>
              <a:gd name="T5" fmla="*/ 13 h 150"/>
              <a:gd name="T6" fmla="*/ 52 w 160"/>
              <a:gd name="T7" fmla="*/ 0 h 150"/>
              <a:gd name="T8" fmla="*/ 11 w 160"/>
              <a:gd name="T9" fmla="*/ 5 h 150"/>
              <a:gd name="T10" fmla="*/ 3 w 160"/>
              <a:gd name="T11" fmla="*/ 56 h 150"/>
              <a:gd name="T12" fmla="*/ 0 w 160"/>
              <a:gd name="T13" fmla="*/ 60 h 150"/>
              <a:gd name="T14" fmla="*/ 17 w 160"/>
              <a:gd name="T15" fmla="*/ 150 h 150"/>
              <a:gd name="T16" fmla="*/ 147 w 160"/>
              <a:gd name="T17" fmla="*/ 147 h 150"/>
              <a:gd name="T18" fmla="*/ 159 w 160"/>
              <a:gd name="T19" fmla="*/ 57 h 150"/>
              <a:gd name="T20" fmla="*/ 52 w 160"/>
              <a:gd name="T21" fmla="*/ 5 h 150"/>
              <a:gd name="T22" fmla="*/ 63 w 160"/>
              <a:gd name="T23" fmla="*/ 19 h 150"/>
              <a:gd name="T24" fmla="*/ 144 w 160"/>
              <a:gd name="T25" fmla="*/ 56 h 150"/>
              <a:gd name="T26" fmla="*/ 142 w 160"/>
              <a:gd name="T27" fmla="*/ 45 h 150"/>
              <a:gd name="T28" fmla="*/ 139 w 160"/>
              <a:gd name="T29" fmla="*/ 37 h 150"/>
              <a:gd name="T30" fmla="*/ 136 w 160"/>
              <a:gd name="T31" fmla="*/ 29 h 150"/>
              <a:gd name="T32" fmla="*/ 24 w 160"/>
              <a:gd name="T33" fmla="*/ 37 h 150"/>
              <a:gd name="T34" fmla="*/ 21 w 160"/>
              <a:gd name="T35" fmla="*/ 45 h 150"/>
              <a:gd name="T36" fmla="*/ 19 w 160"/>
              <a:gd name="T37" fmla="*/ 56 h 150"/>
              <a:gd name="T38" fmla="*/ 16 w 160"/>
              <a:gd name="T39" fmla="*/ 5 h 150"/>
              <a:gd name="T40" fmla="*/ 136 w 160"/>
              <a:gd name="T41" fmla="*/ 51 h 150"/>
              <a:gd name="T42" fmla="*/ 24 w 160"/>
              <a:gd name="T43" fmla="*/ 56 h 150"/>
              <a:gd name="T44" fmla="*/ 27 w 160"/>
              <a:gd name="T45" fmla="*/ 43 h 150"/>
              <a:gd name="T46" fmla="*/ 134 w 160"/>
              <a:gd name="T47" fmla="*/ 45 h 150"/>
              <a:gd name="T48" fmla="*/ 27 w 160"/>
              <a:gd name="T49" fmla="*/ 43 h 150"/>
              <a:gd name="T50" fmla="*/ 29 w 160"/>
              <a:gd name="T51" fmla="*/ 37 h 150"/>
              <a:gd name="T52" fmla="*/ 131 w 160"/>
              <a:gd name="T53" fmla="*/ 35 h 150"/>
              <a:gd name="T54" fmla="*/ 142 w 160"/>
              <a:gd name="T55" fmla="*/ 144 h 150"/>
              <a:gd name="T56" fmla="*/ 6 w 160"/>
              <a:gd name="T57" fmla="*/ 61 h 150"/>
              <a:gd name="T58" fmla="*/ 19 w 160"/>
              <a:gd name="T59" fmla="*/ 61 h 150"/>
              <a:gd name="T60" fmla="*/ 150 w 160"/>
              <a:gd name="T61" fmla="*/ 61 h 150"/>
              <a:gd name="T62" fmla="*/ 142 w 160"/>
              <a:gd name="T63" fmla="*/ 14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50">
                <a:moveTo>
                  <a:pt x="159" y="57"/>
                </a:moveTo>
                <a:cubicBezTo>
                  <a:pt x="159" y="57"/>
                  <a:pt x="158" y="56"/>
                  <a:pt x="157" y="56"/>
                </a:cubicBezTo>
                <a:cubicBezTo>
                  <a:pt x="150" y="56"/>
                  <a:pt x="150" y="56"/>
                  <a:pt x="150" y="56"/>
                </a:cubicBezTo>
                <a:cubicBezTo>
                  <a:pt x="150" y="18"/>
                  <a:pt x="150" y="18"/>
                  <a:pt x="150" y="18"/>
                </a:cubicBezTo>
                <a:cubicBezTo>
                  <a:pt x="150" y="15"/>
                  <a:pt x="147" y="13"/>
                  <a:pt x="145" y="13"/>
                </a:cubicBezTo>
                <a:cubicBezTo>
                  <a:pt x="63" y="13"/>
                  <a:pt x="63" y="13"/>
                  <a:pt x="63" y="13"/>
                </a:cubicBezTo>
                <a:cubicBezTo>
                  <a:pt x="56" y="2"/>
                  <a:pt x="56" y="2"/>
                  <a:pt x="56" y="2"/>
                </a:cubicBezTo>
                <a:cubicBezTo>
                  <a:pt x="55" y="1"/>
                  <a:pt x="54" y="0"/>
                  <a:pt x="52" y="0"/>
                </a:cubicBezTo>
                <a:cubicBezTo>
                  <a:pt x="15" y="0"/>
                  <a:pt x="15" y="0"/>
                  <a:pt x="15" y="0"/>
                </a:cubicBezTo>
                <a:cubicBezTo>
                  <a:pt x="13" y="0"/>
                  <a:pt x="11" y="2"/>
                  <a:pt x="11" y="5"/>
                </a:cubicBezTo>
                <a:cubicBezTo>
                  <a:pt x="11" y="56"/>
                  <a:pt x="11" y="56"/>
                  <a:pt x="11" y="56"/>
                </a:cubicBezTo>
                <a:cubicBezTo>
                  <a:pt x="3" y="56"/>
                  <a:pt x="3" y="56"/>
                  <a:pt x="3" y="56"/>
                </a:cubicBezTo>
                <a:cubicBezTo>
                  <a:pt x="2" y="56"/>
                  <a:pt x="1" y="57"/>
                  <a:pt x="1" y="57"/>
                </a:cubicBezTo>
                <a:cubicBezTo>
                  <a:pt x="0" y="58"/>
                  <a:pt x="0" y="59"/>
                  <a:pt x="0" y="60"/>
                </a:cubicBezTo>
                <a:cubicBezTo>
                  <a:pt x="13" y="147"/>
                  <a:pt x="13" y="147"/>
                  <a:pt x="13" y="147"/>
                </a:cubicBezTo>
                <a:cubicBezTo>
                  <a:pt x="13" y="148"/>
                  <a:pt x="15" y="150"/>
                  <a:pt x="17" y="150"/>
                </a:cubicBezTo>
                <a:cubicBezTo>
                  <a:pt x="143" y="150"/>
                  <a:pt x="143" y="150"/>
                  <a:pt x="143" y="150"/>
                </a:cubicBezTo>
                <a:cubicBezTo>
                  <a:pt x="145" y="150"/>
                  <a:pt x="147" y="148"/>
                  <a:pt x="147" y="147"/>
                </a:cubicBezTo>
                <a:cubicBezTo>
                  <a:pt x="160" y="60"/>
                  <a:pt x="160" y="60"/>
                  <a:pt x="160" y="60"/>
                </a:cubicBezTo>
                <a:cubicBezTo>
                  <a:pt x="160" y="59"/>
                  <a:pt x="160" y="58"/>
                  <a:pt x="159" y="57"/>
                </a:cubicBezTo>
                <a:close/>
                <a:moveTo>
                  <a:pt x="16" y="5"/>
                </a:moveTo>
                <a:cubicBezTo>
                  <a:pt x="52" y="5"/>
                  <a:pt x="52" y="5"/>
                  <a:pt x="52" y="5"/>
                </a:cubicBezTo>
                <a:cubicBezTo>
                  <a:pt x="59" y="16"/>
                  <a:pt x="59" y="16"/>
                  <a:pt x="59" y="16"/>
                </a:cubicBezTo>
                <a:cubicBezTo>
                  <a:pt x="59" y="18"/>
                  <a:pt x="61" y="19"/>
                  <a:pt x="63" y="19"/>
                </a:cubicBezTo>
                <a:cubicBezTo>
                  <a:pt x="144" y="19"/>
                  <a:pt x="144" y="19"/>
                  <a:pt x="144" y="19"/>
                </a:cubicBezTo>
                <a:cubicBezTo>
                  <a:pt x="144" y="56"/>
                  <a:pt x="144" y="56"/>
                  <a:pt x="144" y="56"/>
                </a:cubicBezTo>
                <a:cubicBezTo>
                  <a:pt x="142" y="56"/>
                  <a:pt x="142" y="56"/>
                  <a:pt x="142" y="56"/>
                </a:cubicBezTo>
                <a:cubicBezTo>
                  <a:pt x="142" y="45"/>
                  <a:pt x="142" y="45"/>
                  <a:pt x="142" y="45"/>
                </a:cubicBezTo>
                <a:cubicBezTo>
                  <a:pt x="139" y="45"/>
                  <a:pt x="139" y="45"/>
                  <a:pt x="139" y="45"/>
                </a:cubicBezTo>
                <a:cubicBezTo>
                  <a:pt x="139" y="37"/>
                  <a:pt x="139" y="37"/>
                  <a:pt x="139" y="37"/>
                </a:cubicBezTo>
                <a:cubicBezTo>
                  <a:pt x="136" y="37"/>
                  <a:pt x="136" y="37"/>
                  <a:pt x="136" y="37"/>
                </a:cubicBezTo>
                <a:cubicBezTo>
                  <a:pt x="136" y="29"/>
                  <a:pt x="136" y="29"/>
                  <a:pt x="136" y="29"/>
                </a:cubicBezTo>
                <a:cubicBezTo>
                  <a:pt x="24" y="29"/>
                  <a:pt x="24" y="29"/>
                  <a:pt x="24" y="29"/>
                </a:cubicBezTo>
                <a:cubicBezTo>
                  <a:pt x="24" y="37"/>
                  <a:pt x="24" y="37"/>
                  <a:pt x="24" y="37"/>
                </a:cubicBezTo>
                <a:cubicBezTo>
                  <a:pt x="21" y="37"/>
                  <a:pt x="21" y="37"/>
                  <a:pt x="21" y="37"/>
                </a:cubicBezTo>
                <a:cubicBezTo>
                  <a:pt x="21" y="45"/>
                  <a:pt x="21" y="45"/>
                  <a:pt x="21" y="45"/>
                </a:cubicBezTo>
                <a:cubicBezTo>
                  <a:pt x="19" y="45"/>
                  <a:pt x="19" y="45"/>
                  <a:pt x="19" y="45"/>
                </a:cubicBezTo>
                <a:cubicBezTo>
                  <a:pt x="19" y="56"/>
                  <a:pt x="19" y="56"/>
                  <a:pt x="19" y="56"/>
                </a:cubicBezTo>
                <a:cubicBezTo>
                  <a:pt x="16" y="56"/>
                  <a:pt x="16" y="56"/>
                  <a:pt x="16" y="56"/>
                </a:cubicBezTo>
                <a:lnTo>
                  <a:pt x="16" y="5"/>
                </a:lnTo>
                <a:close/>
                <a:moveTo>
                  <a:pt x="24" y="51"/>
                </a:moveTo>
                <a:cubicBezTo>
                  <a:pt x="136" y="51"/>
                  <a:pt x="136" y="51"/>
                  <a:pt x="136" y="51"/>
                </a:cubicBezTo>
                <a:cubicBezTo>
                  <a:pt x="136" y="56"/>
                  <a:pt x="136" y="56"/>
                  <a:pt x="136" y="56"/>
                </a:cubicBezTo>
                <a:cubicBezTo>
                  <a:pt x="24" y="56"/>
                  <a:pt x="24" y="56"/>
                  <a:pt x="24" y="56"/>
                </a:cubicBezTo>
                <a:lnTo>
                  <a:pt x="24" y="51"/>
                </a:lnTo>
                <a:close/>
                <a:moveTo>
                  <a:pt x="27" y="43"/>
                </a:moveTo>
                <a:cubicBezTo>
                  <a:pt x="134" y="43"/>
                  <a:pt x="134" y="43"/>
                  <a:pt x="134" y="43"/>
                </a:cubicBezTo>
                <a:cubicBezTo>
                  <a:pt x="134" y="45"/>
                  <a:pt x="134" y="45"/>
                  <a:pt x="134" y="45"/>
                </a:cubicBezTo>
                <a:cubicBezTo>
                  <a:pt x="27" y="45"/>
                  <a:pt x="27" y="45"/>
                  <a:pt x="27" y="45"/>
                </a:cubicBezTo>
                <a:lnTo>
                  <a:pt x="27" y="43"/>
                </a:lnTo>
                <a:close/>
                <a:moveTo>
                  <a:pt x="131" y="37"/>
                </a:moveTo>
                <a:cubicBezTo>
                  <a:pt x="29" y="37"/>
                  <a:pt x="29" y="37"/>
                  <a:pt x="29" y="37"/>
                </a:cubicBezTo>
                <a:cubicBezTo>
                  <a:pt x="29" y="35"/>
                  <a:pt x="29" y="35"/>
                  <a:pt x="29" y="35"/>
                </a:cubicBezTo>
                <a:cubicBezTo>
                  <a:pt x="131" y="35"/>
                  <a:pt x="131" y="35"/>
                  <a:pt x="131" y="35"/>
                </a:cubicBezTo>
                <a:lnTo>
                  <a:pt x="131" y="37"/>
                </a:lnTo>
                <a:close/>
                <a:moveTo>
                  <a:pt x="142" y="144"/>
                </a:moveTo>
                <a:cubicBezTo>
                  <a:pt x="18" y="144"/>
                  <a:pt x="18" y="144"/>
                  <a:pt x="18" y="144"/>
                </a:cubicBezTo>
                <a:cubicBezTo>
                  <a:pt x="6" y="61"/>
                  <a:pt x="6" y="61"/>
                  <a:pt x="6" y="61"/>
                </a:cubicBezTo>
                <a:cubicBezTo>
                  <a:pt x="11" y="61"/>
                  <a:pt x="11" y="61"/>
                  <a:pt x="11" y="61"/>
                </a:cubicBezTo>
                <a:cubicBezTo>
                  <a:pt x="19" y="61"/>
                  <a:pt x="19" y="61"/>
                  <a:pt x="19" y="61"/>
                </a:cubicBezTo>
                <a:cubicBezTo>
                  <a:pt x="142" y="61"/>
                  <a:pt x="142" y="61"/>
                  <a:pt x="142" y="61"/>
                </a:cubicBezTo>
                <a:cubicBezTo>
                  <a:pt x="150" y="61"/>
                  <a:pt x="150" y="61"/>
                  <a:pt x="150" y="61"/>
                </a:cubicBezTo>
                <a:cubicBezTo>
                  <a:pt x="154" y="61"/>
                  <a:pt x="154" y="61"/>
                  <a:pt x="154" y="61"/>
                </a:cubicBezTo>
                <a:lnTo>
                  <a:pt x="142" y="144"/>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2097">
            <a:extLst>
              <a:ext uri="{FF2B5EF4-FFF2-40B4-BE49-F238E27FC236}">
                <a16:creationId xmlns:a16="http://schemas.microsoft.com/office/drawing/2014/main" id="{0A14B85D-BC58-3F4D-B25B-00EB377CF0BC}"/>
              </a:ext>
            </a:extLst>
          </p:cNvPr>
          <p:cNvSpPr>
            <a:spLocks noEditPoints="1"/>
          </p:cNvSpPr>
          <p:nvPr/>
        </p:nvSpPr>
        <p:spPr bwMode="auto">
          <a:xfrm>
            <a:off x="2520946" y="5953125"/>
            <a:ext cx="546100" cy="515938"/>
          </a:xfrm>
          <a:custGeom>
            <a:avLst/>
            <a:gdLst>
              <a:gd name="T0" fmla="*/ 157 w 160"/>
              <a:gd name="T1" fmla="*/ 56 h 150"/>
              <a:gd name="T2" fmla="*/ 150 w 160"/>
              <a:gd name="T3" fmla="*/ 18 h 150"/>
              <a:gd name="T4" fmla="*/ 63 w 160"/>
              <a:gd name="T5" fmla="*/ 13 h 150"/>
              <a:gd name="T6" fmla="*/ 52 w 160"/>
              <a:gd name="T7" fmla="*/ 0 h 150"/>
              <a:gd name="T8" fmla="*/ 11 w 160"/>
              <a:gd name="T9" fmla="*/ 5 h 150"/>
              <a:gd name="T10" fmla="*/ 3 w 160"/>
              <a:gd name="T11" fmla="*/ 56 h 150"/>
              <a:gd name="T12" fmla="*/ 0 w 160"/>
              <a:gd name="T13" fmla="*/ 60 h 150"/>
              <a:gd name="T14" fmla="*/ 6 w 160"/>
              <a:gd name="T15" fmla="*/ 99 h 150"/>
              <a:gd name="T16" fmla="*/ 12 w 160"/>
              <a:gd name="T17" fmla="*/ 136 h 150"/>
              <a:gd name="T18" fmla="*/ 17 w 160"/>
              <a:gd name="T19" fmla="*/ 150 h 150"/>
              <a:gd name="T20" fmla="*/ 147 w 160"/>
              <a:gd name="T21" fmla="*/ 147 h 150"/>
              <a:gd name="T22" fmla="*/ 148 w 160"/>
              <a:gd name="T23" fmla="*/ 136 h 150"/>
              <a:gd name="T24" fmla="*/ 154 w 160"/>
              <a:gd name="T25" fmla="*/ 99 h 150"/>
              <a:gd name="T26" fmla="*/ 159 w 160"/>
              <a:gd name="T27" fmla="*/ 57 h 150"/>
              <a:gd name="T28" fmla="*/ 52 w 160"/>
              <a:gd name="T29" fmla="*/ 5 h 150"/>
              <a:gd name="T30" fmla="*/ 63 w 160"/>
              <a:gd name="T31" fmla="*/ 19 h 150"/>
              <a:gd name="T32" fmla="*/ 144 w 160"/>
              <a:gd name="T33" fmla="*/ 56 h 150"/>
              <a:gd name="T34" fmla="*/ 142 w 160"/>
              <a:gd name="T35" fmla="*/ 45 h 150"/>
              <a:gd name="T36" fmla="*/ 139 w 160"/>
              <a:gd name="T37" fmla="*/ 37 h 150"/>
              <a:gd name="T38" fmla="*/ 136 w 160"/>
              <a:gd name="T39" fmla="*/ 29 h 150"/>
              <a:gd name="T40" fmla="*/ 24 w 160"/>
              <a:gd name="T41" fmla="*/ 37 h 150"/>
              <a:gd name="T42" fmla="*/ 21 w 160"/>
              <a:gd name="T43" fmla="*/ 45 h 150"/>
              <a:gd name="T44" fmla="*/ 19 w 160"/>
              <a:gd name="T45" fmla="*/ 56 h 150"/>
              <a:gd name="T46" fmla="*/ 16 w 160"/>
              <a:gd name="T47" fmla="*/ 5 h 150"/>
              <a:gd name="T48" fmla="*/ 136 w 160"/>
              <a:gd name="T49" fmla="*/ 51 h 150"/>
              <a:gd name="T50" fmla="*/ 24 w 160"/>
              <a:gd name="T51" fmla="*/ 56 h 150"/>
              <a:gd name="T52" fmla="*/ 27 w 160"/>
              <a:gd name="T53" fmla="*/ 43 h 150"/>
              <a:gd name="T54" fmla="*/ 134 w 160"/>
              <a:gd name="T55" fmla="*/ 45 h 150"/>
              <a:gd name="T56" fmla="*/ 27 w 160"/>
              <a:gd name="T57" fmla="*/ 43 h 150"/>
              <a:gd name="T58" fmla="*/ 29 w 160"/>
              <a:gd name="T59" fmla="*/ 37 h 150"/>
              <a:gd name="T60" fmla="*/ 131 w 160"/>
              <a:gd name="T61" fmla="*/ 35 h 150"/>
              <a:gd name="T62" fmla="*/ 144 w 160"/>
              <a:gd name="T63" fmla="*/ 131 h 150"/>
              <a:gd name="T64" fmla="*/ 146 w 160"/>
              <a:gd name="T65" fmla="*/ 113 h 150"/>
              <a:gd name="T66" fmla="*/ 148 w 160"/>
              <a:gd name="T67" fmla="*/ 105 h 150"/>
              <a:gd name="T68" fmla="*/ 108 w 160"/>
              <a:gd name="T69" fmla="*/ 131 h 150"/>
              <a:gd name="T70" fmla="*/ 148 w 160"/>
              <a:gd name="T71" fmla="*/ 104 h 150"/>
              <a:gd name="T72" fmla="*/ 100 w 160"/>
              <a:gd name="T73" fmla="*/ 131 h 150"/>
              <a:gd name="T74" fmla="*/ 113 w 160"/>
              <a:gd name="T75" fmla="*/ 104 h 150"/>
              <a:gd name="T76" fmla="*/ 100 w 160"/>
              <a:gd name="T77" fmla="*/ 131 h 150"/>
              <a:gd name="T78" fmla="*/ 65 w 160"/>
              <a:gd name="T79" fmla="*/ 131 h 150"/>
              <a:gd name="T80" fmla="*/ 105 w 160"/>
              <a:gd name="T81" fmla="*/ 104 h 150"/>
              <a:gd name="T82" fmla="*/ 57 w 160"/>
              <a:gd name="T83" fmla="*/ 131 h 150"/>
              <a:gd name="T84" fmla="*/ 70 w 160"/>
              <a:gd name="T85" fmla="*/ 104 h 150"/>
              <a:gd name="T86" fmla="*/ 57 w 160"/>
              <a:gd name="T87" fmla="*/ 131 h 150"/>
              <a:gd name="T88" fmla="*/ 22 w 160"/>
              <a:gd name="T89" fmla="*/ 131 h 150"/>
              <a:gd name="T90" fmla="*/ 63 w 160"/>
              <a:gd name="T91" fmla="*/ 104 h 150"/>
              <a:gd name="T92" fmla="*/ 16 w 160"/>
              <a:gd name="T93" fmla="*/ 130 h 150"/>
              <a:gd name="T94" fmla="*/ 30 w 160"/>
              <a:gd name="T95" fmla="*/ 104 h 150"/>
              <a:gd name="T96" fmla="*/ 16 w 160"/>
              <a:gd name="T97" fmla="*/ 130 h 150"/>
              <a:gd name="T98" fmla="*/ 13 w 160"/>
              <a:gd name="T99" fmla="*/ 107 h 150"/>
              <a:gd name="T100" fmla="*/ 23 w 160"/>
              <a:gd name="T101" fmla="*/ 104 h 150"/>
              <a:gd name="T102" fmla="*/ 142 w 160"/>
              <a:gd name="T103" fmla="*/ 144 h 150"/>
              <a:gd name="T104" fmla="*/ 17 w 160"/>
              <a:gd name="T105" fmla="*/ 136 h 150"/>
              <a:gd name="T106" fmla="*/ 142 w 160"/>
              <a:gd name="T107" fmla="*/ 144 h 150"/>
              <a:gd name="T108" fmla="*/ 11 w 160"/>
              <a:gd name="T109" fmla="*/ 99 h 150"/>
              <a:gd name="T110" fmla="*/ 11 w 160"/>
              <a:gd name="T111" fmla="*/ 61 h 150"/>
              <a:gd name="T112" fmla="*/ 142 w 160"/>
              <a:gd name="T113" fmla="*/ 61 h 150"/>
              <a:gd name="T114" fmla="*/ 154 w 160"/>
              <a:gd name="T115" fmla="*/ 6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50">
                <a:moveTo>
                  <a:pt x="159" y="57"/>
                </a:moveTo>
                <a:cubicBezTo>
                  <a:pt x="159" y="57"/>
                  <a:pt x="158" y="56"/>
                  <a:pt x="157" y="56"/>
                </a:cubicBezTo>
                <a:cubicBezTo>
                  <a:pt x="150" y="56"/>
                  <a:pt x="150" y="56"/>
                  <a:pt x="150" y="56"/>
                </a:cubicBezTo>
                <a:cubicBezTo>
                  <a:pt x="150" y="18"/>
                  <a:pt x="150" y="18"/>
                  <a:pt x="150" y="18"/>
                </a:cubicBezTo>
                <a:cubicBezTo>
                  <a:pt x="150" y="15"/>
                  <a:pt x="147" y="13"/>
                  <a:pt x="145" y="13"/>
                </a:cubicBezTo>
                <a:cubicBezTo>
                  <a:pt x="63" y="13"/>
                  <a:pt x="63" y="13"/>
                  <a:pt x="63" y="13"/>
                </a:cubicBezTo>
                <a:cubicBezTo>
                  <a:pt x="56" y="2"/>
                  <a:pt x="56" y="2"/>
                  <a:pt x="56" y="2"/>
                </a:cubicBezTo>
                <a:cubicBezTo>
                  <a:pt x="55" y="1"/>
                  <a:pt x="54" y="0"/>
                  <a:pt x="52" y="0"/>
                </a:cubicBezTo>
                <a:cubicBezTo>
                  <a:pt x="15" y="0"/>
                  <a:pt x="15" y="0"/>
                  <a:pt x="15" y="0"/>
                </a:cubicBezTo>
                <a:cubicBezTo>
                  <a:pt x="13" y="0"/>
                  <a:pt x="11" y="2"/>
                  <a:pt x="11" y="5"/>
                </a:cubicBezTo>
                <a:cubicBezTo>
                  <a:pt x="11" y="56"/>
                  <a:pt x="11" y="56"/>
                  <a:pt x="11" y="56"/>
                </a:cubicBezTo>
                <a:cubicBezTo>
                  <a:pt x="3" y="56"/>
                  <a:pt x="3" y="56"/>
                  <a:pt x="3" y="56"/>
                </a:cubicBezTo>
                <a:cubicBezTo>
                  <a:pt x="2" y="56"/>
                  <a:pt x="1" y="57"/>
                  <a:pt x="1" y="57"/>
                </a:cubicBezTo>
                <a:cubicBezTo>
                  <a:pt x="0" y="58"/>
                  <a:pt x="0" y="59"/>
                  <a:pt x="0" y="60"/>
                </a:cubicBezTo>
                <a:cubicBezTo>
                  <a:pt x="6" y="99"/>
                  <a:pt x="6" y="99"/>
                  <a:pt x="6" y="99"/>
                </a:cubicBezTo>
                <a:cubicBezTo>
                  <a:pt x="6" y="99"/>
                  <a:pt x="6" y="99"/>
                  <a:pt x="6" y="99"/>
                </a:cubicBezTo>
                <a:cubicBezTo>
                  <a:pt x="12" y="136"/>
                  <a:pt x="12" y="136"/>
                  <a:pt x="12" y="136"/>
                </a:cubicBezTo>
                <a:cubicBezTo>
                  <a:pt x="12" y="136"/>
                  <a:pt x="12" y="136"/>
                  <a:pt x="12" y="136"/>
                </a:cubicBezTo>
                <a:cubicBezTo>
                  <a:pt x="13" y="147"/>
                  <a:pt x="13" y="147"/>
                  <a:pt x="13" y="147"/>
                </a:cubicBezTo>
                <a:cubicBezTo>
                  <a:pt x="13" y="148"/>
                  <a:pt x="15" y="150"/>
                  <a:pt x="17" y="150"/>
                </a:cubicBezTo>
                <a:cubicBezTo>
                  <a:pt x="143" y="150"/>
                  <a:pt x="143" y="150"/>
                  <a:pt x="143" y="150"/>
                </a:cubicBezTo>
                <a:cubicBezTo>
                  <a:pt x="145" y="150"/>
                  <a:pt x="147" y="148"/>
                  <a:pt x="147" y="147"/>
                </a:cubicBezTo>
                <a:cubicBezTo>
                  <a:pt x="148" y="136"/>
                  <a:pt x="148" y="136"/>
                  <a:pt x="148" y="136"/>
                </a:cubicBezTo>
                <a:cubicBezTo>
                  <a:pt x="148" y="136"/>
                  <a:pt x="148" y="136"/>
                  <a:pt x="148" y="136"/>
                </a:cubicBezTo>
                <a:cubicBezTo>
                  <a:pt x="154" y="99"/>
                  <a:pt x="154" y="99"/>
                  <a:pt x="154" y="99"/>
                </a:cubicBezTo>
                <a:cubicBezTo>
                  <a:pt x="154" y="99"/>
                  <a:pt x="154" y="99"/>
                  <a:pt x="154" y="99"/>
                </a:cubicBezTo>
                <a:cubicBezTo>
                  <a:pt x="160" y="60"/>
                  <a:pt x="160" y="60"/>
                  <a:pt x="160" y="60"/>
                </a:cubicBezTo>
                <a:cubicBezTo>
                  <a:pt x="160" y="59"/>
                  <a:pt x="160" y="58"/>
                  <a:pt x="159" y="57"/>
                </a:cubicBezTo>
                <a:close/>
                <a:moveTo>
                  <a:pt x="16" y="5"/>
                </a:moveTo>
                <a:cubicBezTo>
                  <a:pt x="52" y="5"/>
                  <a:pt x="52" y="5"/>
                  <a:pt x="52" y="5"/>
                </a:cubicBezTo>
                <a:cubicBezTo>
                  <a:pt x="59" y="16"/>
                  <a:pt x="59" y="16"/>
                  <a:pt x="59" y="16"/>
                </a:cubicBezTo>
                <a:cubicBezTo>
                  <a:pt x="59" y="18"/>
                  <a:pt x="61" y="19"/>
                  <a:pt x="63" y="19"/>
                </a:cubicBezTo>
                <a:cubicBezTo>
                  <a:pt x="144" y="19"/>
                  <a:pt x="144" y="19"/>
                  <a:pt x="144" y="19"/>
                </a:cubicBezTo>
                <a:cubicBezTo>
                  <a:pt x="144" y="56"/>
                  <a:pt x="144" y="56"/>
                  <a:pt x="144" y="56"/>
                </a:cubicBezTo>
                <a:cubicBezTo>
                  <a:pt x="142" y="56"/>
                  <a:pt x="142" y="56"/>
                  <a:pt x="142" y="56"/>
                </a:cubicBezTo>
                <a:cubicBezTo>
                  <a:pt x="142" y="45"/>
                  <a:pt x="142" y="45"/>
                  <a:pt x="142" y="45"/>
                </a:cubicBezTo>
                <a:cubicBezTo>
                  <a:pt x="139" y="45"/>
                  <a:pt x="139" y="45"/>
                  <a:pt x="139" y="45"/>
                </a:cubicBezTo>
                <a:cubicBezTo>
                  <a:pt x="139" y="37"/>
                  <a:pt x="139" y="37"/>
                  <a:pt x="139" y="37"/>
                </a:cubicBezTo>
                <a:cubicBezTo>
                  <a:pt x="136" y="37"/>
                  <a:pt x="136" y="37"/>
                  <a:pt x="136" y="37"/>
                </a:cubicBezTo>
                <a:cubicBezTo>
                  <a:pt x="136" y="29"/>
                  <a:pt x="136" y="29"/>
                  <a:pt x="136" y="29"/>
                </a:cubicBezTo>
                <a:cubicBezTo>
                  <a:pt x="24" y="29"/>
                  <a:pt x="24" y="29"/>
                  <a:pt x="24" y="29"/>
                </a:cubicBezTo>
                <a:cubicBezTo>
                  <a:pt x="24" y="37"/>
                  <a:pt x="24" y="37"/>
                  <a:pt x="24" y="37"/>
                </a:cubicBezTo>
                <a:cubicBezTo>
                  <a:pt x="21" y="37"/>
                  <a:pt x="21" y="37"/>
                  <a:pt x="21" y="37"/>
                </a:cubicBezTo>
                <a:cubicBezTo>
                  <a:pt x="21" y="45"/>
                  <a:pt x="21" y="45"/>
                  <a:pt x="21" y="45"/>
                </a:cubicBezTo>
                <a:cubicBezTo>
                  <a:pt x="19" y="45"/>
                  <a:pt x="19" y="45"/>
                  <a:pt x="19" y="45"/>
                </a:cubicBezTo>
                <a:cubicBezTo>
                  <a:pt x="19" y="56"/>
                  <a:pt x="19" y="56"/>
                  <a:pt x="19" y="56"/>
                </a:cubicBezTo>
                <a:cubicBezTo>
                  <a:pt x="16" y="56"/>
                  <a:pt x="16" y="56"/>
                  <a:pt x="16" y="56"/>
                </a:cubicBezTo>
                <a:lnTo>
                  <a:pt x="16" y="5"/>
                </a:lnTo>
                <a:close/>
                <a:moveTo>
                  <a:pt x="24" y="51"/>
                </a:moveTo>
                <a:cubicBezTo>
                  <a:pt x="136" y="51"/>
                  <a:pt x="136" y="51"/>
                  <a:pt x="136" y="51"/>
                </a:cubicBezTo>
                <a:cubicBezTo>
                  <a:pt x="136" y="56"/>
                  <a:pt x="136" y="56"/>
                  <a:pt x="136" y="56"/>
                </a:cubicBezTo>
                <a:cubicBezTo>
                  <a:pt x="24" y="56"/>
                  <a:pt x="24" y="56"/>
                  <a:pt x="24" y="56"/>
                </a:cubicBezTo>
                <a:lnTo>
                  <a:pt x="24" y="51"/>
                </a:lnTo>
                <a:close/>
                <a:moveTo>
                  <a:pt x="27" y="43"/>
                </a:moveTo>
                <a:cubicBezTo>
                  <a:pt x="134" y="43"/>
                  <a:pt x="134" y="43"/>
                  <a:pt x="134" y="43"/>
                </a:cubicBezTo>
                <a:cubicBezTo>
                  <a:pt x="134" y="45"/>
                  <a:pt x="134" y="45"/>
                  <a:pt x="134" y="45"/>
                </a:cubicBezTo>
                <a:cubicBezTo>
                  <a:pt x="27" y="45"/>
                  <a:pt x="27" y="45"/>
                  <a:pt x="27" y="45"/>
                </a:cubicBezTo>
                <a:lnTo>
                  <a:pt x="27" y="43"/>
                </a:lnTo>
                <a:close/>
                <a:moveTo>
                  <a:pt x="131" y="37"/>
                </a:moveTo>
                <a:cubicBezTo>
                  <a:pt x="29" y="37"/>
                  <a:pt x="29" y="37"/>
                  <a:pt x="29" y="37"/>
                </a:cubicBezTo>
                <a:cubicBezTo>
                  <a:pt x="29" y="35"/>
                  <a:pt x="29" y="35"/>
                  <a:pt x="29" y="35"/>
                </a:cubicBezTo>
                <a:cubicBezTo>
                  <a:pt x="131" y="35"/>
                  <a:pt x="131" y="35"/>
                  <a:pt x="131" y="35"/>
                </a:cubicBezTo>
                <a:lnTo>
                  <a:pt x="131" y="37"/>
                </a:lnTo>
                <a:close/>
                <a:moveTo>
                  <a:pt x="144" y="131"/>
                </a:moveTo>
                <a:cubicBezTo>
                  <a:pt x="129" y="131"/>
                  <a:pt x="129" y="131"/>
                  <a:pt x="129" y="131"/>
                </a:cubicBezTo>
                <a:cubicBezTo>
                  <a:pt x="146" y="113"/>
                  <a:pt x="146" y="113"/>
                  <a:pt x="146" y="113"/>
                </a:cubicBezTo>
                <a:lnTo>
                  <a:pt x="144" y="131"/>
                </a:lnTo>
                <a:close/>
                <a:moveTo>
                  <a:pt x="148" y="105"/>
                </a:moveTo>
                <a:cubicBezTo>
                  <a:pt x="122" y="131"/>
                  <a:pt x="122" y="131"/>
                  <a:pt x="122" y="131"/>
                </a:cubicBezTo>
                <a:cubicBezTo>
                  <a:pt x="108" y="131"/>
                  <a:pt x="108" y="131"/>
                  <a:pt x="108" y="131"/>
                </a:cubicBezTo>
                <a:cubicBezTo>
                  <a:pt x="134" y="104"/>
                  <a:pt x="134" y="104"/>
                  <a:pt x="134" y="104"/>
                </a:cubicBezTo>
                <a:cubicBezTo>
                  <a:pt x="148" y="104"/>
                  <a:pt x="148" y="104"/>
                  <a:pt x="148" y="104"/>
                </a:cubicBezTo>
                <a:lnTo>
                  <a:pt x="148" y="105"/>
                </a:lnTo>
                <a:close/>
                <a:moveTo>
                  <a:pt x="100" y="131"/>
                </a:moveTo>
                <a:cubicBezTo>
                  <a:pt x="86" y="131"/>
                  <a:pt x="86" y="131"/>
                  <a:pt x="86" y="131"/>
                </a:cubicBezTo>
                <a:cubicBezTo>
                  <a:pt x="113" y="104"/>
                  <a:pt x="113" y="104"/>
                  <a:pt x="113" y="104"/>
                </a:cubicBezTo>
                <a:cubicBezTo>
                  <a:pt x="127" y="104"/>
                  <a:pt x="127" y="104"/>
                  <a:pt x="127" y="104"/>
                </a:cubicBezTo>
                <a:lnTo>
                  <a:pt x="100" y="131"/>
                </a:lnTo>
                <a:close/>
                <a:moveTo>
                  <a:pt x="79" y="131"/>
                </a:moveTo>
                <a:cubicBezTo>
                  <a:pt x="65" y="131"/>
                  <a:pt x="65" y="131"/>
                  <a:pt x="65" y="131"/>
                </a:cubicBezTo>
                <a:cubicBezTo>
                  <a:pt x="92" y="104"/>
                  <a:pt x="92" y="104"/>
                  <a:pt x="92" y="104"/>
                </a:cubicBezTo>
                <a:cubicBezTo>
                  <a:pt x="105" y="104"/>
                  <a:pt x="105" y="104"/>
                  <a:pt x="105" y="104"/>
                </a:cubicBezTo>
                <a:lnTo>
                  <a:pt x="79" y="131"/>
                </a:lnTo>
                <a:close/>
                <a:moveTo>
                  <a:pt x="57" y="131"/>
                </a:moveTo>
                <a:cubicBezTo>
                  <a:pt x="44" y="131"/>
                  <a:pt x="44" y="131"/>
                  <a:pt x="44" y="131"/>
                </a:cubicBezTo>
                <a:cubicBezTo>
                  <a:pt x="70" y="104"/>
                  <a:pt x="70" y="104"/>
                  <a:pt x="70" y="104"/>
                </a:cubicBezTo>
                <a:cubicBezTo>
                  <a:pt x="84" y="104"/>
                  <a:pt x="84" y="104"/>
                  <a:pt x="84" y="104"/>
                </a:cubicBezTo>
                <a:lnTo>
                  <a:pt x="57" y="131"/>
                </a:lnTo>
                <a:close/>
                <a:moveTo>
                  <a:pt x="36" y="131"/>
                </a:moveTo>
                <a:cubicBezTo>
                  <a:pt x="22" y="131"/>
                  <a:pt x="22" y="131"/>
                  <a:pt x="22" y="131"/>
                </a:cubicBezTo>
                <a:cubicBezTo>
                  <a:pt x="49" y="104"/>
                  <a:pt x="49" y="104"/>
                  <a:pt x="49" y="104"/>
                </a:cubicBezTo>
                <a:cubicBezTo>
                  <a:pt x="63" y="104"/>
                  <a:pt x="63" y="104"/>
                  <a:pt x="63" y="104"/>
                </a:cubicBezTo>
                <a:lnTo>
                  <a:pt x="36" y="131"/>
                </a:lnTo>
                <a:close/>
                <a:moveTo>
                  <a:pt x="16" y="130"/>
                </a:moveTo>
                <a:cubicBezTo>
                  <a:pt x="15" y="120"/>
                  <a:pt x="15" y="120"/>
                  <a:pt x="15" y="120"/>
                </a:cubicBezTo>
                <a:cubicBezTo>
                  <a:pt x="30" y="104"/>
                  <a:pt x="30" y="104"/>
                  <a:pt x="30" y="104"/>
                </a:cubicBezTo>
                <a:cubicBezTo>
                  <a:pt x="41" y="104"/>
                  <a:pt x="41" y="104"/>
                  <a:pt x="41" y="104"/>
                </a:cubicBezTo>
                <a:lnTo>
                  <a:pt x="16" y="130"/>
                </a:lnTo>
                <a:close/>
                <a:moveTo>
                  <a:pt x="14" y="113"/>
                </a:moveTo>
                <a:cubicBezTo>
                  <a:pt x="13" y="107"/>
                  <a:pt x="13" y="107"/>
                  <a:pt x="13" y="107"/>
                </a:cubicBezTo>
                <a:cubicBezTo>
                  <a:pt x="12" y="104"/>
                  <a:pt x="12" y="104"/>
                  <a:pt x="12" y="104"/>
                </a:cubicBezTo>
                <a:cubicBezTo>
                  <a:pt x="23" y="104"/>
                  <a:pt x="23" y="104"/>
                  <a:pt x="23" y="104"/>
                </a:cubicBezTo>
                <a:lnTo>
                  <a:pt x="14" y="113"/>
                </a:lnTo>
                <a:close/>
                <a:moveTo>
                  <a:pt x="142" y="144"/>
                </a:moveTo>
                <a:cubicBezTo>
                  <a:pt x="18" y="144"/>
                  <a:pt x="18" y="144"/>
                  <a:pt x="18" y="144"/>
                </a:cubicBezTo>
                <a:cubicBezTo>
                  <a:pt x="17" y="136"/>
                  <a:pt x="17" y="136"/>
                  <a:pt x="17" y="136"/>
                </a:cubicBezTo>
                <a:cubicBezTo>
                  <a:pt x="143" y="136"/>
                  <a:pt x="143" y="136"/>
                  <a:pt x="143" y="136"/>
                </a:cubicBezTo>
                <a:lnTo>
                  <a:pt x="142" y="144"/>
                </a:lnTo>
                <a:close/>
                <a:moveTo>
                  <a:pt x="149" y="99"/>
                </a:moveTo>
                <a:cubicBezTo>
                  <a:pt x="11" y="99"/>
                  <a:pt x="11" y="99"/>
                  <a:pt x="11" y="99"/>
                </a:cubicBezTo>
                <a:cubicBezTo>
                  <a:pt x="6" y="61"/>
                  <a:pt x="6" y="61"/>
                  <a:pt x="6" y="61"/>
                </a:cubicBezTo>
                <a:cubicBezTo>
                  <a:pt x="11" y="61"/>
                  <a:pt x="11" y="61"/>
                  <a:pt x="11" y="61"/>
                </a:cubicBezTo>
                <a:cubicBezTo>
                  <a:pt x="19" y="61"/>
                  <a:pt x="19" y="61"/>
                  <a:pt x="19" y="61"/>
                </a:cubicBezTo>
                <a:cubicBezTo>
                  <a:pt x="142" y="61"/>
                  <a:pt x="142" y="61"/>
                  <a:pt x="142" y="61"/>
                </a:cubicBezTo>
                <a:cubicBezTo>
                  <a:pt x="150" y="61"/>
                  <a:pt x="150" y="61"/>
                  <a:pt x="150" y="61"/>
                </a:cubicBezTo>
                <a:cubicBezTo>
                  <a:pt x="154" y="61"/>
                  <a:pt x="154" y="61"/>
                  <a:pt x="154" y="61"/>
                </a:cubicBezTo>
                <a:lnTo>
                  <a:pt x="149" y="99"/>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2098">
            <a:extLst>
              <a:ext uri="{FF2B5EF4-FFF2-40B4-BE49-F238E27FC236}">
                <a16:creationId xmlns:a16="http://schemas.microsoft.com/office/drawing/2014/main" id="{E729045E-D7F1-9245-AF2B-4EC14BD809EF}"/>
              </a:ext>
            </a:extLst>
          </p:cNvPr>
          <p:cNvSpPr>
            <a:spLocks noEditPoints="1"/>
          </p:cNvSpPr>
          <p:nvPr/>
        </p:nvSpPr>
        <p:spPr bwMode="auto">
          <a:xfrm>
            <a:off x="3476621" y="377825"/>
            <a:ext cx="546100" cy="517525"/>
          </a:xfrm>
          <a:custGeom>
            <a:avLst/>
            <a:gdLst>
              <a:gd name="T0" fmla="*/ 157 w 160"/>
              <a:gd name="T1" fmla="*/ 56 h 150"/>
              <a:gd name="T2" fmla="*/ 150 w 160"/>
              <a:gd name="T3" fmla="*/ 18 h 150"/>
              <a:gd name="T4" fmla="*/ 63 w 160"/>
              <a:gd name="T5" fmla="*/ 13 h 150"/>
              <a:gd name="T6" fmla="*/ 52 w 160"/>
              <a:gd name="T7" fmla="*/ 0 h 150"/>
              <a:gd name="T8" fmla="*/ 11 w 160"/>
              <a:gd name="T9" fmla="*/ 5 h 150"/>
              <a:gd name="T10" fmla="*/ 3 w 160"/>
              <a:gd name="T11" fmla="*/ 56 h 150"/>
              <a:gd name="T12" fmla="*/ 0 w 160"/>
              <a:gd name="T13" fmla="*/ 60 h 150"/>
              <a:gd name="T14" fmla="*/ 17 w 160"/>
              <a:gd name="T15" fmla="*/ 150 h 150"/>
              <a:gd name="T16" fmla="*/ 147 w 160"/>
              <a:gd name="T17" fmla="*/ 147 h 150"/>
              <a:gd name="T18" fmla="*/ 159 w 160"/>
              <a:gd name="T19" fmla="*/ 57 h 150"/>
              <a:gd name="T20" fmla="*/ 52 w 160"/>
              <a:gd name="T21" fmla="*/ 5 h 150"/>
              <a:gd name="T22" fmla="*/ 63 w 160"/>
              <a:gd name="T23" fmla="*/ 19 h 150"/>
              <a:gd name="T24" fmla="*/ 144 w 160"/>
              <a:gd name="T25" fmla="*/ 56 h 150"/>
              <a:gd name="T26" fmla="*/ 142 w 160"/>
              <a:gd name="T27" fmla="*/ 45 h 150"/>
              <a:gd name="T28" fmla="*/ 139 w 160"/>
              <a:gd name="T29" fmla="*/ 37 h 150"/>
              <a:gd name="T30" fmla="*/ 136 w 160"/>
              <a:gd name="T31" fmla="*/ 29 h 150"/>
              <a:gd name="T32" fmla="*/ 24 w 160"/>
              <a:gd name="T33" fmla="*/ 37 h 150"/>
              <a:gd name="T34" fmla="*/ 21 w 160"/>
              <a:gd name="T35" fmla="*/ 45 h 150"/>
              <a:gd name="T36" fmla="*/ 19 w 160"/>
              <a:gd name="T37" fmla="*/ 56 h 150"/>
              <a:gd name="T38" fmla="*/ 16 w 160"/>
              <a:gd name="T39" fmla="*/ 5 h 150"/>
              <a:gd name="T40" fmla="*/ 136 w 160"/>
              <a:gd name="T41" fmla="*/ 51 h 150"/>
              <a:gd name="T42" fmla="*/ 24 w 160"/>
              <a:gd name="T43" fmla="*/ 56 h 150"/>
              <a:gd name="T44" fmla="*/ 27 w 160"/>
              <a:gd name="T45" fmla="*/ 43 h 150"/>
              <a:gd name="T46" fmla="*/ 134 w 160"/>
              <a:gd name="T47" fmla="*/ 45 h 150"/>
              <a:gd name="T48" fmla="*/ 27 w 160"/>
              <a:gd name="T49" fmla="*/ 43 h 150"/>
              <a:gd name="T50" fmla="*/ 29 w 160"/>
              <a:gd name="T51" fmla="*/ 37 h 150"/>
              <a:gd name="T52" fmla="*/ 131 w 160"/>
              <a:gd name="T53" fmla="*/ 35 h 150"/>
              <a:gd name="T54" fmla="*/ 142 w 160"/>
              <a:gd name="T55" fmla="*/ 144 h 150"/>
              <a:gd name="T56" fmla="*/ 6 w 160"/>
              <a:gd name="T57" fmla="*/ 61 h 150"/>
              <a:gd name="T58" fmla="*/ 19 w 160"/>
              <a:gd name="T59" fmla="*/ 61 h 150"/>
              <a:gd name="T60" fmla="*/ 150 w 160"/>
              <a:gd name="T61" fmla="*/ 61 h 150"/>
              <a:gd name="T62" fmla="*/ 142 w 160"/>
              <a:gd name="T63" fmla="*/ 144 h 150"/>
              <a:gd name="T64" fmla="*/ 128 w 160"/>
              <a:gd name="T65" fmla="*/ 131 h 150"/>
              <a:gd name="T66" fmla="*/ 72 w 160"/>
              <a:gd name="T67" fmla="*/ 93 h 150"/>
              <a:gd name="T68" fmla="*/ 77 w 160"/>
              <a:gd name="T69" fmla="*/ 99 h 150"/>
              <a:gd name="T70" fmla="*/ 123 w 160"/>
              <a:gd name="T71" fmla="*/ 126 h 150"/>
              <a:gd name="T72" fmla="*/ 77 w 160"/>
              <a:gd name="T73" fmla="*/ 99 h 150"/>
              <a:gd name="T74" fmla="*/ 85 w 160"/>
              <a:gd name="T75" fmla="*/ 104 h 150"/>
              <a:gd name="T76" fmla="*/ 99 w 160"/>
              <a:gd name="T77" fmla="*/ 107 h 150"/>
              <a:gd name="T78" fmla="*/ 85 w 160"/>
              <a:gd name="T79" fmla="*/ 109 h 150"/>
              <a:gd name="T80" fmla="*/ 104 w 160"/>
              <a:gd name="T81" fmla="*/ 107 h 150"/>
              <a:gd name="T82" fmla="*/ 109 w 160"/>
              <a:gd name="T83" fmla="*/ 104 h 150"/>
              <a:gd name="T84" fmla="*/ 109 w 160"/>
              <a:gd name="T85" fmla="*/ 109 h 150"/>
              <a:gd name="T86" fmla="*/ 104 w 160"/>
              <a:gd name="T87" fmla="*/ 107 h 150"/>
              <a:gd name="T88" fmla="*/ 115 w 160"/>
              <a:gd name="T89" fmla="*/ 120 h 150"/>
              <a:gd name="T90" fmla="*/ 83 w 160"/>
              <a:gd name="T91" fmla="*/ 118 h 150"/>
              <a:gd name="T92" fmla="*/ 115 w 160"/>
              <a:gd name="T93" fmla="*/ 11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50">
                <a:moveTo>
                  <a:pt x="159" y="57"/>
                </a:moveTo>
                <a:cubicBezTo>
                  <a:pt x="159" y="57"/>
                  <a:pt x="158" y="56"/>
                  <a:pt x="157" y="56"/>
                </a:cubicBezTo>
                <a:cubicBezTo>
                  <a:pt x="150" y="56"/>
                  <a:pt x="150" y="56"/>
                  <a:pt x="150" y="56"/>
                </a:cubicBezTo>
                <a:cubicBezTo>
                  <a:pt x="150" y="18"/>
                  <a:pt x="150" y="18"/>
                  <a:pt x="150" y="18"/>
                </a:cubicBezTo>
                <a:cubicBezTo>
                  <a:pt x="150" y="15"/>
                  <a:pt x="147" y="13"/>
                  <a:pt x="145" y="13"/>
                </a:cubicBezTo>
                <a:cubicBezTo>
                  <a:pt x="63" y="13"/>
                  <a:pt x="63" y="13"/>
                  <a:pt x="63" y="13"/>
                </a:cubicBezTo>
                <a:cubicBezTo>
                  <a:pt x="56" y="2"/>
                  <a:pt x="56" y="2"/>
                  <a:pt x="56" y="2"/>
                </a:cubicBezTo>
                <a:cubicBezTo>
                  <a:pt x="55" y="1"/>
                  <a:pt x="54" y="0"/>
                  <a:pt x="52" y="0"/>
                </a:cubicBezTo>
                <a:cubicBezTo>
                  <a:pt x="15" y="0"/>
                  <a:pt x="15" y="0"/>
                  <a:pt x="15" y="0"/>
                </a:cubicBezTo>
                <a:cubicBezTo>
                  <a:pt x="13" y="0"/>
                  <a:pt x="11" y="2"/>
                  <a:pt x="11" y="5"/>
                </a:cubicBezTo>
                <a:cubicBezTo>
                  <a:pt x="11" y="56"/>
                  <a:pt x="11" y="56"/>
                  <a:pt x="11" y="56"/>
                </a:cubicBezTo>
                <a:cubicBezTo>
                  <a:pt x="3" y="56"/>
                  <a:pt x="3" y="56"/>
                  <a:pt x="3" y="56"/>
                </a:cubicBezTo>
                <a:cubicBezTo>
                  <a:pt x="2" y="56"/>
                  <a:pt x="1" y="57"/>
                  <a:pt x="1" y="57"/>
                </a:cubicBezTo>
                <a:cubicBezTo>
                  <a:pt x="0" y="58"/>
                  <a:pt x="0" y="59"/>
                  <a:pt x="0" y="60"/>
                </a:cubicBezTo>
                <a:cubicBezTo>
                  <a:pt x="13" y="147"/>
                  <a:pt x="13" y="147"/>
                  <a:pt x="13" y="147"/>
                </a:cubicBezTo>
                <a:cubicBezTo>
                  <a:pt x="13" y="148"/>
                  <a:pt x="15" y="150"/>
                  <a:pt x="17" y="150"/>
                </a:cubicBezTo>
                <a:cubicBezTo>
                  <a:pt x="143" y="150"/>
                  <a:pt x="143" y="150"/>
                  <a:pt x="143" y="150"/>
                </a:cubicBezTo>
                <a:cubicBezTo>
                  <a:pt x="145" y="150"/>
                  <a:pt x="147" y="148"/>
                  <a:pt x="147" y="147"/>
                </a:cubicBezTo>
                <a:cubicBezTo>
                  <a:pt x="160" y="60"/>
                  <a:pt x="160" y="60"/>
                  <a:pt x="160" y="60"/>
                </a:cubicBezTo>
                <a:cubicBezTo>
                  <a:pt x="160" y="59"/>
                  <a:pt x="160" y="58"/>
                  <a:pt x="159" y="57"/>
                </a:cubicBezTo>
                <a:close/>
                <a:moveTo>
                  <a:pt x="16" y="5"/>
                </a:moveTo>
                <a:cubicBezTo>
                  <a:pt x="52" y="5"/>
                  <a:pt x="52" y="5"/>
                  <a:pt x="52" y="5"/>
                </a:cubicBezTo>
                <a:cubicBezTo>
                  <a:pt x="59" y="16"/>
                  <a:pt x="59" y="16"/>
                  <a:pt x="59" y="16"/>
                </a:cubicBezTo>
                <a:cubicBezTo>
                  <a:pt x="59" y="18"/>
                  <a:pt x="61" y="19"/>
                  <a:pt x="63" y="19"/>
                </a:cubicBezTo>
                <a:cubicBezTo>
                  <a:pt x="144" y="19"/>
                  <a:pt x="144" y="19"/>
                  <a:pt x="144" y="19"/>
                </a:cubicBezTo>
                <a:cubicBezTo>
                  <a:pt x="144" y="56"/>
                  <a:pt x="144" y="56"/>
                  <a:pt x="144" y="56"/>
                </a:cubicBezTo>
                <a:cubicBezTo>
                  <a:pt x="142" y="56"/>
                  <a:pt x="142" y="56"/>
                  <a:pt x="142" y="56"/>
                </a:cubicBezTo>
                <a:cubicBezTo>
                  <a:pt x="142" y="45"/>
                  <a:pt x="142" y="45"/>
                  <a:pt x="142" y="45"/>
                </a:cubicBezTo>
                <a:cubicBezTo>
                  <a:pt x="139" y="45"/>
                  <a:pt x="139" y="45"/>
                  <a:pt x="139" y="45"/>
                </a:cubicBezTo>
                <a:cubicBezTo>
                  <a:pt x="139" y="37"/>
                  <a:pt x="139" y="37"/>
                  <a:pt x="139" y="37"/>
                </a:cubicBezTo>
                <a:cubicBezTo>
                  <a:pt x="136" y="37"/>
                  <a:pt x="136" y="37"/>
                  <a:pt x="136" y="37"/>
                </a:cubicBezTo>
                <a:cubicBezTo>
                  <a:pt x="136" y="29"/>
                  <a:pt x="136" y="29"/>
                  <a:pt x="136" y="29"/>
                </a:cubicBezTo>
                <a:cubicBezTo>
                  <a:pt x="24" y="29"/>
                  <a:pt x="24" y="29"/>
                  <a:pt x="24" y="29"/>
                </a:cubicBezTo>
                <a:cubicBezTo>
                  <a:pt x="24" y="37"/>
                  <a:pt x="24" y="37"/>
                  <a:pt x="24" y="37"/>
                </a:cubicBezTo>
                <a:cubicBezTo>
                  <a:pt x="21" y="37"/>
                  <a:pt x="21" y="37"/>
                  <a:pt x="21" y="37"/>
                </a:cubicBezTo>
                <a:cubicBezTo>
                  <a:pt x="21" y="45"/>
                  <a:pt x="21" y="45"/>
                  <a:pt x="21" y="45"/>
                </a:cubicBezTo>
                <a:cubicBezTo>
                  <a:pt x="19" y="45"/>
                  <a:pt x="19" y="45"/>
                  <a:pt x="19" y="45"/>
                </a:cubicBezTo>
                <a:cubicBezTo>
                  <a:pt x="19" y="56"/>
                  <a:pt x="19" y="56"/>
                  <a:pt x="19" y="56"/>
                </a:cubicBezTo>
                <a:cubicBezTo>
                  <a:pt x="16" y="56"/>
                  <a:pt x="16" y="56"/>
                  <a:pt x="16" y="56"/>
                </a:cubicBezTo>
                <a:lnTo>
                  <a:pt x="16" y="5"/>
                </a:lnTo>
                <a:close/>
                <a:moveTo>
                  <a:pt x="24" y="51"/>
                </a:moveTo>
                <a:cubicBezTo>
                  <a:pt x="136" y="51"/>
                  <a:pt x="136" y="51"/>
                  <a:pt x="136" y="51"/>
                </a:cubicBezTo>
                <a:cubicBezTo>
                  <a:pt x="136" y="56"/>
                  <a:pt x="136" y="56"/>
                  <a:pt x="136" y="56"/>
                </a:cubicBezTo>
                <a:cubicBezTo>
                  <a:pt x="24" y="56"/>
                  <a:pt x="24" y="56"/>
                  <a:pt x="24" y="56"/>
                </a:cubicBezTo>
                <a:lnTo>
                  <a:pt x="24" y="51"/>
                </a:lnTo>
                <a:close/>
                <a:moveTo>
                  <a:pt x="27" y="43"/>
                </a:moveTo>
                <a:cubicBezTo>
                  <a:pt x="134" y="43"/>
                  <a:pt x="134" y="43"/>
                  <a:pt x="134" y="43"/>
                </a:cubicBezTo>
                <a:cubicBezTo>
                  <a:pt x="134" y="45"/>
                  <a:pt x="134" y="45"/>
                  <a:pt x="134" y="45"/>
                </a:cubicBezTo>
                <a:cubicBezTo>
                  <a:pt x="27" y="45"/>
                  <a:pt x="27" y="45"/>
                  <a:pt x="27" y="45"/>
                </a:cubicBezTo>
                <a:lnTo>
                  <a:pt x="27" y="43"/>
                </a:lnTo>
                <a:close/>
                <a:moveTo>
                  <a:pt x="131" y="37"/>
                </a:moveTo>
                <a:cubicBezTo>
                  <a:pt x="29" y="37"/>
                  <a:pt x="29" y="37"/>
                  <a:pt x="29" y="37"/>
                </a:cubicBezTo>
                <a:cubicBezTo>
                  <a:pt x="29" y="35"/>
                  <a:pt x="29" y="35"/>
                  <a:pt x="29" y="35"/>
                </a:cubicBezTo>
                <a:cubicBezTo>
                  <a:pt x="131" y="35"/>
                  <a:pt x="131" y="35"/>
                  <a:pt x="131" y="35"/>
                </a:cubicBezTo>
                <a:lnTo>
                  <a:pt x="131" y="37"/>
                </a:lnTo>
                <a:close/>
                <a:moveTo>
                  <a:pt x="142" y="144"/>
                </a:moveTo>
                <a:cubicBezTo>
                  <a:pt x="18" y="144"/>
                  <a:pt x="18" y="144"/>
                  <a:pt x="18" y="144"/>
                </a:cubicBezTo>
                <a:cubicBezTo>
                  <a:pt x="6" y="61"/>
                  <a:pt x="6" y="61"/>
                  <a:pt x="6" y="61"/>
                </a:cubicBezTo>
                <a:cubicBezTo>
                  <a:pt x="11" y="61"/>
                  <a:pt x="11" y="61"/>
                  <a:pt x="11" y="61"/>
                </a:cubicBezTo>
                <a:cubicBezTo>
                  <a:pt x="19" y="61"/>
                  <a:pt x="19" y="61"/>
                  <a:pt x="19" y="61"/>
                </a:cubicBezTo>
                <a:cubicBezTo>
                  <a:pt x="142" y="61"/>
                  <a:pt x="142" y="61"/>
                  <a:pt x="142" y="61"/>
                </a:cubicBezTo>
                <a:cubicBezTo>
                  <a:pt x="150" y="61"/>
                  <a:pt x="150" y="61"/>
                  <a:pt x="150" y="61"/>
                </a:cubicBezTo>
                <a:cubicBezTo>
                  <a:pt x="154" y="61"/>
                  <a:pt x="154" y="61"/>
                  <a:pt x="154" y="61"/>
                </a:cubicBezTo>
                <a:lnTo>
                  <a:pt x="142" y="144"/>
                </a:lnTo>
                <a:close/>
                <a:moveTo>
                  <a:pt x="72" y="131"/>
                </a:moveTo>
                <a:cubicBezTo>
                  <a:pt x="128" y="131"/>
                  <a:pt x="128" y="131"/>
                  <a:pt x="128" y="131"/>
                </a:cubicBezTo>
                <a:cubicBezTo>
                  <a:pt x="128" y="93"/>
                  <a:pt x="128" y="93"/>
                  <a:pt x="128" y="93"/>
                </a:cubicBezTo>
                <a:cubicBezTo>
                  <a:pt x="72" y="93"/>
                  <a:pt x="72" y="93"/>
                  <a:pt x="72" y="93"/>
                </a:cubicBezTo>
                <a:lnTo>
                  <a:pt x="72" y="131"/>
                </a:lnTo>
                <a:close/>
                <a:moveTo>
                  <a:pt x="77" y="99"/>
                </a:moveTo>
                <a:cubicBezTo>
                  <a:pt x="123" y="99"/>
                  <a:pt x="123" y="99"/>
                  <a:pt x="123" y="99"/>
                </a:cubicBezTo>
                <a:cubicBezTo>
                  <a:pt x="123" y="126"/>
                  <a:pt x="123" y="126"/>
                  <a:pt x="123" y="126"/>
                </a:cubicBezTo>
                <a:cubicBezTo>
                  <a:pt x="77" y="126"/>
                  <a:pt x="77" y="126"/>
                  <a:pt x="77" y="126"/>
                </a:cubicBezTo>
                <a:lnTo>
                  <a:pt x="77" y="99"/>
                </a:lnTo>
                <a:close/>
                <a:moveTo>
                  <a:pt x="83" y="107"/>
                </a:moveTo>
                <a:cubicBezTo>
                  <a:pt x="83" y="105"/>
                  <a:pt x="84" y="104"/>
                  <a:pt x="85" y="104"/>
                </a:cubicBezTo>
                <a:cubicBezTo>
                  <a:pt x="96" y="104"/>
                  <a:pt x="96" y="104"/>
                  <a:pt x="96" y="104"/>
                </a:cubicBezTo>
                <a:cubicBezTo>
                  <a:pt x="98" y="104"/>
                  <a:pt x="99" y="105"/>
                  <a:pt x="99" y="107"/>
                </a:cubicBezTo>
                <a:cubicBezTo>
                  <a:pt x="99" y="108"/>
                  <a:pt x="98" y="109"/>
                  <a:pt x="96" y="109"/>
                </a:cubicBezTo>
                <a:cubicBezTo>
                  <a:pt x="85" y="109"/>
                  <a:pt x="85" y="109"/>
                  <a:pt x="85" y="109"/>
                </a:cubicBezTo>
                <a:cubicBezTo>
                  <a:pt x="84" y="109"/>
                  <a:pt x="83" y="108"/>
                  <a:pt x="83" y="107"/>
                </a:cubicBezTo>
                <a:close/>
                <a:moveTo>
                  <a:pt x="104" y="107"/>
                </a:moveTo>
                <a:cubicBezTo>
                  <a:pt x="104" y="105"/>
                  <a:pt x="105" y="104"/>
                  <a:pt x="107" y="104"/>
                </a:cubicBezTo>
                <a:cubicBezTo>
                  <a:pt x="109" y="104"/>
                  <a:pt x="109" y="104"/>
                  <a:pt x="109" y="104"/>
                </a:cubicBezTo>
                <a:cubicBezTo>
                  <a:pt x="111" y="104"/>
                  <a:pt x="112" y="105"/>
                  <a:pt x="112" y="107"/>
                </a:cubicBezTo>
                <a:cubicBezTo>
                  <a:pt x="112" y="108"/>
                  <a:pt x="111" y="109"/>
                  <a:pt x="109" y="109"/>
                </a:cubicBezTo>
                <a:cubicBezTo>
                  <a:pt x="107" y="109"/>
                  <a:pt x="107" y="109"/>
                  <a:pt x="107" y="109"/>
                </a:cubicBezTo>
                <a:cubicBezTo>
                  <a:pt x="105" y="109"/>
                  <a:pt x="104" y="108"/>
                  <a:pt x="104" y="107"/>
                </a:cubicBezTo>
                <a:close/>
                <a:moveTo>
                  <a:pt x="117" y="118"/>
                </a:moveTo>
                <a:cubicBezTo>
                  <a:pt x="117" y="119"/>
                  <a:pt x="116" y="120"/>
                  <a:pt x="115" y="120"/>
                </a:cubicBezTo>
                <a:cubicBezTo>
                  <a:pt x="85" y="120"/>
                  <a:pt x="85" y="120"/>
                  <a:pt x="85" y="120"/>
                </a:cubicBezTo>
                <a:cubicBezTo>
                  <a:pt x="84" y="120"/>
                  <a:pt x="83" y="119"/>
                  <a:pt x="83" y="118"/>
                </a:cubicBezTo>
                <a:cubicBezTo>
                  <a:pt x="83" y="116"/>
                  <a:pt x="84" y="115"/>
                  <a:pt x="85" y="115"/>
                </a:cubicBezTo>
                <a:cubicBezTo>
                  <a:pt x="115" y="115"/>
                  <a:pt x="115" y="115"/>
                  <a:pt x="115" y="115"/>
                </a:cubicBezTo>
                <a:cubicBezTo>
                  <a:pt x="116" y="115"/>
                  <a:pt x="117" y="116"/>
                  <a:pt x="117" y="118"/>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2099">
            <a:extLst>
              <a:ext uri="{FF2B5EF4-FFF2-40B4-BE49-F238E27FC236}">
                <a16:creationId xmlns:a16="http://schemas.microsoft.com/office/drawing/2014/main" id="{6B75B5E6-6752-C647-BF04-CF57B87D553C}"/>
              </a:ext>
            </a:extLst>
          </p:cNvPr>
          <p:cNvSpPr>
            <a:spLocks noEditPoints="1"/>
          </p:cNvSpPr>
          <p:nvPr/>
        </p:nvSpPr>
        <p:spPr bwMode="auto">
          <a:xfrm>
            <a:off x="3476621" y="1011238"/>
            <a:ext cx="546100" cy="485775"/>
          </a:xfrm>
          <a:custGeom>
            <a:avLst/>
            <a:gdLst>
              <a:gd name="T0" fmla="*/ 71 w 160"/>
              <a:gd name="T1" fmla="*/ 19 h 141"/>
              <a:gd name="T2" fmla="*/ 58 w 160"/>
              <a:gd name="T3" fmla="*/ 1 h 141"/>
              <a:gd name="T4" fmla="*/ 57 w 160"/>
              <a:gd name="T5" fmla="*/ 0 h 141"/>
              <a:gd name="T6" fmla="*/ 0 w 160"/>
              <a:gd name="T7" fmla="*/ 0 h 141"/>
              <a:gd name="T8" fmla="*/ 0 w 160"/>
              <a:gd name="T9" fmla="*/ 141 h 141"/>
              <a:gd name="T10" fmla="*/ 160 w 160"/>
              <a:gd name="T11" fmla="*/ 141 h 141"/>
              <a:gd name="T12" fmla="*/ 160 w 160"/>
              <a:gd name="T13" fmla="*/ 19 h 141"/>
              <a:gd name="T14" fmla="*/ 71 w 160"/>
              <a:gd name="T15" fmla="*/ 19 h 141"/>
              <a:gd name="T16" fmla="*/ 155 w 160"/>
              <a:gd name="T17" fmla="*/ 24 h 141"/>
              <a:gd name="T18" fmla="*/ 155 w 160"/>
              <a:gd name="T19" fmla="*/ 37 h 141"/>
              <a:gd name="T20" fmla="*/ 84 w 160"/>
              <a:gd name="T21" fmla="*/ 37 h 141"/>
              <a:gd name="T22" fmla="*/ 75 w 160"/>
              <a:gd name="T23" fmla="*/ 24 h 141"/>
              <a:gd name="T24" fmla="*/ 155 w 160"/>
              <a:gd name="T25" fmla="*/ 24 h 141"/>
              <a:gd name="T26" fmla="*/ 5 w 160"/>
              <a:gd name="T27" fmla="*/ 136 h 141"/>
              <a:gd name="T28" fmla="*/ 5 w 160"/>
              <a:gd name="T29" fmla="*/ 5 h 141"/>
              <a:gd name="T30" fmla="*/ 55 w 160"/>
              <a:gd name="T31" fmla="*/ 5 h 141"/>
              <a:gd name="T32" fmla="*/ 68 w 160"/>
              <a:gd name="T33" fmla="*/ 24 h 141"/>
              <a:gd name="T34" fmla="*/ 68 w 160"/>
              <a:gd name="T35" fmla="*/ 24 h 141"/>
              <a:gd name="T36" fmla="*/ 80 w 160"/>
              <a:gd name="T37" fmla="*/ 41 h 141"/>
              <a:gd name="T38" fmla="*/ 83 w 160"/>
              <a:gd name="T39" fmla="*/ 43 h 141"/>
              <a:gd name="T40" fmla="*/ 83 w 160"/>
              <a:gd name="T41" fmla="*/ 43 h 141"/>
              <a:gd name="T42" fmla="*/ 155 w 160"/>
              <a:gd name="T43" fmla="*/ 43 h 141"/>
              <a:gd name="T44" fmla="*/ 155 w 160"/>
              <a:gd name="T45" fmla="*/ 136 h 141"/>
              <a:gd name="T46" fmla="*/ 5 w 160"/>
              <a:gd name="T47" fmla="*/ 136 h 141"/>
              <a:gd name="T48" fmla="*/ 91 w 160"/>
              <a:gd name="T49" fmla="*/ 128 h 141"/>
              <a:gd name="T50" fmla="*/ 147 w 160"/>
              <a:gd name="T51" fmla="*/ 128 h 141"/>
              <a:gd name="T52" fmla="*/ 147 w 160"/>
              <a:gd name="T53" fmla="*/ 91 h 141"/>
              <a:gd name="T54" fmla="*/ 91 w 160"/>
              <a:gd name="T55" fmla="*/ 91 h 141"/>
              <a:gd name="T56" fmla="*/ 91 w 160"/>
              <a:gd name="T57" fmla="*/ 128 h 141"/>
              <a:gd name="T58" fmla="*/ 96 w 160"/>
              <a:gd name="T59" fmla="*/ 96 h 141"/>
              <a:gd name="T60" fmla="*/ 141 w 160"/>
              <a:gd name="T61" fmla="*/ 96 h 141"/>
              <a:gd name="T62" fmla="*/ 141 w 160"/>
              <a:gd name="T63" fmla="*/ 123 h 141"/>
              <a:gd name="T64" fmla="*/ 96 w 160"/>
              <a:gd name="T65" fmla="*/ 123 h 141"/>
              <a:gd name="T66" fmla="*/ 96 w 160"/>
              <a:gd name="T67" fmla="*/ 96 h 141"/>
              <a:gd name="T68" fmla="*/ 101 w 160"/>
              <a:gd name="T69" fmla="*/ 104 h 141"/>
              <a:gd name="T70" fmla="*/ 104 w 160"/>
              <a:gd name="T71" fmla="*/ 101 h 141"/>
              <a:gd name="T72" fmla="*/ 115 w 160"/>
              <a:gd name="T73" fmla="*/ 101 h 141"/>
              <a:gd name="T74" fmla="*/ 117 w 160"/>
              <a:gd name="T75" fmla="*/ 104 h 141"/>
              <a:gd name="T76" fmla="*/ 115 w 160"/>
              <a:gd name="T77" fmla="*/ 107 h 141"/>
              <a:gd name="T78" fmla="*/ 104 w 160"/>
              <a:gd name="T79" fmla="*/ 107 h 141"/>
              <a:gd name="T80" fmla="*/ 101 w 160"/>
              <a:gd name="T81" fmla="*/ 104 h 141"/>
              <a:gd name="T82" fmla="*/ 123 w 160"/>
              <a:gd name="T83" fmla="*/ 104 h 141"/>
              <a:gd name="T84" fmla="*/ 125 w 160"/>
              <a:gd name="T85" fmla="*/ 101 h 141"/>
              <a:gd name="T86" fmla="*/ 128 w 160"/>
              <a:gd name="T87" fmla="*/ 101 h 141"/>
              <a:gd name="T88" fmla="*/ 131 w 160"/>
              <a:gd name="T89" fmla="*/ 104 h 141"/>
              <a:gd name="T90" fmla="*/ 128 w 160"/>
              <a:gd name="T91" fmla="*/ 107 h 141"/>
              <a:gd name="T92" fmla="*/ 125 w 160"/>
              <a:gd name="T93" fmla="*/ 107 h 141"/>
              <a:gd name="T94" fmla="*/ 123 w 160"/>
              <a:gd name="T95" fmla="*/ 104 h 141"/>
              <a:gd name="T96" fmla="*/ 136 w 160"/>
              <a:gd name="T97" fmla="*/ 115 h 141"/>
              <a:gd name="T98" fmla="*/ 133 w 160"/>
              <a:gd name="T99" fmla="*/ 117 h 141"/>
              <a:gd name="T100" fmla="*/ 104 w 160"/>
              <a:gd name="T101" fmla="*/ 117 h 141"/>
              <a:gd name="T102" fmla="*/ 101 w 160"/>
              <a:gd name="T103" fmla="*/ 115 h 141"/>
              <a:gd name="T104" fmla="*/ 104 w 160"/>
              <a:gd name="T105" fmla="*/ 112 h 141"/>
              <a:gd name="T106" fmla="*/ 133 w 160"/>
              <a:gd name="T107" fmla="*/ 112 h 141"/>
              <a:gd name="T108" fmla="*/ 136 w 160"/>
              <a:gd name="T109" fmla="*/ 11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41">
                <a:moveTo>
                  <a:pt x="71" y="19"/>
                </a:moveTo>
                <a:cubicBezTo>
                  <a:pt x="58" y="1"/>
                  <a:pt x="58" y="1"/>
                  <a:pt x="58" y="1"/>
                </a:cubicBezTo>
                <a:cubicBezTo>
                  <a:pt x="57" y="0"/>
                  <a:pt x="57" y="0"/>
                  <a:pt x="57" y="0"/>
                </a:cubicBezTo>
                <a:cubicBezTo>
                  <a:pt x="0" y="0"/>
                  <a:pt x="0" y="0"/>
                  <a:pt x="0" y="0"/>
                </a:cubicBezTo>
                <a:cubicBezTo>
                  <a:pt x="0" y="141"/>
                  <a:pt x="0" y="141"/>
                  <a:pt x="0" y="141"/>
                </a:cubicBezTo>
                <a:cubicBezTo>
                  <a:pt x="160" y="141"/>
                  <a:pt x="160" y="141"/>
                  <a:pt x="160" y="141"/>
                </a:cubicBezTo>
                <a:cubicBezTo>
                  <a:pt x="160" y="19"/>
                  <a:pt x="160" y="19"/>
                  <a:pt x="160" y="19"/>
                </a:cubicBezTo>
                <a:lnTo>
                  <a:pt x="71" y="19"/>
                </a:lnTo>
                <a:close/>
                <a:moveTo>
                  <a:pt x="155" y="24"/>
                </a:moveTo>
                <a:cubicBezTo>
                  <a:pt x="155" y="37"/>
                  <a:pt x="155" y="37"/>
                  <a:pt x="155" y="37"/>
                </a:cubicBezTo>
                <a:cubicBezTo>
                  <a:pt x="84" y="37"/>
                  <a:pt x="84" y="37"/>
                  <a:pt x="84" y="37"/>
                </a:cubicBezTo>
                <a:cubicBezTo>
                  <a:pt x="75" y="24"/>
                  <a:pt x="75" y="24"/>
                  <a:pt x="75" y="24"/>
                </a:cubicBezTo>
                <a:lnTo>
                  <a:pt x="155" y="24"/>
                </a:lnTo>
                <a:close/>
                <a:moveTo>
                  <a:pt x="5" y="136"/>
                </a:moveTo>
                <a:cubicBezTo>
                  <a:pt x="5" y="5"/>
                  <a:pt x="5" y="5"/>
                  <a:pt x="5" y="5"/>
                </a:cubicBezTo>
                <a:cubicBezTo>
                  <a:pt x="55" y="5"/>
                  <a:pt x="55" y="5"/>
                  <a:pt x="55" y="5"/>
                </a:cubicBezTo>
                <a:cubicBezTo>
                  <a:pt x="68" y="24"/>
                  <a:pt x="68" y="24"/>
                  <a:pt x="68" y="24"/>
                </a:cubicBezTo>
                <a:cubicBezTo>
                  <a:pt x="68" y="24"/>
                  <a:pt x="68" y="24"/>
                  <a:pt x="68" y="24"/>
                </a:cubicBezTo>
                <a:cubicBezTo>
                  <a:pt x="80" y="41"/>
                  <a:pt x="80" y="41"/>
                  <a:pt x="80" y="41"/>
                </a:cubicBezTo>
                <a:cubicBezTo>
                  <a:pt x="81" y="42"/>
                  <a:pt x="82" y="43"/>
                  <a:pt x="83" y="43"/>
                </a:cubicBezTo>
                <a:cubicBezTo>
                  <a:pt x="83" y="43"/>
                  <a:pt x="83" y="43"/>
                  <a:pt x="83" y="43"/>
                </a:cubicBezTo>
                <a:cubicBezTo>
                  <a:pt x="155" y="43"/>
                  <a:pt x="155" y="43"/>
                  <a:pt x="155" y="43"/>
                </a:cubicBezTo>
                <a:cubicBezTo>
                  <a:pt x="155" y="136"/>
                  <a:pt x="155" y="136"/>
                  <a:pt x="155" y="136"/>
                </a:cubicBezTo>
                <a:lnTo>
                  <a:pt x="5" y="136"/>
                </a:lnTo>
                <a:close/>
                <a:moveTo>
                  <a:pt x="91" y="128"/>
                </a:moveTo>
                <a:cubicBezTo>
                  <a:pt x="147" y="128"/>
                  <a:pt x="147" y="128"/>
                  <a:pt x="147" y="128"/>
                </a:cubicBezTo>
                <a:cubicBezTo>
                  <a:pt x="147" y="91"/>
                  <a:pt x="147" y="91"/>
                  <a:pt x="147" y="91"/>
                </a:cubicBezTo>
                <a:cubicBezTo>
                  <a:pt x="91" y="91"/>
                  <a:pt x="91" y="91"/>
                  <a:pt x="91" y="91"/>
                </a:cubicBezTo>
                <a:lnTo>
                  <a:pt x="91" y="128"/>
                </a:lnTo>
                <a:close/>
                <a:moveTo>
                  <a:pt x="96" y="96"/>
                </a:moveTo>
                <a:cubicBezTo>
                  <a:pt x="141" y="96"/>
                  <a:pt x="141" y="96"/>
                  <a:pt x="141" y="96"/>
                </a:cubicBezTo>
                <a:cubicBezTo>
                  <a:pt x="141" y="123"/>
                  <a:pt x="141" y="123"/>
                  <a:pt x="141" y="123"/>
                </a:cubicBezTo>
                <a:cubicBezTo>
                  <a:pt x="96" y="123"/>
                  <a:pt x="96" y="123"/>
                  <a:pt x="96" y="123"/>
                </a:cubicBezTo>
                <a:lnTo>
                  <a:pt x="96" y="96"/>
                </a:lnTo>
                <a:close/>
                <a:moveTo>
                  <a:pt x="101" y="104"/>
                </a:moveTo>
                <a:cubicBezTo>
                  <a:pt x="101" y="103"/>
                  <a:pt x="103" y="101"/>
                  <a:pt x="104" y="101"/>
                </a:cubicBezTo>
                <a:cubicBezTo>
                  <a:pt x="115" y="101"/>
                  <a:pt x="115" y="101"/>
                  <a:pt x="115" y="101"/>
                </a:cubicBezTo>
                <a:cubicBezTo>
                  <a:pt x="116" y="101"/>
                  <a:pt x="117" y="103"/>
                  <a:pt x="117" y="104"/>
                </a:cubicBezTo>
                <a:cubicBezTo>
                  <a:pt x="117" y="105"/>
                  <a:pt x="116" y="107"/>
                  <a:pt x="115" y="107"/>
                </a:cubicBezTo>
                <a:cubicBezTo>
                  <a:pt x="104" y="107"/>
                  <a:pt x="104" y="107"/>
                  <a:pt x="104" y="107"/>
                </a:cubicBezTo>
                <a:cubicBezTo>
                  <a:pt x="103" y="107"/>
                  <a:pt x="101" y="105"/>
                  <a:pt x="101" y="104"/>
                </a:cubicBezTo>
                <a:close/>
                <a:moveTo>
                  <a:pt x="123" y="104"/>
                </a:moveTo>
                <a:cubicBezTo>
                  <a:pt x="123" y="103"/>
                  <a:pt x="124" y="101"/>
                  <a:pt x="125" y="101"/>
                </a:cubicBezTo>
                <a:cubicBezTo>
                  <a:pt x="128" y="101"/>
                  <a:pt x="128" y="101"/>
                  <a:pt x="128" y="101"/>
                </a:cubicBezTo>
                <a:cubicBezTo>
                  <a:pt x="129" y="101"/>
                  <a:pt x="131" y="103"/>
                  <a:pt x="131" y="104"/>
                </a:cubicBezTo>
                <a:cubicBezTo>
                  <a:pt x="131" y="105"/>
                  <a:pt x="129" y="107"/>
                  <a:pt x="128" y="107"/>
                </a:cubicBezTo>
                <a:cubicBezTo>
                  <a:pt x="125" y="107"/>
                  <a:pt x="125" y="107"/>
                  <a:pt x="125" y="107"/>
                </a:cubicBezTo>
                <a:cubicBezTo>
                  <a:pt x="124" y="107"/>
                  <a:pt x="123" y="105"/>
                  <a:pt x="123" y="104"/>
                </a:cubicBezTo>
                <a:close/>
                <a:moveTo>
                  <a:pt x="136" y="115"/>
                </a:moveTo>
                <a:cubicBezTo>
                  <a:pt x="136" y="116"/>
                  <a:pt x="135" y="117"/>
                  <a:pt x="133" y="117"/>
                </a:cubicBezTo>
                <a:cubicBezTo>
                  <a:pt x="104" y="117"/>
                  <a:pt x="104" y="117"/>
                  <a:pt x="104" y="117"/>
                </a:cubicBezTo>
                <a:cubicBezTo>
                  <a:pt x="103" y="117"/>
                  <a:pt x="101" y="116"/>
                  <a:pt x="101" y="115"/>
                </a:cubicBezTo>
                <a:cubicBezTo>
                  <a:pt x="101" y="113"/>
                  <a:pt x="103" y="112"/>
                  <a:pt x="104" y="112"/>
                </a:cubicBezTo>
                <a:cubicBezTo>
                  <a:pt x="133" y="112"/>
                  <a:pt x="133" y="112"/>
                  <a:pt x="133" y="112"/>
                </a:cubicBezTo>
                <a:cubicBezTo>
                  <a:pt x="135" y="112"/>
                  <a:pt x="136" y="113"/>
                  <a:pt x="136" y="115"/>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2100">
            <a:extLst>
              <a:ext uri="{FF2B5EF4-FFF2-40B4-BE49-F238E27FC236}">
                <a16:creationId xmlns:a16="http://schemas.microsoft.com/office/drawing/2014/main" id="{E829139D-D5F0-CC49-98AD-8EC5C0667841}"/>
              </a:ext>
            </a:extLst>
          </p:cNvPr>
          <p:cNvSpPr>
            <a:spLocks noEditPoints="1"/>
          </p:cNvSpPr>
          <p:nvPr/>
        </p:nvSpPr>
        <p:spPr bwMode="auto">
          <a:xfrm>
            <a:off x="3449634" y="1562100"/>
            <a:ext cx="600075" cy="581025"/>
          </a:xfrm>
          <a:custGeom>
            <a:avLst/>
            <a:gdLst>
              <a:gd name="T0" fmla="*/ 145 w 176"/>
              <a:gd name="T1" fmla="*/ 31 h 169"/>
              <a:gd name="T2" fmla="*/ 31 w 176"/>
              <a:gd name="T3" fmla="*/ 31 h 169"/>
              <a:gd name="T4" fmla="*/ 31 w 176"/>
              <a:gd name="T5" fmla="*/ 145 h 169"/>
              <a:gd name="T6" fmla="*/ 88 w 176"/>
              <a:gd name="T7" fmla="*/ 168 h 169"/>
              <a:gd name="T8" fmla="*/ 145 w 176"/>
              <a:gd name="T9" fmla="*/ 145 h 169"/>
              <a:gd name="T10" fmla="*/ 145 w 176"/>
              <a:gd name="T11" fmla="*/ 31 h 169"/>
              <a:gd name="T12" fmla="*/ 36 w 176"/>
              <a:gd name="T13" fmla="*/ 36 h 169"/>
              <a:gd name="T14" fmla="*/ 88 w 176"/>
              <a:gd name="T15" fmla="*/ 14 h 169"/>
              <a:gd name="T16" fmla="*/ 138 w 176"/>
              <a:gd name="T17" fmla="*/ 34 h 169"/>
              <a:gd name="T18" fmla="*/ 34 w 176"/>
              <a:gd name="T19" fmla="*/ 138 h 169"/>
              <a:gd name="T20" fmla="*/ 36 w 176"/>
              <a:gd name="T21" fmla="*/ 36 h 169"/>
              <a:gd name="T22" fmla="*/ 140 w 176"/>
              <a:gd name="T23" fmla="*/ 140 h 169"/>
              <a:gd name="T24" fmla="*/ 38 w 176"/>
              <a:gd name="T25" fmla="*/ 142 h 169"/>
              <a:gd name="T26" fmla="*/ 142 w 176"/>
              <a:gd name="T27" fmla="*/ 38 h 169"/>
              <a:gd name="T28" fmla="*/ 140 w 176"/>
              <a:gd name="T29" fmla="*/ 14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69">
                <a:moveTo>
                  <a:pt x="145" y="31"/>
                </a:moveTo>
                <a:cubicBezTo>
                  <a:pt x="113" y="0"/>
                  <a:pt x="63" y="0"/>
                  <a:pt x="31" y="31"/>
                </a:cubicBezTo>
                <a:cubicBezTo>
                  <a:pt x="0" y="63"/>
                  <a:pt x="0" y="113"/>
                  <a:pt x="31" y="145"/>
                </a:cubicBezTo>
                <a:cubicBezTo>
                  <a:pt x="47" y="160"/>
                  <a:pt x="68" y="168"/>
                  <a:pt x="88" y="168"/>
                </a:cubicBezTo>
                <a:cubicBezTo>
                  <a:pt x="108" y="168"/>
                  <a:pt x="129" y="160"/>
                  <a:pt x="145" y="145"/>
                </a:cubicBezTo>
                <a:cubicBezTo>
                  <a:pt x="176" y="113"/>
                  <a:pt x="176" y="63"/>
                  <a:pt x="145" y="31"/>
                </a:cubicBezTo>
                <a:close/>
                <a:moveTo>
                  <a:pt x="36" y="36"/>
                </a:moveTo>
                <a:cubicBezTo>
                  <a:pt x="50" y="21"/>
                  <a:pt x="69" y="14"/>
                  <a:pt x="88" y="14"/>
                </a:cubicBezTo>
                <a:cubicBezTo>
                  <a:pt x="106" y="14"/>
                  <a:pt x="124" y="21"/>
                  <a:pt x="138" y="34"/>
                </a:cubicBezTo>
                <a:cubicBezTo>
                  <a:pt x="34" y="138"/>
                  <a:pt x="34" y="138"/>
                  <a:pt x="34" y="138"/>
                </a:cubicBezTo>
                <a:cubicBezTo>
                  <a:pt x="7" y="109"/>
                  <a:pt x="8" y="64"/>
                  <a:pt x="36" y="36"/>
                </a:cubicBezTo>
                <a:close/>
                <a:moveTo>
                  <a:pt x="140" y="140"/>
                </a:moveTo>
                <a:cubicBezTo>
                  <a:pt x="112" y="168"/>
                  <a:pt x="67" y="169"/>
                  <a:pt x="38" y="142"/>
                </a:cubicBezTo>
                <a:cubicBezTo>
                  <a:pt x="142" y="38"/>
                  <a:pt x="142" y="38"/>
                  <a:pt x="142" y="38"/>
                </a:cubicBezTo>
                <a:cubicBezTo>
                  <a:pt x="169" y="67"/>
                  <a:pt x="168" y="112"/>
                  <a:pt x="140" y="140"/>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2101">
            <a:extLst>
              <a:ext uri="{FF2B5EF4-FFF2-40B4-BE49-F238E27FC236}">
                <a16:creationId xmlns:a16="http://schemas.microsoft.com/office/drawing/2014/main" id="{17245C62-500F-5846-B5FA-0D5B2E9166C5}"/>
              </a:ext>
            </a:extLst>
          </p:cNvPr>
          <p:cNvSpPr>
            <a:spLocks noEditPoints="1"/>
          </p:cNvSpPr>
          <p:nvPr/>
        </p:nvSpPr>
        <p:spPr bwMode="auto">
          <a:xfrm>
            <a:off x="3490909" y="2222500"/>
            <a:ext cx="525463" cy="550863"/>
          </a:xfrm>
          <a:custGeom>
            <a:avLst/>
            <a:gdLst>
              <a:gd name="T0" fmla="*/ 154 w 154"/>
              <a:gd name="T1" fmla="*/ 22 h 160"/>
              <a:gd name="T2" fmla="*/ 77 w 154"/>
              <a:gd name="T3" fmla="*/ 0 h 160"/>
              <a:gd name="T4" fmla="*/ 0 w 154"/>
              <a:gd name="T5" fmla="*/ 22 h 160"/>
              <a:gd name="T6" fmla="*/ 6 w 154"/>
              <a:gd name="T7" fmla="*/ 30 h 160"/>
              <a:gd name="T8" fmla="*/ 58 w 154"/>
              <a:gd name="T9" fmla="*/ 102 h 160"/>
              <a:gd name="T10" fmla="*/ 58 w 154"/>
              <a:gd name="T11" fmla="*/ 156 h 160"/>
              <a:gd name="T12" fmla="*/ 60 w 154"/>
              <a:gd name="T13" fmla="*/ 159 h 160"/>
              <a:gd name="T14" fmla="*/ 62 w 154"/>
              <a:gd name="T15" fmla="*/ 160 h 160"/>
              <a:gd name="T16" fmla="*/ 95 w 154"/>
              <a:gd name="T17" fmla="*/ 127 h 160"/>
              <a:gd name="T18" fmla="*/ 95 w 154"/>
              <a:gd name="T19" fmla="*/ 102 h 160"/>
              <a:gd name="T20" fmla="*/ 148 w 154"/>
              <a:gd name="T21" fmla="*/ 30 h 160"/>
              <a:gd name="T22" fmla="*/ 148 w 154"/>
              <a:gd name="T23" fmla="*/ 30 h 160"/>
              <a:gd name="T24" fmla="*/ 154 w 154"/>
              <a:gd name="T25" fmla="*/ 22 h 160"/>
              <a:gd name="T26" fmla="*/ 77 w 154"/>
              <a:gd name="T27" fmla="*/ 6 h 160"/>
              <a:gd name="T28" fmla="*/ 147 w 154"/>
              <a:gd name="T29" fmla="*/ 22 h 160"/>
              <a:gd name="T30" fmla="*/ 144 w 154"/>
              <a:gd name="T31" fmla="*/ 26 h 160"/>
              <a:gd name="T32" fmla="*/ 144 w 154"/>
              <a:gd name="T33" fmla="*/ 26 h 160"/>
              <a:gd name="T34" fmla="*/ 144 w 154"/>
              <a:gd name="T35" fmla="*/ 26 h 160"/>
              <a:gd name="T36" fmla="*/ 77 w 154"/>
              <a:gd name="T37" fmla="*/ 37 h 160"/>
              <a:gd name="T38" fmla="*/ 10 w 154"/>
              <a:gd name="T39" fmla="*/ 26 h 160"/>
              <a:gd name="T40" fmla="*/ 10 w 154"/>
              <a:gd name="T41" fmla="*/ 26 h 160"/>
              <a:gd name="T42" fmla="*/ 8 w 154"/>
              <a:gd name="T43" fmla="*/ 25 h 160"/>
              <a:gd name="T44" fmla="*/ 6 w 154"/>
              <a:gd name="T45" fmla="*/ 22 h 160"/>
              <a:gd name="T46" fmla="*/ 77 w 154"/>
              <a:gd name="T47" fmla="*/ 6 h 160"/>
              <a:gd name="T48" fmla="*/ 89 w 154"/>
              <a:gd name="T49" fmla="*/ 125 h 160"/>
              <a:gd name="T50" fmla="*/ 65 w 154"/>
              <a:gd name="T51" fmla="*/ 149 h 160"/>
              <a:gd name="T52" fmla="*/ 65 w 154"/>
              <a:gd name="T53" fmla="*/ 104 h 160"/>
              <a:gd name="T54" fmla="*/ 89 w 154"/>
              <a:gd name="T55" fmla="*/ 104 h 160"/>
              <a:gd name="T56" fmla="*/ 89 w 154"/>
              <a:gd name="T57" fmla="*/ 125 h 160"/>
              <a:gd name="T58" fmla="*/ 91 w 154"/>
              <a:gd name="T59" fmla="*/ 98 h 160"/>
              <a:gd name="T60" fmla="*/ 63 w 154"/>
              <a:gd name="T61" fmla="*/ 98 h 160"/>
              <a:gd name="T62" fmla="*/ 17 w 154"/>
              <a:gd name="T63" fmla="*/ 36 h 160"/>
              <a:gd name="T64" fmla="*/ 77 w 154"/>
              <a:gd name="T65" fmla="*/ 43 h 160"/>
              <a:gd name="T66" fmla="*/ 136 w 154"/>
              <a:gd name="T67" fmla="*/ 36 h 160"/>
              <a:gd name="T68" fmla="*/ 91 w 154"/>
              <a:gd name="T69" fmla="*/ 9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 h="160">
                <a:moveTo>
                  <a:pt x="154" y="22"/>
                </a:moveTo>
                <a:cubicBezTo>
                  <a:pt x="154" y="7"/>
                  <a:pt x="115" y="0"/>
                  <a:pt x="77" y="0"/>
                </a:cubicBezTo>
                <a:cubicBezTo>
                  <a:pt x="39" y="0"/>
                  <a:pt x="0" y="7"/>
                  <a:pt x="0" y="22"/>
                </a:cubicBezTo>
                <a:cubicBezTo>
                  <a:pt x="0" y="25"/>
                  <a:pt x="2" y="28"/>
                  <a:pt x="6" y="30"/>
                </a:cubicBezTo>
                <a:cubicBezTo>
                  <a:pt x="58" y="102"/>
                  <a:pt x="58" y="102"/>
                  <a:pt x="58" y="102"/>
                </a:cubicBezTo>
                <a:cubicBezTo>
                  <a:pt x="58" y="156"/>
                  <a:pt x="58" y="156"/>
                  <a:pt x="58" y="156"/>
                </a:cubicBezTo>
                <a:cubicBezTo>
                  <a:pt x="58" y="158"/>
                  <a:pt x="59" y="159"/>
                  <a:pt x="60" y="159"/>
                </a:cubicBezTo>
                <a:cubicBezTo>
                  <a:pt x="62" y="160"/>
                  <a:pt x="62" y="160"/>
                  <a:pt x="62" y="160"/>
                </a:cubicBezTo>
                <a:cubicBezTo>
                  <a:pt x="95" y="127"/>
                  <a:pt x="95" y="127"/>
                  <a:pt x="95" y="127"/>
                </a:cubicBezTo>
                <a:cubicBezTo>
                  <a:pt x="95" y="102"/>
                  <a:pt x="95" y="102"/>
                  <a:pt x="95" y="102"/>
                </a:cubicBezTo>
                <a:cubicBezTo>
                  <a:pt x="148" y="30"/>
                  <a:pt x="148" y="30"/>
                  <a:pt x="148" y="30"/>
                </a:cubicBezTo>
                <a:cubicBezTo>
                  <a:pt x="148" y="30"/>
                  <a:pt x="148" y="30"/>
                  <a:pt x="148" y="30"/>
                </a:cubicBezTo>
                <a:cubicBezTo>
                  <a:pt x="152" y="28"/>
                  <a:pt x="154" y="25"/>
                  <a:pt x="154" y="22"/>
                </a:cubicBezTo>
                <a:close/>
                <a:moveTo>
                  <a:pt x="77" y="6"/>
                </a:moveTo>
                <a:cubicBezTo>
                  <a:pt x="120" y="6"/>
                  <a:pt x="147" y="15"/>
                  <a:pt x="147" y="22"/>
                </a:cubicBezTo>
                <a:cubicBezTo>
                  <a:pt x="147" y="23"/>
                  <a:pt x="146" y="24"/>
                  <a:pt x="144" y="26"/>
                </a:cubicBezTo>
                <a:cubicBezTo>
                  <a:pt x="144" y="26"/>
                  <a:pt x="144" y="26"/>
                  <a:pt x="144" y="26"/>
                </a:cubicBezTo>
                <a:cubicBezTo>
                  <a:pt x="144" y="26"/>
                  <a:pt x="144" y="26"/>
                  <a:pt x="144" y="26"/>
                </a:cubicBezTo>
                <a:cubicBezTo>
                  <a:pt x="135" y="31"/>
                  <a:pt x="111" y="37"/>
                  <a:pt x="77" y="37"/>
                </a:cubicBezTo>
                <a:cubicBezTo>
                  <a:pt x="43" y="37"/>
                  <a:pt x="18" y="31"/>
                  <a:pt x="10" y="26"/>
                </a:cubicBezTo>
                <a:cubicBezTo>
                  <a:pt x="10" y="26"/>
                  <a:pt x="10" y="26"/>
                  <a:pt x="10" y="26"/>
                </a:cubicBezTo>
                <a:cubicBezTo>
                  <a:pt x="8" y="25"/>
                  <a:pt x="8" y="25"/>
                  <a:pt x="8" y="25"/>
                </a:cubicBezTo>
                <a:cubicBezTo>
                  <a:pt x="7" y="24"/>
                  <a:pt x="6" y="23"/>
                  <a:pt x="6" y="22"/>
                </a:cubicBezTo>
                <a:cubicBezTo>
                  <a:pt x="6" y="15"/>
                  <a:pt x="34" y="6"/>
                  <a:pt x="77" y="6"/>
                </a:cubicBezTo>
                <a:close/>
                <a:moveTo>
                  <a:pt x="89" y="125"/>
                </a:moveTo>
                <a:cubicBezTo>
                  <a:pt x="65" y="149"/>
                  <a:pt x="65" y="149"/>
                  <a:pt x="65" y="149"/>
                </a:cubicBezTo>
                <a:cubicBezTo>
                  <a:pt x="65" y="104"/>
                  <a:pt x="65" y="104"/>
                  <a:pt x="65" y="104"/>
                </a:cubicBezTo>
                <a:cubicBezTo>
                  <a:pt x="89" y="104"/>
                  <a:pt x="89" y="104"/>
                  <a:pt x="89" y="104"/>
                </a:cubicBezTo>
                <a:lnTo>
                  <a:pt x="89" y="125"/>
                </a:lnTo>
                <a:close/>
                <a:moveTo>
                  <a:pt x="91" y="98"/>
                </a:moveTo>
                <a:cubicBezTo>
                  <a:pt x="63" y="98"/>
                  <a:pt x="63" y="98"/>
                  <a:pt x="63" y="98"/>
                </a:cubicBezTo>
                <a:cubicBezTo>
                  <a:pt x="17" y="36"/>
                  <a:pt x="17" y="36"/>
                  <a:pt x="17" y="36"/>
                </a:cubicBezTo>
                <a:cubicBezTo>
                  <a:pt x="32" y="40"/>
                  <a:pt x="54" y="43"/>
                  <a:pt x="77" y="43"/>
                </a:cubicBezTo>
                <a:cubicBezTo>
                  <a:pt x="99" y="43"/>
                  <a:pt x="122" y="40"/>
                  <a:pt x="136" y="36"/>
                </a:cubicBezTo>
                <a:lnTo>
                  <a:pt x="91" y="98"/>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2102">
            <a:extLst>
              <a:ext uri="{FF2B5EF4-FFF2-40B4-BE49-F238E27FC236}">
                <a16:creationId xmlns:a16="http://schemas.microsoft.com/office/drawing/2014/main" id="{8B52D00F-CC09-C548-BB14-DD83DEC7F044}"/>
              </a:ext>
            </a:extLst>
          </p:cNvPr>
          <p:cNvSpPr>
            <a:spLocks noEditPoints="1"/>
          </p:cNvSpPr>
          <p:nvPr/>
        </p:nvSpPr>
        <p:spPr bwMode="auto">
          <a:xfrm>
            <a:off x="3571871" y="2828925"/>
            <a:ext cx="368300" cy="550863"/>
          </a:xfrm>
          <a:custGeom>
            <a:avLst/>
            <a:gdLst>
              <a:gd name="T0" fmla="*/ 69 w 108"/>
              <a:gd name="T1" fmla="*/ 3 h 160"/>
              <a:gd name="T2" fmla="*/ 2 w 108"/>
              <a:gd name="T3" fmla="*/ 19 h 160"/>
              <a:gd name="T4" fmla="*/ 3 w 108"/>
              <a:gd name="T5" fmla="*/ 150 h 160"/>
              <a:gd name="T6" fmla="*/ 86 w 108"/>
              <a:gd name="T7" fmla="*/ 43 h 160"/>
              <a:gd name="T8" fmla="*/ 47 w 108"/>
              <a:gd name="T9" fmla="*/ 5 h 160"/>
              <a:gd name="T10" fmla="*/ 44 w 108"/>
              <a:gd name="T11" fmla="*/ 8 h 160"/>
              <a:gd name="T12" fmla="*/ 67 w 108"/>
              <a:gd name="T13" fmla="*/ 51 h 160"/>
              <a:gd name="T14" fmla="*/ 82 w 108"/>
              <a:gd name="T15" fmla="*/ 43 h 160"/>
              <a:gd name="T16" fmla="*/ 81 w 108"/>
              <a:gd name="T17" fmla="*/ 48 h 160"/>
              <a:gd name="T18" fmla="*/ 94 w 108"/>
              <a:gd name="T19" fmla="*/ 56 h 160"/>
              <a:gd name="T20" fmla="*/ 38 w 108"/>
              <a:gd name="T21" fmla="*/ 56 h 160"/>
              <a:gd name="T22" fmla="*/ 102 w 108"/>
              <a:gd name="T23" fmla="*/ 33 h 160"/>
              <a:gd name="T24" fmla="*/ 37 w 108"/>
              <a:gd name="T25" fmla="*/ 20 h 160"/>
              <a:gd name="T26" fmla="*/ 22 w 108"/>
              <a:gd name="T27" fmla="*/ 75 h 160"/>
              <a:gd name="T28" fmla="*/ 19 w 108"/>
              <a:gd name="T29" fmla="*/ 93 h 160"/>
              <a:gd name="T30" fmla="*/ 25 w 108"/>
              <a:gd name="T31" fmla="*/ 67 h 160"/>
              <a:gd name="T32" fmla="*/ 43 w 108"/>
              <a:gd name="T33" fmla="*/ 64 h 160"/>
              <a:gd name="T34" fmla="*/ 43 w 108"/>
              <a:gd name="T35" fmla="*/ 80 h 160"/>
              <a:gd name="T36" fmla="*/ 38 w 108"/>
              <a:gd name="T37" fmla="*/ 75 h 160"/>
              <a:gd name="T38" fmla="*/ 51 w 108"/>
              <a:gd name="T39" fmla="*/ 77 h 160"/>
              <a:gd name="T40" fmla="*/ 33 w 108"/>
              <a:gd name="T41" fmla="*/ 91 h 160"/>
              <a:gd name="T42" fmla="*/ 51 w 108"/>
              <a:gd name="T43" fmla="*/ 88 h 160"/>
              <a:gd name="T44" fmla="*/ 75 w 108"/>
              <a:gd name="T45" fmla="*/ 64 h 160"/>
              <a:gd name="T46" fmla="*/ 62 w 108"/>
              <a:gd name="T47" fmla="*/ 83 h 160"/>
              <a:gd name="T48" fmla="*/ 75 w 108"/>
              <a:gd name="T49" fmla="*/ 85 h 160"/>
              <a:gd name="T50" fmla="*/ 65 w 108"/>
              <a:gd name="T51" fmla="*/ 75 h 160"/>
              <a:gd name="T52" fmla="*/ 83 w 108"/>
              <a:gd name="T53" fmla="*/ 72 h 160"/>
              <a:gd name="T54" fmla="*/ 83 w 108"/>
              <a:gd name="T55" fmla="*/ 88 h 160"/>
              <a:gd name="T56" fmla="*/ 22 w 108"/>
              <a:gd name="T57" fmla="*/ 107 h 160"/>
              <a:gd name="T58" fmla="*/ 19 w 108"/>
              <a:gd name="T59" fmla="*/ 125 h 160"/>
              <a:gd name="T60" fmla="*/ 25 w 108"/>
              <a:gd name="T61" fmla="*/ 99 h 160"/>
              <a:gd name="T62" fmla="*/ 43 w 108"/>
              <a:gd name="T63" fmla="*/ 96 h 160"/>
              <a:gd name="T64" fmla="*/ 43 w 108"/>
              <a:gd name="T65" fmla="*/ 112 h 160"/>
              <a:gd name="T66" fmla="*/ 38 w 108"/>
              <a:gd name="T67" fmla="*/ 107 h 160"/>
              <a:gd name="T68" fmla="*/ 51 w 108"/>
              <a:gd name="T69" fmla="*/ 109 h 160"/>
              <a:gd name="T70" fmla="*/ 33 w 108"/>
              <a:gd name="T71" fmla="*/ 123 h 160"/>
              <a:gd name="T72" fmla="*/ 51 w 108"/>
              <a:gd name="T73" fmla="*/ 120 h 160"/>
              <a:gd name="T74" fmla="*/ 75 w 108"/>
              <a:gd name="T75" fmla="*/ 96 h 160"/>
              <a:gd name="T76" fmla="*/ 62 w 108"/>
              <a:gd name="T77" fmla="*/ 115 h 160"/>
              <a:gd name="T78" fmla="*/ 75 w 108"/>
              <a:gd name="T79" fmla="*/ 117 h 160"/>
              <a:gd name="T80" fmla="*/ 65 w 108"/>
              <a:gd name="T81" fmla="*/ 107 h 160"/>
              <a:gd name="T82" fmla="*/ 83 w 108"/>
              <a:gd name="T83" fmla="*/ 104 h 160"/>
              <a:gd name="T84" fmla="*/ 83 w 108"/>
              <a:gd name="T85" fmla="*/ 120 h 160"/>
              <a:gd name="T86" fmla="*/ 22 w 108"/>
              <a:gd name="T87" fmla="*/ 139 h 160"/>
              <a:gd name="T88" fmla="*/ 27 w 108"/>
              <a:gd name="T89" fmla="*/ 133 h 160"/>
              <a:gd name="T90" fmla="*/ 41 w 108"/>
              <a:gd name="T91" fmla="*/ 131 h 160"/>
              <a:gd name="T92" fmla="*/ 27 w 108"/>
              <a:gd name="T93" fmla="*/ 144 h 160"/>
              <a:gd name="T94" fmla="*/ 35 w 108"/>
              <a:gd name="T95" fmla="*/ 136 h 160"/>
              <a:gd name="T96" fmla="*/ 54 w 108"/>
              <a:gd name="T97" fmla="*/ 139 h 160"/>
              <a:gd name="T98" fmla="*/ 59 w 108"/>
              <a:gd name="T99" fmla="*/ 133 h 160"/>
              <a:gd name="T100" fmla="*/ 73 w 108"/>
              <a:gd name="T101" fmla="*/ 131 h 160"/>
              <a:gd name="T102" fmla="*/ 59 w 108"/>
              <a:gd name="T103" fmla="*/ 144 h 160"/>
              <a:gd name="T104" fmla="*/ 67 w 108"/>
              <a:gd name="T105" fmla="*/ 136 h 160"/>
              <a:gd name="T106" fmla="*/ 86 w 108"/>
              <a:gd name="T107"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160">
                <a:moveTo>
                  <a:pt x="105" y="27"/>
                </a:moveTo>
                <a:cubicBezTo>
                  <a:pt x="104" y="25"/>
                  <a:pt x="102" y="24"/>
                  <a:pt x="99" y="24"/>
                </a:cubicBezTo>
                <a:cubicBezTo>
                  <a:pt x="74" y="20"/>
                  <a:pt x="74" y="20"/>
                  <a:pt x="74" y="20"/>
                </a:cubicBezTo>
                <a:cubicBezTo>
                  <a:pt x="75" y="12"/>
                  <a:pt x="75" y="12"/>
                  <a:pt x="75" y="12"/>
                </a:cubicBezTo>
                <a:cubicBezTo>
                  <a:pt x="76" y="10"/>
                  <a:pt x="75" y="8"/>
                  <a:pt x="74" y="6"/>
                </a:cubicBezTo>
                <a:cubicBezTo>
                  <a:pt x="73" y="4"/>
                  <a:pt x="71" y="3"/>
                  <a:pt x="69" y="3"/>
                </a:cubicBezTo>
                <a:cubicBezTo>
                  <a:pt x="47" y="0"/>
                  <a:pt x="47" y="0"/>
                  <a:pt x="47" y="0"/>
                </a:cubicBezTo>
                <a:cubicBezTo>
                  <a:pt x="45" y="0"/>
                  <a:pt x="43" y="0"/>
                  <a:pt x="42" y="2"/>
                </a:cubicBezTo>
                <a:cubicBezTo>
                  <a:pt x="40" y="3"/>
                  <a:pt x="39" y="5"/>
                  <a:pt x="38" y="7"/>
                </a:cubicBezTo>
                <a:cubicBezTo>
                  <a:pt x="37" y="15"/>
                  <a:pt x="37" y="15"/>
                  <a:pt x="37" y="15"/>
                </a:cubicBezTo>
                <a:cubicBezTo>
                  <a:pt x="12" y="11"/>
                  <a:pt x="12" y="11"/>
                  <a:pt x="12" y="11"/>
                </a:cubicBezTo>
                <a:cubicBezTo>
                  <a:pt x="7" y="11"/>
                  <a:pt x="2" y="14"/>
                  <a:pt x="2" y="19"/>
                </a:cubicBezTo>
                <a:cubicBezTo>
                  <a:pt x="0" y="31"/>
                  <a:pt x="0" y="31"/>
                  <a:pt x="0" y="31"/>
                </a:cubicBezTo>
                <a:cubicBezTo>
                  <a:pt x="22" y="34"/>
                  <a:pt x="22" y="34"/>
                  <a:pt x="22" y="34"/>
                </a:cubicBezTo>
                <a:cubicBezTo>
                  <a:pt x="7" y="50"/>
                  <a:pt x="7" y="50"/>
                  <a:pt x="7" y="50"/>
                </a:cubicBezTo>
                <a:cubicBezTo>
                  <a:pt x="6" y="50"/>
                  <a:pt x="6" y="50"/>
                  <a:pt x="6" y="51"/>
                </a:cubicBezTo>
                <a:cubicBezTo>
                  <a:pt x="3" y="51"/>
                  <a:pt x="3" y="51"/>
                  <a:pt x="3" y="51"/>
                </a:cubicBezTo>
                <a:cubicBezTo>
                  <a:pt x="3" y="150"/>
                  <a:pt x="3" y="150"/>
                  <a:pt x="3" y="150"/>
                </a:cubicBezTo>
                <a:cubicBezTo>
                  <a:pt x="3" y="156"/>
                  <a:pt x="8" y="160"/>
                  <a:pt x="13" y="160"/>
                </a:cubicBezTo>
                <a:cubicBezTo>
                  <a:pt x="89" y="160"/>
                  <a:pt x="89" y="160"/>
                  <a:pt x="89" y="160"/>
                </a:cubicBezTo>
                <a:cubicBezTo>
                  <a:pt x="95" y="160"/>
                  <a:pt x="99" y="156"/>
                  <a:pt x="99" y="150"/>
                </a:cubicBezTo>
                <a:cubicBezTo>
                  <a:pt x="99" y="51"/>
                  <a:pt x="99" y="51"/>
                  <a:pt x="99" y="51"/>
                </a:cubicBezTo>
                <a:cubicBezTo>
                  <a:pt x="86" y="51"/>
                  <a:pt x="86" y="51"/>
                  <a:pt x="86" y="51"/>
                </a:cubicBezTo>
                <a:cubicBezTo>
                  <a:pt x="86" y="43"/>
                  <a:pt x="86" y="43"/>
                  <a:pt x="86" y="43"/>
                </a:cubicBezTo>
                <a:cubicBezTo>
                  <a:pt x="106" y="46"/>
                  <a:pt x="106" y="46"/>
                  <a:pt x="106" y="46"/>
                </a:cubicBezTo>
                <a:cubicBezTo>
                  <a:pt x="107" y="34"/>
                  <a:pt x="107" y="34"/>
                  <a:pt x="107" y="34"/>
                </a:cubicBezTo>
                <a:cubicBezTo>
                  <a:pt x="108" y="32"/>
                  <a:pt x="107" y="29"/>
                  <a:pt x="105" y="27"/>
                </a:cubicBezTo>
                <a:close/>
                <a:moveTo>
                  <a:pt x="44" y="8"/>
                </a:moveTo>
                <a:cubicBezTo>
                  <a:pt x="44" y="7"/>
                  <a:pt x="44" y="6"/>
                  <a:pt x="45" y="6"/>
                </a:cubicBezTo>
                <a:cubicBezTo>
                  <a:pt x="45" y="5"/>
                  <a:pt x="46" y="5"/>
                  <a:pt x="47" y="5"/>
                </a:cubicBezTo>
                <a:cubicBezTo>
                  <a:pt x="68" y="8"/>
                  <a:pt x="68" y="8"/>
                  <a:pt x="68" y="8"/>
                </a:cubicBezTo>
                <a:cubicBezTo>
                  <a:pt x="69" y="8"/>
                  <a:pt x="69" y="9"/>
                  <a:pt x="70" y="9"/>
                </a:cubicBezTo>
                <a:cubicBezTo>
                  <a:pt x="70" y="10"/>
                  <a:pt x="70" y="11"/>
                  <a:pt x="70" y="11"/>
                </a:cubicBezTo>
                <a:cubicBezTo>
                  <a:pt x="69" y="19"/>
                  <a:pt x="69" y="19"/>
                  <a:pt x="69" y="19"/>
                </a:cubicBezTo>
                <a:cubicBezTo>
                  <a:pt x="43" y="16"/>
                  <a:pt x="43" y="16"/>
                  <a:pt x="43" y="16"/>
                </a:cubicBezTo>
                <a:lnTo>
                  <a:pt x="44" y="8"/>
                </a:lnTo>
                <a:close/>
                <a:moveTo>
                  <a:pt x="23" y="41"/>
                </a:moveTo>
                <a:cubicBezTo>
                  <a:pt x="33" y="51"/>
                  <a:pt x="33" y="51"/>
                  <a:pt x="33" y="51"/>
                </a:cubicBezTo>
                <a:cubicBezTo>
                  <a:pt x="13" y="51"/>
                  <a:pt x="13" y="51"/>
                  <a:pt x="13" y="51"/>
                </a:cubicBezTo>
                <a:lnTo>
                  <a:pt x="23" y="41"/>
                </a:lnTo>
                <a:close/>
                <a:moveTo>
                  <a:pt x="67" y="43"/>
                </a:moveTo>
                <a:cubicBezTo>
                  <a:pt x="67" y="51"/>
                  <a:pt x="67" y="51"/>
                  <a:pt x="67" y="51"/>
                </a:cubicBezTo>
                <a:cubicBezTo>
                  <a:pt x="65" y="51"/>
                  <a:pt x="65" y="51"/>
                  <a:pt x="65" y="51"/>
                </a:cubicBezTo>
                <a:cubicBezTo>
                  <a:pt x="65" y="43"/>
                  <a:pt x="65" y="43"/>
                  <a:pt x="65" y="43"/>
                </a:cubicBezTo>
                <a:cubicBezTo>
                  <a:pt x="38" y="43"/>
                  <a:pt x="38" y="43"/>
                  <a:pt x="38" y="43"/>
                </a:cubicBezTo>
                <a:cubicBezTo>
                  <a:pt x="38" y="49"/>
                  <a:pt x="38" y="49"/>
                  <a:pt x="38" y="49"/>
                </a:cubicBezTo>
                <a:cubicBezTo>
                  <a:pt x="24" y="34"/>
                  <a:pt x="24" y="34"/>
                  <a:pt x="24" y="34"/>
                </a:cubicBezTo>
                <a:cubicBezTo>
                  <a:pt x="82" y="43"/>
                  <a:pt x="82" y="43"/>
                  <a:pt x="82" y="43"/>
                </a:cubicBezTo>
                <a:lnTo>
                  <a:pt x="67" y="43"/>
                </a:lnTo>
                <a:close/>
                <a:moveTo>
                  <a:pt x="81" y="48"/>
                </a:moveTo>
                <a:cubicBezTo>
                  <a:pt x="81" y="51"/>
                  <a:pt x="81" y="51"/>
                  <a:pt x="81" y="51"/>
                </a:cubicBezTo>
                <a:cubicBezTo>
                  <a:pt x="73" y="51"/>
                  <a:pt x="73" y="51"/>
                  <a:pt x="73" y="51"/>
                </a:cubicBezTo>
                <a:cubicBezTo>
                  <a:pt x="73" y="48"/>
                  <a:pt x="73" y="48"/>
                  <a:pt x="73" y="48"/>
                </a:cubicBezTo>
                <a:lnTo>
                  <a:pt x="81" y="48"/>
                </a:lnTo>
                <a:close/>
                <a:moveTo>
                  <a:pt x="59" y="48"/>
                </a:moveTo>
                <a:cubicBezTo>
                  <a:pt x="59" y="51"/>
                  <a:pt x="59" y="51"/>
                  <a:pt x="59" y="51"/>
                </a:cubicBezTo>
                <a:cubicBezTo>
                  <a:pt x="43" y="51"/>
                  <a:pt x="43" y="51"/>
                  <a:pt x="43" y="51"/>
                </a:cubicBezTo>
                <a:cubicBezTo>
                  <a:pt x="43" y="48"/>
                  <a:pt x="43" y="48"/>
                  <a:pt x="43" y="48"/>
                </a:cubicBezTo>
                <a:lnTo>
                  <a:pt x="59" y="48"/>
                </a:lnTo>
                <a:close/>
                <a:moveTo>
                  <a:pt x="94" y="56"/>
                </a:moveTo>
                <a:cubicBezTo>
                  <a:pt x="94" y="150"/>
                  <a:pt x="94" y="150"/>
                  <a:pt x="94" y="150"/>
                </a:cubicBezTo>
                <a:cubicBezTo>
                  <a:pt x="94" y="153"/>
                  <a:pt x="92" y="155"/>
                  <a:pt x="89" y="155"/>
                </a:cubicBezTo>
                <a:cubicBezTo>
                  <a:pt x="13" y="155"/>
                  <a:pt x="13" y="155"/>
                  <a:pt x="13" y="155"/>
                </a:cubicBezTo>
                <a:cubicBezTo>
                  <a:pt x="11" y="155"/>
                  <a:pt x="9" y="153"/>
                  <a:pt x="9" y="150"/>
                </a:cubicBezTo>
                <a:cubicBezTo>
                  <a:pt x="9" y="56"/>
                  <a:pt x="9" y="56"/>
                  <a:pt x="9" y="56"/>
                </a:cubicBezTo>
                <a:cubicBezTo>
                  <a:pt x="38" y="56"/>
                  <a:pt x="38" y="56"/>
                  <a:pt x="38" y="56"/>
                </a:cubicBezTo>
                <a:cubicBezTo>
                  <a:pt x="38" y="56"/>
                  <a:pt x="38" y="56"/>
                  <a:pt x="38" y="56"/>
                </a:cubicBezTo>
                <a:cubicBezTo>
                  <a:pt x="65" y="56"/>
                  <a:pt x="65" y="56"/>
                  <a:pt x="65" y="56"/>
                </a:cubicBezTo>
                <a:cubicBezTo>
                  <a:pt x="67" y="56"/>
                  <a:pt x="67" y="56"/>
                  <a:pt x="67" y="56"/>
                </a:cubicBezTo>
                <a:cubicBezTo>
                  <a:pt x="86" y="56"/>
                  <a:pt x="86" y="56"/>
                  <a:pt x="86" y="56"/>
                </a:cubicBezTo>
                <a:lnTo>
                  <a:pt x="94" y="56"/>
                </a:lnTo>
                <a:close/>
                <a:moveTo>
                  <a:pt x="102" y="33"/>
                </a:moveTo>
                <a:cubicBezTo>
                  <a:pt x="101" y="40"/>
                  <a:pt x="101" y="40"/>
                  <a:pt x="101" y="40"/>
                </a:cubicBezTo>
                <a:cubicBezTo>
                  <a:pt x="6" y="27"/>
                  <a:pt x="6" y="27"/>
                  <a:pt x="6" y="27"/>
                </a:cubicBezTo>
                <a:cubicBezTo>
                  <a:pt x="7" y="20"/>
                  <a:pt x="7" y="20"/>
                  <a:pt x="7" y="20"/>
                </a:cubicBezTo>
                <a:cubicBezTo>
                  <a:pt x="7" y="18"/>
                  <a:pt x="9" y="16"/>
                  <a:pt x="12" y="17"/>
                </a:cubicBezTo>
                <a:cubicBezTo>
                  <a:pt x="37" y="20"/>
                  <a:pt x="37" y="20"/>
                  <a:pt x="37" y="20"/>
                </a:cubicBezTo>
                <a:cubicBezTo>
                  <a:pt x="37" y="20"/>
                  <a:pt x="37" y="20"/>
                  <a:pt x="37" y="20"/>
                </a:cubicBezTo>
                <a:cubicBezTo>
                  <a:pt x="59" y="23"/>
                  <a:pt x="59" y="23"/>
                  <a:pt x="59" y="23"/>
                </a:cubicBezTo>
                <a:cubicBezTo>
                  <a:pt x="98" y="29"/>
                  <a:pt x="98" y="29"/>
                  <a:pt x="98" y="29"/>
                </a:cubicBezTo>
                <a:cubicBezTo>
                  <a:pt x="100" y="29"/>
                  <a:pt x="101" y="30"/>
                  <a:pt x="101" y="30"/>
                </a:cubicBezTo>
                <a:cubicBezTo>
                  <a:pt x="102" y="31"/>
                  <a:pt x="102" y="32"/>
                  <a:pt x="102" y="33"/>
                </a:cubicBezTo>
                <a:close/>
                <a:moveTo>
                  <a:pt x="19" y="72"/>
                </a:moveTo>
                <a:cubicBezTo>
                  <a:pt x="21" y="72"/>
                  <a:pt x="22" y="73"/>
                  <a:pt x="22" y="75"/>
                </a:cubicBezTo>
                <a:cubicBezTo>
                  <a:pt x="22" y="76"/>
                  <a:pt x="21" y="77"/>
                  <a:pt x="19" y="77"/>
                </a:cubicBezTo>
                <a:cubicBezTo>
                  <a:pt x="18" y="77"/>
                  <a:pt x="17" y="76"/>
                  <a:pt x="17" y="75"/>
                </a:cubicBezTo>
                <a:cubicBezTo>
                  <a:pt x="17" y="73"/>
                  <a:pt x="18" y="72"/>
                  <a:pt x="19" y="72"/>
                </a:cubicBezTo>
                <a:close/>
                <a:moveTo>
                  <a:pt x="19" y="88"/>
                </a:moveTo>
                <a:cubicBezTo>
                  <a:pt x="21" y="88"/>
                  <a:pt x="22" y="89"/>
                  <a:pt x="22" y="91"/>
                </a:cubicBezTo>
                <a:cubicBezTo>
                  <a:pt x="22" y="92"/>
                  <a:pt x="21" y="93"/>
                  <a:pt x="19" y="93"/>
                </a:cubicBezTo>
                <a:cubicBezTo>
                  <a:pt x="18" y="93"/>
                  <a:pt x="17" y="92"/>
                  <a:pt x="17" y="91"/>
                </a:cubicBezTo>
                <a:cubicBezTo>
                  <a:pt x="17" y="89"/>
                  <a:pt x="18" y="88"/>
                  <a:pt x="19" y="88"/>
                </a:cubicBezTo>
                <a:close/>
                <a:moveTo>
                  <a:pt x="27" y="64"/>
                </a:moveTo>
                <a:cubicBezTo>
                  <a:pt x="29" y="64"/>
                  <a:pt x="30" y="65"/>
                  <a:pt x="30" y="67"/>
                </a:cubicBezTo>
                <a:cubicBezTo>
                  <a:pt x="30" y="68"/>
                  <a:pt x="29" y="69"/>
                  <a:pt x="27" y="69"/>
                </a:cubicBezTo>
                <a:cubicBezTo>
                  <a:pt x="26" y="69"/>
                  <a:pt x="25" y="68"/>
                  <a:pt x="25" y="67"/>
                </a:cubicBezTo>
                <a:cubicBezTo>
                  <a:pt x="25" y="65"/>
                  <a:pt x="26" y="64"/>
                  <a:pt x="27" y="64"/>
                </a:cubicBezTo>
                <a:close/>
                <a:moveTo>
                  <a:pt x="43" y="64"/>
                </a:moveTo>
                <a:cubicBezTo>
                  <a:pt x="45" y="64"/>
                  <a:pt x="46" y="65"/>
                  <a:pt x="46" y="67"/>
                </a:cubicBezTo>
                <a:cubicBezTo>
                  <a:pt x="46" y="68"/>
                  <a:pt x="45" y="69"/>
                  <a:pt x="43" y="69"/>
                </a:cubicBezTo>
                <a:cubicBezTo>
                  <a:pt x="42" y="69"/>
                  <a:pt x="41" y="68"/>
                  <a:pt x="41" y="67"/>
                </a:cubicBezTo>
                <a:cubicBezTo>
                  <a:pt x="41" y="65"/>
                  <a:pt x="42" y="64"/>
                  <a:pt x="43" y="64"/>
                </a:cubicBezTo>
                <a:close/>
                <a:moveTo>
                  <a:pt x="27" y="80"/>
                </a:moveTo>
                <a:cubicBezTo>
                  <a:pt x="29" y="80"/>
                  <a:pt x="30" y="81"/>
                  <a:pt x="30" y="83"/>
                </a:cubicBezTo>
                <a:cubicBezTo>
                  <a:pt x="30" y="84"/>
                  <a:pt x="29" y="85"/>
                  <a:pt x="27" y="85"/>
                </a:cubicBezTo>
                <a:cubicBezTo>
                  <a:pt x="26" y="85"/>
                  <a:pt x="25" y="84"/>
                  <a:pt x="25" y="83"/>
                </a:cubicBezTo>
                <a:cubicBezTo>
                  <a:pt x="25" y="81"/>
                  <a:pt x="26" y="80"/>
                  <a:pt x="27" y="80"/>
                </a:cubicBezTo>
                <a:close/>
                <a:moveTo>
                  <a:pt x="43" y="80"/>
                </a:moveTo>
                <a:cubicBezTo>
                  <a:pt x="45" y="80"/>
                  <a:pt x="46" y="81"/>
                  <a:pt x="46" y="83"/>
                </a:cubicBezTo>
                <a:cubicBezTo>
                  <a:pt x="46" y="84"/>
                  <a:pt x="45" y="85"/>
                  <a:pt x="43" y="85"/>
                </a:cubicBezTo>
                <a:cubicBezTo>
                  <a:pt x="42" y="85"/>
                  <a:pt x="41" y="84"/>
                  <a:pt x="41" y="83"/>
                </a:cubicBezTo>
                <a:cubicBezTo>
                  <a:pt x="41" y="81"/>
                  <a:pt x="42" y="80"/>
                  <a:pt x="43" y="80"/>
                </a:cubicBezTo>
                <a:close/>
                <a:moveTo>
                  <a:pt x="35" y="72"/>
                </a:moveTo>
                <a:cubicBezTo>
                  <a:pt x="37" y="72"/>
                  <a:pt x="38" y="73"/>
                  <a:pt x="38" y="75"/>
                </a:cubicBezTo>
                <a:cubicBezTo>
                  <a:pt x="38" y="76"/>
                  <a:pt x="37" y="77"/>
                  <a:pt x="35" y="77"/>
                </a:cubicBezTo>
                <a:cubicBezTo>
                  <a:pt x="34" y="77"/>
                  <a:pt x="33" y="76"/>
                  <a:pt x="33" y="75"/>
                </a:cubicBezTo>
                <a:cubicBezTo>
                  <a:pt x="33" y="73"/>
                  <a:pt x="34" y="72"/>
                  <a:pt x="35" y="72"/>
                </a:cubicBezTo>
                <a:close/>
                <a:moveTo>
                  <a:pt x="51" y="72"/>
                </a:moveTo>
                <a:cubicBezTo>
                  <a:pt x="53" y="72"/>
                  <a:pt x="54" y="73"/>
                  <a:pt x="54" y="75"/>
                </a:cubicBezTo>
                <a:cubicBezTo>
                  <a:pt x="54" y="76"/>
                  <a:pt x="53" y="77"/>
                  <a:pt x="51" y="77"/>
                </a:cubicBezTo>
                <a:cubicBezTo>
                  <a:pt x="50" y="77"/>
                  <a:pt x="49" y="76"/>
                  <a:pt x="49" y="75"/>
                </a:cubicBezTo>
                <a:cubicBezTo>
                  <a:pt x="49" y="73"/>
                  <a:pt x="50" y="72"/>
                  <a:pt x="51" y="72"/>
                </a:cubicBezTo>
                <a:close/>
                <a:moveTo>
                  <a:pt x="35" y="88"/>
                </a:moveTo>
                <a:cubicBezTo>
                  <a:pt x="37" y="88"/>
                  <a:pt x="38" y="89"/>
                  <a:pt x="38" y="91"/>
                </a:cubicBezTo>
                <a:cubicBezTo>
                  <a:pt x="38" y="92"/>
                  <a:pt x="37" y="93"/>
                  <a:pt x="35" y="93"/>
                </a:cubicBezTo>
                <a:cubicBezTo>
                  <a:pt x="34" y="93"/>
                  <a:pt x="33" y="92"/>
                  <a:pt x="33" y="91"/>
                </a:cubicBezTo>
                <a:cubicBezTo>
                  <a:pt x="33" y="89"/>
                  <a:pt x="34" y="88"/>
                  <a:pt x="35" y="88"/>
                </a:cubicBezTo>
                <a:close/>
                <a:moveTo>
                  <a:pt x="51" y="88"/>
                </a:moveTo>
                <a:cubicBezTo>
                  <a:pt x="53" y="88"/>
                  <a:pt x="54" y="89"/>
                  <a:pt x="54" y="91"/>
                </a:cubicBezTo>
                <a:cubicBezTo>
                  <a:pt x="54" y="92"/>
                  <a:pt x="53" y="93"/>
                  <a:pt x="51" y="93"/>
                </a:cubicBezTo>
                <a:cubicBezTo>
                  <a:pt x="50" y="93"/>
                  <a:pt x="49" y="92"/>
                  <a:pt x="49" y="91"/>
                </a:cubicBezTo>
                <a:cubicBezTo>
                  <a:pt x="49" y="89"/>
                  <a:pt x="50" y="88"/>
                  <a:pt x="51" y="88"/>
                </a:cubicBezTo>
                <a:close/>
                <a:moveTo>
                  <a:pt x="59" y="64"/>
                </a:moveTo>
                <a:cubicBezTo>
                  <a:pt x="61" y="64"/>
                  <a:pt x="62" y="65"/>
                  <a:pt x="62" y="67"/>
                </a:cubicBezTo>
                <a:cubicBezTo>
                  <a:pt x="62" y="68"/>
                  <a:pt x="61" y="69"/>
                  <a:pt x="59" y="69"/>
                </a:cubicBezTo>
                <a:cubicBezTo>
                  <a:pt x="58" y="69"/>
                  <a:pt x="57" y="68"/>
                  <a:pt x="57" y="67"/>
                </a:cubicBezTo>
                <a:cubicBezTo>
                  <a:pt x="57" y="65"/>
                  <a:pt x="58" y="64"/>
                  <a:pt x="59" y="64"/>
                </a:cubicBezTo>
                <a:close/>
                <a:moveTo>
                  <a:pt x="75" y="64"/>
                </a:moveTo>
                <a:cubicBezTo>
                  <a:pt x="77" y="64"/>
                  <a:pt x="78" y="65"/>
                  <a:pt x="78" y="67"/>
                </a:cubicBezTo>
                <a:cubicBezTo>
                  <a:pt x="78" y="68"/>
                  <a:pt x="77" y="69"/>
                  <a:pt x="75" y="69"/>
                </a:cubicBezTo>
                <a:cubicBezTo>
                  <a:pt x="74" y="69"/>
                  <a:pt x="73" y="68"/>
                  <a:pt x="73" y="67"/>
                </a:cubicBezTo>
                <a:cubicBezTo>
                  <a:pt x="73" y="65"/>
                  <a:pt x="74" y="64"/>
                  <a:pt x="75" y="64"/>
                </a:cubicBezTo>
                <a:close/>
                <a:moveTo>
                  <a:pt x="59" y="80"/>
                </a:moveTo>
                <a:cubicBezTo>
                  <a:pt x="61" y="80"/>
                  <a:pt x="62" y="81"/>
                  <a:pt x="62" y="83"/>
                </a:cubicBezTo>
                <a:cubicBezTo>
                  <a:pt x="62" y="84"/>
                  <a:pt x="61" y="85"/>
                  <a:pt x="59" y="85"/>
                </a:cubicBezTo>
                <a:cubicBezTo>
                  <a:pt x="58" y="85"/>
                  <a:pt x="57" y="84"/>
                  <a:pt x="57" y="83"/>
                </a:cubicBezTo>
                <a:cubicBezTo>
                  <a:pt x="57" y="81"/>
                  <a:pt x="58" y="80"/>
                  <a:pt x="59" y="80"/>
                </a:cubicBezTo>
                <a:close/>
                <a:moveTo>
                  <a:pt x="75" y="80"/>
                </a:moveTo>
                <a:cubicBezTo>
                  <a:pt x="77" y="80"/>
                  <a:pt x="78" y="81"/>
                  <a:pt x="78" y="83"/>
                </a:cubicBezTo>
                <a:cubicBezTo>
                  <a:pt x="78" y="84"/>
                  <a:pt x="77" y="85"/>
                  <a:pt x="75" y="85"/>
                </a:cubicBezTo>
                <a:cubicBezTo>
                  <a:pt x="74" y="85"/>
                  <a:pt x="73" y="84"/>
                  <a:pt x="73" y="83"/>
                </a:cubicBezTo>
                <a:cubicBezTo>
                  <a:pt x="73" y="81"/>
                  <a:pt x="74" y="80"/>
                  <a:pt x="75" y="80"/>
                </a:cubicBezTo>
                <a:close/>
                <a:moveTo>
                  <a:pt x="67" y="72"/>
                </a:moveTo>
                <a:cubicBezTo>
                  <a:pt x="69" y="72"/>
                  <a:pt x="70" y="73"/>
                  <a:pt x="70" y="75"/>
                </a:cubicBezTo>
                <a:cubicBezTo>
                  <a:pt x="70" y="76"/>
                  <a:pt x="69" y="77"/>
                  <a:pt x="67" y="77"/>
                </a:cubicBezTo>
                <a:cubicBezTo>
                  <a:pt x="66" y="77"/>
                  <a:pt x="65" y="76"/>
                  <a:pt x="65" y="75"/>
                </a:cubicBezTo>
                <a:cubicBezTo>
                  <a:pt x="65" y="73"/>
                  <a:pt x="66" y="72"/>
                  <a:pt x="67" y="72"/>
                </a:cubicBezTo>
                <a:close/>
                <a:moveTo>
                  <a:pt x="83" y="72"/>
                </a:moveTo>
                <a:cubicBezTo>
                  <a:pt x="85" y="72"/>
                  <a:pt x="86" y="73"/>
                  <a:pt x="86" y="75"/>
                </a:cubicBezTo>
                <a:cubicBezTo>
                  <a:pt x="86" y="76"/>
                  <a:pt x="85" y="77"/>
                  <a:pt x="83" y="77"/>
                </a:cubicBezTo>
                <a:cubicBezTo>
                  <a:pt x="82" y="77"/>
                  <a:pt x="81" y="76"/>
                  <a:pt x="81" y="75"/>
                </a:cubicBezTo>
                <a:cubicBezTo>
                  <a:pt x="81" y="73"/>
                  <a:pt x="82" y="72"/>
                  <a:pt x="83" y="72"/>
                </a:cubicBezTo>
                <a:close/>
                <a:moveTo>
                  <a:pt x="67" y="88"/>
                </a:moveTo>
                <a:cubicBezTo>
                  <a:pt x="69" y="88"/>
                  <a:pt x="70" y="89"/>
                  <a:pt x="70" y="91"/>
                </a:cubicBezTo>
                <a:cubicBezTo>
                  <a:pt x="70" y="92"/>
                  <a:pt x="69" y="93"/>
                  <a:pt x="67" y="93"/>
                </a:cubicBezTo>
                <a:cubicBezTo>
                  <a:pt x="66" y="93"/>
                  <a:pt x="65" y="92"/>
                  <a:pt x="65" y="91"/>
                </a:cubicBezTo>
                <a:cubicBezTo>
                  <a:pt x="65" y="89"/>
                  <a:pt x="66" y="88"/>
                  <a:pt x="67" y="88"/>
                </a:cubicBezTo>
                <a:close/>
                <a:moveTo>
                  <a:pt x="83" y="88"/>
                </a:moveTo>
                <a:cubicBezTo>
                  <a:pt x="85" y="88"/>
                  <a:pt x="86" y="89"/>
                  <a:pt x="86" y="91"/>
                </a:cubicBezTo>
                <a:cubicBezTo>
                  <a:pt x="86" y="92"/>
                  <a:pt x="85" y="93"/>
                  <a:pt x="83" y="93"/>
                </a:cubicBezTo>
                <a:cubicBezTo>
                  <a:pt x="82" y="93"/>
                  <a:pt x="81" y="92"/>
                  <a:pt x="81" y="91"/>
                </a:cubicBezTo>
                <a:cubicBezTo>
                  <a:pt x="81" y="89"/>
                  <a:pt x="82" y="88"/>
                  <a:pt x="83" y="88"/>
                </a:cubicBezTo>
                <a:close/>
                <a:moveTo>
                  <a:pt x="19" y="104"/>
                </a:moveTo>
                <a:cubicBezTo>
                  <a:pt x="21" y="104"/>
                  <a:pt x="22" y="105"/>
                  <a:pt x="22" y="107"/>
                </a:cubicBezTo>
                <a:cubicBezTo>
                  <a:pt x="22" y="108"/>
                  <a:pt x="21" y="109"/>
                  <a:pt x="19" y="109"/>
                </a:cubicBezTo>
                <a:cubicBezTo>
                  <a:pt x="18" y="109"/>
                  <a:pt x="17" y="108"/>
                  <a:pt x="17" y="107"/>
                </a:cubicBezTo>
                <a:cubicBezTo>
                  <a:pt x="17" y="105"/>
                  <a:pt x="18" y="104"/>
                  <a:pt x="19" y="104"/>
                </a:cubicBezTo>
                <a:close/>
                <a:moveTo>
                  <a:pt x="19" y="120"/>
                </a:moveTo>
                <a:cubicBezTo>
                  <a:pt x="21" y="120"/>
                  <a:pt x="22" y="121"/>
                  <a:pt x="22" y="123"/>
                </a:cubicBezTo>
                <a:cubicBezTo>
                  <a:pt x="22" y="124"/>
                  <a:pt x="21" y="125"/>
                  <a:pt x="19" y="125"/>
                </a:cubicBezTo>
                <a:cubicBezTo>
                  <a:pt x="18" y="125"/>
                  <a:pt x="17" y="124"/>
                  <a:pt x="17" y="123"/>
                </a:cubicBezTo>
                <a:cubicBezTo>
                  <a:pt x="17" y="121"/>
                  <a:pt x="18" y="120"/>
                  <a:pt x="19" y="120"/>
                </a:cubicBezTo>
                <a:close/>
                <a:moveTo>
                  <a:pt x="27" y="96"/>
                </a:moveTo>
                <a:cubicBezTo>
                  <a:pt x="29" y="96"/>
                  <a:pt x="30" y="97"/>
                  <a:pt x="30" y="99"/>
                </a:cubicBezTo>
                <a:cubicBezTo>
                  <a:pt x="30" y="100"/>
                  <a:pt x="29" y="101"/>
                  <a:pt x="27" y="101"/>
                </a:cubicBezTo>
                <a:cubicBezTo>
                  <a:pt x="26" y="101"/>
                  <a:pt x="25" y="100"/>
                  <a:pt x="25" y="99"/>
                </a:cubicBezTo>
                <a:cubicBezTo>
                  <a:pt x="25" y="97"/>
                  <a:pt x="26" y="96"/>
                  <a:pt x="27" y="96"/>
                </a:cubicBezTo>
                <a:close/>
                <a:moveTo>
                  <a:pt x="43" y="96"/>
                </a:moveTo>
                <a:cubicBezTo>
                  <a:pt x="45" y="96"/>
                  <a:pt x="46" y="97"/>
                  <a:pt x="46" y="99"/>
                </a:cubicBezTo>
                <a:cubicBezTo>
                  <a:pt x="46" y="100"/>
                  <a:pt x="45" y="101"/>
                  <a:pt x="43" y="101"/>
                </a:cubicBezTo>
                <a:cubicBezTo>
                  <a:pt x="42" y="101"/>
                  <a:pt x="41" y="100"/>
                  <a:pt x="41" y="99"/>
                </a:cubicBezTo>
                <a:cubicBezTo>
                  <a:pt x="41" y="97"/>
                  <a:pt x="42" y="96"/>
                  <a:pt x="43" y="96"/>
                </a:cubicBezTo>
                <a:close/>
                <a:moveTo>
                  <a:pt x="27" y="112"/>
                </a:moveTo>
                <a:cubicBezTo>
                  <a:pt x="29" y="112"/>
                  <a:pt x="30" y="113"/>
                  <a:pt x="30" y="115"/>
                </a:cubicBezTo>
                <a:cubicBezTo>
                  <a:pt x="30" y="116"/>
                  <a:pt x="29" y="117"/>
                  <a:pt x="27" y="117"/>
                </a:cubicBezTo>
                <a:cubicBezTo>
                  <a:pt x="26" y="117"/>
                  <a:pt x="25" y="116"/>
                  <a:pt x="25" y="115"/>
                </a:cubicBezTo>
                <a:cubicBezTo>
                  <a:pt x="25" y="113"/>
                  <a:pt x="26" y="112"/>
                  <a:pt x="27" y="112"/>
                </a:cubicBezTo>
                <a:close/>
                <a:moveTo>
                  <a:pt x="43" y="112"/>
                </a:moveTo>
                <a:cubicBezTo>
                  <a:pt x="45" y="112"/>
                  <a:pt x="46" y="113"/>
                  <a:pt x="46" y="115"/>
                </a:cubicBezTo>
                <a:cubicBezTo>
                  <a:pt x="46" y="116"/>
                  <a:pt x="45" y="117"/>
                  <a:pt x="43" y="117"/>
                </a:cubicBezTo>
                <a:cubicBezTo>
                  <a:pt x="42" y="117"/>
                  <a:pt x="41" y="116"/>
                  <a:pt x="41" y="115"/>
                </a:cubicBezTo>
                <a:cubicBezTo>
                  <a:pt x="41" y="113"/>
                  <a:pt x="42" y="112"/>
                  <a:pt x="43" y="112"/>
                </a:cubicBezTo>
                <a:close/>
                <a:moveTo>
                  <a:pt x="35" y="104"/>
                </a:moveTo>
                <a:cubicBezTo>
                  <a:pt x="37" y="104"/>
                  <a:pt x="38" y="105"/>
                  <a:pt x="38" y="107"/>
                </a:cubicBezTo>
                <a:cubicBezTo>
                  <a:pt x="38" y="108"/>
                  <a:pt x="37" y="109"/>
                  <a:pt x="35" y="109"/>
                </a:cubicBezTo>
                <a:cubicBezTo>
                  <a:pt x="34" y="109"/>
                  <a:pt x="33" y="108"/>
                  <a:pt x="33" y="107"/>
                </a:cubicBezTo>
                <a:cubicBezTo>
                  <a:pt x="33" y="105"/>
                  <a:pt x="34" y="104"/>
                  <a:pt x="35" y="104"/>
                </a:cubicBezTo>
                <a:close/>
                <a:moveTo>
                  <a:pt x="51" y="104"/>
                </a:moveTo>
                <a:cubicBezTo>
                  <a:pt x="53" y="104"/>
                  <a:pt x="54" y="105"/>
                  <a:pt x="54" y="107"/>
                </a:cubicBezTo>
                <a:cubicBezTo>
                  <a:pt x="54" y="108"/>
                  <a:pt x="53" y="109"/>
                  <a:pt x="51" y="109"/>
                </a:cubicBezTo>
                <a:cubicBezTo>
                  <a:pt x="50" y="109"/>
                  <a:pt x="49" y="108"/>
                  <a:pt x="49" y="107"/>
                </a:cubicBezTo>
                <a:cubicBezTo>
                  <a:pt x="49" y="105"/>
                  <a:pt x="50" y="104"/>
                  <a:pt x="51" y="104"/>
                </a:cubicBezTo>
                <a:close/>
                <a:moveTo>
                  <a:pt x="35" y="120"/>
                </a:moveTo>
                <a:cubicBezTo>
                  <a:pt x="37" y="120"/>
                  <a:pt x="38" y="121"/>
                  <a:pt x="38" y="123"/>
                </a:cubicBezTo>
                <a:cubicBezTo>
                  <a:pt x="38" y="124"/>
                  <a:pt x="37" y="125"/>
                  <a:pt x="35" y="125"/>
                </a:cubicBezTo>
                <a:cubicBezTo>
                  <a:pt x="34" y="125"/>
                  <a:pt x="33" y="124"/>
                  <a:pt x="33" y="123"/>
                </a:cubicBezTo>
                <a:cubicBezTo>
                  <a:pt x="33" y="121"/>
                  <a:pt x="34" y="120"/>
                  <a:pt x="35" y="120"/>
                </a:cubicBezTo>
                <a:close/>
                <a:moveTo>
                  <a:pt x="51" y="120"/>
                </a:moveTo>
                <a:cubicBezTo>
                  <a:pt x="53" y="120"/>
                  <a:pt x="54" y="121"/>
                  <a:pt x="54" y="123"/>
                </a:cubicBezTo>
                <a:cubicBezTo>
                  <a:pt x="54" y="124"/>
                  <a:pt x="53" y="125"/>
                  <a:pt x="51" y="125"/>
                </a:cubicBezTo>
                <a:cubicBezTo>
                  <a:pt x="50" y="125"/>
                  <a:pt x="49" y="124"/>
                  <a:pt x="49" y="123"/>
                </a:cubicBezTo>
                <a:cubicBezTo>
                  <a:pt x="49" y="121"/>
                  <a:pt x="50" y="120"/>
                  <a:pt x="51" y="120"/>
                </a:cubicBezTo>
                <a:close/>
                <a:moveTo>
                  <a:pt x="59" y="96"/>
                </a:moveTo>
                <a:cubicBezTo>
                  <a:pt x="61" y="96"/>
                  <a:pt x="62" y="97"/>
                  <a:pt x="62" y="99"/>
                </a:cubicBezTo>
                <a:cubicBezTo>
                  <a:pt x="62" y="100"/>
                  <a:pt x="61" y="101"/>
                  <a:pt x="59" y="101"/>
                </a:cubicBezTo>
                <a:cubicBezTo>
                  <a:pt x="58" y="101"/>
                  <a:pt x="57" y="100"/>
                  <a:pt x="57" y="99"/>
                </a:cubicBezTo>
                <a:cubicBezTo>
                  <a:pt x="57" y="97"/>
                  <a:pt x="58" y="96"/>
                  <a:pt x="59" y="96"/>
                </a:cubicBezTo>
                <a:close/>
                <a:moveTo>
                  <a:pt x="75" y="96"/>
                </a:moveTo>
                <a:cubicBezTo>
                  <a:pt x="77" y="96"/>
                  <a:pt x="78" y="97"/>
                  <a:pt x="78" y="99"/>
                </a:cubicBezTo>
                <a:cubicBezTo>
                  <a:pt x="78" y="100"/>
                  <a:pt x="77" y="101"/>
                  <a:pt x="75" y="101"/>
                </a:cubicBezTo>
                <a:cubicBezTo>
                  <a:pt x="74" y="101"/>
                  <a:pt x="73" y="100"/>
                  <a:pt x="73" y="99"/>
                </a:cubicBezTo>
                <a:cubicBezTo>
                  <a:pt x="73" y="97"/>
                  <a:pt x="74" y="96"/>
                  <a:pt x="75" y="96"/>
                </a:cubicBezTo>
                <a:close/>
                <a:moveTo>
                  <a:pt x="59" y="112"/>
                </a:moveTo>
                <a:cubicBezTo>
                  <a:pt x="61" y="112"/>
                  <a:pt x="62" y="113"/>
                  <a:pt x="62" y="115"/>
                </a:cubicBezTo>
                <a:cubicBezTo>
                  <a:pt x="62" y="116"/>
                  <a:pt x="61" y="117"/>
                  <a:pt x="59" y="117"/>
                </a:cubicBezTo>
                <a:cubicBezTo>
                  <a:pt x="58" y="117"/>
                  <a:pt x="57" y="116"/>
                  <a:pt x="57" y="115"/>
                </a:cubicBezTo>
                <a:cubicBezTo>
                  <a:pt x="57" y="113"/>
                  <a:pt x="58" y="112"/>
                  <a:pt x="59" y="112"/>
                </a:cubicBezTo>
                <a:close/>
                <a:moveTo>
                  <a:pt x="75" y="112"/>
                </a:moveTo>
                <a:cubicBezTo>
                  <a:pt x="77" y="112"/>
                  <a:pt x="78" y="113"/>
                  <a:pt x="78" y="115"/>
                </a:cubicBezTo>
                <a:cubicBezTo>
                  <a:pt x="78" y="116"/>
                  <a:pt x="77" y="117"/>
                  <a:pt x="75" y="117"/>
                </a:cubicBezTo>
                <a:cubicBezTo>
                  <a:pt x="74" y="117"/>
                  <a:pt x="73" y="116"/>
                  <a:pt x="73" y="115"/>
                </a:cubicBezTo>
                <a:cubicBezTo>
                  <a:pt x="73" y="113"/>
                  <a:pt x="74" y="112"/>
                  <a:pt x="75" y="112"/>
                </a:cubicBezTo>
                <a:close/>
                <a:moveTo>
                  <a:pt x="67" y="104"/>
                </a:moveTo>
                <a:cubicBezTo>
                  <a:pt x="69" y="104"/>
                  <a:pt x="70" y="105"/>
                  <a:pt x="70" y="107"/>
                </a:cubicBezTo>
                <a:cubicBezTo>
                  <a:pt x="70" y="108"/>
                  <a:pt x="69" y="109"/>
                  <a:pt x="67" y="109"/>
                </a:cubicBezTo>
                <a:cubicBezTo>
                  <a:pt x="66" y="109"/>
                  <a:pt x="65" y="108"/>
                  <a:pt x="65" y="107"/>
                </a:cubicBezTo>
                <a:cubicBezTo>
                  <a:pt x="65" y="105"/>
                  <a:pt x="66" y="104"/>
                  <a:pt x="67" y="104"/>
                </a:cubicBezTo>
                <a:close/>
                <a:moveTo>
                  <a:pt x="83" y="104"/>
                </a:moveTo>
                <a:cubicBezTo>
                  <a:pt x="85" y="104"/>
                  <a:pt x="86" y="105"/>
                  <a:pt x="86" y="107"/>
                </a:cubicBezTo>
                <a:cubicBezTo>
                  <a:pt x="86" y="108"/>
                  <a:pt x="85" y="109"/>
                  <a:pt x="83" y="109"/>
                </a:cubicBezTo>
                <a:cubicBezTo>
                  <a:pt x="82" y="109"/>
                  <a:pt x="81" y="108"/>
                  <a:pt x="81" y="107"/>
                </a:cubicBezTo>
                <a:cubicBezTo>
                  <a:pt x="81" y="105"/>
                  <a:pt x="82" y="104"/>
                  <a:pt x="83" y="104"/>
                </a:cubicBezTo>
                <a:close/>
                <a:moveTo>
                  <a:pt x="67" y="120"/>
                </a:moveTo>
                <a:cubicBezTo>
                  <a:pt x="69" y="120"/>
                  <a:pt x="70" y="121"/>
                  <a:pt x="70" y="123"/>
                </a:cubicBezTo>
                <a:cubicBezTo>
                  <a:pt x="70" y="124"/>
                  <a:pt x="69" y="125"/>
                  <a:pt x="67" y="125"/>
                </a:cubicBezTo>
                <a:cubicBezTo>
                  <a:pt x="66" y="125"/>
                  <a:pt x="65" y="124"/>
                  <a:pt x="65" y="123"/>
                </a:cubicBezTo>
                <a:cubicBezTo>
                  <a:pt x="65" y="121"/>
                  <a:pt x="66" y="120"/>
                  <a:pt x="67" y="120"/>
                </a:cubicBezTo>
                <a:close/>
                <a:moveTo>
                  <a:pt x="83" y="120"/>
                </a:moveTo>
                <a:cubicBezTo>
                  <a:pt x="85" y="120"/>
                  <a:pt x="86" y="121"/>
                  <a:pt x="86" y="123"/>
                </a:cubicBezTo>
                <a:cubicBezTo>
                  <a:pt x="86" y="124"/>
                  <a:pt x="85" y="125"/>
                  <a:pt x="83" y="125"/>
                </a:cubicBezTo>
                <a:cubicBezTo>
                  <a:pt x="82" y="125"/>
                  <a:pt x="81" y="124"/>
                  <a:pt x="81" y="123"/>
                </a:cubicBezTo>
                <a:cubicBezTo>
                  <a:pt x="81" y="121"/>
                  <a:pt x="82" y="120"/>
                  <a:pt x="83" y="120"/>
                </a:cubicBezTo>
                <a:close/>
                <a:moveTo>
                  <a:pt x="19" y="136"/>
                </a:moveTo>
                <a:cubicBezTo>
                  <a:pt x="21" y="136"/>
                  <a:pt x="22" y="137"/>
                  <a:pt x="22" y="139"/>
                </a:cubicBezTo>
                <a:cubicBezTo>
                  <a:pt x="22" y="140"/>
                  <a:pt x="21" y="141"/>
                  <a:pt x="19" y="141"/>
                </a:cubicBezTo>
                <a:cubicBezTo>
                  <a:pt x="18" y="141"/>
                  <a:pt x="17" y="140"/>
                  <a:pt x="17" y="139"/>
                </a:cubicBezTo>
                <a:cubicBezTo>
                  <a:pt x="17" y="137"/>
                  <a:pt x="18" y="136"/>
                  <a:pt x="19" y="136"/>
                </a:cubicBezTo>
                <a:close/>
                <a:moveTo>
                  <a:pt x="27" y="128"/>
                </a:moveTo>
                <a:cubicBezTo>
                  <a:pt x="29" y="128"/>
                  <a:pt x="30" y="129"/>
                  <a:pt x="30" y="131"/>
                </a:cubicBezTo>
                <a:cubicBezTo>
                  <a:pt x="30" y="132"/>
                  <a:pt x="29" y="133"/>
                  <a:pt x="27" y="133"/>
                </a:cubicBezTo>
                <a:cubicBezTo>
                  <a:pt x="26" y="133"/>
                  <a:pt x="25" y="132"/>
                  <a:pt x="25" y="131"/>
                </a:cubicBezTo>
                <a:cubicBezTo>
                  <a:pt x="25" y="129"/>
                  <a:pt x="26" y="128"/>
                  <a:pt x="27" y="128"/>
                </a:cubicBezTo>
                <a:close/>
                <a:moveTo>
                  <a:pt x="43" y="128"/>
                </a:moveTo>
                <a:cubicBezTo>
                  <a:pt x="45" y="128"/>
                  <a:pt x="46" y="129"/>
                  <a:pt x="46" y="131"/>
                </a:cubicBezTo>
                <a:cubicBezTo>
                  <a:pt x="46" y="132"/>
                  <a:pt x="45" y="133"/>
                  <a:pt x="43" y="133"/>
                </a:cubicBezTo>
                <a:cubicBezTo>
                  <a:pt x="42" y="133"/>
                  <a:pt x="41" y="132"/>
                  <a:pt x="41" y="131"/>
                </a:cubicBezTo>
                <a:cubicBezTo>
                  <a:pt x="41" y="129"/>
                  <a:pt x="42" y="128"/>
                  <a:pt x="43" y="128"/>
                </a:cubicBezTo>
                <a:close/>
                <a:moveTo>
                  <a:pt x="27" y="144"/>
                </a:moveTo>
                <a:cubicBezTo>
                  <a:pt x="29" y="144"/>
                  <a:pt x="30" y="145"/>
                  <a:pt x="30" y="147"/>
                </a:cubicBezTo>
                <a:cubicBezTo>
                  <a:pt x="30" y="148"/>
                  <a:pt x="29" y="149"/>
                  <a:pt x="27" y="149"/>
                </a:cubicBezTo>
                <a:cubicBezTo>
                  <a:pt x="26" y="149"/>
                  <a:pt x="25" y="148"/>
                  <a:pt x="25" y="147"/>
                </a:cubicBezTo>
                <a:cubicBezTo>
                  <a:pt x="25" y="145"/>
                  <a:pt x="26" y="144"/>
                  <a:pt x="27" y="144"/>
                </a:cubicBezTo>
                <a:close/>
                <a:moveTo>
                  <a:pt x="43" y="144"/>
                </a:moveTo>
                <a:cubicBezTo>
                  <a:pt x="45" y="144"/>
                  <a:pt x="46" y="145"/>
                  <a:pt x="46" y="147"/>
                </a:cubicBezTo>
                <a:cubicBezTo>
                  <a:pt x="46" y="148"/>
                  <a:pt x="45" y="149"/>
                  <a:pt x="43" y="149"/>
                </a:cubicBezTo>
                <a:cubicBezTo>
                  <a:pt x="42" y="149"/>
                  <a:pt x="41" y="148"/>
                  <a:pt x="41" y="147"/>
                </a:cubicBezTo>
                <a:cubicBezTo>
                  <a:pt x="41" y="145"/>
                  <a:pt x="42" y="144"/>
                  <a:pt x="43" y="144"/>
                </a:cubicBezTo>
                <a:close/>
                <a:moveTo>
                  <a:pt x="35" y="136"/>
                </a:moveTo>
                <a:cubicBezTo>
                  <a:pt x="37" y="136"/>
                  <a:pt x="38" y="137"/>
                  <a:pt x="38" y="139"/>
                </a:cubicBezTo>
                <a:cubicBezTo>
                  <a:pt x="38" y="140"/>
                  <a:pt x="37" y="141"/>
                  <a:pt x="35" y="141"/>
                </a:cubicBezTo>
                <a:cubicBezTo>
                  <a:pt x="34" y="141"/>
                  <a:pt x="33" y="140"/>
                  <a:pt x="33" y="139"/>
                </a:cubicBezTo>
                <a:cubicBezTo>
                  <a:pt x="33" y="137"/>
                  <a:pt x="34" y="136"/>
                  <a:pt x="35" y="136"/>
                </a:cubicBezTo>
                <a:close/>
                <a:moveTo>
                  <a:pt x="51" y="136"/>
                </a:moveTo>
                <a:cubicBezTo>
                  <a:pt x="53" y="136"/>
                  <a:pt x="54" y="137"/>
                  <a:pt x="54" y="139"/>
                </a:cubicBezTo>
                <a:cubicBezTo>
                  <a:pt x="54" y="140"/>
                  <a:pt x="53" y="141"/>
                  <a:pt x="51" y="141"/>
                </a:cubicBezTo>
                <a:cubicBezTo>
                  <a:pt x="50" y="141"/>
                  <a:pt x="49" y="140"/>
                  <a:pt x="49" y="139"/>
                </a:cubicBezTo>
                <a:cubicBezTo>
                  <a:pt x="49" y="137"/>
                  <a:pt x="50" y="136"/>
                  <a:pt x="51" y="136"/>
                </a:cubicBezTo>
                <a:close/>
                <a:moveTo>
                  <a:pt x="59" y="128"/>
                </a:moveTo>
                <a:cubicBezTo>
                  <a:pt x="61" y="128"/>
                  <a:pt x="62" y="129"/>
                  <a:pt x="62" y="131"/>
                </a:cubicBezTo>
                <a:cubicBezTo>
                  <a:pt x="62" y="132"/>
                  <a:pt x="61" y="133"/>
                  <a:pt x="59" y="133"/>
                </a:cubicBezTo>
                <a:cubicBezTo>
                  <a:pt x="58" y="133"/>
                  <a:pt x="57" y="132"/>
                  <a:pt x="57" y="131"/>
                </a:cubicBezTo>
                <a:cubicBezTo>
                  <a:pt x="57" y="129"/>
                  <a:pt x="58" y="128"/>
                  <a:pt x="59" y="128"/>
                </a:cubicBezTo>
                <a:close/>
                <a:moveTo>
                  <a:pt x="75" y="128"/>
                </a:moveTo>
                <a:cubicBezTo>
                  <a:pt x="77" y="128"/>
                  <a:pt x="78" y="129"/>
                  <a:pt x="78" y="131"/>
                </a:cubicBezTo>
                <a:cubicBezTo>
                  <a:pt x="78" y="132"/>
                  <a:pt x="77" y="133"/>
                  <a:pt x="75" y="133"/>
                </a:cubicBezTo>
                <a:cubicBezTo>
                  <a:pt x="74" y="133"/>
                  <a:pt x="73" y="132"/>
                  <a:pt x="73" y="131"/>
                </a:cubicBezTo>
                <a:cubicBezTo>
                  <a:pt x="73" y="129"/>
                  <a:pt x="74" y="128"/>
                  <a:pt x="75" y="128"/>
                </a:cubicBezTo>
                <a:close/>
                <a:moveTo>
                  <a:pt x="59" y="144"/>
                </a:moveTo>
                <a:cubicBezTo>
                  <a:pt x="61" y="144"/>
                  <a:pt x="62" y="145"/>
                  <a:pt x="62" y="147"/>
                </a:cubicBezTo>
                <a:cubicBezTo>
                  <a:pt x="62" y="148"/>
                  <a:pt x="61" y="149"/>
                  <a:pt x="59" y="149"/>
                </a:cubicBezTo>
                <a:cubicBezTo>
                  <a:pt x="58" y="149"/>
                  <a:pt x="57" y="148"/>
                  <a:pt x="57" y="147"/>
                </a:cubicBezTo>
                <a:cubicBezTo>
                  <a:pt x="57" y="145"/>
                  <a:pt x="58" y="144"/>
                  <a:pt x="59" y="144"/>
                </a:cubicBezTo>
                <a:close/>
                <a:moveTo>
                  <a:pt x="75" y="144"/>
                </a:moveTo>
                <a:cubicBezTo>
                  <a:pt x="77" y="144"/>
                  <a:pt x="78" y="145"/>
                  <a:pt x="78" y="147"/>
                </a:cubicBezTo>
                <a:cubicBezTo>
                  <a:pt x="78" y="148"/>
                  <a:pt x="77" y="149"/>
                  <a:pt x="75" y="149"/>
                </a:cubicBezTo>
                <a:cubicBezTo>
                  <a:pt x="74" y="149"/>
                  <a:pt x="73" y="148"/>
                  <a:pt x="73" y="147"/>
                </a:cubicBezTo>
                <a:cubicBezTo>
                  <a:pt x="73" y="145"/>
                  <a:pt x="74" y="144"/>
                  <a:pt x="75" y="144"/>
                </a:cubicBezTo>
                <a:close/>
                <a:moveTo>
                  <a:pt x="67" y="136"/>
                </a:moveTo>
                <a:cubicBezTo>
                  <a:pt x="69" y="136"/>
                  <a:pt x="70" y="137"/>
                  <a:pt x="70" y="139"/>
                </a:cubicBezTo>
                <a:cubicBezTo>
                  <a:pt x="70" y="140"/>
                  <a:pt x="69" y="141"/>
                  <a:pt x="67" y="141"/>
                </a:cubicBezTo>
                <a:cubicBezTo>
                  <a:pt x="66" y="141"/>
                  <a:pt x="65" y="140"/>
                  <a:pt x="65" y="139"/>
                </a:cubicBezTo>
                <a:cubicBezTo>
                  <a:pt x="65" y="137"/>
                  <a:pt x="66" y="136"/>
                  <a:pt x="67" y="136"/>
                </a:cubicBezTo>
                <a:close/>
                <a:moveTo>
                  <a:pt x="83" y="136"/>
                </a:moveTo>
                <a:cubicBezTo>
                  <a:pt x="85" y="136"/>
                  <a:pt x="86" y="137"/>
                  <a:pt x="86" y="139"/>
                </a:cubicBezTo>
                <a:cubicBezTo>
                  <a:pt x="86" y="140"/>
                  <a:pt x="85" y="141"/>
                  <a:pt x="83" y="141"/>
                </a:cubicBezTo>
                <a:cubicBezTo>
                  <a:pt x="82" y="141"/>
                  <a:pt x="81" y="140"/>
                  <a:pt x="81" y="139"/>
                </a:cubicBezTo>
                <a:cubicBezTo>
                  <a:pt x="81" y="137"/>
                  <a:pt x="82" y="136"/>
                  <a:pt x="83" y="136"/>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2103">
            <a:extLst>
              <a:ext uri="{FF2B5EF4-FFF2-40B4-BE49-F238E27FC236}">
                <a16:creationId xmlns:a16="http://schemas.microsoft.com/office/drawing/2014/main" id="{F75F7449-73B0-7147-ABCD-9074C75FEDBD}"/>
              </a:ext>
            </a:extLst>
          </p:cNvPr>
          <p:cNvSpPr>
            <a:spLocks noEditPoints="1"/>
          </p:cNvSpPr>
          <p:nvPr/>
        </p:nvSpPr>
        <p:spPr bwMode="auto">
          <a:xfrm>
            <a:off x="3530596" y="3462338"/>
            <a:ext cx="444500" cy="549275"/>
          </a:xfrm>
          <a:custGeom>
            <a:avLst/>
            <a:gdLst>
              <a:gd name="T0" fmla="*/ 62 w 130"/>
              <a:gd name="T1" fmla="*/ 136 h 160"/>
              <a:gd name="T2" fmla="*/ 62 w 130"/>
              <a:gd name="T3" fmla="*/ 46 h 160"/>
              <a:gd name="T4" fmla="*/ 65 w 130"/>
              <a:gd name="T5" fmla="*/ 43 h 160"/>
              <a:gd name="T6" fmla="*/ 68 w 130"/>
              <a:gd name="T7" fmla="*/ 46 h 160"/>
              <a:gd name="T8" fmla="*/ 68 w 130"/>
              <a:gd name="T9" fmla="*/ 136 h 160"/>
              <a:gd name="T10" fmla="*/ 65 w 130"/>
              <a:gd name="T11" fmla="*/ 138 h 160"/>
              <a:gd name="T12" fmla="*/ 62 w 130"/>
              <a:gd name="T13" fmla="*/ 136 h 160"/>
              <a:gd name="T14" fmla="*/ 38 w 130"/>
              <a:gd name="T15" fmla="*/ 138 h 160"/>
              <a:gd name="T16" fmla="*/ 41 w 130"/>
              <a:gd name="T17" fmla="*/ 136 h 160"/>
              <a:gd name="T18" fmla="*/ 41 w 130"/>
              <a:gd name="T19" fmla="*/ 46 h 160"/>
              <a:gd name="T20" fmla="*/ 38 w 130"/>
              <a:gd name="T21" fmla="*/ 43 h 160"/>
              <a:gd name="T22" fmla="*/ 35 w 130"/>
              <a:gd name="T23" fmla="*/ 46 h 160"/>
              <a:gd name="T24" fmla="*/ 35 w 130"/>
              <a:gd name="T25" fmla="*/ 136 h 160"/>
              <a:gd name="T26" fmla="*/ 38 w 130"/>
              <a:gd name="T27" fmla="*/ 138 h 160"/>
              <a:gd name="T28" fmla="*/ 92 w 130"/>
              <a:gd name="T29" fmla="*/ 138 h 160"/>
              <a:gd name="T30" fmla="*/ 95 w 130"/>
              <a:gd name="T31" fmla="*/ 136 h 160"/>
              <a:gd name="T32" fmla="*/ 95 w 130"/>
              <a:gd name="T33" fmla="*/ 46 h 160"/>
              <a:gd name="T34" fmla="*/ 92 w 130"/>
              <a:gd name="T35" fmla="*/ 43 h 160"/>
              <a:gd name="T36" fmla="*/ 89 w 130"/>
              <a:gd name="T37" fmla="*/ 46 h 160"/>
              <a:gd name="T38" fmla="*/ 89 w 130"/>
              <a:gd name="T39" fmla="*/ 136 h 160"/>
              <a:gd name="T40" fmla="*/ 92 w 130"/>
              <a:gd name="T41" fmla="*/ 138 h 160"/>
              <a:gd name="T42" fmla="*/ 130 w 130"/>
              <a:gd name="T43" fmla="*/ 19 h 160"/>
              <a:gd name="T44" fmla="*/ 127 w 130"/>
              <a:gd name="T45" fmla="*/ 22 h 160"/>
              <a:gd name="T46" fmla="*/ 122 w 130"/>
              <a:gd name="T47" fmla="*/ 22 h 160"/>
              <a:gd name="T48" fmla="*/ 117 w 130"/>
              <a:gd name="T49" fmla="*/ 147 h 160"/>
              <a:gd name="T50" fmla="*/ 103 w 130"/>
              <a:gd name="T51" fmla="*/ 160 h 160"/>
              <a:gd name="T52" fmla="*/ 27 w 130"/>
              <a:gd name="T53" fmla="*/ 160 h 160"/>
              <a:gd name="T54" fmla="*/ 13 w 130"/>
              <a:gd name="T55" fmla="*/ 147 h 160"/>
              <a:gd name="T56" fmla="*/ 8 w 130"/>
              <a:gd name="T57" fmla="*/ 22 h 160"/>
              <a:gd name="T58" fmla="*/ 3 w 130"/>
              <a:gd name="T59" fmla="*/ 22 h 160"/>
              <a:gd name="T60" fmla="*/ 0 w 130"/>
              <a:gd name="T61" fmla="*/ 19 h 160"/>
              <a:gd name="T62" fmla="*/ 3 w 130"/>
              <a:gd name="T63" fmla="*/ 16 h 160"/>
              <a:gd name="T64" fmla="*/ 35 w 130"/>
              <a:gd name="T65" fmla="*/ 16 h 160"/>
              <a:gd name="T66" fmla="*/ 40 w 130"/>
              <a:gd name="T67" fmla="*/ 3 h 160"/>
              <a:gd name="T68" fmla="*/ 49 w 130"/>
              <a:gd name="T69" fmla="*/ 0 h 160"/>
              <a:gd name="T70" fmla="*/ 76 w 130"/>
              <a:gd name="T71" fmla="*/ 0 h 160"/>
              <a:gd name="T72" fmla="*/ 84 w 130"/>
              <a:gd name="T73" fmla="*/ 3 h 160"/>
              <a:gd name="T74" fmla="*/ 89 w 130"/>
              <a:gd name="T75" fmla="*/ 16 h 160"/>
              <a:gd name="T76" fmla="*/ 127 w 130"/>
              <a:gd name="T77" fmla="*/ 16 h 160"/>
              <a:gd name="T78" fmla="*/ 130 w 130"/>
              <a:gd name="T79" fmla="*/ 19 h 160"/>
              <a:gd name="T80" fmla="*/ 41 w 130"/>
              <a:gd name="T81" fmla="*/ 16 h 160"/>
              <a:gd name="T82" fmla="*/ 84 w 130"/>
              <a:gd name="T83" fmla="*/ 16 h 160"/>
              <a:gd name="T84" fmla="*/ 81 w 130"/>
              <a:gd name="T85" fmla="*/ 7 h 160"/>
              <a:gd name="T86" fmla="*/ 76 w 130"/>
              <a:gd name="T87" fmla="*/ 5 h 160"/>
              <a:gd name="T88" fmla="*/ 49 w 130"/>
              <a:gd name="T89" fmla="*/ 5 h 160"/>
              <a:gd name="T90" fmla="*/ 44 w 130"/>
              <a:gd name="T91" fmla="*/ 7 h 160"/>
              <a:gd name="T92" fmla="*/ 41 w 130"/>
              <a:gd name="T93" fmla="*/ 16 h 160"/>
              <a:gd name="T94" fmla="*/ 116 w 130"/>
              <a:gd name="T95" fmla="*/ 22 h 160"/>
              <a:gd name="T96" fmla="*/ 14 w 130"/>
              <a:gd name="T97" fmla="*/ 22 h 160"/>
              <a:gd name="T98" fmla="*/ 19 w 130"/>
              <a:gd name="T99" fmla="*/ 146 h 160"/>
              <a:gd name="T100" fmla="*/ 27 w 130"/>
              <a:gd name="T101" fmla="*/ 155 h 160"/>
              <a:gd name="T102" fmla="*/ 103 w 130"/>
              <a:gd name="T103" fmla="*/ 155 h 160"/>
              <a:gd name="T104" fmla="*/ 111 w 130"/>
              <a:gd name="T105" fmla="*/ 146 h 160"/>
              <a:gd name="T106" fmla="*/ 116 w 130"/>
              <a:gd name="T107" fmla="*/ 2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60">
                <a:moveTo>
                  <a:pt x="62" y="136"/>
                </a:moveTo>
                <a:cubicBezTo>
                  <a:pt x="62" y="46"/>
                  <a:pt x="62" y="46"/>
                  <a:pt x="62" y="46"/>
                </a:cubicBezTo>
                <a:cubicBezTo>
                  <a:pt x="62" y="45"/>
                  <a:pt x="64" y="43"/>
                  <a:pt x="65" y="43"/>
                </a:cubicBezTo>
                <a:cubicBezTo>
                  <a:pt x="67" y="43"/>
                  <a:pt x="68" y="45"/>
                  <a:pt x="68" y="46"/>
                </a:cubicBezTo>
                <a:cubicBezTo>
                  <a:pt x="68" y="136"/>
                  <a:pt x="68" y="136"/>
                  <a:pt x="68" y="136"/>
                </a:cubicBezTo>
                <a:cubicBezTo>
                  <a:pt x="68" y="137"/>
                  <a:pt x="67" y="138"/>
                  <a:pt x="65" y="138"/>
                </a:cubicBezTo>
                <a:cubicBezTo>
                  <a:pt x="64" y="138"/>
                  <a:pt x="62" y="137"/>
                  <a:pt x="62" y="136"/>
                </a:cubicBezTo>
                <a:close/>
                <a:moveTo>
                  <a:pt x="38" y="138"/>
                </a:moveTo>
                <a:cubicBezTo>
                  <a:pt x="39" y="138"/>
                  <a:pt x="41" y="137"/>
                  <a:pt x="41" y="136"/>
                </a:cubicBezTo>
                <a:cubicBezTo>
                  <a:pt x="41" y="46"/>
                  <a:pt x="41" y="46"/>
                  <a:pt x="41" y="46"/>
                </a:cubicBezTo>
                <a:cubicBezTo>
                  <a:pt x="41" y="45"/>
                  <a:pt x="39" y="43"/>
                  <a:pt x="38" y="43"/>
                </a:cubicBezTo>
                <a:cubicBezTo>
                  <a:pt x="36" y="43"/>
                  <a:pt x="35" y="45"/>
                  <a:pt x="35" y="46"/>
                </a:cubicBezTo>
                <a:cubicBezTo>
                  <a:pt x="35" y="136"/>
                  <a:pt x="35" y="136"/>
                  <a:pt x="35" y="136"/>
                </a:cubicBezTo>
                <a:cubicBezTo>
                  <a:pt x="35" y="137"/>
                  <a:pt x="36" y="138"/>
                  <a:pt x="38" y="138"/>
                </a:cubicBezTo>
                <a:close/>
                <a:moveTo>
                  <a:pt x="92" y="138"/>
                </a:moveTo>
                <a:cubicBezTo>
                  <a:pt x="94" y="138"/>
                  <a:pt x="95" y="137"/>
                  <a:pt x="95" y="136"/>
                </a:cubicBezTo>
                <a:cubicBezTo>
                  <a:pt x="95" y="46"/>
                  <a:pt x="95" y="46"/>
                  <a:pt x="95" y="46"/>
                </a:cubicBezTo>
                <a:cubicBezTo>
                  <a:pt x="95" y="45"/>
                  <a:pt x="94" y="43"/>
                  <a:pt x="92" y="43"/>
                </a:cubicBezTo>
                <a:cubicBezTo>
                  <a:pt x="91" y="43"/>
                  <a:pt x="89" y="45"/>
                  <a:pt x="89" y="46"/>
                </a:cubicBezTo>
                <a:cubicBezTo>
                  <a:pt x="89" y="136"/>
                  <a:pt x="89" y="136"/>
                  <a:pt x="89" y="136"/>
                </a:cubicBezTo>
                <a:cubicBezTo>
                  <a:pt x="89" y="137"/>
                  <a:pt x="91" y="138"/>
                  <a:pt x="92" y="138"/>
                </a:cubicBezTo>
                <a:close/>
                <a:moveTo>
                  <a:pt x="130" y="19"/>
                </a:moveTo>
                <a:cubicBezTo>
                  <a:pt x="130" y="20"/>
                  <a:pt x="129" y="22"/>
                  <a:pt x="127" y="22"/>
                </a:cubicBezTo>
                <a:cubicBezTo>
                  <a:pt x="122" y="22"/>
                  <a:pt x="122" y="22"/>
                  <a:pt x="122" y="22"/>
                </a:cubicBezTo>
                <a:cubicBezTo>
                  <a:pt x="117" y="147"/>
                  <a:pt x="117" y="147"/>
                  <a:pt x="117" y="147"/>
                </a:cubicBezTo>
                <a:cubicBezTo>
                  <a:pt x="117" y="151"/>
                  <a:pt x="114" y="160"/>
                  <a:pt x="103" y="160"/>
                </a:cubicBezTo>
                <a:cubicBezTo>
                  <a:pt x="27" y="160"/>
                  <a:pt x="27" y="160"/>
                  <a:pt x="27" y="160"/>
                </a:cubicBezTo>
                <a:cubicBezTo>
                  <a:pt x="16" y="160"/>
                  <a:pt x="14" y="151"/>
                  <a:pt x="13" y="147"/>
                </a:cubicBezTo>
                <a:cubicBezTo>
                  <a:pt x="8" y="22"/>
                  <a:pt x="8" y="22"/>
                  <a:pt x="8" y="22"/>
                </a:cubicBezTo>
                <a:cubicBezTo>
                  <a:pt x="3" y="22"/>
                  <a:pt x="3" y="22"/>
                  <a:pt x="3" y="22"/>
                </a:cubicBezTo>
                <a:cubicBezTo>
                  <a:pt x="1" y="22"/>
                  <a:pt x="0" y="20"/>
                  <a:pt x="0" y="19"/>
                </a:cubicBezTo>
                <a:cubicBezTo>
                  <a:pt x="0" y="17"/>
                  <a:pt x="1" y="16"/>
                  <a:pt x="3" y="16"/>
                </a:cubicBezTo>
                <a:cubicBezTo>
                  <a:pt x="35" y="16"/>
                  <a:pt x="35" y="16"/>
                  <a:pt x="35" y="16"/>
                </a:cubicBezTo>
                <a:cubicBezTo>
                  <a:pt x="36" y="13"/>
                  <a:pt x="37" y="7"/>
                  <a:pt x="40" y="3"/>
                </a:cubicBezTo>
                <a:cubicBezTo>
                  <a:pt x="43" y="1"/>
                  <a:pt x="45" y="0"/>
                  <a:pt x="49" y="0"/>
                </a:cubicBezTo>
                <a:cubicBezTo>
                  <a:pt x="76" y="0"/>
                  <a:pt x="76" y="0"/>
                  <a:pt x="76" y="0"/>
                </a:cubicBezTo>
                <a:cubicBezTo>
                  <a:pt x="79" y="0"/>
                  <a:pt x="82" y="1"/>
                  <a:pt x="84" y="3"/>
                </a:cubicBezTo>
                <a:cubicBezTo>
                  <a:pt x="88" y="7"/>
                  <a:pt x="89" y="13"/>
                  <a:pt x="89" y="16"/>
                </a:cubicBezTo>
                <a:cubicBezTo>
                  <a:pt x="127" y="16"/>
                  <a:pt x="127" y="16"/>
                  <a:pt x="127" y="16"/>
                </a:cubicBezTo>
                <a:cubicBezTo>
                  <a:pt x="129" y="16"/>
                  <a:pt x="130" y="17"/>
                  <a:pt x="130" y="19"/>
                </a:cubicBezTo>
                <a:close/>
                <a:moveTo>
                  <a:pt x="41" y="16"/>
                </a:moveTo>
                <a:cubicBezTo>
                  <a:pt x="84" y="16"/>
                  <a:pt x="84" y="16"/>
                  <a:pt x="84" y="16"/>
                </a:cubicBezTo>
                <a:cubicBezTo>
                  <a:pt x="84" y="13"/>
                  <a:pt x="83" y="10"/>
                  <a:pt x="81" y="7"/>
                </a:cubicBezTo>
                <a:cubicBezTo>
                  <a:pt x="79" y="6"/>
                  <a:pt x="78" y="5"/>
                  <a:pt x="76" y="5"/>
                </a:cubicBezTo>
                <a:cubicBezTo>
                  <a:pt x="49" y="5"/>
                  <a:pt x="49" y="5"/>
                  <a:pt x="49" y="5"/>
                </a:cubicBezTo>
                <a:cubicBezTo>
                  <a:pt x="47" y="5"/>
                  <a:pt x="45" y="6"/>
                  <a:pt x="44" y="7"/>
                </a:cubicBezTo>
                <a:cubicBezTo>
                  <a:pt x="42" y="10"/>
                  <a:pt x="41" y="13"/>
                  <a:pt x="41" y="16"/>
                </a:cubicBezTo>
                <a:close/>
                <a:moveTo>
                  <a:pt x="116" y="22"/>
                </a:moveTo>
                <a:cubicBezTo>
                  <a:pt x="14" y="22"/>
                  <a:pt x="14" y="22"/>
                  <a:pt x="14" y="22"/>
                </a:cubicBezTo>
                <a:cubicBezTo>
                  <a:pt x="19" y="146"/>
                  <a:pt x="19" y="146"/>
                  <a:pt x="19" y="146"/>
                </a:cubicBezTo>
                <a:cubicBezTo>
                  <a:pt x="19" y="147"/>
                  <a:pt x="19" y="155"/>
                  <a:pt x="27" y="155"/>
                </a:cubicBezTo>
                <a:cubicBezTo>
                  <a:pt x="103" y="155"/>
                  <a:pt x="103" y="155"/>
                  <a:pt x="103" y="155"/>
                </a:cubicBezTo>
                <a:cubicBezTo>
                  <a:pt x="111" y="155"/>
                  <a:pt x="111" y="147"/>
                  <a:pt x="111" y="146"/>
                </a:cubicBezTo>
                <a:lnTo>
                  <a:pt x="116" y="22"/>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2104">
            <a:extLst>
              <a:ext uri="{FF2B5EF4-FFF2-40B4-BE49-F238E27FC236}">
                <a16:creationId xmlns:a16="http://schemas.microsoft.com/office/drawing/2014/main" id="{96116B80-CB5E-9E42-B462-8C5BFEE5EA3A}"/>
              </a:ext>
            </a:extLst>
          </p:cNvPr>
          <p:cNvSpPr>
            <a:spLocks noEditPoints="1"/>
          </p:cNvSpPr>
          <p:nvPr/>
        </p:nvSpPr>
        <p:spPr bwMode="auto">
          <a:xfrm>
            <a:off x="3544884" y="4081463"/>
            <a:ext cx="412750" cy="550863"/>
          </a:xfrm>
          <a:custGeom>
            <a:avLst/>
            <a:gdLst>
              <a:gd name="T0" fmla="*/ 72 w 121"/>
              <a:gd name="T1" fmla="*/ 0 h 160"/>
              <a:gd name="T2" fmla="*/ 0 w 121"/>
              <a:gd name="T3" fmla="*/ 29 h 160"/>
              <a:gd name="T4" fmla="*/ 103 w 121"/>
              <a:gd name="T5" fmla="*/ 160 h 160"/>
              <a:gd name="T6" fmla="*/ 45 w 121"/>
              <a:gd name="T7" fmla="*/ 9 h 160"/>
              <a:gd name="T8" fmla="*/ 45 w 121"/>
              <a:gd name="T9" fmla="*/ 18 h 160"/>
              <a:gd name="T10" fmla="*/ 12 w 121"/>
              <a:gd name="T11" fmla="*/ 149 h 160"/>
              <a:gd name="T12" fmla="*/ 6 w 121"/>
              <a:gd name="T13" fmla="*/ 36 h 160"/>
              <a:gd name="T14" fmla="*/ 110 w 121"/>
              <a:gd name="T15" fmla="*/ 24 h 160"/>
              <a:gd name="T16" fmla="*/ 24 w 121"/>
              <a:gd name="T17" fmla="*/ 66 h 160"/>
              <a:gd name="T18" fmla="*/ 24 w 121"/>
              <a:gd name="T19" fmla="*/ 85 h 160"/>
              <a:gd name="T20" fmla="*/ 33 w 121"/>
              <a:gd name="T21" fmla="*/ 57 h 160"/>
              <a:gd name="T22" fmla="*/ 51 w 121"/>
              <a:gd name="T23" fmla="*/ 57 h 160"/>
              <a:gd name="T24" fmla="*/ 33 w 121"/>
              <a:gd name="T25" fmla="*/ 75 h 160"/>
              <a:gd name="T26" fmla="*/ 51 w 121"/>
              <a:gd name="T27" fmla="*/ 75 h 160"/>
              <a:gd name="T28" fmla="*/ 42 w 121"/>
              <a:gd name="T29" fmla="*/ 66 h 160"/>
              <a:gd name="T30" fmla="*/ 60 w 121"/>
              <a:gd name="T31" fmla="*/ 66 h 160"/>
              <a:gd name="T32" fmla="*/ 42 w 121"/>
              <a:gd name="T33" fmla="*/ 85 h 160"/>
              <a:gd name="T34" fmla="*/ 60 w 121"/>
              <a:gd name="T35" fmla="*/ 85 h 160"/>
              <a:gd name="T36" fmla="*/ 69 w 121"/>
              <a:gd name="T37" fmla="*/ 57 h 160"/>
              <a:gd name="T38" fmla="*/ 88 w 121"/>
              <a:gd name="T39" fmla="*/ 57 h 160"/>
              <a:gd name="T40" fmla="*/ 69 w 121"/>
              <a:gd name="T41" fmla="*/ 75 h 160"/>
              <a:gd name="T42" fmla="*/ 88 w 121"/>
              <a:gd name="T43" fmla="*/ 75 h 160"/>
              <a:gd name="T44" fmla="*/ 78 w 121"/>
              <a:gd name="T45" fmla="*/ 66 h 160"/>
              <a:gd name="T46" fmla="*/ 97 w 121"/>
              <a:gd name="T47" fmla="*/ 66 h 160"/>
              <a:gd name="T48" fmla="*/ 78 w 121"/>
              <a:gd name="T49" fmla="*/ 85 h 160"/>
              <a:gd name="T50" fmla="*/ 97 w 121"/>
              <a:gd name="T51" fmla="*/ 85 h 160"/>
              <a:gd name="T52" fmla="*/ 24 w 121"/>
              <a:gd name="T53" fmla="*/ 103 h 160"/>
              <a:gd name="T54" fmla="*/ 24 w 121"/>
              <a:gd name="T55" fmla="*/ 121 h 160"/>
              <a:gd name="T56" fmla="*/ 33 w 121"/>
              <a:gd name="T57" fmla="*/ 94 h 160"/>
              <a:gd name="T58" fmla="*/ 51 w 121"/>
              <a:gd name="T59" fmla="*/ 94 h 160"/>
              <a:gd name="T60" fmla="*/ 33 w 121"/>
              <a:gd name="T61" fmla="*/ 112 h 160"/>
              <a:gd name="T62" fmla="*/ 51 w 121"/>
              <a:gd name="T63" fmla="*/ 112 h 160"/>
              <a:gd name="T64" fmla="*/ 42 w 121"/>
              <a:gd name="T65" fmla="*/ 103 h 160"/>
              <a:gd name="T66" fmla="*/ 60 w 121"/>
              <a:gd name="T67" fmla="*/ 103 h 160"/>
              <a:gd name="T68" fmla="*/ 42 w 121"/>
              <a:gd name="T69" fmla="*/ 121 h 160"/>
              <a:gd name="T70" fmla="*/ 60 w 121"/>
              <a:gd name="T71" fmla="*/ 121 h 160"/>
              <a:gd name="T72" fmla="*/ 69 w 121"/>
              <a:gd name="T73" fmla="*/ 94 h 160"/>
              <a:gd name="T74" fmla="*/ 88 w 121"/>
              <a:gd name="T75" fmla="*/ 94 h 160"/>
              <a:gd name="T76" fmla="*/ 69 w 121"/>
              <a:gd name="T77" fmla="*/ 112 h 160"/>
              <a:gd name="T78" fmla="*/ 88 w 121"/>
              <a:gd name="T79" fmla="*/ 112 h 160"/>
              <a:gd name="T80" fmla="*/ 78 w 121"/>
              <a:gd name="T81" fmla="*/ 103 h 160"/>
              <a:gd name="T82" fmla="*/ 97 w 121"/>
              <a:gd name="T83" fmla="*/ 103 h 160"/>
              <a:gd name="T84" fmla="*/ 78 w 121"/>
              <a:gd name="T85" fmla="*/ 121 h 160"/>
              <a:gd name="T86" fmla="*/ 97 w 121"/>
              <a:gd name="T87" fmla="*/ 121 h 160"/>
              <a:gd name="T88" fmla="*/ 24 w 121"/>
              <a:gd name="T89" fmla="*/ 139 h 160"/>
              <a:gd name="T90" fmla="*/ 33 w 121"/>
              <a:gd name="T91" fmla="*/ 130 h 160"/>
              <a:gd name="T92" fmla="*/ 51 w 121"/>
              <a:gd name="T93" fmla="*/ 130 h 160"/>
              <a:gd name="T94" fmla="*/ 33 w 121"/>
              <a:gd name="T95" fmla="*/ 148 h 160"/>
              <a:gd name="T96" fmla="*/ 51 w 121"/>
              <a:gd name="T97" fmla="*/ 148 h 160"/>
              <a:gd name="T98" fmla="*/ 42 w 121"/>
              <a:gd name="T99" fmla="*/ 139 h 160"/>
              <a:gd name="T100" fmla="*/ 60 w 121"/>
              <a:gd name="T101" fmla="*/ 139 h 160"/>
              <a:gd name="T102" fmla="*/ 69 w 121"/>
              <a:gd name="T103" fmla="*/ 130 h 160"/>
              <a:gd name="T104" fmla="*/ 88 w 121"/>
              <a:gd name="T105" fmla="*/ 130 h 160"/>
              <a:gd name="T106" fmla="*/ 69 w 121"/>
              <a:gd name="T107" fmla="*/ 148 h 160"/>
              <a:gd name="T108" fmla="*/ 88 w 121"/>
              <a:gd name="T109" fmla="*/ 148 h 160"/>
              <a:gd name="T110" fmla="*/ 78 w 121"/>
              <a:gd name="T111" fmla="*/ 139 h 160"/>
              <a:gd name="T112" fmla="*/ 97 w 121"/>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1" h="160">
                <a:moveTo>
                  <a:pt x="121" y="29"/>
                </a:moveTo>
                <a:cubicBezTo>
                  <a:pt x="121" y="23"/>
                  <a:pt x="116" y="18"/>
                  <a:pt x="110" y="18"/>
                </a:cubicBezTo>
                <a:cubicBezTo>
                  <a:pt x="82" y="18"/>
                  <a:pt x="82" y="18"/>
                  <a:pt x="82" y="18"/>
                </a:cubicBezTo>
                <a:cubicBezTo>
                  <a:pt x="82" y="9"/>
                  <a:pt x="82" y="9"/>
                  <a:pt x="82" y="9"/>
                </a:cubicBezTo>
                <a:cubicBezTo>
                  <a:pt x="82" y="4"/>
                  <a:pt x="77" y="0"/>
                  <a:pt x="72" y="0"/>
                </a:cubicBezTo>
                <a:cubicBezTo>
                  <a:pt x="48" y="0"/>
                  <a:pt x="48" y="0"/>
                  <a:pt x="48" y="0"/>
                </a:cubicBezTo>
                <a:cubicBezTo>
                  <a:pt x="43" y="0"/>
                  <a:pt x="39" y="4"/>
                  <a:pt x="39" y="9"/>
                </a:cubicBezTo>
                <a:cubicBezTo>
                  <a:pt x="39" y="18"/>
                  <a:pt x="39" y="18"/>
                  <a:pt x="39" y="18"/>
                </a:cubicBezTo>
                <a:cubicBezTo>
                  <a:pt x="11" y="18"/>
                  <a:pt x="11" y="18"/>
                  <a:pt x="11" y="18"/>
                </a:cubicBezTo>
                <a:cubicBezTo>
                  <a:pt x="5" y="18"/>
                  <a:pt x="0" y="23"/>
                  <a:pt x="0" y="29"/>
                </a:cubicBezTo>
                <a:cubicBezTo>
                  <a:pt x="0" y="42"/>
                  <a:pt x="0" y="42"/>
                  <a:pt x="0" y="42"/>
                </a:cubicBezTo>
                <a:cubicBezTo>
                  <a:pt x="6" y="42"/>
                  <a:pt x="6" y="42"/>
                  <a:pt x="6" y="42"/>
                </a:cubicBezTo>
                <a:cubicBezTo>
                  <a:pt x="6" y="149"/>
                  <a:pt x="6" y="149"/>
                  <a:pt x="6" y="149"/>
                </a:cubicBezTo>
                <a:cubicBezTo>
                  <a:pt x="6" y="155"/>
                  <a:pt x="11" y="160"/>
                  <a:pt x="17" y="160"/>
                </a:cubicBezTo>
                <a:cubicBezTo>
                  <a:pt x="103" y="160"/>
                  <a:pt x="103" y="160"/>
                  <a:pt x="103" y="160"/>
                </a:cubicBezTo>
                <a:cubicBezTo>
                  <a:pt x="110" y="160"/>
                  <a:pt x="115" y="155"/>
                  <a:pt x="115" y="149"/>
                </a:cubicBezTo>
                <a:cubicBezTo>
                  <a:pt x="115" y="42"/>
                  <a:pt x="115" y="42"/>
                  <a:pt x="115" y="42"/>
                </a:cubicBezTo>
                <a:cubicBezTo>
                  <a:pt x="121" y="42"/>
                  <a:pt x="121" y="42"/>
                  <a:pt x="121" y="42"/>
                </a:cubicBezTo>
                <a:cubicBezTo>
                  <a:pt x="121" y="29"/>
                  <a:pt x="121" y="29"/>
                  <a:pt x="121" y="29"/>
                </a:cubicBezTo>
                <a:close/>
                <a:moveTo>
                  <a:pt x="45" y="9"/>
                </a:moveTo>
                <a:cubicBezTo>
                  <a:pt x="45" y="7"/>
                  <a:pt x="47" y="6"/>
                  <a:pt x="48" y="6"/>
                </a:cubicBezTo>
                <a:cubicBezTo>
                  <a:pt x="72" y="6"/>
                  <a:pt x="72" y="6"/>
                  <a:pt x="72" y="6"/>
                </a:cubicBezTo>
                <a:cubicBezTo>
                  <a:pt x="74" y="6"/>
                  <a:pt x="75" y="7"/>
                  <a:pt x="75" y="9"/>
                </a:cubicBezTo>
                <a:cubicBezTo>
                  <a:pt x="75" y="18"/>
                  <a:pt x="75" y="18"/>
                  <a:pt x="75" y="18"/>
                </a:cubicBezTo>
                <a:cubicBezTo>
                  <a:pt x="45" y="18"/>
                  <a:pt x="45" y="18"/>
                  <a:pt x="45" y="18"/>
                </a:cubicBezTo>
                <a:lnTo>
                  <a:pt x="45" y="9"/>
                </a:lnTo>
                <a:close/>
                <a:moveTo>
                  <a:pt x="109" y="149"/>
                </a:moveTo>
                <a:cubicBezTo>
                  <a:pt x="109" y="152"/>
                  <a:pt x="106" y="154"/>
                  <a:pt x="103" y="154"/>
                </a:cubicBezTo>
                <a:cubicBezTo>
                  <a:pt x="17" y="154"/>
                  <a:pt x="17" y="154"/>
                  <a:pt x="17" y="154"/>
                </a:cubicBezTo>
                <a:cubicBezTo>
                  <a:pt x="14" y="154"/>
                  <a:pt x="12" y="152"/>
                  <a:pt x="12" y="149"/>
                </a:cubicBezTo>
                <a:cubicBezTo>
                  <a:pt x="12" y="42"/>
                  <a:pt x="12" y="42"/>
                  <a:pt x="12" y="42"/>
                </a:cubicBezTo>
                <a:cubicBezTo>
                  <a:pt x="109" y="42"/>
                  <a:pt x="109" y="42"/>
                  <a:pt x="109" y="42"/>
                </a:cubicBezTo>
                <a:lnTo>
                  <a:pt x="109" y="149"/>
                </a:lnTo>
                <a:close/>
                <a:moveTo>
                  <a:pt x="115" y="36"/>
                </a:moveTo>
                <a:cubicBezTo>
                  <a:pt x="6" y="36"/>
                  <a:pt x="6" y="36"/>
                  <a:pt x="6" y="36"/>
                </a:cubicBezTo>
                <a:cubicBezTo>
                  <a:pt x="6" y="29"/>
                  <a:pt x="6" y="29"/>
                  <a:pt x="6" y="29"/>
                </a:cubicBezTo>
                <a:cubicBezTo>
                  <a:pt x="6" y="26"/>
                  <a:pt x="8" y="24"/>
                  <a:pt x="11" y="24"/>
                </a:cubicBezTo>
                <a:cubicBezTo>
                  <a:pt x="39" y="24"/>
                  <a:pt x="39" y="24"/>
                  <a:pt x="39" y="24"/>
                </a:cubicBezTo>
                <a:cubicBezTo>
                  <a:pt x="82" y="24"/>
                  <a:pt x="82" y="24"/>
                  <a:pt x="82" y="24"/>
                </a:cubicBezTo>
                <a:cubicBezTo>
                  <a:pt x="110" y="24"/>
                  <a:pt x="110" y="24"/>
                  <a:pt x="110" y="24"/>
                </a:cubicBezTo>
                <a:cubicBezTo>
                  <a:pt x="113" y="24"/>
                  <a:pt x="115" y="26"/>
                  <a:pt x="115" y="29"/>
                </a:cubicBezTo>
                <a:lnTo>
                  <a:pt x="115" y="36"/>
                </a:lnTo>
                <a:close/>
                <a:moveTo>
                  <a:pt x="24" y="60"/>
                </a:moveTo>
                <a:cubicBezTo>
                  <a:pt x="26" y="60"/>
                  <a:pt x="27" y="62"/>
                  <a:pt x="27" y="63"/>
                </a:cubicBezTo>
                <a:cubicBezTo>
                  <a:pt x="27" y="65"/>
                  <a:pt x="26" y="66"/>
                  <a:pt x="24" y="66"/>
                </a:cubicBezTo>
                <a:cubicBezTo>
                  <a:pt x="22" y="66"/>
                  <a:pt x="21" y="65"/>
                  <a:pt x="21" y="63"/>
                </a:cubicBezTo>
                <a:cubicBezTo>
                  <a:pt x="21" y="62"/>
                  <a:pt x="22" y="60"/>
                  <a:pt x="24" y="60"/>
                </a:cubicBezTo>
                <a:close/>
                <a:moveTo>
                  <a:pt x="24" y="78"/>
                </a:moveTo>
                <a:cubicBezTo>
                  <a:pt x="26" y="78"/>
                  <a:pt x="27" y="80"/>
                  <a:pt x="27" y="82"/>
                </a:cubicBezTo>
                <a:cubicBezTo>
                  <a:pt x="27" y="83"/>
                  <a:pt x="26" y="85"/>
                  <a:pt x="24" y="85"/>
                </a:cubicBezTo>
                <a:cubicBezTo>
                  <a:pt x="22" y="85"/>
                  <a:pt x="21" y="83"/>
                  <a:pt x="21" y="82"/>
                </a:cubicBezTo>
                <a:cubicBezTo>
                  <a:pt x="21" y="80"/>
                  <a:pt x="22" y="78"/>
                  <a:pt x="24" y="78"/>
                </a:cubicBezTo>
                <a:close/>
                <a:moveTo>
                  <a:pt x="33" y="51"/>
                </a:moveTo>
                <a:cubicBezTo>
                  <a:pt x="35" y="51"/>
                  <a:pt x="36" y="53"/>
                  <a:pt x="36" y="54"/>
                </a:cubicBezTo>
                <a:cubicBezTo>
                  <a:pt x="36" y="56"/>
                  <a:pt x="35" y="57"/>
                  <a:pt x="33" y="57"/>
                </a:cubicBezTo>
                <a:cubicBezTo>
                  <a:pt x="32" y="57"/>
                  <a:pt x="30" y="56"/>
                  <a:pt x="30" y="54"/>
                </a:cubicBezTo>
                <a:cubicBezTo>
                  <a:pt x="30" y="53"/>
                  <a:pt x="32" y="51"/>
                  <a:pt x="33" y="51"/>
                </a:cubicBezTo>
                <a:close/>
                <a:moveTo>
                  <a:pt x="51" y="51"/>
                </a:moveTo>
                <a:cubicBezTo>
                  <a:pt x="53" y="51"/>
                  <a:pt x="54" y="53"/>
                  <a:pt x="54" y="54"/>
                </a:cubicBezTo>
                <a:cubicBezTo>
                  <a:pt x="54" y="56"/>
                  <a:pt x="53" y="57"/>
                  <a:pt x="51" y="57"/>
                </a:cubicBezTo>
                <a:cubicBezTo>
                  <a:pt x="50" y="57"/>
                  <a:pt x="48" y="56"/>
                  <a:pt x="48" y="54"/>
                </a:cubicBezTo>
                <a:cubicBezTo>
                  <a:pt x="48" y="53"/>
                  <a:pt x="50" y="51"/>
                  <a:pt x="51" y="51"/>
                </a:cubicBezTo>
                <a:close/>
                <a:moveTo>
                  <a:pt x="33" y="69"/>
                </a:moveTo>
                <a:cubicBezTo>
                  <a:pt x="35" y="69"/>
                  <a:pt x="36" y="71"/>
                  <a:pt x="36" y="72"/>
                </a:cubicBezTo>
                <a:cubicBezTo>
                  <a:pt x="36" y="74"/>
                  <a:pt x="35" y="75"/>
                  <a:pt x="33" y="75"/>
                </a:cubicBezTo>
                <a:cubicBezTo>
                  <a:pt x="32" y="75"/>
                  <a:pt x="30" y="74"/>
                  <a:pt x="30" y="72"/>
                </a:cubicBezTo>
                <a:cubicBezTo>
                  <a:pt x="30" y="71"/>
                  <a:pt x="32" y="69"/>
                  <a:pt x="33" y="69"/>
                </a:cubicBezTo>
                <a:close/>
                <a:moveTo>
                  <a:pt x="51" y="69"/>
                </a:moveTo>
                <a:cubicBezTo>
                  <a:pt x="53" y="69"/>
                  <a:pt x="54" y="71"/>
                  <a:pt x="54" y="72"/>
                </a:cubicBezTo>
                <a:cubicBezTo>
                  <a:pt x="54" y="74"/>
                  <a:pt x="53" y="75"/>
                  <a:pt x="51" y="75"/>
                </a:cubicBezTo>
                <a:cubicBezTo>
                  <a:pt x="50" y="75"/>
                  <a:pt x="48" y="74"/>
                  <a:pt x="48" y="72"/>
                </a:cubicBezTo>
                <a:cubicBezTo>
                  <a:pt x="48" y="71"/>
                  <a:pt x="50" y="69"/>
                  <a:pt x="51" y="69"/>
                </a:cubicBezTo>
                <a:close/>
                <a:moveTo>
                  <a:pt x="42" y="60"/>
                </a:moveTo>
                <a:cubicBezTo>
                  <a:pt x="44" y="60"/>
                  <a:pt x="45" y="62"/>
                  <a:pt x="45" y="63"/>
                </a:cubicBezTo>
                <a:cubicBezTo>
                  <a:pt x="45" y="65"/>
                  <a:pt x="44" y="66"/>
                  <a:pt x="42" y="66"/>
                </a:cubicBezTo>
                <a:cubicBezTo>
                  <a:pt x="41" y="66"/>
                  <a:pt x="39" y="65"/>
                  <a:pt x="39" y="63"/>
                </a:cubicBezTo>
                <a:cubicBezTo>
                  <a:pt x="39" y="62"/>
                  <a:pt x="41" y="60"/>
                  <a:pt x="42" y="60"/>
                </a:cubicBezTo>
                <a:close/>
                <a:moveTo>
                  <a:pt x="60" y="60"/>
                </a:moveTo>
                <a:cubicBezTo>
                  <a:pt x="62" y="60"/>
                  <a:pt x="63" y="62"/>
                  <a:pt x="63" y="63"/>
                </a:cubicBezTo>
                <a:cubicBezTo>
                  <a:pt x="63" y="65"/>
                  <a:pt x="62" y="66"/>
                  <a:pt x="60" y="66"/>
                </a:cubicBezTo>
                <a:cubicBezTo>
                  <a:pt x="59" y="66"/>
                  <a:pt x="57" y="65"/>
                  <a:pt x="57" y="63"/>
                </a:cubicBezTo>
                <a:cubicBezTo>
                  <a:pt x="57" y="62"/>
                  <a:pt x="59" y="60"/>
                  <a:pt x="60" y="60"/>
                </a:cubicBezTo>
                <a:close/>
                <a:moveTo>
                  <a:pt x="42" y="78"/>
                </a:moveTo>
                <a:cubicBezTo>
                  <a:pt x="44" y="78"/>
                  <a:pt x="45" y="80"/>
                  <a:pt x="45" y="82"/>
                </a:cubicBezTo>
                <a:cubicBezTo>
                  <a:pt x="45" y="83"/>
                  <a:pt x="44" y="85"/>
                  <a:pt x="42" y="85"/>
                </a:cubicBezTo>
                <a:cubicBezTo>
                  <a:pt x="41" y="85"/>
                  <a:pt x="39" y="83"/>
                  <a:pt x="39" y="82"/>
                </a:cubicBezTo>
                <a:cubicBezTo>
                  <a:pt x="39" y="80"/>
                  <a:pt x="41" y="78"/>
                  <a:pt x="42" y="78"/>
                </a:cubicBezTo>
                <a:close/>
                <a:moveTo>
                  <a:pt x="60" y="78"/>
                </a:moveTo>
                <a:cubicBezTo>
                  <a:pt x="62" y="78"/>
                  <a:pt x="63" y="80"/>
                  <a:pt x="63" y="82"/>
                </a:cubicBezTo>
                <a:cubicBezTo>
                  <a:pt x="63" y="83"/>
                  <a:pt x="62" y="85"/>
                  <a:pt x="60" y="85"/>
                </a:cubicBezTo>
                <a:cubicBezTo>
                  <a:pt x="59" y="85"/>
                  <a:pt x="57" y="83"/>
                  <a:pt x="57" y="82"/>
                </a:cubicBezTo>
                <a:cubicBezTo>
                  <a:pt x="57" y="80"/>
                  <a:pt x="59" y="78"/>
                  <a:pt x="60" y="78"/>
                </a:cubicBezTo>
                <a:close/>
                <a:moveTo>
                  <a:pt x="69" y="51"/>
                </a:moveTo>
                <a:cubicBezTo>
                  <a:pt x="71" y="51"/>
                  <a:pt x="72" y="53"/>
                  <a:pt x="72" y="54"/>
                </a:cubicBezTo>
                <a:cubicBezTo>
                  <a:pt x="72" y="56"/>
                  <a:pt x="71" y="57"/>
                  <a:pt x="69" y="57"/>
                </a:cubicBezTo>
                <a:cubicBezTo>
                  <a:pt x="68" y="57"/>
                  <a:pt x="66" y="56"/>
                  <a:pt x="66" y="54"/>
                </a:cubicBezTo>
                <a:cubicBezTo>
                  <a:pt x="66" y="53"/>
                  <a:pt x="68" y="51"/>
                  <a:pt x="69" y="51"/>
                </a:cubicBezTo>
                <a:close/>
                <a:moveTo>
                  <a:pt x="88" y="51"/>
                </a:moveTo>
                <a:cubicBezTo>
                  <a:pt x="89" y="51"/>
                  <a:pt x="91" y="53"/>
                  <a:pt x="91" y="54"/>
                </a:cubicBezTo>
                <a:cubicBezTo>
                  <a:pt x="91" y="56"/>
                  <a:pt x="89" y="57"/>
                  <a:pt x="88" y="57"/>
                </a:cubicBezTo>
                <a:cubicBezTo>
                  <a:pt x="86" y="57"/>
                  <a:pt x="85" y="56"/>
                  <a:pt x="85" y="54"/>
                </a:cubicBezTo>
                <a:cubicBezTo>
                  <a:pt x="85" y="53"/>
                  <a:pt x="86" y="51"/>
                  <a:pt x="88" y="51"/>
                </a:cubicBezTo>
                <a:close/>
                <a:moveTo>
                  <a:pt x="69" y="69"/>
                </a:moveTo>
                <a:cubicBezTo>
                  <a:pt x="71" y="69"/>
                  <a:pt x="72" y="71"/>
                  <a:pt x="72" y="72"/>
                </a:cubicBezTo>
                <a:cubicBezTo>
                  <a:pt x="72" y="74"/>
                  <a:pt x="71" y="75"/>
                  <a:pt x="69" y="75"/>
                </a:cubicBezTo>
                <a:cubicBezTo>
                  <a:pt x="68" y="75"/>
                  <a:pt x="66" y="74"/>
                  <a:pt x="66" y="72"/>
                </a:cubicBezTo>
                <a:cubicBezTo>
                  <a:pt x="66" y="71"/>
                  <a:pt x="68" y="69"/>
                  <a:pt x="69" y="69"/>
                </a:cubicBezTo>
                <a:close/>
                <a:moveTo>
                  <a:pt x="88" y="69"/>
                </a:moveTo>
                <a:cubicBezTo>
                  <a:pt x="89" y="69"/>
                  <a:pt x="91" y="71"/>
                  <a:pt x="91" y="72"/>
                </a:cubicBezTo>
                <a:cubicBezTo>
                  <a:pt x="91" y="74"/>
                  <a:pt x="89" y="75"/>
                  <a:pt x="88" y="75"/>
                </a:cubicBezTo>
                <a:cubicBezTo>
                  <a:pt x="86" y="75"/>
                  <a:pt x="85" y="74"/>
                  <a:pt x="85" y="72"/>
                </a:cubicBezTo>
                <a:cubicBezTo>
                  <a:pt x="85" y="71"/>
                  <a:pt x="86" y="69"/>
                  <a:pt x="88" y="69"/>
                </a:cubicBezTo>
                <a:close/>
                <a:moveTo>
                  <a:pt x="78" y="60"/>
                </a:moveTo>
                <a:cubicBezTo>
                  <a:pt x="80" y="60"/>
                  <a:pt x="82" y="62"/>
                  <a:pt x="82" y="63"/>
                </a:cubicBezTo>
                <a:cubicBezTo>
                  <a:pt x="82" y="65"/>
                  <a:pt x="80" y="66"/>
                  <a:pt x="78" y="66"/>
                </a:cubicBezTo>
                <a:cubicBezTo>
                  <a:pt x="77" y="66"/>
                  <a:pt x="75" y="65"/>
                  <a:pt x="75" y="63"/>
                </a:cubicBezTo>
                <a:cubicBezTo>
                  <a:pt x="75" y="62"/>
                  <a:pt x="77" y="60"/>
                  <a:pt x="78" y="60"/>
                </a:cubicBezTo>
                <a:close/>
                <a:moveTo>
                  <a:pt x="97" y="60"/>
                </a:moveTo>
                <a:cubicBezTo>
                  <a:pt x="98" y="60"/>
                  <a:pt x="100" y="62"/>
                  <a:pt x="100" y="63"/>
                </a:cubicBezTo>
                <a:cubicBezTo>
                  <a:pt x="100" y="65"/>
                  <a:pt x="98" y="66"/>
                  <a:pt x="97" y="66"/>
                </a:cubicBezTo>
                <a:cubicBezTo>
                  <a:pt x="95" y="66"/>
                  <a:pt x="94" y="65"/>
                  <a:pt x="94" y="63"/>
                </a:cubicBezTo>
                <a:cubicBezTo>
                  <a:pt x="94" y="62"/>
                  <a:pt x="95" y="60"/>
                  <a:pt x="97" y="60"/>
                </a:cubicBezTo>
                <a:close/>
                <a:moveTo>
                  <a:pt x="78" y="78"/>
                </a:moveTo>
                <a:cubicBezTo>
                  <a:pt x="80" y="78"/>
                  <a:pt x="82" y="80"/>
                  <a:pt x="82" y="82"/>
                </a:cubicBezTo>
                <a:cubicBezTo>
                  <a:pt x="82" y="83"/>
                  <a:pt x="80" y="85"/>
                  <a:pt x="78" y="85"/>
                </a:cubicBezTo>
                <a:cubicBezTo>
                  <a:pt x="77" y="85"/>
                  <a:pt x="75" y="83"/>
                  <a:pt x="75" y="82"/>
                </a:cubicBezTo>
                <a:cubicBezTo>
                  <a:pt x="75" y="80"/>
                  <a:pt x="77" y="78"/>
                  <a:pt x="78" y="78"/>
                </a:cubicBezTo>
                <a:close/>
                <a:moveTo>
                  <a:pt x="97" y="78"/>
                </a:moveTo>
                <a:cubicBezTo>
                  <a:pt x="98" y="78"/>
                  <a:pt x="100" y="80"/>
                  <a:pt x="100" y="82"/>
                </a:cubicBezTo>
                <a:cubicBezTo>
                  <a:pt x="100" y="83"/>
                  <a:pt x="98" y="85"/>
                  <a:pt x="97" y="85"/>
                </a:cubicBezTo>
                <a:cubicBezTo>
                  <a:pt x="95" y="85"/>
                  <a:pt x="94" y="83"/>
                  <a:pt x="94" y="82"/>
                </a:cubicBezTo>
                <a:cubicBezTo>
                  <a:pt x="94" y="80"/>
                  <a:pt x="95" y="78"/>
                  <a:pt x="97" y="78"/>
                </a:cubicBezTo>
                <a:close/>
                <a:moveTo>
                  <a:pt x="24" y="97"/>
                </a:moveTo>
                <a:cubicBezTo>
                  <a:pt x="26" y="97"/>
                  <a:pt x="27" y="98"/>
                  <a:pt x="27" y="100"/>
                </a:cubicBezTo>
                <a:cubicBezTo>
                  <a:pt x="27" y="101"/>
                  <a:pt x="26" y="103"/>
                  <a:pt x="24" y="103"/>
                </a:cubicBezTo>
                <a:cubicBezTo>
                  <a:pt x="22" y="103"/>
                  <a:pt x="21" y="101"/>
                  <a:pt x="21" y="100"/>
                </a:cubicBezTo>
                <a:cubicBezTo>
                  <a:pt x="21" y="98"/>
                  <a:pt x="22" y="97"/>
                  <a:pt x="24" y="97"/>
                </a:cubicBezTo>
                <a:close/>
                <a:moveTo>
                  <a:pt x="24" y="115"/>
                </a:moveTo>
                <a:cubicBezTo>
                  <a:pt x="26" y="115"/>
                  <a:pt x="27" y="116"/>
                  <a:pt x="27" y="118"/>
                </a:cubicBezTo>
                <a:cubicBezTo>
                  <a:pt x="27" y="119"/>
                  <a:pt x="26" y="121"/>
                  <a:pt x="24" y="121"/>
                </a:cubicBezTo>
                <a:cubicBezTo>
                  <a:pt x="22" y="121"/>
                  <a:pt x="21" y="119"/>
                  <a:pt x="21" y="118"/>
                </a:cubicBezTo>
                <a:cubicBezTo>
                  <a:pt x="21" y="116"/>
                  <a:pt x="22" y="115"/>
                  <a:pt x="24" y="115"/>
                </a:cubicBezTo>
                <a:close/>
                <a:moveTo>
                  <a:pt x="33" y="88"/>
                </a:moveTo>
                <a:cubicBezTo>
                  <a:pt x="35" y="88"/>
                  <a:pt x="36" y="89"/>
                  <a:pt x="36" y="91"/>
                </a:cubicBezTo>
                <a:cubicBezTo>
                  <a:pt x="36" y="92"/>
                  <a:pt x="35" y="94"/>
                  <a:pt x="33" y="94"/>
                </a:cubicBezTo>
                <a:cubicBezTo>
                  <a:pt x="32" y="94"/>
                  <a:pt x="30" y="92"/>
                  <a:pt x="30" y="91"/>
                </a:cubicBezTo>
                <a:cubicBezTo>
                  <a:pt x="30" y="89"/>
                  <a:pt x="32" y="88"/>
                  <a:pt x="33" y="88"/>
                </a:cubicBezTo>
                <a:close/>
                <a:moveTo>
                  <a:pt x="51" y="88"/>
                </a:moveTo>
                <a:cubicBezTo>
                  <a:pt x="53" y="88"/>
                  <a:pt x="54" y="89"/>
                  <a:pt x="54" y="91"/>
                </a:cubicBezTo>
                <a:cubicBezTo>
                  <a:pt x="54" y="92"/>
                  <a:pt x="53" y="94"/>
                  <a:pt x="51" y="94"/>
                </a:cubicBezTo>
                <a:cubicBezTo>
                  <a:pt x="50" y="94"/>
                  <a:pt x="48" y="92"/>
                  <a:pt x="48" y="91"/>
                </a:cubicBezTo>
                <a:cubicBezTo>
                  <a:pt x="48" y="89"/>
                  <a:pt x="50" y="88"/>
                  <a:pt x="51" y="88"/>
                </a:cubicBezTo>
                <a:close/>
                <a:moveTo>
                  <a:pt x="33" y="106"/>
                </a:moveTo>
                <a:cubicBezTo>
                  <a:pt x="35" y="106"/>
                  <a:pt x="36" y="107"/>
                  <a:pt x="36" y="109"/>
                </a:cubicBezTo>
                <a:cubicBezTo>
                  <a:pt x="36" y="110"/>
                  <a:pt x="35" y="112"/>
                  <a:pt x="33" y="112"/>
                </a:cubicBezTo>
                <a:cubicBezTo>
                  <a:pt x="32" y="112"/>
                  <a:pt x="30" y="110"/>
                  <a:pt x="30" y="109"/>
                </a:cubicBezTo>
                <a:cubicBezTo>
                  <a:pt x="30" y="107"/>
                  <a:pt x="32" y="106"/>
                  <a:pt x="33" y="106"/>
                </a:cubicBezTo>
                <a:close/>
                <a:moveTo>
                  <a:pt x="51" y="106"/>
                </a:moveTo>
                <a:cubicBezTo>
                  <a:pt x="53" y="106"/>
                  <a:pt x="54" y="107"/>
                  <a:pt x="54" y="109"/>
                </a:cubicBezTo>
                <a:cubicBezTo>
                  <a:pt x="54" y="110"/>
                  <a:pt x="53" y="112"/>
                  <a:pt x="51" y="112"/>
                </a:cubicBezTo>
                <a:cubicBezTo>
                  <a:pt x="50" y="112"/>
                  <a:pt x="48" y="110"/>
                  <a:pt x="48" y="109"/>
                </a:cubicBezTo>
                <a:cubicBezTo>
                  <a:pt x="48" y="107"/>
                  <a:pt x="50" y="106"/>
                  <a:pt x="51" y="106"/>
                </a:cubicBezTo>
                <a:close/>
                <a:moveTo>
                  <a:pt x="42" y="97"/>
                </a:moveTo>
                <a:cubicBezTo>
                  <a:pt x="44" y="97"/>
                  <a:pt x="45" y="98"/>
                  <a:pt x="45" y="100"/>
                </a:cubicBezTo>
                <a:cubicBezTo>
                  <a:pt x="45" y="101"/>
                  <a:pt x="44" y="103"/>
                  <a:pt x="42" y="103"/>
                </a:cubicBezTo>
                <a:cubicBezTo>
                  <a:pt x="41" y="103"/>
                  <a:pt x="39" y="101"/>
                  <a:pt x="39" y="100"/>
                </a:cubicBezTo>
                <a:cubicBezTo>
                  <a:pt x="39" y="98"/>
                  <a:pt x="41" y="97"/>
                  <a:pt x="42" y="97"/>
                </a:cubicBezTo>
                <a:close/>
                <a:moveTo>
                  <a:pt x="60" y="97"/>
                </a:moveTo>
                <a:cubicBezTo>
                  <a:pt x="62" y="97"/>
                  <a:pt x="63" y="98"/>
                  <a:pt x="63" y="100"/>
                </a:cubicBezTo>
                <a:cubicBezTo>
                  <a:pt x="63" y="101"/>
                  <a:pt x="62" y="103"/>
                  <a:pt x="60" y="103"/>
                </a:cubicBezTo>
                <a:cubicBezTo>
                  <a:pt x="59" y="103"/>
                  <a:pt x="57" y="101"/>
                  <a:pt x="57" y="100"/>
                </a:cubicBezTo>
                <a:cubicBezTo>
                  <a:pt x="57" y="98"/>
                  <a:pt x="59" y="97"/>
                  <a:pt x="60" y="97"/>
                </a:cubicBezTo>
                <a:close/>
                <a:moveTo>
                  <a:pt x="42" y="115"/>
                </a:moveTo>
                <a:cubicBezTo>
                  <a:pt x="44" y="115"/>
                  <a:pt x="45" y="116"/>
                  <a:pt x="45" y="118"/>
                </a:cubicBezTo>
                <a:cubicBezTo>
                  <a:pt x="45" y="119"/>
                  <a:pt x="44" y="121"/>
                  <a:pt x="42" y="121"/>
                </a:cubicBezTo>
                <a:cubicBezTo>
                  <a:pt x="41" y="121"/>
                  <a:pt x="39" y="119"/>
                  <a:pt x="39" y="118"/>
                </a:cubicBezTo>
                <a:cubicBezTo>
                  <a:pt x="39" y="116"/>
                  <a:pt x="41" y="115"/>
                  <a:pt x="42" y="115"/>
                </a:cubicBezTo>
                <a:close/>
                <a:moveTo>
                  <a:pt x="60" y="115"/>
                </a:moveTo>
                <a:cubicBezTo>
                  <a:pt x="62" y="115"/>
                  <a:pt x="63" y="116"/>
                  <a:pt x="63" y="118"/>
                </a:cubicBezTo>
                <a:cubicBezTo>
                  <a:pt x="63" y="119"/>
                  <a:pt x="62" y="121"/>
                  <a:pt x="60" y="121"/>
                </a:cubicBezTo>
                <a:cubicBezTo>
                  <a:pt x="59" y="121"/>
                  <a:pt x="57" y="119"/>
                  <a:pt x="57" y="118"/>
                </a:cubicBezTo>
                <a:cubicBezTo>
                  <a:pt x="57" y="116"/>
                  <a:pt x="59" y="115"/>
                  <a:pt x="60" y="115"/>
                </a:cubicBezTo>
                <a:close/>
                <a:moveTo>
                  <a:pt x="69" y="88"/>
                </a:moveTo>
                <a:cubicBezTo>
                  <a:pt x="71" y="88"/>
                  <a:pt x="72" y="89"/>
                  <a:pt x="72" y="91"/>
                </a:cubicBezTo>
                <a:cubicBezTo>
                  <a:pt x="72" y="92"/>
                  <a:pt x="71" y="94"/>
                  <a:pt x="69" y="94"/>
                </a:cubicBezTo>
                <a:cubicBezTo>
                  <a:pt x="68" y="94"/>
                  <a:pt x="66" y="92"/>
                  <a:pt x="66" y="91"/>
                </a:cubicBezTo>
                <a:cubicBezTo>
                  <a:pt x="66" y="89"/>
                  <a:pt x="68" y="88"/>
                  <a:pt x="69" y="88"/>
                </a:cubicBezTo>
                <a:close/>
                <a:moveTo>
                  <a:pt x="88" y="88"/>
                </a:moveTo>
                <a:cubicBezTo>
                  <a:pt x="89" y="88"/>
                  <a:pt x="91" y="89"/>
                  <a:pt x="91" y="91"/>
                </a:cubicBezTo>
                <a:cubicBezTo>
                  <a:pt x="91" y="92"/>
                  <a:pt x="89" y="94"/>
                  <a:pt x="88" y="94"/>
                </a:cubicBezTo>
                <a:cubicBezTo>
                  <a:pt x="86" y="94"/>
                  <a:pt x="85" y="92"/>
                  <a:pt x="85" y="91"/>
                </a:cubicBezTo>
                <a:cubicBezTo>
                  <a:pt x="85" y="89"/>
                  <a:pt x="86" y="88"/>
                  <a:pt x="88" y="88"/>
                </a:cubicBezTo>
                <a:close/>
                <a:moveTo>
                  <a:pt x="69" y="106"/>
                </a:moveTo>
                <a:cubicBezTo>
                  <a:pt x="71" y="106"/>
                  <a:pt x="72" y="107"/>
                  <a:pt x="72" y="109"/>
                </a:cubicBezTo>
                <a:cubicBezTo>
                  <a:pt x="72" y="110"/>
                  <a:pt x="71" y="112"/>
                  <a:pt x="69" y="112"/>
                </a:cubicBezTo>
                <a:cubicBezTo>
                  <a:pt x="68" y="112"/>
                  <a:pt x="66" y="110"/>
                  <a:pt x="66" y="109"/>
                </a:cubicBezTo>
                <a:cubicBezTo>
                  <a:pt x="66" y="107"/>
                  <a:pt x="68" y="106"/>
                  <a:pt x="69" y="106"/>
                </a:cubicBezTo>
                <a:close/>
                <a:moveTo>
                  <a:pt x="88" y="106"/>
                </a:moveTo>
                <a:cubicBezTo>
                  <a:pt x="89" y="106"/>
                  <a:pt x="91" y="107"/>
                  <a:pt x="91" y="109"/>
                </a:cubicBezTo>
                <a:cubicBezTo>
                  <a:pt x="91" y="110"/>
                  <a:pt x="89" y="112"/>
                  <a:pt x="88" y="112"/>
                </a:cubicBezTo>
                <a:cubicBezTo>
                  <a:pt x="86" y="112"/>
                  <a:pt x="85" y="110"/>
                  <a:pt x="85" y="109"/>
                </a:cubicBezTo>
                <a:cubicBezTo>
                  <a:pt x="85" y="107"/>
                  <a:pt x="86" y="106"/>
                  <a:pt x="88" y="106"/>
                </a:cubicBezTo>
                <a:close/>
                <a:moveTo>
                  <a:pt x="78" y="97"/>
                </a:moveTo>
                <a:cubicBezTo>
                  <a:pt x="80" y="97"/>
                  <a:pt x="82" y="98"/>
                  <a:pt x="82" y="100"/>
                </a:cubicBezTo>
                <a:cubicBezTo>
                  <a:pt x="82" y="101"/>
                  <a:pt x="80" y="103"/>
                  <a:pt x="78" y="103"/>
                </a:cubicBezTo>
                <a:cubicBezTo>
                  <a:pt x="77" y="103"/>
                  <a:pt x="75" y="101"/>
                  <a:pt x="75" y="100"/>
                </a:cubicBezTo>
                <a:cubicBezTo>
                  <a:pt x="75" y="98"/>
                  <a:pt x="77" y="97"/>
                  <a:pt x="78" y="97"/>
                </a:cubicBezTo>
                <a:close/>
                <a:moveTo>
                  <a:pt x="97" y="97"/>
                </a:moveTo>
                <a:cubicBezTo>
                  <a:pt x="98" y="97"/>
                  <a:pt x="100" y="98"/>
                  <a:pt x="100" y="100"/>
                </a:cubicBezTo>
                <a:cubicBezTo>
                  <a:pt x="100" y="101"/>
                  <a:pt x="98" y="103"/>
                  <a:pt x="97" y="103"/>
                </a:cubicBezTo>
                <a:cubicBezTo>
                  <a:pt x="95" y="103"/>
                  <a:pt x="94" y="101"/>
                  <a:pt x="94" y="100"/>
                </a:cubicBezTo>
                <a:cubicBezTo>
                  <a:pt x="94" y="98"/>
                  <a:pt x="95" y="97"/>
                  <a:pt x="97" y="97"/>
                </a:cubicBezTo>
                <a:close/>
                <a:moveTo>
                  <a:pt x="78" y="115"/>
                </a:moveTo>
                <a:cubicBezTo>
                  <a:pt x="80" y="115"/>
                  <a:pt x="82" y="116"/>
                  <a:pt x="82" y="118"/>
                </a:cubicBezTo>
                <a:cubicBezTo>
                  <a:pt x="82" y="119"/>
                  <a:pt x="80" y="121"/>
                  <a:pt x="78" y="121"/>
                </a:cubicBezTo>
                <a:cubicBezTo>
                  <a:pt x="77" y="121"/>
                  <a:pt x="75" y="119"/>
                  <a:pt x="75" y="118"/>
                </a:cubicBezTo>
                <a:cubicBezTo>
                  <a:pt x="75" y="116"/>
                  <a:pt x="77" y="115"/>
                  <a:pt x="78" y="115"/>
                </a:cubicBezTo>
                <a:close/>
                <a:moveTo>
                  <a:pt x="97" y="115"/>
                </a:moveTo>
                <a:cubicBezTo>
                  <a:pt x="98" y="115"/>
                  <a:pt x="100" y="116"/>
                  <a:pt x="100" y="118"/>
                </a:cubicBezTo>
                <a:cubicBezTo>
                  <a:pt x="100" y="119"/>
                  <a:pt x="98" y="121"/>
                  <a:pt x="97" y="121"/>
                </a:cubicBezTo>
                <a:cubicBezTo>
                  <a:pt x="95" y="121"/>
                  <a:pt x="94" y="119"/>
                  <a:pt x="94" y="118"/>
                </a:cubicBezTo>
                <a:cubicBezTo>
                  <a:pt x="94" y="116"/>
                  <a:pt x="95" y="115"/>
                  <a:pt x="97" y="115"/>
                </a:cubicBezTo>
                <a:close/>
                <a:moveTo>
                  <a:pt x="24" y="133"/>
                </a:moveTo>
                <a:cubicBezTo>
                  <a:pt x="26" y="133"/>
                  <a:pt x="27" y="134"/>
                  <a:pt x="27" y="136"/>
                </a:cubicBezTo>
                <a:cubicBezTo>
                  <a:pt x="27" y="138"/>
                  <a:pt x="26" y="139"/>
                  <a:pt x="24" y="139"/>
                </a:cubicBezTo>
                <a:cubicBezTo>
                  <a:pt x="22" y="139"/>
                  <a:pt x="21" y="138"/>
                  <a:pt x="21" y="136"/>
                </a:cubicBezTo>
                <a:cubicBezTo>
                  <a:pt x="21" y="134"/>
                  <a:pt x="22" y="133"/>
                  <a:pt x="24" y="133"/>
                </a:cubicBezTo>
                <a:close/>
                <a:moveTo>
                  <a:pt x="33" y="124"/>
                </a:moveTo>
                <a:cubicBezTo>
                  <a:pt x="35" y="124"/>
                  <a:pt x="36" y="125"/>
                  <a:pt x="36" y="127"/>
                </a:cubicBezTo>
                <a:cubicBezTo>
                  <a:pt x="36" y="128"/>
                  <a:pt x="35" y="130"/>
                  <a:pt x="33" y="130"/>
                </a:cubicBezTo>
                <a:cubicBezTo>
                  <a:pt x="32" y="130"/>
                  <a:pt x="30" y="128"/>
                  <a:pt x="30" y="127"/>
                </a:cubicBezTo>
                <a:cubicBezTo>
                  <a:pt x="30" y="125"/>
                  <a:pt x="32" y="124"/>
                  <a:pt x="33" y="124"/>
                </a:cubicBezTo>
                <a:close/>
                <a:moveTo>
                  <a:pt x="51" y="124"/>
                </a:moveTo>
                <a:cubicBezTo>
                  <a:pt x="53" y="124"/>
                  <a:pt x="54" y="125"/>
                  <a:pt x="54" y="127"/>
                </a:cubicBezTo>
                <a:cubicBezTo>
                  <a:pt x="54" y="128"/>
                  <a:pt x="53" y="130"/>
                  <a:pt x="51" y="130"/>
                </a:cubicBezTo>
                <a:cubicBezTo>
                  <a:pt x="50" y="130"/>
                  <a:pt x="48" y="128"/>
                  <a:pt x="48" y="127"/>
                </a:cubicBezTo>
                <a:cubicBezTo>
                  <a:pt x="48" y="125"/>
                  <a:pt x="50" y="124"/>
                  <a:pt x="51" y="124"/>
                </a:cubicBezTo>
                <a:close/>
                <a:moveTo>
                  <a:pt x="33" y="142"/>
                </a:moveTo>
                <a:cubicBezTo>
                  <a:pt x="35" y="142"/>
                  <a:pt x="36" y="143"/>
                  <a:pt x="36" y="145"/>
                </a:cubicBezTo>
                <a:cubicBezTo>
                  <a:pt x="36" y="147"/>
                  <a:pt x="35" y="148"/>
                  <a:pt x="33" y="148"/>
                </a:cubicBezTo>
                <a:cubicBezTo>
                  <a:pt x="32" y="148"/>
                  <a:pt x="30" y="147"/>
                  <a:pt x="30" y="145"/>
                </a:cubicBezTo>
                <a:cubicBezTo>
                  <a:pt x="30" y="143"/>
                  <a:pt x="32" y="142"/>
                  <a:pt x="33" y="142"/>
                </a:cubicBezTo>
                <a:close/>
                <a:moveTo>
                  <a:pt x="51" y="142"/>
                </a:moveTo>
                <a:cubicBezTo>
                  <a:pt x="53" y="142"/>
                  <a:pt x="54" y="143"/>
                  <a:pt x="54" y="145"/>
                </a:cubicBezTo>
                <a:cubicBezTo>
                  <a:pt x="54" y="147"/>
                  <a:pt x="53" y="148"/>
                  <a:pt x="51" y="148"/>
                </a:cubicBezTo>
                <a:cubicBezTo>
                  <a:pt x="50" y="148"/>
                  <a:pt x="48" y="147"/>
                  <a:pt x="48" y="145"/>
                </a:cubicBezTo>
                <a:cubicBezTo>
                  <a:pt x="48" y="143"/>
                  <a:pt x="50" y="142"/>
                  <a:pt x="51" y="142"/>
                </a:cubicBezTo>
                <a:close/>
                <a:moveTo>
                  <a:pt x="42" y="133"/>
                </a:moveTo>
                <a:cubicBezTo>
                  <a:pt x="44" y="133"/>
                  <a:pt x="45" y="134"/>
                  <a:pt x="45" y="136"/>
                </a:cubicBezTo>
                <a:cubicBezTo>
                  <a:pt x="45" y="138"/>
                  <a:pt x="44" y="139"/>
                  <a:pt x="42" y="139"/>
                </a:cubicBezTo>
                <a:cubicBezTo>
                  <a:pt x="41" y="139"/>
                  <a:pt x="39" y="138"/>
                  <a:pt x="39" y="136"/>
                </a:cubicBezTo>
                <a:cubicBezTo>
                  <a:pt x="39" y="134"/>
                  <a:pt x="41" y="133"/>
                  <a:pt x="42" y="133"/>
                </a:cubicBezTo>
                <a:close/>
                <a:moveTo>
                  <a:pt x="60" y="133"/>
                </a:moveTo>
                <a:cubicBezTo>
                  <a:pt x="62" y="133"/>
                  <a:pt x="63" y="134"/>
                  <a:pt x="63" y="136"/>
                </a:cubicBezTo>
                <a:cubicBezTo>
                  <a:pt x="63" y="138"/>
                  <a:pt x="62" y="139"/>
                  <a:pt x="60" y="139"/>
                </a:cubicBezTo>
                <a:cubicBezTo>
                  <a:pt x="59" y="139"/>
                  <a:pt x="57" y="138"/>
                  <a:pt x="57" y="136"/>
                </a:cubicBezTo>
                <a:cubicBezTo>
                  <a:pt x="57" y="134"/>
                  <a:pt x="59" y="133"/>
                  <a:pt x="60" y="133"/>
                </a:cubicBezTo>
                <a:close/>
                <a:moveTo>
                  <a:pt x="69" y="124"/>
                </a:moveTo>
                <a:cubicBezTo>
                  <a:pt x="71" y="124"/>
                  <a:pt x="72" y="125"/>
                  <a:pt x="72" y="127"/>
                </a:cubicBezTo>
                <a:cubicBezTo>
                  <a:pt x="72" y="128"/>
                  <a:pt x="71" y="130"/>
                  <a:pt x="69" y="130"/>
                </a:cubicBezTo>
                <a:cubicBezTo>
                  <a:pt x="68" y="130"/>
                  <a:pt x="66" y="128"/>
                  <a:pt x="66" y="127"/>
                </a:cubicBezTo>
                <a:cubicBezTo>
                  <a:pt x="66" y="125"/>
                  <a:pt x="68" y="124"/>
                  <a:pt x="69" y="124"/>
                </a:cubicBezTo>
                <a:close/>
                <a:moveTo>
                  <a:pt x="88" y="124"/>
                </a:moveTo>
                <a:cubicBezTo>
                  <a:pt x="89" y="124"/>
                  <a:pt x="91" y="125"/>
                  <a:pt x="91" y="127"/>
                </a:cubicBezTo>
                <a:cubicBezTo>
                  <a:pt x="91" y="128"/>
                  <a:pt x="89" y="130"/>
                  <a:pt x="88" y="130"/>
                </a:cubicBezTo>
                <a:cubicBezTo>
                  <a:pt x="86" y="130"/>
                  <a:pt x="85" y="128"/>
                  <a:pt x="85" y="127"/>
                </a:cubicBezTo>
                <a:cubicBezTo>
                  <a:pt x="85" y="125"/>
                  <a:pt x="86" y="124"/>
                  <a:pt x="88" y="124"/>
                </a:cubicBezTo>
                <a:close/>
                <a:moveTo>
                  <a:pt x="69" y="142"/>
                </a:moveTo>
                <a:cubicBezTo>
                  <a:pt x="71" y="142"/>
                  <a:pt x="72" y="143"/>
                  <a:pt x="72" y="145"/>
                </a:cubicBezTo>
                <a:cubicBezTo>
                  <a:pt x="72" y="147"/>
                  <a:pt x="71" y="148"/>
                  <a:pt x="69" y="148"/>
                </a:cubicBezTo>
                <a:cubicBezTo>
                  <a:pt x="68" y="148"/>
                  <a:pt x="66" y="147"/>
                  <a:pt x="66" y="145"/>
                </a:cubicBezTo>
                <a:cubicBezTo>
                  <a:pt x="66" y="143"/>
                  <a:pt x="68" y="142"/>
                  <a:pt x="69" y="142"/>
                </a:cubicBezTo>
                <a:close/>
                <a:moveTo>
                  <a:pt x="88" y="142"/>
                </a:moveTo>
                <a:cubicBezTo>
                  <a:pt x="89" y="142"/>
                  <a:pt x="91" y="143"/>
                  <a:pt x="91" y="145"/>
                </a:cubicBezTo>
                <a:cubicBezTo>
                  <a:pt x="91" y="147"/>
                  <a:pt x="89" y="148"/>
                  <a:pt x="88" y="148"/>
                </a:cubicBezTo>
                <a:cubicBezTo>
                  <a:pt x="86" y="148"/>
                  <a:pt x="85" y="147"/>
                  <a:pt x="85" y="145"/>
                </a:cubicBezTo>
                <a:cubicBezTo>
                  <a:pt x="85" y="143"/>
                  <a:pt x="86" y="142"/>
                  <a:pt x="88" y="142"/>
                </a:cubicBezTo>
                <a:close/>
                <a:moveTo>
                  <a:pt x="78" y="133"/>
                </a:moveTo>
                <a:cubicBezTo>
                  <a:pt x="80" y="133"/>
                  <a:pt x="82" y="134"/>
                  <a:pt x="82" y="136"/>
                </a:cubicBezTo>
                <a:cubicBezTo>
                  <a:pt x="82" y="138"/>
                  <a:pt x="80" y="139"/>
                  <a:pt x="78" y="139"/>
                </a:cubicBezTo>
                <a:cubicBezTo>
                  <a:pt x="77" y="139"/>
                  <a:pt x="75" y="138"/>
                  <a:pt x="75" y="136"/>
                </a:cubicBezTo>
                <a:cubicBezTo>
                  <a:pt x="75" y="134"/>
                  <a:pt x="77" y="133"/>
                  <a:pt x="78" y="133"/>
                </a:cubicBezTo>
                <a:close/>
                <a:moveTo>
                  <a:pt x="97" y="133"/>
                </a:moveTo>
                <a:cubicBezTo>
                  <a:pt x="98" y="133"/>
                  <a:pt x="100" y="134"/>
                  <a:pt x="100" y="136"/>
                </a:cubicBezTo>
                <a:cubicBezTo>
                  <a:pt x="100" y="138"/>
                  <a:pt x="98" y="139"/>
                  <a:pt x="97" y="139"/>
                </a:cubicBezTo>
                <a:cubicBezTo>
                  <a:pt x="95" y="139"/>
                  <a:pt x="94" y="138"/>
                  <a:pt x="94" y="136"/>
                </a:cubicBezTo>
                <a:cubicBezTo>
                  <a:pt x="94" y="134"/>
                  <a:pt x="95" y="133"/>
                  <a:pt x="97" y="133"/>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2105">
            <a:extLst>
              <a:ext uri="{FF2B5EF4-FFF2-40B4-BE49-F238E27FC236}">
                <a16:creationId xmlns:a16="http://schemas.microsoft.com/office/drawing/2014/main" id="{D2EBA7FF-2049-134E-99D6-144C05331567}"/>
              </a:ext>
            </a:extLst>
          </p:cNvPr>
          <p:cNvSpPr>
            <a:spLocks noEditPoints="1"/>
          </p:cNvSpPr>
          <p:nvPr/>
        </p:nvSpPr>
        <p:spPr bwMode="auto">
          <a:xfrm>
            <a:off x="3476621" y="4694238"/>
            <a:ext cx="546100" cy="536575"/>
          </a:xfrm>
          <a:custGeom>
            <a:avLst/>
            <a:gdLst>
              <a:gd name="T0" fmla="*/ 117 w 160"/>
              <a:gd name="T1" fmla="*/ 33 h 156"/>
              <a:gd name="T2" fmla="*/ 115 w 160"/>
              <a:gd name="T3" fmla="*/ 8 h 156"/>
              <a:gd name="T4" fmla="*/ 79 w 160"/>
              <a:gd name="T5" fmla="*/ 16 h 156"/>
              <a:gd name="T6" fmla="*/ 44 w 160"/>
              <a:gd name="T7" fmla="*/ 8 h 156"/>
              <a:gd name="T8" fmla="*/ 41 w 160"/>
              <a:gd name="T9" fmla="*/ 33 h 156"/>
              <a:gd name="T10" fmla="*/ 0 w 160"/>
              <a:gd name="T11" fmla="*/ 72 h 156"/>
              <a:gd name="T12" fmla="*/ 14 w 160"/>
              <a:gd name="T13" fmla="*/ 156 h 156"/>
              <a:gd name="T14" fmla="*/ 149 w 160"/>
              <a:gd name="T15" fmla="*/ 72 h 156"/>
              <a:gd name="T16" fmla="*/ 160 w 160"/>
              <a:gd name="T17" fmla="*/ 33 h 156"/>
              <a:gd name="T18" fmla="*/ 111 w 160"/>
              <a:gd name="T19" fmla="*/ 12 h 156"/>
              <a:gd name="T20" fmla="*/ 111 w 160"/>
              <a:gd name="T21" fmla="*/ 32 h 156"/>
              <a:gd name="T22" fmla="*/ 70 w 160"/>
              <a:gd name="T23" fmla="*/ 33 h 156"/>
              <a:gd name="T24" fmla="*/ 83 w 160"/>
              <a:gd name="T25" fmla="*/ 20 h 156"/>
              <a:gd name="T26" fmla="*/ 47 w 160"/>
              <a:gd name="T27" fmla="*/ 32 h 156"/>
              <a:gd name="T28" fmla="*/ 47 w 160"/>
              <a:gd name="T29" fmla="*/ 12 h 156"/>
              <a:gd name="T30" fmla="*/ 75 w 160"/>
              <a:gd name="T31" fmla="*/ 20 h 156"/>
              <a:gd name="T32" fmla="*/ 64 w 160"/>
              <a:gd name="T33" fmla="*/ 32 h 156"/>
              <a:gd name="T34" fmla="*/ 63 w 160"/>
              <a:gd name="T35" fmla="*/ 33 h 156"/>
              <a:gd name="T36" fmla="*/ 47 w 160"/>
              <a:gd name="T37" fmla="*/ 32 h 156"/>
              <a:gd name="T38" fmla="*/ 6 w 160"/>
              <a:gd name="T39" fmla="*/ 39 h 156"/>
              <a:gd name="T40" fmla="*/ 60 w 160"/>
              <a:gd name="T41" fmla="*/ 39 h 156"/>
              <a:gd name="T42" fmla="*/ 79 w 160"/>
              <a:gd name="T43" fmla="*/ 39 h 156"/>
              <a:gd name="T44" fmla="*/ 14 w 160"/>
              <a:gd name="T45" fmla="*/ 67 h 156"/>
              <a:gd name="T46" fmla="*/ 79 w 160"/>
              <a:gd name="T47" fmla="*/ 72 h 156"/>
              <a:gd name="T48" fmla="*/ 20 w 160"/>
              <a:gd name="T49" fmla="*/ 106 h 156"/>
              <a:gd name="T50" fmla="*/ 79 w 160"/>
              <a:gd name="T51" fmla="*/ 72 h 156"/>
              <a:gd name="T52" fmla="*/ 79 w 160"/>
              <a:gd name="T53" fmla="*/ 111 h 156"/>
              <a:gd name="T54" fmla="*/ 20 w 160"/>
              <a:gd name="T55" fmla="*/ 151 h 156"/>
              <a:gd name="T56" fmla="*/ 84 w 160"/>
              <a:gd name="T57" fmla="*/ 151 h 156"/>
              <a:gd name="T58" fmla="*/ 143 w 160"/>
              <a:gd name="T59" fmla="*/ 111 h 156"/>
              <a:gd name="T60" fmla="*/ 84 w 160"/>
              <a:gd name="T61" fmla="*/ 151 h 156"/>
              <a:gd name="T62" fmla="*/ 84 w 160"/>
              <a:gd name="T63" fmla="*/ 106 h 156"/>
              <a:gd name="T64" fmla="*/ 143 w 160"/>
              <a:gd name="T65" fmla="*/ 72 h 156"/>
              <a:gd name="T66" fmla="*/ 154 w 160"/>
              <a:gd name="T67" fmla="*/ 67 h 156"/>
              <a:gd name="T68" fmla="*/ 84 w 160"/>
              <a:gd name="T69" fmla="*/ 67 h 156"/>
              <a:gd name="T70" fmla="*/ 112 w 160"/>
              <a:gd name="T71" fmla="*/ 39 h 156"/>
              <a:gd name="T72" fmla="*/ 154 w 160"/>
              <a:gd name="T73" fmla="*/ 6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56">
                <a:moveTo>
                  <a:pt x="160" y="33"/>
                </a:moveTo>
                <a:cubicBezTo>
                  <a:pt x="117" y="33"/>
                  <a:pt x="117" y="33"/>
                  <a:pt x="117" y="33"/>
                </a:cubicBezTo>
                <a:cubicBezTo>
                  <a:pt x="119" y="30"/>
                  <a:pt x="121" y="26"/>
                  <a:pt x="121" y="22"/>
                </a:cubicBezTo>
                <a:cubicBezTo>
                  <a:pt x="121" y="16"/>
                  <a:pt x="119" y="11"/>
                  <a:pt x="115" y="8"/>
                </a:cubicBezTo>
                <a:cubicBezTo>
                  <a:pt x="107" y="0"/>
                  <a:pt x="95" y="0"/>
                  <a:pt x="87" y="8"/>
                </a:cubicBezTo>
                <a:cubicBezTo>
                  <a:pt x="79" y="16"/>
                  <a:pt x="79" y="16"/>
                  <a:pt x="79" y="16"/>
                </a:cubicBezTo>
                <a:cubicBezTo>
                  <a:pt x="71" y="8"/>
                  <a:pt x="71" y="8"/>
                  <a:pt x="71" y="8"/>
                </a:cubicBezTo>
                <a:cubicBezTo>
                  <a:pt x="64" y="0"/>
                  <a:pt x="51" y="0"/>
                  <a:pt x="44" y="8"/>
                </a:cubicBezTo>
                <a:cubicBezTo>
                  <a:pt x="40" y="11"/>
                  <a:pt x="38" y="16"/>
                  <a:pt x="38" y="22"/>
                </a:cubicBezTo>
                <a:cubicBezTo>
                  <a:pt x="38" y="26"/>
                  <a:pt x="39" y="30"/>
                  <a:pt x="41" y="33"/>
                </a:cubicBezTo>
                <a:cubicBezTo>
                  <a:pt x="0" y="33"/>
                  <a:pt x="0" y="33"/>
                  <a:pt x="0" y="33"/>
                </a:cubicBezTo>
                <a:cubicBezTo>
                  <a:pt x="0" y="72"/>
                  <a:pt x="0" y="72"/>
                  <a:pt x="0" y="72"/>
                </a:cubicBezTo>
                <a:cubicBezTo>
                  <a:pt x="14" y="72"/>
                  <a:pt x="14" y="72"/>
                  <a:pt x="14" y="72"/>
                </a:cubicBezTo>
                <a:cubicBezTo>
                  <a:pt x="14" y="156"/>
                  <a:pt x="14" y="156"/>
                  <a:pt x="14" y="156"/>
                </a:cubicBezTo>
                <a:cubicBezTo>
                  <a:pt x="149" y="156"/>
                  <a:pt x="149" y="156"/>
                  <a:pt x="149" y="156"/>
                </a:cubicBezTo>
                <a:cubicBezTo>
                  <a:pt x="149" y="72"/>
                  <a:pt x="149" y="72"/>
                  <a:pt x="149" y="72"/>
                </a:cubicBezTo>
                <a:cubicBezTo>
                  <a:pt x="160" y="72"/>
                  <a:pt x="160" y="72"/>
                  <a:pt x="160" y="72"/>
                </a:cubicBezTo>
                <a:lnTo>
                  <a:pt x="160" y="33"/>
                </a:lnTo>
                <a:close/>
                <a:moveTo>
                  <a:pt x="91" y="12"/>
                </a:moveTo>
                <a:cubicBezTo>
                  <a:pt x="97" y="6"/>
                  <a:pt x="106" y="6"/>
                  <a:pt x="111" y="12"/>
                </a:cubicBezTo>
                <a:cubicBezTo>
                  <a:pt x="114" y="14"/>
                  <a:pt x="115" y="18"/>
                  <a:pt x="115" y="22"/>
                </a:cubicBezTo>
                <a:cubicBezTo>
                  <a:pt x="115" y="25"/>
                  <a:pt x="114" y="29"/>
                  <a:pt x="111" y="32"/>
                </a:cubicBezTo>
                <a:cubicBezTo>
                  <a:pt x="110" y="33"/>
                  <a:pt x="110" y="33"/>
                  <a:pt x="110" y="33"/>
                </a:cubicBezTo>
                <a:cubicBezTo>
                  <a:pt x="70" y="33"/>
                  <a:pt x="70" y="33"/>
                  <a:pt x="70" y="33"/>
                </a:cubicBezTo>
                <a:cubicBezTo>
                  <a:pt x="83" y="20"/>
                  <a:pt x="83" y="20"/>
                  <a:pt x="83" y="20"/>
                </a:cubicBezTo>
                <a:cubicBezTo>
                  <a:pt x="83" y="20"/>
                  <a:pt x="83" y="20"/>
                  <a:pt x="83" y="20"/>
                </a:cubicBezTo>
                <a:lnTo>
                  <a:pt x="91" y="12"/>
                </a:lnTo>
                <a:close/>
                <a:moveTo>
                  <a:pt x="47" y="32"/>
                </a:moveTo>
                <a:cubicBezTo>
                  <a:pt x="45" y="29"/>
                  <a:pt x="43" y="25"/>
                  <a:pt x="43" y="22"/>
                </a:cubicBezTo>
                <a:cubicBezTo>
                  <a:pt x="43" y="18"/>
                  <a:pt x="45" y="14"/>
                  <a:pt x="47" y="12"/>
                </a:cubicBezTo>
                <a:cubicBezTo>
                  <a:pt x="53" y="6"/>
                  <a:pt x="62" y="6"/>
                  <a:pt x="67" y="12"/>
                </a:cubicBezTo>
                <a:cubicBezTo>
                  <a:pt x="75" y="20"/>
                  <a:pt x="75" y="20"/>
                  <a:pt x="75" y="20"/>
                </a:cubicBezTo>
                <a:cubicBezTo>
                  <a:pt x="65" y="30"/>
                  <a:pt x="65" y="30"/>
                  <a:pt x="65" y="30"/>
                </a:cubicBezTo>
                <a:cubicBezTo>
                  <a:pt x="65" y="30"/>
                  <a:pt x="64" y="31"/>
                  <a:pt x="64" y="32"/>
                </a:cubicBezTo>
                <a:cubicBezTo>
                  <a:pt x="64" y="32"/>
                  <a:pt x="63" y="32"/>
                  <a:pt x="63" y="32"/>
                </a:cubicBezTo>
                <a:cubicBezTo>
                  <a:pt x="63" y="32"/>
                  <a:pt x="63" y="33"/>
                  <a:pt x="63" y="33"/>
                </a:cubicBezTo>
                <a:cubicBezTo>
                  <a:pt x="49" y="33"/>
                  <a:pt x="49" y="33"/>
                  <a:pt x="49" y="33"/>
                </a:cubicBezTo>
                <a:lnTo>
                  <a:pt x="47" y="32"/>
                </a:lnTo>
                <a:close/>
                <a:moveTo>
                  <a:pt x="6" y="67"/>
                </a:moveTo>
                <a:cubicBezTo>
                  <a:pt x="6" y="39"/>
                  <a:pt x="6" y="39"/>
                  <a:pt x="6" y="39"/>
                </a:cubicBezTo>
                <a:cubicBezTo>
                  <a:pt x="46" y="39"/>
                  <a:pt x="46" y="39"/>
                  <a:pt x="46" y="39"/>
                </a:cubicBezTo>
                <a:cubicBezTo>
                  <a:pt x="60" y="39"/>
                  <a:pt x="60" y="39"/>
                  <a:pt x="60" y="39"/>
                </a:cubicBezTo>
                <a:cubicBezTo>
                  <a:pt x="66" y="39"/>
                  <a:pt x="66" y="39"/>
                  <a:pt x="66" y="39"/>
                </a:cubicBezTo>
                <a:cubicBezTo>
                  <a:pt x="79" y="39"/>
                  <a:pt x="79" y="39"/>
                  <a:pt x="79" y="39"/>
                </a:cubicBezTo>
                <a:cubicBezTo>
                  <a:pt x="79" y="67"/>
                  <a:pt x="79" y="67"/>
                  <a:pt x="79" y="67"/>
                </a:cubicBezTo>
                <a:cubicBezTo>
                  <a:pt x="14" y="67"/>
                  <a:pt x="14" y="67"/>
                  <a:pt x="14" y="67"/>
                </a:cubicBezTo>
                <a:lnTo>
                  <a:pt x="6" y="67"/>
                </a:lnTo>
                <a:close/>
                <a:moveTo>
                  <a:pt x="79" y="72"/>
                </a:moveTo>
                <a:cubicBezTo>
                  <a:pt x="79" y="106"/>
                  <a:pt x="79" y="106"/>
                  <a:pt x="79" y="106"/>
                </a:cubicBezTo>
                <a:cubicBezTo>
                  <a:pt x="20" y="106"/>
                  <a:pt x="20" y="106"/>
                  <a:pt x="20" y="106"/>
                </a:cubicBezTo>
                <a:cubicBezTo>
                  <a:pt x="20" y="72"/>
                  <a:pt x="20" y="72"/>
                  <a:pt x="20" y="72"/>
                </a:cubicBezTo>
                <a:lnTo>
                  <a:pt x="79" y="72"/>
                </a:lnTo>
                <a:close/>
                <a:moveTo>
                  <a:pt x="20" y="111"/>
                </a:moveTo>
                <a:cubicBezTo>
                  <a:pt x="79" y="111"/>
                  <a:pt x="79" y="111"/>
                  <a:pt x="79" y="111"/>
                </a:cubicBezTo>
                <a:cubicBezTo>
                  <a:pt x="79" y="151"/>
                  <a:pt x="79" y="151"/>
                  <a:pt x="79" y="151"/>
                </a:cubicBezTo>
                <a:cubicBezTo>
                  <a:pt x="20" y="151"/>
                  <a:pt x="20" y="151"/>
                  <a:pt x="20" y="151"/>
                </a:cubicBezTo>
                <a:lnTo>
                  <a:pt x="20" y="111"/>
                </a:lnTo>
                <a:close/>
                <a:moveTo>
                  <a:pt x="84" y="151"/>
                </a:moveTo>
                <a:cubicBezTo>
                  <a:pt x="84" y="111"/>
                  <a:pt x="84" y="111"/>
                  <a:pt x="84" y="111"/>
                </a:cubicBezTo>
                <a:cubicBezTo>
                  <a:pt x="143" y="111"/>
                  <a:pt x="143" y="111"/>
                  <a:pt x="143" y="111"/>
                </a:cubicBezTo>
                <a:cubicBezTo>
                  <a:pt x="143" y="151"/>
                  <a:pt x="143" y="151"/>
                  <a:pt x="143" y="151"/>
                </a:cubicBezTo>
                <a:lnTo>
                  <a:pt x="84" y="151"/>
                </a:lnTo>
                <a:close/>
                <a:moveTo>
                  <a:pt x="143" y="106"/>
                </a:moveTo>
                <a:cubicBezTo>
                  <a:pt x="84" y="106"/>
                  <a:pt x="84" y="106"/>
                  <a:pt x="84" y="106"/>
                </a:cubicBezTo>
                <a:cubicBezTo>
                  <a:pt x="84" y="72"/>
                  <a:pt x="84" y="72"/>
                  <a:pt x="84" y="72"/>
                </a:cubicBezTo>
                <a:cubicBezTo>
                  <a:pt x="143" y="72"/>
                  <a:pt x="143" y="72"/>
                  <a:pt x="143" y="72"/>
                </a:cubicBezTo>
                <a:lnTo>
                  <a:pt x="143" y="106"/>
                </a:lnTo>
                <a:close/>
                <a:moveTo>
                  <a:pt x="154" y="67"/>
                </a:moveTo>
                <a:cubicBezTo>
                  <a:pt x="149" y="67"/>
                  <a:pt x="149" y="67"/>
                  <a:pt x="149" y="67"/>
                </a:cubicBezTo>
                <a:cubicBezTo>
                  <a:pt x="84" y="67"/>
                  <a:pt x="84" y="67"/>
                  <a:pt x="84" y="67"/>
                </a:cubicBezTo>
                <a:cubicBezTo>
                  <a:pt x="84" y="39"/>
                  <a:pt x="84" y="39"/>
                  <a:pt x="84" y="39"/>
                </a:cubicBezTo>
                <a:cubicBezTo>
                  <a:pt x="112" y="39"/>
                  <a:pt x="112" y="39"/>
                  <a:pt x="112" y="39"/>
                </a:cubicBezTo>
                <a:cubicBezTo>
                  <a:pt x="154" y="39"/>
                  <a:pt x="154" y="39"/>
                  <a:pt x="154" y="39"/>
                </a:cubicBezTo>
                <a:lnTo>
                  <a:pt x="154" y="67"/>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2106">
            <a:extLst>
              <a:ext uri="{FF2B5EF4-FFF2-40B4-BE49-F238E27FC236}">
                <a16:creationId xmlns:a16="http://schemas.microsoft.com/office/drawing/2014/main" id="{50817A0A-0176-3E46-A349-29DC6A4D3BFA}"/>
              </a:ext>
            </a:extLst>
          </p:cNvPr>
          <p:cNvSpPr>
            <a:spLocks noEditPoints="1"/>
          </p:cNvSpPr>
          <p:nvPr/>
        </p:nvSpPr>
        <p:spPr bwMode="auto">
          <a:xfrm>
            <a:off x="3476621" y="5319713"/>
            <a:ext cx="546100" cy="550863"/>
          </a:xfrm>
          <a:custGeom>
            <a:avLst/>
            <a:gdLst>
              <a:gd name="T0" fmla="*/ 157 w 160"/>
              <a:gd name="T1" fmla="*/ 58 h 160"/>
              <a:gd name="T2" fmla="*/ 154 w 160"/>
              <a:gd name="T3" fmla="*/ 39 h 160"/>
              <a:gd name="T4" fmla="*/ 148 w 160"/>
              <a:gd name="T5" fmla="*/ 39 h 160"/>
              <a:gd name="T6" fmla="*/ 140 w 160"/>
              <a:gd name="T7" fmla="*/ 27 h 160"/>
              <a:gd name="T8" fmla="*/ 123 w 160"/>
              <a:gd name="T9" fmla="*/ 12 h 160"/>
              <a:gd name="T10" fmla="*/ 124 w 160"/>
              <a:gd name="T11" fmla="*/ 11 h 160"/>
              <a:gd name="T12" fmla="*/ 112 w 160"/>
              <a:gd name="T13" fmla="*/ 7 h 160"/>
              <a:gd name="T14" fmla="*/ 80 w 160"/>
              <a:gd name="T15" fmla="*/ 0 h 160"/>
              <a:gd name="T16" fmla="*/ 48 w 160"/>
              <a:gd name="T17" fmla="*/ 7 h 160"/>
              <a:gd name="T18" fmla="*/ 36 w 160"/>
              <a:gd name="T19" fmla="*/ 11 h 160"/>
              <a:gd name="T20" fmla="*/ 37 w 160"/>
              <a:gd name="T21" fmla="*/ 12 h 160"/>
              <a:gd name="T22" fmla="*/ 20 w 160"/>
              <a:gd name="T23" fmla="*/ 27 h 160"/>
              <a:gd name="T24" fmla="*/ 12 w 160"/>
              <a:gd name="T25" fmla="*/ 39 h 160"/>
              <a:gd name="T26" fmla="*/ 6 w 160"/>
              <a:gd name="T27" fmla="*/ 39 h 160"/>
              <a:gd name="T28" fmla="*/ 3 w 160"/>
              <a:gd name="T29" fmla="*/ 58 h 160"/>
              <a:gd name="T30" fmla="*/ 3 w 160"/>
              <a:gd name="T31" fmla="*/ 102 h 160"/>
              <a:gd name="T32" fmla="*/ 6 w 160"/>
              <a:gd name="T33" fmla="*/ 121 h 160"/>
              <a:gd name="T34" fmla="*/ 12 w 160"/>
              <a:gd name="T35" fmla="*/ 121 h 160"/>
              <a:gd name="T36" fmla="*/ 20 w 160"/>
              <a:gd name="T37" fmla="*/ 133 h 160"/>
              <a:gd name="T38" fmla="*/ 37 w 160"/>
              <a:gd name="T39" fmla="*/ 148 h 160"/>
              <a:gd name="T40" fmla="*/ 36 w 160"/>
              <a:gd name="T41" fmla="*/ 149 h 160"/>
              <a:gd name="T42" fmla="*/ 48 w 160"/>
              <a:gd name="T43" fmla="*/ 153 h 160"/>
              <a:gd name="T44" fmla="*/ 80 w 160"/>
              <a:gd name="T45" fmla="*/ 160 h 160"/>
              <a:gd name="T46" fmla="*/ 112 w 160"/>
              <a:gd name="T47" fmla="*/ 153 h 160"/>
              <a:gd name="T48" fmla="*/ 124 w 160"/>
              <a:gd name="T49" fmla="*/ 149 h 160"/>
              <a:gd name="T50" fmla="*/ 123 w 160"/>
              <a:gd name="T51" fmla="*/ 148 h 160"/>
              <a:gd name="T52" fmla="*/ 140 w 160"/>
              <a:gd name="T53" fmla="*/ 133 h 160"/>
              <a:gd name="T54" fmla="*/ 148 w 160"/>
              <a:gd name="T55" fmla="*/ 121 h 160"/>
              <a:gd name="T56" fmla="*/ 154 w 160"/>
              <a:gd name="T57" fmla="*/ 121 h 160"/>
              <a:gd name="T58" fmla="*/ 157 w 160"/>
              <a:gd name="T59" fmla="*/ 102 h 160"/>
              <a:gd name="T60" fmla="*/ 95 w 160"/>
              <a:gd name="T61" fmla="*/ 120 h 160"/>
              <a:gd name="T62" fmla="*/ 41 w 160"/>
              <a:gd name="T63" fmla="*/ 144 h 160"/>
              <a:gd name="T64" fmla="*/ 57 w 160"/>
              <a:gd name="T65" fmla="*/ 151 h 160"/>
              <a:gd name="T66" fmla="*/ 65 w 160"/>
              <a:gd name="T67" fmla="*/ 40 h 160"/>
              <a:gd name="T68" fmla="*/ 37 w 160"/>
              <a:gd name="T69" fmla="*/ 80 h 160"/>
              <a:gd name="T70" fmla="*/ 43 w 160"/>
              <a:gd name="T71" fmla="*/ 80 h 160"/>
              <a:gd name="T72" fmla="*/ 119 w 160"/>
              <a:gd name="T73" fmla="*/ 16 h 160"/>
              <a:gd name="T74" fmla="*/ 103 w 160"/>
              <a:gd name="T75" fmla="*/ 9 h 160"/>
              <a:gd name="T76" fmla="*/ 122 w 160"/>
              <a:gd name="T77" fmla="*/ 70 h 160"/>
              <a:gd name="T78" fmla="*/ 70 w 160"/>
              <a:gd name="T79" fmla="*/ 38 h 160"/>
              <a:gd name="T80" fmla="*/ 80 w 160"/>
              <a:gd name="T81" fmla="*/ 123 h 160"/>
              <a:gd name="T82" fmla="*/ 9 w 160"/>
              <a:gd name="T83" fmla="*/ 11 h 160"/>
              <a:gd name="T84" fmla="*/ 9 w 160"/>
              <a:gd name="T85" fmla="*/ 15 h 160"/>
              <a:gd name="T86" fmla="*/ 8 w 160"/>
              <a:gd name="T87" fmla="*/ 28 h 160"/>
              <a:gd name="T88" fmla="*/ 26 w 160"/>
              <a:gd name="T89" fmla="*/ 11 h 160"/>
              <a:gd name="T90" fmla="*/ 152 w 160"/>
              <a:gd name="T91" fmla="*/ 28 h 160"/>
              <a:gd name="T92" fmla="*/ 149 w 160"/>
              <a:gd name="T93" fmla="*/ 9 h 160"/>
              <a:gd name="T94" fmla="*/ 132 w 160"/>
              <a:gd name="T95" fmla="*/ 8 h 160"/>
              <a:gd name="T96" fmla="*/ 132 w 160"/>
              <a:gd name="T97" fmla="*/ 8 h 160"/>
              <a:gd name="T98" fmla="*/ 145 w 160"/>
              <a:gd name="T99" fmla="*/ 147 h 160"/>
              <a:gd name="T100" fmla="*/ 132 w 160"/>
              <a:gd name="T101" fmla="*/ 152 h 160"/>
              <a:gd name="T102" fmla="*/ 152 w 160"/>
              <a:gd name="T103" fmla="*/ 140 h 160"/>
              <a:gd name="T104" fmla="*/ 26 w 160"/>
              <a:gd name="T105" fmla="*/ 154 h 160"/>
              <a:gd name="T106" fmla="*/ 8 w 160"/>
              <a:gd name="T107" fmla="*/ 140 h 160"/>
              <a:gd name="T108" fmla="*/ 8 w 160"/>
              <a:gd name="T109" fmla="*/ 140 h 160"/>
              <a:gd name="T110" fmla="*/ 9 w 160"/>
              <a:gd name="T111" fmla="*/ 14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60">
                <a:moveTo>
                  <a:pt x="157" y="102"/>
                </a:moveTo>
                <a:cubicBezTo>
                  <a:pt x="157" y="102"/>
                  <a:pt x="157" y="102"/>
                  <a:pt x="157" y="102"/>
                </a:cubicBezTo>
                <a:cubicBezTo>
                  <a:pt x="159" y="95"/>
                  <a:pt x="160" y="87"/>
                  <a:pt x="160" y="80"/>
                </a:cubicBezTo>
                <a:cubicBezTo>
                  <a:pt x="160" y="73"/>
                  <a:pt x="159" y="65"/>
                  <a:pt x="157" y="58"/>
                </a:cubicBezTo>
                <a:cubicBezTo>
                  <a:pt x="157" y="58"/>
                  <a:pt x="157" y="58"/>
                  <a:pt x="157" y="58"/>
                </a:cubicBezTo>
                <a:cubicBezTo>
                  <a:pt x="157" y="58"/>
                  <a:pt x="157" y="58"/>
                  <a:pt x="157" y="58"/>
                </a:cubicBezTo>
                <a:cubicBezTo>
                  <a:pt x="156" y="56"/>
                  <a:pt x="155" y="53"/>
                  <a:pt x="154" y="51"/>
                </a:cubicBezTo>
                <a:cubicBezTo>
                  <a:pt x="154" y="50"/>
                  <a:pt x="154" y="50"/>
                  <a:pt x="154" y="50"/>
                </a:cubicBezTo>
                <a:cubicBezTo>
                  <a:pt x="154" y="49"/>
                  <a:pt x="154" y="48"/>
                  <a:pt x="153" y="48"/>
                </a:cubicBezTo>
                <a:cubicBezTo>
                  <a:pt x="152" y="45"/>
                  <a:pt x="151" y="43"/>
                  <a:pt x="150" y="41"/>
                </a:cubicBezTo>
                <a:cubicBezTo>
                  <a:pt x="150" y="42"/>
                  <a:pt x="151" y="42"/>
                  <a:pt x="152" y="42"/>
                </a:cubicBezTo>
                <a:cubicBezTo>
                  <a:pt x="153" y="42"/>
                  <a:pt x="154" y="41"/>
                  <a:pt x="154" y="39"/>
                </a:cubicBezTo>
                <a:cubicBezTo>
                  <a:pt x="154" y="36"/>
                  <a:pt x="154" y="36"/>
                  <a:pt x="154" y="36"/>
                </a:cubicBezTo>
                <a:cubicBezTo>
                  <a:pt x="154" y="35"/>
                  <a:pt x="153" y="34"/>
                  <a:pt x="152" y="34"/>
                </a:cubicBezTo>
                <a:cubicBezTo>
                  <a:pt x="150" y="34"/>
                  <a:pt x="149" y="35"/>
                  <a:pt x="149" y="36"/>
                </a:cubicBezTo>
                <a:cubicBezTo>
                  <a:pt x="149" y="39"/>
                  <a:pt x="149" y="39"/>
                  <a:pt x="149" y="39"/>
                </a:cubicBezTo>
                <a:cubicBezTo>
                  <a:pt x="149" y="39"/>
                  <a:pt x="149" y="39"/>
                  <a:pt x="149" y="40"/>
                </a:cubicBezTo>
                <a:cubicBezTo>
                  <a:pt x="149" y="39"/>
                  <a:pt x="149" y="39"/>
                  <a:pt x="148" y="39"/>
                </a:cubicBezTo>
                <a:cubicBezTo>
                  <a:pt x="148" y="39"/>
                  <a:pt x="148" y="39"/>
                  <a:pt x="148" y="38"/>
                </a:cubicBezTo>
                <a:cubicBezTo>
                  <a:pt x="148" y="38"/>
                  <a:pt x="148" y="38"/>
                  <a:pt x="148" y="38"/>
                </a:cubicBezTo>
                <a:cubicBezTo>
                  <a:pt x="148" y="37"/>
                  <a:pt x="148" y="37"/>
                  <a:pt x="148" y="37"/>
                </a:cubicBezTo>
                <a:cubicBezTo>
                  <a:pt x="146" y="35"/>
                  <a:pt x="144" y="32"/>
                  <a:pt x="142" y="29"/>
                </a:cubicBezTo>
                <a:cubicBezTo>
                  <a:pt x="142" y="29"/>
                  <a:pt x="142" y="29"/>
                  <a:pt x="142" y="29"/>
                </a:cubicBezTo>
                <a:cubicBezTo>
                  <a:pt x="141" y="29"/>
                  <a:pt x="141" y="28"/>
                  <a:pt x="140" y="27"/>
                </a:cubicBezTo>
                <a:cubicBezTo>
                  <a:pt x="140" y="27"/>
                  <a:pt x="140" y="27"/>
                  <a:pt x="140" y="27"/>
                </a:cubicBezTo>
                <a:cubicBezTo>
                  <a:pt x="138" y="25"/>
                  <a:pt x="135" y="22"/>
                  <a:pt x="133" y="20"/>
                </a:cubicBezTo>
                <a:cubicBezTo>
                  <a:pt x="133" y="20"/>
                  <a:pt x="133" y="20"/>
                  <a:pt x="133" y="20"/>
                </a:cubicBezTo>
                <a:cubicBezTo>
                  <a:pt x="132" y="19"/>
                  <a:pt x="131" y="19"/>
                  <a:pt x="131" y="18"/>
                </a:cubicBezTo>
                <a:cubicBezTo>
                  <a:pt x="131" y="18"/>
                  <a:pt x="131" y="18"/>
                  <a:pt x="131" y="18"/>
                </a:cubicBezTo>
                <a:cubicBezTo>
                  <a:pt x="128" y="16"/>
                  <a:pt x="125" y="14"/>
                  <a:pt x="123" y="12"/>
                </a:cubicBezTo>
                <a:cubicBezTo>
                  <a:pt x="123" y="12"/>
                  <a:pt x="123" y="12"/>
                  <a:pt x="122" y="12"/>
                </a:cubicBezTo>
                <a:cubicBezTo>
                  <a:pt x="122" y="12"/>
                  <a:pt x="122" y="12"/>
                  <a:pt x="122" y="12"/>
                </a:cubicBezTo>
                <a:cubicBezTo>
                  <a:pt x="121" y="12"/>
                  <a:pt x="121" y="12"/>
                  <a:pt x="121" y="12"/>
                </a:cubicBezTo>
                <a:cubicBezTo>
                  <a:pt x="121" y="11"/>
                  <a:pt x="121" y="11"/>
                  <a:pt x="120" y="11"/>
                </a:cubicBezTo>
                <a:cubicBezTo>
                  <a:pt x="121" y="11"/>
                  <a:pt x="121" y="11"/>
                  <a:pt x="121" y="11"/>
                </a:cubicBezTo>
                <a:cubicBezTo>
                  <a:pt x="124" y="11"/>
                  <a:pt x="124" y="11"/>
                  <a:pt x="124" y="11"/>
                </a:cubicBezTo>
                <a:cubicBezTo>
                  <a:pt x="125" y="11"/>
                  <a:pt x="126" y="10"/>
                  <a:pt x="126" y="8"/>
                </a:cubicBezTo>
                <a:cubicBezTo>
                  <a:pt x="126" y="7"/>
                  <a:pt x="125" y="6"/>
                  <a:pt x="124" y="6"/>
                </a:cubicBezTo>
                <a:cubicBezTo>
                  <a:pt x="121" y="6"/>
                  <a:pt x="121" y="6"/>
                  <a:pt x="121" y="6"/>
                </a:cubicBezTo>
                <a:cubicBezTo>
                  <a:pt x="119" y="6"/>
                  <a:pt x="118" y="7"/>
                  <a:pt x="118" y="8"/>
                </a:cubicBezTo>
                <a:cubicBezTo>
                  <a:pt x="118" y="9"/>
                  <a:pt x="118" y="10"/>
                  <a:pt x="119" y="10"/>
                </a:cubicBezTo>
                <a:cubicBezTo>
                  <a:pt x="117" y="9"/>
                  <a:pt x="115" y="8"/>
                  <a:pt x="112" y="7"/>
                </a:cubicBezTo>
                <a:cubicBezTo>
                  <a:pt x="112" y="6"/>
                  <a:pt x="111" y="6"/>
                  <a:pt x="110" y="6"/>
                </a:cubicBezTo>
                <a:cubicBezTo>
                  <a:pt x="109" y="6"/>
                  <a:pt x="109" y="6"/>
                  <a:pt x="109" y="6"/>
                </a:cubicBezTo>
                <a:cubicBezTo>
                  <a:pt x="107" y="5"/>
                  <a:pt x="104" y="4"/>
                  <a:pt x="102" y="3"/>
                </a:cubicBezTo>
                <a:cubicBezTo>
                  <a:pt x="102" y="3"/>
                  <a:pt x="102" y="3"/>
                  <a:pt x="102" y="3"/>
                </a:cubicBezTo>
                <a:cubicBezTo>
                  <a:pt x="102" y="3"/>
                  <a:pt x="102" y="3"/>
                  <a:pt x="102" y="3"/>
                </a:cubicBezTo>
                <a:cubicBezTo>
                  <a:pt x="95" y="1"/>
                  <a:pt x="87" y="0"/>
                  <a:pt x="80" y="0"/>
                </a:cubicBezTo>
                <a:cubicBezTo>
                  <a:pt x="73" y="0"/>
                  <a:pt x="65" y="1"/>
                  <a:pt x="58" y="3"/>
                </a:cubicBezTo>
                <a:cubicBezTo>
                  <a:pt x="58" y="3"/>
                  <a:pt x="58" y="3"/>
                  <a:pt x="58" y="3"/>
                </a:cubicBezTo>
                <a:cubicBezTo>
                  <a:pt x="58" y="3"/>
                  <a:pt x="58" y="3"/>
                  <a:pt x="58" y="3"/>
                </a:cubicBezTo>
                <a:cubicBezTo>
                  <a:pt x="56" y="4"/>
                  <a:pt x="53" y="5"/>
                  <a:pt x="51" y="6"/>
                </a:cubicBezTo>
                <a:cubicBezTo>
                  <a:pt x="50" y="6"/>
                  <a:pt x="50" y="6"/>
                  <a:pt x="50" y="6"/>
                </a:cubicBezTo>
                <a:cubicBezTo>
                  <a:pt x="49" y="6"/>
                  <a:pt x="48" y="6"/>
                  <a:pt x="48" y="7"/>
                </a:cubicBezTo>
                <a:cubicBezTo>
                  <a:pt x="45" y="8"/>
                  <a:pt x="43" y="9"/>
                  <a:pt x="41" y="10"/>
                </a:cubicBezTo>
                <a:cubicBezTo>
                  <a:pt x="42" y="10"/>
                  <a:pt x="42" y="9"/>
                  <a:pt x="42" y="8"/>
                </a:cubicBezTo>
                <a:cubicBezTo>
                  <a:pt x="42" y="7"/>
                  <a:pt x="41" y="6"/>
                  <a:pt x="39" y="6"/>
                </a:cubicBezTo>
                <a:cubicBezTo>
                  <a:pt x="36" y="6"/>
                  <a:pt x="36" y="6"/>
                  <a:pt x="36" y="6"/>
                </a:cubicBezTo>
                <a:cubicBezTo>
                  <a:pt x="35" y="6"/>
                  <a:pt x="34" y="7"/>
                  <a:pt x="34" y="8"/>
                </a:cubicBezTo>
                <a:cubicBezTo>
                  <a:pt x="34" y="10"/>
                  <a:pt x="35" y="11"/>
                  <a:pt x="36" y="11"/>
                </a:cubicBezTo>
                <a:cubicBezTo>
                  <a:pt x="39" y="11"/>
                  <a:pt x="39" y="11"/>
                  <a:pt x="39" y="11"/>
                </a:cubicBezTo>
                <a:cubicBezTo>
                  <a:pt x="39" y="11"/>
                  <a:pt x="39" y="11"/>
                  <a:pt x="40" y="11"/>
                </a:cubicBezTo>
                <a:cubicBezTo>
                  <a:pt x="39" y="11"/>
                  <a:pt x="39" y="11"/>
                  <a:pt x="39" y="12"/>
                </a:cubicBezTo>
                <a:cubicBezTo>
                  <a:pt x="39" y="12"/>
                  <a:pt x="39" y="12"/>
                  <a:pt x="38" y="12"/>
                </a:cubicBezTo>
                <a:cubicBezTo>
                  <a:pt x="38" y="12"/>
                  <a:pt x="38" y="12"/>
                  <a:pt x="38" y="12"/>
                </a:cubicBezTo>
                <a:cubicBezTo>
                  <a:pt x="37" y="12"/>
                  <a:pt x="37" y="12"/>
                  <a:pt x="37" y="12"/>
                </a:cubicBezTo>
                <a:cubicBezTo>
                  <a:pt x="35" y="14"/>
                  <a:pt x="32" y="16"/>
                  <a:pt x="29" y="18"/>
                </a:cubicBezTo>
                <a:cubicBezTo>
                  <a:pt x="29" y="18"/>
                  <a:pt x="29" y="18"/>
                  <a:pt x="29" y="18"/>
                </a:cubicBezTo>
                <a:cubicBezTo>
                  <a:pt x="29" y="19"/>
                  <a:pt x="28" y="19"/>
                  <a:pt x="27" y="20"/>
                </a:cubicBezTo>
                <a:cubicBezTo>
                  <a:pt x="27" y="20"/>
                  <a:pt x="27" y="20"/>
                  <a:pt x="27" y="20"/>
                </a:cubicBezTo>
                <a:cubicBezTo>
                  <a:pt x="25" y="22"/>
                  <a:pt x="22" y="25"/>
                  <a:pt x="20" y="27"/>
                </a:cubicBezTo>
                <a:cubicBezTo>
                  <a:pt x="20" y="27"/>
                  <a:pt x="20" y="27"/>
                  <a:pt x="20" y="27"/>
                </a:cubicBezTo>
                <a:cubicBezTo>
                  <a:pt x="19" y="28"/>
                  <a:pt x="19" y="29"/>
                  <a:pt x="18" y="29"/>
                </a:cubicBezTo>
                <a:cubicBezTo>
                  <a:pt x="18" y="29"/>
                  <a:pt x="18" y="29"/>
                  <a:pt x="18" y="29"/>
                </a:cubicBezTo>
                <a:cubicBezTo>
                  <a:pt x="16" y="32"/>
                  <a:pt x="14" y="35"/>
                  <a:pt x="12" y="37"/>
                </a:cubicBezTo>
                <a:cubicBezTo>
                  <a:pt x="12" y="37"/>
                  <a:pt x="12" y="38"/>
                  <a:pt x="12" y="38"/>
                </a:cubicBezTo>
                <a:cubicBezTo>
                  <a:pt x="12" y="38"/>
                  <a:pt x="12" y="38"/>
                  <a:pt x="12" y="39"/>
                </a:cubicBezTo>
                <a:cubicBezTo>
                  <a:pt x="12" y="39"/>
                  <a:pt x="12" y="39"/>
                  <a:pt x="12" y="39"/>
                </a:cubicBezTo>
                <a:cubicBezTo>
                  <a:pt x="11" y="39"/>
                  <a:pt x="11" y="39"/>
                  <a:pt x="11" y="40"/>
                </a:cubicBezTo>
                <a:cubicBezTo>
                  <a:pt x="11" y="39"/>
                  <a:pt x="11" y="39"/>
                  <a:pt x="11" y="39"/>
                </a:cubicBezTo>
                <a:cubicBezTo>
                  <a:pt x="11" y="36"/>
                  <a:pt x="11" y="36"/>
                  <a:pt x="11" y="36"/>
                </a:cubicBezTo>
                <a:cubicBezTo>
                  <a:pt x="11" y="35"/>
                  <a:pt x="10" y="34"/>
                  <a:pt x="8" y="34"/>
                </a:cubicBezTo>
                <a:cubicBezTo>
                  <a:pt x="7" y="34"/>
                  <a:pt x="6" y="35"/>
                  <a:pt x="6" y="36"/>
                </a:cubicBezTo>
                <a:cubicBezTo>
                  <a:pt x="6" y="39"/>
                  <a:pt x="6" y="39"/>
                  <a:pt x="6" y="39"/>
                </a:cubicBezTo>
                <a:cubicBezTo>
                  <a:pt x="6" y="41"/>
                  <a:pt x="7" y="42"/>
                  <a:pt x="8" y="42"/>
                </a:cubicBezTo>
                <a:cubicBezTo>
                  <a:pt x="9" y="42"/>
                  <a:pt x="10" y="42"/>
                  <a:pt x="10" y="41"/>
                </a:cubicBezTo>
                <a:cubicBezTo>
                  <a:pt x="9" y="43"/>
                  <a:pt x="8" y="45"/>
                  <a:pt x="7" y="48"/>
                </a:cubicBezTo>
                <a:cubicBezTo>
                  <a:pt x="6" y="48"/>
                  <a:pt x="6" y="49"/>
                  <a:pt x="6" y="50"/>
                </a:cubicBezTo>
                <a:cubicBezTo>
                  <a:pt x="6" y="51"/>
                  <a:pt x="6" y="51"/>
                  <a:pt x="6" y="51"/>
                </a:cubicBezTo>
                <a:cubicBezTo>
                  <a:pt x="5" y="53"/>
                  <a:pt x="4" y="56"/>
                  <a:pt x="3" y="58"/>
                </a:cubicBezTo>
                <a:cubicBezTo>
                  <a:pt x="3" y="58"/>
                  <a:pt x="3" y="58"/>
                  <a:pt x="3" y="58"/>
                </a:cubicBezTo>
                <a:cubicBezTo>
                  <a:pt x="3" y="58"/>
                  <a:pt x="3" y="58"/>
                  <a:pt x="3" y="58"/>
                </a:cubicBezTo>
                <a:cubicBezTo>
                  <a:pt x="1" y="65"/>
                  <a:pt x="0" y="73"/>
                  <a:pt x="0" y="80"/>
                </a:cubicBezTo>
                <a:cubicBezTo>
                  <a:pt x="0" y="87"/>
                  <a:pt x="1" y="95"/>
                  <a:pt x="3" y="102"/>
                </a:cubicBezTo>
                <a:cubicBezTo>
                  <a:pt x="3" y="102"/>
                  <a:pt x="3" y="102"/>
                  <a:pt x="3" y="102"/>
                </a:cubicBezTo>
                <a:cubicBezTo>
                  <a:pt x="3" y="102"/>
                  <a:pt x="3" y="102"/>
                  <a:pt x="3" y="102"/>
                </a:cubicBezTo>
                <a:cubicBezTo>
                  <a:pt x="4" y="104"/>
                  <a:pt x="5" y="107"/>
                  <a:pt x="6" y="109"/>
                </a:cubicBezTo>
                <a:cubicBezTo>
                  <a:pt x="6" y="110"/>
                  <a:pt x="6" y="110"/>
                  <a:pt x="6" y="110"/>
                </a:cubicBezTo>
                <a:cubicBezTo>
                  <a:pt x="6" y="111"/>
                  <a:pt x="6" y="112"/>
                  <a:pt x="7" y="112"/>
                </a:cubicBezTo>
                <a:cubicBezTo>
                  <a:pt x="8" y="115"/>
                  <a:pt x="9" y="117"/>
                  <a:pt x="10" y="119"/>
                </a:cubicBezTo>
                <a:cubicBezTo>
                  <a:pt x="10" y="118"/>
                  <a:pt x="9" y="118"/>
                  <a:pt x="8" y="118"/>
                </a:cubicBezTo>
                <a:cubicBezTo>
                  <a:pt x="7" y="118"/>
                  <a:pt x="6" y="119"/>
                  <a:pt x="6" y="121"/>
                </a:cubicBezTo>
                <a:cubicBezTo>
                  <a:pt x="6" y="124"/>
                  <a:pt x="6" y="124"/>
                  <a:pt x="6" y="124"/>
                </a:cubicBezTo>
                <a:cubicBezTo>
                  <a:pt x="6" y="125"/>
                  <a:pt x="7" y="126"/>
                  <a:pt x="8" y="126"/>
                </a:cubicBezTo>
                <a:cubicBezTo>
                  <a:pt x="10" y="126"/>
                  <a:pt x="11" y="125"/>
                  <a:pt x="11" y="124"/>
                </a:cubicBezTo>
                <a:cubicBezTo>
                  <a:pt x="11" y="121"/>
                  <a:pt x="11" y="121"/>
                  <a:pt x="11" y="121"/>
                </a:cubicBezTo>
                <a:cubicBezTo>
                  <a:pt x="11" y="121"/>
                  <a:pt x="11" y="121"/>
                  <a:pt x="11" y="120"/>
                </a:cubicBezTo>
                <a:cubicBezTo>
                  <a:pt x="11" y="121"/>
                  <a:pt x="11" y="121"/>
                  <a:pt x="12" y="121"/>
                </a:cubicBezTo>
                <a:cubicBezTo>
                  <a:pt x="12" y="121"/>
                  <a:pt x="12" y="121"/>
                  <a:pt x="12" y="121"/>
                </a:cubicBezTo>
                <a:cubicBezTo>
                  <a:pt x="12" y="122"/>
                  <a:pt x="12" y="122"/>
                  <a:pt x="12" y="122"/>
                </a:cubicBezTo>
                <a:cubicBezTo>
                  <a:pt x="12" y="123"/>
                  <a:pt x="12" y="123"/>
                  <a:pt x="12" y="123"/>
                </a:cubicBezTo>
                <a:cubicBezTo>
                  <a:pt x="14" y="125"/>
                  <a:pt x="16" y="128"/>
                  <a:pt x="18" y="131"/>
                </a:cubicBezTo>
                <a:cubicBezTo>
                  <a:pt x="18" y="131"/>
                  <a:pt x="18" y="131"/>
                  <a:pt x="18" y="131"/>
                </a:cubicBezTo>
                <a:cubicBezTo>
                  <a:pt x="19" y="132"/>
                  <a:pt x="19" y="132"/>
                  <a:pt x="20" y="133"/>
                </a:cubicBezTo>
                <a:cubicBezTo>
                  <a:pt x="20" y="133"/>
                  <a:pt x="20" y="133"/>
                  <a:pt x="20" y="133"/>
                </a:cubicBezTo>
                <a:cubicBezTo>
                  <a:pt x="22" y="135"/>
                  <a:pt x="25" y="138"/>
                  <a:pt x="27" y="140"/>
                </a:cubicBezTo>
                <a:cubicBezTo>
                  <a:pt x="27" y="140"/>
                  <a:pt x="27" y="140"/>
                  <a:pt x="27" y="140"/>
                </a:cubicBezTo>
                <a:cubicBezTo>
                  <a:pt x="28" y="141"/>
                  <a:pt x="29" y="141"/>
                  <a:pt x="29" y="142"/>
                </a:cubicBezTo>
                <a:cubicBezTo>
                  <a:pt x="29" y="142"/>
                  <a:pt x="29" y="142"/>
                  <a:pt x="29" y="142"/>
                </a:cubicBezTo>
                <a:cubicBezTo>
                  <a:pt x="32" y="144"/>
                  <a:pt x="35" y="146"/>
                  <a:pt x="37" y="148"/>
                </a:cubicBezTo>
                <a:cubicBezTo>
                  <a:pt x="37" y="148"/>
                  <a:pt x="38" y="148"/>
                  <a:pt x="38" y="148"/>
                </a:cubicBezTo>
                <a:cubicBezTo>
                  <a:pt x="38" y="148"/>
                  <a:pt x="38" y="148"/>
                  <a:pt x="38" y="148"/>
                </a:cubicBezTo>
                <a:cubicBezTo>
                  <a:pt x="39" y="148"/>
                  <a:pt x="39" y="148"/>
                  <a:pt x="39" y="148"/>
                </a:cubicBezTo>
                <a:cubicBezTo>
                  <a:pt x="39" y="149"/>
                  <a:pt x="39" y="149"/>
                  <a:pt x="40" y="149"/>
                </a:cubicBezTo>
                <a:cubicBezTo>
                  <a:pt x="39" y="149"/>
                  <a:pt x="39" y="149"/>
                  <a:pt x="39" y="149"/>
                </a:cubicBezTo>
                <a:cubicBezTo>
                  <a:pt x="36" y="149"/>
                  <a:pt x="36" y="149"/>
                  <a:pt x="36" y="149"/>
                </a:cubicBezTo>
                <a:cubicBezTo>
                  <a:pt x="35" y="149"/>
                  <a:pt x="34" y="150"/>
                  <a:pt x="34" y="152"/>
                </a:cubicBezTo>
                <a:cubicBezTo>
                  <a:pt x="34" y="153"/>
                  <a:pt x="35" y="154"/>
                  <a:pt x="36" y="154"/>
                </a:cubicBezTo>
                <a:cubicBezTo>
                  <a:pt x="39" y="154"/>
                  <a:pt x="39" y="154"/>
                  <a:pt x="39" y="154"/>
                </a:cubicBezTo>
                <a:cubicBezTo>
                  <a:pt x="41" y="154"/>
                  <a:pt x="42" y="153"/>
                  <a:pt x="42" y="152"/>
                </a:cubicBezTo>
                <a:cubicBezTo>
                  <a:pt x="42" y="151"/>
                  <a:pt x="42" y="150"/>
                  <a:pt x="41" y="150"/>
                </a:cubicBezTo>
                <a:cubicBezTo>
                  <a:pt x="43" y="151"/>
                  <a:pt x="45" y="152"/>
                  <a:pt x="48" y="153"/>
                </a:cubicBezTo>
                <a:cubicBezTo>
                  <a:pt x="48" y="154"/>
                  <a:pt x="49" y="154"/>
                  <a:pt x="50" y="154"/>
                </a:cubicBezTo>
                <a:cubicBezTo>
                  <a:pt x="51" y="154"/>
                  <a:pt x="51" y="154"/>
                  <a:pt x="51" y="154"/>
                </a:cubicBezTo>
                <a:cubicBezTo>
                  <a:pt x="53" y="155"/>
                  <a:pt x="56" y="156"/>
                  <a:pt x="58" y="157"/>
                </a:cubicBezTo>
                <a:cubicBezTo>
                  <a:pt x="58" y="157"/>
                  <a:pt x="58" y="157"/>
                  <a:pt x="58" y="157"/>
                </a:cubicBezTo>
                <a:cubicBezTo>
                  <a:pt x="58" y="157"/>
                  <a:pt x="58" y="157"/>
                  <a:pt x="58" y="157"/>
                </a:cubicBezTo>
                <a:cubicBezTo>
                  <a:pt x="65" y="159"/>
                  <a:pt x="73" y="160"/>
                  <a:pt x="80" y="160"/>
                </a:cubicBezTo>
                <a:cubicBezTo>
                  <a:pt x="87" y="160"/>
                  <a:pt x="95" y="159"/>
                  <a:pt x="102" y="157"/>
                </a:cubicBezTo>
                <a:cubicBezTo>
                  <a:pt x="102" y="157"/>
                  <a:pt x="102" y="157"/>
                  <a:pt x="102" y="157"/>
                </a:cubicBezTo>
                <a:cubicBezTo>
                  <a:pt x="102" y="157"/>
                  <a:pt x="102" y="157"/>
                  <a:pt x="102" y="157"/>
                </a:cubicBezTo>
                <a:cubicBezTo>
                  <a:pt x="104" y="156"/>
                  <a:pt x="107" y="155"/>
                  <a:pt x="109" y="154"/>
                </a:cubicBezTo>
                <a:cubicBezTo>
                  <a:pt x="110" y="154"/>
                  <a:pt x="110" y="154"/>
                  <a:pt x="110" y="154"/>
                </a:cubicBezTo>
                <a:cubicBezTo>
                  <a:pt x="111" y="154"/>
                  <a:pt x="112" y="154"/>
                  <a:pt x="112" y="153"/>
                </a:cubicBezTo>
                <a:cubicBezTo>
                  <a:pt x="115" y="152"/>
                  <a:pt x="117" y="151"/>
                  <a:pt x="119" y="150"/>
                </a:cubicBezTo>
                <a:cubicBezTo>
                  <a:pt x="118" y="150"/>
                  <a:pt x="118" y="151"/>
                  <a:pt x="118" y="152"/>
                </a:cubicBezTo>
                <a:cubicBezTo>
                  <a:pt x="118" y="153"/>
                  <a:pt x="119" y="154"/>
                  <a:pt x="121" y="154"/>
                </a:cubicBezTo>
                <a:cubicBezTo>
                  <a:pt x="124" y="154"/>
                  <a:pt x="124" y="154"/>
                  <a:pt x="124" y="154"/>
                </a:cubicBezTo>
                <a:cubicBezTo>
                  <a:pt x="125" y="154"/>
                  <a:pt x="126" y="153"/>
                  <a:pt x="126" y="152"/>
                </a:cubicBezTo>
                <a:cubicBezTo>
                  <a:pt x="126" y="150"/>
                  <a:pt x="125" y="149"/>
                  <a:pt x="124" y="149"/>
                </a:cubicBezTo>
                <a:cubicBezTo>
                  <a:pt x="121" y="149"/>
                  <a:pt x="121" y="149"/>
                  <a:pt x="121" y="149"/>
                </a:cubicBezTo>
                <a:cubicBezTo>
                  <a:pt x="121" y="149"/>
                  <a:pt x="121" y="149"/>
                  <a:pt x="120" y="149"/>
                </a:cubicBezTo>
                <a:cubicBezTo>
                  <a:pt x="121" y="149"/>
                  <a:pt x="121" y="149"/>
                  <a:pt x="121" y="148"/>
                </a:cubicBezTo>
                <a:cubicBezTo>
                  <a:pt x="121" y="148"/>
                  <a:pt x="121" y="148"/>
                  <a:pt x="122" y="148"/>
                </a:cubicBezTo>
                <a:cubicBezTo>
                  <a:pt x="122" y="148"/>
                  <a:pt x="122" y="148"/>
                  <a:pt x="122" y="148"/>
                </a:cubicBezTo>
                <a:cubicBezTo>
                  <a:pt x="123" y="148"/>
                  <a:pt x="123" y="148"/>
                  <a:pt x="123" y="148"/>
                </a:cubicBezTo>
                <a:cubicBezTo>
                  <a:pt x="125" y="146"/>
                  <a:pt x="128" y="144"/>
                  <a:pt x="131" y="142"/>
                </a:cubicBezTo>
                <a:cubicBezTo>
                  <a:pt x="131" y="142"/>
                  <a:pt x="131" y="142"/>
                  <a:pt x="131" y="142"/>
                </a:cubicBezTo>
                <a:cubicBezTo>
                  <a:pt x="132" y="141"/>
                  <a:pt x="132" y="141"/>
                  <a:pt x="133" y="140"/>
                </a:cubicBezTo>
                <a:cubicBezTo>
                  <a:pt x="133" y="140"/>
                  <a:pt x="133" y="140"/>
                  <a:pt x="133" y="140"/>
                </a:cubicBezTo>
                <a:cubicBezTo>
                  <a:pt x="135" y="138"/>
                  <a:pt x="138" y="135"/>
                  <a:pt x="140" y="133"/>
                </a:cubicBezTo>
                <a:cubicBezTo>
                  <a:pt x="140" y="133"/>
                  <a:pt x="140" y="133"/>
                  <a:pt x="140" y="133"/>
                </a:cubicBezTo>
                <a:cubicBezTo>
                  <a:pt x="141" y="132"/>
                  <a:pt x="141" y="131"/>
                  <a:pt x="142" y="131"/>
                </a:cubicBezTo>
                <a:cubicBezTo>
                  <a:pt x="142" y="131"/>
                  <a:pt x="142" y="131"/>
                  <a:pt x="142" y="131"/>
                </a:cubicBezTo>
                <a:cubicBezTo>
                  <a:pt x="144" y="128"/>
                  <a:pt x="146" y="125"/>
                  <a:pt x="148" y="123"/>
                </a:cubicBezTo>
                <a:cubicBezTo>
                  <a:pt x="148" y="123"/>
                  <a:pt x="148" y="123"/>
                  <a:pt x="148" y="122"/>
                </a:cubicBezTo>
                <a:cubicBezTo>
                  <a:pt x="148" y="122"/>
                  <a:pt x="148" y="122"/>
                  <a:pt x="148" y="121"/>
                </a:cubicBezTo>
                <a:cubicBezTo>
                  <a:pt x="148" y="121"/>
                  <a:pt x="148" y="121"/>
                  <a:pt x="148" y="121"/>
                </a:cubicBezTo>
                <a:cubicBezTo>
                  <a:pt x="149" y="121"/>
                  <a:pt x="149" y="121"/>
                  <a:pt x="149" y="120"/>
                </a:cubicBezTo>
                <a:cubicBezTo>
                  <a:pt x="149" y="121"/>
                  <a:pt x="149" y="121"/>
                  <a:pt x="149" y="121"/>
                </a:cubicBezTo>
                <a:cubicBezTo>
                  <a:pt x="149" y="124"/>
                  <a:pt x="149" y="124"/>
                  <a:pt x="149" y="124"/>
                </a:cubicBezTo>
                <a:cubicBezTo>
                  <a:pt x="149" y="125"/>
                  <a:pt x="150" y="126"/>
                  <a:pt x="152" y="126"/>
                </a:cubicBezTo>
                <a:cubicBezTo>
                  <a:pt x="153" y="126"/>
                  <a:pt x="154" y="125"/>
                  <a:pt x="154" y="124"/>
                </a:cubicBezTo>
                <a:cubicBezTo>
                  <a:pt x="154" y="121"/>
                  <a:pt x="154" y="121"/>
                  <a:pt x="154" y="121"/>
                </a:cubicBezTo>
                <a:cubicBezTo>
                  <a:pt x="154" y="119"/>
                  <a:pt x="153" y="118"/>
                  <a:pt x="152" y="118"/>
                </a:cubicBezTo>
                <a:cubicBezTo>
                  <a:pt x="151" y="118"/>
                  <a:pt x="150" y="118"/>
                  <a:pt x="150" y="119"/>
                </a:cubicBezTo>
                <a:cubicBezTo>
                  <a:pt x="151" y="117"/>
                  <a:pt x="152" y="115"/>
                  <a:pt x="153" y="112"/>
                </a:cubicBezTo>
                <a:cubicBezTo>
                  <a:pt x="154" y="112"/>
                  <a:pt x="154" y="111"/>
                  <a:pt x="154" y="110"/>
                </a:cubicBezTo>
                <a:cubicBezTo>
                  <a:pt x="154" y="109"/>
                  <a:pt x="154" y="109"/>
                  <a:pt x="154" y="109"/>
                </a:cubicBezTo>
                <a:cubicBezTo>
                  <a:pt x="155" y="107"/>
                  <a:pt x="156" y="104"/>
                  <a:pt x="157" y="102"/>
                </a:cubicBezTo>
                <a:cubicBezTo>
                  <a:pt x="157" y="102"/>
                  <a:pt x="157" y="102"/>
                  <a:pt x="157" y="102"/>
                </a:cubicBezTo>
                <a:close/>
                <a:moveTo>
                  <a:pt x="144" y="119"/>
                </a:moveTo>
                <a:cubicBezTo>
                  <a:pt x="137" y="129"/>
                  <a:pt x="129" y="137"/>
                  <a:pt x="119" y="144"/>
                </a:cubicBezTo>
                <a:cubicBezTo>
                  <a:pt x="119" y="144"/>
                  <a:pt x="119" y="144"/>
                  <a:pt x="118" y="144"/>
                </a:cubicBezTo>
                <a:cubicBezTo>
                  <a:pt x="114" y="147"/>
                  <a:pt x="108" y="149"/>
                  <a:pt x="103" y="151"/>
                </a:cubicBezTo>
                <a:cubicBezTo>
                  <a:pt x="95" y="120"/>
                  <a:pt x="95" y="120"/>
                  <a:pt x="95" y="120"/>
                </a:cubicBezTo>
                <a:cubicBezTo>
                  <a:pt x="107" y="116"/>
                  <a:pt x="116" y="107"/>
                  <a:pt x="120" y="95"/>
                </a:cubicBezTo>
                <a:cubicBezTo>
                  <a:pt x="151" y="103"/>
                  <a:pt x="151" y="103"/>
                  <a:pt x="151" y="103"/>
                </a:cubicBezTo>
                <a:cubicBezTo>
                  <a:pt x="149" y="108"/>
                  <a:pt x="147" y="114"/>
                  <a:pt x="144" y="119"/>
                </a:cubicBezTo>
                <a:cubicBezTo>
                  <a:pt x="144" y="119"/>
                  <a:pt x="144" y="119"/>
                  <a:pt x="144" y="119"/>
                </a:cubicBezTo>
                <a:close/>
                <a:moveTo>
                  <a:pt x="42" y="144"/>
                </a:moveTo>
                <a:cubicBezTo>
                  <a:pt x="41" y="144"/>
                  <a:pt x="41" y="144"/>
                  <a:pt x="41" y="144"/>
                </a:cubicBezTo>
                <a:cubicBezTo>
                  <a:pt x="31" y="137"/>
                  <a:pt x="23" y="129"/>
                  <a:pt x="16" y="119"/>
                </a:cubicBezTo>
                <a:cubicBezTo>
                  <a:pt x="16" y="119"/>
                  <a:pt x="16" y="119"/>
                  <a:pt x="16" y="119"/>
                </a:cubicBezTo>
                <a:cubicBezTo>
                  <a:pt x="13" y="114"/>
                  <a:pt x="11" y="108"/>
                  <a:pt x="9" y="103"/>
                </a:cubicBezTo>
                <a:cubicBezTo>
                  <a:pt x="40" y="95"/>
                  <a:pt x="40" y="95"/>
                  <a:pt x="40" y="95"/>
                </a:cubicBezTo>
                <a:cubicBezTo>
                  <a:pt x="44" y="107"/>
                  <a:pt x="53" y="116"/>
                  <a:pt x="65" y="120"/>
                </a:cubicBezTo>
                <a:cubicBezTo>
                  <a:pt x="57" y="151"/>
                  <a:pt x="57" y="151"/>
                  <a:pt x="57" y="151"/>
                </a:cubicBezTo>
                <a:cubicBezTo>
                  <a:pt x="52" y="149"/>
                  <a:pt x="46" y="147"/>
                  <a:pt x="42" y="144"/>
                </a:cubicBezTo>
                <a:close/>
                <a:moveTo>
                  <a:pt x="16" y="41"/>
                </a:moveTo>
                <a:cubicBezTo>
                  <a:pt x="23" y="31"/>
                  <a:pt x="31" y="23"/>
                  <a:pt x="41" y="16"/>
                </a:cubicBezTo>
                <a:cubicBezTo>
                  <a:pt x="41" y="16"/>
                  <a:pt x="41" y="16"/>
                  <a:pt x="42" y="16"/>
                </a:cubicBezTo>
                <a:cubicBezTo>
                  <a:pt x="46" y="13"/>
                  <a:pt x="52" y="11"/>
                  <a:pt x="57" y="9"/>
                </a:cubicBezTo>
                <a:cubicBezTo>
                  <a:pt x="65" y="40"/>
                  <a:pt x="65" y="40"/>
                  <a:pt x="65" y="40"/>
                </a:cubicBezTo>
                <a:cubicBezTo>
                  <a:pt x="53" y="44"/>
                  <a:pt x="44" y="53"/>
                  <a:pt x="40" y="65"/>
                </a:cubicBezTo>
                <a:cubicBezTo>
                  <a:pt x="9" y="57"/>
                  <a:pt x="9" y="57"/>
                  <a:pt x="9" y="57"/>
                </a:cubicBezTo>
                <a:cubicBezTo>
                  <a:pt x="11" y="52"/>
                  <a:pt x="13" y="46"/>
                  <a:pt x="16" y="41"/>
                </a:cubicBezTo>
                <a:cubicBezTo>
                  <a:pt x="16" y="41"/>
                  <a:pt x="16" y="41"/>
                  <a:pt x="16" y="41"/>
                </a:cubicBezTo>
                <a:close/>
                <a:moveTo>
                  <a:pt x="38" y="70"/>
                </a:moveTo>
                <a:cubicBezTo>
                  <a:pt x="38" y="73"/>
                  <a:pt x="37" y="77"/>
                  <a:pt x="37" y="80"/>
                </a:cubicBezTo>
                <a:cubicBezTo>
                  <a:pt x="37" y="83"/>
                  <a:pt x="38" y="87"/>
                  <a:pt x="38" y="90"/>
                </a:cubicBezTo>
                <a:cubicBezTo>
                  <a:pt x="8" y="98"/>
                  <a:pt x="8" y="98"/>
                  <a:pt x="8" y="98"/>
                </a:cubicBezTo>
                <a:cubicBezTo>
                  <a:pt x="6" y="92"/>
                  <a:pt x="6" y="86"/>
                  <a:pt x="6" y="80"/>
                </a:cubicBezTo>
                <a:cubicBezTo>
                  <a:pt x="6" y="74"/>
                  <a:pt x="6" y="68"/>
                  <a:pt x="8" y="62"/>
                </a:cubicBezTo>
                <a:lnTo>
                  <a:pt x="38" y="70"/>
                </a:lnTo>
                <a:close/>
                <a:moveTo>
                  <a:pt x="43" y="80"/>
                </a:moveTo>
                <a:cubicBezTo>
                  <a:pt x="43" y="59"/>
                  <a:pt x="59" y="43"/>
                  <a:pt x="80" y="43"/>
                </a:cubicBezTo>
                <a:cubicBezTo>
                  <a:pt x="101" y="43"/>
                  <a:pt x="117" y="59"/>
                  <a:pt x="117" y="80"/>
                </a:cubicBezTo>
                <a:cubicBezTo>
                  <a:pt x="117" y="101"/>
                  <a:pt x="101" y="117"/>
                  <a:pt x="80" y="117"/>
                </a:cubicBezTo>
                <a:cubicBezTo>
                  <a:pt x="59" y="117"/>
                  <a:pt x="43" y="101"/>
                  <a:pt x="43" y="80"/>
                </a:cubicBezTo>
                <a:close/>
                <a:moveTo>
                  <a:pt x="118" y="16"/>
                </a:moveTo>
                <a:cubicBezTo>
                  <a:pt x="119" y="16"/>
                  <a:pt x="119" y="16"/>
                  <a:pt x="119" y="16"/>
                </a:cubicBezTo>
                <a:cubicBezTo>
                  <a:pt x="129" y="23"/>
                  <a:pt x="137" y="31"/>
                  <a:pt x="144" y="41"/>
                </a:cubicBezTo>
                <a:cubicBezTo>
                  <a:pt x="144" y="41"/>
                  <a:pt x="144" y="41"/>
                  <a:pt x="144" y="42"/>
                </a:cubicBezTo>
                <a:cubicBezTo>
                  <a:pt x="147" y="46"/>
                  <a:pt x="149" y="52"/>
                  <a:pt x="151" y="57"/>
                </a:cubicBezTo>
                <a:cubicBezTo>
                  <a:pt x="120" y="65"/>
                  <a:pt x="120" y="65"/>
                  <a:pt x="120" y="65"/>
                </a:cubicBezTo>
                <a:cubicBezTo>
                  <a:pt x="116" y="53"/>
                  <a:pt x="107" y="44"/>
                  <a:pt x="95" y="40"/>
                </a:cubicBezTo>
                <a:cubicBezTo>
                  <a:pt x="103" y="9"/>
                  <a:pt x="103" y="9"/>
                  <a:pt x="103" y="9"/>
                </a:cubicBezTo>
                <a:cubicBezTo>
                  <a:pt x="108" y="11"/>
                  <a:pt x="114" y="13"/>
                  <a:pt x="118" y="16"/>
                </a:cubicBezTo>
                <a:close/>
                <a:moveTo>
                  <a:pt x="154" y="80"/>
                </a:moveTo>
                <a:cubicBezTo>
                  <a:pt x="154" y="86"/>
                  <a:pt x="154" y="92"/>
                  <a:pt x="152" y="98"/>
                </a:cubicBezTo>
                <a:cubicBezTo>
                  <a:pt x="122" y="90"/>
                  <a:pt x="122" y="90"/>
                  <a:pt x="122" y="90"/>
                </a:cubicBezTo>
                <a:cubicBezTo>
                  <a:pt x="122" y="87"/>
                  <a:pt x="123" y="83"/>
                  <a:pt x="123" y="80"/>
                </a:cubicBezTo>
                <a:cubicBezTo>
                  <a:pt x="123" y="77"/>
                  <a:pt x="122" y="73"/>
                  <a:pt x="122" y="70"/>
                </a:cubicBezTo>
                <a:cubicBezTo>
                  <a:pt x="152" y="62"/>
                  <a:pt x="152" y="62"/>
                  <a:pt x="152" y="62"/>
                </a:cubicBezTo>
                <a:cubicBezTo>
                  <a:pt x="154" y="68"/>
                  <a:pt x="154" y="74"/>
                  <a:pt x="154" y="80"/>
                </a:cubicBezTo>
                <a:close/>
                <a:moveTo>
                  <a:pt x="98" y="8"/>
                </a:moveTo>
                <a:cubicBezTo>
                  <a:pt x="90" y="38"/>
                  <a:pt x="90" y="38"/>
                  <a:pt x="90" y="38"/>
                </a:cubicBezTo>
                <a:cubicBezTo>
                  <a:pt x="87" y="38"/>
                  <a:pt x="83" y="37"/>
                  <a:pt x="80" y="37"/>
                </a:cubicBezTo>
                <a:cubicBezTo>
                  <a:pt x="77" y="37"/>
                  <a:pt x="73" y="38"/>
                  <a:pt x="70" y="38"/>
                </a:cubicBezTo>
                <a:cubicBezTo>
                  <a:pt x="62" y="8"/>
                  <a:pt x="62" y="8"/>
                  <a:pt x="62" y="8"/>
                </a:cubicBezTo>
                <a:cubicBezTo>
                  <a:pt x="68" y="6"/>
                  <a:pt x="74" y="6"/>
                  <a:pt x="80" y="6"/>
                </a:cubicBezTo>
                <a:cubicBezTo>
                  <a:pt x="86" y="6"/>
                  <a:pt x="92" y="6"/>
                  <a:pt x="98" y="8"/>
                </a:cubicBezTo>
                <a:close/>
                <a:moveTo>
                  <a:pt x="62" y="152"/>
                </a:moveTo>
                <a:cubicBezTo>
                  <a:pt x="70" y="122"/>
                  <a:pt x="70" y="122"/>
                  <a:pt x="70" y="122"/>
                </a:cubicBezTo>
                <a:cubicBezTo>
                  <a:pt x="73" y="122"/>
                  <a:pt x="77" y="123"/>
                  <a:pt x="80" y="123"/>
                </a:cubicBezTo>
                <a:cubicBezTo>
                  <a:pt x="83" y="123"/>
                  <a:pt x="87" y="122"/>
                  <a:pt x="90" y="122"/>
                </a:cubicBezTo>
                <a:cubicBezTo>
                  <a:pt x="98" y="152"/>
                  <a:pt x="98" y="152"/>
                  <a:pt x="98" y="152"/>
                </a:cubicBezTo>
                <a:cubicBezTo>
                  <a:pt x="92" y="154"/>
                  <a:pt x="86" y="154"/>
                  <a:pt x="80" y="154"/>
                </a:cubicBezTo>
                <a:cubicBezTo>
                  <a:pt x="74" y="154"/>
                  <a:pt x="68" y="154"/>
                  <a:pt x="62" y="152"/>
                </a:cubicBezTo>
                <a:close/>
                <a:moveTo>
                  <a:pt x="9" y="15"/>
                </a:moveTo>
                <a:cubicBezTo>
                  <a:pt x="8" y="14"/>
                  <a:pt x="8" y="12"/>
                  <a:pt x="9" y="11"/>
                </a:cubicBezTo>
                <a:cubicBezTo>
                  <a:pt x="9" y="10"/>
                  <a:pt x="10" y="9"/>
                  <a:pt x="11" y="9"/>
                </a:cubicBezTo>
                <a:cubicBezTo>
                  <a:pt x="12" y="8"/>
                  <a:pt x="14" y="8"/>
                  <a:pt x="15" y="9"/>
                </a:cubicBezTo>
                <a:cubicBezTo>
                  <a:pt x="16" y="10"/>
                  <a:pt x="16" y="12"/>
                  <a:pt x="15" y="13"/>
                </a:cubicBezTo>
                <a:cubicBezTo>
                  <a:pt x="14" y="13"/>
                  <a:pt x="14" y="14"/>
                  <a:pt x="13" y="15"/>
                </a:cubicBezTo>
                <a:cubicBezTo>
                  <a:pt x="13" y="15"/>
                  <a:pt x="12" y="16"/>
                  <a:pt x="11" y="16"/>
                </a:cubicBezTo>
                <a:cubicBezTo>
                  <a:pt x="10" y="16"/>
                  <a:pt x="10" y="15"/>
                  <a:pt x="9" y="15"/>
                </a:cubicBezTo>
                <a:close/>
                <a:moveTo>
                  <a:pt x="6" y="26"/>
                </a:moveTo>
                <a:cubicBezTo>
                  <a:pt x="6" y="23"/>
                  <a:pt x="6" y="23"/>
                  <a:pt x="6" y="23"/>
                </a:cubicBezTo>
                <a:cubicBezTo>
                  <a:pt x="6" y="21"/>
                  <a:pt x="7" y="20"/>
                  <a:pt x="8" y="20"/>
                </a:cubicBezTo>
                <a:cubicBezTo>
                  <a:pt x="10" y="20"/>
                  <a:pt x="11" y="21"/>
                  <a:pt x="11" y="23"/>
                </a:cubicBezTo>
                <a:cubicBezTo>
                  <a:pt x="11" y="26"/>
                  <a:pt x="11" y="26"/>
                  <a:pt x="11" y="26"/>
                </a:cubicBezTo>
                <a:cubicBezTo>
                  <a:pt x="11" y="27"/>
                  <a:pt x="10" y="28"/>
                  <a:pt x="8" y="28"/>
                </a:cubicBezTo>
                <a:cubicBezTo>
                  <a:pt x="7" y="28"/>
                  <a:pt x="6" y="27"/>
                  <a:pt x="6" y="26"/>
                </a:cubicBezTo>
                <a:close/>
                <a:moveTo>
                  <a:pt x="20" y="8"/>
                </a:moveTo>
                <a:cubicBezTo>
                  <a:pt x="20" y="7"/>
                  <a:pt x="21" y="6"/>
                  <a:pt x="23" y="6"/>
                </a:cubicBezTo>
                <a:cubicBezTo>
                  <a:pt x="26" y="6"/>
                  <a:pt x="26" y="6"/>
                  <a:pt x="26" y="6"/>
                </a:cubicBezTo>
                <a:cubicBezTo>
                  <a:pt x="27" y="6"/>
                  <a:pt x="28" y="7"/>
                  <a:pt x="28" y="8"/>
                </a:cubicBezTo>
                <a:cubicBezTo>
                  <a:pt x="28" y="10"/>
                  <a:pt x="27" y="11"/>
                  <a:pt x="26" y="11"/>
                </a:cubicBezTo>
                <a:cubicBezTo>
                  <a:pt x="23" y="11"/>
                  <a:pt x="23" y="11"/>
                  <a:pt x="23" y="11"/>
                </a:cubicBezTo>
                <a:cubicBezTo>
                  <a:pt x="21" y="11"/>
                  <a:pt x="20" y="10"/>
                  <a:pt x="20" y="8"/>
                </a:cubicBezTo>
                <a:close/>
                <a:moveTo>
                  <a:pt x="152" y="20"/>
                </a:moveTo>
                <a:cubicBezTo>
                  <a:pt x="153" y="20"/>
                  <a:pt x="154" y="21"/>
                  <a:pt x="154" y="23"/>
                </a:cubicBezTo>
                <a:cubicBezTo>
                  <a:pt x="154" y="26"/>
                  <a:pt x="154" y="26"/>
                  <a:pt x="154" y="26"/>
                </a:cubicBezTo>
                <a:cubicBezTo>
                  <a:pt x="154" y="27"/>
                  <a:pt x="153" y="28"/>
                  <a:pt x="152" y="28"/>
                </a:cubicBezTo>
                <a:cubicBezTo>
                  <a:pt x="150" y="28"/>
                  <a:pt x="149" y="27"/>
                  <a:pt x="149" y="26"/>
                </a:cubicBezTo>
                <a:cubicBezTo>
                  <a:pt x="149" y="23"/>
                  <a:pt x="149" y="23"/>
                  <a:pt x="149" y="23"/>
                </a:cubicBezTo>
                <a:cubicBezTo>
                  <a:pt x="149" y="21"/>
                  <a:pt x="150" y="20"/>
                  <a:pt x="152" y="20"/>
                </a:cubicBezTo>
                <a:close/>
                <a:moveTo>
                  <a:pt x="145" y="13"/>
                </a:moveTo>
                <a:cubicBezTo>
                  <a:pt x="144" y="12"/>
                  <a:pt x="144" y="10"/>
                  <a:pt x="145" y="9"/>
                </a:cubicBezTo>
                <a:cubicBezTo>
                  <a:pt x="146" y="8"/>
                  <a:pt x="148" y="8"/>
                  <a:pt x="149" y="9"/>
                </a:cubicBezTo>
                <a:cubicBezTo>
                  <a:pt x="150" y="9"/>
                  <a:pt x="151" y="10"/>
                  <a:pt x="151" y="11"/>
                </a:cubicBezTo>
                <a:cubicBezTo>
                  <a:pt x="152" y="12"/>
                  <a:pt x="152" y="14"/>
                  <a:pt x="151" y="15"/>
                </a:cubicBezTo>
                <a:cubicBezTo>
                  <a:pt x="150" y="15"/>
                  <a:pt x="150" y="16"/>
                  <a:pt x="149" y="16"/>
                </a:cubicBezTo>
                <a:cubicBezTo>
                  <a:pt x="148" y="16"/>
                  <a:pt x="147" y="15"/>
                  <a:pt x="147" y="15"/>
                </a:cubicBezTo>
                <a:cubicBezTo>
                  <a:pt x="147" y="14"/>
                  <a:pt x="146" y="14"/>
                  <a:pt x="145" y="13"/>
                </a:cubicBezTo>
                <a:close/>
                <a:moveTo>
                  <a:pt x="132" y="8"/>
                </a:moveTo>
                <a:cubicBezTo>
                  <a:pt x="132" y="7"/>
                  <a:pt x="133" y="6"/>
                  <a:pt x="134" y="6"/>
                </a:cubicBezTo>
                <a:cubicBezTo>
                  <a:pt x="137" y="6"/>
                  <a:pt x="137" y="6"/>
                  <a:pt x="137" y="6"/>
                </a:cubicBezTo>
                <a:cubicBezTo>
                  <a:pt x="139" y="6"/>
                  <a:pt x="140" y="7"/>
                  <a:pt x="140" y="8"/>
                </a:cubicBezTo>
                <a:cubicBezTo>
                  <a:pt x="140" y="10"/>
                  <a:pt x="139" y="11"/>
                  <a:pt x="137" y="11"/>
                </a:cubicBezTo>
                <a:cubicBezTo>
                  <a:pt x="134" y="11"/>
                  <a:pt x="134" y="11"/>
                  <a:pt x="134" y="11"/>
                </a:cubicBezTo>
                <a:cubicBezTo>
                  <a:pt x="133" y="11"/>
                  <a:pt x="132" y="10"/>
                  <a:pt x="132" y="8"/>
                </a:cubicBezTo>
                <a:close/>
                <a:moveTo>
                  <a:pt x="151" y="145"/>
                </a:moveTo>
                <a:cubicBezTo>
                  <a:pt x="152" y="146"/>
                  <a:pt x="152" y="148"/>
                  <a:pt x="151" y="149"/>
                </a:cubicBezTo>
                <a:cubicBezTo>
                  <a:pt x="151" y="150"/>
                  <a:pt x="150" y="151"/>
                  <a:pt x="149" y="151"/>
                </a:cubicBezTo>
                <a:cubicBezTo>
                  <a:pt x="148" y="152"/>
                  <a:pt x="148" y="152"/>
                  <a:pt x="147" y="152"/>
                </a:cubicBezTo>
                <a:cubicBezTo>
                  <a:pt x="146" y="152"/>
                  <a:pt x="146" y="152"/>
                  <a:pt x="145" y="151"/>
                </a:cubicBezTo>
                <a:cubicBezTo>
                  <a:pt x="144" y="150"/>
                  <a:pt x="144" y="148"/>
                  <a:pt x="145" y="147"/>
                </a:cubicBezTo>
                <a:cubicBezTo>
                  <a:pt x="146" y="147"/>
                  <a:pt x="146" y="146"/>
                  <a:pt x="147" y="145"/>
                </a:cubicBezTo>
                <a:cubicBezTo>
                  <a:pt x="148" y="144"/>
                  <a:pt x="150" y="144"/>
                  <a:pt x="151" y="145"/>
                </a:cubicBezTo>
                <a:close/>
                <a:moveTo>
                  <a:pt x="140" y="152"/>
                </a:moveTo>
                <a:cubicBezTo>
                  <a:pt x="140" y="153"/>
                  <a:pt x="139" y="154"/>
                  <a:pt x="137" y="154"/>
                </a:cubicBezTo>
                <a:cubicBezTo>
                  <a:pt x="134" y="154"/>
                  <a:pt x="134" y="154"/>
                  <a:pt x="134" y="154"/>
                </a:cubicBezTo>
                <a:cubicBezTo>
                  <a:pt x="133" y="154"/>
                  <a:pt x="132" y="153"/>
                  <a:pt x="132" y="152"/>
                </a:cubicBezTo>
                <a:cubicBezTo>
                  <a:pt x="132" y="150"/>
                  <a:pt x="133" y="149"/>
                  <a:pt x="134" y="149"/>
                </a:cubicBezTo>
                <a:cubicBezTo>
                  <a:pt x="137" y="149"/>
                  <a:pt x="137" y="149"/>
                  <a:pt x="137" y="149"/>
                </a:cubicBezTo>
                <a:cubicBezTo>
                  <a:pt x="139" y="149"/>
                  <a:pt x="140" y="150"/>
                  <a:pt x="140" y="152"/>
                </a:cubicBezTo>
                <a:close/>
                <a:moveTo>
                  <a:pt x="154" y="134"/>
                </a:moveTo>
                <a:cubicBezTo>
                  <a:pt x="154" y="137"/>
                  <a:pt x="154" y="137"/>
                  <a:pt x="154" y="137"/>
                </a:cubicBezTo>
                <a:cubicBezTo>
                  <a:pt x="154" y="139"/>
                  <a:pt x="153" y="140"/>
                  <a:pt x="152" y="140"/>
                </a:cubicBezTo>
                <a:cubicBezTo>
                  <a:pt x="150" y="140"/>
                  <a:pt x="149" y="139"/>
                  <a:pt x="149" y="137"/>
                </a:cubicBezTo>
                <a:cubicBezTo>
                  <a:pt x="149" y="134"/>
                  <a:pt x="149" y="134"/>
                  <a:pt x="149" y="134"/>
                </a:cubicBezTo>
                <a:cubicBezTo>
                  <a:pt x="149" y="133"/>
                  <a:pt x="150" y="132"/>
                  <a:pt x="152" y="132"/>
                </a:cubicBezTo>
                <a:cubicBezTo>
                  <a:pt x="153" y="132"/>
                  <a:pt x="154" y="133"/>
                  <a:pt x="154" y="134"/>
                </a:cubicBezTo>
                <a:close/>
                <a:moveTo>
                  <a:pt x="28" y="152"/>
                </a:moveTo>
                <a:cubicBezTo>
                  <a:pt x="28" y="153"/>
                  <a:pt x="27" y="154"/>
                  <a:pt x="26" y="154"/>
                </a:cubicBezTo>
                <a:cubicBezTo>
                  <a:pt x="23" y="154"/>
                  <a:pt x="23" y="154"/>
                  <a:pt x="23" y="154"/>
                </a:cubicBezTo>
                <a:cubicBezTo>
                  <a:pt x="21" y="154"/>
                  <a:pt x="20" y="153"/>
                  <a:pt x="20" y="152"/>
                </a:cubicBezTo>
                <a:cubicBezTo>
                  <a:pt x="20" y="150"/>
                  <a:pt x="21" y="149"/>
                  <a:pt x="23" y="149"/>
                </a:cubicBezTo>
                <a:cubicBezTo>
                  <a:pt x="26" y="149"/>
                  <a:pt x="26" y="149"/>
                  <a:pt x="26" y="149"/>
                </a:cubicBezTo>
                <a:cubicBezTo>
                  <a:pt x="27" y="149"/>
                  <a:pt x="28" y="150"/>
                  <a:pt x="28" y="152"/>
                </a:cubicBezTo>
                <a:close/>
                <a:moveTo>
                  <a:pt x="8" y="140"/>
                </a:moveTo>
                <a:cubicBezTo>
                  <a:pt x="7" y="140"/>
                  <a:pt x="6" y="139"/>
                  <a:pt x="6" y="137"/>
                </a:cubicBezTo>
                <a:cubicBezTo>
                  <a:pt x="6" y="134"/>
                  <a:pt x="6" y="134"/>
                  <a:pt x="6" y="134"/>
                </a:cubicBezTo>
                <a:cubicBezTo>
                  <a:pt x="6" y="133"/>
                  <a:pt x="7" y="132"/>
                  <a:pt x="8" y="132"/>
                </a:cubicBezTo>
                <a:cubicBezTo>
                  <a:pt x="10" y="132"/>
                  <a:pt x="11" y="133"/>
                  <a:pt x="11" y="134"/>
                </a:cubicBezTo>
                <a:cubicBezTo>
                  <a:pt x="11" y="137"/>
                  <a:pt x="11" y="137"/>
                  <a:pt x="11" y="137"/>
                </a:cubicBezTo>
                <a:cubicBezTo>
                  <a:pt x="11" y="139"/>
                  <a:pt x="10" y="140"/>
                  <a:pt x="8" y="140"/>
                </a:cubicBezTo>
                <a:close/>
                <a:moveTo>
                  <a:pt x="15" y="147"/>
                </a:moveTo>
                <a:cubicBezTo>
                  <a:pt x="16" y="148"/>
                  <a:pt x="16" y="150"/>
                  <a:pt x="15" y="151"/>
                </a:cubicBezTo>
                <a:cubicBezTo>
                  <a:pt x="14" y="151"/>
                  <a:pt x="14" y="152"/>
                  <a:pt x="13" y="152"/>
                </a:cubicBezTo>
                <a:cubicBezTo>
                  <a:pt x="12" y="152"/>
                  <a:pt x="12" y="152"/>
                  <a:pt x="11" y="151"/>
                </a:cubicBezTo>
                <a:cubicBezTo>
                  <a:pt x="10" y="151"/>
                  <a:pt x="9" y="150"/>
                  <a:pt x="9" y="149"/>
                </a:cubicBezTo>
                <a:cubicBezTo>
                  <a:pt x="8" y="148"/>
                  <a:pt x="8" y="146"/>
                  <a:pt x="9" y="145"/>
                </a:cubicBezTo>
                <a:cubicBezTo>
                  <a:pt x="10" y="144"/>
                  <a:pt x="12" y="144"/>
                  <a:pt x="13" y="145"/>
                </a:cubicBezTo>
                <a:cubicBezTo>
                  <a:pt x="13" y="146"/>
                  <a:pt x="14" y="146"/>
                  <a:pt x="15" y="147"/>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2107">
            <a:extLst>
              <a:ext uri="{FF2B5EF4-FFF2-40B4-BE49-F238E27FC236}">
                <a16:creationId xmlns:a16="http://schemas.microsoft.com/office/drawing/2014/main" id="{4E9AD2A4-D6DD-384B-9C2B-369BB6DA05D5}"/>
              </a:ext>
            </a:extLst>
          </p:cNvPr>
          <p:cNvSpPr>
            <a:spLocks noEditPoints="1"/>
          </p:cNvSpPr>
          <p:nvPr/>
        </p:nvSpPr>
        <p:spPr bwMode="auto">
          <a:xfrm>
            <a:off x="3476621" y="5980113"/>
            <a:ext cx="546100" cy="450850"/>
          </a:xfrm>
          <a:custGeom>
            <a:avLst/>
            <a:gdLst>
              <a:gd name="T0" fmla="*/ 24 w 160"/>
              <a:gd name="T1" fmla="*/ 92 h 131"/>
              <a:gd name="T2" fmla="*/ 0 w 160"/>
              <a:gd name="T3" fmla="*/ 68 h 131"/>
              <a:gd name="T4" fmla="*/ 25 w 160"/>
              <a:gd name="T5" fmla="*/ 43 h 131"/>
              <a:gd name="T6" fmla="*/ 105 w 160"/>
              <a:gd name="T7" fmla="*/ 24 h 131"/>
              <a:gd name="T8" fmla="*/ 107 w 160"/>
              <a:gd name="T9" fmla="*/ 28 h 131"/>
              <a:gd name="T10" fmla="*/ 104 w 160"/>
              <a:gd name="T11" fmla="*/ 30 h 131"/>
              <a:gd name="T12" fmla="*/ 28 w 160"/>
              <a:gd name="T13" fmla="*/ 47 h 131"/>
              <a:gd name="T14" fmla="*/ 8 w 160"/>
              <a:gd name="T15" fmla="*/ 68 h 131"/>
              <a:gd name="T16" fmla="*/ 28 w 160"/>
              <a:gd name="T17" fmla="*/ 88 h 131"/>
              <a:gd name="T18" fmla="*/ 34 w 160"/>
              <a:gd name="T19" fmla="*/ 94 h 131"/>
              <a:gd name="T20" fmla="*/ 34 w 160"/>
              <a:gd name="T21" fmla="*/ 97 h 131"/>
              <a:gd name="T22" fmla="*/ 32 w 160"/>
              <a:gd name="T23" fmla="*/ 98 h 131"/>
              <a:gd name="T24" fmla="*/ 31 w 160"/>
              <a:gd name="T25" fmla="*/ 98 h 131"/>
              <a:gd name="T26" fmla="*/ 24 w 160"/>
              <a:gd name="T27" fmla="*/ 92 h 131"/>
              <a:gd name="T28" fmla="*/ 136 w 160"/>
              <a:gd name="T29" fmla="*/ 43 h 131"/>
              <a:gd name="T30" fmla="*/ 124 w 160"/>
              <a:gd name="T31" fmla="*/ 34 h 131"/>
              <a:gd name="T32" fmla="*/ 120 w 160"/>
              <a:gd name="T33" fmla="*/ 34 h 131"/>
              <a:gd name="T34" fmla="*/ 121 w 160"/>
              <a:gd name="T35" fmla="*/ 38 h 131"/>
              <a:gd name="T36" fmla="*/ 132 w 160"/>
              <a:gd name="T37" fmla="*/ 47 h 131"/>
              <a:gd name="T38" fmla="*/ 152 w 160"/>
              <a:gd name="T39" fmla="*/ 67 h 131"/>
              <a:gd name="T40" fmla="*/ 132 w 160"/>
              <a:gd name="T41" fmla="*/ 88 h 131"/>
              <a:gd name="T42" fmla="*/ 55 w 160"/>
              <a:gd name="T43" fmla="*/ 105 h 131"/>
              <a:gd name="T44" fmla="*/ 51 w 160"/>
              <a:gd name="T45" fmla="*/ 107 h 131"/>
              <a:gd name="T46" fmla="*/ 53 w 160"/>
              <a:gd name="T47" fmla="*/ 110 h 131"/>
              <a:gd name="T48" fmla="*/ 80 w 160"/>
              <a:gd name="T49" fmla="*/ 115 h 131"/>
              <a:gd name="T50" fmla="*/ 135 w 160"/>
              <a:gd name="T51" fmla="*/ 92 h 131"/>
              <a:gd name="T52" fmla="*/ 160 w 160"/>
              <a:gd name="T53" fmla="*/ 67 h 131"/>
              <a:gd name="T54" fmla="*/ 136 w 160"/>
              <a:gd name="T55" fmla="*/ 43 h 131"/>
              <a:gd name="T56" fmla="*/ 83 w 160"/>
              <a:gd name="T57" fmla="*/ 99 h 131"/>
              <a:gd name="T58" fmla="*/ 66 w 160"/>
              <a:gd name="T59" fmla="*/ 94 h 131"/>
              <a:gd name="T60" fmla="*/ 63 w 160"/>
              <a:gd name="T61" fmla="*/ 95 h 131"/>
              <a:gd name="T62" fmla="*/ 63 w 160"/>
              <a:gd name="T63" fmla="*/ 99 h 131"/>
              <a:gd name="T64" fmla="*/ 83 w 160"/>
              <a:gd name="T65" fmla="*/ 104 h 131"/>
              <a:gd name="T66" fmla="*/ 119 w 160"/>
              <a:gd name="T67" fmla="*/ 68 h 131"/>
              <a:gd name="T68" fmla="*/ 113 w 160"/>
              <a:gd name="T69" fmla="*/ 47 h 131"/>
              <a:gd name="T70" fmla="*/ 109 w 160"/>
              <a:gd name="T71" fmla="*/ 47 h 131"/>
              <a:gd name="T72" fmla="*/ 109 w 160"/>
              <a:gd name="T73" fmla="*/ 50 h 131"/>
              <a:gd name="T74" fmla="*/ 114 w 160"/>
              <a:gd name="T75" fmla="*/ 68 h 131"/>
              <a:gd name="T76" fmla="*/ 83 w 160"/>
              <a:gd name="T77" fmla="*/ 99 h 131"/>
              <a:gd name="T78" fmla="*/ 83 w 160"/>
              <a:gd name="T79" fmla="*/ 37 h 131"/>
              <a:gd name="T80" fmla="*/ 99 w 160"/>
              <a:gd name="T81" fmla="*/ 41 h 131"/>
              <a:gd name="T82" fmla="*/ 102 w 160"/>
              <a:gd name="T83" fmla="*/ 40 h 131"/>
              <a:gd name="T84" fmla="*/ 101 w 160"/>
              <a:gd name="T85" fmla="*/ 36 h 131"/>
              <a:gd name="T86" fmla="*/ 83 w 160"/>
              <a:gd name="T87" fmla="*/ 31 h 131"/>
              <a:gd name="T88" fmla="*/ 46 w 160"/>
              <a:gd name="T89" fmla="*/ 68 h 131"/>
              <a:gd name="T90" fmla="*/ 50 w 160"/>
              <a:gd name="T91" fmla="*/ 84 h 131"/>
              <a:gd name="T92" fmla="*/ 52 w 160"/>
              <a:gd name="T93" fmla="*/ 85 h 131"/>
              <a:gd name="T94" fmla="*/ 54 w 160"/>
              <a:gd name="T95" fmla="*/ 85 h 131"/>
              <a:gd name="T96" fmla="*/ 55 w 160"/>
              <a:gd name="T97" fmla="*/ 81 h 131"/>
              <a:gd name="T98" fmla="*/ 52 w 160"/>
              <a:gd name="T99" fmla="*/ 68 h 131"/>
              <a:gd name="T100" fmla="*/ 83 w 160"/>
              <a:gd name="T101" fmla="*/ 37 h 131"/>
              <a:gd name="T102" fmla="*/ 148 w 160"/>
              <a:gd name="T103" fmla="*/ 1 h 131"/>
              <a:gd name="T104" fmla="*/ 144 w 160"/>
              <a:gd name="T105" fmla="*/ 1 h 131"/>
              <a:gd name="T106" fmla="*/ 18 w 160"/>
              <a:gd name="T107" fmla="*/ 127 h 131"/>
              <a:gd name="T108" fmla="*/ 18 w 160"/>
              <a:gd name="T109" fmla="*/ 131 h 131"/>
              <a:gd name="T110" fmla="*/ 20 w 160"/>
              <a:gd name="T111" fmla="*/ 131 h 131"/>
              <a:gd name="T112" fmla="*/ 22 w 160"/>
              <a:gd name="T113" fmla="*/ 131 h 131"/>
              <a:gd name="T114" fmla="*/ 148 w 160"/>
              <a:gd name="T115" fmla="*/ 5 h 131"/>
              <a:gd name="T116" fmla="*/ 148 w 160"/>
              <a:gd name="T117" fmla="*/ 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31">
                <a:moveTo>
                  <a:pt x="24" y="92"/>
                </a:moveTo>
                <a:cubicBezTo>
                  <a:pt x="0" y="68"/>
                  <a:pt x="0" y="68"/>
                  <a:pt x="0" y="68"/>
                </a:cubicBezTo>
                <a:cubicBezTo>
                  <a:pt x="25" y="43"/>
                  <a:pt x="25" y="43"/>
                  <a:pt x="25" y="43"/>
                </a:cubicBezTo>
                <a:cubicBezTo>
                  <a:pt x="46" y="22"/>
                  <a:pt x="77" y="15"/>
                  <a:pt x="105" y="24"/>
                </a:cubicBezTo>
                <a:cubicBezTo>
                  <a:pt x="107" y="25"/>
                  <a:pt x="108" y="26"/>
                  <a:pt x="107" y="28"/>
                </a:cubicBezTo>
                <a:cubicBezTo>
                  <a:pt x="107" y="29"/>
                  <a:pt x="105" y="30"/>
                  <a:pt x="104" y="30"/>
                </a:cubicBezTo>
                <a:cubicBezTo>
                  <a:pt x="77" y="21"/>
                  <a:pt x="48" y="27"/>
                  <a:pt x="28" y="47"/>
                </a:cubicBezTo>
                <a:cubicBezTo>
                  <a:pt x="8" y="68"/>
                  <a:pt x="8" y="68"/>
                  <a:pt x="8" y="68"/>
                </a:cubicBezTo>
                <a:cubicBezTo>
                  <a:pt x="28" y="88"/>
                  <a:pt x="28" y="88"/>
                  <a:pt x="28" y="88"/>
                </a:cubicBezTo>
                <a:cubicBezTo>
                  <a:pt x="30" y="90"/>
                  <a:pt x="32" y="92"/>
                  <a:pt x="34" y="94"/>
                </a:cubicBezTo>
                <a:cubicBezTo>
                  <a:pt x="35" y="95"/>
                  <a:pt x="35" y="96"/>
                  <a:pt x="34" y="97"/>
                </a:cubicBezTo>
                <a:cubicBezTo>
                  <a:pt x="34" y="98"/>
                  <a:pt x="33" y="98"/>
                  <a:pt x="32" y="98"/>
                </a:cubicBezTo>
                <a:cubicBezTo>
                  <a:pt x="32" y="98"/>
                  <a:pt x="31" y="98"/>
                  <a:pt x="31" y="98"/>
                </a:cubicBezTo>
                <a:cubicBezTo>
                  <a:pt x="28" y="96"/>
                  <a:pt x="26" y="94"/>
                  <a:pt x="24" y="92"/>
                </a:cubicBezTo>
                <a:close/>
                <a:moveTo>
                  <a:pt x="136" y="43"/>
                </a:moveTo>
                <a:cubicBezTo>
                  <a:pt x="132" y="40"/>
                  <a:pt x="128" y="37"/>
                  <a:pt x="124" y="34"/>
                </a:cubicBezTo>
                <a:cubicBezTo>
                  <a:pt x="123" y="33"/>
                  <a:pt x="121" y="33"/>
                  <a:pt x="120" y="34"/>
                </a:cubicBezTo>
                <a:cubicBezTo>
                  <a:pt x="120" y="36"/>
                  <a:pt x="120" y="37"/>
                  <a:pt x="121" y="38"/>
                </a:cubicBezTo>
                <a:cubicBezTo>
                  <a:pt x="125" y="41"/>
                  <a:pt x="129" y="44"/>
                  <a:pt x="132" y="47"/>
                </a:cubicBezTo>
                <a:cubicBezTo>
                  <a:pt x="152" y="67"/>
                  <a:pt x="152" y="67"/>
                  <a:pt x="152" y="67"/>
                </a:cubicBezTo>
                <a:cubicBezTo>
                  <a:pt x="132" y="88"/>
                  <a:pt x="132" y="88"/>
                  <a:pt x="132" y="88"/>
                </a:cubicBezTo>
                <a:cubicBezTo>
                  <a:pt x="112" y="108"/>
                  <a:pt x="82" y="115"/>
                  <a:pt x="55" y="105"/>
                </a:cubicBezTo>
                <a:cubicBezTo>
                  <a:pt x="53" y="105"/>
                  <a:pt x="52" y="105"/>
                  <a:pt x="51" y="107"/>
                </a:cubicBezTo>
                <a:cubicBezTo>
                  <a:pt x="51" y="108"/>
                  <a:pt x="52" y="110"/>
                  <a:pt x="53" y="110"/>
                </a:cubicBezTo>
                <a:cubicBezTo>
                  <a:pt x="62" y="113"/>
                  <a:pt x="71" y="115"/>
                  <a:pt x="80" y="115"/>
                </a:cubicBezTo>
                <a:cubicBezTo>
                  <a:pt x="100" y="115"/>
                  <a:pt x="120" y="107"/>
                  <a:pt x="135" y="92"/>
                </a:cubicBezTo>
                <a:cubicBezTo>
                  <a:pt x="160" y="67"/>
                  <a:pt x="160" y="67"/>
                  <a:pt x="160" y="67"/>
                </a:cubicBezTo>
                <a:lnTo>
                  <a:pt x="136" y="43"/>
                </a:lnTo>
                <a:close/>
                <a:moveTo>
                  <a:pt x="83" y="99"/>
                </a:moveTo>
                <a:cubicBezTo>
                  <a:pt x="77" y="99"/>
                  <a:pt x="71" y="97"/>
                  <a:pt x="66" y="94"/>
                </a:cubicBezTo>
                <a:cubicBezTo>
                  <a:pt x="65" y="93"/>
                  <a:pt x="63" y="94"/>
                  <a:pt x="63" y="95"/>
                </a:cubicBezTo>
                <a:cubicBezTo>
                  <a:pt x="62" y="96"/>
                  <a:pt x="62" y="98"/>
                  <a:pt x="63" y="99"/>
                </a:cubicBezTo>
                <a:cubicBezTo>
                  <a:pt x="69" y="102"/>
                  <a:pt x="76" y="104"/>
                  <a:pt x="83" y="104"/>
                </a:cubicBezTo>
                <a:cubicBezTo>
                  <a:pt x="103" y="104"/>
                  <a:pt x="119" y="88"/>
                  <a:pt x="119" y="68"/>
                </a:cubicBezTo>
                <a:cubicBezTo>
                  <a:pt x="119" y="60"/>
                  <a:pt x="117" y="53"/>
                  <a:pt x="113" y="47"/>
                </a:cubicBezTo>
                <a:cubicBezTo>
                  <a:pt x="112" y="46"/>
                  <a:pt x="111" y="46"/>
                  <a:pt x="109" y="47"/>
                </a:cubicBezTo>
                <a:cubicBezTo>
                  <a:pt x="108" y="48"/>
                  <a:pt x="108" y="49"/>
                  <a:pt x="109" y="50"/>
                </a:cubicBezTo>
                <a:cubicBezTo>
                  <a:pt x="112" y="56"/>
                  <a:pt x="114" y="62"/>
                  <a:pt x="114" y="68"/>
                </a:cubicBezTo>
                <a:cubicBezTo>
                  <a:pt x="114" y="85"/>
                  <a:pt x="100" y="99"/>
                  <a:pt x="83" y="99"/>
                </a:cubicBezTo>
                <a:close/>
                <a:moveTo>
                  <a:pt x="83" y="37"/>
                </a:moveTo>
                <a:cubicBezTo>
                  <a:pt x="88" y="37"/>
                  <a:pt x="94" y="38"/>
                  <a:pt x="99" y="41"/>
                </a:cubicBezTo>
                <a:cubicBezTo>
                  <a:pt x="100" y="42"/>
                  <a:pt x="102" y="41"/>
                  <a:pt x="102" y="40"/>
                </a:cubicBezTo>
                <a:cubicBezTo>
                  <a:pt x="103" y="39"/>
                  <a:pt x="103" y="37"/>
                  <a:pt x="101" y="36"/>
                </a:cubicBezTo>
                <a:cubicBezTo>
                  <a:pt x="96" y="33"/>
                  <a:pt x="89" y="31"/>
                  <a:pt x="83" y="31"/>
                </a:cubicBezTo>
                <a:cubicBezTo>
                  <a:pt x="63" y="31"/>
                  <a:pt x="46" y="48"/>
                  <a:pt x="46" y="68"/>
                </a:cubicBezTo>
                <a:cubicBezTo>
                  <a:pt x="46" y="73"/>
                  <a:pt x="47" y="79"/>
                  <a:pt x="50" y="84"/>
                </a:cubicBezTo>
                <a:cubicBezTo>
                  <a:pt x="50" y="85"/>
                  <a:pt x="51" y="85"/>
                  <a:pt x="52" y="85"/>
                </a:cubicBezTo>
                <a:cubicBezTo>
                  <a:pt x="53" y="85"/>
                  <a:pt x="53" y="85"/>
                  <a:pt x="54" y="85"/>
                </a:cubicBezTo>
                <a:cubicBezTo>
                  <a:pt x="55" y="84"/>
                  <a:pt x="55" y="83"/>
                  <a:pt x="55" y="81"/>
                </a:cubicBezTo>
                <a:cubicBezTo>
                  <a:pt x="53" y="77"/>
                  <a:pt x="52" y="73"/>
                  <a:pt x="52" y="68"/>
                </a:cubicBezTo>
                <a:cubicBezTo>
                  <a:pt x="52" y="51"/>
                  <a:pt x="66" y="37"/>
                  <a:pt x="83" y="37"/>
                </a:cubicBezTo>
                <a:close/>
                <a:moveTo>
                  <a:pt x="148" y="1"/>
                </a:moveTo>
                <a:cubicBezTo>
                  <a:pt x="147" y="0"/>
                  <a:pt x="145" y="0"/>
                  <a:pt x="144" y="1"/>
                </a:cubicBezTo>
                <a:cubicBezTo>
                  <a:pt x="18" y="127"/>
                  <a:pt x="18" y="127"/>
                  <a:pt x="18" y="127"/>
                </a:cubicBezTo>
                <a:cubicBezTo>
                  <a:pt x="17" y="128"/>
                  <a:pt x="17" y="130"/>
                  <a:pt x="18" y="131"/>
                </a:cubicBezTo>
                <a:cubicBezTo>
                  <a:pt x="19" y="131"/>
                  <a:pt x="19" y="131"/>
                  <a:pt x="20" y="131"/>
                </a:cubicBezTo>
                <a:cubicBezTo>
                  <a:pt x="21" y="131"/>
                  <a:pt x="21" y="131"/>
                  <a:pt x="22" y="131"/>
                </a:cubicBezTo>
                <a:cubicBezTo>
                  <a:pt x="148" y="5"/>
                  <a:pt x="148" y="5"/>
                  <a:pt x="148" y="5"/>
                </a:cubicBezTo>
                <a:cubicBezTo>
                  <a:pt x="149" y="4"/>
                  <a:pt x="149" y="2"/>
                  <a:pt x="148" y="1"/>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2108">
            <a:extLst>
              <a:ext uri="{FF2B5EF4-FFF2-40B4-BE49-F238E27FC236}">
                <a16:creationId xmlns:a16="http://schemas.microsoft.com/office/drawing/2014/main" id="{A9D076FE-7775-A14C-A762-ECEA23718DAA}"/>
              </a:ext>
            </a:extLst>
          </p:cNvPr>
          <p:cNvSpPr>
            <a:spLocks noEditPoints="1"/>
          </p:cNvSpPr>
          <p:nvPr/>
        </p:nvSpPr>
        <p:spPr bwMode="auto">
          <a:xfrm>
            <a:off x="4487859" y="365125"/>
            <a:ext cx="439738" cy="550863"/>
          </a:xfrm>
          <a:custGeom>
            <a:avLst/>
            <a:gdLst>
              <a:gd name="T0" fmla="*/ 122 w 129"/>
              <a:gd name="T1" fmla="*/ 70 h 160"/>
              <a:gd name="T2" fmla="*/ 108 w 129"/>
              <a:gd name="T3" fmla="*/ 75 h 160"/>
              <a:gd name="T4" fmla="*/ 89 w 129"/>
              <a:gd name="T5" fmla="*/ 94 h 160"/>
              <a:gd name="T6" fmla="*/ 89 w 129"/>
              <a:gd name="T7" fmla="*/ 90 h 160"/>
              <a:gd name="T8" fmla="*/ 79 w 129"/>
              <a:gd name="T9" fmla="*/ 19 h 160"/>
              <a:gd name="T10" fmla="*/ 68 w 129"/>
              <a:gd name="T11" fmla="*/ 72 h 160"/>
              <a:gd name="T12" fmla="*/ 65 w 129"/>
              <a:gd name="T13" fmla="*/ 72 h 160"/>
              <a:gd name="T14" fmla="*/ 54 w 129"/>
              <a:gd name="T15" fmla="*/ 0 h 160"/>
              <a:gd name="T16" fmla="*/ 43 w 129"/>
              <a:gd name="T17" fmla="*/ 72 h 160"/>
              <a:gd name="T18" fmla="*/ 41 w 129"/>
              <a:gd name="T19" fmla="*/ 72 h 160"/>
              <a:gd name="T20" fmla="*/ 31 w 129"/>
              <a:gd name="T21" fmla="*/ 14 h 160"/>
              <a:gd name="T22" fmla="*/ 22 w 129"/>
              <a:gd name="T23" fmla="*/ 77 h 160"/>
              <a:gd name="T24" fmla="*/ 19 w 129"/>
              <a:gd name="T25" fmla="*/ 77 h 160"/>
              <a:gd name="T26" fmla="*/ 9 w 129"/>
              <a:gd name="T27" fmla="*/ 34 h 160"/>
              <a:gd name="T28" fmla="*/ 0 w 129"/>
              <a:gd name="T29" fmla="*/ 117 h 160"/>
              <a:gd name="T30" fmla="*/ 92 w 129"/>
              <a:gd name="T31" fmla="*/ 136 h 160"/>
              <a:gd name="T32" fmla="*/ 116 w 129"/>
              <a:gd name="T33" fmla="*/ 98 h 160"/>
              <a:gd name="T34" fmla="*/ 128 w 129"/>
              <a:gd name="T35" fmla="*/ 82 h 160"/>
              <a:gd name="T36" fmla="*/ 123 w 129"/>
              <a:gd name="T37" fmla="*/ 79 h 160"/>
              <a:gd name="T38" fmla="*/ 111 w 129"/>
              <a:gd name="T39" fmla="*/ 96 h 160"/>
              <a:gd name="T40" fmla="*/ 87 w 129"/>
              <a:gd name="T41" fmla="*/ 133 h 160"/>
              <a:gd name="T42" fmla="*/ 5 w 129"/>
              <a:gd name="T43" fmla="*/ 117 h 160"/>
              <a:gd name="T44" fmla="*/ 10 w 129"/>
              <a:gd name="T45" fmla="*/ 39 h 160"/>
              <a:gd name="T46" fmla="*/ 14 w 129"/>
              <a:gd name="T47" fmla="*/ 77 h 160"/>
              <a:gd name="T48" fmla="*/ 27 w 129"/>
              <a:gd name="T49" fmla="*/ 77 h 160"/>
              <a:gd name="T50" fmla="*/ 31 w 129"/>
              <a:gd name="T51" fmla="*/ 19 h 160"/>
              <a:gd name="T52" fmla="*/ 35 w 129"/>
              <a:gd name="T53" fmla="*/ 72 h 160"/>
              <a:gd name="T54" fmla="*/ 49 w 129"/>
              <a:gd name="T55" fmla="*/ 72 h 160"/>
              <a:gd name="T56" fmla="*/ 54 w 129"/>
              <a:gd name="T57" fmla="*/ 5 h 160"/>
              <a:gd name="T58" fmla="*/ 60 w 129"/>
              <a:gd name="T59" fmla="*/ 72 h 160"/>
              <a:gd name="T60" fmla="*/ 73 w 129"/>
              <a:gd name="T61" fmla="*/ 72 h 160"/>
              <a:gd name="T62" fmla="*/ 79 w 129"/>
              <a:gd name="T63" fmla="*/ 24 h 160"/>
              <a:gd name="T64" fmla="*/ 84 w 129"/>
              <a:gd name="T65" fmla="*/ 90 h 160"/>
              <a:gd name="T66" fmla="*/ 85 w 129"/>
              <a:gd name="T67" fmla="*/ 98 h 160"/>
              <a:gd name="T68" fmla="*/ 98 w 129"/>
              <a:gd name="T69" fmla="*/ 94 h 160"/>
              <a:gd name="T70" fmla="*/ 122 w 129"/>
              <a:gd name="T71" fmla="*/ 76 h 160"/>
              <a:gd name="T72" fmla="*/ 123 w 129"/>
              <a:gd name="T73" fmla="*/ 7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160">
                <a:moveTo>
                  <a:pt x="127" y="73"/>
                </a:moveTo>
                <a:cubicBezTo>
                  <a:pt x="126" y="72"/>
                  <a:pt x="124" y="70"/>
                  <a:pt x="122" y="70"/>
                </a:cubicBezTo>
                <a:cubicBezTo>
                  <a:pt x="122" y="70"/>
                  <a:pt x="122" y="70"/>
                  <a:pt x="122" y="70"/>
                </a:cubicBezTo>
                <a:cubicBezTo>
                  <a:pt x="117" y="70"/>
                  <a:pt x="112" y="72"/>
                  <a:pt x="108" y="75"/>
                </a:cubicBezTo>
                <a:cubicBezTo>
                  <a:pt x="104" y="78"/>
                  <a:pt x="98" y="83"/>
                  <a:pt x="93" y="91"/>
                </a:cubicBezTo>
                <a:cubicBezTo>
                  <a:pt x="93" y="93"/>
                  <a:pt x="91" y="94"/>
                  <a:pt x="89" y="94"/>
                </a:cubicBezTo>
                <a:cubicBezTo>
                  <a:pt x="89" y="93"/>
                  <a:pt x="89" y="93"/>
                  <a:pt x="89" y="93"/>
                </a:cubicBezTo>
                <a:cubicBezTo>
                  <a:pt x="89" y="92"/>
                  <a:pt x="89" y="91"/>
                  <a:pt x="89" y="90"/>
                </a:cubicBezTo>
                <a:cubicBezTo>
                  <a:pt x="89" y="30"/>
                  <a:pt x="89" y="30"/>
                  <a:pt x="89" y="30"/>
                </a:cubicBezTo>
                <a:cubicBezTo>
                  <a:pt x="89" y="24"/>
                  <a:pt x="85" y="19"/>
                  <a:pt x="79" y="19"/>
                </a:cubicBezTo>
                <a:cubicBezTo>
                  <a:pt x="73" y="19"/>
                  <a:pt x="68" y="24"/>
                  <a:pt x="68" y="30"/>
                </a:cubicBezTo>
                <a:cubicBezTo>
                  <a:pt x="68" y="72"/>
                  <a:pt x="68" y="72"/>
                  <a:pt x="68" y="72"/>
                </a:cubicBezTo>
                <a:cubicBezTo>
                  <a:pt x="68" y="73"/>
                  <a:pt x="67" y="73"/>
                  <a:pt x="66" y="73"/>
                </a:cubicBezTo>
                <a:cubicBezTo>
                  <a:pt x="66" y="73"/>
                  <a:pt x="65" y="73"/>
                  <a:pt x="65" y="72"/>
                </a:cubicBezTo>
                <a:cubicBezTo>
                  <a:pt x="65" y="11"/>
                  <a:pt x="65" y="11"/>
                  <a:pt x="65" y="11"/>
                </a:cubicBezTo>
                <a:cubicBezTo>
                  <a:pt x="65" y="5"/>
                  <a:pt x="60" y="0"/>
                  <a:pt x="54" y="0"/>
                </a:cubicBezTo>
                <a:cubicBezTo>
                  <a:pt x="48" y="0"/>
                  <a:pt x="43" y="5"/>
                  <a:pt x="43" y="11"/>
                </a:cubicBezTo>
                <a:cubicBezTo>
                  <a:pt x="43" y="72"/>
                  <a:pt x="43" y="72"/>
                  <a:pt x="43" y="72"/>
                </a:cubicBezTo>
                <a:cubicBezTo>
                  <a:pt x="43" y="73"/>
                  <a:pt x="43" y="73"/>
                  <a:pt x="42" y="73"/>
                </a:cubicBezTo>
                <a:cubicBezTo>
                  <a:pt x="41" y="73"/>
                  <a:pt x="41" y="73"/>
                  <a:pt x="41" y="72"/>
                </a:cubicBezTo>
                <a:cubicBezTo>
                  <a:pt x="41" y="23"/>
                  <a:pt x="41" y="23"/>
                  <a:pt x="41" y="23"/>
                </a:cubicBezTo>
                <a:cubicBezTo>
                  <a:pt x="41" y="18"/>
                  <a:pt x="36" y="14"/>
                  <a:pt x="31" y="14"/>
                </a:cubicBezTo>
                <a:cubicBezTo>
                  <a:pt x="26" y="14"/>
                  <a:pt x="22" y="18"/>
                  <a:pt x="22" y="23"/>
                </a:cubicBezTo>
                <a:cubicBezTo>
                  <a:pt x="22" y="77"/>
                  <a:pt x="22" y="77"/>
                  <a:pt x="22" y="77"/>
                </a:cubicBezTo>
                <a:cubicBezTo>
                  <a:pt x="22" y="78"/>
                  <a:pt x="21" y="79"/>
                  <a:pt x="20" y="79"/>
                </a:cubicBezTo>
                <a:cubicBezTo>
                  <a:pt x="20" y="79"/>
                  <a:pt x="19" y="78"/>
                  <a:pt x="19" y="77"/>
                </a:cubicBezTo>
                <a:cubicBezTo>
                  <a:pt x="19" y="43"/>
                  <a:pt x="19" y="43"/>
                  <a:pt x="19" y="43"/>
                </a:cubicBezTo>
                <a:cubicBezTo>
                  <a:pt x="19" y="38"/>
                  <a:pt x="15" y="34"/>
                  <a:pt x="9" y="34"/>
                </a:cubicBezTo>
                <a:cubicBezTo>
                  <a:pt x="4" y="34"/>
                  <a:pt x="0" y="38"/>
                  <a:pt x="0" y="43"/>
                </a:cubicBezTo>
                <a:cubicBezTo>
                  <a:pt x="0" y="117"/>
                  <a:pt x="0" y="117"/>
                  <a:pt x="0" y="117"/>
                </a:cubicBezTo>
                <a:cubicBezTo>
                  <a:pt x="3" y="155"/>
                  <a:pt x="26" y="160"/>
                  <a:pt x="48" y="160"/>
                </a:cubicBezTo>
                <a:cubicBezTo>
                  <a:pt x="67" y="160"/>
                  <a:pt x="83" y="151"/>
                  <a:pt x="92" y="136"/>
                </a:cubicBezTo>
                <a:cubicBezTo>
                  <a:pt x="93" y="134"/>
                  <a:pt x="96" y="130"/>
                  <a:pt x="99" y="125"/>
                </a:cubicBezTo>
                <a:cubicBezTo>
                  <a:pt x="107" y="111"/>
                  <a:pt x="115" y="100"/>
                  <a:pt x="116" y="98"/>
                </a:cubicBezTo>
                <a:cubicBezTo>
                  <a:pt x="118" y="94"/>
                  <a:pt x="121" y="90"/>
                  <a:pt x="123" y="88"/>
                </a:cubicBezTo>
                <a:cubicBezTo>
                  <a:pt x="125" y="86"/>
                  <a:pt x="127" y="84"/>
                  <a:pt x="128" y="82"/>
                </a:cubicBezTo>
                <a:cubicBezTo>
                  <a:pt x="129" y="80"/>
                  <a:pt x="129" y="76"/>
                  <a:pt x="127" y="73"/>
                </a:cubicBezTo>
                <a:close/>
                <a:moveTo>
                  <a:pt x="123" y="79"/>
                </a:moveTo>
                <a:cubicBezTo>
                  <a:pt x="122" y="81"/>
                  <a:pt x="121" y="83"/>
                  <a:pt x="120" y="84"/>
                </a:cubicBezTo>
                <a:cubicBezTo>
                  <a:pt x="117" y="87"/>
                  <a:pt x="114" y="90"/>
                  <a:pt x="111" y="96"/>
                </a:cubicBezTo>
                <a:cubicBezTo>
                  <a:pt x="110" y="98"/>
                  <a:pt x="101" y="112"/>
                  <a:pt x="94" y="122"/>
                </a:cubicBezTo>
                <a:cubicBezTo>
                  <a:pt x="91" y="127"/>
                  <a:pt x="88" y="132"/>
                  <a:pt x="87" y="133"/>
                </a:cubicBezTo>
                <a:cubicBezTo>
                  <a:pt x="80" y="146"/>
                  <a:pt x="65" y="155"/>
                  <a:pt x="48" y="155"/>
                </a:cubicBezTo>
                <a:cubicBezTo>
                  <a:pt x="20" y="155"/>
                  <a:pt x="7" y="144"/>
                  <a:pt x="5" y="117"/>
                </a:cubicBezTo>
                <a:cubicBezTo>
                  <a:pt x="5" y="43"/>
                  <a:pt x="5" y="43"/>
                  <a:pt x="5" y="43"/>
                </a:cubicBezTo>
                <a:cubicBezTo>
                  <a:pt x="5" y="41"/>
                  <a:pt x="7" y="39"/>
                  <a:pt x="10" y="39"/>
                </a:cubicBezTo>
                <a:cubicBezTo>
                  <a:pt x="12" y="39"/>
                  <a:pt x="14" y="41"/>
                  <a:pt x="14" y="43"/>
                </a:cubicBezTo>
                <a:cubicBezTo>
                  <a:pt x="14" y="77"/>
                  <a:pt x="14" y="77"/>
                  <a:pt x="14" y="77"/>
                </a:cubicBezTo>
                <a:cubicBezTo>
                  <a:pt x="14" y="81"/>
                  <a:pt x="17" y="84"/>
                  <a:pt x="20" y="84"/>
                </a:cubicBezTo>
                <a:cubicBezTo>
                  <a:pt x="24" y="84"/>
                  <a:pt x="27" y="81"/>
                  <a:pt x="27" y="77"/>
                </a:cubicBezTo>
                <a:cubicBezTo>
                  <a:pt x="27" y="23"/>
                  <a:pt x="27" y="23"/>
                  <a:pt x="27" y="23"/>
                </a:cubicBezTo>
                <a:cubicBezTo>
                  <a:pt x="27" y="21"/>
                  <a:pt x="29" y="19"/>
                  <a:pt x="31" y="19"/>
                </a:cubicBezTo>
                <a:cubicBezTo>
                  <a:pt x="33" y="19"/>
                  <a:pt x="35" y="21"/>
                  <a:pt x="35" y="23"/>
                </a:cubicBezTo>
                <a:cubicBezTo>
                  <a:pt x="35" y="72"/>
                  <a:pt x="35" y="72"/>
                  <a:pt x="35" y="72"/>
                </a:cubicBezTo>
                <a:cubicBezTo>
                  <a:pt x="35" y="76"/>
                  <a:pt x="38" y="79"/>
                  <a:pt x="42" y="79"/>
                </a:cubicBezTo>
                <a:cubicBezTo>
                  <a:pt x="46" y="79"/>
                  <a:pt x="49" y="76"/>
                  <a:pt x="49" y="72"/>
                </a:cubicBezTo>
                <a:cubicBezTo>
                  <a:pt x="49" y="11"/>
                  <a:pt x="49" y="11"/>
                  <a:pt x="49" y="11"/>
                </a:cubicBezTo>
                <a:cubicBezTo>
                  <a:pt x="49" y="8"/>
                  <a:pt x="51" y="5"/>
                  <a:pt x="54" y="5"/>
                </a:cubicBezTo>
                <a:cubicBezTo>
                  <a:pt x="57" y="5"/>
                  <a:pt x="60" y="8"/>
                  <a:pt x="60" y="11"/>
                </a:cubicBezTo>
                <a:cubicBezTo>
                  <a:pt x="60" y="72"/>
                  <a:pt x="60" y="72"/>
                  <a:pt x="60" y="72"/>
                </a:cubicBezTo>
                <a:cubicBezTo>
                  <a:pt x="60" y="76"/>
                  <a:pt x="63" y="79"/>
                  <a:pt x="66" y="79"/>
                </a:cubicBezTo>
                <a:cubicBezTo>
                  <a:pt x="70" y="79"/>
                  <a:pt x="73" y="76"/>
                  <a:pt x="73" y="72"/>
                </a:cubicBezTo>
                <a:cubicBezTo>
                  <a:pt x="73" y="30"/>
                  <a:pt x="73" y="30"/>
                  <a:pt x="73" y="30"/>
                </a:cubicBezTo>
                <a:cubicBezTo>
                  <a:pt x="73" y="27"/>
                  <a:pt x="76" y="24"/>
                  <a:pt x="79" y="24"/>
                </a:cubicBezTo>
                <a:cubicBezTo>
                  <a:pt x="82" y="24"/>
                  <a:pt x="84" y="27"/>
                  <a:pt x="84" y="30"/>
                </a:cubicBezTo>
                <a:cubicBezTo>
                  <a:pt x="84" y="90"/>
                  <a:pt x="84" y="90"/>
                  <a:pt x="84" y="90"/>
                </a:cubicBezTo>
                <a:cubicBezTo>
                  <a:pt x="84" y="91"/>
                  <a:pt x="84" y="92"/>
                  <a:pt x="84" y="93"/>
                </a:cubicBezTo>
                <a:cubicBezTo>
                  <a:pt x="84" y="95"/>
                  <a:pt x="84" y="97"/>
                  <a:pt x="85" y="98"/>
                </a:cubicBezTo>
                <a:cubicBezTo>
                  <a:pt x="86" y="99"/>
                  <a:pt x="88" y="99"/>
                  <a:pt x="89" y="99"/>
                </a:cubicBezTo>
                <a:cubicBezTo>
                  <a:pt x="93" y="99"/>
                  <a:pt x="96" y="97"/>
                  <a:pt x="98" y="94"/>
                </a:cubicBezTo>
                <a:cubicBezTo>
                  <a:pt x="102" y="86"/>
                  <a:pt x="107" y="82"/>
                  <a:pt x="111" y="80"/>
                </a:cubicBezTo>
                <a:cubicBezTo>
                  <a:pt x="114" y="77"/>
                  <a:pt x="118" y="76"/>
                  <a:pt x="122" y="76"/>
                </a:cubicBezTo>
                <a:cubicBezTo>
                  <a:pt x="122" y="76"/>
                  <a:pt x="122" y="76"/>
                  <a:pt x="122" y="76"/>
                </a:cubicBezTo>
                <a:cubicBezTo>
                  <a:pt x="123" y="76"/>
                  <a:pt x="123" y="76"/>
                  <a:pt x="123" y="76"/>
                </a:cubicBezTo>
                <a:cubicBezTo>
                  <a:pt x="123" y="77"/>
                  <a:pt x="123" y="78"/>
                  <a:pt x="123" y="79"/>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2109">
            <a:extLst>
              <a:ext uri="{FF2B5EF4-FFF2-40B4-BE49-F238E27FC236}">
                <a16:creationId xmlns:a16="http://schemas.microsoft.com/office/drawing/2014/main" id="{7030ABEA-DF0C-9241-9533-570FBEAEAAB7}"/>
              </a:ext>
            </a:extLst>
          </p:cNvPr>
          <p:cNvSpPr>
            <a:spLocks noEditPoints="1"/>
          </p:cNvSpPr>
          <p:nvPr/>
        </p:nvSpPr>
        <p:spPr bwMode="auto">
          <a:xfrm>
            <a:off x="4432296" y="984250"/>
            <a:ext cx="542925" cy="550863"/>
          </a:xfrm>
          <a:custGeom>
            <a:avLst/>
            <a:gdLst>
              <a:gd name="T0" fmla="*/ 158 w 159"/>
              <a:gd name="T1" fmla="*/ 73 h 160"/>
              <a:gd name="T2" fmla="*/ 79 w 159"/>
              <a:gd name="T3" fmla="*/ 0 h 160"/>
              <a:gd name="T4" fmla="*/ 1 w 159"/>
              <a:gd name="T5" fmla="*/ 73 h 160"/>
              <a:gd name="T6" fmla="*/ 1 w 159"/>
              <a:gd name="T7" fmla="*/ 77 h 160"/>
              <a:gd name="T8" fmla="*/ 5 w 159"/>
              <a:gd name="T9" fmla="*/ 77 h 160"/>
              <a:gd name="T10" fmla="*/ 14 w 159"/>
              <a:gd name="T11" fmla="*/ 69 h 160"/>
              <a:gd name="T12" fmla="*/ 14 w 159"/>
              <a:gd name="T13" fmla="*/ 160 h 160"/>
              <a:gd name="T14" fmla="*/ 58 w 159"/>
              <a:gd name="T15" fmla="*/ 160 h 160"/>
              <a:gd name="T16" fmla="*/ 101 w 159"/>
              <a:gd name="T17" fmla="*/ 160 h 160"/>
              <a:gd name="T18" fmla="*/ 145 w 159"/>
              <a:gd name="T19" fmla="*/ 160 h 160"/>
              <a:gd name="T20" fmla="*/ 145 w 159"/>
              <a:gd name="T21" fmla="*/ 69 h 160"/>
              <a:gd name="T22" fmla="*/ 154 w 159"/>
              <a:gd name="T23" fmla="*/ 77 h 160"/>
              <a:gd name="T24" fmla="*/ 156 w 159"/>
              <a:gd name="T25" fmla="*/ 78 h 160"/>
              <a:gd name="T26" fmla="*/ 158 w 159"/>
              <a:gd name="T27" fmla="*/ 77 h 160"/>
              <a:gd name="T28" fmla="*/ 158 w 159"/>
              <a:gd name="T29" fmla="*/ 73 h 160"/>
              <a:gd name="T30" fmla="*/ 63 w 159"/>
              <a:gd name="T31" fmla="*/ 155 h 160"/>
              <a:gd name="T32" fmla="*/ 63 w 159"/>
              <a:gd name="T33" fmla="*/ 111 h 160"/>
              <a:gd name="T34" fmla="*/ 79 w 159"/>
              <a:gd name="T35" fmla="*/ 94 h 160"/>
              <a:gd name="T36" fmla="*/ 96 w 159"/>
              <a:gd name="T37" fmla="*/ 111 h 160"/>
              <a:gd name="T38" fmla="*/ 96 w 159"/>
              <a:gd name="T39" fmla="*/ 155 h 160"/>
              <a:gd name="T40" fmla="*/ 63 w 159"/>
              <a:gd name="T41" fmla="*/ 155 h 160"/>
              <a:gd name="T42" fmla="*/ 140 w 159"/>
              <a:gd name="T43" fmla="*/ 155 h 160"/>
              <a:gd name="T44" fmla="*/ 101 w 159"/>
              <a:gd name="T45" fmla="*/ 155 h 160"/>
              <a:gd name="T46" fmla="*/ 101 w 159"/>
              <a:gd name="T47" fmla="*/ 111 h 160"/>
              <a:gd name="T48" fmla="*/ 79 w 159"/>
              <a:gd name="T49" fmla="*/ 89 h 160"/>
              <a:gd name="T50" fmla="*/ 58 w 159"/>
              <a:gd name="T51" fmla="*/ 111 h 160"/>
              <a:gd name="T52" fmla="*/ 58 w 159"/>
              <a:gd name="T53" fmla="*/ 155 h 160"/>
              <a:gd name="T54" fmla="*/ 19 w 159"/>
              <a:gd name="T55" fmla="*/ 155 h 160"/>
              <a:gd name="T56" fmla="*/ 19 w 159"/>
              <a:gd name="T57" fmla="*/ 63 h 160"/>
              <a:gd name="T58" fmla="*/ 79 w 159"/>
              <a:gd name="T59" fmla="*/ 7 h 160"/>
              <a:gd name="T60" fmla="*/ 140 w 159"/>
              <a:gd name="T61" fmla="*/ 63 h 160"/>
              <a:gd name="T62" fmla="*/ 140 w 159"/>
              <a:gd name="T63"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160">
                <a:moveTo>
                  <a:pt x="158" y="73"/>
                </a:moveTo>
                <a:cubicBezTo>
                  <a:pt x="79" y="0"/>
                  <a:pt x="79" y="0"/>
                  <a:pt x="79" y="0"/>
                </a:cubicBezTo>
                <a:cubicBezTo>
                  <a:pt x="1" y="73"/>
                  <a:pt x="1" y="73"/>
                  <a:pt x="1" y="73"/>
                </a:cubicBezTo>
                <a:cubicBezTo>
                  <a:pt x="0" y="74"/>
                  <a:pt x="0" y="76"/>
                  <a:pt x="1" y="77"/>
                </a:cubicBezTo>
                <a:cubicBezTo>
                  <a:pt x="2" y="78"/>
                  <a:pt x="3" y="78"/>
                  <a:pt x="5" y="77"/>
                </a:cubicBezTo>
                <a:cubicBezTo>
                  <a:pt x="14" y="69"/>
                  <a:pt x="14" y="69"/>
                  <a:pt x="14" y="69"/>
                </a:cubicBezTo>
                <a:cubicBezTo>
                  <a:pt x="14" y="160"/>
                  <a:pt x="14" y="160"/>
                  <a:pt x="14" y="160"/>
                </a:cubicBezTo>
                <a:cubicBezTo>
                  <a:pt x="58" y="160"/>
                  <a:pt x="58" y="160"/>
                  <a:pt x="58" y="160"/>
                </a:cubicBezTo>
                <a:cubicBezTo>
                  <a:pt x="101" y="160"/>
                  <a:pt x="101" y="160"/>
                  <a:pt x="101" y="160"/>
                </a:cubicBezTo>
                <a:cubicBezTo>
                  <a:pt x="145" y="160"/>
                  <a:pt x="145" y="160"/>
                  <a:pt x="145" y="160"/>
                </a:cubicBezTo>
                <a:cubicBezTo>
                  <a:pt x="145" y="69"/>
                  <a:pt x="145" y="69"/>
                  <a:pt x="145" y="69"/>
                </a:cubicBezTo>
                <a:cubicBezTo>
                  <a:pt x="154" y="77"/>
                  <a:pt x="154" y="77"/>
                  <a:pt x="154" y="77"/>
                </a:cubicBezTo>
                <a:cubicBezTo>
                  <a:pt x="155" y="78"/>
                  <a:pt x="156" y="78"/>
                  <a:pt x="156" y="78"/>
                </a:cubicBezTo>
                <a:cubicBezTo>
                  <a:pt x="157" y="78"/>
                  <a:pt x="158" y="77"/>
                  <a:pt x="158" y="77"/>
                </a:cubicBezTo>
                <a:cubicBezTo>
                  <a:pt x="159" y="76"/>
                  <a:pt x="159" y="74"/>
                  <a:pt x="158" y="73"/>
                </a:cubicBezTo>
                <a:close/>
                <a:moveTo>
                  <a:pt x="63" y="155"/>
                </a:moveTo>
                <a:cubicBezTo>
                  <a:pt x="63" y="111"/>
                  <a:pt x="63" y="111"/>
                  <a:pt x="63" y="111"/>
                </a:cubicBezTo>
                <a:cubicBezTo>
                  <a:pt x="63" y="102"/>
                  <a:pt x="70" y="94"/>
                  <a:pt x="79" y="94"/>
                </a:cubicBezTo>
                <a:cubicBezTo>
                  <a:pt x="89" y="94"/>
                  <a:pt x="96" y="102"/>
                  <a:pt x="96" y="111"/>
                </a:cubicBezTo>
                <a:cubicBezTo>
                  <a:pt x="96" y="155"/>
                  <a:pt x="96" y="155"/>
                  <a:pt x="96" y="155"/>
                </a:cubicBezTo>
                <a:lnTo>
                  <a:pt x="63" y="155"/>
                </a:lnTo>
                <a:close/>
                <a:moveTo>
                  <a:pt x="140" y="155"/>
                </a:moveTo>
                <a:cubicBezTo>
                  <a:pt x="101" y="155"/>
                  <a:pt x="101" y="155"/>
                  <a:pt x="101" y="155"/>
                </a:cubicBezTo>
                <a:cubicBezTo>
                  <a:pt x="101" y="111"/>
                  <a:pt x="101" y="111"/>
                  <a:pt x="101" y="111"/>
                </a:cubicBezTo>
                <a:cubicBezTo>
                  <a:pt x="101" y="99"/>
                  <a:pt x="92" y="89"/>
                  <a:pt x="79" y="89"/>
                </a:cubicBezTo>
                <a:cubicBezTo>
                  <a:pt x="67" y="89"/>
                  <a:pt x="58" y="99"/>
                  <a:pt x="58" y="111"/>
                </a:cubicBezTo>
                <a:cubicBezTo>
                  <a:pt x="58" y="155"/>
                  <a:pt x="58" y="155"/>
                  <a:pt x="58" y="155"/>
                </a:cubicBezTo>
                <a:cubicBezTo>
                  <a:pt x="19" y="155"/>
                  <a:pt x="19" y="155"/>
                  <a:pt x="19" y="155"/>
                </a:cubicBezTo>
                <a:cubicBezTo>
                  <a:pt x="19" y="63"/>
                  <a:pt x="19" y="63"/>
                  <a:pt x="19" y="63"/>
                </a:cubicBezTo>
                <a:cubicBezTo>
                  <a:pt x="79" y="7"/>
                  <a:pt x="79" y="7"/>
                  <a:pt x="79" y="7"/>
                </a:cubicBezTo>
                <a:cubicBezTo>
                  <a:pt x="140" y="63"/>
                  <a:pt x="140" y="63"/>
                  <a:pt x="140" y="63"/>
                </a:cubicBezTo>
                <a:lnTo>
                  <a:pt x="140" y="155"/>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2110">
            <a:extLst>
              <a:ext uri="{FF2B5EF4-FFF2-40B4-BE49-F238E27FC236}">
                <a16:creationId xmlns:a16="http://schemas.microsoft.com/office/drawing/2014/main" id="{2480EE8E-764B-8840-8588-9D87FBB26E2A}"/>
              </a:ext>
            </a:extLst>
          </p:cNvPr>
          <p:cNvSpPr>
            <a:spLocks noEditPoints="1"/>
          </p:cNvSpPr>
          <p:nvPr/>
        </p:nvSpPr>
        <p:spPr bwMode="auto">
          <a:xfrm>
            <a:off x="4432296" y="1603375"/>
            <a:ext cx="542925" cy="550863"/>
          </a:xfrm>
          <a:custGeom>
            <a:avLst/>
            <a:gdLst>
              <a:gd name="T0" fmla="*/ 158 w 159"/>
              <a:gd name="T1" fmla="*/ 73 h 160"/>
              <a:gd name="T2" fmla="*/ 79 w 159"/>
              <a:gd name="T3" fmla="*/ 0 h 160"/>
              <a:gd name="T4" fmla="*/ 1 w 159"/>
              <a:gd name="T5" fmla="*/ 73 h 160"/>
              <a:gd name="T6" fmla="*/ 1 w 159"/>
              <a:gd name="T7" fmla="*/ 77 h 160"/>
              <a:gd name="T8" fmla="*/ 5 w 159"/>
              <a:gd name="T9" fmla="*/ 77 h 160"/>
              <a:gd name="T10" fmla="*/ 14 w 159"/>
              <a:gd name="T11" fmla="*/ 69 h 160"/>
              <a:gd name="T12" fmla="*/ 14 w 159"/>
              <a:gd name="T13" fmla="*/ 160 h 160"/>
              <a:gd name="T14" fmla="*/ 145 w 159"/>
              <a:gd name="T15" fmla="*/ 160 h 160"/>
              <a:gd name="T16" fmla="*/ 145 w 159"/>
              <a:gd name="T17" fmla="*/ 69 h 160"/>
              <a:gd name="T18" fmla="*/ 154 w 159"/>
              <a:gd name="T19" fmla="*/ 77 h 160"/>
              <a:gd name="T20" fmla="*/ 156 w 159"/>
              <a:gd name="T21" fmla="*/ 78 h 160"/>
              <a:gd name="T22" fmla="*/ 158 w 159"/>
              <a:gd name="T23" fmla="*/ 77 h 160"/>
              <a:gd name="T24" fmla="*/ 158 w 159"/>
              <a:gd name="T25" fmla="*/ 73 h 160"/>
              <a:gd name="T26" fmla="*/ 140 w 159"/>
              <a:gd name="T27" fmla="*/ 155 h 160"/>
              <a:gd name="T28" fmla="*/ 19 w 159"/>
              <a:gd name="T29" fmla="*/ 155 h 160"/>
              <a:gd name="T30" fmla="*/ 19 w 159"/>
              <a:gd name="T31" fmla="*/ 63 h 160"/>
              <a:gd name="T32" fmla="*/ 79 w 159"/>
              <a:gd name="T33" fmla="*/ 7 h 160"/>
              <a:gd name="T34" fmla="*/ 140 w 159"/>
              <a:gd name="T35" fmla="*/ 63 h 160"/>
              <a:gd name="T36" fmla="*/ 140 w 159"/>
              <a:gd name="T37" fmla="*/ 155 h 160"/>
              <a:gd name="T38" fmla="*/ 36 w 159"/>
              <a:gd name="T39" fmla="*/ 97 h 160"/>
              <a:gd name="T40" fmla="*/ 74 w 159"/>
              <a:gd name="T41" fmla="*/ 97 h 160"/>
              <a:gd name="T42" fmla="*/ 74 w 159"/>
              <a:gd name="T43" fmla="*/ 59 h 160"/>
              <a:gd name="T44" fmla="*/ 36 w 159"/>
              <a:gd name="T45" fmla="*/ 59 h 160"/>
              <a:gd name="T46" fmla="*/ 36 w 159"/>
              <a:gd name="T47" fmla="*/ 97 h 160"/>
              <a:gd name="T48" fmla="*/ 41 w 159"/>
              <a:gd name="T49" fmla="*/ 64 h 160"/>
              <a:gd name="T50" fmla="*/ 69 w 159"/>
              <a:gd name="T51" fmla="*/ 64 h 160"/>
              <a:gd name="T52" fmla="*/ 69 w 159"/>
              <a:gd name="T53" fmla="*/ 91 h 160"/>
              <a:gd name="T54" fmla="*/ 41 w 159"/>
              <a:gd name="T55" fmla="*/ 91 h 160"/>
              <a:gd name="T56" fmla="*/ 41 w 159"/>
              <a:gd name="T57" fmla="*/ 64 h 160"/>
              <a:gd name="T58" fmla="*/ 123 w 159"/>
              <a:gd name="T59" fmla="*/ 59 h 160"/>
              <a:gd name="T60" fmla="*/ 85 w 159"/>
              <a:gd name="T61" fmla="*/ 59 h 160"/>
              <a:gd name="T62" fmla="*/ 85 w 159"/>
              <a:gd name="T63" fmla="*/ 97 h 160"/>
              <a:gd name="T64" fmla="*/ 123 w 159"/>
              <a:gd name="T65" fmla="*/ 97 h 160"/>
              <a:gd name="T66" fmla="*/ 123 w 159"/>
              <a:gd name="T67" fmla="*/ 59 h 160"/>
              <a:gd name="T68" fmla="*/ 118 w 159"/>
              <a:gd name="T69" fmla="*/ 91 h 160"/>
              <a:gd name="T70" fmla="*/ 90 w 159"/>
              <a:gd name="T71" fmla="*/ 91 h 160"/>
              <a:gd name="T72" fmla="*/ 90 w 159"/>
              <a:gd name="T73" fmla="*/ 64 h 160"/>
              <a:gd name="T74" fmla="*/ 118 w 159"/>
              <a:gd name="T75" fmla="*/ 64 h 160"/>
              <a:gd name="T76" fmla="*/ 118 w 159"/>
              <a:gd name="T77" fmla="*/ 91 h 160"/>
              <a:gd name="T78" fmla="*/ 36 w 159"/>
              <a:gd name="T79" fmla="*/ 146 h 160"/>
              <a:gd name="T80" fmla="*/ 74 w 159"/>
              <a:gd name="T81" fmla="*/ 146 h 160"/>
              <a:gd name="T82" fmla="*/ 74 w 159"/>
              <a:gd name="T83" fmla="*/ 108 h 160"/>
              <a:gd name="T84" fmla="*/ 36 w 159"/>
              <a:gd name="T85" fmla="*/ 108 h 160"/>
              <a:gd name="T86" fmla="*/ 36 w 159"/>
              <a:gd name="T87" fmla="*/ 146 h 160"/>
              <a:gd name="T88" fmla="*/ 41 w 159"/>
              <a:gd name="T89" fmla="*/ 113 h 160"/>
              <a:gd name="T90" fmla="*/ 69 w 159"/>
              <a:gd name="T91" fmla="*/ 113 h 160"/>
              <a:gd name="T92" fmla="*/ 69 w 159"/>
              <a:gd name="T93" fmla="*/ 141 h 160"/>
              <a:gd name="T94" fmla="*/ 41 w 159"/>
              <a:gd name="T95" fmla="*/ 141 h 160"/>
              <a:gd name="T96" fmla="*/ 41 w 159"/>
              <a:gd name="T97" fmla="*/ 113 h 160"/>
              <a:gd name="T98" fmla="*/ 123 w 159"/>
              <a:gd name="T99" fmla="*/ 108 h 160"/>
              <a:gd name="T100" fmla="*/ 85 w 159"/>
              <a:gd name="T101" fmla="*/ 108 h 160"/>
              <a:gd name="T102" fmla="*/ 85 w 159"/>
              <a:gd name="T103" fmla="*/ 146 h 160"/>
              <a:gd name="T104" fmla="*/ 123 w 159"/>
              <a:gd name="T105" fmla="*/ 146 h 160"/>
              <a:gd name="T106" fmla="*/ 123 w 159"/>
              <a:gd name="T107" fmla="*/ 108 h 160"/>
              <a:gd name="T108" fmla="*/ 118 w 159"/>
              <a:gd name="T109" fmla="*/ 141 h 160"/>
              <a:gd name="T110" fmla="*/ 90 w 159"/>
              <a:gd name="T111" fmla="*/ 141 h 160"/>
              <a:gd name="T112" fmla="*/ 90 w 159"/>
              <a:gd name="T113" fmla="*/ 113 h 160"/>
              <a:gd name="T114" fmla="*/ 118 w 159"/>
              <a:gd name="T115" fmla="*/ 113 h 160"/>
              <a:gd name="T116" fmla="*/ 118 w 159"/>
              <a:gd name="T117" fmla="*/ 14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 h="160">
                <a:moveTo>
                  <a:pt x="158" y="73"/>
                </a:moveTo>
                <a:cubicBezTo>
                  <a:pt x="79" y="0"/>
                  <a:pt x="79" y="0"/>
                  <a:pt x="79" y="0"/>
                </a:cubicBezTo>
                <a:cubicBezTo>
                  <a:pt x="1" y="73"/>
                  <a:pt x="1" y="73"/>
                  <a:pt x="1" y="73"/>
                </a:cubicBezTo>
                <a:cubicBezTo>
                  <a:pt x="0" y="74"/>
                  <a:pt x="0" y="76"/>
                  <a:pt x="1" y="77"/>
                </a:cubicBezTo>
                <a:cubicBezTo>
                  <a:pt x="2" y="78"/>
                  <a:pt x="3" y="78"/>
                  <a:pt x="5" y="77"/>
                </a:cubicBezTo>
                <a:cubicBezTo>
                  <a:pt x="14" y="69"/>
                  <a:pt x="14" y="69"/>
                  <a:pt x="14" y="69"/>
                </a:cubicBezTo>
                <a:cubicBezTo>
                  <a:pt x="14" y="160"/>
                  <a:pt x="14" y="160"/>
                  <a:pt x="14" y="160"/>
                </a:cubicBezTo>
                <a:cubicBezTo>
                  <a:pt x="145" y="160"/>
                  <a:pt x="145" y="160"/>
                  <a:pt x="145" y="160"/>
                </a:cubicBezTo>
                <a:cubicBezTo>
                  <a:pt x="145" y="69"/>
                  <a:pt x="145" y="69"/>
                  <a:pt x="145" y="69"/>
                </a:cubicBezTo>
                <a:cubicBezTo>
                  <a:pt x="154" y="77"/>
                  <a:pt x="154" y="77"/>
                  <a:pt x="154" y="77"/>
                </a:cubicBezTo>
                <a:cubicBezTo>
                  <a:pt x="155" y="78"/>
                  <a:pt x="156" y="78"/>
                  <a:pt x="156" y="78"/>
                </a:cubicBezTo>
                <a:cubicBezTo>
                  <a:pt x="157" y="78"/>
                  <a:pt x="158" y="77"/>
                  <a:pt x="158" y="77"/>
                </a:cubicBezTo>
                <a:cubicBezTo>
                  <a:pt x="159" y="76"/>
                  <a:pt x="159" y="74"/>
                  <a:pt x="158" y="73"/>
                </a:cubicBezTo>
                <a:close/>
                <a:moveTo>
                  <a:pt x="140" y="155"/>
                </a:moveTo>
                <a:cubicBezTo>
                  <a:pt x="19" y="155"/>
                  <a:pt x="19" y="155"/>
                  <a:pt x="19" y="155"/>
                </a:cubicBezTo>
                <a:cubicBezTo>
                  <a:pt x="19" y="63"/>
                  <a:pt x="19" y="63"/>
                  <a:pt x="19" y="63"/>
                </a:cubicBezTo>
                <a:cubicBezTo>
                  <a:pt x="79" y="7"/>
                  <a:pt x="79" y="7"/>
                  <a:pt x="79" y="7"/>
                </a:cubicBezTo>
                <a:cubicBezTo>
                  <a:pt x="140" y="63"/>
                  <a:pt x="140" y="63"/>
                  <a:pt x="140" y="63"/>
                </a:cubicBezTo>
                <a:lnTo>
                  <a:pt x="140" y="155"/>
                </a:lnTo>
                <a:close/>
                <a:moveTo>
                  <a:pt x="36" y="97"/>
                </a:moveTo>
                <a:cubicBezTo>
                  <a:pt x="74" y="97"/>
                  <a:pt x="74" y="97"/>
                  <a:pt x="74" y="97"/>
                </a:cubicBezTo>
                <a:cubicBezTo>
                  <a:pt x="74" y="59"/>
                  <a:pt x="74" y="59"/>
                  <a:pt x="74" y="59"/>
                </a:cubicBezTo>
                <a:cubicBezTo>
                  <a:pt x="36" y="59"/>
                  <a:pt x="36" y="59"/>
                  <a:pt x="36" y="59"/>
                </a:cubicBezTo>
                <a:lnTo>
                  <a:pt x="36" y="97"/>
                </a:lnTo>
                <a:close/>
                <a:moveTo>
                  <a:pt x="41" y="64"/>
                </a:moveTo>
                <a:cubicBezTo>
                  <a:pt x="69" y="64"/>
                  <a:pt x="69" y="64"/>
                  <a:pt x="69" y="64"/>
                </a:cubicBezTo>
                <a:cubicBezTo>
                  <a:pt x="69" y="91"/>
                  <a:pt x="69" y="91"/>
                  <a:pt x="69" y="91"/>
                </a:cubicBezTo>
                <a:cubicBezTo>
                  <a:pt x="41" y="91"/>
                  <a:pt x="41" y="91"/>
                  <a:pt x="41" y="91"/>
                </a:cubicBezTo>
                <a:lnTo>
                  <a:pt x="41" y="64"/>
                </a:lnTo>
                <a:close/>
                <a:moveTo>
                  <a:pt x="123" y="59"/>
                </a:moveTo>
                <a:cubicBezTo>
                  <a:pt x="85" y="59"/>
                  <a:pt x="85" y="59"/>
                  <a:pt x="85" y="59"/>
                </a:cubicBezTo>
                <a:cubicBezTo>
                  <a:pt x="85" y="97"/>
                  <a:pt x="85" y="97"/>
                  <a:pt x="85" y="97"/>
                </a:cubicBezTo>
                <a:cubicBezTo>
                  <a:pt x="123" y="97"/>
                  <a:pt x="123" y="97"/>
                  <a:pt x="123" y="97"/>
                </a:cubicBezTo>
                <a:lnTo>
                  <a:pt x="123" y="59"/>
                </a:lnTo>
                <a:close/>
                <a:moveTo>
                  <a:pt x="118" y="91"/>
                </a:moveTo>
                <a:cubicBezTo>
                  <a:pt x="90" y="91"/>
                  <a:pt x="90" y="91"/>
                  <a:pt x="90" y="91"/>
                </a:cubicBezTo>
                <a:cubicBezTo>
                  <a:pt x="90" y="64"/>
                  <a:pt x="90" y="64"/>
                  <a:pt x="90" y="64"/>
                </a:cubicBezTo>
                <a:cubicBezTo>
                  <a:pt x="118" y="64"/>
                  <a:pt x="118" y="64"/>
                  <a:pt x="118" y="64"/>
                </a:cubicBezTo>
                <a:lnTo>
                  <a:pt x="118" y="91"/>
                </a:lnTo>
                <a:close/>
                <a:moveTo>
                  <a:pt x="36" y="146"/>
                </a:moveTo>
                <a:cubicBezTo>
                  <a:pt x="74" y="146"/>
                  <a:pt x="74" y="146"/>
                  <a:pt x="74" y="146"/>
                </a:cubicBezTo>
                <a:cubicBezTo>
                  <a:pt x="74" y="108"/>
                  <a:pt x="74" y="108"/>
                  <a:pt x="74" y="108"/>
                </a:cubicBezTo>
                <a:cubicBezTo>
                  <a:pt x="36" y="108"/>
                  <a:pt x="36" y="108"/>
                  <a:pt x="36" y="108"/>
                </a:cubicBezTo>
                <a:lnTo>
                  <a:pt x="36" y="146"/>
                </a:lnTo>
                <a:close/>
                <a:moveTo>
                  <a:pt x="41" y="113"/>
                </a:moveTo>
                <a:cubicBezTo>
                  <a:pt x="69" y="113"/>
                  <a:pt x="69" y="113"/>
                  <a:pt x="69" y="113"/>
                </a:cubicBezTo>
                <a:cubicBezTo>
                  <a:pt x="69" y="141"/>
                  <a:pt x="69" y="141"/>
                  <a:pt x="69" y="141"/>
                </a:cubicBezTo>
                <a:cubicBezTo>
                  <a:pt x="41" y="141"/>
                  <a:pt x="41" y="141"/>
                  <a:pt x="41" y="141"/>
                </a:cubicBezTo>
                <a:lnTo>
                  <a:pt x="41" y="113"/>
                </a:lnTo>
                <a:close/>
                <a:moveTo>
                  <a:pt x="123" y="108"/>
                </a:moveTo>
                <a:cubicBezTo>
                  <a:pt x="85" y="108"/>
                  <a:pt x="85" y="108"/>
                  <a:pt x="85" y="108"/>
                </a:cubicBezTo>
                <a:cubicBezTo>
                  <a:pt x="85" y="146"/>
                  <a:pt x="85" y="146"/>
                  <a:pt x="85" y="146"/>
                </a:cubicBezTo>
                <a:cubicBezTo>
                  <a:pt x="123" y="146"/>
                  <a:pt x="123" y="146"/>
                  <a:pt x="123" y="146"/>
                </a:cubicBezTo>
                <a:lnTo>
                  <a:pt x="123" y="108"/>
                </a:lnTo>
                <a:close/>
                <a:moveTo>
                  <a:pt x="118" y="141"/>
                </a:moveTo>
                <a:cubicBezTo>
                  <a:pt x="90" y="141"/>
                  <a:pt x="90" y="141"/>
                  <a:pt x="90" y="141"/>
                </a:cubicBezTo>
                <a:cubicBezTo>
                  <a:pt x="90" y="113"/>
                  <a:pt x="90" y="113"/>
                  <a:pt x="90" y="113"/>
                </a:cubicBezTo>
                <a:cubicBezTo>
                  <a:pt x="118" y="113"/>
                  <a:pt x="118" y="113"/>
                  <a:pt x="118" y="113"/>
                </a:cubicBezTo>
                <a:lnTo>
                  <a:pt x="118" y="141"/>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2111">
            <a:extLst>
              <a:ext uri="{FF2B5EF4-FFF2-40B4-BE49-F238E27FC236}">
                <a16:creationId xmlns:a16="http://schemas.microsoft.com/office/drawing/2014/main" id="{D5078DB7-4C1F-CA4D-8A2B-C6BDF6A95395}"/>
              </a:ext>
            </a:extLst>
          </p:cNvPr>
          <p:cNvSpPr>
            <a:spLocks noEditPoints="1"/>
          </p:cNvSpPr>
          <p:nvPr/>
        </p:nvSpPr>
        <p:spPr bwMode="auto">
          <a:xfrm>
            <a:off x="4432296" y="2222500"/>
            <a:ext cx="542925" cy="550863"/>
          </a:xfrm>
          <a:custGeom>
            <a:avLst/>
            <a:gdLst>
              <a:gd name="T0" fmla="*/ 158 w 159"/>
              <a:gd name="T1" fmla="*/ 73 h 160"/>
              <a:gd name="T2" fmla="*/ 134 w 159"/>
              <a:gd name="T3" fmla="*/ 51 h 160"/>
              <a:gd name="T4" fmla="*/ 134 w 159"/>
              <a:gd name="T5" fmla="*/ 15 h 160"/>
              <a:gd name="T6" fmla="*/ 107 w 159"/>
              <a:gd name="T7" fmla="*/ 15 h 160"/>
              <a:gd name="T8" fmla="*/ 107 w 159"/>
              <a:gd name="T9" fmla="*/ 25 h 160"/>
              <a:gd name="T10" fmla="*/ 79 w 159"/>
              <a:gd name="T11" fmla="*/ 0 h 160"/>
              <a:gd name="T12" fmla="*/ 1 w 159"/>
              <a:gd name="T13" fmla="*/ 73 h 160"/>
              <a:gd name="T14" fmla="*/ 1 w 159"/>
              <a:gd name="T15" fmla="*/ 77 h 160"/>
              <a:gd name="T16" fmla="*/ 5 w 159"/>
              <a:gd name="T17" fmla="*/ 77 h 160"/>
              <a:gd name="T18" fmla="*/ 14 w 159"/>
              <a:gd name="T19" fmla="*/ 69 h 160"/>
              <a:gd name="T20" fmla="*/ 14 w 159"/>
              <a:gd name="T21" fmla="*/ 160 h 160"/>
              <a:gd name="T22" fmla="*/ 58 w 159"/>
              <a:gd name="T23" fmla="*/ 160 h 160"/>
              <a:gd name="T24" fmla="*/ 101 w 159"/>
              <a:gd name="T25" fmla="*/ 160 h 160"/>
              <a:gd name="T26" fmla="*/ 145 w 159"/>
              <a:gd name="T27" fmla="*/ 160 h 160"/>
              <a:gd name="T28" fmla="*/ 145 w 159"/>
              <a:gd name="T29" fmla="*/ 69 h 160"/>
              <a:gd name="T30" fmla="*/ 154 w 159"/>
              <a:gd name="T31" fmla="*/ 77 h 160"/>
              <a:gd name="T32" fmla="*/ 156 w 159"/>
              <a:gd name="T33" fmla="*/ 78 h 160"/>
              <a:gd name="T34" fmla="*/ 158 w 159"/>
              <a:gd name="T35" fmla="*/ 77 h 160"/>
              <a:gd name="T36" fmla="*/ 158 w 159"/>
              <a:gd name="T37" fmla="*/ 73 h 160"/>
              <a:gd name="T38" fmla="*/ 112 w 159"/>
              <a:gd name="T39" fmla="*/ 20 h 160"/>
              <a:gd name="T40" fmla="*/ 129 w 159"/>
              <a:gd name="T41" fmla="*/ 20 h 160"/>
              <a:gd name="T42" fmla="*/ 129 w 159"/>
              <a:gd name="T43" fmla="*/ 46 h 160"/>
              <a:gd name="T44" fmla="*/ 112 w 159"/>
              <a:gd name="T45" fmla="*/ 31 h 160"/>
              <a:gd name="T46" fmla="*/ 112 w 159"/>
              <a:gd name="T47" fmla="*/ 20 h 160"/>
              <a:gd name="T48" fmla="*/ 63 w 159"/>
              <a:gd name="T49" fmla="*/ 155 h 160"/>
              <a:gd name="T50" fmla="*/ 63 w 159"/>
              <a:gd name="T51" fmla="*/ 97 h 160"/>
              <a:gd name="T52" fmla="*/ 66 w 159"/>
              <a:gd name="T53" fmla="*/ 94 h 160"/>
              <a:gd name="T54" fmla="*/ 93 w 159"/>
              <a:gd name="T55" fmla="*/ 94 h 160"/>
              <a:gd name="T56" fmla="*/ 96 w 159"/>
              <a:gd name="T57" fmla="*/ 97 h 160"/>
              <a:gd name="T58" fmla="*/ 96 w 159"/>
              <a:gd name="T59" fmla="*/ 155 h 160"/>
              <a:gd name="T60" fmla="*/ 63 w 159"/>
              <a:gd name="T61" fmla="*/ 155 h 160"/>
              <a:gd name="T62" fmla="*/ 140 w 159"/>
              <a:gd name="T63" fmla="*/ 155 h 160"/>
              <a:gd name="T64" fmla="*/ 101 w 159"/>
              <a:gd name="T65" fmla="*/ 155 h 160"/>
              <a:gd name="T66" fmla="*/ 101 w 159"/>
              <a:gd name="T67" fmla="*/ 97 h 160"/>
              <a:gd name="T68" fmla="*/ 93 w 159"/>
              <a:gd name="T69" fmla="*/ 89 h 160"/>
              <a:gd name="T70" fmla="*/ 66 w 159"/>
              <a:gd name="T71" fmla="*/ 89 h 160"/>
              <a:gd name="T72" fmla="*/ 58 w 159"/>
              <a:gd name="T73" fmla="*/ 97 h 160"/>
              <a:gd name="T74" fmla="*/ 58 w 159"/>
              <a:gd name="T75" fmla="*/ 155 h 160"/>
              <a:gd name="T76" fmla="*/ 19 w 159"/>
              <a:gd name="T77" fmla="*/ 155 h 160"/>
              <a:gd name="T78" fmla="*/ 19 w 159"/>
              <a:gd name="T79" fmla="*/ 63 h 160"/>
              <a:gd name="T80" fmla="*/ 79 w 159"/>
              <a:gd name="T81" fmla="*/ 7 h 160"/>
              <a:gd name="T82" fmla="*/ 119 w 159"/>
              <a:gd name="T83" fmla="*/ 44 h 160"/>
              <a:gd name="T84" fmla="*/ 134 w 159"/>
              <a:gd name="T85" fmla="*/ 58 h 160"/>
              <a:gd name="T86" fmla="*/ 134 w 159"/>
              <a:gd name="T87" fmla="*/ 58 h 160"/>
              <a:gd name="T88" fmla="*/ 140 w 159"/>
              <a:gd name="T89" fmla="*/ 63 h 160"/>
              <a:gd name="T90" fmla="*/ 140 w 159"/>
              <a:gd name="T91"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9" h="160">
                <a:moveTo>
                  <a:pt x="158" y="73"/>
                </a:moveTo>
                <a:cubicBezTo>
                  <a:pt x="134" y="51"/>
                  <a:pt x="134" y="51"/>
                  <a:pt x="134" y="51"/>
                </a:cubicBezTo>
                <a:cubicBezTo>
                  <a:pt x="134" y="15"/>
                  <a:pt x="134" y="15"/>
                  <a:pt x="134" y="15"/>
                </a:cubicBezTo>
                <a:cubicBezTo>
                  <a:pt x="107" y="15"/>
                  <a:pt x="107" y="15"/>
                  <a:pt x="107" y="15"/>
                </a:cubicBezTo>
                <a:cubicBezTo>
                  <a:pt x="107" y="25"/>
                  <a:pt x="107" y="25"/>
                  <a:pt x="107" y="25"/>
                </a:cubicBezTo>
                <a:cubicBezTo>
                  <a:pt x="79" y="0"/>
                  <a:pt x="79" y="0"/>
                  <a:pt x="79" y="0"/>
                </a:cubicBezTo>
                <a:cubicBezTo>
                  <a:pt x="1" y="73"/>
                  <a:pt x="1" y="73"/>
                  <a:pt x="1" y="73"/>
                </a:cubicBezTo>
                <a:cubicBezTo>
                  <a:pt x="0" y="74"/>
                  <a:pt x="0" y="76"/>
                  <a:pt x="1" y="77"/>
                </a:cubicBezTo>
                <a:cubicBezTo>
                  <a:pt x="2" y="78"/>
                  <a:pt x="3" y="78"/>
                  <a:pt x="5" y="77"/>
                </a:cubicBezTo>
                <a:cubicBezTo>
                  <a:pt x="14" y="69"/>
                  <a:pt x="14" y="69"/>
                  <a:pt x="14" y="69"/>
                </a:cubicBezTo>
                <a:cubicBezTo>
                  <a:pt x="14" y="160"/>
                  <a:pt x="14" y="160"/>
                  <a:pt x="14" y="160"/>
                </a:cubicBezTo>
                <a:cubicBezTo>
                  <a:pt x="58" y="160"/>
                  <a:pt x="58" y="160"/>
                  <a:pt x="58" y="160"/>
                </a:cubicBezTo>
                <a:cubicBezTo>
                  <a:pt x="101" y="160"/>
                  <a:pt x="101" y="160"/>
                  <a:pt x="101" y="160"/>
                </a:cubicBezTo>
                <a:cubicBezTo>
                  <a:pt x="145" y="160"/>
                  <a:pt x="145" y="160"/>
                  <a:pt x="145" y="160"/>
                </a:cubicBezTo>
                <a:cubicBezTo>
                  <a:pt x="145" y="69"/>
                  <a:pt x="145" y="69"/>
                  <a:pt x="145" y="69"/>
                </a:cubicBezTo>
                <a:cubicBezTo>
                  <a:pt x="154" y="77"/>
                  <a:pt x="154" y="77"/>
                  <a:pt x="154" y="77"/>
                </a:cubicBezTo>
                <a:cubicBezTo>
                  <a:pt x="155" y="78"/>
                  <a:pt x="156" y="78"/>
                  <a:pt x="156" y="78"/>
                </a:cubicBezTo>
                <a:cubicBezTo>
                  <a:pt x="157" y="78"/>
                  <a:pt x="158" y="77"/>
                  <a:pt x="158" y="77"/>
                </a:cubicBezTo>
                <a:cubicBezTo>
                  <a:pt x="159" y="76"/>
                  <a:pt x="159" y="74"/>
                  <a:pt x="158" y="73"/>
                </a:cubicBezTo>
                <a:close/>
                <a:moveTo>
                  <a:pt x="112" y="20"/>
                </a:moveTo>
                <a:cubicBezTo>
                  <a:pt x="129" y="20"/>
                  <a:pt x="129" y="20"/>
                  <a:pt x="129" y="20"/>
                </a:cubicBezTo>
                <a:cubicBezTo>
                  <a:pt x="129" y="46"/>
                  <a:pt x="129" y="46"/>
                  <a:pt x="129" y="46"/>
                </a:cubicBezTo>
                <a:cubicBezTo>
                  <a:pt x="112" y="31"/>
                  <a:pt x="112" y="31"/>
                  <a:pt x="112" y="31"/>
                </a:cubicBezTo>
                <a:lnTo>
                  <a:pt x="112" y="20"/>
                </a:lnTo>
                <a:close/>
                <a:moveTo>
                  <a:pt x="63" y="155"/>
                </a:moveTo>
                <a:cubicBezTo>
                  <a:pt x="63" y="97"/>
                  <a:pt x="63" y="97"/>
                  <a:pt x="63" y="97"/>
                </a:cubicBezTo>
                <a:cubicBezTo>
                  <a:pt x="63" y="95"/>
                  <a:pt x="64" y="94"/>
                  <a:pt x="66" y="94"/>
                </a:cubicBezTo>
                <a:cubicBezTo>
                  <a:pt x="93" y="94"/>
                  <a:pt x="93" y="94"/>
                  <a:pt x="93" y="94"/>
                </a:cubicBezTo>
                <a:cubicBezTo>
                  <a:pt x="95" y="94"/>
                  <a:pt x="96" y="95"/>
                  <a:pt x="96" y="97"/>
                </a:cubicBezTo>
                <a:cubicBezTo>
                  <a:pt x="96" y="155"/>
                  <a:pt x="96" y="155"/>
                  <a:pt x="96" y="155"/>
                </a:cubicBezTo>
                <a:lnTo>
                  <a:pt x="63" y="155"/>
                </a:lnTo>
                <a:close/>
                <a:moveTo>
                  <a:pt x="140" y="155"/>
                </a:moveTo>
                <a:cubicBezTo>
                  <a:pt x="101" y="155"/>
                  <a:pt x="101" y="155"/>
                  <a:pt x="101" y="155"/>
                </a:cubicBezTo>
                <a:cubicBezTo>
                  <a:pt x="101" y="97"/>
                  <a:pt x="101" y="97"/>
                  <a:pt x="101" y="97"/>
                </a:cubicBezTo>
                <a:cubicBezTo>
                  <a:pt x="101" y="92"/>
                  <a:pt x="98" y="89"/>
                  <a:pt x="93" y="89"/>
                </a:cubicBezTo>
                <a:cubicBezTo>
                  <a:pt x="66" y="89"/>
                  <a:pt x="66" y="89"/>
                  <a:pt x="66" y="89"/>
                </a:cubicBezTo>
                <a:cubicBezTo>
                  <a:pt x="61" y="89"/>
                  <a:pt x="58" y="92"/>
                  <a:pt x="58" y="97"/>
                </a:cubicBezTo>
                <a:cubicBezTo>
                  <a:pt x="58" y="155"/>
                  <a:pt x="58" y="155"/>
                  <a:pt x="58" y="155"/>
                </a:cubicBezTo>
                <a:cubicBezTo>
                  <a:pt x="19" y="155"/>
                  <a:pt x="19" y="155"/>
                  <a:pt x="19" y="155"/>
                </a:cubicBezTo>
                <a:cubicBezTo>
                  <a:pt x="19" y="63"/>
                  <a:pt x="19" y="63"/>
                  <a:pt x="19" y="63"/>
                </a:cubicBezTo>
                <a:cubicBezTo>
                  <a:pt x="79" y="7"/>
                  <a:pt x="79" y="7"/>
                  <a:pt x="79" y="7"/>
                </a:cubicBezTo>
                <a:cubicBezTo>
                  <a:pt x="119" y="44"/>
                  <a:pt x="119" y="44"/>
                  <a:pt x="119" y="44"/>
                </a:cubicBezTo>
                <a:cubicBezTo>
                  <a:pt x="134" y="58"/>
                  <a:pt x="134" y="58"/>
                  <a:pt x="134" y="58"/>
                </a:cubicBezTo>
                <a:cubicBezTo>
                  <a:pt x="134" y="58"/>
                  <a:pt x="134" y="58"/>
                  <a:pt x="134" y="58"/>
                </a:cubicBezTo>
                <a:cubicBezTo>
                  <a:pt x="140" y="63"/>
                  <a:pt x="140" y="63"/>
                  <a:pt x="140" y="63"/>
                </a:cubicBezTo>
                <a:lnTo>
                  <a:pt x="140" y="155"/>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2112">
            <a:extLst>
              <a:ext uri="{FF2B5EF4-FFF2-40B4-BE49-F238E27FC236}">
                <a16:creationId xmlns:a16="http://schemas.microsoft.com/office/drawing/2014/main" id="{61E159F1-E2A6-814B-B736-EB56EB1CAAB8}"/>
              </a:ext>
            </a:extLst>
          </p:cNvPr>
          <p:cNvSpPr>
            <a:spLocks noEditPoints="1"/>
          </p:cNvSpPr>
          <p:nvPr/>
        </p:nvSpPr>
        <p:spPr bwMode="auto">
          <a:xfrm>
            <a:off x="4473571" y="2841625"/>
            <a:ext cx="454025" cy="550863"/>
          </a:xfrm>
          <a:custGeom>
            <a:avLst/>
            <a:gdLst>
              <a:gd name="T0" fmla="*/ 123 w 133"/>
              <a:gd name="T1" fmla="*/ 155 h 160"/>
              <a:gd name="T2" fmla="*/ 109 w 133"/>
              <a:gd name="T3" fmla="*/ 144 h 160"/>
              <a:gd name="T4" fmla="*/ 100 w 133"/>
              <a:gd name="T5" fmla="*/ 99 h 160"/>
              <a:gd name="T6" fmla="*/ 100 w 133"/>
              <a:gd name="T7" fmla="*/ 61 h 160"/>
              <a:gd name="T8" fmla="*/ 109 w 133"/>
              <a:gd name="T9" fmla="*/ 16 h 160"/>
              <a:gd name="T10" fmla="*/ 123 w 133"/>
              <a:gd name="T11" fmla="*/ 5 h 160"/>
              <a:gd name="T12" fmla="*/ 133 w 133"/>
              <a:gd name="T13" fmla="*/ 3 h 160"/>
              <a:gd name="T14" fmla="*/ 123 w 133"/>
              <a:gd name="T15" fmla="*/ 0 h 160"/>
              <a:gd name="T16" fmla="*/ 13 w 133"/>
              <a:gd name="T17" fmla="*/ 0 h 160"/>
              <a:gd name="T18" fmla="*/ 3 w 133"/>
              <a:gd name="T19" fmla="*/ 0 h 160"/>
              <a:gd name="T20" fmla="*/ 3 w 133"/>
              <a:gd name="T21" fmla="*/ 5 h 160"/>
              <a:gd name="T22" fmla="*/ 11 w 133"/>
              <a:gd name="T23" fmla="*/ 16 h 160"/>
              <a:gd name="T24" fmla="*/ 24 w 133"/>
              <a:gd name="T25" fmla="*/ 43 h 160"/>
              <a:gd name="T26" fmla="*/ 62 w 133"/>
              <a:gd name="T27" fmla="*/ 80 h 160"/>
              <a:gd name="T28" fmla="*/ 24 w 133"/>
              <a:gd name="T29" fmla="*/ 117 h 160"/>
              <a:gd name="T30" fmla="*/ 11 w 133"/>
              <a:gd name="T31" fmla="*/ 144 h 160"/>
              <a:gd name="T32" fmla="*/ 3 w 133"/>
              <a:gd name="T33" fmla="*/ 155 h 160"/>
              <a:gd name="T34" fmla="*/ 3 w 133"/>
              <a:gd name="T35" fmla="*/ 160 h 160"/>
              <a:gd name="T36" fmla="*/ 13 w 133"/>
              <a:gd name="T37" fmla="*/ 160 h 160"/>
              <a:gd name="T38" fmla="*/ 123 w 133"/>
              <a:gd name="T39" fmla="*/ 160 h 160"/>
              <a:gd name="T40" fmla="*/ 133 w 133"/>
              <a:gd name="T41" fmla="*/ 157 h 160"/>
              <a:gd name="T42" fmla="*/ 16 w 133"/>
              <a:gd name="T43" fmla="*/ 11 h 160"/>
              <a:gd name="T44" fmla="*/ 117 w 133"/>
              <a:gd name="T45" fmla="*/ 5 h 160"/>
              <a:gd name="T46" fmla="*/ 109 w 133"/>
              <a:gd name="T47" fmla="*/ 11 h 160"/>
              <a:gd name="T48" fmla="*/ 16 w 133"/>
              <a:gd name="T49" fmla="*/ 11 h 160"/>
              <a:gd name="T50" fmla="*/ 29 w 133"/>
              <a:gd name="T51" fmla="*/ 43 h 160"/>
              <a:gd name="T52" fmla="*/ 104 w 133"/>
              <a:gd name="T53" fmla="*/ 16 h 160"/>
              <a:gd name="T54" fmla="*/ 97 w 133"/>
              <a:gd name="T55" fmla="*/ 57 h 160"/>
              <a:gd name="T56" fmla="*/ 37 w 133"/>
              <a:gd name="T57" fmla="*/ 57 h 160"/>
              <a:gd name="T58" fmla="*/ 37 w 133"/>
              <a:gd name="T59" fmla="*/ 103 h 160"/>
              <a:gd name="T60" fmla="*/ 97 w 133"/>
              <a:gd name="T61" fmla="*/ 103 h 160"/>
              <a:gd name="T62" fmla="*/ 104 w 133"/>
              <a:gd name="T63" fmla="*/ 144 h 160"/>
              <a:gd name="T64" fmla="*/ 29 w 133"/>
              <a:gd name="T65" fmla="*/ 117 h 160"/>
              <a:gd name="T66" fmla="*/ 24 w 133"/>
              <a:gd name="T67" fmla="*/ 149 h 160"/>
              <a:gd name="T68" fmla="*/ 117 w 133"/>
              <a:gd name="T69" fmla="*/ 149 h 160"/>
              <a:gd name="T70" fmla="*/ 16 w 133"/>
              <a:gd name="T71" fmla="*/ 155 h 160"/>
              <a:gd name="T72" fmla="*/ 55 w 133"/>
              <a:gd name="T73" fmla="*/ 56 h 160"/>
              <a:gd name="T74" fmla="*/ 53 w 133"/>
              <a:gd name="T75" fmla="*/ 61 h 160"/>
              <a:gd name="T76" fmla="*/ 39 w 133"/>
              <a:gd name="T77" fmla="*/ 52 h 160"/>
              <a:gd name="T78" fmla="*/ 35 w 133"/>
              <a:gd name="T79" fmla="*/ 37 h 160"/>
              <a:gd name="T80" fmla="*/ 40 w 133"/>
              <a:gd name="T81" fmla="*/ 37 h 160"/>
              <a:gd name="T82" fmla="*/ 42 w 133"/>
              <a:gd name="T83" fmla="*/ 48 h 160"/>
              <a:gd name="T84" fmla="*/ 99 w 133"/>
              <a:gd name="T85" fmla="*/ 119 h 160"/>
              <a:gd name="T86" fmla="*/ 96 w 133"/>
              <a:gd name="T87" fmla="*/ 128 h 160"/>
              <a:gd name="T88" fmla="*/ 93 w 133"/>
              <a:gd name="T89" fmla="*/ 119 h 160"/>
              <a:gd name="T90" fmla="*/ 79 w 133"/>
              <a:gd name="T91" fmla="*/ 106 h 160"/>
              <a:gd name="T92" fmla="*/ 81 w 133"/>
              <a:gd name="T93" fmla="*/ 102 h 160"/>
              <a:gd name="T94" fmla="*/ 99 w 133"/>
              <a:gd name="T95" fmla="*/ 1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160">
                <a:moveTo>
                  <a:pt x="131" y="155"/>
                </a:moveTo>
                <a:cubicBezTo>
                  <a:pt x="123" y="155"/>
                  <a:pt x="123" y="155"/>
                  <a:pt x="123" y="155"/>
                </a:cubicBezTo>
                <a:cubicBezTo>
                  <a:pt x="123" y="144"/>
                  <a:pt x="123" y="144"/>
                  <a:pt x="123" y="144"/>
                </a:cubicBezTo>
                <a:cubicBezTo>
                  <a:pt x="109" y="144"/>
                  <a:pt x="109" y="144"/>
                  <a:pt x="109" y="144"/>
                </a:cubicBezTo>
                <a:cubicBezTo>
                  <a:pt x="109" y="117"/>
                  <a:pt x="109" y="117"/>
                  <a:pt x="109" y="117"/>
                </a:cubicBezTo>
                <a:cubicBezTo>
                  <a:pt x="109" y="110"/>
                  <a:pt x="106" y="103"/>
                  <a:pt x="100" y="99"/>
                </a:cubicBezTo>
                <a:cubicBezTo>
                  <a:pt x="71" y="80"/>
                  <a:pt x="71" y="80"/>
                  <a:pt x="71" y="80"/>
                </a:cubicBezTo>
                <a:cubicBezTo>
                  <a:pt x="100" y="61"/>
                  <a:pt x="100" y="61"/>
                  <a:pt x="100" y="61"/>
                </a:cubicBezTo>
                <a:cubicBezTo>
                  <a:pt x="106" y="57"/>
                  <a:pt x="109" y="50"/>
                  <a:pt x="109" y="43"/>
                </a:cubicBezTo>
                <a:cubicBezTo>
                  <a:pt x="109" y="16"/>
                  <a:pt x="109" y="16"/>
                  <a:pt x="109" y="16"/>
                </a:cubicBezTo>
                <a:cubicBezTo>
                  <a:pt x="123" y="16"/>
                  <a:pt x="123" y="16"/>
                  <a:pt x="123" y="16"/>
                </a:cubicBezTo>
                <a:cubicBezTo>
                  <a:pt x="123" y="5"/>
                  <a:pt x="123" y="5"/>
                  <a:pt x="123" y="5"/>
                </a:cubicBezTo>
                <a:cubicBezTo>
                  <a:pt x="131" y="5"/>
                  <a:pt x="131" y="5"/>
                  <a:pt x="131" y="5"/>
                </a:cubicBezTo>
                <a:cubicBezTo>
                  <a:pt x="132" y="5"/>
                  <a:pt x="133" y="4"/>
                  <a:pt x="133" y="3"/>
                </a:cubicBezTo>
                <a:cubicBezTo>
                  <a:pt x="133" y="1"/>
                  <a:pt x="132" y="0"/>
                  <a:pt x="131" y="0"/>
                </a:cubicBezTo>
                <a:cubicBezTo>
                  <a:pt x="123" y="0"/>
                  <a:pt x="123" y="0"/>
                  <a:pt x="123" y="0"/>
                </a:cubicBezTo>
                <a:cubicBezTo>
                  <a:pt x="120" y="0"/>
                  <a:pt x="120" y="0"/>
                  <a:pt x="120" y="0"/>
                </a:cubicBezTo>
                <a:cubicBezTo>
                  <a:pt x="13" y="0"/>
                  <a:pt x="13" y="0"/>
                  <a:pt x="13" y="0"/>
                </a:cubicBezTo>
                <a:cubicBezTo>
                  <a:pt x="11" y="0"/>
                  <a:pt x="11" y="0"/>
                  <a:pt x="11" y="0"/>
                </a:cubicBezTo>
                <a:cubicBezTo>
                  <a:pt x="3" y="0"/>
                  <a:pt x="3" y="0"/>
                  <a:pt x="3" y="0"/>
                </a:cubicBezTo>
                <a:cubicBezTo>
                  <a:pt x="1" y="0"/>
                  <a:pt x="0" y="1"/>
                  <a:pt x="0" y="3"/>
                </a:cubicBezTo>
                <a:cubicBezTo>
                  <a:pt x="0" y="4"/>
                  <a:pt x="1" y="5"/>
                  <a:pt x="3" y="5"/>
                </a:cubicBezTo>
                <a:cubicBezTo>
                  <a:pt x="11" y="5"/>
                  <a:pt x="11" y="5"/>
                  <a:pt x="11" y="5"/>
                </a:cubicBezTo>
                <a:cubicBezTo>
                  <a:pt x="11" y="16"/>
                  <a:pt x="11" y="16"/>
                  <a:pt x="11" y="16"/>
                </a:cubicBezTo>
                <a:cubicBezTo>
                  <a:pt x="24" y="16"/>
                  <a:pt x="24" y="16"/>
                  <a:pt x="24" y="16"/>
                </a:cubicBezTo>
                <a:cubicBezTo>
                  <a:pt x="24" y="43"/>
                  <a:pt x="24" y="43"/>
                  <a:pt x="24" y="43"/>
                </a:cubicBezTo>
                <a:cubicBezTo>
                  <a:pt x="24" y="50"/>
                  <a:pt x="28" y="57"/>
                  <a:pt x="34" y="61"/>
                </a:cubicBezTo>
                <a:cubicBezTo>
                  <a:pt x="62" y="80"/>
                  <a:pt x="62" y="80"/>
                  <a:pt x="62" y="80"/>
                </a:cubicBezTo>
                <a:cubicBezTo>
                  <a:pt x="34" y="99"/>
                  <a:pt x="34" y="99"/>
                  <a:pt x="34" y="99"/>
                </a:cubicBezTo>
                <a:cubicBezTo>
                  <a:pt x="28" y="103"/>
                  <a:pt x="24" y="110"/>
                  <a:pt x="24" y="117"/>
                </a:cubicBezTo>
                <a:cubicBezTo>
                  <a:pt x="24" y="144"/>
                  <a:pt x="24" y="144"/>
                  <a:pt x="24" y="144"/>
                </a:cubicBezTo>
                <a:cubicBezTo>
                  <a:pt x="11" y="144"/>
                  <a:pt x="11" y="144"/>
                  <a:pt x="11" y="144"/>
                </a:cubicBezTo>
                <a:cubicBezTo>
                  <a:pt x="11" y="155"/>
                  <a:pt x="11" y="155"/>
                  <a:pt x="11" y="155"/>
                </a:cubicBezTo>
                <a:cubicBezTo>
                  <a:pt x="3" y="155"/>
                  <a:pt x="3" y="155"/>
                  <a:pt x="3" y="155"/>
                </a:cubicBezTo>
                <a:cubicBezTo>
                  <a:pt x="1" y="155"/>
                  <a:pt x="0" y="156"/>
                  <a:pt x="0" y="157"/>
                </a:cubicBezTo>
                <a:cubicBezTo>
                  <a:pt x="0" y="159"/>
                  <a:pt x="1" y="160"/>
                  <a:pt x="3" y="160"/>
                </a:cubicBezTo>
                <a:cubicBezTo>
                  <a:pt x="11" y="160"/>
                  <a:pt x="11" y="160"/>
                  <a:pt x="11" y="160"/>
                </a:cubicBezTo>
                <a:cubicBezTo>
                  <a:pt x="13" y="160"/>
                  <a:pt x="13" y="160"/>
                  <a:pt x="13" y="160"/>
                </a:cubicBezTo>
                <a:cubicBezTo>
                  <a:pt x="120" y="160"/>
                  <a:pt x="120" y="160"/>
                  <a:pt x="120" y="160"/>
                </a:cubicBezTo>
                <a:cubicBezTo>
                  <a:pt x="123" y="160"/>
                  <a:pt x="123" y="160"/>
                  <a:pt x="123" y="160"/>
                </a:cubicBezTo>
                <a:cubicBezTo>
                  <a:pt x="131" y="160"/>
                  <a:pt x="131" y="160"/>
                  <a:pt x="131" y="160"/>
                </a:cubicBezTo>
                <a:cubicBezTo>
                  <a:pt x="132" y="160"/>
                  <a:pt x="133" y="159"/>
                  <a:pt x="133" y="157"/>
                </a:cubicBezTo>
                <a:cubicBezTo>
                  <a:pt x="133" y="156"/>
                  <a:pt x="132" y="155"/>
                  <a:pt x="131" y="155"/>
                </a:cubicBezTo>
                <a:close/>
                <a:moveTo>
                  <a:pt x="16" y="11"/>
                </a:moveTo>
                <a:cubicBezTo>
                  <a:pt x="16" y="5"/>
                  <a:pt x="16" y="5"/>
                  <a:pt x="16" y="5"/>
                </a:cubicBezTo>
                <a:cubicBezTo>
                  <a:pt x="117" y="5"/>
                  <a:pt x="117" y="5"/>
                  <a:pt x="117" y="5"/>
                </a:cubicBezTo>
                <a:cubicBezTo>
                  <a:pt x="117" y="11"/>
                  <a:pt x="117" y="11"/>
                  <a:pt x="117" y="11"/>
                </a:cubicBezTo>
                <a:cubicBezTo>
                  <a:pt x="109" y="11"/>
                  <a:pt x="109" y="11"/>
                  <a:pt x="109" y="11"/>
                </a:cubicBezTo>
                <a:cubicBezTo>
                  <a:pt x="24" y="11"/>
                  <a:pt x="24" y="11"/>
                  <a:pt x="24" y="11"/>
                </a:cubicBezTo>
                <a:lnTo>
                  <a:pt x="16" y="11"/>
                </a:lnTo>
                <a:close/>
                <a:moveTo>
                  <a:pt x="37" y="57"/>
                </a:moveTo>
                <a:cubicBezTo>
                  <a:pt x="32" y="54"/>
                  <a:pt x="29" y="49"/>
                  <a:pt x="29" y="43"/>
                </a:cubicBezTo>
                <a:cubicBezTo>
                  <a:pt x="29" y="16"/>
                  <a:pt x="29" y="16"/>
                  <a:pt x="29" y="16"/>
                </a:cubicBezTo>
                <a:cubicBezTo>
                  <a:pt x="104" y="16"/>
                  <a:pt x="104" y="16"/>
                  <a:pt x="104" y="16"/>
                </a:cubicBezTo>
                <a:cubicBezTo>
                  <a:pt x="104" y="43"/>
                  <a:pt x="104" y="43"/>
                  <a:pt x="104" y="43"/>
                </a:cubicBezTo>
                <a:cubicBezTo>
                  <a:pt x="104" y="49"/>
                  <a:pt x="101" y="54"/>
                  <a:pt x="97" y="57"/>
                </a:cubicBezTo>
                <a:cubicBezTo>
                  <a:pt x="67" y="77"/>
                  <a:pt x="67" y="77"/>
                  <a:pt x="67" y="77"/>
                </a:cubicBezTo>
                <a:lnTo>
                  <a:pt x="37" y="57"/>
                </a:lnTo>
                <a:close/>
                <a:moveTo>
                  <a:pt x="29" y="117"/>
                </a:moveTo>
                <a:cubicBezTo>
                  <a:pt x="29" y="111"/>
                  <a:pt x="32" y="106"/>
                  <a:pt x="37" y="103"/>
                </a:cubicBezTo>
                <a:cubicBezTo>
                  <a:pt x="67" y="83"/>
                  <a:pt x="67" y="83"/>
                  <a:pt x="67" y="83"/>
                </a:cubicBezTo>
                <a:cubicBezTo>
                  <a:pt x="97" y="103"/>
                  <a:pt x="97" y="103"/>
                  <a:pt x="97" y="103"/>
                </a:cubicBezTo>
                <a:cubicBezTo>
                  <a:pt x="101" y="106"/>
                  <a:pt x="104" y="111"/>
                  <a:pt x="104" y="117"/>
                </a:cubicBezTo>
                <a:cubicBezTo>
                  <a:pt x="104" y="144"/>
                  <a:pt x="104" y="144"/>
                  <a:pt x="104" y="144"/>
                </a:cubicBezTo>
                <a:cubicBezTo>
                  <a:pt x="29" y="144"/>
                  <a:pt x="29" y="144"/>
                  <a:pt x="29" y="144"/>
                </a:cubicBezTo>
                <a:lnTo>
                  <a:pt x="29" y="117"/>
                </a:lnTo>
                <a:close/>
                <a:moveTo>
                  <a:pt x="16" y="149"/>
                </a:moveTo>
                <a:cubicBezTo>
                  <a:pt x="24" y="149"/>
                  <a:pt x="24" y="149"/>
                  <a:pt x="24" y="149"/>
                </a:cubicBezTo>
                <a:cubicBezTo>
                  <a:pt x="109" y="149"/>
                  <a:pt x="109" y="149"/>
                  <a:pt x="109" y="149"/>
                </a:cubicBezTo>
                <a:cubicBezTo>
                  <a:pt x="117" y="149"/>
                  <a:pt x="117" y="149"/>
                  <a:pt x="117" y="149"/>
                </a:cubicBezTo>
                <a:cubicBezTo>
                  <a:pt x="117" y="155"/>
                  <a:pt x="117" y="155"/>
                  <a:pt x="117" y="155"/>
                </a:cubicBezTo>
                <a:cubicBezTo>
                  <a:pt x="16" y="155"/>
                  <a:pt x="16" y="155"/>
                  <a:pt x="16" y="155"/>
                </a:cubicBezTo>
                <a:lnTo>
                  <a:pt x="16" y="149"/>
                </a:lnTo>
                <a:close/>
                <a:moveTo>
                  <a:pt x="55" y="56"/>
                </a:moveTo>
                <a:cubicBezTo>
                  <a:pt x="56" y="57"/>
                  <a:pt x="56" y="59"/>
                  <a:pt x="56" y="60"/>
                </a:cubicBezTo>
                <a:cubicBezTo>
                  <a:pt x="55" y="61"/>
                  <a:pt x="54" y="61"/>
                  <a:pt x="53" y="61"/>
                </a:cubicBezTo>
                <a:cubicBezTo>
                  <a:pt x="53" y="61"/>
                  <a:pt x="52" y="61"/>
                  <a:pt x="52" y="61"/>
                </a:cubicBezTo>
                <a:cubicBezTo>
                  <a:pt x="39" y="52"/>
                  <a:pt x="39" y="52"/>
                  <a:pt x="39" y="52"/>
                </a:cubicBezTo>
                <a:cubicBezTo>
                  <a:pt x="36" y="50"/>
                  <a:pt x="35" y="47"/>
                  <a:pt x="35" y="43"/>
                </a:cubicBezTo>
                <a:cubicBezTo>
                  <a:pt x="35" y="37"/>
                  <a:pt x="35" y="37"/>
                  <a:pt x="35" y="37"/>
                </a:cubicBezTo>
                <a:cubicBezTo>
                  <a:pt x="35" y="36"/>
                  <a:pt x="36" y="35"/>
                  <a:pt x="37" y="35"/>
                </a:cubicBezTo>
                <a:cubicBezTo>
                  <a:pt x="39" y="35"/>
                  <a:pt x="40" y="36"/>
                  <a:pt x="40" y="37"/>
                </a:cubicBezTo>
                <a:cubicBezTo>
                  <a:pt x="40" y="43"/>
                  <a:pt x="40" y="43"/>
                  <a:pt x="40" y="43"/>
                </a:cubicBezTo>
                <a:cubicBezTo>
                  <a:pt x="40" y="45"/>
                  <a:pt x="41" y="47"/>
                  <a:pt x="42" y="48"/>
                </a:cubicBezTo>
                <a:lnTo>
                  <a:pt x="55" y="56"/>
                </a:lnTo>
                <a:close/>
                <a:moveTo>
                  <a:pt x="99" y="119"/>
                </a:moveTo>
                <a:cubicBezTo>
                  <a:pt x="99" y="125"/>
                  <a:pt x="99" y="125"/>
                  <a:pt x="99" y="125"/>
                </a:cubicBezTo>
                <a:cubicBezTo>
                  <a:pt x="99" y="126"/>
                  <a:pt x="97" y="128"/>
                  <a:pt x="96" y="128"/>
                </a:cubicBezTo>
                <a:cubicBezTo>
                  <a:pt x="95" y="128"/>
                  <a:pt x="93" y="126"/>
                  <a:pt x="93" y="125"/>
                </a:cubicBezTo>
                <a:cubicBezTo>
                  <a:pt x="93" y="119"/>
                  <a:pt x="93" y="119"/>
                  <a:pt x="93" y="119"/>
                </a:cubicBezTo>
                <a:cubicBezTo>
                  <a:pt x="93" y="117"/>
                  <a:pt x="92" y="115"/>
                  <a:pt x="91" y="114"/>
                </a:cubicBezTo>
                <a:cubicBezTo>
                  <a:pt x="79" y="106"/>
                  <a:pt x="79" y="106"/>
                  <a:pt x="79" y="106"/>
                </a:cubicBezTo>
                <a:cubicBezTo>
                  <a:pt x="77" y="105"/>
                  <a:pt x="77" y="104"/>
                  <a:pt x="78" y="103"/>
                </a:cubicBezTo>
                <a:cubicBezTo>
                  <a:pt x="79" y="101"/>
                  <a:pt x="80" y="101"/>
                  <a:pt x="81" y="102"/>
                </a:cubicBezTo>
                <a:cubicBezTo>
                  <a:pt x="94" y="110"/>
                  <a:pt x="94" y="110"/>
                  <a:pt x="94" y="110"/>
                </a:cubicBezTo>
                <a:cubicBezTo>
                  <a:pt x="97" y="112"/>
                  <a:pt x="99" y="115"/>
                  <a:pt x="99" y="119"/>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2113">
            <a:extLst>
              <a:ext uri="{FF2B5EF4-FFF2-40B4-BE49-F238E27FC236}">
                <a16:creationId xmlns:a16="http://schemas.microsoft.com/office/drawing/2014/main" id="{065024E5-5C71-0A4E-BD87-CB7D1A9D7E03}"/>
              </a:ext>
            </a:extLst>
          </p:cNvPr>
          <p:cNvSpPr>
            <a:spLocks noEditPoints="1"/>
          </p:cNvSpPr>
          <p:nvPr/>
        </p:nvSpPr>
        <p:spPr bwMode="auto">
          <a:xfrm>
            <a:off x="4473571" y="3462338"/>
            <a:ext cx="454025" cy="549275"/>
          </a:xfrm>
          <a:custGeom>
            <a:avLst/>
            <a:gdLst>
              <a:gd name="T0" fmla="*/ 67 w 133"/>
              <a:gd name="T1" fmla="*/ 72 h 160"/>
              <a:gd name="T2" fmla="*/ 72 w 133"/>
              <a:gd name="T3" fmla="*/ 64 h 160"/>
              <a:gd name="T4" fmla="*/ 75 w 133"/>
              <a:gd name="T5" fmla="*/ 61 h 160"/>
              <a:gd name="T6" fmla="*/ 59 w 133"/>
              <a:gd name="T7" fmla="*/ 67 h 160"/>
              <a:gd name="T8" fmla="*/ 56 w 133"/>
              <a:gd name="T9" fmla="*/ 64 h 160"/>
              <a:gd name="T10" fmla="*/ 53 w 133"/>
              <a:gd name="T11" fmla="*/ 59 h 160"/>
              <a:gd name="T12" fmla="*/ 80 w 133"/>
              <a:gd name="T13" fmla="*/ 59 h 160"/>
              <a:gd name="T14" fmla="*/ 83 w 133"/>
              <a:gd name="T15" fmla="*/ 56 h 160"/>
              <a:gd name="T16" fmla="*/ 91 w 133"/>
              <a:gd name="T17" fmla="*/ 56 h 160"/>
              <a:gd name="T18" fmla="*/ 88 w 133"/>
              <a:gd name="T19" fmla="*/ 53 h 160"/>
              <a:gd name="T20" fmla="*/ 45 w 133"/>
              <a:gd name="T21" fmla="*/ 53 h 160"/>
              <a:gd name="T22" fmla="*/ 64 w 133"/>
              <a:gd name="T23" fmla="*/ 59 h 160"/>
              <a:gd name="T24" fmla="*/ 67 w 133"/>
              <a:gd name="T25" fmla="*/ 56 h 160"/>
              <a:gd name="T26" fmla="*/ 67 w 133"/>
              <a:gd name="T27" fmla="*/ 93 h 160"/>
              <a:gd name="T28" fmla="*/ 64 w 133"/>
              <a:gd name="T29" fmla="*/ 91 h 160"/>
              <a:gd name="T30" fmla="*/ 69 w 133"/>
              <a:gd name="T31" fmla="*/ 99 h 160"/>
              <a:gd name="T32" fmla="*/ 64 w 133"/>
              <a:gd name="T33" fmla="*/ 107 h 160"/>
              <a:gd name="T34" fmla="*/ 67 w 133"/>
              <a:gd name="T35" fmla="*/ 104 h 160"/>
              <a:gd name="T36" fmla="*/ 67 w 133"/>
              <a:gd name="T37" fmla="*/ 117 h 160"/>
              <a:gd name="T38" fmla="*/ 64 w 133"/>
              <a:gd name="T39" fmla="*/ 115 h 160"/>
              <a:gd name="T40" fmla="*/ 69 w 133"/>
              <a:gd name="T41" fmla="*/ 123 h 160"/>
              <a:gd name="T42" fmla="*/ 64 w 133"/>
              <a:gd name="T43" fmla="*/ 131 h 160"/>
              <a:gd name="T44" fmla="*/ 67 w 133"/>
              <a:gd name="T45" fmla="*/ 128 h 160"/>
              <a:gd name="T46" fmla="*/ 131 w 133"/>
              <a:gd name="T47" fmla="*/ 160 h 160"/>
              <a:gd name="T48" fmla="*/ 13 w 133"/>
              <a:gd name="T49" fmla="*/ 160 h 160"/>
              <a:gd name="T50" fmla="*/ 0 w 133"/>
              <a:gd name="T51" fmla="*/ 157 h 160"/>
              <a:gd name="T52" fmla="*/ 11 w 133"/>
              <a:gd name="T53" fmla="*/ 144 h 160"/>
              <a:gd name="T54" fmla="*/ 34 w 133"/>
              <a:gd name="T55" fmla="*/ 99 h 160"/>
              <a:gd name="T56" fmla="*/ 24 w 133"/>
              <a:gd name="T57" fmla="*/ 43 h 160"/>
              <a:gd name="T58" fmla="*/ 11 w 133"/>
              <a:gd name="T59" fmla="*/ 5 h 160"/>
              <a:gd name="T60" fmla="*/ 3 w 133"/>
              <a:gd name="T61" fmla="*/ 0 h 160"/>
              <a:gd name="T62" fmla="*/ 120 w 133"/>
              <a:gd name="T63" fmla="*/ 0 h 160"/>
              <a:gd name="T64" fmla="*/ 133 w 133"/>
              <a:gd name="T65" fmla="*/ 3 h 160"/>
              <a:gd name="T66" fmla="*/ 123 w 133"/>
              <a:gd name="T67" fmla="*/ 16 h 160"/>
              <a:gd name="T68" fmla="*/ 100 w 133"/>
              <a:gd name="T69" fmla="*/ 61 h 160"/>
              <a:gd name="T70" fmla="*/ 109 w 133"/>
              <a:gd name="T71" fmla="*/ 117 h 160"/>
              <a:gd name="T72" fmla="*/ 123 w 133"/>
              <a:gd name="T73" fmla="*/ 155 h 160"/>
              <a:gd name="T74" fmla="*/ 24 w 133"/>
              <a:gd name="T75" fmla="*/ 11 h 160"/>
              <a:gd name="T76" fmla="*/ 117 w 133"/>
              <a:gd name="T77" fmla="*/ 5 h 160"/>
              <a:gd name="T78" fmla="*/ 24 w 133"/>
              <a:gd name="T79" fmla="*/ 11 h 160"/>
              <a:gd name="T80" fmla="*/ 104 w 133"/>
              <a:gd name="T81" fmla="*/ 43 h 160"/>
              <a:gd name="T82" fmla="*/ 29 w 133"/>
              <a:gd name="T83" fmla="*/ 43 h 160"/>
              <a:gd name="T84" fmla="*/ 29 w 133"/>
              <a:gd name="T85" fmla="*/ 144 h 160"/>
              <a:gd name="T86" fmla="*/ 97 w 133"/>
              <a:gd name="T87" fmla="*/ 103 h 160"/>
              <a:gd name="T88" fmla="*/ 29 w 133"/>
              <a:gd name="T89" fmla="*/ 117 h 160"/>
              <a:gd name="T90" fmla="*/ 117 w 133"/>
              <a:gd name="T91" fmla="*/ 155 h 160"/>
              <a:gd name="T92" fmla="*/ 24 w 133"/>
              <a:gd name="T93"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3" h="160">
                <a:moveTo>
                  <a:pt x="67" y="67"/>
                </a:moveTo>
                <a:cubicBezTo>
                  <a:pt x="68" y="67"/>
                  <a:pt x="69" y="68"/>
                  <a:pt x="69" y="69"/>
                </a:cubicBezTo>
                <a:cubicBezTo>
                  <a:pt x="69" y="71"/>
                  <a:pt x="68" y="72"/>
                  <a:pt x="67" y="72"/>
                </a:cubicBezTo>
                <a:cubicBezTo>
                  <a:pt x="65" y="72"/>
                  <a:pt x="64" y="71"/>
                  <a:pt x="64" y="69"/>
                </a:cubicBezTo>
                <a:cubicBezTo>
                  <a:pt x="64" y="68"/>
                  <a:pt x="65" y="67"/>
                  <a:pt x="67" y="67"/>
                </a:cubicBezTo>
                <a:close/>
                <a:moveTo>
                  <a:pt x="72" y="64"/>
                </a:moveTo>
                <a:cubicBezTo>
                  <a:pt x="72" y="65"/>
                  <a:pt x="73" y="67"/>
                  <a:pt x="75" y="67"/>
                </a:cubicBezTo>
                <a:cubicBezTo>
                  <a:pt x="76" y="67"/>
                  <a:pt x="77" y="65"/>
                  <a:pt x="77" y="64"/>
                </a:cubicBezTo>
                <a:cubicBezTo>
                  <a:pt x="77" y="63"/>
                  <a:pt x="76" y="61"/>
                  <a:pt x="75" y="61"/>
                </a:cubicBezTo>
                <a:cubicBezTo>
                  <a:pt x="73" y="61"/>
                  <a:pt x="72" y="63"/>
                  <a:pt x="72" y="64"/>
                </a:cubicBezTo>
                <a:close/>
                <a:moveTo>
                  <a:pt x="56" y="64"/>
                </a:moveTo>
                <a:cubicBezTo>
                  <a:pt x="56" y="65"/>
                  <a:pt x="57" y="67"/>
                  <a:pt x="59" y="67"/>
                </a:cubicBezTo>
                <a:cubicBezTo>
                  <a:pt x="60" y="67"/>
                  <a:pt x="61" y="65"/>
                  <a:pt x="61" y="64"/>
                </a:cubicBezTo>
                <a:cubicBezTo>
                  <a:pt x="61" y="63"/>
                  <a:pt x="60" y="61"/>
                  <a:pt x="59" y="61"/>
                </a:cubicBezTo>
                <a:cubicBezTo>
                  <a:pt x="57" y="61"/>
                  <a:pt x="56" y="63"/>
                  <a:pt x="56" y="64"/>
                </a:cubicBezTo>
                <a:close/>
                <a:moveTo>
                  <a:pt x="48" y="59"/>
                </a:moveTo>
                <a:cubicBezTo>
                  <a:pt x="48" y="60"/>
                  <a:pt x="49" y="61"/>
                  <a:pt x="51" y="61"/>
                </a:cubicBezTo>
                <a:cubicBezTo>
                  <a:pt x="52" y="61"/>
                  <a:pt x="53" y="60"/>
                  <a:pt x="53" y="59"/>
                </a:cubicBezTo>
                <a:cubicBezTo>
                  <a:pt x="53" y="57"/>
                  <a:pt x="52" y="56"/>
                  <a:pt x="51" y="56"/>
                </a:cubicBezTo>
                <a:cubicBezTo>
                  <a:pt x="49" y="56"/>
                  <a:pt x="48" y="57"/>
                  <a:pt x="48" y="59"/>
                </a:cubicBezTo>
                <a:close/>
                <a:moveTo>
                  <a:pt x="80" y="59"/>
                </a:moveTo>
                <a:cubicBezTo>
                  <a:pt x="80" y="60"/>
                  <a:pt x="81" y="61"/>
                  <a:pt x="83" y="61"/>
                </a:cubicBezTo>
                <a:cubicBezTo>
                  <a:pt x="84" y="61"/>
                  <a:pt x="85" y="60"/>
                  <a:pt x="85" y="59"/>
                </a:cubicBezTo>
                <a:cubicBezTo>
                  <a:pt x="85" y="57"/>
                  <a:pt x="84" y="56"/>
                  <a:pt x="83" y="56"/>
                </a:cubicBezTo>
                <a:cubicBezTo>
                  <a:pt x="81" y="56"/>
                  <a:pt x="80" y="57"/>
                  <a:pt x="80" y="59"/>
                </a:cubicBezTo>
                <a:close/>
                <a:moveTo>
                  <a:pt x="88" y="53"/>
                </a:moveTo>
                <a:cubicBezTo>
                  <a:pt x="88" y="55"/>
                  <a:pt x="89" y="56"/>
                  <a:pt x="91" y="56"/>
                </a:cubicBezTo>
                <a:cubicBezTo>
                  <a:pt x="92" y="56"/>
                  <a:pt x="93" y="55"/>
                  <a:pt x="93" y="53"/>
                </a:cubicBezTo>
                <a:cubicBezTo>
                  <a:pt x="93" y="52"/>
                  <a:pt x="92" y="51"/>
                  <a:pt x="91" y="51"/>
                </a:cubicBezTo>
                <a:cubicBezTo>
                  <a:pt x="89" y="51"/>
                  <a:pt x="88" y="52"/>
                  <a:pt x="88" y="53"/>
                </a:cubicBezTo>
                <a:close/>
                <a:moveTo>
                  <a:pt x="40" y="53"/>
                </a:moveTo>
                <a:cubicBezTo>
                  <a:pt x="40" y="55"/>
                  <a:pt x="41" y="56"/>
                  <a:pt x="43" y="56"/>
                </a:cubicBezTo>
                <a:cubicBezTo>
                  <a:pt x="44" y="56"/>
                  <a:pt x="45" y="55"/>
                  <a:pt x="45" y="53"/>
                </a:cubicBezTo>
                <a:cubicBezTo>
                  <a:pt x="45" y="52"/>
                  <a:pt x="44" y="51"/>
                  <a:pt x="43" y="51"/>
                </a:cubicBezTo>
                <a:cubicBezTo>
                  <a:pt x="41" y="51"/>
                  <a:pt x="40" y="52"/>
                  <a:pt x="40" y="53"/>
                </a:cubicBezTo>
                <a:close/>
                <a:moveTo>
                  <a:pt x="64" y="59"/>
                </a:moveTo>
                <a:cubicBezTo>
                  <a:pt x="64" y="60"/>
                  <a:pt x="65" y="61"/>
                  <a:pt x="67" y="61"/>
                </a:cubicBezTo>
                <a:cubicBezTo>
                  <a:pt x="68" y="61"/>
                  <a:pt x="69" y="60"/>
                  <a:pt x="69" y="59"/>
                </a:cubicBezTo>
                <a:cubicBezTo>
                  <a:pt x="69" y="57"/>
                  <a:pt x="68" y="56"/>
                  <a:pt x="67" y="56"/>
                </a:cubicBezTo>
                <a:cubicBezTo>
                  <a:pt x="65" y="56"/>
                  <a:pt x="64" y="57"/>
                  <a:pt x="64" y="59"/>
                </a:cubicBezTo>
                <a:close/>
                <a:moveTo>
                  <a:pt x="64" y="91"/>
                </a:moveTo>
                <a:cubicBezTo>
                  <a:pt x="64" y="92"/>
                  <a:pt x="65" y="93"/>
                  <a:pt x="67" y="93"/>
                </a:cubicBezTo>
                <a:cubicBezTo>
                  <a:pt x="68" y="93"/>
                  <a:pt x="69" y="92"/>
                  <a:pt x="69" y="91"/>
                </a:cubicBezTo>
                <a:cubicBezTo>
                  <a:pt x="69" y="89"/>
                  <a:pt x="68" y="88"/>
                  <a:pt x="67" y="88"/>
                </a:cubicBezTo>
                <a:cubicBezTo>
                  <a:pt x="65" y="88"/>
                  <a:pt x="64" y="89"/>
                  <a:pt x="64" y="91"/>
                </a:cubicBezTo>
                <a:close/>
                <a:moveTo>
                  <a:pt x="64" y="99"/>
                </a:moveTo>
                <a:cubicBezTo>
                  <a:pt x="64" y="100"/>
                  <a:pt x="65" y="101"/>
                  <a:pt x="67" y="101"/>
                </a:cubicBezTo>
                <a:cubicBezTo>
                  <a:pt x="68" y="101"/>
                  <a:pt x="69" y="100"/>
                  <a:pt x="69" y="99"/>
                </a:cubicBezTo>
                <a:cubicBezTo>
                  <a:pt x="69" y="97"/>
                  <a:pt x="68" y="96"/>
                  <a:pt x="67" y="96"/>
                </a:cubicBezTo>
                <a:cubicBezTo>
                  <a:pt x="65" y="96"/>
                  <a:pt x="64" y="97"/>
                  <a:pt x="64" y="99"/>
                </a:cubicBezTo>
                <a:close/>
                <a:moveTo>
                  <a:pt x="64" y="107"/>
                </a:moveTo>
                <a:cubicBezTo>
                  <a:pt x="64" y="108"/>
                  <a:pt x="65" y="109"/>
                  <a:pt x="67" y="109"/>
                </a:cubicBezTo>
                <a:cubicBezTo>
                  <a:pt x="68" y="109"/>
                  <a:pt x="69" y="108"/>
                  <a:pt x="69" y="107"/>
                </a:cubicBezTo>
                <a:cubicBezTo>
                  <a:pt x="69" y="105"/>
                  <a:pt x="68" y="104"/>
                  <a:pt x="67" y="104"/>
                </a:cubicBezTo>
                <a:cubicBezTo>
                  <a:pt x="65" y="104"/>
                  <a:pt x="64" y="105"/>
                  <a:pt x="64" y="107"/>
                </a:cubicBezTo>
                <a:close/>
                <a:moveTo>
                  <a:pt x="64" y="115"/>
                </a:moveTo>
                <a:cubicBezTo>
                  <a:pt x="64" y="116"/>
                  <a:pt x="65" y="117"/>
                  <a:pt x="67" y="117"/>
                </a:cubicBezTo>
                <a:cubicBezTo>
                  <a:pt x="68" y="117"/>
                  <a:pt x="69" y="116"/>
                  <a:pt x="69" y="115"/>
                </a:cubicBezTo>
                <a:cubicBezTo>
                  <a:pt x="69" y="113"/>
                  <a:pt x="68" y="112"/>
                  <a:pt x="67" y="112"/>
                </a:cubicBezTo>
                <a:cubicBezTo>
                  <a:pt x="65" y="112"/>
                  <a:pt x="64" y="113"/>
                  <a:pt x="64" y="115"/>
                </a:cubicBezTo>
                <a:close/>
                <a:moveTo>
                  <a:pt x="64" y="123"/>
                </a:moveTo>
                <a:cubicBezTo>
                  <a:pt x="64" y="124"/>
                  <a:pt x="65" y="125"/>
                  <a:pt x="67" y="125"/>
                </a:cubicBezTo>
                <a:cubicBezTo>
                  <a:pt x="68" y="125"/>
                  <a:pt x="69" y="124"/>
                  <a:pt x="69" y="123"/>
                </a:cubicBezTo>
                <a:cubicBezTo>
                  <a:pt x="69" y="121"/>
                  <a:pt x="68" y="120"/>
                  <a:pt x="67" y="120"/>
                </a:cubicBezTo>
                <a:cubicBezTo>
                  <a:pt x="65" y="120"/>
                  <a:pt x="64" y="121"/>
                  <a:pt x="64" y="123"/>
                </a:cubicBezTo>
                <a:close/>
                <a:moveTo>
                  <a:pt x="64" y="131"/>
                </a:moveTo>
                <a:cubicBezTo>
                  <a:pt x="64" y="132"/>
                  <a:pt x="65" y="133"/>
                  <a:pt x="67" y="133"/>
                </a:cubicBezTo>
                <a:cubicBezTo>
                  <a:pt x="68" y="133"/>
                  <a:pt x="69" y="132"/>
                  <a:pt x="69" y="131"/>
                </a:cubicBezTo>
                <a:cubicBezTo>
                  <a:pt x="69" y="129"/>
                  <a:pt x="68" y="128"/>
                  <a:pt x="67" y="128"/>
                </a:cubicBezTo>
                <a:cubicBezTo>
                  <a:pt x="65" y="128"/>
                  <a:pt x="64" y="129"/>
                  <a:pt x="64" y="131"/>
                </a:cubicBezTo>
                <a:close/>
                <a:moveTo>
                  <a:pt x="133" y="157"/>
                </a:moveTo>
                <a:cubicBezTo>
                  <a:pt x="133" y="159"/>
                  <a:pt x="132" y="160"/>
                  <a:pt x="131" y="160"/>
                </a:cubicBezTo>
                <a:cubicBezTo>
                  <a:pt x="123" y="160"/>
                  <a:pt x="123" y="160"/>
                  <a:pt x="123" y="160"/>
                </a:cubicBezTo>
                <a:cubicBezTo>
                  <a:pt x="120" y="160"/>
                  <a:pt x="120" y="160"/>
                  <a:pt x="120" y="160"/>
                </a:cubicBezTo>
                <a:cubicBezTo>
                  <a:pt x="13" y="160"/>
                  <a:pt x="13" y="160"/>
                  <a:pt x="13" y="160"/>
                </a:cubicBezTo>
                <a:cubicBezTo>
                  <a:pt x="11" y="160"/>
                  <a:pt x="11" y="160"/>
                  <a:pt x="11" y="160"/>
                </a:cubicBezTo>
                <a:cubicBezTo>
                  <a:pt x="3" y="160"/>
                  <a:pt x="3" y="160"/>
                  <a:pt x="3" y="160"/>
                </a:cubicBezTo>
                <a:cubicBezTo>
                  <a:pt x="1" y="160"/>
                  <a:pt x="0" y="159"/>
                  <a:pt x="0" y="157"/>
                </a:cubicBezTo>
                <a:cubicBezTo>
                  <a:pt x="0" y="156"/>
                  <a:pt x="1" y="155"/>
                  <a:pt x="3" y="155"/>
                </a:cubicBezTo>
                <a:cubicBezTo>
                  <a:pt x="11" y="155"/>
                  <a:pt x="11" y="155"/>
                  <a:pt x="11" y="155"/>
                </a:cubicBezTo>
                <a:cubicBezTo>
                  <a:pt x="11" y="144"/>
                  <a:pt x="11" y="144"/>
                  <a:pt x="11" y="144"/>
                </a:cubicBezTo>
                <a:cubicBezTo>
                  <a:pt x="24" y="144"/>
                  <a:pt x="24" y="144"/>
                  <a:pt x="24" y="144"/>
                </a:cubicBezTo>
                <a:cubicBezTo>
                  <a:pt x="24" y="117"/>
                  <a:pt x="24" y="117"/>
                  <a:pt x="24" y="117"/>
                </a:cubicBezTo>
                <a:cubicBezTo>
                  <a:pt x="24" y="110"/>
                  <a:pt x="28" y="103"/>
                  <a:pt x="34" y="99"/>
                </a:cubicBezTo>
                <a:cubicBezTo>
                  <a:pt x="62" y="80"/>
                  <a:pt x="62" y="80"/>
                  <a:pt x="62" y="80"/>
                </a:cubicBezTo>
                <a:cubicBezTo>
                  <a:pt x="34" y="61"/>
                  <a:pt x="34" y="61"/>
                  <a:pt x="34" y="61"/>
                </a:cubicBezTo>
                <a:cubicBezTo>
                  <a:pt x="28" y="57"/>
                  <a:pt x="24" y="50"/>
                  <a:pt x="24" y="43"/>
                </a:cubicBezTo>
                <a:cubicBezTo>
                  <a:pt x="24" y="16"/>
                  <a:pt x="24" y="16"/>
                  <a:pt x="24" y="16"/>
                </a:cubicBezTo>
                <a:cubicBezTo>
                  <a:pt x="11" y="16"/>
                  <a:pt x="11" y="16"/>
                  <a:pt x="11" y="16"/>
                </a:cubicBezTo>
                <a:cubicBezTo>
                  <a:pt x="11" y="5"/>
                  <a:pt x="11" y="5"/>
                  <a:pt x="11" y="5"/>
                </a:cubicBezTo>
                <a:cubicBezTo>
                  <a:pt x="3" y="5"/>
                  <a:pt x="3" y="5"/>
                  <a:pt x="3" y="5"/>
                </a:cubicBezTo>
                <a:cubicBezTo>
                  <a:pt x="1" y="5"/>
                  <a:pt x="0" y="4"/>
                  <a:pt x="0" y="3"/>
                </a:cubicBezTo>
                <a:cubicBezTo>
                  <a:pt x="0" y="1"/>
                  <a:pt x="1" y="0"/>
                  <a:pt x="3" y="0"/>
                </a:cubicBezTo>
                <a:cubicBezTo>
                  <a:pt x="11" y="0"/>
                  <a:pt x="11" y="0"/>
                  <a:pt x="11" y="0"/>
                </a:cubicBezTo>
                <a:cubicBezTo>
                  <a:pt x="13" y="0"/>
                  <a:pt x="13" y="0"/>
                  <a:pt x="13" y="0"/>
                </a:cubicBezTo>
                <a:cubicBezTo>
                  <a:pt x="120" y="0"/>
                  <a:pt x="120" y="0"/>
                  <a:pt x="120" y="0"/>
                </a:cubicBezTo>
                <a:cubicBezTo>
                  <a:pt x="123" y="0"/>
                  <a:pt x="123" y="0"/>
                  <a:pt x="123" y="0"/>
                </a:cubicBezTo>
                <a:cubicBezTo>
                  <a:pt x="131" y="0"/>
                  <a:pt x="131" y="0"/>
                  <a:pt x="131" y="0"/>
                </a:cubicBezTo>
                <a:cubicBezTo>
                  <a:pt x="132" y="0"/>
                  <a:pt x="133" y="1"/>
                  <a:pt x="133" y="3"/>
                </a:cubicBezTo>
                <a:cubicBezTo>
                  <a:pt x="133" y="4"/>
                  <a:pt x="132" y="5"/>
                  <a:pt x="131" y="5"/>
                </a:cubicBezTo>
                <a:cubicBezTo>
                  <a:pt x="123" y="5"/>
                  <a:pt x="123" y="5"/>
                  <a:pt x="123" y="5"/>
                </a:cubicBezTo>
                <a:cubicBezTo>
                  <a:pt x="123" y="16"/>
                  <a:pt x="123" y="16"/>
                  <a:pt x="123" y="16"/>
                </a:cubicBezTo>
                <a:cubicBezTo>
                  <a:pt x="109" y="16"/>
                  <a:pt x="109" y="16"/>
                  <a:pt x="109" y="16"/>
                </a:cubicBezTo>
                <a:cubicBezTo>
                  <a:pt x="109" y="43"/>
                  <a:pt x="109" y="43"/>
                  <a:pt x="109" y="43"/>
                </a:cubicBezTo>
                <a:cubicBezTo>
                  <a:pt x="109" y="50"/>
                  <a:pt x="106" y="57"/>
                  <a:pt x="100" y="61"/>
                </a:cubicBezTo>
                <a:cubicBezTo>
                  <a:pt x="71" y="80"/>
                  <a:pt x="71" y="80"/>
                  <a:pt x="71" y="80"/>
                </a:cubicBezTo>
                <a:cubicBezTo>
                  <a:pt x="100" y="99"/>
                  <a:pt x="100" y="99"/>
                  <a:pt x="100" y="99"/>
                </a:cubicBezTo>
                <a:cubicBezTo>
                  <a:pt x="106" y="103"/>
                  <a:pt x="109" y="110"/>
                  <a:pt x="109" y="117"/>
                </a:cubicBezTo>
                <a:cubicBezTo>
                  <a:pt x="109" y="144"/>
                  <a:pt x="109" y="144"/>
                  <a:pt x="109" y="144"/>
                </a:cubicBezTo>
                <a:cubicBezTo>
                  <a:pt x="123" y="144"/>
                  <a:pt x="123" y="144"/>
                  <a:pt x="123" y="144"/>
                </a:cubicBezTo>
                <a:cubicBezTo>
                  <a:pt x="123" y="155"/>
                  <a:pt x="123" y="155"/>
                  <a:pt x="123" y="155"/>
                </a:cubicBezTo>
                <a:cubicBezTo>
                  <a:pt x="131" y="155"/>
                  <a:pt x="131" y="155"/>
                  <a:pt x="131" y="155"/>
                </a:cubicBezTo>
                <a:cubicBezTo>
                  <a:pt x="132" y="155"/>
                  <a:pt x="133" y="156"/>
                  <a:pt x="133" y="157"/>
                </a:cubicBezTo>
                <a:close/>
                <a:moveTo>
                  <a:pt x="24" y="11"/>
                </a:moveTo>
                <a:cubicBezTo>
                  <a:pt x="109" y="11"/>
                  <a:pt x="109" y="11"/>
                  <a:pt x="109" y="11"/>
                </a:cubicBezTo>
                <a:cubicBezTo>
                  <a:pt x="117" y="11"/>
                  <a:pt x="117" y="11"/>
                  <a:pt x="117" y="11"/>
                </a:cubicBezTo>
                <a:cubicBezTo>
                  <a:pt x="117" y="5"/>
                  <a:pt x="117" y="5"/>
                  <a:pt x="117" y="5"/>
                </a:cubicBezTo>
                <a:cubicBezTo>
                  <a:pt x="16" y="5"/>
                  <a:pt x="16" y="5"/>
                  <a:pt x="16" y="5"/>
                </a:cubicBezTo>
                <a:cubicBezTo>
                  <a:pt x="16" y="11"/>
                  <a:pt x="16" y="11"/>
                  <a:pt x="16" y="11"/>
                </a:cubicBezTo>
                <a:lnTo>
                  <a:pt x="24" y="11"/>
                </a:lnTo>
                <a:close/>
                <a:moveTo>
                  <a:pt x="67" y="77"/>
                </a:moveTo>
                <a:cubicBezTo>
                  <a:pt x="97" y="57"/>
                  <a:pt x="97" y="57"/>
                  <a:pt x="97" y="57"/>
                </a:cubicBezTo>
                <a:cubicBezTo>
                  <a:pt x="101" y="54"/>
                  <a:pt x="104" y="49"/>
                  <a:pt x="104" y="43"/>
                </a:cubicBezTo>
                <a:cubicBezTo>
                  <a:pt x="104" y="16"/>
                  <a:pt x="104" y="16"/>
                  <a:pt x="104" y="16"/>
                </a:cubicBezTo>
                <a:cubicBezTo>
                  <a:pt x="29" y="16"/>
                  <a:pt x="29" y="16"/>
                  <a:pt x="29" y="16"/>
                </a:cubicBezTo>
                <a:cubicBezTo>
                  <a:pt x="29" y="43"/>
                  <a:pt x="29" y="43"/>
                  <a:pt x="29" y="43"/>
                </a:cubicBezTo>
                <a:cubicBezTo>
                  <a:pt x="29" y="49"/>
                  <a:pt x="32" y="54"/>
                  <a:pt x="37" y="57"/>
                </a:cubicBezTo>
                <a:lnTo>
                  <a:pt x="67" y="77"/>
                </a:lnTo>
                <a:close/>
                <a:moveTo>
                  <a:pt x="29" y="144"/>
                </a:moveTo>
                <a:cubicBezTo>
                  <a:pt x="104" y="144"/>
                  <a:pt x="104" y="144"/>
                  <a:pt x="104" y="144"/>
                </a:cubicBezTo>
                <a:cubicBezTo>
                  <a:pt x="104" y="117"/>
                  <a:pt x="104" y="117"/>
                  <a:pt x="104" y="117"/>
                </a:cubicBezTo>
                <a:cubicBezTo>
                  <a:pt x="104" y="111"/>
                  <a:pt x="101" y="106"/>
                  <a:pt x="97" y="103"/>
                </a:cubicBezTo>
                <a:cubicBezTo>
                  <a:pt x="67" y="83"/>
                  <a:pt x="67" y="83"/>
                  <a:pt x="67" y="83"/>
                </a:cubicBezTo>
                <a:cubicBezTo>
                  <a:pt x="37" y="103"/>
                  <a:pt x="37" y="103"/>
                  <a:pt x="37" y="103"/>
                </a:cubicBezTo>
                <a:cubicBezTo>
                  <a:pt x="32" y="106"/>
                  <a:pt x="29" y="111"/>
                  <a:pt x="29" y="117"/>
                </a:cubicBezTo>
                <a:lnTo>
                  <a:pt x="29" y="144"/>
                </a:lnTo>
                <a:close/>
                <a:moveTo>
                  <a:pt x="16" y="155"/>
                </a:moveTo>
                <a:cubicBezTo>
                  <a:pt x="117" y="155"/>
                  <a:pt x="117" y="155"/>
                  <a:pt x="117" y="155"/>
                </a:cubicBezTo>
                <a:cubicBezTo>
                  <a:pt x="117" y="149"/>
                  <a:pt x="117" y="149"/>
                  <a:pt x="117" y="149"/>
                </a:cubicBezTo>
                <a:cubicBezTo>
                  <a:pt x="109" y="149"/>
                  <a:pt x="109" y="149"/>
                  <a:pt x="109" y="149"/>
                </a:cubicBezTo>
                <a:cubicBezTo>
                  <a:pt x="24" y="149"/>
                  <a:pt x="24" y="149"/>
                  <a:pt x="24" y="149"/>
                </a:cubicBezTo>
                <a:cubicBezTo>
                  <a:pt x="16" y="149"/>
                  <a:pt x="16" y="149"/>
                  <a:pt x="16" y="149"/>
                </a:cubicBezTo>
                <a:lnTo>
                  <a:pt x="16" y="155"/>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2114">
            <a:extLst>
              <a:ext uri="{FF2B5EF4-FFF2-40B4-BE49-F238E27FC236}">
                <a16:creationId xmlns:a16="http://schemas.microsoft.com/office/drawing/2014/main" id="{94677AD5-54D0-D64D-B4C8-F9DEFA85E5ED}"/>
              </a:ext>
            </a:extLst>
          </p:cNvPr>
          <p:cNvSpPr>
            <a:spLocks noEditPoints="1"/>
          </p:cNvSpPr>
          <p:nvPr/>
        </p:nvSpPr>
        <p:spPr bwMode="auto">
          <a:xfrm>
            <a:off x="4473571" y="4081463"/>
            <a:ext cx="474663" cy="550863"/>
          </a:xfrm>
          <a:custGeom>
            <a:avLst/>
            <a:gdLst>
              <a:gd name="T0" fmla="*/ 80 w 139"/>
              <a:gd name="T1" fmla="*/ 139 h 160"/>
              <a:gd name="T2" fmla="*/ 96 w 139"/>
              <a:gd name="T3" fmla="*/ 139 h 160"/>
              <a:gd name="T4" fmla="*/ 104 w 139"/>
              <a:gd name="T5" fmla="*/ 141 h 160"/>
              <a:gd name="T6" fmla="*/ 75 w 139"/>
              <a:gd name="T7" fmla="*/ 88 h 160"/>
              <a:gd name="T8" fmla="*/ 75 w 139"/>
              <a:gd name="T9" fmla="*/ 88 h 160"/>
              <a:gd name="T10" fmla="*/ 83 w 139"/>
              <a:gd name="T11" fmla="*/ 56 h 160"/>
              <a:gd name="T12" fmla="*/ 96 w 139"/>
              <a:gd name="T13" fmla="*/ 59 h 160"/>
              <a:gd name="T14" fmla="*/ 88 w 139"/>
              <a:gd name="T15" fmla="*/ 56 h 160"/>
              <a:gd name="T16" fmla="*/ 91 w 139"/>
              <a:gd name="T17" fmla="*/ 48 h 160"/>
              <a:gd name="T18" fmla="*/ 91 w 139"/>
              <a:gd name="T19" fmla="*/ 48 h 160"/>
              <a:gd name="T20" fmla="*/ 83 w 139"/>
              <a:gd name="T21" fmla="*/ 67 h 160"/>
              <a:gd name="T22" fmla="*/ 80 w 139"/>
              <a:gd name="T23" fmla="*/ 64 h 160"/>
              <a:gd name="T24" fmla="*/ 88 w 139"/>
              <a:gd name="T25" fmla="*/ 67 h 160"/>
              <a:gd name="T26" fmla="*/ 75 w 139"/>
              <a:gd name="T27" fmla="*/ 96 h 160"/>
              <a:gd name="T28" fmla="*/ 75 w 139"/>
              <a:gd name="T29" fmla="*/ 96 h 160"/>
              <a:gd name="T30" fmla="*/ 77 w 139"/>
              <a:gd name="T31" fmla="*/ 101 h 160"/>
              <a:gd name="T32" fmla="*/ 80 w 139"/>
              <a:gd name="T33" fmla="*/ 112 h 160"/>
              <a:gd name="T34" fmla="*/ 77 w 139"/>
              <a:gd name="T35" fmla="*/ 123 h 160"/>
              <a:gd name="T36" fmla="*/ 75 w 139"/>
              <a:gd name="T37" fmla="*/ 128 h 160"/>
              <a:gd name="T38" fmla="*/ 75 w 139"/>
              <a:gd name="T39" fmla="*/ 128 h 160"/>
              <a:gd name="T40" fmla="*/ 88 w 139"/>
              <a:gd name="T41" fmla="*/ 131 h 160"/>
              <a:gd name="T42" fmla="*/ 101 w 139"/>
              <a:gd name="T43" fmla="*/ 133 h 160"/>
              <a:gd name="T44" fmla="*/ 40 w 139"/>
              <a:gd name="T45" fmla="*/ 29 h 160"/>
              <a:gd name="T46" fmla="*/ 56 w 139"/>
              <a:gd name="T47" fmla="*/ 32 h 160"/>
              <a:gd name="T48" fmla="*/ 24 w 139"/>
              <a:gd name="T49" fmla="*/ 51 h 160"/>
              <a:gd name="T50" fmla="*/ 53 w 139"/>
              <a:gd name="T51" fmla="*/ 48 h 160"/>
              <a:gd name="T52" fmla="*/ 13 w 139"/>
              <a:gd name="T53" fmla="*/ 72 h 160"/>
              <a:gd name="T54" fmla="*/ 53 w 139"/>
              <a:gd name="T55" fmla="*/ 85 h 160"/>
              <a:gd name="T56" fmla="*/ 53 w 139"/>
              <a:gd name="T57" fmla="*/ 91 h 160"/>
              <a:gd name="T58" fmla="*/ 19 w 139"/>
              <a:gd name="T59" fmla="*/ 104 h 160"/>
              <a:gd name="T60" fmla="*/ 56 w 139"/>
              <a:gd name="T61" fmla="*/ 107 h 160"/>
              <a:gd name="T62" fmla="*/ 32 w 139"/>
              <a:gd name="T63" fmla="*/ 125 h 160"/>
              <a:gd name="T64" fmla="*/ 53 w 139"/>
              <a:gd name="T65" fmla="*/ 123 h 160"/>
              <a:gd name="T66" fmla="*/ 89 w 139"/>
              <a:gd name="T67" fmla="*/ 80 h 160"/>
              <a:gd name="T68" fmla="*/ 139 w 139"/>
              <a:gd name="T69" fmla="*/ 8 h 160"/>
              <a:gd name="T70" fmla="*/ 69 w 139"/>
              <a:gd name="T71" fmla="*/ 5 h 160"/>
              <a:gd name="T72" fmla="*/ 117 w 139"/>
              <a:gd name="T73" fmla="*/ 11 h 160"/>
              <a:gd name="T74" fmla="*/ 112 w 139"/>
              <a:gd name="T75" fmla="*/ 16 h 160"/>
              <a:gd name="T76" fmla="*/ 82 w 139"/>
              <a:gd name="T77" fmla="*/ 78 h 160"/>
              <a:gd name="T78" fmla="*/ 80 w 139"/>
              <a:gd name="T79" fmla="*/ 79 h 160"/>
              <a:gd name="T80" fmla="*/ 80 w 139"/>
              <a:gd name="T81" fmla="*/ 81 h 160"/>
              <a:gd name="T82" fmla="*/ 82 w 139"/>
              <a:gd name="T83" fmla="*/ 82 h 160"/>
              <a:gd name="T84" fmla="*/ 107 w 139"/>
              <a:gd name="T85" fmla="*/ 144 h 160"/>
              <a:gd name="T86" fmla="*/ 91 w 139"/>
              <a:gd name="T87" fmla="*/ 144 h 160"/>
              <a:gd name="T88" fmla="*/ 77 w 139"/>
              <a:gd name="T89" fmla="*/ 141 h 160"/>
              <a:gd name="T90" fmla="*/ 69 w 139"/>
              <a:gd name="T91" fmla="*/ 149 h 160"/>
              <a:gd name="T92" fmla="*/ 131 w 139"/>
              <a:gd name="T93" fmla="*/ 155 h 160"/>
              <a:gd name="T94" fmla="*/ 131 w 139"/>
              <a:gd name="T9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9" h="160">
                <a:moveTo>
                  <a:pt x="83" y="136"/>
                </a:moveTo>
                <a:cubicBezTo>
                  <a:pt x="84" y="136"/>
                  <a:pt x="85" y="137"/>
                  <a:pt x="85" y="139"/>
                </a:cubicBezTo>
                <a:cubicBezTo>
                  <a:pt x="85" y="140"/>
                  <a:pt x="84" y="141"/>
                  <a:pt x="83" y="141"/>
                </a:cubicBezTo>
                <a:cubicBezTo>
                  <a:pt x="81" y="141"/>
                  <a:pt x="80" y="140"/>
                  <a:pt x="80" y="139"/>
                </a:cubicBezTo>
                <a:cubicBezTo>
                  <a:pt x="80" y="137"/>
                  <a:pt x="81" y="136"/>
                  <a:pt x="83" y="136"/>
                </a:cubicBezTo>
                <a:close/>
                <a:moveTo>
                  <a:pt x="91" y="139"/>
                </a:moveTo>
                <a:cubicBezTo>
                  <a:pt x="91" y="140"/>
                  <a:pt x="92" y="141"/>
                  <a:pt x="93" y="141"/>
                </a:cubicBezTo>
                <a:cubicBezTo>
                  <a:pt x="95" y="141"/>
                  <a:pt x="96" y="140"/>
                  <a:pt x="96" y="139"/>
                </a:cubicBezTo>
                <a:cubicBezTo>
                  <a:pt x="96" y="137"/>
                  <a:pt x="95" y="136"/>
                  <a:pt x="93" y="136"/>
                </a:cubicBezTo>
                <a:cubicBezTo>
                  <a:pt x="92" y="136"/>
                  <a:pt x="91" y="137"/>
                  <a:pt x="91" y="139"/>
                </a:cubicBezTo>
                <a:close/>
                <a:moveTo>
                  <a:pt x="101" y="139"/>
                </a:moveTo>
                <a:cubicBezTo>
                  <a:pt x="101" y="140"/>
                  <a:pt x="103" y="141"/>
                  <a:pt x="104" y="141"/>
                </a:cubicBezTo>
                <a:cubicBezTo>
                  <a:pt x="105" y="141"/>
                  <a:pt x="107" y="140"/>
                  <a:pt x="107" y="139"/>
                </a:cubicBezTo>
                <a:cubicBezTo>
                  <a:pt x="107" y="137"/>
                  <a:pt x="105" y="136"/>
                  <a:pt x="104" y="136"/>
                </a:cubicBezTo>
                <a:cubicBezTo>
                  <a:pt x="103" y="136"/>
                  <a:pt x="101" y="137"/>
                  <a:pt x="101" y="139"/>
                </a:cubicBezTo>
                <a:close/>
                <a:moveTo>
                  <a:pt x="75" y="88"/>
                </a:moveTo>
                <a:cubicBezTo>
                  <a:pt x="75" y="89"/>
                  <a:pt x="76" y="91"/>
                  <a:pt x="77" y="91"/>
                </a:cubicBezTo>
                <a:cubicBezTo>
                  <a:pt x="79" y="91"/>
                  <a:pt x="80" y="89"/>
                  <a:pt x="80" y="88"/>
                </a:cubicBezTo>
                <a:cubicBezTo>
                  <a:pt x="80" y="87"/>
                  <a:pt x="79" y="85"/>
                  <a:pt x="77" y="85"/>
                </a:cubicBezTo>
                <a:cubicBezTo>
                  <a:pt x="76" y="85"/>
                  <a:pt x="75" y="87"/>
                  <a:pt x="75" y="88"/>
                </a:cubicBezTo>
                <a:close/>
                <a:moveTo>
                  <a:pt x="80" y="59"/>
                </a:moveTo>
                <a:cubicBezTo>
                  <a:pt x="80" y="60"/>
                  <a:pt x="81" y="61"/>
                  <a:pt x="83" y="61"/>
                </a:cubicBezTo>
                <a:cubicBezTo>
                  <a:pt x="84" y="61"/>
                  <a:pt x="85" y="60"/>
                  <a:pt x="85" y="59"/>
                </a:cubicBezTo>
                <a:cubicBezTo>
                  <a:pt x="85" y="57"/>
                  <a:pt x="84" y="56"/>
                  <a:pt x="83" y="56"/>
                </a:cubicBezTo>
                <a:cubicBezTo>
                  <a:pt x="81" y="56"/>
                  <a:pt x="80" y="57"/>
                  <a:pt x="80" y="59"/>
                </a:cubicBezTo>
                <a:close/>
                <a:moveTo>
                  <a:pt x="91" y="59"/>
                </a:moveTo>
                <a:cubicBezTo>
                  <a:pt x="91" y="60"/>
                  <a:pt x="92" y="61"/>
                  <a:pt x="93" y="61"/>
                </a:cubicBezTo>
                <a:cubicBezTo>
                  <a:pt x="95" y="61"/>
                  <a:pt x="96" y="60"/>
                  <a:pt x="96" y="59"/>
                </a:cubicBezTo>
                <a:cubicBezTo>
                  <a:pt x="96" y="57"/>
                  <a:pt x="95" y="56"/>
                  <a:pt x="93" y="56"/>
                </a:cubicBezTo>
                <a:cubicBezTo>
                  <a:pt x="92" y="56"/>
                  <a:pt x="91" y="57"/>
                  <a:pt x="91" y="59"/>
                </a:cubicBezTo>
                <a:close/>
                <a:moveTo>
                  <a:pt x="85" y="53"/>
                </a:moveTo>
                <a:cubicBezTo>
                  <a:pt x="85" y="55"/>
                  <a:pt x="87" y="56"/>
                  <a:pt x="88" y="56"/>
                </a:cubicBezTo>
                <a:cubicBezTo>
                  <a:pt x="89" y="56"/>
                  <a:pt x="91" y="55"/>
                  <a:pt x="91" y="53"/>
                </a:cubicBezTo>
                <a:cubicBezTo>
                  <a:pt x="91" y="52"/>
                  <a:pt x="89" y="51"/>
                  <a:pt x="88" y="51"/>
                </a:cubicBezTo>
                <a:cubicBezTo>
                  <a:pt x="87" y="51"/>
                  <a:pt x="85" y="52"/>
                  <a:pt x="85" y="53"/>
                </a:cubicBezTo>
                <a:close/>
                <a:moveTo>
                  <a:pt x="91" y="48"/>
                </a:moveTo>
                <a:cubicBezTo>
                  <a:pt x="91" y="49"/>
                  <a:pt x="92" y="51"/>
                  <a:pt x="93" y="51"/>
                </a:cubicBezTo>
                <a:cubicBezTo>
                  <a:pt x="95" y="51"/>
                  <a:pt x="96" y="49"/>
                  <a:pt x="96" y="48"/>
                </a:cubicBezTo>
                <a:cubicBezTo>
                  <a:pt x="96" y="47"/>
                  <a:pt x="95" y="45"/>
                  <a:pt x="93" y="45"/>
                </a:cubicBezTo>
                <a:cubicBezTo>
                  <a:pt x="92" y="45"/>
                  <a:pt x="91" y="47"/>
                  <a:pt x="91" y="48"/>
                </a:cubicBezTo>
                <a:close/>
                <a:moveTo>
                  <a:pt x="80" y="69"/>
                </a:moveTo>
                <a:cubicBezTo>
                  <a:pt x="80" y="71"/>
                  <a:pt x="81" y="72"/>
                  <a:pt x="83" y="72"/>
                </a:cubicBezTo>
                <a:cubicBezTo>
                  <a:pt x="84" y="72"/>
                  <a:pt x="85" y="71"/>
                  <a:pt x="85" y="69"/>
                </a:cubicBezTo>
                <a:cubicBezTo>
                  <a:pt x="85" y="68"/>
                  <a:pt x="84" y="67"/>
                  <a:pt x="83" y="67"/>
                </a:cubicBezTo>
                <a:cubicBezTo>
                  <a:pt x="81" y="67"/>
                  <a:pt x="80" y="68"/>
                  <a:pt x="80" y="69"/>
                </a:cubicBezTo>
                <a:close/>
                <a:moveTo>
                  <a:pt x="75" y="64"/>
                </a:moveTo>
                <a:cubicBezTo>
                  <a:pt x="75" y="65"/>
                  <a:pt x="76" y="67"/>
                  <a:pt x="77" y="67"/>
                </a:cubicBezTo>
                <a:cubicBezTo>
                  <a:pt x="79" y="67"/>
                  <a:pt x="80" y="65"/>
                  <a:pt x="80" y="64"/>
                </a:cubicBezTo>
                <a:cubicBezTo>
                  <a:pt x="80" y="63"/>
                  <a:pt x="79" y="61"/>
                  <a:pt x="77" y="61"/>
                </a:cubicBezTo>
                <a:cubicBezTo>
                  <a:pt x="76" y="61"/>
                  <a:pt x="75" y="63"/>
                  <a:pt x="75" y="64"/>
                </a:cubicBezTo>
                <a:close/>
                <a:moveTo>
                  <a:pt x="85" y="64"/>
                </a:moveTo>
                <a:cubicBezTo>
                  <a:pt x="85" y="65"/>
                  <a:pt x="87" y="67"/>
                  <a:pt x="88" y="67"/>
                </a:cubicBezTo>
                <a:cubicBezTo>
                  <a:pt x="89" y="67"/>
                  <a:pt x="91" y="65"/>
                  <a:pt x="91" y="64"/>
                </a:cubicBezTo>
                <a:cubicBezTo>
                  <a:pt x="91" y="63"/>
                  <a:pt x="89" y="61"/>
                  <a:pt x="88" y="61"/>
                </a:cubicBezTo>
                <a:cubicBezTo>
                  <a:pt x="87" y="61"/>
                  <a:pt x="85" y="63"/>
                  <a:pt x="85" y="64"/>
                </a:cubicBezTo>
                <a:close/>
                <a:moveTo>
                  <a:pt x="75" y="96"/>
                </a:moveTo>
                <a:cubicBezTo>
                  <a:pt x="75" y="97"/>
                  <a:pt x="76" y="99"/>
                  <a:pt x="77" y="99"/>
                </a:cubicBezTo>
                <a:cubicBezTo>
                  <a:pt x="79" y="99"/>
                  <a:pt x="80" y="97"/>
                  <a:pt x="80" y="96"/>
                </a:cubicBezTo>
                <a:cubicBezTo>
                  <a:pt x="80" y="95"/>
                  <a:pt x="79" y="93"/>
                  <a:pt x="77" y="93"/>
                </a:cubicBezTo>
                <a:cubicBezTo>
                  <a:pt x="76" y="93"/>
                  <a:pt x="75" y="95"/>
                  <a:pt x="75" y="96"/>
                </a:cubicBezTo>
                <a:close/>
                <a:moveTo>
                  <a:pt x="75" y="104"/>
                </a:moveTo>
                <a:cubicBezTo>
                  <a:pt x="75" y="105"/>
                  <a:pt x="76" y="107"/>
                  <a:pt x="77" y="107"/>
                </a:cubicBezTo>
                <a:cubicBezTo>
                  <a:pt x="79" y="107"/>
                  <a:pt x="80" y="105"/>
                  <a:pt x="80" y="104"/>
                </a:cubicBezTo>
                <a:cubicBezTo>
                  <a:pt x="80" y="103"/>
                  <a:pt x="79" y="101"/>
                  <a:pt x="77" y="101"/>
                </a:cubicBezTo>
                <a:cubicBezTo>
                  <a:pt x="76" y="101"/>
                  <a:pt x="75" y="103"/>
                  <a:pt x="75" y="104"/>
                </a:cubicBezTo>
                <a:close/>
                <a:moveTo>
                  <a:pt x="75" y="112"/>
                </a:moveTo>
                <a:cubicBezTo>
                  <a:pt x="75" y="113"/>
                  <a:pt x="76" y="115"/>
                  <a:pt x="77" y="115"/>
                </a:cubicBezTo>
                <a:cubicBezTo>
                  <a:pt x="79" y="115"/>
                  <a:pt x="80" y="113"/>
                  <a:pt x="80" y="112"/>
                </a:cubicBezTo>
                <a:cubicBezTo>
                  <a:pt x="80" y="111"/>
                  <a:pt x="79" y="109"/>
                  <a:pt x="77" y="109"/>
                </a:cubicBezTo>
                <a:cubicBezTo>
                  <a:pt x="76" y="109"/>
                  <a:pt x="75" y="111"/>
                  <a:pt x="75" y="112"/>
                </a:cubicBezTo>
                <a:close/>
                <a:moveTo>
                  <a:pt x="75" y="120"/>
                </a:moveTo>
                <a:cubicBezTo>
                  <a:pt x="75" y="121"/>
                  <a:pt x="76" y="123"/>
                  <a:pt x="77" y="123"/>
                </a:cubicBezTo>
                <a:cubicBezTo>
                  <a:pt x="79" y="123"/>
                  <a:pt x="80" y="121"/>
                  <a:pt x="80" y="120"/>
                </a:cubicBezTo>
                <a:cubicBezTo>
                  <a:pt x="80" y="119"/>
                  <a:pt x="79" y="117"/>
                  <a:pt x="77" y="117"/>
                </a:cubicBezTo>
                <a:cubicBezTo>
                  <a:pt x="76" y="117"/>
                  <a:pt x="75" y="119"/>
                  <a:pt x="75" y="120"/>
                </a:cubicBezTo>
                <a:close/>
                <a:moveTo>
                  <a:pt x="75" y="128"/>
                </a:moveTo>
                <a:cubicBezTo>
                  <a:pt x="75" y="129"/>
                  <a:pt x="76" y="131"/>
                  <a:pt x="77" y="131"/>
                </a:cubicBezTo>
                <a:cubicBezTo>
                  <a:pt x="79" y="131"/>
                  <a:pt x="80" y="129"/>
                  <a:pt x="80" y="128"/>
                </a:cubicBezTo>
                <a:cubicBezTo>
                  <a:pt x="80" y="127"/>
                  <a:pt x="79" y="125"/>
                  <a:pt x="77" y="125"/>
                </a:cubicBezTo>
                <a:cubicBezTo>
                  <a:pt x="76" y="125"/>
                  <a:pt x="75" y="127"/>
                  <a:pt x="75" y="128"/>
                </a:cubicBezTo>
                <a:close/>
                <a:moveTo>
                  <a:pt x="85" y="133"/>
                </a:moveTo>
                <a:cubicBezTo>
                  <a:pt x="85" y="135"/>
                  <a:pt x="87" y="136"/>
                  <a:pt x="88" y="136"/>
                </a:cubicBezTo>
                <a:cubicBezTo>
                  <a:pt x="89" y="136"/>
                  <a:pt x="91" y="135"/>
                  <a:pt x="91" y="133"/>
                </a:cubicBezTo>
                <a:cubicBezTo>
                  <a:pt x="91" y="132"/>
                  <a:pt x="89" y="131"/>
                  <a:pt x="88" y="131"/>
                </a:cubicBezTo>
                <a:cubicBezTo>
                  <a:pt x="87" y="131"/>
                  <a:pt x="85" y="132"/>
                  <a:pt x="85" y="133"/>
                </a:cubicBezTo>
                <a:close/>
                <a:moveTo>
                  <a:pt x="96" y="133"/>
                </a:moveTo>
                <a:cubicBezTo>
                  <a:pt x="96" y="135"/>
                  <a:pt x="97" y="136"/>
                  <a:pt x="99" y="136"/>
                </a:cubicBezTo>
                <a:cubicBezTo>
                  <a:pt x="100" y="136"/>
                  <a:pt x="101" y="135"/>
                  <a:pt x="101" y="133"/>
                </a:cubicBezTo>
                <a:cubicBezTo>
                  <a:pt x="101" y="132"/>
                  <a:pt x="100" y="131"/>
                  <a:pt x="99" y="131"/>
                </a:cubicBezTo>
                <a:cubicBezTo>
                  <a:pt x="97" y="131"/>
                  <a:pt x="96" y="132"/>
                  <a:pt x="96" y="133"/>
                </a:cubicBezTo>
                <a:close/>
                <a:moveTo>
                  <a:pt x="53" y="29"/>
                </a:moveTo>
                <a:cubicBezTo>
                  <a:pt x="40" y="29"/>
                  <a:pt x="40" y="29"/>
                  <a:pt x="40" y="29"/>
                </a:cubicBezTo>
                <a:cubicBezTo>
                  <a:pt x="39" y="29"/>
                  <a:pt x="37" y="31"/>
                  <a:pt x="37" y="32"/>
                </a:cubicBezTo>
                <a:cubicBezTo>
                  <a:pt x="37" y="33"/>
                  <a:pt x="39" y="35"/>
                  <a:pt x="40" y="35"/>
                </a:cubicBezTo>
                <a:cubicBezTo>
                  <a:pt x="53" y="35"/>
                  <a:pt x="53" y="35"/>
                  <a:pt x="53" y="35"/>
                </a:cubicBezTo>
                <a:cubicBezTo>
                  <a:pt x="55" y="35"/>
                  <a:pt x="56" y="33"/>
                  <a:pt x="56" y="32"/>
                </a:cubicBezTo>
                <a:cubicBezTo>
                  <a:pt x="56" y="31"/>
                  <a:pt x="55" y="29"/>
                  <a:pt x="53" y="29"/>
                </a:cubicBezTo>
                <a:close/>
                <a:moveTo>
                  <a:pt x="53" y="48"/>
                </a:moveTo>
                <a:cubicBezTo>
                  <a:pt x="27" y="48"/>
                  <a:pt x="27" y="48"/>
                  <a:pt x="27" y="48"/>
                </a:cubicBezTo>
                <a:cubicBezTo>
                  <a:pt x="25" y="48"/>
                  <a:pt x="24" y="49"/>
                  <a:pt x="24" y="51"/>
                </a:cubicBezTo>
                <a:cubicBezTo>
                  <a:pt x="24" y="52"/>
                  <a:pt x="25" y="53"/>
                  <a:pt x="27" y="53"/>
                </a:cubicBezTo>
                <a:cubicBezTo>
                  <a:pt x="53" y="53"/>
                  <a:pt x="53" y="53"/>
                  <a:pt x="53" y="53"/>
                </a:cubicBezTo>
                <a:cubicBezTo>
                  <a:pt x="55" y="53"/>
                  <a:pt x="56" y="52"/>
                  <a:pt x="56" y="51"/>
                </a:cubicBezTo>
                <a:cubicBezTo>
                  <a:pt x="56" y="49"/>
                  <a:pt x="55" y="48"/>
                  <a:pt x="53" y="48"/>
                </a:cubicBezTo>
                <a:close/>
                <a:moveTo>
                  <a:pt x="53" y="67"/>
                </a:moveTo>
                <a:cubicBezTo>
                  <a:pt x="13" y="67"/>
                  <a:pt x="13" y="67"/>
                  <a:pt x="13" y="67"/>
                </a:cubicBezTo>
                <a:cubicBezTo>
                  <a:pt x="12" y="67"/>
                  <a:pt x="11" y="68"/>
                  <a:pt x="11" y="69"/>
                </a:cubicBezTo>
                <a:cubicBezTo>
                  <a:pt x="11" y="71"/>
                  <a:pt x="12" y="72"/>
                  <a:pt x="13" y="72"/>
                </a:cubicBezTo>
                <a:cubicBezTo>
                  <a:pt x="53" y="72"/>
                  <a:pt x="53" y="72"/>
                  <a:pt x="53" y="72"/>
                </a:cubicBezTo>
                <a:cubicBezTo>
                  <a:pt x="55" y="72"/>
                  <a:pt x="56" y="71"/>
                  <a:pt x="56" y="69"/>
                </a:cubicBezTo>
                <a:cubicBezTo>
                  <a:pt x="56" y="68"/>
                  <a:pt x="55" y="67"/>
                  <a:pt x="53" y="67"/>
                </a:cubicBezTo>
                <a:close/>
                <a:moveTo>
                  <a:pt x="53" y="85"/>
                </a:moveTo>
                <a:cubicBezTo>
                  <a:pt x="3" y="85"/>
                  <a:pt x="3" y="85"/>
                  <a:pt x="3" y="85"/>
                </a:cubicBezTo>
                <a:cubicBezTo>
                  <a:pt x="1" y="85"/>
                  <a:pt x="0" y="87"/>
                  <a:pt x="0" y="88"/>
                </a:cubicBezTo>
                <a:cubicBezTo>
                  <a:pt x="0" y="89"/>
                  <a:pt x="1" y="91"/>
                  <a:pt x="3" y="91"/>
                </a:cubicBezTo>
                <a:cubicBezTo>
                  <a:pt x="53" y="91"/>
                  <a:pt x="53" y="91"/>
                  <a:pt x="53" y="91"/>
                </a:cubicBezTo>
                <a:cubicBezTo>
                  <a:pt x="55" y="91"/>
                  <a:pt x="56" y="89"/>
                  <a:pt x="56" y="88"/>
                </a:cubicBezTo>
                <a:cubicBezTo>
                  <a:pt x="56" y="87"/>
                  <a:pt x="55" y="85"/>
                  <a:pt x="53" y="85"/>
                </a:cubicBezTo>
                <a:close/>
                <a:moveTo>
                  <a:pt x="53" y="104"/>
                </a:moveTo>
                <a:cubicBezTo>
                  <a:pt x="19" y="104"/>
                  <a:pt x="19" y="104"/>
                  <a:pt x="19" y="104"/>
                </a:cubicBezTo>
                <a:cubicBezTo>
                  <a:pt x="17" y="104"/>
                  <a:pt x="16" y="105"/>
                  <a:pt x="16" y="107"/>
                </a:cubicBezTo>
                <a:cubicBezTo>
                  <a:pt x="16" y="108"/>
                  <a:pt x="17" y="109"/>
                  <a:pt x="19" y="109"/>
                </a:cubicBezTo>
                <a:cubicBezTo>
                  <a:pt x="53" y="109"/>
                  <a:pt x="53" y="109"/>
                  <a:pt x="53" y="109"/>
                </a:cubicBezTo>
                <a:cubicBezTo>
                  <a:pt x="55" y="109"/>
                  <a:pt x="56" y="108"/>
                  <a:pt x="56" y="107"/>
                </a:cubicBezTo>
                <a:cubicBezTo>
                  <a:pt x="56" y="105"/>
                  <a:pt x="55" y="104"/>
                  <a:pt x="53" y="104"/>
                </a:cubicBezTo>
                <a:close/>
                <a:moveTo>
                  <a:pt x="53" y="123"/>
                </a:moveTo>
                <a:cubicBezTo>
                  <a:pt x="35" y="123"/>
                  <a:pt x="35" y="123"/>
                  <a:pt x="35" y="123"/>
                </a:cubicBezTo>
                <a:cubicBezTo>
                  <a:pt x="33" y="123"/>
                  <a:pt x="32" y="124"/>
                  <a:pt x="32" y="125"/>
                </a:cubicBezTo>
                <a:cubicBezTo>
                  <a:pt x="32" y="127"/>
                  <a:pt x="33" y="128"/>
                  <a:pt x="35" y="128"/>
                </a:cubicBezTo>
                <a:cubicBezTo>
                  <a:pt x="53" y="128"/>
                  <a:pt x="53" y="128"/>
                  <a:pt x="53" y="128"/>
                </a:cubicBezTo>
                <a:cubicBezTo>
                  <a:pt x="55" y="128"/>
                  <a:pt x="56" y="127"/>
                  <a:pt x="56" y="125"/>
                </a:cubicBezTo>
                <a:cubicBezTo>
                  <a:pt x="56" y="124"/>
                  <a:pt x="55" y="123"/>
                  <a:pt x="53" y="123"/>
                </a:cubicBezTo>
                <a:close/>
                <a:moveTo>
                  <a:pt x="131" y="144"/>
                </a:moveTo>
                <a:cubicBezTo>
                  <a:pt x="117" y="144"/>
                  <a:pt x="117" y="144"/>
                  <a:pt x="117" y="144"/>
                </a:cubicBezTo>
                <a:cubicBezTo>
                  <a:pt x="117" y="128"/>
                  <a:pt x="117" y="128"/>
                  <a:pt x="117" y="128"/>
                </a:cubicBezTo>
                <a:cubicBezTo>
                  <a:pt x="117" y="108"/>
                  <a:pt x="106" y="89"/>
                  <a:pt x="89" y="80"/>
                </a:cubicBezTo>
                <a:cubicBezTo>
                  <a:pt x="106" y="71"/>
                  <a:pt x="117" y="52"/>
                  <a:pt x="117" y="32"/>
                </a:cubicBezTo>
                <a:cubicBezTo>
                  <a:pt x="117" y="16"/>
                  <a:pt x="117" y="16"/>
                  <a:pt x="117" y="16"/>
                </a:cubicBezTo>
                <a:cubicBezTo>
                  <a:pt x="131" y="16"/>
                  <a:pt x="131" y="16"/>
                  <a:pt x="131" y="16"/>
                </a:cubicBezTo>
                <a:cubicBezTo>
                  <a:pt x="135" y="16"/>
                  <a:pt x="139" y="12"/>
                  <a:pt x="139" y="8"/>
                </a:cubicBezTo>
                <a:cubicBezTo>
                  <a:pt x="139" y="4"/>
                  <a:pt x="135" y="0"/>
                  <a:pt x="131" y="0"/>
                </a:cubicBezTo>
                <a:cubicBezTo>
                  <a:pt x="69" y="0"/>
                  <a:pt x="69" y="0"/>
                  <a:pt x="69" y="0"/>
                </a:cubicBezTo>
                <a:cubicBezTo>
                  <a:pt x="68" y="0"/>
                  <a:pt x="67" y="1"/>
                  <a:pt x="67" y="3"/>
                </a:cubicBezTo>
                <a:cubicBezTo>
                  <a:pt x="67" y="4"/>
                  <a:pt x="68" y="5"/>
                  <a:pt x="69" y="5"/>
                </a:cubicBezTo>
                <a:cubicBezTo>
                  <a:pt x="131" y="5"/>
                  <a:pt x="131" y="5"/>
                  <a:pt x="131" y="5"/>
                </a:cubicBezTo>
                <a:cubicBezTo>
                  <a:pt x="132" y="5"/>
                  <a:pt x="133" y="7"/>
                  <a:pt x="133" y="8"/>
                </a:cubicBezTo>
                <a:cubicBezTo>
                  <a:pt x="133" y="9"/>
                  <a:pt x="132" y="11"/>
                  <a:pt x="131" y="11"/>
                </a:cubicBezTo>
                <a:cubicBezTo>
                  <a:pt x="117" y="11"/>
                  <a:pt x="117" y="11"/>
                  <a:pt x="117" y="11"/>
                </a:cubicBezTo>
                <a:cubicBezTo>
                  <a:pt x="69" y="11"/>
                  <a:pt x="69" y="11"/>
                  <a:pt x="69" y="11"/>
                </a:cubicBezTo>
                <a:cubicBezTo>
                  <a:pt x="68" y="11"/>
                  <a:pt x="67" y="12"/>
                  <a:pt x="67" y="13"/>
                </a:cubicBezTo>
                <a:cubicBezTo>
                  <a:pt x="67" y="15"/>
                  <a:pt x="68" y="16"/>
                  <a:pt x="69" y="16"/>
                </a:cubicBezTo>
                <a:cubicBezTo>
                  <a:pt x="112" y="16"/>
                  <a:pt x="112" y="16"/>
                  <a:pt x="112" y="16"/>
                </a:cubicBezTo>
                <a:cubicBezTo>
                  <a:pt x="112" y="32"/>
                  <a:pt x="112" y="32"/>
                  <a:pt x="112" y="32"/>
                </a:cubicBezTo>
                <a:cubicBezTo>
                  <a:pt x="112" y="52"/>
                  <a:pt x="100" y="70"/>
                  <a:pt x="82" y="78"/>
                </a:cubicBezTo>
                <a:cubicBezTo>
                  <a:pt x="82" y="78"/>
                  <a:pt x="82" y="78"/>
                  <a:pt x="82" y="78"/>
                </a:cubicBezTo>
                <a:cubicBezTo>
                  <a:pt x="82" y="78"/>
                  <a:pt x="82" y="78"/>
                  <a:pt x="82" y="78"/>
                </a:cubicBezTo>
                <a:cubicBezTo>
                  <a:pt x="82" y="78"/>
                  <a:pt x="82" y="78"/>
                  <a:pt x="82" y="78"/>
                </a:cubicBezTo>
                <a:cubicBezTo>
                  <a:pt x="81" y="78"/>
                  <a:pt x="81" y="78"/>
                  <a:pt x="81" y="78"/>
                </a:cubicBezTo>
                <a:cubicBezTo>
                  <a:pt x="81" y="78"/>
                  <a:pt x="80" y="79"/>
                  <a:pt x="80" y="79"/>
                </a:cubicBezTo>
                <a:cubicBezTo>
                  <a:pt x="80" y="79"/>
                  <a:pt x="80" y="79"/>
                  <a:pt x="80" y="79"/>
                </a:cubicBezTo>
                <a:cubicBezTo>
                  <a:pt x="80" y="79"/>
                  <a:pt x="80" y="79"/>
                  <a:pt x="80" y="79"/>
                </a:cubicBezTo>
                <a:cubicBezTo>
                  <a:pt x="80" y="79"/>
                  <a:pt x="80" y="80"/>
                  <a:pt x="80" y="80"/>
                </a:cubicBezTo>
                <a:cubicBezTo>
                  <a:pt x="80" y="80"/>
                  <a:pt x="80" y="81"/>
                  <a:pt x="80" y="81"/>
                </a:cubicBezTo>
                <a:cubicBezTo>
                  <a:pt x="80" y="81"/>
                  <a:pt x="80" y="81"/>
                  <a:pt x="80" y="81"/>
                </a:cubicBezTo>
                <a:cubicBezTo>
                  <a:pt x="80" y="81"/>
                  <a:pt x="81" y="82"/>
                  <a:pt x="81" y="82"/>
                </a:cubicBezTo>
                <a:cubicBezTo>
                  <a:pt x="81" y="82"/>
                  <a:pt x="81" y="82"/>
                  <a:pt x="81" y="82"/>
                </a:cubicBezTo>
                <a:cubicBezTo>
                  <a:pt x="81" y="82"/>
                  <a:pt x="81" y="82"/>
                  <a:pt x="82" y="82"/>
                </a:cubicBezTo>
                <a:cubicBezTo>
                  <a:pt x="82" y="82"/>
                  <a:pt x="82" y="82"/>
                  <a:pt x="82" y="82"/>
                </a:cubicBezTo>
                <a:cubicBezTo>
                  <a:pt x="100" y="90"/>
                  <a:pt x="112" y="108"/>
                  <a:pt x="112" y="128"/>
                </a:cubicBezTo>
                <a:cubicBezTo>
                  <a:pt x="112" y="144"/>
                  <a:pt x="112" y="144"/>
                  <a:pt x="112" y="144"/>
                </a:cubicBezTo>
                <a:cubicBezTo>
                  <a:pt x="112" y="143"/>
                  <a:pt x="111" y="141"/>
                  <a:pt x="109" y="141"/>
                </a:cubicBezTo>
                <a:cubicBezTo>
                  <a:pt x="108" y="141"/>
                  <a:pt x="107" y="143"/>
                  <a:pt x="107" y="144"/>
                </a:cubicBezTo>
                <a:cubicBezTo>
                  <a:pt x="101" y="144"/>
                  <a:pt x="101" y="144"/>
                  <a:pt x="101" y="144"/>
                </a:cubicBezTo>
                <a:cubicBezTo>
                  <a:pt x="101" y="143"/>
                  <a:pt x="100" y="141"/>
                  <a:pt x="99" y="141"/>
                </a:cubicBezTo>
                <a:cubicBezTo>
                  <a:pt x="97" y="141"/>
                  <a:pt x="96" y="143"/>
                  <a:pt x="96" y="144"/>
                </a:cubicBezTo>
                <a:cubicBezTo>
                  <a:pt x="91" y="144"/>
                  <a:pt x="91" y="144"/>
                  <a:pt x="91" y="144"/>
                </a:cubicBezTo>
                <a:cubicBezTo>
                  <a:pt x="91" y="143"/>
                  <a:pt x="89" y="141"/>
                  <a:pt x="88" y="141"/>
                </a:cubicBezTo>
                <a:cubicBezTo>
                  <a:pt x="87" y="141"/>
                  <a:pt x="85" y="143"/>
                  <a:pt x="85" y="144"/>
                </a:cubicBezTo>
                <a:cubicBezTo>
                  <a:pt x="80" y="144"/>
                  <a:pt x="80" y="144"/>
                  <a:pt x="80" y="144"/>
                </a:cubicBezTo>
                <a:cubicBezTo>
                  <a:pt x="80" y="143"/>
                  <a:pt x="79" y="141"/>
                  <a:pt x="77" y="141"/>
                </a:cubicBezTo>
                <a:cubicBezTo>
                  <a:pt x="76" y="141"/>
                  <a:pt x="75" y="143"/>
                  <a:pt x="75" y="144"/>
                </a:cubicBezTo>
                <a:cubicBezTo>
                  <a:pt x="69" y="144"/>
                  <a:pt x="69" y="144"/>
                  <a:pt x="69" y="144"/>
                </a:cubicBezTo>
                <a:cubicBezTo>
                  <a:pt x="68" y="144"/>
                  <a:pt x="67" y="145"/>
                  <a:pt x="67" y="147"/>
                </a:cubicBezTo>
                <a:cubicBezTo>
                  <a:pt x="67" y="148"/>
                  <a:pt x="68" y="149"/>
                  <a:pt x="69" y="149"/>
                </a:cubicBezTo>
                <a:cubicBezTo>
                  <a:pt x="117" y="149"/>
                  <a:pt x="117" y="149"/>
                  <a:pt x="117" y="149"/>
                </a:cubicBezTo>
                <a:cubicBezTo>
                  <a:pt x="131" y="149"/>
                  <a:pt x="131" y="149"/>
                  <a:pt x="131" y="149"/>
                </a:cubicBezTo>
                <a:cubicBezTo>
                  <a:pt x="132" y="149"/>
                  <a:pt x="133" y="151"/>
                  <a:pt x="133" y="152"/>
                </a:cubicBezTo>
                <a:cubicBezTo>
                  <a:pt x="133" y="153"/>
                  <a:pt x="132" y="155"/>
                  <a:pt x="131" y="155"/>
                </a:cubicBezTo>
                <a:cubicBezTo>
                  <a:pt x="69" y="155"/>
                  <a:pt x="69" y="155"/>
                  <a:pt x="69" y="155"/>
                </a:cubicBezTo>
                <a:cubicBezTo>
                  <a:pt x="68" y="155"/>
                  <a:pt x="67" y="156"/>
                  <a:pt x="67" y="157"/>
                </a:cubicBezTo>
                <a:cubicBezTo>
                  <a:pt x="67" y="159"/>
                  <a:pt x="68" y="160"/>
                  <a:pt x="69" y="160"/>
                </a:cubicBezTo>
                <a:cubicBezTo>
                  <a:pt x="131" y="160"/>
                  <a:pt x="131" y="160"/>
                  <a:pt x="131" y="160"/>
                </a:cubicBezTo>
                <a:cubicBezTo>
                  <a:pt x="135" y="160"/>
                  <a:pt x="139" y="156"/>
                  <a:pt x="139" y="152"/>
                </a:cubicBezTo>
                <a:cubicBezTo>
                  <a:pt x="139" y="148"/>
                  <a:pt x="135" y="144"/>
                  <a:pt x="131" y="144"/>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2115">
            <a:extLst>
              <a:ext uri="{FF2B5EF4-FFF2-40B4-BE49-F238E27FC236}">
                <a16:creationId xmlns:a16="http://schemas.microsoft.com/office/drawing/2014/main" id="{68A35192-4ED7-C644-ABD3-4BAC272D4AE0}"/>
              </a:ext>
            </a:extLst>
          </p:cNvPr>
          <p:cNvSpPr>
            <a:spLocks noEditPoints="1"/>
          </p:cNvSpPr>
          <p:nvPr/>
        </p:nvSpPr>
        <p:spPr bwMode="auto">
          <a:xfrm>
            <a:off x="4500559" y="4700588"/>
            <a:ext cx="420688" cy="550863"/>
          </a:xfrm>
          <a:custGeom>
            <a:avLst/>
            <a:gdLst>
              <a:gd name="T0" fmla="*/ 73 w 123"/>
              <a:gd name="T1" fmla="*/ 80 h 160"/>
              <a:gd name="T2" fmla="*/ 123 w 123"/>
              <a:gd name="T3" fmla="*/ 8 h 160"/>
              <a:gd name="T4" fmla="*/ 8 w 123"/>
              <a:gd name="T5" fmla="*/ 16 h 160"/>
              <a:gd name="T6" fmla="*/ 21 w 123"/>
              <a:gd name="T7" fmla="*/ 128 h 160"/>
              <a:gd name="T8" fmla="*/ 8 w 123"/>
              <a:gd name="T9" fmla="*/ 160 h 160"/>
              <a:gd name="T10" fmla="*/ 8 w 123"/>
              <a:gd name="T11" fmla="*/ 11 h 160"/>
              <a:gd name="T12" fmla="*/ 117 w 123"/>
              <a:gd name="T13" fmla="*/ 8 h 160"/>
              <a:gd name="T14" fmla="*/ 8 w 123"/>
              <a:gd name="T15" fmla="*/ 11 h 160"/>
              <a:gd name="T16" fmla="*/ 96 w 123"/>
              <a:gd name="T17" fmla="*/ 32 h 160"/>
              <a:gd name="T18" fmla="*/ 27 w 123"/>
              <a:gd name="T19" fmla="*/ 128 h 160"/>
              <a:gd name="T20" fmla="*/ 96 w 123"/>
              <a:gd name="T21" fmla="*/ 144 h 160"/>
              <a:gd name="T22" fmla="*/ 83 w 123"/>
              <a:gd name="T23" fmla="*/ 141 h 160"/>
              <a:gd name="T24" fmla="*/ 69 w 123"/>
              <a:gd name="T25" fmla="*/ 144 h 160"/>
              <a:gd name="T26" fmla="*/ 53 w 123"/>
              <a:gd name="T27" fmla="*/ 144 h 160"/>
              <a:gd name="T28" fmla="*/ 40 w 123"/>
              <a:gd name="T29" fmla="*/ 141 h 160"/>
              <a:gd name="T30" fmla="*/ 27 w 123"/>
              <a:gd name="T31" fmla="*/ 144 h 160"/>
              <a:gd name="T32" fmla="*/ 5 w 123"/>
              <a:gd name="T33" fmla="*/ 152 h 160"/>
              <a:gd name="T34" fmla="*/ 115 w 123"/>
              <a:gd name="T35" fmla="*/ 149 h 160"/>
              <a:gd name="T36" fmla="*/ 37 w 123"/>
              <a:gd name="T37" fmla="*/ 139 h 160"/>
              <a:gd name="T38" fmla="*/ 45 w 123"/>
              <a:gd name="T39" fmla="*/ 136 h 160"/>
              <a:gd name="T40" fmla="*/ 45 w 123"/>
              <a:gd name="T41" fmla="*/ 136 h 160"/>
              <a:gd name="T42" fmla="*/ 53 w 123"/>
              <a:gd name="T43" fmla="*/ 139 h 160"/>
              <a:gd name="T44" fmla="*/ 67 w 123"/>
              <a:gd name="T45" fmla="*/ 141 h 160"/>
              <a:gd name="T46" fmla="*/ 80 w 123"/>
              <a:gd name="T47" fmla="*/ 139 h 160"/>
              <a:gd name="T48" fmla="*/ 88 w 123"/>
              <a:gd name="T49" fmla="*/ 136 h 160"/>
              <a:gd name="T50" fmla="*/ 88 w 123"/>
              <a:gd name="T51" fmla="*/ 136 h 160"/>
              <a:gd name="T52" fmla="*/ 37 w 123"/>
              <a:gd name="T53" fmla="*/ 133 h 160"/>
              <a:gd name="T54" fmla="*/ 51 w 123"/>
              <a:gd name="T55" fmla="*/ 136 h 160"/>
              <a:gd name="T56" fmla="*/ 64 w 123"/>
              <a:gd name="T57" fmla="*/ 88 h 160"/>
              <a:gd name="T58" fmla="*/ 45 w 123"/>
              <a:gd name="T59" fmla="*/ 56 h 160"/>
              <a:gd name="T60" fmla="*/ 45 w 123"/>
              <a:gd name="T61" fmla="*/ 56 h 160"/>
              <a:gd name="T62" fmla="*/ 53 w 123"/>
              <a:gd name="T63" fmla="*/ 59 h 160"/>
              <a:gd name="T64" fmla="*/ 67 w 123"/>
              <a:gd name="T65" fmla="*/ 61 h 160"/>
              <a:gd name="T66" fmla="*/ 80 w 123"/>
              <a:gd name="T67" fmla="*/ 59 h 160"/>
              <a:gd name="T68" fmla="*/ 72 w 123"/>
              <a:gd name="T69" fmla="*/ 51 h 160"/>
              <a:gd name="T70" fmla="*/ 72 w 123"/>
              <a:gd name="T71" fmla="*/ 51 h 160"/>
              <a:gd name="T72" fmla="*/ 75 w 123"/>
              <a:gd name="T73" fmla="*/ 48 h 160"/>
              <a:gd name="T74" fmla="*/ 51 w 123"/>
              <a:gd name="T75" fmla="*/ 56 h 160"/>
              <a:gd name="T76" fmla="*/ 64 w 123"/>
              <a:gd name="T77" fmla="*/ 53 h 160"/>
              <a:gd name="T78" fmla="*/ 45 w 123"/>
              <a:gd name="T79" fmla="*/ 45 h 160"/>
              <a:gd name="T80" fmla="*/ 45 w 123"/>
              <a:gd name="T81" fmla="*/ 45 h 160"/>
              <a:gd name="T82" fmla="*/ 48 w 123"/>
              <a:gd name="T83" fmla="*/ 64 h 160"/>
              <a:gd name="T84" fmla="*/ 56 w 123"/>
              <a:gd name="T85" fmla="*/ 72 h 160"/>
              <a:gd name="T86" fmla="*/ 69 w 123"/>
              <a:gd name="T87" fmla="*/ 69 h 160"/>
              <a:gd name="T88" fmla="*/ 61 w 123"/>
              <a:gd name="T89" fmla="*/ 61 h 160"/>
              <a:gd name="T90" fmla="*/ 61 w 123"/>
              <a:gd name="T91" fmla="*/ 61 h 160"/>
              <a:gd name="T92" fmla="*/ 69 w 123"/>
              <a:gd name="T93" fmla="*/ 64 h 160"/>
              <a:gd name="T94" fmla="*/ 61 w 123"/>
              <a:gd name="T95" fmla="*/ 99 h 160"/>
              <a:gd name="T96" fmla="*/ 64 w 123"/>
              <a:gd name="T97" fmla="*/ 104 h 160"/>
              <a:gd name="T98" fmla="*/ 61 w 123"/>
              <a:gd name="T99" fmla="*/ 109 h 160"/>
              <a:gd name="T100" fmla="*/ 61 w 123"/>
              <a:gd name="T101" fmla="*/ 109 h 160"/>
              <a:gd name="T102" fmla="*/ 59 w 123"/>
              <a:gd name="T103" fmla="*/ 120 h 160"/>
              <a:gd name="T104" fmla="*/ 61 w 123"/>
              <a:gd name="T105" fmla="*/ 131 h 160"/>
              <a:gd name="T106" fmla="*/ 75 w 123"/>
              <a:gd name="T107" fmla="*/ 133 h 160"/>
              <a:gd name="T108" fmla="*/ 83 w 123"/>
              <a:gd name="T109" fmla="*/ 131 h 160"/>
              <a:gd name="T110" fmla="*/ 83 w 123"/>
              <a:gd name="T111" fmla="*/ 13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160">
                <a:moveTo>
                  <a:pt x="115" y="144"/>
                </a:moveTo>
                <a:cubicBezTo>
                  <a:pt x="101" y="144"/>
                  <a:pt x="101" y="144"/>
                  <a:pt x="101" y="144"/>
                </a:cubicBezTo>
                <a:cubicBezTo>
                  <a:pt x="101" y="128"/>
                  <a:pt x="101" y="128"/>
                  <a:pt x="101" y="128"/>
                </a:cubicBezTo>
                <a:cubicBezTo>
                  <a:pt x="101" y="108"/>
                  <a:pt x="90" y="89"/>
                  <a:pt x="73" y="80"/>
                </a:cubicBezTo>
                <a:cubicBezTo>
                  <a:pt x="90" y="71"/>
                  <a:pt x="101" y="52"/>
                  <a:pt x="101" y="32"/>
                </a:cubicBezTo>
                <a:cubicBezTo>
                  <a:pt x="101" y="16"/>
                  <a:pt x="101" y="16"/>
                  <a:pt x="101" y="16"/>
                </a:cubicBezTo>
                <a:cubicBezTo>
                  <a:pt x="115" y="16"/>
                  <a:pt x="115" y="16"/>
                  <a:pt x="115" y="16"/>
                </a:cubicBezTo>
                <a:cubicBezTo>
                  <a:pt x="119" y="16"/>
                  <a:pt x="123" y="12"/>
                  <a:pt x="123" y="8"/>
                </a:cubicBezTo>
                <a:cubicBezTo>
                  <a:pt x="123" y="4"/>
                  <a:pt x="119" y="0"/>
                  <a:pt x="115" y="0"/>
                </a:cubicBezTo>
                <a:cubicBezTo>
                  <a:pt x="8" y="0"/>
                  <a:pt x="8" y="0"/>
                  <a:pt x="8" y="0"/>
                </a:cubicBezTo>
                <a:cubicBezTo>
                  <a:pt x="4" y="0"/>
                  <a:pt x="0" y="4"/>
                  <a:pt x="0" y="8"/>
                </a:cubicBezTo>
                <a:cubicBezTo>
                  <a:pt x="0" y="12"/>
                  <a:pt x="4" y="16"/>
                  <a:pt x="8" y="16"/>
                </a:cubicBezTo>
                <a:cubicBezTo>
                  <a:pt x="21" y="16"/>
                  <a:pt x="21" y="16"/>
                  <a:pt x="21" y="16"/>
                </a:cubicBezTo>
                <a:cubicBezTo>
                  <a:pt x="21" y="32"/>
                  <a:pt x="21" y="32"/>
                  <a:pt x="21" y="32"/>
                </a:cubicBezTo>
                <a:cubicBezTo>
                  <a:pt x="21" y="52"/>
                  <a:pt x="32" y="71"/>
                  <a:pt x="50" y="80"/>
                </a:cubicBezTo>
                <a:cubicBezTo>
                  <a:pt x="32" y="89"/>
                  <a:pt x="21" y="108"/>
                  <a:pt x="21" y="128"/>
                </a:cubicBezTo>
                <a:cubicBezTo>
                  <a:pt x="21" y="144"/>
                  <a:pt x="21" y="144"/>
                  <a:pt x="21" y="144"/>
                </a:cubicBezTo>
                <a:cubicBezTo>
                  <a:pt x="8" y="144"/>
                  <a:pt x="8" y="144"/>
                  <a:pt x="8" y="144"/>
                </a:cubicBezTo>
                <a:cubicBezTo>
                  <a:pt x="4" y="144"/>
                  <a:pt x="0" y="148"/>
                  <a:pt x="0" y="152"/>
                </a:cubicBezTo>
                <a:cubicBezTo>
                  <a:pt x="0" y="156"/>
                  <a:pt x="4" y="160"/>
                  <a:pt x="8" y="160"/>
                </a:cubicBezTo>
                <a:cubicBezTo>
                  <a:pt x="115" y="160"/>
                  <a:pt x="115" y="160"/>
                  <a:pt x="115" y="160"/>
                </a:cubicBezTo>
                <a:cubicBezTo>
                  <a:pt x="119" y="160"/>
                  <a:pt x="123" y="156"/>
                  <a:pt x="123" y="152"/>
                </a:cubicBezTo>
                <a:cubicBezTo>
                  <a:pt x="123" y="148"/>
                  <a:pt x="119" y="144"/>
                  <a:pt x="115" y="144"/>
                </a:cubicBezTo>
                <a:close/>
                <a:moveTo>
                  <a:pt x="8" y="11"/>
                </a:moveTo>
                <a:cubicBezTo>
                  <a:pt x="7" y="11"/>
                  <a:pt x="5" y="9"/>
                  <a:pt x="5" y="8"/>
                </a:cubicBezTo>
                <a:cubicBezTo>
                  <a:pt x="5" y="7"/>
                  <a:pt x="7" y="5"/>
                  <a:pt x="8" y="5"/>
                </a:cubicBezTo>
                <a:cubicBezTo>
                  <a:pt x="115" y="5"/>
                  <a:pt x="115" y="5"/>
                  <a:pt x="115" y="5"/>
                </a:cubicBezTo>
                <a:cubicBezTo>
                  <a:pt x="116" y="5"/>
                  <a:pt x="117" y="7"/>
                  <a:pt x="117" y="8"/>
                </a:cubicBezTo>
                <a:cubicBezTo>
                  <a:pt x="117" y="9"/>
                  <a:pt x="116" y="11"/>
                  <a:pt x="115" y="11"/>
                </a:cubicBezTo>
                <a:cubicBezTo>
                  <a:pt x="101" y="11"/>
                  <a:pt x="101" y="11"/>
                  <a:pt x="101" y="11"/>
                </a:cubicBezTo>
                <a:cubicBezTo>
                  <a:pt x="21" y="11"/>
                  <a:pt x="21" y="11"/>
                  <a:pt x="21" y="11"/>
                </a:cubicBezTo>
                <a:lnTo>
                  <a:pt x="8" y="11"/>
                </a:lnTo>
                <a:close/>
                <a:moveTo>
                  <a:pt x="27" y="32"/>
                </a:moveTo>
                <a:cubicBezTo>
                  <a:pt x="27" y="16"/>
                  <a:pt x="27" y="16"/>
                  <a:pt x="27" y="16"/>
                </a:cubicBezTo>
                <a:cubicBezTo>
                  <a:pt x="96" y="16"/>
                  <a:pt x="96" y="16"/>
                  <a:pt x="96" y="16"/>
                </a:cubicBezTo>
                <a:cubicBezTo>
                  <a:pt x="96" y="32"/>
                  <a:pt x="96" y="32"/>
                  <a:pt x="96" y="32"/>
                </a:cubicBezTo>
                <a:cubicBezTo>
                  <a:pt x="96" y="52"/>
                  <a:pt x="84" y="70"/>
                  <a:pt x="66" y="77"/>
                </a:cubicBezTo>
                <a:cubicBezTo>
                  <a:pt x="57" y="77"/>
                  <a:pt x="57" y="77"/>
                  <a:pt x="57" y="77"/>
                </a:cubicBezTo>
                <a:cubicBezTo>
                  <a:pt x="38" y="70"/>
                  <a:pt x="27" y="52"/>
                  <a:pt x="27" y="32"/>
                </a:cubicBezTo>
                <a:close/>
                <a:moveTo>
                  <a:pt x="27" y="128"/>
                </a:moveTo>
                <a:cubicBezTo>
                  <a:pt x="27" y="108"/>
                  <a:pt x="38" y="90"/>
                  <a:pt x="57" y="83"/>
                </a:cubicBezTo>
                <a:cubicBezTo>
                  <a:pt x="66" y="83"/>
                  <a:pt x="66" y="83"/>
                  <a:pt x="66" y="83"/>
                </a:cubicBezTo>
                <a:cubicBezTo>
                  <a:pt x="84" y="90"/>
                  <a:pt x="96" y="108"/>
                  <a:pt x="96" y="128"/>
                </a:cubicBezTo>
                <a:cubicBezTo>
                  <a:pt x="96" y="144"/>
                  <a:pt x="96" y="144"/>
                  <a:pt x="96" y="144"/>
                </a:cubicBezTo>
                <a:cubicBezTo>
                  <a:pt x="96" y="143"/>
                  <a:pt x="95" y="141"/>
                  <a:pt x="93" y="141"/>
                </a:cubicBezTo>
                <a:cubicBezTo>
                  <a:pt x="92" y="141"/>
                  <a:pt x="91" y="143"/>
                  <a:pt x="91" y="144"/>
                </a:cubicBezTo>
                <a:cubicBezTo>
                  <a:pt x="85" y="144"/>
                  <a:pt x="85" y="144"/>
                  <a:pt x="85" y="144"/>
                </a:cubicBezTo>
                <a:cubicBezTo>
                  <a:pt x="85" y="143"/>
                  <a:pt x="84" y="141"/>
                  <a:pt x="83" y="141"/>
                </a:cubicBezTo>
                <a:cubicBezTo>
                  <a:pt x="81" y="141"/>
                  <a:pt x="80" y="143"/>
                  <a:pt x="80" y="144"/>
                </a:cubicBezTo>
                <a:cubicBezTo>
                  <a:pt x="75" y="144"/>
                  <a:pt x="75" y="144"/>
                  <a:pt x="75" y="144"/>
                </a:cubicBezTo>
                <a:cubicBezTo>
                  <a:pt x="75" y="143"/>
                  <a:pt x="73" y="141"/>
                  <a:pt x="72" y="141"/>
                </a:cubicBezTo>
                <a:cubicBezTo>
                  <a:pt x="71" y="141"/>
                  <a:pt x="69" y="143"/>
                  <a:pt x="69" y="144"/>
                </a:cubicBezTo>
                <a:cubicBezTo>
                  <a:pt x="64" y="144"/>
                  <a:pt x="64" y="144"/>
                  <a:pt x="64" y="144"/>
                </a:cubicBezTo>
                <a:cubicBezTo>
                  <a:pt x="64" y="143"/>
                  <a:pt x="63" y="141"/>
                  <a:pt x="61" y="141"/>
                </a:cubicBezTo>
                <a:cubicBezTo>
                  <a:pt x="60" y="141"/>
                  <a:pt x="59" y="143"/>
                  <a:pt x="59" y="144"/>
                </a:cubicBezTo>
                <a:cubicBezTo>
                  <a:pt x="53" y="144"/>
                  <a:pt x="53" y="144"/>
                  <a:pt x="53" y="144"/>
                </a:cubicBezTo>
                <a:cubicBezTo>
                  <a:pt x="53" y="143"/>
                  <a:pt x="52" y="141"/>
                  <a:pt x="51" y="141"/>
                </a:cubicBezTo>
                <a:cubicBezTo>
                  <a:pt x="49" y="141"/>
                  <a:pt x="48" y="143"/>
                  <a:pt x="48" y="144"/>
                </a:cubicBezTo>
                <a:cubicBezTo>
                  <a:pt x="43" y="144"/>
                  <a:pt x="43" y="144"/>
                  <a:pt x="43" y="144"/>
                </a:cubicBezTo>
                <a:cubicBezTo>
                  <a:pt x="43" y="143"/>
                  <a:pt x="41" y="141"/>
                  <a:pt x="40" y="141"/>
                </a:cubicBezTo>
                <a:cubicBezTo>
                  <a:pt x="39" y="141"/>
                  <a:pt x="37" y="143"/>
                  <a:pt x="37" y="144"/>
                </a:cubicBezTo>
                <a:cubicBezTo>
                  <a:pt x="32" y="144"/>
                  <a:pt x="32" y="144"/>
                  <a:pt x="32" y="144"/>
                </a:cubicBezTo>
                <a:cubicBezTo>
                  <a:pt x="32" y="143"/>
                  <a:pt x="31" y="141"/>
                  <a:pt x="29" y="141"/>
                </a:cubicBezTo>
                <a:cubicBezTo>
                  <a:pt x="28" y="141"/>
                  <a:pt x="27" y="143"/>
                  <a:pt x="27" y="144"/>
                </a:cubicBezTo>
                <a:lnTo>
                  <a:pt x="27" y="128"/>
                </a:lnTo>
                <a:close/>
                <a:moveTo>
                  <a:pt x="115" y="155"/>
                </a:moveTo>
                <a:cubicBezTo>
                  <a:pt x="8" y="155"/>
                  <a:pt x="8" y="155"/>
                  <a:pt x="8" y="155"/>
                </a:cubicBezTo>
                <a:cubicBezTo>
                  <a:pt x="7" y="155"/>
                  <a:pt x="5" y="153"/>
                  <a:pt x="5" y="152"/>
                </a:cubicBezTo>
                <a:cubicBezTo>
                  <a:pt x="5" y="151"/>
                  <a:pt x="7" y="149"/>
                  <a:pt x="8" y="149"/>
                </a:cubicBezTo>
                <a:cubicBezTo>
                  <a:pt x="21" y="149"/>
                  <a:pt x="21" y="149"/>
                  <a:pt x="21" y="149"/>
                </a:cubicBezTo>
                <a:cubicBezTo>
                  <a:pt x="101" y="149"/>
                  <a:pt x="101" y="149"/>
                  <a:pt x="101" y="149"/>
                </a:cubicBezTo>
                <a:cubicBezTo>
                  <a:pt x="115" y="149"/>
                  <a:pt x="115" y="149"/>
                  <a:pt x="115" y="149"/>
                </a:cubicBezTo>
                <a:cubicBezTo>
                  <a:pt x="116" y="149"/>
                  <a:pt x="117" y="151"/>
                  <a:pt x="117" y="152"/>
                </a:cubicBezTo>
                <a:cubicBezTo>
                  <a:pt x="117" y="153"/>
                  <a:pt x="116" y="155"/>
                  <a:pt x="115" y="155"/>
                </a:cubicBezTo>
                <a:close/>
                <a:moveTo>
                  <a:pt x="35" y="136"/>
                </a:moveTo>
                <a:cubicBezTo>
                  <a:pt x="36" y="136"/>
                  <a:pt x="37" y="137"/>
                  <a:pt x="37" y="139"/>
                </a:cubicBezTo>
                <a:cubicBezTo>
                  <a:pt x="37" y="140"/>
                  <a:pt x="36" y="141"/>
                  <a:pt x="35" y="141"/>
                </a:cubicBezTo>
                <a:cubicBezTo>
                  <a:pt x="33" y="141"/>
                  <a:pt x="32" y="140"/>
                  <a:pt x="32" y="139"/>
                </a:cubicBezTo>
                <a:cubicBezTo>
                  <a:pt x="32" y="137"/>
                  <a:pt x="33" y="136"/>
                  <a:pt x="35" y="136"/>
                </a:cubicBezTo>
                <a:close/>
                <a:moveTo>
                  <a:pt x="45" y="136"/>
                </a:moveTo>
                <a:cubicBezTo>
                  <a:pt x="47" y="136"/>
                  <a:pt x="48" y="137"/>
                  <a:pt x="48" y="139"/>
                </a:cubicBezTo>
                <a:cubicBezTo>
                  <a:pt x="48" y="140"/>
                  <a:pt x="47" y="141"/>
                  <a:pt x="45" y="141"/>
                </a:cubicBezTo>
                <a:cubicBezTo>
                  <a:pt x="44" y="141"/>
                  <a:pt x="43" y="140"/>
                  <a:pt x="43" y="139"/>
                </a:cubicBezTo>
                <a:cubicBezTo>
                  <a:pt x="43" y="137"/>
                  <a:pt x="44" y="136"/>
                  <a:pt x="45" y="136"/>
                </a:cubicBezTo>
                <a:close/>
                <a:moveTo>
                  <a:pt x="56" y="136"/>
                </a:moveTo>
                <a:cubicBezTo>
                  <a:pt x="57" y="136"/>
                  <a:pt x="59" y="137"/>
                  <a:pt x="59" y="139"/>
                </a:cubicBezTo>
                <a:cubicBezTo>
                  <a:pt x="59" y="140"/>
                  <a:pt x="57" y="141"/>
                  <a:pt x="56" y="141"/>
                </a:cubicBezTo>
                <a:cubicBezTo>
                  <a:pt x="55" y="141"/>
                  <a:pt x="53" y="140"/>
                  <a:pt x="53" y="139"/>
                </a:cubicBezTo>
                <a:cubicBezTo>
                  <a:pt x="53" y="137"/>
                  <a:pt x="55" y="136"/>
                  <a:pt x="56" y="136"/>
                </a:cubicBezTo>
                <a:close/>
                <a:moveTo>
                  <a:pt x="67" y="136"/>
                </a:moveTo>
                <a:cubicBezTo>
                  <a:pt x="68" y="136"/>
                  <a:pt x="69" y="137"/>
                  <a:pt x="69" y="139"/>
                </a:cubicBezTo>
                <a:cubicBezTo>
                  <a:pt x="69" y="140"/>
                  <a:pt x="68" y="141"/>
                  <a:pt x="67" y="141"/>
                </a:cubicBezTo>
                <a:cubicBezTo>
                  <a:pt x="65" y="141"/>
                  <a:pt x="64" y="140"/>
                  <a:pt x="64" y="139"/>
                </a:cubicBezTo>
                <a:cubicBezTo>
                  <a:pt x="64" y="137"/>
                  <a:pt x="65" y="136"/>
                  <a:pt x="67" y="136"/>
                </a:cubicBezTo>
                <a:close/>
                <a:moveTo>
                  <a:pt x="77" y="136"/>
                </a:moveTo>
                <a:cubicBezTo>
                  <a:pt x="79" y="136"/>
                  <a:pt x="80" y="137"/>
                  <a:pt x="80" y="139"/>
                </a:cubicBezTo>
                <a:cubicBezTo>
                  <a:pt x="80" y="140"/>
                  <a:pt x="79" y="141"/>
                  <a:pt x="77" y="141"/>
                </a:cubicBezTo>
                <a:cubicBezTo>
                  <a:pt x="76" y="141"/>
                  <a:pt x="75" y="140"/>
                  <a:pt x="75" y="139"/>
                </a:cubicBezTo>
                <a:cubicBezTo>
                  <a:pt x="75" y="137"/>
                  <a:pt x="76" y="136"/>
                  <a:pt x="77" y="136"/>
                </a:cubicBezTo>
                <a:close/>
                <a:moveTo>
                  <a:pt x="88" y="136"/>
                </a:moveTo>
                <a:cubicBezTo>
                  <a:pt x="89" y="136"/>
                  <a:pt x="91" y="137"/>
                  <a:pt x="91" y="139"/>
                </a:cubicBezTo>
                <a:cubicBezTo>
                  <a:pt x="91" y="140"/>
                  <a:pt x="89" y="141"/>
                  <a:pt x="88" y="141"/>
                </a:cubicBezTo>
                <a:cubicBezTo>
                  <a:pt x="87" y="141"/>
                  <a:pt x="85" y="140"/>
                  <a:pt x="85" y="139"/>
                </a:cubicBezTo>
                <a:cubicBezTo>
                  <a:pt x="85" y="137"/>
                  <a:pt x="87" y="136"/>
                  <a:pt x="88" y="136"/>
                </a:cubicBezTo>
                <a:close/>
                <a:moveTo>
                  <a:pt x="40" y="131"/>
                </a:moveTo>
                <a:cubicBezTo>
                  <a:pt x="41" y="131"/>
                  <a:pt x="43" y="132"/>
                  <a:pt x="43" y="133"/>
                </a:cubicBezTo>
                <a:cubicBezTo>
                  <a:pt x="43" y="135"/>
                  <a:pt x="41" y="136"/>
                  <a:pt x="40" y="136"/>
                </a:cubicBezTo>
                <a:cubicBezTo>
                  <a:pt x="39" y="136"/>
                  <a:pt x="37" y="135"/>
                  <a:pt x="37" y="133"/>
                </a:cubicBezTo>
                <a:cubicBezTo>
                  <a:pt x="37" y="132"/>
                  <a:pt x="39" y="131"/>
                  <a:pt x="40" y="131"/>
                </a:cubicBezTo>
                <a:close/>
                <a:moveTo>
                  <a:pt x="51" y="131"/>
                </a:moveTo>
                <a:cubicBezTo>
                  <a:pt x="52" y="131"/>
                  <a:pt x="53" y="132"/>
                  <a:pt x="53" y="133"/>
                </a:cubicBezTo>
                <a:cubicBezTo>
                  <a:pt x="53" y="135"/>
                  <a:pt x="52" y="136"/>
                  <a:pt x="51" y="136"/>
                </a:cubicBezTo>
                <a:cubicBezTo>
                  <a:pt x="49" y="136"/>
                  <a:pt x="48" y="135"/>
                  <a:pt x="48" y="133"/>
                </a:cubicBezTo>
                <a:cubicBezTo>
                  <a:pt x="48" y="132"/>
                  <a:pt x="49" y="131"/>
                  <a:pt x="51" y="131"/>
                </a:cubicBezTo>
                <a:close/>
                <a:moveTo>
                  <a:pt x="61" y="85"/>
                </a:moveTo>
                <a:cubicBezTo>
                  <a:pt x="63" y="85"/>
                  <a:pt x="64" y="87"/>
                  <a:pt x="64" y="88"/>
                </a:cubicBezTo>
                <a:cubicBezTo>
                  <a:pt x="64" y="89"/>
                  <a:pt x="63" y="91"/>
                  <a:pt x="61" y="91"/>
                </a:cubicBezTo>
                <a:cubicBezTo>
                  <a:pt x="60" y="91"/>
                  <a:pt x="59" y="89"/>
                  <a:pt x="59" y="88"/>
                </a:cubicBezTo>
                <a:cubicBezTo>
                  <a:pt x="59" y="87"/>
                  <a:pt x="60" y="85"/>
                  <a:pt x="61" y="85"/>
                </a:cubicBezTo>
                <a:close/>
                <a:moveTo>
                  <a:pt x="45" y="56"/>
                </a:moveTo>
                <a:cubicBezTo>
                  <a:pt x="47" y="56"/>
                  <a:pt x="48" y="57"/>
                  <a:pt x="48" y="59"/>
                </a:cubicBezTo>
                <a:cubicBezTo>
                  <a:pt x="48" y="60"/>
                  <a:pt x="47" y="61"/>
                  <a:pt x="45" y="61"/>
                </a:cubicBezTo>
                <a:cubicBezTo>
                  <a:pt x="44" y="61"/>
                  <a:pt x="43" y="60"/>
                  <a:pt x="43" y="59"/>
                </a:cubicBezTo>
                <a:cubicBezTo>
                  <a:pt x="43" y="57"/>
                  <a:pt x="44" y="56"/>
                  <a:pt x="45" y="56"/>
                </a:cubicBezTo>
                <a:close/>
                <a:moveTo>
                  <a:pt x="56" y="56"/>
                </a:moveTo>
                <a:cubicBezTo>
                  <a:pt x="57" y="56"/>
                  <a:pt x="59" y="57"/>
                  <a:pt x="59" y="59"/>
                </a:cubicBezTo>
                <a:cubicBezTo>
                  <a:pt x="59" y="60"/>
                  <a:pt x="57" y="61"/>
                  <a:pt x="56" y="61"/>
                </a:cubicBezTo>
                <a:cubicBezTo>
                  <a:pt x="55" y="61"/>
                  <a:pt x="53" y="60"/>
                  <a:pt x="53" y="59"/>
                </a:cubicBezTo>
                <a:cubicBezTo>
                  <a:pt x="53" y="57"/>
                  <a:pt x="55" y="56"/>
                  <a:pt x="56" y="56"/>
                </a:cubicBezTo>
                <a:close/>
                <a:moveTo>
                  <a:pt x="67" y="56"/>
                </a:moveTo>
                <a:cubicBezTo>
                  <a:pt x="68" y="56"/>
                  <a:pt x="69" y="57"/>
                  <a:pt x="69" y="59"/>
                </a:cubicBezTo>
                <a:cubicBezTo>
                  <a:pt x="69" y="60"/>
                  <a:pt x="68" y="61"/>
                  <a:pt x="67" y="61"/>
                </a:cubicBezTo>
                <a:cubicBezTo>
                  <a:pt x="65" y="61"/>
                  <a:pt x="64" y="60"/>
                  <a:pt x="64" y="59"/>
                </a:cubicBezTo>
                <a:cubicBezTo>
                  <a:pt x="64" y="57"/>
                  <a:pt x="65" y="56"/>
                  <a:pt x="67" y="56"/>
                </a:cubicBezTo>
                <a:close/>
                <a:moveTo>
                  <a:pt x="77" y="56"/>
                </a:moveTo>
                <a:cubicBezTo>
                  <a:pt x="79" y="56"/>
                  <a:pt x="80" y="57"/>
                  <a:pt x="80" y="59"/>
                </a:cubicBezTo>
                <a:cubicBezTo>
                  <a:pt x="80" y="60"/>
                  <a:pt x="79" y="61"/>
                  <a:pt x="77" y="61"/>
                </a:cubicBezTo>
                <a:cubicBezTo>
                  <a:pt x="76" y="61"/>
                  <a:pt x="75" y="60"/>
                  <a:pt x="75" y="59"/>
                </a:cubicBezTo>
                <a:cubicBezTo>
                  <a:pt x="75" y="57"/>
                  <a:pt x="76" y="56"/>
                  <a:pt x="77" y="56"/>
                </a:cubicBezTo>
                <a:close/>
                <a:moveTo>
                  <a:pt x="72" y="51"/>
                </a:moveTo>
                <a:cubicBezTo>
                  <a:pt x="73" y="51"/>
                  <a:pt x="75" y="52"/>
                  <a:pt x="75" y="53"/>
                </a:cubicBezTo>
                <a:cubicBezTo>
                  <a:pt x="75" y="55"/>
                  <a:pt x="73" y="56"/>
                  <a:pt x="72" y="56"/>
                </a:cubicBezTo>
                <a:cubicBezTo>
                  <a:pt x="71" y="56"/>
                  <a:pt x="69" y="55"/>
                  <a:pt x="69" y="53"/>
                </a:cubicBezTo>
                <a:cubicBezTo>
                  <a:pt x="69" y="52"/>
                  <a:pt x="71" y="51"/>
                  <a:pt x="72" y="51"/>
                </a:cubicBezTo>
                <a:close/>
                <a:moveTo>
                  <a:pt x="77" y="45"/>
                </a:moveTo>
                <a:cubicBezTo>
                  <a:pt x="79" y="45"/>
                  <a:pt x="80" y="47"/>
                  <a:pt x="80" y="48"/>
                </a:cubicBezTo>
                <a:cubicBezTo>
                  <a:pt x="80" y="49"/>
                  <a:pt x="79" y="51"/>
                  <a:pt x="77" y="51"/>
                </a:cubicBezTo>
                <a:cubicBezTo>
                  <a:pt x="76" y="51"/>
                  <a:pt x="75" y="49"/>
                  <a:pt x="75" y="48"/>
                </a:cubicBezTo>
                <a:cubicBezTo>
                  <a:pt x="75" y="47"/>
                  <a:pt x="76" y="45"/>
                  <a:pt x="77" y="45"/>
                </a:cubicBezTo>
                <a:close/>
                <a:moveTo>
                  <a:pt x="51" y="51"/>
                </a:moveTo>
                <a:cubicBezTo>
                  <a:pt x="52" y="51"/>
                  <a:pt x="53" y="52"/>
                  <a:pt x="53" y="53"/>
                </a:cubicBezTo>
                <a:cubicBezTo>
                  <a:pt x="53" y="55"/>
                  <a:pt x="52" y="56"/>
                  <a:pt x="51" y="56"/>
                </a:cubicBezTo>
                <a:cubicBezTo>
                  <a:pt x="49" y="56"/>
                  <a:pt x="48" y="55"/>
                  <a:pt x="48" y="53"/>
                </a:cubicBezTo>
                <a:cubicBezTo>
                  <a:pt x="48" y="52"/>
                  <a:pt x="49" y="51"/>
                  <a:pt x="51" y="51"/>
                </a:cubicBezTo>
                <a:close/>
                <a:moveTo>
                  <a:pt x="61" y="51"/>
                </a:moveTo>
                <a:cubicBezTo>
                  <a:pt x="63" y="51"/>
                  <a:pt x="64" y="52"/>
                  <a:pt x="64" y="53"/>
                </a:cubicBezTo>
                <a:cubicBezTo>
                  <a:pt x="64" y="55"/>
                  <a:pt x="63" y="56"/>
                  <a:pt x="61" y="56"/>
                </a:cubicBezTo>
                <a:cubicBezTo>
                  <a:pt x="60" y="56"/>
                  <a:pt x="59" y="55"/>
                  <a:pt x="59" y="53"/>
                </a:cubicBezTo>
                <a:cubicBezTo>
                  <a:pt x="59" y="52"/>
                  <a:pt x="60" y="51"/>
                  <a:pt x="61" y="51"/>
                </a:cubicBezTo>
                <a:close/>
                <a:moveTo>
                  <a:pt x="45" y="45"/>
                </a:moveTo>
                <a:cubicBezTo>
                  <a:pt x="47" y="45"/>
                  <a:pt x="48" y="47"/>
                  <a:pt x="48" y="48"/>
                </a:cubicBezTo>
                <a:cubicBezTo>
                  <a:pt x="48" y="49"/>
                  <a:pt x="47" y="51"/>
                  <a:pt x="45" y="51"/>
                </a:cubicBezTo>
                <a:cubicBezTo>
                  <a:pt x="44" y="51"/>
                  <a:pt x="43" y="49"/>
                  <a:pt x="43" y="48"/>
                </a:cubicBezTo>
                <a:cubicBezTo>
                  <a:pt x="43" y="47"/>
                  <a:pt x="44" y="45"/>
                  <a:pt x="45" y="45"/>
                </a:cubicBezTo>
                <a:close/>
                <a:moveTo>
                  <a:pt x="51" y="61"/>
                </a:moveTo>
                <a:cubicBezTo>
                  <a:pt x="52" y="61"/>
                  <a:pt x="53" y="63"/>
                  <a:pt x="53" y="64"/>
                </a:cubicBezTo>
                <a:cubicBezTo>
                  <a:pt x="53" y="65"/>
                  <a:pt x="52" y="67"/>
                  <a:pt x="51" y="67"/>
                </a:cubicBezTo>
                <a:cubicBezTo>
                  <a:pt x="49" y="67"/>
                  <a:pt x="48" y="65"/>
                  <a:pt x="48" y="64"/>
                </a:cubicBezTo>
                <a:cubicBezTo>
                  <a:pt x="48" y="63"/>
                  <a:pt x="49" y="61"/>
                  <a:pt x="51" y="61"/>
                </a:cubicBezTo>
                <a:close/>
                <a:moveTo>
                  <a:pt x="56" y="67"/>
                </a:moveTo>
                <a:cubicBezTo>
                  <a:pt x="57" y="67"/>
                  <a:pt x="59" y="68"/>
                  <a:pt x="59" y="69"/>
                </a:cubicBezTo>
                <a:cubicBezTo>
                  <a:pt x="59" y="71"/>
                  <a:pt x="57" y="72"/>
                  <a:pt x="56" y="72"/>
                </a:cubicBezTo>
                <a:cubicBezTo>
                  <a:pt x="55" y="72"/>
                  <a:pt x="53" y="71"/>
                  <a:pt x="53" y="69"/>
                </a:cubicBezTo>
                <a:cubicBezTo>
                  <a:pt x="53" y="68"/>
                  <a:pt x="55" y="67"/>
                  <a:pt x="56" y="67"/>
                </a:cubicBezTo>
                <a:close/>
                <a:moveTo>
                  <a:pt x="67" y="67"/>
                </a:moveTo>
                <a:cubicBezTo>
                  <a:pt x="68" y="67"/>
                  <a:pt x="69" y="68"/>
                  <a:pt x="69" y="69"/>
                </a:cubicBezTo>
                <a:cubicBezTo>
                  <a:pt x="69" y="71"/>
                  <a:pt x="68" y="72"/>
                  <a:pt x="67" y="72"/>
                </a:cubicBezTo>
                <a:cubicBezTo>
                  <a:pt x="65" y="72"/>
                  <a:pt x="64" y="71"/>
                  <a:pt x="64" y="69"/>
                </a:cubicBezTo>
                <a:cubicBezTo>
                  <a:pt x="64" y="68"/>
                  <a:pt x="65" y="67"/>
                  <a:pt x="67" y="67"/>
                </a:cubicBezTo>
                <a:close/>
                <a:moveTo>
                  <a:pt x="61" y="61"/>
                </a:moveTo>
                <a:cubicBezTo>
                  <a:pt x="63" y="61"/>
                  <a:pt x="64" y="63"/>
                  <a:pt x="64" y="64"/>
                </a:cubicBezTo>
                <a:cubicBezTo>
                  <a:pt x="64" y="65"/>
                  <a:pt x="63" y="67"/>
                  <a:pt x="61" y="67"/>
                </a:cubicBezTo>
                <a:cubicBezTo>
                  <a:pt x="60" y="67"/>
                  <a:pt x="59" y="65"/>
                  <a:pt x="59" y="64"/>
                </a:cubicBezTo>
                <a:cubicBezTo>
                  <a:pt x="59" y="63"/>
                  <a:pt x="60" y="61"/>
                  <a:pt x="61" y="61"/>
                </a:cubicBezTo>
                <a:close/>
                <a:moveTo>
                  <a:pt x="72" y="61"/>
                </a:moveTo>
                <a:cubicBezTo>
                  <a:pt x="73" y="61"/>
                  <a:pt x="75" y="63"/>
                  <a:pt x="75" y="64"/>
                </a:cubicBezTo>
                <a:cubicBezTo>
                  <a:pt x="75" y="65"/>
                  <a:pt x="73" y="67"/>
                  <a:pt x="72" y="67"/>
                </a:cubicBezTo>
                <a:cubicBezTo>
                  <a:pt x="71" y="67"/>
                  <a:pt x="69" y="65"/>
                  <a:pt x="69" y="64"/>
                </a:cubicBezTo>
                <a:cubicBezTo>
                  <a:pt x="69" y="63"/>
                  <a:pt x="71" y="61"/>
                  <a:pt x="72" y="61"/>
                </a:cubicBezTo>
                <a:close/>
                <a:moveTo>
                  <a:pt x="61" y="93"/>
                </a:moveTo>
                <a:cubicBezTo>
                  <a:pt x="63" y="93"/>
                  <a:pt x="64" y="95"/>
                  <a:pt x="64" y="96"/>
                </a:cubicBezTo>
                <a:cubicBezTo>
                  <a:pt x="64" y="97"/>
                  <a:pt x="63" y="99"/>
                  <a:pt x="61" y="99"/>
                </a:cubicBezTo>
                <a:cubicBezTo>
                  <a:pt x="60" y="99"/>
                  <a:pt x="59" y="97"/>
                  <a:pt x="59" y="96"/>
                </a:cubicBezTo>
                <a:cubicBezTo>
                  <a:pt x="59" y="95"/>
                  <a:pt x="60" y="93"/>
                  <a:pt x="61" y="93"/>
                </a:cubicBezTo>
                <a:close/>
                <a:moveTo>
                  <a:pt x="61" y="101"/>
                </a:moveTo>
                <a:cubicBezTo>
                  <a:pt x="63" y="101"/>
                  <a:pt x="64" y="103"/>
                  <a:pt x="64" y="104"/>
                </a:cubicBezTo>
                <a:cubicBezTo>
                  <a:pt x="64" y="105"/>
                  <a:pt x="63" y="107"/>
                  <a:pt x="61" y="107"/>
                </a:cubicBezTo>
                <a:cubicBezTo>
                  <a:pt x="60" y="107"/>
                  <a:pt x="59" y="105"/>
                  <a:pt x="59" y="104"/>
                </a:cubicBezTo>
                <a:cubicBezTo>
                  <a:pt x="59" y="103"/>
                  <a:pt x="60" y="101"/>
                  <a:pt x="61" y="101"/>
                </a:cubicBezTo>
                <a:close/>
                <a:moveTo>
                  <a:pt x="61" y="109"/>
                </a:moveTo>
                <a:cubicBezTo>
                  <a:pt x="63" y="109"/>
                  <a:pt x="64" y="111"/>
                  <a:pt x="64" y="112"/>
                </a:cubicBezTo>
                <a:cubicBezTo>
                  <a:pt x="64" y="113"/>
                  <a:pt x="63" y="115"/>
                  <a:pt x="61" y="115"/>
                </a:cubicBezTo>
                <a:cubicBezTo>
                  <a:pt x="60" y="115"/>
                  <a:pt x="59" y="113"/>
                  <a:pt x="59" y="112"/>
                </a:cubicBezTo>
                <a:cubicBezTo>
                  <a:pt x="59" y="111"/>
                  <a:pt x="60" y="109"/>
                  <a:pt x="61" y="109"/>
                </a:cubicBezTo>
                <a:close/>
                <a:moveTo>
                  <a:pt x="61" y="117"/>
                </a:moveTo>
                <a:cubicBezTo>
                  <a:pt x="63" y="117"/>
                  <a:pt x="64" y="119"/>
                  <a:pt x="64" y="120"/>
                </a:cubicBezTo>
                <a:cubicBezTo>
                  <a:pt x="64" y="121"/>
                  <a:pt x="63" y="123"/>
                  <a:pt x="61" y="123"/>
                </a:cubicBezTo>
                <a:cubicBezTo>
                  <a:pt x="60" y="123"/>
                  <a:pt x="59" y="121"/>
                  <a:pt x="59" y="120"/>
                </a:cubicBezTo>
                <a:cubicBezTo>
                  <a:pt x="59" y="119"/>
                  <a:pt x="60" y="117"/>
                  <a:pt x="61" y="117"/>
                </a:cubicBezTo>
                <a:close/>
                <a:moveTo>
                  <a:pt x="61" y="125"/>
                </a:moveTo>
                <a:cubicBezTo>
                  <a:pt x="63" y="125"/>
                  <a:pt x="64" y="127"/>
                  <a:pt x="64" y="128"/>
                </a:cubicBezTo>
                <a:cubicBezTo>
                  <a:pt x="64" y="129"/>
                  <a:pt x="63" y="131"/>
                  <a:pt x="61" y="131"/>
                </a:cubicBezTo>
                <a:cubicBezTo>
                  <a:pt x="60" y="131"/>
                  <a:pt x="59" y="129"/>
                  <a:pt x="59" y="128"/>
                </a:cubicBezTo>
                <a:cubicBezTo>
                  <a:pt x="59" y="127"/>
                  <a:pt x="60" y="125"/>
                  <a:pt x="61" y="125"/>
                </a:cubicBezTo>
                <a:close/>
                <a:moveTo>
                  <a:pt x="72" y="131"/>
                </a:moveTo>
                <a:cubicBezTo>
                  <a:pt x="73" y="131"/>
                  <a:pt x="75" y="132"/>
                  <a:pt x="75" y="133"/>
                </a:cubicBezTo>
                <a:cubicBezTo>
                  <a:pt x="75" y="135"/>
                  <a:pt x="73" y="136"/>
                  <a:pt x="72" y="136"/>
                </a:cubicBezTo>
                <a:cubicBezTo>
                  <a:pt x="71" y="136"/>
                  <a:pt x="69" y="135"/>
                  <a:pt x="69" y="133"/>
                </a:cubicBezTo>
                <a:cubicBezTo>
                  <a:pt x="69" y="132"/>
                  <a:pt x="71" y="131"/>
                  <a:pt x="72" y="131"/>
                </a:cubicBezTo>
                <a:close/>
                <a:moveTo>
                  <a:pt x="83" y="131"/>
                </a:moveTo>
                <a:cubicBezTo>
                  <a:pt x="84" y="131"/>
                  <a:pt x="85" y="132"/>
                  <a:pt x="85" y="133"/>
                </a:cubicBezTo>
                <a:cubicBezTo>
                  <a:pt x="85" y="135"/>
                  <a:pt x="84" y="136"/>
                  <a:pt x="83" y="136"/>
                </a:cubicBezTo>
                <a:cubicBezTo>
                  <a:pt x="81" y="136"/>
                  <a:pt x="80" y="135"/>
                  <a:pt x="80" y="133"/>
                </a:cubicBezTo>
                <a:cubicBezTo>
                  <a:pt x="80" y="132"/>
                  <a:pt x="81" y="131"/>
                  <a:pt x="83" y="131"/>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2116">
            <a:extLst>
              <a:ext uri="{FF2B5EF4-FFF2-40B4-BE49-F238E27FC236}">
                <a16:creationId xmlns:a16="http://schemas.microsoft.com/office/drawing/2014/main" id="{D210452E-6785-0C48-9E89-96D47B5F026F}"/>
              </a:ext>
            </a:extLst>
          </p:cNvPr>
          <p:cNvSpPr>
            <a:spLocks noEditPoints="1"/>
          </p:cNvSpPr>
          <p:nvPr/>
        </p:nvSpPr>
        <p:spPr bwMode="auto">
          <a:xfrm>
            <a:off x="4432296" y="5319713"/>
            <a:ext cx="546100" cy="536575"/>
          </a:xfrm>
          <a:custGeom>
            <a:avLst/>
            <a:gdLst>
              <a:gd name="T0" fmla="*/ 75 w 160"/>
              <a:gd name="T1" fmla="*/ 68 h 156"/>
              <a:gd name="T2" fmla="*/ 43 w 160"/>
              <a:gd name="T3" fmla="*/ 89 h 156"/>
              <a:gd name="T4" fmla="*/ 69 w 160"/>
              <a:gd name="T5" fmla="*/ 89 h 156"/>
              <a:gd name="T6" fmla="*/ 69 w 160"/>
              <a:gd name="T7" fmla="*/ 76 h 156"/>
              <a:gd name="T8" fmla="*/ 69 w 160"/>
              <a:gd name="T9" fmla="*/ 73 h 156"/>
              <a:gd name="T10" fmla="*/ 75 w 160"/>
              <a:gd name="T11" fmla="*/ 137 h 156"/>
              <a:gd name="T12" fmla="*/ 53 w 160"/>
              <a:gd name="T13" fmla="*/ 110 h 156"/>
              <a:gd name="T14" fmla="*/ 43 w 160"/>
              <a:gd name="T15" fmla="*/ 110 h 156"/>
              <a:gd name="T16" fmla="*/ 53 w 160"/>
              <a:gd name="T17" fmla="*/ 124 h 156"/>
              <a:gd name="T18" fmla="*/ 43 w 160"/>
              <a:gd name="T19" fmla="*/ 124 h 156"/>
              <a:gd name="T20" fmla="*/ 69 w 160"/>
              <a:gd name="T21" fmla="*/ 124 h 156"/>
              <a:gd name="T22" fmla="*/ 69 w 160"/>
              <a:gd name="T23" fmla="*/ 118 h 156"/>
              <a:gd name="T24" fmla="*/ 69 w 160"/>
              <a:gd name="T25" fmla="*/ 110 h 156"/>
              <a:gd name="T26" fmla="*/ 123 w 160"/>
              <a:gd name="T27" fmla="*/ 94 h 156"/>
              <a:gd name="T28" fmla="*/ 85 w 160"/>
              <a:gd name="T29" fmla="*/ 94 h 156"/>
              <a:gd name="T30" fmla="*/ 117 w 160"/>
              <a:gd name="T31" fmla="*/ 86 h 156"/>
              <a:gd name="T32" fmla="*/ 117 w 160"/>
              <a:gd name="T33" fmla="*/ 73 h 156"/>
              <a:gd name="T34" fmla="*/ 91 w 160"/>
              <a:gd name="T35" fmla="*/ 73 h 156"/>
              <a:gd name="T36" fmla="*/ 155 w 160"/>
              <a:gd name="T37" fmla="*/ 129 h 156"/>
              <a:gd name="T38" fmla="*/ 152 w 160"/>
              <a:gd name="T39" fmla="*/ 129 h 156"/>
              <a:gd name="T40" fmla="*/ 147 w 160"/>
              <a:gd name="T41" fmla="*/ 132 h 156"/>
              <a:gd name="T42" fmla="*/ 148 w 160"/>
              <a:gd name="T43" fmla="*/ 79 h 156"/>
              <a:gd name="T44" fmla="*/ 155 w 160"/>
              <a:gd name="T45" fmla="*/ 60 h 156"/>
              <a:gd name="T46" fmla="*/ 73 w 160"/>
              <a:gd name="T47" fmla="*/ 7 h 156"/>
              <a:gd name="T48" fmla="*/ 4 w 160"/>
              <a:gd name="T49" fmla="*/ 75 h 156"/>
              <a:gd name="T50" fmla="*/ 13 w 160"/>
              <a:gd name="T51" fmla="*/ 132 h 156"/>
              <a:gd name="T52" fmla="*/ 8 w 160"/>
              <a:gd name="T53" fmla="*/ 129 h 156"/>
              <a:gd name="T54" fmla="*/ 5 w 160"/>
              <a:gd name="T55" fmla="*/ 129 h 156"/>
              <a:gd name="T56" fmla="*/ 0 w 160"/>
              <a:gd name="T57" fmla="*/ 153 h 156"/>
              <a:gd name="T58" fmla="*/ 5 w 160"/>
              <a:gd name="T59" fmla="*/ 150 h 156"/>
              <a:gd name="T60" fmla="*/ 11 w 160"/>
              <a:gd name="T61" fmla="*/ 156 h 156"/>
              <a:gd name="T62" fmla="*/ 16 w 160"/>
              <a:gd name="T63" fmla="*/ 150 h 156"/>
              <a:gd name="T64" fmla="*/ 123 w 160"/>
              <a:gd name="T65" fmla="*/ 156 h 156"/>
              <a:gd name="T66" fmla="*/ 147 w 160"/>
              <a:gd name="T67" fmla="*/ 150 h 156"/>
              <a:gd name="T68" fmla="*/ 152 w 160"/>
              <a:gd name="T69" fmla="*/ 153 h 156"/>
              <a:gd name="T70" fmla="*/ 155 w 160"/>
              <a:gd name="T71" fmla="*/ 153 h 156"/>
              <a:gd name="T72" fmla="*/ 160 w 160"/>
              <a:gd name="T73" fmla="*/ 129 h 156"/>
              <a:gd name="T74" fmla="*/ 6 w 160"/>
              <a:gd name="T75" fmla="*/ 68 h 156"/>
              <a:gd name="T76" fmla="*/ 80 w 160"/>
              <a:gd name="T77" fmla="*/ 7 h 156"/>
              <a:gd name="T78" fmla="*/ 154 w 160"/>
              <a:gd name="T79" fmla="*/ 68 h 156"/>
              <a:gd name="T80" fmla="*/ 144 w 160"/>
              <a:gd name="T81" fmla="*/ 71 h 156"/>
              <a:gd name="T82" fmla="*/ 17 w 160"/>
              <a:gd name="T83" fmla="*/ 71 h 156"/>
              <a:gd name="T84" fmla="*/ 8 w 160"/>
              <a:gd name="T85" fmla="*/ 72 h 156"/>
              <a:gd name="T86" fmla="*/ 8 w 160"/>
              <a:gd name="T87" fmla="*/ 137 h 156"/>
              <a:gd name="T88" fmla="*/ 13 w 160"/>
              <a:gd name="T89" fmla="*/ 145 h 156"/>
              <a:gd name="T90" fmla="*/ 16 w 160"/>
              <a:gd name="T91" fmla="*/ 145 h 156"/>
              <a:gd name="T92" fmla="*/ 91 w 160"/>
              <a:gd name="T93" fmla="*/ 110 h 156"/>
              <a:gd name="T94" fmla="*/ 91 w 160"/>
              <a:gd name="T95" fmla="*/ 150 h 156"/>
              <a:gd name="T96" fmla="*/ 123 w 160"/>
              <a:gd name="T97" fmla="*/ 105 h 156"/>
              <a:gd name="T98" fmla="*/ 21 w 160"/>
              <a:gd name="T99" fmla="*/ 150 h 156"/>
              <a:gd name="T100" fmla="*/ 139 w 160"/>
              <a:gd name="T101" fmla="*/ 74 h 156"/>
              <a:gd name="T102" fmla="*/ 144 w 160"/>
              <a:gd name="T103" fmla="*/ 137 h 156"/>
              <a:gd name="T104" fmla="*/ 144 w 160"/>
              <a:gd name="T105" fmla="*/ 145 h 156"/>
              <a:gd name="T106" fmla="*/ 155 w 160"/>
              <a:gd name="T107" fmla="*/ 13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56">
                <a:moveTo>
                  <a:pt x="37" y="94"/>
                </a:moveTo>
                <a:cubicBezTo>
                  <a:pt x="75" y="94"/>
                  <a:pt x="75" y="94"/>
                  <a:pt x="75" y="94"/>
                </a:cubicBezTo>
                <a:cubicBezTo>
                  <a:pt x="75" y="68"/>
                  <a:pt x="75" y="68"/>
                  <a:pt x="75" y="68"/>
                </a:cubicBezTo>
                <a:cubicBezTo>
                  <a:pt x="37" y="68"/>
                  <a:pt x="37" y="68"/>
                  <a:pt x="37" y="68"/>
                </a:cubicBezTo>
                <a:lnTo>
                  <a:pt x="37" y="94"/>
                </a:lnTo>
                <a:close/>
                <a:moveTo>
                  <a:pt x="43" y="89"/>
                </a:moveTo>
                <a:cubicBezTo>
                  <a:pt x="43" y="81"/>
                  <a:pt x="43" y="81"/>
                  <a:pt x="43" y="81"/>
                </a:cubicBezTo>
                <a:cubicBezTo>
                  <a:pt x="69" y="81"/>
                  <a:pt x="69" y="81"/>
                  <a:pt x="69" y="81"/>
                </a:cubicBezTo>
                <a:cubicBezTo>
                  <a:pt x="69" y="89"/>
                  <a:pt x="69" y="89"/>
                  <a:pt x="69" y="89"/>
                </a:cubicBezTo>
                <a:lnTo>
                  <a:pt x="43" y="89"/>
                </a:lnTo>
                <a:close/>
                <a:moveTo>
                  <a:pt x="69" y="73"/>
                </a:moveTo>
                <a:cubicBezTo>
                  <a:pt x="69" y="76"/>
                  <a:pt x="69" y="76"/>
                  <a:pt x="69" y="76"/>
                </a:cubicBezTo>
                <a:cubicBezTo>
                  <a:pt x="43" y="76"/>
                  <a:pt x="43" y="76"/>
                  <a:pt x="43" y="76"/>
                </a:cubicBezTo>
                <a:cubicBezTo>
                  <a:pt x="43" y="73"/>
                  <a:pt x="43" y="73"/>
                  <a:pt x="43" y="73"/>
                </a:cubicBezTo>
                <a:lnTo>
                  <a:pt x="69" y="73"/>
                </a:lnTo>
                <a:close/>
                <a:moveTo>
                  <a:pt x="37" y="105"/>
                </a:moveTo>
                <a:cubicBezTo>
                  <a:pt x="37" y="137"/>
                  <a:pt x="37" y="137"/>
                  <a:pt x="37" y="137"/>
                </a:cubicBezTo>
                <a:cubicBezTo>
                  <a:pt x="75" y="137"/>
                  <a:pt x="75" y="137"/>
                  <a:pt x="75" y="137"/>
                </a:cubicBezTo>
                <a:cubicBezTo>
                  <a:pt x="75" y="105"/>
                  <a:pt x="75" y="105"/>
                  <a:pt x="75" y="105"/>
                </a:cubicBezTo>
                <a:lnTo>
                  <a:pt x="37" y="105"/>
                </a:lnTo>
                <a:close/>
                <a:moveTo>
                  <a:pt x="53" y="110"/>
                </a:moveTo>
                <a:cubicBezTo>
                  <a:pt x="53" y="118"/>
                  <a:pt x="53" y="118"/>
                  <a:pt x="53" y="118"/>
                </a:cubicBezTo>
                <a:cubicBezTo>
                  <a:pt x="43" y="118"/>
                  <a:pt x="43" y="118"/>
                  <a:pt x="43" y="118"/>
                </a:cubicBezTo>
                <a:cubicBezTo>
                  <a:pt x="43" y="110"/>
                  <a:pt x="43" y="110"/>
                  <a:pt x="43" y="110"/>
                </a:cubicBezTo>
                <a:lnTo>
                  <a:pt x="53" y="110"/>
                </a:lnTo>
                <a:close/>
                <a:moveTo>
                  <a:pt x="43" y="124"/>
                </a:moveTo>
                <a:cubicBezTo>
                  <a:pt x="53" y="124"/>
                  <a:pt x="53" y="124"/>
                  <a:pt x="53" y="124"/>
                </a:cubicBezTo>
                <a:cubicBezTo>
                  <a:pt x="53" y="132"/>
                  <a:pt x="53" y="132"/>
                  <a:pt x="53" y="132"/>
                </a:cubicBezTo>
                <a:cubicBezTo>
                  <a:pt x="43" y="132"/>
                  <a:pt x="43" y="132"/>
                  <a:pt x="43" y="132"/>
                </a:cubicBezTo>
                <a:lnTo>
                  <a:pt x="43" y="124"/>
                </a:lnTo>
                <a:close/>
                <a:moveTo>
                  <a:pt x="59" y="132"/>
                </a:moveTo>
                <a:cubicBezTo>
                  <a:pt x="59" y="124"/>
                  <a:pt x="59" y="124"/>
                  <a:pt x="59" y="124"/>
                </a:cubicBezTo>
                <a:cubicBezTo>
                  <a:pt x="69" y="124"/>
                  <a:pt x="69" y="124"/>
                  <a:pt x="69" y="124"/>
                </a:cubicBezTo>
                <a:cubicBezTo>
                  <a:pt x="69" y="132"/>
                  <a:pt x="69" y="132"/>
                  <a:pt x="69" y="132"/>
                </a:cubicBezTo>
                <a:lnTo>
                  <a:pt x="59" y="132"/>
                </a:lnTo>
                <a:close/>
                <a:moveTo>
                  <a:pt x="69" y="118"/>
                </a:moveTo>
                <a:cubicBezTo>
                  <a:pt x="59" y="118"/>
                  <a:pt x="59" y="118"/>
                  <a:pt x="59" y="118"/>
                </a:cubicBezTo>
                <a:cubicBezTo>
                  <a:pt x="59" y="110"/>
                  <a:pt x="59" y="110"/>
                  <a:pt x="59" y="110"/>
                </a:cubicBezTo>
                <a:cubicBezTo>
                  <a:pt x="69" y="110"/>
                  <a:pt x="69" y="110"/>
                  <a:pt x="69" y="110"/>
                </a:cubicBezTo>
                <a:lnTo>
                  <a:pt x="69" y="118"/>
                </a:lnTo>
                <a:close/>
                <a:moveTo>
                  <a:pt x="85" y="94"/>
                </a:moveTo>
                <a:cubicBezTo>
                  <a:pt x="123" y="94"/>
                  <a:pt x="123" y="94"/>
                  <a:pt x="123" y="94"/>
                </a:cubicBezTo>
                <a:cubicBezTo>
                  <a:pt x="123" y="68"/>
                  <a:pt x="123" y="68"/>
                  <a:pt x="123" y="68"/>
                </a:cubicBezTo>
                <a:cubicBezTo>
                  <a:pt x="85" y="68"/>
                  <a:pt x="85" y="68"/>
                  <a:pt x="85" y="68"/>
                </a:cubicBezTo>
                <a:lnTo>
                  <a:pt x="85" y="94"/>
                </a:lnTo>
                <a:close/>
                <a:moveTo>
                  <a:pt x="91" y="89"/>
                </a:moveTo>
                <a:cubicBezTo>
                  <a:pt x="91" y="86"/>
                  <a:pt x="91" y="86"/>
                  <a:pt x="91" y="86"/>
                </a:cubicBezTo>
                <a:cubicBezTo>
                  <a:pt x="117" y="86"/>
                  <a:pt x="117" y="86"/>
                  <a:pt x="117" y="86"/>
                </a:cubicBezTo>
                <a:cubicBezTo>
                  <a:pt x="117" y="89"/>
                  <a:pt x="117" y="89"/>
                  <a:pt x="117" y="89"/>
                </a:cubicBezTo>
                <a:lnTo>
                  <a:pt x="91" y="89"/>
                </a:lnTo>
                <a:close/>
                <a:moveTo>
                  <a:pt x="117" y="73"/>
                </a:moveTo>
                <a:cubicBezTo>
                  <a:pt x="117" y="81"/>
                  <a:pt x="117" y="81"/>
                  <a:pt x="117" y="81"/>
                </a:cubicBezTo>
                <a:cubicBezTo>
                  <a:pt x="91" y="81"/>
                  <a:pt x="91" y="81"/>
                  <a:pt x="91" y="81"/>
                </a:cubicBezTo>
                <a:cubicBezTo>
                  <a:pt x="91" y="73"/>
                  <a:pt x="91" y="73"/>
                  <a:pt x="91" y="73"/>
                </a:cubicBezTo>
                <a:lnTo>
                  <a:pt x="117" y="73"/>
                </a:lnTo>
                <a:close/>
                <a:moveTo>
                  <a:pt x="157" y="126"/>
                </a:moveTo>
                <a:cubicBezTo>
                  <a:pt x="156" y="126"/>
                  <a:pt x="155" y="128"/>
                  <a:pt x="155" y="129"/>
                </a:cubicBezTo>
                <a:cubicBezTo>
                  <a:pt x="155" y="132"/>
                  <a:pt x="155" y="132"/>
                  <a:pt x="155" y="132"/>
                </a:cubicBezTo>
                <a:cubicBezTo>
                  <a:pt x="152" y="132"/>
                  <a:pt x="152" y="132"/>
                  <a:pt x="152" y="132"/>
                </a:cubicBezTo>
                <a:cubicBezTo>
                  <a:pt x="152" y="129"/>
                  <a:pt x="152" y="129"/>
                  <a:pt x="152" y="129"/>
                </a:cubicBezTo>
                <a:cubicBezTo>
                  <a:pt x="152" y="128"/>
                  <a:pt x="151" y="126"/>
                  <a:pt x="149" y="126"/>
                </a:cubicBezTo>
                <a:cubicBezTo>
                  <a:pt x="148" y="126"/>
                  <a:pt x="147" y="128"/>
                  <a:pt x="147" y="129"/>
                </a:cubicBezTo>
                <a:cubicBezTo>
                  <a:pt x="147" y="132"/>
                  <a:pt x="147" y="132"/>
                  <a:pt x="147" y="132"/>
                </a:cubicBezTo>
                <a:cubicBezTo>
                  <a:pt x="144" y="132"/>
                  <a:pt x="144" y="132"/>
                  <a:pt x="144" y="132"/>
                </a:cubicBezTo>
                <a:cubicBezTo>
                  <a:pt x="144" y="78"/>
                  <a:pt x="144" y="78"/>
                  <a:pt x="144" y="78"/>
                </a:cubicBezTo>
                <a:cubicBezTo>
                  <a:pt x="145" y="78"/>
                  <a:pt x="147" y="79"/>
                  <a:pt x="148" y="79"/>
                </a:cubicBezTo>
                <a:cubicBezTo>
                  <a:pt x="151" y="79"/>
                  <a:pt x="154" y="78"/>
                  <a:pt x="156" y="75"/>
                </a:cubicBezTo>
                <a:cubicBezTo>
                  <a:pt x="158" y="73"/>
                  <a:pt x="159" y="70"/>
                  <a:pt x="159" y="67"/>
                </a:cubicBezTo>
                <a:cubicBezTo>
                  <a:pt x="159" y="64"/>
                  <a:pt x="157" y="61"/>
                  <a:pt x="155" y="60"/>
                </a:cubicBezTo>
                <a:cubicBezTo>
                  <a:pt x="87" y="7"/>
                  <a:pt x="87" y="7"/>
                  <a:pt x="87" y="7"/>
                </a:cubicBezTo>
                <a:cubicBezTo>
                  <a:pt x="80" y="0"/>
                  <a:pt x="80" y="0"/>
                  <a:pt x="80" y="0"/>
                </a:cubicBezTo>
                <a:cubicBezTo>
                  <a:pt x="73" y="7"/>
                  <a:pt x="73" y="7"/>
                  <a:pt x="73" y="7"/>
                </a:cubicBezTo>
                <a:cubicBezTo>
                  <a:pt x="5" y="60"/>
                  <a:pt x="5" y="60"/>
                  <a:pt x="5" y="60"/>
                </a:cubicBezTo>
                <a:cubicBezTo>
                  <a:pt x="3" y="61"/>
                  <a:pt x="1" y="64"/>
                  <a:pt x="1" y="67"/>
                </a:cubicBezTo>
                <a:cubicBezTo>
                  <a:pt x="1" y="70"/>
                  <a:pt x="2" y="73"/>
                  <a:pt x="4" y="75"/>
                </a:cubicBezTo>
                <a:cubicBezTo>
                  <a:pt x="7" y="79"/>
                  <a:pt x="12" y="80"/>
                  <a:pt x="16" y="78"/>
                </a:cubicBezTo>
                <a:cubicBezTo>
                  <a:pt x="16" y="132"/>
                  <a:pt x="16" y="132"/>
                  <a:pt x="16" y="132"/>
                </a:cubicBezTo>
                <a:cubicBezTo>
                  <a:pt x="13" y="132"/>
                  <a:pt x="13" y="132"/>
                  <a:pt x="13" y="132"/>
                </a:cubicBezTo>
                <a:cubicBezTo>
                  <a:pt x="13" y="129"/>
                  <a:pt x="13" y="129"/>
                  <a:pt x="13" y="129"/>
                </a:cubicBezTo>
                <a:cubicBezTo>
                  <a:pt x="13" y="128"/>
                  <a:pt x="12" y="126"/>
                  <a:pt x="11" y="126"/>
                </a:cubicBezTo>
                <a:cubicBezTo>
                  <a:pt x="9" y="126"/>
                  <a:pt x="8" y="128"/>
                  <a:pt x="8" y="129"/>
                </a:cubicBezTo>
                <a:cubicBezTo>
                  <a:pt x="8" y="132"/>
                  <a:pt x="8" y="132"/>
                  <a:pt x="8" y="132"/>
                </a:cubicBezTo>
                <a:cubicBezTo>
                  <a:pt x="5" y="132"/>
                  <a:pt x="5" y="132"/>
                  <a:pt x="5" y="132"/>
                </a:cubicBezTo>
                <a:cubicBezTo>
                  <a:pt x="5" y="129"/>
                  <a:pt x="5" y="129"/>
                  <a:pt x="5" y="129"/>
                </a:cubicBezTo>
                <a:cubicBezTo>
                  <a:pt x="5" y="128"/>
                  <a:pt x="4" y="126"/>
                  <a:pt x="3" y="126"/>
                </a:cubicBezTo>
                <a:cubicBezTo>
                  <a:pt x="1" y="126"/>
                  <a:pt x="0" y="128"/>
                  <a:pt x="0" y="129"/>
                </a:cubicBezTo>
                <a:cubicBezTo>
                  <a:pt x="0" y="153"/>
                  <a:pt x="0" y="153"/>
                  <a:pt x="0" y="153"/>
                </a:cubicBezTo>
                <a:cubicBezTo>
                  <a:pt x="0" y="154"/>
                  <a:pt x="1" y="156"/>
                  <a:pt x="3" y="156"/>
                </a:cubicBezTo>
                <a:cubicBezTo>
                  <a:pt x="4" y="156"/>
                  <a:pt x="5" y="154"/>
                  <a:pt x="5" y="153"/>
                </a:cubicBezTo>
                <a:cubicBezTo>
                  <a:pt x="5" y="150"/>
                  <a:pt x="5" y="150"/>
                  <a:pt x="5" y="150"/>
                </a:cubicBezTo>
                <a:cubicBezTo>
                  <a:pt x="8" y="150"/>
                  <a:pt x="8" y="150"/>
                  <a:pt x="8" y="150"/>
                </a:cubicBezTo>
                <a:cubicBezTo>
                  <a:pt x="8" y="153"/>
                  <a:pt x="8" y="153"/>
                  <a:pt x="8" y="153"/>
                </a:cubicBezTo>
                <a:cubicBezTo>
                  <a:pt x="8" y="154"/>
                  <a:pt x="9" y="156"/>
                  <a:pt x="11" y="156"/>
                </a:cubicBezTo>
                <a:cubicBezTo>
                  <a:pt x="12" y="156"/>
                  <a:pt x="13" y="154"/>
                  <a:pt x="13" y="153"/>
                </a:cubicBezTo>
                <a:cubicBezTo>
                  <a:pt x="13" y="150"/>
                  <a:pt x="13" y="150"/>
                  <a:pt x="13" y="150"/>
                </a:cubicBezTo>
                <a:cubicBezTo>
                  <a:pt x="16" y="150"/>
                  <a:pt x="16" y="150"/>
                  <a:pt x="16" y="150"/>
                </a:cubicBezTo>
                <a:cubicBezTo>
                  <a:pt x="16" y="156"/>
                  <a:pt x="16" y="156"/>
                  <a:pt x="16" y="156"/>
                </a:cubicBezTo>
                <a:cubicBezTo>
                  <a:pt x="85" y="156"/>
                  <a:pt x="85" y="156"/>
                  <a:pt x="85" y="156"/>
                </a:cubicBezTo>
                <a:cubicBezTo>
                  <a:pt x="123" y="156"/>
                  <a:pt x="123" y="156"/>
                  <a:pt x="123" y="156"/>
                </a:cubicBezTo>
                <a:cubicBezTo>
                  <a:pt x="144" y="156"/>
                  <a:pt x="144" y="156"/>
                  <a:pt x="144" y="156"/>
                </a:cubicBezTo>
                <a:cubicBezTo>
                  <a:pt x="144" y="150"/>
                  <a:pt x="144" y="150"/>
                  <a:pt x="144" y="150"/>
                </a:cubicBezTo>
                <a:cubicBezTo>
                  <a:pt x="147" y="150"/>
                  <a:pt x="147" y="150"/>
                  <a:pt x="147" y="150"/>
                </a:cubicBezTo>
                <a:cubicBezTo>
                  <a:pt x="147" y="153"/>
                  <a:pt x="147" y="153"/>
                  <a:pt x="147" y="153"/>
                </a:cubicBezTo>
                <a:cubicBezTo>
                  <a:pt x="147" y="154"/>
                  <a:pt x="148" y="156"/>
                  <a:pt x="149" y="156"/>
                </a:cubicBezTo>
                <a:cubicBezTo>
                  <a:pt x="151" y="156"/>
                  <a:pt x="152" y="154"/>
                  <a:pt x="152" y="153"/>
                </a:cubicBezTo>
                <a:cubicBezTo>
                  <a:pt x="152" y="150"/>
                  <a:pt x="152" y="150"/>
                  <a:pt x="152" y="150"/>
                </a:cubicBezTo>
                <a:cubicBezTo>
                  <a:pt x="155" y="150"/>
                  <a:pt x="155" y="150"/>
                  <a:pt x="155" y="150"/>
                </a:cubicBezTo>
                <a:cubicBezTo>
                  <a:pt x="155" y="153"/>
                  <a:pt x="155" y="153"/>
                  <a:pt x="155" y="153"/>
                </a:cubicBezTo>
                <a:cubicBezTo>
                  <a:pt x="155" y="154"/>
                  <a:pt x="156" y="156"/>
                  <a:pt x="157" y="156"/>
                </a:cubicBezTo>
                <a:cubicBezTo>
                  <a:pt x="159" y="156"/>
                  <a:pt x="160" y="154"/>
                  <a:pt x="160" y="153"/>
                </a:cubicBezTo>
                <a:cubicBezTo>
                  <a:pt x="160" y="129"/>
                  <a:pt x="160" y="129"/>
                  <a:pt x="160" y="129"/>
                </a:cubicBezTo>
                <a:cubicBezTo>
                  <a:pt x="160" y="128"/>
                  <a:pt x="159" y="126"/>
                  <a:pt x="157" y="126"/>
                </a:cubicBezTo>
                <a:close/>
                <a:moveTo>
                  <a:pt x="8" y="72"/>
                </a:moveTo>
                <a:cubicBezTo>
                  <a:pt x="7" y="71"/>
                  <a:pt x="6" y="69"/>
                  <a:pt x="6" y="68"/>
                </a:cubicBezTo>
                <a:cubicBezTo>
                  <a:pt x="6" y="66"/>
                  <a:pt x="7" y="65"/>
                  <a:pt x="8" y="64"/>
                </a:cubicBezTo>
                <a:cubicBezTo>
                  <a:pt x="76" y="11"/>
                  <a:pt x="76" y="11"/>
                  <a:pt x="76" y="11"/>
                </a:cubicBezTo>
                <a:cubicBezTo>
                  <a:pt x="80" y="7"/>
                  <a:pt x="80" y="7"/>
                  <a:pt x="80" y="7"/>
                </a:cubicBezTo>
                <a:cubicBezTo>
                  <a:pt x="84" y="11"/>
                  <a:pt x="84" y="11"/>
                  <a:pt x="84" y="11"/>
                </a:cubicBezTo>
                <a:cubicBezTo>
                  <a:pt x="152" y="64"/>
                  <a:pt x="152" y="64"/>
                  <a:pt x="152" y="64"/>
                </a:cubicBezTo>
                <a:cubicBezTo>
                  <a:pt x="153" y="65"/>
                  <a:pt x="154" y="66"/>
                  <a:pt x="154" y="68"/>
                </a:cubicBezTo>
                <a:cubicBezTo>
                  <a:pt x="154" y="69"/>
                  <a:pt x="153" y="71"/>
                  <a:pt x="152" y="72"/>
                </a:cubicBezTo>
                <a:cubicBezTo>
                  <a:pt x="150" y="74"/>
                  <a:pt x="147" y="74"/>
                  <a:pt x="145" y="72"/>
                </a:cubicBezTo>
                <a:cubicBezTo>
                  <a:pt x="144" y="71"/>
                  <a:pt x="144" y="71"/>
                  <a:pt x="144" y="71"/>
                </a:cubicBezTo>
                <a:cubicBezTo>
                  <a:pt x="144" y="71"/>
                  <a:pt x="144" y="71"/>
                  <a:pt x="144" y="71"/>
                </a:cubicBezTo>
                <a:cubicBezTo>
                  <a:pt x="80" y="22"/>
                  <a:pt x="80" y="22"/>
                  <a:pt x="80" y="22"/>
                </a:cubicBezTo>
                <a:cubicBezTo>
                  <a:pt x="17" y="71"/>
                  <a:pt x="17" y="71"/>
                  <a:pt x="17" y="71"/>
                </a:cubicBezTo>
                <a:cubicBezTo>
                  <a:pt x="17" y="71"/>
                  <a:pt x="17" y="71"/>
                  <a:pt x="17" y="71"/>
                </a:cubicBezTo>
                <a:cubicBezTo>
                  <a:pt x="15" y="72"/>
                  <a:pt x="15" y="72"/>
                  <a:pt x="15" y="72"/>
                </a:cubicBezTo>
                <a:cubicBezTo>
                  <a:pt x="13" y="74"/>
                  <a:pt x="10" y="74"/>
                  <a:pt x="8" y="72"/>
                </a:cubicBezTo>
                <a:close/>
                <a:moveTo>
                  <a:pt x="5" y="145"/>
                </a:moveTo>
                <a:cubicBezTo>
                  <a:pt x="5" y="137"/>
                  <a:pt x="5" y="137"/>
                  <a:pt x="5" y="137"/>
                </a:cubicBezTo>
                <a:cubicBezTo>
                  <a:pt x="8" y="137"/>
                  <a:pt x="8" y="137"/>
                  <a:pt x="8" y="137"/>
                </a:cubicBezTo>
                <a:cubicBezTo>
                  <a:pt x="8" y="145"/>
                  <a:pt x="8" y="145"/>
                  <a:pt x="8" y="145"/>
                </a:cubicBezTo>
                <a:lnTo>
                  <a:pt x="5" y="145"/>
                </a:lnTo>
                <a:close/>
                <a:moveTo>
                  <a:pt x="13" y="145"/>
                </a:moveTo>
                <a:cubicBezTo>
                  <a:pt x="13" y="137"/>
                  <a:pt x="13" y="137"/>
                  <a:pt x="13" y="137"/>
                </a:cubicBezTo>
                <a:cubicBezTo>
                  <a:pt x="16" y="137"/>
                  <a:pt x="16" y="137"/>
                  <a:pt x="16" y="137"/>
                </a:cubicBezTo>
                <a:cubicBezTo>
                  <a:pt x="16" y="145"/>
                  <a:pt x="16" y="145"/>
                  <a:pt x="16" y="145"/>
                </a:cubicBezTo>
                <a:lnTo>
                  <a:pt x="13" y="145"/>
                </a:lnTo>
                <a:close/>
                <a:moveTo>
                  <a:pt x="91" y="150"/>
                </a:moveTo>
                <a:cubicBezTo>
                  <a:pt x="91" y="110"/>
                  <a:pt x="91" y="110"/>
                  <a:pt x="91" y="110"/>
                </a:cubicBezTo>
                <a:cubicBezTo>
                  <a:pt x="117" y="110"/>
                  <a:pt x="117" y="110"/>
                  <a:pt x="117" y="110"/>
                </a:cubicBezTo>
                <a:cubicBezTo>
                  <a:pt x="117" y="150"/>
                  <a:pt x="117" y="150"/>
                  <a:pt x="117" y="150"/>
                </a:cubicBezTo>
                <a:lnTo>
                  <a:pt x="91" y="150"/>
                </a:lnTo>
                <a:close/>
                <a:moveTo>
                  <a:pt x="139" y="150"/>
                </a:moveTo>
                <a:cubicBezTo>
                  <a:pt x="123" y="150"/>
                  <a:pt x="123" y="150"/>
                  <a:pt x="123" y="150"/>
                </a:cubicBezTo>
                <a:cubicBezTo>
                  <a:pt x="123" y="105"/>
                  <a:pt x="123" y="105"/>
                  <a:pt x="123" y="105"/>
                </a:cubicBezTo>
                <a:cubicBezTo>
                  <a:pt x="85" y="105"/>
                  <a:pt x="85" y="105"/>
                  <a:pt x="85" y="105"/>
                </a:cubicBezTo>
                <a:cubicBezTo>
                  <a:pt x="85" y="150"/>
                  <a:pt x="85" y="150"/>
                  <a:pt x="85" y="150"/>
                </a:cubicBezTo>
                <a:cubicBezTo>
                  <a:pt x="21" y="150"/>
                  <a:pt x="21" y="150"/>
                  <a:pt x="21" y="150"/>
                </a:cubicBezTo>
                <a:cubicBezTo>
                  <a:pt x="21" y="74"/>
                  <a:pt x="21" y="74"/>
                  <a:pt x="21" y="74"/>
                </a:cubicBezTo>
                <a:cubicBezTo>
                  <a:pt x="80" y="29"/>
                  <a:pt x="80" y="29"/>
                  <a:pt x="80" y="29"/>
                </a:cubicBezTo>
                <a:cubicBezTo>
                  <a:pt x="139" y="74"/>
                  <a:pt x="139" y="74"/>
                  <a:pt x="139" y="74"/>
                </a:cubicBezTo>
                <a:lnTo>
                  <a:pt x="139" y="150"/>
                </a:lnTo>
                <a:close/>
                <a:moveTo>
                  <a:pt x="144" y="145"/>
                </a:moveTo>
                <a:cubicBezTo>
                  <a:pt x="144" y="137"/>
                  <a:pt x="144" y="137"/>
                  <a:pt x="144" y="137"/>
                </a:cubicBezTo>
                <a:cubicBezTo>
                  <a:pt x="147" y="137"/>
                  <a:pt x="147" y="137"/>
                  <a:pt x="147" y="137"/>
                </a:cubicBezTo>
                <a:cubicBezTo>
                  <a:pt x="147" y="145"/>
                  <a:pt x="147" y="145"/>
                  <a:pt x="147" y="145"/>
                </a:cubicBezTo>
                <a:lnTo>
                  <a:pt x="144" y="145"/>
                </a:lnTo>
                <a:close/>
                <a:moveTo>
                  <a:pt x="152" y="145"/>
                </a:moveTo>
                <a:cubicBezTo>
                  <a:pt x="152" y="137"/>
                  <a:pt x="152" y="137"/>
                  <a:pt x="152" y="137"/>
                </a:cubicBezTo>
                <a:cubicBezTo>
                  <a:pt x="155" y="137"/>
                  <a:pt x="155" y="137"/>
                  <a:pt x="155" y="137"/>
                </a:cubicBezTo>
                <a:cubicBezTo>
                  <a:pt x="155" y="145"/>
                  <a:pt x="155" y="145"/>
                  <a:pt x="155" y="145"/>
                </a:cubicBezTo>
                <a:lnTo>
                  <a:pt x="152" y="145"/>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2117">
            <a:extLst>
              <a:ext uri="{FF2B5EF4-FFF2-40B4-BE49-F238E27FC236}">
                <a16:creationId xmlns:a16="http://schemas.microsoft.com/office/drawing/2014/main" id="{27E8B7AA-7324-D341-9AB5-85ADB4B94953}"/>
              </a:ext>
            </a:extLst>
          </p:cNvPr>
          <p:cNvSpPr>
            <a:spLocks noEditPoints="1"/>
          </p:cNvSpPr>
          <p:nvPr/>
        </p:nvSpPr>
        <p:spPr bwMode="auto">
          <a:xfrm>
            <a:off x="4527546" y="5938838"/>
            <a:ext cx="365125" cy="550863"/>
          </a:xfrm>
          <a:custGeom>
            <a:avLst/>
            <a:gdLst>
              <a:gd name="T0" fmla="*/ 67 w 107"/>
              <a:gd name="T1" fmla="*/ 11 h 160"/>
              <a:gd name="T2" fmla="*/ 71 w 107"/>
              <a:gd name="T3" fmla="*/ 1 h 160"/>
              <a:gd name="T4" fmla="*/ 60 w 107"/>
              <a:gd name="T5" fmla="*/ 11 h 160"/>
              <a:gd name="T6" fmla="*/ 42 w 107"/>
              <a:gd name="T7" fmla="*/ 1 h 160"/>
              <a:gd name="T8" fmla="*/ 38 w 107"/>
              <a:gd name="T9" fmla="*/ 4 h 160"/>
              <a:gd name="T10" fmla="*/ 8 w 107"/>
              <a:gd name="T11" fmla="*/ 11 h 160"/>
              <a:gd name="T12" fmla="*/ 0 w 107"/>
              <a:gd name="T13" fmla="*/ 152 h 160"/>
              <a:gd name="T14" fmla="*/ 99 w 107"/>
              <a:gd name="T15" fmla="*/ 160 h 160"/>
              <a:gd name="T16" fmla="*/ 107 w 107"/>
              <a:gd name="T17" fmla="*/ 19 h 160"/>
              <a:gd name="T18" fmla="*/ 101 w 107"/>
              <a:gd name="T19" fmla="*/ 152 h 160"/>
              <a:gd name="T20" fmla="*/ 8 w 107"/>
              <a:gd name="T21" fmla="*/ 155 h 160"/>
              <a:gd name="T22" fmla="*/ 5 w 107"/>
              <a:gd name="T23" fmla="*/ 19 h 160"/>
              <a:gd name="T24" fmla="*/ 44 w 107"/>
              <a:gd name="T25" fmla="*/ 16 h 160"/>
              <a:gd name="T26" fmla="*/ 43 w 107"/>
              <a:gd name="T27" fmla="*/ 29 h 160"/>
              <a:gd name="T28" fmla="*/ 64 w 107"/>
              <a:gd name="T29" fmla="*/ 29 h 160"/>
              <a:gd name="T30" fmla="*/ 51 w 107"/>
              <a:gd name="T31" fmla="*/ 19 h 160"/>
              <a:gd name="T32" fmla="*/ 99 w 107"/>
              <a:gd name="T33" fmla="*/ 16 h 160"/>
              <a:gd name="T34" fmla="*/ 101 w 107"/>
              <a:gd name="T35" fmla="*/ 152 h 160"/>
              <a:gd name="T36" fmla="*/ 51 w 107"/>
              <a:gd name="T37" fmla="*/ 31 h 160"/>
              <a:gd name="T38" fmla="*/ 55 w 107"/>
              <a:gd name="T39" fmla="*/ 32 h 160"/>
              <a:gd name="T40" fmla="*/ 54 w 107"/>
              <a:gd name="T41" fmla="*/ 24 h 160"/>
              <a:gd name="T42" fmla="*/ 53 w 107"/>
              <a:gd name="T43" fmla="*/ 35 h 160"/>
              <a:gd name="T44" fmla="*/ 49 w 107"/>
              <a:gd name="T45" fmla="*/ 26 h 160"/>
              <a:gd name="T46" fmla="*/ 80 w 107"/>
              <a:gd name="T47" fmla="*/ 115 h 160"/>
              <a:gd name="T48" fmla="*/ 24 w 107"/>
              <a:gd name="T49" fmla="*/ 112 h 160"/>
              <a:gd name="T50" fmla="*/ 80 w 107"/>
              <a:gd name="T51" fmla="*/ 109 h 160"/>
              <a:gd name="T52" fmla="*/ 83 w 107"/>
              <a:gd name="T53" fmla="*/ 125 h 160"/>
              <a:gd name="T54" fmla="*/ 27 w 107"/>
              <a:gd name="T55" fmla="*/ 128 h 160"/>
              <a:gd name="T56" fmla="*/ 27 w 107"/>
              <a:gd name="T57" fmla="*/ 123 h 160"/>
              <a:gd name="T58" fmla="*/ 83 w 107"/>
              <a:gd name="T59" fmla="*/ 125 h 160"/>
              <a:gd name="T60" fmla="*/ 80 w 107"/>
              <a:gd name="T61" fmla="*/ 141 h 160"/>
              <a:gd name="T62" fmla="*/ 24 w 107"/>
              <a:gd name="T63" fmla="*/ 139 h 160"/>
              <a:gd name="T64" fmla="*/ 80 w 107"/>
              <a:gd name="T65" fmla="*/ 136 h 160"/>
              <a:gd name="T66" fmla="*/ 69 w 107"/>
              <a:gd name="T67" fmla="*/ 99 h 160"/>
              <a:gd name="T68" fmla="*/ 80 w 107"/>
              <a:gd name="T69" fmla="*/ 45 h 160"/>
              <a:gd name="T70" fmla="*/ 27 w 107"/>
              <a:gd name="T71" fmla="*/ 99 h 160"/>
              <a:gd name="T72" fmla="*/ 69 w 107"/>
              <a:gd name="T73" fmla="*/ 99 h 160"/>
              <a:gd name="T74" fmla="*/ 53 w 107"/>
              <a:gd name="T75" fmla="*/ 83 h 160"/>
              <a:gd name="T76" fmla="*/ 43 w 107"/>
              <a:gd name="T77" fmla="*/ 93 h 160"/>
              <a:gd name="T78" fmla="*/ 53 w 107"/>
              <a:gd name="T79" fmla="*/ 61 h 160"/>
              <a:gd name="T80" fmla="*/ 53 w 107"/>
              <a:gd name="T81" fmla="*/ 77 h 160"/>
              <a:gd name="T82" fmla="*/ 32 w 107"/>
              <a:gd name="T83" fmla="*/ 93 h 160"/>
              <a:gd name="T84" fmla="*/ 75 w 107"/>
              <a:gd name="T85" fmla="*/ 51 h 160"/>
              <a:gd name="T86" fmla="*/ 69 w 107"/>
              <a:gd name="T87" fmla="*/ 93 h 160"/>
              <a:gd name="T88" fmla="*/ 67 w 107"/>
              <a:gd name="T89" fmla="*/ 69 h 160"/>
              <a:gd name="T90" fmla="*/ 40 w 107"/>
              <a:gd name="T91" fmla="*/ 69 h 160"/>
              <a:gd name="T92" fmla="*/ 37 w 107"/>
              <a:gd name="T93" fmla="*/ 9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160">
                <a:moveTo>
                  <a:pt x="99" y="11"/>
                </a:moveTo>
                <a:cubicBezTo>
                  <a:pt x="67" y="11"/>
                  <a:pt x="67" y="11"/>
                  <a:pt x="67" y="11"/>
                </a:cubicBezTo>
                <a:cubicBezTo>
                  <a:pt x="71" y="4"/>
                  <a:pt x="71" y="4"/>
                  <a:pt x="71" y="4"/>
                </a:cubicBezTo>
                <a:cubicBezTo>
                  <a:pt x="72" y="3"/>
                  <a:pt x="72" y="1"/>
                  <a:pt x="71" y="1"/>
                </a:cubicBezTo>
                <a:cubicBezTo>
                  <a:pt x="70" y="0"/>
                  <a:pt x="68" y="0"/>
                  <a:pt x="67" y="1"/>
                </a:cubicBezTo>
                <a:cubicBezTo>
                  <a:pt x="60" y="11"/>
                  <a:pt x="60" y="11"/>
                  <a:pt x="60" y="11"/>
                </a:cubicBezTo>
                <a:cubicBezTo>
                  <a:pt x="47" y="11"/>
                  <a:pt x="47" y="11"/>
                  <a:pt x="47" y="11"/>
                </a:cubicBezTo>
                <a:cubicBezTo>
                  <a:pt x="42" y="1"/>
                  <a:pt x="42" y="1"/>
                  <a:pt x="42" y="1"/>
                </a:cubicBezTo>
                <a:cubicBezTo>
                  <a:pt x="42" y="0"/>
                  <a:pt x="40" y="0"/>
                  <a:pt x="39" y="0"/>
                </a:cubicBezTo>
                <a:cubicBezTo>
                  <a:pt x="37" y="1"/>
                  <a:pt x="37" y="3"/>
                  <a:pt x="38" y="4"/>
                </a:cubicBezTo>
                <a:cubicBezTo>
                  <a:pt x="41" y="11"/>
                  <a:pt x="41" y="11"/>
                  <a:pt x="41" y="11"/>
                </a:cubicBezTo>
                <a:cubicBezTo>
                  <a:pt x="8" y="11"/>
                  <a:pt x="8" y="11"/>
                  <a:pt x="8" y="11"/>
                </a:cubicBezTo>
                <a:cubicBezTo>
                  <a:pt x="4" y="11"/>
                  <a:pt x="0" y="14"/>
                  <a:pt x="0" y="19"/>
                </a:cubicBezTo>
                <a:cubicBezTo>
                  <a:pt x="0" y="152"/>
                  <a:pt x="0" y="152"/>
                  <a:pt x="0" y="152"/>
                </a:cubicBezTo>
                <a:cubicBezTo>
                  <a:pt x="0" y="156"/>
                  <a:pt x="4" y="160"/>
                  <a:pt x="8" y="160"/>
                </a:cubicBezTo>
                <a:cubicBezTo>
                  <a:pt x="99" y="160"/>
                  <a:pt x="99" y="160"/>
                  <a:pt x="99" y="160"/>
                </a:cubicBezTo>
                <a:cubicBezTo>
                  <a:pt x="103" y="160"/>
                  <a:pt x="107" y="156"/>
                  <a:pt x="107" y="152"/>
                </a:cubicBezTo>
                <a:cubicBezTo>
                  <a:pt x="107" y="19"/>
                  <a:pt x="107" y="19"/>
                  <a:pt x="107" y="19"/>
                </a:cubicBezTo>
                <a:cubicBezTo>
                  <a:pt x="107" y="14"/>
                  <a:pt x="103" y="11"/>
                  <a:pt x="99" y="11"/>
                </a:cubicBezTo>
                <a:close/>
                <a:moveTo>
                  <a:pt x="101" y="152"/>
                </a:moveTo>
                <a:cubicBezTo>
                  <a:pt x="101" y="153"/>
                  <a:pt x="100" y="155"/>
                  <a:pt x="99" y="155"/>
                </a:cubicBezTo>
                <a:cubicBezTo>
                  <a:pt x="8" y="155"/>
                  <a:pt x="8" y="155"/>
                  <a:pt x="8" y="155"/>
                </a:cubicBezTo>
                <a:cubicBezTo>
                  <a:pt x="7" y="155"/>
                  <a:pt x="5" y="153"/>
                  <a:pt x="5" y="152"/>
                </a:cubicBezTo>
                <a:cubicBezTo>
                  <a:pt x="5" y="19"/>
                  <a:pt x="5" y="19"/>
                  <a:pt x="5" y="19"/>
                </a:cubicBezTo>
                <a:cubicBezTo>
                  <a:pt x="5" y="17"/>
                  <a:pt x="7" y="16"/>
                  <a:pt x="8" y="16"/>
                </a:cubicBezTo>
                <a:cubicBezTo>
                  <a:pt x="44" y="16"/>
                  <a:pt x="44" y="16"/>
                  <a:pt x="44" y="16"/>
                </a:cubicBezTo>
                <a:cubicBezTo>
                  <a:pt x="46" y="21"/>
                  <a:pt x="46" y="21"/>
                  <a:pt x="46" y="21"/>
                </a:cubicBezTo>
                <a:cubicBezTo>
                  <a:pt x="44" y="23"/>
                  <a:pt x="43" y="26"/>
                  <a:pt x="43" y="29"/>
                </a:cubicBezTo>
                <a:cubicBezTo>
                  <a:pt x="43" y="35"/>
                  <a:pt x="47" y="40"/>
                  <a:pt x="53" y="40"/>
                </a:cubicBezTo>
                <a:cubicBezTo>
                  <a:pt x="59" y="40"/>
                  <a:pt x="64" y="35"/>
                  <a:pt x="64" y="29"/>
                </a:cubicBezTo>
                <a:cubicBezTo>
                  <a:pt x="64" y="23"/>
                  <a:pt x="59" y="19"/>
                  <a:pt x="53" y="19"/>
                </a:cubicBezTo>
                <a:cubicBezTo>
                  <a:pt x="53" y="19"/>
                  <a:pt x="52" y="19"/>
                  <a:pt x="51" y="19"/>
                </a:cubicBezTo>
                <a:cubicBezTo>
                  <a:pt x="50" y="16"/>
                  <a:pt x="50" y="16"/>
                  <a:pt x="50" y="16"/>
                </a:cubicBezTo>
                <a:cubicBezTo>
                  <a:pt x="99" y="16"/>
                  <a:pt x="99" y="16"/>
                  <a:pt x="99" y="16"/>
                </a:cubicBezTo>
                <a:cubicBezTo>
                  <a:pt x="100" y="16"/>
                  <a:pt x="101" y="17"/>
                  <a:pt x="101" y="19"/>
                </a:cubicBezTo>
                <a:lnTo>
                  <a:pt x="101" y="152"/>
                </a:lnTo>
                <a:close/>
                <a:moveTo>
                  <a:pt x="49" y="26"/>
                </a:moveTo>
                <a:cubicBezTo>
                  <a:pt x="51" y="31"/>
                  <a:pt x="51" y="31"/>
                  <a:pt x="51" y="31"/>
                </a:cubicBezTo>
                <a:cubicBezTo>
                  <a:pt x="51" y="31"/>
                  <a:pt x="52" y="32"/>
                  <a:pt x="53" y="32"/>
                </a:cubicBezTo>
                <a:cubicBezTo>
                  <a:pt x="54" y="32"/>
                  <a:pt x="54" y="32"/>
                  <a:pt x="55" y="32"/>
                </a:cubicBezTo>
                <a:cubicBezTo>
                  <a:pt x="56" y="31"/>
                  <a:pt x="56" y="29"/>
                  <a:pt x="56" y="28"/>
                </a:cubicBezTo>
                <a:cubicBezTo>
                  <a:pt x="54" y="24"/>
                  <a:pt x="54" y="24"/>
                  <a:pt x="54" y="24"/>
                </a:cubicBezTo>
                <a:cubicBezTo>
                  <a:pt x="56" y="24"/>
                  <a:pt x="59" y="27"/>
                  <a:pt x="59" y="29"/>
                </a:cubicBezTo>
                <a:cubicBezTo>
                  <a:pt x="59" y="32"/>
                  <a:pt x="56" y="35"/>
                  <a:pt x="53" y="35"/>
                </a:cubicBezTo>
                <a:cubicBezTo>
                  <a:pt x="50" y="35"/>
                  <a:pt x="48" y="32"/>
                  <a:pt x="48" y="29"/>
                </a:cubicBezTo>
                <a:cubicBezTo>
                  <a:pt x="48" y="28"/>
                  <a:pt x="48" y="27"/>
                  <a:pt x="49" y="26"/>
                </a:cubicBezTo>
                <a:close/>
                <a:moveTo>
                  <a:pt x="83" y="112"/>
                </a:moveTo>
                <a:cubicBezTo>
                  <a:pt x="83" y="113"/>
                  <a:pt x="81" y="115"/>
                  <a:pt x="80" y="115"/>
                </a:cubicBezTo>
                <a:cubicBezTo>
                  <a:pt x="27" y="115"/>
                  <a:pt x="27" y="115"/>
                  <a:pt x="27" y="115"/>
                </a:cubicBezTo>
                <a:cubicBezTo>
                  <a:pt x="25" y="115"/>
                  <a:pt x="24" y="113"/>
                  <a:pt x="24" y="112"/>
                </a:cubicBezTo>
                <a:cubicBezTo>
                  <a:pt x="24" y="111"/>
                  <a:pt x="25" y="109"/>
                  <a:pt x="27" y="109"/>
                </a:cubicBezTo>
                <a:cubicBezTo>
                  <a:pt x="80" y="109"/>
                  <a:pt x="80" y="109"/>
                  <a:pt x="80" y="109"/>
                </a:cubicBezTo>
                <a:cubicBezTo>
                  <a:pt x="81" y="109"/>
                  <a:pt x="83" y="111"/>
                  <a:pt x="83" y="112"/>
                </a:cubicBezTo>
                <a:close/>
                <a:moveTo>
                  <a:pt x="83" y="125"/>
                </a:moveTo>
                <a:cubicBezTo>
                  <a:pt x="83" y="127"/>
                  <a:pt x="81" y="128"/>
                  <a:pt x="80" y="128"/>
                </a:cubicBezTo>
                <a:cubicBezTo>
                  <a:pt x="27" y="128"/>
                  <a:pt x="27" y="128"/>
                  <a:pt x="27" y="128"/>
                </a:cubicBezTo>
                <a:cubicBezTo>
                  <a:pt x="25" y="128"/>
                  <a:pt x="24" y="127"/>
                  <a:pt x="24" y="125"/>
                </a:cubicBezTo>
                <a:cubicBezTo>
                  <a:pt x="24" y="124"/>
                  <a:pt x="25" y="123"/>
                  <a:pt x="27" y="123"/>
                </a:cubicBezTo>
                <a:cubicBezTo>
                  <a:pt x="80" y="123"/>
                  <a:pt x="80" y="123"/>
                  <a:pt x="80" y="123"/>
                </a:cubicBezTo>
                <a:cubicBezTo>
                  <a:pt x="81" y="123"/>
                  <a:pt x="83" y="124"/>
                  <a:pt x="83" y="125"/>
                </a:cubicBezTo>
                <a:close/>
                <a:moveTo>
                  <a:pt x="83" y="139"/>
                </a:moveTo>
                <a:cubicBezTo>
                  <a:pt x="83" y="140"/>
                  <a:pt x="81" y="141"/>
                  <a:pt x="80" y="141"/>
                </a:cubicBezTo>
                <a:cubicBezTo>
                  <a:pt x="27" y="141"/>
                  <a:pt x="27" y="141"/>
                  <a:pt x="27" y="141"/>
                </a:cubicBezTo>
                <a:cubicBezTo>
                  <a:pt x="25" y="141"/>
                  <a:pt x="24" y="140"/>
                  <a:pt x="24" y="139"/>
                </a:cubicBezTo>
                <a:cubicBezTo>
                  <a:pt x="24" y="137"/>
                  <a:pt x="25" y="136"/>
                  <a:pt x="27" y="136"/>
                </a:cubicBezTo>
                <a:cubicBezTo>
                  <a:pt x="80" y="136"/>
                  <a:pt x="80" y="136"/>
                  <a:pt x="80" y="136"/>
                </a:cubicBezTo>
                <a:cubicBezTo>
                  <a:pt x="81" y="136"/>
                  <a:pt x="83" y="137"/>
                  <a:pt x="83" y="139"/>
                </a:cubicBezTo>
                <a:close/>
                <a:moveTo>
                  <a:pt x="69" y="99"/>
                </a:moveTo>
                <a:cubicBezTo>
                  <a:pt x="80" y="99"/>
                  <a:pt x="80" y="99"/>
                  <a:pt x="80" y="99"/>
                </a:cubicBezTo>
                <a:cubicBezTo>
                  <a:pt x="80" y="45"/>
                  <a:pt x="80" y="45"/>
                  <a:pt x="80" y="45"/>
                </a:cubicBezTo>
                <a:cubicBezTo>
                  <a:pt x="27" y="45"/>
                  <a:pt x="27" y="45"/>
                  <a:pt x="27" y="45"/>
                </a:cubicBezTo>
                <a:cubicBezTo>
                  <a:pt x="27" y="99"/>
                  <a:pt x="27" y="99"/>
                  <a:pt x="27" y="99"/>
                </a:cubicBezTo>
                <a:cubicBezTo>
                  <a:pt x="37" y="99"/>
                  <a:pt x="37" y="99"/>
                  <a:pt x="37" y="99"/>
                </a:cubicBezTo>
                <a:lnTo>
                  <a:pt x="69" y="99"/>
                </a:lnTo>
                <a:close/>
                <a:moveTo>
                  <a:pt x="43" y="93"/>
                </a:moveTo>
                <a:cubicBezTo>
                  <a:pt x="43" y="87"/>
                  <a:pt x="47" y="83"/>
                  <a:pt x="53" y="83"/>
                </a:cubicBezTo>
                <a:cubicBezTo>
                  <a:pt x="59" y="83"/>
                  <a:pt x="64" y="87"/>
                  <a:pt x="64" y="93"/>
                </a:cubicBezTo>
                <a:lnTo>
                  <a:pt x="43" y="93"/>
                </a:lnTo>
                <a:close/>
                <a:moveTo>
                  <a:pt x="45" y="69"/>
                </a:moveTo>
                <a:cubicBezTo>
                  <a:pt x="45" y="65"/>
                  <a:pt x="49" y="61"/>
                  <a:pt x="53" y="61"/>
                </a:cubicBezTo>
                <a:cubicBezTo>
                  <a:pt x="58" y="61"/>
                  <a:pt x="61" y="65"/>
                  <a:pt x="61" y="69"/>
                </a:cubicBezTo>
                <a:cubicBezTo>
                  <a:pt x="61" y="74"/>
                  <a:pt x="58" y="77"/>
                  <a:pt x="53" y="77"/>
                </a:cubicBezTo>
                <a:cubicBezTo>
                  <a:pt x="49" y="77"/>
                  <a:pt x="45" y="74"/>
                  <a:pt x="45" y="69"/>
                </a:cubicBezTo>
                <a:close/>
                <a:moveTo>
                  <a:pt x="32" y="93"/>
                </a:moveTo>
                <a:cubicBezTo>
                  <a:pt x="32" y="51"/>
                  <a:pt x="32" y="51"/>
                  <a:pt x="32" y="51"/>
                </a:cubicBezTo>
                <a:cubicBezTo>
                  <a:pt x="75" y="51"/>
                  <a:pt x="75" y="51"/>
                  <a:pt x="75" y="51"/>
                </a:cubicBezTo>
                <a:cubicBezTo>
                  <a:pt x="75" y="93"/>
                  <a:pt x="75" y="93"/>
                  <a:pt x="75" y="93"/>
                </a:cubicBezTo>
                <a:cubicBezTo>
                  <a:pt x="69" y="93"/>
                  <a:pt x="69" y="93"/>
                  <a:pt x="69" y="93"/>
                </a:cubicBezTo>
                <a:cubicBezTo>
                  <a:pt x="69" y="88"/>
                  <a:pt x="66" y="82"/>
                  <a:pt x="62" y="80"/>
                </a:cubicBezTo>
                <a:cubicBezTo>
                  <a:pt x="65" y="77"/>
                  <a:pt x="67" y="74"/>
                  <a:pt x="67" y="69"/>
                </a:cubicBezTo>
                <a:cubicBezTo>
                  <a:pt x="67" y="62"/>
                  <a:pt x="61" y="56"/>
                  <a:pt x="53" y="56"/>
                </a:cubicBezTo>
                <a:cubicBezTo>
                  <a:pt x="46" y="56"/>
                  <a:pt x="40" y="62"/>
                  <a:pt x="40" y="69"/>
                </a:cubicBezTo>
                <a:cubicBezTo>
                  <a:pt x="40" y="74"/>
                  <a:pt x="42" y="77"/>
                  <a:pt x="45" y="80"/>
                </a:cubicBezTo>
                <a:cubicBezTo>
                  <a:pt x="40" y="82"/>
                  <a:pt x="37" y="88"/>
                  <a:pt x="37" y="93"/>
                </a:cubicBezTo>
                <a:lnTo>
                  <a:pt x="32" y="93"/>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2118">
            <a:extLst>
              <a:ext uri="{FF2B5EF4-FFF2-40B4-BE49-F238E27FC236}">
                <a16:creationId xmlns:a16="http://schemas.microsoft.com/office/drawing/2014/main" id="{B3455C37-B604-A841-9CF0-55F81A023AED}"/>
              </a:ext>
            </a:extLst>
          </p:cNvPr>
          <p:cNvSpPr>
            <a:spLocks noEditPoints="1"/>
          </p:cNvSpPr>
          <p:nvPr/>
        </p:nvSpPr>
        <p:spPr bwMode="auto">
          <a:xfrm>
            <a:off x="5483221" y="365125"/>
            <a:ext cx="365125" cy="550863"/>
          </a:xfrm>
          <a:custGeom>
            <a:avLst/>
            <a:gdLst>
              <a:gd name="T0" fmla="*/ 71 w 107"/>
              <a:gd name="T1" fmla="*/ 4 h 160"/>
              <a:gd name="T2" fmla="*/ 60 w 107"/>
              <a:gd name="T3" fmla="*/ 11 h 160"/>
              <a:gd name="T4" fmla="*/ 39 w 107"/>
              <a:gd name="T5" fmla="*/ 0 h 160"/>
              <a:gd name="T6" fmla="*/ 8 w 107"/>
              <a:gd name="T7" fmla="*/ 11 h 160"/>
              <a:gd name="T8" fmla="*/ 8 w 107"/>
              <a:gd name="T9" fmla="*/ 160 h 160"/>
              <a:gd name="T10" fmla="*/ 107 w 107"/>
              <a:gd name="T11" fmla="*/ 19 h 160"/>
              <a:gd name="T12" fmla="*/ 44 w 107"/>
              <a:gd name="T13" fmla="*/ 16 h 160"/>
              <a:gd name="T14" fmla="*/ 53 w 107"/>
              <a:gd name="T15" fmla="*/ 40 h 160"/>
              <a:gd name="T16" fmla="*/ 51 w 107"/>
              <a:gd name="T17" fmla="*/ 19 h 160"/>
              <a:gd name="T18" fmla="*/ 101 w 107"/>
              <a:gd name="T19" fmla="*/ 19 h 160"/>
              <a:gd name="T20" fmla="*/ 74 w 107"/>
              <a:gd name="T21" fmla="*/ 99 h 160"/>
              <a:gd name="T22" fmla="*/ 73 w 107"/>
              <a:gd name="T23" fmla="*/ 82 h 160"/>
              <a:gd name="T24" fmla="*/ 74 w 107"/>
              <a:gd name="T25" fmla="*/ 66 h 160"/>
              <a:gd name="T26" fmla="*/ 43 w 107"/>
              <a:gd name="T27" fmla="*/ 49 h 160"/>
              <a:gd name="T28" fmla="*/ 35 w 107"/>
              <a:gd name="T29" fmla="*/ 49 h 160"/>
              <a:gd name="T30" fmla="*/ 34 w 107"/>
              <a:gd name="T31" fmla="*/ 59 h 160"/>
              <a:gd name="T32" fmla="*/ 29 w 107"/>
              <a:gd name="T33" fmla="*/ 75 h 160"/>
              <a:gd name="T34" fmla="*/ 43 w 107"/>
              <a:gd name="T35" fmla="*/ 94 h 160"/>
              <a:gd name="T36" fmla="*/ 5 w 107"/>
              <a:gd name="T37" fmla="*/ 107 h 160"/>
              <a:gd name="T38" fmla="*/ 49 w 107"/>
              <a:gd name="T39" fmla="*/ 26 h 160"/>
              <a:gd name="T40" fmla="*/ 55 w 107"/>
              <a:gd name="T41" fmla="*/ 32 h 160"/>
              <a:gd name="T42" fmla="*/ 59 w 107"/>
              <a:gd name="T43" fmla="*/ 29 h 160"/>
              <a:gd name="T44" fmla="*/ 49 w 107"/>
              <a:gd name="T45" fmla="*/ 26 h 160"/>
              <a:gd name="T46" fmla="*/ 48 w 107"/>
              <a:gd name="T47" fmla="*/ 90 h 160"/>
              <a:gd name="T48" fmla="*/ 38 w 107"/>
              <a:gd name="T49" fmla="*/ 78 h 160"/>
              <a:gd name="T50" fmla="*/ 35 w 107"/>
              <a:gd name="T51" fmla="*/ 72 h 160"/>
              <a:gd name="T52" fmla="*/ 38 w 107"/>
              <a:gd name="T53" fmla="*/ 68 h 160"/>
              <a:gd name="T54" fmla="*/ 41 w 107"/>
              <a:gd name="T55" fmla="*/ 54 h 160"/>
              <a:gd name="T56" fmla="*/ 69 w 107"/>
              <a:gd name="T57" fmla="*/ 68 h 160"/>
              <a:gd name="T58" fmla="*/ 72 w 107"/>
              <a:gd name="T59" fmla="*/ 72 h 160"/>
              <a:gd name="T60" fmla="*/ 69 w 107"/>
              <a:gd name="T61" fmla="*/ 78 h 160"/>
              <a:gd name="T62" fmla="*/ 59 w 107"/>
              <a:gd name="T63" fmla="*/ 90 h 160"/>
              <a:gd name="T64" fmla="*/ 71 w 107"/>
              <a:gd name="T65" fmla="*/ 104 h 160"/>
              <a:gd name="T66" fmla="*/ 35 w 107"/>
              <a:gd name="T67" fmla="*/ 104 h 160"/>
              <a:gd name="T68" fmla="*/ 8 w 107"/>
              <a:gd name="T69" fmla="*/ 155 h 160"/>
              <a:gd name="T70" fmla="*/ 27 w 107"/>
              <a:gd name="T71" fmla="*/ 112 h 160"/>
              <a:gd name="T72" fmla="*/ 101 w 107"/>
              <a:gd name="T73" fmla="*/ 152 h 160"/>
              <a:gd name="T74" fmla="*/ 77 w 107"/>
              <a:gd name="T75" fmla="*/ 136 h 160"/>
              <a:gd name="T76" fmla="*/ 29 w 107"/>
              <a:gd name="T77" fmla="*/ 131 h 160"/>
              <a:gd name="T78" fmla="*/ 37 w 107"/>
              <a:gd name="T79" fmla="*/ 123 h 160"/>
              <a:gd name="T80" fmla="*/ 69 w 107"/>
              <a:gd name="T81" fmla="*/ 123 h 160"/>
              <a:gd name="T82" fmla="*/ 37 w 107"/>
              <a:gd name="T83" fmla="*/ 123 h 160"/>
              <a:gd name="T84" fmla="*/ 29 w 107"/>
              <a:gd name="T85" fmla="*/ 147 h 160"/>
              <a:gd name="T86" fmla="*/ 32 w 107"/>
              <a:gd name="T87" fmla="*/ 141 h 160"/>
              <a:gd name="T88" fmla="*/ 48 w 107"/>
              <a:gd name="T89" fmla="*/ 147 h 160"/>
              <a:gd name="T90" fmla="*/ 43 w 107"/>
              <a:gd name="T91" fmla="*/ 141 h 160"/>
              <a:gd name="T92" fmla="*/ 64 w 107"/>
              <a:gd name="T93" fmla="*/ 144 h 160"/>
              <a:gd name="T94" fmla="*/ 56 w 107"/>
              <a:gd name="T95" fmla="*/ 144 h 160"/>
              <a:gd name="T96" fmla="*/ 64 w 107"/>
              <a:gd name="T97" fmla="*/ 144 h 160"/>
              <a:gd name="T98" fmla="*/ 72 w 107"/>
              <a:gd name="T99" fmla="*/ 147 h 160"/>
              <a:gd name="T100" fmla="*/ 77 w 107"/>
              <a:gd name="T101" fmla="*/ 14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7" h="160">
                <a:moveTo>
                  <a:pt x="99" y="11"/>
                </a:moveTo>
                <a:cubicBezTo>
                  <a:pt x="67" y="11"/>
                  <a:pt x="67" y="11"/>
                  <a:pt x="67" y="11"/>
                </a:cubicBezTo>
                <a:cubicBezTo>
                  <a:pt x="71" y="4"/>
                  <a:pt x="71" y="4"/>
                  <a:pt x="71" y="4"/>
                </a:cubicBezTo>
                <a:cubicBezTo>
                  <a:pt x="72" y="3"/>
                  <a:pt x="72" y="1"/>
                  <a:pt x="71" y="1"/>
                </a:cubicBezTo>
                <a:cubicBezTo>
                  <a:pt x="70" y="0"/>
                  <a:pt x="68" y="0"/>
                  <a:pt x="67" y="1"/>
                </a:cubicBezTo>
                <a:cubicBezTo>
                  <a:pt x="60" y="11"/>
                  <a:pt x="60" y="11"/>
                  <a:pt x="60" y="11"/>
                </a:cubicBezTo>
                <a:cubicBezTo>
                  <a:pt x="47" y="11"/>
                  <a:pt x="47" y="11"/>
                  <a:pt x="47" y="11"/>
                </a:cubicBezTo>
                <a:cubicBezTo>
                  <a:pt x="42" y="1"/>
                  <a:pt x="42" y="1"/>
                  <a:pt x="42" y="1"/>
                </a:cubicBezTo>
                <a:cubicBezTo>
                  <a:pt x="42" y="0"/>
                  <a:pt x="40" y="0"/>
                  <a:pt x="39" y="0"/>
                </a:cubicBezTo>
                <a:cubicBezTo>
                  <a:pt x="37" y="1"/>
                  <a:pt x="37" y="3"/>
                  <a:pt x="38" y="4"/>
                </a:cubicBezTo>
                <a:cubicBezTo>
                  <a:pt x="41" y="11"/>
                  <a:pt x="41" y="11"/>
                  <a:pt x="41" y="11"/>
                </a:cubicBezTo>
                <a:cubicBezTo>
                  <a:pt x="8" y="11"/>
                  <a:pt x="8" y="11"/>
                  <a:pt x="8" y="11"/>
                </a:cubicBezTo>
                <a:cubicBezTo>
                  <a:pt x="4" y="11"/>
                  <a:pt x="0" y="14"/>
                  <a:pt x="0" y="19"/>
                </a:cubicBezTo>
                <a:cubicBezTo>
                  <a:pt x="0" y="152"/>
                  <a:pt x="0" y="152"/>
                  <a:pt x="0" y="152"/>
                </a:cubicBezTo>
                <a:cubicBezTo>
                  <a:pt x="0" y="156"/>
                  <a:pt x="4" y="160"/>
                  <a:pt x="8" y="160"/>
                </a:cubicBezTo>
                <a:cubicBezTo>
                  <a:pt x="99" y="160"/>
                  <a:pt x="99" y="160"/>
                  <a:pt x="99" y="160"/>
                </a:cubicBezTo>
                <a:cubicBezTo>
                  <a:pt x="103" y="160"/>
                  <a:pt x="107" y="156"/>
                  <a:pt x="107" y="152"/>
                </a:cubicBezTo>
                <a:cubicBezTo>
                  <a:pt x="107" y="19"/>
                  <a:pt x="107" y="19"/>
                  <a:pt x="107" y="19"/>
                </a:cubicBezTo>
                <a:cubicBezTo>
                  <a:pt x="107" y="14"/>
                  <a:pt x="103" y="11"/>
                  <a:pt x="99" y="11"/>
                </a:cubicBezTo>
                <a:close/>
                <a:moveTo>
                  <a:pt x="8" y="16"/>
                </a:moveTo>
                <a:cubicBezTo>
                  <a:pt x="44" y="16"/>
                  <a:pt x="44" y="16"/>
                  <a:pt x="44" y="16"/>
                </a:cubicBezTo>
                <a:cubicBezTo>
                  <a:pt x="46" y="21"/>
                  <a:pt x="46" y="21"/>
                  <a:pt x="46" y="21"/>
                </a:cubicBezTo>
                <a:cubicBezTo>
                  <a:pt x="44" y="23"/>
                  <a:pt x="43" y="26"/>
                  <a:pt x="43" y="29"/>
                </a:cubicBezTo>
                <a:cubicBezTo>
                  <a:pt x="43" y="35"/>
                  <a:pt x="47" y="40"/>
                  <a:pt x="53" y="40"/>
                </a:cubicBezTo>
                <a:cubicBezTo>
                  <a:pt x="59" y="40"/>
                  <a:pt x="64" y="35"/>
                  <a:pt x="64" y="29"/>
                </a:cubicBezTo>
                <a:cubicBezTo>
                  <a:pt x="64" y="23"/>
                  <a:pt x="59" y="19"/>
                  <a:pt x="53" y="19"/>
                </a:cubicBezTo>
                <a:cubicBezTo>
                  <a:pt x="53" y="19"/>
                  <a:pt x="52" y="19"/>
                  <a:pt x="51" y="19"/>
                </a:cubicBezTo>
                <a:cubicBezTo>
                  <a:pt x="50" y="16"/>
                  <a:pt x="50" y="16"/>
                  <a:pt x="50" y="16"/>
                </a:cubicBezTo>
                <a:cubicBezTo>
                  <a:pt x="99" y="16"/>
                  <a:pt x="99" y="16"/>
                  <a:pt x="99" y="16"/>
                </a:cubicBezTo>
                <a:cubicBezTo>
                  <a:pt x="100" y="16"/>
                  <a:pt x="101" y="17"/>
                  <a:pt x="101" y="19"/>
                </a:cubicBezTo>
                <a:cubicBezTo>
                  <a:pt x="101" y="107"/>
                  <a:pt x="101" y="107"/>
                  <a:pt x="101" y="107"/>
                </a:cubicBezTo>
                <a:cubicBezTo>
                  <a:pt x="80" y="107"/>
                  <a:pt x="80" y="107"/>
                  <a:pt x="80" y="107"/>
                </a:cubicBezTo>
                <a:cubicBezTo>
                  <a:pt x="79" y="104"/>
                  <a:pt x="77" y="101"/>
                  <a:pt x="74" y="99"/>
                </a:cubicBezTo>
                <a:cubicBezTo>
                  <a:pt x="64" y="94"/>
                  <a:pt x="64" y="94"/>
                  <a:pt x="64" y="94"/>
                </a:cubicBezTo>
                <a:cubicBezTo>
                  <a:pt x="64" y="93"/>
                  <a:pt x="64" y="93"/>
                  <a:pt x="64" y="93"/>
                </a:cubicBezTo>
                <a:cubicBezTo>
                  <a:pt x="68" y="91"/>
                  <a:pt x="71" y="87"/>
                  <a:pt x="73" y="82"/>
                </a:cubicBezTo>
                <a:cubicBezTo>
                  <a:pt x="76" y="80"/>
                  <a:pt x="77" y="78"/>
                  <a:pt x="77" y="75"/>
                </a:cubicBezTo>
                <a:cubicBezTo>
                  <a:pt x="77" y="72"/>
                  <a:pt x="77" y="72"/>
                  <a:pt x="77" y="72"/>
                </a:cubicBezTo>
                <a:cubicBezTo>
                  <a:pt x="77" y="70"/>
                  <a:pt x="76" y="67"/>
                  <a:pt x="74" y="66"/>
                </a:cubicBezTo>
                <a:cubicBezTo>
                  <a:pt x="73" y="56"/>
                  <a:pt x="66" y="51"/>
                  <a:pt x="53" y="51"/>
                </a:cubicBezTo>
                <a:cubicBezTo>
                  <a:pt x="53" y="51"/>
                  <a:pt x="52" y="51"/>
                  <a:pt x="52" y="51"/>
                </a:cubicBezTo>
                <a:cubicBezTo>
                  <a:pt x="49" y="51"/>
                  <a:pt x="46" y="51"/>
                  <a:pt x="43" y="49"/>
                </a:cubicBezTo>
                <a:cubicBezTo>
                  <a:pt x="42" y="48"/>
                  <a:pt x="41" y="47"/>
                  <a:pt x="41" y="47"/>
                </a:cubicBezTo>
                <a:cubicBezTo>
                  <a:pt x="40" y="45"/>
                  <a:pt x="38" y="45"/>
                  <a:pt x="37" y="46"/>
                </a:cubicBezTo>
                <a:cubicBezTo>
                  <a:pt x="36" y="46"/>
                  <a:pt x="35" y="47"/>
                  <a:pt x="35" y="49"/>
                </a:cubicBezTo>
                <a:cubicBezTo>
                  <a:pt x="35" y="50"/>
                  <a:pt x="35" y="51"/>
                  <a:pt x="35" y="52"/>
                </a:cubicBezTo>
                <a:cubicBezTo>
                  <a:pt x="36" y="55"/>
                  <a:pt x="36" y="55"/>
                  <a:pt x="35" y="56"/>
                </a:cubicBezTo>
                <a:cubicBezTo>
                  <a:pt x="35" y="57"/>
                  <a:pt x="35" y="58"/>
                  <a:pt x="34" y="59"/>
                </a:cubicBezTo>
                <a:cubicBezTo>
                  <a:pt x="33" y="61"/>
                  <a:pt x="33" y="63"/>
                  <a:pt x="32" y="66"/>
                </a:cubicBezTo>
                <a:cubicBezTo>
                  <a:pt x="30" y="67"/>
                  <a:pt x="29" y="70"/>
                  <a:pt x="29" y="72"/>
                </a:cubicBezTo>
                <a:cubicBezTo>
                  <a:pt x="29" y="75"/>
                  <a:pt x="29" y="75"/>
                  <a:pt x="29" y="75"/>
                </a:cubicBezTo>
                <a:cubicBezTo>
                  <a:pt x="29" y="78"/>
                  <a:pt x="31" y="80"/>
                  <a:pt x="34" y="82"/>
                </a:cubicBezTo>
                <a:cubicBezTo>
                  <a:pt x="35" y="87"/>
                  <a:pt x="38" y="91"/>
                  <a:pt x="43" y="93"/>
                </a:cubicBezTo>
                <a:cubicBezTo>
                  <a:pt x="43" y="94"/>
                  <a:pt x="43" y="94"/>
                  <a:pt x="43" y="94"/>
                </a:cubicBezTo>
                <a:cubicBezTo>
                  <a:pt x="33" y="99"/>
                  <a:pt x="33" y="99"/>
                  <a:pt x="33" y="99"/>
                </a:cubicBezTo>
                <a:cubicBezTo>
                  <a:pt x="30" y="101"/>
                  <a:pt x="28" y="104"/>
                  <a:pt x="27" y="107"/>
                </a:cubicBezTo>
                <a:cubicBezTo>
                  <a:pt x="5" y="107"/>
                  <a:pt x="5" y="107"/>
                  <a:pt x="5" y="107"/>
                </a:cubicBezTo>
                <a:cubicBezTo>
                  <a:pt x="5" y="19"/>
                  <a:pt x="5" y="19"/>
                  <a:pt x="5" y="19"/>
                </a:cubicBezTo>
                <a:cubicBezTo>
                  <a:pt x="5" y="17"/>
                  <a:pt x="7" y="16"/>
                  <a:pt x="8" y="16"/>
                </a:cubicBezTo>
                <a:close/>
                <a:moveTo>
                  <a:pt x="49" y="26"/>
                </a:moveTo>
                <a:cubicBezTo>
                  <a:pt x="51" y="31"/>
                  <a:pt x="51" y="31"/>
                  <a:pt x="51" y="31"/>
                </a:cubicBezTo>
                <a:cubicBezTo>
                  <a:pt x="51" y="31"/>
                  <a:pt x="52" y="32"/>
                  <a:pt x="53" y="32"/>
                </a:cubicBezTo>
                <a:cubicBezTo>
                  <a:pt x="54" y="32"/>
                  <a:pt x="54" y="32"/>
                  <a:pt x="55" y="32"/>
                </a:cubicBezTo>
                <a:cubicBezTo>
                  <a:pt x="56" y="31"/>
                  <a:pt x="56" y="29"/>
                  <a:pt x="56" y="28"/>
                </a:cubicBezTo>
                <a:cubicBezTo>
                  <a:pt x="54" y="24"/>
                  <a:pt x="54" y="24"/>
                  <a:pt x="54" y="24"/>
                </a:cubicBezTo>
                <a:cubicBezTo>
                  <a:pt x="56" y="24"/>
                  <a:pt x="59" y="27"/>
                  <a:pt x="59" y="29"/>
                </a:cubicBezTo>
                <a:cubicBezTo>
                  <a:pt x="59" y="32"/>
                  <a:pt x="56" y="35"/>
                  <a:pt x="53" y="35"/>
                </a:cubicBezTo>
                <a:cubicBezTo>
                  <a:pt x="50" y="35"/>
                  <a:pt x="48" y="32"/>
                  <a:pt x="48" y="29"/>
                </a:cubicBezTo>
                <a:cubicBezTo>
                  <a:pt x="48" y="28"/>
                  <a:pt x="48" y="27"/>
                  <a:pt x="49" y="26"/>
                </a:cubicBezTo>
                <a:close/>
                <a:moveTo>
                  <a:pt x="45" y="99"/>
                </a:moveTo>
                <a:cubicBezTo>
                  <a:pt x="47" y="98"/>
                  <a:pt x="48" y="97"/>
                  <a:pt x="48" y="95"/>
                </a:cubicBezTo>
                <a:cubicBezTo>
                  <a:pt x="48" y="90"/>
                  <a:pt x="48" y="90"/>
                  <a:pt x="48" y="90"/>
                </a:cubicBezTo>
                <a:cubicBezTo>
                  <a:pt x="46" y="89"/>
                  <a:pt x="46" y="89"/>
                  <a:pt x="46" y="89"/>
                </a:cubicBezTo>
                <a:cubicBezTo>
                  <a:pt x="42" y="87"/>
                  <a:pt x="40" y="84"/>
                  <a:pt x="38" y="79"/>
                </a:cubicBezTo>
                <a:cubicBezTo>
                  <a:pt x="38" y="78"/>
                  <a:pt x="38" y="78"/>
                  <a:pt x="38" y="78"/>
                </a:cubicBezTo>
                <a:cubicBezTo>
                  <a:pt x="37" y="77"/>
                  <a:pt x="37" y="77"/>
                  <a:pt x="37" y="77"/>
                </a:cubicBezTo>
                <a:cubicBezTo>
                  <a:pt x="35" y="77"/>
                  <a:pt x="35" y="76"/>
                  <a:pt x="35" y="75"/>
                </a:cubicBezTo>
                <a:cubicBezTo>
                  <a:pt x="35" y="72"/>
                  <a:pt x="35" y="72"/>
                  <a:pt x="35" y="72"/>
                </a:cubicBezTo>
                <a:cubicBezTo>
                  <a:pt x="35" y="71"/>
                  <a:pt x="35" y="70"/>
                  <a:pt x="36" y="70"/>
                </a:cubicBezTo>
                <a:cubicBezTo>
                  <a:pt x="37" y="69"/>
                  <a:pt x="37" y="69"/>
                  <a:pt x="37" y="69"/>
                </a:cubicBezTo>
                <a:cubicBezTo>
                  <a:pt x="38" y="68"/>
                  <a:pt x="38" y="68"/>
                  <a:pt x="38" y="68"/>
                </a:cubicBezTo>
                <a:cubicBezTo>
                  <a:pt x="38" y="65"/>
                  <a:pt x="38" y="63"/>
                  <a:pt x="39" y="61"/>
                </a:cubicBezTo>
                <a:cubicBezTo>
                  <a:pt x="40" y="60"/>
                  <a:pt x="40" y="59"/>
                  <a:pt x="40" y="59"/>
                </a:cubicBezTo>
                <a:cubicBezTo>
                  <a:pt x="41" y="57"/>
                  <a:pt x="41" y="56"/>
                  <a:pt x="41" y="54"/>
                </a:cubicBezTo>
                <a:cubicBezTo>
                  <a:pt x="44" y="55"/>
                  <a:pt x="48" y="56"/>
                  <a:pt x="52" y="56"/>
                </a:cubicBezTo>
                <a:cubicBezTo>
                  <a:pt x="52" y="56"/>
                  <a:pt x="53" y="56"/>
                  <a:pt x="53" y="56"/>
                </a:cubicBezTo>
                <a:cubicBezTo>
                  <a:pt x="63" y="56"/>
                  <a:pt x="68" y="59"/>
                  <a:pt x="69" y="68"/>
                </a:cubicBezTo>
                <a:cubicBezTo>
                  <a:pt x="69" y="69"/>
                  <a:pt x="69" y="69"/>
                  <a:pt x="69" y="69"/>
                </a:cubicBezTo>
                <a:cubicBezTo>
                  <a:pt x="71" y="70"/>
                  <a:pt x="71" y="70"/>
                  <a:pt x="71" y="70"/>
                </a:cubicBezTo>
                <a:cubicBezTo>
                  <a:pt x="71" y="70"/>
                  <a:pt x="72" y="71"/>
                  <a:pt x="72" y="72"/>
                </a:cubicBezTo>
                <a:cubicBezTo>
                  <a:pt x="72" y="75"/>
                  <a:pt x="72" y="75"/>
                  <a:pt x="72" y="75"/>
                </a:cubicBezTo>
                <a:cubicBezTo>
                  <a:pt x="72" y="76"/>
                  <a:pt x="71" y="77"/>
                  <a:pt x="70" y="77"/>
                </a:cubicBezTo>
                <a:cubicBezTo>
                  <a:pt x="69" y="78"/>
                  <a:pt x="69" y="78"/>
                  <a:pt x="69" y="78"/>
                </a:cubicBezTo>
                <a:cubicBezTo>
                  <a:pt x="68" y="79"/>
                  <a:pt x="68" y="79"/>
                  <a:pt x="68" y="79"/>
                </a:cubicBezTo>
                <a:cubicBezTo>
                  <a:pt x="67" y="84"/>
                  <a:pt x="64" y="87"/>
                  <a:pt x="60" y="89"/>
                </a:cubicBezTo>
                <a:cubicBezTo>
                  <a:pt x="59" y="90"/>
                  <a:pt x="59" y="90"/>
                  <a:pt x="59" y="90"/>
                </a:cubicBezTo>
                <a:cubicBezTo>
                  <a:pt x="59" y="95"/>
                  <a:pt x="59" y="95"/>
                  <a:pt x="59" y="95"/>
                </a:cubicBezTo>
                <a:cubicBezTo>
                  <a:pt x="59" y="97"/>
                  <a:pt x="60" y="98"/>
                  <a:pt x="61" y="99"/>
                </a:cubicBezTo>
                <a:cubicBezTo>
                  <a:pt x="71" y="104"/>
                  <a:pt x="71" y="104"/>
                  <a:pt x="71" y="104"/>
                </a:cubicBezTo>
                <a:cubicBezTo>
                  <a:pt x="72" y="105"/>
                  <a:pt x="73" y="106"/>
                  <a:pt x="74" y="107"/>
                </a:cubicBezTo>
                <a:cubicBezTo>
                  <a:pt x="33" y="107"/>
                  <a:pt x="33" y="107"/>
                  <a:pt x="33" y="107"/>
                </a:cubicBezTo>
                <a:cubicBezTo>
                  <a:pt x="33" y="106"/>
                  <a:pt x="34" y="105"/>
                  <a:pt x="35" y="104"/>
                </a:cubicBezTo>
                <a:lnTo>
                  <a:pt x="45" y="99"/>
                </a:lnTo>
                <a:close/>
                <a:moveTo>
                  <a:pt x="99" y="155"/>
                </a:moveTo>
                <a:cubicBezTo>
                  <a:pt x="8" y="155"/>
                  <a:pt x="8" y="155"/>
                  <a:pt x="8" y="155"/>
                </a:cubicBezTo>
                <a:cubicBezTo>
                  <a:pt x="7" y="155"/>
                  <a:pt x="5" y="153"/>
                  <a:pt x="5" y="152"/>
                </a:cubicBezTo>
                <a:cubicBezTo>
                  <a:pt x="5" y="112"/>
                  <a:pt x="5" y="112"/>
                  <a:pt x="5" y="112"/>
                </a:cubicBezTo>
                <a:cubicBezTo>
                  <a:pt x="27" y="112"/>
                  <a:pt x="27" y="112"/>
                  <a:pt x="27" y="112"/>
                </a:cubicBezTo>
                <a:cubicBezTo>
                  <a:pt x="80" y="112"/>
                  <a:pt x="80" y="112"/>
                  <a:pt x="80" y="112"/>
                </a:cubicBezTo>
                <a:cubicBezTo>
                  <a:pt x="101" y="112"/>
                  <a:pt x="101" y="112"/>
                  <a:pt x="101" y="112"/>
                </a:cubicBezTo>
                <a:cubicBezTo>
                  <a:pt x="101" y="152"/>
                  <a:pt x="101" y="152"/>
                  <a:pt x="101" y="152"/>
                </a:cubicBezTo>
                <a:cubicBezTo>
                  <a:pt x="101" y="153"/>
                  <a:pt x="100" y="155"/>
                  <a:pt x="99" y="155"/>
                </a:cubicBezTo>
                <a:close/>
                <a:moveTo>
                  <a:pt x="80" y="133"/>
                </a:moveTo>
                <a:cubicBezTo>
                  <a:pt x="80" y="135"/>
                  <a:pt x="79" y="136"/>
                  <a:pt x="77" y="136"/>
                </a:cubicBezTo>
                <a:cubicBezTo>
                  <a:pt x="29" y="136"/>
                  <a:pt x="29" y="136"/>
                  <a:pt x="29" y="136"/>
                </a:cubicBezTo>
                <a:cubicBezTo>
                  <a:pt x="28" y="136"/>
                  <a:pt x="27" y="135"/>
                  <a:pt x="27" y="133"/>
                </a:cubicBezTo>
                <a:cubicBezTo>
                  <a:pt x="27" y="132"/>
                  <a:pt x="28" y="131"/>
                  <a:pt x="29" y="131"/>
                </a:cubicBezTo>
                <a:cubicBezTo>
                  <a:pt x="77" y="131"/>
                  <a:pt x="77" y="131"/>
                  <a:pt x="77" y="131"/>
                </a:cubicBezTo>
                <a:cubicBezTo>
                  <a:pt x="79" y="131"/>
                  <a:pt x="80" y="132"/>
                  <a:pt x="80" y="133"/>
                </a:cubicBezTo>
                <a:close/>
                <a:moveTo>
                  <a:pt x="37" y="123"/>
                </a:moveTo>
                <a:cubicBezTo>
                  <a:pt x="37" y="121"/>
                  <a:pt x="39" y="120"/>
                  <a:pt x="40" y="120"/>
                </a:cubicBezTo>
                <a:cubicBezTo>
                  <a:pt x="67" y="120"/>
                  <a:pt x="67" y="120"/>
                  <a:pt x="67" y="120"/>
                </a:cubicBezTo>
                <a:cubicBezTo>
                  <a:pt x="68" y="120"/>
                  <a:pt x="69" y="121"/>
                  <a:pt x="69" y="123"/>
                </a:cubicBezTo>
                <a:cubicBezTo>
                  <a:pt x="69" y="124"/>
                  <a:pt x="68" y="125"/>
                  <a:pt x="67" y="125"/>
                </a:cubicBezTo>
                <a:cubicBezTo>
                  <a:pt x="40" y="125"/>
                  <a:pt x="40" y="125"/>
                  <a:pt x="40" y="125"/>
                </a:cubicBezTo>
                <a:cubicBezTo>
                  <a:pt x="39" y="125"/>
                  <a:pt x="37" y="124"/>
                  <a:pt x="37" y="123"/>
                </a:cubicBezTo>
                <a:close/>
                <a:moveTo>
                  <a:pt x="35" y="144"/>
                </a:moveTo>
                <a:cubicBezTo>
                  <a:pt x="35" y="145"/>
                  <a:pt x="33" y="147"/>
                  <a:pt x="32" y="147"/>
                </a:cubicBezTo>
                <a:cubicBezTo>
                  <a:pt x="29" y="147"/>
                  <a:pt x="29" y="147"/>
                  <a:pt x="29" y="147"/>
                </a:cubicBezTo>
                <a:cubicBezTo>
                  <a:pt x="28" y="147"/>
                  <a:pt x="27" y="145"/>
                  <a:pt x="27" y="144"/>
                </a:cubicBezTo>
                <a:cubicBezTo>
                  <a:pt x="27" y="143"/>
                  <a:pt x="28" y="141"/>
                  <a:pt x="29" y="141"/>
                </a:cubicBezTo>
                <a:cubicBezTo>
                  <a:pt x="32" y="141"/>
                  <a:pt x="32" y="141"/>
                  <a:pt x="32" y="141"/>
                </a:cubicBezTo>
                <a:cubicBezTo>
                  <a:pt x="33" y="141"/>
                  <a:pt x="35" y="143"/>
                  <a:pt x="35" y="144"/>
                </a:cubicBezTo>
                <a:close/>
                <a:moveTo>
                  <a:pt x="51" y="144"/>
                </a:moveTo>
                <a:cubicBezTo>
                  <a:pt x="51" y="145"/>
                  <a:pt x="49" y="147"/>
                  <a:pt x="48" y="147"/>
                </a:cubicBezTo>
                <a:cubicBezTo>
                  <a:pt x="43" y="147"/>
                  <a:pt x="43" y="147"/>
                  <a:pt x="43" y="147"/>
                </a:cubicBezTo>
                <a:cubicBezTo>
                  <a:pt x="41" y="147"/>
                  <a:pt x="40" y="145"/>
                  <a:pt x="40" y="144"/>
                </a:cubicBezTo>
                <a:cubicBezTo>
                  <a:pt x="40" y="143"/>
                  <a:pt x="41" y="141"/>
                  <a:pt x="43" y="141"/>
                </a:cubicBezTo>
                <a:cubicBezTo>
                  <a:pt x="48" y="141"/>
                  <a:pt x="48" y="141"/>
                  <a:pt x="48" y="141"/>
                </a:cubicBezTo>
                <a:cubicBezTo>
                  <a:pt x="49" y="141"/>
                  <a:pt x="51" y="143"/>
                  <a:pt x="51" y="144"/>
                </a:cubicBezTo>
                <a:close/>
                <a:moveTo>
                  <a:pt x="64" y="144"/>
                </a:moveTo>
                <a:cubicBezTo>
                  <a:pt x="64" y="145"/>
                  <a:pt x="63" y="147"/>
                  <a:pt x="61" y="147"/>
                </a:cubicBezTo>
                <a:cubicBezTo>
                  <a:pt x="59" y="147"/>
                  <a:pt x="59" y="147"/>
                  <a:pt x="59" y="147"/>
                </a:cubicBezTo>
                <a:cubicBezTo>
                  <a:pt x="57" y="147"/>
                  <a:pt x="56" y="145"/>
                  <a:pt x="56" y="144"/>
                </a:cubicBezTo>
                <a:cubicBezTo>
                  <a:pt x="56" y="143"/>
                  <a:pt x="57" y="141"/>
                  <a:pt x="59" y="141"/>
                </a:cubicBezTo>
                <a:cubicBezTo>
                  <a:pt x="61" y="141"/>
                  <a:pt x="61" y="141"/>
                  <a:pt x="61" y="141"/>
                </a:cubicBezTo>
                <a:cubicBezTo>
                  <a:pt x="63" y="141"/>
                  <a:pt x="64" y="143"/>
                  <a:pt x="64" y="144"/>
                </a:cubicBezTo>
                <a:close/>
                <a:moveTo>
                  <a:pt x="80" y="144"/>
                </a:moveTo>
                <a:cubicBezTo>
                  <a:pt x="80" y="145"/>
                  <a:pt x="79" y="147"/>
                  <a:pt x="77" y="147"/>
                </a:cubicBezTo>
                <a:cubicBezTo>
                  <a:pt x="72" y="147"/>
                  <a:pt x="72" y="147"/>
                  <a:pt x="72" y="147"/>
                </a:cubicBezTo>
                <a:cubicBezTo>
                  <a:pt x="71" y="147"/>
                  <a:pt x="69" y="145"/>
                  <a:pt x="69" y="144"/>
                </a:cubicBezTo>
                <a:cubicBezTo>
                  <a:pt x="69" y="143"/>
                  <a:pt x="71" y="141"/>
                  <a:pt x="72" y="141"/>
                </a:cubicBezTo>
                <a:cubicBezTo>
                  <a:pt x="77" y="141"/>
                  <a:pt x="77" y="141"/>
                  <a:pt x="77" y="141"/>
                </a:cubicBezTo>
                <a:cubicBezTo>
                  <a:pt x="79" y="141"/>
                  <a:pt x="80" y="143"/>
                  <a:pt x="80" y="144"/>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2119">
            <a:extLst>
              <a:ext uri="{FF2B5EF4-FFF2-40B4-BE49-F238E27FC236}">
                <a16:creationId xmlns:a16="http://schemas.microsoft.com/office/drawing/2014/main" id="{BE69F089-BF5F-E745-A447-1D0247A134E8}"/>
              </a:ext>
            </a:extLst>
          </p:cNvPr>
          <p:cNvSpPr>
            <a:spLocks noEditPoints="1"/>
          </p:cNvSpPr>
          <p:nvPr/>
        </p:nvSpPr>
        <p:spPr bwMode="auto">
          <a:xfrm>
            <a:off x="5387971" y="1011238"/>
            <a:ext cx="546100" cy="479425"/>
          </a:xfrm>
          <a:custGeom>
            <a:avLst/>
            <a:gdLst>
              <a:gd name="T0" fmla="*/ 143 w 160"/>
              <a:gd name="T1" fmla="*/ 111 h 139"/>
              <a:gd name="T2" fmla="*/ 139 w 160"/>
              <a:gd name="T3" fmla="*/ 109 h 139"/>
              <a:gd name="T4" fmla="*/ 69 w 160"/>
              <a:gd name="T5" fmla="*/ 112 h 139"/>
              <a:gd name="T6" fmla="*/ 16 w 160"/>
              <a:gd name="T7" fmla="*/ 116 h 139"/>
              <a:gd name="T8" fmla="*/ 32 w 160"/>
              <a:gd name="T9" fmla="*/ 97 h 139"/>
              <a:gd name="T10" fmla="*/ 19 w 160"/>
              <a:gd name="T11" fmla="*/ 77 h 139"/>
              <a:gd name="T12" fmla="*/ 24 w 160"/>
              <a:gd name="T13" fmla="*/ 61 h 139"/>
              <a:gd name="T14" fmla="*/ 24 w 160"/>
              <a:gd name="T15" fmla="*/ 52 h 139"/>
              <a:gd name="T16" fmla="*/ 32 w 160"/>
              <a:gd name="T17" fmla="*/ 51 h 139"/>
              <a:gd name="T18" fmla="*/ 64 w 160"/>
              <a:gd name="T19" fmla="*/ 68 h 139"/>
              <a:gd name="T20" fmla="*/ 62 w 160"/>
              <a:gd name="T21" fmla="*/ 84 h 139"/>
              <a:gd name="T22" fmla="*/ 63 w 160"/>
              <a:gd name="T23" fmla="*/ 102 h 139"/>
              <a:gd name="T24" fmla="*/ 61 w 160"/>
              <a:gd name="T25" fmla="*/ 107 h 139"/>
              <a:gd name="T26" fmla="*/ 48 w 160"/>
              <a:gd name="T27" fmla="*/ 97 h 139"/>
              <a:gd name="T28" fmla="*/ 58 w 160"/>
              <a:gd name="T29" fmla="*/ 82 h 139"/>
              <a:gd name="T30" fmla="*/ 61 w 160"/>
              <a:gd name="T31" fmla="*/ 77 h 139"/>
              <a:gd name="T32" fmla="*/ 59 w 160"/>
              <a:gd name="T33" fmla="*/ 72 h 139"/>
              <a:gd name="T34" fmla="*/ 41 w 160"/>
              <a:gd name="T35" fmla="*/ 59 h 139"/>
              <a:gd name="T36" fmla="*/ 29 w 160"/>
              <a:gd name="T37" fmla="*/ 63 h 139"/>
              <a:gd name="T38" fmla="*/ 25 w 160"/>
              <a:gd name="T39" fmla="*/ 72 h 139"/>
              <a:gd name="T40" fmla="*/ 26 w 160"/>
              <a:gd name="T41" fmla="*/ 80 h 139"/>
              <a:gd name="T42" fmla="*/ 36 w 160"/>
              <a:gd name="T43" fmla="*/ 92 h 139"/>
              <a:gd name="T44" fmla="*/ 35 w 160"/>
              <a:gd name="T45" fmla="*/ 102 h 139"/>
              <a:gd name="T46" fmla="*/ 21 w 160"/>
              <a:gd name="T47" fmla="*/ 115 h 139"/>
              <a:gd name="T48" fmla="*/ 64 w 160"/>
              <a:gd name="T49" fmla="*/ 112 h 139"/>
              <a:gd name="T50" fmla="*/ 112 w 160"/>
              <a:gd name="T51" fmla="*/ 64 h 139"/>
              <a:gd name="T52" fmla="*/ 80 w 160"/>
              <a:gd name="T53" fmla="*/ 64 h 139"/>
              <a:gd name="T54" fmla="*/ 83 w 160"/>
              <a:gd name="T55" fmla="*/ 107 h 139"/>
              <a:gd name="T56" fmla="*/ 85 w 160"/>
              <a:gd name="T57" fmla="*/ 112 h 139"/>
              <a:gd name="T58" fmla="*/ 101 w 160"/>
              <a:gd name="T59" fmla="*/ 107 h 139"/>
              <a:gd name="T60" fmla="*/ 96 w 160"/>
              <a:gd name="T61" fmla="*/ 112 h 139"/>
              <a:gd name="T62" fmla="*/ 101 w 160"/>
              <a:gd name="T63" fmla="*/ 107 h 139"/>
              <a:gd name="T64" fmla="*/ 109 w 160"/>
              <a:gd name="T65" fmla="*/ 109 h 139"/>
              <a:gd name="T66" fmla="*/ 117 w 160"/>
              <a:gd name="T67" fmla="*/ 109 h 139"/>
              <a:gd name="T68" fmla="*/ 125 w 160"/>
              <a:gd name="T69" fmla="*/ 107 h 139"/>
              <a:gd name="T70" fmla="*/ 131 w 160"/>
              <a:gd name="T71" fmla="*/ 112 h 139"/>
              <a:gd name="T72" fmla="*/ 141 w 160"/>
              <a:gd name="T73" fmla="*/ 77 h 139"/>
              <a:gd name="T74" fmla="*/ 83 w 160"/>
              <a:gd name="T75" fmla="*/ 83 h 139"/>
              <a:gd name="T76" fmla="*/ 141 w 160"/>
              <a:gd name="T77" fmla="*/ 77 h 139"/>
              <a:gd name="T78" fmla="*/ 80 w 160"/>
              <a:gd name="T79" fmla="*/ 96 h 139"/>
              <a:gd name="T80" fmla="*/ 144 w 160"/>
              <a:gd name="T81" fmla="*/ 96 h 139"/>
              <a:gd name="T82" fmla="*/ 160 w 160"/>
              <a:gd name="T83" fmla="*/ 126 h 139"/>
              <a:gd name="T84" fmla="*/ 0 w 160"/>
              <a:gd name="T85" fmla="*/ 126 h 139"/>
              <a:gd name="T86" fmla="*/ 61 w 160"/>
              <a:gd name="T87" fmla="*/ 27 h 139"/>
              <a:gd name="T88" fmla="*/ 93 w 160"/>
              <a:gd name="T89" fmla="*/ 0 h 139"/>
              <a:gd name="T90" fmla="*/ 148 w 160"/>
              <a:gd name="T91" fmla="*/ 27 h 139"/>
              <a:gd name="T92" fmla="*/ 67 w 160"/>
              <a:gd name="T93" fmla="*/ 42 h 139"/>
              <a:gd name="T94" fmla="*/ 93 w 160"/>
              <a:gd name="T95" fmla="*/ 42 h 139"/>
              <a:gd name="T96" fmla="*/ 93 w 160"/>
              <a:gd name="T97" fmla="*/ 5 h 139"/>
              <a:gd name="T98" fmla="*/ 67 w 160"/>
              <a:gd name="T99" fmla="*/ 27 h 139"/>
              <a:gd name="T100" fmla="*/ 99 w 160"/>
              <a:gd name="T101" fmla="*/ 32 h 139"/>
              <a:gd name="T102" fmla="*/ 68 w 160"/>
              <a:gd name="T103" fmla="*/ 48 h 139"/>
              <a:gd name="T104" fmla="*/ 12 w 160"/>
              <a:gd name="T105" fmla="*/ 32 h 139"/>
              <a:gd name="T106" fmla="*/ 12 w 160"/>
              <a:gd name="T107" fmla="*/ 133 h 139"/>
              <a:gd name="T108" fmla="*/ 155 w 160"/>
              <a:gd name="T109" fmla="*/ 39 h 139"/>
              <a:gd name="T110" fmla="*/ 91 w 160"/>
              <a:gd name="T111" fmla="*/ 19 h 139"/>
              <a:gd name="T112" fmla="*/ 75 w 160"/>
              <a:gd name="T113" fmla="*/ 19 h 139"/>
              <a:gd name="T114" fmla="*/ 80 w 160"/>
              <a:gd name="T115" fmla="*/ 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39">
                <a:moveTo>
                  <a:pt x="143" y="107"/>
                </a:moveTo>
                <a:cubicBezTo>
                  <a:pt x="144" y="108"/>
                  <a:pt x="144" y="109"/>
                  <a:pt x="144" y="109"/>
                </a:cubicBezTo>
                <a:cubicBezTo>
                  <a:pt x="144" y="110"/>
                  <a:pt x="144" y="111"/>
                  <a:pt x="143" y="111"/>
                </a:cubicBezTo>
                <a:cubicBezTo>
                  <a:pt x="143" y="112"/>
                  <a:pt x="142" y="112"/>
                  <a:pt x="141" y="112"/>
                </a:cubicBezTo>
                <a:cubicBezTo>
                  <a:pt x="141" y="112"/>
                  <a:pt x="140" y="112"/>
                  <a:pt x="139" y="111"/>
                </a:cubicBezTo>
                <a:cubicBezTo>
                  <a:pt x="139" y="111"/>
                  <a:pt x="139" y="110"/>
                  <a:pt x="139" y="109"/>
                </a:cubicBezTo>
                <a:cubicBezTo>
                  <a:pt x="139" y="109"/>
                  <a:pt x="139" y="108"/>
                  <a:pt x="139" y="107"/>
                </a:cubicBezTo>
                <a:cubicBezTo>
                  <a:pt x="140" y="106"/>
                  <a:pt x="142" y="106"/>
                  <a:pt x="143" y="107"/>
                </a:cubicBezTo>
                <a:close/>
                <a:moveTo>
                  <a:pt x="69" y="112"/>
                </a:moveTo>
                <a:cubicBezTo>
                  <a:pt x="69" y="116"/>
                  <a:pt x="69" y="116"/>
                  <a:pt x="69" y="116"/>
                </a:cubicBezTo>
                <a:cubicBezTo>
                  <a:pt x="69" y="118"/>
                  <a:pt x="69" y="123"/>
                  <a:pt x="43" y="123"/>
                </a:cubicBezTo>
                <a:cubicBezTo>
                  <a:pt x="16" y="123"/>
                  <a:pt x="16" y="118"/>
                  <a:pt x="16" y="116"/>
                </a:cubicBezTo>
                <a:cubicBezTo>
                  <a:pt x="16" y="112"/>
                  <a:pt x="16" y="112"/>
                  <a:pt x="16" y="112"/>
                </a:cubicBezTo>
                <a:cubicBezTo>
                  <a:pt x="16" y="108"/>
                  <a:pt x="18" y="104"/>
                  <a:pt x="22" y="102"/>
                </a:cubicBezTo>
                <a:cubicBezTo>
                  <a:pt x="32" y="97"/>
                  <a:pt x="32" y="97"/>
                  <a:pt x="32" y="97"/>
                </a:cubicBezTo>
                <a:cubicBezTo>
                  <a:pt x="32" y="96"/>
                  <a:pt x="32" y="96"/>
                  <a:pt x="32" y="96"/>
                </a:cubicBezTo>
                <a:cubicBezTo>
                  <a:pt x="28" y="94"/>
                  <a:pt x="25" y="90"/>
                  <a:pt x="23" y="84"/>
                </a:cubicBezTo>
                <a:cubicBezTo>
                  <a:pt x="20" y="83"/>
                  <a:pt x="19" y="80"/>
                  <a:pt x="19" y="77"/>
                </a:cubicBezTo>
                <a:cubicBezTo>
                  <a:pt x="19" y="75"/>
                  <a:pt x="19" y="75"/>
                  <a:pt x="19" y="75"/>
                </a:cubicBezTo>
                <a:cubicBezTo>
                  <a:pt x="19" y="72"/>
                  <a:pt x="20" y="70"/>
                  <a:pt x="22" y="68"/>
                </a:cubicBezTo>
                <a:cubicBezTo>
                  <a:pt x="22" y="66"/>
                  <a:pt x="23" y="64"/>
                  <a:pt x="24" y="61"/>
                </a:cubicBezTo>
                <a:cubicBezTo>
                  <a:pt x="24" y="60"/>
                  <a:pt x="24" y="60"/>
                  <a:pt x="25" y="59"/>
                </a:cubicBezTo>
                <a:cubicBezTo>
                  <a:pt x="25" y="58"/>
                  <a:pt x="25" y="58"/>
                  <a:pt x="25" y="55"/>
                </a:cubicBezTo>
                <a:cubicBezTo>
                  <a:pt x="25" y="54"/>
                  <a:pt x="24" y="53"/>
                  <a:pt x="24" y="52"/>
                </a:cubicBezTo>
                <a:cubicBezTo>
                  <a:pt x="24" y="50"/>
                  <a:pt x="25" y="49"/>
                  <a:pt x="26" y="48"/>
                </a:cubicBezTo>
                <a:cubicBezTo>
                  <a:pt x="28" y="48"/>
                  <a:pt x="29" y="48"/>
                  <a:pt x="30" y="49"/>
                </a:cubicBezTo>
                <a:cubicBezTo>
                  <a:pt x="30" y="50"/>
                  <a:pt x="31" y="51"/>
                  <a:pt x="32" y="51"/>
                </a:cubicBezTo>
                <a:cubicBezTo>
                  <a:pt x="35" y="53"/>
                  <a:pt x="39" y="54"/>
                  <a:pt x="41" y="53"/>
                </a:cubicBezTo>
                <a:cubicBezTo>
                  <a:pt x="42" y="53"/>
                  <a:pt x="42" y="53"/>
                  <a:pt x="43" y="53"/>
                </a:cubicBezTo>
                <a:cubicBezTo>
                  <a:pt x="55" y="53"/>
                  <a:pt x="62" y="58"/>
                  <a:pt x="64" y="68"/>
                </a:cubicBezTo>
                <a:cubicBezTo>
                  <a:pt x="66" y="70"/>
                  <a:pt x="67" y="72"/>
                  <a:pt x="67" y="75"/>
                </a:cubicBezTo>
                <a:cubicBezTo>
                  <a:pt x="67" y="77"/>
                  <a:pt x="67" y="77"/>
                  <a:pt x="67" y="77"/>
                </a:cubicBezTo>
                <a:cubicBezTo>
                  <a:pt x="67" y="80"/>
                  <a:pt x="65" y="83"/>
                  <a:pt x="62" y="84"/>
                </a:cubicBezTo>
                <a:cubicBezTo>
                  <a:pt x="61" y="90"/>
                  <a:pt x="58" y="94"/>
                  <a:pt x="53" y="96"/>
                </a:cubicBezTo>
                <a:cubicBezTo>
                  <a:pt x="53" y="97"/>
                  <a:pt x="53" y="97"/>
                  <a:pt x="53" y="97"/>
                </a:cubicBezTo>
                <a:cubicBezTo>
                  <a:pt x="63" y="102"/>
                  <a:pt x="63" y="102"/>
                  <a:pt x="63" y="102"/>
                </a:cubicBezTo>
                <a:cubicBezTo>
                  <a:pt x="67" y="104"/>
                  <a:pt x="69" y="108"/>
                  <a:pt x="69" y="112"/>
                </a:cubicBezTo>
                <a:close/>
                <a:moveTo>
                  <a:pt x="64" y="112"/>
                </a:moveTo>
                <a:cubicBezTo>
                  <a:pt x="64" y="110"/>
                  <a:pt x="63" y="108"/>
                  <a:pt x="61" y="107"/>
                </a:cubicBezTo>
                <a:cubicBezTo>
                  <a:pt x="61" y="107"/>
                  <a:pt x="61" y="107"/>
                  <a:pt x="61" y="107"/>
                </a:cubicBezTo>
                <a:cubicBezTo>
                  <a:pt x="51" y="102"/>
                  <a:pt x="51" y="102"/>
                  <a:pt x="51" y="102"/>
                </a:cubicBezTo>
                <a:cubicBezTo>
                  <a:pt x="49" y="101"/>
                  <a:pt x="48" y="99"/>
                  <a:pt x="48" y="97"/>
                </a:cubicBezTo>
                <a:cubicBezTo>
                  <a:pt x="48" y="93"/>
                  <a:pt x="48" y="93"/>
                  <a:pt x="48" y="93"/>
                </a:cubicBezTo>
                <a:cubicBezTo>
                  <a:pt x="50" y="92"/>
                  <a:pt x="50" y="92"/>
                  <a:pt x="50" y="92"/>
                </a:cubicBezTo>
                <a:cubicBezTo>
                  <a:pt x="54" y="90"/>
                  <a:pt x="56" y="87"/>
                  <a:pt x="58" y="82"/>
                </a:cubicBezTo>
                <a:cubicBezTo>
                  <a:pt x="58" y="80"/>
                  <a:pt x="58" y="80"/>
                  <a:pt x="58" y="80"/>
                </a:cubicBezTo>
                <a:cubicBezTo>
                  <a:pt x="59" y="80"/>
                  <a:pt x="59" y="80"/>
                  <a:pt x="59" y="80"/>
                </a:cubicBezTo>
                <a:cubicBezTo>
                  <a:pt x="61" y="80"/>
                  <a:pt x="61" y="79"/>
                  <a:pt x="61" y="77"/>
                </a:cubicBezTo>
                <a:cubicBezTo>
                  <a:pt x="61" y="75"/>
                  <a:pt x="61" y="75"/>
                  <a:pt x="61" y="75"/>
                </a:cubicBezTo>
                <a:cubicBezTo>
                  <a:pt x="61" y="74"/>
                  <a:pt x="61" y="73"/>
                  <a:pt x="60" y="72"/>
                </a:cubicBezTo>
                <a:cubicBezTo>
                  <a:pt x="59" y="72"/>
                  <a:pt x="59" y="72"/>
                  <a:pt x="59" y="72"/>
                </a:cubicBezTo>
                <a:cubicBezTo>
                  <a:pt x="58" y="70"/>
                  <a:pt x="58" y="70"/>
                  <a:pt x="58" y="70"/>
                </a:cubicBezTo>
                <a:cubicBezTo>
                  <a:pt x="58" y="62"/>
                  <a:pt x="53" y="59"/>
                  <a:pt x="43" y="59"/>
                </a:cubicBezTo>
                <a:cubicBezTo>
                  <a:pt x="42" y="59"/>
                  <a:pt x="42" y="59"/>
                  <a:pt x="41" y="59"/>
                </a:cubicBezTo>
                <a:cubicBezTo>
                  <a:pt x="37" y="59"/>
                  <a:pt x="34" y="58"/>
                  <a:pt x="30" y="56"/>
                </a:cubicBezTo>
                <a:cubicBezTo>
                  <a:pt x="31" y="58"/>
                  <a:pt x="30" y="59"/>
                  <a:pt x="29" y="61"/>
                </a:cubicBezTo>
                <a:cubicBezTo>
                  <a:pt x="29" y="62"/>
                  <a:pt x="29" y="63"/>
                  <a:pt x="29" y="63"/>
                </a:cubicBezTo>
                <a:cubicBezTo>
                  <a:pt x="28" y="65"/>
                  <a:pt x="27" y="68"/>
                  <a:pt x="27" y="70"/>
                </a:cubicBezTo>
                <a:cubicBezTo>
                  <a:pt x="27" y="72"/>
                  <a:pt x="27" y="72"/>
                  <a:pt x="27" y="72"/>
                </a:cubicBezTo>
                <a:cubicBezTo>
                  <a:pt x="25" y="72"/>
                  <a:pt x="25" y="72"/>
                  <a:pt x="25" y="72"/>
                </a:cubicBezTo>
                <a:cubicBezTo>
                  <a:pt x="25" y="73"/>
                  <a:pt x="24" y="74"/>
                  <a:pt x="24" y="75"/>
                </a:cubicBezTo>
                <a:cubicBezTo>
                  <a:pt x="24" y="77"/>
                  <a:pt x="24" y="77"/>
                  <a:pt x="24" y="77"/>
                </a:cubicBezTo>
                <a:cubicBezTo>
                  <a:pt x="24" y="79"/>
                  <a:pt x="25" y="80"/>
                  <a:pt x="26" y="80"/>
                </a:cubicBezTo>
                <a:cubicBezTo>
                  <a:pt x="27" y="80"/>
                  <a:pt x="27" y="80"/>
                  <a:pt x="27" y="80"/>
                </a:cubicBezTo>
                <a:cubicBezTo>
                  <a:pt x="28" y="82"/>
                  <a:pt x="28" y="82"/>
                  <a:pt x="28" y="82"/>
                </a:cubicBezTo>
                <a:cubicBezTo>
                  <a:pt x="29" y="87"/>
                  <a:pt x="32" y="90"/>
                  <a:pt x="36" y="92"/>
                </a:cubicBezTo>
                <a:cubicBezTo>
                  <a:pt x="37" y="93"/>
                  <a:pt x="37" y="93"/>
                  <a:pt x="37" y="93"/>
                </a:cubicBezTo>
                <a:cubicBezTo>
                  <a:pt x="37" y="97"/>
                  <a:pt x="37" y="97"/>
                  <a:pt x="37" y="97"/>
                </a:cubicBezTo>
                <a:cubicBezTo>
                  <a:pt x="37" y="99"/>
                  <a:pt x="36" y="101"/>
                  <a:pt x="35" y="102"/>
                </a:cubicBezTo>
                <a:cubicBezTo>
                  <a:pt x="24" y="107"/>
                  <a:pt x="24" y="107"/>
                  <a:pt x="24" y="107"/>
                </a:cubicBezTo>
                <a:cubicBezTo>
                  <a:pt x="23" y="108"/>
                  <a:pt x="21" y="110"/>
                  <a:pt x="21" y="112"/>
                </a:cubicBezTo>
                <a:cubicBezTo>
                  <a:pt x="21" y="115"/>
                  <a:pt x="21" y="115"/>
                  <a:pt x="21" y="115"/>
                </a:cubicBezTo>
                <a:cubicBezTo>
                  <a:pt x="23" y="116"/>
                  <a:pt x="30" y="117"/>
                  <a:pt x="43" y="117"/>
                </a:cubicBezTo>
                <a:cubicBezTo>
                  <a:pt x="56" y="117"/>
                  <a:pt x="62" y="116"/>
                  <a:pt x="64" y="115"/>
                </a:cubicBezTo>
                <a:lnTo>
                  <a:pt x="64" y="112"/>
                </a:lnTo>
                <a:close/>
                <a:moveTo>
                  <a:pt x="83" y="67"/>
                </a:moveTo>
                <a:cubicBezTo>
                  <a:pt x="109" y="67"/>
                  <a:pt x="109" y="67"/>
                  <a:pt x="109" y="67"/>
                </a:cubicBezTo>
                <a:cubicBezTo>
                  <a:pt x="111" y="67"/>
                  <a:pt x="112" y="66"/>
                  <a:pt x="112" y="64"/>
                </a:cubicBezTo>
                <a:cubicBezTo>
                  <a:pt x="112" y="63"/>
                  <a:pt x="111" y="61"/>
                  <a:pt x="109" y="61"/>
                </a:cubicBezTo>
                <a:cubicBezTo>
                  <a:pt x="83" y="61"/>
                  <a:pt x="83" y="61"/>
                  <a:pt x="83" y="61"/>
                </a:cubicBezTo>
                <a:cubicBezTo>
                  <a:pt x="81" y="61"/>
                  <a:pt x="80" y="63"/>
                  <a:pt x="80" y="64"/>
                </a:cubicBezTo>
                <a:cubicBezTo>
                  <a:pt x="80" y="66"/>
                  <a:pt x="81" y="67"/>
                  <a:pt x="83" y="67"/>
                </a:cubicBezTo>
                <a:close/>
                <a:moveTo>
                  <a:pt x="85" y="107"/>
                </a:moveTo>
                <a:cubicBezTo>
                  <a:pt x="83" y="107"/>
                  <a:pt x="83" y="107"/>
                  <a:pt x="83" y="107"/>
                </a:cubicBezTo>
                <a:cubicBezTo>
                  <a:pt x="81" y="107"/>
                  <a:pt x="80" y="108"/>
                  <a:pt x="80" y="109"/>
                </a:cubicBezTo>
                <a:cubicBezTo>
                  <a:pt x="80" y="111"/>
                  <a:pt x="81" y="112"/>
                  <a:pt x="83" y="112"/>
                </a:cubicBezTo>
                <a:cubicBezTo>
                  <a:pt x="85" y="112"/>
                  <a:pt x="85" y="112"/>
                  <a:pt x="85" y="112"/>
                </a:cubicBezTo>
                <a:cubicBezTo>
                  <a:pt x="87" y="112"/>
                  <a:pt x="88" y="111"/>
                  <a:pt x="88" y="109"/>
                </a:cubicBezTo>
                <a:cubicBezTo>
                  <a:pt x="88" y="108"/>
                  <a:pt x="87" y="107"/>
                  <a:pt x="85" y="107"/>
                </a:cubicBezTo>
                <a:close/>
                <a:moveTo>
                  <a:pt x="101" y="107"/>
                </a:moveTo>
                <a:cubicBezTo>
                  <a:pt x="96" y="107"/>
                  <a:pt x="96" y="107"/>
                  <a:pt x="96" y="107"/>
                </a:cubicBezTo>
                <a:cubicBezTo>
                  <a:pt x="95" y="107"/>
                  <a:pt x="93" y="108"/>
                  <a:pt x="93" y="109"/>
                </a:cubicBezTo>
                <a:cubicBezTo>
                  <a:pt x="93" y="111"/>
                  <a:pt x="95" y="112"/>
                  <a:pt x="96" y="112"/>
                </a:cubicBezTo>
                <a:cubicBezTo>
                  <a:pt x="101" y="112"/>
                  <a:pt x="101" y="112"/>
                  <a:pt x="101" y="112"/>
                </a:cubicBezTo>
                <a:cubicBezTo>
                  <a:pt x="103" y="112"/>
                  <a:pt x="104" y="111"/>
                  <a:pt x="104" y="109"/>
                </a:cubicBezTo>
                <a:cubicBezTo>
                  <a:pt x="104" y="108"/>
                  <a:pt x="103" y="107"/>
                  <a:pt x="101" y="107"/>
                </a:cubicBezTo>
                <a:close/>
                <a:moveTo>
                  <a:pt x="115" y="107"/>
                </a:moveTo>
                <a:cubicBezTo>
                  <a:pt x="112" y="107"/>
                  <a:pt x="112" y="107"/>
                  <a:pt x="112" y="107"/>
                </a:cubicBezTo>
                <a:cubicBezTo>
                  <a:pt x="111" y="107"/>
                  <a:pt x="109" y="108"/>
                  <a:pt x="109" y="109"/>
                </a:cubicBezTo>
                <a:cubicBezTo>
                  <a:pt x="109" y="111"/>
                  <a:pt x="111" y="112"/>
                  <a:pt x="112" y="112"/>
                </a:cubicBezTo>
                <a:cubicBezTo>
                  <a:pt x="115" y="112"/>
                  <a:pt x="115" y="112"/>
                  <a:pt x="115" y="112"/>
                </a:cubicBezTo>
                <a:cubicBezTo>
                  <a:pt x="116" y="112"/>
                  <a:pt x="117" y="111"/>
                  <a:pt x="117" y="109"/>
                </a:cubicBezTo>
                <a:cubicBezTo>
                  <a:pt x="117" y="108"/>
                  <a:pt x="116" y="107"/>
                  <a:pt x="115" y="107"/>
                </a:cubicBezTo>
                <a:close/>
                <a:moveTo>
                  <a:pt x="131" y="107"/>
                </a:moveTo>
                <a:cubicBezTo>
                  <a:pt x="125" y="107"/>
                  <a:pt x="125" y="107"/>
                  <a:pt x="125" y="107"/>
                </a:cubicBezTo>
                <a:cubicBezTo>
                  <a:pt x="124" y="107"/>
                  <a:pt x="123" y="108"/>
                  <a:pt x="123" y="109"/>
                </a:cubicBezTo>
                <a:cubicBezTo>
                  <a:pt x="123" y="111"/>
                  <a:pt x="124" y="112"/>
                  <a:pt x="125" y="112"/>
                </a:cubicBezTo>
                <a:cubicBezTo>
                  <a:pt x="131" y="112"/>
                  <a:pt x="131" y="112"/>
                  <a:pt x="131" y="112"/>
                </a:cubicBezTo>
                <a:cubicBezTo>
                  <a:pt x="132" y="112"/>
                  <a:pt x="133" y="111"/>
                  <a:pt x="133" y="109"/>
                </a:cubicBezTo>
                <a:cubicBezTo>
                  <a:pt x="133" y="108"/>
                  <a:pt x="132" y="107"/>
                  <a:pt x="131" y="107"/>
                </a:cubicBezTo>
                <a:close/>
                <a:moveTo>
                  <a:pt x="141" y="77"/>
                </a:moveTo>
                <a:cubicBezTo>
                  <a:pt x="83" y="77"/>
                  <a:pt x="83" y="77"/>
                  <a:pt x="83" y="77"/>
                </a:cubicBezTo>
                <a:cubicBezTo>
                  <a:pt x="81" y="77"/>
                  <a:pt x="80" y="79"/>
                  <a:pt x="80" y="80"/>
                </a:cubicBezTo>
                <a:cubicBezTo>
                  <a:pt x="80" y="82"/>
                  <a:pt x="81" y="83"/>
                  <a:pt x="83" y="83"/>
                </a:cubicBezTo>
                <a:cubicBezTo>
                  <a:pt x="141" y="83"/>
                  <a:pt x="141" y="83"/>
                  <a:pt x="141" y="83"/>
                </a:cubicBezTo>
                <a:cubicBezTo>
                  <a:pt x="143" y="83"/>
                  <a:pt x="144" y="82"/>
                  <a:pt x="144" y="80"/>
                </a:cubicBezTo>
                <a:cubicBezTo>
                  <a:pt x="144" y="79"/>
                  <a:pt x="143" y="77"/>
                  <a:pt x="141" y="77"/>
                </a:cubicBezTo>
                <a:close/>
                <a:moveTo>
                  <a:pt x="141" y="93"/>
                </a:moveTo>
                <a:cubicBezTo>
                  <a:pt x="83" y="93"/>
                  <a:pt x="83" y="93"/>
                  <a:pt x="83" y="93"/>
                </a:cubicBezTo>
                <a:cubicBezTo>
                  <a:pt x="81" y="93"/>
                  <a:pt x="80" y="95"/>
                  <a:pt x="80" y="96"/>
                </a:cubicBezTo>
                <a:cubicBezTo>
                  <a:pt x="80" y="98"/>
                  <a:pt x="81" y="99"/>
                  <a:pt x="83" y="99"/>
                </a:cubicBezTo>
                <a:cubicBezTo>
                  <a:pt x="141" y="99"/>
                  <a:pt x="141" y="99"/>
                  <a:pt x="141" y="99"/>
                </a:cubicBezTo>
                <a:cubicBezTo>
                  <a:pt x="143" y="99"/>
                  <a:pt x="144" y="98"/>
                  <a:pt x="144" y="96"/>
                </a:cubicBezTo>
                <a:cubicBezTo>
                  <a:pt x="144" y="95"/>
                  <a:pt x="143" y="93"/>
                  <a:pt x="141" y="93"/>
                </a:cubicBezTo>
                <a:close/>
                <a:moveTo>
                  <a:pt x="160" y="39"/>
                </a:moveTo>
                <a:cubicBezTo>
                  <a:pt x="160" y="126"/>
                  <a:pt x="160" y="126"/>
                  <a:pt x="160" y="126"/>
                </a:cubicBezTo>
                <a:cubicBezTo>
                  <a:pt x="160" y="133"/>
                  <a:pt x="154" y="139"/>
                  <a:pt x="148" y="139"/>
                </a:cubicBezTo>
                <a:cubicBezTo>
                  <a:pt x="12" y="139"/>
                  <a:pt x="12" y="139"/>
                  <a:pt x="12" y="139"/>
                </a:cubicBezTo>
                <a:cubicBezTo>
                  <a:pt x="6" y="139"/>
                  <a:pt x="0" y="133"/>
                  <a:pt x="0" y="126"/>
                </a:cubicBezTo>
                <a:cubicBezTo>
                  <a:pt x="0" y="39"/>
                  <a:pt x="0" y="39"/>
                  <a:pt x="0" y="39"/>
                </a:cubicBezTo>
                <a:cubicBezTo>
                  <a:pt x="0" y="32"/>
                  <a:pt x="6" y="27"/>
                  <a:pt x="12" y="27"/>
                </a:cubicBezTo>
                <a:cubicBezTo>
                  <a:pt x="61" y="27"/>
                  <a:pt x="61" y="27"/>
                  <a:pt x="61" y="27"/>
                </a:cubicBezTo>
                <a:cubicBezTo>
                  <a:pt x="61" y="6"/>
                  <a:pt x="61" y="6"/>
                  <a:pt x="61" y="6"/>
                </a:cubicBezTo>
                <a:cubicBezTo>
                  <a:pt x="61" y="3"/>
                  <a:pt x="64" y="0"/>
                  <a:pt x="68" y="0"/>
                </a:cubicBezTo>
                <a:cubicBezTo>
                  <a:pt x="93" y="0"/>
                  <a:pt x="93" y="0"/>
                  <a:pt x="93" y="0"/>
                </a:cubicBezTo>
                <a:cubicBezTo>
                  <a:pt x="96" y="0"/>
                  <a:pt x="99" y="3"/>
                  <a:pt x="99" y="6"/>
                </a:cubicBezTo>
                <a:cubicBezTo>
                  <a:pt x="99" y="27"/>
                  <a:pt x="99" y="27"/>
                  <a:pt x="99" y="27"/>
                </a:cubicBezTo>
                <a:cubicBezTo>
                  <a:pt x="148" y="27"/>
                  <a:pt x="148" y="27"/>
                  <a:pt x="148" y="27"/>
                </a:cubicBezTo>
                <a:cubicBezTo>
                  <a:pt x="154" y="27"/>
                  <a:pt x="160" y="32"/>
                  <a:pt x="160" y="39"/>
                </a:cubicBezTo>
                <a:close/>
                <a:moveTo>
                  <a:pt x="67" y="27"/>
                </a:moveTo>
                <a:cubicBezTo>
                  <a:pt x="67" y="42"/>
                  <a:pt x="67" y="42"/>
                  <a:pt x="67" y="42"/>
                </a:cubicBezTo>
                <a:cubicBezTo>
                  <a:pt x="67" y="42"/>
                  <a:pt x="67" y="43"/>
                  <a:pt x="68" y="43"/>
                </a:cubicBezTo>
                <a:cubicBezTo>
                  <a:pt x="93" y="43"/>
                  <a:pt x="93" y="43"/>
                  <a:pt x="93" y="43"/>
                </a:cubicBezTo>
                <a:cubicBezTo>
                  <a:pt x="93" y="43"/>
                  <a:pt x="93" y="42"/>
                  <a:pt x="93" y="42"/>
                </a:cubicBezTo>
                <a:cubicBezTo>
                  <a:pt x="93" y="27"/>
                  <a:pt x="93" y="27"/>
                  <a:pt x="93" y="27"/>
                </a:cubicBezTo>
                <a:cubicBezTo>
                  <a:pt x="93" y="6"/>
                  <a:pt x="93" y="6"/>
                  <a:pt x="93" y="6"/>
                </a:cubicBezTo>
                <a:cubicBezTo>
                  <a:pt x="93" y="6"/>
                  <a:pt x="93" y="5"/>
                  <a:pt x="93" y="5"/>
                </a:cubicBezTo>
                <a:cubicBezTo>
                  <a:pt x="68" y="5"/>
                  <a:pt x="68" y="5"/>
                  <a:pt x="68" y="5"/>
                </a:cubicBezTo>
                <a:cubicBezTo>
                  <a:pt x="67" y="5"/>
                  <a:pt x="67" y="6"/>
                  <a:pt x="67" y="6"/>
                </a:cubicBezTo>
                <a:lnTo>
                  <a:pt x="67" y="27"/>
                </a:lnTo>
                <a:close/>
                <a:moveTo>
                  <a:pt x="155" y="39"/>
                </a:moveTo>
                <a:cubicBezTo>
                  <a:pt x="155" y="35"/>
                  <a:pt x="151" y="32"/>
                  <a:pt x="148" y="32"/>
                </a:cubicBezTo>
                <a:cubicBezTo>
                  <a:pt x="99" y="32"/>
                  <a:pt x="99" y="32"/>
                  <a:pt x="99" y="32"/>
                </a:cubicBezTo>
                <a:cubicBezTo>
                  <a:pt x="99" y="42"/>
                  <a:pt x="99" y="42"/>
                  <a:pt x="99" y="42"/>
                </a:cubicBezTo>
                <a:cubicBezTo>
                  <a:pt x="99" y="45"/>
                  <a:pt x="96" y="48"/>
                  <a:pt x="93" y="48"/>
                </a:cubicBezTo>
                <a:cubicBezTo>
                  <a:pt x="68" y="48"/>
                  <a:pt x="68" y="48"/>
                  <a:pt x="68" y="48"/>
                </a:cubicBezTo>
                <a:cubicBezTo>
                  <a:pt x="64" y="48"/>
                  <a:pt x="61" y="45"/>
                  <a:pt x="61" y="42"/>
                </a:cubicBezTo>
                <a:cubicBezTo>
                  <a:pt x="61" y="32"/>
                  <a:pt x="61" y="32"/>
                  <a:pt x="61" y="32"/>
                </a:cubicBezTo>
                <a:cubicBezTo>
                  <a:pt x="12" y="32"/>
                  <a:pt x="12" y="32"/>
                  <a:pt x="12" y="32"/>
                </a:cubicBezTo>
                <a:cubicBezTo>
                  <a:pt x="9" y="32"/>
                  <a:pt x="5" y="35"/>
                  <a:pt x="5" y="39"/>
                </a:cubicBezTo>
                <a:cubicBezTo>
                  <a:pt x="5" y="126"/>
                  <a:pt x="5" y="126"/>
                  <a:pt x="5" y="126"/>
                </a:cubicBezTo>
                <a:cubicBezTo>
                  <a:pt x="5" y="130"/>
                  <a:pt x="9" y="133"/>
                  <a:pt x="12" y="133"/>
                </a:cubicBezTo>
                <a:cubicBezTo>
                  <a:pt x="148" y="133"/>
                  <a:pt x="148" y="133"/>
                  <a:pt x="148" y="133"/>
                </a:cubicBezTo>
                <a:cubicBezTo>
                  <a:pt x="151" y="133"/>
                  <a:pt x="155" y="130"/>
                  <a:pt x="155" y="126"/>
                </a:cubicBezTo>
                <a:lnTo>
                  <a:pt x="155" y="39"/>
                </a:lnTo>
                <a:close/>
                <a:moveTo>
                  <a:pt x="69" y="19"/>
                </a:moveTo>
                <a:cubicBezTo>
                  <a:pt x="69" y="13"/>
                  <a:pt x="74" y="8"/>
                  <a:pt x="80" y="8"/>
                </a:cubicBezTo>
                <a:cubicBezTo>
                  <a:pt x="86" y="8"/>
                  <a:pt x="91" y="13"/>
                  <a:pt x="91" y="19"/>
                </a:cubicBezTo>
                <a:cubicBezTo>
                  <a:pt x="91" y="25"/>
                  <a:pt x="86" y="29"/>
                  <a:pt x="80" y="29"/>
                </a:cubicBezTo>
                <a:cubicBezTo>
                  <a:pt x="74" y="29"/>
                  <a:pt x="69" y="25"/>
                  <a:pt x="69" y="19"/>
                </a:cubicBezTo>
                <a:close/>
                <a:moveTo>
                  <a:pt x="75" y="19"/>
                </a:moveTo>
                <a:cubicBezTo>
                  <a:pt x="75" y="22"/>
                  <a:pt x="77" y="24"/>
                  <a:pt x="80" y="24"/>
                </a:cubicBezTo>
                <a:cubicBezTo>
                  <a:pt x="83" y="24"/>
                  <a:pt x="85" y="22"/>
                  <a:pt x="85" y="19"/>
                </a:cubicBezTo>
                <a:cubicBezTo>
                  <a:pt x="85" y="16"/>
                  <a:pt x="83" y="13"/>
                  <a:pt x="80" y="13"/>
                </a:cubicBezTo>
                <a:cubicBezTo>
                  <a:pt x="77" y="13"/>
                  <a:pt x="75" y="16"/>
                  <a:pt x="75" y="19"/>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2120">
            <a:extLst>
              <a:ext uri="{FF2B5EF4-FFF2-40B4-BE49-F238E27FC236}">
                <a16:creationId xmlns:a16="http://schemas.microsoft.com/office/drawing/2014/main" id="{8BCA1281-9DDB-ED42-8525-66052CD2CDD4}"/>
              </a:ext>
            </a:extLst>
          </p:cNvPr>
          <p:cNvSpPr>
            <a:spLocks noEditPoints="1"/>
          </p:cNvSpPr>
          <p:nvPr/>
        </p:nvSpPr>
        <p:spPr bwMode="auto">
          <a:xfrm>
            <a:off x="5387971" y="1671638"/>
            <a:ext cx="546100" cy="403225"/>
          </a:xfrm>
          <a:custGeom>
            <a:avLst/>
            <a:gdLst>
              <a:gd name="T0" fmla="*/ 0 w 160"/>
              <a:gd name="T1" fmla="*/ 11 h 117"/>
              <a:gd name="T2" fmla="*/ 149 w 160"/>
              <a:gd name="T3" fmla="*/ 117 h 117"/>
              <a:gd name="T4" fmla="*/ 149 w 160"/>
              <a:gd name="T5" fmla="*/ 0 h 117"/>
              <a:gd name="T6" fmla="*/ 11 w 160"/>
              <a:gd name="T7" fmla="*/ 112 h 117"/>
              <a:gd name="T8" fmla="*/ 11 w 160"/>
              <a:gd name="T9" fmla="*/ 5 h 117"/>
              <a:gd name="T10" fmla="*/ 155 w 160"/>
              <a:gd name="T11" fmla="*/ 106 h 117"/>
              <a:gd name="T12" fmla="*/ 51 w 160"/>
              <a:gd name="T13" fmla="*/ 69 h 117"/>
              <a:gd name="T14" fmla="*/ 64 w 160"/>
              <a:gd name="T15" fmla="*/ 48 h 117"/>
              <a:gd name="T16" fmla="*/ 38 w 160"/>
              <a:gd name="T17" fmla="*/ 27 h 117"/>
              <a:gd name="T18" fmla="*/ 24 w 160"/>
              <a:gd name="T19" fmla="*/ 22 h 117"/>
              <a:gd name="T20" fmla="*/ 22 w 160"/>
              <a:gd name="T21" fmla="*/ 32 h 117"/>
              <a:gd name="T22" fmla="*/ 16 w 160"/>
              <a:gd name="T23" fmla="*/ 48 h 117"/>
              <a:gd name="T24" fmla="*/ 29 w 160"/>
              <a:gd name="T25" fmla="*/ 69 h 117"/>
              <a:gd name="T26" fmla="*/ 13 w 160"/>
              <a:gd name="T27" fmla="*/ 85 h 117"/>
              <a:gd name="T28" fmla="*/ 67 w 160"/>
              <a:gd name="T29" fmla="*/ 89 h 117"/>
              <a:gd name="T30" fmla="*/ 61 w 160"/>
              <a:gd name="T31" fmla="*/ 88 h 117"/>
              <a:gd name="T32" fmla="*/ 19 w 160"/>
              <a:gd name="T33" fmla="*/ 85 h 117"/>
              <a:gd name="T34" fmla="*/ 35 w 160"/>
              <a:gd name="T35" fmla="*/ 71 h 117"/>
              <a:gd name="T36" fmla="*/ 25 w 160"/>
              <a:gd name="T37" fmla="*/ 55 h 117"/>
              <a:gd name="T38" fmla="*/ 21 w 160"/>
              <a:gd name="T39" fmla="*/ 51 h 117"/>
              <a:gd name="T40" fmla="*/ 24 w 160"/>
              <a:gd name="T41" fmla="*/ 45 h 117"/>
              <a:gd name="T42" fmla="*/ 27 w 160"/>
              <a:gd name="T43" fmla="*/ 35 h 117"/>
              <a:gd name="T44" fmla="*/ 40 w 160"/>
              <a:gd name="T45" fmla="*/ 32 h 117"/>
              <a:gd name="T46" fmla="*/ 57 w 160"/>
              <a:gd name="T47" fmla="*/ 46 h 117"/>
              <a:gd name="T48" fmla="*/ 57 w 160"/>
              <a:gd name="T49" fmla="*/ 53 h 117"/>
              <a:gd name="T50" fmla="*/ 47 w 160"/>
              <a:gd name="T51" fmla="*/ 65 h 117"/>
              <a:gd name="T52" fmla="*/ 48 w 160"/>
              <a:gd name="T53" fmla="*/ 75 h 117"/>
              <a:gd name="T54" fmla="*/ 61 w 160"/>
              <a:gd name="T55" fmla="*/ 88 h 117"/>
              <a:gd name="T56" fmla="*/ 107 w 160"/>
              <a:gd name="T57" fmla="*/ 35 h 117"/>
              <a:gd name="T58" fmla="*/ 80 w 160"/>
              <a:gd name="T59" fmla="*/ 40 h 117"/>
              <a:gd name="T60" fmla="*/ 117 w 160"/>
              <a:gd name="T61" fmla="*/ 35 h 117"/>
              <a:gd name="T62" fmla="*/ 120 w 160"/>
              <a:gd name="T63" fmla="*/ 40 h 117"/>
              <a:gd name="T64" fmla="*/ 85 w 160"/>
              <a:gd name="T65" fmla="*/ 83 h 117"/>
              <a:gd name="T66" fmla="*/ 77 w 160"/>
              <a:gd name="T67" fmla="*/ 83 h 117"/>
              <a:gd name="T68" fmla="*/ 85 w 160"/>
              <a:gd name="T69" fmla="*/ 83 h 117"/>
              <a:gd name="T70" fmla="*/ 93 w 160"/>
              <a:gd name="T71" fmla="*/ 85 h 117"/>
              <a:gd name="T72" fmla="*/ 99 w 160"/>
              <a:gd name="T73" fmla="*/ 80 h 117"/>
              <a:gd name="T74" fmla="*/ 112 w 160"/>
              <a:gd name="T75" fmla="*/ 85 h 117"/>
              <a:gd name="T76" fmla="*/ 109 w 160"/>
              <a:gd name="T77" fmla="*/ 80 h 117"/>
              <a:gd name="T78" fmla="*/ 131 w 160"/>
              <a:gd name="T79" fmla="*/ 83 h 117"/>
              <a:gd name="T80" fmla="*/ 120 w 160"/>
              <a:gd name="T81" fmla="*/ 83 h 117"/>
              <a:gd name="T82" fmla="*/ 131 w 160"/>
              <a:gd name="T83" fmla="*/ 83 h 117"/>
              <a:gd name="T84" fmla="*/ 141 w 160"/>
              <a:gd name="T85" fmla="*/ 85 h 117"/>
              <a:gd name="T86" fmla="*/ 136 w 160"/>
              <a:gd name="T87" fmla="*/ 83 h 117"/>
              <a:gd name="T88" fmla="*/ 141 w 160"/>
              <a:gd name="T89" fmla="*/ 53 h 117"/>
              <a:gd name="T90" fmla="*/ 77 w 160"/>
              <a:gd name="T91" fmla="*/ 53 h 117"/>
              <a:gd name="T92" fmla="*/ 141 w 160"/>
              <a:gd name="T93" fmla="*/ 53 h 117"/>
              <a:gd name="T94" fmla="*/ 80 w 160"/>
              <a:gd name="T95" fmla="*/ 72 h 117"/>
              <a:gd name="T96" fmla="*/ 139 w 160"/>
              <a:gd name="T97" fmla="*/ 6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17">
                <a:moveTo>
                  <a:pt x="149" y="0"/>
                </a:moveTo>
                <a:cubicBezTo>
                  <a:pt x="11" y="0"/>
                  <a:pt x="11" y="0"/>
                  <a:pt x="11" y="0"/>
                </a:cubicBezTo>
                <a:cubicBezTo>
                  <a:pt x="5" y="0"/>
                  <a:pt x="0" y="5"/>
                  <a:pt x="0" y="11"/>
                </a:cubicBezTo>
                <a:cubicBezTo>
                  <a:pt x="0" y="106"/>
                  <a:pt x="0" y="106"/>
                  <a:pt x="0" y="106"/>
                </a:cubicBezTo>
                <a:cubicBezTo>
                  <a:pt x="0" y="112"/>
                  <a:pt x="5" y="117"/>
                  <a:pt x="11" y="117"/>
                </a:cubicBezTo>
                <a:cubicBezTo>
                  <a:pt x="149" y="117"/>
                  <a:pt x="149" y="117"/>
                  <a:pt x="149" y="117"/>
                </a:cubicBezTo>
                <a:cubicBezTo>
                  <a:pt x="155" y="117"/>
                  <a:pt x="160" y="112"/>
                  <a:pt x="160" y="106"/>
                </a:cubicBezTo>
                <a:cubicBezTo>
                  <a:pt x="160" y="11"/>
                  <a:pt x="160" y="11"/>
                  <a:pt x="160" y="11"/>
                </a:cubicBezTo>
                <a:cubicBezTo>
                  <a:pt x="160" y="5"/>
                  <a:pt x="155" y="0"/>
                  <a:pt x="149" y="0"/>
                </a:cubicBezTo>
                <a:close/>
                <a:moveTo>
                  <a:pt x="155" y="106"/>
                </a:moveTo>
                <a:cubicBezTo>
                  <a:pt x="155" y="109"/>
                  <a:pt x="152" y="112"/>
                  <a:pt x="149" y="112"/>
                </a:cubicBezTo>
                <a:cubicBezTo>
                  <a:pt x="11" y="112"/>
                  <a:pt x="11" y="112"/>
                  <a:pt x="11" y="112"/>
                </a:cubicBezTo>
                <a:cubicBezTo>
                  <a:pt x="8" y="112"/>
                  <a:pt x="5" y="109"/>
                  <a:pt x="5" y="106"/>
                </a:cubicBezTo>
                <a:cubicBezTo>
                  <a:pt x="5" y="11"/>
                  <a:pt x="5" y="11"/>
                  <a:pt x="5" y="11"/>
                </a:cubicBezTo>
                <a:cubicBezTo>
                  <a:pt x="5" y="8"/>
                  <a:pt x="8" y="5"/>
                  <a:pt x="11" y="5"/>
                </a:cubicBezTo>
                <a:cubicBezTo>
                  <a:pt x="149" y="5"/>
                  <a:pt x="149" y="5"/>
                  <a:pt x="149" y="5"/>
                </a:cubicBezTo>
                <a:cubicBezTo>
                  <a:pt x="152" y="5"/>
                  <a:pt x="155" y="8"/>
                  <a:pt x="155" y="11"/>
                </a:cubicBezTo>
                <a:lnTo>
                  <a:pt x="155" y="106"/>
                </a:lnTo>
                <a:close/>
                <a:moveTo>
                  <a:pt x="60" y="75"/>
                </a:moveTo>
                <a:cubicBezTo>
                  <a:pt x="51" y="70"/>
                  <a:pt x="51" y="70"/>
                  <a:pt x="51" y="70"/>
                </a:cubicBezTo>
                <a:cubicBezTo>
                  <a:pt x="51" y="69"/>
                  <a:pt x="51" y="69"/>
                  <a:pt x="51" y="69"/>
                </a:cubicBezTo>
                <a:cubicBezTo>
                  <a:pt x="55" y="67"/>
                  <a:pt x="58" y="63"/>
                  <a:pt x="60" y="58"/>
                </a:cubicBezTo>
                <a:cubicBezTo>
                  <a:pt x="62" y="56"/>
                  <a:pt x="64" y="54"/>
                  <a:pt x="64" y="51"/>
                </a:cubicBezTo>
                <a:cubicBezTo>
                  <a:pt x="64" y="48"/>
                  <a:pt x="64" y="48"/>
                  <a:pt x="64" y="48"/>
                </a:cubicBezTo>
                <a:cubicBezTo>
                  <a:pt x="64" y="46"/>
                  <a:pt x="63" y="43"/>
                  <a:pt x="61" y="42"/>
                </a:cubicBezTo>
                <a:cubicBezTo>
                  <a:pt x="59" y="32"/>
                  <a:pt x="52" y="27"/>
                  <a:pt x="40" y="27"/>
                </a:cubicBezTo>
                <a:cubicBezTo>
                  <a:pt x="39" y="27"/>
                  <a:pt x="39" y="27"/>
                  <a:pt x="38" y="27"/>
                </a:cubicBezTo>
                <a:cubicBezTo>
                  <a:pt x="36" y="27"/>
                  <a:pt x="33" y="27"/>
                  <a:pt x="30" y="25"/>
                </a:cubicBezTo>
                <a:cubicBezTo>
                  <a:pt x="29" y="24"/>
                  <a:pt x="28" y="23"/>
                  <a:pt x="27" y="23"/>
                </a:cubicBezTo>
                <a:cubicBezTo>
                  <a:pt x="26" y="21"/>
                  <a:pt x="25" y="21"/>
                  <a:pt x="24" y="22"/>
                </a:cubicBezTo>
                <a:cubicBezTo>
                  <a:pt x="22" y="22"/>
                  <a:pt x="21" y="23"/>
                  <a:pt x="22" y="25"/>
                </a:cubicBezTo>
                <a:cubicBezTo>
                  <a:pt x="22" y="26"/>
                  <a:pt x="22" y="27"/>
                  <a:pt x="22" y="28"/>
                </a:cubicBezTo>
                <a:cubicBezTo>
                  <a:pt x="23" y="31"/>
                  <a:pt x="23" y="31"/>
                  <a:pt x="22" y="32"/>
                </a:cubicBezTo>
                <a:cubicBezTo>
                  <a:pt x="22" y="33"/>
                  <a:pt x="21" y="34"/>
                  <a:pt x="21" y="35"/>
                </a:cubicBezTo>
                <a:cubicBezTo>
                  <a:pt x="20" y="37"/>
                  <a:pt x="19" y="39"/>
                  <a:pt x="19" y="42"/>
                </a:cubicBezTo>
                <a:cubicBezTo>
                  <a:pt x="17" y="43"/>
                  <a:pt x="16" y="46"/>
                  <a:pt x="16" y="48"/>
                </a:cubicBezTo>
                <a:cubicBezTo>
                  <a:pt x="16" y="51"/>
                  <a:pt x="16" y="51"/>
                  <a:pt x="16" y="51"/>
                </a:cubicBezTo>
                <a:cubicBezTo>
                  <a:pt x="16" y="54"/>
                  <a:pt x="18" y="56"/>
                  <a:pt x="20" y="58"/>
                </a:cubicBezTo>
                <a:cubicBezTo>
                  <a:pt x="22" y="63"/>
                  <a:pt x="25" y="67"/>
                  <a:pt x="29" y="69"/>
                </a:cubicBezTo>
                <a:cubicBezTo>
                  <a:pt x="29" y="70"/>
                  <a:pt x="29" y="70"/>
                  <a:pt x="29" y="70"/>
                </a:cubicBezTo>
                <a:cubicBezTo>
                  <a:pt x="19" y="75"/>
                  <a:pt x="19" y="75"/>
                  <a:pt x="19" y="75"/>
                </a:cubicBezTo>
                <a:cubicBezTo>
                  <a:pt x="16" y="77"/>
                  <a:pt x="13" y="81"/>
                  <a:pt x="13" y="85"/>
                </a:cubicBezTo>
                <a:cubicBezTo>
                  <a:pt x="13" y="89"/>
                  <a:pt x="13" y="89"/>
                  <a:pt x="13" y="89"/>
                </a:cubicBezTo>
                <a:cubicBezTo>
                  <a:pt x="13" y="91"/>
                  <a:pt x="13" y="96"/>
                  <a:pt x="40" y="96"/>
                </a:cubicBezTo>
                <a:cubicBezTo>
                  <a:pt x="67" y="96"/>
                  <a:pt x="67" y="91"/>
                  <a:pt x="67" y="89"/>
                </a:cubicBezTo>
                <a:cubicBezTo>
                  <a:pt x="67" y="86"/>
                  <a:pt x="67" y="86"/>
                  <a:pt x="67" y="86"/>
                </a:cubicBezTo>
                <a:cubicBezTo>
                  <a:pt x="67" y="81"/>
                  <a:pt x="64" y="77"/>
                  <a:pt x="60" y="75"/>
                </a:cubicBezTo>
                <a:close/>
                <a:moveTo>
                  <a:pt x="61" y="88"/>
                </a:moveTo>
                <a:cubicBezTo>
                  <a:pt x="60" y="89"/>
                  <a:pt x="53" y="91"/>
                  <a:pt x="40" y="91"/>
                </a:cubicBezTo>
                <a:cubicBezTo>
                  <a:pt x="27" y="91"/>
                  <a:pt x="20" y="89"/>
                  <a:pt x="19" y="88"/>
                </a:cubicBezTo>
                <a:cubicBezTo>
                  <a:pt x="19" y="85"/>
                  <a:pt x="19" y="85"/>
                  <a:pt x="19" y="85"/>
                </a:cubicBezTo>
                <a:cubicBezTo>
                  <a:pt x="19" y="83"/>
                  <a:pt x="20" y="81"/>
                  <a:pt x="22" y="80"/>
                </a:cubicBezTo>
                <a:cubicBezTo>
                  <a:pt x="32" y="75"/>
                  <a:pt x="32" y="75"/>
                  <a:pt x="32" y="75"/>
                </a:cubicBezTo>
                <a:cubicBezTo>
                  <a:pt x="34" y="74"/>
                  <a:pt x="35" y="73"/>
                  <a:pt x="35" y="71"/>
                </a:cubicBezTo>
                <a:cubicBezTo>
                  <a:pt x="35" y="66"/>
                  <a:pt x="35" y="66"/>
                  <a:pt x="35" y="66"/>
                </a:cubicBezTo>
                <a:cubicBezTo>
                  <a:pt x="33" y="65"/>
                  <a:pt x="33" y="65"/>
                  <a:pt x="33" y="65"/>
                </a:cubicBezTo>
                <a:cubicBezTo>
                  <a:pt x="29" y="63"/>
                  <a:pt x="26" y="60"/>
                  <a:pt x="25" y="55"/>
                </a:cubicBezTo>
                <a:cubicBezTo>
                  <a:pt x="25" y="54"/>
                  <a:pt x="25" y="54"/>
                  <a:pt x="25" y="54"/>
                </a:cubicBezTo>
                <a:cubicBezTo>
                  <a:pt x="23" y="53"/>
                  <a:pt x="23" y="53"/>
                  <a:pt x="23" y="53"/>
                </a:cubicBezTo>
                <a:cubicBezTo>
                  <a:pt x="22" y="53"/>
                  <a:pt x="21" y="52"/>
                  <a:pt x="21" y="51"/>
                </a:cubicBezTo>
                <a:cubicBezTo>
                  <a:pt x="21" y="48"/>
                  <a:pt x="21" y="48"/>
                  <a:pt x="21" y="48"/>
                </a:cubicBezTo>
                <a:cubicBezTo>
                  <a:pt x="21" y="47"/>
                  <a:pt x="22" y="46"/>
                  <a:pt x="23" y="46"/>
                </a:cubicBezTo>
                <a:cubicBezTo>
                  <a:pt x="24" y="45"/>
                  <a:pt x="24" y="45"/>
                  <a:pt x="24" y="45"/>
                </a:cubicBezTo>
                <a:cubicBezTo>
                  <a:pt x="24" y="44"/>
                  <a:pt x="24" y="44"/>
                  <a:pt x="24" y="44"/>
                </a:cubicBezTo>
                <a:cubicBezTo>
                  <a:pt x="24" y="41"/>
                  <a:pt x="25" y="39"/>
                  <a:pt x="26" y="37"/>
                </a:cubicBezTo>
                <a:cubicBezTo>
                  <a:pt x="26" y="36"/>
                  <a:pt x="26" y="35"/>
                  <a:pt x="27" y="35"/>
                </a:cubicBezTo>
                <a:cubicBezTo>
                  <a:pt x="28" y="33"/>
                  <a:pt x="28" y="32"/>
                  <a:pt x="28" y="30"/>
                </a:cubicBezTo>
                <a:cubicBezTo>
                  <a:pt x="31" y="31"/>
                  <a:pt x="35" y="32"/>
                  <a:pt x="39" y="32"/>
                </a:cubicBezTo>
                <a:cubicBezTo>
                  <a:pt x="39" y="32"/>
                  <a:pt x="40" y="32"/>
                  <a:pt x="40" y="32"/>
                </a:cubicBezTo>
                <a:cubicBezTo>
                  <a:pt x="50" y="32"/>
                  <a:pt x="55" y="35"/>
                  <a:pt x="56" y="44"/>
                </a:cubicBezTo>
                <a:cubicBezTo>
                  <a:pt x="56" y="45"/>
                  <a:pt x="56" y="45"/>
                  <a:pt x="56" y="45"/>
                </a:cubicBezTo>
                <a:cubicBezTo>
                  <a:pt x="57" y="46"/>
                  <a:pt x="57" y="46"/>
                  <a:pt x="57" y="46"/>
                </a:cubicBezTo>
                <a:cubicBezTo>
                  <a:pt x="58" y="46"/>
                  <a:pt x="59" y="47"/>
                  <a:pt x="59" y="48"/>
                </a:cubicBezTo>
                <a:cubicBezTo>
                  <a:pt x="59" y="51"/>
                  <a:pt x="59" y="51"/>
                  <a:pt x="59" y="51"/>
                </a:cubicBezTo>
                <a:cubicBezTo>
                  <a:pt x="59" y="52"/>
                  <a:pt x="58" y="53"/>
                  <a:pt x="57" y="53"/>
                </a:cubicBezTo>
                <a:cubicBezTo>
                  <a:pt x="55" y="54"/>
                  <a:pt x="55" y="54"/>
                  <a:pt x="55" y="54"/>
                </a:cubicBezTo>
                <a:cubicBezTo>
                  <a:pt x="55" y="55"/>
                  <a:pt x="55" y="55"/>
                  <a:pt x="55" y="55"/>
                </a:cubicBezTo>
                <a:cubicBezTo>
                  <a:pt x="54" y="60"/>
                  <a:pt x="51" y="63"/>
                  <a:pt x="47" y="65"/>
                </a:cubicBezTo>
                <a:cubicBezTo>
                  <a:pt x="45" y="66"/>
                  <a:pt x="45" y="66"/>
                  <a:pt x="45" y="66"/>
                </a:cubicBezTo>
                <a:cubicBezTo>
                  <a:pt x="45" y="71"/>
                  <a:pt x="45" y="71"/>
                  <a:pt x="45" y="71"/>
                </a:cubicBezTo>
                <a:cubicBezTo>
                  <a:pt x="45" y="73"/>
                  <a:pt x="46" y="74"/>
                  <a:pt x="48" y="75"/>
                </a:cubicBezTo>
                <a:cubicBezTo>
                  <a:pt x="58" y="80"/>
                  <a:pt x="58" y="80"/>
                  <a:pt x="58" y="80"/>
                </a:cubicBezTo>
                <a:cubicBezTo>
                  <a:pt x="60" y="81"/>
                  <a:pt x="61" y="83"/>
                  <a:pt x="61" y="86"/>
                </a:cubicBezTo>
                <a:lnTo>
                  <a:pt x="61" y="88"/>
                </a:lnTo>
                <a:close/>
                <a:moveTo>
                  <a:pt x="77" y="37"/>
                </a:moveTo>
                <a:cubicBezTo>
                  <a:pt x="77" y="36"/>
                  <a:pt x="79" y="35"/>
                  <a:pt x="80" y="35"/>
                </a:cubicBezTo>
                <a:cubicBezTo>
                  <a:pt x="107" y="35"/>
                  <a:pt x="107" y="35"/>
                  <a:pt x="107" y="35"/>
                </a:cubicBezTo>
                <a:cubicBezTo>
                  <a:pt x="108" y="35"/>
                  <a:pt x="109" y="36"/>
                  <a:pt x="109" y="37"/>
                </a:cubicBezTo>
                <a:cubicBezTo>
                  <a:pt x="109" y="39"/>
                  <a:pt x="108" y="40"/>
                  <a:pt x="107" y="40"/>
                </a:cubicBezTo>
                <a:cubicBezTo>
                  <a:pt x="80" y="40"/>
                  <a:pt x="80" y="40"/>
                  <a:pt x="80" y="40"/>
                </a:cubicBezTo>
                <a:cubicBezTo>
                  <a:pt x="79" y="40"/>
                  <a:pt x="77" y="39"/>
                  <a:pt x="77" y="37"/>
                </a:cubicBezTo>
                <a:close/>
                <a:moveTo>
                  <a:pt x="115" y="37"/>
                </a:moveTo>
                <a:cubicBezTo>
                  <a:pt x="115" y="36"/>
                  <a:pt x="116" y="35"/>
                  <a:pt x="117" y="35"/>
                </a:cubicBezTo>
                <a:cubicBezTo>
                  <a:pt x="120" y="35"/>
                  <a:pt x="120" y="35"/>
                  <a:pt x="120" y="35"/>
                </a:cubicBezTo>
                <a:cubicBezTo>
                  <a:pt x="121" y="35"/>
                  <a:pt x="123" y="36"/>
                  <a:pt x="123" y="37"/>
                </a:cubicBezTo>
                <a:cubicBezTo>
                  <a:pt x="123" y="39"/>
                  <a:pt x="121" y="40"/>
                  <a:pt x="120" y="40"/>
                </a:cubicBezTo>
                <a:cubicBezTo>
                  <a:pt x="117" y="40"/>
                  <a:pt x="117" y="40"/>
                  <a:pt x="117" y="40"/>
                </a:cubicBezTo>
                <a:cubicBezTo>
                  <a:pt x="116" y="40"/>
                  <a:pt x="115" y="39"/>
                  <a:pt x="115" y="37"/>
                </a:cubicBezTo>
                <a:close/>
                <a:moveTo>
                  <a:pt x="85" y="83"/>
                </a:moveTo>
                <a:cubicBezTo>
                  <a:pt x="85" y="84"/>
                  <a:pt x="84" y="85"/>
                  <a:pt x="83" y="85"/>
                </a:cubicBezTo>
                <a:cubicBezTo>
                  <a:pt x="80" y="85"/>
                  <a:pt x="80" y="85"/>
                  <a:pt x="80" y="85"/>
                </a:cubicBezTo>
                <a:cubicBezTo>
                  <a:pt x="79" y="85"/>
                  <a:pt x="77" y="84"/>
                  <a:pt x="77" y="83"/>
                </a:cubicBezTo>
                <a:cubicBezTo>
                  <a:pt x="77" y="81"/>
                  <a:pt x="79" y="80"/>
                  <a:pt x="80" y="80"/>
                </a:cubicBezTo>
                <a:cubicBezTo>
                  <a:pt x="83" y="80"/>
                  <a:pt x="83" y="80"/>
                  <a:pt x="83" y="80"/>
                </a:cubicBezTo>
                <a:cubicBezTo>
                  <a:pt x="84" y="80"/>
                  <a:pt x="85" y="81"/>
                  <a:pt x="85" y="83"/>
                </a:cubicBezTo>
                <a:close/>
                <a:moveTo>
                  <a:pt x="101" y="83"/>
                </a:moveTo>
                <a:cubicBezTo>
                  <a:pt x="101" y="84"/>
                  <a:pt x="100" y="85"/>
                  <a:pt x="99" y="85"/>
                </a:cubicBezTo>
                <a:cubicBezTo>
                  <a:pt x="93" y="85"/>
                  <a:pt x="93" y="85"/>
                  <a:pt x="93" y="85"/>
                </a:cubicBezTo>
                <a:cubicBezTo>
                  <a:pt x="92" y="85"/>
                  <a:pt x="91" y="84"/>
                  <a:pt x="91" y="83"/>
                </a:cubicBezTo>
                <a:cubicBezTo>
                  <a:pt x="91" y="81"/>
                  <a:pt x="92" y="80"/>
                  <a:pt x="93" y="80"/>
                </a:cubicBezTo>
                <a:cubicBezTo>
                  <a:pt x="99" y="80"/>
                  <a:pt x="99" y="80"/>
                  <a:pt x="99" y="80"/>
                </a:cubicBezTo>
                <a:cubicBezTo>
                  <a:pt x="100" y="80"/>
                  <a:pt x="101" y="81"/>
                  <a:pt x="101" y="83"/>
                </a:cubicBezTo>
                <a:close/>
                <a:moveTo>
                  <a:pt x="115" y="83"/>
                </a:moveTo>
                <a:cubicBezTo>
                  <a:pt x="115" y="84"/>
                  <a:pt x="113" y="85"/>
                  <a:pt x="112" y="85"/>
                </a:cubicBezTo>
                <a:cubicBezTo>
                  <a:pt x="109" y="85"/>
                  <a:pt x="109" y="85"/>
                  <a:pt x="109" y="85"/>
                </a:cubicBezTo>
                <a:cubicBezTo>
                  <a:pt x="108" y="85"/>
                  <a:pt x="107" y="84"/>
                  <a:pt x="107" y="83"/>
                </a:cubicBezTo>
                <a:cubicBezTo>
                  <a:pt x="107" y="81"/>
                  <a:pt x="108" y="80"/>
                  <a:pt x="109" y="80"/>
                </a:cubicBezTo>
                <a:cubicBezTo>
                  <a:pt x="112" y="80"/>
                  <a:pt x="112" y="80"/>
                  <a:pt x="112" y="80"/>
                </a:cubicBezTo>
                <a:cubicBezTo>
                  <a:pt x="113" y="80"/>
                  <a:pt x="115" y="81"/>
                  <a:pt x="115" y="83"/>
                </a:cubicBezTo>
                <a:close/>
                <a:moveTo>
                  <a:pt x="131" y="83"/>
                </a:moveTo>
                <a:cubicBezTo>
                  <a:pt x="131" y="84"/>
                  <a:pt x="129" y="85"/>
                  <a:pt x="128" y="85"/>
                </a:cubicBezTo>
                <a:cubicBezTo>
                  <a:pt x="123" y="85"/>
                  <a:pt x="123" y="85"/>
                  <a:pt x="123" y="85"/>
                </a:cubicBezTo>
                <a:cubicBezTo>
                  <a:pt x="121" y="85"/>
                  <a:pt x="120" y="84"/>
                  <a:pt x="120" y="83"/>
                </a:cubicBezTo>
                <a:cubicBezTo>
                  <a:pt x="120" y="81"/>
                  <a:pt x="121" y="80"/>
                  <a:pt x="123" y="80"/>
                </a:cubicBezTo>
                <a:cubicBezTo>
                  <a:pt x="128" y="80"/>
                  <a:pt x="128" y="80"/>
                  <a:pt x="128" y="80"/>
                </a:cubicBezTo>
                <a:cubicBezTo>
                  <a:pt x="129" y="80"/>
                  <a:pt x="131" y="81"/>
                  <a:pt x="131" y="83"/>
                </a:cubicBezTo>
                <a:close/>
                <a:moveTo>
                  <a:pt x="141" y="81"/>
                </a:moveTo>
                <a:cubicBezTo>
                  <a:pt x="141" y="81"/>
                  <a:pt x="141" y="82"/>
                  <a:pt x="141" y="83"/>
                </a:cubicBezTo>
                <a:cubicBezTo>
                  <a:pt x="141" y="83"/>
                  <a:pt x="141" y="84"/>
                  <a:pt x="141" y="85"/>
                </a:cubicBezTo>
                <a:cubicBezTo>
                  <a:pt x="140" y="85"/>
                  <a:pt x="139" y="85"/>
                  <a:pt x="139" y="85"/>
                </a:cubicBezTo>
                <a:cubicBezTo>
                  <a:pt x="138" y="85"/>
                  <a:pt x="137" y="85"/>
                  <a:pt x="137" y="85"/>
                </a:cubicBezTo>
                <a:cubicBezTo>
                  <a:pt x="136" y="84"/>
                  <a:pt x="136" y="83"/>
                  <a:pt x="136" y="83"/>
                </a:cubicBezTo>
                <a:cubicBezTo>
                  <a:pt x="136" y="82"/>
                  <a:pt x="136" y="81"/>
                  <a:pt x="137" y="81"/>
                </a:cubicBezTo>
                <a:cubicBezTo>
                  <a:pt x="138" y="80"/>
                  <a:pt x="140" y="80"/>
                  <a:pt x="141" y="81"/>
                </a:cubicBezTo>
                <a:close/>
                <a:moveTo>
                  <a:pt x="141" y="53"/>
                </a:moveTo>
                <a:cubicBezTo>
                  <a:pt x="141" y="55"/>
                  <a:pt x="140" y="56"/>
                  <a:pt x="139" y="56"/>
                </a:cubicBezTo>
                <a:cubicBezTo>
                  <a:pt x="80" y="56"/>
                  <a:pt x="80" y="56"/>
                  <a:pt x="80" y="56"/>
                </a:cubicBezTo>
                <a:cubicBezTo>
                  <a:pt x="79" y="56"/>
                  <a:pt x="77" y="55"/>
                  <a:pt x="77" y="53"/>
                </a:cubicBezTo>
                <a:cubicBezTo>
                  <a:pt x="77" y="52"/>
                  <a:pt x="79" y="51"/>
                  <a:pt x="80" y="51"/>
                </a:cubicBezTo>
                <a:cubicBezTo>
                  <a:pt x="139" y="51"/>
                  <a:pt x="139" y="51"/>
                  <a:pt x="139" y="51"/>
                </a:cubicBezTo>
                <a:cubicBezTo>
                  <a:pt x="140" y="51"/>
                  <a:pt x="141" y="52"/>
                  <a:pt x="141" y="53"/>
                </a:cubicBezTo>
                <a:close/>
                <a:moveTo>
                  <a:pt x="141" y="69"/>
                </a:moveTo>
                <a:cubicBezTo>
                  <a:pt x="141" y="71"/>
                  <a:pt x="140" y="72"/>
                  <a:pt x="139" y="72"/>
                </a:cubicBezTo>
                <a:cubicBezTo>
                  <a:pt x="80" y="72"/>
                  <a:pt x="80" y="72"/>
                  <a:pt x="80" y="72"/>
                </a:cubicBezTo>
                <a:cubicBezTo>
                  <a:pt x="79" y="72"/>
                  <a:pt x="77" y="71"/>
                  <a:pt x="77" y="69"/>
                </a:cubicBezTo>
                <a:cubicBezTo>
                  <a:pt x="77" y="68"/>
                  <a:pt x="79" y="67"/>
                  <a:pt x="80" y="67"/>
                </a:cubicBezTo>
                <a:cubicBezTo>
                  <a:pt x="139" y="67"/>
                  <a:pt x="139" y="67"/>
                  <a:pt x="139" y="67"/>
                </a:cubicBezTo>
                <a:cubicBezTo>
                  <a:pt x="140" y="67"/>
                  <a:pt x="141" y="68"/>
                  <a:pt x="141" y="69"/>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2121">
            <a:extLst>
              <a:ext uri="{FF2B5EF4-FFF2-40B4-BE49-F238E27FC236}">
                <a16:creationId xmlns:a16="http://schemas.microsoft.com/office/drawing/2014/main" id="{3AE4D245-B13C-924F-8736-2E9C129A147D}"/>
              </a:ext>
            </a:extLst>
          </p:cNvPr>
          <p:cNvSpPr>
            <a:spLocks noEditPoints="1"/>
          </p:cNvSpPr>
          <p:nvPr/>
        </p:nvSpPr>
        <p:spPr bwMode="auto">
          <a:xfrm>
            <a:off x="5387971" y="2292350"/>
            <a:ext cx="546100" cy="401638"/>
          </a:xfrm>
          <a:custGeom>
            <a:avLst/>
            <a:gdLst>
              <a:gd name="T0" fmla="*/ 0 w 160"/>
              <a:gd name="T1" fmla="*/ 40 h 117"/>
              <a:gd name="T2" fmla="*/ 160 w 160"/>
              <a:gd name="T3" fmla="*/ 40 h 117"/>
              <a:gd name="T4" fmla="*/ 11 w 160"/>
              <a:gd name="T5" fmla="*/ 19 h 117"/>
              <a:gd name="T6" fmla="*/ 40 w 160"/>
              <a:gd name="T7" fmla="*/ 21 h 117"/>
              <a:gd name="T8" fmla="*/ 69 w 160"/>
              <a:gd name="T9" fmla="*/ 19 h 117"/>
              <a:gd name="T10" fmla="*/ 91 w 160"/>
              <a:gd name="T11" fmla="*/ 19 h 117"/>
              <a:gd name="T12" fmla="*/ 120 w 160"/>
              <a:gd name="T13" fmla="*/ 21 h 117"/>
              <a:gd name="T14" fmla="*/ 149 w 160"/>
              <a:gd name="T15" fmla="*/ 19 h 117"/>
              <a:gd name="T16" fmla="*/ 149 w 160"/>
              <a:gd name="T17" fmla="*/ 35 h 117"/>
              <a:gd name="T18" fmla="*/ 120 w 160"/>
              <a:gd name="T19" fmla="*/ 32 h 117"/>
              <a:gd name="T20" fmla="*/ 91 w 160"/>
              <a:gd name="T21" fmla="*/ 35 h 117"/>
              <a:gd name="T22" fmla="*/ 69 w 160"/>
              <a:gd name="T23" fmla="*/ 35 h 117"/>
              <a:gd name="T24" fmla="*/ 40 w 160"/>
              <a:gd name="T25" fmla="*/ 32 h 117"/>
              <a:gd name="T26" fmla="*/ 11 w 160"/>
              <a:gd name="T27" fmla="*/ 35 h 117"/>
              <a:gd name="T28" fmla="*/ 155 w 160"/>
              <a:gd name="T29" fmla="*/ 106 h 117"/>
              <a:gd name="T30" fmla="*/ 155 w 160"/>
              <a:gd name="T31" fmla="*/ 40 h 117"/>
              <a:gd name="T32" fmla="*/ 149 w 160"/>
              <a:gd name="T33" fmla="*/ 5 h 117"/>
              <a:gd name="T34" fmla="*/ 147 w 160"/>
              <a:gd name="T35" fmla="*/ 104 h 117"/>
              <a:gd name="T36" fmla="*/ 135 w 160"/>
              <a:gd name="T37" fmla="*/ 104 h 117"/>
              <a:gd name="T38" fmla="*/ 115 w 160"/>
              <a:gd name="T39" fmla="*/ 89 h 117"/>
              <a:gd name="T40" fmla="*/ 106 w 160"/>
              <a:gd name="T41" fmla="*/ 76 h 117"/>
              <a:gd name="T42" fmla="*/ 108 w 160"/>
              <a:gd name="T43" fmla="*/ 71 h 117"/>
              <a:gd name="T44" fmla="*/ 117 w 160"/>
              <a:gd name="T45" fmla="*/ 64 h 117"/>
              <a:gd name="T46" fmla="*/ 129 w 160"/>
              <a:gd name="T47" fmla="*/ 76 h 117"/>
              <a:gd name="T48" fmla="*/ 120 w 160"/>
              <a:gd name="T49" fmla="*/ 85 h 117"/>
              <a:gd name="T50" fmla="*/ 104 w 160"/>
              <a:gd name="T51" fmla="*/ 99 h 117"/>
              <a:gd name="T52" fmla="*/ 131 w 160"/>
              <a:gd name="T53" fmla="*/ 91 h 117"/>
              <a:gd name="T54" fmla="*/ 132 w 160"/>
              <a:gd name="T55" fmla="*/ 69 h 117"/>
              <a:gd name="T56" fmla="*/ 106 w 160"/>
              <a:gd name="T57" fmla="*/ 55 h 117"/>
              <a:gd name="T58" fmla="*/ 104 w 160"/>
              <a:gd name="T59" fmla="*/ 65 h 117"/>
              <a:gd name="T60" fmla="*/ 109 w 160"/>
              <a:gd name="T61" fmla="*/ 88 h 117"/>
              <a:gd name="T62" fmla="*/ 93 w 160"/>
              <a:gd name="T63" fmla="*/ 51 h 117"/>
              <a:gd name="T64" fmla="*/ 40 w 160"/>
              <a:gd name="T65" fmla="*/ 56 h 117"/>
              <a:gd name="T66" fmla="*/ 75 w 160"/>
              <a:gd name="T67" fmla="*/ 51 h 117"/>
              <a:gd name="T68" fmla="*/ 13 w 160"/>
              <a:gd name="T69" fmla="*/ 67 h 117"/>
              <a:gd name="T70" fmla="*/ 16 w 160"/>
              <a:gd name="T71" fmla="*/ 69 h 117"/>
              <a:gd name="T72" fmla="*/ 35 w 160"/>
              <a:gd name="T73" fmla="*/ 64 h 117"/>
              <a:gd name="T74" fmla="*/ 45 w 160"/>
              <a:gd name="T75" fmla="*/ 64 h 117"/>
              <a:gd name="T76" fmla="*/ 43 w 160"/>
              <a:gd name="T77" fmla="*/ 67 h 117"/>
              <a:gd name="T78" fmla="*/ 67 w 160"/>
              <a:gd name="T79" fmla="*/ 67 h 117"/>
              <a:gd name="T80" fmla="*/ 77 w 160"/>
              <a:gd name="T81" fmla="*/ 69 h 117"/>
              <a:gd name="T82" fmla="*/ 77 w 160"/>
              <a:gd name="T83" fmla="*/ 65 h 117"/>
              <a:gd name="T84" fmla="*/ 19 w 160"/>
              <a:gd name="T85" fmla="*/ 91 h 117"/>
              <a:gd name="T86" fmla="*/ 67 w 160"/>
              <a:gd name="T87" fmla="*/ 92 h 117"/>
              <a:gd name="T88" fmla="*/ 50 w 160"/>
              <a:gd name="T89" fmla="*/ 86 h 117"/>
              <a:gd name="T90" fmla="*/ 115 w 160"/>
              <a:gd name="T91" fmla="*/ 27 h 117"/>
              <a:gd name="T92" fmla="*/ 131 w 160"/>
              <a:gd name="T93" fmla="*/ 27 h 117"/>
              <a:gd name="T94" fmla="*/ 67 w 160"/>
              <a:gd name="T95" fmla="*/ 27 h 117"/>
              <a:gd name="T96" fmla="*/ 83 w 160"/>
              <a:gd name="T97" fmla="*/ 27 h 117"/>
              <a:gd name="T98" fmla="*/ 99 w 160"/>
              <a:gd name="T99" fmla="*/ 27 h 117"/>
              <a:gd name="T100" fmla="*/ 147 w 160"/>
              <a:gd name="T101" fmla="*/ 27 h 117"/>
              <a:gd name="T102" fmla="*/ 51 w 160"/>
              <a:gd name="T103" fmla="*/ 27 h 117"/>
              <a:gd name="T104" fmla="*/ 19 w 160"/>
              <a:gd name="T105" fmla="*/ 27 h 117"/>
              <a:gd name="T106" fmla="*/ 35 w 160"/>
              <a:gd name="T107" fmla="*/ 2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17">
                <a:moveTo>
                  <a:pt x="149" y="0"/>
                </a:moveTo>
                <a:cubicBezTo>
                  <a:pt x="11" y="0"/>
                  <a:pt x="11" y="0"/>
                  <a:pt x="11" y="0"/>
                </a:cubicBezTo>
                <a:cubicBezTo>
                  <a:pt x="5" y="0"/>
                  <a:pt x="0" y="5"/>
                  <a:pt x="0" y="11"/>
                </a:cubicBezTo>
                <a:cubicBezTo>
                  <a:pt x="0" y="13"/>
                  <a:pt x="0" y="13"/>
                  <a:pt x="0" y="13"/>
                </a:cubicBezTo>
                <a:cubicBezTo>
                  <a:pt x="0" y="40"/>
                  <a:pt x="0" y="40"/>
                  <a:pt x="0" y="40"/>
                </a:cubicBezTo>
                <a:cubicBezTo>
                  <a:pt x="0" y="106"/>
                  <a:pt x="0" y="106"/>
                  <a:pt x="0" y="106"/>
                </a:cubicBezTo>
                <a:cubicBezTo>
                  <a:pt x="0" y="112"/>
                  <a:pt x="5" y="117"/>
                  <a:pt x="11" y="117"/>
                </a:cubicBezTo>
                <a:cubicBezTo>
                  <a:pt x="149" y="117"/>
                  <a:pt x="149" y="117"/>
                  <a:pt x="149" y="117"/>
                </a:cubicBezTo>
                <a:cubicBezTo>
                  <a:pt x="155" y="117"/>
                  <a:pt x="160" y="112"/>
                  <a:pt x="160" y="106"/>
                </a:cubicBezTo>
                <a:cubicBezTo>
                  <a:pt x="160" y="40"/>
                  <a:pt x="160" y="40"/>
                  <a:pt x="160" y="40"/>
                </a:cubicBezTo>
                <a:cubicBezTo>
                  <a:pt x="160" y="13"/>
                  <a:pt x="160" y="13"/>
                  <a:pt x="160" y="13"/>
                </a:cubicBezTo>
                <a:cubicBezTo>
                  <a:pt x="160" y="11"/>
                  <a:pt x="160" y="11"/>
                  <a:pt x="160" y="11"/>
                </a:cubicBezTo>
                <a:cubicBezTo>
                  <a:pt x="160" y="5"/>
                  <a:pt x="155" y="0"/>
                  <a:pt x="149" y="0"/>
                </a:cubicBezTo>
                <a:close/>
                <a:moveTo>
                  <a:pt x="8" y="21"/>
                </a:moveTo>
                <a:cubicBezTo>
                  <a:pt x="9" y="21"/>
                  <a:pt x="11" y="20"/>
                  <a:pt x="11" y="19"/>
                </a:cubicBezTo>
                <a:cubicBezTo>
                  <a:pt x="21" y="19"/>
                  <a:pt x="21" y="19"/>
                  <a:pt x="21" y="19"/>
                </a:cubicBezTo>
                <a:cubicBezTo>
                  <a:pt x="21" y="20"/>
                  <a:pt x="23" y="21"/>
                  <a:pt x="24" y="21"/>
                </a:cubicBezTo>
                <a:cubicBezTo>
                  <a:pt x="25" y="21"/>
                  <a:pt x="27" y="20"/>
                  <a:pt x="27" y="19"/>
                </a:cubicBezTo>
                <a:cubicBezTo>
                  <a:pt x="37" y="19"/>
                  <a:pt x="37" y="19"/>
                  <a:pt x="37" y="19"/>
                </a:cubicBezTo>
                <a:cubicBezTo>
                  <a:pt x="37" y="20"/>
                  <a:pt x="39" y="21"/>
                  <a:pt x="40" y="21"/>
                </a:cubicBezTo>
                <a:cubicBezTo>
                  <a:pt x="41" y="21"/>
                  <a:pt x="43" y="20"/>
                  <a:pt x="43" y="19"/>
                </a:cubicBezTo>
                <a:cubicBezTo>
                  <a:pt x="53" y="19"/>
                  <a:pt x="53" y="19"/>
                  <a:pt x="53" y="19"/>
                </a:cubicBezTo>
                <a:cubicBezTo>
                  <a:pt x="53" y="20"/>
                  <a:pt x="55" y="21"/>
                  <a:pt x="56" y="21"/>
                </a:cubicBezTo>
                <a:cubicBezTo>
                  <a:pt x="57" y="21"/>
                  <a:pt x="59" y="20"/>
                  <a:pt x="59" y="19"/>
                </a:cubicBezTo>
                <a:cubicBezTo>
                  <a:pt x="69" y="19"/>
                  <a:pt x="69" y="19"/>
                  <a:pt x="69" y="19"/>
                </a:cubicBezTo>
                <a:cubicBezTo>
                  <a:pt x="69" y="20"/>
                  <a:pt x="71" y="21"/>
                  <a:pt x="72" y="21"/>
                </a:cubicBezTo>
                <a:cubicBezTo>
                  <a:pt x="73" y="21"/>
                  <a:pt x="75" y="20"/>
                  <a:pt x="75" y="19"/>
                </a:cubicBezTo>
                <a:cubicBezTo>
                  <a:pt x="85" y="19"/>
                  <a:pt x="85" y="19"/>
                  <a:pt x="85" y="19"/>
                </a:cubicBezTo>
                <a:cubicBezTo>
                  <a:pt x="85" y="20"/>
                  <a:pt x="87" y="21"/>
                  <a:pt x="88" y="21"/>
                </a:cubicBezTo>
                <a:cubicBezTo>
                  <a:pt x="89" y="21"/>
                  <a:pt x="91" y="20"/>
                  <a:pt x="91" y="19"/>
                </a:cubicBezTo>
                <a:cubicBezTo>
                  <a:pt x="101" y="19"/>
                  <a:pt x="101" y="19"/>
                  <a:pt x="101" y="19"/>
                </a:cubicBezTo>
                <a:cubicBezTo>
                  <a:pt x="101" y="20"/>
                  <a:pt x="103" y="21"/>
                  <a:pt x="104" y="21"/>
                </a:cubicBezTo>
                <a:cubicBezTo>
                  <a:pt x="105" y="21"/>
                  <a:pt x="107" y="20"/>
                  <a:pt x="107" y="19"/>
                </a:cubicBezTo>
                <a:cubicBezTo>
                  <a:pt x="117" y="19"/>
                  <a:pt x="117" y="19"/>
                  <a:pt x="117" y="19"/>
                </a:cubicBezTo>
                <a:cubicBezTo>
                  <a:pt x="117" y="20"/>
                  <a:pt x="119" y="21"/>
                  <a:pt x="120" y="21"/>
                </a:cubicBezTo>
                <a:cubicBezTo>
                  <a:pt x="121" y="21"/>
                  <a:pt x="123" y="20"/>
                  <a:pt x="123" y="19"/>
                </a:cubicBezTo>
                <a:cubicBezTo>
                  <a:pt x="133" y="19"/>
                  <a:pt x="133" y="19"/>
                  <a:pt x="133" y="19"/>
                </a:cubicBezTo>
                <a:cubicBezTo>
                  <a:pt x="133" y="20"/>
                  <a:pt x="135" y="21"/>
                  <a:pt x="136" y="21"/>
                </a:cubicBezTo>
                <a:cubicBezTo>
                  <a:pt x="137" y="21"/>
                  <a:pt x="139" y="20"/>
                  <a:pt x="139" y="19"/>
                </a:cubicBezTo>
                <a:cubicBezTo>
                  <a:pt x="149" y="19"/>
                  <a:pt x="149" y="19"/>
                  <a:pt x="149" y="19"/>
                </a:cubicBezTo>
                <a:cubicBezTo>
                  <a:pt x="149" y="20"/>
                  <a:pt x="151" y="21"/>
                  <a:pt x="152" y="21"/>
                </a:cubicBezTo>
                <a:cubicBezTo>
                  <a:pt x="153" y="21"/>
                  <a:pt x="155" y="20"/>
                  <a:pt x="155" y="19"/>
                </a:cubicBezTo>
                <a:cubicBezTo>
                  <a:pt x="155" y="35"/>
                  <a:pt x="155" y="35"/>
                  <a:pt x="155" y="35"/>
                </a:cubicBezTo>
                <a:cubicBezTo>
                  <a:pt x="155" y="33"/>
                  <a:pt x="153" y="32"/>
                  <a:pt x="152" y="32"/>
                </a:cubicBezTo>
                <a:cubicBezTo>
                  <a:pt x="151" y="32"/>
                  <a:pt x="149" y="33"/>
                  <a:pt x="149" y="35"/>
                </a:cubicBezTo>
                <a:cubicBezTo>
                  <a:pt x="139" y="35"/>
                  <a:pt x="139" y="35"/>
                  <a:pt x="139" y="35"/>
                </a:cubicBezTo>
                <a:cubicBezTo>
                  <a:pt x="139" y="33"/>
                  <a:pt x="137" y="32"/>
                  <a:pt x="136" y="32"/>
                </a:cubicBezTo>
                <a:cubicBezTo>
                  <a:pt x="135" y="32"/>
                  <a:pt x="133" y="33"/>
                  <a:pt x="133" y="35"/>
                </a:cubicBezTo>
                <a:cubicBezTo>
                  <a:pt x="123" y="35"/>
                  <a:pt x="123" y="35"/>
                  <a:pt x="123" y="35"/>
                </a:cubicBezTo>
                <a:cubicBezTo>
                  <a:pt x="123" y="33"/>
                  <a:pt x="121" y="32"/>
                  <a:pt x="120" y="32"/>
                </a:cubicBezTo>
                <a:cubicBezTo>
                  <a:pt x="119" y="32"/>
                  <a:pt x="117" y="33"/>
                  <a:pt x="117" y="35"/>
                </a:cubicBezTo>
                <a:cubicBezTo>
                  <a:pt x="107" y="35"/>
                  <a:pt x="107" y="35"/>
                  <a:pt x="107" y="35"/>
                </a:cubicBezTo>
                <a:cubicBezTo>
                  <a:pt x="107" y="33"/>
                  <a:pt x="105" y="32"/>
                  <a:pt x="104" y="32"/>
                </a:cubicBezTo>
                <a:cubicBezTo>
                  <a:pt x="103" y="32"/>
                  <a:pt x="101" y="33"/>
                  <a:pt x="101" y="35"/>
                </a:cubicBezTo>
                <a:cubicBezTo>
                  <a:pt x="91" y="35"/>
                  <a:pt x="91" y="35"/>
                  <a:pt x="91" y="35"/>
                </a:cubicBezTo>
                <a:cubicBezTo>
                  <a:pt x="91" y="33"/>
                  <a:pt x="89" y="32"/>
                  <a:pt x="88" y="32"/>
                </a:cubicBezTo>
                <a:cubicBezTo>
                  <a:pt x="87" y="32"/>
                  <a:pt x="85" y="33"/>
                  <a:pt x="85" y="35"/>
                </a:cubicBezTo>
                <a:cubicBezTo>
                  <a:pt x="75" y="35"/>
                  <a:pt x="75" y="35"/>
                  <a:pt x="75" y="35"/>
                </a:cubicBezTo>
                <a:cubicBezTo>
                  <a:pt x="75" y="33"/>
                  <a:pt x="73" y="32"/>
                  <a:pt x="72" y="32"/>
                </a:cubicBezTo>
                <a:cubicBezTo>
                  <a:pt x="71" y="32"/>
                  <a:pt x="69" y="33"/>
                  <a:pt x="69" y="35"/>
                </a:cubicBezTo>
                <a:cubicBezTo>
                  <a:pt x="59" y="35"/>
                  <a:pt x="59" y="35"/>
                  <a:pt x="59" y="35"/>
                </a:cubicBezTo>
                <a:cubicBezTo>
                  <a:pt x="59" y="33"/>
                  <a:pt x="57" y="32"/>
                  <a:pt x="56" y="32"/>
                </a:cubicBezTo>
                <a:cubicBezTo>
                  <a:pt x="55" y="32"/>
                  <a:pt x="53" y="33"/>
                  <a:pt x="53" y="35"/>
                </a:cubicBezTo>
                <a:cubicBezTo>
                  <a:pt x="43" y="35"/>
                  <a:pt x="43" y="35"/>
                  <a:pt x="43" y="35"/>
                </a:cubicBezTo>
                <a:cubicBezTo>
                  <a:pt x="43" y="33"/>
                  <a:pt x="41" y="32"/>
                  <a:pt x="40" y="32"/>
                </a:cubicBezTo>
                <a:cubicBezTo>
                  <a:pt x="39" y="32"/>
                  <a:pt x="37" y="33"/>
                  <a:pt x="37" y="35"/>
                </a:cubicBezTo>
                <a:cubicBezTo>
                  <a:pt x="27" y="35"/>
                  <a:pt x="27" y="35"/>
                  <a:pt x="27" y="35"/>
                </a:cubicBezTo>
                <a:cubicBezTo>
                  <a:pt x="27" y="33"/>
                  <a:pt x="25" y="32"/>
                  <a:pt x="24" y="32"/>
                </a:cubicBezTo>
                <a:cubicBezTo>
                  <a:pt x="23" y="32"/>
                  <a:pt x="21" y="33"/>
                  <a:pt x="21" y="35"/>
                </a:cubicBezTo>
                <a:cubicBezTo>
                  <a:pt x="11" y="35"/>
                  <a:pt x="11" y="35"/>
                  <a:pt x="11" y="35"/>
                </a:cubicBezTo>
                <a:cubicBezTo>
                  <a:pt x="11" y="33"/>
                  <a:pt x="9" y="32"/>
                  <a:pt x="8" y="32"/>
                </a:cubicBezTo>
                <a:cubicBezTo>
                  <a:pt x="7" y="32"/>
                  <a:pt x="5" y="33"/>
                  <a:pt x="5" y="35"/>
                </a:cubicBezTo>
                <a:cubicBezTo>
                  <a:pt x="5" y="19"/>
                  <a:pt x="5" y="19"/>
                  <a:pt x="5" y="19"/>
                </a:cubicBezTo>
                <a:cubicBezTo>
                  <a:pt x="5" y="20"/>
                  <a:pt x="7" y="21"/>
                  <a:pt x="8" y="21"/>
                </a:cubicBezTo>
                <a:close/>
                <a:moveTo>
                  <a:pt x="155" y="106"/>
                </a:moveTo>
                <a:cubicBezTo>
                  <a:pt x="155" y="109"/>
                  <a:pt x="152" y="112"/>
                  <a:pt x="149" y="112"/>
                </a:cubicBezTo>
                <a:cubicBezTo>
                  <a:pt x="11" y="112"/>
                  <a:pt x="11" y="112"/>
                  <a:pt x="11" y="112"/>
                </a:cubicBezTo>
                <a:cubicBezTo>
                  <a:pt x="8" y="112"/>
                  <a:pt x="5" y="109"/>
                  <a:pt x="5" y="106"/>
                </a:cubicBezTo>
                <a:cubicBezTo>
                  <a:pt x="5" y="40"/>
                  <a:pt x="5" y="40"/>
                  <a:pt x="5" y="40"/>
                </a:cubicBezTo>
                <a:cubicBezTo>
                  <a:pt x="155" y="40"/>
                  <a:pt x="155" y="40"/>
                  <a:pt x="155" y="40"/>
                </a:cubicBezTo>
                <a:lnTo>
                  <a:pt x="155" y="106"/>
                </a:lnTo>
                <a:close/>
                <a:moveTo>
                  <a:pt x="5" y="13"/>
                </a:moveTo>
                <a:cubicBezTo>
                  <a:pt x="5" y="11"/>
                  <a:pt x="5" y="11"/>
                  <a:pt x="5" y="11"/>
                </a:cubicBezTo>
                <a:cubicBezTo>
                  <a:pt x="5" y="8"/>
                  <a:pt x="8" y="5"/>
                  <a:pt x="11" y="5"/>
                </a:cubicBezTo>
                <a:cubicBezTo>
                  <a:pt x="149" y="5"/>
                  <a:pt x="149" y="5"/>
                  <a:pt x="149" y="5"/>
                </a:cubicBezTo>
                <a:cubicBezTo>
                  <a:pt x="152" y="5"/>
                  <a:pt x="155" y="8"/>
                  <a:pt x="155" y="11"/>
                </a:cubicBezTo>
                <a:cubicBezTo>
                  <a:pt x="155" y="13"/>
                  <a:pt x="155" y="13"/>
                  <a:pt x="155" y="13"/>
                </a:cubicBezTo>
                <a:lnTo>
                  <a:pt x="5" y="13"/>
                </a:lnTo>
                <a:close/>
                <a:moveTo>
                  <a:pt x="135" y="104"/>
                </a:moveTo>
                <a:cubicBezTo>
                  <a:pt x="147" y="104"/>
                  <a:pt x="147" y="104"/>
                  <a:pt x="147" y="104"/>
                </a:cubicBezTo>
                <a:cubicBezTo>
                  <a:pt x="147" y="45"/>
                  <a:pt x="147" y="45"/>
                  <a:pt x="147" y="45"/>
                </a:cubicBezTo>
                <a:cubicBezTo>
                  <a:pt x="88" y="45"/>
                  <a:pt x="88" y="45"/>
                  <a:pt x="88" y="45"/>
                </a:cubicBezTo>
                <a:cubicBezTo>
                  <a:pt x="88" y="104"/>
                  <a:pt x="88" y="104"/>
                  <a:pt x="88" y="104"/>
                </a:cubicBezTo>
                <a:cubicBezTo>
                  <a:pt x="100" y="104"/>
                  <a:pt x="100" y="104"/>
                  <a:pt x="100" y="104"/>
                </a:cubicBezTo>
                <a:lnTo>
                  <a:pt x="135" y="104"/>
                </a:lnTo>
                <a:close/>
                <a:moveTo>
                  <a:pt x="104" y="99"/>
                </a:moveTo>
                <a:cubicBezTo>
                  <a:pt x="104" y="99"/>
                  <a:pt x="104" y="99"/>
                  <a:pt x="104" y="99"/>
                </a:cubicBezTo>
                <a:cubicBezTo>
                  <a:pt x="104" y="97"/>
                  <a:pt x="105" y="96"/>
                  <a:pt x="106" y="96"/>
                </a:cubicBezTo>
                <a:cubicBezTo>
                  <a:pt x="112" y="93"/>
                  <a:pt x="112" y="93"/>
                  <a:pt x="112" y="93"/>
                </a:cubicBezTo>
                <a:cubicBezTo>
                  <a:pt x="114" y="92"/>
                  <a:pt x="115" y="90"/>
                  <a:pt x="115" y="89"/>
                </a:cubicBezTo>
                <a:cubicBezTo>
                  <a:pt x="115" y="85"/>
                  <a:pt x="115" y="85"/>
                  <a:pt x="115" y="85"/>
                </a:cubicBezTo>
                <a:cubicBezTo>
                  <a:pt x="113" y="84"/>
                  <a:pt x="113" y="84"/>
                  <a:pt x="113" y="84"/>
                </a:cubicBezTo>
                <a:cubicBezTo>
                  <a:pt x="111" y="83"/>
                  <a:pt x="109" y="81"/>
                  <a:pt x="108" y="78"/>
                </a:cubicBezTo>
                <a:cubicBezTo>
                  <a:pt x="108" y="77"/>
                  <a:pt x="108" y="77"/>
                  <a:pt x="108" y="77"/>
                </a:cubicBezTo>
                <a:cubicBezTo>
                  <a:pt x="106" y="76"/>
                  <a:pt x="106" y="76"/>
                  <a:pt x="106" y="76"/>
                </a:cubicBezTo>
                <a:cubicBezTo>
                  <a:pt x="106" y="76"/>
                  <a:pt x="106" y="76"/>
                  <a:pt x="106" y="76"/>
                </a:cubicBezTo>
                <a:cubicBezTo>
                  <a:pt x="106" y="74"/>
                  <a:pt x="106" y="74"/>
                  <a:pt x="106" y="74"/>
                </a:cubicBezTo>
                <a:cubicBezTo>
                  <a:pt x="106" y="73"/>
                  <a:pt x="106" y="73"/>
                  <a:pt x="106" y="73"/>
                </a:cubicBezTo>
                <a:cubicBezTo>
                  <a:pt x="108" y="72"/>
                  <a:pt x="108" y="72"/>
                  <a:pt x="108" y="72"/>
                </a:cubicBezTo>
                <a:cubicBezTo>
                  <a:pt x="108" y="71"/>
                  <a:pt x="108" y="71"/>
                  <a:pt x="108" y="71"/>
                </a:cubicBezTo>
                <a:cubicBezTo>
                  <a:pt x="108" y="69"/>
                  <a:pt x="108" y="68"/>
                  <a:pt x="109" y="67"/>
                </a:cubicBezTo>
                <a:cubicBezTo>
                  <a:pt x="109" y="66"/>
                  <a:pt x="109" y="66"/>
                  <a:pt x="109" y="65"/>
                </a:cubicBezTo>
                <a:cubicBezTo>
                  <a:pt x="110" y="64"/>
                  <a:pt x="110" y="64"/>
                  <a:pt x="110" y="63"/>
                </a:cubicBezTo>
                <a:cubicBezTo>
                  <a:pt x="112" y="64"/>
                  <a:pt x="114" y="64"/>
                  <a:pt x="117" y="64"/>
                </a:cubicBezTo>
                <a:cubicBezTo>
                  <a:pt x="117" y="64"/>
                  <a:pt x="117" y="64"/>
                  <a:pt x="117" y="64"/>
                </a:cubicBezTo>
                <a:cubicBezTo>
                  <a:pt x="125" y="64"/>
                  <a:pt x="127" y="67"/>
                  <a:pt x="127" y="71"/>
                </a:cubicBezTo>
                <a:cubicBezTo>
                  <a:pt x="127" y="72"/>
                  <a:pt x="127" y="72"/>
                  <a:pt x="127" y="72"/>
                </a:cubicBezTo>
                <a:cubicBezTo>
                  <a:pt x="128" y="73"/>
                  <a:pt x="128" y="73"/>
                  <a:pt x="128" y="73"/>
                </a:cubicBezTo>
                <a:cubicBezTo>
                  <a:pt x="129" y="73"/>
                  <a:pt x="129" y="73"/>
                  <a:pt x="129" y="74"/>
                </a:cubicBezTo>
                <a:cubicBezTo>
                  <a:pt x="129" y="76"/>
                  <a:pt x="129" y="76"/>
                  <a:pt x="129" y="76"/>
                </a:cubicBezTo>
                <a:cubicBezTo>
                  <a:pt x="129" y="76"/>
                  <a:pt x="129" y="76"/>
                  <a:pt x="128" y="76"/>
                </a:cubicBezTo>
                <a:cubicBezTo>
                  <a:pt x="127" y="77"/>
                  <a:pt x="127" y="77"/>
                  <a:pt x="127" y="77"/>
                </a:cubicBezTo>
                <a:cubicBezTo>
                  <a:pt x="126" y="78"/>
                  <a:pt x="126" y="78"/>
                  <a:pt x="126" y="78"/>
                </a:cubicBezTo>
                <a:cubicBezTo>
                  <a:pt x="126" y="81"/>
                  <a:pt x="124" y="83"/>
                  <a:pt x="122" y="84"/>
                </a:cubicBezTo>
                <a:cubicBezTo>
                  <a:pt x="120" y="85"/>
                  <a:pt x="120" y="85"/>
                  <a:pt x="120" y="85"/>
                </a:cubicBezTo>
                <a:cubicBezTo>
                  <a:pt x="120" y="89"/>
                  <a:pt x="120" y="89"/>
                  <a:pt x="120" y="89"/>
                </a:cubicBezTo>
                <a:cubicBezTo>
                  <a:pt x="120" y="90"/>
                  <a:pt x="121" y="92"/>
                  <a:pt x="122" y="93"/>
                </a:cubicBezTo>
                <a:cubicBezTo>
                  <a:pt x="129" y="96"/>
                  <a:pt x="129" y="96"/>
                  <a:pt x="129" y="96"/>
                </a:cubicBezTo>
                <a:cubicBezTo>
                  <a:pt x="130" y="96"/>
                  <a:pt x="131" y="98"/>
                  <a:pt x="131" y="99"/>
                </a:cubicBezTo>
                <a:cubicBezTo>
                  <a:pt x="104" y="99"/>
                  <a:pt x="104" y="99"/>
                  <a:pt x="104" y="99"/>
                </a:cubicBezTo>
                <a:close/>
                <a:moveTo>
                  <a:pt x="93" y="51"/>
                </a:moveTo>
                <a:cubicBezTo>
                  <a:pt x="141" y="51"/>
                  <a:pt x="141" y="51"/>
                  <a:pt x="141" y="51"/>
                </a:cubicBezTo>
                <a:cubicBezTo>
                  <a:pt x="141" y="99"/>
                  <a:pt x="141" y="99"/>
                  <a:pt x="141" y="99"/>
                </a:cubicBezTo>
                <a:cubicBezTo>
                  <a:pt x="136" y="99"/>
                  <a:pt x="136" y="99"/>
                  <a:pt x="136" y="99"/>
                </a:cubicBezTo>
                <a:cubicBezTo>
                  <a:pt x="136" y="95"/>
                  <a:pt x="134" y="93"/>
                  <a:pt x="131" y="91"/>
                </a:cubicBezTo>
                <a:cubicBezTo>
                  <a:pt x="126" y="88"/>
                  <a:pt x="126" y="88"/>
                  <a:pt x="126" y="88"/>
                </a:cubicBezTo>
                <a:cubicBezTo>
                  <a:pt x="128" y="87"/>
                  <a:pt x="130" y="84"/>
                  <a:pt x="131" y="81"/>
                </a:cubicBezTo>
                <a:cubicBezTo>
                  <a:pt x="133" y="80"/>
                  <a:pt x="134" y="78"/>
                  <a:pt x="134" y="76"/>
                </a:cubicBezTo>
                <a:cubicBezTo>
                  <a:pt x="134" y="74"/>
                  <a:pt x="134" y="74"/>
                  <a:pt x="134" y="74"/>
                </a:cubicBezTo>
                <a:cubicBezTo>
                  <a:pt x="134" y="72"/>
                  <a:pt x="133" y="70"/>
                  <a:pt x="132" y="69"/>
                </a:cubicBezTo>
                <a:cubicBezTo>
                  <a:pt x="131" y="64"/>
                  <a:pt x="128" y="59"/>
                  <a:pt x="117" y="59"/>
                </a:cubicBezTo>
                <a:cubicBezTo>
                  <a:pt x="117" y="59"/>
                  <a:pt x="117" y="59"/>
                  <a:pt x="116" y="59"/>
                </a:cubicBezTo>
                <a:cubicBezTo>
                  <a:pt x="115" y="59"/>
                  <a:pt x="113" y="59"/>
                  <a:pt x="111" y="57"/>
                </a:cubicBezTo>
                <a:cubicBezTo>
                  <a:pt x="110" y="57"/>
                  <a:pt x="110" y="57"/>
                  <a:pt x="110" y="56"/>
                </a:cubicBezTo>
                <a:cubicBezTo>
                  <a:pt x="109" y="55"/>
                  <a:pt x="107" y="55"/>
                  <a:pt x="106" y="55"/>
                </a:cubicBezTo>
                <a:cubicBezTo>
                  <a:pt x="105" y="56"/>
                  <a:pt x="104" y="57"/>
                  <a:pt x="104" y="58"/>
                </a:cubicBezTo>
                <a:cubicBezTo>
                  <a:pt x="104" y="59"/>
                  <a:pt x="104" y="60"/>
                  <a:pt x="105" y="61"/>
                </a:cubicBezTo>
                <a:cubicBezTo>
                  <a:pt x="105" y="62"/>
                  <a:pt x="105" y="62"/>
                  <a:pt x="105" y="62"/>
                </a:cubicBezTo>
                <a:cubicBezTo>
                  <a:pt x="105" y="62"/>
                  <a:pt x="105" y="63"/>
                  <a:pt x="104" y="63"/>
                </a:cubicBezTo>
                <a:cubicBezTo>
                  <a:pt x="104" y="63"/>
                  <a:pt x="104" y="64"/>
                  <a:pt x="104" y="65"/>
                </a:cubicBezTo>
                <a:cubicBezTo>
                  <a:pt x="103" y="66"/>
                  <a:pt x="103" y="68"/>
                  <a:pt x="103" y="69"/>
                </a:cubicBezTo>
                <a:cubicBezTo>
                  <a:pt x="101" y="70"/>
                  <a:pt x="100" y="72"/>
                  <a:pt x="100" y="74"/>
                </a:cubicBezTo>
                <a:cubicBezTo>
                  <a:pt x="100" y="76"/>
                  <a:pt x="100" y="76"/>
                  <a:pt x="100" y="76"/>
                </a:cubicBezTo>
                <a:cubicBezTo>
                  <a:pt x="100" y="78"/>
                  <a:pt x="102" y="80"/>
                  <a:pt x="103" y="81"/>
                </a:cubicBezTo>
                <a:cubicBezTo>
                  <a:pt x="105" y="84"/>
                  <a:pt x="106" y="87"/>
                  <a:pt x="109" y="88"/>
                </a:cubicBezTo>
                <a:cubicBezTo>
                  <a:pt x="103" y="91"/>
                  <a:pt x="103" y="91"/>
                  <a:pt x="103" y="91"/>
                </a:cubicBezTo>
                <a:cubicBezTo>
                  <a:pt x="100" y="93"/>
                  <a:pt x="99" y="96"/>
                  <a:pt x="99" y="99"/>
                </a:cubicBezTo>
                <a:cubicBezTo>
                  <a:pt x="99" y="99"/>
                  <a:pt x="99" y="99"/>
                  <a:pt x="99" y="99"/>
                </a:cubicBezTo>
                <a:cubicBezTo>
                  <a:pt x="93" y="99"/>
                  <a:pt x="93" y="99"/>
                  <a:pt x="93" y="99"/>
                </a:cubicBezTo>
                <a:lnTo>
                  <a:pt x="93" y="51"/>
                </a:lnTo>
                <a:close/>
                <a:moveTo>
                  <a:pt x="13" y="53"/>
                </a:moveTo>
                <a:cubicBezTo>
                  <a:pt x="13" y="52"/>
                  <a:pt x="15" y="51"/>
                  <a:pt x="16" y="51"/>
                </a:cubicBezTo>
                <a:cubicBezTo>
                  <a:pt x="40" y="51"/>
                  <a:pt x="40" y="51"/>
                  <a:pt x="40" y="51"/>
                </a:cubicBezTo>
                <a:cubicBezTo>
                  <a:pt x="41" y="51"/>
                  <a:pt x="43" y="52"/>
                  <a:pt x="43" y="53"/>
                </a:cubicBezTo>
                <a:cubicBezTo>
                  <a:pt x="43" y="55"/>
                  <a:pt x="41" y="56"/>
                  <a:pt x="40" y="56"/>
                </a:cubicBezTo>
                <a:cubicBezTo>
                  <a:pt x="16" y="56"/>
                  <a:pt x="16" y="56"/>
                  <a:pt x="16" y="56"/>
                </a:cubicBezTo>
                <a:cubicBezTo>
                  <a:pt x="15" y="56"/>
                  <a:pt x="13" y="55"/>
                  <a:pt x="13" y="53"/>
                </a:cubicBezTo>
                <a:close/>
                <a:moveTo>
                  <a:pt x="48" y="53"/>
                </a:moveTo>
                <a:cubicBezTo>
                  <a:pt x="48" y="52"/>
                  <a:pt x="49" y="51"/>
                  <a:pt x="51" y="51"/>
                </a:cubicBezTo>
                <a:cubicBezTo>
                  <a:pt x="75" y="51"/>
                  <a:pt x="75" y="51"/>
                  <a:pt x="75" y="51"/>
                </a:cubicBezTo>
                <a:cubicBezTo>
                  <a:pt x="76" y="51"/>
                  <a:pt x="77" y="52"/>
                  <a:pt x="77" y="53"/>
                </a:cubicBezTo>
                <a:cubicBezTo>
                  <a:pt x="77" y="55"/>
                  <a:pt x="76" y="56"/>
                  <a:pt x="75" y="56"/>
                </a:cubicBezTo>
                <a:cubicBezTo>
                  <a:pt x="51" y="56"/>
                  <a:pt x="51" y="56"/>
                  <a:pt x="51" y="56"/>
                </a:cubicBezTo>
                <a:cubicBezTo>
                  <a:pt x="49" y="56"/>
                  <a:pt x="48" y="55"/>
                  <a:pt x="48" y="53"/>
                </a:cubicBezTo>
                <a:close/>
                <a:moveTo>
                  <a:pt x="13" y="67"/>
                </a:moveTo>
                <a:cubicBezTo>
                  <a:pt x="13" y="65"/>
                  <a:pt x="15" y="64"/>
                  <a:pt x="16" y="64"/>
                </a:cubicBezTo>
                <a:cubicBezTo>
                  <a:pt x="19" y="64"/>
                  <a:pt x="19" y="64"/>
                  <a:pt x="19" y="64"/>
                </a:cubicBezTo>
                <a:cubicBezTo>
                  <a:pt x="20" y="64"/>
                  <a:pt x="21" y="65"/>
                  <a:pt x="21" y="67"/>
                </a:cubicBezTo>
                <a:cubicBezTo>
                  <a:pt x="21" y="68"/>
                  <a:pt x="20" y="69"/>
                  <a:pt x="19" y="69"/>
                </a:cubicBezTo>
                <a:cubicBezTo>
                  <a:pt x="16" y="69"/>
                  <a:pt x="16" y="69"/>
                  <a:pt x="16" y="69"/>
                </a:cubicBezTo>
                <a:cubicBezTo>
                  <a:pt x="15" y="69"/>
                  <a:pt x="13" y="68"/>
                  <a:pt x="13" y="67"/>
                </a:cubicBezTo>
                <a:close/>
                <a:moveTo>
                  <a:pt x="29" y="69"/>
                </a:moveTo>
                <a:cubicBezTo>
                  <a:pt x="28" y="69"/>
                  <a:pt x="27" y="68"/>
                  <a:pt x="27" y="67"/>
                </a:cubicBezTo>
                <a:cubicBezTo>
                  <a:pt x="27" y="65"/>
                  <a:pt x="28" y="64"/>
                  <a:pt x="29" y="64"/>
                </a:cubicBezTo>
                <a:cubicBezTo>
                  <a:pt x="35" y="64"/>
                  <a:pt x="35" y="64"/>
                  <a:pt x="35" y="64"/>
                </a:cubicBezTo>
                <a:cubicBezTo>
                  <a:pt x="36" y="64"/>
                  <a:pt x="37" y="65"/>
                  <a:pt x="37" y="67"/>
                </a:cubicBezTo>
                <a:cubicBezTo>
                  <a:pt x="37" y="68"/>
                  <a:pt x="36" y="69"/>
                  <a:pt x="35" y="69"/>
                </a:cubicBezTo>
                <a:lnTo>
                  <a:pt x="29" y="69"/>
                </a:lnTo>
                <a:close/>
                <a:moveTo>
                  <a:pt x="43" y="67"/>
                </a:moveTo>
                <a:cubicBezTo>
                  <a:pt x="43" y="65"/>
                  <a:pt x="44" y="64"/>
                  <a:pt x="45" y="64"/>
                </a:cubicBezTo>
                <a:cubicBezTo>
                  <a:pt x="48" y="64"/>
                  <a:pt x="48" y="64"/>
                  <a:pt x="48" y="64"/>
                </a:cubicBezTo>
                <a:cubicBezTo>
                  <a:pt x="49" y="64"/>
                  <a:pt x="51" y="65"/>
                  <a:pt x="51" y="67"/>
                </a:cubicBezTo>
                <a:cubicBezTo>
                  <a:pt x="51" y="68"/>
                  <a:pt x="49" y="69"/>
                  <a:pt x="48" y="69"/>
                </a:cubicBezTo>
                <a:cubicBezTo>
                  <a:pt x="45" y="69"/>
                  <a:pt x="45" y="69"/>
                  <a:pt x="45" y="69"/>
                </a:cubicBezTo>
                <a:cubicBezTo>
                  <a:pt x="44" y="69"/>
                  <a:pt x="43" y="68"/>
                  <a:pt x="43" y="67"/>
                </a:cubicBezTo>
                <a:close/>
                <a:moveTo>
                  <a:pt x="59" y="69"/>
                </a:moveTo>
                <a:cubicBezTo>
                  <a:pt x="57" y="69"/>
                  <a:pt x="56" y="68"/>
                  <a:pt x="56" y="67"/>
                </a:cubicBezTo>
                <a:cubicBezTo>
                  <a:pt x="56" y="65"/>
                  <a:pt x="57" y="64"/>
                  <a:pt x="59" y="64"/>
                </a:cubicBezTo>
                <a:cubicBezTo>
                  <a:pt x="64" y="64"/>
                  <a:pt x="64" y="64"/>
                  <a:pt x="64" y="64"/>
                </a:cubicBezTo>
                <a:cubicBezTo>
                  <a:pt x="65" y="64"/>
                  <a:pt x="67" y="65"/>
                  <a:pt x="67" y="67"/>
                </a:cubicBezTo>
                <a:cubicBezTo>
                  <a:pt x="67" y="68"/>
                  <a:pt x="65" y="69"/>
                  <a:pt x="64" y="69"/>
                </a:cubicBezTo>
                <a:lnTo>
                  <a:pt x="59" y="69"/>
                </a:lnTo>
                <a:close/>
                <a:moveTo>
                  <a:pt x="77" y="65"/>
                </a:moveTo>
                <a:cubicBezTo>
                  <a:pt x="77" y="65"/>
                  <a:pt x="77" y="66"/>
                  <a:pt x="77" y="67"/>
                </a:cubicBezTo>
                <a:cubicBezTo>
                  <a:pt x="77" y="67"/>
                  <a:pt x="77" y="68"/>
                  <a:pt x="77" y="69"/>
                </a:cubicBezTo>
                <a:cubicBezTo>
                  <a:pt x="76" y="69"/>
                  <a:pt x="75" y="69"/>
                  <a:pt x="75" y="69"/>
                </a:cubicBezTo>
                <a:cubicBezTo>
                  <a:pt x="74" y="69"/>
                  <a:pt x="73" y="69"/>
                  <a:pt x="73" y="69"/>
                </a:cubicBezTo>
                <a:cubicBezTo>
                  <a:pt x="72" y="68"/>
                  <a:pt x="72" y="67"/>
                  <a:pt x="72" y="67"/>
                </a:cubicBezTo>
                <a:cubicBezTo>
                  <a:pt x="72" y="66"/>
                  <a:pt x="72" y="65"/>
                  <a:pt x="73" y="65"/>
                </a:cubicBezTo>
                <a:cubicBezTo>
                  <a:pt x="74" y="64"/>
                  <a:pt x="76" y="64"/>
                  <a:pt x="77" y="65"/>
                </a:cubicBezTo>
                <a:close/>
                <a:moveTo>
                  <a:pt x="34" y="83"/>
                </a:moveTo>
                <a:cubicBezTo>
                  <a:pt x="28" y="86"/>
                  <a:pt x="28" y="93"/>
                  <a:pt x="28" y="99"/>
                </a:cubicBezTo>
                <a:cubicBezTo>
                  <a:pt x="27" y="101"/>
                  <a:pt x="25" y="102"/>
                  <a:pt x="23" y="101"/>
                </a:cubicBezTo>
                <a:cubicBezTo>
                  <a:pt x="20" y="98"/>
                  <a:pt x="18" y="96"/>
                  <a:pt x="15" y="94"/>
                </a:cubicBezTo>
                <a:cubicBezTo>
                  <a:pt x="13" y="92"/>
                  <a:pt x="17" y="88"/>
                  <a:pt x="19" y="91"/>
                </a:cubicBezTo>
                <a:cubicBezTo>
                  <a:pt x="20" y="91"/>
                  <a:pt x="21" y="92"/>
                  <a:pt x="23" y="93"/>
                </a:cubicBezTo>
                <a:cubicBezTo>
                  <a:pt x="23" y="87"/>
                  <a:pt x="25" y="81"/>
                  <a:pt x="31" y="78"/>
                </a:cubicBezTo>
                <a:cubicBezTo>
                  <a:pt x="34" y="77"/>
                  <a:pt x="37" y="81"/>
                  <a:pt x="34" y="83"/>
                </a:cubicBezTo>
                <a:close/>
                <a:moveTo>
                  <a:pt x="72" y="89"/>
                </a:moveTo>
                <a:cubicBezTo>
                  <a:pt x="74" y="92"/>
                  <a:pt x="69" y="95"/>
                  <a:pt x="67" y="92"/>
                </a:cubicBezTo>
                <a:cubicBezTo>
                  <a:pt x="66" y="91"/>
                  <a:pt x="58" y="95"/>
                  <a:pt x="56" y="94"/>
                </a:cubicBezTo>
                <a:cubicBezTo>
                  <a:pt x="54" y="94"/>
                  <a:pt x="52" y="93"/>
                  <a:pt x="51" y="92"/>
                </a:cubicBezTo>
                <a:cubicBezTo>
                  <a:pt x="45" y="95"/>
                  <a:pt x="39" y="96"/>
                  <a:pt x="34" y="91"/>
                </a:cubicBezTo>
                <a:cubicBezTo>
                  <a:pt x="31" y="88"/>
                  <a:pt x="35" y="85"/>
                  <a:pt x="38" y="87"/>
                </a:cubicBezTo>
                <a:cubicBezTo>
                  <a:pt x="41" y="91"/>
                  <a:pt x="46" y="88"/>
                  <a:pt x="50" y="86"/>
                </a:cubicBezTo>
                <a:cubicBezTo>
                  <a:pt x="51" y="85"/>
                  <a:pt x="53" y="85"/>
                  <a:pt x="54" y="87"/>
                </a:cubicBezTo>
                <a:cubicBezTo>
                  <a:pt x="57" y="92"/>
                  <a:pt x="63" y="86"/>
                  <a:pt x="66" y="86"/>
                </a:cubicBezTo>
                <a:cubicBezTo>
                  <a:pt x="69" y="86"/>
                  <a:pt x="70" y="87"/>
                  <a:pt x="72" y="89"/>
                </a:cubicBezTo>
                <a:close/>
                <a:moveTo>
                  <a:pt x="112" y="24"/>
                </a:moveTo>
                <a:cubicBezTo>
                  <a:pt x="113" y="24"/>
                  <a:pt x="115" y="25"/>
                  <a:pt x="115" y="27"/>
                </a:cubicBezTo>
                <a:cubicBezTo>
                  <a:pt x="115" y="28"/>
                  <a:pt x="113" y="29"/>
                  <a:pt x="112" y="29"/>
                </a:cubicBezTo>
                <a:cubicBezTo>
                  <a:pt x="111" y="29"/>
                  <a:pt x="109" y="28"/>
                  <a:pt x="109" y="27"/>
                </a:cubicBezTo>
                <a:cubicBezTo>
                  <a:pt x="109" y="25"/>
                  <a:pt x="111" y="24"/>
                  <a:pt x="112" y="24"/>
                </a:cubicBezTo>
                <a:close/>
                <a:moveTo>
                  <a:pt x="128" y="24"/>
                </a:moveTo>
                <a:cubicBezTo>
                  <a:pt x="129" y="24"/>
                  <a:pt x="131" y="25"/>
                  <a:pt x="131" y="27"/>
                </a:cubicBezTo>
                <a:cubicBezTo>
                  <a:pt x="131" y="28"/>
                  <a:pt x="129" y="29"/>
                  <a:pt x="128" y="29"/>
                </a:cubicBezTo>
                <a:cubicBezTo>
                  <a:pt x="127" y="29"/>
                  <a:pt x="125" y="28"/>
                  <a:pt x="125" y="27"/>
                </a:cubicBezTo>
                <a:cubicBezTo>
                  <a:pt x="125" y="25"/>
                  <a:pt x="127" y="24"/>
                  <a:pt x="128" y="24"/>
                </a:cubicBezTo>
                <a:close/>
                <a:moveTo>
                  <a:pt x="64" y="24"/>
                </a:moveTo>
                <a:cubicBezTo>
                  <a:pt x="65" y="24"/>
                  <a:pt x="67" y="25"/>
                  <a:pt x="67" y="27"/>
                </a:cubicBezTo>
                <a:cubicBezTo>
                  <a:pt x="67" y="28"/>
                  <a:pt x="65" y="29"/>
                  <a:pt x="64" y="29"/>
                </a:cubicBezTo>
                <a:cubicBezTo>
                  <a:pt x="63" y="29"/>
                  <a:pt x="61" y="28"/>
                  <a:pt x="61" y="27"/>
                </a:cubicBezTo>
                <a:cubicBezTo>
                  <a:pt x="61" y="25"/>
                  <a:pt x="63" y="24"/>
                  <a:pt x="64" y="24"/>
                </a:cubicBezTo>
                <a:close/>
                <a:moveTo>
                  <a:pt x="80" y="24"/>
                </a:moveTo>
                <a:cubicBezTo>
                  <a:pt x="81" y="24"/>
                  <a:pt x="83" y="25"/>
                  <a:pt x="83" y="27"/>
                </a:cubicBezTo>
                <a:cubicBezTo>
                  <a:pt x="83" y="28"/>
                  <a:pt x="81" y="29"/>
                  <a:pt x="80" y="29"/>
                </a:cubicBezTo>
                <a:cubicBezTo>
                  <a:pt x="79" y="29"/>
                  <a:pt x="77" y="28"/>
                  <a:pt x="77" y="27"/>
                </a:cubicBezTo>
                <a:cubicBezTo>
                  <a:pt x="77" y="25"/>
                  <a:pt x="79" y="24"/>
                  <a:pt x="80" y="24"/>
                </a:cubicBezTo>
                <a:close/>
                <a:moveTo>
                  <a:pt x="96" y="24"/>
                </a:moveTo>
                <a:cubicBezTo>
                  <a:pt x="97" y="24"/>
                  <a:pt x="99" y="25"/>
                  <a:pt x="99" y="27"/>
                </a:cubicBezTo>
                <a:cubicBezTo>
                  <a:pt x="99" y="28"/>
                  <a:pt x="97" y="29"/>
                  <a:pt x="96" y="29"/>
                </a:cubicBezTo>
                <a:cubicBezTo>
                  <a:pt x="95" y="29"/>
                  <a:pt x="93" y="28"/>
                  <a:pt x="93" y="27"/>
                </a:cubicBezTo>
                <a:cubicBezTo>
                  <a:pt x="93" y="25"/>
                  <a:pt x="95" y="24"/>
                  <a:pt x="96" y="24"/>
                </a:cubicBezTo>
                <a:close/>
                <a:moveTo>
                  <a:pt x="144" y="24"/>
                </a:moveTo>
                <a:cubicBezTo>
                  <a:pt x="145" y="24"/>
                  <a:pt x="147" y="25"/>
                  <a:pt x="147" y="27"/>
                </a:cubicBezTo>
                <a:cubicBezTo>
                  <a:pt x="147" y="28"/>
                  <a:pt x="145" y="29"/>
                  <a:pt x="144" y="29"/>
                </a:cubicBezTo>
                <a:cubicBezTo>
                  <a:pt x="143" y="29"/>
                  <a:pt x="141" y="28"/>
                  <a:pt x="141" y="27"/>
                </a:cubicBezTo>
                <a:cubicBezTo>
                  <a:pt x="141" y="25"/>
                  <a:pt x="143" y="24"/>
                  <a:pt x="144" y="24"/>
                </a:cubicBezTo>
                <a:close/>
                <a:moveTo>
                  <a:pt x="48" y="24"/>
                </a:moveTo>
                <a:cubicBezTo>
                  <a:pt x="49" y="24"/>
                  <a:pt x="51" y="25"/>
                  <a:pt x="51" y="27"/>
                </a:cubicBezTo>
                <a:cubicBezTo>
                  <a:pt x="51" y="28"/>
                  <a:pt x="49" y="29"/>
                  <a:pt x="48" y="29"/>
                </a:cubicBezTo>
                <a:cubicBezTo>
                  <a:pt x="47" y="29"/>
                  <a:pt x="45" y="28"/>
                  <a:pt x="45" y="27"/>
                </a:cubicBezTo>
                <a:cubicBezTo>
                  <a:pt x="45" y="25"/>
                  <a:pt x="47" y="24"/>
                  <a:pt x="48" y="24"/>
                </a:cubicBezTo>
                <a:close/>
                <a:moveTo>
                  <a:pt x="16" y="24"/>
                </a:moveTo>
                <a:cubicBezTo>
                  <a:pt x="17" y="24"/>
                  <a:pt x="19" y="25"/>
                  <a:pt x="19" y="27"/>
                </a:cubicBezTo>
                <a:cubicBezTo>
                  <a:pt x="19" y="28"/>
                  <a:pt x="17" y="29"/>
                  <a:pt x="16" y="29"/>
                </a:cubicBezTo>
                <a:cubicBezTo>
                  <a:pt x="15" y="29"/>
                  <a:pt x="13" y="28"/>
                  <a:pt x="13" y="27"/>
                </a:cubicBezTo>
                <a:cubicBezTo>
                  <a:pt x="13" y="25"/>
                  <a:pt x="15" y="24"/>
                  <a:pt x="16" y="24"/>
                </a:cubicBezTo>
                <a:close/>
                <a:moveTo>
                  <a:pt x="32" y="24"/>
                </a:moveTo>
                <a:cubicBezTo>
                  <a:pt x="33" y="24"/>
                  <a:pt x="35" y="25"/>
                  <a:pt x="35" y="27"/>
                </a:cubicBezTo>
                <a:cubicBezTo>
                  <a:pt x="35" y="28"/>
                  <a:pt x="33" y="29"/>
                  <a:pt x="32" y="29"/>
                </a:cubicBezTo>
                <a:cubicBezTo>
                  <a:pt x="31" y="29"/>
                  <a:pt x="29" y="28"/>
                  <a:pt x="29" y="27"/>
                </a:cubicBezTo>
                <a:cubicBezTo>
                  <a:pt x="29" y="25"/>
                  <a:pt x="31" y="24"/>
                  <a:pt x="32" y="24"/>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2122">
            <a:extLst>
              <a:ext uri="{FF2B5EF4-FFF2-40B4-BE49-F238E27FC236}">
                <a16:creationId xmlns:a16="http://schemas.microsoft.com/office/drawing/2014/main" id="{B2BB55E2-25CF-1548-AA43-AF35EFC5ECE9}"/>
              </a:ext>
            </a:extLst>
          </p:cNvPr>
          <p:cNvSpPr>
            <a:spLocks noEditPoints="1"/>
          </p:cNvSpPr>
          <p:nvPr/>
        </p:nvSpPr>
        <p:spPr bwMode="auto">
          <a:xfrm>
            <a:off x="5483221" y="2841625"/>
            <a:ext cx="365125" cy="550863"/>
          </a:xfrm>
          <a:custGeom>
            <a:avLst/>
            <a:gdLst>
              <a:gd name="T0" fmla="*/ 71 w 107"/>
              <a:gd name="T1" fmla="*/ 1 h 160"/>
              <a:gd name="T2" fmla="*/ 42 w 107"/>
              <a:gd name="T3" fmla="*/ 1 h 160"/>
              <a:gd name="T4" fmla="*/ 8 w 107"/>
              <a:gd name="T5" fmla="*/ 11 h 160"/>
              <a:gd name="T6" fmla="*/ 99 w 107"/>
              <a:gd name="T7" fmla="*/ 160 h 160"/>
              <a:gd name="T8" fmla="*/ 101 w 107"/>
              <a:gd name="T9" fmla="*/ 152 h 160"/>
              <a:gd name="T10" fmla="*/ 5 w 107"/>
              <a:gd name="T11" fmla="*/ 19 h 160"/>
              <a:gd name="T12" fmla="*/ 43 w 107"/>
              <a:gd name="T13" fmla="*/ 29 h 160"/>
              <a:gd name="T14" fmla="*/ 51 w 107"/>
              <a:gd name="T15" fmla="*/ 19 h 160"/>
              <a:gd name="T16" fmla="*/ 101 w 107"/>
              <a:gd name="T17" fmla="*/ 152 h 160"/>
              <a:gd name="T18" fmla="*/ 55 w 107"/>
              <a:gd name="T19" fmla="*/ 32 h 160"/>
              <a:gd name="T20" fmla="*/ 53 w 107"/>
              <a:gd name="T21" fmla="*/ 35 h 160"/>
              <a:gd name="T22" fmla="*/ 19 w 107"/>
              <a:gd name="T23" fmla="*/ 96 h 160"/>
              <a:gd name="T24" fmla="*/ 26 w 107"/>
              <a:gd name="T25" fmla="*/ 117 h 160"/>
              <a:gd name="T26" fmla="*/ 31 w 107"/>
              <a:gd name="T27" fmla="*/ 123 h 160"/>
              <a:gd name="T28" fmla="*/ 39 w 107"/>
              <a:gd name="T29" fmla="*/ 128 h 160"/>
              <a:gd name="T30" fmla="*/ 46 w 107"/>
              <a:gd name="T31" fmla="*/ 130 h 160"/>
              <a:gd name="T32" fmla="*/ 57 w 107"/>
              <a:gd name="T33" fmla="*/ 130 h 160"/>
              <a:gd name="T34" fmla="*/ 64 w 107"/>
              <a:gd name="T35" fmla="*/ 129 h 160"/>
              <a:gd name="T36" fmla="*/ 71 w 107"/>
              <a:gd name="T37" fmla="*/ 126 h 160"/>
              <a:gd name="T38" fmla="*/ 78 w 107"/>
              <a:gd name="T39" fmla="*/ 120 h 160"/>
              <a:gd name="T40" fmla="*/ 83 w 107"/>
              <a:gd name="T41" fmla="*/ 114 h 160"/>
              <a:gd name="T42" fmla="*/ 45 w 107"/>
              <a:gd name="T43" fmla="*/ 108 h 160"/>
              <a:gd name="T44" fmla="*/ 64 w 107"/>
              <a:gd name="T45" fmla="*/ 91 h 160"/>
              <a:gd name="T46" fmla="*/ 74 w 107"/>
              <a:gd name="T47" fmla="*/ 116 h 160"/>
              <a:gd name="T48" fmla="*/ 70 w 107"/>
              <a:gd name="T49" fmla="*/ 120 h 160"/>
              <a:gd name="T50" fmla="*/ 37 w 107"/>
              <a:gd name="T51" fmla="*/ 120 h 160"/>
              <a:gd name="T52" fmla="*/ 32 w 107"/>
              <a:gd name="T53" fmla="*/ 116 h 160"/>
              <a:gd name="T54" fmla="*/ 68 w 107"/>
              <a:gd name="T55" fmla="*/ 109 h 160"/>
              <a:gd name="T56" fmla="*/ 37 w 107"/>
              <a:gd name="T57" fmla="*/ 91 h 160"/>
              <a:gd name="T58" fmla="*/ 24 w 107"/>
              <a:gd name="T59" fmla="*/ 96 h 160"/>
              <a:gd name="T60" fmla="*/ 94 w 107"/>
              <a:gd name="T61" fmla="*/ 48 h 160"/>
              <a:gd name="T62" fmla="*/ 94 w 107"/>
              <a:gd name="T63" fmla="*/ 48 h 160"/>
              <a:gd name="T64" fmla="*/ 41 w 107"/>
              <a:gd name="T65" fmla="*/ 51 h 160"/>
              <a:gd name="T66" fmla="*/ 23 w 107"/>
              <a:gd name="T67" fmla="*/ 53 h 160"/>
              <a:gd name="T68" fmla="*/ 15 w 107"/>
              <a:gd name="T69" fmla="*/ 51 h 160"/>
              <a:gd name="T70" fmla="*/ 33 w 107"/>
              <a:gd name="T71" fmla="*/ 48 h 160"/>
              <a:gd name="T72" fmla="*/ 33 w 107"/>
              <a:gd name="T73" fmla="*/ 48 h 160"/>
              <a:gd name="T74" fmla="*/ 51 w 107"/>
              <a:gd name="T75" fmla="*/ 51 h 160"/>
              <a:gd name="T76" fmla="*/ 84 w 107"/>
              <a:gd name="T77" fmla="*/ 53 h 160"/>
              <a:gd name="T78" fmla="*/ 76 w 107"/>
              <a:gd name="T79" fmla="*/ 51 h 160"/>
              <a:gd name="T80" fmla="*/ 63 w 107"/>
              <a:gd name="T81" fmla="*/ 48 h 160"/>
              <a:gd name="T82" fmla="*/ 63 w 107"/>
              <a:gd name="T83" fmla="*/ 48 h 160"/>
              <a:gd name="T84" fmla="*/ 10 w 107"/>
              <a:gd name="T85" fmla="*/ 144 h 160"/>
              <a:gd name="T86" fmla="*/ 33 w 107"/>
              <a:gd name="T87" fmla="*/ 147 h 160"/>
              <a:gd name="T88" fmla="*/ 86 w 107"/>
              <a:gd name="T89" fmla="*/ 144 h 160"/>
              <a:gd name="T90" fmla="*/ 74 w 107"/>
              <a:gd name="T91" fmla="*/ 141 h 160"/>
              <a:gd name="T92" fmla="*/ 74 w 107"/>
              <a:gd name="T93" fmla="*/ 141 h 160"/>
              <a:gd name="T94" fmla="*/ 91 w 107"/>
              <a:gd name="T95" fmla="*/ 144 h 160"/>
              <a:gd name="T96" fmla="*/ 53 w 107"/>
              <a:gd name="T97" fmla="*/ 147 h 160"/>
              <a:gd name="T98" fmla="*/ 46 w 107"/>
              <a:gd name="T99" fmla="*/ 144 h 160"/>
              <a:gd name="T100" fmla="*/ 63 w 107"/>
              <a:gd name="T101" fmla="*/ 141 h 160"/>
              <a:gd name="T102" fmla="*/ 63 w 107"/>
              <a:gd name="T103" fmla="*/ 141 h 160"/>
              <a:gd name="T104" fmla="*/ 20 w 107"/>
              <a:gd name="T105"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7" h="160">
                <a:moveTo>
                  <a:pt x="99" y="11"/>
                </a:moveTo>
                <a:cubicBezTo>
                  <a:pt x="67" y="11"/>
                  <a:pt x="67" y="11"/>
                  <a:pt x="67" y="11"/>
                </a:cubicBezTo>
                <a:cubicBezTo>
                  <a:pt x="71" y="4"/>
                  <a:pt x="71" y="4"/>
                  <a:pt x="71" y="4"/>
                </a:cubicBezTo>
                <a:cubicBezTo>
                  <a:pt x="72" y="3"/>
                  <a:pt x="72" y="1"/>
                  <a:pt x="71" y="1"/>
                </a:cubicBezTo>
                <a:cubicBezTo>
                  <a:pt x="70" y="0"/>
                  <a:pt x="68" y="0"/>
                  <a:pt x="67" y="1"/>
                </a:cubicBezTo>
                <a:cubicBezTo>
                  <a:pt x="60" y="11"/>
                  <a:pt x="60" y="11"/>
                  <a:pt x="60" y="11"/>
                </a:cubicBezTo>
                <a:cubicBezTo>
                  <a:pt x="47" y="11"/>
                  <a:pt x="47" y="11"/>
                  <a:pt x="47" y="11"/>
                </a:cubicBezTo>
                <a:cubicBezTo>
                  <a:pt x="42" y="1"/>
                  <a:pt x="42" y="1"/>
                  <a:pt x="42" y="1"/>
                </a:cubicBezTo>
                <a:cubicBezTo>
                  <a:pt x="42" y="0"/>
                  <a:pt x="40" y="0"/>
                  <a:pt x="39" y="0"/>
                </a:cubicBezTo>
                <a:cubicBezTo>
                  <a:pt x="37" y="1"/>
                  <a:pt x="37" y="3"/>
                  <a:pt x="38" y="4"/>
                </a:cubicBezTo>
                <a:cubicBezTo>
                  <a:pt x="41" y="11"/>
                  <a:pt x="41" y="11"/>
                  <a:pt x="41" y="11"/>
                </a:cubicBezTo>
                <a:cubicBezTo>
                  <a:pt x="8" y="11"/>
                  <a:pt x="8" y="11"/>
                  <a:pt x="8" y="11"/>
                </a:cubicBezTo>
                <a:cubicBezTo>
                  <a:pt x="4" y="11"/>
                  <a:pt x="0" y="14"/>
                  <a:pt x="0" y="19"/>
                </a:cubicBezTo>
                <a:cubicBezTo>
                  <a:pt x="0" y="152"/>
                  <a:pt x="0" y="152"/>
                  <a:pt x="0" y="152"/>
                </a:cubicBezTo>
                <a:cubicBezTo>
                  <a:pt x="0" y="156"/>
                  <a:pt x="4" y="160"/>
                  <a:pt x="8" y="160"/>
                </a:cubicBezTo>
                <a:cubicBezTo>
                  <a:pt x="99" y="160"/>
                  <a:pt x="99" y="160"/>
                  <a:pt x="99" y="160"/>
                </a:cubicBezTo>
                <a:cubicBezTo>
                  <a:pt x="103" y="160"/>
                  <a:pt x="107" y="156"/>
                  <a:pt x="107" y="152"/>
                </a:cubicBezTo>
                <a:cubicBezTo>
                  <a:pt x="107" y="19"/>
                  <a:pt x="107" y="19"/>
                  <a:pt x="107" y="19"/>
                </a:cubicBezTo>
                <a:cubicBezTo>
                  <a:pt x="107" y="14"/>
                  <a:pt x="103" y="11"/>
                  <a:pt x="99" y="11"/>
                </a:cubicBezTo>
                <a:close/>
                <a:moveTo>
                  <a:pt x="101" y="152"/>
                </a:moveTo>
                <a:cubicBezTo>
                  <a:pt x="101" y="153"/>
                  <a:pt x="100" y="155"/>
                  <a:pt x="99" y="155"/>
                </a:cubicBezTo>
                <a:cubicBezTo>
                  <a:pt x="8" y="155"/>
                  <a:pt x="8" y="155"/>
                  <a:pt x="8" y="155"/>
                </a:cubicBezTo>
                <a:cubicBezTo>
                  <a:pt x="7" y="155"/>
                  <a:pt x="5" y="153"/>
                  <a:pt x="5" y="152"/>
                </a:cubicBezTo>
                <a:cubicBezTo>
                  <a:pt x="5" y="19"/>
                  <a:pt x="5" y="19"/>
                  <a:pt x="5" y="19"/>
                </a:cubicBezTo>
                <a:cubicBezTo>
                  <a:pt x="5" y="17"/>
                  <a:pt x="7" y="16"/>
                  <a:pt x="8" y="16"/>
                </a:cubicBezTo>
                <a:cubicBezTo>
                  <a:pt x="44" y="16"/>
                  <a:pt x="44" y="16"/>
                  <a:pt x="44" y="16"/>
                </a:cubicBezTo>
                <a:cubicBezTo>
                  <a:pt x="46" y="21"/>
                  <a:pt x="46" y="21"/>
                  <a:pt x="46" y="21"/>
                </a:cubicBezTo>
                <a:cubicBezTo>
                  <a:pt x="44" y="23"/>
                  <a:pt x="43" y="26"/>
                  <a:pt x="43" y="29"/>
                </a:cubicBezTo>
                <a:cubicBezTo>
                  <a:pt x="43" y="35"/>
                  <a:pt x="47" y="40"/>
                  <a:pt x="53" y="40"/>
                </a:cubicBezTo>
                <a:cubicBezTo>
                  <a:pt x="59" y="40"/>
                  <a:pt x="64" y="35"/>
                  <a:pt x="64" y="29"/>
                </a:cubicBezTo>
                <a:cubicBezTo>
                  <a:pt x="64" y="23"/>
                  <a:pt x="59" y="19"/>
                  <a:pt x="53" y="19"/>
                </a:cubicBezTo>
                <a:cubicBezTo>
                  <a:pt x="53" y="19"/>
                  <a:pt x="52" y="19"/>
                  <a:pt x="51" y="19"/>
                </a:cubicBezTo>
                <a:cubicBezTo>
                  <a:pt x="50" y="16"/>
                  <a:pt x="50" y="16"/>
                  <a:pt x="50" y="16"/>
                </a:cubicBezTo>
                <a:cubicBezTo>
                  <a:pt x="99" y="16"/>
                  <a:pt x="99" y="16"/>
                  <a:pt x="99" y="16"/>
                </a:cubicBezTo>
                <a:cubicBezTo>
                  <a:pt x="100" y="16"/>
                  <a:pt x="101" y="17"/>
                  <a:pt x="101" y="19"/>
                </a:cubicBezTo>
                <a:lnTo>
                  <a:pt x="101" y="152"/>
                </a:lnTo>
                <a:close/>
                <a:moveTo>
                  <a:pt x="49" y="26"/>
                </a:moveTo>
                <a:cubicBezTo>
                  <a:pt x="51" y="31"/>
                  <a:pt x="51" y="31"/>
                  <a:pt x="51" y="31"/>
                </a:cubicBezTo>
                <a:cubicBezTo>
                  <a:pt x="51" y="31"/>
                  <a:pt x="52" y="32"/>
                  <a:pt x="53" y="32"/>
                </a:cubicBezTo>
                <a:cubicBezTo>
                  <a:pt x="54" y="32"/>
                  <a:pt x="54" y="32"/>
                  <a:pt x="55" y="32"/>
                </a:cubicBezTo>
                <a:cubicBezTo>
                  <a:pt x="56" y="31"/>
                  <a:pt x="56" y="29"/>
                  <a:pt x="56" y="28"/>
                </a:cubicBezTo>
                <a:cubicBezTo>
                  <a:pt x="54" y="24"/>
                  <a:pt x="54" y="24"/>
                  <a:pt x="54" y="24"/>
                </a:cubicBezTo>
                <a:cubicBezTo>
                  <a:pt x="56" y="24"/>
                  <a:pt x="59" y="27"/>
                  <a:pt x="59" y="29"/>
                </a:cubicBezTo>
                <a:cubicBezTo>
                  <a:pt x="59" y="32"/>
                  <a:pt x="56" y="35"/>
                  <a:pt x="53" y="35"/>
                </a:cubicBezTo>
                <a:cubicBezTo>
                  <a:pt x="50" y="35"/>
                  <a:pt x="48" y="32"/>
                  <a:pt x="48" y="29"/>
                </a:cubicBezTo>
                <a:cubicBezTo>
                  <a:pt x="48" y="28"/>
                  <a:pt x="48" y="27"/>
                  <a:pt x="49" y="26"/>
                </a:cubicBezTo>
                <a:close/>
                <a:moveTo>
                  <a:pt x="53" y="61"/>
                </a:moveTo>
                <a:cubicBezTo>
                  <a:pt x="34" y="61"/>
                  <a:pt x="19" y="77"/>
                  <a:pt x="19" y="96"/>
                </a:cubicBezTo>
                <a:cubicBezTo>
                  <a:pt x="19" y="102"/>
                  <a:pt x="20" y="109"/>
                  <a:pt x="24" y="114"/>
                </a:cubicBezTo>
                <a:cubicBezTo>
                  <a:pt x="23" y="114"/>
                  <a:pt x="23" y="114"/>
                  <a:pt x="23" y="114"/>
                </a:cubicBezTo>
                <a:cubicBezTo>
                  <a:pt x="26" y="117"/>
                  <a:pt x="26" y="117"/>
                  <a:pt x="26" y="117"/>
                </a:cubicBezTo>
                <a:cubicBezTo>
                  <a:pt x="26" y="117"/>
                  <a:pt x="26" y="117"/>
                  <a:pt x="26" y="117"/>
                </a:cubicBezTo>
                <a:cubicBezTo>
                  <a:pt x="27" y="118"/>
                  <a:pt x="27" y="119"/>
                  <a:pt x="28" y="120"/>
                </a:cubicBezTo>
                <a:cubicBezTo>
                  <a:pt x="28" y="120"/>
                  <a:pt x="28" y="120"/>
                  <a:pt x="28" y="120"/>
                </a:cubicBezTo>
                <a:cubicBezTo>
                  <a:pt x="29" y="121"/>
                  <a:pt x="30" y="122"/>
                  <a:pt x="31" y="122"/>
                </a:cubicBezTo>
                <a:cubicBezTo>
                  <a:pt x="31" y="123"/>
                  <a:pt x="31" y="123"/>
                  <a:pt x="31" y="123"/>
                </a:cubicBezTo>
                <a:cubicBezTo>
                  <a:pt x="32" y="123"/>
                  <a:pt x="33" y="124"/>
                  <a:pt x="34" y="125"/>
                </a:cubicBezTo>
                <a:cubicBezTo>
                  <a:pt x="35" y="125"/>
                  <a:pt x="35" y="125"/>
                  <a:pt x="36" y="126"/>
                </a:cubicBezTo>
                <a:cubicBezTo>
                  <a:pt x="36" y="126"/>
                  <a:pt x="37" y="126"/>
                  <a:pt x="37" y="127"/>
                </a:cubicBezTo>
                <a:cubicBezTo>
                  <a:pt x="38" y="127"/>
                  <a:pt x="38" y="127"/>
                  <a:pt x="39" y="128"/>
                </a:cubicBezTo>
                <a:cubicBezTo>
                  <a:pt x="40" y="128"/>
                  <a:pt x="40" y="128"/>
                  <a:pt x="41" y="128"/>
                </a:cubicBezTo>
                <a:cubicBezTo>
                  <a:pt x="41" y="128"/>
                  <a:pt x="42" y="129"/>
                  <a:pt x="42" y="129"/>
                </a:cubicBezTo>
                <a:cubicBezTo>
                  <a:pt x="43" y="129"/>
                  <a:pt x="44" y="129"/>
                  <a:pt x="44" y="129"/>
                </a:cubicBezTo>
                <a:cubicBezTo>
                  <a:pt x="45" y="130"/>
                  <a:pt x="45" y="130"/>
                  <a:pt x="46" y="130"/>
                </a:cubicBezTo>
                <a:cubicBezTo>
                  <a:pt x="47" y="130"/>
                  <a:pt x="47" y="130"/>
                  <a:pt x="48" y="130"/>
                </a:cubicBezTo>
                <a:cubicBezTo>
                  <a:pt x="49" y="130"/>
                  <a:pt x="49" y="130"/>
                  <a:pt x="50" y="130"/>
                </a:cubicBezTo>
                <a:cubicBezTo>
                  <a:pt x="51" y="131"/>
                  <a:pt x="52" y="131"/>
                  <a:pt x="53" y="131"/>
                </a:cubicBezTo>
                <a:cubicBezTo>
                  <a:pt x="55" y="131"/>
                  <a:pt x="56" y="131"/>
                  <a:pt x="57" y="130"/>
                </a:cubicBezTo>
                <a:cubicBezTo>
                  <a:pt x="58" y="130"/>
                  <a:pt x="58" y="130"/>
                  <a:pt x="59" y="130"/>
                </a:cubicBezTo>
                <a:cubicBezTo>
                  <a:pt x="59" y="130"/>
                  <a:pt x="60" y="130"/>
                  <a:pt x="61" y="130"/>
                </a:cubicBezTo>
                <a:cubicBezTo>
                  <a:pt x="61" y="130"/>
                  <a:pt x="62" y="130"/>
                  <a:pt x="63" y="129"/>
                </a:cubicBezTo>
                <a:cubicBezTo>
                  <a:pt x="63" y="129"/>
                  <a:pt x="64" y="129"/>
                  <a:pt x="64" y="129"/>
                </a:cubicBezTo>
                <a:cubicBezTo>
                  <a:pt x="65" y="129"/>
                  <a:pt x="66" y="128"/>
                  <a:pt x="66" y="128"/>
                </a:cubicBezTo>
                <a:cubicBezTo>
                  <a:pt x="67" y="128"/>
                  <a:pt x="67" y="128"/>
                  <a:pt x="68" y="128"/>
                </a:cubicBezTo>
                <a:cubicBezTo>
                  <a:pt x="68" y="127"/>
                  <a:pt x="69" y="127"/>
                  <a:pt x="69" y="127"/>
                </a:cubicBezTo>
                <a:cubicBezTo>
                  <a:pt x="70" y="126"/>
                  <a:pt x="70" y="126"/>
                  <a:pt x="71" y="126"/>
                </a:cubicBezTo>
                <a:cubicBezTo>
                  <a:pt x="72" y="125"/>
                  <a:pt x="72" y="125"/>
                  <a:pt x="73" y="125"/>
                </a:cubicBezTo>
                <a:cubicBezTo>
                  <a:pt x="74" y="124"/>
                  <a:pt x="74" y="123"/>
                  <a:pt x="75" y="123"/>
                </a:cubicBezTo>
                <a:cubicBezTo>
                  <a:pt x="75" y="123"/>
                  <a:pt x="76" y="123"/>
                  <a:pt x="76" y="122"/>
                </a:cubicBezTo>
                <a:cubicBezTo>
                  <a:pt x="77" y="122"/>
                  <a:pt x="77" y="121"/>
                  <a:pt x="78" y="120"/>
                </a:cubicBezTo>
                <a:cubicBezTo>
                  <a:pt x="78" y="120"/>
                  <a:pt x="79" y="120"/>
                  <a:pt x="79" y="120"/>
                </a:cubicBezTo>
                <a:cubicBezTo>
                  <a:pt x="79" y="119"/>
                  <a:pt x="80" y="118"/>
                  <a:pt x="81" y="117"/>
                </a:cubicBezTo>
                <a:cubicBezTo>
                  <a:pt x="81" y="117"/>
                  <a:pt x="81" y="117"/>
                  <a:pt x="81" y="117"/>
                </a:cubicBezTo>
                <a:cubicBezTo>
                  <a:pt x="83" y="114"/>
                  <a:pt x="83" y="114"/>
                  <a:pt x="83" y="114"/>
                </a:cubicBezTo>
                <a:cubicBezTo>
                  <a:pt x="83" y="114"/>
                  <a:pt x="83" y="114"/>
                  <a:pt x="83" y="114"/>
                </a:cubicBezTo>
                <a:cubicBezTo>
                  <a:pt x="86" y="109"/>
                  <a:pt x="88" y="102"/>
                  <a:pt x="88" y="96"/>
                </a:cubicBezTo>
                <a:cubicBezTo>
                  <a:pt x="88" y="77"/>
                  <a:pt x="72" y="61"/>
                  <a:pt x="53" y="61"/>
                </a:cubicBezTo>
                <a:close/>
                <a:moveTo>
                  <a:pt x="45" y="108"/>
                </a:moveTo>
                <a:cubicBezTo>
                  <a:pt x="44" y="106"/>
                  <a:pt x="43" y="104"/>
                  <a:pt x="43" y="101"/>
                </a:cubicBezTo>
                <a:cubicBezTo>
                  <a:pt x="43" y="91"/>
                  <a:pt x="43" y="91"/>
                  <a:pt x="43" y="91"/>
                </a:cubicBezTo>
                <a:cubicBezTo>
                  <a:pt x="43" y="85"/>
                  <a:pt x="47" y="80"/>
                  <a:pt x="53" y="80"/>
                </a:cubicBezTo>
                <a:cubicBezTo>
                  <a:pt x="59" y="80"/>
                  <a:pt x="64" y="85"/>
                  <a:pt x="64" y="91"/>
                </a:cubicBezTo>
                <a:cubicBezTo>
                  <a:pt x="64" y="101"/>
                  <a:pt x="64" y="101"/>
                  <a:pt x="64" y="101"/>
                </a:cubicBezTo>
                <a:cubicBezTo>
                  <a:pt x="64" y="104"/>
                  <a:pt x="63" y="106"/>
                  <a:pt x="61" y="108"/>
                </a:cubicBezTo>
                <a:cubicBezTo>
                  <a:pt x="59" y="111"/>
                  <a:pt x="59" y="111"/>
                  <a:pt x="59" y="111"/>
                </a:cubicBezTo>
                <a:cubicBezTo>
                  <a:pt x="74" y="116"/>
                  <a:pt x="74" y="116"/>
                  <a:pt x="74" y="116"/>
                </a:cubicBezTo>
                <a:cubicBezTo>
                  <a:pt x="74" y="117"/>
                  <a:pt x="73" y="118"/>
                  <a:pt x="72" y="118"/>
                </a:cubicBezTo>
                <a:cubicBezTo>
                  <a:pt x="72" y="118"/>
                  <a:pt x="72" y="118"/>
                  <a:pt x="72" y="119"/>
                </a:cubicBezTo>
                <a:cubicBezTo>
                  <a:pt x="72" y="119"/>
                  <a:pt x="71" y="119"/>
                  <a:pt x="71" y="120"/>
                </a:cubicBezTo>
                <a:cubicBezTo>
                  <a:pt x="70" y="120"/>
                  <a:pt x="70" y="120"/>
                  <a:pt x="70" y="120"/>
                </a:cubicBezTo>
                <a:cubicBezTo>
                  <a:pt x="70" y="120"/>
                  <a:pt x="70" y="120"/>
                  <a:pt x="70" y="120"/>
                </a:cubicBezTo>
                <a:cubicBezTo>
                  <a:pt x="65" y="124"/>
                  <a:pt x="59" y="125"/>
                  <a:pt x="53" y="125"/>
                </a:cubicBezTo>
                <a:cubicBezTo>
                  <a:pt x="47" y="125"/>
                  <a:pt x="42" y="124"/>
                  <a:pt x="37" y="120"/>
                </a:cubicBezTo>
                <a:cubicBezTo>
                  <a:pt x="37" y="120"/>
                  <a:pt x="37" y="120"/>
                  <a:pt x="37" y="120"/>
                </a:cubicBezTo>
                <a:cubicBezTo>
                  <a:pt x="37" y="120"/>
                  <a:pt x="36" y="120"/>
                  <a:pt x="36" y="120"/>
                </a:cubicBezTo>
                <a:cubicBezTo>
                  <a:pt x="35" y="119"/>
                  <a:pt x="35" y="119"/>
                  <a:pt x="35" y="119"/>
                </a:cubicBezTo>
                <a:cubicBezTo>
                  <a:pt x="34" y="118"/>
                  <a:pt x="34" y="118"/>
                  <a:pt x="34" y="118"/>
                </a:cubicBezTo>
                <a:cubicBezTo>
                  <a:pt x="34" y="118"/>
                  <a:pt x="33" y="117"/>
                  <a:pt x="32" y="116"/>
                </a:cubicBezTo>
                <a:cubicBezTo>
                  <a:pt x="48" y="111"/>
                  <a:pt x="48" y="111"/>
                  <a:pt x="48" y="111"/>
                </a:cubicBezTo>
                <a:lnTo>
                  <a:pt x="45" y="108"/>
                </a:lnTo>
                <a:close/>
                <a:moveTo>
                  <a:pt x="78" y="112"/>
                </a:moveTo>
                <a:cubicBezTo>
                  <a:pt x="68" y="109"/>
                  <a:pt x="68" y="109"/>
                  <a:pt x="68" y="109"/>
                </a:cubicBezTo>
                <a:cubicBezTo>
                  <a:pt x="69" y="106"/>
                  <a:pt x="69" y="104"/>
                  <a:pt x="69" y="101"/>
                </a:cubicBezTo>
                <a:cubicBezTo>
                  <a:pt x="69" y="91"/>
                  <a:pt x="69" y="91"/>
                  <a:pt x="69" y="91"/>
                </a:cubicBezTo>
                <a:cubicBezTo>
                  <a:pt x="69" y="82"/>
                  <a:pt x="62" y="75"/>
                  <a:pt x="53" y="75"/>
                </a:cubicBezTo>
                <a:cubicBezTo>
                  <a:pt x="45" y="75"/>
                  <a:pt x="37" y="82"/>
                  <a:pt x="37" y="91"/>
                </a:cubicBezTo>
                <a:cubicBezTo>
                  <a:pt x="37" y="101"/>
                  <a:pt x="37" y="101"/>
                  <a:pt x="37" y="101"/>
                </a:cubicBezTo>
                <a:cubicBezTo>
                  <a:pt x="37" y="104"/>
                  <a:pt x="38" y="106"/>
                  <a:pt x="39" y="109"/>
                </a:cubicBezTo>
                <a:cubicBezTo>
                  <a:pt x="29" y="112"/>
                  <a:pt x="29" y="112"/>
                  <a:pt x="29" y="112"/>
                </a:cubicBezTo>
                <a:cubicBezTo>
                  <a:pt x="26" y="107"/>
                  <a:pt x="24" y="102"/>
                  <a:pt x="24" y="96"/>
                </a:cubicBezTo>
                <a:cubicBezTo>
                  <a:pt x="24" y="80"/>
                  <a:pt x="37" y="67"/>
                  <a:pt x="53" y="67"/>
                </a:cubicBezTo>
                <a:cubicBezTo>
                  <a:pt x="70" y="67"/>
                  <a:pt x="83" y="80"/>
                  <a:pt x="83" y="96"/>
                </a:cubicBezTo>
                <a:cubicBezTo>
                  <a:pt x="83" y="102"/>
                  <a:pt x="81" y="107"/>
                  <a:pt x="78" y="112"/>
                </a:cubicBezTo>
                <a:close/>
                <a:moveTo>
                  <a:pt x="94" y="48"/>
                </a:moveTo>
                <a:cubicBezTo>
                  <a:pt x="95" y="48"/>
                  <a:pt x="97" y="49"/>
                  <a:pt x="97" y="51"/>
                </a:cubicBezTo>
                <a:cubicBezTo>
                  <a:pt x="97" y="52"/>
                  <a:pt x="95" y="53"/>
                  <a:pt x="94" y="53"/>
                </a:cubicBezTo>
                <a:cubicBezTo>
                  <a:pt x="92" y="53"/>
                  <a:pt x="91" y="52"/>
                  <a:pt x="91" y="51"/>
                </a:cubicBezTo>
                <a:cubicBezTo>
                  <a:pt x="91" y="49"/>
                  <a:pt x="92" y="48"/>
                  <a:pt x="94" y="48"/>
                </a:cubicBezTo>
                <a:close/>
                <a:moveTo>
                  <a:pt x="43" y="48"/>
                </a:moveTo>
                <a:cubicBezTo>
                  <a:pt x="45" y="48"/>
                  <a:pt x="46" y="49"/>
                  <a:pt x="46" y="51"/>
                </a:cubicBezTo>
                <a:cubicBezTo>
                  <a:pt x="46" y="52"/>
                  <a:pt x="45" y="53"/>
                  <a:pt x="43" y="53"/>
                </a:cubicBezTo>
                <a:cubicBezTo>
                  <a:pt x="42" y="53"/>
                  <a:pt x="41" y="52"/>
                  <a:pt x="41" y="51"/>
                </a:cubicBezTo>
                <a:cubicBezTo>
                  <a:pt x="41" y="49"/>
                  <a:pt x="42" y="48"/>
                  <a:pt x="43" y="48"/>
                </a:cubicBezTo>
                <a:close/>
                <a:moveTo>
                  <a:pt x="23" y="48"/>
                </a:moveTo>
                <a:cubicBezTo>
                  <a:pt x="24" y="48"/>
                  <a:pt x="26" y="49"/>
                  <a:pt x="26" y="51"/>
                </a:cubicBezTo>
                <a:cubicBezTo>
                  <a:pt x="26" y="52"/>
                  <a:pt x="24" y="53"/>
                  <a:pt x="23" y="53"/>
                </a:cubicBezTo>
                <a:cubicBezTo>
                  <a:pt x="21" y="53"/>
                  <a:pt x="20" y="52"/>
                  <a:pt x="20" y="51"/>
                </a:cubicBezTo>
                <a:cubicBezTo>
                  <a:pt x="20" y="49"/>
                  <a:pt x="21" y="48"/>
                  <a:pt x="23" y="48"/>
                </a:cubicBezTo>
                <a:close/>
                <a:moveTo>
                  <a:pt x="13" y="48"/>
                </a:moveTo>
                <a:cubicBezTo>
                  <a:pt x="14" y="48"/>
                  <a:pt x="15" y="49"/>
                  <a:pt x="15" y="51"/>
                </a:cubicBezTo>
                <a:cubicBezTo>
                  <a:pt x="15" y="52"/>
                  <a:pt x="14" y="53"/>
                  <a:pt x="13" y="53"/>
                </a:cubicBezTo>
                <a:cubicBezTo>
                  <a:pt x="11" y="53"/>
                  <a:pt x="10" y="52"/>
                  <a:pt x="10" y="51"/>
                </a:cubicBezTo>
                <a:cubicBezTo>
                  <a:pt x="10" y="49"/>
                  <a:pt x="11" y="48"/>
                  <a:pt x="13" y="48"/>
                </a:cubicBezTo>
                <a:close/>
                <a:moveTo>
                  <a:pt x="33" y="48"/>
                </a:moveTo>
                <a:cubicBezTo>
                  <a:pt x="35" y="48"/>
                  <a:pt x="36" y="49"/>
                  <a:pt x="36" y="51"/>
                </a:cubicBezTo>
                <a:cubicBezTo>
                  <a:pt x="36" y="52"/>
                  <a:pt x="35" y="53"/>
                  <a:pt x="33" y="53"/>
                </a:cubicBezTo>
                <a:cubicBezTo>
                  <a:pt x="32" y="53"/>
                  <a:pt x="30" y="52"/>
                  <a:pt x="30" y="51"/>
                </a:cubicBezTo>
                <a:cubicBezTo>
                  <a:pt x="30" y="49"/>
                  <a:pt x="32" y="48"/>
                  <a:pt x="33" y="48"/>
                </a:cubicBezTo>
                <a:close/>
                <a:moveTo>
                  <a:pt x="53" y="48"/>
                </a:moveTo>
                <a:cubicBezTo>
                  <a:pt x="55" y="48"/>
                  <a:pt x="56" y="49"/>
                  <a:pt x="56" y="51"/>
                </a:cubicBezTo>
                <a:cubicBezTo>
                  <a:pt x="56" y="52"/>
                  <a:pt x="55" y="53"/>
                  <a:pt x="53" y="53"/>
                </a:cubicBezTo>
                <a:cubicBezTo>
                  <a:pt x="52" y="53"/>
                  <a:pt x="51" y="52"/>
                  <a:pt x="51" y="51"/>
                </a:cubicBezTo>
                <a:cubicBezTo>
                  <a:pt x="51" y="49"/>
                  <a:pt x="52" y="48"/>
                  <a:pt x="53" y="48"/>
                </a:cubicBezTo>
                <a:close/>
                <a:moveTo>
                  <a:pt x="84" y="48"/>
                </a:moveTo>
                <a:cubicBezTo>
                  <a:pt x="85" y="48"/>
                  <a:pt x="86" y="49"/>
                  <a:pt x="86" y="51"/>
                </a:cubicBezTo>
                <a:cubicBezTo>
                  <a:pt x="86" y="52"/>
                  <a:pt x="85" y="53"/>
                  <a:pt x="84" y="53"/>
                </a:cubicBezTo>
                <a:cubicBezTo>
                  <a:pt x="82" y="53"/>
                  <a:pt x="81" y="52"/>
                  <a:pt x="81" y="51"/>
                </a:cubicBezTo>
                <a:cubicBezTo>
                  <a:pt x="81" y="49"/>
                  <a:pt x="82" y="48"/>
                  <a:pt x="84" y="48"/>
                </a:cubicBezTo>
                <a:close/>
                <a:moveTo>
                  <a:pt x="74" y="48"/>
                </a:moveTo>
                <a:cubicBezTo>
                  <a:pt x="75" y="48"/>
                  <a:pt x="76" y="49"/>
                  <a:pt x="76" y="51"/>
                </a:cubicBezTo>
                <a:cubicBezTo>
                  <a:pt x="76" y="52"/>
                  <a:pt x="75" y="53"/>
                  <a:pt x="74" y="53"/>
                </a:cubicBezTo>
                <a:cubicBezTo>
                  <a:pt x="72" y="53"/>
                  <a:pt x="71" y="52"/>
                  <a:pt x="71" y="51"/>
                </a:cubicBezTo>
                <a:cubicBezTo>
                  <a:pt x="71" y="49"/>
                  <a:pt x="72" y="48"/>
                  <a:pt x="74" y="48"/>
                </a:cubicBezTo>
                <a:close/>
                <a:moveTo>
                  <a:pt x="63" y="48"/>
                </a:moveTo>
                <a:cubicBezTo>
                  <a:pt x="65" y="48"/>
                  <a:pt x="66" y="49"/>
                  <a:pt x="66" y="51"/>
                </a:cubicBezTo>
                <a:cubicBezTo>
                  <a:pt x="66" y="52"/>
                  <a:pt x="65" y="53"/>
                  <a:pt x="63" y="53"/>
                </a:cubicBezTo>
                <a:cubicBezTo>
                  <a:pt x="62" y="53"/>
                  <a:pt x="61" y="52"/>
                  <a:pt x="61" y="51"/>
                </a:cubicBezTo>
                <a:cubicBezTo>
                  <a:pt x="61" y="49"/>
                  <a:pt x="62" y="48"/>
                  <a:pt x="63" y="48"/>
                </a:cubicBezTo>
                <a:close/>
                <a:moveTo>
                  <a:pt x="13" y="141"/>
                </a:moveTo>
                <a:cubicBezTo>
                  <a:pt x="14" y="141"/>
                  <a:pt x="15" y="143"/>
                  <a:pt x="15" y="144"/>
                </a:cubicBezTo>
                <a:cubicBezTo>
                  <a:pt x="15" y="145"/>
                  <a:pt x="14" y="147"/>
                  <a:pt x="13" y="147"/>
                </a:cubicBezTo>
                <a:cubicBezTo>
                  <a:pt x="11" y="147"/>
                  <a:pt x="10" y="145"/>
                  <a:pt x="10" y="144"/>
                </a:cubicBezTo>
                <a:cubicBezTo>
                  <a:pt x="10" y="143"/>
                  <a:pt x="11" y="141"/>
                  <a:pt x="13" y="141"/>
                </a:cubicBezTo>
                <a:close/>
                <a:moveTo>
                  <a:pt x="33" y="141"/>
                </a:moveTo>
                <a:cubicBezTo>
                  <a:pt x="35" y="141"/>
                  <a:pt x="36" y="143"/>
                  <a:pt x="36" y="144"/>
                </a:cubicBezTo>
                <a:cubicBezTo>
                  <a:pt x="36" y="145"/>
                  <a:pt x="35" y="147"/>
                  <a:pt x="33" y="147"/>
                </a:cubicBezTo>
                <a:cubicBezTo>
                  <a:pt x="32" y="147"/>
                  <a:pt x="30" y="145"/>
                  <a:pt x="30" y="144"/>
                </a:cubicBezTo>
                <a:cubicBezTo>
                  <a:pt x="30" y="143"/>
                  <a:pt x="32" y="141"/>
                  <a:pt x="33" y="141"/>
                </a:cubicBezTo>
                <a:close/>
                <a:moveTo>
                  <a:pt x="84" y="141"/>
                </a:moveTo>
                <a:cubicBezTo>
                  <a:pt x="85" y="141"/>
                  <a:pt x="86" y="143"/>
                  <a:pt x="86" y="144"/>
                </a:cubicBezTo>
                <a:cubicBezTo>
                  <a:pt x="86" y="145"/>
                  <a:pt x="85" y="147"/>
                  <a:pt x="84" y="147"/>
                </a:cubicBezTo>
                <a:cubicBezTo>
                  <a:pt x="82" y="147"/>
                  <a:pt x="81" y="145"/>
                  <a:pt x="81" y="144"/>
                </a:cubicBezTo>
                <a:cubicBezTo>
                  <a:pt x="81" y="143"/>
                  <a:pt x="82" y="141"/>
                  <a:pt x="84" y="141"/>
                </a:cubicBezTo>
                <a:close/>
                <a:moveTo>
                  <a:pt x="74" y="141"/>
                </a:moveTo>
                <a:cubicBezTo>
                  <a:pt x="75" y="141"/>
                  <a:pt x="76" y="143"/>
                  <a:pt x="76" y="144"/>
                </a:cubicBezTo>
                <a:cubicBezTo>
                  <a:pt x="76" y="145"/>
                  <a:pt x="75" y="147"/>
                  <a:pt x="74" y="147"/>
                </a:cubicBezTo>
                <a:cubicBezTo>
                  <a:pt x="72" y="147"/>
                  <a:pt x="71" y="145"/>
                  <a:pt x="71" y="144"/>
                </a:cubicBezTo>
                <a:cubicBezTo>
                  <a:pt x="71" y="143"/>
                  <a:pt x="72" y="141"/>
                  <a:pt x="74" y="141"/>
                </a:cubicBezTo>
                <a:close/>
                <a:moveTo>
                  <a:pt x="94" y="141"/>
                </a:moveTo>
                <a:cubicBezTo>
                  <a:pt x="95" y="141"/>
                  <a:pt x="97" y="143"/>
                  <a:pt x="97" y="144"/>
                </a:cubicBezTo>
                <a:cubicBezTo>
                  <a:pt x="97" y="145"/>
                  <a:pt x="95" y="147"/>
                  <a:pt x="94" y="147"/>
                </a:cubicBezTo>
                <a:cubicBezTo>
                  <a:pt x="92" y="147"/>
                  <a:pt x="91" y="145"/>
                  <a:pt x="91" y="144"/>
                </a:cubicBezTo>
                <a:cubicBezTo>
                  <a:pt x="91" y="143"/>
                  <a:pt x="92" y="141"/>
                  <a:pt x="94" y="141"/>
                </a:cubicBezTo>
                <a:close/>
                <a:moveTo>
                  <a:pt x="53" y="141"/>
                </a:moveTo>
                <a:cubicBezTo>
                  <a:pt x="55" y="141"/>
                  <a:pt x="56" y="143"/>
                  <a:pt x="56" y="144"/>
                </a:cubicBezTo>
                <a:cubicBezTo>
                  <a:pt x="56" y="145"/>
                  <a:pt x="55" y="147"/>
                  <a:pt x="53" y="147"/>
                </a:cubicBezTo>
                <a:cubicBezTo>
                  <a:pt x="52" y="147"/>
                  <a:pt x="51" y="145"/>
                  <a:pt x="51" y="144"/>
                </a:cubicBezTo>
                <a:cubicBezTo>
                  <a:pt x="51" y="143"/>
                  <a:pt x="52" y="141"/>
                  <a:pt x="53" y="141"/>
                </a:cubicBezTo>
                <a:close/>
                <a:moveTo>
                  <a:pt x="43" y="141"/>
                </a:moveTo>
                <a:cubicBezTo>
                  <a:pt x="45" y="141"/>
                  <a:pt x="46" y="143"/>
                  <a:pt x="46" y="144"/>
                </a:cubicBezTo>
                <a:cubicBezTo>
                  <a:pt x="46" y="145"/>
                  <a:pt x="45" y="147"/>
                  <a:pt x="43" y="147"/>
                </a:cubicBezTo>
                <a:cubicBezTo>
                  <a:pt x="42" y="147"/>
                  <a:pt x="41" y="145"/>
                  <a:pt x="41" y="144"/>
                </a:cubicBezTo>
                <a:cubicBezTo>
                  <a:pt x="41" y="143"/>
                  <a:pt x="42" y="141"/>
                  <a:pt x="43" y="141"/>
                </a:cubicBezTo>
                <a:close/>
                <a:moveTo>
                  <a:pt x="63" y="141"/>
                </a:moveTo>
                <a:cubicBezTo>
                  <a:pt x="65" y="141"/>
                  <a:pt x="66" y="143"/>
                  <a:pt x="66" y="144"/>
                </a:cubicBezTo>
                <a:cubicBezTo>
                  <a:pt x="66" y="145"/>
                  <a:pt x="65" y="147"/>
                  <a:pt x="63" y="147"/>
                </a:cubicBezTo>
                <a:cubicBezTo>
                  <a:pt x="62" y="147"/>
                  <a:pt x="61" y="145"/>
                  <a:pt x="61" y="144"/>
                </a:cubicBezTo>
                <a:cubicBezTo>
                  <a:pt x="61" y="143"/>
                  <a:pt x="62" y="141"/>
                  <a:pt x="63" y="141"/>
                </a:cubicBezTo>
                <a:close/>
                <a:moveTo>
                  <a:pt x="23" y="141"/>
                </a:moveTo>
                <a:cubicBezTo>
                  <a:pt x="24" y="141"/>
                  <a:pt x="26" y="143"/>
                  <a:pt x="26" y="144"/>
                </a:cubicBezTo>
                <a:cubicBezTo>
                  <a:pt x="26" y="145"/>
                  <a:pt x="24" y="147"/>
                  <a:pt x="23" y="147"/>
                </a:cubicBezTo>
                <a:cubicBezTo>
                  <a:pt x="21" y="147"/>
                  <a:pt x="20" y="145"/>
                  <a:pt x="20" y="144"/>
                </a:cubicBezTo>
                <a:cubicBezTo>
                  <a:pt x="20" y="143"/>
                  <a:pt x="21" y="141"/>
                  <a:pt x="23" y="141"/>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2123">
            <a:extLst>
              <a:ext uri="{FF2B5EF4-FFF2-40B4-BE49-F238E27FC236}">
                <a16:creationId xmlns:a16="http://schemas.microsoft.com/office/drawing/2014/main" id="{701383A6-E944-5F40-BB42-4F6E5F5575D1}"/>
              </a:ext>
            </a:extLst>
          </p:cNvPr>
          <p:cNvSpPr>
            <a:spLocks noEditPoints="1"/>
          </p:cNvSpPr>
          <p:nvPr/>
        </p:nvSpPr>
        <p:spPr bwMode="auto">
          <a:xfrm>
            <a:off x="5402259" y="3462338"/>
            <a:ext cx="504825" cy="549275"/>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2124">
            <a:extLst>
              <a:ext uri="{FF2B5EF4-FFF2-40B4-BE49-F238E27FC236}">
                <a16:creationId xmlns:a16="http://schemas.microsoft.com/office/drawing/2014/main" id="{1E70F919-BB3F-DA4C-83D1-61ED10C61553}"/>
              </a:ext>
            </a:extLst>
          </p:cNvPr>
          <p:cNvSpPr>
            <a:spLocks noEditPoints="1"/>
          </p:cNvSpPr>
          <p:nvPr/>
        </p:nvSpPr>
        <p:spPr bwMode="auto">
          <a:xfrm>
            <a:off x="5387971" y="4122738"/>
            <a:ext cx="546100" cy="457200"/>
          </a:xfrm>
          <a:custGeom>
            <a:avLst/>
            <a:gdLst>
              <a:gd name="T0" fmla="*/ 156 w 160"/>
              <a:gd name="T1" fmla="*/ 29 h 133"/>
              <a:gd name="T2" fmla="*/ 133 w 160"/>
              <a:gd name="T3" fmla="*/ 12 h 133"/>
              <a:gd name="T4" fmla="*/ 133 w 160"/>
              <a:gd name="T5" fmla="*/ 0 h 133"/>
              <a:gd name="T6" fmla="*/ 0 w 160"/>
              <a:gd name="T7" fmla="*/ 0 h 133"/>
              <a:gd name="T8" fmla="*/ 0 w 160"/>
              <a:gd name="T9" fmla="*/ 133 h 133"/>
              <a:gd name="T10" fmla="*/ 133 w 160"/>
              <a:gd name="T11" fmla="*/ 133 h 133"/>
              <a:gd name="T12" fmla="*/ 133 w 160"/>
              <a:gd name="T13" fmla="*/ 31 h 133"/>
              <a:gd name="T14" fmla="*/ 153 w 160"/>
              <a:gd name="T15" fmla="*/ 33 h 133"/>
              <a:gd name="T16" fmla="*/ 160 w 160"/>
              <a:gd name="T17" fmla="*/ 35 h 133"/>
              <a:gd name="T18" fmla="*/ 156 w 160"/>
              <a:gd name="T19" fmla="*/ 29 h 133"/>
              <a:gd name="T20" fmla="*/ 127 w 160"/>
              <a:gd name="T21" fmla="*/ 127 h 133"/>
              <a:gd name="T22" fmla="*/ 6 w 160"/>
              <a:gd name="T23" fmla="*/ 127 h 133"/>
              <a:gd name="T24" fmla="*/ 6 w 160"/>
              <a:gd name="T25" fmla="*/ 6 h 133"/>
              <a:gd name="T26" fmla="*/ 127 w 160"/>
              <a:gd name="T27" fmla="*/ 6 h 133"/>
              <a:gd name="T28" fmla="*/ 127 w 160"/>
              <a:gd name="T29" fmla="*/ 10 h 133"/>
              <a:gd name="T30" fmla="*/ 119 w 160"/>
              <a:gd name="T31" fmla="*/ 8 h 133"/>
              <a:gd name="T32" fmla="*/ 118 w 160"/>
              <a:gd name="T33" fmla="*/ 8 h 133"/>
              <a:gd name="T34" fmla="*/ 114 w 160"/>
              <a:gd name="T35" fmla="*/ 8 h 133"/>
              <a:gd name="T36" fmla="*/ 110 w 160"/>
              <a:gd name="T37" fmla="*/ 9 h 133"/>
              <a:gd name="T38" fmla="*/ 81 w 160"/>
              <a:gd name="T39" fmla="*/ 24 h 133"/>
              <a:gd name="T40" fmla="*/ 64 w 160"/>
              <a:gd name="T41" fmla="*/ 7 h 133"/>
              <a:gd name="T42" fmla="*/ 64 w 160"/>
              <a:gd name="T43" fmla="*/ 64 h 133"/>
              <a:gd name="T44" fmla="*/ 120 w 160"/>
              <a:gd name="T45" fmla="*/ 64 h 133"/>
              <a:gd name="T46" fmla="*/ 103 w 160"/>
              <a:gd name="T47" fmla="*/ 46 h 133"/>
              <a:gd name="T48" fmla="*/ 104 w 160"/>
              <a:gd name="T49" fmla="*/ 46 h 133"/>
              <a:gd name="T50" fmla="*/ 104 w 160"/>
              <a:gd name="T51" fmla="*/ 45 h 133"/>
              <a:gd name="T52" fmla="*/ 105 w 160"/>
              <a:gd name="T53" fmla="*/ 44 h 133"/>
              <a:gd name="T54" fmla="*/ 106 w 160"/>
              <a:gd name="T55" fmla="*/ 44 h 133"/>
              <a:gd name="T56" fmla="*/ 107 w 160"/>
              <a:gd name="T57" fmla="*/ 43 h 133"/>
              <a:gd name="T58" fmla="*/ 108 w 160"/>
              <a:gd name="T59" fmla="*/ 42 h 133"/>
              <a:gd name="T60" fmla="*/ 110 w 160"/>
              <a:gd name="T61" fmla="*/ 40 h 133"/>
              <a:gd name="T62" fmla="*/ 111 w 160"/>
              <a:gd name="T63" fmla="*/ 39 h 133"/>
              <a:gd name="T64" fmla="*/ 112 w 160"/>
              <a:gd name="T65" fmla="*/ 38 h 133"/>
              <a:gd name="T66" fmla="*/ 113 w 160"/>
              <a:gd name="T67" fmla="*/ 38 h 133"/>
              <a:gd name="T68" fmla="*/ 115 w 160"/>
              <a:gd name="T69" fmla="*/ 37 h 133"/>
              <a:gd name="T70" fmla="*/ 117 w 160"/>
              <a:gd name="T71" fmla="*/ 36 h 133"/>
              <a:gd name="T72" fmla="*/ 120 w 160"/>
              <a:gd name="T73" fmla="*/ 34 h 133"/>
              <a:gd name="T74" fmla="*/ 122 w 160"/>
              <a:gd name="T75" fmla="*/ 34 h 133"/>
              <a:gd name="T76" fmla="*/ 124 w 160"/>
              <a:gd name="T77" fmla="*/ 33 h 133"/>
              <a:gd name="T78" fmla="*/ 126 w 160"/>
              <a:gd name="T79" fmla="*/ 32 h 133"/>
              <a:gd name="T80" fmla="*/ 127 w 160"/>
              <a:gd name="T81" fmla="*/ 32 h 133"/>
              <a:gd name="T82" fmla="*/ 127 w 160"/>
              <a:gd name="T83" fmla="*/ 127 h 133"/>
              <a:gd name="T84" fmla="*/ 133 w 160"/>
              <a:gd name="T85" fmla="*/ 26 h 133"/>
              <a:gd name="T86" fmla="*/ 133 w 160"/>
              <a:gd name="T87" fmla="*/ 26 h 133"/>
              <a:gd name="T88" fmla="*/ 130 w 160"/>
              <a:gd name="T89" fmla="*/ 26 h 133"/>
              <a:gd name="T90" fmla="*/ 97 w 160"/>
              <a:gd name="T91" fmla="*/ 45 h 133"/>
              <a:gd name="T92" fmla="*/ 97 w 160"/>
              <a:gd name="T93" fmla="*/ 45 h 133"/>
              <a:gd name="T94" fmla="*/ 96 w 160"/>
              <a:gd name="T95" fmla="*/ 47 h 133"/>
              <a:gd name="T96" fmla="*/ 107 w 160"/>
              <a:gd name="T97" fmla="*/ 58 h 133"/>
              <a:gd name="T98" fmla="*/ 69 w 160"/>
              <a:gd name="T99" fmla="*/ 58 h 133"/>
              <a:gd name="T100" fmla="*/ 69 w 160"/>
              <a:gd name="T101" fmla="*/ 20 h 133"/>
              <a:gd name="T102" fmla="*/ 81 w 160"/>
              <a:gd name="T103" fmla="*/ 32 h 133"/>
              <a:gd name="T104" fmla="*/ 83 w 160"/>
              <a:gd name="T105" fmla="*/ 30 h 133"/>
              <a:gd name="T106" fmla="*/ 110 w 160"/>
              <a:gd name="T107" fmla="*/ 14 h 133"/>
              <a:gd name="T108" fmla="*/ 115 w 160"/>
              <a:gd name="T109" fmla="*/ 14 h 133"/>
              <a:gd name="T110" fmla="*/ 115 w 160"/>
              <a:gd name="T111" fmla="*/ 14 h 133"/>
              <a:gd name="T112" fmla="*/ 129 w 160"/>
              <a:gd name="T113" fmla="*/ 16 h 133"/>
              <a:gd name="T114" fmla="*/ 132 w 160"/>
              <a:gd name="T115" fmla="*/ 17 h 133"/>
              <a:gd name="T116" fmla="*/ 146 w 160"/>
              <a:gd name="T117" fmla="*/ 26 h 133"/>
              <a:gd name="T118" fmla="*/ 133 w 160"/>
              <a:gd name="T119" fmla="*/ 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33">
                <a:moveTo>
                  <a:pt x="156" y="29"/>
                </a:moveTo>
                <a:cubicBezTo>
                  <a:pt x="155" y="28"/>
                  <a:pt x="148" y="17"/>
                  <a:pt x="133" y="12"/>
                </a:cubicBezTo>
                <a:cubicBezTo>
                  <a:pt x="133" y="0"/>
                  <a:pt x="133" y="0"/>
                  <a:pt x="133" y="0"/>
                </a:cubicBezTo>
                <a:cubicBezTo>
                  <a:pt x="0" y="0"/>
                  <a:pt x="0" y="0"/>
                  <a:pt x="0" y="0"/>
                </a:cubicBezTo>
                <a:cubicBezTo>
                  <a:pt x="0" y="133"/>
                  <a:pt x="0" y="133"/>
                  <a:pt x="0" y="133"/>
                </a:cubicBezTo>
                <a:cubicBezTo>
                  <a:pt x="133" y="133"/>
                  <a:pt x="133" y="133"/>
                  <a:pt x="133" y="133"/>
                </a:cubicBezTo>
                <a:cubicBezTo>
                  <a:pt x="133" y="31"/>
                  <a:pt x="133" y="31"/>
                  <a:pt x="133" y="31"/>
                </a:cubicBezTo>
                <a:cubicBezTo>
                  <a:pt x="139" y="31"/>
                  <a:pt x="145" y="31"/>
                  <a:pt x="153" y="33"/>
                </a:cubicBezTo>
                <a:cubicBezTo>
                  <a:pt x="160" y="35"/>
                  <a:pt x="160" y="35"/>
                  <a:pt x="160" y="35"/>
                </a:cubicBezTo>
                <a:lnTo>
                  <a:pt x="156" y="29"/>
                </a:lnTo>
                <a:close/>
                <a:moveTo>
                  <a:pt x="127" y="127"/>
                </a:moveTo>
                <a:cubicBezTo>
                  <a:pt x="6" y="127"/>
                  <a:pt x="6" y="127"/>
                  <a:pt x="6" y="127"/>
                </a:cubicBezTo>
                <a:cubicBezTo>
                  <a:pt x="6" y="6"/>
                  <a:pt x="6" y="6"/>
                  <a:pt x="6" y="6"/>
                </a:cubicBezTo>
                <a:cubicBezTo>
                  <a:pt x="127" y="6"/>
                  <a:pt x="127" y="6"/>
                  <a:pt x="127" y="6"/>
                </a:cubicBezTo>
                <a:cubicBezTo>
                  <a:pt x="127" y="10"/>
                  <a:pt x="127" y="10"/>
                  <a:pt x="127" y="10"/>
                </a:cubicBezTo>
                <a:cubicBezTo>
                  <a:pt x="125" y="9"/>
                  <a:pt x="122" y="9"/>
                  <a:pt x="119" y="8"/>
                </a:cubicBezTo>
                <a:cubicBezTo>
                  <a:pt x="119" y="8"/>
                  <a:pt x="118" y="8"/>
                  <a:pt x="118" y="8"/>
                </a:cubicBezTo>
                <a:cubicBezTo>
                  <a:pt x="117" y="8"/>
                  <a:pt x="116" y="8"/>
                  <a:pt x="114" y="8"/>
                </a:cubicBezTo>
                <a:cubicBezTo>
                  <a:pt x="113" y="8"/>
                  <a:pt x="111" y="8"/>
                  <a:pt x="110" y="9"/>
                </a:cubicBezTo>
                <a:cubicBezTo>
                  <a:pt x="109" y="9"/>
                  <a:pt x="96" y="9"/>
                  <a:pt x="81" y="24"/>
                </a:cubicBezTo>
                <a:cubicBezTo>
                  <a:pt x="64" y="7"/>
                  <a:pt x="64" y="7"/>
                  <a:pt x="64" y="7"/>
                </a:cubicBezTo>
                <a:cubicBezTo>
                  <a:pt x="64" y="64"/>
                  <a:pt x="64" y="64"/>
                  <a:pt x="64" y="64"/>
                </a:cubicBezTo>
                <a:cubicBezTo>
                  <a:pt x="120" y="64"/>
                  <a:pt x="120" y="64"/>
                  <a:pt x="120" y="64"/>
                </a:cubicBezTo>
                <a:cubicBezTo>
                  <a:pt x="103" y="46"/>
                  <a:pt x="103" y="46"/>
                  <a:pt x="103" y="46"/>
                </a:cubicBezTo>
                <a:cubicBezTo>
                  <a:pt x="103" y="46"/>
                  <a:pt x="103" y="46"/>
                  <a:pt x="104" y="46"/>
                </a:cubicBezTo>
                <a:cubicBezTo>
                  <a:pt x="104" y="46"/>
                  <a:pt x="104" y="45"/>
                  <a:pt x="104" y="45"/>
                </a:cubicBezTo>
                <a:cubicBezTo>
                  <a:pt x="104" y="45"/>
                  <a:pt x="105" y="45"/>
                  <a:pt x="105" y="44"/>
                </a:cubicBezTo>
                <a:cubicBezTo>
                  <a:pt x="105" y="44"/>
                  <a:pt x="105" y="44"/>
                  <a:pt x="106" y="44"/>
                </a:cubicBezTo>
                <a:cubicBezTo>
                  <a:pt x="106" y="43"/>
                  <a:pt x="106" y="43"/>
                  <a:pt x="107" y="43"/>
                </a:cubicBezTo>
                <a:cubicBezTo>
                  <a:pt x="107" y="42"/>
                  <a:pt x="107" y="42"/>
                  <a:pt x="108" y="42"/>
                </a:cubicBezTo>
                <a:cubicBezTo>
                  <a:pt x="108" y="41"/>
                  <a:pt x="109" y="41"/>
                  <a:pt x="110" y="40"/>
                </a:cubicBezTo>
                <a:cubicBezTo>
                  <a:pt x="110" y="40"/>
                  <a:pt x="110" y="40"/>
                  <a:pt x="111" y="39"/>
                </a:cubicBezTo>
                <a:cubicBezTo>
                  <a:pt x="111" y="39"/>
                  <a:pt x="112" y="39"/>
                  <a:pt x="112" y="38"/>
                </a:cubicBezTo>
                <a:cubicBezTo>
                  <a:pt x="113" y="38"/>
                  <a:pt x="113" y="38"/>
                  <a:pt x="113" y="38"/>
                </a:cubicBezTo>
                <a:cubicBezTo>
                  <a:pt x="114" y="37"/>
                  <a:pt x="115" y="37"/>
                  <a:pt x="115" y="37"/>
                </a:cubicBezTo>
                <a:cubicBezTo>
                  <a:pt x="116" y="36"/>
                  <a:pt x="116" y="36"/>
                  <a:pt x="117" y="36"/>
                </a:cubicBezTo>
                <a:cubicBezTo>
                  <a:pt x="118" y="35"/>
                  <a:pt x="119" y="35"/>
                  <a:pt x="120" y="34"/>
                </a:cubicBezTo>
                <a:cubicBezTo>
                  <a:pt x="121" y="34"/>
                  <a:pt x="121" y="34"/>
                  <a:pt x="122" y="34"/>
                </a:cubicBezTo>
                <a:cubicBezTo>
                  <a:pt x="123" y="33"/>
                  <a:pt x="123" y="33"/>
                  <a:pt x="124" y="33"/>
                </a:cubicBezTo>
                <a:cubicBezTo>
                  <a:pt x="125" y="33"/>
                  <a:pt x="125" y="33"/>
                  <a:pt x="126" y="32"/>
                </a:cubicBezTo>
                <a:cubicBezTo>
                  <a:pt x="127" y="32"/>
                  <a:pt x="127" y="32"/>
                  <a:pt x="127" y="32"/>
                </a:cubicBezTo>
                <a:lnTo>
                  <a:pt x="127" y="127"/>
                </a:lnTo>
                <a:close/>
                <a:moveTo>
                  <a:pt x="133" y="26"/>
                </a:moveTo>
                <a:cubicBezTo>
                  <a:pt x="133" y="26"/>
                  <a:pt x="133" y="26"/>
                  <a:pt x="133" y="26"/>
                </a:cubicBezTo>
                <a:cubicBezTo>
                  <a:pt x="130" y="26"/>
                  <a:pt x="130" y="26"/>
                  <a:pt x="130" y="26"/>
                </a:cubicBezTo>
                <a:cubicBezTo>
                  <a:pt x="108" y="29"/>
                  <a:pt x="98" y="44"/>
                  <a:pt x="97" y="45"/>
                </a:cubicBezTo>
                <a:cubicBezTo>
                  <a:pt x="97" y="45"/>
                  <a:pt x="97" y="45"/>
                  <a:pt x="97" y="45"/>
                </a:cubicBezTo>
                <a:cubicBezTo>
                  <a:pt x="96" y="47"/>
                  <a:pt x="96" y="47"/>
                  <a:pt x="96" y="47"/>
                </a:cubicBezTo>
                <a:cubicBezTo>
                  <a:pt x="107" y="58"/>
                  <a:pt x="107" y="58"/>
                  <a:pt x="107" y="58"/>
                </a:cubicBezTo>
                <a:cubicBezTo>
                  <a:pt x="69" y="58"/>
                  <a:pt x="69" y="58"/>
                  <a:pt x="69" y="58"/>
                </a:cubicBezTo>
                <a:cubicBezTo>
                  <a:pt x="69" y="20"/>
                  <a:pt x="69" y="20"/>
                  <a:pt x="69" y="20"/>
                </a:cubicBezTo>
                <a:cubicBezTo>
                  <a:pt x="81" y="32"/>
                  <a:pt x="81" y="32"/>
                  <a:pt x="81" y="32"/>
                </a:cubicBezTo>
                <a:cubicBezTo>
                  <a:pt x="83" y="30"/>
                  <a:pt x="83" y="30"/>
                  <a:pt x="83" y="30"/>
                </a:cubicBezTo>
                <a:cubicBezTo>
                  <a:pt x="97" y="15"/>
                  <a:pt x="110" y="14"/>
                  <a:pt x="110" y="14"/>
                </a:cubicBezTo>
                <a:cubicBezTo>
                  <a:pt x="112" y="14"/>
                  <a:pt x="113" y="14"/>
                  <a:pt x="115" y="14"/>
                </a:cubicBezTo>
                <a:cubicBezTo>
                  <a:pt x="115" y="14"/>
                  <a:pt x="115" y="14"/>
                  <a:pt x="115" y="14"/>
                </a:cubicBezTo>
                <a:cubicBezTo>
                  <a:pt x="120" y="14"/>
                  <a:pt x="125" y="15"/>
                  <a:pt x="129" y="16"/>
                </a:cubicBezTo>
                <a:cubicBezTo>
                  <a:pt x="132" y="17"/>
                  <a:pt x="132" y="17"/>
                  <a:pt x="132" y="17"/>
                </a:cubicBezTo>
                <a:cubicBezTo>
                  <a:pt x="138" y="20"/>
                  <a:pt x="143" y="23"/>
                  <a:pt x="146" y="26"/>
                </a:cubicBezTo>
                <a:cubicBezTo>
                  <a:pt x="141" y="26"/>
                  <a:pt x="137" y="25"/>
                  <a:pt x="133" y="26"/>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2125">
            <a:extLst>
              <a:ext uri="{FF2B5EF4-FFF2-40B4-BE49-F238E27FC236}">
                <a16:creationId xmlns:a16="http://schemas.microsoft.com/office/drawing/2014/main" id="{06FCBECD-5E7E-DF47-9E61-AA2700D55D9F}"/>
              </a:ext>
            </a:extLst>
          </p:cNvPr>
          <p:cNvSpPr>
            <a:spLocks/>
          </p:cNvSpPr>
          <p:nvPr/>
        </p:nvSpPr>
        <p:spPr bwMode="auto">
          <a:xfrm>
            <a:off x="5387971" y="4824413"/>
            <a:ext cx="546100" cy="285750"/>
          </a:xfrm>
          <a:custGeom>
            <a:avLst/>
            <a:gdLst>
              <a:gd name="T0" fmla="*/ 160 w 160"/>
              <a:gd name="T1" fmla="*/ 41 h 83"/>
              <a:gd name="T2" fmla="*/ 119 w 160"/>
              <a:gd name="T3" fmla="*/ 83 h 83"/>
              <a:gd name="T4" fmla="*/ 89 w 160"/>
              <a:gd name="T5" fmla="*/ 71 h 83"/>
              <a:gd name="T6" fmla="*/ 89 w 160"/>
              <a:gd name="T7" fmla="*/ 67 h 83"/>
              <a:gd name="T8" fmla="*/ 93 w 160"/>
              <a:gd name="T9" fmla="*/ 67 h 83"/>
              <a:gd name="T10" fmla="*/ 119 w 160"/>
              <a:gd name="T11" fmla="*/ 77 h 83"/>
              <a:gd name="T12" fmla="*/ 155 w 160"/>
              <a:gd name="T13" fmla="*/ 41 h 83"/>
              <a:gd name="T14" fmla="*/ 119 w 160"/>
              <a:gd name="T15" fmla="*/ 5 h 83"/>
              <a:gd name="T16" fmla="*/ 83 w 160"/>
              <a:gd name="T17" fmla="*/ 41 h 83"/>
              <a:gd name="T18" fmla="*/ 41 w 160"/>
              <a:gd name="T19" fmla="*/ 83 h 83"/>
              <a:gd name="T20" fmla="*/ 0 w 160"/>
              <a:gd name="T21" fmla="*/ 41 h 83"/>
              <a:gd name="T22" fmla="*/ 41 w 160"/>
              <a:gd name="T23" fmla="*/ 0 h 83"/>
              <a:gd name="T24" fmla="*/ 64 w 160"/>
              <a:gd name="T25" fmla="*/ 7 h 83"/>
              <a:gd name="T26" fmla="*/ 71 w 160"/>
              <a:gd name="T27" fmla="*/ 12 h 83"/>
              <a:gd name="T28" fmla="*/ 71 w 160"/>
              <a:gd name="T29" fmla="*/ 16 h 83"/>
              <a:gd name="T30" fmla="*/ 67 w 160"/>
              <a:gd name="T31" fmla="*/ 16 h 83"/>
              <a:gd name="T32" fmla="*/ 61 w 160"/>
              <a:gd name="T33" fmla="*/ 11 h 83"/>
              <a:gd name="T34" fmla="*/ 41 w 160"/>
              <a:gd name="T35" fmla="*/ 5 h 83"/>
              <a:gd name="T36" fmla="*/ 5 w 160"/>
              <a:gd name="T37" fmla="*/ 41 h 83"/>
              <a:gd name="T38" fmla="*/ 41 w 160"/>
              <a:gd name="T39" fmla="*/ 77 h 83"/>
              <a:gd name="T40" fmla="*/ 77 w 160"/>
              <a:gd name="T41" fmla="*/ 41 h 83"/>
              <a:gd name="T42" fmla="*/ 119 w 160"/>
              <a:gd name="T43" fmla="*/ 0 h 83"/>
              <a:gd name="T44" fmla="*/ 160 w 160"/>
              <a:gd name="T45"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83">
                <a:moveTo>
                  <a:pt x="160" y="41"/>
                </a:moveTo>
                <a:cubicBezTo>
                  <a:pt x="160" y="64"/>
                  <a:pt x="141" y="83"/>
                  <a:pt x="119" y="83"/>
                </a:cubicBezTo>
                <a:cubicBezTo>
                  <a:pt x="108" y="83"/>
                  <a:pt x="97" y="78"/>
                  <a:pt x="89" y="71"/>
                </a:cubicBezTo>
                <a:cubicBezTo>
                  <a:pt x="88" y="70"/>
                  <a:pt x="88" y="68"/>
                  <a:pt x="89" y="67"/>
                </a:cubicBezTo>
                <a:cubicBezTo>
                  <a:pt x="90" y="66"/>
                  <a:pt x="92" y="66"/>
                  <a:pt x="93" y="67"/>
                </a:cubicBezTo>
                <a:cubicBezTo>
                  <a:pt x="100" y="74"/>
                  <a:pt x="109" y="77"/>
                  <a:pt x="119" y="77"/>
                </a:cubicBezTo>
                <a:cubicBezTo>
                  <a:pt x="139" y="77"/>
                  <a:pt x="155" y="61"/>
                  <a:pt x="155" y="41"/>
                </a:cubicBezTo>
                <a:cubicBezTo>
                  <a:pt x="155" y="21"/>
                  <a:pt x="139" y="5"/>
                  <a:pt x="119" y="5"/>
                </a:cubicBezTo>
                <a:cubicBezTo>
                  <a:pt x="99" y="5"/>
                  <a:pt x="83" y="21"/>
                  <a:pt x="83" y="41"/>
                </a:cubicBezTo>
                <a:cubicBezTo>
                  <a:pt x="83" y="64"/>
                  <a:pt x="64" y="83"/>
                  <a:pt x="41" y="83"/>
                </a:cubicBezTo>
                <a:cubicBezTo>
                  <a:pt x="19" y="83"/>
                  <a:pt x="0" y="64"/>
                  <a:pt x="0" y="41"/>
                </a:cubicBezTo>
                <a:cubicBezTo>
                  <a:pt x="0" y="19"/>
                  <a:pt x="19" y="0"/>
                  <a:pt x="41" y="0"/>
                </a:cubicBezTo>
                <a:cubicBezTo>
                  <a:pt x="50" y="0"/>
                  <a:pt x="58" y="2"/>
                  <a:pt x="64" y="7"/>
                </a:cubicBezTo>
                <a:cubicBezTo>
                  <a:pt x="67" y="8"/>
                  <a:pt x="69" y="10"/>
                  <a:pt x="71" y="12"/>
                </a:cubicBezTo>
                <a:cubicBezTo>
                  <a:pt x="72" y="13"/>
                  <a:pt x="72" y="15"/>
                  <a:pt x="71" y="16"/>
                </a:cubicBezTo>
                <a:cubicBezTo>
                  <a:pt x="70" y="17"/>
                  <a:pt x="68" y="17"/>
                  <a:pt x="67" y="16"/>
                </a:cubicBezTo>
                <a:cubicBezTo>
                  <a:pt x="65" y="14"/>
                  <a:pt x="63" y="13"/>
                  <a:pt x="61" y="11"/>
                </a:cubicBezTo>
                <a:cubicBezTo>
                  <a:pt x="55" y="7"/>
                  <a:pt x="49" y="5"/>
                  <a:pt x="41" y="5"/>
                </a:cubicBezTo>
                <a:cubicBezTo>
                  <a:pt x="21" y="5"/>
                  <a:pt x="5" y="21"/>
                  <a:pt x="5" y="41"/>
                </a:cubicBezTo>
                <a:cubicBezTo>
                  <a:pt x="5" y="61"/>
                  <a:pt x="21" y="77"/>
                  <a:pt x="41" y="77"/>
                </a:cubicBezTo>
                <a:cubicBezTo>
                  <a:pt x="61" y="77"/>
                  <a:pt x="77" y="61"/>
                  <a:pt x="77" y="41"/>
                </a:cubicBezTo>
                <a:cubicBezTo>
                  <a:pt x="77" y="19"/>
                  <a:pt x="96" y="0"/>
                  <a:pt x="119" y="0"/>
                </a:cubicBezTo>
                <a:cubicBezTo>
                  <a:pt x="141" y="0"/>
                  <a:pt x="160" y="19"/>
                  <a:pt x="160" y="41"/>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2126">
            <a:extLst>
              <a:ext uri="{FF2B5EF4-FFF2-40B4-BE49-F238E27FC236}">
                <a16:creationId xmlns:a16="http://schemas.microsoft.com/office/drawing/2014/main" id="{321358D8-E4CF-FF44-A8B8-135C30E33FA8}"/>
              </a:ext>
            </a:extLst>
          </p:cNvPr>
          <p:cNvSpPr>
            <a:spLocks noEditPoints="1"/>
          </p:cNvSpPr>
          <p:nvPr/>
        </p:nvSpPr>
        <p:spPr bwMode="auto">
          <a:xfrm>
            <a:off x="5387971" y="5319713"/>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83 w 160"/>
              <a:gd name="T21" fmla="*/ 117 h 160"/>
              <a:gd name="T22" fmla="*/ 83 w 160"/>
              <a:gd name="T23" fmla="*/ 123 h 160"/>
              <a:gd name="T24" fmla="*/ 80 w 160"/>
              <a:gd name="T25" fmla="*/ 126 h 160"/>
              <a:gd name="T26" fmla="*/ 77 w 160"/>
              <a:gd name="T27" fmla="*/ 123 h 160"/>
              <a:gd name="T28" fmla="*/ 77 w 160"/>
              <a:gd name="T29" fmla="*/ 117 h 160"/>
              <a:gd name="T30" fmla="*/ 80 w 160"/>
              <a:gd name="T31" fmla="*/ 114 h 160"/>
              <a:gd name="T32" fmla="*/ 83 w 160"/>
              <a:gd name="T33" fmla="*/ 117 h 160"/>
              <a:gd name="T34" fmla="*/ 105 w 160"/>
              <a:gd name="T35" fmla="*/ 52 h 160"/>
              <a:gd name="T36" fmla="*/ 93 w 160"/>
              <a:gd name="T37" fmla="*/ 73 h 160"/>
              <a:gd name="T38" fmla="*/ 83 w 160"/>
              <a:gd name="T39" fmla="*/ 93 h 160"/>
              <a:gd name="T40" fmla="*/ 83 w 160"/>
              <a:gd name="T41" fmla="*/ 102 h 160"/>
              <a:gd name="T42" fmla="*/ 80 w 160"/>
              <a:gd name="T43" fmla="*/ 105 h 160"/>
              <a:gd name="T44" fmla="*/ 77 w 160"/>
              <a:gd name="T45" fmla="*/ 102 h 160"/>
              <a:gd name="T46" fmla="*/ 77 w 160"/>
              <a:gd name="T47" fmla="*/ 93 h 160"/>
              <a:gd name="T48" fmla="*/ 90 w 160"/>
              <a:gd name="T49" fmla="*/ 68 h 160"/>
              <a:gd name="T50" fmla="*/ 98 w 160"/>
              <a:gd name="T51" fmla="*/ 52 h 160"/>
              <a:gd name="T52" fmla="*/ 80 w 160"/>
              <a:gd name="T53" fmla="*/ 34 h 160"/>
              <a:gd name="T54" fmla="*/ 67 w 160"/>
              <a:gd name="T55" fmla="*/ 39 h 160"/>
              <a:gd name="T56" fmla="*/ 62 w 160"/>
              <a:gd name="T57" fmla="*/ 52 h 160"/>
              <a:gd name="T58" fmla="*/ 58 w 160"/>
              <a:gd name="T59" fmla="*/ 55 h 160"/>
              <a:gd name="T60" fmla="*/ 55 w 160"/>
              <a:gd name="T61" fmla="*/ 52 h 160"/>
              <a:gd name="T62" fmla="*/ 63 w 160"/>
              <a:gd name="T63" fmla="*/ 35 h 160"/>
              <a:gd name="T64" fmla="*/ 80 w 160"/>
              <a:gd name="T65" fmla="*/ 28 h 160"/>
              <a:gd name="T66" fmla="*/ 80 w 160"/>
              <a:gd name="T67" fmla="*/ 28 h 160"/>
              <a:gd name="T68" fmla="*/ 105 w 160"/>
              <a:gd name="T69" fmla="*/ 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83" y="117"/>
                </a:moveTo>
                <a:cubicBezTo>
                  <a:pt x="83" y="123"/>
                  <a:pt x="83" y="123"/>
                  <a:pt x="83" y="123"/>
                </a:cubicBezTo>
                <a:cubicBezTo>
                  <a:pt x="83" y="125"/>
                  <a:pt x="82" y="126"/>
                  <a:pt x="80" y="126"/>
                </a:cubicBezTo>
                <a:cubicBezTo>
                  <a:pt x="78" y="126"/>
                  <a:pt x="77" y="125"/>
                  <a:pt x="77" y="123"/>
                </a:cubicBezTo>
                <a:cubicBezTo>
                  <a:pt x="77" y="117"/>
                  <a:pt x="77" y="117"/>
                  <a:pt x="77" y="117"/>
                </a:cubicBezTo>
                <a:cubicBezTo>
                  <a:pt x="77" y="115"/>
                  <a:pt x="78" y="114"/>
                  <a:pt x="80" y="114"/>
                </a:cubicBezTo>
                <a:cubicBezTo>
                  <a:pt x="82" y="114"/>
                  <a:pt x="83" y="115"/>
                  <a:pt x="83" y="117"/>
                </a:cubicBezTo>
                <a:close/>
                <a:moveTo>
                  <a:pt x="105" y="52"/>
                </a:moveTo>
                <a:cubicBezTo>
                  <a:pt x="105" y="61"/>
                  <a:pt x="101" y="68"/>
                  <a:pt x="93" y="73"/>
                </a:cubicBezTo>
                <a:cubicBezTo>
                  <a:pt x="87" y="77"/>
                  <a:pt x="83" y="85"/>
                  <a:pt x="83" y="93"/>
                </a:cubicBezTo>
                <a:cubicBezTo>
                  <a:pt x="83" y="102"/>
                  <a:pt x="83" y="102"/>
                  <a:pt x="83" y="102"/>
                </a:cubicBezTo>
                <a:cubicBezTo>
                  <a:pt x="83" y="103"/>
                  <a:pt x="82" y="105"/>
                  <a:pt x="80" y="105"/>
                </a:cubicBezTo>
                <a:cubicBezTo>
                  <a:pt x="78" y="105"/>
                  <a:pt x="77" y="103"/>
                  <a:pt x="77" y="102"/>
                </a:cubicBezTo>
                <a:cubicBezTo>
                  <a:pt x="77" y="93"/>
                  <a:pt x="77" y="93"/>
                  <a:pt x="77" y="93"/>
                </a:cubicBezTo>
                <a:cubicBezTo>
                  <a:pt x="77" y="82"/>
                  <a:pt x="82" y="73"/>
                  <a:pt x="90" y="68"/>
                </a:cubicBezTo>
                <a:cubicBezTo>
                  <a:pt x="95" y="64"/>
                  <a:pt x="99" y="58"/>
                  <a:pt x="98" y="52"/>
                </a:cubicBezTo>
                <a:cubicBezTo>
                  <a:pt x="98" y="42"/>
                  <a:pt x="90" y="34"/>
                  <a:pt x="80" y="34"/>
                </a:cubicBezTo>
                <a:cubicBezTo>
                  <a:pt x="75" y="34"/>
                  <a:pt x="71" y="36"/>
                  <a:pt x="67" y="39"/>
                </a:cubicBezTo>
                <a:cubicBezTo>
                  <a:pt x="63" y="43"/>
                  <a:pt x="62" y="47"/>
                  <a:pt x="62" y="52"/>
                </a:cubicBezTo>
                <a:cubicBezTo>
                  <a:pt x="62" y="54"/>
                  <a:pt x="60" y="55"/>
                  <a:pt x="58" y="55"/>
                </a:cubicBezTo>
                <a:cubicBezTo>
                  <a:pt x="57" y="55"/>
                  <a:pt x="55" y="54"/>
                  <a:pt x="55" y="52"/>
                </a:cubicBezTo>
                <a:cubicBezTo>
                  <a:pt x="55" y="46"/>
                  <a:pt x="58" y="39"/>
                  <a:pt x="63" y="35"/>
                </a:cubicBezTo>
                <a:cubicBezTo>
                  <a:pt x="67" y="30"/>
                  <a:pt x="73" y="28"/>
                  <a:pt x="80" y="28"/>
                </a:cubicBezTo>
                <a:cubicBezTo>
                  <a:pt x="80" y="28"/>
                  <a:pt x="80" y="28"/>
                  <a:pt x="80" y="28"/>
                </a:cubicBezTo>
                <a:cubicBezTo>
                  <a:pt x="94" y="28"/>
                  <a:pt x="104" y="39"/>
                  <a:pt x="105" y="52"/>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2127">
            <a:extLst>
              <a:ext uri="{FF2B5EF4-FFF2-40B4-BE49-F238E27FC236}">
                <a16:creationId xmlns:a16="http://schemas.microsoft.com/office/drawing/2014/main" id="{19D14489-6EB3-A04A-ABB2-B40781F09E96}"/>
              </a:ext>
            </a:extLst>
          </p:cNvPr>
          <p:cNvSpPr>
            <a:spLocks noEditPoints="1"/>
          </p:cNvSpPr>
          <p:nvPr/>
        </p:nvSpPr>
        <p:spPr bwMode="auto">
          <a:xfrm>
            <a:off x="5387971" y="5938838"/>
            <a:ext cx="546100" cy="550863"/>
          </a:xfrm>
          <a:custGeom>
            <a:avLst/>
            <a:gdLst>
              <a:gd name="T0" fmla="*/ 160 w 160"/>
              <a:gd name="T1" fmla="*/ 80 h 160"/>
              <a:gd name="T2" fmla="*/ 138 w 160"/>
              <a:gd name="T3" fmla="*/ 25 h 160"/>
              <a:gd name="T4" fmla="*/ 83 w 160"/>
              <a:gd name="T5" fmla="*/ 0 h 160"/>
              <a:gd name="T6" fmla="*/ 81 w 160"/>
              <a:gd name="T7" fmla="*/ 0 h 160"/>
              <a:gd name="T8" fmla="*/ 79 w 160"/>
              <a:gd name="T9" fmla="*/ 0 h 160"/>
              <a:gd name="T10" fmla="*/ 77 w 160"/>
              <a:gd name="T11" fmla="*/ 0 h 160"/>
              <a:gd name="T12" fmla="*/ 22 w 160"/>
              <a:gd name="T13" fmla="*/ 25 h 160"/>
              <a:gd name="T14" fmla="*/ 0 w 160"/>
              <a:gd name="T15" fmla="*/ 80 h 160"/>
              <a:gd name="T16" fmla="*/ 20 w 160"/>
              <a:gd name="T17" fmla="*/ 133 h 160"/>
              <a:gd name="T18" fmla="*/ 77 w 160"/>
              <a:gd name="T19" fmla="*/ 160 h 160"/>
              <a:gd name="T20" fmla="*/ 79 w 160"/>
              <a:gd name="T21" fmla="*/ 160 h 160"/>
              <a:gd name="T22" fmla="*/ 81 w 160"/>
              <a:gd name="T23" fmla="*/ 160 h 160"/>
              <a:gd name="T24" fmla="*/ 83 w 160"/>
              <a:gd name="T25" fmla="*/ 160 h 160"/>
              <a:gd name="T26" fmla="*/ 140 w 160"/>
              <a:gd name="T27" fmla="*/ 133 h 160"/>
              <a:gd name="T28" fmla="*/ 6 w 160"/>
              <a:gd name="T29" fmla="*/ 83 h 160"/>
              <a:gd name="T30" fmla="*/ 45 w 160"/>
              <a:gd name="T31" fmla="*/ 116 h 160"/>
              <a:gd name="T32" fmla="*/ 6 w 160"/>
              <a:gd name="T33" fmla="*/ 83 h 160"/>
              <a:gd name="T34" fmla="*/ 46 w 160"/>
              <a:gd name="T35" fmla="*/ 41 h 160"/>
              <a:gd name="T36" fmla="*/ 6 w 160"/>
              <a:gd name="T37" fmla="*/ 77 h 160"/>
              <a:gd name="T38" fmla="*/ 154 w 160"/>
              <a:gd name="T39" fmla="*/ 77 h 160"/>
              <a:gd name="T40" fmla="*/ 114 w 160"/>
              <a:gd name="T41" fmla="*/ 41 h 160"/>
              <a:gd name="T42" fmla="*/ 154 w 160"/>
              <a:gd name="T43" fmla="*/ 77 h 160"/>
              <a:gd name="T44" fmla="*/ 54 w 160"/>
              <a:gd name="T45" fmla="*/ 38 h 160"/>
              <a:gd name="T46" fmla="*/ 77 w 160"/>
              <a:gd name="T47" fmla="*/ 41 h 160"/>
              <a:gd name="T48" fmla="*/ 77 w 160"/>
              <a:gd name="T49" fmla="*/ 77 h 160"/>
              <a:gd name="T50" fmla="*/ 52 w 160"/>
              <a:gd name="T51" fmla="*/ 43 h 160"/>
              <a:gd name="T52" fmla="*/ 83 w 160"/>
              <a:gd name="T53" fmla="*/ 47 h 160"/>
              <a:gd name="T54" fmla="*/ 116 w 160"/>
              <a:gd name="T55" fmla="*/ 77 h 160"/>
              <a:gd name="T56" fmla="*/ 83 w 160"/>
              <a:gd name="T57" fmla="*/ 47 h 160"/>
              <a:gd name="T58" fmla="*/ 83 w 160"/>
              <a:gd name="T59" fmla="*/ 7 h 160"/>
              <a:gd name="T60" fmla="*/ 83 w 160"/>
              <a:gd name="T61" fmla="*/ 41 h 160"/>
              <a:gd name="T62" fmla="*/ 90 w 160"/>
              <a:gd name="T63" fmla="*/ 6 h 160"/>
              <a:gd name="T64" fmla="*/ 111 w 160"/>
              <a:gd name="T65" fmla="*/ 36 h 160"/>
              <a:gd name="T66" fmla="*/ 28 w 160"/>
              <a:gd name="T67" fmla="*/ 26 h 160"/>
              <a:gd name="T68" fmla="*/ 49 w 160"/>
              <a:gd name="T69" fmla="*/ 36 h 160"/>
              <a:gd name="T70" fmla="*/ 77 w 160"/>
              <a:gd name="T71" fmla="*/ 83 h 160"/>
              <a:gd name="T72" fmla="*/ 51 w 160"/>
              <a:gd name="T73" fmla="*/ 115 h 160"/>
              <a:gd name="T74" fmla="*/ 77 w 160"/>
              <a:gd name="T75" fmla="*/ 116 h 160"/>
              <a:gd name="T76" fmla="*/ 53 w 160"/>
              <a:gd name="T77" fmla="*/ 120 h 160"/>
              <a:gd name="T78" fmla="*/ 83 w 160"/>
              <a:gd name="T79" fmla="*/ 153 h 160"/>
              <a:gd name="T80" fmla="*/ 107 w 160"/>
              <a:gd name="T81" fmla="*/ 120 h 160"/>
              <a:gd name="T82" fmla="*/ 83 w 160"/>
              <a:gd name="T83" fmla="*/ 110 h 160"/>
              <a:gd name="T84" fmla="*/ 116 w 160"/>
              <a:gd name="T85" fmla="*/ 83 h 160"/>
              <a:gd name="T86" fmla="*/ 83 w 160"/>
              <a:gd name="T87" fmla="*/ 110 h 160"/>
              <a:gd name="T88" fmla="*/ 154 w 160"/>
              <a:gd name="T89" fmla="*/ 83 h 160"/>
              <a:gd name="T90" fmla="*/ 115 w 160"/>
              <a:gd name="T91" fmla="*/ 116 h 160"/>
              <a:gd name="T92" fmla="*/ 27 w 160"/>
              <a:gd name="T93" fmla="*/ 132 h 160"/>
              <a:gd name="T94" fmla="*/ 70 w 160"/>
              <a:gd name="T95" fmla="*/ 154 h 160"/>
              <a:gd name="T96" fmla="*/ 90 w 160"/>
              <a:gd name="T97" fmla="*/ 154 h 160"/>
              <a:gd name="T98" fmla="*/ 133 w 160"/>
              <a:gd name="T99" fmla="*/ 13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60">
                <a:moveTo>
                  <a:pt x="140" y="133"/>
                </a:moveTo>
                <a:cubicBezTo>
                  <a:pt x="152" y="119"/>
                  <a:pt x="160" y="100"/>
                  <a:pt x="160" y="80"/>
                </a:cubicBezTo>
                <a:cubicBezTo>
                  <a:pt x="160" y="59"/>
                  <a:pt x="152" y="40"/>
                  <a:pt x="138" y="25"/>
                </a:cubicBezTo>
                <a:cubicBezTo>
                  <a:pt x="138" y="25"/>
                  <a:pt x="138" y="25"/>
                  <a:pt x="138" y="25"/>
                </a:cubicBezTo>
                <a:cubicBezTo>
                  <a:pt x="138" y="25"/>
                  <a:pt x="138" y="25"/>
                  <a:pt x="138" y="25"/>
                </a:cubicBezTo>
                <a:cubicBezTo>
                  <a:pt x="124" y="10"/>
                  <a:pt x="105" y="1"/>
                  <a:pt x="83" y="0"/>
                </a:cubicBezTo>
                <a:cubicBezTo>
                  <a:pt x="83" y="0"/>
                  <a:pt x="83" y="0"/>
                  <a:pt x="83" y="0"/>
                </a:cubicBezTo>
                <a:cubicBezTo>
                  <a:pt x="81" y="0"/>
                  <a:pt x="81" y="0"/>
                  <a:pt x="81" y="0"/>
                </a:cubicBezTo>
                <a:cubicBezTo>
                  <a:pt x="81" y="0"/>
                  <a:pt x="80" y="0"/>
                  <a:pt x="80" y="0"/>
                </a:cubicBezTo>
                <a:cubicBezTo>
                  <a:pt x="80" y="0"/>
                  <a:pt x="79" y="0"/>
                  <a:pt x="79" y="0"/>
                </a:cubicBezTo>
                <a:cubicBezTo>
                  <a:pt x="77" y="0"/>
                  <a:pt x="77" y="0"/>
                  <a:pt x="77" y="0"/>
                </a:cubicBezTo>
                <a:cubicBezTo>
                  <a:pt x="77" y="0"/>
                  <a:pt x="77" y="0"/>
                  <a:pt x="77" y="0"/>
                </a:cubicBezTo>
                <a:cubicBezTo>
                  <a:pt x="55" y="1"/>
                  <a:pt x="36" y="10"/>
                  <a:pt x="22" y="25"/>
                </a:cubicBezTo>
                <a:cubicBezTo>
                  <a:pt x="22" y="25"/>
                  <a:pt x="22" y="25"/>
                  <a:pt x="22" y="25"/>
                </a:cubicBezTo>
                <a:cubicBezTo>
                  <a:pt x="22" y="25"/>
                  <a:pt x="22" y="25"/>
                  <a:pt x="22" y="25"/>
                </a:cubicBezTo>
                <a:cubicBezTo>
                  <a:pt x="8" y="40"/>
                  <a:pt x="0" y="59"/>
                  <a:pt x="0" y="80"/>
                </a:cubicBezTo>
                <a:cubicBezTo>
                  <a:pt x="0" y="100"/>
                  <a:pt x="8" y="119"/>
                  <a:pt x="20" y="133"/>
                </a:cubicBezTo>
                <a:cubicBezTo>
                  <a:pt x="20" y="133"/>
                  <a:pt x="20" y="133"/>
                  <a:pt x="20" y="133"/>
                </a:cubicBezTo>
                <a:cubicBezTo>
                  <a:pt x="20" y="133"/>
                  <a:pt x="20" y="133"/>
                  <a:pt x="20" y="133"/>
                </a:cubicBezTo>
                <a:cubicBezTo>
                  <a:pt x="34" y="149"/>
                  <a:pt x="55" y="159"/>
                  <a:pt x="77" y="160"/>
                </a:cubicBezTo>
                <a:cubicBezTo>
                  <a:pt x="77" y="160"/>
                  <a:pt x="77" y="160"/>
                  <a:pt x="77" y="160"/>
                </a:cubicBezTo>
                <a:cubicBezTo>
                  <a:pt x="79" y="160"/>
                  <a:pt x="79" y="160"/>
                  <a:pt x="79" y="160"/>
                </a:cubicBezTo>
                <a:cubicBezTo>
                  <a:pt x="79" y="160"/>
                  <a:pt x="80" y="160"/>
                  <a:pt x="80" y="160"/>
                </a:cubicBezTo>
                <a:cubicBezTo>
                  <a:pt x="80" y="160"/>
                  <a:pt x="81" y="160"/>
                  <a:pt x="81" y="160"/>
                </a:cubicBezTo>
                <a:cubicBezTo>
                  <a:pt x="83" y="160"/>
                  <a:pt x="83" y="160"/>
                  <a:pt x="83" y="160"/>
                </a:cubicBezTo>
                <a:cubicBezTo>
                  <a:pt x="83" y="160"/>
                  <a:pt x="83" y="160"/>
                  <a:pt x="83" y="160"/>
                </a:cubicBezTo>
                <a:cubicBezTo>
                  <a:pt x="105" y="159"/>
                  <a:pt x="126" y="149"/>
                  <a:pt x="140" y="133"/>
                </a:cubicBezTo>
                <a:cubicBezTo>
                  <a:pt x="140" y="133"/>
                  <a:pt x="140" y="133"/>
                  <a:pt x="140" y="133"/>
                </a:cubicBezTo>
                <a:cubicBezTo>
                  <a:pt x="140" y="133"/>
                  <a:pt x="140" y="133"/>
                  <a:pt x="140" y="133"/>
                </a:cubicBezTo>
                <a:close/>
                <a:moveTo>
                  <a:pt x="6" y="83"/>
                </a:moveTo>
                <a:cubicBezTo>
                  <a:pt x="39" y="83"/>
                  <a:pt x="39" y="83"/>
                  <a:pt x="39" y="83"/>
                </a:cubicBezTo>
                <a:cubicBezTo>
                  <a:pt x="39" y="94"/>
                  <a:pt x="41" y="106"/>
                  <a:pt x="45" y="116"/>
                </a:cubicBezTo>
                <a:cubicBezTo>
                  <a:pt x="38" y="119"/>
                  <a:pt x="30" y="123"/>
                  <a:pt x="23" y="128"/>
                </a:cubicBezTo>
                <a:cubicBezTo>
                  <a:pt x="13" y="116"/>
                  <a:pt x="6" y="100"/>
                  <a:pt x="6" y="83"/>
                </a:cubicBezTo>
                <a:close/>
                <a:moveTo>
                  <a:pt x="24" y="30"/>
                </a:moveTo>
                <a:cubicBezTo>
                  <a:pt x="31" y="35"/>
                  <a:pt x="39" y="38"/>
                  <a:pt x="46" y="41"/>
                </a:cubicBezTo>
                <a:cubicBezTo>
                  <a:pt x="42" y="52"/>
                  <a:pt x="39" y="65"/>
                  <a:pt x="39" y="77"/>
                </a:cubicBezTo>
                <a:cubicBezTo>
                  <a:pt x="6" y="77"/>
                  <a:pt x="6" y="77"/>
                  <a:pt x="6" y="77"/>
                </a:cubicBezTo>
                <a:cubicBezTo>
                  <a:pt x="6" y="59"/>
                  <a:pt x="13" y="43"/>
                  <a:pt x="24" y="30"/>
                </a:cubicBezTo>
                <a:close/>
                <a:moveTo>
                  <a:pt x="154" y="77"/>
                </a:moveTo>
                <a:cubicBezTo>
                  <a:pt x="121" y="77"/>
                  <a:pt x="121" y="77"/>
                  <a:pt x="121" y="77"/>
                </a:cubicBezTo>
                <a:cubicBezTo>
                  <a:pt x="121" y="65"/>
                  <a:pt x="118" y="52"/>
                  <a:pt x="114" y="41"/>
                </a:cubicBezTo>
                <a:cubicBezTo>
                  <a:pt x="121" y="38"/>
                  <a:pt x="129" y="35"/>
                  <a:pt x="136" y="30"/>
                </a:cubicBezTo>
                <a:cubicBezTo>
                  <a:pt x="147" y="43"/>
                  <a:pt x="154" y="59"/>
                  <a:pt x="154" y="77"/>
                </a:cubicBezTo>
                <a:close/>
                <a:moveTo>
                  <a:pt x="77" y="41"/>
                </a:moveTo>
                <a:cubicBezTo>
                  <a:pt x="69" y="41"/>
                  <a:pt x="61" y="40"/>
                  <a:pt x="54" y="38"/>
                </a:cubicBezTo>
                <a:cubicBezTo>
                  <a:pt x="59" y="26"/>
                  <a:pt x="67" y="16"/>
                  <a:pt x="77" y="7"/>
                </a:cubicBezTo>
                <a:lnTo>
                  <a:pt x="77" y="41"/>
                </a:lnTo>
                <a:close/>
                <a:moveTo>
                  <a:pt x="77" y="47"/>
                </a:moveTo>
                <a:cubicBezTo>
                  <a:pt x="77" y="77"/>
                  <a:pt x="77" y="77"/>
                  <a:pt x="77" y="77"/>
                </a:cubicBezTo>
                <a:cubicBezTo>
                  <a:pt x="44" y="77"/>
                  <a:pt x="44" y="77"/>
                  <a:pt x="44" y="77"/>
                </a:cubicBezTo>
                <a:cubicBezTo>
                  <a:pt x="45" y="65"/>
                  <a:pt x="47" y="54"/>
                  <a:pt x="52" y="43"/>
                </a:cubicBezTo>
                <a:cubicBezTo>
                  <a:pt x="60" y="45"/>
                  <a:pt x="68" y="47"/>
                  <a:pt x="77" y="47"/>
                </a:cubicBezTo>
                <a:close/>
                <a:moveTo>
                  <a:pt x="83" y="47"/>
                </a:moveTo>
                <a:cubicBezTo>
                  <a:pt x="92" y="47"/>
                  <a:pt x="100" y="45"/>
                  <a:pt x="108" y="43"/>
                </a:cubicBezTo>
                <a:cubicBezTo>
                  <a:pt x="113" y="54"/>
                  <a:pt x="115" y="65"/>
                  <a:pt x="116" y="77"/>
                </a:cubicBezTo>
                <a:cubicBezTo>
                  <a:pt x="83" y="77"/>
                  <a:pt x="83" y="77"/>
                  <a:pt x="83" y="77"/>
                </a:cubicBezTo>
                <a:lnTo>
                  <a:pt x="83" y="47"/>
                </a:lnTo>
                <a:close/>
                <a:moveTo>
                  <a:pt x="83" y="41"/>
                </a:moveTo>
                <a:cubicBezTo>
                  <a:pt x="83" y="7"/>
                  <a:pt x="83" y="7"/>
                  <a:pt x="83" y="7"/>
                </a:cubicBezTo>
                <a:cubicBezTo>
                  <a:pt x="93" y="16"/>
                  <a:pt x="101" y="26"/>
                  <a:pt x="106" y="38"/>
                </a:cubicBezTo>
                <a:cubicBezTo>
                  <a:pt x="99" y="40"/>
                  <a:pt x="91" y="41"/>
                  <a:pt x="83" y="41"/>
                </a:cubicBezTo>
                <a:close/>
                <a:moveTo>
                  <a:pt x="111" y="36"/>
                </a:moveTo>
                <a:cubicBezTo>
                  <a:pt x="106" y="25"/>
                  <a:pt x="99" y="15"/>
                  <a:pt x="90" y="6"/>
                </a:cubicBezTo>
                <a:cubicBezTo>
                  <a:pt x="106" y="8"/>
                  <a:pt x="120" y="16"/>
                  <a:pt x="132" y="26"/>
                </a:cubicBezTo>
                <a:cubicBezTo>
                  <a:pt x="125" y="30"/>
                  <a:pt x="119" y="34"/>
                  <a:pt x="111" y="36"/>
                </a:cubicBezTo>
                <a:close/>
                <a:moveTo>
                  <a:pt x="49" y="36"/>
                </a:moveTo>
                <a:cubicBezTo>
                  <a:pt x="42" y="34"/>
                  <a:pt x="35" y="30"/>
                  <a:pt x="28" y="26"/>
                </a:cubicBezTo>
                <a:cubicBezTo>
                  <a:pt x="40" y="16"/>
                  <a:pt x="54" y="8"/>
                  <a:pt x="70" y="6"/>
                </a:cubicBezTo>
                <a:cubicBezTo>
                  <a:pt x="61" y="15"/>
                  <a:pt x="54" y="25"/>
                  <a:pt x="49" y="36"/>
                </a:cubicBezTo>
                <a:close/>
                <a:moveTo>
                  <a:pt x="44" y="83"/>
                </a:moveTo>
                <a:cubicBezTo>
                  <a:pt x="77" y="83"/>
                  <a:pt x="77" y="83"/>
                  <a:pt x="77" y="83"/>
                </a:cubicBezTo>
                <a:cubicBezTo>
                  <a:pt x="77" y="110"/>
                  <a:pt x="77" y="110"/>
                  <a:pt x="77" y="110"/>
                </a:cubicBezTo>
                <a:cubicBezTo>
                  <a:pt x="68" y="111"/>
                  <a:pt x="59" y="112"/>
                  <a:pt x="51" y="115"/>
                </a:cubicBezTo>
                <a:cubicBezTo>
                  <a:pt x="47" y="105"/>
                  <a:pt x="45" y="94"/>
                  <a:pt x="44" y="83"/>
                </a:cubicBezTo>
                <a:close/>
                <a:moveTo>
                  <a:pt x="77" y="116"/>
                </a:moveTo>
                <a:cubicBezTo>
                  <a:pt x="77" y="153"/>
                  <a:pt x="77" y="153"/>
                  <a:pt x="77" y="153"/>
                </a:cubicBezTo>
                <a:cubicBezTo>
                  <a:pt x="67" y="143"/>
                  <a:pt x="58" y="132"/>
                  <a:pt x="53" y="120"/>
                </a:cubicBezTo>
                <a:cubicBezTo>
                  <a:pt x="61" y="118"/>
                  <a:pt x="69" y="116"/>
                  <a:pt x="77" y="116"/>
                </a:cubicBezTo>
                <a:close/>
                <a:moveTo>
                  <a:pt x="83" y="153"/>
                </a:moveTo>
                <a:cubicBezTo>
                  <a:pt x="83" y="116"/>
                  <a:pt x="83" y="116"/>
                  <a:pt x="83" y="116"/>
                </a:cubicBezTo>
                <a:cubicBezTo>
                  <a:pt x="91" y="116"/>
                  <a:pt x="99" y="118"/>
                  <a:pt x="107" y="120"/>
                </a:cubicBezTo>
                <a:cubicBezTo>
                  <a:pt x="102" y="132"/>
                  <a:pt x="93" y="143"/>
                  <a:pt x="83" y="153"/>
                </a:cubicBezTo>
                <a:close/>
                <a:moveTo>
                  <a:pt x="83" y="110"/>
                </a:moveTo>
                <a:cubicBezTo>
                  <a:pt x="83" y="83"/>
                  <a:pt x="83" y="83"/>
                  <a:pt x="83" y="83"/>
                </a:cubicBezTo>
                <a:cubicBezTo>
                  <a:pt x="116" y="83"/>
                  <a:pt x="116" y="83"/>
                  <a:pt x="116" y="83"/>
                </a:cubicBezTo>
                <a:cubicBezTo>
                  <a:pt x="115" y="94"/>
                  <a:pt x="113" y="105"/>
                  <a:pt x="109" y="115"/>
                </a:cubicBezTo>
                <a:cubicBezTo>
                  <a:pt x="101" y="112"/>
                  <a:pt x="92" y="111"/>
                  <a:pt x="83" y="110"/>
                </a:cubicBezTo>
                <a:close/>
                <a:moveTo>
                  <a:pt x="121" y="83"/>
                </a:moveTo>
                <a:cubicBezTo>
                  <a:pt x="154" y="83"/>
                  <a:pt x="154" y="83"/>
                  <a:pt x="154" y="83"/>
                </a:cubicBezTo>
                <a:cubicBezTo>
                  <a:pt x="154" y="100"/>
                  <a:pt x="147" y="116"/>
                  <a:pt x="137" y="128"/>
                </a:cubicBezTo>
                <a:cubicBezTo>
                  <a:pt x="130" y="123"/>
                  <a:pt x="122" y="119"/>
                  <a:pt x="115" y="116"/>
                </a:cubicBezTo>
                <a:cubicBezTo>
                  <a:pt x="119" y="106"/>
                  <a:pt x="121" y="94"/>
                  <a:pt x="121" y="83"/>
                </a:cubicBezTo>
                <a:close/>
                <a:moveTo>
                  <a:pt x="27" y="132"/>
                </a:moveTo>
                <a:cubicBezTo>
                  <a:pt x="33" y="128"/>
                  <a:pt x="40" y="124"/>
                  <a:pt x="47" y="122"/>
                </a:cubicBezTo>
                <a:cubicBezTo>
                  <a:pt x="53" y="134"/>
                  <a:pt x="61" y="145"/>
                  <a:pt x="70" y="154"/>
                </a:cubicBezTo>
                <a:cubicBezTo>
                  <a:pt x="53" y="152"/>
                  <a:pt x="38" y="144"/>
                  <a:pt x="27" y="132"/>
                </a:cubicBezTo>
                <a:close/>
                <a:moveTo>
                  <a:pt x="90" y="154"/>
                </a:moveTo>
                <a:cubicBezTo>
                  <a:pt x="99" y="145"/>
                  <a:pt x="107" y="134"/>
                  <a:pt x="113" y="122"/>
                </a:cubicBezTo>
                <a:cubicBezTo>
                  <a:pt x="120" y="124"/>
                  <a:pt x="127" y="128"/>
                  <a:pt x="133" y="132"/>
                </a:cubicBezTo>
                <a:cubicBezTo>
                  <a:pt x="122" y="144"/>
                  <a:pt x="107" y="152"/>
                  <a:pt x="90" y="154"/>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2128">
            <a:extLst>
              <a:ext uri="{FF2B5EF4-FFF2-40B4-BE49-F238E27FC236}">
                <a16:creationId xmlns:a16="http://schemas.microsoft.com/office/drawing/2014/main" id="{2A5E3C36-52CF-FA45-96B4-BD5994CA6E54}"/>
              </a:ext>
            </a:extLst>
          </p:cNvPr>
          <p:cNvSpPr>
            <a:spLocks noEditPoints="1"/>
          </p:cNvSpPr>
          <p:nvPr/>
        </p:nvSpPr>
        <p:spPr bwMode="auto">
          <a:xfrm>
            <a:off x="6343646" y="365125"/>
            <a:ext cx="546100" cy="550863"/>
          </a:xfrm>
          <a:custGeom>
            <a:avLst/>
            <a:gdLst>
              <a:gd name="T0" fmla="*/ 114 w 160"/>
              <a:gd name="T1" fmla="*/ 0 h 160"/>
              <a:gd name="T2" fmla="*/ 69 w 160"/>
              <a:gd name="T3" fmla="*/ 46 h 160"/>
              <a:gd name="T4" fmla="*/ 76 w 160"/>
              <a:gd name="T5" fmla="*/ 71 h 160"/>
              <a:gd name="T6" fmla="*/ 1 w 160"/>
              <a:gd name="T7" fmla="*/ 147 h 160"/>
              <a:gd name="T8" fmla="*/ 1 w 160"/>
              <a:gd name="T9" fmla="*/ 151 h 160"/>
              <a:gd name="T10" fmla="*/ 3 w 160"/>
              <a:gd name="T11" fmla="*/ 151 h 160"/>
              <a:gd name="T12" fmla="*/ 5 w 160"/>
              <a:gd name="T13" fmla="*/ 151 h 160"/>
              <a:gd name="T14" fmla="*/ 17 w 160"/>
              <a:gd name="T15" fmla="*/ 138 h 160"/>
              <a:gd name="T16" fmla="*/ 38 w 160"/>
              <a:gd name="T17" fmla="*/ 159 h 160"/>
              <a:gd name="T18" fmla="*/ 40 w 160"/>
              <a:gd name="T19" fmla="*/ 160 h 160"/>
              <a:gd name="T20" fmla="*/ 42 w 160"/>
              <a:gd name="T21" fmla="*/ 159 h 160"/>
              <a:gd name="T22" fmla="*/ 42 w 160"/>
              <a:gd name="T23" fmla="*/ 155 h 160"/>
              <a:gd name="T24" fmla="*/ 21 w 160"/>
              <a:gd name="T25" fmla="*/ 134 h 160"/>
              <a:gd name="T26" fmla="*/ 31 w 160"/>
              <a:gd name="T27" fmla="*/ 124 h 160"/>
              <a:gd name="T28" fmla="*/ 47 w 160"/>
              <a:gd name="T29" fmla="*/ 139 h 160"/>
              <a:gd name="T30" fmla="*/ 49 w 160"/>
              <a:gd name="T31" fmla="*/ 140 h 160"/>
              <a:gd name="T32" fmla="*/ 51 w 160"/>
              <a:gd name="T33" fmla="*/ 139 h 160"/>
              <a:gd name="T34" fmla="*/ 51 w 160"/>
              <a:gd name="T35" fmla="*/ 135 h 160"/>
              <a:gd name="T36" fmla="*/ 35 w 160"/>
              <a:gd name="T37" fmla="*/ 120 h 160"/>
              <a:gd name="T38" fmla="*/ 46 w 160"/>
              <a:gd name="T39" fmla="*/ 110 h 160"/>
              <a:gd name="T40" fmla="*/ 67 w 160"/>
              <a:gd name="T41" fmla="*/ 131 h 160"/>
              <a:gd name="T42" fmla="*/ 69 w 160"/>
              <a:gd name="T43" fmla="*/ 131 h 160"/>
              <a:gd name="T44" fmla="*/ 71 w 160"/>
              <a:gd name="T45" fmla="*/ 131 h 160"/>
              <a:gd name="T46" fmla="*/ 71 w 160"/>
              <a:gd name="T47" fmla="*/ 127 h 160"/>
              <a:gd name="T48" fmla="*/ 50 w 160"/>
              <a:gd name="T49" fmla="*/ 106 h 160"/>
              <a:gd name="T50" fmla="*/ 80 w 160"/>
              <a:gd name="T51" fmla="*/ 76 h 160"/>
              <a:gd name="T52" fmla="*/ 114 w 160"/>
              <a:gd name="T53" fmla="*/ 91 h 160"/>
              <a:gd name="T54" fmla="*/ 160 w 160"/>
              <a:gd name="T55" fmla="*/ 46 h 160"/>
              <a:gd name="T56" fmla="*/ 114 w 160"/>
              <a:gd name="T57" fmla="*/ 0 h 160"/>
              <a:gd name="T58" fmla="*/ 114 w 160"/>
              <a:gd name="T59" fmla="*/ 86 h 160"/>
              <a:gd name="T60" fmla="*/ 74 w 160"/>
              <a:gd name="T61" fmla="*/ 46 h 160"/>
              <a:gd name="T62" fmla="*/ 114 w 160"/>
              <a:gd name="T63" fmla="*/ 6 h 160"/>
              <a:gd name="T64" fmla="*/ 154 w 160"/>
              <a:gd name="T65" fmla="*/ 46 h 160"/>
              <a:gd name="T66" fmla="*/ 114 w 160"/>
              <a:gd name="T67" fmla="*/ 8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60">
                <a:moveTo>
                  <a:pt x="114" y="0"/>
                </a:moveTo>
                <a:cubicBezTo>
                  <a:pt x="89" y="0"/>
                  <a:pt x="69" y="21"/>
                  <a:pt x="69" y="46"/>
                </a:cubicBezTo>
                <a:cubicBezTo>
                  <a:pt x="69" y="55"/>
                  <a:pt x="71" y="64"/>
                  <a:pt x="76" y="71"/>
                </a:cubicBezTo>
                <a:cubicBezTo>
                  <a:pt x="1" y="147"/>
                  <a:pt x="1" y="147"/>
                  <a:pt x="1" y="147"/>
                </a:cubicBezTo>
                <a:cubicBezTo>
                  <a:pt x="0" y="148"/>
                  <a:pt x="0" y="149"/>
                  <a:pt x="1" y="151"/>
                </a:cubicBezTo>
                <a:cubicBezTo>
                  <a:pt x="1" y="151"/>
                  <a:pt x="2" y="151"/>
                  <a:pt x="3" y="151"/>
                </a:cubicBezTo>
                <a:cubicBezTo>
                  <a:pt x="4" y="151"/>
                  <a:pt x="4" y="151"/>
                  <a:pt x="5" y="151"/>
                </a:cubicBezTo>
                <a:cubicBezTo>
                  <a:pt x="17" y="138"/>
                  <a:pt x="17" y="138"/>
                  <a:pt x="17" y="138"/>
                </a:cubicBezTo>
                <a:cubicBezTo>
                  <a:pt x="38" y="159"/>
                  <a:pt x="38" y="159"/>
                  <a:pt x="38" y="159"/>
                </a:cubicBezTo>
                <a:cubicBezTo>
                  <a:pt x="39" y="160"/>
                  <a:pt x="39" y="160"/>
                  <a:pt x="40" y="160"/>
                </a:cubicBezTo>
                <a:cubicBezTo>
                  <a:pt x="41" y="160"/>
                  <a:pt x="41" y="160"/>
                  <a:pt x="42" y="159"/>
                </a:cubicBezTo>
                <a:cubicBezTo>
                  <a:pt x="43" y="158"/>
                  <a:pt x="43" y="156"/>
                  <a:pt x="42" y="155"/>
                </a:cubicBezTo>
                <a:cubicBezTo>
                  <a:pt x="21" y="134"/>
                  <a:pt x="21" y="134"/>
                  <a:pt x="21" y="134"/>
                </a:cubicBezTo>
                <a:cubicBezTo>
                  <a:pt x="31" y="124"/>
                  <a:pt x="31" y="124"/>
                  <a:pt x="31" y="124"/>
                </a:cubicBezTo>
                <a:cubicBezTo>
                  <a:pt x="47" y="139"/>
                  <a:pt x="47" y="139"/>
                  <a:pt x="47" y="139"/>
                </a:cubicBezTo>
                <a:cubicBezTo>
                  <a:pt x="47" y="140"/>
                  <a:pt x="48" y="140"/>
                  <a:pt x="49" y="140"/>
                </a:cubicBezTo>
                <a:cubicBezTo>
                  <a:pt x="49" y="140"/>
                  <a:pt x="50" y="140"/>
                  <a:pt x="51" y="139"/>
                </a:cubicBezTo>
                <a:cubicBezTo>
                  <a:pt x="52" y="138"/>
                  <a:pt x="52" y="136"/>
                  <a:pt x="51" y="135"/>
                </a:cubicBezTo>
                <a:cubicBezTo>
                  <a:pt x="35" y="120"/>
                  <a:pt x="35" y="120"/>
                  <a:pt x="35" y="120"/>
                </a:cubicBezTo>
                <a:cubicBezTo>
                  <a:pt x="46" y="110"/>
                  <a:pt x="46" y="110"/>
                  <a:pt x="46" y="110"/>
                </a:cubicBezTo>
                <a:cubicBezTo>
                  <a:pt x="67" y="131"/>
                  <a:pt x="67" y="131"/>
                  <a:pt x="67" y="131"/>
                </a:cubicBezTo>
                <a:cubicBezTo>
                  <a:pt x="67" y="131"/>
                  <a:pt x="68" y="131"/>
                  <a:pt x="69" y="131"/>
                </a:cubicBezTo>
                <a:cubicBezTo>
                  <a:pt x="69" y="131"/>
                  <a:pt x="70" y="131"/>
                  <a:pt x="71" y="131"/>
                </a:cubicBezTo>
                <a:cubicBezTo>
                  <a:pt x="72" y="129"/>
                  <a:pt x="72" y="128"/>
                  <a:pt x="71" y="127"/>
                </a:cubicBezTo>
                <a:cubicBezTo>
                  <a:pt x="50" y="106"/>
                  <a:pt x="50" y="106"/>
                  <a:pt x="50" y="106"/>
                </a:cubicBezTo>
                <a:cubicBezTo>
                  <a:pt x="80" y="76"/>
                  <a:pt x="80" y="76"/>
                  <a:pt x="80" y="76"/>
                </a:cubicBezTo>
                <a:cubicBezTo>
                  <a:pt x="88" y="85"/>
                  <a:pt x="101" y="91"/>
                  <a:pt x="114" y="91"/>
                </a:cubicBezTo>
                <a:cubicBezTo>
                  <a:pt x="139" y="91"/>
                  <a:pt x="160" y="71"/>
                  <a:pt x="160" y="46"/>
                </a:cubicBezTo>
                <a:cubicBezTo>
                  <a:pt x="160" y="21"/>
                  <a:pt x="139" y="0"/>
                  <a:pt x="114" y="0"/>
                </a:cubicBezTo>
                <a:close/>
                <a:moveTo>
                  <a:pt x="114" y="86"/>
                </a:moveTo>
                <a:cubicBezTo>
                  <a:pt x="92" y="86"/>
                  <a:pt x="74" y="68"/>
                  <a:pt x="74" y="46"/>
                </a:cubicBezTo>
                <a:cubicBezTo>
                  <a:pt x="74" y="24"/>
                  <a:pt x="92" y="6"/>
                  <a:pt x="114" y="6"/>
                </a:cubicBezTo>
                <a:cubicBezTo>
                  <a:pt x="136" y="6"/>
                  <a:pt x="154" y="24"/>
                  <a:pt x="154" y="46"/>
                </a:cubicBezTo>
                <a:cubicBezTo>
                  <a:pt x="154" y="68"/>
                  <a:pt x="136" y="86"/>
                  <a:pt x="114" y="86"/>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2129">
            <a:extLst>
              <a:ext uri="{FF2B5EF4-FFF2-40B4-BE49-F238E27FC236}">
                <a16:creationId xmlns:a16="http://schemas.microsoft.com/office/drawing/2014/main" id="{9BF3BAA3-FB93-5E4C-B6B4-A09D16EA4AE5}"/>
              </a:ext>
            </a:extLst>
          </p:cNvPr>
          <p:cNvSpPr>
            <a:spLocks noEditPoints="1"/>
          </p:cNvSpPr>
          <p:nvPr/>
        </p:nvSpPr>
        <p:spPr bwMode="auto">
          <a:xfrm>
            <a:off x="6357934" y="984250"/>
            <a:ext cx="522288" cy="550863"/>
          </a:xfrm>
          <a:custGeom>
            <a:avLst/>
            <a:gdLst>
              <a:gd name="T0" fmla="*/ 153 w 153"/>
              <a:gd name="T1" fmla="*/ 123 h 160"/>
              <a:gd name="T2" fmla="*/ 153 w 153"/>
              <a:gd name="T3" fmla="*/ 123 h 160"/>
              <a:gd name="T4" fmla="*/ 153 w 153"/>
              <a:gd name="T5" fmla="*/ 120 h 160"/>
              <a:gd name="T6" fmla="*/ 136 w 153"/>
              <a:gd name="T7" fmla="*/ 21 h 160"/>
              <a:gd name="T8" fmla="*/ 43 w 153"/>
              <a:gd name="T9" fmla="*/ 21 h 160"/>
              <a:gd name="T10" fmla="*/ 43 w 153"/>
              <a:gd name="T11" fmla="*/ 16 h 160"/>
              <a:gd name="T12" fmla="*/ 54 w 153"/>
              <a:gd name="T13" fmla="*/ 5 h 160"/>
              <a:gd name="T14" fmla="*/ 65 w 153"/>
              <a:gd name="T15" fmla="*/ 16 h 160"/>
              <a:gd name="T16" fmla="*/ 67 w 153"/>
              <a:gd name="T17" fmla="*/ 19 h 160"/>
              <a:gd name="T18" fmla="*/ 70 w 153"/>
              <a:gd name="T19" fmla="*/ 16 h 160"/>
              <a:gd name="T20" fmla="*/ 54 w 153"/>
              <a:gd name="T21" fmla="*/ 0 h 160"/>
              <a:gd name="T22" fmla="*/ 38 w 153"/>
              <a:gd name="T23" fmla="*/ 16 h 160"/>
              <a:gd name="T24" fmla="*/ 38 w 153"/>
              <a:gd name="T25" fmla="*/ 21 h 160"/>
              <a:gd name="T26" fmla="*/ 17 w 153"/>
              <a:gd name="T27" fmla="*/ 21 h 160"/>
              <a:gd name="T28" fmla="*/ 1 w 153"/>
              <a:gd name="T29" fmla="*/ 120 h 160"/>
              <a:gd name="T30" fmla="*/ 0 w 153"/>
              <a:gd name="T31" fmla="*/ 123 h 160"/>
              <a:gd name="T32" fmla="*/ 0 w 153"/>
              <a:gd name="T33" fmla="*/ 123 h 160"/>
              <a:gd name="T34" fmla="*/ 65 w 153"/>
              <a:gd name="T35" fmla="*/ 123 h 160"/>
              <a:gd name="T36" fmla="*/ 65 w 153"/>
              <a:gd name="T37" fmla="*/ 147 h 160"/>
              <a:gd name="T38" fmla="*/ 57 w 153"/>
              <a:gd name="T39" fmla="*/ 147 h 160"/>
              <a:gd name="T40" fmla="*/ 57 w 153"/>
              <a:gd name="T41" fmla="*/ 160 h 160"/>
              <a:gd name="T42" fmla="*/ 97 w 153"/>
              <a:gd name="T43" fmla="*/ 160 h 160"/>
              <a:gd name="T44" fmla="*/ 97 w 153"/>
              <a:gd name="T45" fmla="*/ 147 h 160"/>
              <a:gd name="T46" fmla="*/ 89 w 153"/>
              <a:gd name="T47" fmla="*/ 147 h 160"/>
              <a:gd name="T48" fmla="*/ 89 w 153"/>
              <a:gd name="T49" fmla="*/ 123 h 160"/>
              <a:gd name="T50" fmla="*/ 153 w 153"/>
              <a:gd name="T51" fmla="*/ 123 h 160"/>
              <a:gd name="T52" fmla="*/ 22 w 153"/>
              <a:gd name="T53" fmla="*/ 27 h 160"/>
              <a:gd name="T54" fmla="*/ 38 w 153"/>
              <a:gd name="T55" fmla="*/ 27 h 160"/>
              <a:gd name="T56" fmla="*/ 38 w 153"/>
              <a:gd name="T57" fmla="*/ 45 h 160"/>
              <a:gd name="T58" fmla="*/ 41 w 153"/>
              <a:gd name="T59" fmla="*/ 48 h 160"/>
              <a:gd name="T60" fmla="*/ 43 w 153"/>
              <a:gd name="T61" fmla="*/ 45 h 160"/>
              <a:gd name="T62" fmla="*/ 43 w 153"/>
              <a:gd name="T63" fmla="*/ 27 h 160"/>
              <a:gd name="T64" fmla="*/ 132 w 153"/>
              <a:gd name="T65" fmla="*/ 27 h 160"/>
              <a:gd name="T66" fmla="*/ 144 w 153"/>
              <a:gd name="T67" fmla="*/ 99 h 160"/>
              <a:gd name="T68" fmla="*/ 10 w 153"/>
              <a:gd name="T69" fmla="*/ 99 h 160"/>
              <a:gd name="T70" fmla="*/ 22 w 153"/>
              <a:gd name="T71" fmla="*/ 27 h 160"/>
              <a:gd name="T72" fmla="*/ 7 w 153"/>
              <a:gd name="T73" fmla="*/ 117 h 160"/>
              <a:gd name="T74" fmla="*/ 9 w 153"/>
              <a:gd name="T75" fmla="*/ 104 h 160"/>
              <a:gd name="T76" fmla="*/ 144 w 153"/>
              <a:gd name="T77" fmla="*/ 104 h 160"/>
              <a:gd name="T78" fmla="*/ 147 w 153"/>
              <a:gd name="T79" fmla="*/ 117 h 160"/>
              <a:gd name="T80" fmla="*/ 89 w 153"/>
              <a:gd name="T81" fmla="*/ 117 h 160"/>
              <a:gd name="T82" fmla="*/ 65 w 153"/>
              <a:gd name="T83" fmla="*/ 117 h 160"/>
              <a:gd name="T84" fmla="*/ 7 w 153"/>
              <a:gd name="T85" fmla="*/ 117 h 160"/>
              <a:gd name="T86" fmla="*/ 91 w 153"/>
              <a:gd name="T87" fmla="*/ 152 h 160"/>
              <a:gd name="T88" fmla="*/ 91 w 153"/>
              <a:gd name="T89" fmla="*/ 155 h 160"/>
              <a:gd name="T90" fmla="*/ 62 w 153"/>
              <a:gd name="T91" fmla="*/ 155 h 160"/>
              <a:gd name="T92" fmla="*/ 62 w 153"/>
              <a:gd name="T93" fmla="*/ 152 h 160"/>
              <a:gd name="T94" fmla="*/ 65 w 153"/>
              <a:gd name="T95" fmla="*/ 152 h 160"/>
              <a:gd name="T96" fmla="*/ 89 w 153"/>
              <a:gd name="T97" fmla="*/ 152 h 160"/>
              <a:gd name="T98" fmla="*/ 91 w 153"/>
              <a:gd name="T99" fmla="*/ 152 h 160"/>
              <a:gd name="T100" fmla="*/ 83 w 153"/>
              <a:gd name="T101" fmla="*/ 147 h 160"/>
              <a:gd name="T102" fmla="*/ 70 w 153"/>
              <a:gd name="T103" fmla="*/ 147 h 160"/>
              <a:gd name="T104" fmla="*/ 70 w 153"/>
              <a:gd name="T105" fmla="*/ 123 h 160"/>
              <a:gd name="T106" fmla="*/ 83 w 153"/>
              <a:gd name="T107" fmla="*/ 123 h 160"/>
              <a:gd name="T108" fmla="*/ 83 w 153"/>
              <a:gd name="T109" fmla="*/ 1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160">
                <a:moveTo>
                  <a:pt x="153" y="123"/>
                </a:moveTo>
                <a:cubicBezTo>
                  <a:pt x="153" y="123"/>
                  <a:pt x="153" y="123"/>
                  <a:pt x="153" y="123"/>
                </a:cubicBezTo>
                <a:cubicBezTo>
                  <a:pt x="153" y="120"/>
                  <a:pt x="153" y="120"/>
                  <a:pt x="153" y="120"/>
                </a:cubicBezTo>
                <a:cubicBezTo>
                  <a:pt x="136" y="21"/>
                  <a:pt x="136" y="21"/>
                  <a:pt x="136" y="21"/>
                </a:cubicBezTo>
                <a:cubicBezTo>
                  <a:pt x="43" y="21"/>
                  <a:pt x="43" y="21"/>
                  <a:pt x="43" y="21"/>
                </a:cubicBezTo>
                <a:cubicBezTo>
                  <a:pt x="43" y="16"/>
                  <a:pt x="43" y="16"/>
                  <a:pt x="43" y="16"/>
                </a:cubicBezTo>
                <a:cubicBezTo>
                  <a:pt x="43" y="10"/>
                  <a:pt x="48" y="5"/>
                  <a:pt x="54" y="5"/>
                </a:cubicBezTo>
                <a:cubicBezTo>
                  <a:pt x="60" y="5"/>
                  <a:pt x="65" y="10"/>
                  <a:pt x="65" y="16"/>
                </a:cubicBezTo>
                <a:cubicBezTo>
                  <a:pt x="65" y="17"/>
                  <a:pt x="66" y="19"/>
                  <a:pt x="67" y="19"/>
                </a:cubicBezTo>
                <a:cubicBezTo>
                  <a:pt x="69" y="19"/>
                  <a:pt x="70" y="17"/>
                  <a:pt x="70" y="16"/>
                </a:cubicBezTo>
                <a:cubicBezTo>
                  <a:pt x="70" y="7"/>
                  <a:pt x="63" y="0"/>
                  <a:pt x="54" y="0"/>
                </a:cubicBezTo>
                <a:cubicBezTo>
                  <a:pt x="45" y="0"/>
                  <a:pt x="38" y="7"/>
                  <a:pt x="38" y="16"/>
                </a:cubicBezTo>
                <a:cubicBezTo>
                  <a:pt x="38" y="21"/>
                  <a:pt x="38" y="21"/>
                  <a:pt x="38" y="21"/>
                </a:cubicBezTo>
                <a:cubicBezTo>
                  <a:pt x="17" y="21"/>
                  <a:pt x="17" y="21"/>
                  <a:pt x="17" y="21"/>
                </a:cubicBezTo>
                <a:cubicBezTo>
                  <a:pt x="1" y="120"/>
                  <a:pt x="1" y="120"/>
                  <a:pt x="1" y="120"/>
                </a:cubicBezTo>
                <a:cubicBezTo>
                  <a:pt x="0" y="123"/>
                  <a:pt x="0" y="123"/>
                  <a:pt x="0" y="123"/>
                </a:cubicBezTo>
                <a:cubicBezTo>
                  <a:pt x="0" y="123"/>
                  <a:pt x="0" y="123"/>
                  <a:pt x="0" y="123"/>
                </a:cubicBezTo>
                <a:cubicBezTo>
                  <a:pt x="65" y="123"/>
                  <a:pt x="65" y="123"/>
                  <a:pt x="65" y="123"/>
                </a:cubicBezTo>
                <a:cubicBezTo>
                  <a:pt x="65" y="147"/>
                  <a:pt x="65" y="147"/>
                  <a:pt x="65" y="147"/>
                </a:cubicBezTo>
                <a:cubicBezTo>
                  <a:pt x="57" y="147"/>
                  <a:pt x="57" y="147"/>
                  <a:pt x="57" y="147"/>
                </a:cubicBezTo>
                <a:cubicBezTo>
                  <a:pt x="57" y="160"/>
                  <a:pt x="57" y="160"/>
                  <a:pt x="57" y="160"/>
                </a:cubicBezTo>
                <a:cubicBezTo>
                  <a:pt x="97" y="160"/>
                  <a:pt x="97" y="160"/>
                  <a:pt x="97" y="160"/>
                </a:cubicBezTo>
                <a:cubicBezTo>
                  <a:pt x="97" y="147"/>
                  <a:pt x="97" y="147"/>
                  <a:pt x="97" y="147"/>
                </a:cubicBezTo>
                <a:cubicBezTo>
                  <a:pt x="89" y="147"/>
                  <a:pt x="89" y="147"/>
                  <a:pt x="89" y="147"/>
                </a:cubicBezTo>
                <a:cubicBezTo>
                  <a:pt x="89" y="123"/>
                  <a:pt x="89" y="123"/>
                  <a:pt x="89" y="123"/>
                </a:cubicBezTo>
                <a:lnTo>
                  <a:pt x="153" y="123"/>
                </a:lnTo>
                <a:close/>
                <a:moveTo>
                  <a:pt x="22" y="27"/>
                </a:moveTo>
                <a:cubicBezTo>
                  <a:pt x="38" y="27"/>
                  <a:pt x="38" y="27"/>
                  <a:pt x="38" y="27"/>
                </a:cubicBezTo>
                <a:cubicBezTo>
                  <a:pt x="38" y="45"/>
                  <a:pt x="38" y="45"/>
                  <a:pt x="38" y="45"/>
                </a:cubicBezTo>
                <a:cubicBezTo>
                  <a:pt x="38" y="47"/>
                  <a:pt x="39" y="48"/>
                  <a:pt x="41" y="48"/>
                </a:cubicBezTo>
                <a:cubicBezTo>
                  <a:pt x="42" y="48"/>
                  <a:pt x="43" y="47"/>
                  <a:pt x="43" y="45"/>
                </a:cubicBezTo>
                <a:cubicBezTo>
                  <a:pt x="43" y="27"/>
                  <a:pt x="43" y="27"/>
                  <a:pt x="43" y="27"/>
                </a:cubicBezTo>
                <a:cubicBezTo>
                  <a:pt x="132" y="27"/>
                  <a:pt x="132" y="27"/>
                  <a:pt x="132" y="27"/>
                </a:cubicBezTo>
                <a:cubicBezTo>
                  <a:pt x="144" y="99"/>
                  <a:pt x="144" y="99"/>
                  <a:pt x="144" y="99"/>
                </a:cubicBezTo>
                <a:cubicBezTo>
                  <a:pt x="10" y="99"/>
                  <a:pt x="10" y="99"/>
                  <a:pt x="10" y="99"/>
                </a:cubicBezTo>
                <a:lnTo>
                  <a:pt x="22" y="27"/>
                </a:lnTo>
                <a:close/>
                <a:moveTo>
                  <a:pt x="7" y="117"/>
                </a:moveTo>
                <a:cubicBezTo>
                  <a:pt x="9" y="104"/>
                  <a:pt x="9" y="104"/>
                  <a:pt x="9" y="104"/>
                </a:cubicBezTo>
                <a:cubicBezTo>
                  <a:pt x="144" y="104"/>
                  <a:pt x="144" y="104"/>
                  <a:pt x="144" y="104"/>
                </a:cubicBezTo>
                <a:cubicBezTo>
                  <a:pt x="147" y="117"/>
                  <a:pt x="147" y="117"/>
                  <a:pt x="147" y="117"/>
                </a:cubicBezTo>
                <a:cubicBezTo>
                  <a:pt x="89" y="117"/>
                  <a:pt x="89" y="117"/>
                  <a:pt x="89" y="117"/>
                </a:cubicBezTo>
                <a:cubicBezTo>
                  <a:pt x="65" y="117"/>
                  <a:pt x="65" y="117"/>
                  <a:pt x="65" y="117"/>
                </a:cubicBezTo>
                <a:lnTo>
                  <a:pt x="7" y="117"/>
                </a:lnTo>
                <a:close/>
                <a:moveTo>
                  <a:pt x="91" y="152"/>
                </a:moveTo>
                <a:cubicBezTo>
                  <a:pt x="91" y="155"/>
                  <a:pt x="91" y="155"/>
                  <a:pt x="91" y="155"/>
                </a:cubicBezTo>
                <a:cubicBezTo>
                  <a:pt x="62" y="155"/>
                  <a:pt x="62" y="155"/>
                  <a:pt x="62" y="155"/>
                </a:cubicBezTo>
                <a:cubicBezTo>
                  <a:pt x="62" y="152"/>
                  <a:pt x="62" y="152"/>
                  <a:pt x="62" y="152"/>
                </a:cubicBezTo>
                <a:cubicBezTo>
                  <a:pt x="65" y="152"/>
                  <a:pt x="65" y="152"/>
                  <a:pt x="65" y="152"/>
                </a:cubicBezTo>
                <a:cubicBezTo>
                  <a:pt x="89" y="152"/>
                  <a:pt x="89" y="152"/>
                  <a:pt x="89" y="152"/>
                </a:cubicBezTo>
                <a:lnTo>
                  <a:pt x="91" y="152"/>
                </a:lnTo>
                <a:close/>
                <a:moveTo>
                  <a:pt x="83" y="147"/>
                </a:moveTo>
                <a:cubicBezTo>
                  <a:pt x="70" y="147"/>
                  <a:pt x="70" y="147"/>
                  <a:pt x="70" y="147"/>
                </a:cubicBezTo>
                <a:cubicBezTo>
                  <a:pt x="70" y="123"/>
                  <a:pt x="70" y="123"/>
                  <a:pt x="70" y="123"/>
                </a:cubicBezTo>
                <a:cubicBezTo>
                  <a:pt x="83" y="123"/>
                  <a:pt x="83" y="123"/>
                  <a:pt x="83" y="123"/>
                </a:cubicBezTo>
                <a:lnTo>
                  <a:pt x="83" y="147"/>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2130">
            <a:extLst>
              <a:ext uri="{FF2B5EF4-FFF2-40B4-BE49-F238E27FC236}">
                <a16:creationId xmlns:a16="http://schemas.microsoft.com/office/drawing/2014/main" id="{B32897C9-CDDD-D74E-9A93-666CA09D4B21}"/>
              </a:ext>
            </a:extLst>
          </p:cNvPr>
          <p:cNvSpPr>
            <a:spLocks noEditPoints="1"/>
          </p:cNvSpPr>
          <p:nvPr/>
        </p:nvSpPr>
        <p:spPr bwMode="auto">
          <a:xfrm>
            <a:off x="6343646" y="1603375"/>
            <a:ext cx="546100" cy="533400"/>
          </a:xfrm>
          <a:custGeom>
            <a:avLst/>
            <a:gdLst>
              <a:gd name="T0" fmla="*/ 131 w 160"/>
              <a:gd name="T1" fmla="*/ 76 h 155"/>
              <a:gd name="T2" fmla="*/ 23 w 160"/>
              <a:gd name="T3" fmla="*/ 73 h 155"/>
              <a:gd name="T4" fmla="*/ 26 w 160"/>
              <a:gd name="T5" fmla="*/ 70 h 155"/>
              <a:gd name="T6" fmla="*/ 35 w 160"/>
              <a:gd name="T7" fmla="*/ 85 h 155"/>
              <a:gd name="T8" fmla="*/ 32 w 160"/>
              <a:gd name="T9" fmla="*/ 82 h 155"/>
              <a:gd name="T10" fmla="*/ 55 w 160"/>
              <a:gd name="T11" fmla="*/ 82 h 155"/>
              <a:gd name="T12" fmla="*/ 41 w 160"/>
              <a:gd name="T13" fmla="*/ 91 h 155"/>
              <a:gd name="T14" fmla="*/ 44 w 160"/>
              <a:gd name="T15" fmla="*/ 88 h 155"/>
              <a:gd name="T16" fmla="*/ 61 w 160"/>
              <a:gd name="T17" fmla="*/ 94 h 155"/>
              <a:gd name="T18" fmla="*/ 58 w 160"/>
              <a:gd name="T19" fmla="*/ 91 h 155"/>
              <a:gd name="T20" fmla="*/ 73 w 160"/>
              <a:gd name="T21" fmla="*/ 99 h 155"/>
              <a:gd name="T22" fmla="*/ 84 w 160"/>
              <a:gd name="T23" fmla="*/ 99 h 155"/>
              <a:gd name="T24" fmla="*/ 87 w 160"/>
              <a:gd name="T25" fmla="*/ 97 h 155"/>
              <a:gd name="T26" fmla="*/ 96 w 160"/>
              <a:gd name="T27" fmla="*/ 94 h 155"/>
              <a:gd name="T28" fmla="*/ 93 w 160"/>
              <a:gd name="T29" fmla="*/ 91 h 155"/>
              <a:gd name="T30" fmla="*/ 82 w 160"/>
              <a:gd name="T31" fmla="*/ 108 h 155"/>
              <a:gd name="T32" fmla="*/ 102 w 160"/>
              <a:gd name="T33" fmla="*/ 82 h 155"/>
              <a:gd name="T34" fmla="*/ 105 w 160"/>
              <a:gd name="T35" fmla="*/ 79 h 155"/>
              <a:gd name="T36" fmla="*/ 122 w 160"/>
              <a:gd name="T37" fmla="*/ 85 h 155"/>
              <a:gd name="T38" fmla="*/ 119 w 160"/>
              <a:gd name="T39" fmla="*/ 82 h 155"/>
              <a:gd name="T40" fmla="*/ 117 w 160"/>
              <a:gd name="T41" fmla="*/ 91 h 155"/>
              <a:gd name="T42" fmla="*/ 132 w 160"/>
              <a:gd name="T43" fmla="*/ 93 h 155"/>
              <a:gd name="T44" fmla="*/ 80 w 160"/>
              <a:gd name="T45" fmla="*/ 155 h 155"/>
              <a:gd name="T46" fmla="*/ 0 w 160"/>
              <a:gd name="T47" fmla="*/ 77 h 155"/>
              <a:gd name="T48" fmla="*/ 80 w 160"/>
              <a:gd name="T49" fmla="*/ 0 h 155"/>
              <a:gd name="T50" fmla="*/ 160 w 160"/>
              <a:gd name="T51" fmla="*/ 77 h 155"/>
              <a:gd name="T52" fmla="*/ 12 w 160"/>
              <a:gd name="T53" fmla="*/ 45 h 155"/>
              <a:gd name="T54" fmla="*/ 126 w 160"/>
              <a:gd name="T55" fmla="*/ 58 h 155"/>
              <a:gd name="T56" fmla="*/ 12 w 160"/>
              <a:gd name="T57" fmla="*/ 45 h 155"/>
              <a:gd name="T58" fmla="*/ 18 w 160"/>
              <a:gd name="T59" fmla="*/ 79 h 155"/>
              <a:gd name="T60" fmla="*/ 50 w 160"/>
              <a:gd name="T61" fmla="*/ 99 h 155"/>
              <a:gd name="T62" fmla="*/ 54 w 160"/>
              <a:gd name="T63" fmla="*/ 102 h 155"/>
              <a:gd name="T64" fmla="*/ 64 w 160"/>
              <a:gd name="T65" fmla="*/ 107 h 155"/>
              <a:gd name="T66" fmla="*/ 93 w 160"/>
              <a:gd name="T67" fmla="*/ 108 h 155"/>
              <a:gd name="T68" fmla="*/ 105 w 160"/>
              <a:gd name="T69" fmla="*/ 102 h 155"/>
              <a:gd name="T70" fmla="*/ 108 w 160"/>
              <a:gd name="T71" fmla="*/ 99 h 155"/>
              <a:gd name="T72" fmla="*/ 126 w 160"/>
              <a:gd name="T73" fmla="*/ 90 h 155"/>
              <a:gd name="T74" fmla="*/ 140 w 160"/>
              <a:gd name="T75" fmla="*/ 79 h 155"/>
              <a:gd name="T76" fmla="*/ 126 w 160"/>
              <a:gd name="T77" fmla="*/ 65 h 155"/>
              <a:gd name="T78" fmla="*/ 122 w 160"/>
              <a:gd name="T79" fmla="*/ 67 h 155"/>
              <a:gd name="T80" fmla="*/ 114 w 160"/>
              <a:gd name="T81" fmla="*/ 76 h 155"/>
              <a:gd name="T82" fmla="*/ 82 w 160"/>
              <a:gd name="T83" fmla="*/ 91 h 155"/>
              <a:gd name="T84" fmla="*/ 76 w 160"/>
              <a:gd name="T85" fmla="*/ 89 h 155"/>
              <a:gd name="T86" fmla="*/ 44 w 160"/>
              <a:gd name="T87" fmla="*/ 76 h 155"/>
              <a:gd name="T88" fmla="*/ 37 w 160"/>
              <a:gd name="T89" fmla="*/ 67 h 155"/>
              <a:gd name="T90" fmla="*/ 12 w 160"/>
              <a:gd name="T91" fmla="*/ 77 h 155"/>
              <a:gd name="T92" fmla="*/ 34 w 160"/>
              <a:gd name="T93" fmla="*/ 97 h 155"/>
              <a:gd name="T94" fmla="*/ 148 w 160"/>
              <a:gd name="T95" fmla="*/ 11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155">
                <a:moveTo>
                  <a:pt x="131" y="70"/>
                </a:moveTo>
                <a:cubicBezTo>
                  <a:pt x="133" y="70"/>
                  <a:pt x="134" y="72"/>
                  <a:pt x="134" y="73"/>
                </a:cubicBezTo>
                <a:cubicBezTo>
                  <a:pt x="134" y="75"/>
                  <a:pt x="133" y="76"/>
                  <a:pt x="131" y="76"/>
                </a:cubicBezTo>
                <a:cubicBezTo>
                  <a:pt x="129" y="76"/>
                  <a:pt x="128" y="75"/>
                  <a:pt x="128" y="73"/>
                </a:cubicBezTo>
                <a:cubicBezTo>
                  <a:pt x="128" y="72"/>
                  <a:pt x="129" y="70"/>
                  <a:pt x="131" y="70"/>
                </a:cubicBezTo>
                <a:close/>
                <a:moveTo>
                  <a:pt x="23" y="73"/>
                </a:moveTo>
                <a:cubicBezTo>
                  <a:pt x="23" y="75"/>
                  <a:pt x="25" y="76"/>
                  <a:pt x="26" y="76"/>
                </a:cubicBezTo>
                <a:cubicBezTo>
                  <a:pt x="28" y="76"/>
                  <a:pt x="29" y="75"/>
                  <a:pt x="29" y="73"/>
                </a:cubicBezTo>
                <a:cubicBezTo>
                  <a:pt x="29" y="72"/>
                  <a:pt x="28" y="70"/>
                  <a:pt x="26" y="70"/>
                </a:cubicBezTo>
                <a:cubicBezTo>
                  <a:pt x="25" y="70"/>
                  <a:pt x="23" y="72"/>
                  <a:pt x="23" y="73"/>
                </a:cubicBezTo>
                <a:close/>
                <a:moveTo>
                  <a:pt x="32" y="82"/>
                </a:moveTo>
                <a:cubicBezTo>
                  <a:pt x="32" y="84"/>
                  <a:pt x="33" y="85"/>
                  <a:pt x="35" y="85"/>
                </a:cubicBezTo>
                <a:cubicBezTo>
                  <a:pt x="37" y="85"/>
                  <a:pt x="38" y="84"/>
                  <a:pt x="38" y="82"/>
                </a:cubicBezTo>
                <a:cubicBezTo>
                  <a:pt x="38" y="80"/>
                  <a:pt x="37" y="79"/>
                  <a:pt x="35" y="79"/>
                </a:cubicBezTo>
                <a:cubicBezTo>
                  <a:pt x="33" y="79"/>
                  <a:pt x="32" y="80"/>
                  <a:pt x="32" y="82"/>
                </a:cubicBezTo>
                <a:close/>
                <a:moveTo>
                  <a:pt x="50" y="82"/>
                </a:moveTo>
                <a:cubicBezTo>
                  <a:pt x="50" y="84"/>
                  <a:pt x="51" y="85"/>
                  <a:pt x="52" y="85"/>
                </a:cubicBezTo>
                <a:cubicBezTo>
                  <a:pt x="54" y="85"/>
                  <a:pt x="55" y="84"/>
                  <a:pt x="55" y="82"/>
                </a:cubicBezTo>
                <a:cubicBezTo>
                  <a:pt x="55" y="80"/>
                  <a:pt x="54" y="79"/>
                  <a:pt x="52" y="79"/>
                </a:cubicBezTo>
                <a:cubicBezTo>
                  <a:pt x="51" y="79"/>
                  <a:pt x="50" y="80"/>
                  <a:pt x="50" y="82"/>
                </a:cubicBezTo>
                <a:close/>
                <a:moveTo>
                  <a:pt x="41" y="91"/>
                </a:moveTo>
                <a:cubicBezTo>
                  <a:pt x="41" y="92"/>
                  <a:pt x="42" y="94"/>
                  <a:pt x="44" y="94"/>
                </a:cubicBezTo>
                <a:cubicBezTo>
                  <a:pt x="45" y="94"/>
                  <a:pt x="47" y="92"/>
                  <a:pt x="47" y="91"/>
                </a:cubicBezTo>
                <a:cubicBezTo>
                  <a:pt x="47" y="89"/>
                  <a:pt x="45" y="88"/>
                  <a:pt x="44" y="88"/>
                </a:cubicBezTo>
                <a:cubicBezTo>
                  <a:pt x="42" y="88"/>
                  <a:pt x="41" y="89"/>
                  <a:pt x="41" y="91"/>
                </a:cubicBezTo>
                <a:close/>
                <a:moveTo>
                  <a:pt x="58" y="91"/>
                </a:moveTo>
                <a:cubicBezTo>
                  <a:pt x="58" y="92"/>
                  <a:pt x="60" y="94"/>
                  <a:pt x="61" y="94"/>
                </a:cubicBezTo>
                <a:cubicBezTo>
                  <a:pt x="63" y="94"/>
                  <a:pt x="64" y="92"/>
                  <a:pt x="64" y="91"/>
                </a:cubicBezTo>
                <a:cubicBezTo>
                  <a:pt x="64" y="89"/>
                  <a:pt x="63" y="88"/>
                  <a:pt x="61" y="88"/>
                </a:cubicBezTo>
                <a:cubicBezTo>
                  <a:pt x="60" y="88"/>
                  <a:pt x="58" y="89"/>
                  <a:pt x="58" y="91"/>
                </a:cubicBezTo>
                <a:close/>
                <a:moveTo>
                  <a:pt x="67" y="99"/>
                </a:moveTo>
                <a:cubicBezTo>
                  <a:pt x="67" y="101"/>
                  <a:pt x="68" y="102"/>
                  <a:pt x="70" y="102"/>
                </a:cubicBezTo>
                <a:cubicBezTo>
                  <a:pt x="72" y="102"/>
                  <a:pt x="73" y="101"/>
                  <a:pt x="73" y="99"/>
                </a:cubicBezTo>
                <a:cubicBezTo>
                  <a:pt x="73" y="98"/>
                  <a:pt x="72" y="97"/>
                  <a:pt x="70" y="97"/>
                </a:cubicBezTo>
                <a:cubicBezTo>
                  <a:pt x="68" y="97"/>
                  <a:pt x="67" y="98"/>
                  <a:pt x="67" y="99"/>
                </a:cubicBezTo>
                <a:close/>
                <a:moveTo>
                  <a:pt x="84" y="99"/>
                </a:moveTo>
                <a:cubicBezTo>
                  <a:pt x="84" y="101"/>
                  <a:pt x="86" y="102"/>
                  <a:pt x="87" y="102"/>
                </a:cubicBezTo>
                <a:cubicBezTo>
                  <a:pt x="89" y="102"/>
                  <a:pt x="90" y="101"/>
                  <a:pt x="90" y="99"/>
                </a:cubicBezTo>
                <a:cubicBezTo>
                  <a:pt x="90" y="98"/>
                  <a:pt x="89" y="97"/>
                  <a:pt x="87" y="97"/>
                </a:cubicBezTo>
                <a:cubicBezTo>
                  <a:pt x="86" y="97"/>
                  <a:pt x="84" y="98"/>
                  <a:pt x="84" y="99"/>
                </a:cubicBezTo>
                <a:close/>
                <a:moveTo>
                  <a:pt x="93" y="91"/>
                </a:moveTo>
                <a:cubicBezTo>
                  <a:pt x="93" y="92"/>
                  <a:pt x="95" y="94"/>
                  <a:pt x="96" y="94"/>
                </a:cubicBezTo>
                <a:cubicBezTo>
                  <a:pt x="98" y="94"/>
                  <a:pt x="99" y="92"/>
                  <a:pt x="99" y="91"/>
                </a:cubicBezTo>
                <a:cubicBezTo>
                  <a:pt x="99" y="89"/>
                  <a:pt x="98" y="88"/>
                  <a:pt x="96" y="88"/>
                </a:cubicBezTo>
                <a:cubicBezTo>
                  <a:pt x="95" y="88"/>
                  <a:pt x="93" y="89"/>
                  <a:pt x="93" y="91"/>
                </a:cubicBezTo>
                <a:close/>
                <a:moveTo>
                  <a:pt x="76" y="108"/>
                </a:moveTo>
                <a:cubicBezTo>
                  <a:pt x="76" y="110"/>
                  <a:pt x="77" y="111"/>
                  <a:pt x="79" y="111"/>
                </a:cubicBezTo>
                <a:cubicBezTo>
                  <a:pt x="80" y="111"/>
                  <a:pt x="82" y="110"/>
                  <a:pt x="82" y="108"/>
                </a:cubicBezTo>
                <a:cubicBezTo>
                  <a:pt x="82" y="107"/>
                  <a:pt x="80" y="105"/>
                  <a:pt x="79" y="105"/>
                </a:cubicBezTo>
                <a:cubicBezTo>
                  <a:pt x="77" y="105"/>
                  <a:pt x="76" y="107"/>
                  <a:pt x="76" y="108"/>
                </a:cubicBezTo>
                <a:close/>
                <a:moveTo>
                  <a:pt x="102" y="82"/>
                </a:moveTo>
                <a:cubicBezTo>
                  <a:pt x="102" y="84"/>
                  <a:pt x="103" y="85"/>
                  <a:pt x="105" y="85"/>
                </a:cubicBezTo>
                <a:cubicBezTo>
                  <a:pt x="106" y="85"/>
                  <a:pt x="108" y="84"/>
                  <a:pt x="108" y="82"/>
                </a:cubicBezTo>
                <a:cubicBezTo>
                  <a:pt x="108" y="80"/>
                  <a:pt x="106" y="79"/>
                  <a:pt x="105" y="79"/>
                </a:cubicBezTo>
                <a:cubicBezTo>
                  <a:pt x="103" y="79"/>
                  <a:pt x="102" y="80"/>
                  <a:pt x="102" y="82"/>
                </a:cubicBezTo>
                <a:close/>
                <a:moveTo>
                  <a:pt x="119" y="82"/>
                </a:moveTo>
                <a:cubicBezTo>
                  <a:pt x="119" y="84"/>
                  <a:pt x="121" y="85"/>
                  <a:pt x="122" y="85"/>
                </a:cubicBezTo>
                <a:cubicBezTo>
                  <a:pt x="124" y="85"/>
                  <a:pt x="125" y="84"/>
                  <a:pt x="125" y="82"/>
                </a:cubicBezTo>
                <a:cubicBezTo>
                  <a:pt x="125" y="80"/>
                  <a:pt x="124" y="79"/>
                  <a:pt x="122" y="79"/>
                </a:cubicBezTo>
                <a:cubicBezTo>
                  <a:pt x="121" y="79"/>
                  <a:pt x="119" y="80"/>
                  <a:pt x="119" y="82"/>
                </a:cubicBezTo>
                <a:close/>
                <a:moveTo>
                  <a:pt x="111" y="91"/>
                </a:moveTo>
                <a:cubicBezTo>
                  <a:pt x="111" y="92"/>
                  <a:pt x="112" y="94"/>
                  <a:pt x="114" y="94"/>
                </a:cubicBezTo>
                <a:cubicBezTo>
                  <a:pt x="115" y="94"/>
                  <a:pt x="117" y="92"/>
                  <a:pt x="117" y="91"/>
                </a:cubicBezTo>
                <a:cubicBezTo>
                  <a:pt x="117" y="89"/>
                  <a:pt x="115" y="88"/>
                  <a:pt x="114" y="88"/>
                </a:cubicBezTo>
                <a:cubicBezTo>
                  <a:pt x="112" y="88"/>
                  <a:pt x="111" y="89"/>
                  <a:pt x="111" y="91"/>
                </a:cubicBezTo>
                <a:close/>
                <a:moveTo>
                  <a:pt x="132" y="93"/>
                </a:moveTo>
                <a:cubicBezTo>
                  <a:pt x="132" y="94"/>
                  <a:pt x="132" y="94"/>
                  <a:pt x="132" y="94"/>
                </a:cubicBezTo>
                <a:cubicBezTo>
                  <a:pt x="160" y="109"/>
                  <a:pt x="160" y="109"/>
                  <a:pt x="160" y="109"/>
                </a:cubicBezTo>
                <a:cubicBezTo>
                  <a:pt x="80" y="155"/>
                  <a:pt x="80" y="155"/>
                  <a:pt x="80" y="155"/>
                </a:cubicBezTo>
                <a:cubicBezTo>
                  <a:pt x="0" y="109"/>
                  <a:pt x="0" y="109"/>
                  <a:pt x="0" y="109"/>
                </a:cubicBezTo>
                <a:cubicBezTo>
                  <a:pt x="28" y="94"/>
                  <a:pt x="28" y="94"/>
                  <a:pt x="28" y="94"/>
                </a:cubicBezTo>
                <a:cubicBezTo>
                  <a:pt x="0" y="77"/>
                  <a:pt x="0" y="77"/>
                  <a:pt x="0" y="77"/>
                </a:cubicBezTo>
                <a:cubicBezTo>
                  <a:pt x="28" y="61"/>
                  <a:pt x="28" y="61"/>
                  <a:pt x="28" y="61"/>
                </a:cubicBezTo>
                <a:cubicBezTo>
                  <a:pt x="0" y="45"/>
                  <a:pt x="0" y="45"/>
                  <a:pt x="0" y="45"/>
                </a:cubicBezTo>
                <a:cubicBezTo>
                  <a:pt x="80" y="0"/>
                  <a:pt x="80" y="0"/>
                  <a:pt x="80" y="0"/>
                </a:cubicBezTo>
                <a:cubicBezTo>
                  <a:pt x="160" y="45"/>
                  <a:pt x="160" y="45"/>
                  <a:pt x="160" y="45"/>
                </a:cubicBezTo>
                <a:cubicBezTo>
                  <a:pt x="132" y="61"/>
                  <a:pt x="132" y="61"/>
                  <a:pt x="132" y="61"/>
                </a:cubicBezTo>
                <a:cubicBezTo>
                  <a:pt x="160" y="77"/>
                  <a:pt x="160" y="77"/>
                  <a:pt x="160" y="77"/>
                </a:cubicBezTo>
                <a:cubicBezTo>
                  <a:pt x="133" y="93"/>
                  <a:pt x="133" y="93"/>
                  <a:pt x="133" y="93"/>
                </a:cubicBezTo>
                <a:cubicBezTo>
                  <a:pt x="132" y="93"/>
                  <a:pt x="132" y="93"/>
                  <a:pt x="132" y="93"/>
                </a:cubicBezTo>
                <a:close/>
                <a:moveTo>
                  <a:pt x="12" y="45"/>
                </a:moveTo>
                <a:cubicBezTo>
                  <a:pt x="80" y="84"/>
                  <a:pt x="80" y="84"/>
                  <a:pt x="80" y="84"/>
                </a:cubicBezTo>
                <a:cubicBezTo>
                  <a:pt x="126" y="58"/>
                  <a:pt x="126" y="58"/>
                  <a:pt x="126" y="58"/>
                </a:cubicBezTo>
                <a:cubicBezTo>
                  <a:pt x="126" y="58"/>
                  <a:pt x="126" y="58"/>
                  <a:pt x="126" y="58"/>
                </a:cubicBezTo>
                <a:cubicBezTo>
                  <a:pt x="148" y="45"/>
                  <a:pt x="148" y="45"/>
                  <a:pt x="148" y="45"/>
                </a:cubicBezTo>
                <a:cubicBezTo>
                  <a:pt x="80" y="7"/>
                  <a:pt x="80" y="7"/>
                  <a:pt x="80" y="7"/>
                </a:cubicBezTo>
                <a:lnTo>
                  <a:pt x="12" y="45"/>
                </a:lnTo>
                <a:close/>
                <a:moveTo>
                  <a:pt x="12" y="77"/>
                </a:moveTo>
                <a:cubicBezTo>
                  <a:pt x="16" y="80"/>
                  <a:pt x="16" y="80"/>
                  <a:pt x="16" y="80"/>
                </a:cubicBezTo>
                <a:cubicBezTo>
                  <a:pt x="16" y="79"/>
                  <a:pt x="17" y="79"/>
                  <a:pt x="18" y="79"/>
                </a:cubicBezTo>
                <a:cubicBezTo>
                  <a:pt x="19" y="79"/>
                  <a:pt x="20" y="80"/>
                  <a:pt x="20" y="82"/>
                </a:cubicBezTo>
                <a:cubicBezTo>
                  <a:pt x="20" y="82"/>
                  <a:pt x="20" y="82"/>
                  <a:pt x="20" y="82"/>
                </a:cubicBezTo>
                <a:cubicBezTo>
                  <a:pt x="50" y="99"/>
                  <a:pt x="50" y="99"/>
                  <a:pt x="50" y="99"/>
                </a:cubicBezTo>
                <a:cubicBezTo>
                  <a:pt x="50" y="98"/>
                  <a:pt x="51" y="97"/>
                  <a:pt x="52" y="97"/>
                </a:cubicBezTo>
                <a:cubicBezTo>
                  <a:pt x="54" y="97"/>
                  <a:pt x="55" y="98"/>
                  <a:pt x="55" y="99"/>
                </a:cubicBezTo>
                <a:cubicBezTo>
                  <a:pt x="55" y="100"/>
                  <a:pt x="55" y="101"/>
                  <a:pt x="54" y="102"/>
                </a:cubicBezTo>
                <a:cubicBezTo>
                  <a:pt x="61" y="105"/>
                  <a:pt x="61" y="105"/>
                  <a:pt x="61" y="105"/>
                </a:cubicBezTo>
                <a:cubicBezTo>
                  <a:pt x="61" y="105"/>
                  <a:pt x="61" y="105"/>
                  <a:pt x="61" y="105"/>
                </a:cubicBezTo>
                <a:cubicBezTo>
                  <a:pt x="63" y="105"/>
                  <a:pt x="64" y="106"/>
                  <a:pt x="64" y="107"/>
                </a:cubicBezTo>
                <a:cubicBezTo>
                  <a:pt x="80" y="116"/>
                  <a:pt x="80" y="116"/>
                  <a:pt x="80" y="116"/>
                </a:cubicBezTo>
                <a:cubicBezTo>
                  <a:pt x="93" y="109"/>
                  <a:pt x="93" y="109"/>
                  <a:pt x="93" y="109"/>
                </a:cubicBezTo>
                <a:cubicBezTo>
                  <a:pt x="93" y="109"/>
                  <a:pt x="93" y="108"/>
                  <a:pt x="93" y="108"/>
                </a:cubicBezTo>
                <a:cubicBezTo>
                  <a:pt x="93" y="107"/>
                  <a:pt x="95" y="105"/>
                  <a:pt x="96" y="105"/>
                </a:cubicBezTo>
                <a:cubicBezTo>
                  <a:pt x="97" y="105"/>
                  <a:pt x="98" y="106"/>
                  <a:pt x="98" y="106"/>
                </a:cubicBezTo>
                <a:cubicBezTo>
                  <a:pt x="105" y="102"/>
                  <a:pt x="105" y="102"/>
                  <a:pt x="105" y="102"/>
                </a:cubicBezTo>
                <a:cubicBezTo>
                  <a:pt x="103" y="102"/>
                  <a:pt x="102" y="101"/>
                  <a:pt x="102" y="99"/>
                </a:cubicBezTo>
                <a:cubicBezTo>
                  <a:pt x="102" y="98"/>
                  <a:pt x="103" y="97"/>
                  <a:pt x="105" y="97"/>
                </a:cubicBezTo>
                <a:cubicBezTo>
                  <a:pt x="106" y="97"/>
                  <a:pt x="108" y="98"/>
                  <a:pt x="108" y="99"/>
                </a:cubicBezTo>
                <a:cubicBezTo>
                  <a:pt x="108" y="100"/>
                  <a:pt x="108" y="100"/>
                  <a:pt x="107" y="101"/>
                </a:cubicBezTo>
                <a:cubicBezTo>
                  <a:pt x="126" y="90"/>
                  <a:pt x="126" y="90"/>
                  <a:pt x="126" y="90"/>
                </a:cubicBezTo>
                <a:cubicBezTo>
                  <a:pt x="126" y="90"/>
                  <a:pt x="126" y="90"/>
                  <a:pt x="126" y="90"/>
                </a:cubicBezTo>
                <a:cubicBezTo>
                  <a:pt x="137" y="84"/>
                  <a:pt x="137" y="84"/>
                  <a:pt x="137" y="84"/>
                </a:cubicBezTo>
                <a:cubicBezTo>
                  <a:pt x="137" y="83"/>
                  <a:pt x="137" y="83"/>
                  <a:pt x="137" y="82"/>
                </a:cubicBezTo>
                <a:cubicBezTo>
                  <a:pt x="137" y="80"/>
                  <a:pt x="138" y="79"/>
                  <a:pt x="140" y="79"/>
                </a:cubicBezTo>
                <a:cubicBezTo>
                  <a:pt x="141" y="79"/>
                  <a:pt x="142" y="80"/>
                  <a:pt x="142" y="81"/>
                </a:cubicBezTo>
                <a:cubicBezTo>
                  <a:pt x="148" y="77"/>
                  <a:pt x="148" y="77"/>
                  <a:pt x="148" y="77"/>
                </a:cubicBezTo>
                <a:cubicBezTo>
                  <a:pt x="126" y="65"/>
                  <a:pt x="126" y="65"/>
                  <a:pt x="126" y="65"/>
                </a:cubicBezTo>
                <a:cubicBezTo>
                  <a:pt x="125" y="65"/>
                  <a:pt x="125" y="65"/>
                  <a:pt x="125" y="65"/>
                </a:cubicBezTo>
                <a:cubicBezTo>
                  <a:pt x="125" y="67"/>
                  <a:pt x="124" y="67"/>
                  <a:pt x="122" y="67"/>
                </a:cubicBezTo>
                <a:cubicBezTo>
                  <a:pt x="122" y="67"/>
                  <a:pt x="122" y="67"/>
                  <a:pt x="122" y="67"/>
                </a:cubicBezTo>
                <a:cubicBezTo>
                  <a:pt x="115" y="71"/>
                  <a:pt x="115" y="71"/>
                  <a:pt x="115" y="71"/>
                </a:cubicBezTo>
                <a:cubicBezTo>
                  <a:pt x="116" y="71"/>
                  <a:pt x="117" y="72"/>
                  <a:pt x="117" y="73"/>
                </a:cubicBezTo>
                <a:cubicBezTo>
                  <a:pt x="117" y="75"/>
                  <a:pt x="115" y="76"/>
                  <a:pt x="114" y="76"/>
                </a:cubicBezTo>
                <a:cubicBezTo>
                  <a:pt x="112" y="76"/>
                  <a:pt x="111" y="75"/>
                  <a:pt x="111" y="74"/>
                </a:cubicBezTo>
                <a:cubicBezTo>
                  <a:pt x="82" y="90"/>
                  <a:pt x="82" y="90"/>
                  <a:pt x="82" y="90"/>
                </a:cubicBezTo>
                <a:cubicBezTo>
                  <a:pt x="82" y="90"/>
                  <a:pt x="82" y="91"/>
                  <a:pt x="82" y="91"/>
                </a:cubicBezTo>
                <a:cubicBezTo>
                  <a:pt x="82" y="92"/>
                  <a:pt x="80" y="94"/>
                  <a:pt x="79" y="94"/>
                </a:cubicBezTo>
                <a:cubicBezTo>
                  <a:pt x="77" y="94"/>
                  <a:pt x="76" y="92"/>
                  <a:pt x="76" y="91"/>
                </a:cubicBezTo>
                <a:cubicBezTo>
                  <a:pt x="76" y="90"/>
                  <a:pt x="76" y="90"/>
                  <a:pt x="76" y="89"/>
                </a:cubicBezTo>
                <a:cubicBezTo>
                  <a:pt x="46" y="72"/>
                  <a:pt x="46" y="72"/>
                  <a:pt x="46" y="72"/>
                </a:cubicBezTo>
                <a:cubicBezTo>
                  <a:pt x="46" y="72"/>
                  <a:pt x="47" y="73"/>
                  <a:pt x="47" y="73"/>
                </a:cubicBezTo>
                <a:cubicBezTo>
                  <a:pt x="47" y="75"/>
                  <a:pt x="45" y="76"/>
                  <a:pt x="44" y="76"/>
                </a:cubicBezTo>
                <a:cubicBezTo>
                  <a:pt x="42" y="76"/>
                  <a:pt x="41" y="75"/>
                  <a:pt x="41" y="73"/>
                </a:cubicBezTo>
                <a:cubicBezTo>
                  <a:pt x="41" y="72"/>
                  <a:pt x="42" y="70"/>
                  <a:pt x="44" y="70"/>
                </a:cubicBezTo>
                <a:cubicBezTo>
                  <a:pt x="37" y="67"/>
                  <a:pt x="37" y="67"/>
                  <a:pt x="37" y="67"/>
                </a:cubicBezTo>
                <a:cubicBezTo>
                  <a:pt x="36" y="67"/>
                  <a:pt x="36" y="67"/>
                  <a:pt x="35" y="67"/>
                </a:cubicBezTo>
                <a:cubicBezTo>
                  <a:pt x="34" y="67"/>
                  <a:pt x="33" y="67"/>
                  <a:pt x="32" y="66"/>
                </a:cubicBezTo>
                <a:lnTo>
                  <a:pt x="12" y="77"/>
                </a:lnTo>
                <a:close/>
                <a:moveTo>
                  <a:pt x="126" y="97"/>
                </a:moveTo>
                <a:cubicBezTo>
                  <a:pt x="80" y="123"/>
                  <a:pt x="80" y="123"/>
                  <a:pt x="80" y="123"/>
                </a:cubicBezTo>
                <a:cubicBezTo>
                  <a:pt x="34" y="97"/>
                  <a:pt x="34" y="97"/>
                  <a:pt x="34" y="97"/>
                </a:cubicBezTo>
                <a:cubicBezTo>
                  <a:pt x="12" y="110"/>
                  <a:pt x="12" y="110"/>
                  <a:pt x="12" y="110"/>
                </a:cubicBezTo>
                <a:cubicBezTo>
                  <a:pt x="80" y="148"/>
                  <a:pt x="80" y="148"/>
                  <a:pt x="80" y="148"/>
                </a:cubicBezTo>
                <a:cubicBezTo>
                  <a:pt x="148" y="110"/>
                  <a:pt x="148" y="110"/>
                  <a:pt x="148" y="110"/>
                </a:cubicBezTo>
                <a:lnTo>
                  <a:pt x="126" y="97"/>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2131">
            <a:extLst>
              <a:ext uri="{FF2B5EF4-FFF2-40B4-BE49-F238E27FC236}">
                <a16:creationId xmlns:a16="http://schemas.microsoft.com/office/drawing/2014/main" id="{AF1597B3-A29C-644A-AA3E-34829104625C}"/>
              </a:ext>
            </a:extLst>
          </p:cNvPr>
          <p:cNvSpPr>
            <a:spLocks noEditPoints="1"/>
          </p:cNvSpPr>
          <p:nvPr/>
        </p:nvSpPr>
        <p:spPr bwMode="auto">
          <a:xfrm>
            <a:off x="6343646" y="2222500"/>
            <a:ext cx="546100" cy="533400"/>
          </a:xfrm>
          <a:custGeom>
            <a:avLst/>
            <a:gdLst>
              <a:gd name="T0" fmla="*/ 284 w 344"/>
              <a:gd name="T1" fmla="*/ 132 h 336"/>
              <a:gd name="T2" fmla="*/ 344 w 344"/>
              <a:gd name="T3" fmla="*/ 98 h 336"/>
              <a:gd name="T4" fmla="*/ 172 w 344"/>
              <a:gd name="T5" fmla="*/ 0 h 336"/>
              <a:gd name="T6" fmla="*/ 0 w 344"/>
              <a:gd name="T7" fmla="*/ 98 h 336"/>
              <a:gd name="T8" fmla="*/ 60 w 344"/>
              <a:gd name="T9" fmla="*/ 132 h 336"/>
              <a:gd name="T10" fmla="*/ 0 w 344"/>
              <a:gd name="T11" fmla="*/ 167 h 336"/>
              <a:gd name="T12" fmla="*/ 60 w 344"/>
              <a:gd name="T13" fmla="*/ 204 h 336"/>
              <a:gd name="T14" fmla="*/ 0 w 344"/>
              <a:gd name="T15" fmla="*/ 236 h 336"/>
              <a:gd name="T16" fmla="*/ 172 w 344"/>
              <a:gd name="T17" fmla="*/ 336 h 336"/>
              <a:gd name="T18" fmla="*/ 344 w 344"/>
              <a:gd name="T19" fmla="*/ 236 h 336"/>
              <a:gd name="T20" fmla="*/ 284 w 344"/>
              <a:gd name="T21" fmla="*/ 204 h 336"/>
              <a:gd name="T22" fmla="*/ 344 w 344"/>
              <a:gd name="T23" fmla="*/ 167 h 336"/>
              <a:gd name="T24" fmla="*/ 284 w 344"/>
              <a:gd name="T25" fmla="*/ 132 h 336"/>
              <a:gd name="T26" fmla="*/ 172 w 344"/>
              <a:gd name="T27" fmla="*/ 15 h 336"/>
              <a:gd name="T28" fmla="*/ 318 w 344"/>
              <a:gd name="T29" fmla="*/ 98 h 336"/>
              <a:gd name="T30" fmla="*/ 172 w 344"/>
              <a:gd name="T31" fmla="*/ 182 h 336"/>
              <a:gd name="T32" fmla="*/ 26 w 344"/>
              <a:gd name="T33" fmla="*/ 98 h 336"/>
              <a:gd name="T34" fmla="*/ 172 w 344"/>
              <a:gd name="T35" fmla="*/ 15 h 336"/>
              <a:gd name="T36" fmla="*/ 73 w 344"/>
              <a:gd name="T37" fmla="*/ 141 h 336"/>
              <a:gd name="T38" fmla="*/ 172 w 344"/>
              <a:gd name="T39" fmla="*/ 197 h 336"/>
              <a:gd name="T40" fmla="*/ 271 w 344"/>
              <a:gd name="T41" fmla="*/ 141 h 336"/>
              <a:gd name="T42" fmla="*/ 318 w 344"/>
              <a:gd name="T43" fmla="*/ 167 h 336"/>
              <a:gd name="T44" fmla="*/ 172 w 344"/>
              <a:gd name="T45" fmla="*/ 252 h 336"/>
              <a:gd name="T46" fmla="*/ 26 w 344"/>
              <a:gd name="T47" fmla="*/ 167 h 336"/>
              <a:gd name="T48" fmla="*/ 73 w 344"/>
              <a:gd name="T49" fmla="*/ 141 h 336"/>
              <a:gd name="T50" fmla="*/ 318 w 344"/>
              <a:gd name="T51" fmla="*/ 239 h 336"/>
              <a:gd name="T52" fmla="*/ 172 w 344"/>
              <a:gd name="T53" fmla="*/ 321 h 336"/>
              <a:gd name="T54" fmla="*/ 26 w 344"/>
              <a:gd name="T55" fmla="*/ 239 h 336"/>
              <a:gd name="T56" fmla="*/ 73 w 344"/>
              <a:gd name="T57" fmla="*/ 210 h 336"/>
              <a:gd name="T58" fmla="*/ 172 w 344"/>
              <a:gd name="T59" fmla="*/ 267 h 336"/>
              <a:gd name="T60" fmla="*/ 271 w 344"/>
              <a:gd name="T61" fmla="*/ 210 h 336"/>
              <a:gd name="T62" fmla="*/ 318 w 344"/>
              <a:gd name="T63" fmla="*/ 239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4" h="336">
                <a:moveTo>
                  <a:pt x="284" y="132"/>
                </a:moveTo>
                <a:lnTo>
                  <a:pt x="344" y="98"/>
                </a:lnTo>
                <a:lnTo>
                  <a:pt x="172" y="0"/>
                </a:lnTo>
                <a:lnTo>
                  <a:pt x="0" y="98"/>
                </a:lnTo>
                <a:lnTo>
                  <a:pt x="60" y="132"/>
                </a:lnTo>
                <a:lnTo>
                  <a:pt x="0" y="167"/>
                </a:lnTo>
                <a:lnTo>
                  <a:pt x="60" y="204"/>
                </a:lnTo>
                <a:lnTo>
                  <a:pt x="0" y="236"/>
                </a:lnTo>
                <a:lnTo>
                  <a:pt x="172" y="336"/>
                </a:lnTo>
                <a:lnTo>
                  <a:pt x="344" y="236"/>
                </a:lnTo>
                <a:lnTo>
                  <a:pt x="284" y="204"/>
                </a:lnTo>
                <a:lnTo>
                  <a:pt x="344" y="167"/>
                </a:lnTo>
                <a:lnTo>
                  <a:pt x="284" y="132"/>
                </a:lnTo>
                <a:close/>
                <a:moveTo>
                  <a:pt x="172" y="15"/>
                </a:moveTo>
                <a:lnTo>
                  <a:pt x="318" y="98"/>
                </a:lnTo>
                <a:lnTo>
                  <a:pt x="172" y="182"/>
                </a:lnTo>
                <a:lnTo>
                  <a:pt x="26" y="98"/>
                </a:lnTo>
                <a:lnTo>
                  <a:pt x="172" y="15"/>
                </a:lnTo>
                <a:close/>
                <a:moveTo>
                  <a:pt x="73" y="141"/>
                </a:moveTo>
                <a:lnTo>
                  <a:pt x="172" y="197"/>
                </a:lnTo>
                <a:lnTo>
                  <a:pt x="271" y="141"/>
                </a:lnTo>
                <a:lnTo>
                  <a:pt x="318" y="167"/>
                </a:lnTo>
                <a:lnTo>
                  <a:pt x="172" y="252"/>
                </a:lnTo>
                <a:lnTo>
                  <a:pt x="26" y="167"/>
                </a:lnTo>
                <a:lnTo>
                  <a:pt x="73" y="141"/>
                </a:lnTo>
                <a:close/>
                <a:moveTo>
                  <a:pt x="318" y="239"/>
                </a:moveTo>
                <a:lnTo>
                  <a:pt x="172" y="321"/>
                </a:lnTo>
                <a:lnTo>
                  <a:pt x="26" y="239"/>
                </a:lnTo>
                <a:lnTo>
                  <a:pt x="73" y="210"/>
                </a:lnTo>
                <a:lnTo>
                  <a:pt x="172" y="267"/>
                </a:lnTo>
                <a:lnTo>
                  <a:pt x="271" y="210"/>
                </a:lnTo>
                <a:lnTo>
                  <a:pt x="318" y="239"/>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2132">
            <a:extLst>
              <a:ext uri="{FF2B5EF4-FFF2-40B4-BE49-F238E27FC236}">
                <a16:creationId xmlns:a16="http://schemas.microsoft.com/office/drawing/2014/main" id="{BD7D8E6E-F7A8-8840-A17F-E9BE6478D163}"/>
              </a:ext>
            </a:extLst>
          </p:cNvPr>
          <p:cNvSpPr>
            <a:spLocks noEditPoints="1"/>
          </p:cNvSpPr>
          <p:nvPr/>
        </p:nvSpPr>
        <p:spPr bwMode="auto">
          <a:xfrm>
            <a:off x="6340471" y="2855913"/>
            <a:ext cx="552450" cy="512763"/>
          </a:xfrm>
          <a:custGeom>
            <a:avLst/>
            <a:gdLst>
              <a:gd name="T0" fmla="*/ 161 w 162"/>
              <a:gd name="T1" fmla="*/ 44 h 149"/>
              <a:gd name="T2" fmla="*/ 117 w 162"/>
              <a:gd name="T3" fmla="*/ 0 h 149"/>
              <a:gd name="T4" fmla="*/ 81 w 162"/>
              <a:gd name="T5" fmla="*/ 21 h 149"/>
              <a:gd name="T6" fmla="*/ 45 w 162"/>
              <a:gd name="T7" fmla="*/ 0 h 149"/>
              <a:gd name="T8" fmla="*/ 1 w 162"/>
              <a:gd name="T9" fmla="*/ 44 h 149"/>
              <a:gd name="T10" fmla="*/ 3 w 162"/>
              <a:gd name="T11" fmla="*/ 61 h 149"/>
              <a:gd name="T12" fmla="*/ 25 w 162"/>
              <a:gd name="T13" fmla="*/ 98 h 149"/>
              <a:gd name="T14" fmla="*/ 81 w 162"/>
              <a:gd name="T15" fmla="*/ 149 h 149"/>
              <a:gd name="T16" fmla="*/ 137 w 162"/>
              <a:gd name="T17" fmla="*/ 98 h 149"/>
              <a:gd name="T18" fmla="*/ 159 w 162"/>
              <a:gd name="T19" fmla="*/ 61 h 149"/>
              <a:gd name="T20" fmla="*/ 161 w 162"/>
              <a:gd name="T21" fmla="*/ 44 h 149"/>
              <a:gd name="T22" fmla="*/ 153 w 162"/>
              <a:gd name="T23" fmla="*/ 60 h 149"/>
              <a:gd name="T24" fmla="*/ 133 w 162"/>
              <a:gd name="T25" fmla="*/ 94 h 149"/>
              <a:gd name="T26" fmla="*/ 81 w 162"/>
              <a:gd name="T27" fmla="*/ 140 h 149"/>
              <a:gd name="T28" fmla="*/ 29 w 162"/>
              <a:gd name="T29" fmla="*/ 94 h 149"/>
              <a:gd name="T30" fmla="*/ 9 w 162"/>
              <a:gd name="T31" fmla="*/ 60 h 149"/>
              <a:gd name="T32" fmla="*/ 7 w 162"/>
              <a:gd name="T33" fmla="*/ 45 h 149"/>
              <a:gd name="T34" fmla="*/ 7 w 162"/>
              <a:gd name="T35" fmla="*/ 45 h 149"/>
              <a:gd name="T36" fmla="*/ 45 w 162"/>
              <a:gd name="T37" fmla="*/ 6 h 149"/>
              <a:gd name="T38" fmla="*/ 78 w 162"/>
              <a:gd name="T39" fmla="*/ 29 h 149"/>
              <a:gd name="T40" fmla="*/ 81 w 162"/>
              <a:gd name="T41" fmla="*/ 36 h 149"/>
              <a:gd name="T42" fmla="*/ 83 w 162"/>
              <a:gd name="T43" fmla="*/ 29 h 149"/>
              <a:gd name="T44" fmla="*/ 117 w 162"/>
              <a:gd name="T45" fmla="*/ 6 h 149"/>
              <a:gd name="T46" fmla="*/ 155 w 162"/>
              <a:gd name="T47" fmla="*/ 45 h 149"/>
              <a:gd name="T48" fmla="*/ 153 w 162"/>
              <a:gd name="T49" fmla="*/ 6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2" h="149">
                <a:moveTo>
                  <a:pt x="161" y="44"/>
                </a:moveTo>
                <a:cubicBezTo>
                  <a:pt x="158" y="19"/>
                  <a:pt x="140" y="0"/>
                  <a:pt x="117" y="0"/>
                </a:cubicBezTo>
                <a:cubicBezTo>
                  <a:pt x="102" y="0"/>
                  <a:pt x="88" y="8"/>
                  <a:pt x="81" y="21"/>
                </a:cubicBezTo>
                <a:cubicBezTo>
                  <a:pt x="73" y="8"/>
                  <a:pt x="59" y="0"/>
                  <a:pt x="45" y="0"/>
                </a:cubicBezTo>
                <a:cubicBezTo>
                  <a:pt x="22" y="0"/>
                  <a:pt x="4" y="19"/>
                  <a:pt x="1" y="44"/>
                </a:cubicBezTo>
                <a:cubicBezTo>
                  <a:pt x="1" y="45"/>
                  <a:pt x="0" y="51"/>
                  <a:pt x="3" y="61"/>
                </a:cubicBezTo>
                <a:cubicBezTo>
                  <a:pt x="6" y="75"/>
                  <a:pt x="14" y="88"/>
                  <a:pt x="25" y="98"/>
                </a:cubicBezTo>
                <a:cubicBezTo>
                  <a:pt x="81" y="149"/>
                  <a:pt x="81" y="149"/>
                  <a:pt x="81" y="149"/>
                </a:cubicBezTo>
                <a:cubicBezTo>
                  <a:pt x="137" y="98"/>
                  <a:pt x="137" y="98"/>
                  <a:pt x="137" y="98"/>
                </a:cubicBezTo>
                <a:cubicBezTo>
                  <a:pt x="148" y="88"/>
                  <a:pt x="156" y="75"/>
                  <a:pt x="159" y="61"/>
                </a:cubicBezTo>
                <a:cubicBezTo>
                  <a:pt x="162" y="51"/>
                  <a:pt x="161" y="45"/>
                  <a:pt x="161" y="44"/>
                </a:cubicBezTo>
                <a:close/>
                <a:moveTo>
                  <a:pt x="153" y="60"/>
                </a:moveTo>
                <a:cubicBezTo>
                  <a:pt x="150" y="73"/>
                  <a:pt x="143" y="84"/>
                  <a:pt x="133" y="94"/>
                </a:cubicBezTo>
                <a:cubicBezTo>
                  <a:pt x="81" y="140"/>
                  <a:pt x="81" y="140"/>
                  <a:pt x="81" y="140"/>
                </a:cubicBezTo>
                <a:cubicBezTo>
                  <a:pt x="29" y="94"/>
                  <a:pt x="29" y="94"/>
                  <a:pt x="29" y="94"/>
                </a:cubicBezTo>
                <a:cubicBezTo>
                  <a:pt x="19" y="84"/>
                  <a:pt x="12" y="73"/>
                  <a:pt x="9" y="60"/>
                </a:cubicBezTo>
                <a:cubicBezTo>
                  <a:pt x="6" y="51"/>
                  <a:pt x="7" y="45"/>
                  <a:pt x="7" y="45"/>
                </a:cubicBezTo>
                <a:cubicBezTo>
                  <a:pt x="7" y="45"/>
                  <a:pt x="7" y="45"/>
                  <a:pt x="7" y="45"/>
                </a:cubicBezTo>
                <a:cubicBezTo>
                  <a:pt x="9" y="23"/>
                  <a:pt x="25" y="6"/>
                  <a:pt x="45" y="6"/>
                </a:cubicBezTo>
                <a:cubicBezTo>
                  <a:pt x="59" y="6"/>
                  <a:pt x="72" y="15"/>
                  <a:pt x="78" y="29"/>
                </a:cubicBezTo>
                <a:cubicBezTo>
                  <a:pt x="81" y="36"/>
                  <a:pt x="81" y="36"/>
                  <a:pt x="81" y="36"/>
                </a:cubicBezTo>
                <a:cubicBezTo>
                  <a:pt x="83" y="29"/>
                  <a:pt x="83" y="29"/>
                  <a:pt x="83" y="29"/>
                </a:cubicBezTo>
                <a:cubicBezTo>
                  <a:pt x="89" y="15"/>
                  <a:pt x="103" y="6"/>
                  <a:pt x="117" y="6"/>
                </a:cubicBezTo>
                <a:cubicBezTo>
                  <a:pt x="137" y="6"/>
                  <a:pt x="153" y="23"/>
                  <a:pt x="155" y="45"/>
                </a:cubicBezTo>
                <a:cubicBezTo>
                  <a:pt x="155" y="45"/>
                  <a:pt x="156" y="51"/>
                  <a:pt x="153" y="60"/>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2133">
            <a:extLst>
              <a:ext uri="{FF2B5EF4-FFF2-40B4-BE49-F238E27FC236}">
                <a16:creationId xmlns:a16="http://schemas.microsoft.com/office/drawing/2014/main" id="{53C926DB-766D-1E43-979A-03AAC24541F9}"/>
              </a:ext>
            </a:extLst>
          </p:cNvPr>
          <p:cNvSpPr>
            <a:spLocks noEditPoints="1"/>
          </p:cNvSpPr>
          <p:nvPr/>
        </p:nvSpPr>
        <p:spPr bwMode="auto">
          <a:xfrm>
            <a:off x="6340471" y="3475038"/>
            <a:ext cx="552450" cy="512763"/>
          </a:xfrm>
          <a:custGeom>
            <a:avLst/>
            <a:gdLst>
              <a:gd name="T0" fmla="*/ 161 w 162"/>
              <a:gd name="T1" fmla="*/ 44 h 149"/>
              <a:gd name="T2" fmla="*/ 117 w 162"/>
              <a:gd name="T3" fmla="*/ 0 h 149"/>
              <a:gd name="T4" fmla="*/ 81 w 162"/>
              <a:gd name="T5" fmla="*/ 21 h 149"/>
              <a:gd name="T6" fmla="*/ 45 w 162"/>
              <a:gd name="T7" fmla="*/ 0 h 149"/>
              <a:gd name="T8" fmla="*/ 1 w 162"/>
              <a:gd name="T9" fmla="*/ 44 h 149"/>
              <a:gd name="T10" fmla="*/ 3 w 162"/>
              <a:gd name="T11" fmla="*/ 61 h 149"/>
              <a:gd name="T12" fmla="*/ 25 w 162"/>
              <a:gd name="T13" fmla="*/ 98 h 149"/>
              <a:gd name="T14" fmla="*/ 81 w 162"/>
              <a:gd name="T15" fmla="*/ 149 h 149"/>
              <a:gd name="T16" fmla="*/ 137 w 162"/>
              <a:gd name="T17" fmla="*/ 98 h 149"/>
              <a:gd name="T18" fmla="*/ 159 w 162"/>
              <a:gd name="T19" fmla="*/ 61 h 149"/>
              <a:gd name="T20" fmla="*/ 161 w 162"/>
              <a:gd name="T21" fmla="*/ 44 h 149"/>
              <a:gd name="T22" fmla="*/ 153 w 162"/>
              <a:gd name="T23" fmla="*/ 60 h 149"/>
              <a:gd name="T24" fmla="*/ 133 w 162"/>
              <a:gd name="T25" fmla="*/ 94 h 149"/>
              <a:gd name="T26" fmla="*/ 81 w 162"/>
              <a:gd name="T27" fmla="*/ 140 h 149"/>
              <a:gd name="T28" fmla="*/ 29 w 162"/>
              <a:gd name="T29" fmla="*/ 94 h 149"/>
              <a:gd name="T30" fmla="*/ 9 w 162"/>
              <a:gd name="T31" fmla="*/ 60 h 149"/>
              <a:gd name="T32" fmla="*/ 7 w 162"/>
              <a:gd name="T33" fmla="*/ 45 h 149"/>
              <a:gd name="T34" fmla="*/ 7 w 162"/>
              <a:gd name="T35" fmla="*/ 45 h 149"/>
              <a:gd name="T36" fmla="*/ 45 w 162"/>
              <a:gd name="T37" fmla="*/ 6 h 149"/>
              <a:gd name="T38" fmla="*/ 78 w 162"/>
              <a:gd name="T39" fmla="*/ 29 h 149"/>
              <a:gd name="T40" fmla="*/ 81 w 162"/>
              <a:gd name="T41" fmla="*/ 36 h 149"/>
              <a:gd name="T42" fmla="*/ 83 w 162"/>
              <a:gd name="T43" fmla="*/ 29 h 149"/>
              <a:gd name="T44" fmla="*/ 117 w 162"/>
              <a:gd name="T45" fmla="*/ 6 h 149"/>
              <a:gd name="T46" fmla="*/ 155 w 162"/>
              <a:gd name="T47" fmla="*/ 45 h 149"/>
              <a:gd name="T48" fmla="*/ 153 w 162"/>
              <a:gd name="T49" fmla="*/ 60 h 149"/>
              <a:gd name="T50" fmla="*/ 53 w 162"/>
              <a:gd name="T51" fmla="*/ 22 h 149"/>
              <a:gd name="T52" fmla="*/ 50 w 162"/>
              <a:gd name="T53" fmla="*/ 25 h 149"/>
              <a:gd name="T54" fmla="*/ 26 w 162"/>
              <a:gd name="T55" fmla="*/ 49 h 149"/>
              <a:gd name="T56" fmla="*/ 23 w 162"/>
              <a:gd name="T57" fmla="*/ 53 h 149"/>
              <a:gd name="T58" fmla="*/ 19 w 162"/>
              <a:gd name="T59" fmla="*/ 49 h 149"/>
              <a:gd name="T60" fmla="*/ 50 w 162"/>
              <a:gd name="T61" fmla="*/ 19 h 149"/>
              <a:gd name="T62" fmla="*/ 53 w 162"/>
              <a:gd name="T63" fmla="*/ 2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2" h="149">
                <a:moveTo>
                  <a:pt x="161" y="44"/>
                </a:moveTo>
                <a:cubicBezTo>
                  <a:pt x="158" y="19"/>
                  <a:pt x="140" y="0"/>
                  <a:pt x="117" y="0"/>
                </a:cubicBezTo>
                <a:cubicBezTo>
                  <a:pt x="102" y="0"/>
                  <a:pt x="88" y="8"/>
                  <a:pt x="81" y="21"/>
                </a:cubicBezTo>
                <a:cubicBezTo>
                  <a:pt x="73" y="8"/>
                  <a:pt x="59" y="0"/>
                  <a:pt x="45" y="0"/>
                </a:cubicBezTo>
                <a:cubicBezTo>
                  <a:pt x="22" y="0"/>
                  <a:pt x="4" y="19"/>
                  <a:pt x="1" y="44"/>
                </a:cubicBezTo>
                <a:cubicBezTo>
                  <a:pt x="1" y="45"/>
                  <a:pt x="0" y="51"/>
                  <a:pt x="3" y="61"/>
                </a:cubicBezTo>
                <a:cubicBezTo>
                  <a:pt x="6" y="75"/>
                  <a:pt x="14" y="88"/>
                  <a:pt x="25" y="98"/>
                </a:cubicBezTo>
                <a:cubicBezTo>
                  <a:pt x="81" y="149"/>
                  <a:pt x="81" y="149"/>
                  <a:pt x="81" y="149"/>
                </a:cubicBezTo>
                <a:cubicBezTo>
                  <a:pt x="137" y="98"/>
                  <a:pt x="137" y="98"/>
                  <a:pt x="137" y="98"/>
                </a:cubicBezTo>
                <a:cubicBezTo>
                  <a:pt x="148" y="88"/>
                  <a:pt x="156" y="75"/>
                  <a:pt x="159" y="61"/>
                </a:cubicBezTo>
                <a:cubicBezTo>
                  <a:pt x="162" y="51"/>
                  <a:pt x="161" y="45"/>
                  <a:pt x="161" y="44"/>
                </a:cubicBezTo>
                <a:close/>
                <a:moveTo>
                  <a:pt x="153" y="60"/>
                </a:moveTo>
                <a:cubicBezTo>
                  <a:pt x="150" y="73"/>
                  <a:pt x="143" y="84"/>
                  <a:pt x="133" y="94"/>
                </a:cubicBezTo>
                <a:cubicBezTo>
                  <a:pt x="81" y="140"/>
                  <a:pt x="81" y="140"/>
                  <a:pt x="81" y="140"/>
                </a:cubicBezTo>
                <a:cubicBezTo>
                  <a:pt x="29" y="94"/>
                  <a:pt x="29" y="94"/>
                  <a:pt x="29" y="94"/>
                </a:cubicBezTo>
                <a:cubicBezTo>
                  <a:pt x="19" y="84"/>
                  <a:pt x="12" y="73"/>
                  <a:pt x="9" y="60"/>
                </a:cubicBezTo>
                <a:cubicBezTo>
                  <a:pt x="6" y="51"/>
                  <a:pt x="7" y="45"/>
                  <a:pt x="7" y="45"/>
                </a:cubicBezTo>
                <a:cubicBezTo>
                  <a:pt x="7" y="45"/>
                  <a:pt x="7" y="45"/>
                  <a:pt x="7" y="45"/>
                </a:cubicBezTo>
                <a:cubicBezTo>
                  <a:pt x="9" y="23"/>
                  <a:pt x="25" y="6"/>
                  <a:pt x="45" y="6"/>
                </a:cubicBezTo>
                <a:cubicBezTo>
                  <a:pt x="59" y="6"/>
                  <a:pt x="72" y="15"/>
                  <a:pt x="78" y="29"/>
                </a:cubicBezTo>
                <a:cubicBezTo>
                  <a:pt x="81" y="36"/>
                  <a:pt x="81" y="36"/>
                  <a:pt x="81" y="36"/>
                </a:cubicBezTo>
                <a:cubicBezTo>
                  <a:pt x="83" y="29"/>
                  <a:pt x="83" y="29"/>
                  <a:pt x="83" y="29"/>
                </a:cubicBezTo>
                <a:cubicBezTo>
                  <a:pt x="89" y="15"/>
                  <a:pt x="103" y="6"/>
                  <a:pt x="117" y="6"/>
                </a:cubicBezTo>
                <a:cubicBezTo>
                  <a:pt x="137" y="6"/>
                  <a:pt x="153" y="23"/>
                  <a:pt x="155" y="45"/>
                </a:cubicBezTo>
                <a:cubicBezTo>
                  <a:pt x="155" y="45"/>
                  <a:pt x="156" y="51"/>
                  <a:pt x="153" y="60"/>
                </a:cubicBezTo>
                <a:close/>
                <a:moveTo>
                  <a:pt x="53" y="22"/>
                </a:moveTo>
                <a:cubicBezTo>
                  <a:pt x="53" y="23"/>
                  <a:pt x="52" y="25"/>
                  <a:pt x="50" y="25"/>
                </a:cubicBezTo>
                <a:cubicBezTo>
                  <a:pt x="37" y="25"/>
                  <a:pt x="26" y="36"/>
                  <a:pt x="26" y="49"/>
                </a:cubicBezTo>
                <a:cubicBezTo>
                  <a:pt x="26" y="51"/>
                  <a:pt x="24" y="53"/>
                  <a:pt x="23" y="53"/>
                </a:cubicBezTo>
                <a:cubicBezTo>
                  <a:pt x="21" y="53"/>
                  <a:pt x="19" y="51"/>
                  <a:pt x="19" y="49"/>
                </a:cubicBezTo>
                <a:cubicBezTo>
                  <a:pt x="19" y="33"/>
                  <a:pt x="33" y="19"/>
                  <a:pt x="50" y="19"/>
                </a:cubicBezTo>
                <a:cubicBezTo>
                  <a:pt x="52" y="19"/>
                  <a:pt x="53" y="20"/>
                  <a:pt x="53" y="22"/>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2134">
            <a:extLst>
              <a:ext uri="{FF2B5EF4-FFF2-40B4-BE49-F238E27FC236}">
                <a16:creationId xmlns:a16="http://schemas.microsoft.com/office/drawing/2014/main" id="{9DD7BF96-64DE-694E-9466-7F29FCCBC4D9}"/>
              </a:ext>
            </a:extLst>
          </p:cNvPr>
          <p:cNvSpPr>
            <a:spLocks noEditPoints="1"/>
          </p:cNvSpPr>
          <p:nvPr/>
        </p:nvSpPr>
        <p:spPr bwMode="auto">
          <a:xfrm>
            <a:off x="6357934" y="4081463"/>
            <a:ext cx="519113" cy="550863"/>
          </a:xfrm>
          <a:custGeom>
            <a:avLst/>
            <a:gdLst>
              <a:gd name="T0" fmla="*/ 8 w 152"/>
              <a:gd name="T1" fmla="*/ 132 h 160"/>
              <a:gd name="T2" fmla="*/ 36 w 152"/>
              <a:gd name="T3" fmla="*/ 132 h 160"/>
              <a:gd name="T4" fmla="*/ 22 w 152"/>
              <a:gd name="T5" fmla="*/ 141 h 160"/>
              <a:gd name="T6" fmla="*/ 22 w 152"/>
              <a:gd name="T7" fmla="*/ 124 h 160"/>
              <a:gd name="T8" fmla="*/ 22 w 152"/>
              <a:gd name="T9" fmla="*/ 141 h 160"/>
              <a:gd name="T10" fmla="*/ 144 w 152"/>
              <a:gd name="T11" fmla="*/ 85 h 160"/>
              <a:gd name="T12" fmla="*/ 135 w 152"/>
              <a:gd name="T13" fmla="*/ 61 h 160"/>
              <a:gd name="T14" fmla="*/ 98 w 152"/>
              <a:gd name="T15" fmla="*/ 51 h 160"/>
              <a:gd name="T16" fmla="*/ 79 w 152"/>
              <a:gd name="T17" fmla="*/ 0 h 160"/>
              <a:gd name="T18" fmla="*/ 66 w 152"/>
              <a:gd name="T19" fmla="*/ 19 h 160"/>
              <a:gd name="T20" fmla="*/ 47 w 152"/>
              <a:gd name="T21" fmla="*/ 61 h 160"/>
              <a:gd name="T22" fmla="*/ 44 w 152"/>
              <a:gd name="T23" fmla="*/ 55 h 160"/>
              <a:gd name="T24" fmla="*/ 0 w 152"/>
              <a:gd name="T25" fmla="*/ 160 h 160"/>
              <a:gd name="T26" fmla="*/ 44 w 152"/>
              <a:gd name="T27" fmla="*/ 154 h 160"/>
              <a:gd name="T28" fmla="*/ 135 w 152"/>
              <a:gd name="T29" fmla="*/ 141 h 160"/>
              <a:gd name="T30" fmla="*/ 143 w 152"/>
              <a:gd name="T31" fmla="*/ 119 h 160"/>
              <a:gd name="T32" fmla="*/ 152 w 152"/>
              <a:gd name="T33" fmla="*/ 97 h 160"/>
              <a:gd name="T34" fmla="*/ 6 w 152"/>
              <a:gd name="T35" fmla="*/ 61 h 160"/>
              <a:gd name="T36" fmla="*/ 39 w 152"/>
              <a:gd name="T37" fmla="*/ 154 h 160"/>
              <a:gd name="T38" fmla="*/ 138 w 152"/>
              <a:gd name="T39" fmla="*/ 105 h 160"/>
              <a:gd name="T40" fmla="*/ 108 w 152"/>
              <a:gd name="T41" fmla="*/ 105 h 160"/>
              <a:gd name="T42" fmla="*/ 108 w 152"/>
              <a:gd name="T43" fmla="*/ 110 h 160"/>
              <a:gd name="T44" fmla="*/ 138 w 152"/>
              <a:gd name="T45" fmla="*/ 119 h 160"/>
              <a:gd name="T46" fmla="*/ 124 w 152"/>
              <a:gd name="T47" fmla="*/ 127 h 160"/>
              <a:gd name="T48" fmla="*/ 102 w 152"/>
              <a:gd name="T49" fmla="*/ 127 h 160"/>
              <a:gd name="T50" fmla="*/ 102 w 152"/>
              <a:gd name="T51" fmla="*/ 132 h 160"/>
              <a:gd name="T52" fmla="*/ 130 w 152"/>
              <a:gd name="T53" fmla="*/ 141 h 160"/>
              <a:gd name="T54" fmla="*/ 44 w 152"/>
              <a:gd name="T55" fmla="*/ 149 h 160"/>
              <a:gd name="T56" fmla="*/ 47 w 152"/>
              <a:gd name="T57" fmla="*/ 66 h 160"/>
              <a:gd name="T58" fmla="*/ 72 w 152"/>
              <a:gd name="T59" fmla="*/ 19 h 160"/>
              <a:gd name="T60" fmla="*/ 79 w 152"/>
              <a:gd name="T61" fmla="*/ 6 h 160"/>
              <a:gd name="T62" fmla="*/ 92 w 152"/>
              <a:gd name="T63" fmla="*/ 50 h 160"/>
              <a:gd name="T64" fmla="*/ 135 w 152"/>
              <a:gd name="T65" fmla="*/ 66 h 160"/>
              <a:gd name="T66" fmla="*/ 135 w 152"/>
              <a:gd name="T67" fmla="*/ 83 h 160"/>
              <a:gd name="T68" fmla="*/ 127 w 152"/>
              <a:gd name="T69" fmla="*/ 83 h 160"/>
              <a:gd name="T70" fmla="*/ 105 w 152"/>
              <a:gd name="T71" fmla="*/ 86 h 160"/>
              <a:gd name="T72" fmla="*/ 127 w 152"/>
              <a:gd name="T73" fmla="*/ 88 h 160"/>
              <a:gd name="T74" fmla="*/ 146 w 152"/>
              <a:gd name="T75" fmla="*/ 9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60">
                <a:moveTo>
                  <a:pt x="22" y="119"/>
                </a:moveTo>
                <a:cubicBezTo>
                  <a:pt x="14" y="119"/>
                  <a:pt x="8" y="125"/>
                  <a:pt x="8" y="132"/>
                </a:cubicBezTo>
                <a:cubicBezTo>
                  <a:pt x="8" y="140"/>
                  <a:pt x="14" y="146"/>
                  <a:pt x="22" y="146"/>
                </a:cubicBezTo>
                <a:cubicBezTo>
                  <a:pt x="30" y="146"/>
                  <a:pt x="36" y="140"/>
                  <a:pt x="36" y="132"/>
                </a:cubicBezTo>
                <a:cubicBezTo>
                  <a:pt x="36" y="125"/>
                  <a:pt x="30" y="119"/>
                  <a:pt x="22" y="119"/>
                </a:cubicBezTo>
                <a:close/>
                <a:moveTo>
                  <a:pt x="22" y="141"/>
                </a:moveTo>
                <a:cubicBezTo>
                  <a:pt x="18" y="141"/>
                  <a:pt x="14" y="137"/>
                  <a:pt x="14" y="132"/>
                </a:cubicBezTo>
                <a:cubicBezTo>
                  <a:pt x="14" y="128"/>
                  <a:pt x="18" y="124"/>
                  <a:pt x="22" y="124"/>
                </a:cubicBezTo>
                <a:cubicBezTo>
                  <a:pt x="27" y="124"/>
                  <a:pt x="30" y="128"/>
                  <a:pt x="30" y="132"/>
                </a:cubicBezTo>
                <a:cubicBezTo>
                  <a:pt x="30" y="137"/>
                  <a:pt x="27" y="141"/>
                  <a:pt x="22" y="141"/>
                </a:cubicBezTo>
                <a:close/>
                <a:moveTo>
                  <a:pt x="152" y="97"/>
                </a:moveTo>
                <a:cubicBezTo>
                  <a:pt x="152" y="90"/>
                  <a:pt x="148" y="86"/>
                  <a:pt x="144" y="85"/>
                </a:cubicBezTo>
                <a:cubicBezTo>
                  <a:pt x="147" y="82"/>
                  <a:pt x="149" y="79"/>
                  <a:pt x="149" y="74"/>
                </a:cubicBezTo>
                <a:cubicBezTo>
                  <a:pt x="149" y="67"/>
                  <a:pt x="143" y="61"/>
                  <a:pt x="135" y="61"/>
                </a:cubicBezTo>
                <a:cubicBezTo>
                  <a:pt x="96" y="61"/>
                  <a:pt x="96" y="61"/>
                  <a:pt x="96" y="61"/>
                </a:cubicBezTo>
                <a:cubicBezTo>
                  <a:pt x="98" y="51"/>
                  <a:pt x="98" y="51"/>
                  <a:pt x="98" y="51"/>
                </a:cubicBezTo>
                <a:cubicBezTo>
                  <a:pt x="100" y="39"/>
                  <a:pt x="98" y="24"/>
                  <a:pt x="98" y="20"/>
                </a:cubicBezTo>
                <a:cubicBezTo>
                  <a:pt x="96" y="11"/>
                  <a:pt x="88" y="0"/>
                  <a:pt x="79" y="0"/>
                </a:cubicBezTo>
                <a:cubicBezTo>
                  <a:pt x="78" y="0"/>
                  <a:pt x="78" y="0"/>
                  <a:pt x="78" y="0"/>
                </a:cubicBezTo>
                <a:cubicBezTo>
                  <a:pt x="74" y="0"/>
                  <a:pt x="66" y="3"/>
                  <a:pt x="66" y="19"/>
                </a:cubicBezTo>
                <a:cubicBezTo>
                  <a:pt x="66" y="41"/>
                  <a:pt x="61" y="52"/>
                  <a:pt x="56" y="56"/>
                </a:cubicBezTo>
                <a:cubicBezTo>
                  <a:pt x="52" y="61"/>
                  <a:pt x="47" y="61"/>
                  <a:pt x="47" y="61"/>
                </a:cubicBezTo>
                <a:cubicBezTo>
                  <a:pt x="44" y="61"/>
                  <a:pt x="44" y="61"/>
                  <a:pt x="44" y="61"/>
                </a:cubicBezTo>
                <a:cubicBezTo>
                  <a:pt x="44" y="55"/>
                  <a:pt x="44" y="55"/>
                  <a:pt x="44" y="55"/>
                </a:cubicBezTo>
                <a:cubicBezTo>
                  <a:pt x="0" y="55"/>
                  <a:pt x="0" y="55"/>
                  <a:pt x="0" y="55"/>
                </a:cubicBezTo>
                <a:cubicBezTo>
                  <a:pt x="0" y="160"/>
                  <a:pt x="0" y="160"/>
                  <a:pt x="0" y="160"/>
                </a:cubicBezTo>
                <a:cubicBezTo>
                  <a:pt x="44" y="160"/>
                  <a:pt x="44" y="160"/>
                  <a:pt x="44" y="160"/>
                </a:cubicBezTo>
                <a:cubicBezTo>
                  <a:pt x="44" y="154"/>
                  <a:pt x="44" y="154"/>
                  <a:pt x="44" y="154"/>
                </a:cubicBezTo>
                <a:cubicBezTo>
                  <a:pt x="121" y="154"/>
                  <a:pt x="121" y="154"/>
                  <a:pt x="121" y="154"/>
                </a:cubicBezTo>
                <a:cubicBezTo>
                  <a:pt x="129" y="154"/>
                  <a:pt x="135" y="148"/>
                  <a:pt x="135" y="141"/>
                </a:cubicBezTo>
                <a:cubicBezTo>
                  <a:pt x="135" y="137"/>
                  <a:pt x="134" y="135"/>
                  <a:pt x="132" y="132"/>
                </a:cubicBezTo>
                <a:cubicBezTo>
                  <a:pt x="139" y="131"/>
                  <a:pt x="143" y="125"/>
                  <a:pt x="143" y="119"/>
                </a:cubicBezTo>
                <a:cubicBezTo>
                  <a:pt x="143" y="115"/>
                  <a:pt x="142" y="112"/>
                  <a:pt x="141" y="110"/>
                </a:cubicBezTo>
                <a:cubicBezTo>
                  <a:pt x="147" y="109"/>
                  <a:pt x="152" y="103"/>
                  <a:pt x="152" y="97"/>
                </a:cubicBezTo>
                <a:close/>
                <a:moveTo>
                  <a:pt x="6" y="154"/>
                </a:moveTo>
                <a:cubicBezTo>
                  <a:pt x="6" y="61"/>
                  <a:pt x="6" y="61"/>
                  <a:pt x="6" y="61"/>
                </a:cubicBezTo>
                <a:cubicBezTo>
                  <a:pt x="39" y="61"/>
                  <a:pt x="39" y="61"/>
                  <a:pt x="39" y="61"/>
                </a:cubicBezTo>
                <a:cubicBezTo>
                  <a:pt x="39" y="154"/>
                  <a:pt x="39" y="154"/>
                  <a:pt x="39" y="154"/>
                </a:cubicBezTo>
                <a:lnTo>
                  <a:pt x="6" y="154"/>
                </a:lnTo>
                <a:close/>
                <a:moveTo>
                  <a:pt x="138" y="105"/>
                </a:moveTo>
                <a:cubicBezTo>
                  <a:pt x="130" y="105"/>
                  <a:pt x="130" y="105"/>
                  <a:pt x="130" y="105"/>
                </a:cubicBezTo>
                <a:cubicBezTo>
                  <a:pt x="108" y="105"/>
                  <a:pt x="108" y="105"/>
                  <a:pt x="108" y="105"/>
                </a:cubicBezTo>
                <a:cubicBezTo>
                  <a:pt x="106" y="105"/>
                  <a:pt x="105" y="106"/>
                  <a:pt x="105" y="108"/>
                </a:cubicBezTo>
                <a:cubicBezTo>
                  <a:pt x="105" y="109"/>
                  <a:pt x="106" y="110"/>
                  <a:pt x="108" y="110"/>
                </a:cubicBezTo>
                <a:cubicBezTo>
                  <a:pt x="130" y="110"/>
                  <a:pt x="130" y="110"/>
                  <a:pt x="130" y="110"/>
                </a:cubicBezTo>
                <a:cubicBezTo>
                  <a:pt x="134" y="110"/>
                  <a:pt x="138" y="114"/>
                  <a:pt x="138" y="119"/>
                </a:cubicBezTo>
                <a:cubicBezTo>
                  <a:pt x="138" y="123"/>
                  <a:pt x="134" y="127"/>
                  <a:pt x="130" y="127"/>
                </a:cubicBezTo>
                <a:cubicBezTo>
                  <a:pt x="124" y="127"/>
                  <a:pt x="124" y="127"/>
                  <a:pt x="124" y="127"/>
                </a:cubicBezTo>
                <a:cubicBezTo>
                  <a:pt x="121" y="127"/>
                  <a:pt x="121" y="127"/>
                  <a:pt x="121" y="127"/>
                </a:cubicBezTo>
                <a:cubicBezTo>
                  <a:pt x="102" y="127"/>
                  <a:pt x="102" y="127"/>
                  <a:pt x="102" y="127"/>
                </a:cubicBezTo>
                <a:cubicBezTo>
                  <a:pt x="101" y="127"/>
                  <a:pt x="99" y="128"/>
                  <a:pt x="99" y="130"/>
                </a:cubicBezTo>
                <a:cubicBezTo>
                  <a:pt x="99" y="131"/>
                  <a:pt x="101" y="132"/>
                  <a:pt x="102" y="132"/>
                </a:cubicBezTo>
                <a:cubicBezTo>
                  <a:pt x="121" y="132"/>
                  <a:pt x="121" y="132"/>
                  <a:pt x="121" y="132"/>
                </a:cubicBezTo>
                <a:cubicBezTo>
                  <a:pt x="126" y="132"/>
                  <a:pt x="130" y="136"/>
                  <a:pt x="130" y="141"/>
                </a:cubicBezTo>
                <a:cubicBezTo>
                  <a:pt x="130" y="145"/>
                  <a:pt x="126" y="149"/>
                  <a:pt x="121" y="149"/>
                </a:cubicBezTo>
                <a:cubicBezTo>
                  <a:pt x="44" y="149"/>
                  <a:pt x="44" y="149"/>
                  <a:pt x="44" y="149"/>
                </a:cubicBezTo>
                <a:cubicBezTo>
                  <a:pt x="44" y="66"/>
                  <a:pt x="44" y="66"/>
                  <a:pt x="44" y="66"/>
                </a:cubicBezTo>
                <a:cubicBezTo>
                  <a:pt x="47" y="66"/>
                  <a:pt x="47" y="66"/>
                  <a:pt x="47" y="66"/>
                </a:cubicBezTo>
                <a:cubicBezTo>
                  <a:pt x="47" y="66"/>
                  <a:pt x="53" y="66"/>
                  <a:pt x="60" y="60"/>
                </a:cubicBezTo>
                <a:cubicBezTo>
                  <a:pt x="68" y="53"/>
                  <a:pt x="72" y="39"/>
                  <a:pt x="72" y="19"/>
                </a:cubicBezTo>
                <a:cubicBezTo>
                  <a:pt x="72" y="14"/>
                  <a:pt x="73" y="6"/>
                  <a:pt x="78" y="6"/>
                </a:cubicBezTo>
                <a:cubicBezTo>
                  <a:pt x="79" y="6"/>
                  <a:pt x="79" y="6"/>
                  <a:pt x="79" y="6"/>
                </a:cubicBezTo>
                <a:cubicBezTo>
                  <a:pt x="85" y="6"/>
                  <a:pt x="91" y="14"/>
                  <a:pt x="92" y="21"/>
                </a:cubicBezTo>
                <a:cubicBezTo>
                  <a:pt x="93" y="25"/>
                  <a:pt x="95" y="38"/>
                  <a:pt x="92" y="50"/>
                </a:cubicBezTo>
                <a:cubicBezTo>
                  <a:pt x="89" y="66"/>
                  <a:pt x="89" y="66"/>
                  <a:pt x="89" y="66"/>
                </a:cubicBezTo>
                <a:cubicBezTo>
                  <a:pt x="135" y="66"/>
                  <a:pt x="135" y="66"/>
                  <a:pt x="135" y="66"/>
                </a:cubicBezTo>
                <a:cubicBezTo>
                  <a:pt x="140" y="66"/>
                  <a:pt x="143" y="70"/>
                  <a:pt x="143" y="74"/>
                </a:cubicBezTo>
                <a:cubicBezTo>
                  <a:pt x="143" y="79"/>
                  <a:pt x="140" y="83"/>
                  <a:pt x="135" y="83"/>
                </a:cubicBezTo>
                <a:cubicBezTo>
                  <a:pt x="130" y="83"/>
                  <a:pt x="130" y="83"/>
                  <a:pt x="130" y="83"/>
                </a:cubicBezTo>
                <a:cubicBezTo>
                  <a:pt x="127" y="83"/>
                  <a:pt x="127" y="83"/>
                  <a:pt x="127" y="83"/>
                </a:cubicBezTo>
                <a:cubicBezTo>
                  <a:pt x="108" y="83"/>
                  <a:pt x="108" y="83"/>
                  <a:pt x="108" y="83"/>
                </a:cubicBezTo>
                <a:cubicBezTo>
                  <a:pt x="106" y="83"/>
                  <a:pt x="105" y="84"/>
                  <a:pt x="105" y="86"/>
                </a:cubicBezTo>
                <a:cubicBezTo>
                  <a:pt x="105" y="87"/>
                  <a:pt x="106" y="88"/>
                  <a:pt x="108" y="88"/>
                </a:cubicBezTo>
                <a:cubicBezTo>
                  <a:pt x="127" y="88"/>
                  <a:pt x="127" y="88"/>
                  <a:pt x="127" y="88"/>
                </a:cubicBezTo>
                <a:cubicBezTo>
                  <a:pt x="129" y="88"/>
                  <a:pt x="135" y="88"/>
                  <a:pt x="138" y="89"/>
                </a:cubicBezTo>
                <a:cubicBezTo>
                  <a:pt x="145" y="90"/>
                  <a:pt x="146" y="93"/>
                  <a:pt x="146" y="97"/>
                </a:cubicBezTo>
                <a:cubicBezTo>
                  <a:pt x="146" y="101"/>
                  <a:pt x="142" y="105"/>
                  <a:pt x="138" y="105"/>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2135">
            <a:extLst>
              <a:ext uri="{FF2B5EF4-FFF2-40B4-BE49-F238E27FC236}">
                <a16:creationId xmlns:a16="http://schemas.microsoft.com/office/drawing/2014/main" id="{4FE1D9BD-2698-9140-9670-7C96A0D4EA42}"/>
              </a:ext>
            </a:extLst>
          </p:cNvPr>
          <p:cNvSpPr>
            <a:spLocks noEditPoints="1"/>
          </p:cNvSpPr>
          <p:nvPr/>
        </p:nvSpPr>
        <p:spPr bwMode="auto">
          <a:xfrm>
            <a:off x="6334121" y="4689475"/>
            <a:ext cx="566738" cy="561975"/>
          </a:xfrm>
          <a:custGeom>
            <a:avLst/>
            <a:gdLst>
              <a:gd name="T0" fmla="*/ 153 w 166"/>
              <a:gd name="T1" fmla="*/ 13 h 163"/>
              <a:gd name="T2" fmla="*/ 106 w 166"/>
              <a:gd name="T3" fmla="*/ 13 h 163"/>
              <a:gd name="T4" fmla="*/ 81 w 166"/>
              <a:gd name="T5" fmla="*/ 38 h 163"/>
              <a:gd name="T6" fmla="*/ 74 w 166"/>
              <a:gd name="T7" fmla="*/ 74 h 163"/>
              <a:gd name="T8" fmla="*/ 61 w 166"/>
              <a:gd name="T9" fmla="*/ 71 h 163"/>
              <a:gd name="T10" fmla="*/ 38 w 166"/>
              <a:gd name="T11" fmla="*/ 81 h 163"/>
              <a:gd name="T12" fmla="*/ 13 w 166"/>
              <a:gd name="T13" fmla="*/ 106 h 163"/>
              <a:gd name="T14" fmla="*/ 13 w 166"/>
              <a:gd name="T15" fmla="*/ 153 h 163"/>
              <a:gd name="T16" fmla="*/ 36 w 166"/>
              <a:gd name="T17" fmla="*/ 163 h 163"/>
              <a:gd name="T18" fmla="*/ 60 w 166"/>
              <a:gd name="T19" fmla="*/ 153 h 163"/>
              <a:gd name="T20" fmla="*/ 85 w 166"/>
              <a:gd name="T21" fmla="*/ 128 h 163"/>
              <a:gd name="T22" fmla="*/ 92 w 166"/>
              <a:gd name="T23" fmla="*/ 92 h 163"/>
              <a:gd name="T24" fmla="*/ 105 w 166"/>
              <a:gd name="T25" fmla="*/ 95 h 163"/>
              <a:gd name="T26" fmla="*/ 128 w 166"/>
              <a:gd name="T27" fmla="*/ 85 h 163"/>
              <a:gd name="T28" fmla="*/ 153 w 166"/>
              <a:gd name="T29" fmla="*/ 60 h 163"/>
              <a:gd name="T30" fmla="*/ 153 w 166"/>
              <a:gd name="T31" fmla="*/ 13 h 163"/>
              <a:gd name="T32" fmla="*/ 81 w 166"/>
              <a:gd name="T33" fmla="*/ 124 h 163"/>
              <a:gd name="T34" fmla="*/ 56 w 166"/>
              <a:gd name="T35" fmla="*/ 149 h 163"/>
              <a:gd name="T36" fmla="*/ 17 w 166"/>
              <a:gd name="T37" fmla="*/ 149 h 163"/>
              <a:gd name="T38" fmla="*/ 17 w 166"/>
              <a:gd name="T39" fmla="*/ 110 h 163"/>
              <a:gd name="T40" fmla="*/ 42 w 166"/>
              <a:gd name="T41" fmla="*/ 85 h 163"/>
              <a:gd name="T42" fmla="*/ 61 w 166"/>
              <a:gd name="T43" fmla="*/ 77 h 163"/>
              <a:gd name="T44" fmla="*/ 79 w 166"/>
              <a:gd name="T45" fmla="*/ 83 h 163"/>
              <a:gd name="T46" fmla="*/ 55 w 166"/>
              <a:gd name="T47" fmla="*/ 107 h 163"/>
              <a:gd name="T48" fmla="*/ 55 w 166"/>
              <a:gd name="T49" fmla="*/ 111 h 163"/>
              <a:gd name="T50" fmla="*/ 57 w 166"/>
              <a:gd name="T51" fmla="*/ 112 h 163"/>
              <a:gd name="T52" fmla="*/ 59 w 166"/>
              <a:gd name="T53" fmla="*/ 111 h 163"/>
              <a:gd name="T54" fmla="*/ 83 w 166"/>
              <a:gd name="T55" fmla="*/ 87 h 163"/>
              <a:gd name="T56" fmla="*/ 81 w 166"/>
              <a:gd name="T57" fmla="*/ 124 h 163"/>
              <a:gd name="T58" fmla="*/ 149 w 166"/>
              <a:gd name="T59" fmla="*/ 56 h 163"/>
              <a:gd name="T60" fmla="*/ 124 w 166"/>
              <a:gd name="T61" fmla="*/ 81 h 163"/>
              <a:gd name="T62" fmla="*/ 105 w 166"/>
              <a:gd name="T63" fmla="*/ 89 h 163"/>
              <a:gd name="T64" fmla="*/ 87 w 166"/>
              <a:gd name="T65" fmla="*/ 83 h 163"/>
              <a:gd name="T66" fmla="*/ 111 w 166"/>
              <a:gd name="T67" fmla="*/ 59 h 163"/>
              <a:gd name="T68" fmla="*/ 111 w 166"/>
              <a:gd name="T69" fmla="*/ 55 h 163"/>
              <a:gd name="T70" fmla="*/ 107 w 166"/>
              <a:gd name="T71" fmla="*/ 55 h 163"/>
              <a:gd name="T72" fmla="*/ 83 w 166"/>
              <a:gd name="T73" fmla="*/ 79 h 163"/>
              <a:gd name="T74" fmla="*/ 85 w 166"/>
              <a:gd name="T75" fmla="*/ 42 h 163"/>
              <a:gd name="T76" fmla="*/ 110 w 166"/>
              <a:gd name="T77" fmla="*/ 17 h 163"/>
              <a:gd name="T78" fmla="*/ 130 w 166"/>
              <a:gd name="T79" fmla="*/ 9 h 163"/>
              <a:gd name="T80" fmla="*/ 149 w 166"/>
              <a:gd name="T81" fmla="*/ 17 h 163"/>
              <a:gd name="T82" fmla="*/ 149 w 166"/>
              <a:gd name="T83" fmla="*/ 5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6" h="163">
                <a:moveTo>
                  <a:pt x="153" y="13"/>
                </a:moveTo>
                <a:cubicBezTo>
                  <a:pt x="140" y="0"/>
                  <a:pt x="119" y="0"/>
                  <a:pt x="106" y="13"/>
                </a:cubicBezTo>
                <a:cubicBezTo>
                  <a:pt x="81" y="38"/>
                  <a:pt x="81" y="38"/>
                  <a:pt x="81" y="38"/>
                </a:cubicBezTo>
                <a:cubicBezTo>
                  <a:pt x="71" y="48"/>
                  <a:pt x="69" y="62"/>
                  <a:pt x="74" y="74"/>
                </a:cubicBezTo>
                <a:cubicBezTo>
                  <a:pt x="70" y="72"/>
                  <a:pt x="66" y="71"/>
                  <a:pt x="61" y="71"/>
                </a:cubicBezTo>
                <a:cubicBezTo>
                  <a:pt x="53" y="71"/>
                  <a:pt x="44" y="75"/>
                  <a:pt x="38" y="81"/>
                </a:cubicBezTo>
                <a:cubicBezTo>
                  <a:pt x="13" y="106"/>
                  <a:pt x="13" y="106"/>
                  <a:pt x="13" y="106"/>
                </a:cubicBezTo>
                <a:cubicBezTo>
                  <a:pt x="0" y="119"/>
                  <a:pt x="0" y="140"/>
                  <a:pt x="13" y="153"/>
                </a:cubicBezTo>
                <a:cubicBezTo>
                  <a:pt x="19" y="160"/>
                  <a:pt x="28" y="163"/>
                  <a:pt x="36" y="163"/>
                </a:cubicBezTo>
                <a:cubicBezTo>
                  <a:pt x="45" y="163"/>
                  <a:pt x="53" y="160"/>
                  <a:pt x="60" y="153"/>
                </a:cubicBezTo>
                <a:cubicBezTo>
                  <a:pt x="85" y="128"/>
                  <a:pt x="85" y="128"/>
                  <a:pt x="85" y="128"/>
                </a:cubicBezTo>
                <a:cubicBezTo>
                  <a:pt x="95" y="118"/>
                  <a:pt x="97" y="104"/>
                  <a:pt x="92" y="92"/>
                </a:cubicBezTo>
                <a:cubicBezTo>
                  <a:pt x="96" y="94"/>
                  <a:pt x="100" y="95"/>
                  <a:pt x="105" y="95"/>
                </a:cubicBezTo>
                <a:cubicBezTo>
                  <a:pt x="113" y="95"/>
                  <a:pt x="122" y="91"/>
                  <a:pt x="128" y="85"/>
                </a:cubicBezTo>
                <a:cubicBezTo>
                  <a:pt x="153" y="60"/>
                  <a:pt x="153" y="60"/>
                  <a:pt x="153" y="60"/>
                </a:cubicBezTo>
                <a:cubicBezTo>
                  <a:pt x="166" y="47"/>
                  <a:pt x="166" y="26"/>
                  <a:pt x="153" y="13"/>
                </a:cubicBezTo>
                <a:close/>
                <a:moveTo>
                  <a:pt x="81" y="124"/>
                </a:moveTo>
                <a:cubicBezTo>
                  <a:pt x="56" y="149"/>
                  <a:pt x="56" y="149"/>
                  <a:pt x="56" y="149"/>
                </a:cubicBezTo>
                <a:cubicBezTo>
                  <a:pt x="45" y="160"/>
                  <a:pt x="27" y="160"/>
                  <a:pt x="17" y="149"/>
                </a:cubicBezTo>
                <a:cubicBezTo>
                  <a:pt x="6" y="139"/>
                  <a:pt x="6" y="121"/>
                  <a:pt x="17" y="110"/>
                </a:cubicBezTo>
                <a:cubicBezTo>
                  <a:pt x="42" y="85"/>
                  <a:pt x="42" y="85"/>
                  <a:pt x="42" y="85"/>
                </a:cubicBezTo>
                <a:cubicBezTo>
                  <a:pt x="47" y="80"/>
                  <a:pt x="54" y="77"/>
                  <a:pt x="61" y="77"/>
                </a:cubicBezTo>
                <a:cubicBezTo>
                  <a:pt x="68" y="77"/>
                  <a:pt x="74" y="79"/>
                  <a:pt x="79" y="83"/>
                </a:cubicBezTo>
                <a:cubicBezTo>
                  <a:pt x="55" y="107"/>
                  <a:pt x="55" y="107"/>
                  <a:pt x="55" y="107"/>
                </a:cubicBezTo>
                <a:cubicBezTo>
                  <a:pt x="54" y="108"/>
                  <a:pt x="54" y="110"/>
                  <a:pt x="55" y="111"/>
                </a:cubicBezTo>
                <a:cubicBezTo>
                  <a:pt x="56" y="111"/>
                  <a:pt x="56" y="112"/>
                  <a:pt x="57" y="112"/>
                </a:cubicBezTo>
                <a:cubicBezTo>
                  <a:pt x="58" y="112"/>
                  <a:pt x="59" y="111"/>
                  <a:pt x="59" y="111"/>
                </a:cubicBezTo>
                <a:cubicBezTo>
                  <a:pt x="83" y="87"/>
                  <a:pt x="83" y="87"/>
                  <a:pt x="83" y="87"/>
                </a:cubicBezTo>
                <a:cubicBezTo>
                  <a:pt x="92" y="98"/>
                  <a:pt x="91" y="114"/>
                  <a:pt x="81" y="124"/>
                </a:cubicBezTo>
                <a:close/>
                <a:moveTo>
                  <a:pt x="149" y="56"/>
                </a:moveTo>
                <a:cubicBezTo>
                  <a:pt x="124" y="81"/>
                  <a:pt x="124" y="81"/>
                  <a:pt x="124" y="81"/>
                </a:cubicBezTo>
                <a:cubicBezTo>
                  <a:pt x="119" y="86"/>
                  <a:pt x="112" y="89"/>
                  <a:pt x="105" y="89"/>
                </a:cubicBezTo>
                <a:cubicBezTo>
                  <a:pt x="98" y="89"/>
                  <a:pt x="92" y="87"/>
                  <a:pt x="87" y="83"/>
                </a:cubicBezTo>
                <a:cubicBezTo>
                  <a:pt x="111" y="59"/>
                  <a:pt x="111" y="59"/>
                  <a:pt x="111" y="59"/>
                </a:cubicBezTo>
                <a:cubicBezTo>
                  <a:pt x="112" y="58"/>
                  <a:pt x="112" y="56"/>
                  <a:pt x="111" y="55"/>
                </a:cubicBezTo>
                <a:cubicBezTo>
                  <a:pt x="110" y="54"/>
                  <a:pt x="108" y="54"/>
                  <a:pt x="107" y="55"/>
                </a:cubicBezTo>
                <a:cubicBezTo>
                  <a:pt x="83" y="79"/>
                  <a:pt x="83" y="79"/>
                  <a:pt x="83" y="79"/>
                </a:cubicBezTo>
                <a:cubicBezTo>
                  <a:pt x="74" y="68"/>
                  <a:pt x="75" y="52"/>
                  <a:pt x="85" y="42"/>
                </a:cubicBezTo>
                <a:cubicBezTo>
                  <a:pt x="110" y="17"/>
                  <a:pt x="110" y="17"/>
                  <a:pt x="110" y="17"/>
                </a:cubicBezTo>
                <a:cubicBezTo>
                  <a:pt x="116" y="11"/>
                  <a:pt x="123" y="9"/>
                  <a:pt x="130" y="9"/>
                </a:cubicBezTo>
                <a:cubicBezTo>
                  <a:pt x="137" y="9"/>
                  <a:pt x="144" y="11"/>
                  <a:pt x="149" y="17"/>
                </a:cubicBezTo>
                <a:cubicBezTo>
                  <a:pt x="160" y="27"/>
                  <a:pt x="160" y="45"/>
                  <a:pt x="149" y="56"/>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2136">
            <a:extLst>
              <a:ext uri="{FF2B5EF4-FFF2-40B4-BE49-F238E27FC236}">
                <a16:creationId xmlns:a16="http://schemas.microsoft.com/office/drawing/2014/main" id="{EAF4396F-22FB-514D-AB3B-010FDA258E81}"/>
              </a:ext>
            </a:extLst>
          </p:cNvPr>
          <p:cNvSpPr>
            <a:spLocks noEditPoints="1"/>
          </p:cNvSpPr>
          <p:nvPr/>
        </p:nvSpPr>
        <p:spPr bwMode="auto">
          <a:xfrm>
            <a:off x="6343646" y="5319713"/>
            <a:ext cx="546100" cy="550863"/>
          </a:xfrm>
          <a:custGeom>
            <a:avLst/>
            <a:gdLst>
              <a:gd name="T0" fmla="*/ 62 w 160"/>
              <a:gd name="T1" fmla="*/ 40 h 160"/>
              <a:gd name="T2" fmla="*/ 128 w 160"/>
              <a:gd name="T3" fmla="*/ 43 h 160"/>
              <a:gd name="T4" fmla="*/ 62 w 160"/>
              <a:gd name="T5" fmla="*/ 45 h 160"/>
              <a:gd name="T6" fmla="*/ 62 w 160"/>
              <a:gd name="T7" fmla="*/ 85 h 160"/>
              <a:gd name="T8" fmla="*/ 128 w 160"/>
              <a:gd name="T9" fmla="*/ 83 h 160"/>
              <a:gd name="T10" fmla="*/ 62 w 160"/>
              <a:gd name="T11" fmla="*/ 80 h 160"/>
              <a:gd name="T12" fmla="*/ 62 w 160"/>
              <a:gd name="T13" fmla="*/ 85 h 160"/>
              <a:gd name="T14" fmla="*/ 125 w 160"/>
              <a:gd name="T15" fmla="*/ 125 h 160"/>
              <a:gd name="T16" fmla="*/ 125 w 160"/>
              <a:gd name="T17" fmla="*/ 120 h 160"/>
              <a:gd name="T18" fmla="*/ 60 w 160"/>
              <a:gd name="T19" fmla="*/ 123 h 160"/>
              <a:gd name="T20" fmla="*/ 160 w 160"/>
              <a:gd name="T21" fmla="*/ 3 h 160"/>
              <a:gd name="T22" fmla="*/ 157 w 160"/>
              <a:gd name="T23" fmla="*/ 160 h 160"/>
              <a:gd name="T24" fmla="*/ 0 w 160"/>
              <a:gd name="T25" fmla="*/ 157 h 160"/>
              <a:gd name="T26" fmla="*/ 3 w 160"/>
              <a:gd name="T27" fmla="*/ 0 h 160"/>
              <a:gd name="T28" fmla="*/ 160 w 160"/>
              <a:gd name="T29" fmla="*/ 3 h 160"/>
              <a:gd name="T30" fmla="*/ 5 w 160"/>
              <a:gd name="T31" fmla="*/ 5 h 160"/>
              <a:gd name="T32" fmla="*/ 155 w 160"/>
              <a:gd name="T33" fmla="*/ 155 h 160"/>
              <a:gd name="T34" fmla="*/ 33 w 160"/>
              <a:gd name="T35" fmla="*/ 49 h 160"/>
              <a:gd name="T36" fmla="*/ 46 w 160"/>
              <a:gd name="T37" fmla="*/ 49 h 160"/>
              <a:gd name="T38" fmla="*/ 50 w 160"/>
              <a:gd name="T39" fmla="*/ 37 h 160"/>
              <a:gd name="T40" fmla="*/ 40 w 160"/>
              <a:gd name="T41" fmla="*/ 29 h 160"/>
              <a:gd name="T42" fmla="*/ 29 w 160"/>
              <a:gd name="T43" fmla="*/ 37 h 160"/>
              <a:gd name="T44" fmla="*/ 33 w 160"/>
              <a:gd name="T45" fmla="*/ 49 h 160"/>
              <a:gd name="T46" fmla="*/ 40 w 160"/>
              <a:gd name="T47" fmla="*/ 86 h 160"/>
              <a:gd name="T48" fmla="*/ 45 w 160"/>
              <a:gd name="T49" fmla="*/ 82 h 160"/>
              <a:gd name="T50" fmla="*/ 43 w 160"/>
              <a:gd name="T51" fmla="*/ 76 h 160"/>
              <a:gd name="T52" fmla="*/ 37 w 160"/>
              <a:gd name="T53" fmla="*/ 76 h 160"/>
              <a:gd name="T54" fmla="*/ 35 w 160"/>
              <a:gd name="T55" fmla="*/ 82 h 160"/>
              <a:gd name="T56" fmla="*/ 33 w 160"/>
              <a:gd name="T57" fmla="*/ 131 h 160"/>
              <a:gd name="T58" fmla="*/ 46 w 160"/>
              <a:gd name="T59" fmla="*/ 131 h 160"/>
              <a:gd name="T60" fmla="*/ 50 w 160"/>
              <a:gd name="T61" fmla="*/ 118 h 160"/>
              <a:gd name="T62" fmla="*/ 40 w 160"/>
              <a:gd name="T63" fmla="*/ 111 h 160"/>
              <a:gd name="T64" fmla="*/ 29 w 160"/>
              <a:gd name="T65" fmla="*/ 118 h 160"/>
              <a:gd name="T66" fmla="*/ 33 w 160"/>
              <a:gd name="T67" fmla="*/ 13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60">
                <a:moveTo>
                  <a:pt x="60" y="43"/>
                </a:moveTo>
                <a:cubicBezTo>
                  <a:pt x="60" y="41"/>
                  <a:pt x="61" y="40"/>
                  <a:pt x="62" y="40"/>
                </a:cubicBezTo>
                <a:cubicBezTo>
                  <a:pt x="125" y="40"/>
                  <a:pt x="125" y="40"/>
                  <a:pt x="125" y="40"/>
                </a:cubicBezTo>
                <a:cubicBezTo>
                  <a:pt x="127" y="40"/>
                  <a:pt x="128" y="41"/>
                  <a:pt x="128" y="43"/>
                </a:cubicBezTo>
                <a:cubicBezTo>
                  <a:pt x="128" y="44"/>
                  <a:pt x="127" y="45"/>
                  <a:pt x="125" y="45"/>
                </a:cubicBezTo>
                <a:cubicBezTo>
                  <a:pt x="62" y="45"/>
                  <a:pt x="62" y="45"/>
                  <a:pt x="62" y="45"/>
                </a:cubicBezTo>
                <a:cubicBezTo>
                  <a:pt x="61" y="45"/>
                  <a:pt x="60" y="44"/>
                  <a:pt x="60" y="43"/>
                </a:cubicBezTo>
                <a:close/>
                <a:moveTo>
                  <a:pt x="62" y="85"/>
                </a:moveTo>
                <a:cubicBezTo>
                  <a:pt x="125" y="85"/>
                  <a:pt x="125" y="85"/>
                  <a:pt x="125" y="85"/>
                </a:cubicBezTo>
                <a:cubicBezTo>
                  <a:pt x="127" y="85"/>
                  <a:pt x="128" y="84"/>
                  <a:pt x="128" y="83"/>
                </a:cubicBezTo>
                <a:cubicBezTo>
                  <a:pt x="128" y="81"/>
                  <a:pt x="127" y="80"/>
                  <a:pt x="125" y="80"/>
                </a:cubicBezTo>
                <a:cubicBezTo>
                  <a:pt x="62" y="80"/>
                  <a:pt x="62" y="80"/>
                  <a:pt x="62" y="80"/>
                </a:cubicBezTo>
                <a:cubicBezTo>
                  <a:pt x="61" y="80"/>
                  <a:pt x="60" y="81"/>
                  <a:pt x="60" y="83"/>
                </a:cubicBezTo>
                <a:cubicBezTo>
                  <a:pt x="60" y="84"/>
                  <a:pt x="61" y="85"/>
                  <a:pt x="62" y="85"/>
                </a:cubicBezTo>
                <a:close/>
                <a:moveTo>
                  <a:pt x="62" y="125"/>
                </a:moveTo>
                <a:cubicBezTo>
                  <a:pt x="125" y="125"/>
                  <a:pt x="125" y="125"/>
                  <a:pt x="125" y="125"/>
                </a:cubicBezTo>
                <a:cubicBezTo>
                  <a:pt x="127" y="125"/>
                  <a:pt x="128" y="124"/>
                  <a:pt x="128" y="123"/>
                </a:cubicBezTo>
                <a:cubicBezTo>
                  <a:pt x="128" y="121"/>
                  <a:pt x="127" y="120"/>
                  <a:pt x="125" y="120"/>
                </a:cubicBezTo>
                <a:cubicBezTo>
                  <a:pt x="62" y="120"/>
                  <a:pt x="62" y="120"/>
                  <a:pt x="62" y="120"/>
                </a:cubicBezTo>
                <a:cubicBezTo>
                  <a:pt x="61" y="120"/>
                  <a:pt x="60" y="121"/>
                  <a:pt x="60" y="123"/>
                </a:cubicBezTo>
                <a:cubicBezTo>
                  <a:pt x="60" y="124"/>
                  <a:pt x="61" y="125"/>
                  <a:pt x="62" y="125"/>
                </a:cubicBezTo>
                <a:close/>
                <a:moveTo>
                  <a:pt x="160" y="3"/>
                </a:moveTo>
                <a:cubicBezTo>
                  <a:pt x="160" y="157"/>
                  <a:pt x="160" y="157"/>
                  <a:pt x="160" y="157"/>
                </a:cubicBezTo>
                <a:cubicBezTo>
                  <a:pt x="160" y="159"/>
                  <a:pt x="159" y="160"/>
                  <a:pt x="157" y="160"/>
                </a:cubicBezTo>
                <a:cubicBezTo>
                  <a:pt x="3" y="160"/>
                  <a:pt x="3" y="160"/>
                  <a:pt x="3" y="160"/>
                </a:cubicBezTo>
                <a:cubicBezTo>
                  <a:pt x="1" y="160"/>
                  <a:pt x="0" y="159"/>
                  <a:pt x="0" y="157"/>
                </a:cubicBezTo>
                <a:cubicBezTo>
                  <a:pt x="0" y="3"/>
                  <a:pt x="0" y="3"/>
                  <a:pt x="0" y="3"/>
                </a:cubicBezTo>
                <a:cubicBezTo>
                  <a:pt x="0" y="1"/>
                  <a:pt x="1" y="0"/>
                  <a:pt x="3" y="0"/>
                </a:cubicBezTo>
                <a:cubicBezTo>
                  <a:pt x="157" y="0"/>
                  <a:pt x="157" y="0"/>
                  <a:pt x="157" y="0"/>
                </a:cubicBezTo>
                <a:cubicBezTo>
                  <a:pt x="159" y="0"/>
                  <a:pt x="160" y="1"/>
                  <a:pt x="160" y="3"/>
                </a:cubicBezTo>
                <a:close/>
                <a:moveTo>
                  <a:pt x="155" y="5"/>
                </a:moveTo>
                <a:cubicBezTo>
                  <a:pt x="5" y="5"/>
                  <a:pt x="5" y="5"/>
                  <a:pt x="5" y="5"/>
                </a:cubicBezTo>
                <a:cubicBezTo>
                  <a:pt x="5" y="155"/>
                  <a:pt x="5" y="155"/>
                  <a:pt x="5" y="155"/>
                </a:cubicBezTo>
                <a:cubicBezTo>
                  <a:pt x="155" y="155"/>
                  <a:pt x="155" y="155"/>
                  <a:pt x="155" y="155"/>
                </a:cubicBezTo>
                <a:lnTo>
                  <a:pt x="155" y="5"/>
                </a:lnTo>
                <a:close/>
                <a:moveTo>
                  <a:pt x="33" y="49"/>
                </a:moveTo>
                <a:cubicBezTo>
                  <a:pt x="40" y="46"/>
                  <a:pt x="40" y="46"/>
                  <a:pt x="40" y="46"/>
                </a:cubicBezTo>
                <a:cubicBezTo>
                  <a:pt x="46" y="49"/>
                  <a:pt x="46" y="49"/>
                  <a:pt x="46" y="49"/>
                </a:cubicBezTo>
                <a:cubicBezTo>
                  <a:pt x="45" y="42"/>
                  <a:pt x="45" y="42"/>
                  <a:pt x="45" y="42"/>
                </a:cubicBezTo>
                <a:cubicBezTo>
                  <a:pt x="50" y="37"/>
                  <a:pt x="50" y="37"/>
                  <a:pt x="50" y="37"/>
                </a:cubicBezTo>
                <a:cubicBezTo>
                  <a:pt x="43" y="36"/>
                  <a:pt x="43" y="36"/>
                  <a:pt x="43" y="36"/>
                </a:cubicBezTo>
                <a:cubicBezTo>
                  <a:pt x="40" y="29"/>
                  <a:pt x="40" y="29"/>
                  <a:pt x="40" y="29"/>
                </a:cubicBezTo>
                <a:cubicBezTo>
                  <a:pt x="37" y="36"/>
                  <a:pt x="37" y="36"/>
                  <a:pt x="37" y="36"/>
                </a:cubicBezTo>
                <a:cubicBezTo>
                  <a:pt x="29" y="37"/>
                  <a:pt x="29" y="37"/>
                  <a:pt x="29" y="37"/>
                </a:cubicBezTo>
                <a:cubicBezTo>
                  <a:pt x="35" y="42"/>
                  <a:pt x="35" y="42"/>
                  <a:pt x="35" y="42"/>
                </a:cubicBezTo>
                <a:lnTo>
                  <a:pt x="33" y="49"/>
                </a:lnTo>
                <a:close/>
                <a:moveTo>
                  <a:pt x="33" y="89"/>
                </a:moveTo>
                <a:cubicBezTo>
                  <a:pt x="40" y="86"/>
                  <a:pt x="40" y="86"/>
                  <a:pt x="40" y="86"/>
                </a:cubicBezTo>
                <a:cubicBezTo>
                  <a:pt x="46" y="89"/>
                  <a:pt x="46" y="89"/>
                  <a:pt x="46" y="89"/>
                </a:cubicBezTo>
                <a:cubicBezTo>
                  <a:pt x="45" y="82"/>
                  <a:pt x="45" y="82"/>
                  <a:pt x="45" y="82"/>
                </a:cubicBezTo>
                <a:cubicBezTo>
                  <a:pt x="50" y="77"/>
                  <a:pt x="50" y="77"/>
                  <a:pt x="50" y="77"/>
                </a:cubicBezTo>
                <a:cubicBezTo>
                  <a:pt x="43" y="76"/>
                  <a:pt x="43" y="76"/>
                  <a:pt x="43" y="76"/>
                </a:cubicBezTo>
                <a:cubicBezTo>
                  <a:pt x="40" y="70"/>
                  <a:pt x="40" y="70"/>
                  <a:pt x="40" y="70"/>
                </a:cubicBezTo>
                <a:cubicBezTo>
                  <a:pt x="37" y="76"/>
                  <a:pt x="37" y="76"/>
                  <a:pt x="37" y="76"/>
                </a:cubicBezTo>
                <a:cubicBezTo>
                  <a:pt x="29" y="77"/>
                  <a:pt x="29" y="77"/>
                  <a:pt x="29" y="77"/>
                </a:cubicBezTo>
                <a:cubicBezTo>
                  <a:pt x="35" y="82"/>
                  <a:pt x="35" y="82"/>
                  <a:pt x="35" y="82"/>
                </a:cubicBezTo>
                <a:lnTo>
                  <a:pt x="33" y="89"/>
                </a:lnTo>
                <a:close/>
                <a:moveTo>
                  <a:pt x="33" y="131"/>
                </a:moveTo>
                <a:cubicBezTo>
                  <a:pt x="40" y="127"/>
                  <a:pt x="40" y="127"/>
                  <a:pt x="40" y="127"/>
                </a:cubicBezTo>
                <a:cubicBezTo>
                  <a:pt x="46" y="131"/>
                  <a:pt x="46" y="131"/>
                  <a:pt x="46" y="131"/>
                </a:cubicBezTo>
                <a:cubicBezTo>
                  <a:pt x="45" y="123"/>
                  <a:pt x="45" y="123"/>
                  <a:pt x="45" y="123"/>
                </a:cubicBezTo>
                <a:cubicBezTo>
                  <a:pt x="50" y="118"/>
                  <a:pt x="50" y="118"/>
                  <a:pt x="50" y="118"/>
                </a:cubicBezTo>
                <a:cubicBezTo>
                  <a:pt x="43" y="117"/>
                  <a:pt x="43" y="117"/>
                  <a:pt x="43" y="117"/>
                </a:cubicBezTo>
                <a:cubicBezTo>
                  <a:pt x="40" y="111"/>
                  <a:pt x="40" y="111"/>
                  <a:pt x="40" y="111"/>
                </a:cubicBezTo>
                <a:cubicBezTo>
                  <a:pt x="37" y="117"/>
                  <a:pt x="37" y="117"/>
                  <a:pt x="37" y="117"/>
                </a:cubicBezTo>
                <a:cubicBezTo>
                  <a:pt x="29" y="118"/>
                  <a:pt x="29" y="118"/>
                  <a:pt x="29" y="118"/>
                </a:cubicBezTo>
                <a:cubicBezTo>
                  <a:pt x="35" y="123"/>
                  <a:pt x="35" y="123"/>
                  <a:pt x="35" y="123"/>
                </a:cubicBezTo>
                <a:lnTo>
                  <a:pt x="33" y="131"/>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2137">
            <a:extLst>
              <a:ext uri="{FF2B5EF4-FFF2-40B4-BE49-F238E27FC236}">
                <a16:creationId xmlns:a16="http://schemas.microsoft.com/office/drawing/2014/main" id="{8C2ADA3A-1E8E-B941-A0A1-40100F1604BC}"/>
              </a:ext>
            </a:extLst>
          </p:cNvPr>
          <p:cNvSpPr>
            <a:spLocks noEditPoints="1"/>
          </p:cNvSpPr>
          <p:nvPr/>
        </p:nvSpPr>
        <p:spPr bwMode="auto">
          <a:xfrm>
            <a:off x="6399209" y="5938838"/>
            <a:ext cx="425450" cy="550863"/>
          </a:xfrm>
          <a:custGeom>
            <a:avLst/>
            <a:gdLst>
              <a:gd name="T0" fmla="*/ 0 w 125"/>
              <a:gd name="T1" fmla="*/ 0 h 160"/>
              <a:gd name="T2" fmla="*/ 125 w 125"/>
              <a:gd name="T3" fmla="*/ 160 h 160"/>
              <a:gd name="T4" fmla="*/ 86 w 125"/>
              <a:gd name="T5" fmla="*/ 0 h 160"/>
              <a:gd name="T6" fmla="*/ 116 w 125"/>
              <a:gd name="T7" fmla="*/ 37 h 160"/>
              <a:gd name="T8" fmla="*/ 88 w 125"/>
              <a:gd name="T9" fmla="*/ 9 h 160"/>
              <a:gd name="T10" fmla="*/ 5 w 125"/>
              <a:gd name="T11" fmla="*/ 5 h 160"/>
              <a:gd name="T12" fmla="*/ 83 w 125"/>
              <a:gd name="T13" fmla="*/ 43 h 160"/>
              <a:gd name="T14" fmla="*/ 120 w 125"/>
              <a:gd name="T15" fmla="*/ 155 h 160"/>
              <a:gd name="T16" fmla="*/ 99 w 125"/>
              <a:gd name="T17" fmla="*/ 59 h 160"/>
              <a:gd name="T18" fmla="*/ 53 w 125"/>
              <a:gd name="T19" fmla="*/ 61 h 160"/>
              <a:gd name="T20" fmla="*/ 53 w 125"/>
              <a:gd name="T21" fmla="*/ 56 h 160"/>
              <a:gd name="T22" fmla="*/ 99 w 125"/>
              <a:gd name="T23" fmla="*/ 59 h 160"/>
              <a:gd name="T24" fmla="*/ 47 w 125"/>
              <a:gd name="T25" fmla="*/ 53 h 160"/>
              <a:gd name="T26" fmla="*/ 32 w 125"/>
              <a:gd name="T27" fmla="*/ 64 h 160"/>
              <a:gd name="T28" fmla="*/ 25 w 125"/>
              <a:gd name="T29" fmla="*/ 58 h 160"/>
              <a:gd name="T30" fmla="*/ 29 w 125"/>
              <a:gd name="T31" fmla="*/ 54 h 160"/>
              <a:gd name="T32" fmla="*/ 44 w 125"/>
              <a:gd name="T33" fmla="*/ 49 h 160"/>
              <a:gd name="T34" fmla="*/ 99 w 125"/>
              <a:gd name="T35" fmla="*/ 88 h 160"/>
              <a:gd name="T36" fmla="*/ 53 w 125"/>
              <a:gd name="T37" fmla="*/ 91 h 160"/>
              <a:gd name="T38" fmla="*/ 53 w 125"/>
              <a:gd name="T39" fmla="*/ 85 h 160"/>
              <a:gd name="T40" fmla="*/ 99 w 125"/>
              <a:gd name="T41" fmla="*/ 88 h 160"/>
              <a:gd name="T42" fmla="*/ 47 w 125"/>
              <a:gd name="T43" fmla="*/ 82 h 160"/>
              <a:gd name="T44" fmla="*/ 32 w 125"/>
              <a:gd name="T45" fmla="*/ 93 h 160"/>
              <a:gd name="T46" fmla="*/ 25 w 125"/>
              <a:gd name="T47" fmla="*/ 87 h 160"/>
              <a:gd name="T48" fmla="*/ 29 w 125"/>
              <a:gd name="T49" fmla="*/ 83 h 160"/>
              <a:gd name="T50" fmla="*/ 44 w 125"/>
              <a:gd name="T51" fmla="*/ 78 h 160"/>
              <a:gd name="T52" fmla="*/ 99 w 125"/>
              <a:gd name="T53" fmla="*/ 117 h 160"/>
              <a:gd name="T54" fmla="*/ 53 w 125"/>
              <a:gd name="T55" fmla="*/ 120 h 160"/>
              <a:gd name="T56" fmla="*/ 53 w 125"/>
              <a:gd name="T57" fmla="*/ 115 h 160"/>
              <a:gd name="T58" fmla="*/ 99 w 125"/>
              <a:gd name="T59" fmla="*/ 117 h 160"/>
              <a:gd name="T60" fmla="*/ 47 w 125"/>
              <a:gd name="T61" fmla="*/ 111 h 160"/>
              <a:gd name="T62" fmla="*/ 32 w 125"/>
              <a:gd name="T63" fmla="*/ 123 h 160"/>
              <a:gd name="T64" fmla="*/ 25 w 125"/>
              <a:gd name="T65" fmla="*/ 117 h 160"/>
              <a:gd name="T66" fmla="*/ 29 w 125"/>
              <a:gd name="T67" fmla="*/ 113 h 160"/>
              <a:gd name="T68" fmla="*/ 44 w 125"/>
              <a:gd name="T69" fmla="*/ 10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60">
                <a:moveTo>
                  <a:pt x="86" y="0"/>
                </a:moveTo>
                <a:cubicBezTo>
                  <a:pt x="0" y="0"/>
                  <a:pt x="0" y="0"/>
                  <a:pt x="0" y="0"/>
                </a:cubicBezTo>
                <a:cubicBezTo>
                  <a:pt x="0" y="160"/>
                  <a:pt x="0" y="160"/>
                  <a:pt x="0" y="160"/>
                </a:cubicBezTo>
                <a:cubicBezTo>
                  <a:pt x="125" y="160"/>
                  <a:pt x="125" y="160"/>
                  <a:pt x="125" y="160"/>
                </a:cubicBezTo>
                <a:cubicBezTo>
                  <a:pt x="125" y="39"/>
                  <a:pt x="125" y="39"/>
                  <a:pt x="125" y="39"/>
                </a:cubicBezTo>
                <a:lnTo>
                  <a:pt x="86" y="0"/>
                </a:lnTo>
                <a:close/>
                <a:moveTo>
                  <a:pt x="88" y="9"/>
                </a:moveTo>
                <a:cubicBezTo>
                  <a:pt x="116" y="37"/>
                  <a:pt x="116" y="37"/>
                  <a:pt x="116" y="37"/>
                </a:cubicBezTo>
                <a:cubicBezTo>
                  <a:pt x="88" y="37"/>
                  <a:pt x="88" y="37"/>
                  <a:pt x="88" y="37"/>
                </a:cubicBezTo>
                <a:lnTo>
                  <a:pt x="88" y="9"/>
                </a:lnTo>
                <a:close/>
                <a:moveTo>
                  <a:pt x="5" y="155"/>
                </a:moveTo>
                <a:cubicBezTo>
                  <a:pt x="5" y="5"/>
                  <a:pt x="5" y="5"/>
                  <a:pt x="5" y="5"/>
                </a:cubicBezTo>
                <a:cubicBezTo>
                  <a:pt x="83" y="5"/>
                  <a:pt x="83" y="5"/>
                  <a:pt x="83" y="5"/>
                </a:cubicBezTo>
                <a:cubicBezTo>
                  <a:pt x="83" y="43"/>
                  <a:pt x="83" y="43"/>
                  <a:pt x="83" y="43"/>
                </a:cubicBezTo>
                <a:cubicBezTo>
                  <a:pt x="120" y="43"/>
                  <a:pt x="120" y="43"/>
                  <a:pt x="120" y="43"/>
                </a:cubicBezTo>
                <a:cubicBezTo>
                  <a:pt x="120" y="155"/>
                  <a:pt x="120" y="155"/>
                  <a:pt x="120" y="155"/>
                </a:cubicBezTo>
                <a:lnTo>
                  <a:pt x="5" y="155"/>
                </a:lnTo>
                <a:close/>
                <a:moveTo>
                  <a:pt x="99" y="59"/>
                </a:moveTo>
                <a:cubicBezTo>
                  <a:pt x="99" y="60"/>
                  <a:pt x="97" y="61"/>
                  <a:pt x="96" y="61"/>
                </a:cubicBezTo>
                <a:cubicBezTo>
                  <a:pt x="53" y="61"/>
                  <a:pt x="53" y="61"/>
                  <a:pt x="53" y="61"/>
                </a:cubicBezTo>
                <a:cubicBezTo>
                  <a:pt x="52" y="61"/>
                  <a:pt x="51" y="60"/>
                  <a:pt x="51" y="59"/>
                </a:cubicBezTo>
                <a:cubicBezTo>
                  <a:pt x="51" y="57"/>
                  <a:pt x="52" y="56"/>
                  <a:pt x="53" y="56"/>
                </a:cubicBezTo>
                <a:cubicBezTo>
                  <a:pt x="96" y="56"/>
                  <a:pt x="96" y="56"/>
                  <a:pt x="96" y="56"/>
                </a:cubicBezTo>
                <a:cubicBezTo>
                  <a:pt x="97" y="56"/>
                  <a:pt x="99" y="57"/>
                  <a:pt x="99" y="59"/>
                </a:cubicBezTo>
                <a:close/>
                <a:moveTo>
                  <a:pt x="47" y="49"/>
                </a:moveTo>
                <a:cubicBezTo>
                  <a:pt x="48" y="50"/>
                  <a:pt x="48" y="52"/>
                  <a:pt x="47" y="53"/>
                </a:cubicBezTo>
                <a:cubicBezTo>
                  <a:pt x="34" y="63"/>
                  <a:pt x="34" y="63"/>
                  <a:pt x="34" y="63"/>
                </a:cubicBezTo>
                <a:cubicBezTo>
                  <a:pt x="33" y="64"/>
                  <a:pt x="33" y="64"/>
                  <a:pt x="32" y="64"/>
                </a:cubicBezTo>
                <a:cubicBezTo>
                  <a:pt x="31" y="64"/>
                  <a:pt x="31" y="64"/>
                  <a:pt x="30" y="63"/>
                </a:cubicBezTo>
                <a:cubicBezTo>
                  <a:pt x="25" y="58"/>
                  <a:pt x="25" y="58"/>
                  <a:pt x="25" y="58"/>
                </a:cubicBezTo>
                <a:cubicBezTo>
                  <a:pt x="24" y="57"/>
                  <a:pt x="24" y="55"/>
                  <a:pt x="25" y="54"/>
                </a:cubicBezTo>
                <a:cubicBezTo>
                  <a:pt x="26" y="53"/>
                  <a:pt x="28" y="53"/>
                  <a:pt x="29" y="54"/>
                </a:cubicBezTo>
                <a:cubicBezTo>
                  <a:pt x="32" y="58"/>
                  <a:pt x="32" y="58"/>
                  <a:pt x="32" y="58"/>
                </a:cubicBezTo>
                <a:cubicBezTo>
                  <a:pt x="44" y="49"/>
                  <a:pt x="44" y="49"/>
                  <a:pt x="44" y="49"/>
                </a:cubicBezTo>
                <a:cubicBezTo>
                  <a:pt x="45" y="48"/>
                  <a:pt x="46" y="48"/>
                  <a:pt x="47" y="49"/>
                </a:cubicBezTo>
                <a:close/>
                <a:moveTo>
                  <a:pt x="99" y="88"/>
                </a:moveTo>
                <a:cubicBezTo>
                  <a:pt x="99" y="89"/>
                  <a:pt x="97" y="91"/>
                  <a:pt x="96" y="91"/>
                </a:cubicBezTo>
                <a:cubicBezTo>
                  <a:pt x="53" y="91"/>
                  <a:pt x="53" y="91"/>
                  <a:pt x="53" y="91"/>
                </a:cubicBezTo>
                <a:cubicBezTo>
                  <a:pt x="52" y="91"/>
                  <a:pt x="51" y="89"/>
                  <a:pt x="51" y="88"/>
                </a:cubicBezTo>
                <a:cubicBezTo>
                  <a:pt x="51" y="87"/>
                  <a:pt x="52" y="85"/>
                  <a:pt x="53" y="85"/>
                </a:cubicBezTo>
                <a:cubicBezTo>
                  <a:pt x="96" y="85"/>
                  <a:pt x="96" y="85"/>
                  <a:pt x="96" y="85"/>
                </a:cubicBezTo>
                <a:cubicBezTo>
                  <a:pt x="97" y="85"/>
                  <a:pt x="99" y="87"/>
                  <a:pt x="99" y="88"/>
                </a:cubicBezTo>
                <a:close/>
                <a:moveTo>
                  <a:pt x="47" y="78"/>
                </a:moveTo>
                <a:cubicBezTo>
                  <a:pt x="48" y="79"/>
                  <a:pt x="48" y="81"/>
                  <a:pt x="47" y="82"/>
                </a:cubicBezTo>
                <a:cubicBezTo>
                  <a:pt x="34" y="93"/>
                  <a:pt x="34" y="93"/>
                  <a:pt x="34" y="93"/>
                </a:cubicBezTo>
                <a:cubicBezTo>
                  <a:pt x="33" y="93"/>
                  <a:pt x="33" y="93"/>
                  <a:pt x="32" y="93"/>
                </a:cubicBezTo>
                <a:cubicBezTo>
                  <a:pt x="31" y="93"/>
                  <a:pt x="31" y="93"/>
                  <a:pt x="30" y="93"/>
                </a:cubicBezTo>
                <a:cubicBezTo>
                  <a:pt x="25" y="87"/>
                  <a:pt x="25" y="87"/>
                  <a:pt x="25" y="87"/>
                </a:cubicBezTo>
                <a:cubicBezTo>
                  <a:pt x="24" y="86"/>
                  <a:pt x="24" y="84"/>
                  <a:pt x="25" y="83"/>
                </a:cubicBezTo>
                <a:cubicBezTo>
                  <a:pt x="26" y="82"/>
                  <a:pt x="28" y="82"/>
                  <a:pt x="29" y="83"/>
                </a:cubicBezTo>
                <a:cubicBezTo>
                  <a:pt x="32" y="87"/>
                  <a:pt x="32" y="87"/>
                  <a:pt x="32" y="87"/>
                </a:cubicBezTo>
                <a:cubicBezTo>
                  <a:pt x="44" y="78"/>
                  <a:pt x="44" y="78"/>
                  <a:pt x="44" y="78"/>
                </a:cubicBezTo>
                <a:cubicBezTo>
                  <a:pt x="45" y="77"/>
                  <a:pt x="46" y="77"/>
                  <a:pt x="47" y="78"/>
                </a:cubicBezTo>
                <a:close/>
                <a:moveTo>
                  <a:pt x="99" y="117"/>
                </a:moveTo>
                <a:cubicBezTo>
                  <a:pt x="99" y="119"/>
                  <a:pt x="97" y="120"/>
                  <a:pt x="96" y="120"/>
                </a:cubicBezTo>
                <a:cubicBezTo>
                  <a:pt x="53" y="120"/>
                  <a:pt x="53" y="120"/>
                  <a:pt x="53" y="120"/>
                </a:cubicBezTo>
                <a:cubicBezTo>
                  <a:pt x="52" y="120"/>
                  <a:pt x="51" y="119"/>
                  <a:pt x="51" y="117"/>
                </a:cubicBezTo>
                <a:cubicBezTo>
                  <a:pt x="51" y="116"/>
                  <a:pt x="52" y="115"/>
                  <a:pt x="53" y="115"/>
                </a:cubicBezTo>
                <a:cubicBezTo>
                  <a:pt x="96" y="115"/>
                  <a:pt x="96" y="115"/>
                  <a:pt x="96" y="115"/>
                </a:cubicBezTo>
                <a:cubicBezTo>
                  <a:pt x="97" y="115"/>
                  <a:pt x="99" y="116"/>
                  <a:pt x="99" y="117"/>
                </a:cubicBezTo>
                <a:close/>
                <a:moveTo>
                  <a:pt x="47" y="108"/>
                </a:moveTo>
                <a:cubicBezTo>
                  <a:pt x="48" y="109"/>
                  <a:pt x="48" y="110"/>
                  <a:pt x="47" y="111"/>
                </a:cubicBezTo>
                <a:cubicBezTo>
                  <a:pt x="34" y="122"/>
                  <a:pt x="34" y="122"/>
                  <a:pt x="34" y="122"/>
                </a:cubicBezTo>
                <a:cubicBezTo>
                  <a:pt x="33" y="122"/>
                  <a:pt x="33" y="123"/>
                  <a:pt x="32" y="123"/>
                </a:cubicBezTo>
                <a:cubicBezTo>
                  <a:pt x="31" y="123"/>
                  <a:pt x="31" y="122"/>
                  <a:pt x="30" y="122"/>
                </a:cubicBezTo>
                <a:cubicBezTo>
                  <a:pt x="25" y="117"/>
                  <a:pt x="25" y="117"/>
                  <a:pt x="25" y="117"/>
                </a:cubicBezTo>
                <a:cubicBezTo>
                  <a:pt x="24" y="116"/>
                  <a:pt x="24" y="114"/>
                  <a:pt x="25" y="113"/>
                </a:cubicBezTo>
                <a:cubicBezTo>
                  <a:pt x="26" y="112"/>
                  <a:pt x="28" y="112"/>
                  <a:pt x="29" y="113"/>
                </a:cubicBezTo>
                <a:cubicBezTo>
                  <a:pt x="32" y="116"/>
                  <a:pt x="32" y="116"/>
                  <a:pt x="32" y="116"/>
                </a:cubicBezTo>
                <a:cubicBezTo>
                  <a:pt x="44" y="107"/>
                  <a:pt x="44" y="107"/>
                  <a:pt x="44" y="107"/>
                </a:cubicBezTo>
                <a:cubicBezTo>
                  <a:pt x="45" y="106"/>
                  <a:pt x="46" y="107"/>
                  <a:pt x="47" y="108"/>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2138">
            <a:extLst>
              <a:ext uri="{FF2B5EF4-FFF2-40B4-BE49-F238E27FC236}">
                <a16:creationId xmlns:a16="http://schemas.microsoft.com/office/drawing/2014/main" id="{0B532455-047E-914F-9284-A9B8353AA0EE}"/>
              </a:ext>
            </a:extLst>
          </p:cNvPr>
          <p:cNvSpPr>
            <a:spLocks noEditPoints="1"/>
          </p:cNvSpPr>
          <p:nvPr/>
        </p:nvSpPr>
        <p:spPr bwMode="auto">
          <a:xfrm>
            <a:off x="7326309" y="365125"/>
            <a:ext cx="492125" cy="550863"/>
          </a:xfrm>
          <a:custGeom>
            <a:avLst/>
            <a:gdLst>
              <a:gd name="T0" fmla="*/ 88 w 144"/>
              <a:gd name="T1" fmla="*/ 37 h 160"/>
              <a:gd name="T2" fmla="*/ 72 w 144"/>
              <a:gd name="T3" fmla="*/ 21 h 160"/>
              <a:gd name="T4" fmla="*/ 56 w 144"/>
              <a:gd name="T5" fmla="*/ 37 h 160"/>
              <a:gd name="T6" fmla="*/ 56 w 144"/>
              <a:gd name="T7" fmla="*/ 40 h 160"/>
              <a:gd name="T8" fmla="*/ 59 w 144"/>
              <a:gd name="T9" fmla="*/ 43 h 160"/>
              <a:gd name="T10" fmla="*/ 61 w 144"/>
              <a:gd name="T11" fmla="*/ 40 h 160"/>
              <a:gd name="T12" fmla="*/ 61 w 144"/>
              <a:gd name="T13" fmla="*/ 37 h 160"/>
              <a:gd name="T14" fmla="*/ 72 w 144"/>
              <a:gd name="T15" fmla="*/ 27 h 160"/>
              <a:gd name="T16" fmla="*/ 83 w 144"/>
              <a:gd name="T17" fmla="*/ 37 h 160"/>
              <a:gd name="T18" fmla="*/ 83 w 144"/>
              <a:gd name="T19" fmla="*/ 56 h 160"/>
              <a:gd name="T20" fmla="*/ 43 w 144"/>
              <a:gd name="T21" fmla="*/ 56 h 160"/>
              <a:gd name="T22" fmla="*/ 43 w 144"/>
              <a:gd name="T23" fmla="*/ 107 h 160"/>
              <a:gd name="T24" fmla="*/ 101 w 144"/>
              <a:gd name="T25" fmla="*/ 107 h 160"/>
              <a:gd name="T26" fmla="*/ 101 w 144"/>
              <a:gd name="T27" fmla="*/ 56 h 160"/>
              <a:gd name="T28" fmla="*/ 88 w 144"/>
              <a:gd name="T29" fmla="*/ 56 h 160"/>
              <a:gd name="T30" fmla="*/ 88 w 144"/>
              <a:gd name="T31" fmla="*/ 37 h 160"/>
              <a:gd name="T32" fmla="*/ 96 w 144"/>
              <a:gd name="T33" fmla="*/ 101 h 160"/>
              <a:gd name="T34" fmla="*/ 48 w 144"/>
              <a:gd name="T35" fmla="*/ 101 h 160"/>
              <a:gd name="T36" fmla="*/ 48 w 144"/>
              <a:gd name="T37" fmla="*/ 61 h 160"/>
              <a:gd name="T38" fmla="*/ 96 w 144"/>
              <a:gd name="T39" fmla="*/ 61 h 160"/>
              <a:gd name="T40" fmla="*/ 96 w 144"/>
              <a:gd name="T41" fmla="*/ 101 h 160"/>
              <a:gd name="T42" fmla="*/ 72 w 144"/>
              <a:gd name="T43" fmla="*/ 67 h 160"/>
              <a:gd name="T44" fmla="*/ 61 w 144"/>
              <a:gd name="T45" fmla="*/ 77 h 160"/>
              <a:gd name="T46" fmla="*/ 69 w 144"/>
              <a:gd name="T47" fmla="*/ 88 h 160"/>
              <a:gd name="T48" fmla="*/ 69 w 144"/>
              <a:gd name="T49" fmla="*/ 93 h 160"/>
              <a:gd name="T50" fmla="*/ 72 w 144"/>
              <a:gd name="T51" fmla="*/ 96 h 160"/>
              <a:gd name="T52" fmla="*/ 75 w 144"/>
              <a:gd name="T53" fmla="*/ 93 h 160"/>
              <a:gd name="T54" fmla="*/ 75 w 144"/>
              <a:gd name="T55" fmla="*/ 88 h 160"/>
              <a:gd name="T56" fmla="*/ 83 w 144"/>
              <a:gd name="T57" fmla="*/ 77 h 160"/>
              <a:gd name="T58" fmla="*/ 72 w 144"/>
              <a:gd name="T59" fmla="*/ 67 h 160"/>
              <a:gd name="T60" fmla="*/ 72 w 144"/>
              <a:gd name="T61" fmla="*/ 83 h 160"/>
              <a:gd name="T62" fmla="*/ 67 w 144"/>
              <a:gd name="T63" fmla="*/ 77 h 160"/>
              <a:gd name="T64" fmla="*/ 72 w 144"/>
              <a:gd name="T65" fmla="*/ 72 h 160"/>
              <a:gd name="T66" fmla="*/ 77 w 144"/>
              <a:gd name="T67" fmla="*/ 77 h 160"/>
              <a:gd name="T68" fmla="*/ 72 w 144"/>
              <a:gd name="T69" fmla="*/ 83 h 160"/>
              <a:gd name="T70" fmla="*/ 144 w 144"/>
              <a:gd name="T71" fmla="*/ 72 h 160"/>
              <a:gd name="T72" fmla="*/ 123 w 144"/>
              <a:gd name="T73" fmla="*/ 123 h 160"/>
              <a:gd name="T74" fmla="*/ 119 w 144"/>
              <a:gd name="T75" fmla="*/ 123 h 160"/>
              <a:gd name="T76" fmla="*/ 119 w 144"/>
              <a:gd name="T77" fmla="*/ 119 h 160"/>
              <a:gd name="T78" fmla="*/ 139 w 144"/>
              <a:gd name="T79" fmla="*/ 72 h 160"/>
              <a:gd name="T80" fmla="*/ 72 w 144"/>
              <a:gd name="T81" fmla="*/ 5 h 160"/>
              <a:gd name="T82" fmla="*/ 5 w 144"/>
              <a:gd name="T83" fmla="*/ 72 h 160"/>
              <a:gd name="T84" fmla="*/ 65 w 144"/>
              <a:gd name="T85" fmla="*/ 138 h 160"/>
              <a:gd name="T86" fmla="*/ 54 w 144"/>
              <a:gd name="T87" fmla="*/ 127 h 160"/>
              <a:gd name="T88" fmla="*/ 54 w 144"/>
              <a:gd name="T89" fmla="*/ 123 h 160"/>
              <a:gd name="T90" fmla="*/ 58 w 144"/>
              <a:gd name="T91" fmla="*/ 123 h 160"/>
              <a:gd name="T92" fmla="*/ 74 w 144"/>
              <a:gd name="T93" fmla="*/ 139 h 160"/>
              <a:gd name="T94" fmla="*/ 74 w 144"/>
              <a:gd name="T95" fmla="*/ 140 h 160"/>
              <a:gd name="T96" fmla="*/ 74 w 144"/>
              <a:gd name="T97" fmla="*/ 142 h 160"/>
              <a:gd name="T98" fmla="*/ 74 w 144"/>
              <a:gd name="T99" fmla="*/ 143 h 160"/>
              <a:gd name="T100" fmla="*/ 58 w 144"/>
              <a:gd name="T101" fmla="*/ 159 h 160"/>
              <a:gd name="T102" fmla="*/ 56 w 144"/>
              <a:gd name="T103" fmla="*/ 160 h 160"/>
              <a:gd name="T104" fmla="*/ 54 w 144"/>
              <a:gd name="T105" fmla="*/ 159 h 160"/>
              <a:gd name="T106" fmla="*/ 54 w 144"/>
              <a:gd name="T107" fmla="*/ 155 h 160"/>
              <a:gd name="T108" fmla="*/ 66 w 144"/>
              <a:gd name="T109" fmla="*/ 144 h 160"/>
              <a:gd name="T110" fmla="*/ 0 w 144"/>
              <a:gd name="T111" fmla="*/ 72 h 160"/>
              <a:gd name="T112" fmla="*/ 72 w 144"/>
              <a:gd name="T113" fmla="*/ 0 h 160"/>
              <a:gd name="T114" fmla="*/ 144 w 144"/>
              <a:gd name="T115" fmla="*/ 7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160">
                <a:moveTo>
                  <a:pt x="88" y="37"/>
                </a:moveTo>
                <a:cubicBezTo>
                  <a:pt x="88" y="29"/>
                  <a:pt x="81" y="21"/>
                  <a:pt x="72" y="21"/>
                </a:cubicBezTo>
                <a:cubicBezTo>
                  <a:pt x="63" y="21"/>
                  <a:pt x="56" y="29"/>
                  <a:pt x="56" y="37"/>
                </a:cubicBezTo>
                <a:cubicBezTo>
                  <a:pt x="56" y="40"/>
                  <a:pt x="56" y="40"/>
                  <a:pt x="56" y="40"/>
                </a:cubicBezTo>
                <a:cubicBezTo>
                  <a:pt x="56" y="41"/>
                  <a:pt x="57" y="43"/>
                  <a:pt x="59" y="43"/>
                </a:cubicBezTo>
                <a:cubicBezTo>
                  <a:pt x="60" y="43"/>
                  <a:pt x="61" y="41"/>
                  <a:pt x="61" y="40"/>
                </a:cubicBezTo>
                <a:cubicBezTo>
                  <a:pt x="61" y="37"/>
                  <a:pt x="61" y="37"/>
                  <a:pt x="61" y="37"/>
                </a:cubicBezTo>
                <a:cubicBezTo>
                  <a:pt x="61" y="31"/>
                  <a:pt x="66" y="27"/>
                  <a:pt x="72" y="27"/>
                </a:cubicBezTo>
                <a:cubicBezTo>
                  <a:pt x="78" y="27"/>
                  <a:pt x="83" y="31"/>
                  <a:pt x="83" y="37"/>
                </a:cubicBezTo>
                <a:cubicBezTo>
                  <a:pt x="83" y="56"/>
                  <a:pt x="83" y="56"/>
                  <a:pt x="83" y="56"/>
                </a:cubicBezTo>
                <a:cubicBezTo>
                  <a:pt x="43" y="56"/>
                  <a:pt x="43" y="56"/>
                  <a:pt x="43" y="56"/>
                </a:cubicBezTo>
                <a:cubicBezTo>
                  <a:pt x="43" y="107"/>
                  <a:pt x="43" y="107"/>
                  <a:pt x="43" y="107"/>
                </a:cubicBezTo>
                <a:cubicBezTo>
                  <a:pt x="101" y="107"/>
                  <a:pt x="101" y="107"/>
                  <a:pt x="101" y="107"/>
                </a:cubicBezTo>
                <a:cubicBezTo>
                  <a:pt x="101" y="56"/>
                  <a:pt x="101" y="56"/>
                  <a:pt x="101" y="56"/>
                </a:cubicBezTo>
                <a:cubicBezTo>
                  <a:pt x="88" y="56"/>
                  <a:pt x="88" y="56"/>
                  <a:pt x="88" y="56"/>
                </a:cubicBezTo>
                <a:lnTo>
                  <a:pt x="88" y="37"/>
                </a:lnTo>
                <a:close/>
                <a:moveTo>
                  <a:pt x="96" y="101"/>
                </a:moveTo>
                <a:cubicBezTo>
                  <a:pt x="48" y="101"/>
                  <a:pt x="48" y="101"/>
                  <a:pt x="48" y="101"/>
                </a:cubicBezTo>
                <a:cubicBezTo>
                  <a:pt x="48" y="61"/>
                  <a:pt x="48" y="61"/>
                  <a:pt x="48" y="61"/>
                </a:cubicBezTo>
                <a:cubicBezTo>
                  <a:pt x="96" y="61"/>
                  <a:pt x="96" y="61"/>
                  <a:pt x="96" y="61"/>
                </a:cubicBezTo>
                <a:lnTo>
                  <a:pt x="96" y="101"/>
                </a:lnTo>
                <a:close/>
                <a:moveTo>
                  <a:pt x="72" y="67"/>
                </a:moveTo>
                <a:cubicBezTo>
                  <a:pt x="66" y="67"/>
                  <a:pt x="61" y="71"/>
                  <a:pt x="61" y="77"/>
                </a:cubicBezTo>
                <a:cubicBezTo>
                  <a:pt x="61" y="82"/>
                  <a:pt x="65" y="86"/>
                  <a:pt x="69" y="88"/>
                </a:cubicBezTo>
                <a:cubicBezTo>
                  <a:pt x="69" y="93"/>
                  <a:pt x="69" y="93"/>
                  <a:pt x="69" y="93"/>
                </a:cubicBezTo>
                <a:cubicBezTo>
                  <a:pt x="69" y="95"/>
                  <a:pt x="71" y="96"/>
                  <a:pt x="72" y="96"/>
                </a:cubicBezTo>
                <a:cubicBezTo>
                  <a:pt x="73" y="96"/>
                  <a:pt x="75" y="95"/>
                  <a:pt x="75" y="93"/>
                </a:cubicBezTo>
                <a:cubicBezTo>
                  <a:pt x="75" y="88"/>
                  <a:pt x="75" y="88"/>
                  <a:pt x="75" y="88"/>
                </a:cubicBezTo>
                <a:cubicBezTo>
                  <a:pt x="79" y="86"/>
                  <a:pt x="83" y="82"/>
                  <a:pt x="83" y="77"/>
                </a:cubicBezTo>
                <a:cubicBezTo>
                  <a:pt x="83" y="71"/>
                  <a:pt x="78" y="67"/>
                  <a:pt x="72" y="67"/>
                </a:cubicBezTo>
                <a:close/>
                <a:moveTo>
                  <a:pt x="72" y="83"/>
                </a:moveTo>
                <a:cubicBezTo>
                  <a:pt x="69" y="83"/>
                  <a:pt x="67" y="80"/>
                  <a:pt x="67" y="77"/>
                </a:cubicBezTo>
                <a:cubicBezTo>
                  <a:pt x="67" y="74"/>
                  <a:pt x="69" y="72"/>
                  <a:pt x="72" y="72"/>
                </a:cubicBezTo>
                <a:cubicBezTo>
                  <a:pt x="75" y="72"/>
                  <a:pt x="77" y="74"/>
                  <a:pt x="77" y="77"/>
                </a:cubicBezTo>
                <a:cubicBezTo>
                  <a:pt x="77" y="80"/>
                  <a:pt x="75" y="83"/>
                  <a:pt x="72" y="83"/>
                </a:cubicBezTo>
                <a:close/>
                <a:moveTo>
                  <a:pt x="144" y="72"/>
                </a:moveTo>
                <a:cubicBezTo>
                  <a:pt x="144" y="91"/>
                  <a:pt x="137" y="109"/>
                  <a:pt x="123" y="123"/>
                </a:cubicBezTo>
                <a:cubicBezTo>
                  <a:pt x="122" y="124"/>
                  <a:pt x="120" y="124"/>
                  <a:pt x="119" y="123"/>
                </a:cubicBezTo>
                <a:cubicBezTo>
                  <a:pt x="118" y="122"/>
                  <a:pt x="118" y="120"/>
                  <a:pt x="119" y="119"/>
                </a:cubicBezTo>
                <a:cubicBezTo>
                  <a:pt x="132" y="106"/>
                  <a:pt x="139" y="90"/>
                  <a:pt x="139" y="72"/>
                </a:cubicBezTo>
                <a:cubicBezTo>
                  <a:pt x="139" y="35"/>
                  <a:pt x="109" y="5"/>
                  <a:pt x="72" y="5"/>
                </a:cubicBezTo>
                <a:cubicBezTo>
                  <a:pt x="35" y="5"/>
                  <a:pt x="5" y="35"/>
                  <a:pt x="5" y="72"/>
                </a:cubicBezTo>
                <a:cubicBezTo>
                  <a:pt x="5" y="106"/>
                  <a:pt x="32" y="135"/>
                  <a:pt x="65" y="138"/>
                </a:cubicBezTo>
                <a:cubicBezTo>
                  <a:pt x="54" y="127"/>
                  <a:pt x="54" y="127"/>
                  <a:pt x="54" y="127"/>
                </a:cubicBezTo>
                <a:cubicBezTo>
                  <a:pt x="53" y="126"/>
                  <a:pt x="53" y="124"/>
                  <a:pt x="54" y="123"/>
                </a:cubicBezTo>
                <a:cubicBezTo>
                  <a:pt x="55" y="122"/>
                  <a:pt x="57" y="122"/>
                  <a:pt x="58" y="123"/>
                </a:cubicBezTo>
                <a:cubicBezTo>
                  <a:pt x="74" y="139"/>
                  <a:pt x="74" y="139"/>
                  <a:pt x="74" y="139"/>
                </a:cubicBezTo>
                <a:cubicBezTo>
                  <a:pt x="74" y="140"/>
                  <a:pt x="74" y="140"/>
                  <a:pt x="74" y="140"/>
                </a:cubicBezTo>
                <a:cubicBezTo>
                  <a:pt x="75" y="141"/>
                  <a:pt x="75" y="142"/>
                  <a:pt x="74" y="142"/>
                </a:cubicBezTo>
                <a:cubicBezTo>
                  <a:pt x="74" y="143"/>
                  <a:pt x="74" y="143"/>
                  <a:pt x="74" y="143"/>
                </a:cubicBezTo>
                <a:cubicBezTo>
                  <a:pt x="58" y="159"/>
                  <a:pt x="58" y="159"/>
                  <a:pt x="58" y="159"/>
                </a:cubicBezTo>
                <a:cubicBezTo>
                  <a:pt x="57" y="160"/>
                  <a:pt x="57" y="160"/>
                  <a:pt x="56" y="160"/>
                </a:cubicBezTo>
                <a:cubicBezTo>
                  <a:pt x="55" y="160"/>
                  <a:pt x="55" y="160"/>
                  <a:pt x="54" y="159"/>
                </a:cubicBezTo>
                <a:cubicBezTo>
                  <a:pt x="53" y="158"/>
                  <a:pt x="53" y="156"/>
                  <a:pt x="54" y="155"/>
                </a:cubicBezTo>
                <a:cubicBezTo>
                  <a:pt x="66" y="144"/>
                  <a:pt x="66" y="144"/>
                  <a:pt x="66" y="144"/>
                </a:cubicBezTo>
                <a:cubicBezTo>
                  <a:pt x="29" y="141"/>
                  <a:pt x="0" y="110"/>
                  <a:pt x="0" y="72"/>
                </a:cubicBezTo>
                <a:cubicBezTo>
                  <a:pt x="0" y="32"/>
                  <a:pt x="32" y="0"/>
                  <a:pt x="72" y="0"/>
                </a:cubicBezTo>
                <a:cubicBezTo>
                  <a:pt x="112" y="0"/>
                  <a:pt x="144" y="32"/>
                  <a:pt x="144" y="72"/>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2139">
            <a:extLst>
              <a:ext uri="{FF2B5EF4-FFF2-40B4-BE49-F238E27FC236}">
                <a16:creationId xmlns:a16="http://schemas.microsoft.com/office/drawing/2014/main" id="{DE06ABA9-BA87-4C45-B114-C2604052BACA}"/>
              </a:ext>
            </a:extLst>
          </p:cNvPr>
          <p:cNvSpPr>
            <a:spLocks noEditPoints="1"/>
          </p:cNvSpPr>
          <p:nvPr/>
        </p:nvSpPr>
        <p:spPr bwMode="auto">
          <a:xfrm>
            <a:off x="7326309" y="984250"/>
            <a:ext cx="492125" cy="550863"/>
          </a:xfrm>
          <a:custGeom>
            <a:avLst/>
            <a:gdLst>
              <a:gd name="T0" fmla="*/ 88 w 144"/>
              <a:gd name="T1" fmla="*/ 43 h 160"/>
              <a:gd name="T2" fmla="*/ 72 w 144"/>
              <a:gd name="T3" fmla="*/ 27 h 160"/>
              <a:gd name="T4" fmla="*/ 56 w 144"/>
              <a:gd name="T5" fmla="*/ 43 h 160"/>
              <a:gd name="T6" fmla="*/ 56 w 144"/>
              <a:gd name="T7" fmla="*/ 56 h 160"/>
              <a:gd name="T8" fmla="*/ 43 w 144"/>
              <a:gd name="T9" fmla="*/ 56 h 160"/>
              <a:gd name="T10" fmla="*/ 43 w 144"/>
              <a:gd name="T11" fmla="*/ 107 h 160"/>
              <a:gd name="T12" fmla="*/ 101 w 144"/>
              <a:gd name="T13" fmla="*/ 107 h 160"/>
              <a:gd name="T14" fmla="*/ 101 w 144"/>
              <a:gd name="T15" fmla="*/ 56 h 160"/>
              <a:gd name="T16" fmla="*/ 88 w 144"/>
              <a:gd name="T17" fmla="*/ 56 h 160"/>
              <a:gd name="T18" fmla="*/ 88 w 144"/>
              <a:gd name="T19" fmla="*/ 43 h 160"/>
              <a:gd name="T20" fmla="*/ 61 w 144"/>
              <a:gd name="T21" fmla="*/ 43 h 160"/>
              <a:gd name="T22" fmla="*/ 72 w 144"/>
              <a:gd name="T23" fmla="*/ 32 h 160"/>
              <a:gd name="T24" fmla="*/ 83 w 144"/>
              <a:gd name="T25" fmla="*/ 43 h 160"/>
              <a:gd name="T26" fmla="*/ 83 w 144"/>
              <a:gd name="T27" fmla="*/ 56 h 160"/>
              <a:gd name="T28" fmla="*/ 61 w 144"/>
              <a:gd name="T29" fmla="*/ 56 h 160"/>
              <a:gd name="T30" fmla="*/ 61 w 144"/>
              <a:gd name="T31" fmla="*/ 43 h 160"/>
              <a:gd name="T32" fmla="*/ 96 w 144"/>
              <a:gd name="T33" fmla="*/ 61 h 160"/>
              <a:gd name="T34" fmla="*/ 96 w 144"/>
              <a:gd name="T35" fmla="*/ 101 h 160"/>
              <a:gd name="T36" fmla="*/ 48 w 144"/>
              <a:gd name="T37" fmla="*/ 101 h 160"/>
              <a:gd name="T38" fmla="*/ 48 w 144"/>
              <a:gd name="T39" fmla="*/ 61 h 160"/>
              <a:gd name="T40" fmla="*/ 56 w 144"/>
              <a:gd name="T41" fmla="*/ 61 h 160"/>
              <a:gd name="T42" fmla="*/ 88 w 144"/>
              <a:gd name="T43" fmla="*/ 61 h 160"/>
              <a:gd name="T44" fmla="*/ 96 w 144"/>
              <a:gd name="T45" fmla="*/ 61 h 160"/>
              <a:gd name="T46" fmla="*/ 69 w 144"/>
              <a:gd name="T47" fmla="*/ 88 h 160"/>
              <a:gd name="T48" fmla="*/ 69 w 144"/>
              <a:gd name="T49" fmla="*/ 93 h 160"/>
              <a:gd name="T50" fmla="*/ 72 w 144"/>
              <a:gd name="T51" fmla="*/ 96 h 160"/>
              <a:gd name="T52" fmla="*/ 75 w 144"/>
              <a:gd name="T53" fmla="*/ 93 h 160"/>
              <a:gd name="T54" fmla="*/ 75 w 144"/>
              <a:gd name="T55" fmla="*/ 88 h 160"/>
              <a:gd name="T56" fmla="*/ 83 w 144"/>
              <a:gd name="T57" fmla="*/ 77 h 160"/>
              <a:gd name="T58" fmla="*/ 72 w 144"/>
              <a:gd name="T59" fmla="*/ 67 h 160"/>
              <a:gd name="T60" fmla="*/ 61 w 144"/>
              <a:gd name="T61" fmla="*/ 77 h 160"/>
              <a:gd name="T62" fmla="*/ 69 w 144"/>
              <a:gd name="T63" fmla="*/ 88 h 160"/>
              <a:gd name="T64" fmla="*/ 72 w 144"/>
              <a:gd name="T65" fmla="*/ 72 h 160"/>
              <a:gd name="T66" fmla="*/ 77 w 144"/>
              <a:gd name="T67" fmla="*/ 77 h 160"/>
              <a:gd name="T68" fmla="*/ 72 w 144"/>
              <a:gd name="T69" fmla="*/ 83 h 160"/>
              <a:gd name="T70" fmla="*/ 67 w 144"/>
              <a:gd name="T71" fmla="*/ 77 h 160"/>
              <a:gd name="T72" fmla="*/ 72 w 144"/>
              <a:gd name="T73" fmla="*/ 72 h 160"/>
              <a:gd name="T74" fmla="*/ 144 w 144"/>
              <a:gd name="T75" fmla="*/ 72 h 160"/>
              <a:gd name="T76" fmla="*/ 123 w 144"/>
              <a:gd name="T77" fmla="*/ 123 h 160"/>
              <a:gd name="T78" fmla="*/ 119 w 144"/>
              <a:gd name="T79" fmla="*/ 123 h 160"/>
              <a:gd name="T80" fmla="*/ 119 w 144"/>
              <a:gd name="T81" fmla="*/ 119 h 160"/>
              <a:gd name="T82" fmla="*/ 139 w 144"/>
              <a:gd name="T83" fmla="*/ 72 h 160"/>
              <a:gd name="T84" fmla="*/ 72 w 144"/>
              <a:gd name="T85" fmla="*/ 5 h 160"/>
              <a:gd name="T86" fmla="*/ 5 w 144"/>
              <a:gd name="T87" fmla="*/ 72 h 160"/>
              <a:gd name="T88" fmla="*/ 65 w 144"/>
              <a:gd name="T89" fmla="*/ 138 h 160"/>
              <a:gd name="T90" fmla="*/ 54 w 144"/>
              <a:gd name="T91" fmla="*/ 127 h 160"/>
              <a:gd name="T92" fmla="*/ 54 w 144"/>
              <a:gd name="T93" fmla="*/ 123 h 160"/>
              <a:gd name="T94" fmla="*/ 58 w 144"/>
              <a:gd name="T95" fmla="*/ 123 h 160"/>
              <a:gd name="T96" fmla="*/ 74 w 144"/>
              <a:gd name="T97" fmla="*/ 139 h 160"/>
              <a:gd name="T98" fmla="*/ 74 w 144"/>
              <a:gd name="T99" fmla="*/ 140 h 160"/>
              <a:gd name="T100" fmla="*/ 74 w 144"/>
              <a:gd name="T101" fmla="*/ 142 h 160"/>
              <a:gd name="T102" fmla="*/ 74 w 144"/>
              <a:gd name="T103" fmla="*/ 143 h 160"/>
              <a:gd name="T104" fmla="*/ 58 w 144"/>
              <a:gd name="T105" fmla="*/ 159 h 160"/>
              <a:gd name="T106" fmla="*/ 56 w 144"/>
              <a:gd name="T107" fmla="*/ 160 h 160"/>
              <a:gd name="T108" fmla="*/ 54 w 144"/>
              <a:gd name="T109" fmla="*/ 159 h 160"/>
              <a:gd name="T110" fmla="*/ 54 w 144"/>
              <a:gd name="T111" fmla="*/ 155 h 160"/>
              <a:gd name="T112" fmla="*/ 66 w 144"/>
              <a:gd name="T113" fmla="*/ 144 h 160"/>
              <a:gd name="T114" fmla="*/ 0 w 144"/>
              <a:gd name="T115" fmla="*/ 72 h 160"/>
              <a:gd name="T116" fmla="*/ 72 w 144"/>
              <a:gd name="T117" fmla="*/ 0 h 160"/>
              <a:gd name="T118" fmla="*/ 144 w 144"/>
              <a:gd name="T119" fmla="*/ 7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60">
                <a:moveTo>
                  <a:pt x="88" y="43"/>
                </a:moveTo>
                <a:cubicBezTo>
                  <a:pt x="88" y="34"/>
                  <a:pt x="81" y="27"/>
                  <a:pt x="72" y="27"/>
                </a:cubicBezTo>
                <a:cubicBezTo>
                  <a:pt x="63" y="27"/>
                  <a:pt x="56" y="34"/>
                  <a:pt x="56" y="43"/>
                </a:cubicBezTo>
                <a:cubicBezTo>
                  <a:pt x="56" y="56"/>
                  <a:pt x="56" y="56"/>
                  <a:pt x="56" y="56"/>
                </a:cubicBezTo>
                <a:cubicBezTo>
                  <a:pt x="43" y="56"/>
                  <a:pt x="43" y="56"/>
                  <a:pt x="43" y="56"/>
                </a:cubicBezTo>
                <a:cubicBezTo>
                  <a:pt x="43" y="107"/>
                  <a:pt x="43" y="107"/>
                  <a:pt x="43" y="107"/>
                </a:cubicBezTo>
                <a:cubicBezTo>
                  <a:pt x="101" y="107"/>
                  <a:pt x="101" y="107"/>
                  <a:pt x="101" y="107"/>
                </a:cubicBezTo>
                <a:cubicBezTo>
                  <a:pt x="101" y="56"/>
                  <a:pt x="101" y="56"/>
                  <a:pt x="101" y="56"/>
                </a:cubicBezTo>
                <a:cubicBezTo>
                  <a:pt x="88" y="56"/>
                  <a:pt x="88" y="56"/>
                  <a:pt x="88" y="56"/>
                </a:cubicBezTo>
                <a:lnTo>
                  <a:pt x="88" y="43"/>
                </a:lnTo>
                <a:close/>
                <a:moveTo>
                  <a:pt x="61" y="43"/>
                </a:moveTo>
                <a:cubicBezTo>
                  <a:pt x="61" y="37"/>
                  <a:pt x="66" y="32"/>
                  <a:pt x="72" y="32"/>
                </a:cubicBezTo>
                <a:cubicBezTo>
                  <a:pt x="78" y="32"/>
                  <a:pt x="83" y="37"/>
                  <a:pt x="83" y="43"/>
                </a:cubicBezTo>
                <a:cubicBezTo>
                  <a:pt x="83" y="56"/>
                  <a:pt x="83" y="56"/>
                  <a:pt x="83" y="56"/>
                </a:cubicBezTo>
                <a:cubicBezTo>
                  <a:pt x="61" y="56"/>
                  <a:pt x="61" y="56"/>
                  <a:pt x="61" y="56"/>
                </a:cubicBezTo>
                <a:lnTo>
                  <a:pt x="61" y="43"/>
                </a:lnTo>
                <a:close/>
                <a:moveTo>
                  <a:pt x="96" y="61"/>
                </a:moveTo>
                <a:cubicBezTo>
                  <a:pt x="96" y="101"/>
                  <a:pt x="96" y="101"/>
                  <a:pt x="96" y="101"/>
                </a:cubicBezTo>
                <a:cubicBezTo>
                  <a:pt x="48" y="101"/>
                  <a:pt x="48" y="101"/>
                  <a:pt x="48" y="101"/>
                </a:cubicBezTo>
                <a:cubicBezTo>
                  <a:pt x="48" y="61"/>
                  <a:pt x="48" y="61"/>
                  <a:pt x="48" y="61"/>
                </a:cubicBezTo>
                <a:cubicBezTo>
                  <a:pt x="56" y="61"/>
                  <a:pt x="56" y="61"/>
                  <a:pt x="56" y="61"/>
                </a:cubicBezTo>
                <a:cubicBezTo>
                  <a:pt x="88" y="61"/>
                  <a:pt x="88" y="61"/>
                  <a:pt x="88" y="61"/>
                </a:cubicBezTo>
                <a:lnTo>
                  <a:pt x="96" y="61"/>
                </a:lnTo>
                <a:close/>
                <a:moveTo>
                  <a:pt x="69" y="88"/>
                </a:moveTo>
                <a:cubicBezTo>
                  <a:pt x="69" y="93"/>
                  <a:pt x="69" y="93"/>
                  <a:pt x="69" y="93"/>
                </a:cubicBezTo>
                <a:cubicBezTo>
                  <a:pt x="69" y="95"/>
                  <a:pt x="71" y="96"/>
                  <a:pt x="72" y="96"/>
                </a:cubicBezTo>
                <a:cubicBezTo>
                  <a:pt x="73" y="96"/>
                  <a:pt x="75" y="95"/>
                  <a:pt x="75" y="93"/>
                </a:cubicBezTo>
                <a:cubicBezTo>
                  <a:pt x="75" y="88"/>
                  <a:pt x="75" y="88"/>
                  <a:pt x="75" y="88"/>
                </a:cubicBezTo>
                <a:cubicBezTo>
                  <a:pt x="79" y="86"/>
                  <a:pt x="83" y="82"/>
                  <a:pt x="83" y="77"/>
                </a:cubicBezTo>
                <a:cubicBezTo>
                  <a:pt x="83" y="71"/>
                  <a:pt x="78" y="67"/>
                  <a:pt x="72" y="67"/>
                </a:cubicBezTo>
                <a:cubicBezTo>
                  <a:pt x="66" y="67"/>
                  <a:pt x="61" y="71"/>
                  <a:pt x="61" y="77"/>
                </a:cubicBezTo>
                <a:cubicBezTo>
                  <a:pt x="61" y="82"/>
                  <a:pt x="65" y="86"/>
                  <a:pt x="69" y="88"/>
                </a:cubicBezTo>
                <a:close/>
                <a:moveTo>
                  <a:pt x="72" y="72"/>
                </a:moveTo>
                <a:cubicBezTo>
                  <a:pt x="75" y="72"/>
                  <a:pt x="77" y="74"/>
                  <a:pt x="77" y="77"/>
                </a:cubicBezTo>
                <a:cubicBezTo>
                  <a:pt x="77" y="80"/>
                  <a:pt x="75" y="83"/>
                  <a:pt x="72" y="83"/>
                </a:cubicBezTo>
                <a:cubicBezTo>
                  <a:pt x="69" y="83"/>
                  <a:pt x="67" y="80"/>
                  <a:pt x="67" y="77"/>
                </a:cubicBezTo>
                <a:cubicBezTo>
                  <a:pt x="67" y="74"/>
                  <a:pt x="69" y="72"/>
                  <a:pt x="72" y="72"/>
                </a:cubicBezTo>
                <a:close/>
                <a:moveTo>
                  <a:pt x="144" y="72"/>
                </a:moveTo>
                <a:cubicBezTo>
                  <a:pt x="144" y="91"/>
                  <a:pt x="137" y="109"/>
                  <a:pt x="123" y="123"/>
                </a:cubicBezTo>
                <a:cubicBezTo>
                  <a:pt x="122" y="124"/>
                  <a:pt x="120" y="124"/>
                  <a:pt x="119" y="123"/>
                </a:cubicBezTo>
                <a:cubicBezTo>
                  <a:pt x="118" y="122"/>
                  <a:pt x="118" y="120"/>
                  <a:pt x="119" y="119"/>
                </a:cubicBezTo>
                <a:cubicBezTo>
                  <a:pt x="132" y="106"/>
                  <a:pt x="139" y="90"/>
                  <a:pt x="139" y="72"/>
                </a:cubicBezTo>
                <a:cubicBezTo>
                  <a:pt x="139" y="35"/>
                  <a:pt x="109" y="5"/>
                  <a:pt x="72" y="5"/>
                </a:cubicBezTo>
                <a:cubicBezTo>
                  <a:pt x="35" y="5"/>
                  <a:pt x="5" y="35"/>
                  <a:pt x="5" y="72"/>
                </a:cubicBezTo>
                <a:cubicBezTo>
                  <a:pt x="5" y="106"/>
                  <a:pt x="32" y="135"/>
                  <a:pt x="65" y="138"/>
                </a:cubicBezTo>
                <a:cubicBezTo>
                  <a:pt x="54" y="127"/>
                  <a:pt x="54" y="127"/>
                  <a:pt x="54" y="127"/>
                </a:cubicBezTo>
                <a:cubicBezTo>
                  <a:pt x="53" y="126"/>
                  <a:pt x="53" y="124"/>
                  <a:pt x="54" y="123"/>
                </a:cubicBezTo>
                <a:cubicBezTo>
                  <a:pt x="55" y="122"/>
                  <a:pt x="57" y="122"/>
                  <a:pt x="58" y="123"/>
                </a:cubicBezTo>
                <a:cubicBezTo>
                  <a:pt x="74" y="139"/>
                  <a:pt x="74" y="139"/>
                  <a:pt x="74" y="139"/>
                </a:cubicBezTo>
                <a:cubicBezTo>
                  <a:pt x="74" y="140"/>
                  <a:pt x="74" y="140"/>
                  <a:pt x="74" y="140"/>
                </a:cubicBezTo>
                <a:cubicBezTo>
                  <a:pt x="75" y="141"/>
                  <a:pt x="75" y="142"/>
                  <a:pt x="74" y="142"/>
                </a:cubicBezTo>
                <a:cubicBezTo>
                  <a:pt x="74" y="143"/>
                  <a:pt x="74" y="143"/>
                  <a:pt x="74" y="143"/>
                </a:cubicBezTo>
                <a:cubicBezTo>
                  <a:pt x="58" y="159"/>
                  <a:pt x="58" y="159"/>
                  <a:pt x="58" y="159"/>
                </a:cubicBezTo>
                <a:cubicBezTo>
                  <a:pt x="57" y="160"/>
                  <a:pt x="57" y="160"/>
                  <a:pt x="56" y="160"/>
                </a:cubicBezTo>
                <a:cubicBezTo>
                  <a:pt x="55" y="160"/>
                  <a:pt x="55" y="160"/>
                  <a:pt x="54" y="159"/>
                </a:cubicBezTo>
                <a:cubicBezTo>
                  <a:pt x="53" y="158"/>
                  <a:pt x="53" y="156"/>
                  <a:pt x="54" y="155"/>
                </a:cubicBezTo>
                <a:cubicBezTo>
                  <a:pt x="66" y="144"/>
                  <a:pt x="66" y="144"/>
                  <a:pt x="66" y="144"/>
                </a:cubicBezTo>
                <a:cubicBezTo>
                  <a:pt x="29" y="141"/>
                  <a:pt x="0" y="110"/>
                  <a:pt x="0" y="72"/>
                </a:cubicBezTo>
                <a:cubicBezTo>
                  <a:pt x="0" y="32"/>
                  <a:pt x="32" y="0"/>
                  <a:pt x="72" y="0"/>
                </a:cubicBezTo>
                <a:cubicBezTo>
                  <a:pt x="112" y="0"/>
                  <a:pt x="144" y="32"/>
                  <a:pt x="144" y="72"/>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2140">
            <a:extLst>
              <a:ext uri="{FF2B5EF4-FFF2-40B4-BE49-F238E27FC236}">
                <a16:creationId xmlns:a16="http://schemas.microsoft.com/office/drawing/2014/main" id="{26799221-8529-C74B-A971-009D12FC1BE6}"/>
              </a:ext>
            </a:extLst>
          </p:cNvPr>
          <p:cNvSpPr>
            <a:spLocks noEditPoints="1"/>
          </p:cNvSpPr>
          <p:nvPr/>
        </p:nvSpPr>
        <p:spPr bwMode="auto">
          <a:xfrm>
            <a:off x="7367584" y="1603375"/>
            <a:ext cx="423863" cy="550863"/>
          </a:xfrm>
          <a:custGeom>
            <a:avLst/>
            <a:gdLst>
              <a:gd name="T0" fmla="*/ 95 w 124"/>
              <a:gd name="T1" fmla="*/ 65 h 160"/>
              <a:gd name="T2" fmla="*/ 95 w 124"/>
              <a:gd name="T3" fmla="*/ 33 h 160"/>
              <a:gd name="T4" fmla="*/ 60 w 124"/>
              <a:gd name="T5" fmla="*/ 0 h 160"/>
              <a:gd name="T6" fmla="*/ 25 w 124"/>
              <a:gd name="T7" fmla="*/ 33 h 160"/>
              <a:gd name="T8" fmla="*/ 25 w 124"/>
              <a:gd name="T9" fmla="*/ 42 h 160"/>
              <a:gd name="T10" fmla="*/ 28 w 124"/>
              <a:gd name="T11" fmla="*/ 44 h 160"/>
              <a:gd name="T12" fmla="*/ 31 w 124"/>
              <a:gd name="T13" fmla="*/ 42 h 160"/>
              <a:gd name="T14" fmla="*/ 31 w 124"/>
              <a:gd name="T15" fmla="*/ 33 h 160"/>
              <a:gd name="T16" fmla="*/ 60 w 124"/>
              <a:gd name="T17" fmla="*/ 6 h 160"/>
              <a:gd name="T18" fmla="*/ 90 w 124"/>
              <a:gd name="T19" fmla="*/ 33 h 160"/>
              <a:gd name="T20" fmla="*/ 90 w 124"/>
              <a:gd name="T21" fmla="*/ 65 h 160"/>
              <a:gd name="T22" fmla="*/ 0 w 124"/>
              <a:gd name="T23" fmla="*/ 65 h 160"/>
              <a:gd name="T24" fmla="*/ 0 w 124"/>
              <a:gd name="T25" fmla="*/ 138 h 160"/>
              <a:gd name="T26" fmla="*/ 0 w 124"/>
              <a:gd name="T27" fmla="*/ 160 h 160"/>
              <a:gd name="T28" fmla="*/ 124 w 124"/>
              <a:gd name="T29" fmla="*/ 160 h 160"/>
              <a:gd name="T30" fmla="*/ 124 w 124"/>
              <a:gd name="T31" fmla="*/ 138 h 160"/>
              <a:gd name="T32" fmla="*/ 124 w 124"/>
              <a:gd name="T33" fmla="*/ 65 h 160"/>
              <a:gd name="T34" fmla="*/ 95 w 124"/>
              <a:gd name="T35" fmla="*/ 65 h 160"/>
              <a:gd name="T36" fmla="*/ 118 w 124"/>
              <a:gd name="T37" fmla="*/ 154 h 160"/>
              <a:gd name="T38" fmla="*/ 6 w 124"/>
              <a:gd name="T39" fmla="*/ 154 h 160"/>
              <a:gd name="T40" fmla="*/ 6 w 124"/>
              <a:gd name="T41" fmla="*/ 143 h 160"/>
              <a:gd name="T42" fmla="*/ 118 w 124"/>
              <a:gd name="T43" fmla="*/ 143 h 160"/>
              <a:gd name="T44" fmla="*/ 118 w 124"/>
              <a:gd name="T45" fmla="*/ 154 h 160"/>
              <a:gd name="T46" fmla="*/ 6 w 124"/>
              <a:gd name="T47" fmla="*/ 138 h 160"/>
              <a:gd name="T48" fmla="*/ 6 w 124"/>
              <a:gd name="T49" fmla="*/ 70 h 160"/>
              <a:gd name="T50" fmla="*/ 118 w 124"/>
              <a:gd name="T51" fmla="*/ 70 h 160"/>
              <a:gd name="T52" fmla="*/ 118 w 124"/>
              <a:gd name="T53" fmla="*/ 138 h 160"/>
              <a:gd name="T54" fmla="*/ 6 w 124"/>
              <a:gd name="T55" fmla="*/ 138 h 160"/>
              <a:gd name="T56" fmla="*/ 62 w 124"/>
              <a:gd name="T57" fmla="*/ 87 h 160"/>
              <a:gd name="T58" fmla="*/ 51 w 124"/>
              <a:gd name="T59" fmla="*/ 98 h 160"/>
              <a:gd name="T60" fmla="*/ 51 w 124"/>
              <a:gd name="T61" fmla="*/ 115 h 160"/>
              <a:gd name="T62" fmla="*/ 62 w 124"/>
              <a:gd name="T63" fmla="*/ 126 h 160"/>
              <a:gd name="T64" fmla="*/ 73 w 124"/>
              <a:gd name="T65" fmla="*/ 115 h 160"/>
              <a:gd name="T66" fmla="*/ 73 w 124"/>
              <a:gd name="T67" fmla="*/ 98 h 160"/>
              <a:gd name="T68" fmla="*/ 62 w 124"/>
              <a:gd name="T69" fmla="*/ 87 h 160"/>
              <a:gd name="T70" fmla="*/ 67 w 124"/>
              <a:gd name="T71" fmla="*/ 115 h 160"/>
              <a:gd name="T72" fmla="*/ 62 w 124"/>
              <a:gd name="T73" fmla="*/ 121 h 160"/>
              <a:gd name="T74" fmla="*/ 56 w 124"/>
              <a:gd name="T75" fmla="*/ 115 h 160"/>
              <a:gd name="T76" fmla="*/ 56 w 124"/>
              <a:gd name="T77" fmla="*/ 98 h 160"/>
              <a:gd name="T78" fmla="*/ 62 w 124"/>
              <a:gd name="T79" fmla="*/ 93 h 160"/>
              <a:gd name="T80" fmla="*/ 67 w 124"/>
              <a:gd name="T81" fmla="*/ 98 h 160"/>
              <a:gd name="T82" fmla="*/ 67 w 124"/>
              <a:gd name="T83" fmla="*/ 11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4" h="160">
                <a:moveTo>
                  <a:pt x="95" y="65"/>
                </a:moveTo>
                <a:cubicBezTo>
                  <a:pt x="95" y="33"/>
                  <a:pt x="95" y="33"/>
                  <a:pt x="95" y="33"/>
                </a:cubicBezTo>
                <a:cubicBezTo>
                  <a:pt x="95" y="15"/>
                  <a:pt x="80" y="0"/>
                  <a:pt x="60" y="0"/>
                </a:cubicBezTo>
                <a:cubicBezTo>
                  <a:pt x="41" y="0"/>
                  <a:pt x="25" y="15"/>
                  <a:pt x="25" y="33"/>
                </a:cubicBezTo>
                <a:cubicBezTo>
                  <a:pt x="25" y="42"/>
                  <a:pt x="25" y="42"/>
                  <a:pt x="25" y="42"/>
                </a:cubicBezTo>
                <a:cubicBezTo>
                  <a:pt x="25" y="43"/>
                  <a:pt x="27" y="44"/>
                  <a:pt x="28" y="44"/>
                </a:cubicBezTo>
                <a:cubicBezTo>
                  <a:pt x="30" y="44"/>
                  <a:pt x="31" y="43"/>
                  <a:pt x="31" y="42"/>
                </a:cubicBezTo>
                <a:cubicBezTo>
                  <a:pt x="31" y="33"/>
                  <a:pt x="31" y="33"/>
                  <a:pt x="31" y="33"/>
                </a:cubicBezTo>
                <a:cubicBezTo>
                  <a:pt x="31" y="18"/>
                  <a:pt x="44" y="6"/>
                  <a:pt x="60" y="6"/>
                </a:cubicBezTo>
                <a:cubicBezTo>
                  <a:pt x="77" y="6"/>
                  <a:pt x="90" y="18"/>
                  <a:pt x="90" y="33"/>
                </a:cubicBezTo>
                <a:cubicBezTo>
                  <a:pt x="90" y="65"/>
                  <a:pt x="90" y="65"/>
                  <a:pt x="90" y="65"/>
                </a:cubicBezTo>
                <a:cubicBezTo>
                  <a:pt x="0" y="65"/>
                  <a:pt x="0" y="65"/>
                  <a:pt x="0" y="65"/>
                </a:cubicBezTo>
                <a:cubicBezTo>
                  <a:pt x="0" y="138"/>
                  <a:pt x="0" y="138"/>
                  <a:pt x="0" y="138"/>
                </a:cubicBezTo>
                <a:cubicBezTo>
                  <a:pt x="0" y="160"/>
                  <a:pt x="0" y="160"/>
                  <a:pt x="0" y="160"/>
                </a:cubicBezTo>
                <a:cubicBezTo>
                  <a:pt x="124" y="160"/>
                  <a:pt x="124" y="160"/>
                  <a:pt x="124" y="160"/>
                </a:cubicBezTo>
                <a:cubicBezTo>
                  <a:pt x="124" y="138"/>
                  <a:pt x="124" y="138"/>
                  <a:pt x="124" y="138"/>
                </a:cubicBezTo>
                <a:cubicBezTo>
                  <a:pt x="124" y="65"/>
                  <a:pt x="124" y="65"/>
                  <a:pt x="124" y="65"/>
                </a:cubicBezTo>
                <a:lnTo>
                  <a:pt x="95" y="65"/>
                </a:lnTo>
                <a:close/>
                <a:moveTo>
                  <a:pt x="118" y="154"/>
                </a:moveTo>
                <a:cubicBezTo>
                  <a:pt x="6" y="154"/>
                  <a:pt x="6" y="154"/>
                  <a:pt x="6" y="154"/>
                </a:cubicBezTo>
                <a:cubicBezTo>
                  <a:pt x="6" y="143"/>
                  <a:pt x="6" y="143"/>
                  <a:pt x="6" y="143"/>
                </a:cubicBezTo>
                <a:cubicBezTo>
                  <a:pt x="118" y="143"/>
                  <a:pt x="118" y="143"/>
                  <a:pt x="118" y="143"/>
                </a:cubicBezTo>
                <a:lnTo>
                  <a:pt x="118" y="154"/>
                </a:lnTo>
                <a:close/>
                <a:moveTo>
                  <a:pt x="6" y="138"/>
                </a:moveTo>
                <a:cubicBezTo>
                  <a:pt x="6" y="70"/>
                  <a:pt x="6" y="70"/>
                  <a:pt x="6" y="70"/>
                </a:cubicBezTo>
                <a:cubicBezTo>
                  <a:pt x="118" y="70"/>
                  <a:pt x="118" y="70"/>
                  <a:pt x="118" y="70"/>
                </a:cubicBezTo>
                <a:cubicBezTo>
                  <a:pt x="118" y="138"/>
                  <a:pt x="118" y="138"/>
                  <a:pt x="118" y="138"/>
                </a:cubicBezTo>
                <a:lnTo>
                  <a:pt x="6" y="138"/>
                </a:lnTo>
                <a:close/>
                <a:moveTo>
                  <a:pt x="62" y="87"/>
                </a:moveTo>
                <a:cubicBezTo>
                  <a:pt x="56" y="87"/>
                  <a:pt x="51" y="92"/>
                  <a:pt x="51" y="98"/>
                </a:cubicBezTo>
                <a:cubicBezTo>
                  <a:pt x="51" y="115"/>
                  <a:pt x="51" y="115"/>
                  <a:pt x="51" y="115"/>
                </a:cubicBezTo>
                <a:cubicBezTo>
                  <a:pt x="51" y="121"/>
                  <a:pt x="56" y="126"/>
                  <a:pt x="62" y="126"/>
                </a:cubicBezTo>
                <a:cubicBezTo>
                  <a:pt x="68" y="126"/>
                  <a:pt x="73" y="121"/>
                  <a:pt x="73" y="115"/>
                </a:cubicBezTo>
                <a:cubicBezTo>
                  <a:pt x="73" y="98"/>
                  <a:pt x="73" y="98"/>
                  <a:pt x="73" y="98"/>
                </a:cubicBezTo>
                <a:cubicBezTo>
                  <a:pt x="73" y="92"/>
                  <a:pt x="68" y="87"/>
                  <a:pt x="62" y="87"/>
                </a:cubicBezTo>
                <a:close/>
                <a:moveTo>
                  <a:pt x="67" y="115"/>
                </a:moveTo>
                <a:cubicBezTo>
                  <a:pt x="67" y="118"/>
                  <a:pt x="65" y="121"/>
                  <a:pt x="62" y="121"/>
                </a:cubicBezTo>
                <a:cubicBezTo>
                  <a:pt x="59" y="121"/>
                  <a:pt x="56" y="118"/>
                  <a:pt x="56" y="115"/>
                </a:cubicBezTo>
                <a:cubicBezTo>
                  <a:pt x="56" y="98"/>
                  <a:pt x="56" y="98"/>
                  <a:pt x="56" y="98"/>
                </a:cubicBezTo>
                <a:cubicBezTo>
                  <a:pt x="56" y="95"/>
                  <a:pt x="59" y="93"/>
                  <a:pt x="62" y="93"/>
                </a:cubicBezTo>
                <a:cubicBezTo>
                  <a:pt x="65" y="93"/>
                  <a:pt x="67" y="95"/>
                  <a:pt x="67" y="98"/>
                </a:cubicBezTo>
                <a:lnTo>
                  <a:pt x="67" y="115"/>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2141">
            <a:extLst>
              <a:ext uri="{FF2B5EF4-FFF2-40B4-BE49-F238E27FC236}">
                <a16:creationId xmlns:a16="http://schemas.microsoft.com/office/drawing/2014/main" id="{BC88DBA6-DEAF-8E40-96A3-FFC524759D8F}"/>
              </a:ext>
            </a:extLst>
          </p:cNvPr>
          <p:cNvSpPr>
            <a:spLocks noEditPoints="1"/>
          </p:cNvSpPr>
          <p:nvPr/>
        </p:nvSpPr>
        <p:spPr bwMode="auto">
          <a:xfrm>
            <a:off x="7367584" y="2222500"/>
            <a:ext cx="423863" cy="550863"/>
          </a:xfrm>
          <a:custGeom>
            <a:avLst/>
            <a:gdLst>
              <a:gd name="T0" fmla="*/ 25 w 124"/>
              <a:gd name="T1" fmla="*/ 33 h 160"/>
              <a:gd name="T2" fmla="*/ 0 w 124"/>
              <a:gd name="T3" fmla="*/ 160 h 160"/>
              <a:gd name="T4" fmla="*/ 95 w 124"/>
              <a:gd name="T5" fmla="*/ 65 h 160"/>
              <a:gd name="T6" fmla="*/ 90 w 124"/>
              <a:gd name="T7" fmla="*/ 65 h 160"/>
              <a:gd name="T8" fmla="*/ 27 w 124"/>
              <a:gd name="T9" fmla="*/ 126 h 160"/>
              <a:gd name="T10" fmla="*/ 35 w 124"/>
              <a:gd name="T11" fmla="*/ 126 h 160"/>
              <a:gd name="T12" fmla="*/ 8 w 124"/>
              <a:gd name="T13" fmla="*/ 154 h 160"/>
              <a:gd name="T14" fmla="*/ 69 w 124"/>
              <a:gd name="T15" fmla="*/ 126 h 160"/>
              <a:gd name="T16" fmla="*/ 100 w 124"/>
              <a:gd name="T17" fmla="*/ 154 h 160"/>
              <a:gd name="T18" fmla="*/ 108 w 124"/>
              <a:gd name="T19" fmla="*/ 154 h 160"/>
              <a:gd name="T20" fmla="*/ 6 w 124"/>
              <a:gd name="T21" fmla="*/ 121 h 160"/>
              <a:gd name="T22" fmla="*/ 118 w 124"/>
              <a:gd name="T23" fmla="*/ 70 h 160"/>
              <a:gd name="T24" fmla="*/ 115 w 124"/>
              <a:gd name="T25" fmla="*/ 87 h 160"/>
              <a:gd name="T26" fmla="*/ 112 w 124"/>
              <a:gd name="T27" fmla="*/ 101 h 160"/>
              <a:gd name="T28" fmla="*/ 112 w 124"/>
              <a:gd name="T29" fmla="*/ 101 h 160"/>
              <a:gd name="T30" fmla="*/ 59 w 124"/>
              <a:gd name="T31" fmla="*/ 87 h 160"/>
              <a:gd name="T32" fmla="*/ 70 w 124"/>
              <a:gd name="T33" fmla="*/ 81 h 160"/>
              <a:gd name="T34" fmla="*/ 73 w 124"/>
              <a:gd name="T35" fmla="*/ 95 h 160"/>
              <a:gd name="T36" fmla="*/ 79 w 124"/>
              <a:gd name="T37" fmla="*/ 84 h 160"/>
              <a:gd name="T38" fmla="*/ 79 w 124"/>
              <a:gd name="T39" fmla="*/ 84 h 160"/>
              <a:gd name="T40" fmla="*/ 93 w 124"/>
              <a:gd name="T41" fmla="*/ 87 h 160"/>
              <a:gd name="T42" fmla="*/ 87 w 124"/>
              <a:gd name="T43" fmla="*/ 81 h 160"/>
              <a:gd name="T44" fmla="*/ 107 w 124"/>
              <a:gd name="T45" fmla="*/ 79 h 160"/>
              <a:gd name="T46" fmla="*/ 87 w 124"/>
              <a:gd name="T47" fmla="*/ 93 h 160"/>
              <a:gd name="T48" fmla="*/ 87 w 124"/>
              <a:gd name="T49" fmla="*/ 93 h 160"/>
              <a:gd name="T50" fmla="*/ 101 w 124"/>
              <a:gd name="T51" fmla="*/ 95 h 160"/>
              <a:gd name="T52" fmla="*/ 62 w 124"/>
              <a:gd name="T53" fmla="*/ 107 h 160"/>
              <a:gd name="T54" fmla="*/ 73 w 124"/>
              <a:gd name="T55" fmla="*/ 112 h 160"/>
              <a:gd name="T56" fmla="*/ 79 w 124"/>
              <a:gd name="T57" fmla="*/ 101 h 160"/>
              <a:gd name="T58" fmla="*/ 79 w 124"/>
              <a:gd name="T59" fmla="*/ 101 h 160"/>
              <a:gd name="T60" fmla="*/ 93 w 124"/>
              <a:gd name="T61" fmla="*/ 104 h 160"/>
              <a:gd name="T62" fmla="*/ 87 w 124"/>
              <a:gd name="T63" fmla="*/ 115 h 160"/>
              <a:gd name="T64" fmla="*/ 107 w 124"/>
              <a:gd name="T65" fmla="*/ 112 h 160"/>
              <a:gd name="T66" fmla="*/ 45 w 124"/>
              <a:gd name="T67" fmla="*/ 84 h 160"/>
              <a:gd name="T68" fmla="*/ 45 w 124"/>
              <a:gd name="T69" fmla="*/ 84 h 160"/>
              <a:gd name="T70" fmla="*/ 51 w 124"/>
              <a:gd name="T71" fmla="*/ 79 h 160"/>
              <a:gd name="T72" fmla="*/ 53 w 124"/>
              <a:gd name="T73" fmla="*/ 98 h 160"/>
              <a:gd name="T74" fmla="*/ 48 w 124"/>
              <a:gd name="T75" fmla="*/ 104 h 160"/>
              <a:gd name="T76" fmla="*/ 53 w 124"/>
              <a:gd name="T77" fmla="*/ 109 h 160"/>
              <a:gd name="T78" fmla="*/ 53 w 124"/>
              <a:gd name="T79" fmla="*/ 109 h 160"/>
              <a:gd name="T80" fmla="*/ 8 w 124"/>
              <a:gd name="T81" fmla="*/ 87 h 160"/>
              <a:gd name="T82" fmla="*/ 28 w 124"/>
              <a:gd name="T83" fmla="*/ 90 h 160"/>
              <a:gd name="T84" fmla="*/ 22 w 124"/>
              <a:gd name="T85" fmla="*/ 79 h 160"/>
              <a:gd name="T86" fmla="*/ 36 w 124"/>
              <a:gd name="T87" fmla="*/ 76 h 160"/>
              <a:gd name="T88" fmla="*/ 36 w 124"/>
              <a:gd name="T89" fmla="*/ 76 h 160"/>
              <a:gd name="T90" fmla="*/ 17 w 124"/>
              <a:gd name="T91" fmla="*/ 95 h 160"/>
              <a:gd name="T92" fmla="*/ 36 w 124"/>
              <a:gd name="T93" fmla="*/ 98 h 160"/>
              <a:gd name="T94" fmla="*/ 14 w 124"/>
              <a:gd name="T95" fmla="*/ 104 h 160"/>
              <a:gd name="T96" fmla="*/ 28 w 124"/>
              <a:gd name="T97" fmla="*/ 101 h 160"/>
              <a:gd name="T98" fmla="*/ 28 w 124"/>
              <a:gd name="T99" fmla="*/ 101 h 160"/>
              <a:gd name="T100" fmla="*/ 17 w 124"/>
              <a:gd name="T101" fmla="*/ 112 h 160"/>
              <a:gd name="T102" fmla="*/ 36 w 124"/>
              <a:gd name="T103" fmla="*/ 11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4" h="160">
                <a:moveTo>
                  <a:pt x="95" y="65"/>
                </a:moveTo>
                <a:cubicBezTo>
                  <a:pt x="95" y="33"/>
                  <a:pt x="95" y="33"/>
                  <a:pt x="95" y="33"/>
                </a:cubicBezTo>
                <a:cubicBezTo>
                  <a:pt x="95" y="15"/>
                  <a:pt x="80" y="0"/>
                  <a:pt x="60" y="0"/>
                </a:cubicBezTo>
                <a:cubicBezTo>
                  <a:pt x="41" y="0"/>
                  <a:pt x="25" y="15"/>
                  <a:pt x="25" y="33"/>
                </a:cubicBezTo>
                <a:cubicBezTo>
                  <a:pt x="25" y="65"/>
                  <a:pt x="25" y="65"/>
                  <a:pt x="25" y="65"/>
                </a:cubicBezTo>
                <a:cubicBezTo>
                  <a:pt x="0" y="65"/>
                  <a:pt x="0" y="65"/>
                  <a:pt x="0" y="65"/>
                </a:cubicBezTo>
                <a:cubicBezTo>
                  <a:pt x="0" y="121"/>
                  <a:pt x="0" y="121"/>
                  <a:pt x="0" y="121"/>
                </a:cubicBezTo>
                <a:cubicBezTo>
                  <a:pt x="0" y="160"/>
                  <a:pt x="0" y="160"/>
                  <a:pt x="0" y="160"/>
                </a:cubicBezTo>
                <a:cubicBezTo>
                  <a:pt x="124" y="160"/>
                  <a:pt x="124" y="160"/>
                  <a:pt x="124" y="160"/>
                </a:cubicBezTo>
                <a:cubicBezTo>
                  <a:pt x="124" y="121"/>
                  <a:pt x="124" y="121"/>
                  <a:pt x="124" y="121"/>
                </a:cubicBezTo>
                <a:cubicBezTo>
                  <a:pt x="124" y="65"/>
                  <a:pt x="124" y="65"/>
                  <a:pt x="124" y="65"/>
                </a:cubicBezTo>
                <a:lnTo>
                  <a:pt x="95" y="65"/>
                </a:lnTo>
                <a:close/>
                <a:moveTo>
                  <a:pt x="31" y="33"/>
                </a:moveTo>
                <a:cubicBezTo>
                  <a:pt x="31" y="18"/>
                  <a:pt x="44" y="6"/>
                  <a:pt x="60" y="6"/>
                </a:cubicBezTo>
                <a:cubicBezTo>
                  <a:pt x="77" y="6"/>
                  <a:pt x="90" y="18"/>
                  <a:pt x="90" y="33"/>
                </a:cubicBezTo>
                <a:cubicBezTo>
                  <a:pt x="90" y="65"/>
                  <a:pt x="90" y="65"/>
                  <a:pt x="90" y="65"/>
                </a:cubicBezTo>
                <a:cubicBezTo>
                  <a:pt x="31" y="65"/>
                  <a:pt x="31" y="65"/>
                  <a:pt x="31" y="65"/>
                </a:cubicBezTo>
                <a:lnTo>
                  <a:pt x="31" y="33"/>
                </a:lnTo>
                <a:close/>
                <a:moveTo>
                  <a:pt x="6" y="126"/>
                </a:moveTo>
                <a:cubicBezTo>
                  <a:pt x="27" y="126"/>
                  <a:pt x="27" y="126"/>
                  <a:pt x="27" y="126"/>
                </a:cubicBezTo>
                <a:cubicBezTo>
                  <a:pt x="6" y="148"/>
                  <a:pt x="6" y="148"/>
                  <a:pt x="6" y="148"/>
                </a:cubicBezTo>
                <a:lnTo>
                  <a:pt x="6" y="126"/>
                </a:lnTo>
                <a:close/>
                <a:moveTo>
                  <a:pt x="8" y="154"/>
                </a:moveTo>
                <a:cubicBezTo>
                  <a:pt x="35" y="126"/>
                  <a:pt x="35" y="126"/>
                  <a:pt x="35" y="126"/>
                </a:cubicBezTo>
                <a:cubicBezTo>
                  <a:pt x="61" y="126"/>
                  <a:pt x="61" y="126"/>
                  <a:pt x="61" y="126"/>
                </a:cubicBezTo>
                <a:cubicBezTo>
                  <a:pt x="33" y="154"/>
                  <a:pt x="33" y="154"/>
                  <a:pt x="33" y="154"/>
                </a:cubicBezTo>
                <a:cubicBezTo>
                  <a:pt x="6" y="154"/>
                  <a:pt x="6" y="154"/>
                  <a:pt x="6" y="154"/>
                </a:cubicBezTo>
                <a:cubicBezTo>
                  <a:pt x="6" y="154"/>
                  <a:pt x="7" y="154"/>
                  <a:pt x="8" y="154"/>
                </a:cubicBezTo>
                <a:close/>
                <a:moveTo>
                  <a:pt x="94" y="126"/>
                </a:moveTo>
                <a:cubicBezTo>
                  <a:pt x="66" y="154"/>
                  <a:pt x="66" y="154"/>
                  <a:pt x="66" y="154"/>
                </a:cubicBezTo>
                <a:cubicBezTo>
                  <a:pt x="40" y="154"/>
                  <a:pt x="40" y="154"/>
                  <a:pt x="40" y="154"/>
                </a:cubicBezTo>
                <a:cubicBezTo>
                  <a:pt x="69" y="126"/>
                  <a:pt x="69" y="126"/>
                  <a:pt x="69" y="126"/>
                </a:cubicBezTo>
                <a:lnTo>
                  <a:pt x="94" y="126"/>
                </a:lnTo>
                <a:close/>
                <a:moveTo>
                  <a:pt x="118" y="126"/>
                </a:moveTo>
                <a:cubicBezTo>
                  <a:pt x="118" y="136"/>
                  <a:pt x="118" y="136"/>
                  <a:pt x="118" y="136"/>
                </a:cubicBezTo>
                <a:cubicBezTo>
                  <a:pt x="100" y="154"/>
                  <a:pt x="100" y="154"/>
                  <a:pt x="100" y="154"/>
                </a:cubicBezTo>
                <a:cubicBezTo>
                  <a:pt x="74" y="154"/>
                  <a:pt x="74" y="154"/>
                  <a:pt x="74" y="154"/>
                </a:cubicBezTo>
                <a:cubicBezTo>
                  <a:pt x="102" y="126"/>
                  <a:pt x="102" y="126"/>
                  <a:pt x="102" y="126"/>
                </a:cubicBezTo>
                <a:lnTo>
                  <a:pt x="118" y="126"/>
                </a:lnTo>
                <a:close/>
                <a:moveTo>
                  <a:pt x="108" y="154"/>
                </a:moveTo>
                <a:cubicBezTo>
                  <a:pt x="118" y="144"/>
                  <a:pt x="118" y="144"/>
                  <a:pt x="118" y="144"/>
                </a:cubicBezTo>
                <a:cubicBezTo>
                  <a:pt x="118" y="154"/>
                  <a:pt x="118" y="154"/>
                  <a:pt x="118" y="154"/>
                </a:cubicBezTo>
                <a:lnTo>
                  <a:pt x="108" y="154"/>
                </a:lnTo>
                <a:close/>
                <a:moveTo>
                  <a:pt x="6" y="121"/>
                </a:moveTo>
                <a:cubicBezTo>
                  <a:pt x="6" y="70"/>
                  <a:pt x="6" y="70"/>
                  <a:pt x="6" y="70"/>
                </a:cubicBezTo>
                <a:cubicBezTo>
                  <a:pt x="25" y="70"/>
                  <a:pt x="25" y="70"/>
                  <a:pt x="25" y="70"/>
                </a:cubicBezTo>
                <a:cubicBezTo>
                  <a:pt x="95" y="70"/>
                  <a:pt x="95" y="70"/>
                  <a:pt x="95" y="70"/>
                </a:cubicBezTo>
                <a:cubicBezTo>
                  <a:pt x="118" y="70"/>
                  <a:pt x="118" y="70"/>
                  <a:pt x="118" y="70"/>
                </a:cubicBezTo>
                <a:cubicBezTo>
                  <a:pt x="118" y="121"/>
                  <a:pt x="118" y="121"/>
                  <a:pt x="118" y="121"/>
                </a:cubicBezTo>
                <a:lnTo>
                  <a:pt x="6" y="121"/>
                </a:lnTo>
                <a:close/>
                <a:moveTo>
                  <a:pt x="112" y="84"/>
                </a:moveTo>
                <a:cubicBezTo>
                  <a:pt x="114" y="84"/>
                  <a:pt x="115" y="85"/>
                  <a:pt x="115" y="87"/>
                </a:cubicBezTo>
                <a:cubicBezTo>
                  <a:pt x="115" y="89"/>
                  <a:pt x="114" y="90"/>
                  <a:pt x="112" y="90"/>
                </a:cubicBezTo>
                <a:cubicBezTo>
                  <a:pt x="111" y="90"/>
                  <a:pt x="109" y="89"/>
                  <a:pt x="109" y="87"/>
                </a:cubicBezTo>
                <a:cubicBezTo>
                  <a:pt x="109" y="85"/>
                  <a:pt x="111" y="84"/>
                  <a:pt x="112" y="84"/>
                </a:cubicBezTo>
                <a:close/>
                <a:moveTo>
                  <a:pt x="112" y="101"/>
                </a:moveTo>
                <a:cubicBezTo>
                  <a:pt x="114" y="101"/>
                  <a:pt x="115" y="102"/>
                  <a:pt x="115" y="104"/>
                </a:cubicBezTo>
                <a:cubicBezTo>
                  <a:pt x="115" y="105"/>
                  <a:pt x="114" y="107"/>
                  <a:pt x="112" y="107"/>
                </a:cubicBezTo>
                <a:cubicBezTo>
                  <a:pt x="111" y="107"/>
                  <a:pt x="109" y="105"/>
                  <a:pt x="109" y="104"/>
                </a:cubicBezTo>
                <a:cubicBezTo>
                  <a:pt x="109" y="102"/>
                  <a:pt x="111" y="101"/>
                  <a:pt x="112" y="101"/>
                </a:cubicBezTo>
                <a:close/>
                <a:moveTo>
                  <a:pt x="62" y="84"/>
                </a:moveTo>
                <a:cubicBezTo>
                  <a:pt x="63" y="84"/>
                  <a:pt x="65" y="85"/>
                  <a:pt x="65" y="87"/>
                </a:cubicBezTo>
                <a:cubicBezTo>
                  <a:pt x="65" y="89"/>
                  <a:pt x="63" y="90"/>
                  <a:pt x="62" y="90"/>
                </a:cubicBezTo>
                <a:cubicBezTo>
                  <a:pt x="60" y="90"/>
                  <a:pt x="59" y="89"/>
                  <a:pt x="59" y="87"/>
                </a:cubicBezTo>
                <a:cubicBezTo>
                  <a:pt x="59" y="85"/>
                  <a:pt x="60" y="84"/>
                  <a:pt x="62" y="84"/>
                </a:cubicBezTo>
                <a:close/>
                <a:moveTo>
                  <a:pt x="70" y="76"/>
                </a:moveTo>
                <a:cubicBezTo>
                  <a:pt x="72" y="76"/>
                  <a:pt x="73" y="77"/>
                  <a:pt x="73" y="79"/>
                </a:cubicBezTo>
                <a:cubicBezTo>
                  <a:pt x="73" y="80"/>
                  <a:pt x="72" y="81"/>
                  <a:pt x="70" y="81"/>
                </a:cubicBezTo>
                <a:cubicBezTo>
                  <a:pt x="69" y="81"/>
                  <a:pt x="67" y="80"/>
                  <a:pt x="67" y="79"/>
                </a:cubicBezTo>
                <a:cubicBezTo>
                  <a:pt x="67" y="77"/>
                  <a:pt x="69" y="76"/>
                  <a:pt x="70" y="76"/>
                </a:cubicBezTo>
                <a:close/>
                <a:moveTo>
                  <a:pt x="70" y="93"/>
                </a:moveTo>
                <a:cubicBezTo>
                  <a:pt x="72" y="93"/>
                  <a:pt x="73" y="94"/>
                  <a:pt x="73" y="95"/>
                </a:cubicBezTo>
                <a:cubicBezTo>
                  <a:pt x="73" y="97"/>
                  <a:pt x="72" y="98"/>
                  <a:pt x="70" y="98"/>
                </a:cubicBezTo>
                <a:cubicBezTo>
                  <a:pt x="69" y="98"/>
                  <a:pt x="67" y="97"/>
                  <a:pt x="67" y="95"/>
                </a:cubicBezTo>
                <a:cubicBezTo>
                  <a:pt x="67" y="94"/>
                  <a:pt x="69" y="93"/>
                  <a:pt x="70" y="93"/>
                </a:cubicBezTo>
                <a:close/>
                <a:moveTo>
                  <a:pt x="79" y="84"/>
                </a:moveTo>
                <a:cubicBezTo>
                  <a:pt x="80" y="84"/>
                  <a:pt x="81" y="85"/>
                  <a:pt x="81" y="87"/>
                </a:cubicBezTo>
                <a:cubicBezTo>
                  <a:pt x="81" y="89"/>
                  <a:pt x="80" y="90"/>
                  <a:pt x="79" y="90"/>
                </a:cubicBezTo>
                <a:cubicBezTo>
                  <a:pt x="77" y="90"/>
                  <a:pt x="76" y="89"/>
                  <a:pt x="76" y="87"/>
                </a:cubicBezTo>
                <a:cubicBezTo>
                  <a:pt x="76" y="85"/>
                  <a:pt x="77" y="84"/>
                  <a:pt x="79" y="84"/>
                </a:cubicBezTo>
                <a:close/>
                <a:moveTo>
                  <a:pt x="95" y="84"/>
                </a:moveTo>
                <a:cubicBezTo>
                  <a:pt x="97" y="84"/>
                  <a:pt x="98" y="85"/>
                  <a:pt x="98" y="87"/>
                </a:cubicBezTo>
                <a:cubicBezTo>
                  <a:pt x="98" y="89"/>
                  <a:pt x="97" y="90"/>
                  <a:pt x="95" y="90"/>
                </a:cubicBezTo>
                <a:cubicBezTo>
                  <a:pt x="94" y="90"/>
                  <a:pt x="93" y="89"/>
                  <a:pt x="93" y="87"/>
                </a:cubicBezTo>
                <a:cubicBezTo>
                  <a:pt x="93" y="85"/>
                  <a:pt x="94" y="84"/>
                  <a:pt x="95" y="84"/>
                </a:cubicBezTo>
                <a:close/>
                <a:moveTo>
                  <a:pt x="87" y="76"/>
                </a:moveTo>
                <a:cubicBezTo>
                  <a:pt x="89" y="76"/>
                  <a:pt x="90" y="77"/>
                  <a:pt x="90" y="79"/>
                </a:cubicBezTo>
                <a:cubicBezTo>
                  <a:pt x="90" y="80"/>
                  <a:pt x="89" y="81"/>
                  <a:pt x="87" y="81"/>
                </a:cubicBezTo>
                <a:cubicBezTo>
                  <a:pt x="85" y="81"/>
                  <a:pt x="84" y="80"/>
                  <a:pt x="84" y="79"/>
                </a:cubicBezTo>
                <a:cubicBezTo>
                  <a:pt x="84" y="77"/>
                  <a:pt x="85" y="76"/>
                  <a:pt x="87" y="76"/>
                </a:cubicBezTo>
                <a:close/>
                <a:moveTo>
                  <a:pt x="104" y="76"/>
                </a:moveTo>
                <a:cubicBezTo>
                  <a:pt x="105" y="76"/>
                  <a:pt x="107" y="77"/>
                  <a:pt x="107" y="79"/>
                </a:cubicBezTo>
                <a:cubicBezTo>
                  <a:pt x="107" y="80"/>
                  <a:pt x="105" y="81"/>
                  <a:pt x="104" y="81"/>
                </a:cubicBezTo>
                <a:cubicBezTo>
                  <a:pt x="102" y="81"/>
                  <a:pt x="101" y="80"/>
                  <a:pt x="101" y="79"/>
                </a:cubicBezTo>
                <a:cubicBezTo>
                  <a:pt x="101" y="77"/>
                  <a:pt x="102" y="76"/>
                  <a:pt x="104" y="76"/>
                </a:cubicBezTo>
                <a:close/>
                <a:moveTo>
                  <a:pt x="87" y="93"/>
                </a:moveTo>
                <a:cubicBezTo>
                  <a:pt x="89" y="93"/>
                  <a:pt x="90" y="94"/>
                  <a:pt x="90" y="95"/>
                </a:cubicBezTo>
                <a:cubicBezTo>
                  <a:pt x="90" y="97"/>
                  <a:pt x="89" y="98"/>
                  <a:pt x="87" y="98"/>
                </a:cubicBezTo>
                <a:cubicBezTo>
                  <a:pt x="85" y="98"/>
                  <a:pt x="84" y="97"/>
                  <a:pt x="84" y="95"/>
                </a:cubicBezTo>
                <a:cubicBezTo>
                  <a:pt x="84" y="94"/>
                  <a:pt x="85" y="93"/>
                  <a:pt x="87" y="93"/>
                </a:cubicBezTo>
                <a:close/>
                <a:moveTo>
                  <a:pt x="104" y="93"/>
                </a:moveTo>
                <a:cubicBezTo>
                  <a:pt x="105" y="93"/>
                  <a:pt x="107" y="94"/>
                  <a:pt x="107" y="95"/>
                </a:cubicBezTo>
                <a:cubicBezTo>
                  <a:pt x="107" y="97"/>
                  <a:pt x="105" y="98"/>
                  <a:pt x="104" y="98"/>
                </a:cubicBezTo>
                <a:cubicBezTo>
                  <a:pt x="102" y="98"/>
                  <a:pt x="101" y="97"/>
                  <a:pt x="101" y="95"/>
                </a:cubicBezTo>
                <a:cubicBezTo>
                  <a:pt x="101" y="94"/>
                  <a:pt x="102" y="93"/>
                  <a:pt x="104" y="93"/>
                </a:cubicBezTo>
                <a:close/>
                <a:moveTo>
                  <a:pt x="62" y="101"/>
                </a:moveTo>
                <a:cubicBezTo>
                  <a:pt x="63" y="101"/>
                  <a:pt x="65" y="102"/>
                  <a:pt x="65" y="104"/>
                </a:cubicBezTo>
                <a:cubicBezTo>
                  <a:pt x="65" y="105"/>
                  <a:pt x="63" y="107"/>
                  <a:pt x="62" y="107"/>
                </a:cubicBezTo>
                <a:cubicBezTo>
                  <a:pt x="60" y="107"/>
                  <a:pt x="59" y="105"/>
                  <a:pt x="59" y="104"/>
                </a:cubicBezTo>
                <a:cubicBezTo>
                  <a:pt x="59" y="102"/>
                  <a:pt x="60" y="101"/>
                  <a:pt x="62" y="101"/>
                </a:cubicBezTo>
                <a:close/>
                <a:moveTo>
                  <a:pt x="70" y="109"/>
                </a:moveTo>
                <a:cubicBezTo>
                  <a:pt x="72" y="109"/>
                  <a:pt x="73" y="111"/>
                  <a:pt x="73" y="112"/>
                </a:cubicBezTo>
                <a:cubicBezTo>
                  <a:pt x="73" y="114"/>
                  <a:pt x="72" y="115"/>
                  <a:pt x="70" y="115"/>
                </a:cubicBezTo>
                <a:cubicBezTo>
                  <a:pt x="69" y="115"/>
                  <a:pt x="67" y="114"/>
                  <a:pt x="67" y="112"/>
                </a:cubicBezTo>
                <a:cubicBezTo>
                  <a:pt x="67" y="111"/>
                  <a:pt x="69" y="109"/>
                  <a:pt x="70" y="109"/>
                </a:cubicBezTo>
                <a:close/>
                <a:moveTo>
                  <a:pt x="79" y="101"/>
                </a:moveTo>
                <a:cubicBezTo>
                  <a:pt x="80" y="101"/>
                  <a:pt x="81" y="102"/>
                  <a:pt x="81" y="104"/>
                </a:cubicBezTo>
                <a:cubicBezTo>
                  <a:pt x="81" y="105"/>
                  <a:pt x="80" y="107"/>
                  <a:pt x="79" y="107"/>
                </a:cubicBezTo>
                <a:cubicBezTo>
                  <a:pt x="77" y="107"/>
                  <a:pt x="76" y="105"/>
                  <a:pt x="76" y="104"/>
                </a:cubicBezTo>
                <a:cubicBezTo>
                  <a:pt x="76" y="102"/>
                  <a:pt x="77" y="101"/>
                  <a:pt x="79" y="101"/>
                </a:cubicBezTo>
                <a:close/>
                <a:moveTo>
                  <a:pt x="95" y="101"/>
                </a:moveTo>
                <a:cubicBezTo>
                  <a:pt x="97" y="101"/>
                  <a:pt x="98" y="102"/>
                  <a:pt x="98" y="104"/>
                </a:cubicBezTo>
                <a:cubicBezTo>
                  <a:pt x="98" y="105"/>
                  <a:pt x="97" y="107"/>
                  <a:pt x="95" y="107"/>
                </a:cubicBezTo>
                <a:cubicBezTo>
                  <a:pt x="94" y="107"/>
                  <a:pt x="93" y="105"/>
                  <a:pt x="93" y="104"/>
                </a:cubicBezTo>
                <a:cubicBezTo>
                  <a:pt x="93" y="102"/>
                  <a:pt x="94" y="101"/>
                  <a:pt x="95" y="101"/>
                </a:cubicBezTo>
                <a:close/>
                <a:moveTo>
                  <a:pt x="87" y="109"/>
                </a:moveTo>
                <a:cubicBezTo>
                  <a:pt x="89" y="109"/>
                  <a:pt x="90" y="111"/>
                  <a:pt x="90" y="112"/>
                </a:cubicBezTo>
                <a:cubicBezTo>
                  <a:pt x="90" y="114"/>
                  <a:pt x="89" y="115"/>
                  <a:pt x="87" y="115"/>
                </a:cubicBezTo>
                <a:cubicBezTo>
                  <a:pt x="85" y="115"/>
                  <a:pt x="84" y="114"/>
                  <a:pt x="84" y="112"/>
                </a:cubicBezTo>
                <a:cubicBezTo>
                  <a:pt x="84" y="111"/>
                  <a:pt x="85" y="109"/>
                  <a:pt x="87" y="109"/>
                </a:cubicBezTo>
                <a:close/>
                <a:moveTo>
                  <a:pt x="104" y="109"/>
                </a:moveTo>
                <a:cubicBezTo>
                  <a:pt x="105" y="109"/>
                  <a:pt x="107" y="111"/>
                  <a:pt x="107" y="112"/>
                </a:cubicBezTo>
                <a:cubicBezTo>
                  <a:pt x="107" y="114"/>
                  <a:pt x="105" y="115"/>
                  <a:pt x="104" y="115"/>
                </a:cubicBezTo>
                <a:cubicBezTo>
                  <a:pt x="102" y="115"/>
                  <a:pt x="101" y="114"/>
                  <a:pt x="101" y="112"/>
                </a:cubicBezTo>
                <a:cubicBezTo>
                  <a:pt x="101" y="111"/>
                  <a:pt x="102" y="109"/>
                  <a:pt x="104" y="109"/>
                </a:cubicBezTo>
                <a:close/>
                <a:moveTo>
                  <a:pt x="45" y="84"/>
                </a:moveTo>
                <a:cubicBezTo>
                  <a:pt x="46" y="84"/>
                  <a:pt x="48" y="85"/>
                  <a:pt x="48" y="87"/>
                </a:cubicBezTo>
                <a:cubicBezTo>
                  <a:pt x="48" y="89"/>
                  <a:pt x="46" y="90"/>
                  <a:pt x="45" y="90"/>
                </a:cubicBezTo>
                <a:cubicBezTo>
                  <a:pt x="43" y="90"/>
                  <a:pt x="42" y="89"/>
                  <a:pt x="42" y="87"/>
                </a:cubicBezTo>
                <a:cubicBezTo>
                  <a:pt x="42" y="85"/>
                  <a:pt x="43" y="84"/>
                  <a:pt x="45" y="84"/>
                </a:cubicBezTo>
                <a:close/>
                <a:moveTo>
                  <a:pt x="53" y="76"/>
                </a:moveTo>
                <a:cubicBezTo>
                  <a:pt x="55" y="76"/>
                  <a:pt x="56" y="77"/>
                  <a:pt x="56" y="79"/>
                </a:cubicBezTo>
                <a:cubicBezTo>
                  <a:pt x="56" y="80"/>
                  <a:pt x="55" y="81"/>
                  <a:pt x="53" y="81"/>
                </a:cubicBezTo>
                <a:cubicBezTo>
                  <a:pt x="52" y="81"/>
                  <a:pt x="51" y="80"/>
                  <a:pt x="51" y="79"/>
                </a:cubicBezTo>
                <a:cubicBezTo>
                  <a:pt x="51" y="77"/>
                  <a:pt x="52" y="76"/>
                  <a:pt x="53" y="76"/>
                </a:cubicBezTo>
                <a:close/>
                <a:moveTo>
                  <a:pt x="53" y="93"/>
                </a:moveTo>
                <a:cubicBezTo>
                  <a:pt x="55" y="93"/>
                  <a:pt x="56" y="94"/>
                  <a:pt x="56" y="95"/>
                </a:cubicBezTo>
                <a:cubicBezTo>
                  <a:pt x="56" y="97"/>
                  <a:pt x="55" y="98"/>
                  <a:pt x="53" y="98"/>
                </a:cubicBezTo>
                <a:cubicBezTo>
                  <a:pt x="52" y="98"/>
                  <a:pt x="51" y="97"/>
                  <a:pt x="51" y="95"/>
                </a:cubicBezTo>
                <a:cubicBezTo>
                  <a:pt x="51" y="94"/>
                  <a:pt x="52" y="93"/>
                  <a:pt x="53" y="93"/>
                </a:cubicBezTo>
                <a:close/>
                <a:moveTo>
                  <a:pt x="45" y="101"/>
                </a:moveTo>
                <a:cubicBezTo>
                  <a:pt x="46" y="101"/>
                  <a:pt x="48" y="102"/>
                  <a:pt x="48" y="104"/>
                </a:cubicBezTo>
                <a:cubicBezTo>
                  <a:pt x="48" y="105"/>
                  <a:pt x="46" y="107"/>
                  <a:pt x="45" y="107"/>
                </a:cubicBezTo>
                <a:cubicBezTo>
                  <a:pt x="43" y="107"/>
                  <a:pt x="42" y="105"/>
                  <a:pt x="42" y="104"/>
                </a:cubicBezTo>
                <a:cubicBezTo>
                  <a:pt x="42" y="102"/>
                  <a:pt x="43" y="101"/>
                  <a:pt x="45" y="101"/>
                </a:cubicBezTo>
                <a:close/>
                <a:moveTo>
                  <a:pt x="53" y="109"/>
                </a:moveTo>
                <a:cubicBezTo>
                  <a:pt x="55" y="109"/>
                  <a:pt x="56" y="111"/>
                  <a:pt x="56" y="112"/>
                </a:cubicBezTo>
                <a:cubicBezTo>
                  <a:pt x="56" y="114"/>
                  <a:pt x="55" y="115"/>
                  <a:pt x="53" y="115"/>
                </a:cubicBezTo>
                <a:cubicBezTo>
                  <a:pt x="52" y="115"/>
                  <a:pt x="51" y="114"/>
                  <a:pt x="51" y="112"/>
                </a:cubicBezTo>
                <a:cubicBezTo>
                  <a:pt x="51" y="111"/>
                  <a:pt x="52" y="109"/>
                  <a:pt x="53" y="109"/>
                </a:cubicBezTo>
                <a:close/>
                <a:moveTo>
                  <a:pt x="11" y="84"/>
                </a:moveTo>
                <a:cubicBezTo>
                  <a:pt x="13" y="84"/>
                  <a:pt x="14" y="85"/>
                  <a:pt x="14" y="87"/>
                </a:cubicBezTo>
                <a:cubicBezTo>
                  <a:pt x="14" y="89"/>
                  <a:pt x="13" y="90"/>
                  <a:pt x="11" y="90"/>
                </a:cubicBezTo>
                <a:cubicBezTo>
                  <a:pt x="10" y="90"/>
                  <a:pt x="8" y="89"/>
                  <a:pt x="8" y="87"/>
                </a:cubicBezTo>
                <a:cubicBezTo>
                  <a:pt x="8" y="85"/>
                  <a:pt x="10" y="84"/>
                  <a:pt x="11" y="84"/>
                </a:cubicBezTo>
                <a:close/>
                <a:moveTo>
                  <a:pt x="28" y="84"/>
                </a:moveTo>
                <a:cubicBezTo>
                  <a:pt x="30" y="84"/>
                  <a:pt x="31" y="85"/>
                  <a:pt x="31" y="87"/>
                </a:cubicBezTo>
                <a:cubicBezTo>
                  <a:pt x="31" y="89"/>
                  <a:pt x="30" y="90"/>
                  <a:pt x="28" y="90"/>
                </a:cubicBezTo>
                <a:cubicBezTo>
                  <a:pt x="27" y="90"/>
                  <a:pt x="25" y="89"/>
                  <a:pt x="25" y="87"/>
                </a:cubicBezTo>
                <a:cubicBezTo>
                  <a:pt x="25" y="85"/>
                  <a:pt x="27" y="84"/>
                  <a:pt x="28" y="84"/>
                </a:cubicBezTo>
                <a:close/>
                <a:moveTo>
                  <a:pt x="20" y="76"/>
                </a:moveTo>
                <a:cubicBezTo>
                  <a:pt x="21" y="76"/>
                  <a:pt x="22" y="77"/>
                  <a:pt x="22" y="79"/>
                </a:cubicBezTo>
                <a:cubicBezTo>
                  <a:pt x="22" y="80"/>
                  <a:pt x="21" y="81"/>
                  <a:pt x="20" y="81"/>
                </a:cubicBezTo>
                <a:cubicBezTo>
                  <a:pt x="18" y="81"/>
                  <a:pt x="17" y="80"/>
                  <a:pt x="17" y="79"/>
                </a:cubicBezTo>
                <a:cubicBezTo>
                  <a:pt x="17" y="77"/>
                  <a:pt x="18" y="76"/>
                  <a:pt x="20" y="76"/>
                </a:cubicBezTo>
                <a:close/>
                <a:moveTo>
                  <a:pt x="36" y="76"/>
                </a:moveTo>
                <a:cubicBezTo>
                  <a:pt x="38" y="76"/>
                  <a:pt x="39" y="77"/>
                  <a:pt x="39" y="79"/>
                </a:cubicBezTo>
                <a:cubicBezTo>
                  <a:pt x="39" y="80"/>
                  <a:pt x="38" y="81"/>
                  <a:pt x="36" y="81"/>
                </a:cubicBezTo>
                <a:cubicBezTo>
                  <a:pt x="35" y="81"/>
                  <a:pt x="34" y="80"/>
                  <a:pt x="34" y="79"/>
                </a:cubicBezTo>
                <a:cubicBezTo>
                  <a:pt x="34" y="77"/>
                  <a:pt x="35" y="76"/>
                  <a:pt x="36" y="76"/>
                </a:cubicBezTo>
                <a:close/>
                <a:moveTo>
                  <a:pt x="20" y="93"/>
                </a:moveTo>
                <a:cubicBezTo>
                  <a:pt x="21" y="93"/>
                  <a:pt x="22" y="94"/>
                  <a:pt x="22" y="95"/>
                </a:cubicBezTo>
                <a:cubicBezTo>
                  <a:pt x="22" y="97"/>
                  <a:pt x="21" y="98"/>
                  <a:pt x="20" y="98"/>
                </a:cubicBezTo>
                <a:cubicBezTo>
                  <a:pt x="18" y="98"/>
                  <a:pt x="17" y="97"/>
                  <a:pt x="17" y="95"/>
                </a:cubicBezTo>
                <a:cubicBezTo>
                  <a:pt x="17" y="94"/>
                  <a:pt x="18" y="93"/>
                  <a:pt x="20" y="93"/>
                </a:cubicBezTo>
                <a:close/>
                <a:moveTo>
                  <a:pt x="36" y="93"/>
                </a:moveTo>
                <a:cubicBezTo>
                  <a:pt x="38" y="93"/>
                  <a:pt x="39" y="94"/>
                  <a:pt x="39" y="95"/>
                </a:cubicBezTo>
                <a:cubicBezTo>
                  <a:pt x="39" y="97"/>
                  <a:pt x="38" y="98"/>
                  <a:pt x="36" y="98"/>
                </a:cubicBezTo>
                <a:cubicBezTo>
                  <a:pt x="35" y="98"/>
                  <a:pt x="34" y="97"/>
                  <a:pt x="34" y="95"/>
                </a:cubicBezTo>
                <a:cubicBezTo>
                  <a:pt x="34" y="94"/>
                  <a:pt x="35" y="93"/>
                  <a:pt x="36" y="93"/>
                </a:cubicBezTo>
                <a:close/>
                <a:moveTo>
                  <a:pt x="11" y="101"/>
                </a:moveTo>
                <a:cubicBezTo>
                  <a:pt x="13" y="101"/>
                  <a:pt x="14" y="102"/>
                  <a:pt x="14" y="104"/>
                </a:cubicBezTo>
                <a:cubicBezTo>
                  <a:pt x="14" y="105"/>
                  <a:pt x="13" y="107"/>
                  <a:pt x="11" y="107"/>
                </a:cubicBezTo>
                <a:cubicBezTo>
                  <a:pt x="10" y="107"/>
                  <a:pt x="8" y="105"/>
                  <a:pt x="8" y="104"/>
                </a:cubicBezTo>
                <a:cubicBezTo>
                  <a:pt x="8" y="102"/>
                  <a:pt x="10" y="101"/>
                  <a:pt x="11" y="101"/>
                </a:cubicBezTo>
                <a:close/>
                <a:moveTo>
                  <a:pt x="28" y="101"/>
                </a:moveTo>
                <a:cubicBezTo>
                  <a:pt x="30" y="101"/>
                  <a:pt x="31" y="102"/>
                  <a:pt x="31" y="104"/>
                </a:cubicBezTo>
                <a:cubicBezTo>
                  <a:pt x="31" y="105"/>
                  <a:pt x="30" y="107"/>
                  <a:pt x="28" y="107"/>
                </a:cubicBezTo>
                <a:cubicBezTo>
                  <a:pt x="27" y="107"/>
                  <a:pt x="25" y="105"/>
                  <a:pt x="25" y="104"/>
                </a:cubicBezTo>
                <a:cubicBezTo>
                  <a:pt x="25" y="102"/>
                  <a:pt x="27" y="101"/>
                  <a:pt x="28" y="101"/>
                </a:cubicBezTo>
                <a:close/>
                <a:moveTo>
                  <a:pt x="20" y="109"/>
                </a:moveTo>
                <a:cubicBezTo>
                  <a:pt x="21" y="109"/>
                  <a:pt x="22" y="111"/>
                  <a:pt x="22" y="112"/>
                </a:cubicBezTo>
                <a:cubicBezTo>
                  <a:pt x="22" y="114"/>
                  <a:pt x="21" y="115"/>
                  <a:pt x="20" y="115"/>
                </a:cubicBezTo>
                <a:cubicBezTo>
                  <a:pt x="18" y="115"/>
                  <a:pt x="17" y="114"/>
                  <a:pt x="17" y="112"/>
                </a:cubicBezTo>
                <a:cubicBezTo>
                  <a:pt x="17" y="111"/>
                  <a:pt x="18" y="109"/>
                  <a:pt x="20" y="109"/>
                </a:cubicBezTo>
                <a:close/>
                <a:moveTo>
                  <a:pt x="36" y="109"/>
                </a:moveTo>
                <a:cubicBezTo>
                  <a:pt x="38" y="109"/>
                  <a:pt x="39" y="111"/>
                  <a:pt x="39" y="112"/>
                </a:cubicBezTo>
                <a:cubicBezTo>
                  <a:pt x="39" y="114"/>
                  <a:pt x="38" y="115"/>
                  <a:pt x="36" y="115"/>
                </a:cubicBezTo>
                <a:cubicBezTo>
                  <a:pt x="35" y="115"/>
                  <a:pt x="34" y="114"/>
                  <a:pt x="34" y="112"/>
                </a:cubicBezTo>
                <a:cubicBezTo>
                  <a:pt x="34" y="111"/>
                  <a:pt x="35" y="109"/>
                  <a:pt x="36" y="109"/>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2142">
            <a:extLst>
              <a:ext uri="{FF2B5EF4-FFF2-40B4-BE49-F238E27FC236}">
                <a16:creationId xmlns:a16="http://schemas.microsoft.com/office/drawing/2014/main" id="{B2B9E331-629A-B24A-AAA2-1546119F2728}"/>
              </a:ext>
            </a:extLst>
          </p:cNvPr>
          <p:cNvSpPr>
            <a:spLocks noEditPoints="1"/>
          </p:cNvSpPr>
          <p:nvPr/>
        </p:nvSpPr>
        <p:spPr bwMode="auto">
          <a:xfrm>
            <a:off x="7367584" y="2841625"/>
            <a:ext cx="423863" cy="550863"/>
          </a:xfrm>
          <a:custGeom>
            <a:avLst/>
            <a:gdLst>
              <a:gd name="T0" fmla="*/ 22 w 124"/>
              <a:gd name="T1" fmla="*/ 33 h 160"/>
              <a:gd name="T2" fmla="*/ 28 w 124"/>
              <a:gd name="T3" fmla="*/ 33 h 160"/>
              <a:gd name="T4" fmla="*/ 0 w 124"/>
              <a:gd name="T5" fmla="*/ 65 h 160"/>
              <a:gd name="T6" fmla="*/ 124 w 124"/>
              <a:gd name="T7" fmla="*/ 121 h 160"/>
              <a:gd name="T8" fmla="*/ 27 w 124"/>
              <a:gd name="T9" fmla="*/ 126 h 160"/>
              <a:gd name="T10" fmla="*/ 35 w 124"/>
              <a:gd name="T11" fmla="*/ 126 h 160"/>
              <a:gd name="T12" fmla="*/ 8 w 124"/>
              <a:gd name="T13" fmla="*/ 154 h 160"/>
              <a:gd name="T14" fmla="*/ 69 w 124"/>
              <a:gd name="T15" fmla="*/ 126 h 160"/>
              <a:gd name="T16" fmla="*/ 100 w 124"/>
              <a:gd name="T17" fmla="*/ 154 h 160"/>
              <a:gd name="T18" fmla="*/ 108 w 124"/>
              <a:gd name="T19" fmla="*/ 154 h 160"/>
              <a:gd name="T20" fmla="*/ 6 w 124"/>
              <a:gd name="T21" fmla="*/ 121 h 160"/>
              <a:gd name="T22" fmla="*/ 6 w 124"/>
              <a:gd name="T23" fmla="*/ 121 h 160"/>
              <a:gd name="T24" fmla="*/ 109 w 124"/>
              <a:gd name="T25" fmla="*/ 87 h 160"/>
              <a:gd name="T26" fmla="*/ 112 w 124"/>
              <a:gd name="T27" fmla="*/ 107 h 160"/>
              <a:gd name="T28" fmla="*/ 65 w 124"/>
              <a:gd name="T29" fmla="*/ 87 h 160"/>
              <a:gd name="T30" fmla="*/ 70 w 124"/>
              <a:gd name="T31" fmla="*/ 76 h 160"/>
              <a:gd name="T32" fmla="*/ 70 w 124"/>
              <a:gd name="T33" fmla="*/ 76 h 160"/>
              <a:gd name="T34" fmla="*/ 67 w 124"/>
              <a:gd name="T35" fmla="*/ 95 h 160"/>
              <a:gd name="T36" fmla="*/ 79 w 124"/>
              <a:gd name="T37" fmla="*/ 90 h 160"/>
              <a:gd name="T38" fmla="*/ 98 w 124"/>
              <a:gd name="T39" fmla="*/ 87 h 160"/>
              <a:gd name="T40" fmla="*/ 87 w 124"/>
              <a:gd name="T41" fmla="*/ 76 h 160"/>
              <a:gd name="T42" fmla="*/ 87 w 124"/>
              <a:gd name="T43" fmla="*/ 76 h 160"/>
              <a:gd name="T44" fmla="*/ 101 w 124"/>
              <a:gd name="T45" fmla="*/ 79 h 160"/>
              <a:gd name="T46" fmla="*/ 87 w 124"/>
              <a:gd name="T47" fmla="*/ 98 h 160"/>
              <a:gd name="T48" fmla="*/ 107 w 124"/>
              <a:gd name="T49" fmla="*/ 95 h 160"/>
              <a:gd name="T50" fmla="*/ 62 w 124"/>
              <a:gd name="T51" fmla="*/ 101 h 160"/>
              <a:gd name="T52" fmla="*/ 62 w 124"/>
              <a:gd name="T53" fmla="*/ 101 h 160"/>
              <a:gd name="T54" fmla="*/ 67 w 124"/>
              <a:gd name="T55" fmla="*/ 112 h 160"/>
              <a:gd name="T56" fmla="*/ 79 w 124"/>
              <a:gd name="T57" fmla="*/ 107 h 160"/>
              <a:gd name="T58" fmla="*/ 98 w 124"/>
              <a:gd name="T59" fmla="*/ 104 h 160"/>
              <a:gd name="T60" fmla="*/ 87 w 124"/>
              <a:gd name="T61" fmla="*/ 109 h 160"/>
              <a:gd name="T62" fmla="*/ 87 w 124"/>
              <a:gd name="T63" fmla="*/ 109 h 160"/>
              <a:gd name="T64" fmla="*/ 101 w 124"/>
              <a:gd name="T65" fmla="*/ 112 h 160"/>
              <a:gd name="T66" fmla="*/ 45 w 124"/>
              <a:gd name="T67" fmla="*/ 90 h 160"/>
              <a:gd name="T68" fmla="*/ 56 w 124"/>
              <a:gd name="T69" fmla="*/ 79 h 160"/>
              <a:gd name="T70" fmla="*/ 53 w 124"/>
              <a:gd name="T71" fmla="*/ 93 h 160"/>
              <a:gd name="T72" fmla="*/ 53 w 124"/>
              <a:gd name="T73" fmla="*/ 93 h 160"/>
              <a:gd name="T74" fmla="*/ 42 w 124"/>
              <a:gd name="T75" fmla="*/ 104 h 160"/>
              <a:gd name="T76" fmla="*/ 53 w 124"/>
              <a:gd name="T77" fmla="*/ 115 h 160"/>
              <a:gd name="T78" fmla="*/ 14 w 124"/>
              <a:gd name="T79" fmla="*/ 87 h 160"/>
              <a:gd name="T80" fmla="*/ 28 w 124"/>
              <a:gd name="T81" fmla="*/ 84 h 160"/>
              <a:gd name="T82" fmla="*/ 28 w 124"/>
              <a:gd name="T83" fmla="*/ 84 h 160"/>
              <a:gd name="T84" fmla="*/ 17 w 124"/>
              <a:gd name="T85" fmla="*/ 79 h 160"/>
              <a:gd name="T86" fmla="*/ 36 w 124"/>
              <a:gd name="T87" fmla="*/ 81 h 160"/>
              <a:gd name="T88" fmla="*/ 22 w 124"/>
              <a:gd name="T89" fmla="*/ 95 h 160"/>
              <a:gd name="T90" fmla="*/ 36 w 124"/>
              <a:gd name="T91" fmla="*/ 93 h 160"/>
              <a:gd name="T92" fmla="*/ 36 w 124"/>
              <a:gd name="T93" fmla="*/ 93 h 160"/>
              <a:gd name="T94" fmla="*/ 8 w 124"/>
              <a:gd name="T95" fmla="*/ 104 h 160"/>
              <a:gd name="T96" fmla="*/ 28 w 124"/>
              <a:gd name="T97" fmla="*/ 107 h 160"/>
              <a:gd name="T98" fmla="*/ 22 w 124"/>
              <a:gd name="T99" fmla="*/ 112 h 160"/>
              <a:gd name="T100" fmla="*/ 36 w 124"/>
              <a:gd name="T101" fmla="*/ 109 h 160"/>
              <a:gd name="T102" fmla="*/ 36 w 124"/>
              <a:gd name="T10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4" h="160">
                <a:moveTo>
                  <a:pt x="93" y="65"/>
                </a:moveTo>
                <a:cubicBezTo>
                  <a:pt x="93" y="33"/>
                  <a:pt x="93" y="33"/>
                  <a:pt x="93" y="33"/>
                </a:cubicBezTo>
                <a:cubicBezTo>
                  <a:pt x="93" y="15"/>
                  <a:pt x="77" y="0"/>
                  <a:pt x="58" y="0"/>
                </a:cubicBezTo>
                <a:cubicBezTo>
                  <a:pt x="38" y="0"/>
                  <a:pt x="22" y="15"/>
                  <a:pt x="22" y="33"/>
                </a:cubicBezTo>
                <a:cubicBezTo>
                  <a:pt x="22" y="42"/>
                  <a:pt x="22" y="42"/>
                  <a:pt x="22" y="42"/>
                </a:cubicBezTo>
                <a:cubicBezTo>
                  <a:pt x="22" y="43"/>
                  <a:pt x="24" y="44"/>
                  <a:pt x="25" y="44"/>
                </a:cubicBezTo>
                <a:cubicBezTo>
                  <a:pt x="27" y="44"/>
                  <a:pt x="28" y="43"/>
                  <a:pt x="28" y="42"/>
                </a:cubicBezTo>
                <a:cubicBezTo>
                  <a:pt x="28" y="33"/>
                  <a:pt x="28" y="33"/>
                  <a:pt x="28" y="33"/>
                </a:cubicBezTo>
                <a:cubicBezTo>
                  <a:pt x="28" y="18"/>
                  <a:pt x="41" y="6"/>
                  <a:pt x="58" y="6"/>
                </a:cubicBezTo>
                <a:cubicBezTo>
                  <a:pt x="74" y="6"/>
                  <a:pt x="87" y="18"/>
                  <a:pt x="87" y="33"/>
                </a:cubicBezTo>
                <a:cubicBezTo>
                  <a:pt x="87" y="65"/>
                  <a:pt x="87" y="65"/>
                  <a:pt x="87" y="65"/>
                </a:cubicBezTo>
                <a:cubicBezTo>
                  <a:pt x="0" y="65"/>
                  <a:pt x="0" y="65"/>
                  <a:pt x="0" y="65"/>
                </a:cubicBezTo>
                <a:cubicBezTo>
                  <a:pt x="0" y="121"/>
                  <a:pt x="0" y="121"/>
                  <a:pt x="0" y="121"/>
                </a:cubicBezTo>
                <a:cubicBezTo>
                  <a:pt x="0" y="160"/>
                  <a:pt x="0" y="160"/>
                  <a:pt x="0" y="160"/>
                </a:cubicBezTo>
                <a:cubicBezTo>
                  <a:pt x="124" y="160"/>
                  <a:pt x="124" y="160"/>
                  <a:pt x="124" y="160"/>
                </a:cubicBezTo>
                <a:cubicBezTo>
                  <a:pt x="124" y="121"/>
                  <a:pt x="124" y="121"/>
                  <a:pt x="124" y="121"/>
                </a:cubicBezTo>
                <a:cubicBezTo>
                  <a:pt x="124" y="65"/>
                  <a:pt x="124" y="65"/>
                  <a:pt x="124" y="65"/>
                </a:cubicBezTo>
                <a:lnTo>
                  <a:pt x="93" y="65"/>
                </a:lnTo>
                <a:close/>
                <a:moveTo>
                  <a:pt x="6" y="126"/>
                </a:moveTo>
                <a:cubicBezTo>
                  <a:pt x="27" y="126"/>
                  <a:pt x="27" y="126"/>
                  <a:pt x="27" y="126"/>
                </a:cubicBezTo>
                <a:cubicBezTo>
                  <a:pt x="6" y="148"/>
                  <a:pt x="6" y="148"/>
                  <a:pt x="6" y="148"/>
                </a:cubicBezTo>
                <a:lnTo>
                  <a:pt x="6" y="126"/>
                </a:lnTo>
                <a:close/>
                <a:moveTo>
                  <a:pt x="8" y="154"/>
                </a:moveTo>
                <a:cubicBezTo>
                  <a:pt x="35" y="126"/>
                  <a:pt x="35" y="126"/>
                  <a:pt x="35" y="126"/>
                </a:cubicBezTo>
                <a:cubicBezTo>
                  <a:pt x="61" y="126"/>
                  <a:pt x="61" y="126"/>
                  <a:pt x="61" y="126"/>
                </a:cubicBezTo>
                <a:cubicBezTo>
                  <a:pt x="33" y="154"/>
                  <a:pt x="33" y="154"/>
                  <a:pt x="33" y="154"/>
                </a:cubicBezTo>
                <a:cubicBezTo>
                  <a:pt x="6" y="154"/>
                  <a:pt x="6" y="154"/>
                  <a:pt x="6" y="154"/>
                </a:cubicBezTo>
                <a:cubicBezTo>
                  <a:pt x="6" y="154"/>
                  <a:pt x="7" y="154"/>
                  <a:pt x="8" y="154"/>
                </a:cubicBezTo>
                <a:close/>
                <a:moveTo>
                  <a:pt x="94" y="126"/>
                </a:moveTo>
                <a:cubicBezTo>
                  <a:pt x="66" y="154"/>
                  <a:pt x="66" y="154"/>
                  <a:pt x="66" y="154"/>
                </a:cubicBezTo>
                <a:cubicBezTo>
                  <a:pt x="40" y="154"/>
                  <a:pt x="40" y="154"/>
                  <a:pt x="40" y="154"/>
                </a:cubicBezTo>
                <a:cubicBezTo>
                  <a:pt x="69" y="126"/>
                  <a:pt x="69" y="126"/>
                  <a:pt x="69" y="126"/>
                </a:cubicBezTo>
                <a:lnTo>
                  <a:pt x="94" y="126"/>
                </a:lnTo>
                <a:close/>
                <a:moveTo>
                  <a:pt x="118" y="126"/>
                </a:moveTo>
                <a:cubicBezTo>
                  <a:pt x="118" y="136"/>
                  <a:pt x="118" y="136"/>
                  <a:pt x="118" y="136"/>
                </a:cubicBezTo>
                <a:cubicBezTo>
                  <a:pt x="100" y="154"/>
                  <a:pt x="100" y="154"/>
                  <a:pt x="100" y="154"/>
                </a:cubicBezTo>
                <a:cubicBezTo>
                  <a:pt x="74" y="154"/>
                  <a:pt x="74" y="154"/>
                  <a:pt x="74" y="154"/>
                </a:cubicBezTo>
                <a:cubicBezTo>
                  <a:pt x="102" y="126"/>
                  <a:pt x="102" y="126"/>
                  <a:pt x="102" y="126"/>
                </a:cubicBezTo>
                <a:lnTo>
                  <a:pt x="118" y="126"/>
                </a:lnTo>
                <a:close/>
                <a:moveTo>
                  <a:pt x="108" y="154"/>
                </a:moveTo>
                <a:cubicBezTo>
                  <a:pt x="118" y="144"/>
                  <a:pt x="118" y="144"/>
                  <a:pt x="118" y="144"/>
                </a:cubicBezTo>
                <a:cubicBezTo>
                  <a:pt x="118" y="154"/>
                  <a:pt x="118" y="154"/>
                  <a:pt x="118" y="154"/>
                </a:cubicBezTo>
                <a:lnTo>
                  <a:pt x="108" y="154"/>
                </a:lnTo>
                <a:close/>
                <a:moveTo>
                  <a:pt x="6" y="121"/>
                </a:moveTo>
                <a:cubicBezTo>
                  <a:pt x="6" y="70"/>
                  <a:pt x="6" y="70"/>
                  <a:pt x="6" y="70"/>
                </a:cubicBezTo>
                <a:cubicBezTo>
                  <a:pt x="118" y="70"/>
                  <a:pt x="118" y="70"/>
                  <a:pt x="118" y="70"/>
                </a:cubicBezTo>
                <a:cubicBezTo>
                  <a:pt x="118" y="121"/>
                  <a:pt x="118" y="121"/>
                  <a:pt x="118" y="121"/>
                </a:cubicBezTo>
                <a:lnTo>
                  <a:pt x="6" y="121"/>
                </a:lnTo>
                <a:close/>
                <a:moveTo>
                  <a:pt x="112" y="84"/>
                </a:moveTo>
                <a:cubicBezTo>
                  <a:pt x="114" y="84"/>
                  <a:pt x="115" y="85"/>
                  <a:pt x="115" y="87"/>
                </a:cubicBezTo>
                <a:cubicBezTo>
                  <a:pt x="115" y="89"/>
                  <a:pt x="114" y="90"/>
                  <a:pt x="112" y="90"/>
                </a:cubicBezTo>
                <a:cubicBezTo>
                  <a:pt x="111" y="90"/>
                  <a:pt x="109" y="89"/>
                  <a:pt x="109" y="87"/>
                </a:cubicBezTo>
                <a:cubicBezTo>
                  <a:pt x="109" y="85"/>
                  <a:pt x="111" y="84"/>
                  <a:pt x="112" y="84"/>
                </a:cubicBezTo>
                <a:close/>
                <a:moveTo>
                  <a:pt x="112" y="101"/>
                </a:moveTo>
                <a:cubicBezTo>
                  <a:pt x="114" y="101"/>
                  <a:pt x="115" y="102"/>
                  <a:pt x="115" y="104"/>
                </a:cubicBezTo>
                <a:cubicBezTo>
                  <a:pt x="115" y="105"/>
                  <a:pt x="114" y="107"/>
                  <a:pt x="112" y="107"/>
                </a:cubicBezTo>
                <a:cubicBezTo>
                  <a:pt x="111" y="107"/>
                  <a:pt x="109" y="105"/>
                  <a:pt x="109" y="104"/>
                </a:cubicBezTo>
                <a:cubicBezTo>
                  <a:pt x="109" y="102"/>
                  <a:pt x="111" y="101"/>
                  <a:pt x="112" y="101"/>
                </a:cubicBezTo>
                <a:close/>
                <a:moveTo>
                  <a:pt x="62" y="84"/>
                </a:moveTo>
                <a:cubicBezTo>
                  <a:pt x="63" y="84"/>
                  <a:pt x="65" y="85"/>
                  <a:pt x="65" y="87"/>
                </a:cubicBezTo>
                <a:cubicBezTo>
                  <a:pt x="65" y="89"/>
                  <a:pt x="63" y="90"/>
                  <a:pt x="62" y="90"/>
                </a:cubicBezTo>
                <a:cubicBezTo>
                  <a:pt x="60" y="90"/>
                  <a:pt x="59" y="89"/>
                  <a:pt x="59" y="87"/>
                </a:cubicBezTo>
                <a:cubicBezTo>
                  <a:pt x="59" y="85"/>
                  <a:pt x="60" y="84"/>
                  <a:pt x="62" y="84"/>
                </a:cubicBezTo>
                <a:close/>
                <a:moveTo>
                  <a:pt x="70" y="76"/>
                </a:moveTo>
                <a:cubicBezTo>
                  <a:pt x="72" y="76"/>
                  <a:pt x="73" y="77"/>
                  <a:pt x="73" y="79"/>
                </a:cubicBezTo>
                <a:cubicBezTo>
                  <a:pt x="73" y="80"/>
                  <a:pt x="72" y="81"/>
                  <a:pt x="70" y="81"/>
                </a:cubicBezTo>
                <a:cubicBezTo>
                  <a:pt x="69" y="81"/>
                  <a:pt x="67" y="80"/>
                  <a:pt x="67" y="79"/>
                </a:cubicBezTo>
                <a:cubicBezTo>
                  <a:pt x="67" y="77"/>
                  <a:pt x="69" y="76"/>
                  <a:pt x="70" y="76"/>
                </a:cubicBezTo>
                <a:close/>
                <a:moveTo>
                  <a:pt x="70" y="93"/>
                </a:moveTo>
                <a:cubicBezTo>
                  <a:pt x="72" y="93"/>
                  <a:pt x="73" y="94"/>
                  <a:pt x="73" y="95"/>
                </a:cubicBezTo>
                <a:cubicBezTo>
                  <a:pt x="73" y="97"/>
                  <a:pt x="72" y="98"/>
                  <a:pt x="70" y="98"/>
                </a:cubicBezTo>
                <a:cubicBezTo>
                  <a:pt x="69" y="98"/>
                  <a:pt x="67" y="97"/>
                  <a:pt x="67" y="95"/>
                </a:cubicBezTo>
                <a:cubicBezTo>
                  <a:pt x="67" y="94"/>
                  <a:pt x="69" y="93"/>
                  <a:pt x="70" y="93"/>
                </a:cubicBezTo>
                <a:close/>
                <a:moveTo>
                  <a:pt x="79" y="84"/>
                </a:moveTo>
                <a:cubicBezTo>
                  <a:pt x="80" y="84"/>
                  <a:pt x="81" y="85"/>
                  <a:pt x="81" y="87"/>
                </a:cubicBezTo>
                <a:cubicBezTo>
                  <a:pt x="81" y="89"/>
                  <a:pt x="80" y="90"/>
                  <a:pt x="79" y="90"/>
                </a:cubicBezTo>
                <a:cubicBezTo>
                  <a:pt x="77" y="90"/>
                  <a:pt x="76" y="89"/>
                  <a:pt x="76" y="87"/>
                </a:cubicBezTo>
                <a:cubicBezTo>
                  <a:pt x="76" y="85"/>
                  <a:pt x="77" y="84"/>
                  <a:pt x="79" y="84"/>
                </a:cubicBezTo>
                <a:close/>
                <a:moveTo>
                  <a:pt x="95" y="84"/>
                </a:moveTo>
                <a:cubicBezTo>
                  <a:pt x="97" y="84"/>
                  <a:pt x="98" y="85"/>
                  <a:pt x="98" y="87"/>
                </a:cubicBezTo>
                <a:cubicBezTo>
                  <a:pt x="98" y="89"/>
                  <a:pt x="97" y="90"/>
                  <a:pt x="95" y="90"/>
                </a:cubicBezTo>
                <a:cubicBezTo>
                  <a:pt x="94" y="90"/>
                  <a:pt x="93" y="89"/>
                  <a:pt x="93" y="87"/>
                </a:cubicBezTo>
                <a:cubicBezTo>
                  <a:pt x="93" y="85"/>
                  <a:pt x="94" y="84"/>
                  <a:pt x="95" y="84"/>
                </a:cubicBezTo>
                <a:close/>
                <a:moveTo>
                  <a:pt x="87" y="76"/>
                </a:moveTo>
                <a:cubicBezTo>
                  <a:pt x="89" y="76"/>
                  <a:pt x="90" y="77"/>
                  <a:pt x="90" y="79"/>
                </a:cubicBezTo>
                <a:cubicBezTo>
                  <a:pt x="90" y="80"/>
                  <a:pt x="89" y="81"/>
                  <a:pt x="87" y="81"/>
                </a:cubicBezTo>
                <a:cubicBezTo>
                  <a:pt x="85" y="81"/>
                  <a:pt x="84" y="80"/>
                  <a:pt x="84" y="79"/>
                </a:cubicBezTo>
                <a:cubicBezTo>
                  <a:pt x="84" y="77"/>
                  <a:pt x="85" y="76"/>
                  <a:pt x="87" y="76"/>
                </a:cubicBezTo>
                <a:close/>
                <a:moveTo>
                  <a:pt x="104" y="76"/>
                </a:moveTo>
                <a:cubicBezTo>
                  <a:pt x="105" y="76"/>
                  <a:pt x="107" y="77"/>
                  <a:pt x="107" y="79"/>
                </a:cubicBezTo>
                <a:cubicBezTo>
                  <a:pt x="107" y="80"/>
                  <a:pt x="105" y="81"/>
                  <a:pt x="104" y="81"/>
                </a:cubicBezTo>
                <a:cubicBezTo>
                  <a:pt x="102" y="81"/>
                  <a:pt x="101" y="80"/>
                  <a:pt x="101" y="79"/>
                </a:cubicBezTo>
                <a:cubicBezTo>
                  <a:pt x="101" y="77"/>
                  <a:pt x="102" y="76"/>
                  <a:pt x="104" y="76"/>
                </a:cubicBezTo>
                <a:close/>
                <a:moveTo>
                  <a:pt x="87" y="93"/>
                </a:moveTo>
                <a:cubicBezTo>
                  <a:pt x="89" y="93"/>
                  <a:pt x="90" y="94"/>
                  <a:pt x="90" y="95"/>
                </a:cubicBezTo>
                <a:cubicBezTo>
                  <a:pt x="90" y="97"/>
                  <a:pt x="89" y="98"/>
                  <a:pt x="87" y="98"/>
                </a:cubicBezTo>
                <a:cubicBezTo>
                  <a:pt x="85" y="98"/>
                  <a:pt x="84" y="97"/>
                  <a:pt x="84" y="95"/>
                </a:cubicBezTo>
                <a:cubicBezTo>
                  <a:pt x="84" y="94"/>
                  <a:pt x="85" y="93"/>
                  <a:pt x="87" y="93"/>
                </a:cubicBezTo>
                <a:close/>
                <a:moveTo>
                  <a:pt x="104" y="93"/>
                </a:moveTo>
                <a:cubicBezTo>
                  <a:pt x="105" y="93"/>
                  <a:pt x="107" y="94"/>
                  <a:pt x="107" y="95"/>
                </a:cubicBezTo>
                <a:cubicBezTo>
                  <a:pt x="107" y="97"/>
                  <a:pt x="105" y="98"/>
                  <a:pt x="104" y="98"/>
                </a:cubicBezTo>
                <a:cubicBezTo>
                  <a:pt x="102" y="98"/>
                  <a:pt x="101" y="97"/>
                  <a:pt x="101" y="95"/>
                </a:cubicBezTo>
                <a:cubicBezTo>
                  <a:pt x="101" y="94"/>
                  <a:pt x="102" y="93"/>
                  <a:pt x="104" y="93"/>
                </a:cubicBezTo>
                <a:close/>
                <a:moveTo>
                  <a:pt x="62" y="101"/>
                </a:moveTo>
                <a:cubicBezTo>
                  <a:pt x="63" y="101"/>
                  <a:pt x="65" y="102"/>
                  <a:pt x="65" y="104"/>
                </a:cubicBezTo>
                <a:cubicBezTo>
                  <a:pt x="65" y="105"/>
                  <a:pt x="63" y="107"/>
                  <a:pt x="62" y="107"/>
                </a:cubicBezTo>
                <a:cubicBezTo>
                  <a:pt x="60" y="107"/>
                  <a:pt x="59" y="105"/>
                  <a:pt x="59" y="104"/>
                </a:cubicBezTo>
                <a:cubicBezTo>
                  <a:pt x="59" y="102"/>
                  <a:pt x="60" y="101"/>
                  <a:pt x="62" y="101"/>
                </a:cubicBezTo>
                <a:close/>
                <a:moveTo>
                  <a:pt x="70" y="109"/>
                </a:moveTo>
                <a:cubicBezTo>
                  <a:pt x="72" y="109"/>
                  <a:pt x="73" y="111"/>
                  <a:pt x="73" y="112"/>
                </a:cubicBezTo>
                <a:cubicBezTo>
                  <a:pt x="73" y="114"/>
                  <a:pt x="72" y="115"/>
                  <a:pt x="70" y="115"/>
                </a:cubicBezTo>
                <a:cubicBezTo>
                  <a:pt x="69" y="115"/>
                  <a:pt x="67" y="114"/>
                  <a:pt x="67" y="112"/>
                </a:cubicBezTo>
                <a:cubicBezTo>
                  <a:pt x="67" y="111"/>
                  <a:pt x="69" y="109"/>
                  <a:pt x="70" y="109"/>
                </a:cubicBezTo>
                <a:close/>
                <a:moveTo>
                  <a:pt x="79" y="101"/>
                </a:moveTo>
                <a:cubicBezTo>
                  <a:pt x="80" y="101"/>
                  <a:pt x="81" y="102"/>
                  <a:pt x="81" y="104"/>
                </a:cubicBezTo>
                <a:cubicBezTo>
                  <a:pt x="81" y="105"/>
                  <a:pt x="80" y="107"/>
                  <a:pt x="79" y="107"/>
                </a:cubicBezTo>
                <a:cubicBezTo>
                  <a:pt x="77" y="107"/>
                  <a:pt x="76" y="105"/>
                  <a:pt x="76" y="104"/>
                </a:cubicBezTo>
                <a:cubicBezTo>
                  <a:pt x="76" y="102"/>
                  <a:pt x="77" y="101"/>
                  <a:pt x="79" y="101"/>
                </a:cubicBezTo>
                <a:close/>
                <a:moveTo>
                  <a:pt x="95" y="101"/>
                </a:moveTo>
                <a:cubicBezTo>
                  <a:pt x="97" y="101"/>
                  <a:pt x="98" y="102"/>
                  <a:pt x="98" y="104"/>
                </a:cubicBezTo>
                <a:cubicBezTo>
                  <a:pt x="98" y="105"/>
                  <a:pt x="97" y="107"/>
                  <a:pt x="95" y="107"/>
                </a:cubicBezTo>
                <a:cubicBezTo>
                  <a:pt x="94" y="107"/>
                  <a:pt x="93" y="105"/>
                  <a:pt x="93" y="104"/>
                </a:cubicBezTo>
                <a:cubicBezTo>
                  <a:pt x="93" y="102"/>
                  <a:pt x="94" y="101"/>
                  <a:pt x="95" y="101"/>
                </a:cubicBezTo>
                <a:close/>
                <a:moveTo>
                  <a:pt x="87" y="109"/>
                </a:moveTo>
                <a:cubicBezTo>
                  <a:pt x="89" y="109"/>
                  <a:pt x="90" y="111"/>
                  <a:pt x="90" y="112"/>
                </a:cubicBezTo>
                <a:cubicBezTo>
                  <a:pt x="90" y="114"/>
                  <a:pt x="89" y="115"/>
                  <a:pt x="87" y="115"/>
                </a:cubicBezTo>
                <a:cubicBezTo>
                  <a:pt x="85" y="115"/>
                  <a:pt x="84" y="114"/>
                  <a:pt x="84" y="112"/>
                </a:cubicBezTo>
                <a:cubicBezTo>
                  <a:pt x="84" y="111"/>
                  <a:pt x="85" y="109"/>
                  <a:pt x="87" y="109"/>
                </a:cubicBezTo>
                <a:close/>
                <a:moveTo>
                  <a:pt x="104" y="109"/>
                </a:moveTo>
                <a:cubicBezTo>
                  <a:pt x="105" y="109"/>
                  <a:pt x="107" y="111"/>
                  <a:pt x="107" y="112"/>
                </a:cubicBezTo>
                <a:cubicBezTo>
                  <a:pt x="107" y="114"/>
                  <a:pt x="105" y="115"/>
                  <a:pt x="104" y="115"/>
                </a:cubicBezTo>
                <a:cubicBezTo>
                  <a:pt x="102" y="115"/>
                  <a:pt x="101" y="114"/>
                  <a:pt x="101" y="112"/>
                </a:cubicBezTo>
                <a:cubicBezTo>
                  <a:pt x="101" y="111"/>
                  <a:pt x="102" y="109"/>
                  <a:pt x="104" y="109"/>
                </a:cubicBezTo>
                <a:close/>
                <a:moveTo>
                  <a:pt x="45" y="84"/>
                </a:moveTo>
                <a:cubicBezTo>
                  <a:pt x="46" y="84"/>
                  <a:pt x="48" y="85"/>
                  <a:pt x="48" y="87"/>
                </a:cubicBezTo>
                <a:cubicBezTo>
                  <a:pt x="48" y="89"/>
                  <a:pt x="46" y="90"/>
                  <a:pt x="45" y="90"/>
                </a:cubicBezTo>
                <a:cubicBezTo>
                  <a:pt x="43" y="90"/>
                  <a:pt x="42" y="89"/>
                  <a:pt x="42" y="87"/>
                </a:cubicBezTo>
                <a:cubicBezTo>
                  <a:pt x="42" y="85"/>
                  <a:pt x="43" y="84"/>
                  <a:pt x="45" y="84"/>
                </a:cubicBezTo>
                <a:close/>
                <a:moveTo>
                  <a:pt x="53" y="76"/>
                </a:moveTo>
                <a:cubicBezTo>
                  <a:pt x="55" y="76"/>
                  <a:pt x="56" y="77"/>
                  <a:pt x="56" y="79"/>
                </a:cubicBezTo>
                <a:cubicBezTo>
                  <a:pt x="56" y="80"/>
                  <a:pt x="55" y="81"/>
                  <a:pt x="53" y="81"/>
                </a:cubicBezTo>
                <a:cubicBezTo>
                  <a:pt x="52" y="81"/>
                  <a:pt x="51" y="80"/>
                  <a:pt x="51" y="79"/>
                </a:cubicBezTo>
                <a:cubicBezTo>
                  <a:pt x="51" y="77"/>
                  <a:pt x="52" y="76"/>
                  <a:pt x="53" y="76"/>
                </a:cubicBezTo>
                <a:close/>
                <a:moveTo>
                  <a:pt x="53" y="93"/>
                </a:moveTo>
                <a:cubicBezTo>
                  <a:pt x="55" y="93"/>
                  <a:pt x="56" y="94"/>
                  <a:pt x="56" y="95"/>
                </a:cubicBezTo>
                <a:cubicBezTo>
                  <a:pt x="56" y="97"/>
                  <a:pt x="55" y="98"/>
                  <a:pt x="53" y="98"/>
                </a:cubicBezTo>
                <a:cubicBezTo>
                  <a:pt x="52" y="98"/>
                  <a:pt x="51" y="97"/>
                  <a:pt x="51" y="95"/>
                </a:cubicBezTo>
                <a:cubicBezTo>
                  <a:pt x="51" y="94"/>
                  <a:pt x="52" y="93"/>
                  <a:pt x="53" y="93"/>
                </a:cubicBezTo>
                <a:close/>
                <a:moveTo>
                  <a:pt x="45" y="101"/>
                </a:moveTo>
                <a:cubicBezTo>
                  <a:pt x="46" y="101"/>
                  <a:pt x="48" y="102"/>
                  <a:pt x="48" y="104"/>
                </a:cubicBezTo>
                <a:cubicBezTo>
                  <a:pt x="48" y="105"/>
                  <a:pt x="46" y="107"/>
                  <a:pt x="45" y="107"/>
                </a:cubicBezTo>
                <a:cubicBezTo>
                  <a:pt x="43" y="107"/>
                  <a:pt x="42" y="105"/>
                  <a:pt x="42" y="104"/>
                </a:cubicBezTo>
                <a:cubicBezTo>
                  <a:pt x="42" y="102"/>
                  <a:pt x="43" y="101"/>
                  <a:pt x="45" y="101"/>
                </a:cubicBezTo>
                <a:close/>
                <a:moveTo>
                  <a:pt x="53" y="109"/>
                </a:moveTo>
                <a:cubicBezTo>
                  <a:pt x="55" y="109"/>
                  <a:pt x="56" y="111"/>
                  <a:pt x="56" y="112"/>
                </a:cubicBezTo>
                <a:cubicBezTo>
                  <a:pt x="56" y="114"/>
                  <a:pt x="55" y="115"/>
                  <a:pt x="53" y="115"/>
                </a:cubicBezTo>
                <a:cubicBezTo>
                  <a:pt x="52" y="115"/>
                  <a:pt x="51" y="114"/>
                  <a:pt x="51" y="112"/>
                </a:cubicBezTo>
                <a:cubicBezTo>
                  <a:pt x="51" y="111"/>
                  <a:pt x="52" y="109"/>
                  <a:pt x="53" y="109"/>
                </a:cubicBezTo>
                <a:close/>
                <a:moveTo>
                  <a:pt x="11" y="84"/>
                </a:moveTo>
                <a:cubicBezTo>
                  <a:pt x="13" y="84"/>
                  <a:pt x="14" y="85"/>
                  <a:pt x="14" y="87"/>
                </a:cubicBezTo>
                <a:cubicBezTo>
                  <a:pt x="14" y="89"/>
                  <a:pt x="13" y="90"/>
                  <a:pt x="11" y="90"/>
                </a:cubicBezTo>
                <a:cubicBezTo>
                  <a:pt x="10" y="90"/>
                  <a:pt x="8" y="89"/>
                  <a:pt x="8" y="87"/>
                </a:cubicBezTo>
                <a:cubicBezTo>
                  <a:pt x="8" y="85"/>
                  <a:pt x="10" y="84"/>
                  <a:pt x="11" y="84"/>
                </a:cubicBezTo>
                <a:close/>
                <a:moveTo>
                  <a:pt x="28" y="84"/>
                </a:moveTo>
                <a:cubicBezTo>
                  <a:pt x="30" y="84"/>
                  <a:pt x="31" y="85"/>
                  <a:pt x="31" y="87"/>
                </a:cubicBezTo>
                <a:cubicBezTo>
                  <a:pt x="31" y="89"/>
                  <a:pt x="30" y="90"/>
                  <a:pt x="28" y="90"/>
                </a:cubicBezTo>
                <a:cubicBezTo>
                  <a:pt x="27" y="90"/>
                  <a:pt x="25" y="89"/>
                  <a:pt x="25" y="87"/>
                </a:cubicBezTo>
                <a:cubicBezTo>
                  <a:pt x="25" y="85"/>
                  <a:pt x="27" y="84"/>
                  <a:pt x="28" y="84"/>
                </a:cubicBezTo>
                <a:close/>
                <a:moveTo>
                  <a:pt x="20" y="76"/>
                </a:moveTo>
                <a:cubicBezTo>
                  <a:pt x="21" y="76"/>
                  <a:pt x="22" y="77"/>
                  <a:pt x="22" y="79"/>
                </a:cubicBezTo>
                <a:cubicBezTo>
                  <a:pt x="22" y="80"/>
                  <a:pt x="21" y="81"/>
                  <a:pt x="20" y="81"/>
                </a:cubicBezTo>
                <a:cubicBezTo>
                  <a:pt x="18" y="81"/>
                  <a:pt x="17" y="80"/>
                  <a:pt x="17" y="79"/>
                </a:cubicBezTo>
                <a:cubicBezTo>
                  <a:pt x="17" y="77"/>
                  <a:pt x="18" y="76"/>
                  <a:pt x="20" y="76"/>
                </a:cubicBezTo>
                <a:close/>
                <a:moveTo>
                  <a:pt x="36" y="76"/>
                </a:moveTo>
                <a:cubicBezTo>
                  <a:pt x="38" y="76"/>
                  <a:pt x="39" y="77"/>
                  <a:pt x="39" y="79"/>
                </a:cubicBezTo>
                <a:cubicBezTo>
                  <a:pt x="39" y="80"/>
                  <a:pt x="38" y="81"/>
                  <a:pt x="36" y="81"/>
                </a:cubicBezTo>
                <a:cubicBezTo>
                  <a:pt x="35" y="81"/>
                  <a:pt x="34" y="80"/>
                  <a:pt x="34" y="79"/>
                </a:cubicBezTo>
                <a:cubicBezTo>
                  <a:pt x="34" y="77"/>
                  <a:pt x="35" y="76"/>
                  <a:pt x="36" y="76"/>
                </a:cubicBezTo>
                <a:close/>
                <a:moveTo>
                  <a:pt x="20" y="93"/>
                </a:moveTo>
                <a:cubicBezTo>
                  <a:pt x="21" y="93"/>
                  <a:pt x="22" y="94"/>
                  <a:pt x="22" y="95"/>
                </a:cubicBezTo>
                <a:cubicBezTo>
                  <a:pt x="22" y="97"/>
                  <a:pt x="21" y="98"/>
                  <a:pt x="20" y="98"/>
                </a:cubicBezTo>
                <a:cubicBezTo>
                  <a:pt x="18" y="98"/>
                  <a:pt x="17" y="97"/>
                  <a:pt x="17" y="95"/>
                </a:cubicBezTo>
                <a:cubicBezTo>
                  <a:pt x="17" y="94"/>
                  <a:pt x="18" y="93"/>
                  <a:pt x="20" y="93"/>
                </a:cubicBezTo>
                <a:close/>
                <a:moveTo>
                  <a:pt x="36" y="93"/>
                </a:moveTo>
                <a:cubicBezTo>
                  <a:pt x="38" y="93"/>
                  <a:pt x="39" y="94"/>
                  <a:pt x="39" y="95"/>
                </a:cubicBezTo>
                <a:cubicBezTo>
                  <a:pt x="39" y="97"/>
                  <a:pt x="38" y="98"/>
                  <a:pt x="36" y="98"/>
                </a:cubicBezTo>
                <a:cubicBezTo>
                  <a:pt x="35" y="98"/>
                  <a:pt x="34" y="97"/>
                  <a:pt x="34" y="95"/>
                </a:cubicBezTo>
                <a:cubicBezTo>
                  <a:pt x="34" y="94"/>
                  <a:pt x="35" y="93"/>
                  <a:pt x="36" y="93"/>
                </a:cubicBezTo>
                <a:close/>
                <a:moveTo>
                  <a:pt x="11" y="101"/>
                </a:moveTo>
                <a:cubicBezTo>
                  <a:pt x="13" y="101"/>
                  <a:pt x="14" y="102"/>
                  <a:pt x="14" y="104"/>
                </a:cubicBezTo>
                <a:cubicBezTo>
                  <a:pt x="14" y="105"/>
                  <a:pt x="13" y="107"/>
                  <a:pt x="11" y="107"/>
                </a:cubicBezTo>
                <a:cubicBezTo>
                  <a:pt x="10" y="107"/>
                  <a:pt x="8" y="105"/>
                  <a:pt x="8" y="104"/>
                </a:cubicBezTo>
                <a:cubicBezTo>
                  <a:pt x="8" y="102"/>
                  <a:pt x="10" y="101"/>
                  <a:pt x="11" y="101"/>
                </a:cubicBezTo>
                <a:close/>
                <a:moveTo>
                  <a:pt x="28" y="101"/>
                </a:moveTo>
                <a:cubicBezTo>
                  <a:pt x="30" y="101"/>
                  <a:pt x="31" y="102"/>
                  <a:pt x="31" y="104"/>
                </a:cubicBezTo>
                <a:cubicBezTo>
                  <a:pt x="31" y="105"/>
                  <a:pt x="30" y="107"/>
                  <a:pt x="28" y="107"/>
                </a:cubicBezTo>
                <a:cubicBezTo>
                  <a:pt x="27" y="107"/>
                  <a:pt x="25" y="105"/>
                  <a:pt x="25" y="104"/>
                </a:cubicBezTo>
                <a:cubicBezTo>
                  <a:pt x="25" y="102"/>
                  <a:pt x="27" y="101"/>
                  <a:pt x="28" y="101"/>
                </a:cubicBezTo>
                <a:close/>
                <a:moveTo>
                  <a:pt x="20" y="109"/>
                </a:moveTo>
                <a:cubicBezTo>
                  <a:pt x="21" y="109"/>
                  <a:pt x="22" y="111"/>
                  <a:pt x="22" y="112"/>
                </a:cubicBezTo>
                <a:cubicBezTo>
                  <a:pt x="22" y="114"/>
                  <a:pt x="21" y="115"/>
                  <a:pt x="20" y="115"/>
                </a:cubicBezTo>
                <a:cubicBezTo>
                  <a:pt x="18" y="115"/>
                  <a:pt x="17" y="114"/>
                  <a:pt x="17" y="112"/>
                </a:cubicBezTo>
                <a:cubicBezTo>
                  <a:pt x="17" y="111"/>
                  <a:pt x="18" y="109"/>
                  <a:pt x="20" y="109"/>
                </a:cubicBezTo>
                <a:close/>
                <a:moveTo>
                  <a:pt x="36" y="109"/>
                </a:moveTo>
                <a:cubicBezTo>
                  <a:pt x="38" y="109"/>
                  <a:pt x="39" y="111"/>
                  <a:pt x="39" y="112"/>
                </a:cubicBezTo>
                <a:cubicBezTo>
                  <a:pt x="39" y="114"/>
                  <a:pt x="38" y="115"/>
                  <a:pt x="36" y="115"/>
                </a:cubicBezTo>
                <a:cubicBezTo>
                  <a:pt x="35" y="115"/>
                  <a:pt x="34" y="114"/>
                  <a:pt x="34" y="112"/>
                </a:cubicBezTo>
                <a:cubicBezTo>
                  <a:pt x="34" y="111"/>
                  <a:pt x="35" y="109"/>
                  <a:pt x="36" y="109"/>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2143">
            <a:extLst>
              <a:ext uri="{FF2B5EF4-FFF2-40B4-BE49-F238E27FC236}">
                <a16:creationId xmlns:a16="http://schemas.microsoft.com/office/drawing/2014/main" id="{6008E845-83B5-B04B-8F14-3E183680B036}"/>
              </a:ext>
            </a:extLst>
          </p:cNvPr>
          <p:cNvSpPr>
            <a:spLocks noEditPoints="1"/>
          </p:cNvSpPr>
          <p:nvPr/>
        </p:nvSpPr>
        <p:spPr bwMode="auto">
          <a:xfrm>
            <a:off x="7354884" y="3462338"/>
            <a:ext cx="442913" cy="549275"/>
          </a:xfrm>
          <a:custGeom>
            <a:avLst/>
            <a:gdLst>
              <a:gd name="T0" fmla="*/ 113 w 130"/>
              <a:gd name="T1" fmla="*/ 60 h 160"/>
              <a:gd name="T2" fmla="*/ 113 w 130"/>
              <a:gd name="T3" fmla="*/ 43 h 160"/>
              <a:gd name="T4" fmla="*/ 65 w 130"/>
              <a:gd name="T5" fmla="*/ 0 h 160"/>
              <a:gd name="T6" fmla="*/ 18 w 130"/>
              <a:gd name="T7" fmla="*/ 43 h 160"/>
              <a:gd name="T8" fmla="*/ 18 w 130"/>
              <a:gd name="T9" fmla="*/ 60 h 160"/>
              <a:gd name="T10" fmla="*/ 0 w 130"/>
              <a:gd name="T11" fmla="*/ 81 h 160"/>
              <a:gd name="T12" fmla="*/ 0 w 130"/>
              <a:gd name="T13" fmla="*/ 139 h 160"/>
              <a:gd name="T14" fmla="*/ 21 w 130"/>
              <a:gd name="T15" fmla="*/ 160 h 160"/>
              <a:gd name="T16" fmla="*/ 109 w 130"/>
              <a:gd name="T17" fmla="*/ 160 h 160"/>
              <a:gd name="T18" fmla="*/ 130 w 130"/>
              <a:gd name="T19" fmla="*/ 139 h 160"/>
              <a:gd name="T20" fmla="*/ 130 w 130"/>
              <a:gd name="T21" fmla="*/ 81 h 160"/>
              <a:gd name="T22" fmla="*/ 113 w 130"/>
              <a:gd name="T23" fmla="*/ 60 h 160"/>
              <a:gd name="T24" fmla="*/ 24 w 130"/>
              <a:gd name="T25" fmla="*/ 43 h 160"/>
              <a:gd name="T26" fmla="*/ 65 w 130"/>
              <a:gd name="T27" fmla="*/ 6 h 160"/>
              <a:gd name="T28" fmla="*/ 107 w 130"/>
              <a:gd name="T29" fmla="*/ 43 h 160"/>
              <a:gd name="T30" fmla="*/ 107 w 130"/>
              <a:gd name="T31" fmla="*/ 59 h 160"/>
              <a:gd name="T32" fmla="*/ 24 w 130"/>
              <a:gd name="T33" fmla="*/ 59 h 160"/>
              <a:gd name="T34" fmla="*/ 24 w 130"/>
              <a:gd name="T35" fmla="*/ 43 h 160"/>
              <a:gd name="T36" fmla="*/ 124 w 130"/>
              <a:gd name="T37" fmla="*/ 139 h 160"/>
              <a:gd name="T38" fmla="*/ 109 w 130"/>
              <a:gd name="T39" fmla="*/ 154 h 160"/>
              <a:gd name="T40" fmla="*/ 21 w 130"/>
              <a:gd name="T41" fmla="*/ 154 h 160"/>
              <a:gd name="T42" fmla="*/ 6 w 130"/>
              <a:gd name="T43" fmla="*/ 139 h 160"/>
              <a:gd name="T44" fmla="*/ 6 w 130"/>
              <a:gd name="T45" fmla="*/ 81 h 160"/>
              <a:gd name="T46" fmla="*/ 21 w 130"/>
              <a:gd name="T47" fmla="*/ 65 h 160"/>
              <a:gd name="T48" fmla="*/ 109 w 130"/>
              <a:gd name="T49" fmla="*/ 65 h 160"/>
              <a:gd name="T50" fmla="*/ 124 w 130"/>
              <a:gd name="T51" fmla="*/ 81 h 160"/>
              <a:gd name="T52" fmla="*/ 124 w 130"/>
              <a:gd name="T53" fmla="*/ 139 h 160"/>
              <a:gd name="T54" fmla="*/ 65 w 130"/>
              <a:gd name="T55" fmla="*/ 83 h 160"/>
              <a:gd name="T56" fmla="*/ 53 w 130"/>
              <a:gd name="T57" fmla="*/ 95 h 160"/>
              <a:gd name="T58" fmla="*/ 53 w 130"/>
              <a:gd name="T59" fmla="*/ 113 h 160"/>
              <a:gd name="T60" fmla="*/ 65 w 130"/>
              <a:gd name="T61" fmla="*/ 124 h 160"/>
              <a:gd name="T62" fmla="*/ 77 w 130"/>
              <a:gd name="T63" fmla="*/ 113 h 160"/>
              <a:gd name="T64" fmla="*/ 77 w 130"/>
              <a:gd name="T65" fmla="*/ 95 h 160"/>
              <a:gd name="T66" fmla="*/ 65 w 130"/>
              <a:gd name="T67" fmla="*/ 83 h 160"/>
              <a:gd name="T68" fmla="*/ 71 w 130"/>
              <a:gd name="T69" fmla="*/ 113 h 160"/>
              <a:gd name="T70" fmla="*/ 65 w 130"/>
              <a:gd name="T71" fmla="*/ 119 h 160"/>
              <a:gd name="T72" fmla="*/ 59 w 130"/>
              <a:gd name="T73" fmla="*/ 113 h 160"/>
              <a:gd name="T74" fmla="*/ 59 w 130"/>
              <a:gd name="T75" fmla="*/ 95 h 160"/>
              <a:gd name="T76" fmla="*/ 65 w 130"/>
              <a:gd name="T77" fmla="*/ 89 h 160"/>
              <a:gd name="T78" fmla="*/ 71 w 130"/>
              <a:gd name="T79" fmla="*/ 95 h 160"/>
              <a:gd name="T80" fmla="*/ 71 w 130"/>
              <a:gd name="T81" fmla="*/ 11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60">
                <a:moveTo>
                  <a:pt x="113" y="60"/>
                </a:moveTo>
                <a:cubicBezTo>
                  <a:pt x="113" y="43"/>
                  <a:pt x="113" y="43"/>
                  <a:pt x="113" y="43"/>
                </a:cubicBezTo>
                <a:cubicBezTo>
                  <a:pt x="113" y="19"/>
                  <a:pt x="91" y="0"/>
                  <a:pt x="65" y="0"/>
                </a:cubicBezTo>
                <a:cubicBezTo>
                  <a:pt x="39" y="0"/>
                  <a:pt x="18" y="19"/>
                  <a:pt x="18" y="43"/>
                </a:cubicBezTo>
                <a:cubicBezTo>
                  <a:pt x="18" y="60"/>
                  <a:pt x="18" y="60"/>
                  <a:pt x="18" y="60"/>
                </a:cubicBezTo>
                <a:cubicBezTo>
                  <a:pt x="8" y="61"/>
                  <a:pt x="0" y="70"/>
                  <a:pt x="0" y="81"/>
                </a:cubicBezTo>
                <a:cubicBezTo>
                  <a:pt x="0" y="139"/>
                  <a:pt x="0" y="139"/>
                  <a:pt x="0" y="139"/>
                </a:cubicBezTo>
                <a:cubicBezTo>
                  <a:pt x="0" y="150"/>
                  <a:pt x="10" y="160"/>
                  <a:pt x="21" y="160"/>
                </a:cubicBezTo>
                <a:cubicBezTo>
                  <a:pt x="109" y="160"/>
                  <a:pt x="109" y="160"/>
                  <a:pt x="109" y="160"/>
                </a:cubicBezTo>
                <a:cubicBezTo>
                  <a:pt x="121" y="160"/>
                  <a:pt x="130" y="150"/>
                  <a:pt x="130" y="139"/>
                </a:cubicBezTo>
                <a:cubicBezTo>
                  <a:pt x="130" y="81"/>
                  <a:pt x="130" y="81"/>
                  <a:pt x="130" y="81"/>
                </a:cubicBezTo>
                <a:cubicBezTo>
                  <a:pt x="130" y="70"/>
                  <a:pt x="123" y="61"/>
                  <a:pt x="113" y="60"/>
                </a:cubicBezTo>
                <a:close/>
                <a:moveTo>
                  <a:pt x="24" y="43"/>
                </a:moveTo>
                <a:cubicBezTo>
                  <a:pt x="24" y="23"/>
                  <a:pt x="42" y="6"/>
                  <a:pt x="65" y="6"/>
                </a:cubicBezTo>
                <a:cubicBezTo>
                  <a:pt x="88" y="6"/>
                  <a:pt x="107" y="23"/>
                  <a:pt x="107" y="43"/>
                </a:cubicBezTo>
                <a:cubicBezTo>
                  <a:pt x="107" y="59"/>
                  <a:pt x="107" y="59"/>
                  <a:pt x="107" y="59"/>
                </a:cubicBezTo>
                <a:cubicBezTo>
                  <a:pt x="24" y="59"/>
                  <a:pt x="24" y="59"/>
                  <a:pt x="24" y="59"/>
                </a:cubicBezTo>
                <a:lnTo>
                  <a:pt x="24" y="43"/>
                </a:lnTo>
                <a:close/>
                <a:moveTo>
                  <a:pt x="124" y="139"/>
                </a:moveTo>
                <a:cubicBezTo>
                  <a:pt x="124" y="147"/>
                  <a:pt x="117" y="154"/>
                  <a:pt x="109" y="154"/>
                </a:cubicBezTo>
                <a:cubicBezTo>
                  <a:pt x="21" y="154"/>
                  <a:pt x="21" y="154"/>
                  <a:pt x="21" y="154"/>
                </a:cubicBezTo>
                <a:cubicBezTo>
                  <a:pt x="13" y="154"/>
                  <a:pt x="6" y="147"/>
                  <a:pt x="6" y="139"/>
                </a:cubicBezTo>
                <a:cubicBezTo>
                  <a:pt x="6" y="81"/>
                  <a:pt x="6" y="81"/>
                  <a:pt x="6" y="81"/>
                </a:cubicBezTo>
                <a:cubicBezTo>
                  <a:pt x="6" y="72"/>
                  <a:pt x="13" y="65"/>
                  <a:pt x="21" y="65"/>
                </a:cubicBezTo>
                <a:cubicBezTo>
                  <a:pt x="109" y="65"/>
                  <a:pt x="109" y="65"/>
                  <a:pt x="109" y="65"/>
                </a:cubicBezTo>
                <a:cubicBezTo>
                  <a:pt x="117" y="65"/>
                  <a:pt x="124" y="72"/>
                  <a:pt x="124" y="81"/>
                </a:cubicBezTo>
                <a:lnTo>
                  <a:pt x="124" y="139"/>
                </a:lnTo>
                <a:close/>
                <a:moveTo>
                  <a:pt x="65" y="83"/>
                </a:moveTo>
                <a:cubicBezTo>
                  <a:pt x="59" y="83"/>
                  <a:pt x="53" y="88"/>
                  <a:pt x="53" y="95"/>
                </a:cubicBezTo>
                <a:cubicBezTo>
                  <a:pt x="53" y="113"/>
                  <a:pt x="53" y="113"/>
                  <a:pt x="53" y="113"/>
                </a:cubicBezTo>
                <a:cubicBezTo>
                  <a:pt x="53" y="119"/>
                  <a:pt x="59" y="124"/>
                  <a:pt x="65" y="124"/>
                </a:cubicBezTo>
                <a:cubicBezTo>
                  <a:pt x="72" y="124"/>
                  <a:pt x="77" y="119"/>
                  <a:pt x="77" y="113"/>
                </a:cubicBezTo>
                <a:cubicBezTo>
                  <a:pt x="77" y="95"/>
                  <a:pt x="77" y="95"/>
                  <a:pt x="77" y="95"/>
                </a:cubicBezTo>
                <a:cubicBezTo>
                  <a:pt x="77" y="88"/>
                  <a:pt x="72" y="83"/>
                  <a:pt x="65" y="83"/>
                </a:cubicBezTo>
                <a:close/>
                <a:moveTo>
                  <a:pt x="71" y="113"/>
                </a:moveTo>
                <a:cubicBezTo>
                  <a:pt x="71" y="116"/>
                  <a:pt x="68" y="119"/>
                  <a:pt x="65" y="119"/>
                </a:cubicBezTo>
                <a:cubicBezTo>
                  <a:pt x="62" y="119"/>
                  <a:pt x="59" y="116"/>
                  <a:pt x="59" y="113"/>
                </a:cubicBezTo>
                <a:cubicBezTo>
                  <a:pt x="59" y="95"/>
                  <a:pt x="59" y="95"/>
                  <a:pt x="59" y="95"/>
                </a:cubicBezTo>
                <a:cubicBezTo>
                  <a:pt x="59" y="92"/>
                  <a:pt x="62" y="89"/>
                  <a:pt x="65" y="89"/>
                </a:cubicBezTo>
                <a:cubicBezTo>
                  <a:pt x="68" y="89"/>
                  <a:pt x="71" y="92"/>
                  <a:pt x="71" y="95"/>
                </a:cubicBezTo>
                <a:lnTo>
                  <a:pt x="71" y="113"/>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2144">
            <a:extLst>
              <a:ext uri="{FF2B5EF4-FFF2-40B4-BE49-F238E27FC236}">
                <a16:creationId xmlns:a16="http://schemas.microsoft.com/office/drawing/2014/main" id="{DB663CB0-52B3-B84F-A580-A5EC92A6A93F}"/>
              </a:ext>
            </a:extLst>
          </p:cNvPr>
          <p:cNvSpPr>
            <a:spLocks noEditPoints="1"/>
          </p:cNvSpPr>
          <p:nvPr/>
        </p:nvSpPr>
        <p:spPr bwMode="auto">
          <a:xfrm>
            <a:off x="7381871" y="4081463"/>
            <a:ext cx="374650" cy="550863"/>
          </a:xfrm>
          <a:custGeom>
            <a:avLst/>
            <a:gdLst>
              <a:gd name="T0" fmla="*/ 44 w 110"/>
              <a:gd name="T1" fmla="*/ 94 h 160"/>
              <a:gd name="T2" fmla="*/ 55 w 110"/>
              <a:gd name="T3" fmla="*/ 121 h 160"/>
              <a:gd name="T4" fmla="*/ 66 w 110"/>
              <a:gd name="T5" fmla="*/ 94 h 160"/>
              <a:gd name="T6" fmla="*/ 61 w 110"/>
              <a:gd name="T7" fmla="*/ 110 h 160"/>
              <a:gd name="T8" fmla="*/ 50 w 110"/>
              <a:gd name="T9" fmla="*/ 110 h 160"/>
              <a:gd name="T10" fmla="*/ 55 w 110"/>
              <a:gd name="T11" fmla="*/ 88 h 160"/>
              <a:gd name="T12" fmla="*/ 61 w 110"/>
              <a:gd name="T13" fmla="*/ 110 h 160"/>
              <a:gd name="T14" fmla="*/ 86 w 110"/>
              <a:gd name="T15" fmla="*/ 28 h 160"/>
              <a:gd name="T16" fmla="*/ 25 w 110"/>
              <a:gd name="T17" fmla="*/ 28 h 160"/>
              <a:gd name="T18" fmla="*/ 0 w 110"/>
              <a:gd name="T19" fmla="*/ 105 h 160"/>
              <a:gd name="T20" fmla="*/ 110 w 110"/>
              <a:gd name="T21" fmla="*/ 105 h 160"/>
              <a:gd name="T22" fmla="*/ 30 w 110"/>
              <a:gd name="T23" fmla="*/ 56 h 160"/>
              <a:gd name="T24" fmla="*/ 55 w 110"/>
              <a:gd name="T25" fmla="*/ 6 h 160"/>
              <a:gd name="T26" fmla="*/ 80 w 110"/>
              <a:gd name="T27" fmla="*/ 56 h 160"/>
              <a:gd name="T28" fmla="*/ 75 w 110"/>
              <a:gd name="T29" fmla="*/ 53 h 160"/>
              <a:gd name="T30" fmla="*/ 71 w 110"/>
              <a:gd name="T31" fmla="*/ 52 h 160"/>
              <a:gd name="T32" fmla="*/ 66 w 110"/>
              <a:gd name="T33" fmla="*/ 51 h 160"/>
              <a:gd name="T34" fmla="*/ 60 w 110"/>
              <a:gd name="T35" fmla="*/ 50 h 160"/>
              <a:gd name="T36" fmla="*/ 50 w 110"/>
              <a:gd name="T37" fmla="*/ 50 h 160"/>
              <a:gd name="T38" fmla="*/ 45 w 110"/>
              <a:gd name="T39" fmla="*/ 51 h 160"/>
              <a:gd name="T40" fmla="*/ 40 w 110"/>
              <a:gd name="T41" fmla="*/ 52 h 160"/>
              <a:gd name="T42" fmla="*/ 35 w 110"/>
              <a:gd name="T43" fmla="*/ 53 h 160"/>
              <a:gd name="T44" fmla="*/ 30 w 110"/>
              <a:gd name="T45" fmla="*/ 56 h 160"/>
              <a:gd name="T46" fmla="*/ 6 w 110"/>
              <a:gd name="T47" fmla="*/ 105 h 160"/>
              <a:gd name="T48" fmla="*/ 38 w 110"/>
              <a:gd name="T49" fmla="*/ 58 h 160"/>
              <a:gd name="T50" fmla="*/ 41 w 110"/>
              <a:gd name="T51" fmla="*/ 57 h 160"/>
              <a:gd name="T52" fmla="*/ 46 w 110"/>
              <a:gd name="T53" fmla="*/ 56 h 160"/>
              <a:gd name="T54" fmla="*/ 51 w 110"/>
              <a:gd name="T55" fmla="*/ 55 h 160"/>
              <a:gd name="T56" fmla="*/ 60 w 110"/>
              <a:gd name="T57" fmla="*/ 55 h 160"/>
              <a:gd name="T58" fmla="*/ 64 w 110"/>
              <a:gd name="T59" fmla="*/ 56 h 160"/>
              <a:gd name="T60" fmla="*/ 69 w 110"/>
              <a:gd name="T61" fmla="*/ 57 h 160"/>
              <a:gd name="T62" fmla="*/ 73 w 110"/>
              <a:gd name="T63" fmla="*/ 58 h 160"/>
              <a:gd name="T64" fmla="*/ 105 w 110"/>
              <a:gd name="T65" fmla="*/ 10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160">
                <a:moveTo>
                  <a:pt x="55" y="83"/>
                </a:moveTo>
                <a:cubicBezTo>
                  <a:pt x="49" y="83"/>
                  <a:pt x="44" y="88"/>
                  <a:pt x="44" y="94"/>
                </a:cubicBezTo>
                <a:cubicBezTo>
                  <a:pt x="44" y="110"/>
                  <a:pt x="44" y="110"/>
                  <a:pt x="44" y="110"/>
                </a:cubicBezTo>
                <a:cubicBezTo>
                  <a:pt x="44" y="116"/>
                  <a:pt x="49" y="121"/>
                  <a:pt x="55" y="121"/>
                </a:cubicBezTo>
                <a:cubicBezTo>
                  <a:pt x="61" y="121"/>
                  <a:pt x="66" y="116"/>
                  <a:pt x="66" y="110"/>
                </a:cubicBezTo>
                <a:cubicBezTo>
                  <a:pt x="66" y="94"/>
                  <a:pt x="66" y="94"/>
                  <a:pt x="66" y="94"/>
                </a:cubicBezTo>
                <a:cubicBezTo>
                  <a:pt x="66" y="88"/>
                  <a:pt x="61" y="83"/>
                  <a:pt x="55" y="83"/>
                </a:cubicBezTo>
                <a:close/>
                <a:moveTo>
                  <a:pt x="61" y="110"/>
                </a:moveTo>
                <a:cubicBezTo>
                  <a:pt x="61" y="113"/>
                  <a:pt x="58" y="116"/>
                  <a:pt x="55" y="116"/>
                </a:cubicBezTo>
                <a:cubicBezTo>
                  <a:pt x="52" y="116"/>
                  <a:pt x="50" y="113"/>
                  <a:pt x="50" y="110"/>
                </a:cubicBezTo>
                <a:cubicBezTo>
                  <a:pt x="50" y="94"/>
                  <a:pt x="50" y="94"/>
                  <a:pt x="50" y="94"/>
                </a:cubicBezTo>
                <a:cubicBezTo>
                  <a:pt x="50" y="91"/>
                  <a:pt x="52" y="88"/>
                  <a:pt x="55" y="88"/>
                </a:cubicBezTo>
                <a:cubicBezTo>
                  <a:pt x="58" y="88"/>
                  <a:pt x="61" y="91"/>
                  <a:pt x="61" y="94"/>
                </a:cubicBezTo>
                <a:lnTo>
                  <a:pt x="61" y="110"/>
                </a:lnTo>
                <a:close/>
                <a:moveTo>
                  <a:pt x="86" y="59"/>
                </a:moveTo>
                <a:cubicBezTo>
                  <a:pt x="86" y="28"/>
                  <a:pt x="86" y="28"/>
                  <a:pt x="86" y="28"/>
                </a:cubicBezTo>
                <a:cubicBezTo>
                  <a:pt x="86" y="13"/>
                  <a:pt x="72" y="0"/>
                  <a:pt x="55" y="0"/>
                </a:cubicBezTo>
                <a:cubicBezTo>
                  <a:pt x="38" y="0"/>
                  <a:pt x="25" y="13"/>
                  <a:pt x="25" y="28"/>
                </a:cubicBezTo>
                <a:cubicBezTo>
                  <a:pt x="25" y="59"/>
                  <a:pt x="25" y="59"/>
                  <a:pt x="25" y="59"/>
                </a:cubicBezTo>
                <a:cubicBezTo>
                  <a:pt x="10" y="69"/>
                  <a:pt x="0" y="86"/>
                  <a:pt x="0" y="105"/>
                </a:cubicBezTo>
                <a:cubicBezTo>
                  <a:pt x="0" y="135"/>
                  <a:pt x="25" y="160"/>
                  <a:pt x="55" y="160"/>
                </a:cubicBezTo>
                <a:cubicBezTo>
                  <a:pt x="86" y="160"/>
                  <a:pt x="110" y="135"/>
                  <a:pt x="110" y="105"/>
                </a:cubicBezTo>
                <a:cubicBezTo>
                  <a:pt x="110" y="86"/>
                  <a:pt x="100" y="69"/>
                  <a:pt x="86" y="59"/>
                </a:cubicBezTo>
                <a:close/>
                <a:moveTo>
                  <a:pt x="30" y="56"/>
                </a:moveTo>
                <a:cubicBezTo>
                  <a:pt x="30" y="28"/>
                  <a:pt x="30" y="28"/>
                  <a:pt x="30" y="28"/>
                </a:cubicBezTo>
                <a:cubicBezTo>
                  <a:pt x="30" y="16"/>
                  <a:pt x="41" y="6"/>
                  <a:pt x="55" y="6"/>
                </a:cubicBezTo>
                <a:cubicBezTo>
                  <a:pt x="69" y="6"/>
                  <a:pt x="80" y="16"/>
                  <a:pt x="80" y="28"/>
                </a:cubicBezTo>
                <a:cubicBezTo>
                  <a:pt x="80" y="56"/>
                  <a:pt x="80" y="56"/>
                  <a:pt x="80" y="56"/>
                </a:cubicBezTo>
                <a:cubicBezTo>
                  <a:pt x="79" y="55"/>
                  <a:pt x="79" y="55"/>
                  <a:pt x="78" y="55"/>
                </a:cubicBezTo>
                <a:cubicBezTo>
                  <a:pt x="77" y="54"/>
                  <a:pt x="76" y="54"/>
                  <a:pt x="75" y="53"/>
                </a:cubicBezTo>
                <a:cubicBezTo>
                  <a:pt x="74" y="53"/>
                  <a:pt x="74" y="53"/>
                  <a:pt x="73" y="53"/>
                </a:cubicBezTo>
                <a:cubicBezTo>
                  <a:pt x="72" y="52"/>
                  <a:pt x="72" y="52"/>
                  <a:pt x="71" y="52"/>
                </a:cubicBezTo>
                <a:cubicBezTo>
                  <a:pt x="70" y="52"/>
                  <a:pt x="68" y="51"/>
                  <a:pt x="67" y="51"/>
                </a:cubicBezTo>
                <a:cubicBezTo>
                  <a:pt x="67" y="51"/>
                  <a:pt x="66" y="51"/>
                  <a:pt x="66" y="51"/>
                </a:cubicBezTo>
                <a:cubicBezTo>
                  <a:pt x="64" y="50"/>
                  <a:pt x="63" y="50"/>
                  <a:pt x="61" y="50"/>
                </a:cubicBezTo>
                <a:cubicBezTo>
                  <a:pt x="61" y="50"/>
                  <a:pt x="61" y="50"/>
                  <a:pt x="60" y="50"/>
                </a:cubicBezTo>
                <a:cubicBezTo>
                  <a:pt x="59" y="50"/>
                  <a:pt x="57" y="50"/>
                  <a:pt x="55" y="50"/>
                </a:cubicBezTo>
                <a:cubicBezTo>
                  <a:pt x="53" y="50"/>
                  <a:pt x="52" y="50"/>
                  <a:pt x="50" y="50"/>
                </a:cubicBezTo>
                <a:cubicBezTo>
                  <a:pt x="50" y="50"/>
                  <a:pt x="49" y="50"/>
                  <a:pt x="49" y="50"/>
                </a:cubicBezTo>
                <a:cubicBezTo>
                  <a:pt x="48" y="50"/>
                  <a:pt x="46" y="50"/>
                  <a:pt x="45" y="51"/>
                </a:cubicBezTo>
                <a:cubicBezTo>
                  <a:pt x="44" y="51"/>
                  <a:pt x="44" y="51"/>
                  <a:pt x="43" y="51"/>
                </a:cubicBezTo>
                <a:cubicBezTo>
                  <a:pt x="42" y="51"/>
                  <a:pt x="41" y="52"/>
                  <a:pt x="40" y="52"/>
                </a:cubicBezTo>
                <a:cubicBezTo>
                  <a:pt x="39" y="52"/>
                  <a:pt x="38" y="52"/>
                  <a:pt x="37" y="53"/>
                </a:cubicBezTo>
                <a:cubicBezTo>
                  <a:pt x="37" y="53"/>
                  <a:pt x="36" y="53"/>
                  <a:pt x="35" y="53"/>
                </a:cubicBezTo>
                <a:cubicBezTo>
                  <a:pt x="34" y="54"/>
                  <a:pt x="33" y="54"/>
                  <a:pt x="32" y="55"/>
                </a:cubicBezTo>
                <a:cubicBezTo>
                  <a:pt x="31" y="55"/>
                  <a:pt x="31" y="55"/>
                  <a:pt x="30" y="56"/>
                </a:cubicBezTo>
                <a:close/>
                <a:moveTo>
                  <a:pt x="55" y="154"/>
                </a:moveTo>
                <a:cubicBezTo>
                  <a:pt x="28" y="154"/>
                  <a:pt x="6" y="132"/>
                  <a:pt x="6" y="105"/>
                </a:cubicBezTo>
                <a:cubicBezTo>
                  <a:pt x="6" y="87"/>
                  <a:pt x="15" y="71"/>
                  <a:pt x="30" y="62"/>
                </a:cubicBezTo>
                <a:cubicBezTo>
                  <a:pt x="32" y="61"/>
                  <a:pt x="35" y="60"/>
                  <a:pt x="38" y="58"/>
                </a:cubicBezTo>
                <a:cubicBezTo>
                  <a:pt x="38" y="58"/>
                  <a:pt x="39" y="58"/>
                  <a:pt x="39" y="58"/>
                </a:cubicBezTo>
                <a:cubicBezTo>
                  <a:pt x="40" y="58"/>
                  <a:pt x="41" y="57"/>
                  <a:pt x="41" y="57"/>
                </a:cubicBezTo>
                <a:cubicBezTo>
                  <a:pt x="42" y="57"/>
                  <a:pt x="43" y="57"/>
                  <a:pt x="44" y="56"/>
                </a:cubicBezTo>
                <a:cubicBezTo>
                  <a:pt x="45" y="56"/>
                  <a:pt x="46" y="56"/>
                  <a:pt x="46" y="56"/>
                </a:cubicBezTo>
                <a:cubicBezTo>
                  <a:pt x="47" y="56"/>
                  <a:pt x="48" y="56"/>
                  <a:pt x="49" y="56"/>
                </a:cubicBezTo>
                <a:cubicBezTo>
                  <a:pt x="50" y="55"/>
                  <a:pt x="50" y="55"/>
                  <a:pt x="51" y="55"/>
                </a:cubicBezTo>
                <a:cubicBezTo>
                  <a:pt x="52" y="55"/>
                  <a:pt x="54" y="55"/>
                  <a:pt x="55" y="55"/>
                </a:cubicBezTo>
                <a:cubicBezTo>
                  <a:pt x="57" y="55"/>
                  <a:pt x="58" y="55"/>
                  <a:pt x="60" y="55"/>
                </a:cubicBezTo>
                <a:cubicBezTo>
                  <a:pt x="60" y="55"/>
                  <a:pt x="61" y="55"/>
                  <a:pt x="61" y="56"/>
                </a:cubicBezTo>
                <a:cubicBezTo>
                  <a:pt x="62" y="56"/>
                  <a:pt x="63" y="56"/>
                  <a:pt x="64" y="56"/>
                </a:cubicBezTo>
                <a:cubicBezTo>
                  <a:pt x="65" y="56"/>
                  <a:pt x="65" y="56"/>
                  <a:pt x="66" y="56"/>
                </a:cubicBezTo>
                <a:cubicBezTo>
                  <a:pt x="67" y="57"/>
                  <a:pt x="68" y="57"/>
                  <a:pt x="69" y="57"/>
                </a:cubicBezTo>
                <a:cubicBezTo>
                  <a:pt x="70" y="57"/>
                  <a:pt x="71" y="58"/>
                  <a:pt x="71" y="58"/>
                </a:cubicBezTo>
                <a:cubicBezTo>
                  <a:pt x="72" y="58"/>
                  <a:pt x="72" y="58"/>
                  <a:pt x="73" y="58"/>
                </a:cubicBezTo>
                <a:cubicBezTo>
                  <a:pt x="76" y="60"/>
                  <a:pt x="78" y="61"/>
                  <a:pt x="81" y="62"/>
                </a:cubicBezTo>
                <a:cubicBezTo>
                  <a:pt x="95" y="71"/>
                  <a:pt x="105" y="87"/>
                  <a:pt x="105" y="105"/>
                </a:cubicBezTo>
                <a:cubicBezTo>
                  <a:pt x="105" y="132"/>
                  <a:pt x="83" y="154"/>
                  <a:pt x="55" y="154"/>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2145">
            <a:extLst>
              <a:ext uri="{FF2B5EF4-FFF2-40B4-BE49-F238E27FC236}">
                <a16:creationId xmlns:a16="http://schemas.microsoft.com/office/drawing/2014/main" id="{DD2CB172-91F3-1448-975D-63D921BC16CC}"/>
              </a:ext>
            </a:extLst>
          </p:cNvPr>
          <p:cNvSpPr>
            <a:spLocks noEditPoints="1"/>
          </p:cNvSpPr>
          <p:nvPr/>
        </p:nvSpPr>
        <p:spPr bwMode="auto">
          <a:xfrm>
            <a:off x="7381871" y="4700588"/>
            <a:ext cx="374650" cy="550863"/>
          </a:xfrm>
          <a:custGeom>
            <a:avLst/>
            <a:gdLst>
              <a:gd name="T0" fmla="*/ 86 w 110"/>
              <a:gd name="T1" fmla="*/ 28 h 160"/>
              <a:gd name="T2" fmla="*/ 25 w 110"/>
              <a:gd name="T3" fmla="*/ 28 h 160"/>
              <a:gd name="T4" fmla="*/ 0 w 110"/>
              <a:gd name="T5" fmla="*/ 105 h 160"/>
              <a:gd name="T6" fmla="*/ 110 w 110"/>
              <a:gd name="T7" fmla="*/ 105 h 160"/>
              <a:gd name="T8" fmla="*/ 30 w 110"/>
              <a:gd name="T9" fmla="*/ 56 h 160"/>
              <a:gd name="T10" fmla="*/ 55 w 110"/>
              <a:gd name="T11" fmla="*/ 6 h 160"/>
              <a:gd name="T12" fmla="*/ 80 w 110"/>
              <a:gd name="T13" fmla="*/ 56 h 160"/>
              <a:gd name="T14" fmla="*/ 75 w 110"/>
              <a:gd name="T15" fmla="*/ 53 h 160"/>
              <a:gd name="T16" fmla="*/ 71 w 110"/>
              <a:gd name="T17" fmla="*/ 52 h 160"/>
              <a:gd name="T18" fmla="*/ 66 w 110"/>
              <a:gd name="T19" fmla="*/ 51 h 160"/>
              <a:gd name="T20" fmla="*/ 60 w 110"/>
              <a:gd name="T21" fmla="*/ 50 h 160"/>
              <a:gd name="T22" fmla="*/ 50 w 110"/>
              <a:gd name="T23" fmla="*/ 50 h 160"/>
              <a:gd name="T24" fmla="*/ 45 w 110"/>
              <a:gd name="T25" fmla="*/ 51 h 160"/>
              <a:gd name="T26" fmla="*/ 40 w 110"/>
              <a:gd name="T27" fmla="*/ 52 h 160"/>
              <a:gd name="T28" fmla="*/ 35 w 110"/>
              <a:gd name="T29" fmla="*/ 53 h 160"/>
              <a:gd name="T30" fmla="*/ 30 w 110"/>
              <a:gd name="T31" fmla="*/ 56 h 160"/>
              <a:gd name="T32" fmla="*/ 6 w 110"/>
              <a:gd name="T33" fmla="*/ 105 h 160"/>
              <a:gd name="T34" fmla="*/ 38 w 110"/>
              <a:gd name="T35" fmla="*/ 58 h 160"/>
              <a:gd name="T36" fmla="*/ 41 w 110"/>
              <a:gd name="T37" fmla="*/ 57 h 160"/>
              <a:gd name="T38" fmla="*/ 46 w 110"/>
              <a:gd name="T39" fmla="*/ 56 h 160"/>
              <a:gd name="T40" fmla="*/ 51 w 110"/>
              <a:gd name="T41" fmla="*/ 55 h 160"/>
              <a:gd name="T42" fmla="*/ 60 w 110"/>
              <a:gd name="T43" fmla="*/ 55 h 160"/>
              <a:gd name="T44" fmla="*/ 64 w 110"/>
              <a:gd name="T45" fmla="*/ 56 h 160"/>
              <a:gd name="T46" fmla="*/ 69 w 110"/>
              <a:gd name="T47" fmla="*/ 57 h 160"/>
              <a:gd name="T48" fmla="*/ 73 w 110"/>
              <a:gd name="T49" fmla="*/ 58 h 160"/>
              <a:gd name="T50" fmla="*/ 105 w 110"/>
              <a:gd name="T51" fmla="*/ 105 h 160"/>
              <a:gd name="T52" fmla="*/ 88 w 110"/>
              <a:gd name="T53" fmla="*/ 102 h 160"/>
              <a:gd name="T54" fmla="*/ 75 w 110"/>
              <a:gd name="T55" fmla="*/ 89 h 160"/>
              <a:gd name="T56" fmla="*/ 81 w 110"/>
              <a:gd name="T57" fmla="*/ 79 h 160"/>
              <a:gd name="T58" fmla="*/ 71 w 110"/>
              <a:gd name="T59" fmla="*/ 85 h 160"/>
              <a:gd name="T60" fmla="*/ 58 w 110"/>
              <a:gd name="T61" fmla="*/ 72 h 160"/>
              <a:gd name="T62" fmla="*/ 52 w 110"/>
              <a:gd name="T63" fmla="*/ 72 h 160"/>
              <a:gd name="T64" fmla="*/ 40 w 110"/>
              <a:gd name="T65" fmla="*/ 85 h 160"/>
              <a:gd name="T66" fmla="*/ 30 w 110"/>
              <a:gd name="T67" fmla="*/ 79 h 160"/>
              <a:gd name="T68" fmla="*/ 36 w 110"/>
              <a:gd name="T69" fmla="*/ 89 h 160"/>
              <a:gd name="T70" fmla="*/ 22 w 110"/>
              <a:gd name="T71" fmla="*/ 102 h 160"/>
              <a:gd name="T72" fmla="*/ 22 w 110"/>
              <a:gd name="T73" fmla="*/ 108 h 160"/>
              <a:gd name="T74" fmla="*/ 36 w 110"/>
              <a:gd name="T75" fmla="*/ 120 h 160"/>
              <a:gd name="T76" fmla="*/ 30 w 110"/>
              <a:gd name="T77" fmla="*/ 130 h 160"/>
              <a:gd name="T78" fmla="*/ 34 w 110"/>
              <a:gd name="T79" fmla="*/ 130 h 160"/>
              <a:gd name="T80" fmla="*/ 52 w 110"/>
              <a:gd name="T81" fmla="*/ 129 h 160"/>
              <a:gd name="T82" fmla="*/ 55 w 110"/>
              <a:gd name="T83" fmla="*/ 141 h 160"/>
              <a:gd name="T84" fmla="*/ 58 w 110"/>
              <a:gd name="T85" fmla="*/ 129 h 160"/>
              <a:gd name="T86" fmla="*/ 77 w 110"/>
              <a:gd name="T87" fmla="*/ 130 h 160"/>
              <a:gd name="T88" fmla="*/ 81 w 110"/>
              <a:gd name="T89" fmla="*/ 130 h 160"/>
              <a:gd name="T90" fmla="*/ 75 w 110"/>
              <a:gd name="T91" fmla="*/ 120 h 160"/>
              <a:gd name="T92" fmla="*/ 88 w 110"/>
              <a:gd name="T93" fmla="*/ 108 h 160"/>
              <a:gd name="T94" fmla="*/ 88 w 110"/>
              <a:gd name="T95" fmla="*/ 102 h 160"/>
              <a:gd name="T96" fmla="*/ 36 w 110"/>
              <a:gd name="T97" fmla="*/ 105 h 160"/>
              <a:gd name="T98" fmla="*/ 74 w 110"/>
              <a:gd name="T99" fmla="*/ 10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0" h="160">
                <a:moveTo>
                  <a:pt x="86" y="59"/>
                </a:moveTo>
                <a:cubicBezTo>
                  <a:pt x="86" y="28"/>
                  <a:pt x="86" y="28"/>
                  <a:pt x="86" y="28"/>
                </a:cubicBezTo>
                <a:cubicBezTo>
                  <a:pt x="86" y="13"/>
                  <a:pt x="72" y="0"/>
                  <a:pt x="55" y="0"/>
                </a:cubicBezTo>
                <a:cubicBezTo>
                  <a:pt x="38" y="0"/>
                  <a:pt x="25" y="13"/>
                  <a:pt x="25" y="28"/>
                </a:cubicBezTo>
                <a:cubicBezTo>
                  <a:pt x="25" y="59"/>
                  <a:pt x="25" y="59"/>
                  <a:pt x="25" y="59"/>
                </a:cubicBezTo>
                <a:cubicBezTo>
                  <a:pt x="10" y="69"/>
                  <a:pt x="0" y="86"/>
                  <a:pt x="0" y="105"/>
                </a:cubicBezTo>
                <a:cubicBezTo>
                  <a:pt x="0" y="135"/>
                  <a:pt x="25" y="160"/>
                  <a:pt x="55" y="160"/>
                </a:cubicBezTo>
                <a:cubicBezTo>
                  <a:pt x="86" y="160"/>
                  <a:pt x="110" y="135"/>
                  <a:pt x="110" y="105"/>
                </a:cubicBezTo>
                <a:cubicBezTo>
                  <a:pt x="110" y="86"/>
                  <a:pt x="100" y="69"/>
                  <a:pt x="86" y="59"/>
                </a:cubicBezTo>
                <a:close/>
                <a:moveTo>
                  <a:pt x="30" y="56"/>
                </a:moveTo>
                <a:cubicBezTo>
                  <a:pt x="30" y="28"/>
                  <a:pt x="30" y="28"/>
                  <a:pt x="30" y="28"/>
                </a:cubicBezTo>
                <a:cubicBezTo>
                  <a:pt x="30" y="16"/>
                  <a:pt x="41" y="6"/>
                  <a:pt x="55" y="6"/>
                </a:cubicBezTo>
                <a:cubicBezTo>
                  <a:pt x="69" y="6"/>
                  <a:pt x="80" y="16"/>
                  <a:pt x="80" y="28"/>
                </a:cubicBezTo>
                <a:cubicBezTo>
                  <a:pt x="80" y="56"/>
                  <a:pt x="80" y="56"/>
                  <a:pt x="80" y="56"/>
                </a:cubicBezTo>
                <a:cubicBezTo>
                  <a:pt x="79" y="55"/>
                  <a:pt x="79" y="55"/>
                  <a:pt x="78" y="55"/>
                </a:cubicBezTo>
                <a:cubicBezTo>
                  <a:pt x="77" y="54"/>
                  <a:pt x="76" y="54"/>
                  <a:pt x="75" y="53"/>
                </a:cubicBezTo>
                <a:cubicBezTo>
                  <a:pt x="74" y="53"/>
                  <a:pt x="74" y="53"/>
                  <a:pt x="73" y="53"/>
                </a:cubicBezTo>
                <a:cubicBezTo>
                  <a:pt x="72" y="52"/>
                  <a:pt x="72" y="52"/>
                  <a:pt x="71" y="52"/>
                </a:cubicBezTo>
                <a:cubicBezTo>
                  <a:pt x="70" y="52"/>
                  <a:pt x="68" y="51"/>
                  <a:pt x="67" y="51"/>
                </a:cubicBezTo>
                <a:cubicBezTo>
                  <a:pt x="67" y="51"/>
                  <a:pt x="66" y="51"/>
                  <a:pt x="66" y="51"/>
                </a:cubicBezTo>
                <a:cubicBezTo>
                  <a:pt x="64" y="50"/>
                  <a:pt x="63" y="50"/>
                  <a:pt x="61" y="50"/>
                </a:cubicBezTo>
                <a:cubicBezTo>
                  <a:pt x="61" y="50"/>
                  <a:pt x="61" y="50"/>
                  <a:pt x="60" y="50"/>
                </a:cubicBezTo>
                <a:cubicBezTo>
                  <a:pt x="59" y="50"/>
                  <a:pt x="57" y="50"/>
                  <a:pt x="55" y="50"/>
                </a:cubicBezTo>
                <a:cubicBezTo>
                  <a:pt x="53" y="50"/>
                  <a:pt x="52" y="50"/>
                  <a:pt x="50" y="50"/>
                </a:cubicBezTo>
                <a:cubicBezTo>
                  <a:pt x="50" y="50"/>
                  <a:pt x="49" y="50"/>
                  <a:pt x="49" y="50"/>
                </a:cubicBezTo>
                <a:cubicBezTo>
                  <a:pt x="48" y="50"/>
                  <a:pt x="46" y="50"/>
                  <a:pt x="45" y="51"/>
                </a:cubicBezTo>
                <a:cubicBezTo>
                  <a:pt x="44" y="51"/>
                  <a:pt x="44" y="51"/>
                  <a:pt x="43" y="51"/>
                </a:cubicBezTo>
                <a:cubicBezTo>
                  <a:pt x="42" y="51"/>
                  <a:pt x="41" y="52"/>
                  <a:pt x="40" y="52"/>
                </a:cubicBezTo>
                <a:cubicBezTo>
                  <a:pt x="39" y="52"/>
                  <a:pt x="38" y="52"/>
                  <a:pt x="37" y="53"/>
                </a:cubicBezTo>
                <a:cubicBezTo>
                  <a:pt x="37" y="53"/>
                  <a:pt x="36" y="53"/>
                  <a:pt x="35" y="53"/>
                </a:cubicBezTo>
                <a:cubicBezTo>
                  <a:pt x="34" y="54"/>
                  <a:pt x="33" y="54"/>
                  <a:pt x="32" y="55"/>
                </a:cubicBezTo>
                <a:cubicBezTo>
                  <a:pt x="31" y="55"/>
                  <a:pt x="31" y="55"/>
                  <a:pt x="30" y="56"/>
                </a:cubicBezTo>
                <a:close/>
                <a:moveTo>
                  <a:pt x="55" y="154"/>
                </a:moveTo>
                <a:cubicBezTo>
                  <a:pt x="28" y="154"/>
                  <a:pt x="6" y="132"/>
                  <a:pt x="6" y="105"/>
                </a:cubicBezTo>
                <a:cubicBezTo>
                  <a:pt x="6" y="87"/>
                  <a:pt x="15" y="71"/>
                  <a:pt x="30" y="62"/>
                </a:cubicBezTo>
                <a:cubicBezTo>
                  <a:pt x="32" y="61"/>
                  <a:pt x="35" y="60"/>
                  <a:pt x="38" y="58"/>
                </a:cubicBezTo>
                <a:cubicBezTo>
                  <a:pt x="38" y="58"/>
                  <a:pt x="39" y="58"/>
                  <a:pt x="39" y="58"/>
                </a:cubicBezTo>
                <a:cubicBezTo>
                  <a:pt x="40" y="58"/>
                  <a:pt x="41" y="57"/>
                  <a:pt x="41" y="57"/>
                </a:cubicBezTo>
                <a:cubicBezTo>
                  <a:pt x="42" y="57"/>
                  <a:pt x="43" y="57"/>
                  <a:pt x="44" y="56"/>
                </a:cubicBezTo>
                <a:cubicBezTo>
                  <a:pt x="45" y="56"/>
                  <a:pt x="46" y="56"/>
                  <a:pt x="46" y="56"/>
                </a:cubicBezTo>
                <a:cubicBezTo>
                  <a:pt x="47" y="56"/>
                  <a:pt x="48" y="56"/>
                  <a:pt x="49" y="56"/>
                </a:cubicBezTo>
                <a:cubicBezTo>
                  <a:pt x="50" y="55"/>
                  <a:pt x="50" y="55"/>
                  <a:pt x="51" y="55"/>
                </a:cubicBezTo>
                <a:cubicBezTo>
                  <a:pt x="52" y="55"/>
                  <a:pt x="54" y="55"/>
                  <a:pt x="55" y="55"/>
                </a:cubicBezTo>
                <a:cubicBezTo>
                  <a:pt x="57" y="55"/>
                  <a:pt x="58" y="55"/>
                  <a:pt x="60" y="55"/>
                </a:cubicBezTo>
                <a:cubicBezTo>
                  <a:pt x="60" y="55"/>
                  <a:pt x="61" y="55"/>
                  <a:pt x="61" y="56"/>
                </a:cubicBezTo>
                <a:cubicBezTo>
                  <a:pt x="62" y="56"/>
                  <a:pt x="63" y="56"/>
                  <a:pt x="64" y="56"/>
                </a:cubicBezTo>
                <a:cubicBezTo>
                  <a:pt x="65" y="56"/>
                  <a:pt x="65" y="56"/>
                  <a:pt x="66" y="56"/>
                </a:cubicBezTo>
                <a:cubicBezTo>
                  <a:pt x="67" y="57"/>
                  <a:pt x="68" y="57"/>
                  <a:pt x="69" y="57"/>
                </a:cubicBezTo>
                <a:cubicBezTo>
                  <a:pt x="70" y="57"/>
                  <a:pt x="71" y="58"/>
                  <a:pt x="71" y="58"/>
                </a:cubicBezTo>
                <a:cubicBezTo>
                  <a:pt x="72" y="58"/>
                  <a:pt x="72" y="58"/>
                  <a:pt x="73" y="58"/>
                </a:cubicBezTo>
                <a:cubicBezTo>
                  <a:pt x="76" y="60"/>
                  <a:pt x="78" y="61"/>
                  <a:pt x="81" y="62"/>
                </a:cubicBezTo>
                <a:cubicBezTo>
                  <a:pt x="95" y="71"/>
                  <a:pt x="105" y="87"/>
                  <a:pt x="105" y="105"/>
                </a:cubicBezTo>
                <a:cubicBezTo>
                  <a:pt x="105" y="132"/>
                  <a:pt x="83" y="154"/>
                  <a:pt x="55" y="154"/>
                </a:cubicBezTo>
                <a:close/>
                <a:moveTo>
                  <a:pt x="88" y="102"/>
                </a:moveTo>
                <a:cubicBezTo>
                  <a:pt x="80" y="102"/>
                  <a:pt x="80" y="102"/>
                  <a:pt x="80" y="102"/>
                </a:cubicBezTo>
                <a:cubicBezTo>
                  <a:pt x="79" y="97"/>
                  <a:pt x="77" y="93"/>
                  <a:pt x="75" y="89"/>
                </a:cubicBezTo>
                <a:cubicBezTo>
                  <a:pt x="81" y="83"/>
                  <a:pt x="81" y="83"/>
                  <a:pt x="81" y="83"/>
                </a:cubicBezTo>
                <a:cubicBezTo>
                  <a:pt x="82" y="82"/>
                  <a:pt x="82" y="81"/>
                  <a:pt x="81" y="79"/>
                </a:cubicBezTo>
                <a:cubicBezTo>
                  <a:pt x="79" y="78"/>
                  <a:pt x="78" y="78"/>
                  <a:pt x="77" y="79"/>
                </a:cubicBezTo>
                <a:cubicBezTo>
                  <a:pt x="71" y="85"/>
                  <a:pt x="71" y="85"/>
                  <a:pt x="71" y="85"/>
                </a:cubicBezTo>
                <a:cubicBezTo>
                  <a:pt x="67" y="83"/>
                  <a:pt x="63" y="81"/>
                  <a:pt x="58" y="80"/>
                </a:cubicBezTo>
                <a:cubicBezTo>
                  <a:pt x="58" y="72"/>
                  <a:pt x="58" y="72"/>
                  <a:pt x="58" y="72"/>
                </a:cubicBezTo>
                <a:cubicBezTo>
                  <a:pt x="58" y="70"/>
                  <a:pt x="57" y="69"/>
                  <a:pt x="55" y="69"/>
                </a:cubicBezTo>
                <a:cubicBezTo>
                  <a:pt x="54" y="69"/>
                  <a:pt x="52" y="70"/>
                  <a:pt x="52" y="72"/>
                </a:cubicBezTo>
                <a:cubicBezTo>
                  <a:pt x="52" y="80"/>
                  <a:pt x="52" y="80"/>
                  <a:pt x="52" y="80"/>
                </a:cubicBezTo>
                <a:cubicBezTo>
                  <a:pt x="48" y="81"/>
                  <a:pt x="43" y="83"/>
                  <a:pt x="40" y="85"/>
                </a:cubicBezTo>
                <a:cubicBezTo>
                  <a:pt x="34" y="79"/>
                  <a:pt x="34" y="79"/>
                  <a:pt x="34" y="79"/>
                </a:cubicBezTo>
                <a:cubicBezTo>
                  <a:pt x="33" y="78"/>
                  <a:pt x="31" y="78"/>
                  <a:pt x="30" y="79"/>
                </a:cubicBezTo>
                <a:cubicBezTo>
                  <a:pt x="29" y="81"/>
                  <a:pt x="29" y="82"/>
                  <a:pt x="30" y="83"/>
                </a:cubicBezTo>
                <a:cubicBezTo>
                  <a:pt x="36" y="89"/>
                  <a:pt x="36" y="89"/>
                  <a:pt x="36" y="89"/>
                </a:cubicBezTo>
                <a:cubicBezTo>
                  <a:pt x="33" y="93"/>
                  <a:pt x="31" y="97"/>
                  <a:pt x="31" y="102"/>
                </a:cubicBezTo>
                <a:cubicBezTo>
                  <a:pt x="22" y="102"/>
                  <a:pt x="22" y="102"/>
                  <a:pt x="22" y="102"/>
                </a:cubicBezTo>
                <a:cubicBezTo>
                  <a:pt x="21" y="102"/>
                  <a:pt x="19" y="103"/>
                  <a:pt x="19" y="105"/>
                </a:cubicBezTo>
                <a:cubicBezTo>
                  <a:pt x="19" y="106"/>
                  <a:pt x="21" y="108"/>
                  <a:pt x="22" y="108"/>
                </a:cubicBezTo>
                <a:cubicBezTo>
                  <a:pt x="31" y="108"/>
                  <a:pt x="31" y="108"/>
                  <a:pt x="31" y="108"/>
                </a:cubicBezTo>
                <a:cubicBezTo>
                  <a:pt x="31" y="112"/>
                  <a:pt x="33" y="117"/>
                  <a:pt x="36" y="120"/>
                </a:cubicBezTo>
                <a:cubicBezTo>
                  <a:pt x="30" y="126"/>
                  <a:pt x="30" y="126"/>
                  <a:pt x="30" y="126"/>
                </a:cubicBezTo>
                <a:cubicBezTo>
                  <a:pt x="29" y="127"/>
                  <a:pt x="29" y="129"/>
                  <a:pt x="30" y="130"/>
                </a:cubicBezTo>
                <a:cubicBezTo>
                  <a:pt x="30" y="131"/>
                  <a:pt x="31" y="131"/>
                  <a:pt x="32" y="131"/>
                </a:cubicBezTo>
                <a:cubicBezTo>
                  <a:pt x="32" y="131"/>
                  <a:pt x="33" y="131"/>
                  <a:pt x="34" y="130"/>
                </a:cubicBezTo>
                <a:cubicBezTo>
                  <a:pt x="40" y="124"/>
                  <a:pt x="40" y="124"/>
                  <a:pt x="40" y="124"/>
                </a:cubicBezTo>
                <a:cubicBezTo>
                  <a:pt x="43" y="127"/>
                  <a:pt x="48" y="129"/>
                  <a:pt x="52" y="129"/>
                </a:cubicBezTo>
                <a:cubicBezTo>
                  <a:pt x="52" y="138"/>
                  <a:pt x="52" y="138"/>
                  <a:pt x="52" y="138"/>
                </a:cubicBezTo>
                <a:cubicBezTo>
                  <a:pt x="52" y="139"/>
                  <a:pt x="54" y="141"/>
                  <a:pt x="55" y="141"/>
                </a:cubicBezTo>
                <a:cubicBezTo>
                  <a:pt x="57" y="141"/>
                  <a:pt x="58" y="139"/>
                  <a:pt x="58" y="138"/>
                </a:cubicBezTo>
                <a:cubicBezTo>
                  <a:pt x="58" y="129"/>
                  <a:pt x="58" y="129"/>
                  <a:pt x="58" y="129"/>
                </a:cubicBezTo>
                <a:cubicBezTo>
                  <a:pt x="63" y="129"/>
                  <a:pt x="67" y="127"/>
                  <a:pt x="71" y="124"/>
                </a:cubicBezTo>
                <a:cubicBezTo>
                  <a:pt x="77" y="130"/>
                  <a:pt x="77" y="130"/>
                  <a:pt x="77" y="130"/>
                </a:cubicBezTo>
                <a:cubicBezTo>
                  <a:pt x="77" y="131"/>
                  <a:pt x="78" y="131"/>
                  <a:pt x="79" y="131"/>
                </a:cubicBezTo>
                <a:cubicBezTo>
                  <a:pt x="79" y="131"/>
                  <a:pt x="80" y="131"/>
                  <a:pt x="81" y="130"/>
                </a:cubicBezTo>
                <a:cubicBezTo>
                  <a:pt x="82" y="129"/>
                  <a:pt x="82" y="127"/>
                  <a:pt x="81" y="126"/>
                </a:cubicBezTo>
                <a:cubicBezTo>
                  <a:pt x="75" y="120"/>
                  <a:pt x="75" y="120"/>
                  <a:pt x="75" y="120"/>
                </a:cubicBezTo>
                <a:cubicBezTo>
                  <a:pt x="77" y="117"/>
                  <a:pt x="79" y="112"/>
                  <a:pt x="80" y="108"/>
                </a:cubicBezTo>
                <a:cubicBezTo>
                  <a:pt x="88" y="108"/>
                  <a:pt x="88" y="108"/>
                  <a:pt x="88" y="108"/>
                </a:cubicBezTo>
                <a:cubicBezTo>
                  <a:pt x="90" y="108"/>
                  <a:pt x="91" y="106"/>
                  <a:pt x="91" y="105"/>
                </a:cubicBezTo>
                <a:cubicBezTo>
                  <a:pt x="91" y="103"/>
                  <a:pt x="90" y="102"/>
                  <a:pt x="88" y="102"/>
                </a:cubicBezTo>
                <a:close/>
                <a:moveTo>
                  <a:pt x="55" y="124"/>
                </a:moveTo>
                <a:cubicBezTo>
                  <a:pt x="45" y="124"/>
                  <a:pt x="36" y="115"/>
                  <a:pt x="36" y="105"/>
                </a:cubicBezTo>
                <a:cubicBezTo>
                  <a:pt x="36" y="94"/>
                  <a:pt x="45" y="86"/>
                  <a:pt x="55" y="86"/>
                </a:cubicBezTo>
                <a:cubicBezTo>
                  <a:pt x="66" y="86"/>
                  <a:pt x="74" y="94"/>
                  <a:pt x="74" y="105"/>
                </a:cubicBezTo>
                <a:cubicBezTo>
                  <a:pt x="74" y="115"/>
                  <a:pt x="66" y="124"/>
                  <a:pt x="55" y="124"/>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2146">
            <a:extLst>
              <a:ext uri="{FF2B5EF4-FFF2-40B4-BE49-F238E27FC236}">
                <a16:creationId xmlns:a16="http://schemas.microsoft.com/office/drawing/2014/main" id="{B4D72FBE-1374-6147-AF0E-4A4B03900DDA}"/>
              </a:ext>
            </a:extLst>
          </p:cNvPr>
          <p:cNvSpPr>
            <a:spLocks noEditPoints="1"/>
          </p:cNvSpPr>
          <p:nvPr/>
        </p:nvSpPr>
        <p:spPr bwMode="auto">
          <a:xfrm>
            <a:off x="7367584" y="5319713"/>
            <a:ext cx="423863" cy="550863"/>
          </a:xfrm>
          <a:custGeom>
            <a:avLst/>
            <a:gdLst>
              <a:gd name="T0" fmla="*/ 95 w 124"/>
              <a:gd name="T1" fmla="*/ 65 h 160"/>
              <a:gd name="T2" fmla="*/ 95 w 124"/>
              <a:gd name="T3" fmla="*/ 33 h 160"/>
              <a:gd name="T4" fmla="*/ 60 w 124"/>
              <a:gd name="T5" fmla="*/ 0 h 160"/>
              <a:gd name="T6" fmla="*/ 25 w 124"/>
              <a:gd name="T7" fmla="*/ 33 h 160"/>
              <a:gd name="T8" fmla="*/ 25 w 124"/>
              <a:gd name="T9" fmla="*/ 65 h 160"/>
              <a:gd name="T10" fmla="*/ 0 w 124"/>
              <a:gd name="T11" fmla="*/ 65 h 160"/>
              <a:gd name="T12" fmla="*/ 0 w 124"/>
              <a:gd name="T13" fmla="*/ 138 h 160"/>
              <a:gd name="T14" fmla="*/ 0 w 124"/>
              <a:gd name="T15" fmla="*/ 160 h 160"/>
              <a:gd name="T16" fmla="*/ 124 w 124"/>
              <a:gd name="T17" fmla="*/ 160 h 160"/>
              <a:gd name="T18" fmla="*/ 124 w 124"/>
              <a:gd name="T19" fmla="*/ 138 h 160"/>
              <a:gd name="T20" fmla="*/ 124 w 124"/>
              <a:gd name="T21" fmla="*/ 65 h 160"/>
              <a:gd name="T22" fmla="*/ 95 w 124"/>
              <a:gd name="T23" fmla="*/ 65 h 160"/>
              <a:gd name="T24" fmla="*/ 31 w 124"/>
              <a:gd name="T25" fmla="*/ 33 h 160"/>
              <a:gd name="T26" fmla="*/ 60 w 124"/>
              <a:gd name="T27" fmla="*/ 6 h 160"/>
              <a:gd name="T28" fmla="*/ 90 w 124"/>
              <a:gd name="T29" fmla="*/ 33 h 160"/>
              <a:gd name="T30" fmla="*/ 90 w 124"/>
              <a:gd name="T31" fmla="*/ 65 h 160"/>
              <a:gd name="T32" fmla="*/ 31 w 124"/>
              <a:gd name="T33" fmla="*/ 65 h 160"/>
              <a:gd name="T34" fmla="*/ 31 w 124"/>
              <a:gd name="T35" fmla="*/ 33 h 160"/>
              <a:gd name="T36" fmla="*/ 118 w 124"/>
              <a:gd name="T37" fmla="*/ 154 h 160"/>
              <a:gd name="T38" fmla="*/ 6 w 124"/>
              <a:gd name="T39" fmla="*/ 154 h 160"/>
              <a:gd name="T40" fmla="*/ 6 w 124"/>
              <a:gd name="T41" fmla="*/ 143 h 160"/>
              <a:gd name="T42" fmla="*/ 118 w 124"/>
              <a:gd name="T43" fmla="*/ 143 h 160"/>
              <a:gd name="T44" fmla="*/ 118 w 124"/>
              <a:gd name="T45" fmla="*/ 154 h 160"/>
              <a:gd name="T46" fmla="*/ 6 w 124"/>
              <a:gd name="T47" fmla="*/ 138 h 160"/>
              <a:gd name="T48" fmla="*/ 6 w 124"/>
              <a:gd name="T49" fmla="*/ 70 h 160"/>
              <a:gd name="T50" fmla="*/ 25 w 124"/>
              <a:gd name="T51" fmla="*/ 70 h 160"/>
              <a:gd name="T52" fmla="*/ 95 w 124"/>
              <a:gd name="T53" fmla="*/ 70 h 160"/>
              <a:gd name="T54" fmla="*/ 118 w 124"/>
              <a:gd name="T55" fmla="*/ 70 h 160"/>
              <a:gd name="T56" fmla="*/ 118 w 124"/>
              <a:gd name="T57" fmla="*/ 138 h 160"/>
              <a:gd name="T58" fmla="*/ 6 w 124"/>
              <a:gd name="T59" fmla="*/ 138 h 160"/>
              <a:gd name="T60" fmla="*/ 62 w 124"/>
              <a:gd name="T61" fmla="*/ 87 h 160"/>
              <a:gd name="T62" fmla="*/ 51 w 124"/>
              <a:gd name="T63" fmla="*/ 98 h 160"/>
              <a:gd name="T64" fmla="*/ 51 w 124"/>
              <a:gd name="T65" fmla="*/ 115 h 160"/>
              <a:gd name="T66" fmla="*/ 62 w 124"/>
              <a:gd name="T67" fmla="*/ 126 h 160"/>
              <a:gd name="T68" fmla="*/ 73 w 124"/>
              <a:gd name="T69" fmla="*/ 115 h 160"/>
              <a:gd name="T70" fmla="*/ 73 w 124"/>
              <a:gd name="T71" fmla="*/ 98 h 160"/>
              <a:gd name="T72" fmla="*/ 62 w 124"/>
              <a:gd name="T73" fmla="*/ 87 h 160"/>
              <a:gd name="T74" fmla="*/ 67 w 124"/>
              <a:gd name="T75" fmla="*/ 115 h 160"/>
              <a:gd name="T76" fmla="*/ 62 w 124"/>
              <a:gd name="T77" fmla="*/ 121 h 160"/>
              <a:gd name="T78" fmla="*/ 56 w 124"/>
              <a:gd name="T79" fmla="*/ 115 h 160"/>
              <a:gd name="T80" fmla="*/ 56 w 124"/>
              <a:gd name="T81" fmla="*/ 98 h 160"/>
              <a:gd name="T82" fmla="*/ 62 w 124"/>
              <a:gd name="T83" fmla="*/ 93 h 160"/>
              <a:gd name="T84" fmla="*/ 67 w 124"/>
              <a:gd name="T85" fmla="*/ 98 h 160"/>
              <a:gd name="T86" fmla="*/ 67 w 124"/>
              <a:gd name="T87" fmla="*/ 11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60">
                <a:moveTo>
                  <a:pt x="95" y="65"/>
                </a:moveTo>
                <a:cubicBezTo>
                  <a:pt x="95" y="33"/>
                  <a:pt x="95" y="33"/>
                  <a:pt x="95" y="33"/>
                </a:cubicBezTo>
                <a:cubicBezTo>
                  <a:pt x="95" y="15"/>
                  <a:pt x="80" y="0"/>
                  <a:pt x="60" y="0"/>
                </a:cubicBezTo>
                <a:cubicBezTo>
                  <a:pt x="41" y="0"/>
                  <a:pt x="25" y="15"/>
                  <a:pt x="25" y="33"/>
                </a:cubicBezTo>
                <a:cubicBezTo>
                  <a:pt x="25" y="65"/>
                  <a:pt x="25" y="65"/>
                  <a:pt x="25" y="65"/>
                </a:cubicBezTo>
                <a:cubicBezTo>
                  <a:pt x="0" y="65"/>
                  <a:pt x="0" y="65"/>
                  <a:pt x="0" y="65"/>
                </a:cubicBezTo>
                <a:cubicBezTo>
                  <a:pt x="0" y="138"/>
                  <a:pt x="0" y="138"/>
                  <a:pt x="0" y="138"/>
                </a:cubicBezTo>
                <a:cubicBezTo>
                  <a:pt x="0" y="160"/>
                  <a:pt x="0" y="160"/>
                  <a:pt x="0" y="160"/>
                </a:cubicBezTo>
                <a:cubicBezTo>
                  <a:pt x="124" y="160"/>
                  <a:pt x="124" y="160"/>
                  <a:pt x="124" y="160"/>
                </a:cubicBezTo>
                <a:cubicBezTo>
                  <a:pt x="124" y="138"/>
                  <a:pt x="124" y="138"/>
                  <a:pt x="124" y="138"/>
                </a:cubicBezTo>
                <a:cubicBezTo>
                  <a:pt x="124" y="65"/>
                  <a:pt x="124" y="65"/>
                  <a:pt x="124" y="65"/>
                </a:cubicBezTo>
                <a:lnTo>
                  <a:pt x="95" y="65"/>
                </a:lnTo>
                <a:close/>
                <a:moveTo>
                  <a:pt x="31" y="33"/>
                </a:moveTo>
                <a:cubicBezTo>
                  <a:pt x="31" y="18"/>
                  <a:pt x="44" y="6"/>
                  <a:pt x="60" y="6"/>
                </a:cubicBezTo>
                <a:cubicBezTo>
                  <a:pt x="77" y="6"/>
                  <a:pt x="90" y="18"/>
                  <a:pt x="90" y="33"/>
                </a:cubicBezTo>
                <a:cubicBezTo>
                  <a:pt x="90" y="65"/>
                  <a:pt x="90" y="65"/>
                  <a:pt x="90" y="65"/>
                </a:cubicBezTo>
                <a:cubicBezTo>
                  <a:pt x="31" y="65"/>
                  <a:pt x="31" y="65"/>
                  <a:pt x="31" y="65"/>
                </a:cubicBezTo>
                <a:lnTo>
                  <a:pt x="31" y="33"/>
                </a:lnTo>
                <a:close/>
                <a:moveTo>
                  <a:pt x="118" y="154"/>
                </a:moveTo>
                <a:cubicBezTo>
                  <a:pt x="6" y="154"/>
                  <a:pt x="6" y="154"/>
                  <a:pt x="6" y="154"/>
                </a:cubicBezTo>
                <a:cubicBezTo>
                  <a:pt x="6" y="143"/>
                  <a:pt x="6" y="143"/>
                  <a:pt x="6" y="143"/>
                </a:cubicBezTo>
                <a:cubicBezTo>
                  <a:pt x="118" y="143"/>
                  <a:pt x="118" y="143"/>
                  <a:pt x="118" y="143"/>
                </a:cubicBezTo>
                <a:lnTo>
                  <a:pt x="118" y="154"/>
                </a:lnTo>
                <a:close/>
                <a:moveTo>
                  <a:pt x="6" y="138"/>
                </a:moveTo>
                <a:cubicBezTo>
                  <a:pt x="6" y="70"/>
                  <a:pt x="6" y="70"/>
                  <a:pt x="6" y="70"/>
                </a:cubicBezTo>
                <a:cubicBezTo>
                  <a:pt x="25" y="70"/>
                  <a:pt x="25" y="70"/>
                  <a:pt x="25" y="70"/>
                </a:cubicBezTo>
                <a:cubicBezTo>
                  <a:pt x="95" y="70"/>
                  <a:pt x="95" y="70"/>
                  <a:pt x="95" y="70"/>
                </a:cubicBezTo>
                <a:cubicBezTo>
                  <a:pt x="118" y="70"/>
                  <a:pt x="118" y="70"/>
                  <a:pt x="118" y="70"/>
                </a:cubicBezTo>
                <a:cubicBezTo>
                  <a:pt x="118" y="138"/>
                  <a:pt x="118" y="138"/>
                  <a:pt x="118" y="138"/>
                </a:cubicBezTo>
                <a:lnTo>
                  <a:pt x="6" y="138"/>
                </a:lnTo>
                <a:close/>
                <a:moveTo>
                  <a:pt x="62" y="87"/>
                </a:moveTo>
                <a:cubicBezTo>
                  <a:pt x="56" y="87"/>
                  <a:pt x="51" y="92"/>
                  <a:pt x="51" y="98"/>
                </a:cubicBezTo>
                <a:cubicBezTo>
                  <a:pt x="51" y="115"/>
                  <a:pt x="51" y="115"/>
                  <a:pt x="51" y="115"/>
                </a:cubicBezTo>
                <a:cubicBezTo>
                  <a:pt x="51" y="121"/>
                  <a:pt x="56" y="126"/>
                  <a:pt x="62" y="126"/>
                </a:cubicBezTo>
                <a:cubicBezTo>
                  <a:pt x="68" y="126"/>
                  <a:pt x="73" y="121"/>
                  <a:pt x="73" y="115"/>
                </a:cubicBezTo>
                <a:cubicBezTo>
                  <a:pt x="73" y="98"/>
                  <a:pt x="73" y="98"/>
                  <a:pt x="73" y="98"/>
                </a:cubicBezTo>
                <a:cubicBezTo>
                  <a:pt x="73" y="92"/>
                  <a:pt x="68" y="87"/>
                  <a:pt x="62" y="87"/>
                </a:cubicBezTo>
                <a:close/>
                <a:moveTo>
                  <a:pt x="67" y="115"/>
                </a:moveTo>
                <a:cubicBezTo>
                  <a:pt x="67" y="118"/>
                  <a:pt x="65" y="121"/>
                  <a:pt x="62" y="121"/>
                </a:cubicBezTo>
                <a:cubicBezTo>
                  <a:pt x="59" y="121"/>
                  <a:pt x="56" y="118"/>
                  <a:pt x="56" y="115"/>
                </a:cubicBezTo>
                <a:cubicBezTo>
                  <a:pt x="56" y="98"/>
                  <a:pt x="56" y="98"/>
                  <a:pt x="56" y="98"/>
                </a:cubicBezTo>
                <a:cubicBezTo>
                  <a:pt x="56" y="95"/>
                  <a:pt x="59" y="93"/>
                  <a:pt x="62" y="93"/>
                </a:cubicBezTo>
                <a:cubicBezTo>
                  <a:pt x="65" y="93"/>
                  <a:pt x="67" y="95"/>
                  <a:pt x="67" y="98"/>
                </a:cubicBezTo>
                <a:lnTo>
                  <a:pt x="67" y="115"/>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2147">
            <a:extLst>
              <a:ext uri="{FF2B5EF4-FFF2-40B4-BE49-F238E27FC236}">
                <a16:creationId xmlns:a16="http://schemas.microsoft.com/office/drawing/2014/main" id="{C05C8943-6029-CB43-AA5F-F8AD5CC73799}"/>
              </a:ext>
            </a:extLst>
          </p:cNvPr>
          <p:cNvSpPr>
            <a:spLocks noEditPoints="1"/>
          </p:cNvSpPr>
          <p:nvPr/>
        </p:nvSpPr>
        <p:spPr bwMode="auto">
          <a:xfrm>
            <a:off x="7340596" y="5938838"/>
            <a:ext cx="468313" cy="550863"/>
          </a:xfrm>
          <a:custGeom>
            <a:avLst/>
            <a:gdLst>
              <a:gd name="T0" fmla="*/ 90 w 137"/>
              <a:gd name="T1" fmla="*/ 83 h 160"/>
              <a:gd name="T2" fmla="*/ 3 w 137"/>
              <a:gd name="T3" fmla="*/ 83 h 160"/>
              <a:gd name="T4" fmla="*/ 0 w 137"/>
              <a:gd name="T5" fmla="*/ 80 h 160"/>
              <a:gd name="T6" fmla="*/ 3 w 137"/>
              <a:gd name="T7" fmla="*/ 77 h 160"/>
              <a:gd name="T8" fmla="*/ 90 w 137"/>
              <a:gd name="T9" fmla="*/ 77 h 160"/>
              <a:gd name="T10" fmla="*/ 61 w 137"/>
              <a:gd name="T11" fmla="*/ 48 h 160"/>
              <a:gd name="T12" fmla="*/ 61 w 137"/>
              <a:gd name="T13" fmla="*/ 44 h 160"/>
              <a:gd name="T14" fmla="*/ 65 w 137"/>
              <a:gd name="T15" fmla="*/ 44 h 160"/>
              <a:gd name="T16" fmla="*/ 99 w 137"/>
              <a:gd name="T17" fmla="*/ 78 h 160"/>
              <a:gd name="T18" fmla="*/ 100 w 137"/>
              <a:gd name="T19" fmla="*/ 79 h 160"/>
              <a:gd name="T20" fmla="*/ 100 w 137"/>
              <a:gd name="T21" fmla="*/ 81 h 160"/>
              <a:gd name="T22" fmla="*/ 99 w 137"/>
              <a:gd name="T23" fmla="*/ 82 h 160"/>
              <a:gd name="T24" fmla="*/ 65 w 137"/>
              <a:gd name="T25" fmla="*/ 116 h 160"/>
              <a:gd name="T26" fmla="*/ 63 w 137"/>
              <a:gd name="T27" fmla="*/ 117 h 160"/>
              <a:gd name="T28" fmla="*/ 61 w 137"/>
              <a:gd name="T29" fmla="*/ 116 h 160"/>
              <a:gd name="T30" fmla="*/ 61 w 137"/>
              <a:gd name="T31" fmla="*/ 112 h 160"/>
              <a:gd name="T32" fmla="*/ 90 w 137"/>
              <a:gd name="T33" fmla="*/ 83 h 160"/>
              <a:gd name="T34" fmla="*/ 134 w 137"/>
              <a:gd name="T35" fmla="*/ 0 h 160"/>
              <a:gd name="T36" fmla="*/ 29 w 137"/>
              <a:gd name="T37" fmla="*/ 0 h 160"/>
              <a:gd name="T38" fmla="*/ 26 w 137"/>
              <a:gd name="T39" fmla="*/ 3 h 160"/>
              <a:gd name="T40" fmla="*/ 26 w 137"/>
              <a:gd name="T41" fmla="*/ 63 h 160"/>
              <a:gd name="T42" fmla="*/ 29 w 137"/>
              <a:gd name="T43" fmla="*/ 66 h 160"/>
              <a:gd name="T44" fmla="*/ 31 w 137"/>
              <a:gd name="T45" fmla="*/ 63 h 160"/>
              <a:gd name="T46" fmla="*/ 31 w 137"/>
              <a:gd name="T47" fmla="*/ 6 h 160"/>
              <a:gd name="T48" fmla="*/ 131 w 137"/>
              <a:gd name="T49" fmla="*/ 6 h 160"/>
              <a:gd name="T50" fmla="*/ 131 w 137"/>
              <a:gd name="T51" fmla="*/ 154 h 160"/>
              <a:gd name="T52" fmla="*/ 31 w 137"/>
              <a:gd name="T53" fmla="*/ 154 h 160"/>
              <a:gd name="T54" fmla="*/ 31 w 137"/>
              <a:gd name="T55" fmla="*/ 97 h 160"/>
              <a:gd name="T56" fmla="*/ 29 w 137"/>
              <a:gd name="T57" fmla="*/ 94 h 160"/>
              <a:gd name="T58" fmla="*/ 26 w 137"/>
              <a:gd name="T59" fmla="*/ 97 h 160"/>
              <a:gd name="T60" fmla="*/ 26 w 137"/>
              <a:gd name="T61" fmla="*/ 157 h 160"/>
              <a:gd name="T62" fmla="*/ 29 w 137"/>
              <a:gd name="T63" fmla="*/ 160 h 160"/>
              <a:gd name="T64" fmla="*/ 134 w 137"/>
              <a:gd name="T65" fmla="*/ 160 h 160"/>
              <a:gd name="T66" fmla="*/ 137 w 137"/>
              <a:gd name="T67" fmla="*/ 157 h 160"/>
              <a:gd name="T68" fmla="*/ 137 w 137"/>
              <a:gd name="T69" fmla="*/ 3 h 160"/>
              <a:gd name="T70" fmla="*/ 134 w 137"/>
              <a:gd name="T7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7" h="160">
                <a:moveTo>
                  <a:pt x="90" y="83"/>
                </a:moveTo>
                <a:cubicBezTo>
                  <a:pt x="3" y="83"/>
                  <a:pt x="3" y="83"/>
                  <a:pt x="3" y="83"/>
                </a:cubicBezTo>
                <a:cubicBezTo>
                  <a:pt x="1" y="83"/>
                  <a:pt x="0" y="82"/>
                  <a:pt x="0" y="80"/>
                </a:cubicBezTo>
                <a:cubicBezTo>
                  <a:pt x="0" y="78"/>
                  <a:pt x="1" y="77"/>
                  <a:pt x="3" y="77"/>
                </a:cubicBezTo>
                <a:cubicBezTo>
                  <a:pt x="90" y="77"/>
                  <a:pt x="90" y="77"/>
                  <a:pt x="90" y="77"/>
                </a:cubicBezTo>
                <a:cubicBezTo>
                  <a:pt x="61" y="48"/>
                  <a:pt x="61" y="48"/>
                  <a:pt x="61" y="48"/>
                </a:cubicBezTo>
                <a:cubicBezTo>
                  <a:pt x="60" y="47"/>
                  <a:pt x="60" y="45"/>
                  <a:pt x="61" y="44"/>
                </a:cubicBezTo>
                <a:cubicBezTo>
                  <a:pt x="62" y="43"/>
                  <a:pt x="64" y="43"/>
                  <a:pt x="65" y="44"/>
                </a:cubicBezTo>
                <a:cubicBezTo>
                  <a:pt x="99" y="78"/>
                  <a:pt x="99" y="78"/>
                  <a:pt x="99" y="78"/>
                </a:cubicBezTo>
                <a:cubicBezTo>
                  <a:pt x="99" y="78"/>
                  <a:pt x="100" y="79"/>
                  <a:pt x="100" y="79"/>
                </a:cubicBezTo>
                <a:cubicBezTo>
                  <a:pt x="100" y="80"/>
                  <a:pt x="100" y="80"/>
                  <a:pt x="100" y="81"/>
                </a:cubicBezTo>
                <a:cubicBezTo>
                  <a:pt x="100" y="81"/>
                  <a:pt x="99" y="82"/>
                  <a:pt x="99" y="82"/>
                </a:cubicBezTo>
                <a:cubicBezTo>
                  <a:pt x="65" y="116"/>
                  <a:pt x="65" y="116"/>
                  <a:pt x="65" y="116"/>
                </a:cubicBezTo>
                <a:cubicBezTo>
                  <a:pt x="64" y="117"/>
                  <a:pt x="64" y="117"/>
                  <a:pt x="63" y="117"/>
                </a:cubicBezTo>
                <a:cubicBezTo>
                  <a:pt x="62" y="117"/>
                  <a:pt x="61" y="117"/>
                  <a:pt x="61" y="116"/>
                </a:cubicBezTo>
                <a:cubicBezTo>
                  <a:pt x="60" y="115"/>
                  <a:pt x="60" y="113"/>
                  <a:pt x="61" y="112"/>
                </a:cubicBezTo>
                <a:lnTo>
                  <a:pt x="90" y="83"/>
                </a:lnTo>
                <a:close/>
                <a:moveTo>
                  <a:pt x="134" y="0"/>
                </a:moveTo>
                <a:cubicBezTo>
                  <a:pt x="29" y="0"/>
                  <a:pt x="29" y="0"/>
                  <a:pt x="29" y="0"/>
                </a:cubicBezTo>
                <a:cubicBezTo>
                  <a:pt x="27" y="0"/>
                  <a:pt x="26" y="1"/>
                  <a:pt x="26" y="3"/>
                </a:cubicBezTo>
                <a:cubicBezTo>
                  <a:pt x="26" y="63"/>
                  <a:pt x="26" y="63"/>
                  <a:pt x="26" y="63"/>
                </a:cubicBezTo>
                <a:cubicBezTo>
                  <a:pt x="26" y="64"/>
                  <a:pt x="27" y="66"/>
                  <a:pt x="29" y="66"/>
                </a:cubicBezTo>
                <a:cubicBezTo>
                  <a:pt x="30" y="66"/>
                  <a:pt x="31" y="64"/>
                  <a:pt x="31" y="63"/>
                </a:cubicBezTo>
                <a:cubicBezTo>
                  <a:pt x="31" y="6"/>
                  <a:pt x="31" y="6"/>
                  <a:pt x="31" y="6"/>
                </a:cubicBezTo>
                <a:cubicBezTo>
                  <a:pt x="131" y="6"/>
                  <a:pt x="131" y="6"/>
                  <a:pt x="131" y="6"/>
                </a:cubicBezTo>
                <a:cubicBezTo>
                  <a:pt x="131" y="154"/>
                  <a:pt x="131" y="154"/>
                  <a:pt x="131" y="154"/>
                </a:cubicBezTo>
                <a:cubicBezTo>
                  <a:pt x="31" y="154"/>
                  <a:pt x="31" y="154"/>
                  <a:pt x="31" y="154"/>
                </a:cubicBezTo>
                <a:cubicBezTo>
                  <a:pt x="31" y="97"/>
                  <a:pt x="31" y="97"/>
                  <a:pt x="31" y="97"/>
                </a:cubicBezTo>
                <a:cubicBezTo>
                  <a:pt x="31" y="96"/>
                  <a:pt x="30" y="94"/>
                  <a:pt x="29" y="94"/>
                </a:cubicBezTo>
                <a:cubicBezTo>
                  <a:pt x="27" y="94"/>
                  <a:pt x="26" y="96"/>
                  <a:pt x="26" y="97"/>
                </a:cubicBezTo>
                <a:cubicBezTo>
                  <a:pt x="26" y="157"/>
                  <a:pt x="26" y="157"/>
                  <a:pt x="26" y="157"/>
                </a:cubicBezTo>
                <a:cubicBezTo>
                  <a:pt x="26" y="159"/>
                  <a:pt x="27" y="160"/>
                  <a:pt x="29" y="160"/>
                </a:cubicBezTo>
                <a:cubicBezTo>
                  <a:pt x="134" y="160"/>
                  <a:pt x="134" y="160"/>
                  <a:pt x="134" y="160"/>
                </a:cubicBezTo>
                <a:cubicBezTo>
                  <a:pt x="136" y="160"/>
                  <a:pt x="137" y="159"/>
                  <a:pt x="137" y="157"/>
                </a:cubicBezTo>
                <a:cubicBezTo>
                  <a:pt x="137" y="3"/>
                  <a:pt x="137" y="3"/>
                  <a:pt x="137" y="3"/>
                </a:cubicBezTo>
                <a:cubicBezTo>
                  <a:pt x="137" y="1"/>
                  <a:pt x="136" y="0"/>
                  <a:pt x="134" y="0"/>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2148">
            <a:extLst>
              <a:ext uri="{FF2B5EF4-FFF2-40B4-BE49-F238E27FC236}">
                <a16:creationId xmlns:a16="http://schemas.microsoft.com/office/drawing/2014/main" id="{0B2D3754-B3A5-4A46-8125-2D3A81AC4CD7}"/>
              </a:ext>
            </a:extLst>
          </p:cNvPr>
          <p:cNvSpPr>
            <a:spLocks noEditPoints="1"/>
          </p:cNvSpPr>
          <p:nvPr/>
        </p:nvSpPr>
        <p:spPr bwMode="auto">
          <a:xfrm>
            <a:off x="10930048" y="3438431"/>
            <a:ext cx="542925" cy="550863"/>
          </a:xfrm>
          <a:custGeom>
            <a:avLst/>
            <a:gdLst>
              <a:gd name="T0" fmla="*/ 87 w 159"/>
              <a:gd name="T1" fmla="*/ 61 h 160"/>
              <a:gd name="T2" fmla="*/ 0 w 159"/>
              <a:gd name="T3" fmla="*/ 148 h 160"/>
              <a:gd name="T4" fmla="*/ 126 w 159"/>
              <a:gd name="T5" fmla="*/ 46 h 160"/>
              <a:gd name="T6" fmla="*/ 87 w 159"/>
              <a:gd name="T7" fmla="*/ 61 h 160"/>
              <a:gd name="T8" fmla="*/ 8 w 159"/>
              <a:gd name="T9" fmla="*/ 148 h 160"/>
              <a:gd name="T10" fmla="*/ 93 w 159"/>
              <a:gd name="T11" fmla="*/ 71 h 160"/>
              <a:gd name="T12" fmla="*/ 97 w 159"/>
              <a:gd name="T13" fmla="*/ 67 h 160"/>
              <a:gd name="T14" fmla="*/ 114 w 159"/>
              <a:gd name="T15" fmla="*/ 42 h 160"/>
              <a:gd name="T16" fmla="*/ 97 w 159"/>
              <a:gd name="T17" fmla="*/ 67 h 160"/>
              <a:gd name="T18" fmla="*/ 111 w 159"/>
              <a:gd name="T19" fmla="*/ 3 h 160"/>
              <a:gd name="T20" fmla="*/ 117 w 159"/>
              <a:gd name="T21" fmla="*/ 3 h 160"/>
              <a:gd name="T22" fmla="*/ 114 w 159"/>
              <a:gd name="T23" fmla="*/ 25 h 160"/>
              <a:gd name="T24" fmla="*/ 117 w 159"/>
              <a:gd name="T25" fmla="*/ 68 h 160"/>
              <a:gd name="T26" fmla="*/ 114 w 159"/>
              <a:gd name="T27" fmla="*/ 90 h 160"/>
              <a:gd name="T28" fmla="*/ 111 w 159"/>
              <a:gd name="T29" fmla="*/ 68 h 160"/>
              <a:gd name="T30" fmla="*/ 117 w 159"/>
              <a:gd name="T31" fmla="*/ 68 h 160"/>
              <a:gd name="T32" fmla="*/ 157 w 159"/>
              <a:gd name="T33" fmla="*/ 48 h 160"/>
              <a:gd name="T34" fmla="*/ 134 w 159"/>
              <a:gd name="T35" fmla="*/ 45 h 160"/>
              <a:gd name="T36" fmla="*/ 157 w 159"/>
              <a:gd name="T37" fmla="*/ 42 h 160"/>
              <a:gd name="T38" fmla="*/ 69 w 159"/>
              <a:gd name="T39" fmla="*/ 45 h 160"/>
              <a:gd name="T40" fmla="*/ 92 w 159"/>
              <a:gd name="T41" fmla="*/ 42 h 160"/>
              <a:gd name="T42" fmla="*/ 92 w 159"/>
              <a:gd name="T43" fmla="*/ 48 h 160"/>
              <a:gd name="T44" fmla="*/ 69 w 159"/>
              <a:gd name="T45" fmla="*/ 45 h 160"/>
              <a:gd name="T46" fmla="*/ 129 w 159"/>
              <a:gd name="T47" fmla="*/ 26 h 160"/>
              <a:gd name="T48" fmla="*/ 147 w 159"/>
              <a:gd name="T49" fmla="*/ 12 h 160"/>
              <a:gd name="T50" fmla="*/ 133 w 159"/>
              <a:gd name="T51" fmla="*/ 30 h 160"/>
              <a:gd name="T52" fmla="*/ 129 w 159"/>
              <a:gd name="T53" fmla="*/ 30 h 160"/>
              <a:gd name="T54" fmla="*/ 147 w 159"/>
              <a:gd name="T55" fmla="*/ 78 h 160"/>
              <a:gd name="T56" fmla="*/ 143 w 159"/>
              <a:gd name="T57" fmla="*/ 78 h 160"/>
              <a:gd name="T58" fmla="*/ 129 w 159"/>
              <a:gd name="T59" fmla="*/ 60 h 160"/>
              <a:gd name="T60" fmla="*/ 147 w 159"/>
              <a:gd name="T61" fmla="*/ 74 h 160"/>
              <a:gd name="T62" fmla="*/ 81 w 159"/>
              <a:gd name="T63" fmla="*/ 12 h 160"/>
              <a:gd name="T64" fmla="*/ 99 w 159"/>
              <a:gd name="T65" fmla="*/ 26 h 160"/>
              <a:gd name="T66" fmla="*/ 97 w 159"/>
              <a:gd name="T67" fmla="*/ 31 h 160"/>
              <a:gd name="T68" fmla="*/ 81 w 159"/>
              <a:gd name="T69"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160">
                <a:moveTo>
                  <a:pt x="87" y="61"/>
                </a:moveTo>
                <a:cubicBezTo>
                  <a:pt x="87" y="61"/>
                  <a:pt x="87" y="61"/>
                  <a:pt x="87" y="61"/>
                </a:cubicBezTo>
                <a:cubicBezTo>
                  <a:pt x="87" y="61"/>
                  <a:pt x="87" y="61"/>
                  <a:pt x="87" y="61"/>
                </a:cubicBezTo>
                <a:cubicBezTo>
                  <a:pt x="0" y="148"/>
                  <a:pt x="0" y="148"/>
                  <a:pt x="0" y="148"/>
                </a:cubicBezTo>
                <a:cubicBezTo>
                  <a:pt x="12" y="160"/>
                  <a:pt x="12" y="160"/>
                  <a:pt x="12" y="160"/>
                </a:cubicBezTo>
                <a:cubicBezTo>
                  <a:pt x="126" y="46"/>
                  <a:pt x="126" y="46"/>
                  <a:pt x="126" y="46"/>
                </a:cubicBezTo>
                <a:cubicBezTo>
                  <a:pt x="114" y="34"/>
                  <a:pt x="114" y="34"/>
                  <a:pt x="114" y="34"/>
                </a:cubicBezTo>
                <a:lnTo>
                  <a:pt x="87" y="61"/>
                </a:lnTo>
                <a:close/>
                <a:moveTo>
                  <a:pt x="12" y="152"/>
                </a:moveTo>
                <a:cubicBezTo>
                  <a:pt x="8" y="148"/>
                  <a:pt x="8" y="148"/>
                  <a:pt x="8" y="148"/>
                </a:cubicBezTo>
                <a:cubicBezTo>
                  <a:pt x="89" y="67"/>
                  <a:pt x="89" y="67"/>
                  <a:pt x="89" y="67"/>
                </a:cubicBezTo>
                <a:cubicBezTo>
                  <a:pt x="93" y="71"/>
                  <a:pt x="93" y="71"/>
                  <a:pt x="93" y="71"/>
                </a:cubicBezTo>
                <a:lnTo>
                  <a:pt x="12" y="152"/>
                </a:lnTo>
                <a:close/>
                <a:moveTo>
                  <a:pt x="97" y="67"/>
                </a:moveTo>
                <a:cubicBezTo>
                  <a:pt x="93" y="63"/>
                  <a:pt x="93" y="63"/>
                  <a:pt x="93" y="63"/>
                </a:cubicBezTo>
                <a:cubicBezTo>
                  <a:pt x="114" y="42"/>
                  <a:pt x="114" y="42"/>
                  <a:pt x="114" y="42"/>
                </a:cubicBezTo>
                <a:cubicBezTo>
                  <a:pt x="118" y="46"/>
                  <a:pt x="118" y="46"/>
                  <a:pt x="118" y="46"/>
                </a:cubicBezTo>
                <a:lnTo>
                  <a:pt x="97" y="67"/>
                </a:lnTo>
                <a:close/>
                <a:moveTo>
                  <a:pt x="111" y="23"/>
                </a:moveTo>
                <a:cubicBezTo>
                  <a:pt x="111" y="3"/>
                  <a:pt x="111" y="3"/>
                  <a:pt x="111" y="3"/>
                </a:cubicBezTo>
                <a:cubicBezTo>
                  <a:pt x="111" y="1"/>
                  <a:pt x="113" y="0"/>
                  <a:pt x="114" y="0"/>
                </a:cubicBezTo>
                <a:cubicBezTo>
                  <a:pt x="116" y="0"/>
                  <a:pt x="117" y="1"/>
                  <a:pt x="117" y="3"/>
                </a:cubicBezTo>
                <a:cubicBezTo>
                  <a:pt x="117" y="23"/>
                  <a:pt x="117" y="23"/>
                  <a:pt x="117" y="23"/>
                </a:cubicBezTo>
                <a:cubicBezTo>
                  <a:pt x="117" y="24"/>
                  <a:pt x="116" y="25"/>
                  <a:pt x="114" y="25"/>
                </a:cubicBezTo>
                <a:cubicBezTo>
                  <a:pt x="113" y="25"/>
                  <a:pt x="111" y="24"/>
                  <a:pt x="111" y="23"/>
                </a:cubicBezTo>
                <a:close/>
                <a:moveTo>
                  <a:pt x="117" y="68"/>
                </a:moveTo>
                <a:cubicBezTo>
                  <a:pt x="117" y="88"/>
                  <a:pt x="117" y="88"/>
                  <a:pt x="117" y="88"/>
                </a:cubicBezTo>
                <a:cubicBezTo>
                  <a:pt x="117" y="89"/>
                  <a:pt x="116" y="90"/>
                  <a:pt x="114" y="90"/>
                </a:cubicBezTo>
                <a:cubicBezTo>
                  <a:pt x="113" y="90"/>
                  <a:pt x="111" y="89"/>
                  <a:pt x="111" y="88"/>
                </a:cubicBezTo>
                <a:cubicBezTo>
                  <a:pt x="111" y="68"/>
                  <a:pt x="111" y="68"/>
                  <a:pt x="111" y="68"/>
                </a:cubicBezTo>
                <a:cubicBezTo>
                  <a:pt x="111" y="66"/>
                  <a:pt x="113" y="65"/>
                  <a:pt x="114" y="65"/>
                </a:cubicBezTo>
                <a:cubicBezTo>
                  <a:pt x="116" y="65"/>
                  <a:pt x="117" y="66"/>
                  <a:pt x="117" y="68"/>
                </a:cubicBezTo>
                <a:close/>
                <a:moveTo>
                  <a:pt x="159" y="45"/>
                </a:moveTo>
                <a:cubicBezTo>
                  <a:pt x="159" y="47"/>
                  <a:pt x="158" y="48"/>
                  <a:pt x="157" y="48"/>
                </a:cubicBezTo>
                <a:cubicBezTo>
                  <a:pt x="137" y="48"/>
                  <a:pt x="137" y="48"/>
                  <a:pt x="137" y="48"/>
                </a:cubicBezTo>
                <a:cubicBezTo>
                  <a:pt x="135" y="48"/>
                  <a:pt x="134" y="47"/>
                  <a:pt x="134" y="45"/>
                </a:cubicBezTo>
                <a:cubicBezTo>
                  <a:pt x="134" y="44"/>
                  <a:pt x="135" y="42"/>
                  <a:pt x="137" y="42"/>
                </a:cubicBezTo>
                <a:cubicBezTo>
                  <a:pt x="157" y="42"/>
                  <a:pt x="157" y="42"/>
                  <a:pt x="157" y="42"/>
                </a:cubicBezTo>
                <a:cubicBezTo>
                  <a:pt x="158" y="42"/>
                  <a:pt x="159" y="44"/>
                  <a:pt x="159" y="45"/>
                </a:cubicBezTo>
                <a:close/>
                <a:moveTo>
                  <a:pt x="69" y="45"/>
                </a:moveTo>
                <a:cubicBezTo>
                  <a:pt x="69" y="44"/>
                  <a:pt x="70" y="42"/>
                  <a:pt x="72" y="42"/>
                </a:cubicBezTo>
                <a:cubicBezTo>
                  <a:pt x="92" y="42"/>
                  <a:pt x="92" y="42"/>
                  <a:pt x="92" y="42"/>
                </a:cubicBezTo>
                <a:cubicBezTo>
                  <a:pt x="93" y="42"/>
                  <a:pt x="94" y="44"/>
                  <a:pt x="94" y="45"/>
                </a:cubicBezTo>
                <a:cubicBezTo>
                  <a:pt x="94" y="47"/>
                  <a:pt x="93" y="48"/>
                  <a:pt x="92" y="48"/>
                </a:cubicBezTo>
                <a:cubicBezTo>
                  <a:pt x="72" y="48"/>
                  <a:pt x="72" y="48"/>
                  <a:pt x="72" y="48"/>
                </a:cubicBezTo>
                <a:cubicBezTo>
                  <a:pt x="70" y="48"/>
                  <a:pt x="69" y="47"/>
                  <a:pt x="69" y="45"/>
                </a:cubicBezTo>
                <a:close/>
                <a:moveTo>
                  <a:pt x="129" y="30"/>
                </a:moveTo>
                <a:cubicBezTo>
                  <a:pt x="128" y="29"/>
                  <a:pt x="128" y="27"/>
                  <a:pt x="129" y="26"/>
                </a:cubicBezTo>
                <a:cubicBezTo>
                  <a:pt x="143" y="12"/>
                  <a:pt x="143" y="12"/>
                  <a:pt x="143" y="12"/>
                </a:cubicBezTo>
                <a:cubicBezTo>
                  <a:pt x="144" y="11"/>
                  <a:pt x="146" y="11"/>
                  <a:pt x="147" y="12"/>
                </a:cubicBezTo>
                <a:cubicBezTo>
                  <a:pt x="148" y="13"/>
                  <a:pt x="148" y="15"/>
                  <a:pt x="147" y="16"/>
                </a:cubicBezTo>
                <a:cubicBezTo>
                  <a:pt x="133" y="30"/>
                  <a:pt x="133" y="30"/>
                  <a:pt x="133" y="30"/>
                </a:cubicBezTo>
                <a:cubicBezTo>
                  <a:pt x="133" y="31"/>
                  <a:pt x="132" y="31"/>
                  <a:pt x="131" y="31"/>
                </a:cubicBezTo>
                <a:cubicBezTo>
                  <a:pt x="130" y="31"/>
                  <a:pt x="130" y="31"/>
                  <a:pt x="129" y="30"/>
                </a:cubicBezTo>
                <a:close/>
                <a:moveTo>
                  <a:pt x="147" y="74"/>
                </a:moveTo>
                <a:cubicBezTo>
                  <a:pt x="148" y="75"/>
                  <a:pt x="148" y="77"/>
                  <a:pt x="147" y="78"/>
                </a:cubicBezTo>
                <a:cubicBezTo>
                  <a:pt x="147" y="79"/>
                  <a:pt x="146" y="79"/>
                  <a:pt x="145" y="79"/>
                </a:cubicBezTo>
                <a:cubicBezTo>
                  <a:pt x="144" y="79"/>
                  <a:pt x="144" y="79"/>
                  <a:pt x="143" y="78"/>
                </a:cubicBezTo>
                <a:cubicBezTo>
                  <a:pt x="129" y="64"/>
                  <a:pt x="129" y="64"/>
                  <a:pt x="129" y="64"/>
                </a:cubicBezTo>
                <a:cubicBezTo>
                  <a:pt x="128" y="63"/>
                  <a:pt x="128" y="61"/>
                  <a:pt x="129" y="60"/>
                </a:cubicBezTo>
                <a:cubicBezTo>
                  <a:pt x="130" y="59"/>
                  <a:pt x="132" y="59"/>
                  <a:pt x="133" y="60"/>
                </a:cubicBezTo>
                <a:lnTo>
                  <a:pt x="147" y="74"/>
                </a:lnTo>
                <a:close/>
                <a:moveTo>
                  <a:pt x="81" y="16"/>
                </a:moveTo>
                <a:cubicBezTo>
                  <a:pt x="80" y="15"/>
                  <a:pt x="80" y="13"/>
                  <a:pt x="81" y="12"/>
                </a:cubicBezTo>
                <a:cubicBezTo>
                  <a:pt x="82" y="11"/>
                  <a:pt x="84" y="11"/>
                  <a:pt x="85" y="12"/>
                </a:cubicBezTo>
                <a:cubicBezTo>
                  <a:pt x="99" y="26"/>
                  <a:pt x="99" y="26"/>
                  <a:pt x="99" y="26"/>
                </a:cubicBezTo>
                <a:cubicBezTo>
                  <a:pt x="100" y="27"/>
                  <a:pt x="100" y="29"/>
                  <a:pt x="99" y="30"/>
                </a:cubicBezTo>
                <a:cubicBezTo>
                  <a:pt x="99" y="31"/>
                  <a:pt x="98" y="31"/>
                  <a:pt x="97" y="31"/>
                </a:cubicBezTo>
                <a:cubicBezTo>
                  <a:pt x="97" y="31"/>
                  <a:pt x="96" y="31"/>
                  <a:pt x="95" y="30"/>
                </a:cubicBezTo>
                <a:lnTo>
                  <a:pt x="81" y="16"/>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2149">
            <a:extLst>
              <a:ext uri="{FF2B5EF4-FFF2-40B4-BE49-F238E27FC236}">
                <a16:creationId xmlns:a16="http://schemas.microsoft.com/office/drawing/2014/main" id="{3BAA4008-2584-2F4A-997B-75765AC9613E}"/>
              </a:ext>
            </a:extLst>
          </p:cNvPr>
          <p:cNvSpPr>
            <a:spLocks noEditPoints="1"/>
          </p:cNvSpPr>
          <p:nvPr/>
        </p:nvSpPr>
        <p:spPr bwMode="auto">
          <a:xfrm>
            <a:off x="10930048" y="4084544"/>
            <a:ext cx="546100" cy="495300"/>
          </a:xfrm>
          <a:custGeom>
            <a:avLst/>
            <a:gdLst>
              <a:gd name="T0" fmla="*/ 72 w 160"/>
              <a:gd name="T1" fmla="*/ 144 h 144"/>
              <a:gd name="T2" fmla="*/ 72 w 160"/>
              <a:gd name="T3" fmla="*/ 101 h 144"/>
              <a:gd name="T4" fmla="*/ 128 w 160"/>
              <a:gd name="T5" fmla="*/ 43 h 144"/>
              <a:gd name="T6" fmla="*/ 123 w 160"/>
              <a:gd name="T7" fmla="*/ 139 h 144"/>
              <a:gd name="T8" fmla="*/ 123 w 160"/>
              <a:gd name="T9" fmla="*/ 107 h 144"/>
              <a:gd name="T10" fmla="*/ 72 w 160"/>
              <a:gd name="T11" fmla="*/ 107 h 144"/>
              <a:gd name="T12" fmla="*/ 72 w 160"/>
              <a:gd name="T13" fmla="*/ 139 h 144"/>
              <a:gd name="T14" fmla="*/ 99 w 160"/>
              <a:gd name="T15" fmla="*/ 5 h 144"/>
              <a:gd name="T16" fmla="*/ 37 w 160"/>
              <a:gd name="T17" fmla="*/ 72 h 144"/>
              <a:gd name="T18" fmla="*/ 104 w 160"/>
              <a:gd name="T19" fmla="*/ 5 h 144"/>
              <a:gd name="T20" fmla="*/ 141 w 160"/>
              <a:gd name="T21" fmla="*/ 11 h 144"/>
              <a:gd name="T22" fmla="*/ 149 w 160"/>
              <a:gd name="T23" fmla="*/ 11 h 144"/>
              <a:gd name="T24" fmla="*/ 141 w 160"/>
              <a:gd name="T25" fmla="*/ 11 h 144"/>
              <a:gd name="T26" fmla="*/ 136 w 160"/>
              <a:gd name="T27" fmla="*/ 8 h 144"/>
              <a:gd name="T28" fmla="*/ 133 w 160"/>
              <a:gd name="T29" fmla="*/ 13 h 144"/>
              <a:gd name="T30" fmla="*/ 155 w 160"/>
              <a:gd name="T31" fmla="*/ 8 h 144"/>
              <a:gd name="T32" fmla="*/ 157 w 160"/>
              <a:gd name="T33" fmla="*/ 13 h 144"/>
              <a:gd name="T34" fmla="*/ 149 w 160"/>
              <a:gd name="T35" fmla="*/ 32 h 144"/>
              <a:gd name="T36" fmla="*/ 141 w 160"/>
              <a:gd name="T37" fmla="*/ 32 h 144"/>
              <a:gd name="T38" fmla="*/ 149 w 160"/>
              <a:gd name="T39" fmla="*/ 32 h 144"/>
              <a:gd name="T40" fmla="*/ 136 w 160"/>
              <a:gd name="T41" fmla="*/ 29 h 144"/>
              <a:gd name="T42" fmla="*/ 133 w 160"/>
              <a:gd name="T43" fmla="*/ 35 h 144"/>
              <a:gd name="T44" fmla="*/ 157 w 160"/>
              <a:gd name="T45" fmla="*/ 35 h 144"/>
              <a:gd name="T46" fmla="*/ 155 w 160"/>
              <a:gd name="T47" fmla="*/ 29 h 144"/>
              <a:gd name="T48" fmla="*/ 139 w 160"/>
              <a:gd name="T49" fmla="*/ 19 h 144"/>
              <a:gd name="T50" fmla="*/ 141 w 160"/>
              <a:gd name="T51" fmla="*/ 24 h 144"/>
              <a:gd name="T52" fmla="*/ 139 w 160"/>
              <a:gd name="T53" fmla="*/ 19 h 144"/>
              <a:gd name="T54" fmla="*/ 155 w 160"/>
              <a:gd name="T55" fmla="*/ 21 h 144"/>
              <a:gd name="T56" fmla="*/ 147 w 160"/>
              <a:gd name="T57" fmla="*/ 21 h 144"/>
              <a:gd name="T58" fmla="*/ 147 w 160"/>
              <a:gd name="T59" fmla="*/ 117 h 144"/>
              <a:gd name="T60" fmla="*/ 144 w 160"/>
              <a:gd name="T61" fmla="*/ 112 h 144"/>
              <a:gd name="T62" fmla="*/ 131 w 160"/>
              <a:gd name="T63" fmla="*/ 115 h 144"/>
              <a:gd name="T64" fmla="*/ 139 w 160"/>
              <a:gd name="T65" fmla="*/ 115 h 144"/>
              <a:gd name="T66" fmla="*/ 131 w 160"/>
              <a:gd name="T67" fmla="*/ 115 h 144"/>
              <a:gd name="T68" fmla="*/ 155 w 160"/>
              <a:gd name="T69" fmla="*/ 117 h 144"/>
              <a:gd name="T70" fmla="*/ 157 w 160"/>
              <a:gd name="T71" fmla="*/ 112 h 144"/>
              <a:gd name="T72" fmla="*/ 147 w 160"/>
              <a:gd name="T73" fmla="*/ 139 h 144"/>
              <a:gd name="T74" fmla="*/ 144 w 160"/>
              <a:gd name="T75" fmla="*/ 133 h 144"/>
              <a:gd name="T76" fmla="*/ 139 w 160"/>
              <a:gd name="T77" fmla="*/ 136 h 144"/>
              <a:gd name="T78" fmla="*/ 131 w 160"/>
              <a:gd name="T79" fmla="*/ 136 h 144"/>
              <a:gd name="T80" fmla="*/ 139 w 160"/>
              <a:gd name="T81" fmla="*/ 136 h 144"/>
              <a:gd name="T82" fmla="*/ 155 w 160"/>
              <a:gd name="T83" fmla="*/ 139 h 144"/>
              <a:gd name="T84" fmla="*/ 157 w 160"/>
              <a:gd name="T85" fmla="*/ 133 h 144"/>
              <a:gd name="T86" fmla="*/ 139 w 160"/>
              <a:gd name="T87" fmla="*/ 128 h 144"/>
              <a:gd name="T88" fmla="*/ 141 w 160"/>
              <a:gd name="T89" fmla="*/ 123 h 144"/>
              <a:gd name="T90" fmla="*/ 152 w 160"/>
              <a:gd name="T91" fmla="*/ 128 h 144"/>
              <a:gd name="T92" fmla="*/ 149 w 160"/>
              <a:gd name="T93" fmla="*/ 123 h 144"/>
              <a:gd name="T94" fmla="*/ 152 w 160"/>
              <a:gd name="T95" fmla="*/ 12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144">
                <a:moveTo>
                  <a:pt x="72" y="0"/>
                </a:moveTo>
                <a:cubicBezTo>
                  <a:pt x="32" y="0"/>
                  <a:pt x="0" y="32"/>
                  <a:pt x="0" y="72"/>
                </a:cubicBezTo>
                <a:cubicBezTo>
                  <a:pt x="0" y="112"/>
                  <a:pt x="32" y="144"/>
                  <a:pt x="72" y="144"/>
                </a:cubicBezTo>
                <a:cubicBezTo>
                  <a:pt x="128" y="144"/>
                  <a:pt x="128" y="144"/>
                  <a:pt x="128" y="144"/>
                </a:cubicBezTo>
                <a:cubicBezTo>
                  <a:pt x="128" y="101"/>
                  <a:pt x="128" y="101"/>
                  <a:pt x="128" y="101"/>
                </a:cubicBezTo>
                <a:cubicBezTo>
                  <a:pt x="72" y="101"/>
                  <a:pt x="72" y="101"/>
                  <a:pt x="72" y="101"/>
                </a:cubicBezTo>
                <a:cubicBezTo>
                  <a:pt x="56" y="101"/>
                  <a:pt x="43" y="88"/>
                  <a:pt x="43" y="72"/>
                </a:cubicBezTo>
                <a:cubicBezTo>
                  <a:pt x="43" y="56"/>
                  <a:pt x="56" y="43"/>
                  <a:pt x="72" y="43"/>
                </a:cubicBezTo>
                <a:cubicBezTo>
                  <a:pt x="128" y="43"/>
                  <a:pt x="128" y="43"/>
                  <a:pt x="128" y="43"/>
                </a:cubicBezTo>
                <a:cubicBezTo>
                  <a:pt x="128" y="0"/>
                  <a:pt x="128" y="0"/>
                  <a:pt x="128" y="0"/>
                </a:cubicBezTo>
                <a:lnTo>
                  <a:pt x="72" y="0"/>
                </a:lnTo>
                <a:close/>
                <a:moveTo>
                  <a:pt x="123" y="139"/>
                </a:moveTo>
                <a:cubicBezTo>
                  <a:pt x="104" y="139"/>
                  <a:pt x="104" y="139"/>
                  <a:pt x="104" y="139"/>
                </a:cubicBezTo>
                <a:cubicBezTo>
                  <a:pt x="104" y="107"/>
                  <a:pt x="104" y="107"/>
                  <a:pt x="104" y="107"/>
                </a:cubicBezTo>
                <a:cubicBezTo>
                  <a:pt x="123" y="107"/>
                  <a:pt x="123" y="107"/>
                  <a:pt x="123" y="107"/>
                </a:cubicBezTo>
                <a:lnTo>
                  <a:pt x="123" y="139"/>
                </a:lnTo>
                <a:close/>
                <a:moveTo>
                  <a:pt x="37" y="72"/>
                </a:moveTo>
                <a:cubicBezTo>
                  <a:pt x="37" y="91"/>
                  <a:pt x="53" y="107"/>
                  <a:pt x="72" y="107"/>
                </a:cubicBezTo>
                <a:cubicBezTo>
                  <a:pt x="99" y="107"/>
                  <a:pt x="99" y="107"/>
                  <a:pt x="99" y="107"/>
                </a:cubicBezTo>
                <a:cubicBezTo>
                  <a:pt x="99" y="139"/>
                  <a:pt x="99" y="139"/>
                  <a:pt x="99" y="139"/>
                </a:cubicBezTo>
                <a:cubicBezTo>
                  <a:pt x="72" y="139"/>
                  <a:pt x="72" y="139"/>
                  <a:pt x="72" y="139"/>
                </a:cubicBezTo>
                <a:cubicBezTo>
                  <a:pt x="35" y="139"/>
                  <a:pt x="5" y="109"/>
                  <a:pt x="5" y="72"/>
                </a:cubicBezTo>
                <a:cubicBezTo>
                  <a:pt x="5" y="35"/>
                  <a:pt x="35" y="5"/>
                  <a:pt x="72" y="5"/>
                </a:cubicBezTo>
                <a:cubicBezTo>
                  <a:pt x="99" y="5"/>
                  <a:pt x="99" y="5"/>
                  <a:pt x="99" y="5"/>
                </a:cubicBezTo>
                <a:cubicBezTo>
                  <a:pt x="99" y="37"/>
                  <a:pt x="99" y="37"/>
                  <a:pt x="99" y="37"/>
                </a:cubicBezTo>
                <a:cubicBezTo>
                  <a:pt x="72" y="37"/>
                  <a:pt x="72" y="37"/>
                  <a:pt x="72" y="37"/>
                </a:cubicBezTo>
                <a:cubicBezTo>
                  <a:pt x="53" y="37"/>
                  <a:pt x="37" y="53"/>
                  <a:pt x="37" y="72"/>
                </a:cubicBezTo>
                <a:close/>
                <a:moveTo>
                  <a:pt x="123" y="37"/>
                </a:moveTo>
                <a:cubicBezTo>
                  <a:pt x="104" y="37"/>
                  <a:pt x="104" y="37"/>
                  <a:pt x="104" y="37"/>
                </a:cubicBezTo>
                <a:cubicBezTo>
                  <a:pt x="104" y="5"/>
                  <a:pt x="104" y="5"/>
                  <a:pt x="104" y="5"/>
                </a:cubicBezTo>
                <a:cubicBezTo>
                  <a:pt x="123" y="5"/>
                  <a:pt x="123" y="5"/>
                  <a:pt x="123" y="5"/>
                </a:cubicBezTo>
                <a:lnTo>
                  <a:pt x="123" y="37"/>
                </a:lnTo>
                <a:close/>
                <a:moveTo>
                  <a:pt x="141" y="11"/>
                </a:moveTo>
                <a:cubicBezTo>
                  <a:pt x="141" y="9"/>
                  <a:pt x="143" y="8"/>
                  <a:pt x="144" y="8"/>
                </a:cubicBezTo>
                <a:cubicBezTo>
                  <a:pt x="147" y="8"/>
                  <a:pt x="147" y="8"/>
                  <a:pt x="147" y="8"/>
                </a:cubicBezTo>
                <a:cubicBezTo>
                  <a:pt x="148" y="8"/>
                  <a:pt x="149" y="9"/>
                  <a:pt x="149" y="11"/>
                </a:cubicBezTo>
                <a:cubicBezTo>
                  <a:pt x="149" y="12"/>
                  <a:pt x="148" y="13"/>
                  <a:pt x="147" y="13"/>
                </a:cubicBezTo>
                <a:cubicBezTo>
                  <a:pt x="144" y="13"/>
                  <a:pt x="144" y="13"/>
                  <a:pt x="144" y="13"/>
                </a:cubicBezTo>
                <a:cubicBezTo>
                  <a:pt x="143" y="13"/>
                  <a:pt x="141" y="12"/>
                  <a:pt x="141" y="11"/>
                </a:cubicBezTo>
                <a:close/>
                <a:moveTo>
                  <a:pt x="131" y="11"/>
                </a:moveTo>
                <a:cubicBezTo>
                  <a:pt x="131" y="9"/>
                  <a:pt x="132" y="8"/>
                  <a:pt x="133" y="8"/>
                </a:cubicBezTo>
                <a:cubicBezTo>
                  <a:pt x="136" y="8"/>
                  <a:pt x="136" y="8"/>
                  <a:pt x="136" y="8"/>
                </a:cubicBezTo>
                <a:cubicBezTo>
                  <a:pt x="137" y="8"/>
                  <a:pt x="139" y="9"/>
                  <a:pt x="139" y="11"/>
                </a:cubicBezTo>
                <a:cubicBezTo>
                  <a:pt x="139" y="12"/>
                  <a:pt x="137" y="13"/>
                  <a:pt x="136" y="13"/>
                </a:cubicBezTo>
                <a:cubicBezTo>
                  <a:pt x="133" y="13"/>
                  <a:pt x="133" y="13"/>
                  <a:pt x="133" y="13"/>
                </a:cubicBezTo>
                <a:cubicBezTo>
                  <a:pt x="132" y="13"/>
                  <a:pt x="131" y="12"/>
                  <a:pt x="131" y="11"/>
                </a:cubicBezTo>
                <a:close/>
                <a:moveTo>
                  <a:pt x="152" y="11"/>
                </a:moveTo>
                <a:cubicBezTo>
                  <a:pt x="152" y="9"/>
                  <a:pt x="153" y="8"/>
                  <a:pt x="155" y="8"/>
                </a:cubicBezTo>
                <a:cubicBezTo>
                  <a:pt x="157" y="8"/>
                  <a:pt x="157" y="8"/>
                  <a:pt x="157" y="8"/>
                </a:cubicBezTo>
                <a:cubicBezTo>
                  <a:pt x="159" y="8"/>
                  <a:pt x="160" y="9"/>
                  <a:pt x="160" y="11"/>
                </a:cubicBezTo>
                <a:cubicBezTo>
                  <a:pt x="160" y="12"/>
                  <a:pt x="159" y="13"/>
                  <a:pt x="157" y="13"/>
                </a:cubicBezTo>
                <a:cubicBezTo>
                  <a:pt x="155" y="13"/>
                  <a:pt x="155" y="13"/>
                  <a:pt x="155" y="13"/>
                </a:cubicBezTo>
                <a:cubicBezTo>
                  <a:pt x="153" y="13"/>
                  <a:pt x="152" y="12"/>
                  <a:pt x="152" y="11"/>
                </a:cubicBezTo>
                <a:close/>
                <a:moveTo>
                  <a:pt x="149" y="32"/>
                </a:moveTo>
                <a:cubicBezTo>
                  <a:pt x="149" y="33"/>
                  <a:pt x="148" y="35"/>
                  <a:pt x="147" y="35"/>
                </a:cubicBezTo>
                <a:cubicBezTo>
                  <a:pt x="144" y="35"/>
                  <a:pt x="144" y="35"/>
                  <a:pt x="144" y="35"/>
                </a:cubicBezTo>
                <a:cubicBezTo>
                  <a:pt x="143" y="35"/>
                  <a:pt x="141" y="33"/>
                  <a:pt x="141" y="32"/>
                </a:cubicBezTo>
                <a:cubicBezTo>
                  <a:pt x="141" y="31"/>
                  <a:pt x="143" y="29"/>
                  <a:pt x="144" y="29"/>
                </a:cubicBezTo>
                <a:cubicBezTo>
                  <a:pt x="147" y="29"/>
                  <a:pt x="147" y="29"/>
                  <a:pt x="147" y="29"/>
                </a:cubicBezTo>
                <a:cubicBezTo>
                  <a:pt x="148" y="29"/>
                  <a:pt x="149" y="31"/>
                  <a:pt x="149" y="32"/>
                </a:cubicBezTo>
                <a:close/>
                <a:moveTo>
                  <a:pt x="131" y="32"/>
                </a:moveTo>
                <a:cubicBezTo>
                  <a:pt x="131" y="31"/>
                  <a:pt x="132" y="29"/>
                  <a:pt x="133" y="29"/>
                </a:cubicBezTo>
                <a:cubicBezTo>
                  <a:pt x="136" y="29"/>
                  <a:pt x="136" y="29"/>
                  <a:pt x="136" y="29"/>
                </a:cubicBezTo>
                <a:cubicBezTo>
                  <a:pt x="137" y="29"/>
                  <a:pt x="139" y="31"/>
                  <a:pt x="139" y="32"/>
                </a:cubicBezTo>
                <a:cubicBezTo>
                  <a:pt x="139" y="33"/>
                  <a:pt x="137" y="35"/>
                  <a:pt x="136" y="35"/>
                </a:cubicBezTo>
                <a:cubicBezTo>
                  <a:pt x="133" y="35"/>
                  <a:pt x="133" y="35"/>
                  <a:pt x="133" y="35"/>
                </a:cubicBezTo>
                <a:cubicBezTo>
                  <a:pt x="132" y="35"/>
                  <a:pt x="131" y="33"/>
                  <a:pt x="131" y="32"/>
                </a:cubicBezTo>
                <a:close/>
                <a:moveTo>
                  <a:pt x="160" y="32"/>
                </a:moveTo>
                <a:cubicBezTo>
                  <a:pt x="160" y="33"/>
                  <a:pt x="159" y="35"/>
                  <a:pt x="157" y="35"/>
                </a:cubicBezTo>
                <a:cubicBezTo>
                  <a:pt x="155" y="35"/>
                  <a:pt x="155" y="35"/>
                  <a:pt x="155" y="35"/>
                </a:cubicBezTo>
                <a:cubicBezTo>
                  <a:pt x="153" y="35"/>
                  <a:pt x="152" y="33"/>
                  <a:pt x="152" y="32"/>
                </a:cubicBezTo>
                <a:cubicBezTo>
                  <a:pt x="152" y="31"/>
                  <a:pt x="153" y="29"/>
                  <a:pt x="155" y="29"/>
                </a:cubicBezTo>
                <a:cubicBezTo>
                  <a:pt x="157" y="29"/>
                  <a:pt x="157" y="29"/>
                  <a:pt x="157" y="29"/>
                </a:cubicBezTo>
                <a:cubicBezTo>
                  <a:pt x="159" y="29"/>
                  <a:pt x="160" y="31"/>
                  <a:pt x="160" y="32"/>
                </a:cubicBezTo>
                <a:close/>
                <a:moveTo>
                  <a:pt x="139" y="19"/>
                </a:moveTo>
                <a:cubicBezTo>
                  <a:pt x="141" y="19"/>
                  <a:pt x="141" y="19"/>
                  <a:pt x="141" y="19"/>
                </a:cubicBezTo>
                <a:cubicBezTo>
                  <a:pt x="143" y="19"/>
                  <a:pt x="144" y="20"/>
                  <a:pt x="144" y="21"/>
                </a:cubicBezTo>
                <a:cubicBezTo>
                  <a:pt x="144" y="23"/>
                  <a:pt x="143" y="24"/>
                  <a:pt x="141" y="24"/>
                </a:cubicBezTo>
                <a:cubicBezTo>
                  <a:pt x="139" y="24"/>
                  <a:pt x="139" y="24"/>
                  <a:pt x="139" y="24"/>
                </a:cubicBezTo>
                <a:cubicBezTo>
                  <a:pt x="137" y="24"/>
                  <a:pt x="136" y="23"/>
                  <a:pt x="136" y="21"/>
                </a:cubicBezTo>
                <a:cubicBezTo>
                  <a:pt x="136" y="20"/>
                  <a:pt x="137" y="19"/>
                  <a:pt x="139" y="19"/>
                </a:cubicBezTo>
                <a:close/>
                <a:moveTo>
                  <a:pt x="149" y="19"/>
                </a:moveTo>
                <a:cubicBezTo>
                  <a:pt x="152" y="19"/>
                  <a:pt x="152" y="19"/>
                  <a:pt x="152" y="19"/>
                </a:cubicBezTo>
                <a:cubicBezTo>
                  <a:pt x="153" y="19"/>
                  <a:pt x="155" y="20"/>
                  <a:pt x="155" y="21"/>
                </a:cubicBezTo>
                <a:cubicBezTo>
                  <a:pt x="155" y="23"/>
                  <a:pt x="153" y="24"/>
                  <a:pt x="152" y="24"/>
                </a:cubicBezTo>
                <a:cubicBezTo>
                  <a:pt x="149" y="24"/>
                  <a:pt x="149" y="24"/>
                  <a:pt x="149" y="24"/>
                </a:cubicBezTo>
                <a:cubicBezTo>
                  <a:pt x="148" y="24"/>
                  <a:pt x="147" y="23"/>
                  <a:pt x="147" y="21"/>
                </a:cubicBezTo>
                <a:cubicBezTo>
                  <a:pt x="147" y="20"/>
                  <a:pt x="148" y="19"/>
                  <a:pt x="149" y="19"/>
                </a:cubicBezTo>
                <a:close/>
                <a:moveTo>
                  <a:pt x="149" y="115"/>
                </a:moveTo>
                <a:cubicBezTo>
                  <a:pt x="149" y="116"/>
                  <a:pt x="148" y="117"/>
                  <a:pt x="147" y="117"/>
                </a:cubicBezTo>
                <a:cubicBezTo>
                  <a:pt x="144" y="117"/>
                  <a:pt x="144" y="117"/>
                  <a:pt x="144" y="117"/>
                </a:cubicBezTo>
                <a:cubicBezTo>
                  <a:pt x="143" y="117"/>
                  <a:pt x="141" y="116"/>
                  <a:pt x="141" y="115"/>
                </a:cubicBezTo>
                <a:cubicBezTo>
                  <a:pt x="141" y="113"/>
                  <a:pt x="143" y="112"/>
                  <a:pt x="144" y="112"/>
                </a:cubicBezTo>
                <a:cubicBezTo>
                  <a:pt x="147" y="112"/>
                  <a:pt x="147" y="112"/>
                  <a:pt x="147" y="112"/>
                </a:cubicBezTo>
                <a:cubicBezTo>
                  <a:pt x="148" y="112"/>
                  <a:pt x="149" y="113"/>
                  <a:pt x="149" y="115"/>
                </a:cubicBezTo>
                <a:close/>
                <a:moveTo>
                  <a:pt x="131" y="115"/>
                </a:moveTo>
                <a:cubicBezTo>
                  <a:pt x="131" y="113"/>
                  <a:pt x="132" y="112"/>
                  <a:pt x="133" y="112"/>
                </a:cubicBezTo>
                <a:cubicBezTo>
                  <a:pt x="136" y="112"/>
                  <a:pt x="136" y="112"/>
                  <a:pt x="136" y="112"/>
                </a:cubicBezTo>
                <a:cubicBezTo>
                  <a:pt x="137" y="112"/>
                  <a:pt x="139" y="113"/>
                  <a:pt x="139" y="115"/>
                </a:cubicBezTo>
                <a:cubicBezTo>
                  <a:pt x="139" y="116"/>
                  <a:pt x="137" y="117"/>
                  <a:pt x="136" y="117"/>
                </a:cubicBezTo>
                <a:cubicBezTo>
                  <a:pt x="133" y="117"/>
                  <a:pt x="133" y="117"/>
                  <a:pt x="133" y="117"/>
                </a:cubicBezTo>
                <a:cubicBezTo>
                  <a:pt x="132" y="117"/>
                  <a:pt x="131" y="116"/>
                  <a:pt x="131" y="115"/>
                </a:cubicBezTo>
                <a:close/>
                <a:moveTo>
                  <a:pt x="160" y="115"/>
                </a:moveTo>
                <a:cubicBezTo>
                  <a:pt x="160" y="116"/>
                  <a:pt x="159" y="117"/>
                  <a:pt x="157" y="117"/>
                </a:cubicBezTo>
                <a:cubicBezTo>
                  <a:pt x="155" y="117"/>
                  <a:pt x="155" y="117"/>
                  <a:pt x="155" y="117"/>
                </a:cubicBezTo>
                <a:cubicBezTo>
                  <a:pt x="153" y="117"/>
                  <a:pt x="152" y="116"/>
                  <a:pt x="152" y="115"/>
                </a:cubicBezTo>
                <a:cubicBezTo>
                  <a:pt x="152" y="113"/>
                  <a:pt x="153" y="112"/>
                  <a:pt x="155" y="112"/>
                </a:cubicBezTo>
                <a:cubicBezTo>
                  <a:pt x="157" y="112"/>
                  <a:pt x="157" y="112"/>
                  <a:pt x="157" y="112"/>
                </a:cubicBezTo>
                <a:cubicBezTo>
                  <a:pt x="159" y="112"/>
                  <a:pt x="160" y="113"/>
                  <a:pt x="160" y="115"/>
                </a:cubicBezTo>
                <a:close/>
                <a:moveTo>
                  <a:pt x="149" y="136"/>
                </a:moveTo>
                <a:cubicBezTo>
                  <a:pt x="149" y="137"/>
                  <a:pt x="148" y="139"/>
                  <a:pt x="147" y="139"/>
                </a:cubicBezTo>
                <a:cubicBezTo>
                  <a:pt x="144" y="139"/>
                  <a:pt x="144" y="139"/>
                  <a:pt x="144" y="139"/>
                </a:cubicBezTo>
                <a:cubicBezTo>
                  <a:pt x="143" y="139"/>
                  <a:pt x="141" y="137"/>
                  <a:pt x="141" y="136"/>
                </a:cubicBezTo>
                <a:cubicBezTo>
                  <a:pt x="141" y="135"/>
                  <a:pt x="143" y="133"/>
                  <a:pt x="144" y="133"/>
                </a:cubicBezTo>
                <a:cubicBezTo>
                  <a:pt x="147" y="133"/>
                  <a:pt x="147" y="133"/>
                  <a:pt x="147" y="133"/>
                </a:cubicBezTo>
                <a:cubicBezTo>
                  <a:pt x="148" y="133"/>
                  <a:pt x="149" y="135"/>
                  <a:pt x="149" y="136"/>
                </a:cubicBezTo>
                <a:close/>
                <a:moveTo>
                  <a:pt x="139" y="136"/>
                </a:moveTo>
                <a:cubicBezTo>
                  <a:pt x="139" y="137"/>
                  <a:pt x="137" y="139"/>
                  <a:pt x="136" y="139"/>
                </a:cubicBezTo>
                <a:cubicBezTo>
                  <a:pt x="133" y="139"/>
                  <a:pt x="133" y="139"/>
                  <a:pt x="133" y="139"/>
                </a:cubicBezTo>
                <a:cubicBezTo>
                  <a:pt x="132" y="139"/>
                  <a:pt x="131" y="137"/>
                  <a:pt x="131" y="136"/>
                </a:cubicBezTo>
                <a:cubicBezTo>
                  <a:pt x="131" y="135"/>
                  <a:pt x="132" y="133"/>
                  <a:pt x="133" y="133"/>
                </a:cubicBezTo>
                <a:cubicBezTo>
                  <a:pt x="136" y="133"/>
                  <a:pt x="136" y="133"/>
                  <a:pt x="136" y="133"/>
                </a:cubicBezTo>
                <a:cubicBezTo>
                  <a:pt x="137" y="133"/>
                  <a:pt x="139" y="135"/>
                  <a:pt x="139" y="136"/>
                </a:cubicBezTo>
                <a:close/>
                <a:moveTo>
                  <a:pt x="160" y="136"/>
                </a:moveTo>
                <a:cubicBezTo>
                  <a:pt x="160" y="137"/>
                  <a:pt x="159" y="139"/>
                  <a:pt x="157" y="139"/>
                </a:cubicBezTo>
                <a:cubicBezTo>
                  <a:pt x="155" y="139"/>
                  <a:pt x="155" y="139"/>
                  <a:pt x="155" y="139"/>
                </a:cubicBezTo>
                <a:cubicBezTo>
                  <a:pt x="153" y="139"/>
                  <a:pt x="152" y="137"/>
                  <a:pt x="152" y="136"/>
                </a:cubicBezTo>
                <a:cubicBezTo>
                  <a:pt x="152" y="135"/>
                  <a:pt x="153" y="133"/>
                  <a:pt x="155" y="133"/>
                </a:cubicBezTo>
                <a:cubicBezTo>
                  <a:pt x="157" y="133"/>
                  <a:pt x="157" y="133"/>
                  <a:pt x="157" y="133"/>
                </a:cubicBezTo>
                <a:cubicBezTo>
                  <a:pt x="159" y="133"/>
                  <a:pt x="160" y="135"/>
                  <a:pt x="160" y="136"/>
                </a:cubicBezTo>
                <a:close/>
                <a:moveTo>
                  <a:pt x="141" y="128"/>
                </a:moveTo>
                <a:cubicBezTo>
                  <a:pt x="139" y="128"/>
                  <a:pt x="139" y="128"/>
                  <a:pt x="139" y="128"/>
                </a:cubicBezTo>
                <a:cubicBezTo>
                  <a:pt x="137" y="128"/>
                  <a:pt x="136" y="127"/>
                  <a:pt x="136" y="125"/>
                </a:cubicBezTo>
                <a:cubicBezTo>
                  <a:pt x="136" y="124"/>
                  <a:pt x="137" y="123"/>
                  <a:pt x="139" y="123"/>
                </a:cubicBezTo>
                <a:cubicBezTo>
                  <a:pt x="141" y="123"/>
                  <a:pt x="141" y="123"/>
                  <a:pt x="141" y="123"/>
                </a:cubicBezTo>
                <a:cubicBezTo>
                  <a:pt x="143" y="123"/>
                  <a:pt x="144" y="124"/>
                  <a:pt x="144" y="125"/>
                </a:cubicBezTo>
                <a:cubicBezTo>
                  <a:pt x="144" y="127"/>
                  <a:pt x="143" y="128"/>
                  <a:pt x="141" y="128"/>
                </a:cubicBezTo>
                <a:close/>
                <a:moveTo>
                  <a:pt x="152" y="128"/>
                </a:moveTo>
                <a:cubicBezTo>
                  <a:pt x="149" y="128"/>
                  <a:pt x="149" y="128"/>
                  <a:pt x="149" y="128"/>
                </a:cubicBezTo>
                <a:cubicBezTo>
                  <a:pt x="148" y="128"/>
                  <a:pt x="147" y="127"/>
                  <a:pt x="147" y="125"/>
                </a:cubicBezTo>
                <a:cubicBezTo>
                  <a:pt x="147" y="124"/>
                  <a:pt x="148" y="123"/>
                  <a:pt x="149" y="123"/>
                </a:cubicBezTo>
                <a:cubicBezTo>
                  <a:pt x="152" y="123"/>
                  <a:pt x="152" y="123"/>
                  <a:pt x="152" y="123"/>
                </a:cubicBezTo>
                <a:cubicBezTo>
                  <a:pt x="153" y="123"/>
                  <a:pt x="155" y="124"/>
                  <a:pt x="155" y="125"/>
                </a:cubicBezTo>
                <a:cubicBezTo>
                  <a:pt x="155" y="127"/>
                  <a:pt x="153" y="128"/>
                  <a:pt x="152" y="128"/>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150">
            <a:extLst>
              <a:ext uri="{FF2B5EF4-FFF2-40B4-BE49-F238E27FC236}">
                <a16:creationId xmlns:a16="http://schemas.microsoft.com/office/drawing/2014/main" id="{7BFED3A6-D43E-784F-8B8B-339E0AC693D0}"/>
              </a:ext>
            </a:extLst>
          </p:cNvPr>
          <p:cNvSpPr>
            <a:spLocks noEditPoints="1"/>
          </p:cNvSpPr>
          <p:nvPr/>
        </p:nvSpPr>
        <p:spPr bwMode="auto">
          <a:xfrm>
            <a:off x="10930048" y="4703669"/>
            <a:ext cx="546100" cy="496888"/>
          </a:xfrm>
          <a:custGeom>
            <a:avLst/>
            <a:gdLst>
              <a:gd name="T0" fmla="*/ 72 w 160"/>
              <a:gd name="T1" fmla="*/ 43 h 144"/>
              <a:gd name="T2" fmla="*/ 160 w 160"/>
              <a:gd name="T3" fmla="*/ 43 h 144"/>
              <a:gd name="T4" fmla="*/ 160 w 160"/>
              <a:gd name="T5" fmla="*/ 0 h 144"/>
              <a:gd name="T6" fmla="*/ 72 w 160"/>
              <a:gd name="T7" fmla="*/ 0 h 144"/>
              <a:gd name="T8" fmla="*/ 0 w 160"/>
              <a:gd name="T9" fmla="*/ 72 h 144"/>
              <a:gd name="T10" fmla="*/ 72 w 160"/>
              <a:gd name="T11" fmla="*/ 144 h 144"/>
              <a:gd name="T12" fmla="*/ 160 w 160"/>
              <a:gd name="T13" fmla="*/ 144 h 144"/>
              <a:gd name="T14" fmla="*/ 160 w 160"/>
              <a:gd name="T15" fmla="*/ 101 h 144"/>
              <a:gd name="T16" fmla="*/ 72 w 160"/>
              <a:gd name="T17" fmla="*/ 101 h 144"/>
              <a:gd name="T18" fmla="*/ 43 w 160"/>
              <a:gd name="T19" fmla="*/ 72 h 144"/>
              <a:gd name="T20" fmla="*/ 72 w 160"/>
              <a:gd name="T21" fmla="*/ 43 h 144"/>
              <a:gd name="T22" fmla="*/ 155 w 160"/>
              <a:gd name="T23" fmla="*/ 37 h 144"/>
              <a:gd name="T24" fmla="*/ 123 w 160"/>
              <a:gd name="T25" fmla="*/ 37 h 144"/>
              <a:gd name="T26" fmla="*/ 123 w 160"/>
              <a:gd name="T27" fmla="*/ 5 h 144"/>
              <a:gd name="T28" fmla="*/ 155 w 160"/>
              <a:gd name="T29" fmla="*/ 5 h 144"/>
              <a:gd name="T30" fmla="*/ 155 w 160"/>
              <a:gd name="T31" fmla="*/ 37 h 144"/>
              <a:gd name="T32" fmla="*/ 155 w 160"/>
              <a:gd name="T33" fmla="*/ 139 h 144"/>
              <a:gd name="T34" fmla="*/ 123 w 160"/>
              <a:gd name="T35" fmla="*/ 139 h 144"/>
              <a:gd name="T36" fmla="*/ 123 w 160"/>
              <a:gd name="T37" fmla="*/ 107 h 144"/>
              <a:gd name="T38" fmla="*/ 155 w 160"/>
              <a:gd name="T39" fmla="*/ 107 h 144"/>
              <a:gd name="T40" fmla="*/ 155 w 160"/>
              <a:gd name="T41" fmla="*/ 139 h 144"/>
              <a:gd name="T42" fmla="*/ 37 w 160"/>
              <a:gd name="T43" fmla="*/ 72 h 144"/>
              <a:gd name="T44" fmla="*/ 72 w 160"/>
              <a:gd name="T45" fmla="*/ 107 h 144"/>
              <a:gd name="T46" fmla="*/ 117 w 160"/>
              <a:gd name="T47" fmla="*/ 107 h 144"/>
              <a:gd name="T48" fmla="*/ 117 w 160"/>
              <a:gd name="T49" fmla="*/ 139 h 144"/>
              <a:gd name="T50" fmla="*/ 72 w 160"/>
              <a:gd name="T51" fmla="*/ 139 h 144"/>
              <a:gd name="T52" fmla="*/ 5 w 160"/>
              <a:gd name="T53" fmla="*/ 72 h 144"/>
              <a:gd name="T54" fmla="*/ 72 w 160"/>
              <a:gd name="T55" fmla="*/ 5 h 144"/>
              <a:gd name="T56" fmla="*/ 117 w 160"/>
              <a:gd name="T57" fmla="*/ 5 h 144"/>
              <a:gd name="T58" fmla="*/ 117 w 160"/>
              <a:gd name="T59" fmla="*/ 37 h 144"/>
              <a:gd name="T60" fmla="*/ 72 w 160"/>
              <a:gd name="T61" fmla="*/ 37 h 144"/>
              <a:gd name="T62" fmla="*/ 37 w 160"/>
              <a:gd name="T63" fmla="*/ 72 h 144"/>
              <a:gd name="T64" fmla="*/ 128 w 160"/>
              <a:gd name="T65" fmla="*/ 21 h 144"/>
              <a:gd name="T66" fmla="*/ 131 w 160"/>
              <a:gd name="T67" fmla="*/ 19 h 144"/>
              <a:gd name="T68" fmla="*/ 136 w 160"/>
              <a:gd name="T69" fmla="*/ 19 h 144"/>
              <a:gd name="T70" fmla="*/ 136 w 160"/>
              <a:gd name="T71" fmla="*/ 13 h 144"/>
              <a:gd name="T72" fmla="*/ 139 w 160"/>
              <a:gd name="T73" fmla="*/ 11 h 144"/>
              <a:gd name="T74" fmla="*/ 141 w 160"/>
              <a:gd name="T75" fmla="*/ 13 h 144"/>
              <a:gd name="T76" fmla="*/ 141 w 160"/>
              <a:gd name="T77" fmla="*/ 19 h 144"/>
              <a:gd name="T78" fmla="*/ 147 w 160"/>
              <a:gd name="T79" fmla="*/ 19 h 144"/>
              <a:gd name="T80" fmla="*/ 149 w 160"/>
              <a:gd name="T81" fmla="*/ 21 h 144"/>
              <a:gd name="T82" fmla="*/ 147 w 160"/>
              <a:gd name="T83" fmla="*/ 24 h 144"/>
              <a:gd name="T84" fmla="*/ 141 w 160"/>
              <a:gd name="T85" fmla="*/ 24 h 144"/>
              <a:gd name="T86" fmla="*/ 141 w 160"/>
              <a:gd name="T87" fmla="*/ 29 h 144"/>
              <a:gd name="T88" fmla="*/ 139 w 160"/>
              <a:gd name="T89" fmla="*/ 32 h 144"/>
              <a:gd name="T90" fmla="*/ 136 w 160"/>
              <a:gd name="T91" fmla="*/ 29 h 144"/>
              <a:gd name="T92" fmla="*/ 136 w 160"/>
              <a:gd name="T93" fmla="*/ 24 h 144"/>
              <a:gd name="T94" fmla="*/ 131 w 160"/>
              <a:gd name="T95" fmla="*/ 24 h 144"/>
              <a:gd name="T96" fmla="*/ 128 w 160"/>
              <a:gd name="T97" fmla="*/ 21 h 144"/>
              <a:gd name="T98" fmla="*/ 128 w 160"/>
              <a:gd name="T99" fmla="*/ 123 h 144"/>
              <a:gd name="T100" fmla="*/ 131 w 160"/>
              <a:gd name="T101" fmla="*/ 120 h 144"/>
              <a:gd name="T102" fmla="*/ 147 w 160"/>
              <a:gd name="T103" fmla="*/ 120 h 144"/>
              <a:gd name="T104" fmla="*/ 149 w 160"/>
              <a:gd name="T105" fmla="*/ 123 h 144"/>
              <a:gd name="T106" fmla="*/ 147 w 160"/>
              <a:gd name="T107" fmla="*/ 125 h 144"/>
              <a:gd name="T108" fmla="*/ 131 w 160"/>
              <a:gd name="T109" fmla="*/ 125 h 144"/>
              <a:gd name="T110" fmla="*/ 128 w 160"/>
              <a:gd name="T111" fmla="*/ 12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44">
                <a:moveTo>
                  <a:pt x="72" y="43"/>
                </a:moveTo>
                <a:cubicBezTo>
                  <a:pt x="160" y="43"/>
                  <a:pt x="160" y="43"/>
                  <a:pt x="160" y="43"/>
                </a:cubicBezTo>
                <a:cubicBezTo>
                  <a:pt x="160" y="0"/>
                  <a:pt x="160" y="0"/>
                  <a:pt x="160" y="0"/>
                </a:cubicBezTo>
                <a:cubicBezTo>
                  <a:pt x="72" y="0"/>
                  <a:pt x="72" y="0"/>
                  <a:pt x="72" y="0"/>
                </a:cubicBezTo>
                <a:cubicBezTo>
                  <a:pt x="32" y="0"/>
                  <a:pt x="0" y="32"/>
                  <a:pt x="0" y="72"/>
                </a:cubicBezTo>
                <a:cubicBezTo>
                  <a:pt x="0" y="112"/>
                  <a:pt x="32" y="144"/>
                  <a:pt x="72" y="144"/>
                </a:cubicBezTo>
                <a:cubicBezTo>
                  <a:pt x="160" y="144"/>
                  <a:pt x="160" y="144"/>
                  <a:pt x="160" y="144"/>
                </a:cubicBezTo>
                <a:cubicBezTo>
                  <a:pt x="160" y="101"/>
                  <a:pt x="160" y="101"/>
                  <a:pt x="160" y="101"/>
                </a:cubicBezTo>
                <a:cubicBezTo>
                  <a:pt x="72" y="101"/>
                  <a:pt x="72" y="101"/>
                  <a:pt x="72" y="101"/>
                </a:cubicBezTo>
                <a:cubicBezTo>
                  <a:pt x="56" y="101"/>
                  <a:pt x="43" y="88"/>
                  <a:pt x="43" y="72"/>
                </a:cubicBezTo>
                <a:cubicBezTo>
                  <a:pt x="43" y="56"/>
                  <a:pt x="56" y="43"/>
                  <a:pt x="72" y="43"/>
                </a:cubicBezTo>
                <a:close/>
                <a:moveTo>
                  <a:pt x="155" y="37"/>
                </a:moveTo>
                <a:cubicBezTo>
                  <a:pt x="123" y="37"/>
                  <a:pt x="123" y="37"/>
                  <a:pt x="123" y="37"/>
                </a:cubicBezTo>
                <a:cubicBezTo>
                  <a:pt x="123" y="5"/>
                  <a:pt x="123" y="5"/>
                  <a:pt x="123" y="5"/>
                </a:cubicBezTo>
                <a:cubicBezTo>
                  <a:pt x="155" y="5"/>
                  <a:pt x="155" y="5"/>
                  <a:pt x="155" y="5"/>
                </a:cubicBezTo>
                <a:lnTo>
                  <a:pt x="155" y="37"/>
                </a:lnTo>
                <a:close/>
                <a:moveTo>
                  <a:pt x="155" y="139"/>
                </a:moveTo>
                <a:cubicBezTo>
                  <a:pt x="123" y="139"/>
                  <a:pt x="123" y="139"/>
                  <a:pt x="123" y="139"/>
                </a:cubicBezTo>
                <a:cubicBezTo>
                  <a:pt x="123" y="107"/>
                  <a:pt x="123" y="107"/>
                  <a:pt x="123" y="107"/>
                </a:cubicBezTo>
                <a:cubicBezTo>
                  <a:pt x="155" y="107"/>
                  <a:pt x="155" y="107"/>
                  <a:pt x="155" y="107"/>
                </a:cubicBezTo>
                <a:lnTo>
                  <a:pt x="155" y="139"/>
                </a:lnTo>
                <a:close/>
                <a:moveTo>
                  <a:pt x="37" y="72"/>
                </a:moveTo>
                <a:cubicBezTo>
                  <a:pt x="37" y="91"/>
                  <a:pt x="53" y="107"/>
                  <a:pt x="72" y="107"/>
                </a:cubicBezTo>
                <a:cubicBezTo>
                  <a:pt x="117" y="107"/>
                  <a:pt x="117" y="107"/>
                  <a:pt x="117" y="107"/>
                </a:cubicBezTo>
                <a:cubicBezTo>
                  <a:pt x="117" y="139"/>
                  <a:pt x="117" y="139"/>
                  <a:pt x="117" y="139"/>
                </a:cubicBezTo>
                <a:cubicBezTo>
                  <a:pt x="72" y="139"/>
                  <a:pt x="72" y="139"/>
                  <a:pt x="72" y="139"/>
                </a:cubicBezTo>
                <a:cubicBezTo>
                  <a:pt x="35" y="139"/>
                  <a:pt x="5" y="109"/>
                  <a:pt x="5" y="72"/>
                </a:cubicBezTo>
                <a:cubicBezTo>
                  <a:pt x="5" y="35"/>
                  <a:pt x="35" y="5"/>
                  <a:pt x="72" y="5"/>
                </a:cubicBezTo>
                <a:cubicBezTo>
                  <a:pt x="117" y="5"/>
                  <a:pt x="117" y="5"/>
                  <a:pt x="117" y="5"/>
                </a:cubicBezTo>
                <a:cubicBezTo>
                  <a:pt x="117" y="37"/>
                  <a:pt x="117" y="37"/>
                  <a:pt x="117" y="37"/>
                </a:cubicBezTo>
                <a:cubicBezTo>
                  <a:pt x="72" y="37"/>
                  <a:pt x="72" y="37"/>
                  <a:pt x="72" y="37"/>
                </a:cubicBezTo>
                <a:cubicBezTo>
                  <a:pt x="53" y="37"/>
                  <a:pt x="37" y="53"/>
                  <a:pt x="37" y="72"/>
                </a:cubicBezTo>
                <a:close/>
                <a:moveTo>
                  <a:pt x="128" y="21"/>
                </a:moveTo>
                <a:cubicBezTo>
                  <a:pt x="128" y="20"/>
                  <a:pt x="129" y="19"/>
                  <a:pt x="131" y="19"/>
                </a:cubicBezTo>
                <a:cubicBezTo>
                  <a:pt x="136" y="19"/>
                  <a:pt x="136" y="19"/>
                  <a:pt x="136" y="19"/>
                </a:cubicBezTo>
                <a:cubicBezTo>
                  <a:pt x="136" y="13"/>
                  <a:pt x="136" y="13"/>
                  <a:pt x="136" y="13"/>
                </a:cubicBezTo>
                <a:cubicBezTo>
                  <a:pt x="136" y="12"/>
                  <a:pt x="137" y="11"/>
                  <a:pt x="139" y="11"/>
                </a:cubicBezTo>
                <a:cubicBezTo>
                  <a:pt x="140" y="11"/>
                  <a:pt x="141" y="12"/>
                  <a:pt x="141" y="13"/>
                </a:cubicBezTo>
                <a:cubicBezTo>
                  <a:pt x="141" y="19"/>
                  <a:pt x="141" y="19"/>
                  <a:pt x="141" y="19"/>
                </a:cubicBezTo>
                <a:cubicBezTo>
                  <a:pt x="147" y="19"/>
                  <a:pt x="147" y="19"/>
                  <a:pt x="147" y="19"/>
                </a:cubicBezTo>
                <a:cubicBezTo>
                  <a:pt x="148" y="19"/>
                  <a:pt x="149" y="20"/>
                  <a:pt x="149" y="21"/>
                </a:cubicBezTo>
                <a:cubicBezTo>
                  <a:pt x="149" y="23"/>
                  <a:pt x="148" y="24"/>
                  <a:pt x="147" y="24"/>
                </a:cubicBezTo>
                <a:cubicBezTo>
                  <a:pt x="141" y="24"/>
                  <a:pt x="141" y="24"/>
                  <a:pt x="141" y="24"/>
                </a:cubicBezTo>
                <a:cubicBezTo>
                  <a:pt x="141" y="29"/>
                  <a:pt x="141" y="29"/>
                  <a:pt x="141" y="29"/>
                </a:cubicBezTo>
                <a:cubicBezTo>
                  <a:pt x="141" y="31"/>
                  <a:pt x="140" y="32"/>
                  <a:pt x="139" y="32"/>
                </a:cubicBezTo>
                <a:cubicBezTo>
                  <a:pt x="137" y="32"/>
                  <a:pt x="136" y="31"/>
                  <a:pt x="136" y="29"/>
                </a:cubicBezTo>
                <a:cubicBezTo>
                  <a:pt x="136" y="24"/>
                  <a:pt x="136" y="24"/>
                  <a:pt x="136" y="24"/>
                </a:cubicBezTo>
                <a:cubicBezTo>
                  <a:pt x="131" y="24"/>
                  <a:pt x="131" y="24"/>
                  <a:pt x="131" y="24"/>
                </a:cubicBezTo>
                <a:cubicBezTo>
                  <a:pt x="129" y="24"/>
                  <a:pt x="128" y="23"/>
                  <a:pt x="128" y="21"/>
                </a:cubicBezTo>
                <a:close/>
                <a:moveTo>
                  <a:pt x="128" y="123"/>
                </a:moveTo>
                <a:cubicBezTo>
                  <a:pt x="128" y="121"/>
                  <a:pt x="129" y="120"/>
                  <a:pt x="131" y="120"/>
                </a:cubicBezTo>
                <a:cubicBezTo>
                  <a:pt x="147" y="120"/>
                  <a:pt x="147" y="120"/>
                  <a:pt x="147" y="120"/>
                </a:cubicBezTo>
                <a:cubicBezTo>
                  <a:pt x="148" y="120"/>
                  <a:pt x="149" y="121"/>
                  <a:pt x="149" y="123"/>
                </a:cubicBezTo>
                <a:cubicBezTo>
                  <a:pt x="149" y="124"/>
                  <a:pt x="148" y="125"/>
                  <a:pt x="147" y="125"/>
                </a:cubicBezTo>
                <a:cubicBezTo>
                  <a:pt x="131" y="125"/>
                  <a:pt x="131" y="125"/>
                  <a:pt x="131" y="125"/>
                </a:cubicBezTo>
                <a:cubicBezTo>
                  <a:pt x="129" y="125"/>
                  <a:pt x="128" y="124"/>
                  <a:pt x="128" y="123"/>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2151">
            <a:extLst>
              <a:ext uri="{FF2B5EF4-FFF2-40B4-BE49-F238E27FC236}">
                <a16:creationId xmlns:a16="http://schemas.microsoft.com/office/drawing/2014/main" id="{D4CEFD4E-98A3-DB4C-87A0-F83EF953D0D6}"/>
              </a:ext>
            </a:extLst>
          </p:cNvPr>
          <p:cNvSpPr>
            <a:spLocks noEditPoints="1"/>
          </p:cNvSpPr>
          <p:nvPr/>
        </p:nvSpPr>
        <p:spPr bwMode="auto">
          <a:xfrm>
            <a:off x="10930048" y="5324381"/>
            <a:ext cx="546100" cy="495300"/>
          </a:xfrm>
          <a:custGeom>
            <a:avLst/>
            <a:gdLst>
              <a:gd name="T0" fmla="*/ 72 w 160"/>
              <a:gd name="T1" fmla="*/ 43 h 144"/>
              <a:gd name="T2" fmla="*/ 109 w 160"/>
              <a:gd name="T3" fmla="*/ 43 h 144"/>
              <a:gd name="T4" fmla="*/ 125 w 160"/>
              <a:gd name="T5" fmla="*/ 43 h 144"/>
              <a:gd name="T6" fmla="*/ 160 w 160"/>
              <a:gd name="T7" fmla="*/ 43 h 144"/>
              <a:gd name="T8" fmla="*/ 160 w 160"/>
              <a:gd name="T9" fmla="*/ 0 h 144"/>
              <a:gd name="T10" fmla="*/ 125 w 160"/>
              <a:gd name="T11" fmla="*/ 0 h 144"/>
              <a:gd name="T12" fmla="*/ 109 w 160"/>
              <a:gd name="T13" fmla="*/ 0 h 144"/>
              <a:gd name="T14" fmla="*/ 72 w 160"/>
              <a:gd name="T15" fmla="*/ 0 h 144"/>
              <a:gd name="T16" fmla="*/ 0 w 160"/>
              <a:gd name="T17" fmla="*/ 72 h 144"/>
              <a:gd name="T18" fmla="*/ 72 w 160"/>
              <a:gd name="T19" fmla="*/ 144 h 144"/>
              <a:gd name="T20" fmla="*/ 109 w 160"/>
              <a:gd name="T21" fmla="*/ 144 h 144"/>
              <a:gd name="T22" fmla="*/ 125 w 160"/>
              <a:gd name="T23" fmla="*/ 144 h 144"/>
              <a:gd name="T24" fmla="*/ 160 w 160"/>
              <a:gd name="T25" fmla="*/ 144 h 144"/>
              <a:gd name="T26" fmla="*/ 160 w 160"/>
              <a:gd name="T27" fmla="*/ 101 h 144"/>
              <a:gd name="T28" fmla="*/ 125 w 160"/>
              <a:gd name="T29" fmla="*/ 101 h 144"/>
              <a:gd name="T30" fmla="*/ 109 w 160"/>
              <a:gd name="T31" fmla="*/ 101 h 144"/>
              <a:gd name="T32" fmla="*/ 72 w 160"/>
              <a:gd name="T33" fmla="*/ 101 h 144"/>
              <a:gd name="T34" fmla="*/ 43 w 160"/>
              <a:gd name="T35" fmla="*/ 72 h 144"/>
              <a:gd name="T36" fmla="*/ 72 w 160"/>
              <a:gd name="T37" fmla="*/ 43 h 144"/>
              <a:gd name="T38" fmla="*/ 155 w 160"/>
              <a:gd name="T39" fmla="*/ 5 h 144"/>
              <a:gd name="T40" fmla="*/ 155 w 160"/>
              <a:gd name="T41" fmla="*/ 37 h 144"/>
              <a:gd name="T42" fmla="*/ 125 w 160"/>
              <a:gd name="T43" fmla="*/ 37 h 144"/>
              <a:gd name="T44" fmla="*/ 125 w 160"/>
              <a:gd name="T45" fmla="*/ 5 h 144"/>
              <a:gd name="T46" fmla="*/ 155 w 160"/>
              <a:gd name="T47" fmla="*/ 5 h 144"/>
              <a:gd name="T48" fmla="*/ 120 w 160"/>
              <a:gd name="T49" fmla="*/ 5 h 144"/>
              <a:gd name="T50" fmla="*/ 120 w 160"/>
              <a:gd name="T51" fmla="*/ 37 h 144"/>
              <a:gd name="T52" fmla="*/ 115 w 160"/>
              <a:gd name="T53" fmla="*/ 37 h 144"/>
              <a:gd name="T54" fmla="*/ 115 w 160"/>
              <a:gd name="T55" fmla="*/ 5 h 144"/>
              <a:gd name="T56" fmla="*/ 120 w 160"/>
              <a:gd name="T57" fmla="*/ 5 h 144"/>
              <a:gd name="T58" fmla="*/ 155 w 160"/>
              <a:gd name="T59" fmla="*/ 107 h 144"/>
              <a:gd name="T60" fmla="*/ 155 w 160"/>
              <a:gd name="T61" fmla="*/ 139 h 144"/>
              <a:gd name="T62" fmla="*/ 125 w 160"/>
              <a:gd name="T63" fmla="*/ 139 h 144"/>
              <a:gd name="T64" fmla="*/ 125 w 160"/>
              <a:gd name="T65" fmla="*/ 107 h 144"/>
              <a:gd name="T66" fmla="*/ 155 w 160"/>
              <a:gd name="T67" fmla="*/ 107 h 144"/>
              <a:gd name="T68" fmla="*/ 120 w 160"/>
              <a:gd name="T69" fmla="*/ 107 h 144"/>
              <a:gd name="T70" fmla="*/ 120 w 160"/>
              <a:gd name="T71" fmla="*/ 139 h 144"/>
              <a:gd name="T72" fmla="*/ 115 w 160"/>
              <a:gd name="T73" fmla="*/ 139 h 144"/>
              <a:gd name="T74" fmla="*/ 115 w 160"/>
              <a:gd name="T75" fmla="*/ 107 h 144"/>
              <a:gd name="T76" fmla="*/ 120 w 160"/>
              <a:gd name="T77" fmla="*/ 107 h 144"/>
              <a:gd name="T78" fmla="*/ 37 w 160"/>
              <a:gd name="T79" fmla="*/ 72 h 144"/>
              <a:gd name="T80" fmla="*/ 72 w 160"/>
              <a:gd name="T81" fmla="*/ 107 h 144"/>
              <a:gd name="T82" fmla="*/ 109 w 160"/>
              <a:gd name="T83" fmla="*/ 107 h 144"/>
              <a:gd name="T84" fmla="*/ 109 w 160"/>
              <a:gd name="T85" fmla="*/ 139 h 144"/>
              <a:gd name="T86" fmla="*/ 72 w 160"/>
              <a:gd name="T87" fmla="*/ 139 h 144"/>
              <a:gd name="T88" fmla="*/ 5 w 160"/>
              <a:gd name="T89" fmla="*/ 72 h 144"/>
              <a:gd name="T90" fmla="*/ 72 w 160"/>
              <a:gd name="T91" fmla="*/ 5 h 144"/>
              <a:gd name="T92" fmla="*/ 109 w 160"/>
              <a:gd name="T93" fmla="*/ 5 h 144"/>
              <a:gd name="T94" fmla="*/ 109 w 160"/>
              <a:gd name="T95" fmla="*/ 37 h 144"/>
              <a:gd name="T96" fmla="*/ 72 w 160"/>
              <a:gd name="T97" fmla="*/ 37 h 144"/>
              <a:gd name="T98" fmla="*/ 37 w 160"/>
              <a:gd name="T99"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44">
                <a:moveTo>
                  <a:pt x="72" y="43"/>
                </a:moveTo>
                <a:cubicBezTo>
                  <a:pt x="109" y="43"/>
                  <a:pt x="109" y="43"/>
                  <a:pt x="109" y="43"/>
                </a:cubicBezTo>
                <a:cubicBezTo>
                  <a:pt x="125" y="43"/>
                  <a:pt x="125" y="43"/>
                  <a:pt x="125" y="43"/>
                </a:cubicBezTo>
                <a:cubicBezTo>
                  <a:pt x="160" y="43"/>
                  <a:pt x="160" y="43"/>
                  <a:pt x="160" y="43"/>
                </a:cubicBezTo>
                <a:cubicBezTo>
                  <a:pt x="160" y="0"/>
                  <a:pt x="160" y="0"/>
                  <a:pt x="160" y="0"/>
                </a:cubicBezTo>
                <a:cubicBezTo>
                  <a:pt x="125" y="0"/>
                  <a:pt x="125" y="0"/>
                  <a:pt x="125" y="0"/>
                </a:cubicBezTo>
                <a:cubicBezTo>
                  <a:pt x="109" y="0"/>
                  <a:pt x="109" y="0"/>
                  <a:pt x="109" y="0"/>
                </a:cubicBezTo>
                <a:cubicBezTo>
                  <a:pt x="72" y="0"/>
                  <a:pt x="72" y="0"/>
                  <a:pt x="72" y="0"/>
                </a:cubicBezTo>
                <a:cubicBezTo>
                  <a:pt x="32" y="0"/>
                  <a:pt x="0" y="32"/>
                  <a:pt x="0" y="72"/>
                </a:cubicBezTo>
                <a:cubicBezTo>
                  <a:pt x="0" y="112"/>
                  <a:pt x="32" y="144"/>
                  <a:pt x="72" y="144"/>
                </a:cubicBezTo>
                <a:cubicBezTo>
                  <a:pt x="109" y="144"/>
                  <a:pt x="109" y="144"/>
                  <a:pt x="109" y="144"/>
                </a:cubicBezTo>
                <a:cubicBezTo>
                  <a:pt x="125" y="144"/>
                  <a:pt x="125" y="144"/>
                  <a:pt x="125" y="144"/>
                </a:cubicBezTo>
                <a:cubicBezTo>
                  <a:pt x="160" y="144"/>
                  <a:pt x="160" y="144"/>
                  <a:pt x="160" y="144"/>
                </a:cubicBezTo>
                <a:cubicBezTo>
                  <a:pt x="160" y="101"/>
                  <a:pt x="160" y="101"/>
                  <a:pt x="160" y="101"/>
                </a:cubicBezTo>
                <a:cubicBezTo>
                  <a:pt x="125" y="101"/>
                  <a:pt x="125" y="101"/>
                  <a:pt x="125" y="101"/>
                </a:cubicBezTo>
                <a:cubicBezTo>
                  <a:pt x="109" y="101"/>
                  <a:pt x="109" y="101"/>
                  <a:pt x="109" y="101"/>
                </a:cubicBezTo>
                <a:cubicBezTo>
                  <a:pt x="72" y="101"/>
                  <a:pt x="72" y="101"/>
                  <a:pt x="72" y="101"/>
                </a:cubicBezTo>
                <a:cubicBezTo>
                  <a:pt x="56" y="101"/>
                  <a:pt x="43" y="88"/>
                  <a:pt x="43" y="72"/>
                </a:cubicBezTo>
                <a:cubicBezTo>
                  <a:pt x="43" y="56"/>
                  <a:pt x="56" y="43"/>
                  <a:pt x="72" y="43"/>
                </a:cubicBezTo>
                <a:close/>
                <a:moveTo>
                  <a:pt x="155" y="5"/>
                </a:moveTo>
                <a:cubicBezTo>
                  <a:pt x="155" y="37"/>
                  <a:pt x="155" y="37"/>
                  <a:pt x="155" y="37"/>
                </a:cubicBezTo>
                <a:cubicBezTo>
                  <a:pt x="125" y="37"/>
                  <a:pt x="125" y="37"/>
                  <a:pt x="125" y="37"/>
                </a:cubicBezTo>
                <a:cubicBezTo>
                  <a:pt x="125" y="5"/>
                  <a:pt x="125" y="5"/>
                  <a:pt x="125" y="5"/>
                </a:cubicBezTo>
                <a:lnTo>
                  <a:pt x="155" y="5"/>
                </a:lnTo>
                <a:close/>
                <a:moveTo>
                  <a:pt x="120" y="5"/>
                </a:moveTo>
                <a:cubicBezTo>
                  <a:pt x="120" y="37"/>
                  <a:pt x="120" y="37"/>
                  <a:pt x="120" y="37"/>
                </a:cubicBezTo>
                <a:cubicBezTo>
                  <a:pt x="115" y="37"/>
                  <a:pt x="115" y="37"/>
                  <a:pt x="115" y="37"/>
                </a:cubicBezTo>
                <a:cubicBezTo>
                  <a:pt x="115" y="5"/>
                  <a:pt x="115" y="5"/>
                  <a:pt x="115" y="5"/>
                </a:cubicBezTo>
                <a:lnTo>
                  <a:pt x="120" y="5"/>
                </a:lnTo>
                <a:close/>
                <a:moveTo>
                  <a:pt x="155" y="107"/>
                </a:moveTo>
                <a:cubicBezTo>
                  <a:pt x="155" y="139"/>
                  <a:pt x="155" y="139"/>
                  <a:pt x="155" y="139"/>
                </a:cubicBezTo>
                <a:cubicBezTo>
                  <a:pt x="125" y="139"/>
                  <a:pt x="125" y="139"/>
                  <a:pt x="125" y="139"/>
                </a:cubicBezTo>
                <a:cubicBezTo>
                  <a:pt x="125" y="107"/>
                  <a:pt x="125" y="107"/>
                  <a:pt x="125" y="107"/>
                </a:cubicBezTo>
                <a:lnTo>
                  <a:pt x="155" y="107"/>
                </a:lnTo>
                <a:close/>
                <a:moveTo>
                  <a:pt x="120" y="107"/>
                </a:moveTo>
                <a:cubicBezTo>
                  <a:pt x="120" y="139"/>
                  <a:pt x="120" y="139"/>
                  <a:pt x="120" y="139"/>
                </a:cubicBezTo>
                <a:cubicBezTo>
                  <a:pt x="115" y="139"/>
                  <a:pt x="115" y="139"/>
                  <a:pt x="115" y="139"/>
                </a:cubicBezTo>
                <a:cubicBezTo>
                  <a:pt x="115" y="107"/>
                  <a:pt x="115" y="107"/>
                  <a:pt x="115" y="107"/>
                </a:cubicBezTo>
                <a:lnTo>
                  <a:pt x="120" y="107"/>
                </a:lnTo>
                <a:close/>
                <a:moveTo>
                  <a:pt x="37" y="72"/>
                </a:moveTo>
                <a:cubicBezTo>
                  <a:pt x="37" y="91"/>
                  <a:pt x="53" y="107"/>
                  <a:pt x="72" y="107"/>
                </a:cubicBezTo>
                <a:cubicBezTo>
                  <a:pt x="109" y="107"/>
                  <a:pt x="109" y="107"/>
                  <a:pt x="109" y="107"/>
                </a:cubicBezTo>
                <a:cubicBezTo>
                  <a:pt x="109" y="139"/>
                  <a:pt x="109" y="139"/>
                  <a:pt x="109" y="139"/>
                </a:cubicBezTo>
                <a:cubicBezTo>
                  <a:pt x="72" y="139"/>
                  <a:pt x="72" y="139"/>
                  <a:pt x="72" y="139"/>
                </a:cubicBezTo>
                <a:cubicBezTo>
                  <a:pt x="35" y="139"/>
                  <a:pt x="5" y="109"/>
                  <a:pt x="5" y="72"/>
                </a:cubicBezTo>
                <a:cubicBezTo>
                  <a:pt x="5" y="35"/>
                  <a:pt x="35" y="5"/>
                  <a:pt x="72" y="5"/>
                </a:cubicBezTo>
                <a:cubicBezTo>
                  <a:pt x="109" y="5"/>
                  <a:pt x="109" y="5"/>
                  <a:pt x="109" y="5"/>
                </a:cubicBezTo>
                <a:cubicBezTo>
                  <a:pt x="109" y="37"/>
                  <a:pt x="109" y="37"/>
                  <a:pt x="109" y="37"/>
                </a:cubicBezTo>
                <a:cubicBezTo>
                  <a:pt x="72" y="37"/>
                  <a:pt x="72" y="37"/>
                  <a:pt x="72" y="37"/>
                </a:cubicBezTo>
                <a:cubicBezTo>
                  <a:pt x="53" y="37"/>
                  <a:pt x="37" y="53"/>
                  <a:pt x="37" y="72"/>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2152">
            <a:extLst>
              <a:ext uri="{FF2B5EF4-FFF2-40B4-BE49-F238E27FC236}">
                <a16:creationId xmlns:a16="http://schemas.microsoft.com/office/drawing/2014/main" id="{3EA52704-6C0D-4241-9171-707345395641}"/>
              </a:ext>
            </a:extLst>
          </p:cNvPr>
          <p:cNvSpPr>
            <a:spLocks noEditPoints="1"/>
          </p:cNvSpPr>
          <p:nvPr/>
        </p:nvSpPr>
        <p:spPr bwMode="auto">
          <a:xfrm>
            <a:off x="10930048" y="5914931"/>
            <a:ext cx="546100" cy="530225"/>
          </a:xfrm>
          <a:custGeom>
            <a:avLst/>
            <a:gdLst>
              <a:gd name="T0" fmla="*/ 107 w 160"/>
              <a:gd name="T1" fmla="*/ 26 h 154"/>
              <a:gd name="T2" fmla="*/ 57 w 160"/>
              <a:gd name="T3" fmla="*/ 0 h 154"/>
              <a:gd name="T4" fmla="*/ 56 w 160"/>
              <a:gd name="T5" fmla="*/ 0 h 154"/>
              <a:gd name="T6" fmla="*/ 55 w 160"/>
              <a:gd name="T7" fmla="*/ 0 h 154"/>
              <a:gd name="T8" fmla="*/ 0 w 160"/>
              <a:gd name="T9" fmla="*/ 148 h 154"/>
              <a:gd name="T10" fmla="*/ 4 w 160"/>
              <a:gd name="T11" fmla="*/ 151 h 154"/>
              <a:gd name="T12" fmla="*/ 106 w 160"/>
              <a:gd name="T13" fmla="*/ 154 h 154"/>
              <a:gd name="T14" fmla="*/ 108 w 160"/>
              <a:gd name="T15" fmla="*/ 154 h 154"/>
              <a:gd name="T16" fmla="*/ 160 w 160"/>
              <a:gd name="T17" fmla="*/ 124 h 154"/>
              <a:gd name="T18" fmla="*/ 6 w 160"/>
              <a:gd name="T19" fmla="*/ 23 h 154"/>
              <a:gd name="T20" fmla="*/ 50 w 160"/>
              <a:gd name="T21" fmla="*/ 88 h 154"/>
              <a:gd name="T22" fmla="*/ 51 w 160"/>
              <a:gd name="T23" fmla="*/ 94 h 154"/>
              <a:gd name="T24" fmla="*/ 6 w 160"/>
              <a:gd name="T25" fmla="*/ 144 h 154"/>
              <a:gd name="T26" fmla="*/ 62 w 160"/>
              <a:gd name="T27" fmla="*/ 92 h 154"/>
              <a:gd name="T28" fmla="*/ 62 w 160"/>
              <a:gd name="T29" fmla="*/ 86 h 154"/>
              <a:gd name="T30" fmla="*/ 104 w 160"/>
              <a:gd name="T31" fmla="*/ 31 h 154"/>
              <a:gd name="T32" fmla="*/ 94 w 160"/>
              <a:gd name="T33" fmla="*/ 96 h 154"/>
              <a:gd name="T34" fmla="*/ 104 w 160"/>
              <a:gd name="T35" fmla="*/ 147 h 154"/>
              <a:gd name="T36" fmla="*/ 154 w 160"/>
              <a:gd name="T37" fmla="*/ 123 h 154"/>
              <a:gd name="T38" fmla="*/ 111 w 160"/>
              <a:gd name="T39" fmla="*/ 97 h 154"/>
              <a:gd name="T40" fmla="*/ 154 w 160"/>
              <a:gd name="T41" fmla="*/ 8 h 154"/>
              <a:gd name="T42" fmla="*/ 18 w 160"/>
              <a:gd name="T43" fmla="*/ 39 h 154"/>
              <a:gd name="T44" fmla="*/ 33 w 160"/>
              <a:gd name="T45" fmla="*/ 62 h 154"/>
              <a:gd name="T46" fmla="*/ 47 w 160"/>
              <a:gd name="T47" fmla="*/ 39 h 154"/>
              <a:gd name="T48" fmla="*/ 24 w 160"/>
              <a:gd name="T49" fmla="*/ 39 h 154"/>
              <a:gd name="T50" fmla="*/ 33 w 160"/>
              <a:gd name="T51" fmla="*/ 47 h 154"/>
              <a:gd name="T52" fmla="*/ 138 w 160"/>
              <a:gd name="T53" fmla="*/ 62 h 154"/>
              <a:gd name="T54" fmla="*/ 135 w 160"/>
              <a:gd name="T55" fmla="*/ 79 h 154"/>
              <a:gd name="T56" fmla="*/ 42 w 160"/>
              <a:gd name="T57" fmla="*/ 94 h 154"/>
              <a:gd name="T58" fmla="*/ 31 w 160"/>
              <a:gd name="T59" fmla="*/ 106 h 154"/>
              <a:gd name="T60" fmla="*/ 38 w 160"/>
              <a:gd name="T61" fmla="*/ 93 h 154"/>
              <a:gd name="T62" fmla="*/ 24 w 160"/>
              <a:gd name="T63" fmla="*/ 125 h 154"/>
              <a:gd name="T64" fmla="*/ 18 w 160"/>
              <a:gd name="T65" fmla="*/ 124 h 154"/>
              <a:gd name="T66" fmla="*/ 27 w 160"/>
              <a:gd name="T67" fmla="*/ 114 h 154"/>
              <a:gd name="T68" fmla="*/ 127 w 160"/>
              <a:gd name="T69" fmla="*/ 85 h 154"/>
              <a:gd name="T70" fmla="*/ 121 w 160"/>
              <a:gd name="T71" fmla="*/ 97 h 154"/>
              <a:gd name="T72" fmla="*/ 88 w 160"/>
              <a:gd name="T73" fmla="*/ 94 h 154"/>
              <a:gd name="T74" fmla="*/ 82 w 160"/>
              <a:gd name="T75" fmla="*/ 95 h 154"/>
              <a:gd name="T76" fmla="*/ 74 w 160"/>
              <a:gd name="T77" fmla="*/ 87 h 154"/>
              <a:gd name="T78" fmla="*/ 86 w 160"/>
              <a:gd name="T79" fmla="*/ 90 h 154"/>
              <a:gd name="T80" fmla="*/ 137 w 160"/>
              <a:gd name="T81" fmla="*/ 44 h 154"/>
              <a:gd name="T82" fmla="*/ 142 w 160"/>
              <a:gd name="T83" fmla="*/ 41 h 154"/>
              <a:gd name="T84" fmla="*/ 139 w 160"/>
              <a:gd name="T85" fmla="*/ 56 h 154"/>
              <a:gd name="T86" fmla="*/ 25 w 160"/>
              <a:gd name="T87" fmla="*/ 78 h 154"/>
              <a:gd name="T88" fmla="*/ 25 w 160"/>
              <a:gd name="T89" fmla="*/ 66 h 154"/>
              <a:gd name="T90" fmla="*/ 36 w 160"/>
              <a:gd name="T91" fmla="*/ 66 h 154"/>
              <a:gd name="T92" fmla="*/ 37 w 160"/>
              <a:gd name="T93" fmla="*/ 74 h 154"/>
              <a:gd name="T94" fmla="*/ 39 w 160"/>
              <a:gd name="T95" fmla="*/ 83 h 154"/>
              <a:gd name="T96" fmla="*/ 29 w 160"/>
              <a:gd name="T97" fmla="*/ 82 h 154"/>
              <a:gd name="T98" fmla="*/ 25 w 160"/>
              <a:gd name="T99" fmla="*/ 7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54">
                <a:moveTo>
                  <a:pt x="159" y="0"/>
                </a:moveTo>
                <a:cubicBezTo>
                  <a:pt x="158" y="0"/>
                  <a:pt x="157" y="0"/>
                  <a:pt x="156" y="0"/>
                </a:cubicBezTo>
                <a:cubicBezTo>
                  <a:pt x="107" y="26"/>
                  <a:pt x="107" y="26"/>
                  <a:pt x="107" y="26"/>
                </a:cubicBezTo>
                <a:cubicBezTo>
                  <a:pt x="58" y="0"/>
                  <a:pt x="58" y="0"/>
                  <a:pt x="58" y="0"/>
                </a:cubicBezTo>
                <a:cubicBezTo>
                  <a:pt x="58" y="0"/>
                  <a:pt x="58" y="0"/>
                  <a:pt x="58" y="0"/>
                </a:cubicBezTo>
                <a:cubicBezTo>
                  <a:pt x="57" y="0"/>
                  <a:pt x="57" y="0"/>
                  <a:pt x="57" y="0"/>
                </a:cubicBezTo>
                <a:cubicBezTo>
                  <a:pt x="57" y="0"/>
                  <a:pt x="57" y="0"/>
                  <a:pt x="57" y="0"/>
                </a:cubicBezTo>
                <a:cubicBezTo>
                  <a:pt x="57" y="0"/>
                  <a:pt x="57" y="0"/>
                  <a:pt x="56" y="0"/>
                </a:cubicBezTo>
                <a:cubicBezTo>
                  <a:pt x="56" y="0"/>
                  <a:pt x="56" y="0"/>
                  <a:pt x="56" y="0"/>
                </a:cubicBezTo>
                <a:cubicBezTo>
                  <a:pt x="56" y="0"/>
                  <a:pt x="56" y="0"/>
                  <a:pt x="56" y="0"/>
                </a:cubicBezTo>
                <a:cubicBezTo>
                  <a:pt x="56" y="0"/>
                  <a:pt x="56" y="0"/>
                  <a:pt x="55" y="0"/>
                </a:cubicBezTo>
                <a:cubicBezTo>
                  <a:pt x="55" y="0"/>
                  <a:pt x="55" y="0"/>
                  <a:pt x="55" y="0"/>
                </a:cubicBezTo>
                <a:cubicBezTo>
                  <a:pt x="2" y="18"/>
                  <a:pt x="2" y="18"/>
                  <a:pt x="2" y="18"/>
                </a:cubicBezTo>
                <a:cubicBezTo>
                  <a:pt x="1" y="18"/>
                  <a:pt x="0" y="19"/>
                  <a:pt x="0" y="21"/>
                </a:cubicBezTo>
                <a:cubicBezTo>
                  <a:pt x="0" y="148"/>
                  <a:pt x="0" y="148"/>
                  <a:pt x="0" y="148"/>
                </a:cubicBezTo>
                <a:cubicBezTo>
                  <a:pt x="0" y="149"/>
                  <a:pt x="0" y="150"/>
                  <a:pt x="1" y="151"/>
                </a:cubicBezTo>
                <a:cubicBezTo>
                  <a:pt x="2" y="151"/>
                  <a:pt x="2" y="151"/>
                  <a:pt x="3" y="151"/>
                </a:cubicBezTo>
                <a:cubicBezTo>
                  <a:pt x="3" y="151"/>
                  <a:pt x="4" y="151"/>
                  <a:pt x="4" y="151"/>
                </a:cubicBezTo>
                <a:cubicBezTo>
                  <a:pt x="56" y="134"/>
                  <a:pt x="56" y="134"/>
                  <a:pt x="56" y="134"/>
                </a:cubicBezTo>
                <a:cubicBezTo>
                  <a:pt x="106" y="154"/>
                  <a:pt x="106" y="154"/>
                  <a:pt x="106" y="154"/>
                </a:cubicBezTo>
                <a:cubicBezTo>
                  <a:pt x="106" y="154"/>
                  <a:pt x="106" y="154"/>
                  <a:pt x="106" y="154"/>
                </a:cubicBezTo>
                <a:cubicBezTo>
                  <a:pt x="106" y="154"/>
                  <a:pt x="106" y="154"/>
                  <a:pt x="107" y="154"/>
                </a:cubicBezTo>
                <a:cubicBezTo>
                  <a:pt x="107" y="154"/>
                  <a:pt x="107" y="154"/>
                  <a:pt x="107" y="154"/>
                </a:cubicBezTo>
                <a:cubicBezTo>
                  <a:pt x="108" y="154"/>
                  <a:pt x="108" y="154"/>
                  <a:pt x="108" y="154"/>
                </a:cubicBezTo>
                <a:cubicBezTo>
                  <a:pt x="108" y="154"/>
                  <a:pt x="108" y="154"/>
                  <a:pt x="108" y="154"/>
                </a:cubicBezTo>
                <a:cubicBezTo>
                  <a:pt x="158" y="127"/>
                  <a:pt x="158" y="127"/>
                  <a:pt x="158" y="127"/>
                </a:cubicBezTo>
                <a:cubicBezTo>
                  <a:pt x="159" y="127"/>
                  <a:pt x="160" y="126"/>
                  <a:pt x="160" y="124"/>
                </a:cubicBezTo>
                <a:cubicBezTo>
                  <a:pt x="160" y="3"/>
                  <a:pt x="160" y="3"/>
                  <a:pt x="160" y="3"/>
                </a:cubicBezTo>
                <a:cubicBezTo>
                  <a:pt x="160" y="2"/>
                  <a:pt x="159" y="1"/>
                  <a:pt x="159" y="0"/>
                </a:cubicBezTo>
                <a:close/>
                <a:moveTo>
                  <a:pt x="6" y="23"/>
                </a:moveTo>
                <a:cubicBezTo>
                  <a:pt x="53" y="7"/>
                  <a:pt x="53" y="7"/>
                  <a:pt x="53" y="7"/>
                </a:cubicBezTo>
                <a:cubicBezTo>
                  <a:pt x="53" y="87"/>
                  <a:pt x="53" y="87"/>
                  <a:pt x="53" y="87"/>
                </a:cubicBezTo>
                <a:cubicBezTo>
                  <a:pt x="52" y="87"/>
                  <a:pt x="51" y="88"/>
                  <a:pt x="50" y="88"/>
                </a:cubicBezTo>
                <a:cubicBezTo>
                  <a:pt x="48" y="88"/>
                  <a:pt x="47" y="90"/>
                  <a:pt x="47" y="91"/>
                </a:cubicBezTo>
                <a:cubicBezTo>
                  <a:pt x="48" y="93"/>
                  <a:pt x="49" y="94"/>
                  <a:pt x="50" y="94"/>
                </a:cubicBezTo>
                <a:cubicBezTo>
                  <a:pt x="51" y="94"/>
                  <a:pt x="51" y="94"/>
                  <a:pt x="51" y="94"/>
                </a:cubicBezTo>
                <a:cubicBezTo>
                  <a:pt x="52" y="93"/>
                  <a:pt x="53" y="93"/>
                  <a:pt x="53" y="93"/>
                </a:cubicBezTo>
                <a:cubicBezTo>
                  <a:pt x="53" y="128"/>
                  <a:pt x="53" y="128"/>
                  <a:pt x="53" y="128"/>
                </a:cubicBezTo>
                <a:cubicBezTo>
                  <a:pt x="6" y="144"/>
                  <a:pt x="6" y="144"/>
                  <a:pt x="6" y="144"/>
                </a:cubicBezTo>
                <a:lnTo>
                  <a:pt x="6" y="23"/>
                </a:lnTo>
                <a:close/>
                <a:moveTo>
                  <a:pt x="59" y="92"/>
                </a:moveTo>
                <a:cubicBezTo>
                  <a:pt x="60" y="92"/>
                  <a:pt x="61" y="92"/>
                  <a:pt x="62" y="92"/>
                </a:cubicBezTo>
                <a:cubicBezTo>
                  <a:pt x="64" y="92"/>
                  <a:pt x="65" y="91"/>
                  <a:pt x="65" y="89"/>
                </a:cubicBezTo>
                <a:cubicBezTo>
                  <a:pt x="65" y="87"/>
                  <a:pt x="64" y="86"/>
                  <a:pt x="62" y="86"/>
                </a:cubicBezTo>
                <a:cubicBezTo>
                  <a:pt x="62" y="86"/>
                  <a:pt x="62" y="86"/>
                  <a:pt x="62" y="86"/>
                </a:cubicBezTo>
                <a:cubicBezTo>
                  <a:pt x="61" y="86"/>
                  <a:pt x="60" y="86"/>
                  <a:pt x="59" y="86"/>
                </a:cubicBezTo>
                <a:cubicBezTo>
                  <a:pt x="59" y="8"/>
                  <a:pt x="59" y="8"/>
                  <a:pt x="59" y="8"/>
                </a:cubicBezTo>
                <a:cubicBezTo>
                  <a:pt x="104" y="31"/>
                  <a:pt x="104" y="31"/>
                  <a:pt x="104" y="31"/>
                </a:cubicBezTo>
                <a:cubicBezTo>
                  <a:pt x="104" y="94"/>
                  <a:pt x="104" y="94"/>
                  <a:pt x="104" y="94"/>
                </a:cubicBezTo>
                <a:cubicBezTo>
                  <a:pt x="102" y="94"/>
                  <a:pt x="99" y="94"/>
                  <a:pt x="97" y="93"/>
                </a:cubicBezTo>
                <a:cubicBezTo>
                  <a:pt x="96" y="93"/>
                  <a:pt x="94" y="94"/>
                  <a:pt x="94" y="96"/>
                </a:cubicBezTo>
                <a:cubicBezTo>
                  <a:pt x="93" y="97"/>
                  <a:pt x="94" y="99"/>
                  <a:pt x="96" y="99"/>
                </a:cubicBezTo>
                <a:cubicBezTo>
                  <a:pt x="99" y="100"/>
                  <a:pt x="101" y="100"/>
                  <a:pt x="104" y="100"/>
                </a:cubicBezTo>
                <a:cubicBezTo>
                  <a:pt x="104" y="147"/>
                  <a:pt x="104" y="147"/>
                  <a:pt x="104" y="147"/>
                </a:cubicBezTo>
                <a:cubicBezTo>
                  <a:pt x="59" y="128"/>
                  <a:pt x="59" y="128"/>
                  <a:pt x="59" y="128"/>
                </a:cubicBezTo>
                <a:lnTo>
                  <a:pt x="59" y="92"/>
                </a:lnTo>
                <a:close/>
                <a:moveTo>
                  <a:pt x="154" y="123"/>
                </a:moveTo>
                <a:cubicBezTo>
                  <a:pt x="110" y="146"/>
                  <a:pt x="110" y="146"/>
                  <a:pt x="110" y="146"/>
                </a:cubicBezTo>
                <a:cubicBezTo>
                  <a:pt x="110" y="100"/>
                  <a:pt x="110" y="100"/>
                  <a:pt x="110" y="100"/>
                </a:cubicBezTo>
                <a:cubicBezTo>
                  <a:pt x="111" y="99"/>
                  <a:pt x="111" y="98"/>
                  <a:pt x="111" y="97"/>
                </a:cubicBezTo>
                <a:cubicBezTo>
                  <a:pt x="111" y="96"/>
                  <a:pt x="111" y="95"/>
                  <a:pt x="110" y="94"/>
                </a:cubicBezTo>
                <a:cubicBezTo>
                  <a:pt x="110" y="31"/>
                  <a:pt x="110" y="31"/>
                  <a:pt x="110" y="31"/>
                </a:cubicBezTo>
                <a:cubicBezTo>
                  <a:pt x="154" y="8"/>
                  <a:pt x="154" y="8"/>
                  <a:pt x="154" y="8"/>
                </a:cubicBezTo>
                <a:lnTo>
                  <a:pt x="154" y="123"/>
                </a:lnTo>
                <a:close/>
                <a:moveTo>
                  <a:pt x="33" y="24"/>
                </a:moveTo>
                <a:cubicBezTo>
                  <a:pt x="24" y="24"/>
                  <a:pt x="18" y="30"/>
                  <a:pt x="18" y="39"/>
                </a:cubicBezTo>
                <a:cubicBezTo>
                  <a:pt x="18" y="46"/>
                  <a:pt x="23" y="52"/>
                  <a:pt x="30" y="53"/>
                </a:cubicBezTo>
                <a:cubicBezTo>
                  <a:pt x="30" y="59"/>
                  <a:pt x="30" y="59"/>
                  <a:pt x="30" y="59"/>
                </a:cubicBezTo>
                <a:cubicBezTo>
                  <a:pt x="30" y="61"/>
                  <a:pt x="31" y="62"/>
                  <a:pt x="33" y="62"/>
                </a:cubicBezTo>
                <a:cubicBezTo>
                  <a:pt x="34" y="62"/>
                  <a:pt x="36" y="61"/>
                  <a:pt x="36" y="59"/>
                </a:cubicBezTo>
                <a:cubicBezTo>
                  <a:pt x="36" y="53"/>
                  <a:pt x="36" y="53"/>
                  <a:pt x="36" y="53"/>
                </a:cubicBezTo>
                <a:cubicBezTo>
                  <a:pt x="42" y="52"/>
                  <a:pt x="47" y="46"/>
                  <a:pt x="47" y="39"/>
                </a:cubicBezTo>
                <a:cubicBezTo>
                  <a:pt x="47" y="30"/>
                  <a:pt x="41" y="24"/>
                  <a:pt x="33" y="24"/>
                </a:cubicBezTo>
                <a:close/>
                <a:moveTo>
                  <a:pt x="33" y="47"/>
                </a:moveTo>
                <a:cubicBezTo>
                  <a:pt x="28" y="47"/>
                  <a:pt x="24" y="43"/>
                  <a:pt x="24" y="39"/>
                </a:cubicBezTo>
                <a:cubicBezTo>
                  <a:pt x="24" y="34"/>
                  <a:pt x="28" y="30"/>
                  <a:pt x="33" y="30"/>
                </a:cubicBezTo>
                <a:cubicBezTo>
                  <a:pt x="37" y="30"/>
                  <a:pt x="41" y="34"/>
                  <a:pt x="41" y="39"/>
                </a:cubicBezTo>
                <a:cubicBezTo>
                  <a:pt x="41" y="43"/>
                  <a:pt x="37" y="47"/>
                  <a:pt x="33" y="47"/>
                </a:cubicBezTo>
                <a:close/>
                <a:moveTo>
                  <a:pt x="132" y="75"/>
                </a:moveTo>
                <a:cubicBezTo>
                  <a:pt x="133" y="72"/>
                  <a:pt x="134" y="68"/>
                  <a:pt x="135" y="64"/>
                </a:cubicBezTo>
                <a:cubicBezTo>
                  <a:pt x="135" y="63"/>
                  <a:pt x="137" y="62"/>
                  <a:pt x="138" y="62"/>
                </a:cubicBezTo>
                <a:cubicBezTo>
                  <a:pt x="140" y="62"/>
                  <a:pt x="141" y="64"/>
                  <a:pt x="141" y="65"/>
                </a:cubicBezTo>
                <a:cubicBezTo>
                  <a:pt x="140" y="70"/>
                  <a:pt x="139" y="74"/>
                  <a:pt x="137" y="77"/>
                </a:cubicBezTo>
                <a:cubicBezTo>
                  <a:pt x="137" y="79"/>
                  <a:pt x="136" y="79"/>
                  <a:pt x="135" y="79"/>
                </a:cubicBezTo>
                <a:cubicBezTo>
                  <a:pt x="134" y="79"/>
                  <a:pt x="134" y="79"/>
                  <a:pt x="134" y="79"/>
                </a:cubicBezTo>
                <a:cubicBezTo>
                  <a:pt x="132" y="78"/>
                  <a:pt x="131" y="77"/>
                  <a:pt x="132" y="75"/>
                </a:cubicBezTo>
                <a:close/>
                <a:moveTo>
                  <a:pt x="42" y="94"/>
                </a:moveTo>
                <a:cubicBezTo>
                  <a:pt x="43" y="95"/>
                  <a:pt x="42" y="97"/>
                  <a:pt x="41" y="98"/>
                </a:cubicBezTo>
                <a:cubicBezTo>
                  <a:pt x="38" y="100"/>
                  <a:pt x="35" y="102"/>
                  <a:pt x="33" y="105"/>
                </a:cubicBezTo>
                <a:cubicBezTo>
                  <a:pt x="32" y="106"/>
                  <a:pt x="31" y="106"/>
                  <a:pt x="31" y="106"/>
                </a:cubicBezTo>
                <a:cubicBezTo>
                  <a:pt x="30" y="106"/>
                  <a:pt x="29" y="106"/>
                  <a:pt x="29" y="105"/>
                </a:cubicBezTo>
                <a:cubicBezTo>
                  <a:pt x="27" y="104"/>
                  <a:pt x="27" y="102"/>
                  <a:pt x="28" y="101"/>
                </a:cubicBezTo>
                <a:cubicBezTo>
                  <a:pt x="31" y="98"/>
                  <a:pt x="34" y="95"/>
                  <a:pt x="38" y="93"/>
                </a:cubicBezTo>
                <a:cubicBezTo>
                  <a:pt x="39" y="92"/>
                  <a:pt x="41" y="92"/>
                  <a:pt x="42" y="94"/>
                </a:cubicBezTo>
                <a:close/>
                <a:moveTo>
                  <a:pt x="27" y="114"/>
                </a:moveTo>
                <a:cubicBezTo>
                  <a:pt x="24" y="120"/>
                  <a:pt x="24" y="125"/>
                  <a:pt x="24" y="125"/>
                </a:cubicBezTo>
                <a:cubicBezTo>
                  <a:pt x="23" y="126"/>
                  <a:pt x="22" y="127"/>
                  <a:pt x="21" y="127"/>
                </a:cubicBezTo>
                <a:cubicBezTo>
                  <a:pt x="21" y="127"/>
                  <a:pt x="20" y="127"/>
                  <a:pt x="20" y="127"/>
                </a:cubicBezTo>
                <a:cubicBezTo>
                  <a:pt x="19" y="127"/>
                  <a:pt x="18" y="126"/>
                  <a:pt x="18" y="124"/>
                </a:cubicBezTo>
                <a:cubicBezTo>
                  <a:pt x="18" y="124"/>
                  <a:pt x="19" y="118"/>
                  <a:pt x="22" y="112"/>
                </a:cubicBezTo>
                <a:cubicBezTo>
                  <a:pt x="22" y="110"/>
                  <a:pt x="24" y="110"/>
                  <a:pt x="26" y="110"/>
                </a:cubicBezTo>
                <a:cubicBezTo>
                  <a:pt x="27" y="111"/>
                  <a:pt x="28" y="113"/>
                  <a:pt x="27" y="114"/>
                </a:cubicBezTo>
                <a:close/>
                <a:moveTo>
                  <a:pt x="117" y="95"/>
                </a:moveTo>
                <a:cubicBezTo>
                  <a:pt x="116" y="94"/>
                  <a:pt x="117" y="92"/>
                  <a:pt x="118" y="91"/>
                </a:cubicBezTo>
                <a:cubicBezTo>
                  <a:pt x="121" y="90"/>
                  <a:pt x="124" y="88"/>
                  <a:pt x="127" y="85"/>
                </a:cubicBezTo>
                <a:cubicBezTo>
                  <a:pt x="128" y="83"/>
                  <a:pt x="129" y="83"/>
                  <a:pt x="131" y="84"/>
                </a:cubicBezTo>
                <a:cubicBezTo>
                  <a:pt x="132" y="85"/>
                  <a:pt x="132" y="87"/>
                  <a:pt x="131" y="88"/>
                </a:cubicBezTo>
                <a:cubicBezTo>
                  <a:pt x="128" y="92"/>
                  <a:pt x="125" y="95"/>
                  <a:pt x="121" y="97"/>
                </a:cubicBezTo>
                <a:cubicBezTo>
                  <a:pt x="121" y="97"/>
                  <a:pt x="120" y="97"/>
                  <a:pt x="120" y="97"/>
                </a:cubicBezTo>
                <a:cubicBezTo>
                  <a:pt x="119" y="97"/>
                  <a:pt x="118" y="96"/>
                  <a:pt x="117" y="95"/>
                </a:cubicBezTo>
                <a:close/>
                <a:moveTo>
                  <a:pt x="88" y="94"/>
                </a:moveTo>
                <a:cubicBezTo>
                  <a:pt x="88" y="95"/>
                  <a:pt x="86" y="96"/>
                  <a:pt x="85" y="96"/>
                </a:cubicBezTo>
                <a:cubicBezTo>
                  <a:pt x="85" y="96"/>
                  <a:pt x="85" y="96"/>
                  <a:pt x="84" y="96"/>
                </a:cubicBezTo>
                <a:cubicBezTo>
                  <a:pt x="83" y="95"/>
                  <a:pt x="82" y="95"/>
                  <a:pt x="82" y="95"/>
                </a:cubicBezTo>
                <a:cubicBezTo>
                  <a:pt x="79" y="94"/>
                  <a:pt x="76" y="93"/>
                  <a:pt x="73" y="93"/>
                </a:cubicBezTo>
                <a:cubicBezTo>
                  <a:pt x="72" y="93"/>
                  <a:pt x="71" y="91"/>
                  <a:pt x="71" y="90"/>
                </a:cubicBezTo>
                <a:cubicBezTo>
                  <a:pt x="71" y="88"/>
                  <a:pt x="73" y="87"/>
                  <a:pt x="74" y="87"/>
                </a:cubicBezTo>
                <a:cubicBezTo>
                  <a:pt x="77" y="88"/>
                  <a:pt x="80" y="88"/>
                  <a:pt x="84" y="89"/>
                </a:cubicBezTo>
                <a:cubicBezTo>
                  <a:pt x="84" y="89"/>
                  <a:pt x="84" y="89"/>
                  <a:pt x="84" y="89"/>
                </a:cubicBezTo>
                <a:cubicBezTo>
                  <a:pt x="84" y="89"/>
                  <a:pt x="85" y="90"/>
                  <a:pt x="86" y="90"/>
                </a:cubicBezTo>
                <a:cubicBezTo>
                  <a:pt x="88" y="91"/>
                  <a:pt x="89" y="93"/>
                  <a:pt x="88" y="94"/>
                </a:cubicBezTo>
                <a:close/>
                <a:moveTo>
                  <a:pt x="136" y="53"/>
                </a:moveTo>
                <a:cubicBezTo>
                  <a:pt x="136" y="50"/>
                  <a:pt x="137" y="47"/>
                  <a:pt x="137" y="44"/>
                </a:cubicBezTo>
                <a:cubicBezTo>
                  <a:pt x="137" y="43"/>
                  <a:pt x="137" y="42"/>
                  <a:pt x="136" y="41"/>
                </a:cubicBezTo>
                <a:cubicBezTo>
                  <a:pt x="136" y="40"/>
                  <a:pt x="138" y="38"/>
                  <a:pt x="139" y="38"/>
                </a:cubicBezTo>
                <a:cubicBezTo>
                  <a:pt x="141" y="38"/>
                  <a:pt x="142" y="40"/>
                  <a:pt x="142" y="41"/>
                </a:cubicBezTo>
                <a:cubicBezTo>
                  <a:pt x="142" y="42"/>
                  <a:pt x="142" y="43"/>
                  <a:pt x="142" y="44"/>
                </a:cubicBezTo>
                <a:cubicBezTo>
                  <a:pt x="142" y="47"/>
                  <a:pt x="142" y="50"/>
                  <a:pt x="142" y="53"/>
                </a:cubicBezTo>
                <a:cubicBezTo>
                  <a:pt x="142" y="55"/>
                  <a:pt x="141" y="56"/>
                  <a:pt x="139" y="56"/>
                </a:cubicBezTo>
                <a:cubicBezTo>
                  <a:pt x="139" y="56"/>
                  <a:pt x="139" y="56"/>
                  <a:pt x="139" y="56"/>
                </a:cubicBezTo>
                <a:cubicBezTo>
                  <a:pt x="137" y="56"/>
                  <a:pt x="136" y="55"/>
                  <a:pt x="136" y="53"/>
                </a:cubicBezTo>
                <a:close/>
                <a:moveTo>
                  <a:pt x="25" y="78"/>
                </a:moveTo>
                <a:cubicBezTo>
                  <a:pt x="28" y="74"/>
                  <a:pt x="28" y="74"/>
                  <a:pt x="28" y="74"/>
                </a:cubicBezTo>
                <a:cubicBezTo>
                  <a:pt x="25" y="70"/>
                  <a:pt x="25" y="70"/>
                  <a:pt x="25" y="70"/>
                </a:cubicBezTo>
                <a:cubicBezTo>
                  <a:pt x="23" y="69"/>
                  <a:pt x="23" y="67"/>
                  <a:pt x="25" y="66"/>
                </a:cubicBezTo>
                <a:cubicBezTo>
                  <a:pt x="26" y="65"/>
                  <a:pt x="28" y="65"/>
                  <a:pt x="29" y="66"/>
                </a:cubicBezTo>
                <a:cubicBezTo>
                  <a:pt x="33" y="70"/>
                  <a:pt x="33" y="70"/>
                  <a:pt x="33" y="70"/>
                </a:cubicBezTo>
                <a:cubicBezTo>
                  <a:pt x="36" y="66"/>
                  <a:pt x="36" y="66"/>
                  <a:pt x="36" y="66"/>
                </a:cubicBezTo>
                <a:cubicBezTo>
                  <a:pt x="38" y="65"/>
                  <a:pt x="39" y="65"/>
                  <a:pt x="41" y="66"/>
                </a:cubicBezTo>
                <a:cubicBezTo>
                  <a:pt x="42" y="67"/>
                  <a:pt x="42" y="69"/>
                  <a:pt x="41" y="70"/>
                </a:cubicBezTo>
                <a:cubicBezTo>
                  <a:pt x="37" y="74"/>
                  <a:pt x="37" y="74"/>
                  <a:pt x="37" y="74"/>
                </a:cubicBezTo>
                <a:cubicBezTo>
                  <a:pt x="41" y="78"/>
                  <a:pt x="41" y="78"/>
                  <a:pt x="41" y="78"/>
                </a:cubicBezTo>
                <a:cubicBezTo>
                  <a:pt x="42" y="79"/>
                  <a:pt x="42" y="81"/>
                  <a:pt x="41" y="82"/>
                </a:cubicBezTo>
                <a:cubicBezTo>
                  <a:pt x="40" y="83"/>
                  <a:pt x="39" y="83"/>
                  <a:pt x="39" y="83"/>
                </a:cubicBezTo>
                <a:cubicBezTo>
                  <a:pt x="38" y="83"/>
                  <a:pt x="37" y="83"/>
                  <a:pt x="36" y="82"/>
                </a:cubicBezTo>
                <a:cubicBezTo>
                  <a:pt x="33" y="78"/>
                  <a:pt x="33" y="78"/>
                  <a:pt x="33" y="78"/>
                </a:cubicBezTo>
                <a:cubicBezTo>
                  <a:pt x="29" y="82"/>
                  <a:pt x="29" y="82"/>
                  <a:pt x="29" y="82"/>
                </a:cubicBezTo>
                <a:cubicBezTo>
                  <a:pt x="28" y="83"/>
                  <a:pt x="27" y="83"/>
                  <a:pt x="27" y="83"/>
                </a:cubicBezTo>
                <a:cubicBezTo>
                  <a:pt x="26" y="83"/>
                  <a:pt x="25" y="83"/>
                  <a:pt x="25" y="82"/>
                </a:cubicBezTo>
                <a:cubicBezTo>
                  <a:pt x="23" y="81"/>
                  <a:pt x="23" y="79"/>
                  <a:pt x="25" y="78"/>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2153">
            <a:extLst>
              <a:ext uri="{FF2B5EF4-FFF2-40B4-BE49-F238E27FC236}">
                <a16:creationId xmlns:a16="http://schemas.microsoft.com/office/drawing/2014/main" id="{6280C737-3944-8147-BCD7-84A448FECEF8}"/>
              </a:ext>
            </a:extLst>
          </p:cNvPr>
          <p:cNvSpPr>
            <a:spLocks noEditPoints="1"/>
          </p:cNvSpPr>
          <p:nvPr/>
        </p:nvSpPr>
        <p:spPr bwMode="auto">
          <a:xfrm>
            <a:off x="8254996" y="3503613"/>
            <a:ext cx="546100" cy="466725"/>
          </a:xfrm>
          <a:custGeom>
            <a:avLst/>
            <a:gdLst>
              <a:gd name="T0" fmla="*/ 158 w 160"/>
              <a:gd name="T1" fmla="*/ 19 h 136"/>
              <a:gd name="T2" fmla="*/ 118 w 160"/>
              <a:gd name="T3" fmla="*/ 0 h 136"/>
              <a:gd name="T4" fmla="*/ 118 w 160"/>
              <a:gd name="T5" fmla="*/ 0 h 136"/>
              <a:gd name="T6" fmla="*/ 118 w 160"/>
              <a:gd name="T7" fmla="*/ 0 h 136"/>
              <a:gd name="T8" fmla="*/ 118 w 160"/>
              <a:gd name="T9" fmla="*/ 0 h 136"/>
              <a:gd name="T10" fmla="*/ 117 w 160"/>
              <a:gd name="T11" fmla="*/ 0 h 136"/>
              <a:gd name="T12" fmla="*/ 117 w 160"/>
              <a:gd name="T13" fmla="*/ 0 h 136"/>
              <a:gd name="T14" fmla="*/ 117 w 160"/>
              <a:gd name="T15" fmla="*/ 0 h 136"/>
              <a:gd name="T16" fmla="*/ 116 w 160"/>
              <a:gd name="T17" fmla="*/ 0 h 136"/>
              <a:gd name="T18" fmla="*/ 116 w 160"/>
              <a:gd name="T19" fmla="*/ 0 h 136"/>
              <a:gd name="T20" fmla="*/ 80 w 160"/>
              <a:gd name="T21" fmla="*/ 16 h 136"/>
              <a:gd name="T22" fmla="*/ 44 w 160"/>
              <a:gd name="T23" fmla="*/ 0 h 136"/>
              <a:gd name="T24" fmla="*/ 44 w 160"/>
              <a:gd name="T25" fmla="*/ 0 h 136"/>
              <a:gd name="T26" fmla="*/ 43 w 160"/>
              <a:gd name="T27" fmla="*/ 0 h 136"/>
              <a:gd name="T28" fmla="*/ 43 w 160"/>
              <a:gd name="T29" fmla="*/ 0 h 136"/>
              <a:gd name="T30" fmla="*/ 43 w 160"/>
              <a:gd name="T31" fmla="*/ 0 h 136"/>
              <a:gd name="T32" fmla="*/ 42 w 160"/>
              <a:gd name="T33" fmla="*/ 0 h 136"/>
              <a:gd name="T34" fmla="*/ 42 w 160"/>
              <a:gd name="T35" fmla="*/ 0 h 136"/>
              <a:gd name="T36" fmla="*/ 42 w 160"/>
              <a:gd name="T37" fmla="*/ 0 h 136"/>
              <a:gd name="T38" fmla="*/ 42 w 160"/>
              <a:gd name="T39" fmla="*/ 0 h 136"/>
              <a:gd name="T40" fmla="*/ 2 w 160"/>
              <a:gd name="T41" fmla="*/ 16 h 136"/>
              <a:gd name="T42" fmla="*/ 0 w 160"/>
              <a:gd name="T43" fmla="*/ 19 h 136"/>
              <a:gd name="T44" fmla="*/ 0 w 160"/>
              <a:gd name="T45" fmla="*/ 133 h 136"/>
              <a:gd name="T46" fmla="*/ 1 w 160"/>
              <a:gd name="T47" fmla="*/ 136 h 136"/>
              <a:gd name="T48" fmla="*/ 3 w 160"/>
              <a:gd name="T49" fmla="*/ 136 h 136"/>
              <a:gd name="T50" fmla="*/ 4 w 160"/>
              <a:gd name="T51" fmla="*/ 136 h 136"/>
              <a:gd name="T52" fmla="*/ 43 w 160"/>
              <a:gd name="T53" fmla="*/ 120 h 136"/>
              <a:gd name="T54" fmla="*/ 79 w 160"/>
              <a:gd name="T55" fmla="*/ 136 h 136"/>
              <a:gd name="T56" fmla="*/ 79 w 160"/>
              <a:gd name="T57" fmla="*/ 136 h 136"/>
              <a:gd name="T58" fmla="*/ 80 w 160"/>
              <a:gd name="T59" fmla="*/ 136 h 136"/>
              <a:gd name="T60" fmla="*/ 81 w 160"/>
              <a:gd name="T61" fmla="*/ 136 h 136"/>
              <a:gd name="T62" fmla="*/ 81 w 160"/>
              <a:gd name="T63" fmla="*/ 136 h 136"/>
              <a:gd name="T64" fmla="*/ 117 w 160"/>
              <a:gd name="T65" fmla="*/ 120 h 136"/>
              <a:gd name="T66" fmla="*/ 156 w 160"/>
              <a:gd name="T67" fmla="*/ 136 h 136"/>
              <a:gd name="T68" fmla="*/ 157 w 160"/>
              <a:gd name="T69" fmla="*/ 136 h 136"/>
              <a:gd name="T70" fmla="*/ 159 w 160"/>
              <a:gd name="T71" fmla="*/ 136 h 136"/>
              <a:gd name="T72" fmla="*/ 160 w 160"/>
              <a:gd name="T73" fmla="*/ 133 h 136"/>
              <a:gd name="T74" fmla="*/ 160 w 160"/>
              <a:gd name="T75" fmla="*/ 21 h 136"/>
              <a:gd name="T76" fmla="*/ 158 w 160"/>
              <a:gd name="T77" fmla="*/ 19 h 136"/>
              <a:gd name="T78" fmla="*/ 5 w 160"/>
              <a:gd name="T79" fmla="*/ 20 h 136"/>
              <a:gd name="T80" fmla="*/ 40 w 160"/>
              <a:gd name="T81" fmla="*/ 7 h 136"/>
              <a:gd name="T82" fmla="*/ 40 w 160"/>
              <a:gd name="T83" fmla="*/ 116 h 136"/>
              <a:gd name="T84" fmla="*/ 5 w 160"/>
              <a:gd name="T85" fmla="*/ 129 h 136"/>
              <a:gd name="T86" fmla="*/ 5 w 160"/>
              <a:gd name="T87" fmla="*/ 20 h 136"/>
              <a:gd name="T88" fmla="*/ 45 w 160"/>
              <a:gd name="T89" fmla="*/ 7 h 136"/>
              <a:gd name="T90" fmla="*/ 77 w 160"/>
              <a:gd name="T91" fmla="*/ 20 h 136"/>
              <a:gd name="T92" fmla="*/ 77 w 160"/>
              <a:gd name="T93" fmla="*/ 129 h 136"/>
              <a:gd name="T94" fmla="*/ 45 w 160"/>
              <a:gd name="T95" fmla="*/ 116 h 136"/>
              <a:gd name="T96" fmla="*/ 45 w 160"/>
              <a:gd name="T97" fmla="*/ 7 h 136"/>
              <a:gd name="T98" fmla="*/ 83 w 160"/>
              <a:gd name="T99" fmla="*/ 20 h 136"/>
              <a:gd name="T100" fmla="*/ 115 w 160"/>
              <a:gd name="T101" fmla="*/ 7 h 136"/>
              <a:gd name="T102" fmla="*/ 115 w 160"/>
              <a:gd name="T103" fmla="*/ 116 h 136"/>
              <a:gd name="T104" fmla="*/ 83 w 160"/>
              <a:gd name="T105" fmla="*/ 129 h 136"/>
              <a:gd name="T106" fmla="*/ 83 w 160"/>
              <a:gd name="T107" fmla="*/ 20 h 136"/>
              <a:gd name="T108" fmla="*/ 155 w 160"/>
              <a:gd name="T109" fmla="*/ 129 h 136"/>
              <a:gd name="T110" fmla="*/ 120 w 160"/>
              <a:gd name="T111" fmla="*/ 116 h 136"/>
              <a:gd name="T112" fmla="*/ 120 w 160"/>
              <a:gd name="T113" fmla="*/ 7 h 136"/>
              <a:gd name="T114" fmla="*/ 155 w 160"/>
              <a:gd name="T115" fmla="*/ 23 h 136"/>
              <a:gd name="T116" fmla="*/ 155 w 160"/>
              <a:gd name="T117" fmla="*/ 12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36">
                <a:moveTo>
                  <a:pt x="158" y="19"/>
                </a:moveTo>
                <a:cubicBezTo>
                  <a:pt x="118" y="0"/>
                  <a:pt x="118" y="0"/>
                  <a:pt x="118" y="0"/>
                </a:cubicBezTo>
                <a:cubicBezTo>
                  <a:pt x="118" y="0"/>
                  <a:pt x="118" y="0"/>
                  <a:pt x="118" y="0"/>
                </a:cubicBezTo>
                <a:cubicBezTo>
                  <a:pt x="118" y="0"/>
                  <a:pt x="118" y="0"/>
                  <a:pt x="118" y="0"/>
                </a:cubicBezTo>
                <a:cubicBezTo>
                  <a:pt x="118" y="0"/>
                  <a:pt x="118" y="0"/>
                  <a:pt x="118" y="0"/>
                </a:cubicBezTo>
                <a:cubicBezTo>
                  <a:pt x="118" y="0"/>
                  <a:pt x="117" y="0"/>
                  <a:pt x="117" y="0"/>
                </a:cubicBezTo>
                <a:cubicBezTo>
                  <a:pt x="117" y="0"/>
                  <a:pt x="117" y="0"/>
                  <a:pt x="117" y="0"/>
                </a:cubicBezTo>
                <a:cubicBezTo>
                  <a:pt x="117" y="0"/>
                  <a:pt x="117" y="0"/>
                  <a:pt x="117" y="0"/>
                </a:cubicBezTo>
                <a:cubicBezTo>
                  <a:pt x="117" y="0"/>
                  <a:pt x="117" y="0"/>
                  <a:pt x="116" y="0"/>
                </a:cubicBezTo>
                <a:cubicBezTo>
                  <a:pt x="116" y="0"/>
                  <a:pt x="116" y="0"/>
                  <a:pt x="116" y="0"/>
                </a:cubicBezTo>
                <a:cubicBezTo>
                  <a:pt x="80" y="16"/>
                  <a:pt x="80" y="16"/>
                  <a:pt x="80" y="16"/>
                </a:cubicBezTo>
                <a:cubicBezTo>
                  <a:pt x="44" y="0"/>
                  <a:pt x="44" y="0"/>
                  <a:pt x="44" y="0"/>
                </a:cubicBezTo>
                <a:cubicBezTo>
                  <a:pt x="44" y="0"/>
                  <a:pt x="44" y="0"/>
                  <a:pt x="44" y="0"/>
                </a:cubicBezTo>
                <a:cubicBezTo>
                  <a:pt x="44"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2" y="16"/>
                  <a:pt x="2" y="16"/>
                  <a:pt x="2" y="16"/>
                </a:cubicBezTo>
                <a:cubicBezTo>
                  <a:pt x="1" y="17"/>
                  <a:pt x="0" y="18"/>
                  <a:pt x="0" y="19"/>
                </a:cubicBezTo>
                <a:cubicBezTo>
                  <a:pt x="0" y="133"/>
                  <a:pt x="0" y="133"/>
                  <a:pt x="0" y="133"/>
                </a:cubicBezTo>
                <a:cubicBezTo>
                  <a:pt x="0" y="134"/>
                  <a:pt x="0" y="135"/>
                  <a:pt x="1" y="136"/>
                </a:cubicBezTo>
                <a:cubicBezTo>
                  <a:pt x="2" y="136"/>
                  <a:pt x="2" y="136"/>
                  <a:pt x="3" y="136"/>
                </a:cubicBezTo>
                <a:cubicBezTo>
                  <a:pt x="3" y="136"/>
                  <a:pt x="3" y="136"/>
                  <a:pt x="4" y="136"/>
                </a:cubicBezTo>
                <a:cubicBezTo>
                  <a:pt x="43" y="120"/>
                  <a:pt x="43" y="120"/>
                  <a:pt x="43" y="120"/>
                </a:cubicBezTo>
                <a:cubicBezTo>
                  <a:pt x="79" y="136"/>
                  <a:pt x="79" y="136"/>
                  <a:pt x="79" y="136"/>
                </a:cubicBezTo>
                <a:cubicBezTo>
                  <a:pt x="79" y="136"/>
                  <a:pt x="79" y="136"/>
                  <a:pt x="79" y="136"/>
                </a:cubicBezTo>
                <a:cubicBezTo>
                  <a:pt x="79" y="136"/>
                  <a:pt x="80" y="136"/>
                  <a:pt x="80" y="136"/>
                </a:cubicBezTo>
                <a:cubicBezTo>
                  <a:pt x="80" y="136"/>
                  <a:pt x="81" y="136"/>
                  <a:pt x="81" y="136"/>
                </a:cubicBezTo>
                <a:cubicBezTo>
                  <a:pt x="81" y="136"/>
                  <a:pt x="81" y="136"/>
                  <a:pt x="81" y="136"/>
                </a:cubicBezTo>
                <a:cubicBezTo>
                  <a:pt x="117" y="120"/>
                  <a:pt x="117" y="120"/>
                  <a:pt x="117" y="120"/>
                </a:cubicBezTo>
                <a:cubicBezTo>
                  <a:pt x="156" y="136"/>
                  <a:pt x="156" y="136"/>
                  <a:pt x="156" y="136"/>
                </a:cubicBezTo>
                <a:cubicBezTo>
                  <a:pt x="157" y="136"/>
                  <a:pt x="157" y="136"/>
                  <a:pt x="157" y="136"/>
                </a:cubicBezTo>
                <a:cubicBezTo>
                  <a:pt x="158" y="136"/>
                  <a:pt x="158" y="136"/>
                  <a:pt x="159" y="136"/>
                </a:cubicBezTo>
                <a:cubicBezTo>
                  <a:pt x="160" y="135"/>
                  <a:pt x="160" y="134"/>
                  <a:pt x="160" y="133"/>
                </a:cubicBezTo>
                <a:cubicBezTo>
                  <a:pt x="160" y="21"/>
                  <a:pt x="160" y="21"/>
                  <a:pt x="160" y="21"/>
                </a:cubicBezTo>
                <a:cubicBezTo>
                  <a:pt x="160" y="20"/>
                  <a:pt x="159" y="19"/>
                  <a:pt x="158" y="19"/>
                </a:cubicBezTo>
                <a:close/>
                <a:moveTo>
                  <a:pt x="5" y="20"/>
                </a:moveTo>
                <a:cubicBezTo>
                  <a:pt x="40" y="7"/>
                  <a:pt x="40" y="7"/>
                  <a:pt x="40" y="7"/>
                </a:cubicBezTo>
                <a:cubicBezTo>
                  <a:pt x="40" y="116"/>
                  <a:pt x="40" y="116"/>
                  <a:pt x="40" y="116"/>
                </a:cubicBezTo>
                <a:cubicBezTo>
                  <a:pt x="5" y="129"/>
                  <a:pt x="5" y="129"/>
                  <a:pt x="5" y="129"/>
                </a:cubicBezTo>
                <a:lnTo>
                  <a:pt x="5" y="20"/>
                </a:lnTo>
                <a:close/>
                <a:moveTo>
                  <a:pt x="45" y="7"/>
                </a:moveTo>
                <a:cubicBezTo>
                  <a:pt x="77" y="20"/>
                  <a:pt x="77" y="20"/>
                  <a:pt x="77" y="20"/>
                </a:cubicBezTo>
                <a:cubicBezTo>
                  <a:pt x="77" y="129"/>
                  <a:pt x="77" y="129"/>
                  <a:pt x="77" y="129"/>
                </a:cubicBezTo>
                <a:cubicBezTo>
                  <a:pt x="45" y="116"/>
                  <a:pt x="45" y="116"/>
                  <a:pt x="45" y="116"/>
                </a:cubicBezTo>
                <a:lnTo>
                  <a:pt x="45" y="7"/>
                </a:lnTo>
                <a:close/>
                <a:moveTo>
                  <a:pt x="83" y="20"/>
                </a:moveTo>
                <a:cubicBezTo>
                  <a:pt x="115" y="7"/>
                  <a:pt x="115" y="7"/>
                  <a:pt x="115" y="7"/>
                </a:cubicBezTo>
                <a:cubicBezTo>
                  <a:pt x="115" y="116"/>
                  <a:pt x="115" y="116"/>
                  <a:pt x="115" y="116"/>
                </a:cubicBezTo>
                <a:cubicBezTo>
                  <a:pt x="83" y="129"/>
                  <a:pt x="83" y="129"/>
                  <a:pt x="83" y="129"/>
                </a:cubicBezTo>
                <a:lnTo>
                  <a:pt x="83" y="20"/>
                </a:lnTo>
                <a:close/>
                <a:moveTo>
                  <a:pt x="155" y="129"/>
                </a:moveTo>
                <a:cubicBezTo>
                  <a:pt x="120" y="116"/>
                  <a:pt x="120" y="116"/>
                  <a:pt x="120" y="116"/>
                </a:cubicBezTo>
                <a:cubicBezTo>
                  <a:pt x="120" y="7"/>
                  <a:pt x="120" y="7"/>
                  <a:pt x="120" y="7"/>
                </a:cubicBezTo>
                <a:cubicBezTo>
                  <a:pt x="155" y="23"/>
                  <a:pt x="155" y="23"/>
                  <a:pt x="155" y="23"/>
                </a:cubicBezTo>
                <a:lnTo>
                  <a:pt x="155" y="129"/>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2154">
            <a:extLst>
              <a:ext uri="{FF2B5EF4-FFF2-40B4-BE49-F238E27FC236}">
                <a16:creationId xmlns:a16="http://schemas.microsoft.com/office/drawing/2014/main" id="{9D6AEFFC-CDDF-BC47-B52C-0FE9598CE71C}"/>
              </a:ext>
            </a:extLst>
          </p:cNvPr>
          <p:cNvSpPr>
            <a:spLocks noEditPoints="1"/>
          </p:cNvSpPr>
          <p:nvPr/>
        </p:nvSpPr>
        <p:spPr bwMode="auto">
          <a:xfrm>
            <a:off x="8254996" y="4081463"/>
            <a:ext cx="546100" cy="528638"/>
          </a:xfrm>
          <a:custGeom>
            <a:avLst/>
            <a:gdLst>
              <a:gd name="T0" fmla="*/ 11 w 160"/>
              <a:gd name="T1" fmla="*/ 64 h 154"/>
              <a:gd name="T2" fmla="*/ 43 w 160"/>
              <a:gd name="T3" fmla="*/ 70 h 154"/>
              <a:gd name="T4" fmla="*/ 154 w 160"/>
              <a:gd name="T5" fmla="*/ 148 h 154"/>
              <a:gd name="T6" fmla="*/ 116 w 160"/>
              <a:gd name="T7" fmla="*/ 67 h 154"/>
              <a:gd name="T8" fmla="*/ 160 w 160"/>
              <a:gd name="T9" fmla="*/ 154 h 154"/>
              <a:gd name="T10" fmla="*/ 81 w 160"/>
              <a:gd name="T11" fmla="*/ 0 h 154"/>
              <a:gd name="T12" fmla="*/ 84 w 160"/>
              <a:gd name="T13" fmla="*/ 111 h 154"/>
              <a:gd name="T14" fmla="*/ 79 w 160"/>
              <a:gd name="T15" fmla="*/ 116 h 154"/>
              <a:gd name="T16" fmla="*/ 74 w 160"/>
              <a:gd name="T17" fmla="*/ 117 h 154"/>
              <a:gd name="T18" fmla="*/ 78 w 160"/>
              <a:gd name="T19" fmla="*/ 110 h 154"/>
              <a:gd name="T20" fmla="*/ 81 w 160"/>
              <a:gd name="T21" fmla="*/ 105 h 154"/>
              <a:gd name="T22" fmla="*/ 81 w 160"/>
              <a:gd name="T23" fmla="*/ 6 h 154"/>
              <a:gd name="T24" fmla="*/ 59 w 160"/>
              <a:gd name="T25" fmla="*/ 34 h 154"/>
              <a:gd name="T26" fmla="*/ 81 w 160"/>
              <a:gd name="T27" fmla="*/ 55 h 154"/>
              <a:gd name="T28" fmla="*/ 81 w 160"/>
              <a:gd name="T29" fmla="*/ 49 h 154"/>
              <a:gd name="T30" fmla="*/ 65 w 160"/>
              <a:gd name="T31" fmla="*/ 34 h 154"/>
              <a:gd name="T32" fmla="*/ 92 w 160"/>
              <a:gd name="T33" fmla="*/ 111 h 154"/>
              <a:gd name="T34" fmla="*/ 101 w 160"/>
              <a:gd name="T35" fmla="*/ 107 h 154"/>
              <a:gd name="T36" fmla="*/ 106 w 160"/>
              <a:gd name="T37" fmla="*/ 106 h 154"/>
              <a:gd name="T38" fmla="*/ 115 w 160"/>
              <a:gd name="T39" fmla="*/ 109 h 154"/>
              <a:gd name="T40" fmla="*/ 109 w 160"/>
              <a:gd name="T41" fmla="*/ 103 h 154"/>
              <a:gd name="T42" fmla="*/ 61 w 160"/>
              <a:gd name="T43" fmla="*/ 123 h 154"/>
              <a:gd name="T44" fmla="*/ 64 w 160"/>
              <a:gd name="T45" fmla="*/ 128 h 154"/>
              <a:gd name="T46" fmla="*/ 65 w 160"/>
              <a:gd name="T47" fmla="*/ 120 h 154"/>
              <a:gd name="T48" fmla="*/ 124 w 160"/>
              <a:gd name="T49" fmla="*/ 106 h 154"/>
              <a:gd name="T50" fmla="*/ 133 w 160"/>
              <a:gd name="T51" fmla="*/ 105 h 154"/>
              <a:gd name="T52" fmla="*/ 130 w 160"/>
              <a:gd name="T53" fmla="*/ 100 h 154"/>
              <a:gd name="T54" fmla="*/ 24 w 160"/>
              <a:gd name="T55" fmla="*/ 120 h 154"/>
              <a:gd name="T56" fmla="*/ 19 w 160"/>
              <a:gd name="T57" fmla="*/ 127 h 154"/>
              <a:gd name="T58" fmla="*/ 23 w 160"/>
              <a:gd name="T59" fmla="*/ 131 h 154"/>
              <a:gd name="T60" fmla="*/ 25 w 160"/>
              <a:gd name="T61" fmla="*/ 126 h 154"/>
              <a:gd name="T62" fmla="*/ 123 w 160"/>
              <a:gd name="T63" fmla="*/ 78 h 154"/>
              <a:gd name="T64" fmla="*/ 125 w 160"/>
              <a:gd name="T65" fmla="*/ 84 h 154"/>
              <a:gd name="T66" fmla="*/ 130 w 160"/>
              <a:gd name="T67" fmla="*/ 78 h 154"/>
              <a:gd name="T68" fmla="*/ 139 w 160"/>
              <a:gd name="T69" fmla="*/ 96 h 154"/>
              <a:gd name="T70" fmla="*/ 142 w 160"/>
              <a:gd name="T71" fmla="*/ 91 h 154"/>
              <a:gd name="T72" fmla="*/ 136 w 160"/>
              <a:gd name="T73" fmla="*/ 89 h 154"/>
              <a:gd name="T74" fmla="*/ 136 w 160"/>
              <a:gd name="T75" fmla="*/ 92 h 154"/>
              <a:gd name="T76" fmla="*/ 44 w 160"/>
              <a:gd name="T77" fmla="*/ 134 h 154"/>
              <a:gd name="T78" fmla="*/ 53 w 160"/>
              <a:gd name="T79" fmla="*/ 134 h 154"/>
              <a:gd name="T80" fmla="*/ 30 w 160"/>
              <a:gd name="T81" fmla="*/ 116 h 154"/>
              <a:gd name="T82" fmla="*/ 35 w 160"/>
              <a:gd name="T83" fmla="*/ 115 h 154"/>
              <a:gd name="T84" fmla="*/ 33 w 160"/>
              <a:gd name="T85" fmla="*/ 109 h 154"/>
              <a:gd name="T86" fmla="*/ 30 w 160"/>
              <a:gd name="T87" fmla="*/ 116 h 154"/>
              <a:gd name="T88" fmla="*/ 33 w 160"/>
              <a:gd name="T89" fmla="*/ 140 h 154"/>
              <a:gd name="T90" fmla="*/ 35 w 160"/>
              <a:gd name="T91" fmla="*/ 134 h 154"/>
              <a:gd name="T92" fmla="*/ 27 w 160"/>
              <a:gd name="T93" fmla="*/ 13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54">
                <a:moveTo>
                  <a:pt x="160" y="154"/>
                </a:moveTo>
                <a:cubicBezTo>
                  <a:pt x="0" y="154"/>
                  <a:pt x="0" y="154"/>
                  <a:pt x="0" y="154"/>
                </a:cubicBezTo>
                <a:cubicBezTo>
                  <a:pt x="11" y="64"/>
                  <a:pt x="11" y="64"/>
                  <a:pt x="11" y="64"/>
                </a:cubicBezTo>
                <a:cubicBezTo>
                  <a:pt x="43" y="64"/>
                  <a:pt x="43" y="64"/>
                  <a:pt x="43" y="64"/>
                </a:cubicBezTo>
                <a:cubicBezTo>
                  <a:pt x="45" y="64"/>
                  <a:pt x="46" y="65"/>
                  <a:pt x="46" y="67"/>
                </a:cubicBezTo>
                <a:cubicBezTo>
                  <a:pt x="46" y="69"/>
                  <a:pt x="45" y="70"/>
                  <a:pt x="43" y="70"/>
                </a:cubicBezTo>
                <a:cubicBezTo>
                  <a:pt x="16" y="70"/>
                  <a:pt x="16" y="70"/>
                  <a:pt x="16" y="70"/>
                </a:cubicBezTo>
                <a:cubicBezTo>
                  <a:pt x="7" y="148"/>
                  <a:pt x="7" y="148"/>
                  <a:pt x="7" y="148"/>
                </a:cubicBezTo>
                <a:cubicBezTo>
                  <a:pt x="154" y="148"/>
                  <a:pt x="154" y="148"/>
                  <a:pt x="154" y="148"/>
                </a:cubicBezTo>
                <a:cubicBezTo>
                  <a:pt x="145" y="70"/>
                  <a:pt x="145" y="70"/>
                  <a:pt x="145" y="70"/>
                </a:cubicBezTo>
                <a:cubicBezTo>
                  <a:pt x="119" y="70"/>
                  <a:pt x="119" y="70"/>
                  <a:pt x="119" y="70"/>
                </a:cubicBezTo>
                <a:cubicBezTo>
                  <a:pt x="117" y="70"/>
                  <a:pt x="116" y="69"/>
                  <a:pt x="116" y="67"/>
                </a:cubicBezTo>
                <a:cubicBezTo>
                  <a:pt x="116" y="65"/>
                  <a:pt x="117" y="64"/>
                  <a:pt x="119" y="64"/>
                </a:cubicBezTo>
                <a:cubicBezTo>
                  <a:pt x="150" y="64"/>
                  <a:pt x="150" y="64"/>
                  <a:pt x="150" y="64"/>
                </a:cubicBezTo>
                <a:lnTo>
                  <a:pt x="160" y="154"/>
                </a:lnTo>
                <a:close/>
                <a:moveTo>
                  <a:pt x="47" y="49"/>
                </a:moveTo>
                <a:cubicBezTo>
                  <a:pt x="46" y="42"/>
                  <a:pt x="46" y="36"/>
                  <a:pt x="46" y="29"/>
                </a:cubicBezTo>
                <a:cubicBezTo>
                  <a:pt x="49" y="10"/>
                  <a:pt x="61" y="0"/>
                  <a:pt x="81" y="0"/>
                </a:cubicBezTo>
                <a:cubicBezTo>
                  <a:pt x="101" y="0"/>
                  <a:pt x="113" y="10"/>
                  <a:pt x="115" y="29"/>
                </a:cubicBezTo>
                <a:cubicBezTo>
                  <a:pt x="116" y="36"/>
                  <a:pt x="116" y="42"/>
                  <a:pt x="114" y="49"/>
                </a:cubicBezTo>
                <a:cubicBezTo>
                  <a:pt x="107" y="84"/>
                  <a:pt x="89" y="105"/>
                  <a:pt x="84" y="111"/>
                </a:cubicBezTo>
                <a:cubicBezTo>
                  <a:pt x="84" y="111"/>
                  <a:pt x="84" y="111"/>
                  <a:pt x="84" y="111"/>
                </a:cubicBezTo>
                <a:cubicBezTo>
                  <a:pt x="84" y="112"/>
                  <a:pt x="84" y="114"/>
                  <a:pt x="82" y="114"/>
                </a:cubicBezTo>
                <a:cubicBezTo>
                  <a:pt x="81" y="115"/>
                  <a:pt x="80" y="115"/>
                  <a:pt x="79" y="116"/>
                </a:cubicBezTo>
                <a:cubicBezTo>
                  <a:pt x="79" y="116"/>
                  <a:pt x="78" y="117"/>
                  <a:pt x="78" y="117"/>
                </a:cubicBezTo>
                <a:cubicBezTo>
                  <a:pt x="77" y="118"/>
                  <a:pt x="77" y="118"/>
                  <a:pt x="76" y="118"/>
                </a:cubicBezTo>
                <a:cubicBezTo>
                  <a:pt x="75" y="118"/>
                  <a:pt x="74" y="117"/>
                  <a:pt x="74" y="117"/>
                </a:cubicBezTo>
                <a:cubicBezTo>
                  <a:pt x="73" y="115"/>
                  <a:pt x="73" y="113"/>
                  <a:pt x="74" y="112"/>
                </a:cubicBezTo>
                <a:cubicBezTo>
                  <a:pt x="75" y="112"/>
                  <a:pt x="76" y="112"/>
                  <a:pt x="76" y="111"/>
                </a:cubicBezTo>
                <a:cubicBezTo>
                  <a:pt x="77" y="111"/>
                  <a:pt x="77" y="111"/>
                  <a:pt x="78" y="110"/>
                </a:cubicBezTo>
                <a:cubicBezTo>
                  <a:pt x="72" y="105"/>
                  <a:pt x="55" y="84"/>
                  <a:pt x="47" y="49"/>
                </a:cubicBezTo>
                <a:close/>
                <a:moveTo>
                  <a:pt x="53" y="48"/>
                </a:moveTo>
                <a:cubicBezTo>
                  <a:pt x="60" y="79"/>
                  <a:pt x="75" y="99"/>
                  <a:pt x="81" y="105"/>
                </a:cubicBezTo>
                <a:cubicBezTo>
                  <a:pt x="86" y="99"/>
                  <a:pt x="102" y="79"/>
                  <a:pt x="108" y="48"/>
                </a:cubicBezTo>
                <a:cubicBezTo>
                  <a:pt x="110" y="42"/>
                  <a:pt x="110" y="36"/>
                  <a:pt x="109" y="30"/>
                </a:cubicBezTo>
                <a:cubicBezTo>
                  <a:pt x="107" y="14"/>
                  <a:pt x="98" y="6"/>
                  <a:pt x="81" y="6"/>
                </a:cubicBezTo>
                <a:cubicBezTo>
                  <a:pt x="64" y="6"/>
                  <a:pt x="54" y="14"/>
                  <a:pt x="52" y="30"/>
                </a:cubicBezTo>
                <a:cubicBezTo>
                  <a:pt x="51" y="36"/>
                  <a:pt x="52" y="42"/>
                  <a:pt x="53" y="48"/>
                </a:cubicBezTo>
                <a:close/>
                <a:moveTo>
                  <a:pt x="59" y="34"/>
                </a:moveTo>
                <a:cubicBezTo>
                  <a:pt x="59" y="22"/>
                  <a:pt x="69" y="12"/>
                  <a:pt x="81" y="12"/>
                </a:cubicBezTo>
                <a:cubicBezTo>
                  <a:pt x="92" y="12"/>
                  <a:pt x="102" y="22"/>
                  <a:pt x="102" y="34"/>
                </a:cubicBezTo>
                <a:cubicBezTo>
                  <a:pt x="102" y="45"/>
                  <a:pt x="92" y="55"/>
                  <a:pt x="81" y="55"/>
                </a:cubicBezTo>
                <a:cubicBezTo>
                  <a:pt x="69" y="55"/>
                  <a:pt x="59" y="45"/>
                  <a:pt x="59" y="34"/>
                </a:cubicBezTo>
                <a:close/>
                <a:moveTo>
                  <a:pt x="65" y="34"/>
                </a:moveTo>
                <a:cubicBezTo>
                  <a:pt x="65" y="42"/>
                  <a:pt x="72" y="49"/>
                  <a:pt x="81" y="49"/>
                </a:cubicBezTo>
                <a:cubicBezTo>
                  <a:pt x="89" y="49"/>
                  <a:pt x="96" y="42"/>
                  <a:pt x="96" y="34"/>
                </a:cubicBezTo>
                <a:cubicBezTo>
                  <a:pt x="96" y="25"/>
                  <a:pt x="89" y="18"/>
                  <a:pt x="81" y="18"/>
                </a:cubicBezTo>
                <a:cubicBezTo>
                  <a:pt x="72" y="18"/>
                  <a:pt x="65" y="25"/>
                  <a:pt x="65" y="34"/>
                </a:cubicBezTo>
                <a:close/>
                <a:moveTo>
                  <a:pt x="91" y="105"/>
                </a:moveTo>
                <a:cubicBezTo>
                  <a:pt x="90" y="106"/>
                  <a:pt x="89" y="107"/>
                  <a:pt x="89" y="109"/>
                </a:cubicBezTo>
                <a:cubicBezTo>
                  <a:pt x="89" y="110"/>
                  <a:pt x="91" y="111"/>
                  <a:pt x="92" y="111"/>
                </a:cubicBezTo>
                <a:cubicBezTo>
                  <a:pt x="92" y="111"/>
                  <a:pt x="92" y="111"/>
                  <a:pt x="93" y="111"/>
                </a:cubicBezTo>
                <a:cubicBezTo>
                  <a:pt x="94" y="111"/>
                  <a:pt x="96" y="110"/>
                  <a:pt x="98" y="110"/>
                </a:cubicBezTo>
                <a:cubicBezTo>
                  <a:pt x="100" y="110"/>
                  <a:pt x="101" y="108"/>
                  <a:pt x="101" y="107"/>
                </a:cubicBezTo>
                <a:cubicBezTo>
                  <a:pt x="100" y="105"/>
                  <a:pt x="99" y="104"/>
                  <a:pt x="97" y="104"/>
                </a:cubicBezTo>
                <a:cubicBezTo>
                  <a:pt x="95" y="104"/>
                  <a:pt x="93" y="105"/>
                  <a:pt x="91" y="105"/>
                </a:cubicBezTo>
                <a:close/>
                <a:moveTo>
                  <a:pt x="106" y="106"/>
                </a:moveTo>
                <a:cubicBezTo>
                  <a:pt x="107" y="108"/>
                  <a:pt x="108" y="109"/>
                  <a:pt x="109" y="109"/>
                </a:cubicBezTo>
                <a:cubicBezTo>
                  <a:pt x="109" y="109"/>
                  <a:pt x="109" y="109"/>
                  <a:pt x="109" y="109"/>
                </a:cubicBezTo>
                <a:cubicBezTo>
                  <a:pt x="115" y="109"/>
                  <a:pt x="115" y="109"/>
                  <a:pt x="115" y="109"/>
                </a:cubicBezTo>
                <a:cubicBezTo>
                  <a:pt x="117" y="109"/>
                  <a:pt x="118" y="107"/>
                  <a:pt x="118" y="106"/>
                </a:cubicBezTo>
                <a:cubicBezTo>
                  <a:pt x="118" y="104"/>
                  <a:pt x="116" y="103"/>
                  <a:pt x="115" y="103"/>
                </a:cubicBezTo>
                <a:cubicBezTo>
                  <a:pt x="109" y="103"/>
                  <a:pt x="109" y="103"/>
                  <a:pt x="109" y="103"/>
                </a:cubicBezTo>
                <a:cubicBezTo>
                  <a:pt x="108" y="103"/>
                  <a:pt x="106" y="105"/>
                  <a:pt x="106" y="106"/>
                </a:cubicBezTo>
                <a:close/>
                <a:moveTo>
                  <a:pt x="65" y="120"/>
                </a:moveTo>
                <a:cubicBezTo>
                  <a:pt x="64" y="121"/>
                  <a:pt x="62" y="122"/>
                  <a:pt x="61" y="123"/>
                </a:cubicBezTo>
                <a:cubicBezTo>
                  <a:pt x="59" y="124"/>
                  <a:pt x="59" y="126"/>
                  <a:pt x="60" y="127"/>
                </a:cubicBezTo>
                <a:cubicBezTo>
                  <a:pt x="60" y="128"/>
                  <a:pt x="61" y="128"/>
                  <a:pt x="62" y="128"/>
                </a:cubicBezTo>
                <a:cubicBezTo>
                  <a:pt x="63" y="128"/>
                  <a:pt x="63" y="128"/>
                  <a:pt x="64" y="128"/>
                </a:cubicBezTo>
                <a:cubicBezTo>
                  <a:pt x="65" y="127"/>
                  <a:pt x="67" y="126"/>
                  <a:pt x="69" y="124"/>
                </a:cubicBezTo>
                <a:cubicBezTo>
                  <a:pt x="70" y="123"/>
                  <a:pt x="70" y="122"/>
                  <a:pt x="69" y="120"/>
                </a:cubicBezTo>
                <a:cubicBezTo>
                  <a:pt x="68" y="119"/>
                  <a:pt x="67" y="119"/>
                  <a:pt x="65" y="120"/>
                </a:cubicBezTo>
                <a:close/>
                <a:moveTo>
                  <a:pt x="130" y="101"/>
                </a:moveTo>
                <a:cubicBezTo>
                  <a:pt x="129" y="101"/>
                  <a:pt x="128" y="102"/>
                  <a:pt x="126" y="102"/>
                </a:cubicBezTo>
                <a:cubicBezTo>
                  <a:pt x="125" y="102"/>
                  <a:pt x="124" y="104"/>
                  <a:pt x="124" y="106"/>
                </a:cubicBezTo>
                <a:cubicBezTo>
                  <a:pt x="124" y="107"/>
                  <a:pt x="125" y="108"/>
                  <a:pt x="127" y="108"/>
                </a:cubicBezTo>
                <a:cubicBezTo>
                  <a:pt x="127" y="108"/>
                  <a:pt x="127" y="108"/>
                  <a:pt x="127" y="108"/>
                </a:cubicBezTo>
                <a:cubicBezTo>
                  <a:pt x="130" y="107"/>
                  <a:pt x="132" y="106"/>
                  <a:pt x="133" y="105"/>
                </a:cubicBezTo>
                <a:cubicBezTo>
                  <a:pt x="134" y="105"/>
                  <a:pt x="134" y="105"/>
                  <a:pt x="134" y="105"/>
                </a:cubicBezTo>
                <a:cubicBezTo>
                  <a:pt x="135" y="104"/>
                  <a:pt x="135" y="102"/>
                  <a:pt x="134" y="101"/>
                </a:cubicBezTo>
                <a:cubicBezTo>
                  <a:pt x="133" y="100"/>
                  <a:pt x="132" y="99"/>
                  <a:pt x="130" y="100"/>
                </a:cubicBezTo>
                <a:lnTo>
                  <a:pt x="130" y="101"/>
                </a:lnTo>
                <a:close/>
                <a:moveTo>
                  <a:pt x="26" y="123"/>
                </a:moveTo>
                <a:cubicBezTo>
                  <a:pt x="26" y="122"/>
                  <a:pt x="25" y="120"/>
                  <a:pt x="24" y="120"/>
                </a:cubicBezTo>
                <a:cubicBezTo>
                  <a:pt x="22" y="119"/>
                  <a:pt x="21" y="120"/>
                  <a:pt x="20" y="122"/>
                </a:cubicBezTo>
                <a:cubicBezTo>
                  <a:pt x="20" y="123"/>
                  <a:pt x="20" y="125"/>
                  <a:pt x="20" y="126"/>
                </a:cubicBezTo>
                <a:cubicBezTo>
                  <a:pt x="19" y="126"/>
                  <a:pt x="19" y="127"/>
                  <a:pt x="19" y="127"/>
                </a:cubicBezTo>
                <a:cubicBezTo>
                  <a:pt x="19" y="127"/>
                  <a:pt x="20" y="128"/>
                  <a:pt x="20" y="129"/>
                </a:cubicBezTo>
                <a:cubicBezTo>
                  <a:pt x="20" y="130"/>
                  <a:pt x="21" y="131"/>
                  <a:pt x="22" y="131"/>
                </a:cubicBezTo>
                <a:cubicBezTo>
                  <a:pt x="23" y="131"/>
                  <a:pt x="23" y="131"/>
                  <a:pt x="23" y="131"/>
                </a:cubicBezTo>
                <a:cubicBezTo>
                  <a:pt x="24" y="131"/>
                  <a:pt x="26" y="130"/>
                  <a:pt x="25" y="128"/>
                </a:cubicBezTo>
                <a:cubicBezTo>
                  <a:pt x="25" y="128"/>
                  <a:pt x="25" y="127"/>
                  <a:pt x="25" y="127"/>
                </a:cubicBezTo>
                <a:cubicBezTo>
                  <a:pt x="25" y="127"/>
                  <a:pt x="25" y="126"/>
                  <a:pt x="25" y="126"/>
                </a:cubicBezTo>
                <a:cubicBezTo>
                  <a:pt x="25" y="125"/>
                  <a:pt x="26" y="124"/>
                  <a:pt x="26" y="123"/>
                </a:cubicBezTo>
                <a:close/>
                <a:moveTo>
                  <a:pt x="130" y="78"/>
                </a:moveTo>
                <a:cubicBezTo>
                  <a:pt x="128" y="78"/>
                  <a:pt x="125" y="78"/>
                  <a:pt x="123" y="78"/>
                </a:cubicBezTo>
                <a:cubicBezTo>
                  <a:pt x="122" y="79"/>
                  <a:pt x="121" y="81"/>
                  <a:pt x="121" y="82"/>
                </a:cubicBezTo>
                <a:cubicBezTo>
                  <a:pt x="121" y="83"/>
                  <a:pt x="123" y="84"/>
                  <a:pt x="124" y="84"/>
                </a:cubicBezTo>
                <a:cubicBezTo>
                  <a:pt x="124" y="84"/>
                  <a:pt x="124" y="84"/>
                  <a:pt x="125" y="84"/>
                </a:cubicBezTo>
                <a:cubicBezTo>
                  <a:pt x="126" y="84"/>
                  <a:pt x="128" y="84"/>
                  <a:pt x="129" y="84"/>
                </a:cubicBezTo>
                <a:cubicBezTo>
                  <a:pt x="131" y="84"/>
                  <a:pt x="132" y="83"/>
                  <a:pt x="132" y="81"/>
                </a:cubicBezTo>
                <a:cubicBezTo>
                  <a:pt x="133" y="80"/>
                  <a:pt x="132" y="78"/>
                  <a:pt x="130" y="78"/>
                </a:cubicBezTo>
                <a:close/>
                <a:moveTo>
                  <a:pt x="136" y="92"/>
                </a:moveTo>
                <a:cubicBezTo>
                  <a:pt x="135" y="94"/>
                  <a:pt x="136" y="96"/>
                  <a:pt x="138" y="96"/>
                </a:cubicBezTo>
                <a:cubicBezTo>
                  <a:pt x="138" y="96"/>
                  <a:pt x="138" y="96"/>
                  <a:pt x="139" y="96"/>
                </a:cubicBezTo>
                <a:cubicBezTo>
                  <a:pt x="140" y="96"/>
                  <a:pt x="141" y="95"/>
                  <a:pt x="141" y="94"/>
                </a:cubicBezTo>
                <a:cubicBezTo>
                  <a:pt x="142" y="93"/>
                  <a:pt x="142" y="92"/>
                  <a:pt x="142" y="91"/>
                </a:cubicBezTo>
                <a:cubicBezTo>
                  <a:pt x="142" y="91"/>
                  <a:pt x="142" y="91"/>
                  <a:pt x="142" y="91"/>
                </a:cubicBezTo>
                <a:cubicBezTo>
                  <a:pt x="142" y="89"/>
                  <a:pt x="142" y="88"/>
                  <a:pt x="141" y="87"/>
                </a:cubicBezTo>
                <a:cubicBezTo>
                  <a:pt x="141" y="85"/>
                  <a:pt x="139" y="84"/>
                  <a:pt x="137" y="85"/>
                </a:cubicBezTo>
                <a:cubicBezTo>
                  <a:pt x="136" y="85"/>
                  <a:pt x="135" y="87"/>
                  <a:pt x="136" y="89"/>
                </a:cubicBezTo>
                <a:cubicBezTo>
                  <a:pt x="136" y="89"/>
                  <a:pt x="136" y="90"/>
                  <a:pt x="136" y="91"/>
                </a:cubicBezTo>
                <a:cubicBezTo>
                  <a:pt x="136" y="91"/>
                  <a:pt x="136" y="91"/>
                  <a:pt x="136" y="91"/>
                </a:cubicBezTo>
                <a:cubicBezTo>
                  <a:pt x="136" y="91"/>
                  <a:pt x="136" y="92"/>
                  <a:pt x="136" y="92"/>
                </a:cubicBezTo>
                <a:close/>
                <a:moveTo>
                  <a:pt x="51" y="128"/>
                </a:moveTo>
                <a:cubicBezTo>
                  <a:pt x="49" y="129"/>
                  <a:pt x="47" y="130"/>
                  <a:pt x="46" y="131"/>
                </a:cubicBezTo>
                <a:cubicBezTo>
                  <a:pt x="44" y="131"/>
                  <a:pt x="43" y="133"/>
                  <a:pt x="44" y="134"/>
                </a:cubicBezTo>
                <a:cubicBezTo>
                  <a:pt x="44" y="136"/>
                  <a:pt x="46" y="136"/>
                  <a:pt x="47" y="136"/>
                </a:cubicBezTo>
                <a:cubicBezTo>
                  <a:pt x="47" y="136"/>
                  <a:pt x="47" y="136"/>
                  <a:pt x="48" y="136"/>
                </a:cubicBezTo>
                <a:cubicBezTo>
                  <a:pt x="50" y="135"/>
                  <a:pt x="51" y="135"/>
                  <a:pt x="53" y="134"/>
                </a:cubicBezTo>
                <a:cubicBezTo>
                  <a:pt x="55" y="133"/>
                  <a:pt x="55" y="131"/>
                  <a:pt x="55" y="130"/>
                </a:cubicBezTo>
                <a:cubicBezTo>
                  <a:pt x="54" y="128"/>
                  <a:pt x="52" y="128"/>
                  <a:pt x="51" y="128"/>
                </a:cubicBezTo>
                <a:close/>
                <a:moveTo>
                  <a:pt x="30" y="116"/>
                </a:moveTo>
                <a:cubicBezTo>
                  <a:pt x="30" y="116"/>
                  <a:pt x="31" y="116"/>
                  <a:pt x="31" y="116"/>
                </a:cubicBezTo>
                <a:cubicBezTo>
                  <a:pt x="32" y="116"/>
                  <a:pt x="33" y="115"/>
                  <a:pt x="34" y="115"/>
                </a:cubicBezTo>
                <a:cubicBezTo>
                  <a:pt x="34" y="115"/>
                  <a:pt x="35" y="115"/>
                  <a:pt x="35" y="115"/>
                </a:cubicBezTo>
                <a:cubicBezTo>
                  <a:pt x="37" y="115"/>
                  <a:pt x="38" y="114"/>
                  <a:pt x="38" y="113"/>
                </a:cubicBezTo>
                <a:cubicBezTo>
                  <a:pt x="38" y="111"/>
                  <a:pt x="37" y="110"/>
                  <a:pt x="36" y="109"/>
                </a:cubicBezTo>
                <a:cubicBezTo>
                  <a:pt x="35" y="109"/>
                  <a:pt x="34" y="109"/>
                  <a:pt x="33" y="109"/>
                </a:cubicBezTo>
                <a:cubicBezTo>
                  <a:pt x="31" y="110"/>
                  <a:pt x="30" y="110"/>
                  <a:pt x="28" y="111"/>
                </a:cubicBezTo>
                <a:cubicBezTo>
                  <a:pt x="27" y="112"/>
                  <a:pt x="26" y="113"/>
                  <a:pt x="27" y="115"/>
                </a:cubicBezTo>
                <a:cubicBezTo>
                  <a:pt x="28" y="116"/>
                  <a:pt x="29" y="116"/>
                  <a:pt x="30" y="116"/>
                </a:cubicBezTo>
                <a:close/>
                <a:moveTo>
                  <a:pt x="29" y="139"/>
                </a:moveTo>
                <a:cubicBezTo>
                  <a:pt x="30" y="139"/>
                  <a:pt x="30" y="139"/>
                  <a:pt x="31" y="139"/>
                </a:cubicBezTo>
                <a:cubicBezTo>
                  <a:pt x="32" y="140"/>
                  <a:pt x="32" y="140"/>
                  <a:pt x="33" y="140"/>
                </a:cubicBezTo>
                <a:cubicBezTo>
                  <a:pt x="34" y="140"/>
                  <a:pt x="35" y="140"/>
                  <a:pt x="36" y="139"/>
                </a:cubicBezTo>
                <a:cubicBezTo>
                  <a:pt x="38" y="139"/>
                  <a:pt x="39" y="138"/>
                  <a:pt x="38" y="136"/>
                </a:cubicBezTo>
                <a:cubicBezTo>
                  <a:pt x="38" y="135"/>
                  <a:pt x="37" y="133"/>
                  <a:pt x="35" y="134"/>
                </a:cubicBezTo>
                <a:cubicBezTo>
                  <a:pt x="34" y="134"/>
                  <a:pt x="33" y="134"/>
                  <a:pt x="32" y="134"/>
                </a:cubicBezTo>
                <a:cubicBezTo>
                  <a:pt x="31" y="134"/>
                  <a:pt x="31" y="134"/>
                  <a:pt x="31" y="134"/>
                </a:cubicBezTo>
                <a:cubicBezTo>
                  <a:pt x="29" y="133"/>
                  <a:pt x="27" y="134"/>
                  <a:pt x="27" y="136"/>
                </a:cubicBezTo>
                <a:cubicBezTo>
                  <a:pt x="27" y="137"/>
                  <a:pt x="28" y="139"/>
                  <a:pt x="29" y="139"/>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9" name="Freeform 2155">
            <a:extLst>
              <a:ext uri="{FF2B5EF4-FFF2-40B4-BE49-F238E27FC236}">
                <a16:creationId xmlns:a16="http://schemas.microsoft.com/office/drawing/2014/main" id="{FEC5A992-3990-9747-BD1A-8E73B0107B25}"/>
              </a:ext>
            </a:extLst>
          </p:cNvPr>
          <p:cNvSpPr>
            <a:spLocks noEditPoints="1"/>
          </p:cNvSpPr>
          <p:nvPr/>
        </p:nvSpPr>
        <p:spPr bwMode="auto">
          <a:xfrm>
            <a:off x="8254996" y="4714875"/>
            <a:ext cx="546100" cy="508000"/>
          </a:xfrm>
          <a:custGeom>
            <a:avLst/>
            <a:gdLst>
              <a:gd name="T0" fmla="*/ 159 w 160"/>
              <a:gd name="T1" fmla="*/ 1 h 148"/>
              <a:gd name="T2" fmla="*/ 156 w 160"/>
              <a:gd name="T3" fmla="*/ 0 h 148"/>
              <a:gd name="T4" fmla="*/ 105 w 160"/>
              <a:gd name="T5" fmla="*/ 17 h 148"/>
              <a:gd name="T6" fmla="*/ 56 w 160"/>
              <a:gd name="T7" fmla="*/ 6 h 148"/>
              <a:gd name="T8" fmla="*/ 56 w 160"/>
              <a:gd name="T9" fmla="*/ 6 h 148"/>
              <a:gd name="T10" fmla="*/ 55 w 160"/>
              <a:gd name="T11" fmla="*/ 6 h 148"/>
              <a:gd name="T12" fmla="*/ 2 w 160"/>
              <a:gd name="T13" fmla="*/ 18 h 148"/>
              <a:gd name="T14" fmla="*/ 0 w 160"/>
              <a:gd name="T15" fmla="*/ 20 h 148"/>
              <a:gd name="T16" fmla="*/ 0 w 160"/>
              <a:gd name="T17" fmla="*/ 145 h 148"/>
              <a:gd name="T18" fmla="*/ 1 w 160"/>
              <a:gd name="T19" fmla="*/ 148 h 148"/>
              <a:gd name="T20" fmla="*/ 3 w 160"/>
              <a:gd name="T21" fmla="*/ 148 h 148"/>
              <a:gd name="T22" fmla="*/ 4 w 160"/>
              <a:gd name="T23" fmla="*/ 148 h 148"/>
              <a:gd name="T24" fmla="*/ 55 w 160"/>
              <a:gd name="T25" fmla="*/ 137 h 148"/>
              <a:gd name="T26" fmla="*/ 104 w 160"/>
              <a:gd name="T27" fmla="*/ 145 h 148"/>
              <a:gd name="T28" fmla="*/ 105 w 160"/>
              <a:gd name="T29" fmla="*/ 145 h 148"/>
              <a:gd name="T30" fmla="*/ 106 w 160"/>
              <a:gd name="T31" fmla="*/ 145 h 148"/>
              <a:gd name="T32" fmla="*/ 106 w 160"/>
              <a:gd name="T33" fmla="*/ 145 h 148"/>
              <a:gd name="T34" fmla="*/ 158 w 160"/>
              <a:gd name="T35" fmla="*/ 125 h 148"/>
              <a:gd name="T36" fmla="*/ 160 w 160"/>
              <a:gd name="T37" fmla="*/ 122 h 148"/>
              <a:gd name="T38" fmla="*/ 160 w 160"/>
              <a:gd name="T39" fmla="*/ 3 h 148"/>
              <a:gd name="T40" fmla="*/ 159 w 160"/>
              <a:gd name="T41" fmla="*/ 1 h 148"/>
              <a:gd name="T42" fmla="*/ 6 w 160"/>
              <a:gd name="T43" fmla="*/ 23 h 148"/>
              <a:gd name="T44" fmla="*/ 52 w 160"/>
              <a:gd name="T45" fmla="*/ 12 h 148"/>
              <a:gd name="T46" fmla="*/ 52 w 160"/>
              <a:gd name="T47" fmla="*/ 131 h 148"/>
              <a:gd name="T48" fmla="*/ 6 w 160"/>
              <a:gd name="T49" fmla="*/ 142 h 148"/>
              <a:gd name="T50" fmla="*/ 6 w 160"/>
              <a:gd name="T51" fmla="*/ 23 h 148"/>
              <a:gd name="T52" fmla="*/ 58 w 160"/>
              <a:gd name="T53" fmla="*/ 12 h 148"/>
              <a:gd name="T54" fmla="*/ 102 w 160"/>
              <a:gd name="T55" fmla="*/ 23 h 148"/>
              <a:gd name="T56" fmla="*/ 102 w 160"/>
              <a:gd name="T57" fmla="*/ 139 h 148"/>
              <a:gd name="T58" fmla="*/ 58 w 160"/>
              <a:gd name="T59" fmla="*/ 131 h 148"/>
              <a:gd name="T60" fmla="*/ 58 w 160"/>
              <a:gd name="T61" fmla="*/ 12 h 148"/>
              <a:gd name="T62" fmla="*/ 154 w 160"/>
              <a:gd name="T63" fmla="*/ 120 h 148"/>
              <a:gd name="T64" fmla="*/ 108 w 160"/>
              <a:gd name="T65" fmla="*/ 138 h 148"/>
              <a:gd name="T66" fmla="*/ 108 w 160"/>
              <a:gd name="T67" fmla="*/ 22 h 148"/>
              <a:gd name="T68" fmla="*/ 154 w 160"/>
              <a:gd name="T69" fmla="*/ 7 h 148"/>
              <a:gd name="T70" fmla="*/ 154 w 160"/>
              <a:gd name="T71" fmla="*/ 1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48">
                <a:moveTo>
                  <a:pt x="159" y="1"/>
                </a:moveTo>
                <a:cubicBezTo>
                  <a:pt x="158" y="0"/>
                  <a:pt x="157" y="0"/>
                  <a:pt x="156" y="0"/>
                </a:cubicBezTo>
                <a:cubicBezTo>
                  <a:pt x="105" y="17"/>
                  <a:pt x="105" y="17"/>
                  <a:pt x="105" y="17"/>
                </a:cubicBezTo>
                <a:cubicBezTo>
                  <a:pt x="56" y="6"/>
                  <a:pt x="56" y="6"/>
                  <a:pt x="56" y="6"/>
                </a:cubicBezTo>
                <a:cubicBezTo>
                  <a:pt x="56" y="6"/>
                  <a:pt x="56" y="6"/>
                  <a:pt x="56" y="6"/>
                </a:cubicBezTo>
                <a:cubicBezTo>
                  <a:pt x="55" y="6"/>
                  <a:pt x="55" y="6"/>
                  <a:pt x="55" y="6"/>
                </a:cubicBezTo>
                <a:cubicBezTo>
                  <a:pt x="2" y="18"/>
                  <a:pt x="2" y="18"/>
                  <a:pt x="2" y="18"/>
                </a:cubicBezTo>
                <a:cubicBezTo>
                  <a:pt x="1" y="18"/>
                  <a:pt x="0" y="19"/>
                  <a:pt x="0" y="20"/>
                </a:cubicBezTo>
                <a:cubicBezTo>
                  <a:pt x="0" y="145"/>
                  <a:pt x="0" y="145"/>
                  <a:pt x="0" y="145"/>
                </a:cubicBezTo>
                <a:cubicBezTo>
                  <a:pt x="0" y="146"/>
                  <a:pt x="0" y="147"/>
                  <a:pt x="1" y="148"/>
                </a:cubicBezTo>
                <a:cubicBezTo>
                  <a:pt x="2" y="148"/>
                  <a:pt x="2" y="148"/>
                  <a:pt x="3" y="148"/>
                </a:cubicBezTo>
                <a:cubicBezTo>
                  <a:pt x="3" y="148"/>
                  <a:pt x="3" y="148"/>
                  <a:pt x="4" y="148"/>
                </a:cubicBezTo>
                <a:cubicBezTo>
                  <a:pt x="55" y="137"/>
                  <a:pt x="55" y="137"/>
                  <a:pt x="55" y="137"/>
                </a:cubicBezTo>
                <a:cubicBezTo>
                  <a:pt x="104" y="145"/>
                  <a:pt x="104" y="145"/>
                  <a:pt x="104" y="145"/>
                </a:cubicBezTo>
                <a:cubicBezTo>
                  <a:pt x="104" y="145"/>
                  <a:pt x="105" y="145"/>
                  <a:pt x="105" y="145"/>
                </a:cubicBezTo>
                <a:cubicBezTo>
                  <a:pt x="105" y="145"/>
                  <a:pt x="105" y="145"/>
                  <a:pt x="106" y="145"/>
                </a:cubicBezTo>
                <a:cubicBezTo>
                  <a:pt x="106" y="145"/>
                  <a:pt x="106" y="145"/>
                  <a:pt x="106" y="145"/>
                </a:cubicBezTo>
                <a:cubicBezTo>
                  <a:pt x="158" y="125"/>
                  <a:pt x="158" y="125"/>
                  <a:pt x="158" y="125"/>
                </a:cubicBezTo>
                <a:cubicBezTo>
                  <a:pt x="159" y="124"/>
                  <a:pt x="160" y="123"/>
                  <a:pt x="160" y="122"/>
                </a:cubicBezTo>
                <a:cubicBezTo>
                  <a:pt x="160" y="3"/>
                  <a:pt x="160" y="3"/>
                  <a:pt x="160" y="3"/>
                </a:cubicBezTo>
                <a:cubicBezTo>
                  <a:pt x="160" y="2"/>
                  <a:pt x="160" y="1"/>
                  <a:pt x="159" y="1"/>
                </a:cubicBezTo>
                <a:close/>
                <a:moveTo>
                  <a:pt x="6" y="23"/>
                </a:moveTo>
                <a:cubicBezTo>
                  <a:pt x="52" y="12"/>
                  <a:pt x="52" y="12"/>
                  <a:pt x="52" y="12"/>
                </a:cubicBezTo>
                <a:cubicBezTo>
                  <a:pt x="52" y="131"/>
                  <a:pt x="52" y="131"/>
                  <a:pt x="52" y="131"/>
                </a:cubicBezTo>
                <a:cubicBezTo>
                  <a:pt x="6" y="142"/>
                  <a:pt x="6" y="142"/>
                  <a:pt x="6" y="142"/>
                </a:cubicBezTo>
                <a:lnTo>
                  <a:pt x="6" y="23"/>
                </a:lnTo>
                <a:close/>
                <a:moveTo>
                  <a:pt x="58" y="12"/>
                </a:moveTo>
                <a:cubicBezTo>
                  <a:pt x="102" y="23"/>
                  <a:pt x="102" y="23"/>
                  <a:pt x="102" y="23"/>
                </a:cubicBezTo>
                <a:cubicBezTo>
                  <a:pt x="102" y="139"/>
                  <a:pt x="102" y="139"/>
                  <a:pt x="102" y="139"/>
                </a:cubicBezTo>
                <a:cubicBezTo>
                  <a:pt x="58" y="131"/>
                  <a:pt x="58" y="131"/>
                  <a:pt x="58" y="131"/>
                </a:cubicBezTo>
                <a:lnTo>
                  <a:pt x="58" y="12"/>
                </a:lnTo>
                <a:close/>
                <a:moveTo>
                  <a:pt x="154" y="120"/>
                </a:moveTo>
                <a:cubicBezTo>
                  <a:pt x="108" y="138"/>
                  <a:pt x="108" y="138"/>
                  <a:pt x="108" y="138"/>
                </a:cubicBezTo>
                <a:cubicBezTo>
                  <a:pt x="108" y="22"/>
                  <a:pt x="108" y="22"/>
                  <a:pt x="108" y="22"/>
                </a:cubicBezTo>
                <a:cubicBezTo>
                  <a:pt x="154" y="7"/>
                  <a:pt x="154" y="7"/>
                  <a:pt x="154" y="7"/>
                </a:cubicBezTo>
                <a:lnTo>
                  <a:pt x="154" y="120"/>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2156">
            <a:extLst>
              <a:ext uri="{FF2B5EF4-FFF2-40B4-BE49-F238E27FC236}">
                <a16:creationId xmlns:a16="http://schemas.microsoft.com/office/drawing/2014/main" id="{9E77ADF5-300D-464A-AA2E-760C2700AE0D}"/>
              </a:ext>
            </a:extLst>
          </p:cNvPr>
          <p:cNvSpPr>
            <a:spLocks noEditPoints="1"/>
          </p:cNvSpPr>
          <p:nvPr/>
        </p:nvSpPr>
        <p:spPr bwMode="auto">
          <a:xfrm>
            <a:off x="8254996" y="5402263"/>
            <a:ext cx="546100" cy="368300"/>
          </a:xfrm>
          <a:custGeom>
            <a:avLst/>
            <a:gdLst>
              <a:gd name="T0" fmla="*/ 101 w 160"/>
              <a:gd name="T1" fmla="*/ 14 h 107"/>
              <a:gd name="T2" fmla="*/ 0 w 160"/>
              <a:gd name="T3" fmla="*/ 41 h 107"/>
              <a:gd name="T4" fmla="*/ 19 w 160"/>
              <a:gd name="T5" fmla="*/ 67 h 107"/>
              <a:gd name="T6" fmla="*/ 28 w 160"/>
              <a:gd name="T7" fmla="*/ 83 h 107"/>
              <a:gd name="T8" fmla="*/ 61 w 160"/>
              <a:gd name="T9" fmla="*/ 93 h 107"/>
              <a:gd name="T10" fmla="*/ 101 w 160"/>
              <a:gd name="T11" fmla="*/ 93 h 107"/>
              <a:gd name="T12" fmla="*/ 123 w 160"/>
              <a:gd name="T13" fmla="*/ 96 h 107"/>
              <a:gd name="T14" fmla="*/ 65 w 160"/>
              <a:gd name="T15" fmla="*/ 85 h 107"/>
              <a:gd name="T16" fmla="*/ 27 w 160"/>
              <a:gd name="T17" fmla="*/ 73 h 107"/>
              <a:gd name="T18" fmla="*/ 65 w 160"/>
              <a:gd name="T19" fmla="*/ 85 h 107"/>
              <a:gd name="T20" fmla="*/ 5 w 160"/>
              <a:gd name="T21" fmla="*/ 65 h 107"/>
              <a:gd name="T22" fmla="*/ 13 w 160"/>
              <a:gd name="T23" fmla="*/ 41 h 107"/>
              <a:gd name="T24" fmla="*/ 19 w 160"/>
              <a:gd name="T25" fmla="*/ 61 h 107"/>
              <a:gd name="T26" fmla="*/ 101 w 160"/>
              <a:gd name="T27" fmla="*/ 87 h 107"/>
              <a:gd name="T28" fmla="*/ 112 w 160"/>
              <a:gd name="T29" fmla="*/ 101 h 107"/>
              <a:gd name="T30" fmla="*/ 107 w 160"/>
              <a:gd name="T31" fmla="*/ 12 h 107"/>
              <a:gd name="T32" fmla="*/ 117 w 160"/>
              <a:gd name="T33" fmla="*/ 11 h 107"/>
              <a:gd name="T34" fmla="*/ 147 w 160"/>
              <a:gd name="T35" fmla="*/ 56 h 107"/>
              <a:gd name="T36" fmla="*/ 144 w 160"/>
              <a:gd name="T37" fmla="*/ 51 h 107"/>
              <a:gd name="T38" fmla="*/ 131 w 160"/>
              <a:gd name="T39" fmla="*/ 53 h 107"/>
              <a:gd name="T40" fmla="*/ 139 w 160"/>
              <a:gd name="T41" fmla="*/ 53 h 107"/>
              <a:gd name="T42" fmla="*/ 131 w 160"/>
              <a:gd name="T43" fmla="*/ 53 h 107"/>
              <a:gd name="T44" fmla="*/ 155 w 160"/>
              <a:gd name="T45" fmla="*/ 56 h 107"/>
              <a:gd name="T46" fmla="*/ 157 w 160"/>
              <a:gd name="T47" fmla="*/ 51 h 107"/>
              <a:gd name="T48" fmla="*/ 139 w 160"/>
              <a:gd name="T49" fmla="*/ 13 h 107"/>
              <a:gd name="T50" fmla="*/ 145 w 160"/>
              <a:gd name="T51" fmla="*/ 15 h 107"/>
              <a:gd name="T52" fmla="*/ 139 w 160"/>
              <a:gd name="T53" fmla="*/ 17 h 107"/>
              <a:gd name="T54" fmla="*/ 148 w 160"/>
              <a:gd name="T55" fmla="*/ 3 h 107"/>
              <a:gd name="T56" fmla="*/ 150 w 160"/>
              <a:gd name="T57" fmla="*/ 9 h 107"/>
              <a:gd name="T58" fmla="*/ 131 w 160"/>
              <a:gd name="T59" fmla="*/ 24 h 107"/>
              <a:gd name="T60" fmla="*/ 137 w 160"/>
              <a:gd name="T61" fmla="*/ 19 h 107"/>
              <a:gd name="T62" fmla="*/ 133 w 160"/>
              <a:gd name="T63" fmla="*/ 25 h 107"/>
              <a:gd name="T64" fmla="*/ 137 w 160"/>
              <a:gd name="T65" fmla="*/ 40 h 107"/>
              <a:gd name="T66" fmla="*/ 131 w 160"/>
              <a:gd name="T67" fmla="*/ 39 h 107"/>
              <a:gd name="T68" fmla="*/ 138 w 160"/>
              <a:gd name="T69" fmla="*/ 37 h 107"/>
              <a:gd name="T70" fmla="*/ 145 w 160"/>
              <a:gd name="T71" fmla="*/ 32 h 107"/>
              <a:gd name="T72" fmla="*/ 144 w 160"/>
              <a:gd name="T73" fmla="*/ 37 h 107"/>
              <a:gd name="T74" fmla="*/ 153 w 160"/>
              <a:gd name="T75" fmla="*/ 29 h 107"/>
              <a:gd name="T76" fmla="*/ 157 w 160"/>
              <a:gd name="T77" fmla="*/ 33 h 107"/>
              <a:gd name="T78" fmla="*/ 151 w 160"/>
              <a:gd name="T79" fmla="*/ 32 h 107"/>
              <a:gd name="T80" fmla="*/ 152 w 160"/>
              <a:gd name="T81" fmla="*/ 103 h 107"/>
              <a:gd name="T82" fmla="*/ 147 w 160"/>
              <a:gd name="T83" fmla="*/ 101 h 107"/>
              <a:gd name="T84" fmla="*/ 152 w 160"/>
              <a:gd name="T85" fmla="*/ 99 h 107"/>
              <a:gd name="T86" fmla="*/ 143 w 160"/>
              <a:gd name="T87" fmla="*/ 96 h 107"/>
              <a:gd name="T88" fmla="*/ 139 w 160"/>
              <a:gd name="T89" fmla="*/ 90 h 107"/>
              <a:gd name="T90" fmla="*/ 137 w 160"/>
              <a:gd name="T91" fmla="*/ 84 h 107"/>
              <a:gd name="T92" fmla="*/ 133 w 160"/>
              <a:gd name="T93" fmla="*/ 88 h 107"/>
              <a:gd name="T94" fmla="*/ 135 w 160"/>
              <a:gd name="T95" fmla="*/ 82 h 107"/>
              <a:gd name="T96" fmla="*/ 144 w 160"/>
              <a:gd name="T97" fmla="*/ 69 h 107"/>
              <a:gd name="T98" fmla="*/ 146 w 160"/>
              <a:gd name="T99" fmla="*/ 75 h 107"/>
              <a:gd name="T100" fmla="*/ 141 w 160"/>
              <a:gd name="T101" fmla="*/ 71 h 107"/>
              <a:gd name="T102" fmla="*/ 135 w 160"/>
              <a:gd name="T103" fmla="*/ 72 h 107"/>
              <a:gd name="T104" fmla="*/ 134 w 160"/>
              <a:gd name="T105" fmla="*/ 66 h 107"/>
              <a:gd name="T106" fmla="*/ 159 w 160"/>
              <a:gd name="T107" fmla="*/ 77 h 107"/>
              <a:gd name="T108" fmla="*/ 153 w 160"/>
              <a:gd name="T109" fmla="*/ 78 h 107"/>
              <a:gd name="T110" fmla="*/ 157 w 160"/>
              <a:gd name="T111" fmla="*/ 7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07">
                <a:moveTo>
                  <a:pt x="112" y="0"/>
                </a:moveTo>
                <a:cubicBezTo>
                  <a:pt x="106" y="0"/>
                  <a:pt x="101" y="5"/>
                  <a:pt x="101" y="11"/>
                </a:cubicBezTo>
                <a:cubicBezTo>
                  <a:pt x="101" y="14"/>
                  <a:pt x="101" y="14"/>
                  <a:pt x="101" y="14"/>
                </a:cubicBezTo>
                <a:cubicBezTo>
                  <a:pt x="19" y="40"/>
                  <a:pt x="19" y="40"/>
                  <a:pt x="19" y="40"/>
                </a:cubicBezTo>
                <a:cubicBezTo>
                  <a:pt x="18" y="36"/>
                  <a:pt x="14" y="32"/>
                  <a:pt x="9" y="32"/>
                </a:cubicBezTo>
                <a:cubicBezTo>
                  <a:pt x="4" y="32"/>
                  <a:pt x="0" y="36"/>
                  <a:pt x="0" y="41"/>
                </a:cubicBezTo>
                <a:cubicBezTo>
                  <a:pt x="0" y="65"/>
                  <a:pt x="0" y="65"/>
                  <a:pt x="0" y="65"/>
                </a:cubicBezTo>
                <a:cubicBezTo>
                  <a:pt x="0" y="70"/>
                  <a:pt x="4" y="75"/>
                  <a:pt x="9" y="75"/>
                </a:cubicBezTo>
                <a:cubicBezTo>
                  <a:pt x="14" y="75"/>
                  <a:pt x="18" y="71"/>
                  <a:pt x="19" y="67"/>
                </a:cubicBezTo>
                <a:cubicBezTo>
                  <a:pt x="24" y="68"/>
                  <a:pt x="24" y="68"/>
                  <a:pt x="24" y="68"/>
                </a:cubicBezTo>
                <a:cubicBezTo>
                  <a:pt x="23" y="69"/>
                  <a:pt x="23" y="70"/>
                  <a:pt x="22" y="72"/>
                </a:cubicBezTo>
                <a:cubicBezTo>
                  <a:pt x="21" y="76"/>
                  <a:pt x="23" y="81"/>
                  <a:pt x="28" y="83"/>
                </a:cubicBezTo>
                <a:cubicBezTo>
                  <a:pt x="59" y="93"/>
                  <a:pt x="59" y="93"/>
                  <a:pt x="59" y="93"/>
                </a:cubicBezTo>
                <a:cubicBezTo>
                  <a:pt x="59" y="93"/>
                  <a:pt x="59" y="93"/>
                  <a:pt x="59" y="93"/>
                </a:cubicBezTo>
                <a:cubicBezTo>
                  <a:pt x="60" y="93"/>
                  <a:pt x="60" y="93"/>
                  <a:pt x="61" y="93"/>
                </a:cubicBezTo>
                <a:cubicBezTo>
                  <a:pt x="65" y="93"/>
                  <a:pt x="69" y="91"/>
                  <a:pt x="70" y="87"/>
                </a:cubicBezTo>
                <a:cubicBezTo>
                  <a:pt x="70" y="86"/>
                  <a:pt x="71" y="84"/>
                  <a:pt x="70" y="83"/>
                </a:cubicBezTo>
                <a:cubicBezTo>
                  <a:pt x="101" y="93"/>
                  <a:pt x="101" y="93"/>
                  <a:pt x="101" y="93"/>
                </a:cubicBezTo>
                <a:cubicBezTo>
                  <a:pt x="101" y="96"/>
                  <a:pt x="101" y="96"/>
                  <a:pt x="101" y="96"/>
                </a:cubicBezTo>
                <a:cubicBezTo>
                  <a:pt x="101" y="102"/>
                  <a:pt x="106" y="107"/>
                  <a:pt x="112" y="107"/>
                </a:cubicBezTo>
                <a:cubicBezTo>
                  <a:pt x="118" y="107"/>
                  <a:pt x="123" y="102"/>
                  <a:pt x="123" y="96"/>
                </a:cubicBezTo>
                <a:cubicBezTo>
                  <a:pt x="123" y="11"/>
                  <a:pt x="123" y="11"/>
                  <a:pt x="123" y="11"/>
                </a:cubicBezTo>
                <a:cubicBezTo>
                  <a:pt x="123" y="5"/>
                  <a:pt x="118" y="0"/>
                  <a:pt x="112" y="0"/>
                </a:cubicBezTo>
                <a:close/>
                <a:moveTo>
                  <a:pt x="65" y="85"/>
                </a:moveTo>
                <a:cubicBezTo>
                  <a:pt x="64" y="87"/>
                  <a:pt x="62" y="88"/>
                  <a:pt x="60" y="88"/>
                </a:cubicBezTo>
                <a:cubicBezTo>
                  <a:pt x="30" y="78"/>
                  <a:pt x="30" y="78"/>
                  <a:pt x="30" y="78"/>
                </a:cubicBezTo>
                <a:cubicBezTo>
                  <a:pt x="28" y="77"/>
                  <a:pt x="27" y="75"/>
                  <a:pt x="27" y="73"/>
                </a:cubicBezTo>
                <a:cubicBezTo>
                  <a:pt x="28" y="71"/>
                  <a:pt x="30" y="70"/>
                  <a:pt x="32" y="71"/>
                </a:cubicBezTo>
                <a:cubicBezTo>
                  <a:pt x="63" y="81"/>
                  <a:pt x="63" y="81"/>
                  <a:pt x="63" y="81"/>
                </a:cubicBezTo>
                <a:cubicBezTo>
                  <a:pt x="64" y="81"/>
                  <a:pt x="66" y="83"/>
                  <a:pt x="65" y="85"/>
                </a:cubicBezTo>
                <a:close/>
                <a:moveTo>
                  <a:pt x="13" y="65"/>
                </a:moveTo>
                <a:cubicBezTo>
                  <a:pt x="13" y="68"/>
                  <a:pt x="12" y="69"/>
                  <a:pt x="9" y="69"/>
                </a:cubicBezTo>
                <a:cubicBezTo>
                  <a:pt x="7" y="69"/>
                  <a:pt x="5" y="68"/>
                  <a:pt x="5" y="65"/>
                </a:cubicBezTo>
                <a:cubicBezTo>
                  <a:pt x="5" y="41"/>
                  <a:pt x="5" y="41"/>
                  <a:pt x="5" y="41"/>
                </a:cubicBezTo>
                <a:cubicBezTo>
                  <a:pt x="5" y="39"/>
                  <a:pt x="7" y="37"/>
                  <a:pt x="9" y="37"/>
                </a:cubicBezTo>
                <a:cubicBezTo>
                  <a:pt x="12" y="37"/>
                  <a:pt x="13" y="39"/>
                  <a:pt x="13" y="41"/>
                </a:cubicBezTo>
                <a:cubicBezTo>
                  <a:pt x="13" y="42"/>
                  <a:pt x="13" y="42"/>
                  <a:pt x="13" y="42"/>
                </a:cubicBezTo>
                <a:cubicBezTo>
                  <a:pt x="13" y="65"/>
                  <a:pt x="13" y="65"/>
                  <a:pt x="13" y="65"/>
                </a:cubicBezTo>
                <a:close/>
                <a:moveTo>
                  <a:pt x="19" y="61"/>
                </a:moveTo>
                <a:cubicBezTo>
                  <a:pt x="19" y="46"/>
                  <a:pt x="19" y="46"/>
                  <a:pt x="19" y="46"/>
                </a:cubicBezTo>
                <a:cubicBezTo>
                  <a:pt x="101" y="20"/>
                  <a:pt x="101" y="20"/>
                  <a:pt x="101" y="20"/>
                </a:cubicBezTo>
                <a:cubicBezTo>
                  <a:pt x="101" y="87"/>
                  <a:pt x="101" y="87"/>
                  <a:pt x="101" y="87"/>
                </a:cubicBezTo>
                <a:lnTo>
                  <a:pt x="19" y="61"/>
                </a:lnTo>
                <a:close/>
                <a:moveTo>
                  <a:pt x="117" y="96"/>
                </a:moveTo>
                <a:cubicBezTo>
                  <a:pt x="117" y="99"/>
                  <a:pt x="115" y="101"/>
                  <a:pt x="112" y="101"/>
                </a:cubicBezTo>
                <a:cubicBezTo>
                  <a:pt x="109" y="101"/>
                  <a:pt x="107" y="99"/>
                  <a:pt x="107" y="96"/>
                </a:cubicBezTo>
                <a:cubicBezTo>
                  <a:pt x="107" y="94"/>
                  <a:pt x="107" y="94"/>
                  <a:pt x="107" y="94"/>
                </a:cubicBezTo>
                <a:cubicBezTo>
                  <a:pt x="107" y="12"/>
                  <a:pt x="107" y="12"/>
                  <a:pt x="107" y="12"/>
                </a:cubicBezTo>
                <a:cubicBezTo>
                  <a:pt x="107" y="11"/>
                  <a:pt x="107" y="11"/>
                  <a:pt x="107" y="11"/>
                </a:cubicBezTo>
                <a:cubicBezTo>
                  <a:pt x="107" y="8"/>
                  <a:pt x="109" y="5"/>
                  <a:pt x="112" y="5"/>
                </a:cubicBezTo>
                <a:cubicBezTo>
                  <a:pt x="115" y="5"/>
                  <a:pt x="117" y="8"/>
                  <a:pt x="117" y="11"/>
                </a:cubicBezTo>
                <a:lnTo>
                  <a:pt x="117" y="96"/>
                </a:lnTo>
                <a:close/>
                <a:moveTo>
                  <a:pt x="149" y="53"/>
                </a:moveTo>
                <a:cubicBezTo>
                  <a:pt x="149" y="55"/>
                  <a:pt x="148" y="56"/>
                  <a:pt x="147" y="56"/>
                </a:cubicBezTo>
                <a:cubicBezTo>
                  <a:pt x="144" y="56"/>
                  <a:pt x="144" y="56"/>
                  <a:pt x="144" y="56"/>
                </a:cubicBezTo>
                <a:cubicBezTo>
                  <a:pt x="143" y="56"/>
                  <a:pt x="141" y="55"/>
                  <a:pt x="141" y="53"/>
                </a:cubicBezTo>
                <a:cubicBezTo>
                  <a:pt x="141" y="52"/>
                  <a:pt x="143" y="51"/>
                  <a:pt x="144" y="51"/>
                </a:cubicBezTo>
                <a:cubicBezTo>
                  <a:pt x="147" y="51"/>
                  <a:pt x="147" y="51"/>
                  <a:pt x="147" y="51"/>
                </a:cubicBezTo>
                <a:cubicBezTo>
                  <a:pt x="148" y="51"/>
                  <a:pt x="149" y="52"/>
                  <a:pt x="149" y="53"/>
                </a:cubicBezTo>
                <a:close/>
                <a:moveTo>
                  <a:pt x="131" y="53"/>
                </a:moveTo>
                <a:cubicBezTo>
                  <a:pt x="131" y="52"/>
                  <a:pt x="132" y="51"/>
                  <a:pt x="133" y="51"/>
                </a:cubicBezTo>
                <a:cubicBezTo>
                  <a:pt x="136" y="51"/>
                  <a:pt x="136" y="51"/>
                  <a:pt x="136" y="51"/>
                </a:cubicBezTo>
                <a:cubicBezTo>
                  <a:pt x="137" y="51"/>
                  <a:pt x="139" y="52"/>
                  <a:pt x="139" y="53"/>
                </a:cubicBezTo>
                <a:cubicBezTo>
                  <a:pt x="139" y="55"/>
                  <a:pt x="137" y="56"/>
                  <a:pt x="136" y="56"/>
                </a:cubicBezTo>
                <a:cubicBezTo>
                  <a:pt x="133" y="56"/>
                  <a:pt x="133" y="56"/>
                  <a:pt x="133" y="56"/>
                </a:cubicBezTo>
                <a:cubicBezTo>
                  <a:pt x="132" y="56"/>
                  <a:pt x="131" y="55"/>
                  <a:pt x="131" y="53"/>
                </a:cubicBezTo>
                <a:close/>
                <a:moveTo>
                  <a:pt x="160" y="53"/>
                </a:moveTo>
                <a:cubicBezTo>
                  <a:pt x="160" y="55"/>
                  <a:pt x="159" y="56"/>
                  <a:pt x="157" y="56"/>
                </a:cubicBezTo>
                <a:cubicBezTo>
                  <a:pt x="155" y="56"/>
                  <a:pt x="155" y="56"/>
                  <a:pt x="155" y="56"/>
                </a:cubicBezTo>
                <a:cubicBezTo>
                  <a:pt x="153" y="56"/>
                  <a:pt x="152" y="55"/>
                  <a:pt x="152" y="53"/>
                </a:cubicBezTo>
                <a:cubicBezTo>
                  <a:pt x="152" y="52"/>
                  <a:pt x="153" y="51"/>
                  <a:pt x="155" y="51"/>
                </a:cubicBezTo>
                <a:cubicBezTo>
                  <a:pt x="157" y="51"/>
                  <a:pt x="157" y="51"/>
                  <a:pt x="157" y="51"/>
                </a:cubicBezTo>
                <a:cubicBezTo>
                  <a:pt x="159" y="51"/>
                  <a:pt x="160" y="52"/>
                  <a:pt x="160" y="53"/>
                </a:cubicBezTo>
                <a:close/>
                <a:moveTo>
                  <a:pt x="139" y="17"/>
                </a:moveTo>
                <a:cubicBezTo>
                  <a:pt x="138" y="16"/>
                  <a:pt x="138" y="14"/>
                  <a:pt x="139" y="13"/>
                </a:cubicBezTo>
                <a:cubicBezTo>
                  <a:pt x="141" y="11"/>
                  <a:pt x="141" y="11"/>
                  <a:pt x="141" y="11"/>
                </a:cubicBezTo>
                <a:cubicBezTo>
                  <a:pt x="142" y="10"/>
                  <a:pt x="144" y="10"/>
                  <a:pt x="145" y="11"/>
                </a:cubicBezTo>
                <a:cubicBezTo>
                  <a:pt x="146" y="12"/>
                  <a:pt x="146" y="14"/>
                  <a:pt x="145" y="15"/>
                </a:cubicBezTo>
                <a:cubicBezTo>
                  <a:pt x="143" y="17"/>
                  <a:pt x="143" y="17"/>
                  <a:pt x="143" y="17"/>
                </a:cubicBezTo>
                <a:cubicBezTo>
                  <a:pt x="142" y="17"/>
                  <a:pt x="142" y="17"/>
                  <a:pt x="141" y="17"/>
                </a:cubicBezTo>
                <a:cubicBezTo>
                  <a:pt x="140" y="17"/>
                  <a:pt x="140" y="17"/>
                  <a:pt x="139" y="17"/>
                </a:cubicBezTo>
                <a:close/>
                <a:moveTo>
                  <a:pt x="147" y="9"/>
                </a:moveTo>
                <a:cubicBezTo>
                  <a:pt x="145" y="8"/>
                  <a:pt x="145" y="6"/>
                  <a:pt x="147" y="5"/>
                </a:cubicBezTo>
                <a:cubicBezTo>
                  <a:pt x="148" y="3"/>
                  <a:pt x="148" y="3"/>
                  <a:pt x="148" y="3"/>
                </a:cubicBezTo>
                <a:cubicBezTo>
                  <a:pt x="149" y="2"/>
                  <a:pt x="151" y="2"/>
                  <a:pt x="152" y="3"/>
                </a:cubicBezTo>
                <a:cubicBezTo>
                  <a:pt x="153" y="4"/>
                  <a:pt x="153" y="6"/>
                  <a:pt x="152" y="7"/>
                </a:cubicBezTo>
                <a:cubicBezTo>
                  <a:pt x="150" y="9"/>
                  <a:pt x="150" y="9"/>
                  <a:pt x="150" y="9"/>
                </a:cubicBezTo>
                <a:cubicBezTo>
                  <a:pt x="150" y="10"/>
                  <a:pt x="149" y="10"/>
                  <a:pt x="148" y="10"/>
                </a:cubicBezTo>
                <a:cubicBezTo>
                  <a:pt x="148" y="10"/>
                  <a:pt x="147" y="10"/>
                  <a:pt x="147" y="9"/>
                </a:cubicBezTo>
                <a:close/>
                <a:moveTo>
                  <a:pt x="131" y="24"/>
                </a:moveTo>
                <a:cubicBezTo>
                  <a:pt x="130" y="23"/>
                  <a:pt x="130" y="21"/>
                  <a:pt x="131" y="20"/>
                </a:cubicBezTo>
                <a:cubicBezTo>
                  <a:pt x="133" y="19"/>
                  <a:pt x="133" y="19"/>
                  <a:pt x="133" y="19"/>
                </a:cubicBezTo>
                <a:cubicBezTo>
                  <a:pt x="134" y="17"/>
                  <a:pt x="136" y="17"/>
                  <a:pt x="137" y="19"/>
                </a:cubicBezTo>
                <a:cubicBezTo>
                  <a:pt x="138" y="20"/>
                  <a:pt x="138" y="21"/>
                  <a:pt x="137" y="22"/>
                </a:cubicBezTo>
                <a:cubicBezTo>
                  <a:pt x="135" y="24"/>
                  <a:pt x="135" y="24"/>
                  <a:pt x="135" y="24"/>
                </a:cubicBezTo>
                <a:cubicBezTo>
                  <a:pt x="135" y="25"/>
                  <a:pt x="134" y="25"/>
                  <a:pt x="133" y="25"/>
                </a:cubicBezTo>
                <a:cubicBezTo>
                  <a:pt x="133" y="25"/>
                  <a:pt x="132" y="25"/>
                  <a:pt x="131" y="24"/>
                </a:cubicBezTo>
                <a:close/>
                <a:moveTo>
                  <a:pt x="138" y="37"/>
                </a:moveTo>
                <a:cubicBezTo>
                  <a:pt x="139" y="38"/>
                  <a:pt x="138" y="40"/>
                  <a:pt x="137" y="40"/>
                </a:cubicBezTo>
                <a:cubicBezTo>
                  <a:pt x="134" y="41"/>
                  <a:pt x="134" y="41"/>
                  <a:pt x="134" y="41"/>
                </a:cubicBezTo>
                <a:cubicBezTo>
                  <a:pt x="134" y="41"/>
                  <a:pt x="134" y="41"/>
                  <a:pt x="133" y="41"/>
                </a:cubicBezTo>
                <a:cubicBezTo>
                  <a:pt x="132" y="41"/>
                  <a:pt x="131" y="40"/>
                  <a:pt x="131" y="39"/>
                </a:cubicBezTo>
                <a:cubicBezTo>
                  <a:pt x="130" y="38"/>
                  <a:pt x="131" y="36"/>
                  <a:pt x="132" y="36"/>
                </a:cubicBezTo>
                <a:cubicBezTo>
                  <a:pt x="135" y="35"/>
                  <a:pt x="135" y="35"/>
                  <a:pt x="135" y="35"/>
                </a:cubicBezTo>
                <a:cubicBezTo>
                  <a:pt x="136" y="34"/>
                  <a:pt x="138" y="35"/>
                  <a:pt x="138" y="37"/>
                </a:cubicBezTo>
                <a:close/>
                <a:moveTo>
                  <a:pt x="141" y="36"/>
                </a:moveTo>
                <a:cubicBezTo>
                  <a:pt x="140" y="34"/>
                  <a:pt x="141" y="33"/>
                  <a:pt x="143" y="32"/>
                </a:cubicBezTo>
                <a:cubicBezTo>
                  <a:pt x="145" y="32"/>
                  <a:pt x="145" y="32"/>
                  <a:pt x="145" y="32"/>
                </a:cubicBezTo>
                <a:cubicBezTo>
                  <a:pt x="147" y="31"/>
                  <a:pt x="148" y="32"/>
                  <a:pt x="149" y="33"/>
                </a:cubicBezTo>
                <a:cubicBezTo>
                  <a:pt x="149" y="35"/>
                  <a:pt x="148" y="36"/>
                  <a:pt x="147" y="37"/>
                </a:cubicBezTo>
                <a:cubicBezTo>
                  <a:pt x="144" y="37"/>
                  <a:pt x="144" y="37"/>
                  <a:pt x="144" y="37"/>
                </a:cubicBezTo>
                <a:cubicBezTo>
                  <a:pt x="144" y="38"/>
                  <a:pt x="144" y="38"/>
                  <a:pt x="143" y="38"/>
                </a:cubicBezTo>
                <a:cubicBezTo>
                  <a:pt x="142" y="38"/>
                  <a:pt x="141" y="37"/>
                  <a:pt x="141" y="36"/>
                </a:cubicBezTo>
                <a:close/>
                <a:moveTo>
                  <a:pt x="153" y="29"/>
                </a:moveTo>
                <a:cubicBezTo>
                  <a:pt x="155" y="28"/>
                  <a:pt x="155" y="28"/>
                  <a:pt x="155" y="28"/>
                </a:cubicBezTo>
                <a:cubicBezTo>
                  <a:pt x="157" y="28"/>
                  <a:pt x="158" y="28"/>
                  <a:pt x="159" y="30"/>
                </a:cubicBezTo>
                <a:cubicBezTo>
                  <a:pt x="159" y="31"/>
                  <a:pt x="158" y="33"/>
                  <a:pt x="157" y="33"/>
                </a:cubicBezTo>
                <a:cubicBezTo>
                  <a:pt x="154" y="34"/>
                  <a:pt x="154" y="34"/>
                  <a:pt x="154" y="34"/>
                </a:cubicBezTo>
                <a:cubicBezTo>
                  <a:pt x="154" y="34"/>
                  <a:pt x="154" y="34"/>
                  <a:pt x="154" y="34"/>
                </a:cubicBezTo>
                <a:cubicBezTo>
                  <a:pt x="152" y="34"/>
                  <a:pt x="151" y="34"/>
                  <a:pt x="151" y="32"/>
                </a:cubicBezTo>
                <a:cubicBezTo>
                  <a:pt x="151" y="31"/>
                  <a:pt x="151" y="29"/>
                  <a:pt x="153" y="29"/>
                </a:cubicBezTo>
                <a:close/>
                <a:moveTo>
                  <a:pt x="152" y="99"/>
                </a:moveTo>
                <a:cubicBezTo>
                  <a:pt x="153" y="100"/>
                  <a:pt x="153" y="102"/>
                  <a:pt x="152" y="103"/>
                </a:cubicBezTo>
                <a:cubicBezTo>
                  <a:pt x="152" y="104"/>
                  <a:pt x="151" y="104"/>
                  <a:pt x="150" y="104"/>
                </a:cubicBezTo>
                <a:cubicBezTo>
                  <a:pt x="150" y="104"/>
                  <a:pt x="149" y="104"/>
                  <a:pt x="148" y="103"/>
                </a:cubicBezTo>
                <a:cubicBezTo>
                  <a:pt x="147" y="101"/>
                  <a:pt x="147" y="101"/>
                  <a:pt x="147" y="101"/>
                </a:cubicBezTo>
                <a:cubicBezTo>
                  <a:pt x="145" y="100"/>
                  <a:pt x="145" y="99"/>
                  <a:pt x="147" y="98"/>
                </a:cubicBezTo>
                <a:cubicBezTo>
                  <a:pt x="148" y="97"/>
                  <a:pt x="149" y="97"/>
                  <a:pt x="150" y="98"/>
                </a:cubicBezTo>
                <a:lnTo>
                  <a:pt x="152" y="99"/>
                </a:lnTo>
                <a:close/>
                <a:moveTo>
                  <a:pt x="145" y="92"/>
                </a:moveTo>
                <a:cubicBezTo>
                  <a:pt x="146" y="93"/>
                  <a:pt x="146" y="95"/>
                  <a:pt x="145" y="96"/>
                </a:cubicBezTo>
                <a:cubicBezTo>
                  <a:pt x="144" y="96"/>
                  <a:pt x="143" y="96"/>
                  <a:pt x="143" y="96"/>
                </a:cubicBezTo>
                <a:cubicBezTo>
                  <a:pt x="142" y="96"/>
                  <a:pt x="141" y="96"/>
                  <a:pt x="141" y="96"/>
                </a:cubicBezTo>
                <a:cubicBezTo>
                  <a:pt x="139" y="94"/>
                  <a:pt x="139" y="94"/>
                  <a:pt x="139" y="94"/>
                </a:cubicBezTo>
                <a:cubicBezTo>
                  <a:pt x="138" y="93"/>
                  <a:pt x="138" y="91"/>
                  <a:pt x="139" y="90"/>
                </a:cubicBezTo>
                <a:cubicBezTo>
                  <a:pt x="140" y="89"/>
                  <a:pt x="142" y="89"/>
                  <a:pt x="143" y="90"/>
                </a:cubicBezTo>
                <a:lnTo>
                  <a:pt x="145" y="92"/>
                </a:lnTo>
                <a:close/>
                <a:moveTo>
                  <a:pt x="137" y="84"/>
                </a:moveTo>
                <a:cubicBezTo>
                  <a:pt x="138" y="85"/>
                  <a:pt x="138" y="87"/>
                  <a:pt x="137" y="88"/>
                </a:cubicBezTo>
                <a:cubicBezTo>
                  <a:pt x="137" y="89"/>
                  <a:pt x="136" y="89"/>
                  <a:pt x="135" y="89"/>
                </a:cubicBezTo>
                <a:cubicBezTo>
                  <a:pt x="135" y="89"/>
                  <a:pt x="134" y="89"/>
                  <a:pt x="133" y="88"/>
                </a:cubicBezTo>
                <a:cubicBezTo>
                  <a:pt x="131" y="86"/>
                  <a:pt x="131" y="86"/>
                  <a:pt x="131" y="86"/>
                </a:cubicBezTo>
                <a:cubicBezTo>
                  <a:pt x="130" y="85"/>
                  <a:pt x="130" y="84"/>
                  <a:pt x="131" y="82"/>
                </a:cubicBezTo>
                <a:cubicBezTo>
                  <a:pt x="132" y="81"/>
                  <a:pt x="134" y="81"/>
                  <a:pt x="135" y="82"/>
                </a:cubicBezTo>
                <a:lnTo>
                  <a:pt x="137" y="84"/>
                </a:lnTo>
                <a:close/>
                <a:moveTo>
                  <a:pt x="141" y="71"/>
                </a:moveTo>
                <a:cubicBezTo>
                  <a:pt x="141" y="69"/>
                  <a:pt x="143" y="69"/>
                  <a:pt x="144" y="69"/>
                </a:cubicBezTo>
                <a:cubicBezTo>
                  <a:pt x="147" y="70"/>
                  <a:pt x="147" y="70"/>
                  <a:pt x="147" y="70"/>
                </a:cubicBezTo>
                <a:cubicBezTo>
                  <a:pt x="148" y="71"/>
                  <a:pt x="149" y="72"/>
                  <a:pt x="149" y="73"/>
                </a:cubicBezTo>
                <a:cubicBezTo>
                  <a:pt x="148" y="75"/>
                  <a:pt x="147" y="75"/>
                  <a:pt x="146" y="75"/>
                </a:cubicBezTo>
                <a:cubicBezTo>
                  <a:pt x="146" y="75"/>
                  <a:pt x="145" y="75"/>
                  <a:pt x="145" y="75"/>
                </a:cubicBezTo>
                <a:cubicBezTo>
                  <a:pt x="143" y="74"/>
                  <a:pt x="143" y="74"/>
                  <a:pt x="143" y="74"/>
                </a:cubicBezTo>
                <a:cubicBezTo>
                  <a:pt x="141" y="74"/>
                  <a:pt x="140" y="72"/>
                  <a:pt x="141" y="71"/>
                </a:cubicBezTo>
                <a:close/>
                <a:moveTo>
                  <a:pt x="138" y="70"/>
                </a:moveTo>
                <a:cubicBezTo>
                  <a:pt x="138" y="71"/>
                  <a:pt x="137" y="72"/>
                  <a:pt x="136" y="72"/>
                </a:cubicBezTo>
                <a:cubicBezTo>
                  <a:pt x="136" y="72"/>
                  <a:pt x="135" y="72"/>
                  <a:pt x="135" y="72"/>
                </a:cubicBezTo>
                <a:cubicBezTo>
                  <a:pt x="132" y="71"/>
                  <a:pt x="132" y="71"/>
                  <a:pt x="132" y="71"/>
                </a:cubicBezTo>
                <a:cubicBezTo>
                  <a:pt x="131" y="70"/>
                  <a:pt x="130" y="69"/>
                  <a:pt x="131" y="68"/>
                </a:cubicBezTo>
                <a:cubicBezTo>
                  <a:pt x="131" y="66"/>
                  <a:pt x="133" y="65"/>
                  <a:pt x="134" y="66"/>
                </a:cubicBezTo>
                <a:cubicBezTo>
                  <a:pt x="137" y="67"/>
                  <a:pt x="137" y="67"/>
                  <a:pt x="137" y="67"/>
                </a:cubicBezTo>
                <a:cubicBezTo>
                  <a:pt x="138" y="67"/>
                  <a:pt x="139" y="69"/>
                  <a:pt x="138" y="70"/>
                </a:cubicBezTo>
                <a:close/>
                <a:moveTo>
                  <a:pt x="159" y="77"/>
                </a:moveTo>
                <a:cubicBezTo>
                  <a:pt x="158" y="78"/>
                  <a:pt x="157" y="79"/>
                  <a:pt x="156" y="79"/>
                </a:cubicBezTo>
                <a:cubicBezTo>
                  <a:pt x="156" y="79"/>
                  <a:pt x="156" y="79"/>
                  <a:pt x="155" y="78"/>
                </a:cubicBezTo>
                <a:cubicBezTo>
                  <a:pt x="153" y="78"/>
                  <a:pt x="153" y="78"/>
                  <a:pt x="153" y="78"/>
                </a:cubicBezTo>
                <a:cubicBezTo>
                  <a:pt x="151" y="77"/>
                  <a:pt x="151" y="76"/>
                  <a:pt x="151" y="74"/>
                </a:cubicBezTo>
                <a:cubicBezTo>
                  <a:pt x="152" y="73"/>
                  <a:pt x="153" y="72"/>
                  <a:pt x="154" y="73"/>
                </a:cubicBezTo>
                <a:cubicBezTo>
                  <a:pt x="157" y="73"/>
                  <a:pt x="157" y="73"/>
                  <a:pt x="157" y="73"/>
                </a:cubicBezTo>
                <a:cubicBezTo>
                  <a:pt x="158" y="74"/>
                  <a:pt x="159" y="75"/>
                  <a:pt x="159" y="77"/>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2157">
            <a:extLst>
              <a:ext uri="{FF2B5EF4-FFF2-40B4-BE49-F238E27FC236}">
                <a16:creationId xmlns:a16="http://schemas.microsoft.com/office/drawing/2014/main" id="{EA682B85-66BB-DC49-99F3-ED69C23718D0}"/>
              </a:ext>
            </a:extLst>
          </p:cNvPr>
          <p:cNvSpPr>
            <a:spLocks noEditPoints="1"/>
          </p:cNvSpPr>
          <p:nvPr/>
        </p:nvSpPr>
        <p:spPr bwMode="auto">
          <a:xfrm>
            <a:off x="8254996" y="5967413"/>
            <a:ext cx="546100" cy="490538"/>
          </a:xfrm>
          <a:custGeom>
            <a:avLst/>
            <a:gdLst>
              <a:gd name="T0" fmla="*/ 146 w 160"/>
              <a:gd name="T1" fmla="*/ 0 h 143"/>
              <a:gd name="T2" fmla="*/ 132 w 160"/>
              <a:gd name="T3" fmla="*/ 14 h 143"/>
              <a:gd name="T4" fmla="*/ 132 w 160"/>
              <a:gd name="T5" fmla="*/ 20 h 143"/>
              <a:gd name="T6" fmla="*/ 22 w 160"/>
              <a:gd name="T7" fmla="*/ 55 h 143"/>
              <a:gd name="T8" fmla="*/ 11 w 160"/>
              <a:gd name="T9" fmla="*/ 45 h 143"/>
              <a:gd name="T10" fmla="*/ 0 w 160"/>
              <a:gd name="T11" fmla="*/ 56 h 143"/>
              <a:gd name="T12" fmla="*/ 0 w 160"/>
              <a:gd name="T13" fmla="*/ 87 h 143"/>
              <a:gd name="T14" fmla="*/ 11 w 160"/>
              <a:gd name="T15" fmla="*/ 98 h 143"/>
              <a:gd name="T16" fmla="*/ 22 w 160"/>
              <a:gd name="T17" fmla="*/ 88 h 143"/>
              <a:gd name="T18" fmla="*/ 32 w 160"/>
              <a:gd name="T19" fmla="*/ 91 h 143"/>
              <a:gd name="T20" fmla="*/ 29 w 160"/>
              <a:gd name="T21" fmla="*/ 96 h 143"/>
              <a:gd name="T22" fmla="*/ 29 w 160"/>
              <a:gd name="T23" fmla="*/ 104 h 143"/>
              <a:gd name="T24" fmla="*/ 36 w 160"/>
              <a:gd name="T25" fmla="*/ 110 h 143"/>
              <a:gd name="T26" fmla="*/ 76 w 160"/>
              <a:gd name="T27" fmla="*/ 123 h 143"/>
              <a:gd name="T28" fmla="*/ 79 w 160"/>
              <a:gd name="T29" fmla="*/ 124 h 143"/>
              <a:gd name="T30" fmla="*/ 84 w 160"/>
              <a:gd name="T31" fmla="*/ 122 h 143"/>
              <a:gd name="T32" fmla="*/ 90 w 160"/>
              <a:gd name="T33" fmla="*/ 116 h 143"/>
              <a:gd name="T34" fmla="*/ 90 w 160"/>
              <a:gd name="T35" fmla="*/ 110 h 143"/>
              <a:gd name="T36" fmla="*/ 132 w 160"/>
              <a:gd name="T37" fmla="*/ 123 h 143"/>
              <a:gd name="T38" fmla="*/ 132 w 160"/>
              <a:gd name="T39" fmla="*/ 129 h 143"/>
              <a:gd name="T40" fmla="*/ 146 w 160"/>
              <a:gd name="T41" fmla="*/ 143 h 143"/>
              <a:gd name="T42" fmla="*/ 160 w 160"/>
              <a:gd name="T43" fmla="*/ 129 h 143"/>
              <a:gd name="T44" fmla="*/ 160 w 160"/>
              <a:gd name="T45" fmla="*/ 14 h 143"/>
              <a:gd name="T46" fmla="*/ 146 w 160"/>
              <a:gd name="T47" fmla="*/ 0 h 143"/>
              <a:gd name="T48" fmla="*/ 85 w 160"/>
              <a:gd name="T49" fmla="*/ 114 h 143"/>
              <a:gd name="T50" fmla="*/ 82 w 160"/>
              <a:gd name="T51" fmla="*/ 117 h 143"/>
              <a:gd name="T52" fmla="*/ 78 w 160"/>
              <a:gd name="T53" fmla="*/ 118 h 143"/>
              <a:gd name="T54" fmla="*/ 38 w 160"/>
              <a:gd name="T55" fmla="*/ 105 h 143"/>
              <a:gd name="T56" fmla="*/ 34 w 160"/>
              <a:gd name="T57" fmla="*/ 102 h 143"/>
              <a:gd name="T58" fmla="*/ 34 w 160"/>
              <a:gd name="T59" fmla="*/ 98 h 143"/>
              <a:gd name="T60" fmla="*/ 39 w 160"/>
              <a:gd name="T61" fmla="*/ 94 h 143"/>
              <a:gd name="T62" fmla="*/ 41 w 160"/>
              <a:gd name="T63" fmla="*/ 94 h 143"/>
              <a:gd name="T64" fmla="*/ 81 w 160"/>
              <a:gd name="T65" fmla="*/ 107 h 143"/>
              <a:gd name="T66" fmla="*/ 85 w 160"/>
              <a:gd name="T67" fmla="*/ 114 h 143"/>
              <a:gd name="T68" fmla="*/ 17 w 160"/>
              <a:gd name="T69" fmla="*/ 87 h 143"/>
              <a:gd name="T70" fmla="*/ 11 w 160"/>
              <a:gd name="T71" fmla="*/ 93 h 143"/>
              <a:gd name="T72" fmla="*/ 6 w 160"/>
              <a:gd name="T73" fmla="*/ 87 h 143"/>
              <a:gd name="T74" fmla="*/ 6 w 160"/>
              <a:gd name="T75" fmla="*/ 56 h 143"/>
              <a:gd name="T76" fmla="*/ 11 w 160"/>
              <a:gd name="T77" fmla="*/ 51 h 143"/>
              <a:gd name="T78" fmla="*/ 17 w 160"/>
              <a:gd name="T79" fmla="*/ 56 h 143"/>
              <a:gd name="T80" fmla="*/ 17 w 160"/>
              <a:gd name="T81" fmla="*/ 57 h 143"/>
              <a:gd name="T82" fmla="*/ 17 w 160"/>
              <a:gd name="T83" fmla="*/ 86 h 143"/>
              <a:gd name="T84" fmla="*/ 17 w 160"/>
              <a:gd name="T85" fmla="*/ 87 h 143"/>
              <a:gd name="T86" fmla="*/ 22 w 160"/>
              <a:gd name="T87" fmla="*/ 82 h 143"/>
              <a:gd name="T88" fmla="*/ 22 w 160"/>
              <a:gd name="T89" fmla="*/ 61 h 143"/>
              <a:gd name="T90" fmla="*/ 132 w 160"/>
              <a:gd name="T91" fmla="*/ 26 h 143"/>
              <a:gd name="T92" fmla="*/ 132 w 160"/>
              <a:gd name="T93" fmla="*/ 117 h 143"/>
              <a:gd name="T94" fmla="*/ 22 w 160"/>
              <a:gd name="T95" fmla="*/ 82 h 143"/>
              <a:gd name="T96" fmla="*/ 154 w 160"/>
              <a:gd name="T97" fmla="*/ 129 h 143"/>
              <a:gd name="T98" fmla="*/ 146 w 160"/>
              <a:gd name="T99" fmla="*/ 138 h 143"/>
              <a:gd name="T100" fmla="*/ 138 w 160"/>
              <a:gd name="T101" fmla="*/ 129 h 143"/>
              <a:gd name="T102" fmla="*/ 138 w 160"/>
              <a:gd name="T103" fmla="*/ 125 h 143"/>
              <a:gd name="T104" fmla="*/ 138 w 160"/>
              <a:gd name="T105" fmla="*/ 19 h 143"/>
              <a:gd name="T106" fmla="*/ 138 w 160"/>
              <a:gd name="T107" fmla="*/ 14 h 143"/>
              <a:gd name="T108" fmla="*/ 146 w 160"/>
              <a:gd name="T109" fmla="*/ 6 h 143"/>
              <a:gd name="T110" fmla="*/ 154 w 160"/>
              <a:gd name="T111" fmla="*/ 14 h 143"/>
              <a:gd name="T112" fmla="*/ 154 w 160"/>
              <a:gd name="T113" fmla="*/ 12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43">
                <a:moveTo>
                  <a:pt x="146" y="0"/>
                </a:moveTo>
                <a:cubicBezTo>
                  <a:pt x="138" y="0"/>
                  <a:pt x="132" y="6"/>
                  <a:pt x="132" y="14"/>
                </a:cubicBezTo>
                <a:cubicBezTo>
                  <a:pt x="132" y="20"/>
                  <a:pt x="132" y="20"/>
                  <a:pt x="132" y="20"/>
                </a:cubicBezTo>
                <a:cubicBezTo>
                  <a:pt x="22" y="55"/>
                  <a:pt x="22" y="55"/>
                  <a:pt x="22" y="55"/>
                </a:cubicBezTo>
                <a:cubicBezTo>
                  <a:pt x="22" y="49"/>
                  <a:pt x="17" y="45"/>
                  <a:pt x="11" y="45"/>
                </a:cubicBezTo>
                <a:cubicBezTo>
                  <a:pt x="5" y="45"/>
                  <a:pt x="0" y="50"/>
                  <a:pt x="0" y="56"/>
                </a:cubicBezTo>
                <a:cubicBezTo>
                  <a:pt x="0" y="87"/>
                  <a:pt x="0" y="87"/>
                  <a:pt x="0" y="87"/>
                </a:cubicBezTo>
                <a:cubicBezTo>
                  <a:pt x="0" y="93"/>
                  <a:pt x="5" y="98"/>
                  <a:pt x="11" y="98"/>
                </a:cubicBezTo>
                <a:cubicBezTo>
                  <a:pt x="17" y="98"/>
                  <a:pt x="22" y="94"/>
                  <a:pt x="22" y="88"/>
                </a:cubicBezTo>
                <a:cubicBezTo>
                  <a:pt x="32" y="91"/>
                  <a:pt x="32" y="91"/>
                  <a:pt x="32" y="91"/>
                </a:cubicBezTo>
                <a:cubicBezTo>
                  <a:pt x="30" y="92"/>
                  <a:pt x="29" y="94"/>
                  <a:pt x="29" y="96"/>
                </a:cubicBezTo>
                <a:cubicBezTo>
                  <a:pt x="28" y="99"/>
                  <a:pt x="28" y="102"/>
                  <a:pt x="29" y="104"/>
                </a:cubicBezTo>
                <a:cubicBezTo>
                  <a:pt x="31" y="107"/>
                  <a:pt x="33" y="109"/>
                  <a:pt x="36" y="110"/>
                </a:cubicBezTo>
                <a:cubicBezTo>
                  <a:pt x="76" y="123"/>
                  <a:pt x="76" y="123"/>
                  <a:pt x="76" y="123"/>
                </a:cubicBezTo>
                <a:cubicBezTo>
                  <a:pt x="77" y="123"/>
                  <a:pt x="78" y="124"/>
                  <a:pt x="79" y="124"/>
                </a:cubicBezTo>
                <a:cubicBezTo>
                  <a:pt x="81" y="124"/>
                  <a:pt x="83" y="123"/>
                  <a:pt x="84" y="122"/>
                </a:cubicBezTo>
                <a:cubicBezTo>
                  <a:pt x="87" y="121"/>
                  <a:pt x="89" y="119"/>
                  <a:pt x="90" y="116"/>
                </a:cubicBezTo>
                <a:cubicBezTo>
                  <a:pt x="91" y="114"/>
                  <a:pt x="91" y="112"/>
                  <a:pt x="90" y="110"/>
                </a:cubicBezTo>
                <a:cubicBezTo>
                  <a:pt x="132" y="123"/>
                  <a:pt x="132" y="123"/>
                  <a:pt x="132" y="123"/>
                </a:cubicBezTo>
                <a:cubicBezTo>
                  <a:pt x="132" y="129"/>
                  <a:pt x="132" y="129"/>
                  <a:pt x="132" y="129"/>
                </a:cubicBezTo>
                <a:cubicBezTo>
                  <a:pt x="132" y="137"/>
                  <a:pt x="138" y="143"/>
                  <a:pt x="146" y="143"/>
                </a:cubicBezTo>
                <a:cubicBezTo>
                  <a:pt x="154" y="143"/>
                  <a:pt x="160" y="137"/>
                  <a:pt x="160" y="129"/>
                </a:cubicBezTo>
                <a:cubicBezTo>
                  <a:pt x="160" y="14"/>
                  <a:pt x="160" y="14"/>
                  <a:pt x="160" y="14"/>
                </a:cubicBezTo>
                <a:cubicBezTo>
                  <a:pt x="160" y="6"/>
                  <a:pt x="154" y="0"/>
                  <a:pt x="146" y="0"/>
                </a:cubicBezTo>
                <a:close/>
                <a:moveTo>
                  <a:pt x="85" y="114"/>
                </a:moveTo>
                <a:cubicBezTo>
                  <a:pt x="84" y="115"/>
                  <a:pt x="83" y="117"/>
                  <a:pt x="82" y="117"/>
                </a:cubicBezTo>
                <a:cubicBezTo>
                  <a:pt x="81" y="118"/>
                  <a:pt x="79" y="118"/>
                  <a:pt x="78" y="118"/>
                </a:cubicBezTo>
                <a:cubicBezTo>
                  <a:pt x="38" y="105"/>
                  <a:pt x="38" y="105"/>
                  <a:pt x="38" y="105"/>
                </a:cubicBezTo>
                <a:cubicBezTo>
                  <a:pt x="36" y="104"/>
                  <a:pt x="35" y="103"/>
                  <a:pt x="34" y="102"/>
                </a:cubicBezTo>
                <a:cubicBezTo>
                  <a:pt x="34" y="101"/>
                  <a:pt x="33" y="99"/>
                  <a:pt x="34" y="98"/>
                </a:cubicBezTo>
                <a:cubicBezTo>
                  <a:pt x="35" y="95"/>
                  <a:pt x="37" y="94"/>
                  <a:pt x="39" y="94"/>
                </a:cubicBezTo>
                <a:cubicBezTo>
                  <a:pt x="40" y="94"/>
                  <a:pt x="40" y="94"/>
                  <a:pt x="41" y="94"/>
                </a:cubicBezTo>
                <a:cubicBezTo>
                  <a:pt x="81" y="107"/>
                  <a:pt x="81" y="107"/>
                  <a:pt x="81" y="107"/>
                </a:cubicBezTo>
                <a:cubicBezTo>
                  <a:pt x="84" y="108"/>
                  <a:pt x="86" y="111"/>
                  <a:pt x="85" y="114"/>
                </a:cubicBezTo>
                <a:close/>
                <a:moveTo>
                  <a:pt x="17" y="87"/>
                </a:moveTo>
                <a:cubicBezTo>
                  <a:pt x="17" y="90"/>
                  <a:pt x="14" y="93"/>
                  <a:pt x="11" y="93"/>
                </a:cubicBezTo>
                <a:cubicBezTo>
                  <a:pt x="8" y="93"/>
                  <a:pt x="6" y="90"/>
                  <a:pt x="6" y="87"/>
                </a:cubicBezTo>
                <a:cubicBezTo>
                  <a:pt x="6" y="56"/>
                  <a:pt x="6" y="56"/>
                  <a:pt x="6" y="56"/>
                </a:cubicBezTo>
                <a:cubicBezTo>
                  <a:pt x="6" y="53"/>
                  <a:pt x="8" y="51"/>
                  <a:pt x="11" y="51"/>
                </a:cubicBezTo>
                <a:cubicBezTo>
                  <a:pt x="14" y="51"/>
                  <a:pt x="17" y="53"/>
                  <a:pt x="17" y="56"/>
                </a:cubicBezTo>
                <a:cubicBezTo>
                  <a:pt x="17" y="57"/>
                  <a:pt x="17" y="57"/>
                  <a:pt x="17" y="57"/>
                </a:cubicBezTo>
                <a:cubicBezTo>
                  <a:pt x="17" y="86"/>
                  <a:pt x="17" y="86"/>
                  <a:pt x="17" y="86"/>
                </a:cubicBezTo>
                <a:lnTo>
                  <a:pt x="17" y="87"/>
                </a:lnTo>
                <a:close/>
                <a:moveTo>
                  <a:pt x="22" y="82"/>
                </a:moveTo>
                <a:cubicBezTo>
                  <a:pt x="22" y="61"/>
                  <a:pt x="22" y="61"/>
                  <a:pt x="22" y="61"/>
                </a:cubicBezTo>
                <a:cubicBezTo>
                  <a:pt x="132" y="26"/>
                  <a:pt x="132" y="26"/>
                  <a:pt x="132" y="26"/>
                </a:cubicBezTo>
                <a:cubicBezTo>
                  <a:pt x="132" y="117"/>
                  <a:pt x="132" y="117"/>
                  <a:pt x="132" y="117"/>
                </a:cubicBezTo>
                <a:lnTo>
                  <a:pt x="22" y="82"/>
                </a:lnTo>
                <a:close/>
                <a:moveTo>
                  <a:pt x="154" y="129"/>
                </a:moveTo>
                <a:cubicBezTo>
                  <a:pt x="154" y="134"/>
                  <a:pt x="151" y="138"/>
                  <a:pt x="146" y="138"/>
                </a:cubicBezTo>
                <a:cubicBezTo>
                  <a:pt x="141" y="138"/>
                  <a:pt x="138" y="134"/>
                  <a:pt x="138" y="129"/>
                </a:cubicBezTo>
                <a:cubicBezTo>
                  <a:pt x="138" y="125"/>
                  <a:pt x="138" y="125"/>
                  <a:pt x="138" y="125"/>
                </a:cubicBezTo>
                <a:cubicBezTo>
                  <a:pt x="138" y="19"/>
                  <a:pt x="138" y="19"/>
                  <a:pt x="138" y="19"/>
                </a:cubicBezTo>
                <a:cubicBezTo>
                  <a:pt x="138" y="14"/>
                  <a:pt x="138" y="14"/>
                  <a:pt x="138" y="14"/>
                </a:cubicBezTo>
                <a:cubicBezTo>
                  <a:pt x="138" y="9"/>
                  <a:pt x="141" y="6"/>
                  <a:pt x="146" y="6"/>
                </a:cubicBezTo>
                <a:cubicBezTo>
                  <a:pt x="151" y="6"/>
                  <a:pt x="154" y="9"/>
                  <a:pt x="154" y="14"/>
                </a:cubicBezTo>
                <a:lnTo>
                  <a:pt x="154" y="129"/>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2158">
            <a:extLst>
              <a:ext uri="{FF2B5EF4-FFF2-40B4-BE49-F238E27FC236}">
                <a16:creationId xmlns:a16="http://schemas.microsoft.com/office/drawing/2014/main" id="{E065A7BD-750B-EF48-AD7D-454A1A6D59EB}"/>
              </a:ext>
            </a:extLst>
          </p:cNvPr>
          <p:cNvSpPr>
            <a:spLocks noEditPoints="1"/>
          </p:cNvSpPr>
          <p:nvPr/>
        </p:nvSpPr>
        <p:spPr bwMode="auto">
          <a:xfrm>
            <a:off x="10072876" y="3424238"/>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117 w 160"/>
              <a:gd name="T21" fmla="*/ 49 h 160"/>
              <a:gd name="T22" fmla="*/ 114 w 160"/>
              <a:gd name="T23" fmla="*/ 51 h 160"/>
              <a:gd name="T24" fmla="*/ 46 w 160"/>
              <a:gd name="T25" fmla="*/ 51 h 160"/>
              <a:gd name="T26" fmla="*/ 43 w 160"/>
              <a:gd name="T27" fmla="*/ 49 h 160"/>
              <a:gd name="T28" fmla="*/ 46 w 160"/>
              <a:gd name="T29" fmla="*/ 46 h 160"/>
              <a:gd name="T30" fmla="*/ 114 w 160"/>
              <a:gd name="T31" fmla="*/ 46 h 160"/>
              <a:gd name="T32" fmla="*/ 117 w 160"/>
              <a:gd name="T33" fmla="*/ 49 h 160"/>
              <a:gd name="T34" fmla="*/ 117 w 160"/>
              <a:gd name="T35" fmla="*/ 80 h 160"/>
              <a:gd name="T36" fmla="*/ 114 w 160"/>
              <a:gd name="T37" fmla="*/ 83 h 160"/>
              <a:gd name="T38" fmla="*/ 46 w 160"/>
              <a:gd name="T39" fmla="*/ 83 h 160"/>
              <a:gd name="T40" fmla="*/ 43 w 160"/>
              <a:gd name="T41" fmla="*/ 80 h 160"/>
              <a:gd name="T42" fmla="*/ 46 w 160"/>
              <a:gd name="T43" fmla="*/ 77 h 160"/>
              <a:gd name="T44" fmla="*/ 114 w 160"/>
              <a:gd name="T45" fmla="*/ 77 h 160"/>
              <a:gd name="T46" fmla="*/ 117 w 160"/>
              <a:gd name="T47" fmla="*/ 80 h 160"/>
              <a:gd name="T48" fmla="*/ 117 w 160"/>
              <a:gd name="T49" fmla="*/ 111 h 160"/>
              <a:gd name="T50" fmla="*/ 114 w 160"/>
              <a:gd name="T51" fmla="*/ 114 h 160"/>
              <a:gd name="T52" fmla="*/ 46 w 160"/>
              <a:gd name="T53" fmla="*/ 114 h 160"/>
              <a:gd name="T54" fmla="*/ 43 w 160"/>
              <a:gd name="T55" fmla="*/ 111 h 160"/>
              <a:gd name="T56" fmla="*/ 46 w 160"/>
              <a:gd name="T57" fmla="*/ 109 h 160"/>
              <a:gd name="T58" fmla="*/ 114 w 160"/>
              <a:gd name="T59" fmla="*/ 109 h 160"/>
              <a:gd name="T60" fmla="*/ 117 w 160"/>
              <a:gd name="T61" fmla="*/ 11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117" y="49"/>
                </a:moveTo>
                <a:cubicBezTo>
                  <a:pt x="117" y="50"/>
                  <a:pt x="116" y="51"/>
                  <a:pt x="114" y="51"/>
                </a:cubicBezTo>
                <a:cubicBezTo>
                  <a:pt x="46" y="51"/>
                  <a:pt x="46" y="51"/>
                  <a:pt x="46" y="51"/>
                </a:cubicBezTo>
                <a:cubicBezTo>
                  <a:pt x="44" y="51"/>
                  <a:pt x="43" y="50"/>
                  <a:pt x="43" y="49"/>
                </a:cubicBezTo>
                <a:cubicBezTo>
                  <a:pt x="43" y="47"/>
                  <a:pt x="44" y="46"/>
                  <a:pt x="46" y="46"/>
                </a:cubicBezTo>
                <a:cubicBezTo>
                  <a:pt x="114" y="46"/>
                  <a:pt x="114" y="46"/>
                  <a:pt x="114" y="46"/>
                </a:cubicBezTo>
                <a:cubicBezTo>
                  <a:pt x="116" y="46"/>
                  <a:pt x="117" y="47"/>
                  <a:pt x="117" y="49"/>
                </a:cubicBezTo>
                <a:close/>
                <a:moveTo>
                  <a:pt x="117" y="80"/>
                </a:moveTo>
                <a:cubicBezTo>
                  <a:pt x="117" y="82"/>
                  <a:pt x="116" y="83"/>
                  <a:pt x="114" y="83"/>
                </a:cubicBezTo>
                <a:cubicBezTo>
                  <a:pt x="46" y="83"/>
                  <a:pt x="46" y="83"/>
                  <a:pt x="46" y="83"/>
                </a:cubicBezTo>
                <a:cubicBezTo>
                  <a:pt x="44" y="83"/>
                  <a:pt x="43" y="82"/>
                  <a:pt x="43" y="80"/>
                </a:cubicBezTo>
                <a:cubicBezTo>
                  <a:pt x="43" y="78"/>
                  <a:pt x="44" y="77"/>
                  <a:pt x="46" y="77"/>
                </a:cubicBezTo>
                <a:cubicBezTo>
                  <a:pt x="114" y="77"/>
                  <a:pt x="114" y="77"/>
                  <a:pt x="114" y="77"/>
                </a:cubicBezTo>
                <a:cubicBezTo>
                  <a:pt x="116" y="77"/>
                  <a:pt x="117" y="78"/>
                  <a:pt x="117" y="80"/>
                </a:cubicBezTo>
                <a:close/>
                <a:moveTo>
                  <a:pt x="117" y="111"/>
                </a:moveTo>
                <a:cubicBezTo>
                  <a:pt x="117" y="113"/>
                  <a:pt x="116" y="114"/>
                  <a:pt x="114" y="114"/>
                </a:cubicBezTo>
                <a:cubicBezTo>
                  <a:pt x="46" y="114"/>
                  <a:pt x="46" y="114"/>
                  <a:pt x="46" y="114"/>
                </a:cubicBezTo>
                <a:cubicBezTo>
                  <a:pt x="44" y="114"/>
                  <a:pt x="43" y="113"/>
                  <a:pt x="43" y="111"/>
                </a:cubicBezTo>
                <a:cubicBezTo>
                  <a:pt x="43" y="110"/>
                  <a:pt x="44" y="109"/>
                  <a:pt x="46" y="109"/>
                </a:cubicBezTo>
                <a:cubicBezTo>
                  <a:pt x="114" y="109"/>
                  <a:pt x="114" y="109"/>
                  <a:pt x="114" y="109"/>
                </a:cubicBezTo>
                <a:cubicBezTo>
                  <a:pt x="116" y="109"/>
                  <a:pt x="117" y="110"/>
                  <a:pt x="117" y="111"/>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2159">
            <a:extLst>
              <a:ext uri="{FF2B5EF4-FFF2-40B4-BE49-F238E27FC236}">
                <a16:creationId xmlns:a16="http://schemas.microsoft.com/office/drawing/2014/main" id="{6D176B99-C76F-824A-8581-6EA96F46852C}"/>
              </a:ext>
            </a:extLst>
          </p:cNvPr>
          <p:cNvSpPr>
            <a:spLocks noEditPoints="1"/>
          </p:cNvSpPr>
          <p:nvPr/>
        </p:nvSpPr>
        <p:spPr bwMode="auto">
          <a:xfrm>
            <a:off x="10072876" y="4070351"/>
            <a:ext cx="546100" cy="485775"/>
          </a:xfrm>
          <a:custGeom>
            <a:avLst/>
            <a:gdLst>
              <a:gd name="T0" fmla="*/ 0 w 344"/>
              <a:gd name="T1" fmla="*/ 0 h 306"/>
              <a:gd name="T2" fmla="*/ 344 w 344"/>
              <a:gd name="T3" fmla="*/ 0 h 306"/>
              <a:gd name="T4" fmla="*/ 344 w 344"/>
              <a:gd name="T5" fmla="*/ 13 h 306"/>
              <a:gd name="T6" fmla="*/ 0 w 344"/>
              <a:gd name="T7" fmla="*/ 13 h 306"/>
              <a:gd name="T8" fmla="*/ 0 w 344"/>
              <a:gd name="T9" fmla="*/ 0 h 306"/>
              <a:gd name="T10" fmla="*/ 0 w 344"/>
              <a:gd name="T11" fmla="*/ 111 h 306"/>
              <a:gd name="T12" fmla="*/ 344 w 344"/>
              <a:gd name="T13" fmla="*/ 111 h 306"/>
              <a:gd name="T14" fmla="*/ 344 w 344"/>
              <a:gd name="T15" fmla="*/ 98 h 306"/>
              <a:gd name="T16" fmla="*/ 0 w 344"/>
              <a:gd name="T17" fmla="*/ 98 h 306"/>
              <a:gd name="T18" fmla="*/ 0 w 344"/>
              <a:gd name="T19" fmla="*/ 111 h 306"/>
              <a:gd name="T20" fmla="*/ 0 w 344"/>
              <a:gd name="T21" fmla="*/ 208 h 306"/>
              <a:gd name="T22" fmla="*/ 344 w 344"/>
              <a:gd name="T23" fmla="*/ 208 h 306"/>
              <a:gd name="T24" fmla="*/ 344 w 344"/>
              <a:gd name="T25" fmla="*/ 195 h 306"/>
              <a:gd name="T26" fmla="*/ 0 w 344"/>
              <a:gd name="T27" fmla="*/ 195 h 306"/>
              <a:gd name="T28" fmla="*/ 0 w 344"/>
              <a:gd name="T29" fmla="*/ 208 h 306"/>
              <a:gd name="T30" fmla="*/ 0 w 344"/>
              <a:gd name="T31" fmla="*/ 306 h 306"/>
              <a:gd name="T32" fmla="*/ 344 w 344"/>
              <a:gd name="T33" fmla="*/ 306 h 306"/>
              <a:gd name="T34" fmla="*/ 344 w 344"/>
              <a:gd name="T35" fmla="*/ 291 h 306"/>
              <a:gd name="T36" fmla="*/ 0 w 344"/>
              <a:gd name="T37" fmla="*/ 291 h 306"/>
              <a:gd name="T38" fmla="*/ 0 w 344"/>
              <a:gd name="T39"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4" h="306">
                <a:moveTo>
                  <a:pt x="0" y="0"/>
                </a:moveTo>
                <a:lnTo>
                  <a:pt x="344" y="0"/>
                </a:lnTo>
                <a:lnTo>
                  <a:pt x="344" y="13"/>
                </a:lnTo>
                <a:lnTo>
                  <a:pt x="0" y="13"/>
                </a:lnTo>
                <a:lnTo>
                  <a:pt x="0" y="0"/>
                </a:lnTo>
                <a:close/>
                <a:moveTo>
                  <a:pt x="0" y="111"/>
                </a:moveTo>
                <a:lnTo>
                  <a:pt x="344" y="111"/>
                </a:lnTo>
                <a:lnTo>
                  <a:pt x="344" y="98"/>
                </a:lnTo>
                <a:lnTo>
                  <a:pt x="0" y="98"/>
                </a:lnTo>
                <a:lnTo>
                  <a:pt x="0" y="111"/>
                </a:lnTo>
                <a:close/>
                <a:moveTo>
                  <a:pt x="0" y="208"/>
                </a:moveTo>
                <a:lnTo>
                  <a:pt x="344" y="208"/>
                </a:lnTo>
                <a:lnTo>
                  <a:pt x="344" y="195"/>
                </a:lnTo>
                <a:lnTo>
                  <a:pt x="0" y="195"/>
                </a:lnTo>
                <a:lnTo>
                  <a:pt x="0" y="208"/>
                </a:lnTo>
                <a:close/>
                <a:moveTo>
                  <a:pt x="0" y="306"/>
                </a:moveTo>
                <a:lnTo>
                  <a:pt x="344" y="306"/>
                </a:lnTo>
                <a:lnTo>
                  <a:pt x="344" y="291"/>
                </a:lnTo>
                <a:lnTo>
                  <a:pt x="0" y="291"/>
                </a:lnTo>
                <a:lnTo>
                  <a:pt x="0" y="306"/>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2160">
            <a:extLst>
              <a:ext uri="{FF2B5EF4-FFF2-40B4-BE49-F238E27FC236}">
                <a16:creationId xmlns:a16="http://schemas.microsoft.com/office/drawing/2014/main" id="{AB1B8FEE-4EB8-8945-9BE3-C1547ABCAF64}"/>
              </a:ext>
            </a:extLst>
          </p:cNvPr>
          <p:cNvSpPr>
            <a:spLocks noEditPoints="1"/>
          </p:cNvSpPr>
          <p:nvPr/>
        </p:nvSpPr>
        <p:spPr bwMode="auto">
          <a:xfrm>
            <a:off x="10072876" y="4662488"/>
            <a:ext cx="546100" cy="550863"/>
          </a:xfrm>
          <a:custGeom>
            <a:avLst/>
            <a:gdLst>
              <a:gd name="T0" fmla="*/ 54 w 344"/>
              <a:gd name="T1" fmla="*/ 72 h 347"/>
              <a:gd name="T2" fmla="*/ 290 w 344"/>
              <a:gd name="T3" fmla="*/ 72 h 347"/>
              <a:gd name="T4" fmla="*/ 290 w 344"/>
              <a:gd name="T5" fmla="*/ 85 h 347"/>
              <a:gd name="T6" fmla="*/ 54 w 344"/>
              <a:gd name="T7" fmla="*/ 85 h 347"/>
              <a:gd name="T8" fmla="*/ 54 w 344"/>
              <a:gd name="T9" fmla="*/ 72 h 347"/>
              <a:gd name="T10" fmla="*/ 54 w 344"/>
              <a:gd name="T11" fmla="*/ 180 h 347"/>
              <a:gd name="T12" fmla="*/ 290 w 344"/>
              <a:gd name="T13" fmla="*/ 180 h 347"/>
              <a:gd name="T14" fmla="*/ 290 w 344"/>
              <a:gd name="T15" fmla="*/ 167 h 347"/>
              <a:gd name="T16" fmla="*/ 54 w 344"/>
              <a:gd name="T17" fmla="*/ 167 h 347"/>
              <a:gd name="T18" fmla="*/ 54 w 344"/>
              <a:gd name="T19" fmla="*/ 180 h 347"/>
              <a:gd name="T20" fmla="*/ 54 w 344"/>
              <a:gd name="T21" fmla="*/ 275 h 347"/>
              <a:gd name="T22" fmla="*/ 290 w 344"/>
              <a:gd name="T23" fmla="*/ 275 h 347"/>
              <a:gd name="T24" fmla="*/ 290 w 344"/>
              <a:gd name="T25" fmla="*/ 262 h 347"/>
              <a:gd name="T26" fmla="*/ 54 w 344"/>
              <a:gd name="T27" fmla="*/ 262 h 347"/>
              <a:gd name="T28" fmla="*/ 54 w 344"/>
              <a:gd name="T29" fmla="*/ 275 h 347"/>
              <a:gd name="T30" fmla="*/ 344 w 344"/>
              <a:gd name="T31" fmla="*/ 0 h 347"/>
              <a:gd name="T32" fmla="*/ 344 w 344"/>
              <a:gd name="T33" fmla="*/ 347 h 347"/>
              <a:gd name="T34" fmla="*/ 0 w 344"/>
              <a:gd name="T35" fmla="*/ 347 h 347"/>
              <a:gd name="T36" fmla="*/ 0 w 344"/>
              <a:gd name="T37" fmla="*/ 0 h 347"/>
              <a:gd name="T38" fmla="*/ 344 w 344"/>
              <a:gd name="T39" fmla="*/ 0 h 347"/>
              <a:gd name="T40" fmla="*/ 331 w 344"/>
              <a:gd name="T41" fmla="*/ 13 h 347"/>
              <a:gd name="T42" fmla="*/ 13 w 344"/>
              <a:gd name="T43" fmla="*/ 13 h 347"/>
              <a:gd name="T44" fmla="*/ 13 w 344"/>
              <a:gd name="T45" fmla="*/ 334 h 347"/>
              <a:gd name="T46" fmla="*/ 331 w 344"/>
              <a:gd name="T47" fmla="*/ 334 h 347"/>
              <a:gd name="T48" fmla="*/ 331 w 344"/>
              <a:gd name="T49" fmla="*/ 13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4" h="347">
                <a:moveTo>
                  <a:pt x="54" y="72"/>
                </a:moveTo>
                <a:lnTo>
                  <a:pt x="290" y="72"/>
                </a:lnTo>
                <a:lnTo>
                  <a:pt x="290" y="85"/>
                </a:lnTo>
                <a:lnTo>
                  <a:pt x="54" y="85"/>
                </a:lnTo>
                <a:lnTo>
                  <a:pt x="54" y="72"/>
                </a:lnTo>
                <a:close/>
                <a:moveTo>
                  <a:pt x="54" y="180"/>
                </a:moveTo>
                <a:lnTo>
                  <a:pt x="290" y="180"/>
                </a:lnTo>
                <a:lnTo>
                  <a:pt x="290" y="167"/>
                </a:lnTo>
                <a:lnTo>
                  <a:pt x="54" y="167"/>
                </a:lnTo>
                <a:lnTo>
                  <a:pt x="54" y="180"/>
                </a:lnTo>
                <a:close/>
                <a:moveTo>
                  <a:pt x="54" y="275"/>
                </a:moveTo>
                <a:lnTo>
                  <a:pt x="290" y="275"/>
                </a:lnTo>
                <a:lnTo>
                  <a:pt x="290" y="262"/>
                </a:lnTo>
                <a:lnTo>
                  <a:pt x="54" y="262"/>
                </a:lnTo>
                <a:lnTo>
                  <a:pt x="54" y="275"/>
                </a:lnTo>
                <a:close/>
                <a:moveTo>
                  <a:pt x="344" y="0"/>
                </a:moveTo>
                <a:lnTo>
                  <a:pt x="344" y="347"/>
                </a:lnTo>
                <a:lnTo>
                  <a:pt x="0" y="347"/>
                </a:lnTo>
                <a:lnTo>
                  <a:pt x="0" y="0"/>
                </a:lnTo>
                <a:lnTo>
                  <a:pt x="344" y="0"/>
                </a:lnTo>
                <a:close/>
                <a:moveTo>
                  <a:pt x="331" y="13"/>
                </a:moveTo>
                <a:lnTo>
                  <a:pt x="13" y="13"/>
                </a:lnTo>
                <a:lnTo>
                  <a:pt x="13" y="334"/>
                </a:lnTo>
                <a:lnTo>
                  <a:pt x="331" y="334"/>
                </a:lnTo>
                <a:lnTo>
                  <a:pt x="331" y="13"/>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2161">
            <a:extLst>
              <a:ext uri="{FF2B5EF4-FFF2-40B4-BE49-F238E27FC236}">
                <a16:creationId xmlns:a16="http://schemas.microsoft.com/office/drawing/2014/main" id="{9722EF02-0E9A-684F-83FC-2F88291DC7A4}"/>
              </a:ext>
            </a:extLst>
          </p:cNvPr>
          <p:cNvSpPr>
            <a:spLocks noEditPoints="1"/>
          </p:cNvSpPr>
          <p:nvPr/>
        </p:nvSpPr>
        <p:spPr bwMode="auto">
          <a:xfrm>
            <a:off x="10072876" y="5281613"/>
            <a:ext cx="546100" cy="550863"/>
          </a:xfrm>
          <a:custGeom>
            <a:avLst/>
            <a:gdLst>
              <a:gd name="T0" fmla="*/ 0 w 160"/>
              <a:gd name="T1" fmla="*/ 137 h 160"/>
              <a:gd name="T2" fmla="*/ 46 w 160"/>
              <a:gd name="T3" fmla="*/ 137 h 160"/>
              <a:gd name="T4" fmla="*/ 23 w 160"/>
              <a:gd name="T5" fmla="*/ 154 h 160"/>
              <a:gd name="T6" fmla="*/ 23 w 160"/>
              <a:gd name="T7" fmla="*/ 120 h 160"/>
              <a:gd name="T8" fmla="*/ 23 w 160"/>
              <a:gd name="T9" fmla="*/ 154 h 160"/>
              <a:gd name="T10" fmla="*/ 57 w 160"/>
              <a:gd name="T11" fmla="*/ 137 h 160"/>
              <a:gd name="T12" fmla="*/ 103 w 160"/>
              <a:gd name="T13" fmla="*/ 137 h 160"/>
              <a:gd name="T14" fmla="*/ 80 w 160"/>
              <a:gd name="T15" fmla="*/ 154 h 160"/>
              <a:gd name="T16" fmla="*/ 80 w 160"/>
              <a:gd name="T17" fmla="*/ 120 h 160"/>
              <a:gd name="T18" fmla="*/ 80 w 160"/>
              <a:gd name="T19" fmla="*/ 154 h 160"/>
              <a:gd name="T20" fmla="*/ 114 w 160"/>
              <a:gd name="T21" fmla="*/ 137 h 160"/>
              <a:gd name="T22" fmla="*/ 160 w 160"/>
              <a:gd name="T23" fmla="*/ 137 h 160"/>
              <a:gd name="T24" fmla="*/ 137 w 160"/>
              <a:gd name="T25" fmla="*/ 154 h 160"/>
              <a:gd name="T26" fmla="*/ 137 w 160"/>
              <a:gd name="T27" fmla="*/ 120 h 160"/>
              <a:gd name="T28" fmla="*/ 137 w 160"/>
              <a:gd name="T29" fmla="*/ 154 h 160"/>
              <a:gd name="T30" fmla="*/ 0 w 160"/>
              <a:gd name="T31" fmla="*/ 80 h 160"/>
              <a:gd name="T32" fmla="*/ 46 w 160"/>
              <a:gd name="T33" fmla="*/ 80 h 160"/>
              <a:gd name="T34" fmla="*/ 23 w 160"/>
              <a:gd name="T35" fmla="*/ 97 h 160"/>
              <a:gd name="T36" fmla="*/ 23 w 160"/>
              <a:gd name="T37" fmla="*/ 63 h 160"/>
              <a:gd name="T38" fmla="*/ 23 w 160"/>
              <a:gd name="T39" fmla="*/ 97 h 160"/>
              <a:gd name="T40" fmla="*/ 57 w 160"/>
              <a:gd name="T41" fmla="*/ 80 h 160"/>
              <a:gd name="T42" fmla="*/ 103 w 160"/>
              <a:gd name="T43" fmla="*/ 80 h 160"/>
              <a:gd name="T44" fmla="*/ 80 w 160"/>
              <a:gd name="T45" fmla="*/ 97 h 160"/>
              <a:gd name="T46" fmla="*/ 80 w 160"/>
              <a:gd name="T47" fmla="*/ 63 h 160"/>
              <a:gd name="T48" fmla="*/ 80 w 160"/>
              <a:gd name="T49" fmla="*/ 97 h 160"/>
              <a:gd name="T50" fmla="*/ 114 w 160"/>
              <a:gd name="T51" fmla="*/ 80 h 160"/>
              <a:gd name="T52" fmla="*/ 160 w 160"/>
              <a:gd name="T53" fmla="*/ 80 h 160"/>
              <a:gd name="T54" fmla="*/ 137 w 160"/>
              <a:gd name="T55" fmla="*/ 97 h 160"/>
              <a:gd name="T56" fmla="*/ 137 w 160"/>
              <a:gd name="T57" fmla="*/ 63 h 160"/>
              <a:gd name="T58" fmla="*/ 137 w 160"/>
              <a:gd name="T59" fmla="*/ 97 h 160"/>
              <a:gd name="T60" fmla="*/ 0 w 160"/>
              <a:gd name="T61" fmla="*/ 23 h 160"/>
              <a:gd name="T62" fmla="*/ 46 w 160"/>
              <a:gd name="T63" fmla="*/ 23 h 160"/>
              <a:gd name="T64" fmla="*/ 23 w 160"/>
              <a:gd name="T65" fmla="*/ 40 h 160"/>
              <a:gd name="T66" fmla="*/ 23 w 160"/>
              <a:gd name="T67" fmla="*/ 6 h 160"/>
              <a:gd name="T68" fmla="*/ 23 w 160"/>
              <a:gd name="T69" fmla="*/ 40 h 160"/>
              <a:gd name="T70" fmla="*/ 57 w 160"/>
              <a:gd name="T71" fmla="*/ 23 h 160"/>
              <a:gd name="T72" fmla="*/ 103 w 160"/>
              <a:gd name="T73" fmla="*/ 23 h 160"/>
              <a:gd name="T74" fmla="*/ 80 w 160"/>
              <a:gd name="T75" fmla="*/ 40 h 160"/>
              <a:gd name="T76" fmla="*/ 80 w 160"/>
              <a:gd name="T77" fmla="*/ 6 h 160"/>
              <a:gd name="T78" fmla="*/ 80 w 160"/>
              <a:gd name="T79" fmla="*/ 40 h 160"/>
              <a:gd name="T80" fmla="*/ 160 w 160"/>
              <a:gd name="T81" fmla="*/ 23 h 160"/>
              <a:gd name="T82" fmla="*/ 114 w 160"/>
              <a:gd name="T83" fmla="*/ 23 h 160"/>
              <a:gd name="T84" fmla="*/ 137 w 160"/>
              <a:gd name="T85" fmla="*/ 6 h 160"/>
              <a:gd name="T86" fmla="*/ 137 w 160"/>
              <a:gd name="T87" fmla="*/ 40 h 160"/>
              <a:gd name="T88" fmla="*/ 137 w 160"/>
              <a:gd name="T89" fmla="*/ 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160">
                <a:moveTo>
                  <a:pt x="23" y="114"/>
                </a:moveTo>
                <a:cubicBezTo>
                  <a:pt x="10" y="114"/>
                  <a:pt x="0" y="125"/>
                  <a:pt x="0" y="137"/>
                </a:cubicBezTo>
                <a:cubicBezTo>
                  <a:pt x="0" y="150"/>
                  <a:pt x="10" y="160"/>
                  <a:pt x="23" y="160"/>
                </a:cubicBezTo>
                <a:cubicBezTo>
                  <a:pt x="35" y="160"/>
                  <a:pt x="46" y="150"/>
                  <a:pt x="46" y="137"/>
                </a:cubicBezTo>
                <a:cubicBezTo>
                  <a:pt x="46" y="125"/>
                  <a:pt x="35" y="114"/>
                  <a:pt x="23" y="114"/>
                </a:cubicBezTo>
                <a:close/>
                <a:moveTo>
                  <a:pt x="23" y="154"/>
                </a:moveTo>
                <a:cubicBezTo>
                  <a:pt x="13" y="154"/>
                  <a:pt x="6" y="147"/>
                  <a:pt x="6" y="137"/>
                </a:cubicBezTo>
                <a:cubicBezTo>
                  <a:pt x="6" y="128"/>
                  <a:pt x="13" y="120"/>
                  <a:pt x="23" y="120"/>
                </a:cubicBezTo>
                <a:cubicBezTo>
                  <a:pt x="32" y="120"/>
                  <a:pt x="40" y="128"/>
                  <a:pt x="40" y="137"/>
                </a:cubicBezTo>
                <a:cubicBezTo>
                  <a:pt x="40" y="147"/>
                  <a:pt x="32" y="154"/>
                  <a:pt x="23" y="154"/>
                </a:cubicBezTo>
                <a:close/>
                <a:moveTo>
                  <a:pt x="80" y="114"/>
                </a:moveTo>
                <a:cubicBezTo>
                  <a:pt x="67" y="114"/>
                  <a:pt x="57" y="125"/>
                  <a:pt x="57" y="137"/>
                </a:cubicBezTo>
                <a:cubicBezTo>
                  <a:pt x="57" y="150"/>
                  <a:pt x="67" y="160"/>
                  <a:pt x="80" y="160"/>
                </a:cubicBezTo>
                <a:cubicBezTo>
                  <a:pt x="93" y="160"/>
                  <a:pt x="103" y="150"/>
                  <a:pt x="103" y="137"/>
                </a:cubicBezTo>
                <a:cubicBezTo>
                  <a:pt x="103" y="125"/>
                  <a:pt x="93" y="114"/>
                  <a:pt x="80" y="114"/>
                </a:cubicBezTo>
                <a:close/>
                <a:moveTo>
                  <a:pt x="80" y="154"/>
                </a:moveTo>
                <a:cubicBezTo>
                  <a:pt x="71" y="154"/>
                  <a:pt x="63" y="147"/>
                  <a:pt x="63" y="137"/>
                </a:cubicBezTo>
                <a:cubicBezTo>
                  <a:pt x="63" y="128"/>
                  <a:pt x="71" y="120"/>
                  <a:pt x="80" y="120"/>
                </a:cubicBezTo>
                <a:cubicBezTo>
                  <a:pt x="89" y="120"/>
                  <a:pt x="97" y="128"/>
                  <a:pt x="97" y="137"/>
                </a:cubicBezTo>
                <a:cubicBezTo>
                  <a:pt x="97" y="147"/>
                  <a:pt x="89" y="154"/>
                  <a:pt x="80" y="154"/>
                </a:cubicBezTo>
                <a:close/>
                <a:moveTo>
                  <a:pt x="137" y="114"/>
                </a:moveTo>
                <a:cubicBezTo>
                  <a:pt x="125" y="114"/>
                  <a:pt x="114" y="125"/>
                  <a:pt x="114" y="137"/>
                </a:cubicBezTo>
                <a:cubicBezTo>
                  <a:pt x="114" y="150"/>
                  <a:pt x="125" y="160"/>
                  <a:pt x="137" y="160"/>
                </a:cubicBezTo>
                <a:cubicBezTo>
                  <a:pt x="150" y="160"/>
                  <a:pt x="160" y="150"/>
                  <a:pt x="160" y="137"/>
                </a:cubicBezTo>
                <a:cubicBezTo>
                  <a:pt x="160" y="125"/>
                  <a:pt x="150" y="114"/>
                  <a:pt x="137" y="114"/>
                </a:cubicBezTo>
                <a:close/>
                <a:moveTo>
                  <a:pt x="137" y="154"/>
                </a:moveTo>
                <a:cubicBezTo>
                  <a:pt x="128" y="154"/>
                  <a:pt x="120" y="147"/>
                  <a:pt x="120" y="137"/>
                </a:cubicBezTo>
                <a:cubicBezTo>
                  <a:pt x="120" y="128"/>
                  <a:pt x="128" y="120"/>
                  <a:pt x="137" y="120"/>
                </a:cubicBezTo>
                <a:cubicBezTo>
                  <a:pt x="147" y="120"/>
                  <a:pt x="154" y="128"/>
                  <a:pt x="154" y="137"/>
                </a:cubicBezTo>
                <a:cubicBezTo>
                  <a:pt x="154" y="147"/>
                  <a:pt x="147" y="154"/>
                  <a:pt x="137" y="154"/>
                </a:cubicBezTo>
                <a:close/>
                <a:moveTo>
                  <a:pt x="23" y="57"/>
                </a:moveTo>
                <a:cubicBezTo>
                  <a:pt x="10" y="57"/>
                  <a:pt x="0" y="67"/>
                  <a:pt x="0" y="80"/>
                </a:cubicBezTo>
                <a:cubicBezTo>
                  <a:pt x="0" y="93"/>
                  <a:pt x="10" y="103"/>
                  <a:pt x="23" y="103"/>
                </a:cubicBezTo>
                <a:cubicBezTo>
                  <a:pt x="35" y="103"/>
                  <a:pt x="46" y="93"/>
                  <a:pt x="46" y="80"/>
                </a:cubicBezTo>
                <a:cubicBezTo>
                  <a:pt x="46" y="67"/>
                  <a:pt x="35" y="57"/>
                  <a:pt x="23" y="57"/>
                </a:cubicBezTo>
                <a:close/>
                <a:moveTo>
                  <a:pt x="23" y="97"/>
                </a:moveTo>
                <a:cubicBezTo>
                  <a:pt x="13" y="97"/>
                  <a:pt x="6" y="89"/>
                  <a:pt x="6" y="80"/>
                </a:cubicBezTo>
                <a:cubicBezTo>
                  <a:pt x="6" y="71"/>
                  <a:pt x="13" y="63"/>
                  <a:pt x="23" y="63"/>
                </a:cubicBezTo>
                <a:cubicBezTo>
                  <a:pt x="32" y="63"/>
                  <a:pt x="40" y="71"/>
                  <a:pt x="40" y="80"/>
                </a:cubicBezTo>
                <a:cubicBezTo>
                  <a:pt x="40" y="89"/>
                  <a:pt x="32" y="97"/>
                  <a:pt x="23" y="97"/>
                </a:cubicBezTo>
                <a:close/>
                <a:moveTo>
                  <a:pt x="80" y="57"/>
                </a:moveTo>
                <a:cubicBezTo>
                  <a:pt x="67" y="57"/>
                  <a:pt x="57" y="67"/>
                  <a:pt x="57" y="80"/>
                </a:cubicBezTo>
                <a:cubicBezTo>
                  <a:pt x="57" y="93"/>
                  <a:pt x="67" y="103"/>
                  <a:pt x="80" y="103"/>
                </a:cubicBezTo>
                <a:cubicBezTo>
                  <a:pt x="93" y="103"/>
                  <a:pt x="103" y="93"/>
                  <a:pt x="103" y="80"/>
                </a:cubicBezTo>
                <a:cubicBezTo>
                  <a:pt x="103" y="67"/>
                  <a:pt x="93" y="57"/>
                  <a:pt x="80" y="57"/>
                </a:cubicBezTo>
                <a:close/>
                <a:moveTo>
                  <a:pt x="80" y="97"/>
                </a:moveTo>
                <a:cubicBezTo>
                  <a:pt x="71" y="97"/>
                  <a:pt x="63" y="89"/>
                  <a:pt x="63" y="80"/>
                </a:cubicBezTo>
                <a:cubicBezTo>
                  <a:pt x="63" y="71"/>
                  <a:pt x="71" y="63"/>
                  <a:pt x="80" y="63"/>
                </a:cubicBezTo>
                <a:cubicBezTo>
                  <a:pt x="89" y="63"/>
                  <a:pt x="97" y="71"/>
                  <a:pt x="97" y="80"/>
                </a:cubicBezTo>
                <a:cubicBezTo>
                  <a:pt x="97" y="89"/>
                  <a:pt x="89" y="97"/>
                  <a:pt x="80" y="97"/>
                </a:cubicBezTo>
                <a:close/>
                <a:moveTo>
                  <a:pt x="137" y="57"/>
                </a:moveTo>
                <a:cubicBezTo>
                  <a:pt x="125" y="57"/>
                  <a:pt x="114" y="67"/>
                  <a:pt x="114" y="80"/>
                </a:cubicBezTo>
                <a:cubicBezTo>
                  <a:pt x="114" y="93"/>
                  <a:pt x="125" y="103"/>
                  <a:pt x="137" y="103"/>
                </a:cubicBezTo>
                <a:cubicBezTo>
                  <a:pt x="150" y="103"/>
                  <a:pt x="160" y="93"/>
                  <a:pt x="160" y="80"/>
                </a:cubicBezTo>
                <a:cubicBezTo>
                  <a:pt x="160" y="67"/>
                  <a:pt x="150" y="57"/>
                  <a:pt x="137" y="57"/>
                </a:cubicBezTo>
                <a:close/>
                <a:moveTo>
                  <a:pt x="137" y="97"/>
                </a:moveTo>
                <a:cubicBezTo>
                  <a:pt x="128" y="97"/>
                  <a:pt x="120" y="89"/>
                  <a:pt x="120" y="80"/>
                </a:cubicBezTo>
                <a:cubicBezTo>
                  <a:pt x="120" y="71"/>
                  <a:pt x="128" y="63"/>
                  <a:pt x="137" y="63"/>
                </a:cubicBezTo>
                <a:cubicBezTo>
                  <a:pt x="147" y="63"/>
                  <a:pt x="154" y="71"/>
                  <a:pt x="154" y="80"/>
                </a:cubicBezTo>
                <a:cubicBezTo>
                  <a:pt x="154" y="89"/>
                  <a:pt x="147" y="97"/>
                  <a:pt x="137" y="97"/>
                </a:cubicBezTo>
                <a:close/>
                <a:moveTo>
                  <a:pt x="23" y="0"/>
                </a:moveTo>
                <a:cubicBezTo>
                  <a:pt x="10" y="0"/>
                  <a:pt x="0" y="10"/>
                  <a:pt x="0" y="23"/>
                </a:cubicBezTo>
                <a:cubicBezTo>
                  <a:pt x="0" y="35"/>
                  <a:pt x="10" y="46"/>
                  <a:pt x="23" y="46"/>
                </a:cubicBezTo>
                <a:cubicBezTo>
                  <a:pt x="35" y="46"/>
                  <a:pt x="46" y="35"/>
                  <a:pt x="46" y="23"/>
                </a:cubicBezTo>
                <a:cubicBezTo>
                  <a:pt x="46" y="10"/>
                  <a:pt x="35" y="0"/>
                  <a:pt x="23" y="0"/>
                </a:cubicBezTo>
                <a:close/>
                <a:moveTo>
                  <a:pt x="23" y="40"/>
                </a:moveTo>
                <a:cubicBezTo>
                  <a:pt x="13" y="40"/>
                  <a:pt x="6" y="32"/>
                  <a:pt x="6" y="23"/>
                </a:cubicBezTo>
                <a:cubicBezTo>
                  <a:pt x="6" y="13"/>
                  <a:pt x="13" y="6"/>
                  <a:pt x="23" y="6"/>
                </a:cubicBezTo>
                <a:cubicBezTo>
                  <a:pt x="32" y="6"/>
                  <a:pt x="40" y="13"/>
                  <a:pt x="40" y="23"/>
                </a:cubicBezTo>
                <a:cubicBezTo>
                  <a:pt x="40" y="32"/>
                  <a:pt x="32" y="40"/>
                  <a:pt x="23" y="40"/>
                </a:cubicBezTo>
                <a:close/>
                <a:moveTo>
                  <a:pt x="80" y="0"/>
                </a:moveTo>
                <a:cubicBezTo>
                  <a:pt x="67" y="0"/>
                  <a:pt x="57" y="10"/>
                  <a:pt x="57" y="23"/>
                </a:cubicBezTo>
                <a:cubicBezTo>
                  <a:pt x="57" y="35"/>
                  <a:pt x="67" y="46"/>
                  <a:pt x="80" y="46"/>
                </a:cubicBezTo>
                <a:cubicBezTo>
                  <a:pt x="93" y="46"/>
                  <a:pt x="103" y="35"/>
                  <a:pt x="103" y="23"/>
                </a:cubicBezTo>
                <a:cubicBezTo>
                  <a:pt x="103" y="10"/>
                  <a:pt x="93" y="0"/>
                  <a:pt x="80" y="0"/>
                </a:cubicBezTo>
                <a:close/>
                <a:moveTo>
                  <a:pt x="80" y="40"/>
                </a:moveTo>
                <a:cubicBezTo>
                  <a:pt x="71" y="40"/>
                  <a:pt x="63" y="32"/>
                  <a:pt x="63" y="23"/>
                </a:cubicBezTo>
                <a:cubicBezTo>
                  <a:pt x="63" y="13"/>
                  <a:pt x="71" y="6"/>
                  <a:pt x="80" y="6"/>
                </a:cubicBezTo>
                <a:cubicBezTo>
                  <a:pt x="89" y="6"/>
                  <a:pt x="97" y="13"/>
                  <a:pt x="97" y="23"/>
                </a:cubicBezTo>
                <a:cubicBezTo>
                  <a:pt x="97" y="32"/>
                  <a:pt x="89" y="40"/>
                  <a:pt x="80" y="40"/>
                </a:cubicBezTo>
                <a:close/>
                <a:moveTo>
                  <a:pt x="137" y="46"/>
                </a:moveTo>
                <a:cubicBezTo>
                  <a:pt x="150" y="46"/>
                  <a:pt x="160" y="35"/>
                  <a:pt x="160" y="23"/>
                </a:cubicBezTo>
                <a:cubicBezTo>
                  <a:pt x="160" y="10"/>
                  <a:pt x="150" y="0"/>
                  <a:pt x="137" y="0"/>
                </a:cubicBezTo>
                <a:cubicBezTo>
                  <a:pt x="125" y="0"/>
                  <a:pt x="114" y="10"/>
                  <a:pt x="114" y="23"/>
                </a:cubicBezTo>
                <a:cubicBezTo>
                  <a:pt x="114" y="35"/>
                  <a:pt x="125" y="46"/>
                  <a:pt x="137" y="46"/>
                </a:cubicBezTo>
                <a:close/>
                <a:moveTo>
                  <a:pt x="137" y="6"/>
                </a:moveTo>
                <a:cubicBezTo>
                  <a:pt x="147" y="6"/>
                  <a:pt x="154" y="13"/>
                  <a:pt x="154" y="23"/>
                </a:cubicBezTo>
                <a:cubicBezTo>
                  <a:pt x="154" y="32"/>
                  <a:pt x="147" y="40"/>
                  <a:pt x="137" y="40"/>
                </a:cubicBezTo>
                <a:cubicBezTo>
                  <a:pt x="128" y="40"/>
                  <a:pt x="120" y="32"/>
                  <a:pt x="120" y="23"/>
                </a:cubicBezTo>
                <a:cubicBezTo>
                  <a:pt x="120" y="13"/>
                  <a:pt x="128" y="6"/>
                  <a:pt x="137" y="6"/>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2162">
            <a:extLst>
              <a:ext uri="{FF2B5EF4-FFF2-40B4-BE49-F238E27FC236}">
                <a16:creationId xmlns:a16="http://schemas.microsoft.com/office/drawing/2014/main" id="{6532DEFE-CCAA-004A-AD6E-79C87B26CD29}"/>
              </a:ext>
            </a:extLst>
          </p:cNvPr>
          <p:cNvSpPr>
            <a:spLocks noEditPoints="1"/>
          </p:cNvSpPr>
          <p:nvPr/>
        </p:nvSpPr>
        <p:spPr bwMode="auto">
          <a:xfrm>
            <a:off x="10072876" y="5900738"/>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40 w 160"/>
              <a:gd name="T21" fmla="*/ 46 h 160"/>
              <a:gd name="T22" fmla="*/ 43 w 160"/>
              <a:gd name="T23" fmla="*/ 43 h 160"/>
              <a:gd name="T24" fmla="*/ 117 w 160"/>
              <a:gd name="T25" fmla="*/ 43 h 160"/>
              <a:gd name="T26" fmla="*/ 120 w 160"/>
              <a:gd name="T27" fmla="*/ 46 h 160"/>
              <a:gd name="T28" fmla="*/ 117 w 160"/>
              <a:gd name="T29" fmla="*/ 49 h 160"/>
              <a:gd name="T30" fmla="*/ 43 w 160"/>
              <a:gd name="T31" fmla="*/ 49 h 160"/>
              <a:gd name="T32" fmla="*/ 40 w 160"/>
              <a:gd name="T33" fmla="*/ 46 h 160"/>
              <a:gd name="T34" fmla="*/ 131 w 160"/>
              <a:gd name="T35" fmla="*/ 91 h 160"/>
              <a:gd name="T36" fmla="*/ 129 w 160"/>
              <a:gd name="T37" fmla="*/ 94 h 160"/>
              <a:gd name="T38" fmla="*/ 31 w 160"/>
              <a:gd name="T39" fmla="*/ 94 h 160"/>
              <a:gd name="T40" fmla="*/ 29 w 160"/>
              <a:gd name="T41" fmla="*/ 91 h 160"/>
              <a:gd name="T42" fmla="*/ 31 w 160"/>
              <a:gd name="T43" fmla="*/ 89 h 160"/>
              <a:gd name="T44" fmla="*/ 129 w 160"/>
              <a:gd name="T45" fmla="*/ 89 h 160"/>
              <a:gd name="T46" fmla="*/ 131 w 160"/>
              <a:gd name="T47" fmla="*/ 91 h 160"/>
              <a:gd name="T48" fmla="*/ 131 w 160"/>
              <a:gd name="T49" fmla="*/ 69 h 160"/>
              <a:gd name="T50" fmla="*/ 129 w 160"/>
              <a:gd name="T51" fmla="*/ 71 h 160"/>
              <a:gd name="T52" fmla="*/ 31 w 160"/>
              <a:gd name="T53" fmla="*/ 71 h 160"/>
              <a:gd name="T54" fmla="*/ 29 w 160"/>
              <a:gd name="T55" fmla="*/ 69 h 160"/>
              <a:gd name="T56" fmla="*/ 31 w 160"/>
              <a:gd name="T57" fmla="*/ 66 h 160"/>
              <a:gd name="T58" fmla="*/ 129 w 160"/>
              <a:gd name="T59" fmla="*/ 66 h 160"/>
              <a:gd name="T60" fmla="*/ 131 w 160"/>
              <a:gd name="T61" fmla="*/ 69 h 160"/>
              <a:gd name="T62" fmla="*/ 120 w 160"/>
              <a:gd name="T63" fmla="*/ 114 h 160"/>
              <a:gd name="T64" fmla="*/ 117 w 160"/>
              <a:gd name="T65" fmla="*/ 117 h 160"/>
              <a:gd name="T66" fmla="*/ 43 w 160"/>
              <a:gd name="T67" fmla="*/ 117 h 160"/>
              <a:gd name="T68" fmla="*/ 40 w 160"/>
              <a:gd name="T69" fmla="*/ 114 h 160"/>
              <a:gd name="T70" fmla="*/ 43 w 160"/>
              <a:gd name="T71" fmla="*/ 111 h 160"/>
              <a:gd name="T72" fmla="*/ 117 w 160"/>
              <a:gd name="T73" fmla="*/ 111 h 160"/>
              <a:gd name="T74" fmla="*/ 120 w 160"/>
              <a:gd name="T75" fmla="*/ 11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40" y="46"/>
                </a:moveTo>
                <a:cubicBezTo>
                  <a:pt x="40" y="44"/>
                  <a:pt x="41" y="43"/>
                  <a:pt x="43" y="43"/>
                </a:cubicBezTo>
                <a:cubicBezTo>
                  <a:pt x="117" y="43"/>
                  <a:pt x="117" y="43"/>
                  <a:pt x="117" y="43"/>
                </a:cubicBezTo>
                <a:cubicBezTo>
                  <a:pt x="119" y="43"/>
                  <a:pt x="120" y="44"/>
                  <a:pt x="120" y="46"/>
                </a:cubicBezTo>
                <a:cubicBezTo>
                  <a:pt x="120" y="47"/>
                  <a:pt x="119" y="49"/>
                  <a:pt x="117" y="49"/>
                </a:cubicBezTo>
                <a:cubicBezTo>
                  <a:pt x="43" y="49"/>
                  <a:pt x="43" y="49"/>
                  <a:pt x="43" y="49"/>
                </a:cubicBezTo>
                <a:cubicBezTo>
                  <a:pt x="41" y="49"/>
                  <a:pt x="40" y="47"/>
                  <a:pt x="40" y="46"/>
                </a:cubicBezTo>
                <a:close/>
                <a:moveTo>
                  <a:pt x="131" y="91"/>
                </a:moveTo>
                <a:cubicBezTo>
                  <a:pt x="131" y="93"/>
                  <a:pt x="130" y="94"/>
                  <a:pt x="129" y="94"/>
                </a:cubicBezTo>
                <a:cubicBezTo>
                  <a:pt x="31" y="94"/>
                  <a:pt x="31" y="94"/>
                  <a:pt x="31" y="94"/>
                </a:cubicBezTo>
                <a:cubicBezTo>
                  <a:pt x="30" y="94"/>
                  <a:pt x="29" y="93"/>
                  <a:pt x="29" y="91"/>
                </a:cubicBezTo>
                <a:cubicBezTo>
                  <a:pt x="29" y="90"/>
                  <a:pt x="30" y="89"/>
                  <a:pt x="31" y="89"/>
                </a:cubicBezTo>
                <a:cubicBezTo>
                  <a:pt x="129" y="89"/>
                  <a:pt x="129" y="89"/>
                  <a:pt x="129" y="89"/>
                </a:cubicBezTo>
                <a:cubicBezTo>
                  <a:pt x="130" y="89"/>
                  <a:pt x="131" y="90"/>
                  <a:pt x="131" y="91"/>
                </a:cubicBezTo>
                <a:close/>
                <a:moveTo>
                  <a:pt x="131" y="69"/>
                </a:moveTo>
                <a:cubicBezTo>
                  <a:pt x="131" y="70"/>
                  <a:pt x="130" y="71"/>
                  <a:pt x="129" y="71"/>
                </a:cubicBezTo>
                <a:cubicBezTo>
                  <a:pt x="31" y="71"/>
                  <a:pt x="31" y="71"/>
                  <a:pt x="31" y="71"/>
                </a:cubicBezTo>
                <a:cubicBezTo>
                  <a:pt x="30" y="71"/>
                  <a:pt x="29" y="70"/>
                  <a:pt x="29" y="69"/>
                </a:cubicBezTo>
                <a:cubicBezTo>
                  <a:pt x="29" y="67"/>
                  <a:pt x="30" y="66"/>
                  <a:pt x="31" y="66"/>
                </a:cubicBezTo>
                <a:cubicBezTo>
                  <a:pt x="129" y="66"/>
                  <a:pt x="129" y="66"/>
                  <a:pt x="129" y="66"/>
                </a:cubicBezTo>
                <a:cubicBezTo>
                  <a:pt x="130" y="66"/>
                  <a:pt x="131" y="67"/>
                  <a:pt x="131" y="69"/>
                </a:cubicBezTo>
                <a:close/>
                <a:moveTo>
                  <a:pt x="120" y="114"/>
                </a:moveTo>
                <a:cubicBezTo>
                  <a:pt x="120" y="116"/>
                  <a:pt x="119" y="117"/>
                  <a:pt x="117" y="117"/>
                </a:cubicBezTo>
                <a:cubicBezTo>
                  <a:pt x="43" y="117"/>
                  <a:pt x="43" y="117"/>
                  <a:pt x="43" y="117"/>
                </a:cubicBezTo>
                <a:cubicBezTo>
                  <a:pt x="41" y="117"/>
                  <a:pt x="40" y="116"/>
                  <a:pt x="40" y="114"/>
                </a:cubicBezTo>
                <a:cubicBezTo>
                  <a:pt x="40" y="113"/>
                  <a:pt x="41" y="111"/>
                  <a:pt x="43" y="111"/>
                </a:cubicBezTo>
                <a:cubicBezTo>
                  <a:pt x="117" y="111"/>
                  <a:pt x="117" y="111"/>
                  <a:pt x="117" y="111"/>
                </a:cubicBezTo>
                <a:cubicBezTo>
                  <a:pt x="119" y="111"/>
                  <a:pt x="120" y="113"/>
                  <a:pt x="120" y="114"/>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2163">
            <a:extLst>
              <a:ext uri="{FF2B5EF4-FFF2-40B4-BE49-F238E27FC236}">
                <a16:creationId xmlns:a16="http://schemas.microsoft.com/office/drawing/2014/main" id="{E95AB0A2-EB25-324E-8E9E-ECEF33F1A2B0}"/>
              </a:ext>
            </a:extLst>
          </p:cNvPr>
          <p:cNvSpPr>
            <a:spLocks noEditPoints="1"/>
          </p:cNvSpPr>
          <p:nvPr/>
        </p:nvSpPr>
        <p:spPr bwMode="auto">
          <a:xfrm>
            <a:off x="9334496" y="3462338"/>
            <a:ext cx="300038" cy="549275"/>
          </a:xfrm>
          <a:custGeom>
            <a:avLst/>
            <a:gdLst>
              <a:gd name="T0" fmla="*/ 47 w 88"/>
              <a:gd name="T1" fmla="*/ 154 h 160"/>
              <a:gd name="T2" fmla="*/ 28 w 88"/>
              <a:gd name="T3" fmla="*/ 160 h 160"/>
              <a:gd name="T4" fmla="*/ 41 w 88"/>
              <a:gd name="T5" fmla="*/ 141 h 160"/>
              <a:gd name="T6" fmla="*/ 6 w 88"/>
              <a:gd name="T7" fmla="*/ 80 h 160"/>
              <a:gd name="T8" fmla="*/ 83 w 88"/>
              <a:gd name="T9" fmla="*/ 80 h 160"/>
              <a:gd name="T10" fmla="*/ 14 w 88"/>
              <a:gd name="T11" fmla="*/ 30 h 160"/>
              <a:gd name="T12" fmla="*/ 44 w 88"/>
              <a:gd name="T13" fmla="*/ 127 h 160"/>
              <a:gd name="T14" fmla="*/ 21 w 88"/>
              <a:gd name="T15" fmla="*/ 21 h 160"/>
              <a:gd name="T16" fmla="*/ 19 w 88"/>
              <a:gd name="T17" fmla="*/ 39 h 160"/>
              <a:gd name="T18" fmla="*/ 19 w 88"/>
              <a:gd name="T19" fmla="*/ 66 h 160"/>
              <a:gd name="T20" fmla="*/ 22 w 88"/>
              <a:gd name="T21" fmla="*/ 86 h 160"/>
              <a:gd name="T22" fmla="*/ 22 w 88"/>
              <a:gd name="T23" fmla="*/ 102 h 160"/>
              <a:gd name="T24" fmla="*/ 36 w 88"/>
              <a:gd name="T25" fmla="*/ 116 h 160"/>
              <a:gd name="T26" fmla="*/ 50 w 88"/>
              <a:gd name="T27" fmla="*/ 121 h 160"/>
              <a:gd name="T28" fmla="*/ 55 w 88"/>
              <a:gd name="T29" fmla="*/ 119 h 160"/>
              <a:gd name="T30" fmla="*/ 69 w 88"/>
              <a:gd name="T31" fmla="*/ 97 h 160"/>
              <a:gd name="T32" fmla="*/ 69 w 88"/>
              <a:gd name="T33" fmla="*/ 72 h 160"/>
              <a:gd name="T34" fmla="*/ 66 w 88"/>
              <a:gd name="T35" fmla="*/ 52 h 160"/>
              <a:gd name="T36" fmla="*/ 69 w 88"/>
              <a:gd name="T37" fmla="*/ 33 h 160"/>
              <a:gd name="T38" fmla="*/ 66 w 88"/>
              <a:gd name="T39" fmla="*/ 19 h 160"/>
              <a:gd name="T40" fmla="*/ 58 w 88"/>
              <a:gd name="T41" fmla="*/ 10 h 160"/>
              <a:gd name="T42" fmla="*/ 28 w 88"/>
              <a:gd name="T43" fmla="*/ 14 h 160"/>
              <a:gd name="T44" fmla="*/ 44 w 88"/>
              <a:gd name="T45" fmla="*/ 14 h 160"/>
              <a:gd name="T46" fmla="*/ 33 w 88"/>
              <a:gd name="T47" fmla="*/ 19 h 160"/>
              <a:gd name="T48" fmla="*/ 33 w 88"/>
              <a:gd name="T49" fmla="*/ 19 h 160"/>
              <a:gd name="T50" fmla="*/ 36 w 88"/>
              <a:gd name="T51" fmla="*/ 33 h 160"/>
              <a:gd name="T52" fmla="*/ 30 w 88"/>
              <a:gd name="T53" fmla="*/ 28 h 160"/>
              <a:gd name="T54" fmla="*/ 44 w 88"/>
              <a:gd name="T55" fmla="*/ 30 h 160"/>
              <a:gd name="T56" fmla="*/ 25 w 88"/>
              <a:gd name="T57" fmla="*/ 44 h 160"/>
              <a:gd name="T58" fmla="*/ 25 w 88"/>
              <a:gd name="T59" fmla="*/ 44 h 160"/>
              <a:gd name="T60" fmla="*/ 44 w 88"/>
              <a:gd name="T61" fmla="*/ 41 h 160"/>
              <a:gd name="T62" fmla="*/ 55 w 88"/>
              <a:gd name="T63" fmla="*/ 19 h 160"/>
              <a:gd name="T64" fmla="*/ 52 w 88"/>
              <a:gd name="T65" fmla="*/ 39 h 160"/>
              <a:gd name="T66" fmla="*/ 58 w 88"/>
              <a:gd name="T67" fmla="*/ 28 h 160"/>
              <a:gd name="T68" fmla="*/ 58 w 88"/>
              <a:gd name="T69" fmla="*/ 28 h 160"/>
              <a:gd name="T70" fmla="*/ 61 w 88"/>
              <a:gd name="T71" fmla="*/ 41 h 160"/>
              <a:gd name="T72" fmla="*/ 39 w 88"/>
              <a:gd name="T73" fmla="*/ 52 h 160"/>
              <a:gd name="T74" fmla="*/ 36 w 88"/>
              <a:gd name="T75" fmla="*/ 72 h 160"/>
              <a:gd name="T76" fmla="*/ 25 w 88"/>
              <a:gd name="T77" fmla="*/ 61 h 160"/>
              <a:gd name="T78" fmla="*/ 25 w 88"/>
              <a:gd name="T79" fmla="*/ 61 h 160"/>
              <a:gd name="T80" fmla="*/ 44 w 88"/>
              <a:gd name="T81" fmla="*/ 58 h 160"/>
              <a:gd name="T82" fmla="*/ 30 w 88"/>
              <a:gd name="T83" fmla="*/ 77 h 160"/>
              <a:gd name="T84" fmla="*/ 44 w 88"/>
              <a:gd name="T85" fmla="*/ 80 h 160"/>
              <a:gd name="T86" fmla="*/ 50 w 88"/>
              <a:gd name="T87" fmla="*/ 52 h 160"/>
              <a:gd name="T88" fmla="*/ 50 w 88"/>
              <a:gd name="T89" fmla="*/ 52 h 160"/>
              <a:gd name="T90" fmla="*/ 52 w 88"/>
              <a:gd name="T91" fmla="*/ 66 h 160"/>
              <a:gd name="T92" fmla="*/ 63 w 88"/>
              <a:gd name="T93" fmla="*/ 61 h 160"/>
              <a:gd name="T94" fmla="*/ 61 w 88"/>
              <a:gd name="T95" fmla="*/ 80 h 160"/>
              <a:gd name="T96" fmla="*/ 33 w 88"/>
              <a:gd name="T97" fmla="*/ 86 h 160"/>
              <a:gd name="T98" fmla="*/ 33 w 88"/>
              <a:gd name="T99" fmla="*/ 86 h 160"/>
              <a:gd name="T100" fmla="*/ 36 w 88"/>
              <a:gd name="T101" fmla="*/ 99 h 160"/>
              <a:gd name="T102" fmla="*/ 30 w 88"/>
              <a:gd name="T103" fmla="*/ 94 h 160"/>
              <a:gd name="T104" fmla="*/ 44 w 88"/>
              <a:gd name="T105" fmla="*/ 97 h 160"/>
              <a:gd name="T106" fmla="*/ 25 w 88"/>
              <a:gd name="T107" fmla="*/ 110 h 160"/>
              <a:gd name="T108" fmla="*/ 25 w 88"/>
              <a:gd name="T109" fmla="*/ 110 h 160"/>
              <a:gd name="T110" fmla="*/ 44 w 88"/>
              <a:gd name="T111" fmla="*/ 108 h 160"/>
              <a:gd name="T112" fmla="*/ 55 w 88"/>
              <a:gd name="T113" fmla="*/ 86 h 160"/>
              <a:gd name="T114" fmla="*/ 52 w 88"/>
              <a:gd name="T115" fmla="*/ 105 h 160"/>
              <a:gd name="T116" fmla="*/ 58 w 88"/>
              <a:gd name="T117" fmla="*/ 94 h 160"/>
              <a:gd name="T118" fmla="*/ 58 w 88"/>
              <a:gd name="T119" fmla="*/ 94 h 160"/>
              <a:gd name="T120" fmla="*/ 61 w 88"/>
              <a:gd name="T121" fmla="*/ 10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8" h="160">
                <a:moveTo>
                  <a:pt x="88" y="80"/>
                </a:moveTo>
                <a:cubicBezTo>
                  <a:pt x="88" y="97"/>
                  <a:pt x="88" y="97"/>
                  <a:pt x="88" y="97"/>
                </a:cubicBezTo>
                <a:cubicBezTo>
                  <a:pt x="88" y="120"/>
                  <a:pt x="70" y="139"/>
                  <a:pt x="47" y="141"/>
                </a:cubicBezTo>
                <a:cubicBezTo>
                  <a:pt x="47" y="154"/>
                  <a:pt x="47" y="154"/>
                  <a:pt x="47" y="154"/>
                </a:cubicBezTo>
                <a:cubicBezTo>
                  <a:pt x="61" y="154"/>
                  <a:pt x="61" y="154"/>
                  <a:pt x="61" y="154"/>
                </a:cubicBezTo>
                <a:cubicBezTo>
                  <a:pt x="62" y="154"/>
                  <a:pt x="63" y="156"/>
                  <a:pt x="63" y="157"/>
                </a:cubicBezTo>
                <a:cubicBezTo>
                  <a:pt x="63" y="159"/>
                  <a:pt x="62" y="160"/>
                  <a:pt x="61" y="160"/>
                </a:cubicBezTo>
                <a:cubicBezTo>
                  <a:pt x="28" y="160"/>
                  <a:pt x="28" y="160"/>
                  <a:pt x="28" y="160"/>
                </a:cubicBezTo>
                <a:cubicBezTo>
                  <a:pt x="26" y="160"/>
                  <a:pt x="25" y="159"/>
                  <a:pt x="25" y="157"/>
                </a:cubicBezTo>
                <a:cubicBezTo>
                  <a:pt x="25" y="156"/>
                  <a:pt x="26" y="154"/>
                  <a:pt x="28" y="154"/>
                </a:cubicBezTo>
                <a:cubicBezTo>
                  <a:pt x="41" y="154"/>
                  <a:pt x="41" y="154"/>
                  <a:pt x="41" y="154"/>
                </a:cubicBezTo>
                <a:cubicBezTo>
                  <a:pt x="41" y="141"/>
                  <a:pt x="41" y="141"/>
                  <a:pt x="41" y="141"/>
                </a:cubicBezTo>
                <a:cubicBezTo>
                  <a:pt x="18" y="139"/>
                  <a:pt x="0" y="120"/>
                  <a:pt x="0" y="97"/>
                </a:cubicBezTo>
                <a:cubicBezTo>
                  <a:pt x="0" y="80"/>
                  <a:pt x="0" y="80"/>
                  <a:pt x="0" y="80"/>
                </a:cubicBezTo>
                <a:cubicBezTo>
                  <a:pt x="0" y="78"/>
                  <a:pt x="1" y="77"/>
                  <a:pt x="3" y="77"/>
                </a:cubicBezTo>
                <a:cubicBezTo>
                  <a:pt x="4" y="77"/>
                  <a:pt x="6" y="78"/>
                  <a:pt x="6" y="80"/>
                </a:cubicBezTo>
                <a:cubicBezTo>
                  <a:pt x="6" y="97"/>
                  <a:pt x="6" y="97"/>
                  <a:pt x="6" y="97"/>
                </a:cubicBezTo>
                <a:cubicBezTo>
                  <a:pt x="6" y="118"/>
                  <a:pt x="23" y="135"/>
                  <a:pt x="44" y="135"/>
                </a:cubicBezTo>
                <a:cubicBezTo>
                  <a:pt x="65" y="135"/>
                  <a:pt x="83" y="118"/>
                  <a:pt x="83" y="97"/>
                </a:cubicBezTo>
                <a:cubicBezTo>
                  <a:pt x="83" y="80"/>
                  <a:pt x="83" y="80"/>
                  <a:pt x="83" y="80"/>
                </a:cubicBezTo>
                <a:cubicBezTo>
                  <a:pt x="83" y="78"/>
                  <a:pt x="84" y="77"/>
                  <a:pt x="86" y="77"/>
                </a:cubicBezTo>
                <a:cubicBezTo>
                  <a:pt x="87" y="77"/>
                  <a:pt x="88" y="78"/>
                  <a:pt x="88" y="80"/>
                </a:cubicBezTo>
                <a:close/>
                <a:moveTo>
                  <a:pt x="14" y="97"/>
                </a:moveTo>
                <a:cubicBezTo>
                  <a:pt x="14" y="30"/>
                  <a:pt x="14" y="30"/>
                  <a:pt x="14" y="30"/>
                </a:cubicBezTo>
                <a:cubicBezTo>
                  <a:pt x="14" y="14"/>
                  <a:pt x="27" y="0"/>
                  <a:pt x="44" y="0"/>
                </a:cubicBezTo>
                <a:cubicBezTo>
                  <a:pt x="61" y="0"/>
                  <a:pt x="74" y="14"/>
                  <a:pt x="74" y="30"/>
                </a:cubicBezTo>
                <a:cubicBezTo>
                  <a:pt x="74" y="97"/>
                  <a:pt x="74" y="97"/>
                  <a:pt x="74" y="97"/>
                </a:cubicBezTo>
                <a:cubicBezTo>
                  <a:pt x="74" y="113"/>
                  <a:pt x="61" y="127"/>
                  <a:pt x="44" y="127"/>
                </a:cubicBezTo>
                <a:cubicBezTo>
                  <a:pt x="27" y="127"/>
                  <a:pt x="14" y="113"/>
                  <a:pt x="14" y="97"/>
                </a:cubicBezTo>
                <a:close/>
                <a:moveTo>
                  <a:pt x="22" y="19"/>
                </a:moveTo>
                <a:cubicBezTo>
                  <a:pt x="22" y="19"/>
                  <a:pt x="22" y="19"/>
                  <a:pt x="22" y="19"/>
                </a:cubicBezTo>
                <a:cubicBezTo>
                  <a:pt x="22" y="20"/>
                  <a:pt x="22" y="21"/>
                  <a:pt x="21" y="21"/>
                </a:cubicBezTo>
                <a:cubicBezTo>
                  <a:pt x="20" y="24"/>
                  <a:pt x="19" y="27"/>
                  <a:pt x="19" y="30"/>
                </a:cubicBezTo>
                <a:cubicBezTo>
                  <a:pt x="19" y="33"/>
                  <a:pt x="19" y="33"/>
                  <a:pt x="19" y="33"/>
                </a:cubicBezTo>
                <a:cubicBezTo>
                  <a:pt x="21" y="33"/>
                  <a:pt x="22" y="34"/>
                  <a:pt x="22" y="36"/>
                </a:cubicBezTo>
                <a:cubicBezTo>
                  <a:pt x="22" y="37"/>
                  <a:pt x="21" y="39"/>
                  <a:pt x="19" y="39"/>
                </a:cubicBezTo>
                <a:cubicBezTo>
                  <a:pt x="19" y="50"/>
                  <a:pt x="19" y="50"/>
                  <a:pt x="19" y="50"/>
                </a:cubicBezTo>
                <a:cubicBezTo>
                  <a:pt x="21" y="50"/>
                  <a:pt x="22" y="51"/>
                  <a:pt x="22" y="52"/>
                </a:cubicBezTo>
                <a:cubicBezTo>
                  <a:pt x="22" y="54"/>
                  <a:pt x="21" y="55"/>
                  <a:pt x="19" y="55"/>
                </a:cubicBezTo>
                <a:cubicBezTo>
                  <a:pt x="19" y="66"/>
                  <a:pt x="19" y="66"/>
                  <a:pt x="19" y="66"/>
                </a:cubicBezTo>
                <a:cubicBezTo>
                  <a:pt x="21" y="66"/>
                  <a:pt x="22" y="67"/>
                  <a:pt x="22" y="69"/>
                </a:cubicBezTo>
                <a:cubicBezTo>
                  <a:pt x="22" y="70"/>
                  <a:pt x="21" y="72"/>
                  <a:pt x="19" y="72"/>
                </a:cubicBezTo>
                <a:cubicBezTo>
                  <a:pt x="19" y="83"/>
                  <a:pt x="19" y="83"/>
                  <a:pt x="19" y="83"/>
                </a:cubicBezTo>
                <a:cubicBezTo>
                  <a:pt x="21" y="83"/>
                  <a:pt x="22" y="84"/>
                  <a:pt x="22" y="86"/>
                </a:cubicBezTo>
                <a:cubicBezTo>
                  <a:pt x="22" y="87"/>
                  <a:pt x="21" y="88"/>
                  <a:pt x="19" y="88"/>
                </a:cubicBezTo>
                <a:cubicBezTo>
                  <a:pt x="19" y="97"/>
                  <a:pt x="19" y="97"/>
                  <a:pt x="19" y="97"/>
                </a:cubicBezTo>
                <a:cubicBezTo>
                  <a:pt x="19" y="98"/>
                  <a:pt x="19" y="98"/>
                  <a:pt x="19" y="99"/>
                </a:cubicBezTo>
                <a:cubicBezTo>
                  <a:pt x="21" y="99"/>
                  <a:pt x="22" y="101"/>
                  <a:pt x="22" y="102"/>
                </a:cubicBezTo>
                <a:cubicBezTo>
                  <a:pt x="22" y="103"/>
                  <a:pt x="21" y="104"/>
                  <a:pt x="21" y="104"/>
                </a:cubicBezTo>
                <a:cubicBezTo>
                  <a:pt x="23" y="111"/>
                  <a:pt x="27" y="116"/>
                  <a:pt x="33" y="119"/>
                </a:cubicBezTo>
                <a:cubicBezTo>
                  <a:pt x="33" y="119"/>
                  <a:pt x="33" y="119"/>
                  <a:pt x="33" y="119"/>
                </a:cubicBezTo>
                <a:cubicBezTo>
                  <a:pt x="33" y="117"/>
                  <a:pt x="34" y="116"/>
                  <a:pt x="36" y="116"/>
                </a:cubicBezTo>
                <a:cubicBezTo>
                  <a:pt x="37" y="116"/>
                  <a:pt x="39" y="117"/>
                  <a:pt x="39" y="119"/>
                </a:cubicBezTo>
                <a:cubicBezTo>
                  <a:pt x="39" y="119"/>
                  <a:pt x="38" y="120"/>
                  <a:pt x="38" y="121"/>
                </a:cubicBezTo>
                <a:cubicBezTo>
                  <a:pt x="40" y="121"/>
                  <a:pt x="42" y="121"/>
                  <a:pt x="44" y="121"/>
                </a:cubicBezTo>
                <a:cubicBezTo>
                  <a:pt x="46" y="121"/>
                  <a:pt x="48" y="121"/>
                  <a:pt x="50" y="121"/>
                </a:cubicBezTo>
                <a:cubicBezTo>
                  <a:pt x="50" y="120"/>
                  <a:pt x="50" y="119"/>
                  <a:pt x="50" y="119"/>
                </a:cubicBezTo>
                <a:cubicBezTo>
                  <a:pt x="50" y="117"/>
                  <a:pt x="51" y="116"/>
                  <a:pt x="52" y="116"/>
                </a:cubicBezTo>
                <a:cubicBezTo>
                  <a:pt x="54" y="116"/>
                  <a:pt x="55" y="117"/>
                  <a:pt x="55" y="119"/>
                </a:cubicBezTo>
                <a:cubicBezTo>
                  <a:pt x="55" y="119"/>
                  <a:pt x="55" y="119"/>
                  <a:pt x="55" y="119"/>
                </a:cubicBezTo>
                <a:cubicBezTo>
                  <a:pt x="61" y="116"/>
                  <a:pt x="66" y="111"/>
                  <a:pt x="68" y="104"/>
                </a:cubicBezTo>
                <a:cubicBezTo>
                  <a:pt x="67" y="104"/>
                  <a:pt x="66" y="103"/>
                  <a:pt x="66" y="102"/>
                </a:cubicBezTo>
                <a:cubicBezTo>
                  <a:pt x="66" y="101"/>
                  <a:pt x="67" y="99"/>
                  <a:pt x="69" y="99"/>
                </a:cubicBezTo>
                <a:cubicBezTo>
                  <a:pt x="69" y="98"/>
                  <a:pt x="69" y="98"/>
                  <a:pt x="69" y="97"/>
                </a:cubicBezTo>
                <a:cubicBezTo>
                  <a:pt x="69" y="88"/>
                  <a:pt x="69" y="88"/>
                  <a:pt x="69" y="88"/>
                </a:cubicBezTo>
                <a:cubicBezTo>
                  <a:pt x="67" y="88"/>
                  <a:pt x="66" y="87"/>
                  <a:pt x="66" y="86"/>
                </a:cubicBezTo>
                <a:cubicBezTo>
                  <a:pt x="66" y="84"/>
                  <a:pt x="67" y="83"/>
                  <a:pt x="69" y="83"/>
                </a:cubicBezTo>
                <a:cubicBezTo>
                  <a:pt x="69" y="72"/>
                  <a:pt x="69" y="72"/>
                  <a:pt x="69" y="72"/>
                </a:cubicBezTo>
                <a:cubicBezTo>
                  <a:pt x="67" y="72"/>
                  <a:pt x="66" y="70"/>
                  <a:pt x="66" y="69"/>
                </a:cubicBezTo>
                <a:cubicBezTo>
                  <a:pt x="66" y="67"/>
                  <a:pt x="67" y="66"/>
                  <a:pt x="69" y="66"/>
                </a:cubicBezTo>
                <a:cubicBezTo>
                  <a:pt x="69" y="55"/>
                  <a:pt x="69" y="55"/>
                  <a:pt x="69" y="55"/>
                </a:cubicBezTo>
                <a:cubicBezTo>
                  <a:pt x="67" y="55"/>
                  <a:pt x="66" y="54"/>
                  <a:pt x="66" y="52"/>
                </a:cubicBezTo>
                <a:cubicBezTo>
                  <a:pt x="66" y="51"/>
                  <a:pt x="67" y="50"/>
                  <a:pt x="69" y="50"/>
                </a:cubicBezTo>
                <a:cubicBezTo>
                  <a:pt x="69" y="39"/>
                  <a:pt x="69" y="39"/>
                  <a:pt x="69" y="39"/>
                </a:cubicBezTo>
                <a:cubicBezTo>
                  <a:pt x="67" y="39"/>
                  <a:pt x="66" y="37"/>
                  <a:pt x="66" y="36"/>
                </a:cubicBezTo>
                <a:cubicBezTo>
                  <a:pt x="66" y="34"/>
                  <a:pt x="67" y="33"/>
                  <a:pt x="69" y="33"/>
                </a:cubicBezTo>
                <a:cubicBezTo>
                  <a:pt x="69" y="30"/>
                  <a:pt x="69" y="30"/>
                  <a:pt x="69" y="30"/>
                </a:cubicBezTo>
                <a:cubicBezTo>
                  <a:pt x="69" y="27"/>
                  <a:pt x="68" y="24"/>
                  <a:pt x="67" y="21"/>
                </a:cubicBezTo>
                <a:cubicBezTo>
                  <a:pt x="67" y="21"/>
                  <a:pt x="66" y="20"/>
                  <a:pt x="66" y="19"/>
                </a:cubicBezTo>
                <a:cubicBezTo>
                  <a:pt x="66" y="19"/>
                  <a:pt x="66" y="19"/>
                  <a:pt x="66" y="19"/>
                </a:cubicBezTo>
                <a:cubicBezTo>
                  <a:pt x="65" y="17"/>
                  <a:pt x="64" y="15"/>
                  <a:pt x="62" y="13"/>
                </a:cubicBezTo>
                <a:cubicBezTo>
                  <a:pt x="62" y="14"/>
                  <a:pt x="61" y="14"/>
                  <a:pt x="61" y="14"/>
                </a:cubicBezTo>
                <a:cubicBezTo>
                  <a:pt x="59" y="14"/>
                  <a:pt x="58" y="13"/>
                  <a:pt x="58" y="11"/>
                </a:cubicBezTo>
                <a:cubicBezTo>
                  <a:pt x="58" y="11"/>
                  <a:pt x="58" y="10"/>
                  <a:pt x="58" y="10"/>
                </a:cubicBezTo>
                <a:cubicBezTo>
                  <a:pt x="54" y="7"/>
                  <a:pt x="49" y="6"/>
                  <a:pt x="44" y="6"/>
                </a:cubicBezTo>
                <a:cubicBezTo>
                  <a:pt x="39" y="6"/>
                  <a:pt x="34" y="7"/>
                  <a:pt x="30" y="10"/>
                </a:cubicBezTo>
                <a:cubicBezTo>
                  <a:pt x="30" y="10"/>
                  <a:pt x="30" y="11"/>
                  <a:pt x="30" y="11"/>
                </a:cubicBezTo>
                <a:cubicBezTo>
                  <a:pt x="30" y="13"/>
                  <a:pt x="29" y="14"/>
                  <a:pt x="28" y="14"/>
                </a:cubicBezTo>
                <a:cubicBezTo>
                  <a:pt x="27" y="14"/>
                  <a:pt x="27" y="14"/>
                  <a:pt x="26" y="13"/>
                </a:cubicBezTo>
                <a:cubicBezTo>
                  <a:pt x="24" y="15"/>
                  <a:pt x="23" y="17"/>
                  <a:pt x="22" y="19"/>
                </a:cubicBezTo>
                <a:close/>
                <a:moveTo>
                  <a:pt x="41" y="11"/>
                </a:moveTo>
                <a:cubicBezTo>
                  <a:pt x="41" y="13"/>
                  <a:pt x="43" y="14"/>
                  <a:pt x="44" y="14"/>
                </a:cubicBezTo>
                <a:cubicBezTo>
                  <a:pt x="46" y="14"/>
                  <a:pt x="47" y="13"/>
                  <a:pt x="47" y="11"/>
                </a:cubicBezTo>
                <a:cubicBezTo>
                  <a:pt x="47" y="10"/>
                  <a:pt x="46" y="8"/>
                  <a:pt x="44" y="8"/>
                </a:cubicBezTo>
                <a:cubicBezTo>
                  <a:pt x="43" y="8"/>
                  <a:pt x="41" y="10"/>
                  <a:pt x="41" y="11"/>
                </a:cubicBezTo>
                <a:close/>
                <a:moveTo>
                  <a:pt x="33" y="19"/>
                </a:moveTo>
                <a:cubicBezTo>
                  <a:pt x="33" y="21"/>
                  <a:pt x="34" y="22"/>
                  <a:pt x="36" y="22"/>
                </a:cubicBezTo>
                <a:cubicBezTo>
                  <a:pt x="37" y="22"/>
                  <a:pt x="39" y="21"/>
                  <a:pt x="39" y="19"/>
                </a:cubicBezTo>
                <a:cubicBezTo>
                  <a:pt x="39" y="18"/>
                  <a:pt x="37" y="17"/>
                  <a:pt x="36" y="17"/>
                </a:cubicBezTo>
                <a:cubicBezTo>
                  <a:pt x="34" y="17"/>
                  <a:pt x="33" y="18"/>
                  <a:pt x="33" y="19"/>
                </a:cubicBezTo>
                <a:close/>
                <a:moveTo>
                  <a:pt x="33" y="36"/>
                </a:moveTo>
                <a:cubicBezTo>
                  <a:pt x="33" y="37"/>
                  <a:pt x="34" y="39"/>
                  <a:pt x="36" y="39"/>
                </a:cubicBezTo>
                <a:cubicBezTo>
                  <a:pt x="37" y="39"/>
                  <a:pt x="39" y="37"/>
                  <a:pt x="39" y="36"/>
                </a:cubicBezTo>
                <a:cubicBezTo>
                  <a:pt x="39" y="34"/>
                  <a:pt x="37" y="33"/>
                  <a:pt x="36" y="33"/>
                </a:cubicBezTo>
                <a:cubicBezTo>
                  <a:pt x="34" y="33"/>
                  <a:pt x="33" y="34"/>
                  <a:pt x="33" y="36"/>
                </a:cubicBezTo>
                <a:close/>
                <a:moveTo>
                  <a:pt x="25" y="28"/>
                </a:moveTo>
                <a:cubicBezTo>
                  <a:pt x="25" y="29"/>
                  <a:pt x="26" y="30"/>
                  <a:pt x="28" y="30"/>
                </a:cubicBezTo>
                <a:cubicBezTo>
                  <a:pt x="29" y="30"/>
                  <a:pt x="30" y="29"/>
                  <a:pt x="30" y="28"/>
                </a:cubicBezTo>
                <a:cubicBezTo>
                  <a:pt x="30" y="26"/>
                  <a:pt x="29" y="25"/>
                  <a:pt x="28" y="25"/>
                </a:cubicBezTo>
                <a:cubicBezTo>
                  <a:pt x="26" y="25"/>
                  <a:pt x="25" y="26"/>
                  <a:pt x="25" y="28"/>
                </a:cubicBezTo>
                <a:close/>
                <a:moveTo>
                  <a:pt x="41" y="28"/>
                </a:moveTo>
                <a:cubicBezTo>
                  <a:pt x="41" y="29"/>
                  <a:pt x="43" y="30"/>
                  <a:pt x="44" y="30"/>
                </a:cubicBezTo>
                <a:cubicBezTo>
                  <a:pt x="46" y="30"/>
                  <a:pt x="47" y="29"/>
                  <a:pt x="47" y="28"/>
                </a:cubicBezTo>
                <a:cubicBezTo>
                  <a:pt x="47" y="26"/>
                  <a:pt x="46" y="25"/>
                  <a:pt x="44" y="25"/>
                </a:cubicBezTo>
                <a:cubicBezTo>
                  <a:pt x="43" y="25"/>
                  <a:pt x="41" y="26"/>
                  <a:pt x="41" y="28"/>
                </a:cubicBezTo>
                <a:close/>
                <a:moveTo>
                  <a:pt x="25" y="44"/>
                </a:moveTo>
                <a:cubicBezTo>
                  <a:pt x="25" y="46"/>
                  <a:pt x="26" y="47"/>
                  <a:pt x="28" y="47"/>
                </a:cubicBezTo>
                <a:cubicBezTo>
                  <a:pt x="29" y="47"/>
                  <a:pt x="30" y="46"/>
                  <a:pt x="30" y="44"/>
                </a:cubicBezTo>
                <a:cubicBezTo>
                  <a:pt x="30" y="43"/>
                  <a:pt x="29" y="41"/>
                  <a:pt x="28" y="41"/>
                </a:cubicBezTo>
                <a:cubicBezTo>
                  <a:pt x="26" y="41"/>
                  <a:pt x="25" y="43"/>
                  <a:pt x="25" y="44"/>
                </a:cubicBezTo>
                <a:close/>
                <a:moveTo>
                  <a:pt x="41" y="44"/>
                </a:moveTo>
                <a:cubicBezTo>
                  <a:pt x="41" y="46"/>
                  <a:pt x="43" y="47"/>
                  <a:pt x="44" y="47"/>
                </a:cubicBezTo>
                <a:cubicBezTo>
                  <a:pt x="46" y="47"/>
                  <a:pt x="47" y="46"/>
                  <a:pt x="47" y="44"/>
                </a:cubicBezTo>
                <a:cubicBezTo>
                  <a:pt x="47" y="43"/>
                  <a:pt x="46" y="41"/>
                  <a:pt x="44" y="41"/>
                </a:cubicBezTo>
                <a:cubicBezTo>
                  <a:pt x="43" y="41"/>
                  <a:pt x="41" y="43"/>
                  <a:pt x="41" y="44"/>
                </a:cubicBezTo>
                <a:close/>
                <a:moveTo>
                  <a:pt x="50" y="19"/>
                </a:moveTo>
                <a:cubicBezTo>
                  <a:pt x="50" y="21"/>
                  <a:pt x="51" y="22"/>
                  <a:pt x="52" y="22"/>
                </a:cubicBezTo>
                <a:cubicBezTo>
                  <a:pt x="54" y="22"/>
                  <a:pt x="55" y="21"/>
                  <a:pt x="55" y="19"/>
                </a:cubicBezTo>
                <a:cubicBezTo>
                  <a:pt x="55" y="18"/>
                  <a:pt x="54" y="17"/>
                  <a:pt x="52" y="17"/>
                </a:cubicBezTo>
                <a:cubicBezTo>
                  <a:pt x="51" y="17"/>
                  <a:pt x="50" y="18"/>
                  <a:pt x="50" y="19"/>
                </a:cubicBezTo>
                <a:close/>
                <a:moveTo>
                  <a:pt x="50" y="36"/>
                </a:moveTo>
                <a:cubicBezTo>
                  <a:pt x="50" y="37"/>
                  <a:pt x="51" y="39"/>
                  <a:pt x="52" y="39"/>
                </a:cubicBezTo>
                <a:cubicBezTo>
                  <a:pt x="54" y="39"/>
                  <a:pt x="55" y="37"/>
                  <a:pt x="55" y="36"/>
                </a:cubicBezTo>
                <a:cubicBezTo>
                  <a:pt x="55" y="34"/>
                  <a:pt x="54" y="33"/>
                  <a:pt x="52" y="33"/>
                </a:cubicBezTo>
                <a:cubicBezTo>
                  <a:pt x="51" y="33"/>
                  <a:pt x="50" y="34"/>
                  <a:pt x="50" y="36"/>
                </a:cubicBezTo>
                <a:close/>
                <a:moveTo>
                  <a:pt x="58" y="28"/>
                </a:moveTo>
                <a:cubicBezTo>
                  <a:pt x="58" y="29"/>
                  <a:pt x="59" y="30"/>
                  <a:pt x="61" y="30"/>
                </a:cubicBezTo>
                <a:cubicBezTo>
                  <a:pt x="62" y="30"/>
                  <a:pt x="63" y="29"/>
                  <a:pt x="63" y="28"/>
                </a:cubicBezTo>
                <a:cubicBezTo>
                  <a:pt x="63" y="26"/>
                  <a:pt x="62" y="25"/>
                  <a:pt x="61" y="25"/>
                </a:cubicBezTo>
                <a:cubicBezTo>
                  <a:pt x="59" y="25"/>
                  <a:pt x="58" y="26"/>
                  <a:pt x="58" y="28"/>
                </a:cubicBezTo>
                <a:close/>
                <a:moveTo>
                  <a:pt x="58" y="44"/>
                </a:moveTo>
                <a:cubicBezTo>
                  <a:pt x="58" y="46"/>
                  <a:pt x="59" y="47"/>
                  <a:pt x="61" y="47"/>
                </a:cubicBezTo>
                <a:cubicBezTo>
                  <a:pt x="62" y="47"/>
                  <a:pt x="63" y="46"/>
                  <a:pt x="63" y="44"/>
                </a:cubicBezTo>
                <a:cubicBezTo>
                  <a:pt x="63" y="43"/>
                  <a:pt x="62" y="41"/>
                  <a:pt x="61" y="41"/>
                </a:cubicBezTo>
                <a:cubicBezTo>
                  <a:pt x="59" y="41"/>
                  <a:pt x="58" y="43"/>
                  <a:pt x="58" y="44"/>
                </a:cubicBezTo>
                <a:close/>
                <a:moveTo>
                  <a:pt x="33" y="52"/>
                </a:moveTo>
                <a:cubicBezTo>
                  <a:pt x="33" y="54"/>
                  <a:pt x="34" y="55"/>
                  <a:pt x="36" y="55"/>
                </a:cubicBezTo>
                <a:cubicBezTo>
                  <a:pt x="37" y="55"/>
                  <a:pt x="39" y="54"/>
                  <a:pt x="39" y="52"/>
                </a:cubicBezTo>
                <a:cubicBezTo>
                  <a:pt x="39" y="51"/>
                  <a:pt x="37" y="50"/>
                  <a:pt x="36" y="50"/>
                </a:cubicBezTo>
                <a:cubicBezTo>
                  <a:pt x="34" y="50"/>
                  <a:pt x="33" y="51"/>
                  <a:pt x="33" y="52"/>
                </a:cubicBezTo>
                <a:close/>
                <a:moveTo>
                  <a:pt x="33" y="69"/>
                </a:moveTo>
                <a:cubicBezTo>
                  <a:pt x="33" y="70"/>
                  <a:pt x="34" y="72"/>
                  <a:pt x="36" y="72"/>
                </a:cubicBezTo>
                <a:cubicBezTo>
                  <a:pt x="37" y="72"/>
                  <a:pt x="39" y="70"/>
                  <a:pt x="39" y="69"/>
                </a:cubicBezTo>
                <a:cubicBezTo>
                  <a:pt x="39" y="67"/>
                  <a:pt x="37" y="66"/>
                  <a:pt x="36" y="66"/>
                </a:cubicBezTo>
                <a:cubicBezTo>
                  <a:pt x="34" y="66"/>
                  <a:pt x="33" y="67"/>
                  <a:pt x="33" y="69"/>
                </a:cubicBezTo>
                <a:close/>
                <a:moveTo>
                  <a:pt x="25" y="61"/>
                </a:moveTo>
                <a:cubicBezTo>
                  <a:pt x="25" y="62"/>
                  <a:pt x="26" y="63"/>
                  <a:pt x="28" y="63"/>
                </a:cubicBezTo>
                <a:cubicBezTo>
                  <a:pt x="29" y="63"/>
                  <a:pt x="30" y="62"/>
                  <a:pt x="30" y="61"/>
                </a:cubicBezTo>
                <a:cubicBezTo>
                  <a:pt x="30" y="59"/>
                  <a:pt x="29" y="58"/>
                  <a:pt x="28" y="58"/>
                </a:cubicBezTo>
                <a:cubicBezTo>
                  <a:pt x="26" y="58"/>
                  <a:pt x="25" y="59"/>
                  <a:pt x="25" y="61"/>
                </a:cubicBezTo>
                <a:close/>
                <a:moveTo>
                  <a:pt x="41" y="61"/>
                </a:moveTo>
                <a:cubicBezTo>
                  <a:pt x="41" y="62"/>
                  <a:pt x="43" y="63"/>
                  <a:pt x="44" y="63"/>
                </a:cubicBezTo>
                <a:cubicBezTo>
                  <a:pt x="46" y="63"/>
                  <a:pt x="47" y="62"/>
                  <a:pt x="47" y="61"/>
                </a:cubicBezTo>
                <a:cubicBezTo>
                  <a:pt x="47" y="59"/>
                  <a:pt x="46" y="58"/>
                  <a:pt x="44" y="58"/>
                </a:cubicBezTo>
                <a:cubicBezTo>
                  <a:pt x="43" y="58"/>
                  <a:pt x="41" y="59"/>
                  <a:pt x="41" y="61"/>
                </a:cubicBezTo>
                <a:close/>
                <a:moveTo>
                  <a:pt x="25" y="77"/>
                </a:moveTo>
                <a:cubicBezTo>
                  <a:pt x="25" y="79"/>
                  <a:pt x="26" y="80"/>
                  <a:pt x="28" y="80"/>
                </a:cubicBezTo>
                <a:cubicBezTo>
                  <a:pt x="29" y="80"/>
                  <a:pt x="30" y="79"/>
                  <a:pt x="30" y="77"/>
                </a:cubicBezTo>
                <a:cubicBezTo>
                  <a:pt x="30" y="76"/>
                  <a:pt x="29" y="74"/>
                  <a:pt x="28" y="74"/>
                </a:cubicBezTo>
                <a:cubicBezTo>
                  <a:pt x="26" y="74"/>
                  <a:pt x="25" y="76"/>
                  <a:pt x="25" y="77"/>
                </a:cubicBezTo>
                <a:close/>
                <a:moveTo>
                  <a:pt x="41" y="77"/>
                </a:moveTo>
                <a:cubicBezTo>
                  <a:pt x="41" y="79"/>
                  <a:pt x="43" y="80"/>
                  <a:pt x="44" y="80"/>
                </a:cubicBezTo>
                <a:cubicBezTo>
                  <a:pt x="46" y="80"/>
                  <a:pt x="47" y="79"/>
                  <a:pt x="47" y="77"/>
                </a:cubicBezTo>
                <a:cubicBezTo>
                  <a:pt x="47" y="76"/>
                  <a:pt x="46" y="74"/>
                  <a:pt x="44" y="74"/>
                </a:cubicBezTo>
                <a:cubicBezTo>
                  <a:pt x="43" y="74"/>
                  <a:pt x="41" y="76"/>
                  <a:pt x="41" y="77"/>
                </a:cubicBezTo>
                <a:close/>
                <a:moveTo>
                  <a:pt x="50" y="52"/>
                </a:moveTo>
                <a:cubicBezTo>
                  <a:pt x="50" y="54"/>
                  <a:pt x="51" y="55"/>
                  <a:pt x="52" y="55"/>
                </a:cubicBezTo>
                <a:cubicBezTo>
                  <a:pt x="54" y="55"/>
                  <a:pt x="55" y="54"/>
                  <a:pt x="55" y="52"/>
                </a:cubicBezTo>
                <a:cubicBezTo>
                  <a:pt x="55" y="51"/>
                  <a:pt x="54" y="50"/>
                  <a:pt x="52" y="50"/>
                </a:cubicBezTo>
                <a:cubicBezTo>
                  <a:pt x="51" y="50"/>
                  <a:pt x="50" y="51"/>
                  <a:pt x="50" y="52"/>
                </a:cubicBezTo>
                <a:close/>
                <a:moveTo>
                  <a:pt x="50" y="69"/>
                </a:moveTo>
                <a:cubicBezTo>
                  <a:pt x="50" y="70"/>
                  <a:pt x="51" y="72"/>
                  <a:pt x="52" y="72"/>
                </a:cubicBezTo>
                <a:cubicBezTo>
                  <a:pt x="54" y="72"/>
                  <a:pt x="55" y="70"/>
                  <a:pt x="55" y="69"/>
                </a:cubicBezTo>
                <a:cubicBezTo>
                  <a:pt x="55" y="67"/>
                  <a:pt x="54" y="66"/>
                  <a:pt x="52" y="66"/>
                </a:cubicBezTo>
                <a:cubicBezTo>
                  <a:pt x="51" y="66"/>
                  <a:pt x="50" y="67"/>
                  <a:pt x="50" y="69"/>
                </a:cubicBezTo>
                <a:close/>
                <a:moveTo>
                  <a:pt x="58" y="61"/>
                </a:moveTo>
                <a:cubicBezTo>
                  <a:pt x="58" y="62"/>
                  <a:pt x="59" y="63"/>
                  <a:pt x="61" y="63"/>
                </a:cubicBezTo>
                <a:cubicBezTo>
                  <a:pt x="62" y="63"/>
                  <a:pt x="63" y="62"/>
                  <a:pt x="63" y="61"/>
                </a:cubicBezTo>
                <a:cubicBezTo>
                  <a:pt x="63" y="59"/>
                  <a:pt x="62" y="58"/>
                  <a:pt x="61" y="58"/>
                </a:cubicBezTo>
                <a:cubicBezTo>
                  <a:pt x="59" y="58"/>
                  <a:pt x="58" y="59"/>
                  <a:pt x="58" y="61"/>
                </a:cubicBezTo>
                <a:close/>
                <a:moveTo>
                  <a:pt x="58" y="77"/>
                </a:moveTo>
                <a:cubicBezTo>
                  <a:pt x="58" y="79"/>
                  <a:pt x="59" y="80"/>
                  <a:pt x="61" y="80"/>
                </a:cubicBezTo>
                <a:cubicBezTo>
                  <a:pt x="62" y="80"/>
                  <a:pt x="63" y="79"/>
                  <a:pt x="63" y="77"/>
                </a:cubicBezTo>
                <a:cubicBezTo>
                  <a:pt x="63" y="76"/>
                  <a:pt x="62" y="74"/>
                  <a:pt x="61" y="74"/>
                </a:cubicBezTo>
                <a:cubicBezTo>
                  <a:pt x="59" y="74"/>
                  <a:pt x="58" y="76"/>
                  <a:pt x="58" y="77"/>
                </a:cubicBezTo>
                <a:close/>
                <a:moveTo>
                  <a:pt x="33" y="86"/>
                </a:moveTo>
                <a:cubicBezTo>
                  <a:pt x="33" y="87"/>
                  <a:pt x="34" y="88"/>
                  <a:pt x="36" y="88"/>
                </a:cubicBezTo>
                <a:cubicBezTo>
                  <a:pt x="37" y="88"/>
                  <a:pt x="39" y="87"/>
                  <a:pt x="39" y="86"/>
                </a:cubicBezTo>
                <a:cubicBezTo>
                  <a:pt x="39" y="84"/>
                  <a:pt x="37" y="83"/>
                  <a:pt x="36" y="83"/>
                </a:cubicBezTo>
                <a:cubicBezTo>
                  <a:pt x="34" y="83"/>
                  <a:pt x="33" y="84"/>
                  <a:pt x="33" y="86"/>
                </a:cubicBezTo>
                <a:close/>
                <a:moveTo>
                  <a:pt x="33" y="102"/>
                </a:moveTo>
                <a:cubicBezTo>
                  <a:pt x="33" y="104"/>
                  <a:pt x="34" y="105"/>
                  <a:pt x="36" y="105"/>
                </a:cubicBezTo>
                <a:cubicBezTo>
                  <a:pt x="37" y="105"/>
                  <a:pt x="39" y="104"/>
                  <a:pt x="39" y="102"/>
                </a:cubicBezTo>
                <a:cubicBezTo>
                  <a:pt x="39" y="101"/>
                  <a:pt x="37" y="99"/>
                  <a:pt x="36" y="99"/>
                </a:cubicBezTo>
                <a:cubicBezTo>
                  <a:pt x="34" y="99"/>
                  <a:pt x="33" y="101"/>
                  <a:pt x="33" y="102"/>
                </a:cubicBezTo>
                <a:close/>
                <a:moveTo>
                  <a:pt x="25" y="94"/>
                </a:moveTo>
                <a:cubicBezTo>
                  <a:pt x="25" y="95"/>
                  <a:pt x="26" y="97"/>
                  <a:pt x="28" y="97"/>
                </a:cubicBezTo>
                <a:cubicBezTo>
                  <a:pt x="29" y="97"/>
                  <a:pt x="30" y="95"/>
                  <a:pt x="30" y="94"/>
                </a:cubicBezTo>
                <a:cubicBezTo>
                  <a:pt x="30" y="92"/>
                  <a:pt x="29" y="91"/>
                  <a:pt x="28" y="91"/>
                </a:cubicBezTo>
                <a:cubicBezTo>
                  <a:pt x="26" y="91"/>
                  <a:pt x="25" y="92"/>
                  <a:pt x="25" y="94"/>
                </a:cubicBezTo>
                <a:close/>
                <a:moveTo>
                  <a:pt x="41" y="94"/>
                </a:moveTo>
                <a:cubicBezTo>
                  <a:pt x="41" y="95"/>
                  <a:pt x="43" y="97"/>
                  <a:pt x="44" y="97"/>
                </a:cubicBezTo>
                <a:cubicBezTo>
                  <a:pt x="46" y="97"/>
                  <a:pt x="47" y="95"/>
                  <a:pt x="47" y="94"/>
                </a:cubicBezTo>
                <a:cubicBezTo>
                  <a:pt x="47" y="92"/>
                  <a:pt x="46" y="91"/>
                  <a:pt x="44" y="91"/>
                </a:cubicBezTo>
                <a:cubicBezTo>
                  <a:pt x="43" y="91"/>
                  <a:pt x="41" y="92"/>
                  <a:pt x="41" y="94"/>
                </a:cubicBezTo>
                <a:close/>
                <a:moveTo>
                  <a:pt x="25" y="110"/>
                </a:moveTo>
                <a:cubicBezTo>
                  <a:pt x="25" y="112"/>
                  <a:pt x="26" y="113"/>
                  <a:pt x="28" y="113"/>
                </a:cubicBezTo>
                <a:cubicBezTo>
                  <a:pt x="29" y="113"/>
                  <a:pt x="30" y="112"/>
                  <a:pt x="30" y="110"/>
                </a:cubicBezTo>
                <a:cubicBezTo>
                  <a:pt x="30" y="109"/>
                  <a:pt x="29" y="108"/>
                  <a:pt x="28" y="108"/>
                </a:cubicBezTo>
                <a:cubicBezTo>
                  <a:pt x="26" y="108"/>
                  <a:pt x="25" y="109"/>
                  <a:pt x="25" y="110"/>
                </a:cubicBezTo>
                <a:close/>
                <a:moveTo>
                  <a:pt x="41" y="110"/>
                </a:moveTo>
                <a:cubicBezTo>
                  <a:pt x="41" y="112"/>
                  <a:pt x="43" y="113"/>
                  <a:pt x="44" y="113"/>
                </a:cubicBezTo>
                <a:cubicBezTo>
                  <a:pt x="46" y="113"/>
                  <a:pt x="47" y="112"/>
                  <a:pt x="47" y="110"/>
                </a:cubicBezTo>
                <a:cubicBezTo>
                  <a:pt x="47" y="109"/>
                  <a:pt x="46" y="108"/>
                  <a:pt x="44" y="108"/>
                </a:cubicBezTo>
                <a:cubicBezTo>
                  <a:pt x="43" y="108"/>
                  <a:pt x="41" y="109"/>
                  <a:pt x="41" y="110"/>
                </a:cubicBezTo>
                <a:close/>
                <a:moveTo>
                  <a:pt x="50" y="86"/>
                </a:moveTo>
                <a:cubicBezTo>
                  <a:pt x="50" y="87"/>
                  <a:pt x="51" y="88"/>
                  <a:pt x="52" y="88"/>
                </a:cubicBezTo>
                <a:cubicBezTo>
                  <a:pt x="54" y="88"/>
                  <a:pt x="55" y="87"/>
                  <a:pt x="55" y="86"/>
                </a:cubicBezTo>
                <a:cubicBezTo>
                  <a:pt x="55" y="84"/>
                  <a:pt x="54" y="83"/>
                  <a:pt x="52" y="83"/>
                </a:cubicBezTo>
                <a:cubicBezTo>
                  <a:pt x="51" y="83"/>
                  <a:pt x="50" y="84"/>
                  <a:pt x="50" y="86"/>
                </a:cubicBezTo>
                <a:close/>
                <a:moveTo>
                  <a:pt x="50" y="102"/>
                </a:moveTo>
                <a:cubicBezTo>
                  <a:pt x="50" y="104"/>
                  <a:pt x="51" y="105"/>
                  <a:pt x="52" y="105"/>
                </a:cubicBezTo>
                <a:cubicBezTo>
                  <a:pt x="54" y="105"/>
                  <a:pt x="55" y="104"/>
                  <a:pt x="55" y="102"/>
                </a:cubicBezTo>
                <a:cubicBezTo>
                  <a:pt x="55" y="101"/>
                  <a:pt x="54" y="99"/>
                  <a:pt x="52" y="99"/>
                </a:cubicBezTo>
                <a:cubicBezTo>
                  <a:pt x="51" y="99"/>
                  <a:pt x="50" y="101"/>
                  <a:pt x="50" y="102"/>
                </a:cubicBezTo>
                <a:close/>
                <a:moveTo>
                  <a:pt x="58" y="94"/>
                </a:moveTo>
                <a:cubicBezTo>
                  <a:pt x="58" y="95"/>
                  <a:pt x="59" y="97"/>
                  <a:pt x="61" y="97"/>
                </a:cubicBezTo>
                <a:cubicBezTo>
                  <a:pt x="62" y="97"/>
                  <a:pt x="63" y="95"/>
                  <a:pt x="63" y="94"/>
                </a:cubicBezTo>
                <a:cubicBezTo>
                  <a:pt x="63" y="92"/>
                  <a:pt x="62" y="91"/>
                  <a:pt x="61" y="91"/>
                </a:cubicBezTo>
                <a:cubicBezTo>
                  <a:pt x="59" y="91"/>
                  <a:pt x="58" y="92"/>
                  <a:pt x="58" y="94"/>
                </a:cubicBezTo>
                <a:close/>
                <a:moveTo>
                  <a:pt x="58" y="110"/>
                </a:moveTo>
                <a:cubicBezTo>
                  <a:pt x="58" y="112"/>
                  <a:pt x="59" y="113"/>
                  <a:pt x="61" y="113"/>
                </a:cubicBezTo>
                <a:cubicBezTo>
                  <a:pt x="62" y="113"/>
                  <a:pt x="63" y="112"/>
                  <a:pt x="63" y="110"/>
                </a:cubicBezTo>
                <a:cubicBezTo>
                  <a:pt x="63" y="109"/>
                  <a:pt x="62" y="108"/>
                  <a:pt x="61" y="108"/>
                </a:cubicBezTo>
                <a:cubicBezTo>
                  <a:pt x="59" y="108"/>
                  <a:pt x="58" y="109"/>
                  <a:pt x="58" y="110"/>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Freeform 2164">
            <a:extLst>
              <a:ext uri="{FF2B5EF4-FFF2-40B4-BE49-F238E27FC236}">
                <a16:creationId xmlns:a16="http://schemas.microsoft.com/office/drawing/2014/main" id="{2C2F206C-39D2-E448-A2F9-72DB22D5A7E9}"/>
              </a:ext>
            </a:extLst>
          </p:cNvPr>
          <p:cNvSpPr>
            <a:spLocks noEditPoints="1"/>
          </p:cNvSpPr>
          <p:nvPr/>
        </p:nvSpPr>
        <p:spPr bwMode="auto">
          <a:xfrm>
            <a:off x="9334496" y="4081463"/>
            <a:ext cx="300038" cy="550863"/>
          </a:xfrm>
          <a:custGeom>
            <a:avLst/>
            <a:gdLst>
              <a:gd name="T0" fmla="*/ 88 w 88"/>
              <a:gd name="T1" fmla="*/ 80 h 160"/>
              <a:gd name="T2" fmla="*/ 88 w 88"/>
              <a:gd name="T3" fmla="*/ 97 h 160"/>
              <a:gd name="T4" fmla="*/ 47 w 88"/>
              <a:gd name="T5" fmla="*/ 141 h 160"/>
              <a:gd name="T6" fmla="*/ 47 w 88"/>
              <a:gd name="T7" fmla="*/ 154 h 160"/>
              <a:gd name="T8" fmla="*/ 61 w 88"/>
              <a:gd name="T9" fmla="*/ 154 h 160"/>
              <a:gd name="T10" fmla="*/ 63 w 88"/>
              <a:gd name="T11" fmla="*/ 157 h 160"/>
              <a:gd name="T12" fmla="*/ 61 w 88"/>
              <a:gd name="T13" fmla="*/ 160 h 160"/>
              <a:gd name="T14" fmla="*/ 28 w 88"/>
              <a:gd name="T15" fmla="*/ 160 h 160"/>
              <a:gd name="T16" fmla="*/ 25 w 88"/>
              <a:gd name="T17" fmla="*/ 157 h 160"/>
              <a:gd name="T18" fmla="*/ 28 w 88"/>
              <a:gd name="T19" fmla="*/ 154 h 160"/>
              <a:gd name="T20" fmla="*/ 41 w 88"/>
              <a:gd name="T21" fmla="*/ 154 h 160"/>
              <a:gd name="T22" fmla="*/ 41 w 88"/>
              <a:gd name="T23" fmla="*/ 141 h 160"/>
              <a:gd name="T24" fmla="*/ 0 w 88"/>
              <a:gd name="T25" fmla="*/ 97 h 160"/>
              <a:gd name="T26" fmla="*/ 0 w 88"/>
              <a:gd name="T27" fmla="*/ 80 h 160"/>
              <a:gd name="T28" fmla="*/ 3 w 88"/>
              <a:gd name="T29" fmla="*/ 77 h 160"/>
              <a:gd name="T30" fmla="*/ 6 w 88"/>
              <a:gd name="T31" fmla="*/ 80 h 160"/>
              <a:gd name="T32" fmla="*/ 6 w 88"/>
              <a:gd name="T33" fmla="*/ 97 h 160"/>
              <a:gd name="T34" fmla="*/ 44 w 88"/>
              <a:gd name="T35" fmla="*/ 135 h 160"/>
              <a:gd name="T36" fmla="*/ 83 w 88"/>
              <a:gd name="T37" fmla="*/ 97 h 160"/>
              <a:gd name="T38" fmla="*/ 83 w 88"/>
              <a:gd name="T39" fmla="*/ 80 h 160"/>
              <a:gd name="T40" fmla="*/ 86 w 88"/>
              <a:gd name="T41" fmla="*/ 77 h 160"/>
              <a:gd name="T42" fmla="*/ 88 w 88"/>
              <a:gd name="T43" fmla="*/ 80 h 160"/>
              <a:gd name="T44" fmla="*/ 14 w 88"/>
              <a:gd name="T45" fmla="*/ 97 h 160"/>
              <a:gd name="T46" fmla="*/ 14 w 88"/>
              <a:gd name="T47" fmla="*/ 30 h 160"/>
              <a:gd name="T48" fmla="*/ 44 w 88"/>
              <a:gd name="T49" fmla="*/ 0 h 160"/>
              <a:gd name="T50" fmla="*/ 74 w 88"/>
              <a:gd name="T51" fmla="*/ 30 h 160"/>
              <a:gd name="T52" fmla="*/ 74 w 88"/>
              <a:gd name="T53" fmla="*/ 97 h 160"/>
              <a:gd name="T54" fmla="*/ 44 w 88"/>
              <a:gd name="T55" fmla="*/ 127 h 160"/>
              <a:gd name="T56" fmla="*/ 14 w 88"/>
              <a:gd name="T57" fmla="*/ 97 h 160"/>
              <a:gd name="T58" fmla="*/ 19 w 88"/>
              <a:gd name="T59" fmla="*/ 97 h 160"/>
              <a:gd name="T60" fmla="*/ 44 w 88"/>
              <a:gd name="T61" fmla="*/ 121 h 160"/>
              <a:gd name="T62" fmla="*/ 69 w 88"/>
              <a:gd name="T63" fmla="*/ 97 h 160"/>
              <a:gd name="T64" fmla="*/ 69 w 88"/>
              <a:gd name="T65" fmla="*/ 30 h 160"/>
              <a:gd name="T66" fmla="*/ 44 w 88"/>
              <a:gd name="T67" fmla="*/ 6 h 160"/>
              <a:gd name="T68" fmla="*/ 19 w 88"/>
              <a:gd name="T69" fmla="*/ 30 h 160"/>
              <a:gd name="T70" fmla="*/ 19 w 88"/>
              <a:gd name="T71" fmla="*/ 9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160">
                <a:moveTo>
                  <a:pt x="88" y="80"/>
                </a:moveTo>
                <a:cubicBezTo>
                  <a:pt x="88" y="97"/>
                  <a:pt x="88" y="97"/>
                  <a:pt x="88" y="97"/>
                </a:cubicBezTo>
                <a:cubicBezTo>
                  <a:pt x="88" y="120"/>
                  <a:pt x="70" y="139"/>
                  <a:pt x="47" y="141"/>
                </a:cubicBezTo>
                <a:cubicBezTo>
                  <a:pt x="47" y="154"/>
                  <a:pt x="47" y="154"/>
                  <a:pt x="47" y="154"/>
                </a:cubicBezTo>
                <a:cubicBezTo>
                  <a:pt x="61" y="154"/>
                  <a:pt x="61" y="154"/>
                  <a:pt x="61" y="154"/>
                </a:cubicBezTo>
                <a:cubicBezTo>
                  <a:pt x="62" y="154"/>
                  <a:pt x="63" y="156"/>
                  <a:pt x="63" y="157"/>
                </a:cubicBezTo>
                <a:cubicBezTo>
                  <a:pt x="63" y="159"/>
                  <a:pt x="62" y="160"/>
                  <a:pt x="61" y="160"/>
                </a:cubicBezTo>
                <a:cubicBezTo>
                  <a:pt x="28" y="160"/>
                  <a:pt x="28" y="160"/>
                  <a:pt x="28" y="160"/>
                </a:cubicBezTo>
                <a:cubicBezTo>
                  <a:pt x="26" y="160"/>
                  <a:pt x="25" y="159"/>
                  <a:pt x="25" y="157"/>
                </a:cubicBezTo>
                <a:cubicBezTo>
                  <a:pt x="25" y="156"/>
                  <a:pt x="26" y="154"/>
                  <a:pt x="28" y="154"/>
                </a:cubicBezTo>
                <a:cubicBezTo>
                  <a:pt x="41" y="154"/>
                  <a:pt x="41" y="154"/>
                  <a:pt x="41" y="154"/>
                </a:cubicBezTo>
                <a:cubicBezTo>
                  <a:pt x="41" y="141"/>
                  <a:pt x="41" y="141"/>
                  <a:pt x="41" y="141"/>
                </a:cubicBezTo>
                <a:cubicBezTo>
                  <a:pt x="18" y="139"/>
                  <a:pt x="0" y="120"/>
                  <a:pt x="0" y="97"/>
                </a:cubicBezTo>
                <a:cubicBezTo>
                  <a:pt x="0" y="80"/>
                  <a:pt x="0" y="80"/>
                  <a:pt x="0" y="80"/>
                </a:cubicBezTo>
                <a:cubicBezTo>
                  <a:pt x="0" y="78"/>
                  <a:pt x="1" y="77"/>
                  <a:pt x="3" y="77"/>
                </a:cubicBezTo>
                <a:cubicBezTo>
                  <a:pt x="4" y="77"/>
                  <a:pt x="6" y="78"/>
                  <a:pt x="6" y="80"/>
                </a:cubicBezTo>
                <a:cubicBezTo>
                  <a:pt x="6" y="97"/>
                  <a:pt x="6" y="97"/>
                  <a:pt x="6" y="97"/>
                </a:cubicBezTo>
                <a:cubicBezTo>
                  <a:pt x="6" y="118"/>
                  <a:pt x="23" y="135"/>
                  <a:pt x="44" y="135"/>
                </a:cubicBezTo>
                <a:cubicBezTo>
                  <a:pt x="65" y="135"/>
                  <a:pt x="83" y="118"/>
                  <a:pt x="83" y="97"/>
                </a:cubicBezTo>
                <a:cubicBezTo>
                  <a:pt x="83" y="80"/>
                  <a:pt x="83" y="80"/>
                  <a:pt x="83" y="80"/>
                </a:cubicBezTo>
                <a:cubicBezTo>
                  <a:pt x="83" y="78"/>
                  <a:pt x="84" y="77"/>
                  <a:pt x="86" y="77"/>
                </a:cubicBezTo>
                <a:cubicBezTo>
                  <a:pt x="87" y="77"/>
                  <a:pt x="88" y="78"/>
                  <a:pt x="88" y="80"/>
                </a:cubicBezTo>
                <a:close/>
                <a:moveTo>
                  <a:pt x="14" y="97"/>
                </a:moveTo>
                <a:cubicBezTo>
                  <a:pt x="14" y="30"/>
                  <a:pt x="14" y="30"/>
                  <a:pt x="14" y="30"/>
                </a:cubicBezTo>
                <a:cubicBezTo>
                  <a:pt x="14" y="14"/>
                  <a:pt x="27" y="0"/>
                  <a:pt x="44" y="0"/>
                </a:cubicBezTo>
                <a:cubicBezTo>
                  <a:pt x="61" y="0"/>
                  <a:pt x="74" y="14"/>
                  <a:pt x="74" y="30"/>
                </a:cubicBezTo>
                <a:cubicBezTo>
                  <a:pt x="74" y="97"/>
                  <a:pt x="74" y="97"/>
                  <a:pt x="74" y="97"/>
                </a:cubicBezTo>
                <a:cubicBezTo>
                  <a:pt x="74" y="113"/>
                  <a:pt x="61" y="127"/>
                  <a:pt x="44" y="127"/>
                </a:cubicBezTo>
                <a:cubicBezTo>
                  <a:pt x="27" y="127"/>
                  <a:pt x="14" y="113"/>
                  <a:pt x="14" y="97"/>
                </a:cubicBezTo>
                <a:close/>
                <a:moveTo>
                  <a:pt x="19" y="97"/>
                </a:moveTo>
                <a:cubicBezTo>
                  <a:pt x="19" y="110"/>
                  <a:pt x="30" y="121"/>
                  <a:pt x="44" y="121"/>
                </a:cubicBezTo>
                <a:cubicBezTo>
                  <a:pt x="58" y="121"/>
                  <a:pt x="69" y="110"/>
                  <a:pt x="69" y="97"/>
                </a:cubicBezTo>
                <a:cubicBezTo>
                  <a:pt x="69" y="30"/>
                  <a:pt x="69" y="30"/>
                  <a:pt x="69" y="30"/>
                </a:cubicBezTo>
                <a:cubicBezTo>
                  <a:pt x="69" y="17"/>
                  <a:pt x="58" y="6"/>
                  <a:pt x="44" y="6"/>
                </a:cubicBezTo>
                <a:cubicBezTo>
                  <a:pt x="30" y="6"/>
                  <a:pt x="19" y="17"/>
                  <a:pt x="19" y="30"/>
                </a:cubicBezTo>
                <a:lnTo>
                  <a:pt x="19" y="97"/>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Freeform 2165">
            <a:extLst>
              <a:ext uri="{FF2B5EF4-FFF2-40B4-BE49-F238E27FC236}">
                <a16:creationId xmlns:a16="http://schemas.microsoft.com/office/drawing/2014/main" id="{E4F14E3C-6811-9641-ABF1-C2AB26C0828B}"/>
              </a:ext>
            </a:extLst>
          </p:cNvPr>
          <p:cNvSpPr>
            <a:spLocks noEditPoints="1"/>
          </p:cNvSpPr>
          <p:nvPr/>
        </p:nvSpPr>
        <p:spPr bwMode="auto">
          <a:xfrm>
            <a:off x="9210671" y="4892675"/>
            <a:ext cx="546100" cy="152400"/>
          </a:xfrm>
          <a:custGeom>
            <a:avLst/>
            <a:gdLst>
              <a:gd name="T0" fmla="*/ 138 w 160"/>
              <a:gd name="T1" fmla="*/ 44 h 44"/>
              <a:gd name="T2" fmla="*/ 22 w 160"/>
              <a:gd name="T3" fmla="*/ 44 h 44"/>
              <a:gd name="T4" fmla="*/ 0 w 160"/>
              <a:gd name="T5" fmla="*/ 22 h 44"/>
              <a:gd name="T6" fmla="*/ 22 w 160"/>
              <a:gd name="T7" fmla="*/ 0 h 44"/>
              <a:gd name="T8" fmla="*/ 138 w 160"/>
              <a:gd name="T9" fmla="*/ 0 h 44"/>
              <a:gd name="T10" fmla="*/ 160 w 160"/>
              <a:gd name="T11" fmla="*/ 22 h 44"/>
              <a:gd name="T12" fmla="*/ 138 w 160"/>
              <a:gd name="T13" fmla="*/ 44 h 44"/>
              <a:gd name="T14" fmla="*/ 22 w 160"/>
              <a:gd name="T15" fmla="*/ 7 h 44"/>
              <a:gd name="T16" fmla="*/ 7 w 160"/>
              <a:gd name="T17" fmla="*/ 22 h 44"/>
              <a:gd name="T18" fmla="*/ 22 w 160"/>
              <a:gd name="T19" fmla="*/ 36 h 44"/>
              <a:gd name="T20" fmla="*/ 138 w 160"/>
              <a:gd name="T21" fmla="*/ 36 h 44"/>
              <a:gd name="T22" fmla="*/ 153 w 160"/>
              <a:gd name="T23" fmla="*/ 22 h 44"/>
              <a:gd name="T24" fmla="*/ 138 w 160"/>
              <a:gd name="T25" fmla="*/ 7 h 44"/>
              <a:gd name="T26" fmla="*/ 22 w 160"/>
              <a:gd name="T27"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44">
                <a:moveTo>
                  <a:pt x="138" y="44"/>
                </a:moveTo>
                <a:cubicBezTo>
                  <a:pt x="22" y="44"/>
                  <a:pt x="22" y="44"/>
                  <a:pt x="22" y="44"/>
                </a:cubicBezTo>
                <a:cubicBezTo>
                  <a:pt x="10" y="44"/>
                  <a:pt x="0" y="34"/>
                  <a:pt x="0" y="22"/>
                </a:cubicBezTo>
                <a:cubicBezTo>
                  <a:pt x="0" y="10"/>
                  <a:pt x="10" y="0"/>
                  <a:pt x="22" y="0"/>
                </a:cubicBezTo>
                <a:cubicBezTo>
                  <a:pt x="138" y="0"/>
                  <a:pt x="138" y="0"/>
                  <a:pt x="138" y="0"/>
                </a:cubicBezTo>
                <a:cubicBezTo>
                  <a:pt x="150" y="0"/>
                  <a:pt x="160" y="10"/>
                  <a:pt x="160" y="22"/>
                </a:cubicBezTo>
                <a:cubicBezTo>
                  <a:pt x="160" y="34"/>
                  <a:pt x="150" y="44"/>
                  <a:pt x="138" y="44"/>
                </a:cubicBezTo>
                <a:close/>
                <a:moveTo>
                  <a:pt x="22" y="7"/>
                </a:moveTo>
                <a:cubicBezTo>
                  <a:pt x="14" y="7"/>
                  <a:pt x="7" y="14"/>
                  <a:pt x="7" y="22"/>
                </a:cubicBezTo>
                <a:cubicBezTo>
                  <a:pt x="7" y="30"/>
                  <a:pt x="14" y="36"/>
                  <a:pt x="22" y="36"/>
                </a:cubicBezTo>
                <a:cubicBezTo>
                  <a:pt x="138" y="36"/>
                  <a:pt x="138" y="36"/>
                  <a:pt x="138" y="36"/>
                </a:cubicBezTo>
                <a:cubicBezTo>
                  <a:pt x="146" y="36"/>
                  <a:pt x="153" y="30"/>
                  <a:pt x="153" y="22"/>
                </a:cubicBezTo>
                <a:cubicBezTo>
                  <a:pt x="153" y="14"/>
                  <a:pt x="146" y="7"/>
                  <a:pt x="138" y="7"/>
                </a:cubicBezTo>
                <a:lnTo>
                  <a:pt x="22" y="7"/>
                </a:ln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Freeform 2166">
            <a:extLst>
              <a:ext uri="{FF2B5EF4-FFF2-40B4-BE49-F238E27FC236}">
                <a16:creationId xmlns:a16="http://schemas.microsoft.com/office/drawing/2014/main" id="{E575FB84-0016-7A4C-9AC8-705FAE826373}"/>
              </a:ext>
            </a:extLst>
          </p:cNvPr>
          <p:cNvSpPr>
            <a:spLocks noEditPoints="1"/>
          </p:cNvSpPr>
          <p:nvPr/>
        </p:nvSpPr>
        <p:spPr bwMode="auto">
          <a:xfrm>
            <a:off x="9210671" y="5319713"/>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123 w 160"/>
              <a:gd name="T21" fmla="*/ 80 h 160"/>
              <a:gd name="T22" fmla="*/ 120 w 160"/>
              <a:gd name="T23" fmla="*/ 83 h 160"/>
              <a:gd name="T24" fmla="*/ 40 w 160"/>
              <a:gd name="T25" fmla="*/ 83 h 160"/>
              <a:gd name="T26" fmla="*/ 37 w 160"/>
              <a:gd name="T27" fmla="*/ 80 h 160"/>
              <a:gd name="T28" fmla="*/ 40 w 160"/>
              <a:gd name="T29" fmla="*/ 77 h 160"/>
              <a:gd name="T30" fmla="*/ 120 w 160"/>
              <a:gd name="T31" fmla="*/ 77 h 160"/>
              <a:gd name="T32" fmla="*/ 123 w 160"/>
              <a:gd name="T3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123" y="80"/>
                </a:moveTo>
                <a:cubicBezTo>
                  <a:pt x="123" y="82"/>
                  <a:pt x="122" y="83"/>
                  <a:pt x="120" y="83"/>
                </a:cubicBezTo>
                <a:cubicBezTo>
                  <a:pt x="40" y="83"/>
                  <a:pt x="40" y="83"/>
                  <a:pt x="40" y="83"/>
                </a:cubicBezTo>
                <a:cubicBezTo>
                  <a:pt x="38" y="83"/>
                  <a:pt x="37" y="82"/>
                  <a:pt x="37" y="80"/>
                </a:cubicBezTo>
                <a:cubicBezTo>
                  <a:pt x="37" y="78"/>
                  <a:pt x="38" y="77"/>
                  <a:pt x="40" y="77"/>
                </a:cubicBezTo>
                <a:cubicBezTo>
                  <a:pt x="120" y="77"/>
                  <a:pt x="120" y="77"/>
                  <a:pt x="120" y="77"/>
                </a:cubicBezTo>
                <a:cubicBezTo>
                  <a:pt x="122" y="77"/>
                  <a:pt x="123" y="78"/>
                  <a:pt x="123" y="80"/>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2167">
            <a:extLst>
              <a:ext uri="{FF2B5EF4-FFF2-40B4-BE49-F238E27FC236}">
                <a16:creationId xmlns:a16="http://schemas.microsoft.com/office/drawing/2014/main" id="{09B39B6E-867F-6E49-80B0-A444B6BC2B65}"/>
              </a:ext>
            </a:extLst>
          </p:cNvPr>
          <p:cNvSpPr>
            <a:spLocks noEditPoints="1"/>
          </p:cNvSpPr>
          <p:nvPr/>
        </p:nvSpPr>
        <p:spPr bwMode="auto">
          <a:xfrm>
            <a:off x="9210671" y="6132513"/>
            <a:ext cx="546100" cy="147638"/>
          </a:xfrm>
          <a:custGeom>
            <a:avLst/>
            <a:gdLst>
              <a:gd name="T0" fmla="*/ 21 w 160"/>
              <a:gd name="T1" fmla="*/ 0 h 43"/>
              <a:gd name="T2" fmla="*/ 0 w 160"/>
              <a:gd name="T3" fmla="*/ 21 h 43"/>
              <a:gd name="T4" fmla="*/ 21 w 160"/>
              <a:gd name="T5" fmla="*/ 43 h 43"/>
              <a:gd name="T6" fmla="*/ 43 w 160"/>
              <a:gd name="T7" fmla="*/ 21 h 43"/>
              <a:gd name="T8" fmla="*/ 21 w 160"/>
              <a:gd name="T9" fmla="*/ 0 h 43"/>
              <a:gd name="T10" fmla="*/ 21 w 160"/>
              <a:gd name="T11" fmla="*/ 37 h 43"/>
              <a:gd name="T12" fmla="*/ 5 w 160"/>
              <a:gd name="T13" fmla="*/ 21 h 43"/>
              <a:gd name="T14" fmla="*/ 21 w 160"/>
              <a:gd name="T15" fmla="*/ 5 h 43"/>
              <a:gd name="T16" fmla="*/ 37 w 160"/>
              <a:gd name="T17" fmla="*/ 21 h 43"/>
              <a:gd name="T18" fmla="*/ 21 w 160"/>
              <a:gd name="T19" fmla="*/ 37 h 43"/>
              <a:gd name="T20" fmla="*/ 139 w 160"/>
              <a:gd name="T21" fmla="*/ 0 h 43"/>
              <a:gd name="T22" fmla="*/ 117 w 160"/>
              <a:gd name="T23" fmla="*/ 21 h 43"/>
              <a:gd name="T24" fmla="*/ 139 w 160"/>
              <a:gd name="T25" fmla="*/ 43 h 43"/>
              <a:gd name="T26" fmla="*/ 160 w 160"/>
              <a:gd name="T27" fmla="*/ 21 h 43"/>
              <a:gd name="T28" fmla="*/ 139 w 160"/>
              <a:gd name="T29" fmla="*/ 0 h 43"/>
              <a:gd name="T30" fmla="*/ 139 w 160"/>
              <a:gd name="T31" fmla="*/ 37 h 43"/>
              <a:gd name="T32" fmla="*/ 123 w 160"/>
              <a:gd name="T33" fmla="*/ 21 h 43"/>
              <a:gd name="T34" fmla="*/ 139 w 160"/>
              <a:gd name="T35" fmla="*/ 5 h 43"/>
              <a:gd name="T36" fmla="*/ 155 w 160"/>
              <a:gd name="T37" fmla="*/ 21 h 43"/>
              <a:gd name="T38" fmla="*/ 139 w 160"/>
              <a:gd name="T39" fmla="*/ 37 h 43"/>
              <a:gd name="T40" fmla="*/ 80 w 160"/>
              <a:gd name="T41" fmla="*/ 0 h 43"/>
              <a:gd name="T42" fmla="*/ 59 w 160"/>
              <a:gd name="T43" fmla="*/ 21 h 43"/>
              <a:gd name="T44" fmla="*/ 80 w 160"/>
              <a:gd name="T45" fmla="*/ 43 h 43"/>
              <a:gd name="T46" fmla="*/ 101 w 160"/>
              <a:gd name="T47" fmla="*/ 21 h 43"/>
              <a:gd name="T48" fmla="*/ 80 w 160"/>
              <a:gd name="T49" fmla="*/ 0 h 43"/>
              <a:gd name="T50" fmla="*/ 80 w 160"/>
              <a:gd name="T51" fmla="*/ 37 h 43"/>
              <a:gd name="T52" fmla="*/ 64 w 160"/>
              <a:gd name="T53" fmla="*/ 21 h 43"/>
              <a:gd name="T54" fmla="*/ 80 w 160"/>
              <a:gd name="T55" fmla="*/ 5 h 43"/>
              <a:gd name="T56" fmla="*/ 96 w 160"/>
              <a:gd name="T57" fmla="*/ 21 h 43"/>
              <a:gd name="T58" fmla="*/ 80 w 160"/>
              <a:gd name="T59" fmla="*/ 3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43">
                <a:moveTo>
                  <a:pt x="21" y="0"/>
                </a:moveTo>
                <a:cubicBezTo>
                  <a:pt x="10" y="0"/>
                  <a:pt x="0" y="10"/>
                  <a:pt x="0" y="21"/>
                </a:cubicBezTo>
                <a:cubicBezTo>
                  <a:pt x="0" y="33"/>
                  <a:pt x="10" y="43"/>
                  <a:pt x="21" y="43"/>
                </a:cubicBezTo>
                <a:cubicBezTo>
                  <a:pt x="33" y="43"/>
                  <a:pt x="43" y="33"/>
                  <a:pt x="43" y="21"/>
                </a:cubicBezTo>
                <a:cubicBezTo>
                  <a:pt x="43" y="10"/>
                  <a:pt x="33" y="0"/>
                  <a:pt x="21" y="0"/>
                </a:cubicBezTo>
                <a:close/>
                <a:moveTo>
                  <a:pt x="21" y="37"/>
                </a:moveTo>
                <a:cubicBezTo>
                  <a:pt x="13" y="37"/>
                  <a:pt x="5" y="30"/>
                  <a:pt x="5" y="21"/>
                </a:cubicBezTo>
                <a:cubicBezTo>
                  <a:pt x="5" y="13"/>
                  <a:pt x="13" y="5"/>
                  <a:pt x="21" y="5"/>
                </a:cubicBezTo>
                <a:cubicBezTo>
                  <a:pt x="30" y="5"/>
                  <a:pt x="37" y="13"/>
                  <a:pt x="37" y="21"/>
                </a:cubicBezTo>
                <a:cubicBezTo>
                  <a:pt x="37" y="30"/>
                  <a:pt x="30" y="37"/>
                  <a:pt x="21" y="37"/>
                </a:cubicBezTo>
                <a:close/>
                <a:moveTo>
                  <a:pt x="139" y="0"/>
                </a:moveTo>
                <a:cubicBezTo>
                  <a:pt x="127" y="0"/>
                  <a:pt x="117" y="10"/>
                  <a:pt x="117" y="21"/>
                </a:cubicBezTo>
                <a:cubicBezTo>
                  <a:pt x="117" y="33"/>
                  <a:pt x="127" y="43"/>
                  <a:pt x="139" y="43"/>
                </a:cubicBezTo>
                <a:cubicBezTo>
                  <a:pt x="150" y="43"/>
                  <a:pt x="160" y="33"/>
                  <a:pt x="160" y="21"/>
                </a:cubicBezTo>
                <a:cubicBezTo>
                  <a:pt x="160" y="10"/>
                  <a:pt x="150" y="0"/>
                  <a:pt x="139" y="0"/>
                </a:cubicBezTo>
                <a:close/>
                <a:moveTo>
                  <a:pt x="139" y="37"/>
                </a:moveTo>
                <a:cubicBezTo>
                  <a:pt x="130" y="37"/>
                  <a:pt x="123" y="30"/>
                  <a:pt x="123" y="21"/>
                </a:cubicBezTo>
                <a:cubicBezTo>
                  <a:pt x="123" y="13"/>
                  <a:pt x="130" y="5"/>
                  <a:pt x="139" y="5"/>
                </a:cubicBezTo>
                <a:cubicBezTo>
                  <a:pt x="147" y="5"/>
                  <a:pt x="155" y="13"/>
                  <a:pt x="155" y="21"/>
                </a:cubicBezTo>
                <a:cubicBezTo>
                  <a:pt x="155" y="30"/>
                  <a:pt x="147" y="37"/>
                  <a:pt x="139" y="37"/>
                </a:cubicBezTo>
                <a:close/>
                <a:moveTo>
                  <a:pt x="80" y="0"/>
                </a:moveTo>
                <a:cubicBezTo>
                  <a:pt x="68" y="0"/>
                  <a:pt x="59" y="10"/>
                  <a:pt x="59" y="21"/>
                </a:cubicBezTo>
                <a:cubicBezTo>
                  <a:pt x="59" y="33"/>
                  <a:pt x="68" y="43"/>
                  <a:pt x="80" y="43"/>
                </a:cubicBezTo>
                <a:cubicBezTo>
                  <a:pt x="92" y="43"/>
                  <a:pt x="101" y="33"/>
                  <a:pt x="101" y="21"/>
                </a:cubicBezTo>
                <a:cubicBezTo>
                  <a:pt x="101" y="10"/>
                  <a:pt x="92" y="0"/>
                  <a:pt x="80" y="0"/>
                </a:cubicBezTo>
                <a:close/>
                <a:moveTo>
                  <a:pt x="80" y="37"/>
                </a:moveTo>
                <a:cubicBezTo>
                  <a:pt x="71" y="37"/>
                  <a:pt x="64" y="30"/>
                  <a:pt x="64" y="21"/>
                </a:cubicBezTo>
                <a:cubicBezTo>
                  <a:pt x="64" y="13"/>
                  <a:pt x="71" y="5"/>
                  <a:pt x="80" y="5"/>
                </a:cubicBezTo>
                <a:cubicBezTo>
                  <a:pt x="89" y="5"/>
                  <a:pt x="96" y="13"/>
                  <a:pt x="96" y="21"/>
                </a:cubicBezTo>
                <a:cubicBezTo>
                  <a:pt x="96" y="30"/>
                  <a:pt x="89" y="37"/>
                  <a:pt x="80" y="37"/>
                </a:cubicBezTo>
                <a:close/>
              </a:path>
            </a:pathLst>
          </a:custGeom>
          <a:solidFill>
            <a:srgbClr val="000000">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4756685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843">
            <a:extLst>
              <a:ext uri="{FF2B5EF4-FFF2-40B4-BE49-F238E27FC236}">
                <a16:creationId xmlns:a16="http://schemas.microsoft.com/office/drawing/2014/main" id="{346EBA21-CD3C-864C-BE02-0B8F5FDA3AE4}"/>
              </a:ext>
            </a:extLst>
          </p:cNvPr>
          <p:cNvSpPr>
            <a:spLocks noEditPoints="1"/>
          </p:cNvSpPr>
          <p:nvPr/>
        </p:nvSpPr>
        <p:spPr bwMode="auto">
          <a:xfrm>
            <a:off x="576145" y="365125"/>
            <a:ext cx="546100" cy="550863"/>
          </a:xfrm>
          <a:custGeom>
            <a:avLst/>
            <a:gdLst>
              <a:gd name="T0" fmla="*/ 80 w 160"/>
              <a:gd name="T1" fmla="*/ 160 h 160"/>
              <a:gd name="T2" fmla="*/ 58 w 160"/>
              <a:gd name="T3" fmla="*/ 138 h 160"/>
              <a:gd name="T4" fmla="*/ 58 w 160"/>
              <a:gd name="T5" fmla="*/ 102 h 160"/>
              <a:gd name="T6" fmla="*/ 22 w 160"/>
              <a:gd name="T7" fmla="*/ 102 h 160"/>
              <a:gd name="T8" fmla="*/ 0 w 160"/>
              <a:gd name="T9" fmla="*/ 80 h 160"/>
              <a:gd name="T10" fmla="*/ 22 w 160"/>
              <a:gd name="T11" fmla="*/ 58 h 160"/>
              <a:gd name="T12" fmla="*/ 58 w 160"/>
              <a:gd name="T13" fmla="*/ 58 h 160"/>
              <a:gd name="T14" fmla="*/ 58 w 160"/>
              <a:gd name="T15" fmla="*/ 22 h 160"/>
              <a:gd name="T16" fmla="*/ 80 w 160"/>
              <a:gd name="T17" fmla="*/ 0 h 160"/>
              <a:gd name="T18" fmla="*/ 102 w 160"/>
              <a:gd name="T19" fmla="*/ 22 h 160"/>
              <a:gd name="T20" fmla="*/ 102 w 160"/>
              <a:gd name="T21" fmla="*/ 58 h 160"/>
              <a:gd name="T22" fmla="*/ 138 w 160"/>
              <a:gd name="T23" fmla="*/ 58 h 160"/>
              <a:gd name="T24" fmla="*/ 160 w 160"/>
              <a:gd name="T25" fmla="*/ 80 h 160"/>
              <a:gd name="T26" fmla="*/ 138 w 160"/>
              <a:gd name="T27" fmla="*/ 102 h 160"/>
              <a:gd name="T28" fmla="*/ 102 w 160"/>
              <a:gd name="T29" fmla="*/ 102 h 160"/>
              <a:gd name="T30" fmla="*/ 102 w 160"/>
              <a:gd name="T31" fmla="*/ 138 h 160"/>
              <a:gd name="T32" fmla="*/ 80 w 160"/>
              <a:gd name="T33" fmla="*/ 160 h 160"/>
              <a:gd name="T34" fmla="*/ 22 w 160"/>
              <a:gd name="T35" fmla="*/ 65 h 160"/>
              <a:gd name="T36" fmla="*/ 7 w 160"/>
              <a:gd name="T37" fmla="*/ 80 h 160"/>
              <a:gd name="T38" fmla="*/ 22 w 160"/>
              <a:gd name="T39" fmla="*/ 95 h 160"/>
              <a:gd name="T40" fmla="*/ 65 w 160"/>
              <a:gd name="T41" fmla="*/ 95 h 160"/>
              <a:gd name="T42" fmla="*/ 65 w 160"/>
              <a:gd name="T43" fmla="*/ 138 h 160"/>
              <a:gd name="T44" fmla="*/ 80 w 160"/>
              <a:gd name="T45" fmla="*/ 153 h 160"/>
              <a:gd name="T46" fmla="*/ 95 w 160"/>
              <a:gd name="T47" fmla="*/ 138 h 160"/>
              <a:gd name="T48" fmla="*/ 95 w 160"/>
              <a:gd name="T49" fmla="*/ 95 h 160"/>
              <a:gd name="T50" fmla="*/ 138 w 160"/>
              <a:gd name="T51" fmla="*/ 95 h 160"/>
              <a:gd name="T52" fmla="*/ 153 w 160"/>
              <a:gd name="T53" fmla="*/ 80 h 160"/>
              <a:gd name="T54" fmla="*/ 138 w 160"/>
              <a:gd name="T55" fmla="*/ 65 h 160"/>
              <a:gd name="T56" fmla="*/ 95 w 160"/>
              <a:gd name="T57" fmla="*/ 65 h 160"/>
              <a:gd name="T58" fmla="*/ 95 w 160"/>
              <a:gd name="T59" fmla="*/ 22 h 160"/>
              <a:gd name="T60" fmla="*/ 80 w 160"/>
              <a:gd name="T61" fmla="*/ 7 h 160"/>
              <a:gd name="T62" fmla="*/ 65 w 160"/>
              <a:gd name="T63" fmla="*/ 22 h 160"/>
              <a:gd name="T64" fmla="*/ 65 w 160"/>
              <a:gd name="T65" fmla="*/ 65 h 160"/>
              <a:gd name="T66" fmla="*/ 22 w 160"/>
              <a:gd name="T67" fmla="*/ 6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60">
                <a:moveTo>
                  <a:pt x="80" y="160"/>
                </a:moveTo>
                <a:cubicBezTo>
                  <a:pt x="68" y="160"/>
                  <a:pt x="58" y="150"/>
                  <a:pt x="58" y="138"/>
                </a:cubicBezTo>
                <a:cubicBezTo>
                  <a:pt x="58" y="102"/>
                  <a:pt x="58" y="102"/>
                  <a:pt x="58" y="102"/>
                </a:cubicBezTo>
                <a:cubicBezTo>
                  <a:pt x="22" y="102"/>
                  <a:pt x="22" y="102"/>
                  <a:pt x="22" y="102"/>
                </a:cubicBezTo>
                <a:cubicBezTo>
                  <a:pt x="10" y="102"/>
                  <a:pt x="0" y="92"/>
                  <a:pt x="0" y="80"/>
                </a:cubicBezTo>
                <a:cubicBezTo>
                  <a:pt x="0" y="68"/>
                  <a:pt x="10" y="58"/>
                  <a:pt x="22" y="58"/>
                </a:cubicBezTo>
                <a:cubicBezTo>
                  <a:pt x="58" y="58"/>
                  <a:pt x="58" y="58"/>
                  <a:pt x="58" y="58"/>
                </a:cubicBezTo>
                <a:cubicBezTo>
                  <a:pt x="58" y="22"/>
                  <a:pt x="58" y="22"/>
                  <a:pt x="58" y="22"/>
                </a:cubicBezTo>
                <a:cubicBezTo>
                  <a:pt x="58" y="10"/>
                  <a:pt x="68" y="0"/>
                  <a:pt x="80" y="0"/>
                </a:cubicBezTo>
                <a:cubicBezTo>
                  <a:pt x="92" y="0"/>
                  <a:pt x="102" y="10"/>
                  <a:pt x="102" y="22"/>
                </a:cubicBezTo>
                <a:cubicBezTo>
                  <a:pt x="102" y="58"/>
                  <a:pt x="102" y="58"/>
                  <a:pt x="102" y="58"/>
                </a:cubicBezTo>
                <a:cubicBezTo>
                  <a:pt x="138" y="58"/>
                  <a:pt x="138" y="58"/>
                  <a:pt x="138" y="58"/>
                </a:cubicBezTo>
                <a:cubicBezTo>
                  <a:pt x="150" y="58"/>
                  <a:pt x="160" y="68"/>
                  <a:pt x="160" y="80"/>
                </a:cubicBezTo>
                <a:cubicBezTo>
                  <a:pt x="160" y="92"/>
                  <a:pt x="150" y="102"/>
                  <a:pt x="138" y="102"/>
                </a:cubicBezTo>
                <a:cubicBezTo>
                  <a:pt x="102" y="102"/>
                  <a:pt x="102" y="102"/>
                  <a:pt x="102" y="102"/>
                </a:cubicBezTo>
                <a:cubicBezTo>
                  <a:pt x="102" y="138"/>
                  <a:pt x="102" y="138"/>
                  <a:pt x="102" y="138"/>
                </a:cubicBezTo>
                <a:cubicBezTo>
                  <a:pt x="102" y="150"/>
                  <a:pt x="92" y="160"/>
                  <a:pt x="80" y="160"/>
                </a:cubicBezTo>
                <a:close/>
                <a:moveTo>
                  <a:pt x="22" y="65"/>
                </a:moveTo>
                <a:cubicBezTo>
                  <a:pt x="14" y="65"/>
                  <a:pt x="7" y="72"/>
                  <a:pt x="7" y="80"/>
                </a:cubicBezTo>
                <a:cubicBezTo>
                  <a:pt x="7" y="88"/>
                  <a:pt x="14" y="95"/>
                  <a:pt x="22" y="95"/>
                </a:cubicBezTo>
                <a:cubicBezTo>
                  <a:pt x="65" y="95"/>
                  <a:pt x="65" y="95"/>
                  <a:pt x="65" y="95"/>
                </a:cubicBezTo>
                <a:cubicBezTo>
                  <a:pt x="65" y="138"/>
                  <a:pt x="65" y="138"/>
                  <a:pt x="65" y="138"/>
                </a:cubicBezTo>
                <a:cubicBezTo>
                  <a:pt x="65" y="146"/>
                  <a:pt x="72" y="153"/>
                  <a:pt x="80" y="153"/>
                </a:cubicBezTo>
                <a:cubicBezTo>
                  <a:pt x="88" y="153"/>
                  <a:pt x="95" y="146"/>
                  <a:pt x="95" y="138"/>
                </a:cubicBezTo>
                <a:cubicBezTo>
                  <a:pt x="95" y="95"/>
                  <a:pt x="95" y="95"/>
                  <a:pt x="95" y="95"/>
                </a:cubicBezTo>
                <a:cubicBezTo>
                  <a:pt x="138" y="95"/>
                  <a:pt x="138" y="95"/>
                  <a:pt x="138" y="95"/>
                </a:cubicBezTo>
                <a:cubicBezTo>
                  <a:pt x="146" y="95"/>
                  <a:pt x="153" y="88"/>
                  <a:pt x="153" y="80"/>
                </a:cubicBezTo>
                <a:cubicBezTo>
                  <a:pt x="153" y="72"/>
                  <a:pt x="146" y="65"/>
                  <a:pt x="138" y="65"/>
                </a:cubicBezTo>
                <a:cubicBezTo>
                  <a:pt x="95" y="65"/>
                  <a:pt x="95" y="65"/>
                  <a:pt x="95" y="65"/>
                </a:cubicBezTo>
                <a:cubicBezTo>
                  <a:pt x="95" y="22"/>
                  <a:pt x="95" y="22"/>
                  <a:pt x="95" y="22"/>
                </a:cubicBezTo>
                <a:cubicBezTo>
                  <a:pt x="95" y="14"/>
                  <a:pt x="88" y="7"/>
                  <a:pt x="80" y="7"/>
                </a:cubicBezTo>
                <a:cubicBezTo>
                  <a:pt x="72" y="7"/>
                  <a:pt x="65" y="14"/>
                  <a:pt x="65" y="22"/>
                </a:cubicBezTo>
                <a:cubicBezTo>
                  <a:pt x="65" y="65"/>
                  <a:pt x="65" y="65"/>
                  <a:pt x="65" y="65"/>
                </a:cubicBezTo>
                <a:lnTo>
                  <a:pt x="22" y="65"/>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Freeform 844">
            <a:extLst>
              <a:ext uri="{FF2B5EF4-FFF2-40B4-BE49-F238E27FC236}">
                <a16:creationId xmlns:a16="http://schemas.microsoft.com/office/drawing/2014/main" id="{26A0478A-EEF4-A947-9F11-041FDBB063AD}"/>
              </a:ext>
            </a:extLst>
          </p:cNvPr>
          <p:cNvSpPr>
            <a:spLocks noEditPoints="1"/>
          </p:cNvSpPr>
          <p:nvPr/>
        </p:nvSpPr>
        <p:spPr bwMode="auto">
          <a:xfrm>
            <a:off x="576145" y="984250"/>
            <a:ext cx="546100" cy="550863"/>
          </a:xfrm>
          <a:custGeom>
            <a:avLst/>
            <a:gdLst>
              <a:gd name="T0" fmla="*/ 0 w 344"/>
              <a:gd name="T1" fmla="*/ 0 h 347"/>
              <a:gd name="T2" fmla="*/ 0 w 344"/>
              <a:gd name="T3" fmla="*/ 347 h 347"/>
              <a:gd name="T4" fmla="*/ 344 w 344"/>
              <a:gd name="T5" fmla="*/ 347 h 347"/>
              <a:gd name="T6" fmla="*/ 344 w 344"/>
              <a:gd name="T7" fmla="*/ 0 h 347"/>
              <a:gd name="T8" fmla="*/ 0 w 344"/>
              <a:gd name="T9" fmla="*/ 0 h 347"/>
              <a:gd name="T10" fmla="*/ 333 w 344"/>
              <a:gd name="T11" fmla="*/ 336 h 347"/>
              <a:gd name="T12" fmla="*/ 11 w 344"/>
              <a:gd name="T13" fmla="*/ 336 h 347"/>
              <a:gd name="T14" fmla="*/ 11 w 344"/>
              <a:gd name="T15" fmla="*/ 11 h 347"/>
              <a:gd name="T16" fmla="*/ 333 w 344"/>
              <a:gd name="T17" fmla="*/ 11 h 347"/>
              <a:gd name="T18" fmla="*/ 333 w 344"/>
              <a:gd name="T19" fmla="*/ 336 h 347"/>
              <a:gd name="T20" fmla="*/ 166 w 344"/>
              <a:gd name="T21" fmla="*/ 180 h 347"/>
              <a:gd name="T22" fmla="*/ 52 w 344"/>
              <a:gd name="T23" fmla="*/ 180 h 347"/>
              <a:gd name="T24" fmla="*/ 52 w 344"/>
              <a:gd name="T25" fmla="*/ 167 h 347"/>
              <a:gd name="T26" fmla="*/ 166 w 344"/>
              <a:gd name="T27" fmla="*/ 167 h 347"/>
              <a:gd name="T28" fmla="*/ 166 w 344"/>
              <a:gd name="T29" fmla="*/ 52 h 347"/>
              <a:gd name="T30" fmla="*/ 178 w 344"/>
              <a:gd name="T31" fmla="*/ 52 h 347"/>
              <a:gd name="T32" fmla="*/ 178 w 344"/>
              <a:gd name="T33" fmla="*/ 167 h 347"/>
              <a:gd name="T34" fmla="*/ 292 w 344"/>
              <a:gd name="T35" fmla="*/ 167 h 347"/>
              <a:gd name="T36" fmla="*/ 292 w 344"/>
              <a:gd name="T37" fmla="*/ 180 h 347"/>
              <a:gd name="T38" fmla="*/ 178 w 344"/>
              <a:gd name="T39" fmla="*/ 180 h 347"/>
              <a:gd name="T40" fmla="*/ 178 w 344"/>
              <a:gd name="T41" fmla="*/ 295 h 347"/>
              <a:gd name="T42" fmla="*/ 166 w 344"/>
              <a:gd name="T43" fmla="*/ 295 h 347"/>
              <a:gd name="T44" fmla="*/ 166 w 344"/>
              <a:gd name="T45" fmla="*/ 18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347">
                <a:moveTo>
                  <a:pt x="0" y="0"/>
                </a:moveTo>
                <a:lnTo>
                  <a:pt x="0" y="347"/>
                </a:lnTo>
                <a:lnTo>
                  <a:pt x="344" y="347"/>
                </a:lnTo>
                <a:lnTo>
                  <a:pt x="344" y="0"/>
                </a:lnTo>
                <a:lnTo>
                  <a:pt x="0" y="0"/>
                </a:lnTo>
                <a:close/>
                <a:moveTo>
                  <a:pt x="333" y="336"/>
                </a:moveTo>
                <a:lnTo>
                  <a:pt x="11" y="336"/>
                </a:lnTo>
                <a:lnTo>
                  <a:pt x="11" y="11"/>
                </a:lnTo>
                <a:lnTo>
                  <a:pt x="333" y="11"/>
                </a:lnTo>
                <a:lnTo>
                  <a:pt x="333" y="336"/>
                </a:lnTo>
                <a:close/>
                <a:moveTo>
                  <a:pt x="166" y="180"/>
                </a:moveTo>
                <a:lnTo>
                  <a:pt x="52" y="180"/>
                </a:lnTo>
                <a:lnTo>
                  <a:pt x="52" y="167"/>
                </a:lnTo>
                <a:lnTo>
                  <a:pt x="166" y="167"/>
                </a:lnTo>
                <a:lnTo>
                  <a:pt x="166" y="52"/>
                </a:lnTo>
                <a:lnTo>
                  <a:pt x="178" y="52"/>
                </a:lnTo>
                <a:lnTo>
                  <a:pt x="178" y="167"/>
                </a:lnTo>
                <a:lnTo>
                  <a:pt x="292" y="167"/>
                </a:lnTo>
                <a:lnTo>
                  <a:pt x="292" y="180"/>
                </a:lnTo>
                <a:lnTo>
                  <a:pt x="178" y="180"/>
                </a:lnTo>
                <a:lnTo>
                  <a:pt x="178" y="295"/>
                </a:lnTo>
                <a:lnTo>
                  <a:pt x="166" y="295"/>
                </a:lnTo>
                <a:lnTo>
                  <a:pt x="166" y="180"/>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845">
            <a:extLst>
              <a:ext uri="{FF2B5EF4-FFF2-40B4-BE49-F238E27FC236}">
                <a16:creationId xmlns:a16="http://schemas.microsoft.com/office/drawing/2014/main" id="{CECFB7AF-B7AF-D444-8554-DE5D127477AC}"/>
              </a:ext>
            </a:extLst>
          </p:cNvPr>
          <p:cNvSpPr>
            <a:spLocks noEditPoints="1"/>
          </p:cNvSpPr>
          <p:nvPr/>
        </p:nvSpPr>
        <p:spPr bwMode="auto">
          <a:xfrm>
            <a:off x="576145" y="1603375"/>
            <a:ext cx="546100" cy="539750"/>
          </a:xfrm>
          <a:custGeom>
            <a:avLst/>
            <a:gdLst>
              <a:gd name="T0" fmla="*/ 143 w 160"/>
              <a:gd name="T1" fmla="*/ 23 h 157"/>
              <a:gd name="T2" fmla="*/ 143 w 160"/>
              <a:gd name="T3" fmla="*/ 0 h 157"/>
              <a:gd name="T4" fmla="*/ 0 w 160"/>
              <a:gd name="T5" fmla="*/ 0 h 157"/>
              <a:gd name="T6" fmla="*/ 0 w 160"/>
              <a:gd name="T7" fmla="*/ 137 h 157"/>
              <a:gd name="T8" fmla="*/ 20 w 160"/>
              <a:gd name="T9" fmla="*/ 137 h 157"/>
              <a:gd name="T10" fmla="*/ 20 w 160"/>
              <a:gd name="T11" fmla="*/ 157 h 157"/>
              <a:gd name="T12" fmla="*/ 160 w 160"/>
              <a:gd name="T13" fmla="*/ 157 h 157"/>
              <a:gd name="T14" fmla="*/ 160 w 160"/>
              <a:gd name="T15" fmla="*/ 23 h 157"/>
              <a:gd name="T16" fmla="*/ 143 w 160"/>
              <a:gd name="T17" fmla="*/ 23 h 157"/>
              <a:gd name="T18" fmla="*/ 6 w 160"/>
              <a:gd name="T19" fmla="*/ 131 h 157"/>
              <a:gd name="T20" fmla="*/ 6 w 160"/>
              <a:gd name="T21" fmla="*/ 6 h 157"/>
              <a:gd name="T22" fmla="*/ 137 w 160"/>
              <a:gd name="T23" fmla="*/ 6 h 157"/>
              <a:gd name="T24" fmla="*/ 137 w 160"/>
              <a:gd name="T25" fmla="*/ 23 h 157"/>
              <a:gd name="T26" fmla="*/ 20 w 160"/>
              <a:gd name="T27" fmla="*/ 23 h 157"/>
              <a:gd name="T28" fmla="*/ 20 w 160"/>
              <a:gd name="T29" fmla="*/ 131 h 157"/>
              <a:gd name="T30" fmla="*/ 6 w 160"/>
              <a:gd name="T31" fmla="*/ 131 h 157"/>
              <a:gd name="T32" fmla="*/ 154 w 160"/>
              <a:gd name="T33" fmla="*/ 151 h 157"/>
              <a:gd name="T34" fmla="*/ 26 w 160"/>
              <a:gd name="T35" fmla="*/ 151 h 157"/>
              <a:gd name="T36" fmla="*/ 26 w 160"/>
              <a:gd name="T37" fmla="*/ 137 h 157"/>
              <a:gd name="T38" fmla="*/ 26 w 160"/>
              <a:gd name="T39" fmla="*/ 29 h 157"/>
              <a:gd name="T40" fmla="*/ 143 w 160"/>
              <a:gd name="T41" fmla="*/ 29 h 157"/>
              <a:gd name="T42" fmla="*/ 154 w 160"/>
              <a:gd name="T43" fmla="*/ 29 h 157"/>
              <a:gd name="T44" fmla="*/ 154 w 160"/>
              <a:gd name="T45" fmla="*/ 151 h 157"/>
              <a:gd name="T46" fmla="*/ 125 w 160"/>
              <a:gd name="T47" fmla="*/ 90 h 157"/>
              <a:gd name="T48" fmla="*/ 122 w 160"/>
              <a:gd name="T49" fmla="*/ 93 h 157"/>
              <a:gd name="T50" fmla="*/ 93 w 160"/>
              <a:gd name="T51" fmla="*/ 93 h 157"/>
              <a:gd name="T52" fmla="*/ 93 w 160"/>
              <a:gd name="T53" fmla="*/ 122 h 157"/>
              <a:gd name="T54" fmla="*/ 90 w 160"/>
              <a:gd name="T55" fmla="*/ 125 h 157"/>
              <a:gd name="T56" fmla="*/ 87 w 160"/>
              <a:gd name="T57" fmla="*/ 122 h 157"/>
              <a:gd name="T58" fmla="*/ 87 w 160"/>
              <a:gd name="T59" fmla="*/ 93 h 157"/>
              <a:gd name="T60" fmla="*/ 58 w 160"/>
              <a:gd name="T61" fmla="*/ 93 h 157"/>
              <a:gd name="T62" fmla="*/ 55 w 160"/>
              <a:gd name="T63" fmla="*/ 90 h 157"/>
              <a:gd name="T64" fmla="*/ 58 w 160"/>
              <a:gd name="T65" fmla="*/ 87 h 157"/>
              <a:gd name="T66" fmla="*/ 87 w 160"/>
              <a:gd name="T67" fmla="*/ 87 h 157"/>
              <a:gd name="T68" fmla="*/ 87 w 160"/>
              <a:gd name="T69" fmla="*/ 58 h 157"/>
              <a:gd name="T70" fmla="*/ 90 w 160"/>
              <a:gd name="T71" fmla="*/ 55 h 157"/>
              <a:gd name="T72" fmla="*/ 93 w 160"/>
              <a:gd name="T73" fmla="*/ 58 h 157"/>
              <a:gd name="T74" fmla="*/ 93 w 160"/>
              <a:gd name="T75" fmla="*/ 87 h 157"/>
              <a:gd name="T76" fmla="*/ 122 w 160"/>
              <a:gd name="T77" fmla="*/ 87 h 157"/>
              <a:gd name="T78" fmla="*/ 125 w 160"/>
              <a:gd name="T79" fmla="*/ 9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57">
                <a:moveTo>
                  <a:pt x="143" y="23"/>
                </a:moveTo>
                <a:cubicBezTo>
                  <a:pt x="143" y="0"/>
                  <a:pt x="143" y="0"/>
                  <a:pt x="143" y="0"/>
                </a:cubicBezTo>
                <a:cubicBezTo>
                  <a:pt x="0" y="0"/>
                  <a:pt x="0" y="0"/>
                  <a:pt x="0" y="0"/>
                </a:cubicBezTo>
                <a:cubicBezTo>
                  <a:pt x="0" y="137"/>
                  <a:pt x="0" y="137"/>
                  <a:pt x="0" y="137"/>
                </a:cubicBezTo>
                <a:cubicBezTo>
                  <a:pt x="20" y="137"/>
                  <a:pt x="20" y="137"/>
                  <a:pt x="20" y="137"/>
                </a:cubicBezTo>
                <a:cubicBezTo>
                  <a:pt x="20" y="157"/>
                  <a:pt x="20" y="157"/>
                  <a:pt x="20" y="157"/>
                </a:cubicBezTo>
                <a:cubicBezTo>
                  <a:pt x="160" y="157"/>
                  <a:pt x="160" y="157"/>
                  <a:pt x="160" y="157"/>
                </a:cubicBezTo>
                <a:cubicBezTo>
                  <a:pt x="160" y="23"/>
                  <a:pt x="160" y="23"/>
                  <a:pt x="160" y="23"/>
                </a:cubicBezTo>
                <a:lnTo>
                  <a:pt x="143" y="23"/>
                </a:lnTo>
                <a:close/>
                <a:moveTo>
                  <a:pt x="6" y="131"/>
                </a:moveTo>
                <a:cubicBezTo>
                  <a:pt x="6" y="6"/>
                  <a:pt x="6" y="6"/>
                  <a:pt x="6" y="6"/>
                </a:cubicBezTo>
                <a:cubicBezTo>
                  <a:pt x="137" y="6"/>
                  <a:pt x="137" y="6"/>
                  <a:pt x="137" y="6"/>
                </a:cubicBezTo>
                <a:cubicBezTo>
                  <a:pt x="137" y="23"/>
                  <a:pt x="137" y="23"/>
                  <a:pt x="137" y="23"/>
                </a:cubicBezTo>
                <a:cubicBezTo>
                  <a:pt x="20" y="23"/>
                  <a:pt x="20" y="23"/>
                  <a:pt x="20" y="23"/>
                </a:cubicBezTo>
                <a:cubicBezTo>
                  <a:pt x="20" y="131"/>
                  <a:pt x="20" y="131"/>
                  <a:pt x="20" y="131"/>
                </a:cubicBezTo>
                <a:lnTo>
                  <a:pt x="6" y="131"/>
                </a:lnTo>
                <a:close/>
                <a:moveTo>
                  <a:pt x="154" y="151"/>
                </a:moveTo>
                <a:cubicBezTo>
                  <a:pt x="26" y="151"/>
                  <a:pt x="26" y="151"/>
                  <a:pt x="26" y="151"/>
                </a:cubicBezTo>
                <a:cubicBezTo>
                  <a:pt x="26" y="137"/>
                  <a:pt x="26" y="137"/>
                  <a:pt x="26" y="137"/>
                </a:cubicBezTo>
                <a:cubicBezTo>
                  <a:pt x="26" y="29"/>
                  <a:pt x="26" y="29"/>
                  <a:pt x="26" y="29"/>
                </a:cubicBezTo>
                <a:cubicBezTo>
                  <a:pt x="143" y="29"/>
                  <a:pt x="143" y="29"/>
                  <a:pt x="143" y="29"/>
                </a:cubicBezTo>
                <a:cubicBezTo>
                  <a:pt x="154" y="29"/>
                  <a:pt x="154" y="29"/>
                  <a:pt x="154" y="29"/>
                </a:cubicBezTo>
                <a:lnTo>
                  <a:pt x="154" y="151"/>
                </a:lnTo>
                <a:close/>
                <a:moveTo>
                  <a:pt x="125" y="90"/>
                </a:moveTo>
                <a:cubicBezTo>
                  <a:pt x="125" y="92"/>
                  <a:pt x="124" y="93"/>
                  <a:pt x="122" y="93"/>
                </a:cubicBezTo>
                <a:cubicBezTo>
                  <a:pt x="93" y="93"/>
                  <a:pt x="93" y="93"/>
                  <a:pt x="93" y="93"/>
                </a:cubicBezTo>
                <a:cubicBezTo>
                  <a:pt x="93" y="122"/>
                  <a:pt x="93" y="122"/>
                  <a:pt x="93" y="122"/>
                </a:cubicBezTo>
                <a:cubicBezTo>
                  <a:pt x="93" y="124"/>
                  <a:pt x="92" y="125"/>
                  <a:pt x="90" y="125"/>
                </a:cubicBezTo>
                <a:cubicBezTo>
                  <a:pt x="89" y="125"/>
                  <a:pt x="87" y="124"/>
                  <a:pt x="87" y="122"/>
                </a:cubicBezTo>
                <a:cubicBezTo>
                  <a:pt x="87" y="93"/>
                  <a:pt x="87" y="93"/>
                  <a:pt x="87" y="93"/>
                </a:cubicBezTo>
                <a:cubicBezTo>
                  <a:pt x="58" y="93"/>
                  <a:pt x="58" y="93"/>
                  <a:pt x="58" y="93"/>
                </a:cubicBezTo>
                <a:cubicBezTo>
                  <a:pt x="57" y="93"/>
                  <a:pt x="55" y="92"/>
                  <a:pt x="55" y="90"/>
                </a:cubicBezTo>
                <a:cubicBezTo>
                  <a:pt x="55" y="89"/>
                  <a:pt x="57" y="87"/>
                  <a:pt x="58" y="87"/>
                </a:cubicBezTo>
                <a:cubicBezTo>
                  <a:pt x="87" y="87"/>
                  <a:pt x="87" y="87"/>
                  <a:pt x="87" y="87"/>
                </a:cubicBezTo>
                <a:cubicBezTo>
                  <a:pt x="87" y="58"/>
                  <a:pt x="87" y="58"/>
                  <a:pt x="87" y="58"/>
                </a:cubicBezTo>
                <a:cubicBezTo>
                  <a:pt x="87" y="57"/>
                  <a:pt x="89" y="55"/>
                  <a:pt x="90" y="55"/>
                </a:cubicBezTo>
                <a:cubicBezTo>
                  <a:pt x="92" y="55"/>
                  <a:pt x="93" y="57"/>
                  <a:pt x="93" y="58"/>
                </a:cubicBezTo>
                <a:cubicBezTo>
                  <a:pt x="93" y="87"/>
                  <a:pt x="93" y="87"/>
                  <a:pt x="93" y="87"/>
                </a:cubicBezTo>
                <a:cubicBezTo>
                  <a:pt x="122" y="87"/>
                  <a:pt x="122" y="87"/>
                  <a:pt x="122" y="87"/>
                </a:cubicBezTo>
                <a:cubicBezTo>
                  <a:pt x="124" y="87"/>
                  <a:pt x="125" y="89"/>
                  <a:pt x="125" y="9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846">
            <a:extLst>
              <a:ext uri="{FF2B5EF4-FFF2-40B4-BE49-F238E27FC236}">
                <a16:creationId xmlns:a16="http://schemas.microsoft.com/office/drawing/2014/main" id="{8E38429A-1A1E-0C4B-A925-DFB9CDA23274}"/>
              </a:ext>
            </a:extLst>
          </p:cNvPr>
          <p:cNvSpPr>
            <a:spLocks/>
          </p:cNvSpPr>
          <p:nvPr/>
        </p:nvSpPr>
        <p:spPr bwMode="auto">
          <a:xfrm>
            <a:off x="576145" y="2222500"/>
            <a:ext cx="546100" cy="550863"/>
          </a:xfrm>
          <a:custGeom>
            <a:avLst/>
            <a:gdLst>
              <a:gd name="T0" fmla="*/ 344 w 344"/>
              <a:gd name="T1" fmla="*/ 182 h 347"/>
              <a:gd name="T2" fmla="*/ 181 w 344"/>
              <a:gd name="T3" fmla="*/ 182 h 347"/>
              <a:gd name="T4" fmla="*/ 181 w 344"/>
              <a:gd name="T5" fmla="*/ 347 h 347"/>
              <a:gd name="T6" fmla="*/ 163 w 344"/>
              <a:gd name="T7" fmla="*/ 347 h 347"/>
              <a:gd name="T8" fmla="*/ 163 w 344"/>
              <a:gd name="T9" fmla="*/ 182 h 347"/>
              <a:gd name="T10" fmla="*/ 0 w 344"/>
              <a:gd name="T11" fmla="*/ 182 h 347"/>
              <a:gd name="T12" fmla="*/ 0 w 344"/>
              <a:gd name="T13" fmla="*/ 165 h 347"/>
              <a:gd name="T14" fmla="*/ 163 w 344"/>
              <a:gd name="T15" fmla="*/ 165 h 347"/>
              <a:gd name="T16" fmla="*/ 163 w 344"/>
              <a:gd name="T17" fmla="*/ 0 h 347"/>
              <a:gd name="T18" fmla="*/ 181 w 344"/>
              <a:gd name="T19" fmla="*/ 0 h 347"/>
              <a:gd name="T20" fmla="*/ 181 w 344"/>
              <a:gd name="T21" fmla="*/ 165 h 347"/>
              <a:gd name="T22" fmla="*/ 344 w 344"/>
              <a:gd name="T23" fmla="*/ 165 h 347"/>
              <a:gd name="T24" fmla="*/ 344 w 344"/>
              <a:gd name="T25" fmla="*/ 18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347">
                <a:moveTo>
                  <a:pt x="344" y="182"/>
                </a:moveTo>
                <a:lnTo>
                  <a:pt x="181" y="182"/>
                </a:lnTo>
                <a:lnTo>
                  <a:pt x="181" y="347"/>
                </a:lnTo>
                <a:lnTo>
                  <a:pt x="163" y="347"/>
                </a:lnTo>
                <a:lnTo>
                  <a:pt x="163" y="182"/>
                </a:lnTo>
                <a:lnTo>
                  <a:pt x="0" y="182"/>
                </a:lnTo>
                <a:lnTo>
                  <a:pt x="0" y="165"/>
                </a:lnTo>
                <a:lnTo>
                  <a:pt x="163" y="165"/>
                </a:lnTo>
                <a:lnTo>
                  <a:pt x="163" y="0"/>
                </a:lnTo>
                <a:lnTo>
                  <a:pt x="181" y="0"/>
                </a:lnTo>
                <a:lnTo>
                  <a:pt x="181" y="165"/>
                </a:lnTo>
                <a:lnTo>
                  <a:pt x="344" y="165"/>
                </a:lnTo>
                <a:lnTo>
                  <a:pt x="344" y="182"/>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847">
            <a:extLst>
              <a:ext uri="{FF2B5EF4-FFF2-40B4-BE49-F238E27FC236}">
                <a16:creationId xmlns:a16="http://schemas.microsoft.com/office/drawing/2014/main" id="{46355835-1A62-9E4A-A7B3-C748B4831C1B}"/>
              </a:ext>
            </a:extLst>
          </p:cNvPr>
          <p:cNvSpPr>
            <a:spLocks noEditPoints="1"/>
          </p:cNvSpPr>
          <p:nvPr/>
        </p:nvSpPr>
        <p:spPr bwMode="auto">
          <a:xfrm>
            <a:off x="644408" y="2841625"/>
            <a:ext cx="409575" cy="550863"/>
          </a:xfrm>
          <a:custGeom>
            <a:avLst/>
            <a:gdLst>
              <a:gd name="T0" fmla="*/ 4 w 120"/>
              <a:gd name="T1" fmla="*/ 5 h 160"/>
              <a:gd name="T2" fmla="*/ 0 w 120"/>
              <a:gd name="T3" fmla="*/ 16 h 160"/>
              <a:gd name="T4" fmla="*/ 13 w 120"/>
              <a:gd name="T5" fmla="*/ 160 h 160"/>
              <a:gd name="T6" fmla="*/ 120 w 120"/>
              <a:gd name="T7" fmla="*/ 29 h 160"/>
              <a:gd name="T8" fmla="*/ 120 w 120"/>
              <a:gd name="T9" fmla="*/ 0 h 160"/>
              <a:gd name="T10" fmla="*/ 5 w 120"/>
              <a:gd name="T11" fmla="*/ 147 h 160"/>
              <a:gd name="T12" fmla="*/ 13 w 120"/>
              <a:gd name="T13" fmla="*/ 29 h 160"/>
              <a:gd name="T14" fmla="*/ 5 w 120"/>
              <a:gd name="T15" fmla="*/ 147 h 160"/>
              <a:gd name="T16" fmla="*/ 19 w 120"/>
              <a:gd name="T17" fmla="*/ 155 h 160"/>
              <a:gd name="T18" fmla="*/ 27 w 120"/>
              <a:gd name="T19" fmla="*/ 29 h 160"/>
              <a:gd name="T20" fmla="*/ 30 w 120"/>
              <a:gd name="T21" fmla="*/ 100 h 160"/>
              <a:gd name="T22" fmla="*/ 31 w 120"/>
              <a:gd name="T23" fmla="*/ 101 h 160"/>
              <a:gd name="T24" fmla="*/ 32 w 120"/>
              <a:gd name="T25" fmla="*/ 100 h 160"/>
              <a:gd name="T26" fmla="*/ 33 w 120"/>
              <a:gd name="T27" fmla="*/ 100 h 160"/>
              <a:gd name="T28" fmla="*/ 34 w 120"/>
              <a:gd name="T29" fmla="*/ 99 h 160"/>
              <a:gd name="T30" fmla="*/ 57 w 120"/>
              <a:gd name="T31" fmla="*/ 99 h 160"/>
              <a:gd name="T32" fmla="*/ 61 w 120"/>
              <a:gd name="T33" fmla="*/ 100 h 160"/>
              <a:gd name="T34" fmla="*/ 64 w 120"/>
              <a:gd name="T35" fmla="*/ 29 h 160"/>
              <a:gd name="T36" fmla="*/ 115 w 120"/>
              <a:gd name="T37" fmla="*/ 155 h 160"/>
              <a:gd name="T38" fmla="*/ 59 w 120"/>
              <a:gd name="T39" fmla="*/ 25 h 160"/>
              <a:gd name="T40" fmla="*/ 59 w 120"/>
              <a:gd name="T41" fmla="*/ 26 h 160"/>
              <a:gd name="T42" fmla="*/ 59 w 120"/>
              <a:gd name="T43" fmla="*/ 27 h 160"/>
              <a:gd name="T44" fmla="*/ 59 w 120"/>
              <a:gd name="T45" fmla="*/ 92 h 160"/>
              <a:gd name="T46" fmla="*/ 32 w 120"/>
              <a:gd name="T47" fmla="*/ 92 h 160"/>
              <a:gd name="T48" fmla="*/ 36 w 120"/>
              <a:gd name="T49" fmla="*/ 19 h 160"/>
              <a:gd name="T50" fmla="*/ 59 w 120"/>
              <a:gd name="T51" fmla="*/ 25 h 160"/>
              <a:gd name="T52" fmla="*/ 71 w 120"/>
              <a:gd name="T53" fmla="*/ 13 h 160"/>
              <a:gd name="T54" fmla="*/ 28 w 120"/>
              <a:gd name="T55" fmla="*/ 24 h 160"/>
              <a:gd name="T56" fmla="*/ 5 w 120"/>
              <a:gd name="T57" fmla="*/ 16 h 160"/>
              <a:gd name="T58" fmla="*/ 15 w 120"/>
              <a:gd name="T59" fmla="*/ 5 h 160"/>
              <a:gd name="T60" fmla="*/ 115 w 120"/>
              <a:gd name="T61" fmla="*/ 8 h 160"/>
              <a:gd name="T62" fmla="*/ 99 w 120"/>
              <a:gd name="T63" fmla="*/ 11 h 160"/>
              <a:gd name="T64" fmla="*/ 115 w 120"/>
              <a:gd name="T65" fmla="*/ 13 h 160"/>
              <a:gd name="T66" fmla="*/ 104 w 120"/>
              <a:gd name="T67" fmla="*/ 16 h 160"/>
              <a:gd name="T68" fmla="*/ 104 w 120"/>
              <a:gd name="T69" fmla="*/ 21 h 160"/>
              <a:gd name="T70" fmla="*/ 115 w 120"/>
              <a:gd name="T71" fmla="*/ 2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60">
                <a:moveTo>
                  <a:pt x="15" y="0"/>
                </a:moveTo>
                <a:cubicBezTo>
                  <a:pt x="11" y="0"/>
                  <a:pt x="7" y="2"/>
                  <a:pt x="4" y="5"/>
                </a:cubicBezTo>
                <a:cubicBezTo>
                  <a:pt x="1" y="8"/>
                  <a:pt x="0" y="12"/>
                  <a:pt x="0" y="16"/>
                </a:cubicBezTo>
                <a:cubicBezTo>
                  <a:pt x="0" y="16"/>
                  <a:pt x="0" y="16"/>
                  <a:pt x="0" y="16"/>
                </a:cubicBezTo>
                <a:cubicBezTo>
                  <a:pt x="0" y="147"/>
                  <a:pt x="0" y="147"/>
                  <a:pt x="0" y="147"/>
                </a:cubicBezTo>
                <a:cubicBezTo>
                  <a:pt x="0" y="154"/>
                  <a:pt x="6" y="160"/>
                  <a:pt x="13" y="160"/>
                </a:cubicBezTo>
                <a:cubicBezTo>
                  <a:pt x="120" y="160"/>
                  <a:pt x="120" y="160"/>
                  <a:pt x="120" y="160"/>
                </a:cubicBezTo>
                <a:cubicBezTo>
                  <a:pt x="120" y="29"/>
                  <a:pt x="120" y="29"/>
                  <a:pt x="120" y="29"/>
                </a:cubicBezTo>
                <a:cubicBezTo>
                  <a:pt x="120" y="24"/>
                  <a:pt x="120" y="24"/>
                  <a:pt x="120" y="24"/>
                </a:cubicBezTo>
                <a:cubicBezTo>
                  <a:pt x="120" y="0"/>
                  <a:pt x="120" y="0"/>
                  <a:pt x="120" y="0"/>
                </a:cubicBezTo>
                <a:lnTo>
                  <a:pt x="15" y="0"/>
                </a:lnTo>
                <a:close/>
                <a:moveTo>
                  <a:pt x="5" y="147"/>
                </a:moveTo>
                <a:cubicBezTo>
                  <a:pt x="5" y="27"/>
                  <a:pt x="5" y="27"/>
                  <a:pt x="5" y="27"/>
                </a:cubicBezTo>
                <a:cubicBezTo>
                  <a:pt x="8" y="28"/>
                  <a:pt x="10" y="29"/>
                  <a:pt x="13" y="29"/>
                </a:cubicBezTo>
                <a:cubicBezTo>
                  <a:pt x="13" y="155"/>
                  <a:pt x="13" y="155"/>
                  <a:pt x="13" y="155"/>
                </a:cubicBezTo>
                <a:cubicBezTo>
                  <a:pt x="9" y="155"/>
                  <a:pt x="5" y="151"/>
                  <a:pt x="5" y="147"/>
                </a:cubicBezTo>
                <a:close/>
                <a:moveTo>
                  <a:pt x="115" y="155"/>
                </a:moveTo>
                <a:cubicBezTo>
                  <a:pt x="19" y="155"/>
                  <a:pt x="19" y="155"/>
                  <a:pt x="19" y="155"/>
                </a:cubicBezTo>
                <a:cubicBezTo>
                  <a:pt x="19" y="29"/>
                  <a:pt x="19" y="29"/>
                  <a:pt x="19" y="29"/>
                </a:cubicBezTo>
                <a:cubicBezTo>
                  <a:pt x="27" y="29"/>
                  <a:pt x="27" y="29"/>
                  <a:pt x="27" y="29"/>
                </a:cubicBezTo>
                <a:cubicBezTo>
                  <a:pt x="27" y="97"/>
                  <a:pt x="27" y="97"/>
                  <a:pt x="27" y="97"/>
                </a:cubicBezTo>
                <a:cubicBezTo>
                  <a:pt x="27" y="98"/>
                  <a:pt x="28" y="100"/>
                  <a:pt x="30" y="100"/>
                </a:cubicBezTo>
                <a:cubicBezTo>
                  <a:pt x="30" y="100"/>
                  <a:pt x="30" y="101"/>
                  <a:pt x="31" y="101"/>
                </a:cubicBezTo>
                <a:cubicBezTo>
                  <a:pt x="31" y="101"/>
                  <a:pt x="31" y="101"/>
                  <a:pt x="31" y="101"/>
                </a:cubicBezTo>
                <a:cubicBezTo>
                  <a:pt x="31" y="101"/>
                  <a:pt x="31" y="100"/>
                  <a:pt x="31" y="100"/>
                </a:cubicBezTo>
                <a:cubicBezTo>
                  <a:pt x="31" y="100"/>
                  <a:pt x="32" y="100"/>
                  <a:pt x="32" y="100"/>
                </a:cubicBezTo>
                <a:cubicBezTo>
                  <a:pt x="32" y="100"/>
                  <a:pt x="32" y="100"/>
                  <a:pt x="32" y="100"/>
                </a:cubicBezTo>
                <a:cubicBezTo>
                  <a:pt x="33" y="100"/>
                  <a:pt x="33" y="100"/>
                  <a:pt x="33" y="100"/>
                </a:cubicBezTo>
                <a:cubicBezTo>
                  <a:pt x="33" y="100"/>
                  <a:pt x="33" y="100"/>
                  <a:pt x="33" y="100"/>
                </a:cubicBezTo>
                <a:cubicBezTo>
                  <a:pt x="34" y="99"/>
                  <a:pt x="34" y="99"/>
                  <a:pt x="34" y="99"/>
                </a:cubicBezTo>
                <a:cubicBezTo>
                  <a:pt x="45" y="80"/>
                  <a:pt x="45" y="80"/>
                  <a:pt x="45" y="80"/>
                </a:cubicBezTo>
                <a:cubicBezTo>
                  <a:pt x="57" y="99"/>
                  <a:pt x="57" y="99"/>
                  <a:pt x="57" y="99"/>
                </a:cubicBezTo>
                <a:cubicBezTo>
                  <a:pt x="57" y="100"/>
                  <a:pt x="59" y="101"/>
                  <a:pt x="61" y="100"/>
                </a:cubicBezTo>
                <a:cubicBezTo>
                  <a:pt x="61" y="100"/>
                  <a:pt x="61" y="100"/>
                  <a:pt x="61" y="100"/>
                </a:cubicBezTo>
                <a:cubicBezTo>
                  <a:pt x="63" y="100"/>
                  <a:pt x="64" y="98"/>
                  <a:pt x="64" y="97"/>
                </a:cubicBezTo>
                <a:cubicBezTo>
                  <a:pt x="64" y="29"/>
                  <a:pt x="64" y="29"/>
                  <a:pt x="64" y="29"/>
                </a:cubicBezTo>
                <a:cubicBezTo>
                  <a:pt x="115" y="29"/>
                  <a:pt x="115" y="29"/>
                  <a:pt x="115" y="29"/>
                </a:cubicBezTo>
                <a:cubicBezTo>
                  <a:pt x="115" y="155"/>
                  <a:pt x="115" y="155"/>
                  <a:pt x="115" y="155"/>
                </a:cubicBezTo>
                <a:close/>
                <a:moveTo>
                  <a:pt x="59" y="25"/>
                </a:moveTo>
                <a:cubicBezTo>
                  <a:pt x="59" y="25"/>
                  <a:pt x="59" y="25"/>
                  <a:pt x="59" y="25"/>
                </a:cubicBezTo>
                <a:cubicBezTo>
                  <a:pt x="59" y="26"/>
                  <a:pt x="59" y="26"/>
                  <a:pt x="59" y="26"/>
                </a:cubicBezTo>
                <a:cubicBezTo>
                  <a:pt x="59" y="26"/>
                  <a:pt x="59" y="26"/>
                  <a:pt x="59" y="26"/>
                </a:cubicBezTo>
                <a:cubicBezTo>
                  <a:pt x="58" y="27"/>
                  <a:pt x="58" y="27"/>
                  <a:pt x="58" y="27"/>
                </a:cubicBezTo>
                <a:cubicBezTo>
                  <a:pt x="59" y="27"/>
                  <a:pt x="59" y="27"/>
                  <a:pt x="59" y="27"/>
                </a:cubicBezTo>
                <a:cubicBezTo>
                  <a:pt x="59" y="27"/>
                  <a:pt x="59" y="27"/>
                  <a:pt x="59" y="27"/>
                </a:cubicBezTo>
                <a:cubicBezTo>
                  <a:pt x="59" y="92"/>
                  <a:pt x="59" y="92"/>
                  <a:pt x="59" y="92"/>
                </a:cubicBezTo>
                <a:cubicBezTo>
                  <a:pt x="45" y="69"/>
                  <a:pt x="45" y="69"/>
                  <a:pt x="45" y="69"/>
                </a:cubicBezTo>
                <a:cubicBezTo>
                  <a:pt x="32" y="92"/>
                  <a:pt x="32" y="92"/>
                  <a:pt x="32" y="92"/>
                </a:cubicBezTo>
                <a:cubicBezTo>
                  <a:pt x="32" y="27"/>
                  <a:pt x="32" y="27"/>
                  <a:pt x="32" y="27"/>
                </a:cubicBezTo>
                <a:cubicBezTo>
                  <a:pt x="36" y="19"/>
                  <a:pt x="36" y="19"/>
                  <a:pt x="36" y="19"/>
                </a:cubicBezTo>
                <a:cubicBezTo>
                  <a:pt x="62" y="19"/>
                  <a:pt x="62" y="19"/>
                  <a:pt x="62" y="19"/>
                </a:cubicBezTo>
                <a:lnTo>
                  <a:pt x="59" y="25"/>
                </a:lnTo>
                <a:close/>
                <a:moveTo>
                  <a:pt x="66" y="24"/>
                </a:moveTo>
                <a:cubicBezTo>
                  <a:pt x="71" y="13"/>
                  <a:pt x="71" y="13"/>
                  <a:pt x="71" y="13"/>
                </a:cubicBezTo>
                <a:cubicBezTo>
                  <a:pt x="33" y="13"/>
                  <a:pt x="33" y="13"/>
                  <a:pt x="33" y="13"/>
                </a:cubicBezTo>
                <a:cubicBezTo>
                  <a:pt x="28" y="24"/>
                  <a:pt x="28" y="24"/>
                  <a:pt x="28" y="24"/>
                </a:cubicBezTo>
                <a:cubicBezTo>
                  <a:pt x="15" y="24"/>
                  <a:pt x="15" y="24"/>
                  <a:pt x="15" y="24"/>
                </a:cubicBezTo>
                <a:cubicBezTo>
                  <a:pt x="10" y="24"/>
                  <a:pt x="6" y="20"/>
                  <a:pt x="5" y="16"/>
                </a:cubicBezTo>
                <a:cubicBezTo>
                  <a:pt x="5" y="13"/>
                  <a:pt x="6" y="10"/>
                  <a:pt x="8" y="8"/>
                </a:cubicBezTo>
                <a:cubicBezTo>
                  <a:pt x="10" y="6"/>
                  <a:pt x="12" y="5"/>
                  <a:pt x="15" y="5"/>
                </a:cubicBezTo>
                <a:cubicBezTo>
                  <a:pt x="115" y="5"/>
                  <a:pt x="115" y="5"/>
                  <a:pt x="115" y="5"/>
                </a:cubicBezTo>
                <a:cubicBezTo>
                  <a:pt x="115" y="8"/>
                  <a:pt x="115" y="8"/>
                  <a:pt x="115" y="8"/>
                </a:cubicBezTo>
                <a:cubicBezTo>
                  <a:pt x="101" y="8"/>
                  <a:pt x="101" y="8"/>
                  <a:pt x="101" y="8"/>
                </a:cubicBezTo>
                <a:cubicBezTo>
                  <a:pt x="100" y="8"/>
                  <a:pt x="99" y="9"/>
                  <a:pt x="99" y="11"/>
                </a:cubicBezTo>
                <a:cubicBezTo>
                  <a:pt x="99" y="12"/>
                  <a:pt x="100" y="13"/>
                  <a:pt x="101" y="13"/>
                </a:cubicBezTo>
                <a:cubicBezTo>
                  <a:pt x="115" y="13"/>
                  <a:pt x="115" y="13"/>
                  <a:pt x="115" y="13"/>
                </a:cubicBezTo>
                <a:cubicBezTo>
                  <a:pt x="115" y="16"/>
                  <a:pt x="115" y="16"/>
                  <a:pt x="115" y="16"/>
                </a:cubicBezTo>
                <a:cubicBezTo>
                  <a:pt x="104" y="16"/>
                  <a:pt x="104" y="16"/>
                  <a:pt x="104" y="16"/>
                </a:cubicBezTo>
                <a:cubicBezTo>
                  <a:pt x="103" y="16"/>
                  <a:pt x="101" y="17"/>
                  <a:pt x="101" y="19"/>
                </a:cubicBezTo>
                <a:cubicBezTo>
                  <a:pt x="101" y="20"/>
                  <a:pt x="103" y="21"/>
                  <a:pt x="104" y="21"/>
                </a:cubicBezTo>
                <a:cubicBezTo>
                  <a:pt x="115" y="21"/>
                  <a:pt x="115" y="21"/>
                  <a:pt x="115" y="21"/>
                </a:cubicBezTo>
                <a:cubicBezTo>
                  <a:pt x="115" y="24"/>
                  <a:pt x="115" y="24"/>
                  <a:pt x="115" y="24"/>
                </a:cubicBezTo>
                <a:lnTo>
                  <a:pt x="66" y="24"/>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848">
            <a:extLst>
              <a:ext uri="{FF2B5EF4-FFF2-40B4-BE49-F238E27FC236}">
                <a16:creationId xmlns:a16="http://schemas.microsoft.com/office/drawing/2014/main" id="{F9F19253-A71B-444E-A3D1-421BE9B71271}"/>
              </a:ext>
            </a:extLst>
          </p:cNvPr>
          <p:cNvSpPr>
            <a:spLocks noEditPoints="1"/>
          </p:cNvSpPr>
          <p:nvPr/>
        </p:nvSpPr>
        <p:spPr bwMode="auto">
          <a:xfrm>
            <a:off x="576145" y="3475038"/>
            <a:ext cx="546100" cy="506413"/>
          </a:xfrm>
          <a:custGeom>
            <a:avLst/>
            <a:gdLst>
              <a:gd name="T0" fmla="*/ 125 w 160"/>
              <a:gd name="T1" fmla="*/ 53 h 147"/>
              <a:gd name="T2" fmla="*/ 93 w 160"/>
              <a:gd name="T3" fmla="*/ 15 h 147"/>
              <a:gd name="T4" fmla="*/ 80 w 160"/>
              <a:gd name="T5" fmla="*/ 0 h 147"/>
              <a:gd name="T6" fmla="*/ 67 w 160"/>
              <a:gd name="T7" fmla="*/ 15 h 147"/>
              <a:gd name="T8" fmla="*/ 35 w 160"/>
              <a:gd name="T9" fmla="*/ 53 h 147"/>
              <a:gd name="T10" fmla="*/ 17 w 160"/>
              <a:gd name="T11" fmla="*/ 121 h 147"/>
              <a:gd name="T12" fmla="*/ 18 w 160"/>
              <a:gd name="T13" fmla="*/ 125 h 147"/>
              <a:gd name="T14" fmla="*/ 57 w 160"/>
              <a:gd name="T15" fmla="*/ 132 h 147"/>
              <a:gd name="T16" fmla="*/ 104 w 160"/>
              <a:gd name="T17" fmla="*/ 132 h 147"/>
              <a:gd name="T18" fmla="*/ 143 w 160"/>
              <a:gd name="T19" fmla="*/ 125 h 147"/>
              <a:gd name="T20" fmla="*/ 144 w 160"/>
              <a:gd name="T21" fmla="*/ 121 h 147"/>
              <a:gd name="T22" fmla="*/ 72 w 160"/>
              <a:gd name="T23" fmla="*/ 13 h 147"/>
              <a:gd name="T24" fmla="*/ 88 w 160"/>
              <a:gd name="T25" fmla="*/ 13 h 147"/>
              <a:gd name="T26" fmla="*/ 72 w 160"/>
              <a:gd name="T27" fmla="*/ 14 h 147"/>
              <a:gd name="T28" fmla="*/ 80 w 160"/>
              <a:gd name="T29" fmla="*/ 141 h 147"/>
              <a:gd name="T30" fmla="*/ 80 w 160"/>
              <a:gd name="T31" fmla="*/ 133 h 147"/>
              <a:gd name="T32" fmla="*/ 80 w 160"/>
              <a:gd name="T33" fmla="*/ 141 h 147"/>
              <a:gd name="T34" fmla="*/ 102 w 160"/>
              <a:gd name="T35" fmla="*/ 127 h 147"/>
              <a:gd name="T36" fmla="*/ 97 w 160"/>
              <a:gd name="T37" fmla="*/ 127 h 147"/>
              <a:gd name="T38" fmla="*/ 91 w 160"/>
              <a:gd name="T39" fmla="*/ 128 h 147"/>
              <a:gd name="T40" fmla="*/ 86 w 160"/>
              <a:gd name="T41" fmla="*/ 128 h 147"/>
              <a:gd name="T42" fmla="*/ 76 w 160"/>
              <a:gd name="T43" fmla="*/ 128 h 147"/>
              <a:gd name="T44" fmla="*/ 70 w 160"/>
              <a:gd name="T45" fmla="*/ 128 h 147"/>
              <a:gd name="T46" fmla="*/ 65 w 160"/>
              <a:gd name="T47" fmla="*/ 127 h 147"/>
              <a:gd name="T48" fmla="*/ 59 w 160"/>
              <a:gd name="T49" fmla="*/ 127 h 147"/>
              <a:gd name="T50" fmla="*/ 44 w 160"/>
              <a:gd name="T51" fmla="*/ 124 h 147"/>
              <a:gd name="T52" fmla="*/ 40 w 160"/>
              <a:gd name="T53" fmla="*/ 77 h 147"/>
              <a:gd name="T54" fmla="*/ 61 w 160"/>
              <a:gd name="T55" fmla="*/ 23 h 147"/>
              <a:gd name="T56" fmla="*/ 70 w 160"/>
              <a:gd name="T57" fmla="*/ 20 h 147"/>
              <a:gd name="T58" fmla="*/ 90 w 160"/>
              <a:gd name="T59" fmla="*/ 20 h 147"/>
              <a:gd name="T60" fmla="*/ 120 w 160"/>
              <a:gd name="T61" fmla="*/ 53 h 147"/>
              <a:gd name="T62" fmla="*/ 137 w 160"/>
              <a:gd name="T63" fmla="*/ 121 h 147"/>
              <a:gd name="T64" fmla="*/ 98 w 160"/>
              <a:gd name="T65" fmla="*/ 34 h 147"/>
              <a:gd name="T66" fmla="*/ 66 w 160"/>
              <a:gd name="T67" fmla="*/ 35 h 147"/>
              <a:gd name="T68" fmla="*/ 51 w 160"/>
              <a:gd name="T69" fmla="*/ 56 h 147"/>
              <a:gd name="T70" fmla="*/ 48 w 160"/>
              <a:gd name="T71" fmla="*/ 53 h 147"/>
              <a:gd name="T72" fmla="*/ 97 w 160"/>
              <a:gd name="T73" fmla="*/ 30 h 147"/>
              <a:gd name="T74" fmla="*/ 13 w 160"/>
              <a:gd name="T75" fmla="*/ 58 h 147"/>
              <a:gd name="T76" fmla="*/ 13 w 160"/>
              <a:gd name="T77" fmla="*/ 94 h 147"/>
              <a:gd name="T78" fmla="*/ 11 w 160"/>
              <a:gd name="T79" fmla="*/ 99 h 147"/>
              <a:gd name="T80" fmla="*/ 0 w 160"/>
              <a:gd name="T81" fmla="*/ 76 h 147"/>
              <a:gd name="T82" fmla="*/ 13 w 160"/>
              <a:gd name="T83" fmla="*/ 54 h 147"/>
              <a:gd name="T84" fmla="*/ 20 w 160"/>
              <a:gd name="T85" fmla="*/ 92 h 147"/>
              <a:gd name="T86" fmla="*/ 24 w 160"/>
              <a:gd name="T87" fmla="*/ 59 h 147"/>
              <a:gd name="T88" fmla="*/ 24 w 160"/>
              <a:gd name="T89" fmla="*/ 88 h 147"/>
              <a:gd name="T90" fmla="*/ 22 w 160"/>
              <a:gd name="T91" fmla="*/ 93 h 147"/>
              <a:gd name="T92" fmla="*/ 160 w 160"/>
              <a:gd name="T93" fmla="*/ 76 h 147"/>
              <a:gd name="T94" fmla="*/ 149 w 160"/>
              <a:gd name="T95" fmla="*/ 99 h 147"/>
              <a:gd name="T96" fmla="*/ 147 w 160"/>
              <a:gd name="T97" fmla="*/ 94 h 147"/>
              <a:gd name="T98" fmla="*/ 147 w 160"/>
              <a:gd name="T99" fmla="*/ 58 h 147"/>
              <a:gd name="T100" fmla="*/ 151 w 160"/>
              <a:gd name="T101" fmla="*/ 54 h 147"/>
              <a:gd name="T102" fmla="*/ 140 w 160"/>
              <a:gd name="T103" fmla="*/ 59 h 147"/>
              <a:gd name="T104" fmla="*/ 138 w 160"/>
              <a:gd name="T105" fmla="*/ 93 h 147"/>
              <a:gd name="T106" fmla="*/ 136 w 160"/>
              <a:gd name="T107" fmla="*/ 88 h 147"/>
              <a:gd name="T108" fmla="*/ 136 w 160"/>
              <a:gd name="T109"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47">
                <a:moveTo>
                  <a:pt x="125" y="77"/>
                </a:moveTo>
                <a:cubicBezTo>
                  <a:pt x="125" y="53"/>
                  <a:pt x="125" y="53"/>
                  <a:pt x="125" y="53"/>
                </a:cubicBezTo>
                <a:cubicBezTo>
                  <a:pt x="126" y="35"/>
                  <a:pt x="113" y="23"/>
                  <a:pt x="103" y="18"/>
                </a:cubicBezTo>
                <a:cubicBezTo>
                  <a:pt x="100" y="17"/>
                  <a:pt x="97" y="16"/>
                  <a:pt x="93" y="15"/>
                </a:cubicBezTo>
                <a:cubicBezTo>
                  <a:pt x="93" y="13"/>
                  <a:pt x="93" y="13"/>
                  <a:pt x="93" y="13"/>
                </a:cubicBezTo>
                <a:cubicBezTo>
                  <a:pt x="93" y="6"/>
                  <a:pt x="87" y="0"/>
                  <a:pt x="80" y="0"/>
                </a:cubicBezTo>
                <a:cubicBezTo>
                  <a:pt x="73" y="0"/>
                  <a:pt x="67" y="6"/>
                  <a:pt x="67" y="13"/>
                </a:cubicBezTo>
                <a:cubicBezTo>
                  <a:pt x="67" y="15"/>
                  <a:pt x="67" y="15"/>
                  <a:pt x="67" y="15"/>
                </a:cubicBezTo>
                <a:cubicBezTo>
                  <a:pt x="64" y="16"/>
                  <a:pt x="61" y="17"/>
                  <a:pt x="58" y="18"/>
                </a:cubicBezTo>
                <a:cubicBezTo>
                  <a:pt x="47" y="24"/>
                  <a:pt x="35" y="36"/>
                  <a:pt x="35" y="53"/>
                </a:cubicBezTo>
                <a:cubicBezTo>
                  <a:pt x="35" y="77"/>
                  <a:pt x="35" y="77"/>
                  <a:pt x="35" y="77"/>
                </a:cubicBezTo>
                <a:cubicBezTo>
                  <a:pt x="35" y="94"/>
                  <a:pt x="29" y="109"/>
                  <a:pt x="17" y="121"/>
                </a:cubicBezTo>
                <a:cubicBezTo>
                  <a:pt x="16" y="121"/>
                  <a:pt x="16" y="123"/>
                  <a:pt x="16" y="123"/>
                </a:cubicBezTo>
                <a:cubicBezTo>
                  <a:pt x="16" y="124"/>
                  <a:pt x="17" y="125"/>
                  <a:pt x="18" y="125"/>
                </a:cubicBezTo>
                <a:cubicBezTo>
                  <a:pt x="44" y="130"/>
                  <a:pt x="44" y="130"/>
                  <a:pt x="44" y="130"/>
                </a:cubicBezTo>
                <a:cubicBezTo>
                  <a:pt x="48" y="130"/>
                  <a:pt x="53" y="131"/>
                  <a:pt x="57" y="132"/>
                </a:cubicBezTo>
                <a:cubicBezTo>
                  <a:pt x="61" y="141"/>
                  <a:pt x="71" y="147"/>
                  <a:pt x="80" y="147"/>
                </a:cubicBezTo>
                <a:cubicBezTo>
                  <a:pt x="90" y="147"/>
                  <a:pt x="100" y="141"/>
                  <a:pt x="104" y="132"/>
                </a:cubicBezTo>
                <a:cubicBezTo>
                  <a:pt x="108" y="131"/>
                  <a:pt x="113" y="130"/>
                  <a:pt x="117" y="130"/>
                </a:cubicBezTo>
                <a:cubicBezTo>
                  <a:pt x="143" y="125"/>
                  <a:pt x="143" y="125"/>
                  <a:pt x="143" y="125"/>
                </a:cubicBezTo>
                <a:cubicBezTo>
                  <a:pt x="144" y="125"/>
                  <a:pt x="144" y="124"/>
                  <a:pt x="145" y="123"/>
                </a:cubicBezTo>
                <a:cubicBezTo>
                  <a:pt x="145" y="123"/>
                  <a:pt x="145" y="121"/>
                  <a:pt x="144" y="121"/>
                </a:cubicBezTo>
                <a:cubicBezTo>
                  <a:pt x="132" y="108"/>
                  <a:pt x="125" y="94"/>
                  <a:pt x="125" y="77"/>
                </a:cubicBezTo>
                <a:close/>
                <a:moveTo>
                  <a:pt x="72" y="13"/>
                </a:moveTo>
                <a:cubicBezTo>
                  <a:pt x="72" y="9"/>
                  <a:pt x="76" y="5"/>
                  <a:pt x="80" y="5"/>
                </a:cubicBezTo>
                <a:cubicBezTo>
                  <a:pt x="84" y="5"/>
                  <a:pt x="88" y="9"/>
                  <a:pt x="88" y="13"/>
                </a:cubicBezTo>
                <a:cubicBezTo>
                  <a:pt x="88" y="14"/>
                  <a:pt x="88" y="14"/>
                  <a:pt x="88" y="14"/>
                </a:cubicBezTo>
                <a:cubicBezTo>
                  <a:pt x="83" y="13"/>
                  <a:pt x="77" y="13"/>
                  <a:pt x="72" y="14"/>
                </a:cubicBezTo>
                <a:lnTo>
                  <a:pt x="72" y="13"/>
                </a:lnTo>
                <a:close/>
                <a:moveTo>
                  <a:pt x="80" y="141"/>
                </a:moveTo>
                <a:cubicBezTo>
                  <a:pt x="74" y="141"/>
                  <a:pt x="67" y="138"/>
                  <a:pt x="63" y="132"/>
                </a:cubicBezTo>
                <a:cubicBezTo>
                  <a:pt x="69" y="133"/>
                  <a:pt x="75" y="133"/>
                  <a:pt x="80" y="133"/>
                </a:cubicBezTo>
                <a:cubicBezTo>
                  <a:pt x="86" y="133"/>
                  <a:pt x="92" y="133"/>
                  <a:pt x="98" y="132"/>
                </a:cubicBezTo>
                <a:cubicBezTo>
                  <a:pt x="94" y="138"/>
                  <a:pt x="87" y="141"/>
                  <a:pt x="80" y="141"/>
                </a:cubicBezTo>
                <a:close/>
                <a:moveTo>
                  <a:pt x="116" y="124"/>
                </a:moveTo>
                <a:cubicBezTo>
                  <a:pt x="111" y="125"/>
                  <a:pt x="107" y="126"/>
                  <a:pt x="102" y="127"/>
                </a:cubicBezTo>
                <a:cubicBezTo>
                  <a:pt x="102" y="127"/>
                  <a:pt x="102" y="127"/>
                  <a:pt x="102" y="127"/>
                </a:cubicBezTo>
                <a:cubicBezTo>
                  <a:pt x="100" y="127"/>
                  <a:pt x="98" y="127"/>
                  <a:pt x="97" y="127"/>
                </a:cubicBezTo>
                <a:cubicBezTo>
                  <a:pt x="96" y="127"/>
                  <a:pt x="96" y="127"/>
                  <a:pt x="96" y="127"/>
                </a:cubicBezTo>
                <a:cubicBezTo>
                  <a:pt x="95" y="127"/>
                  <a:pt x="93" y="128"/>
                  <a:pt x="91" y="128"/>
                </a:cubicBezTo>
                <a:cubicBezTo>
                  <a:pt x="91" y="128"/>
                  <a:pt x="91" y="128"/>
                  <a:pt x="91" y="128"/>
                </a:cubicBezTo>
                <a:cubicBezTo>
                  <a:pt x="89" y="128"/>
                  <a:pt x="88" y="128"/>
                  <a:pt x="86" y="128"/>
                </a:cubicBezTo>
                <a:cubicBezTo>
                  <a:pt x="86" y="128"/>
                  <a:pt x="86" y="128"/>
                  <a:pt x="85" y="128"/>
                </a:cubicBezTo>
                <a:cubicBezTo>
                  <a:pt x="82" y="128"/>
                  <a:pt x="79" y="128"/>
                  <a:pt x="76" y="128"/>
                </a:cubicBezTo>
                <a:cubicBezTo>
                  <a:pt x="75" y="128"/>
                  <a:pt x="75" y="128"/>
                  <a:pt x="75" y="128"/>
                </a:cubicBezTo>
                <a:cubicBezTo>
                  <a:pt x="73" y="128"/>
                  <a:pt x="72" y="128"/>
                  <a:pt x="70" y="128"/>
                </a:cubicBezTo>
                <a:cubicBezTo>
                  <a:pt x="70" y="128"/>
                  <a:pt x="70" y="128"/>
                  <a:pt x="69" y="128"/>
                </a:cubicBezTo>
                <a:cubicBezTo>
                  <a:pt x="68" y="128"/>
                  <a:pt x="66" y="127"/>
                  <a:pt x="65" y="127"/>
                </a:cubicBezTo>
                <a:cubicBezTo>
                  <a:pt x="65" y="127"/>
                  <a:pt x="64" y="127"/>
                  <a:pt x="64" y="127"/>
                </a:cubicBezTo>
                <a:cubicBezTo>
                  <a:pt x="63" y="127"/>
                  <a:pt x="61" y="127"/>
                  <a:pt x="59" y="127"/>
                </a:cubicBezTo>
                <a:cubicBezTo>
                  <a:pt x="59" y="127"/>
                  <a:pt x="59" y="127"/>
                  <a:pt x="59" y="127"/>
                </a:cubicBezTo>
                <a:cubicBezTo>
                  <a:pt x="54" y="126"/>
                  <a:pt x="50" y="125"/>
                  <a:pt x="44" y="124"/>
                </a:cubicBezTo>
                <a:cubicBezTo>
                  <a:pt x="24" y="121"/>
                  <a:pt x="24" y="121"/>
                  <a:pt x="24" y="121"/>
                </a:cubicBezTo>
                <a:cubicBezTo>
                  <a:pt x="35" y="109"/>
                  <a:pt x="40" y="94"/>
                  <a:pt x="40" y="77"/>
                </a:cubicBezTo>
                <a:cubicBezTo>
                  <a:pt x="40" y="53"/>
                  <a:pt x="40" y="53"/>
                  <a:pt x="40" y="53"/>
                </a:cubicBezTo>
                <a:cubicBezTo>
                  <a:pt x="40" y="39"/>
                  <a:pt x="50" y="28"/>
                  <a:pt x="61" y="23"/>
                </a:cubicBezTo>
                <a:cubicBezTo>
                  <a:pt x="64" y="22"/>
                  <a:pt x="67" y="21"/>
                  <a:pt x="70" y="20"/>
                </a:cubicBezTo>
                <a:cubicBezTo>
                  <a:pt x="70" y="20"/>
                  <a:pt x="70" y="20"/>
                  <a:pt x="70" y="20"/>
                </a:cubicBezTo>
                <a:cubicBezTo>
                  <a:pt x="76" y="18"/>
                  <a:pt x="83" y="18"/>
                  <a:pt x="90" y="20"/>
                </a:cubicBezTo>
                <a:cubicBezTo>
                  <a:pt x="90" y="20"/>
                  <a:pt x="90" y="20"/>
                  <a:pt x="90" y="20"/>
                </a:cubicBezTo>
                <a:cubicBezTo>
                  <a:pt x="94" y="20"/>
                  <a:pt x="97" y="21"/>
                  <a:pt x="100" y="23"/>
                </a:cubicBezTo>
                <a:cubicBezTo>
                  <a:pt x="110" y="27"/>
                  <a:pt x="120" y="39"/>
                  <a:pt x="120" y="53"/>
                </a:cubicBezTo>
                <a:cubicBezTo>
                  <a:pt x="120" y="77"/>
                  <a:pt x="120" y="77"/>
                  <a:pt x="120" y="77"/>
                </a:cubicBezTo>
                <a:cubicBezTo>
                  <a:pt x="120" y="93"/>
                  <a:pt x="126" y="108"/>
                  <a:pt x="137" y="121"/>
                </a:cubicBezTo>
                <a:lnTo>
                  <a:pt x="116" y="124"/>
                </a:lnTo>
                <a:close/>
                <a:moveTo>
                  <a:pt x="98" y="34"/>
                </a:moveTo>
                <a:cubicBezTo>
                  <a:pt x="98" y="35"/>
                  <a:pt x="96" y="36"/>
                  <a:pt x="95" y="35"/>
                </a:cubicBezTo>
                <a:cubicBezTo>
                  <a:pt x="86" y="31"/>
                  <a:pt x="75" y="31"/>
                  <a:pt x="66" y="35"/>
                </a:cubicBezTo>
                <a:cubicBezTo>
                  <a:pt x="61" y="37"/>
                  <a:pt x="53" y="44"/>
                  <a:pt x="53" y="53"/>
                </a:cubicBezTo>
                <a:cubicBezTo>
                  <a:pt x="53" y="55"/>
                  <a:pt x="52" y="56"/>
                  <a:pt x="51" y="56"/>
                </a:cubicBezTo>
                <a:cubicBezTo>
                  <a:pt x="51" y="56"/>
                  <a:pt x="51" y="56"/>
                  <a:pt x="51" y="56"/>
                </a:cubicBezTo>
                <a:cubicBezTo>
                  <a:pt x="49" y="56"/>
                  <a:pt x="48" y="55"/>
                  <a:pt x="48" y="53"/>
                </a:cubicBezTo>
                <a:cubicBezTo>
                  <a:pt x="48" y="41"/>
                  <a:pt x="58" y="33"/>
                  <a:pt x="64" y="30"/>
                </a:cubicBezTo>
                <a:cubicBezTo>
                  <a:pt x="74" y="26"/>
                  <a:pt x="87" y="26"/>
                  <a:pt x="97" y="30"/>
                </a:cubicBezTo>
                <a:cubicBezTo>
                  <a:pt x="98" y="31"/>
                  <a:pt x="99" y="32"/>
                  <a:pt x="98" y="34"/>
                </a:cubicBezTo>
                <a:close/>
                <a:moveTo>
                  <a:pt x="13" y="58"/>
                </a:moveTo>
                <a:cubicBezTo>
                  <a:pt x="8" y="63"/>
                  <a:pt x="5" y="69"/>
                  <a:pt x="5" y="76"/>
                </a:cubicBezTo>
                <a:cubicBezTo>
                  <a:pt x="5" y="83"/>
                  <a:pt x="8" y="89"/>
                  <a:pt x="13" y="94"/>
                </a:cubicBezTo>
                <a:cubicBezTo>
                  <a:pt x="14" y="95"/>
                  <a:pt x="14" y="97"/>
                  <a:pt x="13" y="98"/>
                </a:cubicBezTo>
                <a:cubicBezTo>
                  <a:pt x="12" y="98"/>
                  <a:pt x="12" y="99"/>
                  <a:pt x="11" y="99"/>
                </a:cubicBezTo>
                <a:cubicBezTo>
                  <a:pt x="10" y="99"/>
                  <a:pt x="10" y="98"/>
                  <a:pt x="9" y="98"/>
                </a:cubicBezTo>
                <a:cubicBezTo>
                  <a:pt x="3" y="92"/>
                  <a:pt x="0" y="84"/>
                  <a:pt x="0" y="76"/>
                </a:cubicBezTo>
                <a:cubicBezTo>
                  <a:pt x="0" y="68"/>
                  <a:pt x="3" y="60"/>
                  <a:pt x="9" y="54"/>
                </a:cubicBezTo>
                <a:cubicBezTo>
                  <a:pt x="10" y="53"/>
                  <a:pt x="12" y="53"/>
                  <a:pt x="13" y="54"/>
                </a:cubicBezTo>
                <a:cubicBezTo>
                  <a:pt x="14" y="55"/>
                  <a:pt x="14" y="57"/>
                  <a:pt x="13" y="58"/>
                </a:cubicBezTo>
                <a:close/>
                <a:moveTo>
                  <a:pt x="20" y="92"/>
                </a:moveTo>
                <a:cubicBezTo>
                  <a:pt x="11" y="83"/>
                  <a:pt x="11" y="68"/>
                  <a:pt x="20" y="59"/>
                </a:cubicBezTo>
                <a:cubicBezTo>
                  <a:pt x="21" y="58"/>
                  <a:pt x="23" y="58"/>
                  <a:pt x="24" y="59"/>
                </a:cubicBezTo>
                <a:cubicBezTo>
                  <a:pt x="25" y="60"/>
                  <a:pt x="25" y="62"/>
                  <a:pt x="24" y="63"/>
                </a:cubicBezTo>
                <a:cubicBezTo>
                  <a:pt x="17" y="70"/>
                  <a:pt x="17" y="81"/>
                  <a:pt x="24" y="88"/>
                </a:cubicBezTo>
                <a:cubicBezTo>
                  <a:pt x="25" y="89"/>
                  <a:pt x="25" y="91"/>
                  <a:pt x="24" y="92"/>
                </a:cubicBezTo>
                <a:cubicBezTo>
                  <a:pt x="24" y="92"/>
                  <a:pt x="23" y="93"/>
                  <a:pt x="22" y="93"/>
                </a:cubicBezTo>
                <a:cubicBezTo>
                  <a:pt x="21" y="93"/>
                  <a:pt x="21" y="92"/>
                  <a:pt x="20" y="92"/>
                </a:cubicBezTo>
                <a:close/>
                <a:moveTo>
                  <a:pt x="160" y="76"/>
                </a:moveTo>
                <a:cubicBezTo>
                  <a:pt x="160" y="84"/>
                  <a:pt x="157" y="92"/>
                  <a:pt x="151" y="98"/>
                </a:cubicBezTo>
                <a:cubicBezTo>
                  <a:pt x="150" y="98"/>
                  <a:pt x="150" y="99"/>
                  <a:pt x="149" y="99"/>
                </a:cubicBezTo>
                <a:cubicBezTo>
                  <a:pt x="148" y="99"/>
                  <a:pt x="148" y="98"/>
                  <a:pt x="147" y="98"/>
                </a:cubicBezTo>
                <a:cubicBezTo>
                  <a:pt x="146" y="97"/>
                  <a:pt x="146" y="95"/>
                  <a:pt x="147" y="94"/>
                </a:cubicBezTo>
                <a:cubicBezTo>
                  <a:pt x="152" y="89"/>
                  <a:pt x="155" y="83"/>
                  <a:pt x="155" y="76"/>
                </a:cubicBezTo>
                <a:cubicBezTo>
                  <a:pt x="155" y="69"/>
                  <a:pt x="152" y="63"/>
                  <a:pt x="147" y="58"/>
                </a:cubicBezTo>
                <a:cubicBezTo>
                  <a:pt x="146" y="57"/>
                  <a:pt x="146" y="55"/>
                  <a:pt x="147" y="54"/>
                </a:cubicBezTo>
                <a:cubicBezTo>
                  <a:pt x="148" y="53"/>
                  <a:pt x="150" y="53"/>
                  <a:pt x="151" y="54"/>
                </a:cubicBezTo>
                <a:cubicBezTo>
                  <a:pt x="157" y="60"/>
                  <a:pt x="160" y="68"/>
                  <a:pt x="160" y="76"/>
                </a:cubicBezTo>
                <a:close/>
                <a:moveTo>
                  <a:pt x="140" y="59"/>
                </a:moveTo>
                <a:cubicBezTo>
                  <a:pt x="149" y="68"/>
                  <a:pt x="149" y="83"/>
                  <a:pt x="140" y="92"/>
                </a:cubicBezTo>
                <a:cubicBezTo>
                  <a:pt x="139" y="92"/>
                  <a:pt x="139" y="93"/>
                  <a:pt x="138" y="93"/>
                </a:cubicBezTo>
                <a:cubicBezTo>
                  <a:pt x="137" y="93"/>
                  <a:pt x="136" y="92"/>
                  <a:pt x="136" y="92"/>
                </a:cubicBezTo>
                <a:cubicBezTo>
                  <a:pt x="135" y="91"/>
                  <a:pt x="135" y="89"/>
                  <a:pt x="136" y="88"/>
                </a:cubicBezTo>
                <a:cubicBezTo>
                  <a:pt x="143" y="81"/>
                  <a:pt x="143" y="70"/>
                  <a:pt x="136" y="63"/>
                </a:cubicBezTo>
                <a:cubicBezTo>
                  <a:pt x="135" y="62"/>
                  <a:pt x="135" y="60"/>
                  <a:pt x="136" y="59"/>
                </a:cubicBezTo>
                <a:cubicBezTo>
                  <a:pt x="137" y="58"/>
                  <a:pt x="139" y="58"/>
                  <a:pt x="140" y="59"/>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849">
            <a:extLst>
              <a:ext uri="{FF2B5EF4-FFF2-40B4-BE49-F238E27FC236}">
                <a16:creationId xmlns:a16="http://schemas.microsoft.com/office/drawing/2014/main" id="{2C9025CB-15DA-414E-9B9F-5A39F6E8F65C}"/>
              </a:ext>
            </a:extLst>
          </p:cNvPr>
          <p:cNvSpPr>
            <a:spLocks noEditPoints="1"/>
          </p:cNvSpPr>
          <p:nvPr/>
        </p:nvSpPr>
        <p:spPr bwMode="auto">
          <a:xfrm>
            <a:off x="569795" y="4073525"/>
            <a:ext cx="558800" cy="558800"/>
          </a:xfrm>
          <a:custGeom>
            <a:avLst/>
            <a:gdLst>
              <a:gd name="T0" fmla="*/ 85 w 164"/>
              <a:gd name="T1" fmla="*/ 74 h 162"/>
              <a:gd name="T2" fmla="*/ 79 w 164"/>
              <a:gd name="T3" fmla="*/ 46 h 162"/>
              <a:gd name="T4" fmla="*/ 82 w 164"/>
              <a:gd name="T5" fmla="*/ 96 h 162"/>
              <a:gd name="T6" fmla="*/ 115 w 164"/>
              <a:gd name="T7" fmla="*/ 85 h 162"/>
              <a:gd name="T8" fmla="*/ 76 w 164"/>
              <a:gd name="T9" fmla="*/ 85 h 162"/>
              <a:gd name="T10" fmla="*/ 82 w 164"/>
              <a:gd name="T11" fmla="*/ 90 h 162"/>
              <a:gd name="T12" fmla="*/ 153 w 164"/>
              <a:gd name="T13" fmla="*/ 41 h 162"/>
              <a:gd name="T14" fmla="*/ 123 w 164"/>
              <a:gd name="T15" fmla="*/ 9 h 162"/>
              <a:gd name="T16" fmla="*/ 136 w 164"/>
              <a:gd name="T17" fmla="*/ 25 h 162"/>
              <a:gd name="T18" fmla="*/ 32 w 164"/>
              <a:gd name="T19" fmla="*/ 30 h 162"/>
              <a:gd name="T20" fmla="*/ 41 w 164"/>
              <a:gd name="T21" fmla="*/ 10 h 162"/>
              <a:gd name="T22" fmla="*/ 9 w 164"/>
              <a:gd name="T23" fmla="*/ 40 h 162"/>
              <a:gd name="T24" fmla="*/ 24 w 164"/>
              <a:gd name="T25" fmla="*/ 29 h 162"/>
              <a:gd name="T26" fmla="*/ 44 w 164"/>
              <a:gd name="T27" fmla="*/ 149 h 162"/>
              <a:gd name="T28" fmla="*/ 38 w 164"/>
              <a:gd name="T29" fmla="*/ 162 h 162"/>
              <a:gd name="T30" fmla="*/ 82 w 164"/>
              <a:gd name="T31" fmla="*/ 159 h 162"/>
              <a:gd name="T32" fmla="*/ 126 w 164"/>
              <a:gd name="T33" fmla="*/ 162 h 162"/>
              <a:gd name="T34" fmla="*/ 119 w 164"/>
              <a:gd name="T35" fmla="*/ 149 h 162"/>
              <a:gd name="T36" fmla="*/ 140 w 164"/>
              <a:gd name="T37" fmla="*/ 29 h 162"/>
              <a:gd name="T38" fmla="*/ 129 w 164"/>
              <a:gd name="T39" fmla="*/ 11 h 162"/>
              <a:gd name="T40" fmla="*/ 12 w 164"/>
              <a:gd name="T41" fmla="*/ 12 h 162"/>
              <a:gd name="T42" fmla="*/ 82 w 164"/>
              <a:gd name="T43" fmla="*/ 154 h 162"/>
              <a:gd name="T44" fmla="*/ 151 w 164"/>
              <a:gd name="T45" fmla="*/ 85 h 162"/>
              <a:gd name="T46" fmla="*/ 114 w 164"/>
              <a:gd name="T47" fmla="*/ 30 h 162"/>
              <a:gd name="T48" fmla="*/ 82 w 164"/>
              <a:gd name="T49" fmla="*/ 22 h 162"/>
              <a:gd name="T50" fmla="*/ 50 w 164"/>
              <a:gd name="T51" fmla="*/ 30 h 162"/>
              <a:gd name="T52" fmla="*/ 27 w 164"/>
              <a:gd name="T53" fmla="*/ 53 h 162"/>
              <a:gd name="T54" fmla="*/ 27 w 164"/>
              <a:gd name="T55" fmla="*/ 117 h 162"/>
              <a:gd name="T56" fmla="*/ 50 w 164"/>
              <a:gd name="T57" fmla="*/ 140 h 162"/>
              <a:gd name="T58" fmla="*/ 113 w 164"/>
              <a:gd name="T59" fmla="*/ 140 h 162"/>
              <a:gd name="T60" fmla="*/ 136 w 164"/>
              <a:gd name="T61" fmla="*/ 117 h 162"/>
              <a:gd name="T62" fmla="*/ 145 w 164"/>
              <a:gd name="T63" fmla="*/ 85 h 162"/>
              <a:gd name="T64" fmla="*/ 136 w 164"/>
              <a:gd name="T65" fmla="*/ 53 h 162"/>
              <a:gd name="T66" fmla="*/ 108 w 164"/>
              <a:gd name="T67" fmla="*/ 130 h 162"/>
              <a:gd name="T68" fmla="*/ 85 w 164"/>
              <a:gd name="T69" fmla="*/ 143 h 162"/>
              <a:gd name="T70" fmla="*/ 79 w 164"/>
              <a:gd name="T71" fmla="*/ 140 h 162"/>
              <a:gd name="T72" fmla="*/ 57 w 164"/>
              <a:gd name="T73" fmla="*/ 134 h 162"/>
              <a:gd name="T74" fmla="*/ 51 w 164"/>
              <a:gd name="T75" fmla="*/ 134 h 162"/>
              <a:gd name="T76" fmla="*/ 37 w 164"/>
              <a:gd name="T77" fmla="*/ 111 h 162"/>
              <a:gd name="T78" fmla="*/ 24 w 164"/>
              <a:gd name="T79" fmla="*/ 88 h 162"/>
              <a:gd name="T80" fmla="*/ 27 w 164"/>
              <a:gd name="T81" fmla="*/ 82 h 162"/>
              <a:gd name="T82" fmla="*/ 33 w 164"/>
              <a:gd name="T83" fmla="*/ 60 h 162"/>
              <a:gd name="T84" fmla="*/ 36 w 164"/>
              <a:gd name="T85" fmla="*/ 55 h 162"/>
              <a:gd name="T86" fmla="*/ 52 w 164"/>
              <a:gd name="T87" fmla="*/ 39 h 162"/>
              <a:gd name="T88" fmla="*/ 57 w 164"/>
              <a:gd name="T89" fmla="*/ 36 h 162"/>
              <a:gd name="T90" fmla="*/ 79 w 164"/>
              <a:gd name="T91" fmla="*/ 30 h 162"/>
              <a:gd name="T92" fmla="*/ 85 w 164"/>
              <a:gd name="T93" fmla="*/ 27 h 162"/>
              <a:gd name="T94" fmla="*/ 108 w 164"/>
              <a:gd name="T95" fmla="*/ 40 h 162"/>
              <a:gd name="T96" fmla="*/ 113 w 164"/>
              <a:gd name="T97" fmla="*/ 36 h 162"/>
              <a:gd name="T98" fmla="*/ 127 w 164"/>
              <a:gd name="T99" fmla="*/ 59 h 162"/>
              <a:gd name="T100" fmla="*/ 133 w 164"/>
              <a:gd name="T101" fmla="*/ 59 h 162"/>
              <a:gd name="T102" fmla="*/ 134 w 164"/>
              <a:gd name="T103" fmla="*/ 85 h 162"/>
              <a:gd name="T104" fmla="*/ 133 w 164"/>
              <a:gd name="T105" fmla="*/ 111 h 162"/>
              <a:gd name="T106" fmla="*/ 128 w 164"/>
              <a:gd name="T107" fmla="*/ 11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4" h="162">
                <a:moveTo>
                  <a:pt x="112" y="82"/>
                </a:moveTo>
                <a:cubicBezTo>
                  <a:pt x="92" y="82"/>
                  <a:pt x="92" y="82"/>
                  <a:pt x="92" y="82"/>
                </a:cubicBezTo>
                <a:cubicBezTo>
                  <a:pt x="91" y="78"/>
                  <a:pt x="88" y="75"/>
                  <a:pt x="85" y="74"/>
                </a:cubicBezTo>
                <a:cubicBezTo>
                  <a:pt x="85" y="46"/>
                  <a:pt x="85" y="46"/>
                  <a:pt x="85" y="46"/>
                </a:cubicBezTo>
                <a:cubicBezTo>
                  <a:pt x="85" y="45"/>
                  <a:pt x="83" y="44"/>
                  <a:pt x="82" y="44"/>
                </a:cubicBezTo>
                <a:cubicBezTo>
                  <a:pt x="80" y="44"/>
                  <a:pt x="79" y="45"/>
                  <a:pt x="79" y="46"/>
                </a:cubicBezTo>
                <a:cubicBezTo>
                  <a:pt x="79" y="74"/>
                  <a:pt x="79" y="74"/>
                  <a:pt x="79" y="74"/>
                </a:cubicBezTo>
                <a:cubicBezTo>
                  <a:pt x="74" y="76"/>
                  <a:pt x="71" y="80"/>
                  <a:pt x="71" y="85"/>
                </a:cubicBezTo>
                <a:cubicBezTo>
                  <a:pt x="71" y="91"/>
                  <a:pt x="76" y="96"/>
                  <a:pt x="82" y="96"/>
                </a:cubicBezTo>
                <a:cubicBezTo>
                  <a:pt x="87" y="96"/>
                  <a:pt x="91" y="92"/>
                  <a:pt x="92" y="88"/>
                </a:cubicBezTo>
                <a:cubicBezTo>
                  <a:pt x="112" y="88"/>
                  <a:pt x="112" y="88"/>
                  <a:pt x="112" y="88"/>
                </a:cubicBezTo>
                <a:cubicBezTo>
                  <a:pt x="114" y="88"/>
                  <a:pt x="115" y="86"/>
                  <a:pt x="115" y="85"/>
                </a:cubicBezTo>
                <a:cubicBezTo>
                  <a:pt x="115" y="83"/>
                  <a:pt x="114" y="82"/>
                  <a:pt x="112" y="82"/>
                </a:cubicBezTo>
                <a:close/>
                <a:moveTo>
                  <a:pt x="82" y="90"/>
                </a:moveTo>
                <a:cubicBezTo>
                  <a:pt x="79" y="90"/>
                  <a:pt x="76" y="88"/>
                  <a:pt x="76" y="85"/>
                </a:cubicBezTo>
                <a:cubicBezTo>
                  <a:pt x="76" y="82"/>
                  <a:pt x="79" y="79"/>
                  <a:pt x="82" y="79"/>
                </a:cubicBezTo>
                <a:cubicBezTo>
                  <a:pt x="85" y="79"/>
                  <a:pt x="87" y="82"/>
                  <a:pt x="87" y="85"/>
                </a:cubicBezTo>
                <a:cubicBezTo>
                  <a:pt x="87" y="88"/>
                  <a:pt x="85" y="90"/>
                  <a:pt x="82" y="90"/>
                </a:cubicBezTo>
                <a:close/>
                <a:moveTo>
                  <a:pt x="140" y="29"/>
                </a:moveTo>
                <a:cubicBezTo>
                  <a:pt x="151" y="40"/>
                  <a:pt x="151" y="40"/>
                  <a:pt x="151" y="40"/>
                </a:cubicBezTo>
                <a:cubicBezTo>
                  <a:pt x="152" y="41"/>
                  <a:pt x="152" y="41"/>
                  <a:pt x="153" y="41"/>
                </a:cubicBezTo>
                <a:cubicBezTo>
                  <a:pt x="154" y="41"/>
                  <a:pt x="155" y="41"/>
                  <a:pt x="155" y="40"/>
                </a:cubicBezTo>
                <a:cubicBezTo>
                  <a:pt x="164" y="31"/>
                  <a:pt x="164" y="17"/>
                  <a:pt x="155" y="9"/>
                </a:cubicBezTo>
                <a:cubicBezTo>
                  <a:pt x="146" y="0"/>
                  <a:pt x="132" y="0"/>
                  <a:pt x="123" y="9"/>
                </a:cubicBezTo>
                <a:cubicBezTo>
                  <a:pt x="123" y="9"/>
                  <a:pt x="123" y="10"/>
                  <a:pt x="123" y="10"/>
                </a:cubicBezTo>
                <a:cubicBezTo>
                  <a:pt x="123" y="11"/>
                  <a:pt x="123" y="12"/>
                  <a:pt x="123" y="12"/>
                </a:cubicBezTo>
                <a:cubicBezTo>
                  <a:pt x="136" y="25"/>
                  <a:pt x="136" y="25"/>
                  <a:pt x="136" y="25"/>
                </a:cubicBezTo>
                <a:cubicBezTo>
                  <a:pt x="131" y="30"/>
                  <a:pt x="131" y="30"/>
                  <a:pt x="131" y="30"/>
                </a:cubicBezTo>
                <a:cubicBezTo>
                  <a:pt x="118" y="18"/>
                  <a:pt x="101" y="11"/>
                  <a:pt x="82" y="11"/>
                </a:cubicBezTo>
                <a:cubicBezTo>
                  <a:pt x="63" y="11"/>
                  <a:pt x="45" y="18"/>
                  <a:pt x="32" y="30"/>
                </a:cubicBezTo>
                <a:cubicBezTo>
                  <a:pt x="28" y="25"/>
                  <a:pt x="28" y="25"/>
                  <a:pt x="28" y="25"/>
                </a:cubicBezTo>
                <a:cubicBezTo>
                  <a:pt x="40" y="12"/>
                  <a:pt x="40" y="12"/>
                  <a:pt x="40" y="12"/>
                </a:cubicBezTo>
                <a:cubicBezTo>
                  <a:pt x="41" y="12"/>
                  <a:pt x="41" y="11"/>
                  <a:pt x="41" y="10"/>
                </a:cubicBezTo>
                <a:cubicBezTo>
                  <a:pt x="41" y="10"/>
                  <a:pt x="41" y="9"/>
                  <a:pt x="40" y="9"/>
                </a:cubicBezTo>
                <a:cubicBezTo>
                  <a:pt x="31" y="0"/>
                  <a:pt x="17" y="0"/>
                  <a:pt x="9" y="9"/>
                </a:cubicBezTo>
                <a:cubicBezTo>
                  <a:pt x="0" y="17"/>
                  <a:pt x="0" y="31"/>
                  <a:pt x="9" y="40"/>
                </a:cubicBezTo>
                <a:cubicBezTo>
                  <a:pt x="9" y="41"/>
                  <a:pt x="10" y="41"/>
                  <a:pt x="10" y="41"/>
                </a:cubicBezTo>
                <a:cubicBezTo>
                  <a:pt x="11" y="41"/>
                  <a:pt x="12" y="41"/>
                  <a:pt x="12" y="40"/>
                </a:cubicBezTo>
                <a:cubicBezTo>
                  <a:pt x="24" y="29"/>
                  <a:pt x="24" y="29"/>
                  <a:pt x="24" y="29"/>
                </a:cubicBezTo>
                <a:cubicBezTo>
                  <a:pt x="28" y="33"/>
                  <a:pt x="28" y="33"/>
                  <a:pt x="28" y="33"/>
                </a:cubicBezTo>
                <a:cubicBezTo>
                  <a:pt x="15" y="47"/>
                  <a:pt x="7" y="65"/>
                  <a:pt x="7" y="85"/>
                </a:cubicBezTo>
                <a:cubicBezTo>
                  <a:pt x="7" y="112"/>
                  <a:pt x="22" y="136"/>
                  <a:pt x="44" y="149"/>
                </a:cubicBezTo>
                <a:cubicBezTo>
                  <a:pt x="36" y="157"/>
                  <a:pt x="36" y="157"/>
                  <a:pt x="36" y="157"/>
                </a:cubicBezTo>
                <a:cubicBezTo>
                  <a:pt x="35" y="158"/>
                  <a:pt x="35" y="160"/>
                  <a:pt x="36" y="161"/>
                </a:cubicBezTo>
                <a:cubicBezTo>
                  <a:pt x="36" y="162"/>
                  <a:pt x="37" y="162"/>
                  <a:pt x="38" y="162"/>
                </a:cubicBezTo>
                <a:cubicBezTo>
                  <a:pt x="38" y="162"/>
                  <a:pt x="39" y="162"/>
                  <a:pt x="40" y="161"/>
                </a:cubicBezTo>
                <a:cubicBezTo>
                  <a:pt x="49" y="152"/>
                  <a:pt x="49" y="152"/>
                  <a:pt x="49" y="152"/>
                </a:cubicBezTo>
                <a:cubicBezTo>
                  <a:pt x="59" y="157"/>
                  <a:pt x="70" y="159"/>
                  <a:pt x="82" y="159"/>
                </a:cubicBezTo>
                <a:cubicBezTo>
                  <a:pt x="93" y="159"/>
                  <a:pt x="105" y="157"/>
                  <a:pt x="114" y="152"/>
                </a:cubicBezTo>
                <a:cubicBezTo>
                  <a:pt x="124" y="161"/>
                  <a:pt x="124" y="161"/>
                  <a:pt x="124" y="161"/>
                </a:cubicBezTo>
                <a:cubicBezTo>
                  <a:pt x="124" y="162"/>
                  <a:pt x="125" y="162"/>
                  <a:pt x="126" y="162"/>
                </a:cubicBezTo>
                <a:cubicBezTo>
                  <a:pt x="127" y="162"/>
                  <a:pt x="127" y="162"/>
                  <a:pt x="128" y="161"/>
                </a:cubicBezTo>
                <a:cubicBezTo>
                  <a:pt x="129" y="160"/>
                  <a:pt x="129" y="158"/>
                  <a:pt x="128" y="157"/>
                </a:cubicBezTo>
                <a:cubicBezTo>
                  <a:pt x="119" y="149"/>
                  <a:pt x="119" y="149"/>
                  <a:pt x="119" y="149"/>
                </a:cubicBezTo>
                <a:cubicBezTo>
                  <a:pt x="141" y="136"/>
                  <a:pt x="156" y="112"/>
                  <a:pt x="156" y="85"/>
                </a:cubicBezTo>
                <a:cubicBezTo>
                  <a:pt x="156" y="65"/>
                  <a:pt x="148" y="47"/>
                  <a:pt x="135" y="33"/>
                </a:cubicBezTo>
                <a:lnTo>
                  <a:pt x="140" y="29"/>
                </a:lnTo>
                <a:close/>
                <a:moveTo>
                  <a:pt x="151" y="12"/>
                </a:moveTo>
                <a:cubicBezTo>
                  <a:pt x="157" y="18"/>
                  <a:pt x="158" y="28"/>
                  <a:pt x="153" y="34"/>
                </a:cubicBezTo>
                <a:cubicBezTo>
                  <a:pt x="129" y="11"/>
                  <a:pt x="129" y="11"/>
                  <a:pt x="129" y="11"/>
                </a:cubicBezTo>
                <a:cubicBezTo>
                  <a:pt x="136" y="6"/>
                  <a:pt x="145" y="7"/>
                  <a:pt x="151" y="12"/>
                </a:cubicBezTo>
                <a:close/>
                <a:moveTo>
                  <a:pt x="11" y="34"/>
                </a:moveTo>
                <a:cubicBezTo>
                  <a:pt x="6" y="28"/>
                  <a:pt x="7" y="18"/>
                  <a:pt x="12" y="12"/>
                </a:cubicBezTo>
                <a:cubicBezTo>
                  <a:pt x="18" y="7"/>
                  <a:pt x="28" y="6"/>
                  <a:pt x="34" y="11"/>
                </a:cubicBezTo>
                <a:lnTo>
                  <a:pt x="11" y="34"/>
                </a:lnTo>
                <a:close/>
                <a:moveTo>
                  <a:pt x="82" y="154"/>
                </a:moveTo>
                <a:cubicBezTo>
                  <a:pt x="44" y="154"/>
                  <a:pt x="13" y="123"/>
                  <a:pt x="13" y="85"/>
                </a:cubicBezTo>
                <a:cubicBezTo>
                  <a:pt x="13" y="47"/>
                  <a:pt x="44" y="16"/>
                  <a:pt x="82" y="16"/>
                </a:cubicBezTo>
                <a:cubicBezTo>
                  <a:pt x="120" y="16"/>
                  <a:pt x="151" y="47"/>
                  <a:pt x="151" y="85"/>
                </a:cubicBezTo>
                <a:cubicBezTo>
                  <a:pt x="151" y="123"/>
                  <a:pt x="120" y="154"/>
                  <a:pt x="82" y="154"/>
                </a:cubicBezTo>
                <a:close/>
                <a:moveTo>
                  <a:pt x="136" y="53"/>
                </a:moveTo>
                <a:cubicBezTo>
                  <a:pt x="131" y="44"/>
                  <a:pt x="123" y="36"/>
                  <a:pt x="114" y="30"/>
                </a:cubicBezTo>
                <a:cubicBezTo>
                  <a:pt x="113" y="30"/>
                  <a:pt x="113" y="30"/>
                  <a:pt x="113" y="30"/>
                </a:cubicBezTo>
                <a:cubicBezTo>
                  <a:pt x="113" y="30"/>
                  <a:pt x="113" y="30"/>
                  <a:pt x="113" y="30"/>
                </a:cubicBezTo>
                <a:cubicBezTo>
                  <a:pt x="104" y="25"/>
                  <a:pt x="93" y="22"/>
                  <a:pt x="82" y="22"/>
                </a:cubicBezTo>
                <a:cubicBezTo>
                  <a:pt x="70" y="22"/>
                  <a:pt x="60" y="25"/>
                  <a:pt x="50" y="30"/>
                </a:cubicBezTo>
                <a:cubicBezTo>
                  <a:pt x="50" y="30"/>
                  <a:pt x="50" y="30"/>
                  <a:pt x="50" y="30"/>
                </a:cubicBezTo>
                <a:cubicBezTo>
                  <a:pt x="50" y="30"/>
                  <a:pt x="50" y="30"/>
                  <a:pt x="50" y="30"/>
                </a:cubicBezTo>
                <a:cubicBezTo>
                  <a:pt x="41" y="36"/>
                  <a:pt x="33" y="44"/>
                  <a:pt x="27" y="53"/>
                </a:cubicBezTo>
                <a:cubicBezTo>
                  <a:pt x="27" y="53"/>
                  <a:pt x="27" y="53"/>
                  <a:pt x="27" y="53"/>
                </a:cubicBezTo>
                <a:cubicBezTo>
                  <a:pt x="27" y="53"/>
                  <a:pt x="27" y="53"/>
                  <a:pt x="27" y="53"/>
                </a:cubicBezTo>
                <a:cubicBezTo>
                  <a:pt x="22" y="63"/>
                  <a:pt x="19" y="74"/>
                  <a:pt x="19" y="85"/>
                </a:cubicBezTo>
                <a:cubicBezTo>
                  <a:pt x="19" y="96"/>
                  <a:pt x="22" y="107"/>
                  <a:pt x="27" y="116"/>
                </a:cubicBezTo>
                <a:cubicBezTo>
                  <a:pt x="27" y="117"/>
                  <a:pt x="27" y="117"/>
                  <a:pt x="27" y="117"/>
                </a:cubicBezTo>
                <a:cubicBezTo>
                  <a:pt x="27" y="117"/>
                  <a:pt x="27" y="117"/>
                  <a:pt x="27" y="117"/>
                </a:cubicBezTo>
                <a:cubicBezTo>
                  <a:pt x="33" y="126"/>
                  <a:pt x="41" y="134"/>
                  <a:pt x="50" y="140"/>
                </a:cubicBezTo>
                <a:cubicBezTo>
                  <a:pt x="50" y="140"/>
                  <a:pt x="50" y="140"/>
                  <a:pt x="50" y="140"/>
                </a:cubicBezTo>
                <a:cubicBezTo>
                  <a:pt x="50" y="140"/>
                  <a:pt x="50" y="140"/>
                  <a:pt x="50" y="140"/>
                </a:cubicBezTo>
                <a:cubicBezTo>
                  <a:pt x="60" y="145"/>
                  <a:pt x="70" y="148"/>
                  <a:pt x="82" y="148"/>
                </a:cubicBezTo>
                <a:cubicBezTo>
                  <a:pt x="93" y="148"/>
                  <a:pt x="104" y="145"/>
                  <a:pt x="113" y="140"/>
                </a:cubicBezTo>
                <a:cubicBezTo>
                  <a:pt x="113" y="140"/>
                  <a:pt x="113" y="140"/>
                  <a:pt x="113" y="140"/>
                </a:cubicBezTo>
                <a:cubicBezTo>
                  <a:pt x="113" y="140"/>
                  <a:pt x="113" y="140"/>
                  <a:pt x="114" y="140"/>
                </a:cubicBezTo>
                <a:cubicBezTo>
                  <a:pt x="123" y="134"/>
                  <a:pt x="131" y="126"/>
                  <a:pt x="136" y="117"/>
                </a:cubicBezTo>
                <a:cubicBezTo>
                  <a:pt x="136" y="117"/>
                  <a:pt x="137" y="117"/>
                  <a:pt x="137" y="117"/>
                </a:cubicBezTo>
                <a:cubicBezTo>
                  <a:pt x="137" y="117"/>
                  <a:pt x="137" y="117"/>
                  <a:pt x="137" y="116"/>
                </a:cubicBezTo>
                <a:cubicBezTo>
                  <a:pt x="142" y="107"/>
                  <a:pt x="145" y="96"/>
                  <a:pt x="145" y="85"/>
                </a:cubicBezTo>
                <a:cubicBezTo>
                  <a:pt x="145" y="74"/>
                  <a:pt x="142" y="63"/>
                  <a:pt x="137" y="53"/>
                </a:cubicBezTo>
                <a:cubicBezTo>
                  <a:pt x="137" y="53"/>
                  <a:pt x="137" y="53"/>
                  <a:pt x="137" y="53"/>
                </a:cubicBezTo>
                <a:cubicBezTo>
                  <a:pt x="137" y="53"/>
                  <a:pt x="137" y="53"/>
                  <a:pt x="136" y="53"/>
                </a:cubicBezTo>
                <a:close/>
                <a:moveTo>
                  <a:pt x="113" y="134"/>
                </a:moveTo>
                <a:cubicBezTo>
                  <a:pt x="112" y="131"/>
                  <a:pt x="112" y="131"/>
                  <a:pt x="112" y="131"/>
                </a:cubicBezTo>
                <a:cubicBezTo>
                  <a:pt x="111" y="130"/>
                  <a:pt x="109" y="129"/>
                  <a:pt x="108" y="130"/>
                </a:cubicBezTo>
                <a:cubicBezTo>
                  <a:pt x="107" y="131"/>
                  <a:pt x="106" y="133"/>
                  <a:pt x="107" y="134"/>
                </a:cubicBezTo>
                <a:cubicBezTo>
                  <a:pt x="108" y="136"/>
                  <a:pt x="108" y="136"/>
                  <a:pt x="108" y="136"/>
                </a:cubicBezTo>
                <a:cubicBezTo>
                  <a:pt x="101" y="140"/>
                  <a:pt x="93" y="142"/>
                  <a:pt x="85" y="143"/>
                </a:cubicBezTo>
                <a:cubicBezTo>
                  <a:pt x="85" y="140"/>
                  <a:pt x="85" y="140"/>
                  <a:pt x="85" y="140"/>
                </a:cubicBezTo>
                <a:cubicBezTo>
                  <a:pt x="85" y="138"/>
                  <a:pt x="83" y="137"/>
                  <a:pt x="82" y="137"/>
                </a:cubicBezTo>
                <a:cubicBezTo>
                  <a:pt x="80" y="137"/>
                  <a:pt x="79" y="138"/>
                  <a:pt x="79" y="140"/>
                </a:cubicBezTo>
                <a:cubicBezTo>
                  <a:pt x="79" y="143"/>
                  <a:pt x="79" y="143"/>
                  <a:pt x="79" y="143"/>
                </a:cubicBezTo>
                <a:cubicBezTo>
                  <a:pt x="71" y="142"/>
                  <a:pt x="62" y="140"/>
                  <a:pt x="55" y="136"/>
                </a:cubicBezTo>
                <a:cubicBezTo>
                  <a:pt x="57" y="134"/>
                  <a:pt x="57" y="134"/>
                  <a:pt x="57" y="134"/>
                </a:cubicBezTo>
                <a:cubicBezTo>
                  <a:pt x="57" y="133"/>
                  <a:pt x="57" y="131"/>
                  <a:pt x="56" y="130"/>
                </a:cubicBezTo>
                <a:cubicBezTo>
                  <a:pt x="54" y="129"/>
                  <a:pt x="53" y="130"/>
                  <a:pt x="52" y="131"/>
                </a:cubicBezTo>
                <a:cubicBezTo>
                  <a:pt x="51" y="134"/>
                  <a:pt x="51" y="134"/>
                  <a:pt x="51" y="134"/>
                </a:cubicBezTo>
                <a:cubicBezTo>
                  <a:pt x="44" y="129"/>
                  <a:pt x="38" y="123"/>
                  <a:pt x="33" y="116"/>
                </a:cubicBezTo>
                <a:cubicBezTo>
                  <a:pt x="36" y="115"/>
                  <a:pt x="36" y="115"/>
                  <a:pt x="36" y="115"/>
                </a:cubicBezTo>
                <a:cubicBezTo>
                  <a:pt x="37" y="114"/>
                  <a:pt x="37" y="112"/>
                  <a:pt x="37" y="111"/>
                </a:cubicBezTo>
                <a:cubicBezTo>
                  <a:pt x="36" y="110"/>
                  <a:pt x="34" y="109"/>
                  <a:pt x="33" y="110"/>
                </a:cubicBezTo>
                <a:cubicBezTo>
                  <a:pt x="30" y="111"/>
                  <a:pt x="30" y="111"/>
                  <a:pt x="30" y="111"/>
                </a:cubicBezTo>
                <a:cubicBezTo>
                  <a:pt x="27" y="104"/>
                  <a:pt x="25" y="96"/>
                  <a:pt x="24" y="88"/>
                </a:cubicBezTo>
                <a:cubicBezTo>
                  <a:pt x="27" y="88"/>
                  <a:pt x="27" y="88"/>
                  <a:pt x="27" y="88"/>
                </a:cubicBezTo>
                <a:cubicBezTo>
                  <a:pt x="28" y="88"/>
                  <a:pt x="30" y="86"/>
                  <a:pt x="30" y="85"/>
                </a:cubicBezTo>
                <a:cubicBezTo>
                  <a:pt x="30" y="83"/>
                  <a:pt x="28" y="82"/>
                  <a:pt x="27" y="82"/>
                </a:cubicBezTo>
                <a:cubicBezTo>
                  <a:pt x="24" y="82"/>
                  <a:pt x="24" y="82"/>
                  <a:pt x="24" y="82"/>
                </a:cubicBezTo>
                <a:cubicBezTo>
                  <a:pt x="25" y="74"/>
                  <a:pt x="27" y="66"/>
                  <a:pt x="30" y="59"/>
                </a:cubicBezTo>
                <a:cubicBezTo>
                  <a:pt x="33" y="60"/>
                  <a:pt x="33" y="60"/>
                  <a:pt x="33" y="60"/>
                </a:cubicBezTo>
                <a:cubicBezTo>
                  <a:pt x="33" y="60"/>
                  <a:pt x="34" y="60"/>
                  <a:pt x="34" y="60"/>
                </a:cubicBezTo>
                <a:cubicBezTo>
                  <a:pt x="35" y="60"/>
                  <a:pt x="36" y="60"/>
                  <a:pt x="37" y="59"/>
                </a:cubicBezTo>
                <a:cubicBezTo>
                  <a:pt x="37" y="58"/>
                  <a:pt x="37" y="56"/>
                  <a:pt x="36" y="55"/>
                </a:cubicBezTo>
                <a:cubicBezTo>
                  <a:pt x="33" y="54"/>
                  <a:pt x="33" y="54"/>
                  <a:pt x="33" y="54"/>
                </a:cubicBezTo>
                <a:cubicBezTo>
                  <a:pt x="38" y="47"/>
                  <a:pt x="44" y="41"/>
                  <a:pt x="51" y="36"/>
                </a:cubicBezTo>
                <a:cubicBezTo>
                  <a:pt x="52" y="39"/>
                  <a:pt x="52" y="39"/>
                  <a:pt x="52" y="39"/>
                </a:cubicBezTo>
                <a:cubicBezTo>
                  <a:pt x="52" y="40"/>
                  <a:pt x="53" y="40"/>
                  <a:pt x="54" y="40"/>
                </a:cubicBezTo>
                <a:cubicBezTo>
                  <a:pt x="55" y="40"/>
                  <a:pt x="55" y="40"/>
                  <a:pt x="56" y="40"/>
                </a:cubicBezTo>
                <a:cubicBezTo>
                  <a:pt x="57" y="39"/>
                  <a:pt x="57" y="37"/>
                  <a:pt x="57" y="36"/>
                </a:cubicBezTo>
                <a:cubicBezTo>
                  <a:pt x="55" y="34"/>
                  <a:pt x="55" y="34"/>
                  <a:pt x="55" y="34"/>
                </a:cubicBezTo>
                <a:cubicBezTo>
                  <a:pt x="62" y="30"/>
                  <a:pt x="71" y="28"/>
                  <a:pt x="79" y="27"/>
                </a:cubicBezTo>
                <a:cubicBezTo>
                  <a:pt x="79" y="30"/>
                  <a:pt x="79" y="30"/>
                  <a:pt x="79" y="30"/>
                </a:cubicBezTo>
                <a:cubicBezTo>
                  <a:pt x="79" y="31"/>
                  <a:pt x="80" y="33"/>
                  <a:pt x="82" y="33"/>
                </a:cubicBezTo>
                <a:cubicBezTo>
                  <a:pt x="83" y="33"/>
                  <a:pt x="85" y="31"/>
                  <a:pt x="85" y="30"/>
                </a:cubicBezTo>
                <a:cubicBezTo>
                  <a:pt x="85" y="27"/>
                  <a:pt x="85" y="27"/>
                  <a:pt x="85" y="27"/>
                </a:cubicBezTo>
                <a:cubicBezTo>
                  <a:pt x="93" y="28"/>
                  <a:pt x="101" y="30"/>
                  <a:pt x="108" y="34"/>
                </a:cubicBezTo>
                <a:cubicBezTo>
                  <a:pt x="107" y="36"/>
                  <a:pt x="107" y="36"/>
                  <a:pt x="107" y="36"/>
                </a:cubicBezTo>
                <a:cubicBezTo>
                  <a:pt x="106" y="37"/>
                  <a:pt x="107" y="39"/>
                  <a:pt x="108" y="40"/>
                </a:cubicBezTo>
                <a:cubicBezTo>
                  <a:pt x="108" y="40"/>
                  <a:pt x="109" y="40"/>
                  <a:pt x="109" y="40"/>
                </a:cubicBezTo>
                <a:cubicBezTo>
                  <a:pt x="110" y="40"/>
                  <a:pt x="111" y="40"/>
                  <a:pt x="112" y="39"/>
                </a:cubicBezTo>
                <a:cubicBezTo>
                  <a:pt x="113" y="36"/>
                  <a:pt x="113" y="36"/>
                  <a:pt x="113" y="36"/>
                </a:cubicBezTo>
                <a:cubicBezTo>
                  <a:pt x="120" y="41"/>
                  <a:pt x="126" y="47"/>
                  <a:pt x="130" y="54"/>
                </a:cubicBezTo>
                <a:cubicBezTo>
                  <a:pt x="128" y="55"/>
                  <a:pt x="128" y="55"/>
                  <a:pt x="128" y="55"/>
                </a:cubicBezTo>
                <a:cubicBezTo>
                  <a:pt x="127" y="56"/>
                  <a:pt x="126" y="58"/>
                  <a:pt x="127" y="59"/>
                </a:cubicBezTo>
                <a:cubicBezTo>
                  <a:pt x="128" y="60"/>
                  <a:pt x="128" y="60"/>
                  <a:pt x="129" y="60"/>
                </a:cubicBezTo>
                <a:cubicBezTo>
                  <a:pt x="130" y="60"/>
                  <a:pt x="130" y="60"/>
                  <a:pt x="131" y="60"/>
                </a:cubicBezTo>
                <a:cubicBezTo>
                  <a:pt x="133" y="59"/>
                  <a:pt x="133" y="59"/>
                  <a:pt x="133" y="59"/>
                </a:cubicBezTo>
                <a:cubicBezTo>
                  <a:pt x="137" y="66"/>
                  <a:pt x="139" y="74"/>
                  <a:pt x="139" y="82"/>
                </a:cubicBezTo>
                <a:cubicBezTo>
                  <a:pt x="137" y="82"/>
                  <a:pt x="137" y="82"/>
                  <a:pt x="137" y="82"/>
                </a:cubicBezTo>
                <a:cubicBezTo>
                  <a:pt x="135" y="82"/>
                  <a:pt x="134" y="83"/>
                  <a:pt x="134" y="85"/>
                </a:cubicBezTo>
                <a:cubicBezTo>
                  <a:pt x="134" y="86"/>
                  <a:pt x="135" y="88"/>
                  <a:pt x="137" y="88"/>
                </a:cubicBezTo>
                <a:cubicBezTo>
                  <a:pt x="139" y="88"/>
                  <a:pt x="139" y="88"/>
                  <a:pt x="139" y="88"/>
                </a:cubicBezTo>
                <a:cubicBezTo>
                  <a:pt x="139" y="96"/>
                  <a:pt x="137" y="104"/>
                  <a:pt x="133" y="111"/>
                </a:cubicBezTo>
                <a:cubicBezTo>
                  <a:pt x="131" y="110"/>
                  <a:pt x="131" y="110"/>
                  <a:pt x="131" y="110"/>
                </a:cubicBezTo>
                <a:cubicBezTo>
                  <a:pt x="129" y="109"/>
                  <a:pt x="128" y="110"/>
                  <a:pt x="127" y="111"/>
                </a:cubicBezTo>
                <a:cubicBezTo>
                  <a:pt x="126" y="112"/>
                  <a:pt x="127" y="114"/>
                  <a:pt x="128" y="115"/>
                </a:cubicBezTo>
                <a:cubicBezTo>
                  <a:pt x="130" y="116"/>
                  <a:pt x="130" y="116"/>
                  <a:pt x="130" y="116"/>
                </a:cubicBezTo>
                <a:cubicBezTo>
                  <a:pt x="126" y="123"/>
                  <a:pt x="120" y="129"/>
                  <a:pt x="113" y="134"/>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850">
            <a:extLst>
              <a:ext uri="{FF2B5EF4-FFF2-40B4-BE49-F238E27FC236}">
                <a16:creationId xmlns:a16="http://schemas.microsoft.com/office/drawing/2014/main" id="{370036D5-C6B6-B845-9E87-8C6269968A3E}"/>
              </a:ext>
            </a:extLst>
          </p:cNvPr>
          <p:cNvSpPr>
            <a:spLocks noEditPoints="1"/>
          </p:cNvSpPr>
          <p:nvPr/>
        </p:nvSpPr>
        <p:spPr bwMode="auto">
          <a:xfrm>
            <a:off x="569795" y="4694238"/>
            <a:ext cx="558800" cy="557213"/>
          </a:xfrm>
          <a:custGeom>
            <a:avLst/>
            <a:gdLst>
              <a:gd name="T0" fmla="*/ 85 w 164"/>
              <a:gd name="T1" fmla="*/ 74 h 162"/>
              <a:gd name="T2" fmla="*/ 79 w 164"/>
              <a:gd name="T3" fmla="*/ 46 h 162"/>
              <a:gd name="T4" fmla="*/ 82 w 164"/>
              <a:gd name="T5" fmla="*/ 96 h 162"/>
              <a:gd name="T6" fmla="*/ 115 w 164"/>
              <a:gd name="T7" fmla="*/ 85 h 162"/>
              <a:gd name="T8" fmla="*/ 76 w 164"/>
              <a:gd name="T9" fmla="*/ 85 h 162"/>
              <a:gd name="T10" fmla="*/ 82 w 164"/>
              <a:gd name="T11" fmla="*/ 90 h 162"/>
              <a:gd name="T12" fmla="*/ 153 w 164"/>
              <a:gd name="T13" fmla="*/ 41 h 162"/>
              <a:gd name="T14" fmla="*/ 123 w 164"/>
              <a:gd name="T15" fmla="*/ 9 h 162"/>
              <a:gd name="T16" fmla="*/ 136 w 164"/>
              <a:gd name="T17" fmla="*/ 25 h 162"/>
              <a:gd name="T18" fmla="*/ 32 w 164"/>
              <a:gd name="T19" fmla="*/ 30 h 162"/>
              <a:gd name="T20" fmla="*/ 41 w 164"/>
              <a:gd name="T21" fmla="*/ 10 h 162"/>
              <a:gd name="T22" fmla="*/ 9 w 164"/>
              <a:gd name="T23" fmla="*/ 40 h 162"/>
              <a:gd name="T24" fmla="*/ 24 w 164"/>
              <a:gd name="T25" fmla="*/ 29 h 162"/>
              <a:gd name="T26" fmla="*/ 44 w 164"/>
              <a:gd name="T27" fmla="*/ 149 h 162"/>
              <a:gd name="T28" fmla="*/ 38 w 164"/>
              <a:gd name="T29" fmla="*/ 162 h 162"/>
              <a:gd name="T30" fmla="*/ 82 w 164"/>
              <a:gd name="T31" fmla="*/ 159 h 162"/>
              <a:gd name="T32" fmla="*/ 126 w 164"/>
              <a:gd name="T33" fmla="*/ 162 h 162"/>
              <a:gd name="T34" fmla="*/ 119 w 164"/>
              <a:gd name="T35" fmla="*/ 149 h 162"/>
              <a:gd name="T36" fmla="*/ 140 w 164"/>
              <a:gd name="T37" fmla="*/ 29 h 162"/>
              <a:gd name="T38" fmla="*/ 129 w 164"/>
              <a:gd name="T39" fmla="*/ 11 h 162"/>
              <a:gd name="T40" fmla="*/ 12 w 164"/>
              <a:gd name="T41" fmla="*/ 12 h 162"/>
              <a:gd name="T42" fmla="*/ 82 w 164"/>
              <a:gd name="T43" fmla="*/ 154 h 162"/>
              <a:gd name="T44" fmla="*/ 151 w 164"/>
              <a:gd name="T45" fmla="*/ 85 h 162"/>
              <a:gd name="T46" fmla="*/ 79 w 164"/>
              <a:gd name="T47" fmla="*/ 24 h 162"/>
              <a:gd name="T48" fmla="*/ 85 w 164"/>
              <a:gd name="T49" fmla="*/ 27 h 162"/>
              <a:gd name="T50" fmla="*/ 85 w 164"/>
              <a:gd name="T51" fmla="*/ 142 h 162"/>
              <a:gd name="T52" fmla="*/ 79 w 164"/>
              <a:gd name="T53" fmla="*/ 145 h 162"/>
              <a:gd name="T54" fmla="*/ 85 w 164"/>
              <a:gd name="T55" fmla="*/ 142 h 162"/>
              <a:gd name="T56" fmla="*/ 142 w 164"/>
              <a:gd name="T57" fmla="*/ 82 h 162"/>
              <a:gd name="T58" fmla="*/ 140 w 164"/>
              <a:gd name="T59" fmla="*/ 87 h 162"/>
              <a:gd name="T60" fmla="*/ 24 w 164"/>
              <a:gd name="T61" fmla="*/ 87 h 162"/>
              <a:gd name="T62" fmla="*/ 21 w 164"/>
              <a:gd name="T63" fmla="*/ 82 h 162"/>
              <a:gd name="T64" fmla="*/ 127 w 164"/>
              <a:gd name="T65" fmla="*/ 40 h 162"/>
              <a:gd name="T66" fmla="*/ 123 w 164"/>
              <a:gd name="T67" fmla="*/ 47 h 162"/>
              <a:gd name="T68" fmla="*/ 123 w 164"/>
              <a:gd name="T69" fmla="*/ 40 h 162"/>
              <a:gd name="T70" fmla="*/ 43 w 164"/>
              <a:gd name="T71" fmla="*/ 127 h 162"/>
              <a:gd name="T72" fmla="*/ 37 w 164"/>
              <a:gd name="T73" fmla="*/ 129 h 162"/>
              <a:gd name="T74" fmla="*/ 43 w 164"/>
              <a:gd name="T75" fmla="*/ 124 h 162"/>
              <a:gd name="T76" fmla="*/ 125 w 164"/>
              <a:gd name="T77" fmla="*/ 130 h 162"/>
              <a:gd name="T78" fmla="*/ 121 w 164"/>
              <a:gd name="T79" fmla="*/ 124 h 162"/>
              <a:gd name="T80" fmla="*/ 43 w 164"/>
              <a:gd name="T81" fmla="*/ 42 h 162"/>
              <a:gd name="T82" fmla="*/ 39 w 164"/>
              <a:gd name="T83" fmla="*/ 46 h 162"/>
              <a:gd name="T84" fmla="*/ 41 w 164"/>
              <a:gd name="T85" fmla="*/ 4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4" h="162">
                <a:moveTo>
                  <a:pt x="112" y="82"/>
                </a:moveTo>
                <a:cubicBezTo>
                  <a:pt x="92" y="82"/>
                  <a:pt x="92" y="82"/>
                  <a:pt x="92" y="82"/>
                </a:cubicBezTo>
                <a:cubicBezTo>
                  <a:pt x="91" y="78"/>
                  <a:pt x="88" y="75"/>
                  <a:pt x="85" y="74"/>
                </a:cubicBezTo>
                <a:cubicBezTo>
                  <a:pt x="85" y="46"/>
                  <a:pt x="85" y="46"/>
                  <a:pt x="85" y="46"/>
                </a:cubicBezTo>
                <a:cubicBezTo>
                  <a:pt x="85" y="45"/>
                  <a:pt x="83" y="44"/>
                  <a:pt x="82" y="44"/>
                </a:cubicBezTo>
                <a:cubicBezTo>
                  <a:pt x="80" y="44"/>
                  <a:pt x="79" y="45"/>
                  <a:pt x="79" y="46"/>
                </a:cubicBezTo>
                <a:cubicBezTo>
                  <a:pt x="79" y="74"/>
                  <a:pt x="79" y="74"/>
                  <a:pt x="79" y="74"/>
                </a:cubicBezTo>
                <a:cubicBezTo>
                  <a:pt x="74" y="76"/>
                  <a:pt x="71" y="80"/>
                  <a:pt x="71" y="85"/>
                </a:cubicBezTo>
                <a:cubicBezTo>
                  <a:pt x="71" y="91"/>
                  <a:pt x="76" y="96"/>
                  <a:pt x="82" y="96"/>
                </a:cubicBezTo>
                <a:cubicBezTo>
                  <a:pt x="87" y="96"/>
                  <a:pt x="91" y="92"/>
                  <a:pt x="92" y="88"/>
                </a:cubicBezTo>
                <a:cubicBezTo>
                  <a:pt x="112" y="88"/>
                  <a:pt x="112" y="88"/>
                  <a:pt x="112" y="88"/>
                </a:cubicBezTo>
                <a:cubicBezTo>
                  <a:pt x="114" y="88"/>
                  <a:pt x="115" y="86"/>
                  <a:pt x="115" y="85"/>
                </a:cubicBezTo>
                <a:cubicBezTo>
                  <a:pt x="115" y="83"/>
                  <a:pt x="114" y="82"/>
                  <a:pt x="112" y="82"/>
                </a:cubicBezTo>
                <a:close/>
                <a:moveTo>
                  <a:pt x="82" y="90"/>
                </a:moveTo>
                <a:cubicBezTo>
                  <a:pt x="79" y="90"/>
                  <a:pt x="76" y="88"/>
                  <a:pt x="76" y="85"/>
                </a:cubicBezTo>
                <a:cubicBezTo>
                  <a:pt x="76" y="82"/>
                  <a:pt x="79" y="79"/>
                  <a:pt x="82" y="79"/>
                </a:cubicBezTo>
                <a:cubicBezTo>
                  <a:pt x="85" y="79"/>
                  <a:pt x="87" y="82"/>
                  <a:pt x="87" y="85"/>
                </a:cubicBezTo>
                <a:cubicBezTo>
                  <a:pt x="87" y="88"/>
                  <a:pt x="85" y="90"/>
                  <a:pt x="82" y="90"/>
                </a:cubicBezTo>
                <a:close/>
                <a:moveTo>
                  <a:pt x="140" y="29"/>
                </a:moveTo>
                <a:cubicBezTo>
                  <a:pt x="151" y="40"/>
                  <a:pt x="151" y="40"/>
                  <a:pt x="151" y="40"/>
                </a:cubicBezTo>
                <a:cubicBezTo>
                  <a:pt x="152" y="41"/>
                  <a:pt x="152" y="41"/>
                  <a:pt x="153" y="41"/>
                </a:cubicBezTo>
                <a:cubicBezTo>
                  <a:pt x="154" y="41"/>
                  <a:pt x="155" y="41"/>
                  <a:pt x="155" y="40"/>
                </a:cubicBezTo>
                <a:cubicBezTo>
                  <a:pt x="164" y="31"/>
                  <a:pt x="164" y="17"/>
                  <a:pt x="155" y="9"/>
                </a:cubicBezTo>
                <a:cubicBezTo>
                  <a:pt x="146" y="0"/>
                  <a:pt x="132" y="0"/>
                  <a:pt x="123" y="9"/>
                </a:cubicBezTo>
                <a:cubicBezTo>
                  <a:pt x="123" y="9"/>
                  <a:pt x="123" y="10"/>
                  <a:pt x="123" y="10"/>
                </a:cubicBezTo>
                <a:cubicBezTo>
                  <a:pt x="123" y="11"/>
                  <a:pt x="123" y="12"/>
                  <a:pt x="123" y="12"/>
                </a:cubicBezTo>
                <a:cubicBezTo>
                  <a:pt x="136" y="25"/>
                  <a:pt x="136" y="25"/>
                  <a:pt x="136" y="25"/>
                </a:cubicBezTo>
                <a:cubicBezTo>
                  <a:pt x="131" y="30"/>
                  <a:pt x="131" y="30"/>
                  <a:pt x="131" y="30"/>
                </a:cubicBezTo>
                <a:cubicBezTo>
                  <a:pt x="118" y="18"/>
                  <a:pt x="101" y="11"/>
                  <a:pt x="82" y="11"/>
                </a:cubicBezTo>
                <a:cubicBezTo>
                  <a:pt x="63" y="11"/>
                  <a:pt x="45" y="18"/>
                  <a:pt x="32" y="30"/>
                </a:cubicBezTo>
                <a:cubicBezTo>
                  <a:pt x="28" y="25"/>
                  <a:pt x="28" y="25"/>
                  <a:pt x="28" y="25"/>
                </a:cubicBezTo>
                <a:cubicBezTo>
                  <a:pt x="40" y="12"/>
                  <a:pt x="40" y="12"/>
                  <a:pt x="40" y="12"/>
                </a:cubicBezTo>
                <a:cubicBezTo>
                  <a:pt x="41" y="12"/>
                  <a:pt x="41" y="11"/>
                  <a:pt x="41" y="10"/>
                </a:cubicBezTo>
                <a:cubicBezTo>
                  <a:pt x="41" y="10"/>
                  <a:pt x="41" y="9"/>
                  <a:pt x="40" y="9"/>
                </a:cubicBezTo>
                <a:cubicBezTo>
                  <a:pt x="31" y="0"/>
                  <a:pt x="17" y="0"/>
                  <a:pt x="9" y="9"/>
                </a:cubicBezTo>
                <a:cubicBezTo>
                  <a:pt x="0" y="17"/>
                  <a:pt x="0" y="31"/>
                  <a:pt x="9" y="40"/>
                </a:cubicBezTo>
                <a:cubicBezTo>
                  <a:pt x="9" y="41"/>
                  <a:pt x="10" y="41"/>
                  <a:pt x="10" y="41"/>
                </a:cubicBezTo>
                <a:cubicBezTo>
                  <a:pt x="11" y="41"/>
                  <a:pt x="12" y="41"/>
                  <a:pt x="12" y="40"/>
                </a:cubicBezTo>
                <a:cubicBezTo>
                  <a:pt x="24" y="29"/>
                  <a:pt x="24" y="29"/>
                  <a:pt x="24" y="29"/>
                </a:cubicBezTo>
                <a:cubicBezTo>
                  <a:pt x="28" y="33"/>
                  <a:pt x="28" y="33"/>
                  <a:pt x="28" y="33"/>
                </a:cubicBezTo>
                <a:cubicBezTo>
                  <a:pt x="15" y="47"/>
                  <a:pt x="7" y="65"/>
                  <a:pt x="7" y="85"/>
                </a:cubicBezTo>
                <a:cubicBezTo>
                  <a:pt x="7" y="112"/>
                  <a:pt x="22" y="136"/>
                  <a:pt x="44" y="149"/>
                </a:cubicBezTo>
                <a:cubicBezTo>
                  <a:pt x="36" y="157"/>
                  <a:pt x="36" y="157"/>
                  <a:pt x="36" y="157"/>
                </a:cubicBezTo>
                <a:cubicBezTo>
                  <a:pt x="35" y="158"/>
                  <a:pt x="35" y="160"/>
                  <a:pt x="36" y="161"/>
                </a:cubicBezTo>
                <a:cubicBezTo>
                  <a:pt x="36" y="162"/>
                  <a:pt x="37" y="162"/>
                  <a:pt x="38" y="162"/>
                </a:cubicBezTo>
                <a:cubicBezTo>
                  <a:pt x="38" y="162"/>
                  <a:pt x="39" y="162"/>
                  <a:pt x="40" y="161"/>
                </a:cubicBezTo>
                <a:cubicBezTo>
                  <a:pt x="49" y="152"/>
                  <a:pt x="49" y="152"/>
                  <a:pt x="49" y="152"/>
                </a:cubicBezTo>
                <a:cubicBezTo>
                  <a:pt x="59" y="157"/>
                  <a:pt x="70" y="159"/>
                  <a:pt x="82" y="159"/>
                </a:cubicBezTo>
                <a:cubicBezTo>
                  <a:pt x="93" y="159"/>
                  <a:pt x="105" y="157"/>
                  <a:pt x="114" y="152"/>
                </a:cubicBezTo>
                <a:cubicBezTo>
                  <a:pt x="124" y="161"/>
                  <a:pt x="124" y="161"/>
                  <a:pt x="124" y="161"/>
                </a:cubicBezTo>
                <a:cubicBezTo>
                  <a:pt x="124" y="162"/>
                  <a:pt x="125" y="162"/>
                  <a:pt x="126" y="162"/>
                </a:cubicBezTo>
                <a:cubicBezTo>
                  <a:pt x="127" y="162"/>
                  <a:pt x="127" y="162"/>
                  <a:pt x="128" y="161"/>
                </a:cubicBezTo>
                <a:cubicBezTo>
                  <a:pt x="129" y="160"/>
                  <a:pt x="129" y="158"/>
                  <a:pt x="128" y="157"/>
                </a:cubicBezTo>
                <a:cubicBezTo>
                  <a:pt x="119" y="149"/>
                  <a:pt x="119" y="149"/>
                  <a:pt x="119" y="149"/>
                </a:cubicBezTo>
                <a:cubicBezTo>
                  <a:pt x="141" y="136"/>
                  <a:pt x="156" y="112"/>
                  <a:pt x="156" y="85"/>
                </a:cubicBezTo>
                <a:cubicBezTo>
                  <a:pt x="156" y="65"/>
                  <a:pt x="148" y="47"/>
                  <a:pt x="135" y="33"/>
                </a:cubicBezTo>
                <a:lnTo>
                  <a:pt x="140" y="29"/>
                </a:lnTo>
                <a:close/>
                <a:moveTo>
                  <a:pt x="151" y="12"/>
                </a:moveTo>
                <a:cubicBezTo>
                  <a:pt x="157" y="18"/>
                  <a:pt x="158" y="28"/>
                  <a:pt x="153" y="34"/>
                </a:cubicBezTo>
                <a:cubicBezTo>
                  <a:pt x="129" y="11"/>
                  <a:pt x="129" y="11"/>
                  <a:pt x="129" y="11"/>
                </a:cubicBezTo>
                <a:cubicBezTo>
                  <a:pt x="136" y="6"/>
                  <a:pt x="145" y="7"/>
                  <a:pt x="151" y="12"/>
                </a:cubicBezTo>
                <a:close/>
                <a:moveTo>
                  <a:pt x="11" y="34"/>
                </a:moveTo>
                <a:cubicBezTo>
                  <a:pt x="6" y="28"/>
                  <a:pt x="7" y="18"/>
                  <a:pt x="12" y="12"/>
                </a:cubicBezTo>
                <a:cubicBezTo>
                  <a:pt x="18" y="7"/>
                  <a:pt x="28" y="6"/>
                  <a:pt x="34" y="11"/>
                </a:cubicBezTo>
                <a:lnTo>
                  <a:pt x="11" y="34"/>
                </a:lnTo>
                <a:close/>
                <a:moveTo>
                  <a:pt x="82" y="154"/>
                </a:moveTo>
                <a:cubicBezTo>
                  <a:pt x="44" y="154"/>
                  <a:pt x="13" y="123"/>
                  <a:pt x="13" y="85"/>
                </a:cubicBezTo>
                <a:cubicBezTo>
                  <a:pt x="13" y="47"/>
                  <a:pt x="44" y="16"/>
                  <a:pt x="82" y="16"/>
                </a:cubicBezTo>
                <a:cubicBezTo>
                  <a:pt x="120" y="16"/>
                  <a:pt x="151" y="47"/>
                  <a:pt x="151" y="85"/>
                </a:cubicBezTo>
                <a:cubicBezTo>
                  <a:pt x="151" y="123"/>
                  <a:pt x="120" y="154"/>
                  <a:pt x="82" y="154"/>
                </a:cubicBezTo>
                <a:close/>
                <a:moveTo>
                  <a:pt x="79" y="27"/>
                </a:moveTo>
                <a:cubicBezTo>
                  <a:pt x="79" y="24"/>
                  <a:pt x="79" y="24"/>
                  <a:pt x="79" y="24"/>
                </a:cubicBezTo>
                <a:cubicBezTo>
                  <a:pt x="79" y="23"/>
                  <a:pt x="80" y="21"/>
                  <a:pt x="82" y="21"/>
                </a:cubicBezTo>
                <a:cubicBezTo>
                  <a:pt x="83" y="21"/>
                  <a:pt x="85" y="23"/>
                  <a:pt x="85" y="24"/>
                </a:cubicBezTo>
                <a:cubicBezTo>
                  <a:pt x="85" y="27"/>
                  <a:pt x="85" y="27"/>
                  <a:pt x="85" y="27"/>
                </a:cubicBezTo>
                <a:cubicBezTo>
                  <a:pt x="85" y="28"/>
                  <a:pt x="83" y="30"/>
                  <a:pt x="82" y="30"/>
                </a:cubicBezTo>
                <a:cubicBezTo>
                  <a:pt x="80" y="30"/>
                  <a:pt x="79" y="28"/>
                  <a:pt x="79" y="27"/>
                </a:cubicBezTo>
                <a:close/>
                <a:moveTo>
                  <a:pt x="85" y="142"/>
                </a:moveTo>
                <a:cubicBezTo>
                  <a:pt x="85" y="145"/>
                  <a:pt x="85" y="145"/>
                  <a:pt x="85" y="145"/>
                </a:cubicBezTo>
                <a:cubicBezTo>
                  <a:pt x="85" y="147"/>
                  <a:pt x="83" y="148"/>
                  <a:pt x="82" y="148"/>
                </a:cubicBezTo>
                <a:cubicBezTo>
                  <a:pt x="80" y="148"/>
                  <a:pt x="79" y="147"/>
                  <a:pt x="79" y="145"/>
                </a:cubicBezTo>
                <a:cubicBezTo>
                  <a:pt x="79" y="142"/>
                  <a:pt x="79" y="142"/>
                  <a:pt x="79" y="142"/>
                </a:cubicBezTo>
                <a:cubicBezTo>
                  <a:pt x="79" y="141"/>
                  <a:pt x="80" y="140"/>
                  <a:pt x="82" y="140"/>
                </a:cubicBezTo>
                <a:cubicBezTo>
                  <a:pt x="83" y="140"/>
                  <a:pt x="85" y="141"/>
                  <a:pt x="85" y="142"/>
                </a:cubicBezTo>
                <a:close/>
                <a:moveTo>
                  <a:pt x="137" y="85"/>
                </a:moveTo>
                <a:cubicBezTo>
                  <a:pt x="137" y="83"/>
                  <a:pt x="138" y="82"/>
                  <a:pt x="140" y="82"/>
                </a:cubicBezTo>
                <a:cubicBezTo>
                  <a:pt x="142" y="82"/>
                  <a:pt x="142" y="82"/>
                  <a:pt x="142" y="82"/>
                </a:cubicBezTo>
                <a:cubicBezTo>
                  <a:pt x="144" y="82"/>
                  <a:pt x="145" y="83"/>
                  <a:pt x="145" y="85"/>
                </a:cubicBezTo>
                <a:cubicBezTo>
                  <a:pt x="145" y="86"/>
                  <a:pt x="144" y="87"/>
                  <a:pt x="142" y="87"/>
                </a:cubicBezTo>
                <a:cubicBezTo>
                  <a:pt x="140" y="87"/>
                  <a:pt x="140" y="87"/>
                  <a:pt x="140" y="87"/>
                </a:cubicBezTo>
                <a:cubicBezTo>
                  <a:pt x="138" y="87"/>
                  <a:pt x="137" y="86"/>
                  <a:pt x="137" y="85"/>
                </a:cubicBezTo>
                <a:close/>
                <a:moveTo>
                  <a:pt x="27" y="85"/>
                </a:moveTo>
                <a:cubicBezTo>
                  <a:pt x="27" y="86"/>
                  <a:pt x="26" y="87"/>
                  <a:pt x="24" y="87"/>
                </a:cubicBezTo>
                <a:cubicBezTo>
                  <a:pt x="21" y="87"/>
                  <a:pt x="21" y="87"/>
                  <a:pt x="21" y="87"/>
                </a:cubicBezTo>
                <a:cubicBezTo>
                  <a:pt x="20" y="87"/>
                  <a:pt x="18" y="86"/>
                  <a:pt x="18" y="85"/>
                </a:cubicBezTo>
                <a:cubicBezTo>
                  <a:pt x="18" y="83"/>
                  <a:pt x="20" y="82"/>
                  <a:pt x="21" y="82"/>
                </a:cubicBezTo>
                <a:cubicBezTo>
                  <a:pt x="24" y="82"/>
                  <a:pt x="24" y="82"/>
                  <a:pt x="24" y="82"/>
                </a:cubicBezTo>
                <a:cubicBezTo>
                  <a:pt x="26" y="82"/>
                  <a:pt x="27" y="83"/>
                  <a:pt x="27" y="85"/>
                </a:cubicBezTo>
                <a:close/>
                <a:moveTo>
                  <a:pt x="127" y="40"/>
                </a:moveTo>
                <a:cubicBezTo>
                  <a:pt x="128" y="41"/>
                  <a:pt x="128" y="43"/>
                  <a:pt x="127" y="44"/>
                </a:cubicBezTo>
                <a:cubicBezTo>
                  <a:pt x="125" y="46"/>
                  <a:pt x="125" y="46"/>
                  <a:pt x="125" y="46"/>
                </a:cubicBezTo>
                <a:cubicBezTo>
                  <a:pt x="124" y="46"/>
                  <a:pt x="123" y="47"/>
                  <a:pt x="123" y="47"/>
                </a:cubicBezTo>
                <a:cubicBezTo>
                  <a:pt x="122" y="47"/>
                  <a:pt x="121" y="46"/>
                  <a:pt x="121" y="46"/>
                </a:cubicBezTo>
                <a:cubicBezTo>
                  <a:pt x="120" y="45"/>
                  <a:pt x="120" y="43"/>
                  <a:pt x="121" y="42"/>
                </a:cubicBezTo>
                <a:cubicBezTo>
                  <a:pt x="123" y="40"/>
                  <a:pt x="123" y="40"/>
                  <a:pt x="123" y="40"/>
                </a:cubicBezTo>
                <a:cubicBezTo>
                  <a:pt x="124" y="39"/>
                  <a:pt x="125" y="39"/>
                  <a:pt x="127" y="40"/>
                </a:cubicBezTo>
                <a:close/>
                <a:moveTo>
                  <a:pt x="43" y="124"/>
                </a:moveTo>
                <a:cubicBezTo>
                  <a:pt x="44" y="125"/>
                  <a:pt x="44" y="126"/>
                  <a:pt x="43" y="127"/>
                </a:cubicBezTo>
                <a:cubicBezTo>
                  <a:pt x="41" y="129"/>
                  <a:pt x="41" y="129"/>
                  <a:pt x="41" y="129"/>
                </a:cubicBezTo>
                <a:cubicBezTo>
                  <a:pt x="40" y="130"/>
                  <a:pt x="40" y="130"/>
                  <a:pt x="39" y="130"/>
                </a:cubicBezTo>
                <a:cubicBezTo>
                  <a:pt x="38" y="130"/>
                  <a:pt x="38" y="130"/>
                  <a:pt x="37" y="129"/>
                </a:cubicBezTo>
                <a:cubicBezTo>
                  <a:pt x="36" y="128"/>
                  <a:pt x="36" y="127"/>
                  <a:pt x="37" y="125"/>
                </a:cubicBezTo>
                <a:cubicBezTo>
                  <a:pt x="39" y="124"/>
                  <a:pt x="39" y="124"/>
                  <a:pt x="39" y="124"/>
                </a:cubicBezTo>
                <a:cubicBezTo>
                  <a:pt x="40" y="122"/>
                  <a:pt x="42" y="122"/>
                  <a:pt x="43" y="124"/>
                </a:cubicBezTo>
                <a:close/>
                <a:moveTo>
                  <a:pt x="127" y="125"/>
                </a:moveTo>
                <a:cubicBezTo>
                  <a:pt x="128" y="127"/>
                  <a:pt x="128" y="128"/>
                  <a:pt x="127" y="129"/>
                </a:cubicBezTo>
                <a:cubicBezTo>
                  <a:pt x="126" y="130"/>
                  <a:pt x="125" y="130"/>
                  <a:pt x="125" y="130"/>
                </a:cubicBezTo>
                <a:cubicBezTo>
                  <a:pt x="124" y="130"/>
                  <a:pt x="123" y="130"/>
                  <a:pt x="123" y="129"/>
                </a:cubicBezTo>
                <a:cubicBezTo>
                  <a:pt x="121" y="127"/>
                  <a:pt x="121" y="127"/>
                  <a:pt x="121" y="127"/>
                </a:cubicBezTo>
                <a:cubicBezTo>
                  <a:pt x="120" y="126"/>
                  <a:pt x="120" y="125"/>
                  <a:pt x="121" y="124"/>
                </a:cubicBezTo>
                <a:cubicBezTo>
                  <a:pt x="122" y="122"/>
                  <a:pt x="124" y="122"/>
                  <a:pt x="125" y="124"/>
                </a:cubicBezTo>
                <a:lnTo>
                  <a:pt x="127" y="125"/>
                </a:lnTo>
                <a:close/>
                <a:moveTo>
                  <a:pt x="43" y="42"/>
                </a:moveTo>
                <a:cubicBezTo>
                  <a:pt x="44" y="43"/>
                  <a:pt x="44" y="45"/>
                  <a:pt x="43" y="46"/>
                </a:cubicBezTo>
                <a:cubicBezTo>
                  <a:pt x="42" y="46"/>
                  <a:pt x="42" y="47"/>
                  <a:pt x="41" y="47"/>
                </a:cubicBezTo>
                <a:cubicBezTo>
                  <a:pt x="40" y="47"/>
                  <a:pt x="40" y="46"/>
                  <a:pt x="39" y="46"/>
                </a:cubicBezTo>
                <a:cubicBezTo>
                  <a:pt x="37" y="44"/>
                  <a:pt x="37" y="44"/>
                  <a:pt x="37" y="44"/>
                </a:cubicBezTo>
                <a:cubicBezTo>
                  <a:pt x="36" y="43"/>
                  <a:pt x="36" y="41"/>
                  <a:pt x="37" y="40"/>
                </a:cubicBezTo>
                <a:cubicBezTo>
                  <a:pt x="38" y="39"/>
                  <a:pt x="40" y="39"/>
                  <a:pt x="41" y="40"/>
                </a:cubicBezTo>
                <a:lnTo>
                  <a:pt x="43" y="42"/>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851">
            <a:extLst>
              <a:ext uri="{FF2B5EF4-FFF2-40B4-BE49-F238E27FC236}">
                <a16:creationId xmlns:a16="http://schemas.microsoft.com/office/drawing/2014/main" id="{1AB47D10-DA4B-2D48-974B-A49D7F525098}"/>
              </a:ext>
            </a:extLst>
          </p:cNvPr>
          <p:cNvSpPr>
            <a:spLocks noEditPoints="1"/>
          </p:cNvSpPr>
          <p:nvPr/>
        </p:nvSpPr>
        <p:spPr bwMode="auto">
          <a:xfrm>
            <a:off x="603133" y="5319713"/>
            <a:ext cx="481013" cy="550863"/>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 name="Group 10">
            <a:extLst>
              <a:ext uri="{FF2B5EF4-FFF2-40B4-BE49-F238E27FC236}">
                <a16:creationId xmlns:a16="http://schemas.microsoft.com/office/drawing/2014/main" id="{EFACB64D-8CDD-3347-890A-357E25BA3474}"/>
              </a:ext>
            </a:extLst>
          </p:cNvPr>
          <p:cNvGrpSpPr/>
          <p:nvPr/>
        </p:nvGrpSpPr>
        <p:grpSpPr>
          <a:xfrm>
            <a:off x="576145" y="5980113"/>
            <a:ext cx="546100" cy="454025"/>
            <a:chOff x="1524000" y="5980113"/>
            <a:chExt cx="546100" cy="454025"/>
          </a:xfrm>
          <a:solidFill>
            <a:srgbClr val="242524">
              <a:alpha val="70000"/>
            </a:srgbClr>
          </a:solidFill>
        </p:grpSpPr>
        <p:sp>
          <p:nvSpPr>
            <p:cNvPr id="12" name="Freeform 852">
              <a:extLst>
                <a:ext uri="{FF2B5EF4-FFF2-40B4-BE49-F238E27FC236}">
                  <a16:creationId xmlns:a16="http://schemas.microsoft.com/office/drawing/2014/main" id="{E8ECE6E8-6648-FC47-958A-733EC1711094}"/>
                </a:ext>
              </a:extLst>
            </p:cNvPr>
            <p:cNvSpPr>
              <a:spLocks noEditPoints="1"/>
            </p:cNvSpPr>
            <p:nvPr/>
          </p:nvSpPr>
          <p:spPr bwMode="auto">
            <a:xfrm>
              <a:off x="1524000" y="5980113"/>
              <a:ext cx="546100" cy="454025"/>
            </a:xfrm>
            <a:custGeom>
              <a:avLst/>
              <a:gdLst>
                <a:gd name="T0" fmla="*/ 344 w 344"/>
                <a:gd name="T1" fmla="*/ 48 h 286"/>
                <a:gd name="T2" fmla="*/ 320 w 344"/>
                <a:gd name="T3" fmla="*/ 48 h 286"/>
                <a:gd name="T4" fmla="*/ 320 w 344"/>
                <a:gd name="T5" fmla="*/ 24 h 286"/>
                <a:gd name="T6" fmla="*/ 297 w 344"/>
                <a:gd name="T7" fmla="*/ 24 h 286"/>
                <a:gd name="T8" fmla="*/ 297 w 344"/>
                <a:gd name="T9" fmla="*/ 0 h 286"/>
                <a:gd name="T10" fmla="*/ 47 w 344"/>
                <a:gd name="T11" fmla="*/ 0 h 286"/>
                <a:gd name="T12" fmla="*/ 47 w 344"/>
                <a:gd name="T13" fmla="*/ 24 h 286"/>
                <a:gd name="T14" fmla="*/ 24 w 344"/>
                <a:gd name="T15" fmla="*/ 24 h 286"/>
                <a:gd name="T16" fmla="*/ 24 w 344"/>
                <a:gd name="T17" fmla="*/ 48 h 286"/>
                <a:gd name="T18" fmla="*/ 0 w 344"/>
                <a:gd name="T19" fmla="*/ 48 h 286"/>
                <a:gd name="T20" fmla="*/ 0 w 344"/>
                <a:gd name="T21" fmla="*/ 239 h 286"/>
                <a:gd name="T22" fmla="*/ 24 w 344"/>
                <a:gd name="T23" fmla="*/ 239 h 286"/>
                <a:gd name="T24" fmla="*/ 24 w 344"/>
                <a:gd name="T25" fmla="*/ 262 h 286"/>
                <a:gd name="T26" fmla="*/ 47 w 344"/>
                <a:gd name="T27" fmla="*/ 262 h 286"/>
                <a:gd name="T28" fmla="*/ 47 w 344"/>
                <a:gd name="T29" fmla="*/ 286 h 286"/>
                <a:gd name="T30" fmla="*/ 297 w 344"/>
                <a:gd name="T31" fmla="*/ 286 h 286"/>
                <a:gd name="T32" fmla="*/ 297 w 344"/>
                <a:gd name="T33" fmla="*/ 262 h 286"/>
                <a:gd name="T34" fmla="*/ 320 w 344"/>
                <a:gd name="T35" fmla="*/ 262 h 286"/>
                <a:gd name="T36" fmla="*/ 320 w 344"/>
                <a:gd name="T37" fmla="*/ 239 h 286"/>
                <a:gd name="T38" fmla="*/ 344 w 344"/>
                <a:gd name="T39" fmla="*/ 239 h 286"/>
                <a:gd name="T40" fmla="*/ 344 w 344"/>
                <a:gd name="T41" fmla="*/ 48 h 286"/>
                <a:gd name="T42" fmla="*/ 13 w 344"/>
                <a:gd name="T43" fmla="*/ 228 h 286"/>
                <a:gd name="T44" fmla="*/ 13 w 344"/>
                <a:gd name="T45" fmla="*/ 61 h 286"/>
                <a:gd name="T46" fmla="*/ 24 w 344"/>
                <a:gd name="T47" fmla="*/ 61 h 286"/>
                <a:gd name="T48" fmla="*/ 24 w 344"/>
                <a:gd name="T49" fmla="*/ 228 h 286"/>
                <a:gd name="T50" fmla="*/ 13 w 344"/>
                <a:gd name="T51" fmla="*/ 228 h 286"/>
                <a:gd name="T52" fmla="*/ 37 w 344"/>
                <a:gd name="T53" fmla="*/ 252 h 286"/>
                <a:gd name="T54" fmla="*/ 37 w 344"/>
                <a:gd name="T55" fmla="*/ 239 h 286"/>
                <a:gd name="T56" fmla="*/ 37 w 344"/>
                <a:gd name="T57" fmla="*/ 48 h 286"/>
                <a:gd name="T58" fmla="*/ 37 w 344"/>
                <a:gd name="T59" fmla="*/ 37 h 286"/>
                <a:gd name="T60" fmla="*/ 47 w 344"/>
                <a:gd name="T61" fmla="*/ 37 h 286"/>
                <a:gd name="T62" fmla="*/ 47 w 344"/>
                <a:gd name="T63" fmla="*/ 252 h 286"/>
                <a:gd name="T64" fmla="*/ 37 w 344"/>
                <a:gd name="T65" fmla="*/ 252 h 286"/>
                <a:gd name="T66" fmla="*/ 284 w 344"/>
                <a:gd name="T67" fmla="*/ 275 h 286"/>
                <a:gd name="T68" fmla="*/ 60 w 344"/>
                <a:gd name="T69" fmla="*/ 275 h 286"/>
                <a:gd name="T70" fmla="*/ 60 w 344"/>
                <a:gd name="T71" fmla="*/ 262 h 286"/>
                <a:gd name="T72" fmla="*/ 60 w 344"/>
                <a:gd name="T73" fmla="*/ 24 h 286"/>
                <a:gd name="T74" fmla="*/ 60 w 344"/>
                <a:gd name="T75" fmla="*/ 13 h 286"/>
                <a:gd name="T76" fmla="*/ 284 w 344"/>
                <a:gd name="T77" fmla="*/ 13 h 286"/>
                <a:gd name="T78" fmla="*/ 284 w 344"/>
                <a:gd name="T79" fmla="*/ 24 h 286"/>
                <a:gd name="T80" fmla="*/ 284 w 344"/>
                <a:gd name="T81" fmla="*/ 262 h 286"/>
                <a:gd name="T82" fmla="*/ 284 w 344"/>
                <a:gd name="T83" fmla="*/ 275 h 286"/>
                <a:gd name="T84" fmla="*/ 307 w 344"/>
                <a:gd name="T85" fmla="*/ 252 h 286"/>
                <a:gd name="T86" fmla="*/ 297 w 344"/>
                <a:gd name="T87" fmla="*/ 252 h 286"/>
                <a:gd name="T88" fmla="*/ 297 w 344"/>
                <a:gd name="T89" fmla="*/ 37 h 286"/>
                <a:gd name="T90" fmla="*/ 307 w 344"/>
                <a:gd name="T91" fmla="*/ 37 h 286"/>
                <a:gd name="T92" fmla="*/ 307 w 344"/>
                <a:gd name="T93" fmla="*/ 48 h 286"/>
                <a:gd name="T94" fmla="*/ 307 w 344"/>
                <a:gd name="T95" fmla="*/ 239 h 286"/>
                <a:gd name="T96" fmla="*/ 307 w 344"/>
                <a:gd name="T97" fmla="*/ 252 h 286"/>
                <a:gd name="T98" fmla="*/ 331 w 344"/>
                <a:gd name="T99" fmla="*/ 228 h 286"/>
                <a:gd name="T100" fmla="*/ 320 w 344"/>
                <a:gd name="T101" fmla="*/ 228 h 286"/>
                <a:gd name="T102" fmla="*/ 320 w 344"/>
                <a:gd name="T103" fmla="*/ 61 h 286"/>
                <a:gd name="T104" fmla="*/ 331 w 344"/>
                <a:gd name="T105" fmla="*/ 61 h 286"/>
                <a:gd name="T106" fmla="*/ 331 w 344"/>
                <a:gd name="T107" fmla="*/ 22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4" h="286">
                  <a:moveTo>
                    <a:pt x="344" y="48"/>
                  </a:moveTo>
                  <a:lnTo>
                    <a:pt x="320" y="48"/>
                  </a:lnTo>
                  <a:lnTo>
                    <a:pt x="320" y="24"/>
                  </a:lnTo>
                  <a:lnTo>
                    <a:pt x="297" y="24"/>
                  </a:lnTo>
                  <a:lnTo>
                    <a:pt x="297" y="0"/>
                  </a:lnTo>
                  <a:lnTo>
                    <a:pt x="47" y="0"/>
                  </a:lnTo>
                  <a:lnTo>
                    <a:pt x="47" y="24"/>
                  </a:lnTo>
                  <a:lnTo>
                    <a:pt x="24" y="24"/>
                  </a:lnTo>
                  <a:lnTo>
                    <a:pt x="24" y="48"/>
                  </a:lnTo>
                  <a:lnTo>
                    <a:pt x="0" y="48"/>
                  </a:lnTo>
                  <a:lnTo>
                    <a:pt x="0" y="239"/>
                  </a:lnTo>
                  <a:lnTo>
                    <a:pt x="24" y="239"/>
                  </a:lnTo>
                  <a:lnTo>
                    <a:pt x="24" y="262"/>
                  </a:lnTo>
                  <a:lnTo>
                    <a:pt x="47" y="262"/>
                  </a:lnTo>
                  <a:lnTo>
                    <a:pt x="47" y="286"/>
                  </a:lnTo>
                  <a:lnTo>
                    <a:pt x="297" y="286"/>
                  </a:lnTo>
                  <a:lnTo>
                    <a:pt x="297" y="262"/>
                  </a:lnTo>
                  <a:lnTo>
                    <a:pt x="320" y="262"/>
                  </a:lnTo>
                  <a:lnTo>
                    <a:pt x="320" y="239"/>
                  </a:lnTo>
                  <a:lnTo>
                    <a:pt x="344" y="239"/>
                  </a:lnTo>
                  <a:lnTo>
                    <a:pt x="344" y="48"/>
                  </a:lnTo>
                  <a:close/>
                  <a:moveTo>
                    <a:pt x="13" y="228"/>
                  </a:moveTo>
                  <a:lnTo>
                    <a:pt x="13" y="61"/>
                  </a:lnTo>
                  <a:lnTo>
                    <a:pt x="24" y="61"/>
                  </a:lnTo>
                  <a:lnTo>
                    <a:pt x="24" y="228"/>
                  </a:lnTo>
                  <a:lnTo>
                    <a:pt x="13" y="228"/>
                  </a:lnTo>
                  <a:close/>
                  <a:moveTo>
                    <a:pt x="37" y="252"/>
                  </a:moveTo>
                  <a:lnTo>
                    <a:pt x="37" y="239"/>
                  </a:lnTo>
                  <a:lnTo>
                    <a:pt x="37" y="48"/>
                  </a:lnTo>
                  <a:lnTo>
                    <a:pt x="37" y="37"/>
                  </a:lnTo>
                  <a:lnTo>
                    <a:pt x="47" y="37"/>
                  </a:lnTo>
                  <a:lnTo>
                    <a:pt x="47" y="252"/>
                  </a:lnTo>
                  <a:lnTo>
                    <a:pt x="37" y="252"/>
                  </a:lnTo>
                  <a:close/>
                  <a:moveTo>
                    <a:pt x="284" y="275"/>
                  </a:moveTo>
                  <a:lnTo>
                    <a:pt x="60" y="275"/>
                  </a:lnTo>
                  <a:lnTo>
                    <a:pt x="60" y="262"/>
                  </a:lnTo>
                  <a:lnTo>
                    <a:pt x="60" y="24"/>
                  </a:lnTo>
                  <a:lnTo>
                    <a:pt x="60" y="13"/>
                  </a:lnTo>
                  <a:lnTo>
                    <a:pt x="284" y="13"/>
                  </a:lnTo>
                  <a:lnTo>
                    <a:pt x="284" y="24"/>
                  </a:lnTo>
                  <a:lnTo>
                    <a:pt x="284" y="262"/>
                  </a:lnTo>
                  <a:lnTo>
                    <a:pt x="284" y="275"/>
                  </a:lnTo>
                  <a:close/>
                  <a:moveTo>
                    <a:pt x="307" y="252"/>
                  </a:moveTo>
                  <a:lnTo>
                    <a:pt x="297" y="252"/>
                  </a:lnTo>
                  <a:lnTo>
                    <a:pt x="297" y="37"/>
                  </a:lnTo>
                  <a:lnTo>
                    <a:pt x="307" y="37"/>
                  </a:lnTo>
                  <a:lnTo>
                    <a:pt x="307" y="48"/>
                  </a:lnTo>
                  <a:lnTo>
                    <a:pt x="307" y="239"/>
                  </a:lnTo>
                  <a:lnTo>
                    <a:pt x="307" y="252"/>
                  </a:lnTo>
                  <a:close/>
                  <a:moveTo>
                    <a:pt x="331" y="228"/>
                  </a:moveTo>
                  <a:lnTo>
                    <a:pt x="320" y="228"/>
                  </a:lnTo>
                  <a:lnTo>
                    <a:pt x="320" y="61"/>
                  </a:lnTo>
                  <a:lnTo>
                    <a:pt x="331" y="61"/>
                  </a:lnTo>
                  <a:lnTo>
                    <a:pt x="331"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853">
              <a:extLst>
                <a:ext uri="{FF2B5EF4-FFF2-40B4-BE49-F238E27FC236}">
                  <a16:creationId xmlns:a16="http://schemas.microsoft.com/office/drawing/2014/main" id="{CAE4E520-0919-1146-B741-0AE21CF926E4}"/>
                </a:ext>
              </a:extLst>
            </p:cNvPr>
            <p:cNvSpPr>
              <a:spLocks noChangeArrowheads="1"/>
            </p:cNvSpPr>
            <p:nvPr/>
          </p:nvSpPr>
          <p:spPr bwMode="auto">
            <a:xfrm>
              <a:off x="1674813" y="6056313"/>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854">
              <a:extLst>
                <a:ext uri="{FF2B5EF4-FFF2-40B4-BE49-F238E27FC236}">
                  <a16:creationId xmlns:a16="http://schemas.microsoft.com/office/drawing/2014/main" id="{6206DB7B-B2F8-DA4D-B944-FEDD6898B0BC}"/>
                </a:ext>
              </a:extLst>
            </p:cNvPr>
            <p:cNvSpPr>
              <a:spLocks noChangeArrowheads="1"/>
            </p:cNvSpPr>
            <p:nvPr/>
          </p:nvSpPr>
          <p:spPr bwMode="auto">
            <a:xfrm>
              <a:off x="1646238" y="6029325"/>
              <a:ext cx="17463"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Oval 855">
              <a:extLst>
                <a:ext uri="{FF2B5EF4-FFF2-40B4-BE49-F238E27FC236}">
                  <a16:creationId xmlns:a16="http://schemas.microsoft.com/office/drawing/2014/main" id="{50B16357-00E3-5B44-B1BD-B6A42AF06DD2}"/>
                </a:ext>
              </a:extLst>
            </p:cNvPr>
            <p:cNvSpPr>
              <a:spLocks noChangeArrowheads="1"/>
            </p:cNvSpPr>
            <p:nvPr/>
          </p:nvSpPr>
          <p:spPr bwMode="auto">
            <a:xfrm>
              <a:off x="1701800" y="6029325"/>
              <a:ext cx="2063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856">
              <a:extLst>
                <a:ext uri="{FF2B5EF4-FFF2-40B4-BE49-F238E27FC236}">
                  <a16:creationId xmlns:a16="http://schemas.microsoft.com/office/drawing/2014/main" id="{75BEE21F-EA4B-094E-890E-82372821367E}"/>
                </a:ext>
              </a:extLst>
            </p:cNvPr>
            <p:cNvSpPr>
              <a:spLocks noChangeArrowheads="1"/>
            </p:cNvSpPr>
            <p:nvPr/>
          </p:nvSpPr>
          <p:spPr bwMode="auto">
            <a:xfrm>
              <a:off x="1646238" y="60833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857">
              <a:extLst>
                <a:ext uri="{FF2B5EF4-FFF2-40B4-BE49-F238E27FC236}">
                  <a16:creationId xmlns:a16="http://schemas.microsoft.com/office/drawing/2014/main" id="{FCE31C94-758E-5845-819A-7A68B7FAE208}"/>
                </a:ext>
              </a:extLst>
            </p:cNvPr>
            <p:cNvSpPr>
              <a:spLocks noChangeArrowheads="1"/>
            </p:cNvSpPr>
            <p:nvPr/>
          </p:nvSpPr>
          <p:spPr bwMode="auto">
            <a:xfrm>
              <a:off x="1701800" y="6083300"/>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858">
              <a:extLst>
                <a:ext uri="{FF2B5EF4-FFF2-40B4-BE49-F238E27FC236}">
                  <a16:creationId xmlns:a16="http://schemas.microsoft.com/office/drawing/2014/main" id="{9668DF03-BBD0-024E-B1D1-3661CF24D50C}"/>
                </a:ext>
              </a:extLst>
            </p:cNvPr>
            <p:cNvSpPr>
              <a:spLocks noChangeArrowheads="1"/>
            </p:cNvSpPr>
            <p:nvPr/>
          </p:nvSpPr>
          <p:spPr bwMode="auto">
            <a:xfrm>
              <a:off x="1731963" y="6056313"/>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859">
              <a:extLst>
                <a:ext uri="{FF2B5EF4-FFF2-40B4-BE49-F238E27FC236}">
                  <a16:creationId xmlns:a16="http://schemas.microsoft.com/office/drawing/2014/main" id="{21E7F558-008B-2744-A6BA-E356F0DA8067}"/>
                </a:ext>
              </a:extLst>
            </p:cNvPr>
            <p:cNvSpPr>
              <a:spLocks noChangeArrowheads="1"/>
            </p:cNvSpPr>
            <p:nvPr/>
          </p:nvSpPr>
          <p:spPr bwMode="auto">
            <a:xfrm>
              <a:off x="1787525" y="6056313"/>
              <a:ext cx="19050"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860">
              <a:extLst>
                <a:ext uri="{FF2B5EF4-FFF2-40B4-BE49-F238E27FC236}">
                  <a16:creationId xmlns:a16="http://schemas.microsoft.com/office/drawing/2014/main" id="{1B0234DA-67E3-F040-A9E0-65C602D2BD03}"/>
                </a:ext>
              </a:extLst>
            </p:cNvPr>
            <p:cNvSpPr>
              <a:spLocks noChangeArrowheads="1"/>
            </p:cNvSpPr>
            <p:nvPr/>
          </p:nvSpPr>
          <p:spPr bwMode="auto">
            <a:xfrm>
              <a:off x="1758950" y="6029325"/>
              <a:ext cx="17463"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861">
              <a:extLst>
                <a:ext uri="{FF2B5EF4-FFF2-40B4-BE49-F238E27FC236}">
                  <a16:creationId xmlns:a16="http://schemas.microsoft.com/office/drawing/2014/main" id="{F3ACB391-0F83-7B4A-975C-2A0D589ED275}"/>
                </a:ext>
              </a:extLst>
            </p:cNvPr>
            <p:cNvSpPr>
              <a:spLocks noChangeArrowheads="1"/>
            </p:cNvSpPr>
            <p:nvPr/>
          </p:nvSpPr>
          <p:spPr bwMode="auto">
            <a:xfrm>
              <a:off x="1817688" y="6029325"/>
              <a:ext cx="17463"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862">
              <a:extLst>
                <a:ext uri="{FF2B5EF4-FFF2-40B4-BE49-F238E27FC236}">
                  <a16:creationId xmlns:a16="http://schemas.microsoft.com/office/drawing/2014/main" id="{0FE6CFBF-DB37-324E-AC75-86CE531A2843}"/>
                </a:ext>
              </a:extLst>
            </p:cNvPr>
            <p:cNvSpPr>
              <a:spLocks noChangeArrowheads="1"/>
            </p:cNvSpPr>
            <p:nvPr/>
          </p:nvSpPr>
          <p:spPr bwMode="auto">
            <a:xfrm>
              <a:off x="1758950" y="60833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863">
              <a:extLst>
                <a:ext uri="{FF2B5EF4-FFF2-40B4-BE49-F238E27FC236}">
                  <a16:creationId xmlns:a16="http://schemas.microsoft.com/office/drawing/2014/main" id="{CBEF2D07-F00B-F845-9479-FDF47CA93725}"/>
                </a:ext>
              </a:extLst>
            </p:cNvPr>
            <p:cNvSpPr>
              <a:spLocks noChangeArrowheads="1"/>
            </p:cNvSpPr>
            <p:nvPr/>
          </p:nvSpPr>
          <p:spPr bwMode="auto">
            <a:xfrm>
              <a:off x="1817688" y="60833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864">
              <a:extLst>
                <a:ext uri="{FF2B5EF4-FFF2-40B4-BE49-F238E27FC236}">
                  <a16:creationId xmlns:a16="http://schemas.microsoft.com/office/drawing/2014/main" id="{F94F01B7-B4A4-D24B-B9C1-F5A66D493C80}"/>
                </a:ext>
              </a:extLst>
            </p:cNvPr>
            <p:cNvSpPr>
              <a:spLocks noChangeArrowheads="1"/>
            </p:cNvSpPr>
            <p:nvPr/>
          </p:nvSpPr>
          <p:spPr bwMode="auto">
            <a:xfrm>
              <a:off x="1844675" y="6056313"/>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Oval 865">
              <a:extLst>
                <a:ext uri="{FF2B5EF4-FFF2-40B4-BE49-F238E27FC236}">
                  <a16:creationId xmlns:a16="http://schemas.microsoft.com/office/drawing/2014/main" id="{1CAC9D6D-0A10-3F4A-A0CC-9A84720DA34E}"/>
                </a:ext>
              </a:extLst>
            </p:cNvPr>
            <p:cNvSpPr>
              <a:spLocks noChangeArrowheads="1"/>
            </p:cNvSpPr>
            <p:nvPr/>
          </p:nvSpPr>
          <p:spPr bwMode="auto">
            <a:xfrm>
              <a:off x="1900238" y="6056313"/>
              <a:ext cx="19050"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Oval 866">
              <a:extLst>
                <a:ext uri="{FF2B5EF4-FFF2-40B4-BE49-F238E27FC236}">
                  <a16:creationId xmlns:a16="http://schemas.microsoft.com/office/drawing/2014/main" id="{84844A4B-D3DA-C942-9F3E-2DDA25BEDE8D}"/>
                </a:ext>
              </a:extLst>
            </p:cNvPr>
            <p:cNvSpPr>
              <a:spLocks noChangeArrowheads="1"/>
            </p:cNvSpPr>
            <p:nvPr/>
          </p:nvSpPr>
          <p:spPr bwMode="auto">
            <a:xfrm>
              <a:off x="1871663" y="6029325"/>
              <a:ext cx="2063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867">
              <a:extLst>
                <a:ext uri="{FF2B5EF4-FFF2-40B4-BE49-F238E27FC236}">
                  <a16:creationId xmlns:a16="http://schemas.microsoft.com/office/drawing/2014/main" id="{1ACAA2AA-BB8D-4B45-9C19-C347EDCFD917}"/>
                </a:ext>
              </a:extLst>
            </p:cNvPr>
            <p:cNvSpPr>
              <a:spLocks noChangeArrowheads="1"/>
            </p:cNvSpPr>
            <p:nvPr/>
          </p:nvSpPr>
          <p:spPr bwMode="auto">
            <a:xfrm>
              <a:off x="1930400" y="6029325"/>
              <a:ext cx="17463"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868">
              <a:extLst>
                <a:ext uri="{FF2B5EF4-FFF2-40B4-BE49-F238E27FC236}">
                  <a16:creationId xmlns:a16="http://schemas.microsoft.com/office/drawing/2014/main" id="{AE96C7E0-2E22-B948-A1CF-BDA26F136BC6}"/>
                </a:ext>
              </a:extLst>
            </p:cNvPr>
            <p:cNvSpPr>
              <a:spLocks noChangeArrowheads="1"/>
            </p:cNvSpPr>
            <p:nvPr/>
          </p:nvSpPr>
          <p:spPr bwMode="auto">
            <a:xfrm>
              <a:off x="1871663" y="6083300"/>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869">
              <a:extLst>
                <a:ext uri="{FF2B5EF4-FFF2-40B4-BE49-F238E27FC236}">
                  <a16:creationId xmlns:a16="http://schemas.microsoft.com/office/drawing/2014/main" id="{C1184CF0-8237-A542-9416-5CB6AA7DA158}"/>
                </a:ext>
              </a:extLst>
            </p:cNvPr>
            <p:cNvSpPr>
              <a:spLocks noChangeArrowheads="1"/>
            </p:cNvSpPr>
            <p:nvPr/>
          </p:nvSpPr>
          <p:spPr bwMode="auto">
            <a:xfrm>
              <a:off x="1930400" y="60833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870">
              <a:extLst>
                <a:ext uri="{FF2B5EF4-FFF2-40B4-BE49-F238E27FC236}">
                  <a16:creationId xmlns:a16="http://schemas.microsoft.com/office/drawing/2014/main" id="{F28E61DB-4728-D749-8A2E-E873635C9E26}"/>
                </a:ext>
              </a:extLst>
            </p:cNvPr>
            <p:cNvSpPr>
              <a:spLocks noChangeArrowheads="1"/>
            </p:cNvSpPr>
            <p:nvPr/>
          </p:nvSpPr>
          <p:spPr bwMode="auto">
            <a:xfrm>
              <a:off x="1674813" y="6115050"/>
              <a:ext cx="20638"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871">
              <a:extLst>
                <a:ext uri="{FF2B5EF4-FFF2-40B4-BE49-F238E27FC236}">
                  <a16:creationId xmlns:a16="http://schemas.microsoft.com/office/drawing/2014/main" id="{BD1C570B-01EF-5B48-9BE4-ECA80DBF302C}"/>
                </a:ext>
              </a:extLst>
            </p:cNvPr>
            <p:cNvSpPr>
              <a:spLocks noChangeArrowheads="1"/>
            </p:cNvSpPr>
            <p:nvPr/>
          </p:nvSpPr>
          <p:spPr bwMode="auto">
            <a:xfrm>
              <a:off x="1674813" y="6169025"/>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872">
              <a:extLst>
                <a:ext uri="{FF2B5EF4-FFF2-40B4-BE49-F238E27FC236}">
                  <a16:creationId xmlns:a16="http://schemas.microsoft.com/office/drawing/2014/main" id="{1BE35AB4-739B-D648-A5AE-A7504B84FB75}"/>
                </a:ext>
              </a:extLst>
            </p:cNvPr>
            <p:cNvSpPr>
              <a:spLocks noChangeArrowheads="1"/>
            </p:cNvSpPr>
            <p:nvPr/>
          </p:nvSpPr>
          <p:spPr bwMode="auto">
            <a:xfrm>
              <a:off x="1646238" y="6142038"/>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873">
              <a:extLst>
                <a:ext uri="{FF2B5EF4-FFF2-40B4-BE49-F238E27FC236}">
                  <a16:creationId xmlns:a16="http://schemas.microsoft.com/office/drawing/2014/main" id="{39EE3585-BEFC-574E-95E9-7477CC32E78F}"/>
                </a:ext>
              </a:extLst>
            </p:cNvPr>
            <p:cNvSpPr>
              <a:spLocks noChangeArrowheads="1"/>
            </p:cNvSpPr>
            <p:nvPr/>
          </p:nvSpPr>
          <p:spPr bwMode="auto">
            <a:xfrm>
              <a:off x="1701800" y="6142038"/>
              <a:ext cx="20638"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874">
              <a:extLst>
                <a:ext uri="{FF2B5EF4-FFF2-40B4-BE49-F238E27FC236}">
                  <a16:creationId xmlns:a16="http://schemas.microsoft.com/office/drawing/2014/main" id="{FBD3C6CC-7771-5C4B-8C0B-93DAB03C5EC7}"/>
                </a:ext>
              </a:extLst>
            </p:cNvPr>
            <p:cNvSpPr>
              <a:spLocks noChangeArrowheads="1"/>
            </p:cNvSpPr>
            <p:nvPr/>
          </p:nvSpPr>
          <p:spPr bwMode="auto">
            <a:xfrm>
              <a:off x="1646238" y="61976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875">
              <a:extLst>
                <a:ext uri="{FF2B5EF4-FFF2-40B4-BE49-F238E27FC236}">
                  <a16:creationId xmlns:a16="http://schemas.microsoft.com/office/drawing/2014/main" id="{0105B4EC-759D-1644-BDAA-33B7576DB3D6}"/>
                </a:ext>
              </a:extLst>
            </p:cNvPr>
            <p:cNvSpPr>
              <a:spLocks noChangeArrowheads="1"/>
            </p:cNvSpPr>
            <p:nvPr/>
          </p:nvSpPr>
          <p:spPr bwMode="auto">
            <a:xfrm>
              <a:off x="1701800" y="6197600"/>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876">
              <a:extLst>
                <a:ext uri="{FF2B5EF4-FFF2-40B4-BE49-F238E27FC236}">
                  <a16:creationId xmlns:a16="http://schemas.microsoft.com/office/drawing/2014/main" id="{D307B559-82E8-B044-A7D2-2C7AE81B1D8F}"/>
                </a:ext>
              </a:extLst>
            </p:cNvPr>
            <p:cNvSpPr>
              <a:spLocks noChangeArrowheads="1"/>
            </p:cNvSpPr>
            <p:nvPr/>
          </p:nvSpPr>
          <p:spPr bwMode="auto">
            <a:xfrm>
              <a:off x="1731963" y="6115050"/>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877">
              <a:extLst>
                <a:ext uri="{FF2B5EF4-FFF2-40B4-BE49-F238E27FC236}">
                  <a16:creationId xmlns:a16="http://schemas.microsoft.com/office/drawing/2014/main" id="{9F4E3AB5-1B1E-1A4A-811F-CC597899C846}"/>
                </a:ext>
              </a:extLst>
            </p:cNvPr>
            <p:cNvSpPr>
              <a:spLocks noChangeArrowheads="1"/>
            </p:cNvSpPr>
            <p:nvPr/>
          </p:nvSpPr>
          <p:spPr bwMode="auto">
            <a:xfrm>
              <a:off x="1787525" y="6115050"/>
              <a:ext cx="19050"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878">
              <a:extLst>
                <a:ext uri="{FF2B5EF4-FFF2-40B4-BE49-F238E27FC236}">
                  <a16:creationId xmlns:a16="http://schemas.microsoft.com/office/drawing/2014/main" id="{144CA539-46D8-EF45-9EC6-4585565A5772}"/>
                </a:ext>
              </a:extLst>
            </p:cNvPr>
            <p:cNvSpPr>
              <a:spLocks noChangeArrowheads="1"/>
            </p:cNvSpPr>
            <p:nvPr/>
          </p:nvSpPr>
          <p:spPr bwMode="auto">
            <a:xfrm>
              <a:off x="1731963" y="61690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879">
              <a:extLst>
                <a:ext uri="{FF2B5EF4-FFF2-40B4-BE49-F238E27FC236}">
                  <a16:creationId xmlns:a16="http://schemas.microsoft.com/office/drawing/2014/main" id="{5273A738-7558-BF41-B496-8931356BFC87}"/>
                </a:ext>
              </a:extLst>
            </p:cNvPr>
            <p:cNvSpPr>
              <a:spLocks noChangeArrowheads="1"/>
            </p:cNvSpPr>
            <p:nvPr/>
          </p:nvSpPr>
          <p:spPr bwMode="auto">
            <a:xfrm>
              <a:off x="1787525" y="6169025"/>
              <a:ext cx="19050"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880">
              <a:extLst>
                <a:ext uri="{FF2B5EF4-FFF2-40B4-BE49-F238E27FC236}">
                  <a16:creationId xmlns:a16="http://schemas.microsoft.com/office/drawing/2014/main" id="{BCD7F288-64C3-D04F-8F93-D27892F70B69}"/>
                </a:ext>
              </a:extLst>
            </p:cNvPr>
            <p:cNvSpPr>
              <a:spLocks noChangeArrowheads="1"/>
            </p:cNvSpPr>
            <p:nvPr/>
          </p:nvSpPr>
          <p:spPr bwMode="auto">
            <a:xfrm>
              <a:off x="1758950" y="6142038"/>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881">
              <a:extLst>
                <a:ext uri="{FF2B5EF4-FFF2-40B4-BE49-F238E27FC236}">
                  <a16:creationId xmlns:a16="http://schemas.microsoft.com/office/drawing/2014/main" id="{280DC544-4421-9748-B02D-D9A9B6DEE2E4}"/>
                </a:ext>
              </a:extLst>
            </p:cNvPr>
            <p:cNvSpPr>
              <a:spLocks noChangeArrowheads="1"/>
            </p:cNvSpPr>
            <p:nvPr/>
          </p:nvSpPr>
          <p:spPr bwMode="auto">
            <a:xfrm>
              <a:off x="1817688" y="6142038"/>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882">
              <a:extLst>
                <a:ext uri="{FF2B5EF4-FFF2-40B4-BE49-F238E27FC236}">
                  <a16:creationId xmlns:a16="http://schemas.microsoft.com/office/drawing/2014/main" id="{B476940F-E37D-5E4E-AB0D-9C71B62E8C97}"/>
                </a:ext>
              </a:extLst>
            </p:cNvPr>
            <p:cNvSpPr>
              <a:spLocks noChangeArrowheads="1"/>
            </p:cNvSpPr>
            <p:nvPr/>
          </p:nvSpPr>
          <p:spPr bwMode="auto">
            <a:xfrm>
              <a:off x="1758950" y="61976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883">
              <a:extLst>
                <a:ext uri="{FF2B5EF4-FFF2-40B4-BE49-F238E27FC236}">
                  <a16:creationId xmlns:a16="http://schemas.microsoft.com/office/drawing/2014/main" id="{DE039FC1-DA26-5F4B-8A5F-F7F588156273}"/>
                </a:ext>
              </a:extLst>
            </p:cNvPr>
            <p:cNvSpPr>
              <a:spLocks noChangeArrowheads="1"/>
            </p:cNvSpPr>
            <p:nvPr/>
          </p:nvSpPr>
          <p:spPr bwMode="auto">
            <a:xfrm>
              <a:off x="1817688" y="61976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884">
              <a:extLst>
                <a:ext uri="{FF2B5EF4-FFF2-40B4-BE49-F238E27FC236}">
                  <a16:creationId xmlns:a16="http://schemas.microsoft.com/office/drawing/2014/main" id="{BE1A41C6-21E2-1D4F-8F2A-827A30BFA367}"/>
                </a:ext>
              </a:extLst>
            </p:cNvPr>
            <p:cNvSpPr>
              <a:spLocks noChangeArrowheads="1"/>
            </p:cNvSpPr>
            <p:nvPr/>
          </p:nvSpPr>
          <p:spPr bwMode="auto">
            <a:xfrm>
              <a:off x="1844675" y="6115050"/>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885">
              <a:extLst>
                <a:ext uri="{FF2B5EF4-FFF2-40B4-BE49-F238E27FC236}">
                  <a16:creationId xmlns:a16="http://schemas.microsoft.com/office/drawing/2014/main" id="{C3941AF3-4197-EF46-9984-CB1112B2F93B}"/>
                </a:ext>
              </a:extLst>
            </p:cNvPr>
            <p:cNvSpPr>
              <a:spLocks noChangeArrowheads="1"/>
            </p:cNvSpPr>
            <p:nvPr/>
          </p:nvSpPr>
          <p:spPr bwMode="auto">
            <a:xfrm>
              <a:off x="1900238" y="6115050"/>
              <a:ext cx="19050"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886">
              <a:extLst>
                <a:ext uri="{FF2B5EF4-FFF2-40B4-BE49-F238E27FC236}">
                  <a16:creationId xmlns:a16="http://schemas.microsoft.com/office/drawing/2014/main" id="{C8498BF8-5A33-904F-96BE-7BCFF8DDD323}"/>
                </a:ext>
              </a:extLst>
            </p:cNvPr>
            <p:cNvSpPr>
              <a:spLocks noChangeArrowheads="1"/>
            </p:cNvSpPr>
            <p:nvPr/>
          </p:nvSpPr>
          <p:spPr bwMode="auto">
            <a:xfrm>
              <a:off x="1844675" y="61690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887">
              <a:extLst>
                <a:ext uri="{FF2B5EF4-FFF2-40B4-BE49-F238E27FC236}">
                  <a16:creationId xmlns:a16="http://schemas.microsoft.com/office/drawing/2014/main" id="{74388E67-B36D-E647-B495-8CE0E8725E2B}"/>
                </a:ext>
              </a:extLst>
            </p:cNvPr>
            <p:cNvSpPr>
              <a:spLocks noChangeArrowheads="1"/>
            </p:cNvSpPr>
            <p:nvPr/>
          </p:nvSpPr>
          <p:spPr bwMode="auto">
            <a:xfrm>
              <a:off x="1900238" y="6169025"/>
              <a:ext cx="19050"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888">
              <a:extLst>
                <a:ext uri="{FF2B5EF4-FFF2-40B4-BE49-F238E27FC236}">
                  <a16:creationId xmlns:a16="http://schemas.microsoft.com/office/drawing/2014/main" id="{5FB254EC-0D8C-4C4D-B61D-0FAB24460E8D}"/>
                </a:ext>
              </a:extLst>
            </p:cNvPr>
            <p:cNvSpPr>
              <a:spLocks noChangeArrowheads="1"/>
            </p:cNvSpPr>
            <p:nvPr/>
          </p:nvSpPr>
          <p:spPr bwMode="auto">
            <a:xfrm>
              <a:off x="1871663" y="6142038"/>
              <a:ext cx="20638"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889">
              <a:extLst>
                <a:ext uri="{FF2B5EF4-FFF2-40B4-BE49-F238E27FC236}">
                  <a16:creationId xmlns:a16="http://schemas.microsoft.com/office/drawing/2014/main" id="{1B0F4547-A637-244E-8A48-E8D01242FD25}"/>
                </a:ext>
              </a:extLst>
            </p:cNvPr>
            <p:cNvSpPr>
              <a:spLocks noChangeArrowheads="1"/>
            </p:cNvSpPr>
            <p:nvPr/>
          </p:nvSpPr>
          <p:spPr bwMode="auto">
            <a:xfrm>
              <a:off x="1930400" y="6142038"/>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890">
              <a:extLst>
                <a:ext uri="{FF2B5EF4-FFF2-40B4-BE49-F238E27FC236}">
                  <a16:creationId xmlns:a16="http://schemas.microsoft.com/office/drawing/2014/main" id="{ADE1AB07-FF8C-984A-BF91-C70210FDDD25}"/>
                </a:ext>
              </a:extLst>
            </p:cNvPr>
            <p:cNvSpPr>
              <a:spLocks noChangeArrowheads="1"/>
            </p:cNvSpPr>
            <p:nvPr/>
          </p:nvSpPr>
          <p:spPr bwMode="auto">
            <a:xfrm>
              <a:off x="1871663" y="6197600"/>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891">
              <a:extLst>
                <a:ext uri="{FF2B5EF4-FFF2-40B4-BE49-F238E27FC236}">
                  <a16:creationId xmlns:a16="http://schemas.microsoft.com/office/drawing/2014/main" id="{A6E064DE-D321-8F48-8644-7B9E4C01052F}"/>
                </a:ext>
              </a:extLst>
            </p:cNvPr>
            <p:cNvSpPr>
              <a:spLocks noChangeArrowheads="1"/>
            </p:cNvSpPr>
            <p:nvPr/>
          </p:nvSpPr>
          <p:spPr bwMode="auto">
            <a:xfrm>
              <a:off x="1930400" y="61976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Oval 892">
              <a:extLst>
                <a:ext uri="{FF2B5EF4-FFF2-40B4-BE49-F238E27FC236}">
                  <a16:creationId xmlns:a16="http://schemas.microsoft.com/office/drawing/2014/main" id="{F5AFBCCE-95FE-294A-A773-C4402FDD87B5}"/>
                </a:ext>
              </a:extLst>
            </p:cNvPr>
            <p:cNvSpPr>
              <a:spLocks noChangeArrowheads="1"/>
            </p:cNvSpPr>
            <p:nvPr/>
          </p:nvSpPr>
          <p:spPr bwMode="auto">
            <a:xfrm>
              <a:off x="1674813" y="6227763"/>
              <a:ext cx="20638"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Oval 893">
              <a:extLst>
                <a:ext uri="{FF2B5EF4-FFF2-40B4-BE49-F238E27FC236}">
                  <a16:creationId xmlns:a16="http://schemas.microsoft.com/office/drawing/2014/main" id="{8A2AEBC1-2967-2B4F-BAE7-C013FACF9F91}"/>
                </a:ext>
              </a:extLst>
            </p:cNvPr>
            <p:cNvSpPr>
              <a:spLocks noChangeArrowheads="1"/>
            </p:cNvSpPr>
            <p:nvPr/>
          </p:nvSpPr>
          <p:spPr bwMode="auto">
            <a:xfrm>
              <a:off x="1674813" y="6283325"/>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894">
              <a:extLst>
                <a:ext uri="{FF2B5EF4-FFF2-40B4-BE49-F238E27FC236}">
                  <a16:creationId xmlns:a16="http://schemas.microsoft.com/office/drawing/2014/main" id="{34D1A438-EEA6-5746-9967-376B4613CC56}"/>
                </a:ext>
              </a:extLst>
            </p:cNvPr>
            <p:cNvSpPr>
              <a:spLocks noChangeArrowheads="1"/>
            </p:cNvSpPr>
            <p:nvPr/>
          </p:nvSpPr>
          <p:spPr bwMode="auto">
            <a:xfrm>
              <a:off x="1646238" y="62563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895">
              <a:extLst>
                <a:ext uri="{FF2B5EF4-FFF2-40B4-BE49-F238E27FC236}">
                  <a16:creationId xmlns:a16="http://schemas.microsoft.com/office/drawing/2014/main" id="{1F7EABBB-36E7-E545-99F0-57B78F92D7FE}"/>
                </a:ext>
              </a:extLst>
            </p:cNvPr>
            <p:cNvSpPr>
              <a:spLocks noChangeArrowheads="1"/>
            </p:cNvSpPr>
            <p:nvPr/>
          </p:nvSpPr>
          <p:spPr bwMode="auto">
            <a:xfrm>
              <a:off x="1701800" y="6256338"/>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896">
              <a:extLst>
                <a:ext uri="{FF2B5EF4-FFF2-40B4-BE49-F238E27FC236}">
                  <a16:creationId xmlns:a16="http://schemas.microsoft.com/office/drawing/2014/main" id="{AD72CF4E-390D-1A47-8AE7-C0A2E7E95AE1}"/>
                </a:ext>
              </a:extLst>
            </p:cNvPr>
            <p:cNvSpPr>
              <a:spLocks noChangeArrowheads="1"/>
            </p:cNvSpPr>
            <p:nvPr/>
          </p:nvSpPr>
          <p:spPr bwMode="auto">
            <a:xfrm>
              <a:off x="1646238" y="6313488"/>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897">
              <a:extLst>
                <a:ext uri="{FF2B5EF4-FFF2-40B4-BE49-F238E27FC236}">
                  <a16:creationId xmlns:a16="http://schemas.microsoft.com/office/drawing/2014/main" id="{A6C7B79B-7F33-E14D-B2AB-3D94B7B4DD5A}"/>
                </a:ext>
              </a:extLst>
            </p:cNvPr>
            <p:cNvSpPr>
              <a:spLocks noChangeArrowheads="1"/>
            </p:cNvSpPr>
            <p:nvPr/>
          </p:nvSpPr>
          <p:spPr bwMode="auto">
            <a:xfrm>
              <a:off x="1701800" y="6313488"/>
              <a:ext cx="20638"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898">
              <a:extLst>
                <a:ext uri="{FF2B5EF4-FFF2-40B4-BE49-F238E27FC236}">
                  <a16:creationId xmlns:a16="http://schemas.microsoft.com/office/drawing/2014/main" id="{BE944701-F937-E545-A1A4-FBDBE15BFA16}"/>
                </a:ext>
              </a:extLst>
            </p:cNvPr>
            <p:cNvSpPr>
              <a:spLocks noChangeArrowheads="1"/>
            </p:cNvSpPr>
            <p:nvPr/>
          </p:nvSpPr>
          <p:spPr bwMode="auto">
            <a:xfrm>
              <a:off x="1731963" y="6227763"/>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899">
              <a:extLst>
                <a:ext uri="{FF2B5EF4-FFF2-40B4-BE49-F238E27FC236}">
                  <a16:creationId xmlns:a16="http://schemas.microsoft.com/office/drawing/2014/main" id="{65EFE88A-E781-1045-A5D4-8E5D21409288}"/>
                </a:ext>
              </a:extLst>
            </p:cNvPr>
            <p:cNvSpPr>
              <a:spLocks noChangeArrowheads="1"/>
            </p:cNvSpPr>
            <p:nvPr/>
          </p:nvSpPr>
          <p:spPr bwMode="auto">
            <a:xfrm>
              <a:off x="1787525" y="6227763"/>
              <a:ext cx="19050"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900">
              <a:extLst>
                <a:ext uri="{FF2B5EF4-FFF2-40B4-BE49-F238E27FC236}">
                  <a16:creationId xmlns:a16="http://schemas.microsoft.com/office/drawing/2014/main" id="{C14955BC-240A-0548-AA28-186FC29AC7FA}"/>
                </a:ext>
              </a:extLst>
            </p:cNvPr>
            <p:cNvSpPr>
              <a:spLocks noChangeArrowheads="1"/>
            </p:cNvSpPr>
            <p:nvPr/>
          </p:nvSpPr>
          <p:spPr bwMode="auto">
            <a:xfrm>
              <a:off x="1731963" y="62833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901">
              <a:extLst>
                <a:ext uri="{FF2B5EF4-FFF2-40B4-BE49-F238E27FC236}">
                  <a16:creationId xmlns:a16="http://schemas.microsoft.com/office/drawing/2014/main" id="{C50B57D1-3A6B-5845-ACAB-636BD66B03F8}"/>
                </a:ext>
              </a:extLst>
            </p:cNvPr>
            <p:cNvSpPr>
              <a:spLocks noChangeArrowheads="1"/>
            </p:cNvSpPr>
            <p:nvPr/>
          </p:nvSpPr>
          <p:spPr bwMode="auto">
            <a:xfrm>
              <a:off x="1787525" y="6283325"/>
              <a:ext cx="19050"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902">
              <a:extLst>
                <a:ext uri="{FF2B5EF4-FFF2-40B4-BE49-F238E27FC236}">
                  <a16:creationId xmlns:a16="http://schemas.microsoft.com/office/drawing/2014/main" id="{3B420D7B-3703-E94E-90A3-43463EB202BB}"/>
                </a:ext>
              </a:extLst>
            </p:cNvPr>
            <p:cNvSpPr>
              <a:spLocks noChangeArrowheads="1"/>
            </p:cNvSpPr>
            <p:nvPr/>
          </p:nvSpPr>
          <p:spPr bwMode="auto">
            <a:xfrm>
              <a:off x="1758950" y="62563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903">
              <a:extLst>
                <a:ext uri="{FF2B5EF4-FFF2-40B4-BE49-F238E27FC236}">
                  <a16:creationId xmlns:a16="http://schemas.microsoft.com/office/drawing/2014/main" id="{AD25DEC9-FE43-E444-ACA1-C64204DEFE50}"/>
                </a:ext>
              </a:extLst>
            </p:cNvPr>
            <p:cNvSpPr>
              <a:spLocks noChangeArrowheads="1"/>
            </p:cNvSpPr>
            <p:nvPr/>
          </p:nvSpPr>
          <p:spPr bwMode="auto">
            <a:xfrm>
              <a:off x="1817688" y="62563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904">
              <a:extLst>
                <a:ext uri="{FF2B5EF4-FFF2-40B4-BE49-F238E27FC236}">
                  <a16:creationId xmlns:a16="http://schemas.microsoft.com/office/drawing/2014/main" id="{1637370C-BFC0-7F48-959A-DEED20DDFF6A}"/>
                </a:ext>
              </a:extLst>
            </p:cNvPr>
            <p:cNvSpPr>
              <a:spLocks noChangeArrowheads="1"/>
            </p:cNvSpPr>
            <p:nvPr/>
          </p:nvSpPr>
          <p:spPr bwMode="auto">
            <a:xfrm>
              <a:off x="1758950" y="6313488"/>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905">
              <a:extLst>
                <a:ext uri="{FF2B5EF4-FFF2-40B4-BE49-F238E27FC236}">
                  <a16:creationId xmlns:a16="http://schemas.microsoft.com/office/drawing/2014/main" id="{4244E8E7-3BEE-F74C-9AF5-97A9B849D88B}"/>
                </a:ext>
              </a:extLst>
            </p:cNvPr>
            <p:cNvSpPr>
              <a:spLocks noChangeArrowheads="1"/>
            </p:cNvSpPr>
            <p:nvPr/>
          </p:nvSpPr>
          <p:spPr bwMode="auto">
            <a:xfrm>
              <a:off x="1817688" y="6313488"/>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Oval 906">
              <a:extLst>
                <a:ext uri="{FF2B5EF4-FFF2-40B4-BE49-F238E27FC236}">
                  <a16:creationId xmlns:a16="http://schemas.microsoft.com/office/drawing/2014/main" id="{8E30FEFA-6A49-5E47-8E1D-B3B481FE7E9A}"/>
                </a:ext>
              </a:extLst>
            </p:cNvPr>
            <p:cNvSpPr>
              <a:spLocks noChangeArrowheads="1"/>
            </p:cNvSpPr>
            <p:nvPr/>
          </p:nvSpPr>
          <p:spPr bwMode="auto">
            <a:xfrm>
              <a:off x="1844675" y="6227763"/>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907">
              <a:extLst>
                <a:ext uri="{FF2B5EF4-FFF2-40B4-BE49-F238E27FC236}">
                  <a16:creationId xmlns:a16="http://schemas.microsoft.com/office/drawing/2014/main" id="{BE4ACB92-D59F-2342-9737-B7165621E6CB}"/>
                </a:ext>
              </a:extLst>
            </p:cNvPr>
            <p:cNvSpPr>
              <a:spLocks noChangeArrowheads="1"/>
            </p:cNvSpPr>
            <p:nvPr/>
          </p:nvSpPr>
          <p:spPr bwMode="auto">
            <a:xfrm>
              <a:off x="1900238" y="6227763"/>
              <a:ext cx="19050"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908">
              <a:extLst>
                <a:ext uri="{FF2B5EF4-FFF2-40B4-BE49-F238E27FC236}">
                  <a16:creationId xmlns:a16="http://schemas.microsoft.com/office/drawing/2014/main" id="{AFF49022-12D1-DF47-9867-30DD9290351F}"/>
                </a:ext>
              </a:extLst>
            </p:cNvPr>
            <p:cNvSpPr>
              <a:spLocks noChangeArrowheads="1"/>
            </p:cNvSpPr>
            <p:nvPr/>
          </p:nvSpPr>
          <p:spPr bwMode="auto">
            <a:xfrm>
              <a:off x="1844675" y="62833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909">
              <a:extLst>
                <a:ext uri="{FF2B5EF4-FFF2-40B4-BE49-F238E27FC236}">
                  <a16:creationId xmlns:a16="http://schemas.microsoft.com/office/drawing/2014/main" id="{0CF17B0C-CC68-FD4A-A013-8960CF03D964}"/>
                </a:ext>
              </a:extLst>
            </p:cNvPr>
            <p:cNvSpPr>
              <a:spLocks noChangeArrowheads="1"/>
            </p:cNvSpPr>
            <p:nvPr/>
          </p:nvSpPr>
          <p:spPr bwMode="auto">
            <a:xfrm>
              <a:off x="1900238" y="6283325"/>
              <a:ext cx="19050"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910">
              <a:extLst>
                <a:ext uri="{FF2B5EF4-FFF2-40B4-BE49-F238E27FC236}">
                  <a16:creationId xmlns:a16="http://schemas.microsoft.com/office/drawing/2014/main" id="{2D2D2B5E-CD59-6047-9C66-F4C7B6D61AC1}"/>
                </a:ext>
              </a:extLst>
            </p:cNvPr>
            <p:cNvSpPr>
              <a:spLocks noChangeArrowheads="1"/>
            </p:cNvSpPr>
            <p:nvPr/>
          </p:nvSpPr>
          <p:spPr bwMode="auto">
            <a:xfrm>
              <a:off x="1871663" y="6256338"/>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911">
              <a:extLst>
                <a:ext uri="{FF2B5EF4-FFF2-40B4-BE49-F238E27FC236}">
                  <a16:creationId xmlns:a16="http://schemas.microsoft.com/office/drawing/2014/main" id="{A9E039CF-41A6-7442-97D6-165239865881}"/>
                </a:ext>
              </a:extLst>
            </p:cNvPr>
            <p:cNvSpPr>
              <a:spLocks noChangeArrowheads="1"/>
            </p:cNvSpPr>
            <p:nvPr/>
          </p:nvSpPr>
          <p:spPr bwMode="auto">
            <a:xfrm>
              <a:off x="1930400" y="62563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912">
              <a:extLst>
                <a:ext uri="{FF2B5EF4-FFF2-40B4-BE49-F238E27FC236}">
                  <a16:creationId xmlns:a16="http://schemas.microsoft.com/office/drawing/2014/main" id="{01E34A5D-9547-A942-B03D-1E4457F7BD41}"/>
                </a:ext>
              </a:extLst>
            </p:cNvPr>
            <p:cNvSpPr>
              <a:spLocks noChangeArrowheads="1"/>
            </p:cNvSpPr>
            <p:nvPr/>
          </p:nvSpPr>
          <p:spPr bwMode="auto">
            <a:xfrm>
              <a:off x="1871663" y="6313488"/>
              <a:ext cx="20638"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913">
              <a:extLst>
                <a:ext uri="{FF2B5EF4-FFF2-40B4-BE49-F238E27FC236}">
                  <a16:creationId xmlns:a16="http://schemas.microsoft.com/office/drawing/2014/main" id="{649DC006-E7A1-5C48-AF1B-8177C98922B4}"/>
                </a:ext>
              </a:extLst>
            </p:cNvPr>
            <p:cNvSpPr>
              <a:spLocks noChangeArrowheads="1"/>
            </p:cNvSpPr>
            <p:nvPr/>
          </p:nvSpPr>
          <p:spPr bwMode="auto">
            <a:xfrm>
              <a:off x="1930400" y="6313488"/>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914">
              <a:extLst>
                <a:ext uri="{FF2B5EF4-FFF2-40B4-BE49-F238E27FC236}">
                  <a16:creationId xmlns:a16="http://schemas.microsoft.com/office/drawing/2014/main" id="{BDBD1E79-2FB3-7F4B-9729-99C5A6104E35}"/>
                </a:ext>
              </a:extLst>
            </p:cNvPr>
            <p:cNvSpPr>
              <a:spLocks noChangeArrowheads="1"/>
            </p:cNvSpPr>
            <p:nvPr/>
          </p:nvSpPr>
          <p:spPr bwMode="auto">
            <a:xfrm>
              <a:off x="1674813" y="6342063"/>
              <a:ext cx="20638"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915">
              <a:extLst>
                <a:ext uri="{FF2B5EF4-FFF2-40B4-BE49-F238E27FC236}">
                  <a16:creationId xmlns:a16="http://schemas.microsoft.com/office/drawing/2014/main" id="{004479CD-9FC5-414E-95F2-7363BEE68F7F}"/>
                </a:ext>
              </a:extLst>
            </p:cNvPr>
            <p:cNvSpPr>
              <a:spLocks noChangeArrowheads="1"/>
            </p:cNvSpPr>
            <p:nvPr/>
          </p:nvSpPr>
          <p:spPr bwMode="auto">
            <a:xfrm>
              <a:off x="1646238" y="63690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916">
              <a:extLst>
                <a:ext uri="{FF2B5EF4-FFF2-40B4-BE49-F238E27FC236}">
                  <a16:creationId xmlns:a16="http://schemas.microsoft.com/office/drawing/2014/main" id="{7B0A4FA9-B7C3-2D4F-BA92-D068CE6E5FBD}"/>
                </a:ext>
              </a:extLst>
            </p:cNvPr>
            <p:cNvSpPr>
              <a:spLocks noChangeArrowheads="1"/>
            </p:cNvSpPr>
            <p:nvPr/>
          </p:nvSpPr>
          <p:spPr bwMode="auto">
            <a:xfrm>
              <a:off x="1701800" y="6369050"/>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917">
              <a:extLst>
                <a:ext uri="{FF2B5EF4-FFF2-40B4-BE49-F238E27FC236}">
                  <a16:creationId xmlns:a16="http://schemas.microsoft.com/office/drawing/2014/main" id="{138E8B83-FCAC-FB4E-BF07-26DF9DB9D103}"/>
                </a:ext>
              </a:extLst>
            </p:cNvPr>
            <p:cNvSpPr>
              <a:spLocks noChangeArrowheads="1"/>
            </p:cNvSpPr>
            <p:nvPr/>
          </p:nvSpPr>
          <p:spPr bwMode="auto">
            <a:xfrm>
              <a:off x="1731963" y="6342063"/>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918">
              <a:extLst>
                <a:ext uri="{FF2B5EF4-FFF2-40B4-BE49-F238E27FC236}">
                  <a16:creationId xmlns:a16="http://schemas.microsoft.com/office/drawing/2014/main" id="{7C8F8612-9796-3147-996D-3A0668F544EF}"/>
                </a:ext>
              </a:extLst>
            </p:cNvPr>
            <p:cNvSpPr>
              <a:spLocks noChangeArrowheads="1"/>
            </p:cNvSpPr>
            <p:nvPr/>
          </p:nvSpPr>
          <p:spPr bwMode="auto">
            <a:xfrm>
              <a:off x="1787525" y="6342063"/>
              <a:ext cx="19050"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919">
              <a:extLst>
                <a:ext uri="{FF2B5EF4-FFF2-40B4-BE49-F238E27FC236}">
                  <a16:creationId xmlns:a16="http://schemas.microsoft.com/office/drawing/2014/main" id="{0A2A4D4E-B0F5-8045-B06F-8857D292EB5E}"/>
                </a:ext>
              </a:extLst>
            </p:cNvPr>
            <p:cNvSpPr>
              <a:spLocks noChangeArrowheads="1"/>
            </p:cNvSpPr>
            <p:nvPr/>
          </p:nvSpPr>
          <p:spPr bwMode="auto">
            <a:xfrm>
              <a:off x="1758950" y="63690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20">
              <a:extLst>
                <a:ext uri="{FF2B5EF4-FFF2-40B4-BE49-F238E27FC236}">
                  <a16:creationId xmlns:a16="http://schemas.microsoft.com/office/drawing/2014/main" id="{F109C9C8-286E-A848-AC5F-29BAD2362F25}"/>
                </a:ext>
              </a:extLst>
            </p:cNvPr>
            <p:cNvSpPr>
              <a:spLocks noChangeArrowheads="1"/>
            </p:cNvSpPr>
            <p:nvPr/>
          </p:nvSpPr>
          <p:spPr bwMode="auto">
            <a:xfrm>
              <a:off x="1817688" y="63690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21">
              <a:extLst>
                <a:ext uri="{FF2B5EF4-FFF2-40B4-BE49-F238E27FC236}">
                  <a16:creationId xmlns:a16="http://schemas.microsoft.com/office/drawing/2014/main" id="{9CF602CA-A0A7-4344-BA45-31C714724A57}"/>
                </a:ext>
              </a:extLst>
            </p:cNvPr>
            <p:cNvSpPr>
              <a:spLocks noChangeArrowheads="1"/>
            </p:cNvSpPr>
            <p:nvPr/>
          </p:nvSpPr>
          <p:spPr bwMode="auto">
            <a:xfrm>
              <a:off x="1844675" y="6342063"/>
              <a:ext cx="17463"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Oval 922">
              <a:extLst>
                <a:ext uri="{FF2B5EF4-FFF2-40B4-BE49-F238E27FC236}">
                  <a16:creationId xmlns:a16="http://schemas.microsoft.com/office/drawing/2014/main" id="{BAB6DDDD-EC8F-E742-B676-18ECF4545B82}"/>
                </a:ext>
              </a:extLst>
            </p:cNvPr>
            <p:cNvSpPr>
              <a:spLocks noChangeArrowheads="1"/>
            </p:cNvSpPr>
            <p:nvPr/>
          </p:nvSpPr>
          <p:spPr bwMode="auto">
            <a:xfrm>
              <a:off x="1900238" y="6342063"/>
              <a:ext cx="19050"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923">
              <a:extLst>
                <a:ext uri="{FF2B5EF4-FFF2-40B4-BE49-F238E27FC236}">
                  <a16:creationId xmlns:a16="http://schemas.microsoft.com/office/drawing/2014/main" id="{96EF1A75-7859-2F4F-A203-D48C549D062A}"/>
                </a:ext>
              </a:extLst>
            </p:cNvPr>
            <p:cNvSpPr>
              <a:spLocks noChangeArrowheads="1"/>
            </p:cNvSpPr>
            <p:nvPr/>
          </p:nvSpPr>
          <p:spPr bwMode="auto">
            <a:xfrm>
              <a:off x="1871663" y="6369050"/>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924">
              <a:extLst>
                <a:ext uri="{FF2B5EF4-FFF2-40B4-BE49-F238E27FC236}">
                  <a16:creationId xmlns:a16="http://schemas.microsoft.com/office/drawing/2014/main" id="{A9BCA9F2-C482-2043-A450-61D55BECB079}"/>
                </a:ext>
              </a:extLst>
            </p:cNvPr>
            <p:cNvSpPr>
              <a:spLocks noChangeArrowheads="1"/>
            </p:cNvSpPr>
            <p:nvPr/>
          </p:nvSpPr>
          <p:spPr bwMode="auto">
            <a:xfrm>
              <a:off x="1930400" y="63690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5" name="Freeform 925">
            <a:extLst>
              <a:ext uri="{FF2B5EF4-FFF2-40B4-BE49-F238E27FC236}">
                <a16:creationId xmlns:a16="http://schemas.microsoft.com/office/drawing/2014/main" id="{D6843FE2-A52D-9148-B381-35DD816508B3}"/>
              </a:ext>
            </a:extLst>
          </p:cNvPr>
          <p:cNvSpPr>
            <a:spLocks noEditPoints="1"/>
          </p:cNvSpPr>
          <p:nvPr/>
        </p:nvSpPr>
        <p:spPr bwMode="auto">
          <a:xfrm>
            <a:off x="1531820" y="365125"/>
            <a:ext cx="546100" cy="550863"/>
          </a:xfrm>
          <a:custGeom>
            <a:avLst/>
            <a:gdLst>
              <a:gd name="T0" fmla="*/ 10 w 160"/>
              <a:gd name="T1" fmla="*/ 0 h 160"/>
              <a:gd name="T2" fmla="*/ 0 w 160"/>
              <a:gd name="T3" fmla="*/ 65 h 160"/>
              <a:gd name="T4" fmla="*/ 65 w 160"/>
              <a:gd name="T5" fmla="*/ 74 h 160"/>
              <a:gd name="T6" fmla="*/ 74 w 160"/>
              <a:gd name="T7" fmla="*/ 10 h 160"/>
              <a:gd name="T8" fmla="*/ 69 w 160"/>
              <a:gd name="T9" fmla="*/ 65 h 160"/>
              <a:gd name="T10" fmla="*/ 10 w 160"/>
              <a:gd name="T11" fmla="*/ 69 h 160"/>
              <a:gd name="T12" fmla="*/ 6 w 160"/>
              <a:gd name="T13" fmla="*/ 10 h 160"/>
              <a:gd name="T14" fmla="*/ 65 w 160"/>
              <a:gd name="T15" fmla="*/ 6 h 160"/>
              <a:gd name="T16" fmla="*/ 69 w 160"/>
              <a:gd name="T17" fmla="*/ 65 h 160"/>
              <a:gd name="T18" fmla="*/ 95 w 160"/>
              <a:gd name="T19" fmla="*/ 0 h 160"/>
              <a:gd name="T20" fmla="*/ 86 w 160"/>
              <a:gd name="T21" fmla="*/ 65 h 160"/>
              <a:gd name="T22" fmla="*/ 150 w 160"/>
              <a:gd name="T23" fmla="*/ 74 h 160"/>
              <a:gd name="T24" fmla="*/ 160 w 160"/>
              <a:gd name="T25" fmla="*/ 10 h 160"/>
              <a:gd name="T26" fmla="*/ 154 w 160"/>
              <a:gd name="T27" fmla="*/ 65 h 160"/>
              <a:gd name="T28" fmla="*/ 95 w 160"/>
              <a:gd name="T29" fmla="*/ 69 h 160"/>
              <a:gd name="T30" fmla="*/ 91 w 160"/>
              <a:gd name="T31" fmla="*/ 10 h 160"/>
              <a:gd name="T32" fmla="*/ 150 w 160"/>
              <a:gd name="T33" fmla="*/ 6 h 160"/>
              <a:gd name="T34" fmla="*/ 154 w 160"/>
              <a:gd name="T35" fmla="*/ 65 h 160"/>
              <a:gd name="T36" fmla="*/ 10 w 160"/>
              <a:gd name="T37" fmla="*/ 86 h 160"/>
              <a:gd name="T38" fmla="*/ 0 w 160"/>
              <a:gd name="T39" fmla="*/ 150 h 160"/>
              <a:gd name="T40" fmla="*/ 65 w 160"/>
              <a:gd name="T41" fmla="*/ 160 h 160"/>
              <a:gd name="T42" fmla="*/ 74 w 160"/>
              <a:gd name="T43" fmla="*/ 95 h 160"/>
              <a:gd name="T44" fmla="*/ 69 w 160"/>
              <a:gd name="T45" fmla="*/ 150 h 160"/>
              <a:gd name="T46" fmla="*/ 10 w 160"/>
              <a:gd name="T47" fmla="*/ 154 h 160"/>
              <a:gd name="T48" fmla="*/ 6 w 160"/>
              <a:gd name="T49" fmla="*/ 95 h 160"/>
              <a:gd name="T50" fmla="*/ 65 w 160"/>
              <a:gd name="T51" fmla="*/ 91 h 160"/>
              <a:gd name="T52" fmla="*/ 69 w 160"/>
              <a:gd name="T53" fmla="*/ 150 h 160"/>
              <a:gd name="T54" fmla="*/ 157 w 160"/>
              <a:gd name="T55" fmla="*/ 126 h 160"/>
              <a:gd name="T56" fmla="*/ 126 w 160"/>
              <a:gd name="T57" fmla="*/ 157 h 160"/>
              <a:gd name="T58" fmla="*/ 120 w 160"/>
              <a:gd name="T59" fmla="*/ 157 h 160"/>
              <a:gd name="T60" fmla="*/ 89 w 160"/>
              <a:gd name="T61" fmla="*/ 126 h 160"/>
              <a:gd name="T62" fmla="*/ 89 w 160"/>
              <a:gd name="T63" fmla="*/ 120 h 160"/>
              <a:gd name="T64" fmla="*/ 120 w 160"/>
              <a:gd name="T65" fmla="*/ 89 h 160"/>
              <a:gd name="T66" fmla="*/ 126 w 160"/>
              <a:gd name="T67" fmla="*/ 89 h 160"/>
              <a:gd name="T68" fmla="*/ 157 w 160"/>
              <a:gd name="T69"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65" y="0"/>
                </a:moveTo>
                <a:cubicBezTo>
                  <a:pt x="10" y="0"/>
                  <a:pt x="10" y="0"/>
                  <a:pt x="10" y="0"/>
                </a:cubicBezTo>
                <a:cubicBezTo>
                  <a:pt x="4" y="0"/>
                  <a:pt x="0" y="4"/>
                  <a:pt x="0" y="10"/>
                </a:cubicBezTo>
                <a:cubicBezTo>
                  <a:pt x="0" y="65"/>
                  <a:pt x="0" y="65"/>
                  <a:pt x="0" y="65"/>
                </a:cubicBezTo>
                <a:cubicBezTo>
                  <a:pt x="0" y="70"/>
                  <a:pt x="4" y="74"/>
                  <a:pt x="10" y="74"/>
                </a:cubicBezTo>
                <a:cubicBezTo>
                  <a:pt x="65" y="74"/>
                  <a:pt x="65" y="74"/>
                  <a:pt x="65" y="74"/>
                </a:cubicBezTo>
                <a:cubicBezTo>
                  <a:pt x="70" y="74"/>
                  <a:pt x="74" y="70"/>
                  <a:pt x="74" y="65"/>
                </a:cubicBezTo>
                <a:cubicBezTo>
                  <a:pt x="74" y="10"/>
                  <a:pt x="74" y="10"/>
                  <a:pt x="74" y="10"/>
                </a:cubicBezTo>
                <a:cubicBezTo>
                  <a:pt x="74" y="4"/>
                  <a:pt x="70" y="0"/>
                  <a:pt x="65" y="0"/>
                </a:cubicBezTo>
                <a:close/>
                <a:moveTo>
                  <a:pt x="69" y="65"/>
                </a:moveTo>
                <a:cubicBezTo>
                  <a:pt x="69" y="67"/>
                  <a:pt x="67" y="69"/>
                  <a:pt x="65" y="69"/>
                </a:cubicBezTo>
                <a:cubicBezTo>
                  <a:pt x="10" y="69"/>
                  <a:pt x="10" y="69"/>
                  <a:pt x="10" y="69"/>
                </a:cubicBezTo>
                <a:cubicBezTo>
                  <a:pt x="7" y="69"/>
                  <a:pt x="6" y="67"/>
                  <a:pt x="6" y="65"/>
                </a:cubicBezTo>
                <a:cubicBezTo>
                  <a:pt x="6" y="10"/>
                  <a:pt x="6" y="10"/>
                  <a:pt x="6" y="10"/>
                </a:cubicBezTo>
                <a:cubicBezTo>
                  <a:pt x="6" y="7"/>
                  <a:pt x="7" y="6"/>
                  <a:pt x="10" y="6"/>
                </a:cubicBezTo>
                <a:cubicBezTo>
                  <a:pt x="65" y="6"/>
                  <a:pt x="65" y="6"/>
                  <a:pt x="65" y="6"/>
                </a:cubicBezTo>
                <a:cubicBezTo>
                  <a:pt x="67" y="6"/>
                  <a:pt x="69" y="7"/>
                  <a:pt x="69" y="10"/>
                </a:cubicBezTo>
                <a:lnTo>
                  <a:pt x="69" y="65"/>
                </a:lnTo>
                <a:close/>
                <a:moveTo>
                  <a:pt x="150" y="0"/>
                </a:moveTo>
                <a:cubicBezTo>
                  <a:pt x="95" y="0"/>
                  <a:pt x="95" y="0"/>
                  <a:pt x="95" y="0"/>
                </a:cubicBezTo>
                <a:cubicBezTo>
                  <a:pt x="90" y="0"/>
                  <a:pt x="86" y="4"/>
                  <a:pt x="86" y="10"/>
                </a:cubicBezTo>
                <a:cubicBezTo>
                  <a:pt x="86" y="65"/>
                  <a:pt x="86" y="65"/>
                  <a:pt x="86" y="65"/>
                </a:cubicBezTo>
                <a:cubicBezTo>
                  <a:pt x="86" y="70"/>
                  <a:pt x="90" y="74"/>
                  <a:pt x="95" y="74"/>
                </a:cubicBezTo>
                <a:cubicBezTo>
                  <a:pt x="150" y="74"/>
                  <a:pt x="150" y="74"/>
                  <a:pt x="150" y="74"/>
                </a:cubicBezTo>
                <a:cubicBezTo>
                  <a:pt x="156" y="74"/>
                  <a:pt x="160" y="70"/>
                  <a:pt x="160" y="65"/>
                </a:cubicBezTo>
                <a:cubicBezTo>
                  <a:pt x="160" y="10"/>
                  <a:pt x="160" y="10"/>
                  <a:pt x="160" y="10"/>
                </a:cubicBezTo>
                <a:cubicBezTo>
                  <a:pt x="160" y="4"/>
                  <a:pt x="156" y="0"/>
                  <a:pt x="150" y="0"/>
                </a:cubicBezTo>
                <a:close/>
                <a:moveTo>
                  <a:pt x="154" y="65"/>
                </a:moveTo>
                <a:cubicBezTo>
                  <a:pt x="154" y="67"/>
                  <a:pt x="153" y="69"/>
                  <a:pt x="150" y="69"/>
                </a:cubicBezTo>
                <a:cubicBezTo>
                  <a:pt x="95" y="69"/>
                  <a:pt x="95" y="69"/>
                  <a:pt x="95" y="69"/>
                </a:cubicBezTo>
                <a:cubicBezTo>
                  <a:pt x="93" y="69"/>
                  <a:pt x="91" y="67"/>
                  <a:pt x="91" y="65"/>
                </a:cubicBezTo>
                <a:cubicBezTo>
                  <a:pt x="91" y="10"/>
                  <a:pt x="91" y="10"/>
                  <a:pt x="91" y="10"/>
                </a:cubicBezTo>
                <a:cubicBezTo>
                  <a:pt x="91" y="7"/>
                  <a:pt x="93" y="6"/>
                  <a:pt x="95" y="6"/>
                </a:cubicBezTo>
                <a:cubicBezTo>
                  <a:pt x="150" y="6"/>
                  <a:pt x="150" y="6"/>
                  <a:pt x="150" y="6"/>
                </a:cubicBezTo>
                <a:cubicBezTo>
                  <a:pt x="153" y="6"/>
                  <a:pt x="154" y="7"/>
                  <a:pt x="154" y="10"/>
                </a:cubicBezTo>
                <a:lnTo>
                  <a:pt x="154" y="65"/>
                </a:lnTo>
                <a:close/>
                <a:moveTo>
                  <a:pt x="65" y="86"/>
                </a:moveTo>
                <a:cubicBezTo>
                  <a:pt x="10" y="86"/>
                  <a:pt x="10" y="86"/>
                  <a:pt x="10" y="86"/>
                </a:cubicBezTo>
                <a:cubicBezTo>
                  <a:pt x="4" y="86"/>
                  <a:pt x="0" y="90"/>
                  <a:pt x="0" y="95"/>
                </a:cubicBezTo>
                <a:cubicBezTo>
                  <a:pt x="0" y="150"/>
                  <a:pt x="0" y="150"/>
                  <a:pt x="0" y="150"/>
                </a:cubicBezTo>
                <a:cubicBezTo>
                  <a:pt x="0" y="156"/>
                  <a:pt x="4" y="160"/>
                  <a:pt x="10" y="160"/>
                </a:cubicBezTo>
                <a:cubicBezTo>
                  <a:pt x="65" y="160"/>
                  <a:pt x="65" y="160"/>
                  <a:pt x="65" y="160"/>
                </a:cubicBezTo>
                <a:cubicBezTo>
                  <a:pt x="70" y="160"/>
                  <a:pt x="74" y="156"/>
                  <a:pt x="74" y="150"/>
                </a:cubicBezTo>
                <a:cubicBezTo>
                  <a:pt x="74" y="95"/>
                  <a:pt x="74" y="95"/>
                  <a:pt x="74" y="95"/>
                </a:cubicBezTo>
                <a:cubicBezTo>
                  <a:pt x="74" y="90"/>
                  <a:pt x="70" y="86"/>
                  <a:pt x="65" y="86"/>
                </a:cubicBezTo>
                <a:close/>
                <a:moveTo>
                  <a:pt x="69" y="150"/>
                </a:moveTo>
                <a:cubicBezTo>
                  <a:pt x="69" y="153"/>
                  <a:pt x="67" y="154"/>
                  <a:pt x="65" y="154"/>
                </a:cubicBezTo>
                <a:cubicBezTo>
                  <a:pt x="10" y="154"/>
                  <a:pt x="10" y="154"/>
                  <a:pt x="10" y="154"/>
                </a:cubicBezTo>
                <a:cubicBezTo>
                  <a:pt x="7" y="154"/>
                  <a:pt x="6" y="153"/>
                  <a:pt x="6" y="150"/>
                </a:cubicBezTo>
                <a:cubicBezTo>
                  <a:pt x="6" y="95"/>
                  <a:pt x="6" y="95"/>
                  <a:pt x="6" y="95"/>
                </a:cubicBezTo>
                <a:cubicBezTo>
                  <a:pt x="6" y="93"/>
                  <a:pt x="7" y="91"/>
                  <a:pt x="10" y="91"/>
                </a:cubicBezTo>
                <a:cubicBezTo>
                  <a:pt x="65" y="91"/>
                  <a:pt x="65" y="91"/>
                  <a:pt x="65" y="91"/>
                </a:cubicBezTo>
                <a:cubicBezTo>
                  <a:pt x="67" y="91"/>
                  <a:pt x="69" y="93"/>
                  <a:pt x="69" y="95"/>
                </a:cubicBezTo>
                <a:lnTo>
                  <a:pt x="69" y="150"/>
                </a:lnTo>
                <a:close/>
                <a:moveTo>
                  <a:pt x="160" y="123"/>
                </a:moveTo>
                <a:cubicBezTo>
                  <a:pt x="160" y="124"/>
                  <a:pt x="159" y="126"/>
                  <a:pt x="157" y="126"/>
                </a:cubicBezTo>
                <a:cubicBezTo>
                  <a:pt x="126" y="126"/>
                  <a:pt x="126" y="126"/>
                  <a:pt x="126" y="126"/>
                </a:cubicBezTo>
                <a:cubicBezTo>
                  <a:pt x="126" y="157"/>
                  <a:pt x="126" y="157"/>
                  <a:pt x="126" y="157"/>
                </a:cubicBezTo>
                <a:cubicBezTo>
                  <a:pt x="126" y="159"/>
                  <a:pt x="124" y="160"/>
                  <a:pt x="123" y="160"/>
                </a:cubicBezTo>
                <a:cubicBezTo>
                  <a:pt x="121" y="160"/>
                  <a:pt x="120" y="159"/>
                  <a:pt x="120" y="157"/>
                </a:cubicBezTo>
                <a:cubicBezTo>
                  <a:pt x="120" y="126"/>
                  <a:pt x="120" y="126"/>
                  <a:pt x="120" y="126"/>
                </a:cubicBezTo>
                <a:cubicBezTo>
                  <a:pt x="89" y="126"/>
                  <a:pt x="89" y="126"/>
                  <a:pt x="89" y="126"/>
                </a:cubicBezTo>
                <a:cubicBezTo>
                  <a:pt x="87" y="126"/>
                  <a:pt x="86" y="124"/>
                  <a:pt x="86" y="123"/>
                </a:cubicBezTo>
                <a:cubicBezTo>
                  <a:pt x="86" y="121"/>
                  <a:pt x="87" y="120"/>
                  <a:pt x="89" y="120"/>
                </a:cubicBezTo>
                <a:cubicBezTo>
                  <a:pt x="120" y="120"/>
                  <a:pt x="120" y="120"/>
                  <a:pt x="120" y="120"/>
                </a:cubicBezTo>
                <a:cubicBezTo>
                  <a:pt x="120" y="89"/>
                  <a:pt x="120" y="89"/>
                  <a:pt x="120" y="89"/>
                </a:cubicBezTo>
                <a:cubicBezTo>
                  <a:pt x="120" y="87"/>
                  <a:pt x="121" y="86"/>
                  <a:pt x="123" y="86"/>
                </a:cubicBezTo>
                <a:cubicBezTo>
                  <a:pt x="124" y="86"/>
                  <a:pt x="126" y="87"/>
                  <a:pt x="126" y="89"/>
                </a:cubicBezTo>
                <a:cubicBezTo>
                  <a:pt x="126" y="120"/>
                  <a:pt x="126" y="120"/>
                  <a:pt x="126" y="120"/>
                </a:cubicBezTo>
                <a:cubicBezTo>
                  <a:pt x="157" y="120"/>
                  <a:pt x="157" y="120"/>
                  <a:pt x="157" y="120"/>
                </a:cubicBezTo>
                <a:cubicBezTo>
                  <a:pt x="159" y="120"/>
                  <a:pt x="160" y="121"/>
                  <a:pt x="160" y="123"/>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926">
            <a:extLst>
              <a:ext uri="{FF2B5EF4-FFF2-40B4-BE49-F238E27FC236}">
                <a16:creationId xmlns:a16="http://schemas.microsoft.com/office/drawing/2014/main" id="{E6D26165-CDFC-7944-8E1D-1E6F3A16BC8B}"/>
              </a:ext>
            </a:extLst>
          </p:cNvPr>
          <p:cNvSpPr>
            <a:spLocks noEditPoints="1"/>
          </p:cNvSpPr>
          <p:nvPr/>
        </p:nvSpPr>
        <p:spPr bwMode="auto">
          <a:xfrm>
            <a:off x="1558808" y="984250"/>
            <a:ext cx="492125" cy="550863"/>
          </a:xfrm>
          <a:custGeom>
            <a:avLst/>
            <a:gdLst>
              <a:gd name="T0" fmla="*/ 136 w 144"/>
              <a:gd name="T1" fmla="*/ 0 h 160"/>
              <a:gd name="T2" fmla="*/ 8 w 144"/>
              <a:gd name="T3" fmla="*/ 0 h 160"/>
              <a:gd name="T4" fmla="*/ 0 w 144"/>
              <a:gd name="T5" fmla="*/ 8 h 160"/>
              <a:gd name="T6" fmla="*/ 0 w 144"/>
              <a:gd name="T7" fmla="*/ 152 h 160"/>
              <a:gd name="T8" fmla="*/ 8 w 144"/>
              <a:gd name="T9" fmla="*/ 160 h 160"/>
              <a:gd name="T10" fmla="*/ 136 w 144"/>
              <a:gd name="T11" fmla="*/ 160 h 160"/>
              <a:gd name="T12" fmla="*/ 144 w 144"/>
              <a:gd name="T13" fmla="*/ 152 h 160"/>
              <a:gd name="T14" fmla="*/ 144 w 144"/>
              <a:gd name="T15" fmla="*/ 8 h 160"/>
              <a:gd name="T16" fmla="*/ 136 w 144"/>
              <a:gd name="T17" fmla="*/ 0 h 160"/>
              <a:gd name="T18" fmla="*/ 8 w 144"/>
              <a:gd name="T19" fmla="*/ 5 h 160"/>
              <a:gd name="T20" fmla="*/ 136 w 144"/>
              <a:gd name="T21" fmla="*/ 5 h 160"/>
              <a:gd name="T22" fmla="*/ 139 w 144"/>
              <a:gd name="T23" fmla="*/ 8 h 160"/>
              <a:gd name="T24" fmla="*/ 139 w 144"/>
              <a:gd name="T25" fmla="*/ 77 h 160"/>
              <a:gd name="T26" fmla="*/ 5 w 144"/>
              <a:gd name="T27" fmla="*/ 77 h 160"/>
              <a:gd name="T28" fmla="*/ 5 w 144"/>
              <a:gd name="T29" fmla="*/ 8 h 160"/>
              <a:gd name="T30" fmla="*/ 8 w 144"/>
              <a:gd name="T31" fmla="*/ 5 h 160"/>
              <a:gd name="T32" fmla="*/ 136 w 144"/>
              <a:gd name="T33" fmla="*/ 155 h 160"/>
              <a:gd name="T34" fmla="*/ 8 w 144"/>
              <a:gd name="T35" fmla="*/ 155 h 160"/>
              <a:gd name="T36" fmla="*/ 5 w 144"/>
              <a:gd name="T37" fmla="*/ 152 h 160"/>
              <a:gd name="T38" fmla="*/ 5 w 144"/>
              <a:gd name="T39" fmla="*/ 83 h 160"/>
              <a:gd name="T40" fmla="*/ 139 w 144"/>
              <a:gd name="T41" fmla="*/ 83 h 160"/>
              <a:gd name="T42" fmla="*/ 139 w 144"/>
              <a:gd name="T43" fmla="*/ 152 h 160"/>
              <a:gd name="T44" fmla="*/ 136 w 144"/>
              <a:gd name="T45" fmla="*/ 155 h 160"/>
              <a:gd name="T46" fmla="*/ 48 w 144"/>
              <a:gd name="T47" fmla="*/ 39 h 160"/>
              <a:gd name="T48" fmla="*/ 48 w 144"/>
              <a:gd name="T49" fmla="*/ 35 h 160"/>
              <a:gd name="T50" fmla="*/ 51 w 144"/>
              <a:gd name="T51" fmla="*/ 32 h 160"/>
              <a:gd name="T52" fmla="*/ 53 w 144"/>
              <a:gd name="T53" fmla="*/ 35 h 160"/>
              <a:gd name="T54" fmla="*/ 53 w 144"/>
              <a:gd name="T55" fmla="*/ 39 h 160"/>
              <a:gd name="T56" fmla="*/ 57 w 144"/>
              <a:gd name="T57" fmla="*/ 43 h 160"/>
              <a:gd name="T58" fmla="*/ 87 w 144"/>
              <a:gd name="T59" fmla="*/ 43 h 160"/>
              <a:gd name="T60" fmla="*/ 91 w 144"/>
              <a:gd name="T61" fmla="*/ 39 h 160"/>
              <a:gd name="T62" fmla="*/ 91 w 144"/>
              <a:gd name="T63" fmla="*/ 35 h 160"/>
              <a:gd name="T64" fmla="*/ 93 w 144"/>
              <a:gd name="T65" fmla="*/ 32 h 160"/>
              <a:gd name="T66" fmla="*/ 96 w 144"/>
              <a:gd name="T67" fmla="*/ 35 h 160"/>
              <a:gd name="T68" fmla="*/ 96 w 144"/>
              <a:gd name="T69" fmla="*/ 39 h 160"/>
              <a:gd name="T70" fmla="*/ 87 w 144"/>
              <a:gd name="T71" fmla="*/ 48 h 160"/>
              <a:gd name="T72" fmla="*/ 57 w 144"/>
              <a:gd name="T73" fmla="*/ 48 h 160"/>
              <a:gd name="T74" fmla="*/ 48 w 144"/>
              <a:gd name="T75" fmla="*/ 39 h 160"/>
              <a:gd name="T76" fmla="*/ 96 w 144"/>
              <a:gd name="T77" fmla="*/ 112 h 160"/>
              <a:gd name="T78" fmla="*/ 96 w 144"/>
              <a:gd name="T79" fmla="*/ 116 h 160"/>
              <a:gd name="T80" fmla="*/ 87 w 144"/>
              <a:gd name="T81" fmla="*/ 125 h 160"/>
              <a:gd name="T82" fmla="*/ 57 w 144"/>
              <a:gd name="T83" fmla="*/ 125 h 160"/>
              <a:gd name="T84" fmla="*/ 48 w 144"/>
              <a:gd name="T85" fmla="*/ 116 h 160"/>
              <a:gd name="T86" fmla="*/ 48 w 144"/>
              <a:gd name="T87" fmla="*/ 112 h 160"/>
              <a:gd name="T88" fmla="*/ 51 w 144"/>
              <a:gd name="T89" fmla="*/ 109 h 160"/>
              <a:gd name="T90" fmla="*/ 53 w 144"/>
              <a:gd name="T91" fmla="*/ 112 h 160"/>
              <a:gd name="T92" fmla="*/ 53 w 144"/>
              <a:gd name="T93" fmla="*/ 116 h 160"/>
              <a:gd name="T94" fmla="*/ 57 w 144"/>
              <a:gd name="T95" fmla="*/ 120 h 160"/>
              <a:gd name="T96" fmla="*/ 87 w 144"/>
              <a:gd name="T97" fmla="*/ 120 h 160"/>
              <a:gd name="T98" fmla="*/ 91 w 144"/>
              <a:gd name="T99" fmla="*/ 116 h 160"/>
              <a:gd name="T100" fmla="*/ 91 w 144"/>
              <a:gd name="T101" fmla="*/ 112 h 160"/>
              <a:gd name="T102" fmla="*/ 93 w 144"/>
              <a:gd name="T103" fmla="*/ 109 h 160"/>
              <a:gd name="T104" fmla="*/ 96 w 144"/>
              <a:gd name="T105" fmla="*/ 11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160">
                <a:moveTo>
                  <a:pt x="136" y="0"/>
                </a:moveTo>
                <a:cubicBezTo>
                  <a:pt x="8" y="0"/>
                  <a:pt x="8" y="0"/>
                  <a:pt x="8" y="0"/>
                </a:cubicBezTo>
                <a:cubicBezTo>
                  <a:pt x="3" y="0"/>
                  <a:pt x="0" y="3"/>
                  <a:pt x="0" y="8"/>
                </a:cubicBezTo>
                <a:cubicBezTo>
                  <a:pt x="0" y="152"/>
                  <a:pt x="0" y="152"/>
                  <a:pt x="0" y="152"/>
                </a:cubicBezTo>
                <a:cubicBezTo>
                  <a:pt x="0" y="157"/>
                  <a:pt x="3" y="160"/>
                  <a:pt x="8" y="160"/>
                </a:cubicBezTo>
                <a:cubicBezTo>
                  <a:pt x="136" y="160"/>
                  <a:pt x="136" y="160"/>
                  <a:pt x="136" y="160"/>
                </a:cubicBezTo>
                <a:cubicBezTo>
                  <a:pt x="141" y="160"/>
                  <a:pt x="144" y="157"/>
                  <a:pt x="144" y="152"/>
                </a:cubicBezTo>
                <a:cubicBezTo>
                  <a:pt x="144" y="8"/>
                  <a:pt x="144" y="8"/>
                  <a:pt x="144" y="8"/>
                </a:cubicBezTo>
                <a:cubicBezTo>
                  <a:pt x="144" y="3"/>
                  <a:pt x="141" y="0"/>
                  <a:pt x="136" y="0"/>
                </a:cubicBezTo>
                <a:close/>
                <a:moveTo>
                  <a:pt x="8" y="5"/>
                </a:moveTo>
                <a:cubicBezTo>
                  <a:pt x="136" y="5"/>
                  <a:pt x="136" y="5"/>
                  <a:pt x="136" y="5"/>
                </a:cubicBezTo>
                <a:cubicBezTo>
                  <a:pt x="138" y="5"/>
                  <a:pt x="139" y="6"/>
                  <a:pt x="139" y="8"/>
                </a:cubicBezTo>
                <a:cubicBezTo>
                  <a:pt x="139" y="77"/>
                  <a:pt x="139" y="77"/>
                  <a:pt x="139" y="77"/>
                </a:cubicBezTo>
                <a:cubicBezTo>
                  <a:pt x="5" y="77"/>
                  <a:pt x="5" y="77"/>
                  <a:pt x="5" y="77"/>
                </a:cubicBezTo>
                <a:cubicBezTo>
                  <a:pt x="5" y="8"/>
                  <a:pt x="5" y="8"/>
                  <a:pt x="5" y="8"/>
                </a:cubicBezTo>
                <a:cubicBezTo>
                  <a:pt x="5" y="6"/>
                  <a:pt x="6" y="5"/>
                  <a:pt x="8" y="5"/>
                </a:cubicBezTo>
                <a:close/>
                <a:moveTo>
                  <a:pt x="136" y="155"/>
                </a:moveTo>
                <a:cubicBezTo>
                  <a:pt x="8" y="155"/>
                  <a:pt x="8" y="155"/>
                  <a:pt x="8" y="155"/>
                </a:cubicBezTo>
                <a:cubicBezTo>
                  <a:pt x="6" y="155"/>
                  <a:pt x="5" y="154"/>
                  <a:pt x="5" y="152"/>
                </a:cubicBezTo>
                <a:cubicBezTo>
                  <a:pt x="5" y="83"/>
                  <a:pt x="5" y="83"/>
                  <a:pt x="5" y="83"/>
                </a:cubicBezTo>
                <a:cubicBezTo>
                  <a:pt x="139" y="83"/>
                  <a:pt x="139" y="83"/>
                  <a:pt x="139" y="83"/>
                </a:cubicBezTo>
                <a:cubicBezTo>
                  <a:pt x="139" y="152"/>
                  <a:pt x="139" y="152"/>
                  <a:pt x="139" y="152"/>
                </a:cubicBezTo>
                <a:cubicBezTo>
                  <a:pt x="139" y="154"/>
                  <a:pt x="138" y="155"/>
                  <a:pt x="136" y="155"/>
                </a:cubicBezTo>
                <a:close/>
                <a:moveTo>
                  <a:pt x="48" y="39"/>
                </a:moveTo>
                <a:cubicBezTo>
                  <a:pt x="48" y="35"/>
                  <a:pt x="48" y="35"/>
                  <a:pt x="48" y="35"/>
                </a:cubicBezTo>
                <a:cubicBezTo>
                  <a:pt x="48" y="33"/>
                  <a:pt x="49" y="32"/>
                  <a:pt x="51" y="32"/>
                </a:cubicBezTo>
                <a:cubicBezTo>
                  <a:pt x="52" y="32"/>
                  <a:pt x="53" y="33"/>
                  <a:pt x="53" y="35"/>
                </a:cubicBezTo>
                <a:cubicBezTo>
                  <a:pt x="53" y="39"/>
                  <a:pt x="53" y="39"/>
                  <a:pt x="53" y="39"/>
                </a:cubicBezTo>
                <a:cubicBezTo>
                  <a:pt x="53" y="41"/>
                  <a:pt x="55" y="43"/>
                  <a:pt x="57" y="43"/>
                </a:cubicBezTo>
                <a:cubicBezTo>
                  <a:pt x="87" y="43"/>
                  <a:pt x="87" y="43"/>
                  <a:pt x="87" y="43"/>
                </a:cubicBezTo>
                <a:cubicBezTo>
                  <a:pt x="89" y="43"/>
                  <a:pt x="91" y="41"/>
                  <a:pt x="91" y="39"/>
                </a:cubicBezTo>
                <a:cubicBezTo>
                  <a:pt x="91" y="35"/>
                  <a:pt x="91" y="35"/>
                  <a:pt x="91" y="35"/>
                </a:cubicBezTo>
                <a:cubicBezTo>
                  <a:pt x="91" y="33"/>
                  <a:pt x="92" y="32"/>
                  <a:pt x="93" y="32"/>
                </a:cubicBezTo>
                <a:cubicBezTo>
                  <a:pt x="95" y="32"/>
                  <a:pt x="96" y="33"/>
                  <a:pt x="96" y="35"/>
                </a:cubicBezTo>
                <a:cubicBezTo>
                  <a:pt x="96" y="39"/>
                  <a:pt x="96" y="39"/>
                  <a:pt x="96" y="39"/>
                </a:cubicBezTo>
                <a:cubicBezTo>
                  <a:pt x="96" y="44"/>
                  <a:pt x="92" y="48"/>
                  <a:pt x="87" y="48"/>
                </a:cubicBezTo>
                <a:cubicBezTo>
                  <a:pt x="57" y="48"/>
                  <a:pt x="57" y="48"/>
                  <a:pt x="57" y="48"/>
                </a:cubicBezTo>
                <a:cubicBezTo>
                  <a:pt x="52" y="48"/>
                  <a:pt x="48" y="44"/>
                  <a:pt x="48" y="39"/>
                </a:cubicBezTo>
                <a:close/>
                <a:moveTo>
                  <a:pt x="96" y="112"/>
                </a:moveTo>
                <a:cubicBezTo>
                  <a:pt x="96" y="116"/>
                  <a:pt x="96" y="116"/>
                  <a:pt x="96" y="116"/>
                </a:cubicBezTo>
                <a:cubicBezTo>
                  <a:pt x="96" y="121"/>
                  <a:pt x="92" y="125"/>
                  <a:pt x="87" y="125"/>
                </a:cubicBezTo>
                <a:cubicBezTo>
                  <a:pt x="57" y="125"/>
                  <a:pt x="57" y="125"/>
                  <a:pt x="57" y="125"/>
                </a:cubicBezTo>
                <a:cubicBezTo>
                  <a:pt x="52" y="125"/>
                  <a:pt x="48" y="121"/>
                  <a:pt x="48" y="116"/>
                </a:cubicBezTo>
                <a:cubicBezTo>
                  <a:pt x="48" y="112"/>
                  <a:pt x="48" y="112"/>
                  <a:pt x="48" y="112"/>
                </a:cubicBezTo>
                <a:cubicBezTo>
                  <a:pt x="48" y="111"/>
                  <a:pt x="49" y="109"/>
                  <a:pt x="51" y="109"/>
                </a:cubicBezTo>
                <a:cubicBezTo>
                  <a:pt x="52" y="109"/>
                  <a:pt x="53" y="111"/>
                  <a:pt x="53" y="112"/>
                </a:cubicBezTo>
                <a:cubicBezTo>
                  <a:pt x="53" y="116"/>
                  <a:pt x="53" y="116"/>
                  <a:pt x="53" y="116"/>
                </a:cubicBezTo>
                <a:cubicBezTo>
                  <a:pt x="53" y="118"/>
                  <a:pt x="55" y="120"/>
                  <a:pt x="57" y="120"/>
                </a:cubicBezTo>
                <a:cubicBezTo>
                  <a:pt x="87" y="120"/>
                  <a:pt x="87" y="120"/>
                  <a:pt x="87" y="120"/>
                </a:cubicBezTo>
                <a:cubicBezTo>
                  <a:pt x="89" y="120"/>
                  <a:pt x="91" y="118"/>
                  <a:pt x="91" y="116"/>
                </a:cubicBezTo>
                <a:cubicBezTo>
                  <a:pt x="91" y="112"/>
                  <a:pt x="91" y="112"/>
                  <a:pt x="91" y="112"/>
                </a:cubicBezTo>
                <a:cubicBezTo>
                  <a:pt x="91" y="111"/>
                  <a:pt x="92" y="109"/>
                  <a:pt x="93" y="109"/>
                </a:cubicBezTo>
                <a:cubicBezTo>
                  <a:pt x="95" y="109"/>
                  <a:pt x="96" y="111"/>
                  <a:pt x="96" y="112"/>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7" name="Group 86">
            <a:extLst>
              <a:ext uri="{FF2B5EF4-FFF2-40B4-BE49-F238E27FC236}">
                <a16:creationId xmlns:a16="http://schemas.microsoft.com/office/drawing/2014/main" id="{A05A7A4C-1880-E34F-9618-871AC90788C8}"/>
              </a:ext>
            </a:extLst>
          </p:cNvPr>
          <p:cNvGrpSpPr/>
          <p:nvPr/>
        </p:nvGrpSpPr>
        <p:grpSpPr>
          <a:xfrm>
            <a:off x="1531820" y="1603375"/>
            <a:ext cx="546100" cy="533400"/>
            <a:chOff x="2479675" y="1603375"/>
            <a:chExt cx="546100" cy="533400"/>
          </a:xfrm>
          <a:solidFill>
            <a:srgbClr val="242524">
              <a:alpha val="70000"/>
            </a:srgbClr>
          </a:solidFill>
        </p:grpSpPr>
        <p:sp>
          <p:nvSpPr>
            <p:cNvPr id="88" name="Freeform 927">
              <a:extLst>
                <a:ext uri="{FF2B5EF4-FFF2-40B4-BE49-F238E27FC236}">
                  <a16:creationId xmlns:a16="http://schemas.microsoft.com/office/drawing/2014/main" id="{6B7345B5-2285-494C-9694-5702632AD935}"/>
                </a:ext>
              </a:extLst>
            </p:cNvPr>
            <p:cNvSpPr>
              <a:spLocks noEditPoints="1"/>
            </p:cNvSpPr>
            <p:nvPr/>
          </p:nvSpPr>
          <p:spPr bwMode="auto">
            <a:xfrm>
              <a:off x="2479675" y="1603375"/>
              <a:ext cx="546100" cy="533400"/>
            </a:xfrm>
            <a:custGeom>
              <a:avLst/>
              <a:gdLst>
                <a:gd name="T0" fmla="*/ 152 w 160"/>
                <a:gd name="T1" fmla="*/ 0 h 155"/>
                <a:gd name="T2" fmla="*/ 8 w 160"/>
                <a:gd name="T3" fmla="*/ 0 h 155"/>
                <a:gd name="T4" fmla="*/ 0 w 160"/>
                <a:gd name="T5" fmla="*/ 8 h 155"/>
                <a:gd name="T6" fmla="*/ 0 w 160"/>
                <a:gd name="T7" fmla="*/ 45 h 155"/>
                <a:gd name="T8" fmla="*/ 3 w 160"/>
                <a:gd name="T9" fmla="*/ 48 h 155"/>
                <a:gd name="T10" fmla="*/ 8 w 160"/>
                <a:gd name="T11" fmla="*/ 48 h 155"/>
                <a:gd name="T12" fmla="*/ 8 w 160"/>
                <a:gd name="T13" fmla="*/ 139 h 155"/>
                <a:gd name="T14" fmla="*/ 8 w 160"/>
                <a:gd name="T15" fmla="*/ 152 h 155"/>
                <a:gd name="T16" fmla="*/ 11 w 160"/>
                <a:gd name="T17" fmla="*/ 155 h 155"/>
                <a:gd name="T18" fmla="*/ 149 w 160"/>
                <a:gd name="T19" fmla="*/ 155 h 155"/>
                <a:gd name="T20" fmla="*/ 152 w 160"/>
                <a:gd name="T21" fmla="*/ 152 h 155"/>
                <a:gd name="T22" fmla="*/ 152 w 160"/>
                <a:gd name="T23" fmla="*/ 139 h 155"/>
                <a:gd name="T24" fmla="*/ 152 w 160"/>
                <a:gd name="T25" fmla="*/ 48 h 155"/>
                <a:gd name="T26" fmla="*/ 157 w 160"/>
                <a:gd name="T27" fmla="*/ 48 h 155"/>
                <a:gd name="T28" fmla="*/ 160 w 160"/>
                <a:gd name="T29" fmla="*/ 45 h 155"/>
                <a:gd name="T30" fmla="*/ 160 w 160"/>
                <a:gd name="T31" fmla="*/ 8 h 155"/>
                <a:gd name="T32" fmla="*/ 152 w 160"/>
                <a:gd name="T33" fmla="*/ 0 h 155"/>
                <a:gd name="T34" fmla="*/ 147 w 160"/>
                <a:gd name="T35" fmla="*/ 149 h 155"/>
                <a:gd name="T36" fmla="*/ 13 w 160"/>
                <a:gd name="T37" fmla="*/ 149 h 155"/>
                <a:gd name="T38" fmla="*/ 13 w 160"/>
                <a:gd name="T39" fmla="*/ 141 h 155"/>
                <a:gd name="T40" fmla="*/ 147 w 160"/>
                <a:gd name="T41" fmla="*/ 141 h 155"/>
                <a:gd name="T42" fmla="*/ 147 w 160"/>
                <a:gd name="T43" fmla="*/ 149 h 155"/>
                <a:gd name="T44" fmla="*/ 147 w 160"/>
                <a:gd name="T45" fmla="*/ 136 h 155"/>
                <a:gd name="T46" fmla="*/ 13 w 160"/>
                <a:gd name="T47" fmla="*/ 136 h 155"/>
                <a:gd name="T48" fmla="*/ 13 w 160"/>
                <a:gd name="T49" fmla="*/ 48 h 155"/>
                <a:gd name="T50" fmla="*/ 147 w 160"/>
                <a:gd name="T51" fmla="*/ 48 h 155"/>
                <a:gd name="T52" fmla="*/ 147 w 160"/>
                <a:gd name="T53" fmla="*/ 136 h 155"/>
                <a:gd name="T54" fmla="*/ 155 w 160"/>
                <a:gd name="T55" fmla="*/ 43 h 155"/>
                <a:gd name="T56" fmla="*/ 149 w 160"/>
                <a:gd name="T57" fmla="*/ 43 h 155"/>
                <a:gd name="T58" fmla="*/ 11 w 160"/>
                <a:gd name="T59" fmla="*/ 43 h 155"/>
                <a:gd name="T60" fmla="*/ 5 w 160"/>
                <a:gd name="T61" fmla="*/ 43 h 155"/>
                <a:gd name="T62" fmla="*/ 5 w 160"/>
                <a:gd name="T63" fmla="*/ 8 h 155"/>
                <a:gd name="T64" fmla="*/ 8 w 160"/>
                <a:gd name="T65" fmla="*/ 5 h 155"/>
                <a:gd name="T66" fmla="*/ 152 w 160"/>
                <a:gd name="T67" fmla="*/ 5 h 155"/>
                <a:gd name="T68" fmla="*/ 155 w 160"/>
                <a:gd name="T69" fmla="*/ 8 h 155"/>
                <a:gd name="T70" fmla="*/ 155 w 160"/>
                <a:gd name="T71" fmla="*/ 4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5">
                  <a:moveTo>
                    <a:pt x="152" y="0"/>
                  </a:moveTo>
                  <a:cubicBezTo>
                    <a:pt x="8" y="0"/>
                    <a:pt x="8" y="0"/>
                    <a:pt x="8" y="0"/>
                  </a:cubicBezTo>
                  <a:cubicBezTo>
                    <a:pt x="4" y="0"/>
                    <a:pt x="0" y="4"/>
                    <a:pt x="0" y="8"/>
                  </a:cubicBezTo>
                  <a:cubicBezTo>
                    <a:pt x="0" y="45"/>
                    <a:pt x="0" y="45"/>
                    <a:pt x="0" y="45"/>
                  </a:cubicBezTo>
                  <a:cubicBezTo>
                    <a:pt x="0" y="47"/>
                    <a:pt x="1" y="48"/>
                    <a:pt x="3" y="48"/>
                  </a:cubicBezTo>
                  <a:cubicBezTo>
                    <a:pt x="8" y="48"/>
                    <a:pt x="8" y="48"/>
                    <a:pt x="8" y="48"/>
                  </a:cubicBezTo>
                  <a:cubicBezTo>
                    <a:pt x="8" y="139"/>
                    <a:pt x="8" y="139"/>
                    <a:pt x="8" y="139"/>
                  </a:cubicBezTo>
                  <a:cubicBezTo>
                    <a:pt x="8" y="152"/>
                    <a:pt x="8" y="152"/>
                    <a:pt x="8" y="152"/>
                  </a:cubicBezTo>
                  <a:cubicBezTo>
                    <a:pt x="8" y="153"/>
                    <a:pt x="9" y="155"/>
                    <a:pt x="11" y="155"/>
                  </a:cubicBezTo>
                  <a:cubicBezTo>
                    <a:pt x="149" y="155"/>
                    <a:pt x="149" y="155"/>
                    <a:pt x="149" y="155"/>
                  </a:cubicBezTo>
                  <a:cubicBezTo>
                    <a:pt x="151" y="155"/>
                    <a:pt x="152" y="153"/>
                    <a:pt x="152" y="152"/>
                  </a:cubicBezTo>
                  <a:cubicBezTo>
                    <a:pt x="152" y="139"/>
                    <a:pt x="152" y="139"/>
                    <a:pt x="152" y="139"/>
                  </a:cubicBezTo>
                  <a:cubicBezTo>
                    <a:pt x="152" y="48"/>
                    <a:pt x="152" y="48"/>
                    <a:pt x="152" y="48"/>
                  </a:cubicBezTo>
                  <a:cubicBezTo>
                    <a:pt x="157" y="48"/>
                    <a:pt x="157" y="48"/>
                    <a:pt x="157" y="48"/>
                  </a:cubicBezTo>
                  <a:cubicBezTo>
                    <a:pt x="159" y="48"/>
                    <a:pt x="160" y="47"/>
                    <a:pt x="160" y="45"/>
                  </a:cubicBezTo>
                  <a:cubicBezTo>
                    <a:pt x="160" y="8"/>
                    <a:pt x="160" y="8"/>
                    <a:pt x="160" y="8"/>
                  </a:cubicBezTo>
                  <a:cubicBezTo>
                    <a:pt x="160" y="4"/>
                    <a:pt x="156" y="0"/>
                    <a:pt x="152" y="0"/>
                  </a:cubicBezTo>
                  <a:close/>
                  <a:moveTo>
                    <a:pt x="147" y="149"/>
                  </a:moveTo>
                  <a:cubicBezTo>
                    <a:pt x="13" y="149"/>
                    <a:pt x="13" y="149"/>
                    <a:pt x="13" y="149"/>
                  </a:cubicBezTo>
                  <a:cubicBezTo>
                    <a:pt x="13" y="141"/>
                    <a:pt x="13" y="141"/>
                    <a:pt x="13" y="141"/>
                  </a:cubicBezTo>
                  <a:cubicBezTo>
                    <a:pt x="147" y="141"/>
                    <a:pt x="147" y="141"/>
                    <a:pt x="147" y="141"/>
                  </a:cubicBezTo>
                  <a:lnTo>
                    <a:pt x="147" y="149"/>
                  </a:lnTo>
                  <a:close/>
                  <a:moveTo>
                    <a:pt x="147" y="136"/>
                  </a:moveTo>
                  <a:cubicBezTo>
                    <a:pt x="13" y="136"/>
                    <a:pt x="13" y="136"/>
                    <a:pt x="13" y="136"/>
                  </a:cubicBezTo>
                  <a:cubicBezTo>
                    <a:pt x="13" y="48"/>
                    <a:pt x="13" y="48"/>
                    <a:pt x="13" y="48"/>
                  </a:cubicBezTo>
                  <a:cubicBezTo>
                    <a:pt x="147" y="48"/>
                    <a:pt x="147" y="48"/>
                    <a:pt x="147" y="48"/>
                  </a:cubicBezTo>
                  <a:lnTo>
                    <a:pt x="147" y="136"/>
                  </a:lnTo>
                  <a:close/>
                  <a:moveTo>
                    <a:pt x="155" y="43"/>
                  </a:moveTo>
                  <a:cubicBezTo>
                    <a:pt x="149" y="43"/>
                    <a:pt x="149" y="43"/>
                    <a:pt x="149" y="43"/>
                  </a:cubicBezTo>
                  <a:cubicBezTo>
                    <a:pt x="11" y="43"/>
                    <a:pt x="11" y="43"/>
                    <a:pt x="11" y="43"/>
                  </a:cubicBezTo>
                  <a:cubicBezTo>
                    <a:pt x="5" y="43"/>
                    <a:pt x="5" y="43"/>
                    <a:pt x="5" y="43"/>
                  </a:cubicBezTo>
                  <a:cubicBezTo>
                    <a:pt x="5" y="8"/>
                    <a:pt x="5" y="8"/>
                    <a:pt x="5" y="8"/>
                  </a:cubicBezTo>
                  <a:cubicBezTo>
                    <a:pt x="5" y="7"/>
                    <a:pt x="7" y="5"/>
                    <a:pt x="8" y="5"/>
                  </a:cubicBezTo>
                  <a:cubicBezTo>
                    <a:pt x="152" y="5"/>
                    <a:pt x="152" y="5"/>
                    <a:pt x="152" y="5"/>
                  </a:cubicBezTo>
                  <a:cubicBezTo>
                    <a:pt x="153" y="5"/>
                    <a:pt x="155" y="7"/>
                    <a:pt x="155" y="8"/>
                  </a:cubicBezTo>
                  <a:lnTo>
                    <a:pt x="155"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28">
              <a:extLst>
                <a:ext uri="{FF2B5EF4-FFF2-40B4-BE49-F238E27FC236}">
                  <a16:creationId xmlns:a16="http://schemas.microsoft.com/office/drawing/2014/main" id="{B7D03F2B-4C08-A34C-B934-6F2B12DB91F7}"/>
                </a:ext>
              </a:extLst>
            </p:cNvPr>
            <p:cNvSpPr>
              <a:spLocks noEditPoints="1"/>
            </p:cNvSpPr>
            <p:nvPr/>
          </p:nvSpPr>
          <p:spPr bwMode="auto">
            <a:xfrm>
              <a:off x="2616200" y="1824038"/>
              <a:ext cx="273050" cy="147638"/>
            </a:xfrm>
            <a:custGeom>
              <a:avLst/>
              <a:gdLst>
                <a:gd name="T0" fmla="*/ 3 w 80"/>
                <a:gd name="T1" fmla="*/ 43 h 43"/>
                <a:gd name="T2" fmla="*/ 77 w 80"/>
                <a:gd name="T3" fmla="*/ 43 h 43"/>
                <a:gd name="T4" fmla="*/ 80 w 80"/>
                <a:gd name="T5" fmla="*/ 40 h 43"/>
                <a:gd name="T6" fmla="*/ 80 w 80"/>
                <a:gd name="T7" fmla="*/ 3 h 43"/>
                <a:gd name="T8" fmla="*/ 77 w 80"/>
                <a:gd name="T9" fmla="*/ 0 h 43"/>
                <a:gd name="T10" fmla="*/ 3 w 80"/>
                <a:gd name="T11" fmla="*/ 0 h 43"/>
                <a:gd name="T12" fmla="*/ 0 w 80"/>
                <a:gd name="T13" fmla="*/ 3 h 43"/>
                <a:gd name="T14" fmla="*/ 0 w 80"/>
                <a:gd name="T15" fmla="*/ 40 h 43"/>
                <a:gd name="T16" fmla="*/ 3 w 80"/>
                <a:gd name="T17" fmla="*/ 43 h 43"/>
                <a:gd name="T18" fmla="*/ 5 w 80"/>
                <a:gd name="T19" fmla="*/ 5 h 43"/>
                <a:gd name="T20" fmla="*/ 75 w 80"/>
                <a:gd name="T21" fmla="*/ 5 h 43"/>
                <a:gd name="T22" fmla="*/ 75 w 80"/>
                <a:gd name="T23" fmla="*/ 37 h 43"/>
                <a:gd name="T24" fmla="*/ 5 w 80"/>
                <a:gd name="T25" fmla="*/ 37 h 43"/>
                <a:gd name="T26" fmla="*/ 5 w 80"/>
                <a:gd name="T27"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 y="43"/>
                  </a:moveTo>
                  <a:cubicBezTo>
                    <a:pt x="77" y="43"/>
                    <a:pt x="77" y="43"/>
                    <a:pt x="77" y="43"/>
                  </a:cubicBezTo>
                  <a:cubicBezTo>
                    <a:pt x="79" y="43"/>
                    <a:pt x="80" y="41"/>
                    <a:pt x="80" y="40"/>
                  </a:cubicBezTo>
                  <a:cubicBezTo>
                    <a:pt x="80" y="3"/>
                    <a:pt x="80" y="3"/>
                    <a:pt x="80" y="3"/>
                  </a:cubicBezTo>
                  <a:cubicBezTo>
                    <a:pt x="80" y="1"/>
                    <a:pt x="79" y="0"/>
                    <a:pt x="77" y="0"/>
                  </a:cubicBezTo>
                  <a:cubicBezTo>
                    <a:pt x="3" y="0"/>
                    <a:pt x="3" y="0"/>
                    <a:pt x="3" y="0"/>
                  </a:cubicBezTo>
                  <a:cubicBezTo>
                    <a:pt x="1" y="0"/>
                    <a:pt x="0" y="1"/>
                    <a:pt x="0" y="3"/>
                  </a:cubicBezTo>
                  <a:cubicBezTo>
                    <a:pt x="0" y="40"/>
                    <a:pt x="0" y="40"/>
                    <a:pt x="0" y="40"/>
                  </a:cubicBezTo>
                  <a:cubicBezTo>
                    <a:pt x="0" y="41"/>
                    <a:pt x="1" y="43"/>
                    <a:pt x="3" y="43"/>
                  </a:cubicBezTo>
                  <a:close/>
                  <a:moveTo>
                    <a:pt x="5" y="5"/>
                  </a:moveTo>
                  <a:cubicBezTo>
                    <a:pt x="75" y="5"/>
                    <a:pt x="75" y="5"/>
                    <a:pt x="75" y="5"/>
                  </a:cubicBezTo>
                  <a:cubicBezTo>
                    <a:pt x="75" y="37"/>
                    <a:pt x="75" y="37"/>
                    <a:pt x="75" y="37"/>
                  </a:cubicBezTo>
                  <a:cubicBezTo>
                    <a:pt x="5" y="37"/>
                    <a:pt x="5" y="37"/>
                    <a:pt x="5" y="37"/>
                  </a:cubicBez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29">
              <a:extLst>
                <a:ext uri="{FF2B5EF4-FFF2-40B4-BE49-F238E27FC236}">
                  <a16:creationId xmlns:a16="http://schemas.microsoft.com/office/drawing/2014/main" id="{DA5367E6-347E-CD43-9D50-6B7E6A3C39D5}"/>
                </a:ext>
              </a:extLst>
            </p:cNvPr>
            <p:cNvSpPr>
              <a:spLocks/>
            </p:cNvSpPr>
            <p:nvPr/>
          </p:nvSpPr>
          <p:spPr bwMode="auto">
            <a:xfrm>
              <a:off x="2654300" y="1868488"/>
              <a:ext cx="71438" cy="20638"/>
            </a:xfrm>
            <a:custGeom>
              <a:avLst/>
              <a:gdLst>
                <a:gd name="T0" fmla="*/ 2 w 21"/>
                <a:gd name="T1" fmla="*/ 6 h 6"/>
                <a:gd name="T2" fmla="*/ 18 w 21"/>
                <a:gd name="T3" fmla="*/ 6 h 6"/>
                <a:gd name="T4" fmla="*/ 21 w 21"/>
                <a:gd name="T5" fmla="*/ 3 h 6"/>
                <a:gd name="T6" fmla="*/ 18 w 21"/>
                <a:gd name="T7" fmla="*/ 0 h 6"/>
                <a:gd name="T8" fmla="*/ 2 w 21"/>
                <a:gd name="T9" fmla="*/ 0 h 6"/>
                <a:gd name="T10" fmla="*/ 0 w 21"/>
                <a:gd name="T11" fmla="*/ 3 h 6"/>
                <a:gd name="T12" fmla="*/ 2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2" y="6"/>
                  </a:moveTo>
                  <a:cubicBezTo>
                    <a:pt x="18" y="6"/>
                    <a:pt x="18" y="6"/>
                    <a:pt x="18" y="6"/>
                  </a:cubicBezTo>
                  <a:cubicBezTo>
                    <a:pt x="20" y="6"/>
                    <a:pt x="21" y="4"/>
                    <a:pt x="21" y="3"/>
                  </a:cubicBezTo>
                  <a:cubicBezTo>
                    <a:pt x="21" y="2"/>
                    <a:pt x="20" y="0"/>
                    <a:pt x="18" y="0"/>
                  </a:cubicBezTo>
                  <a:cubicBezTo>
                    <a:pt x="2" y="0"/>
                    <a:pt x="2" y="0"/>
                    <a:pt x="2" y="0"/>
                  </a:cubicBezTo>
                  <a:cubicBezTo>
                    <a:pt x="1" y="0"/>
                    <a:pt x="0" y="2"/>
                    <a:pt x="0" y="3"/>
                  </a:cubicBezTo>
                  <a:cubicBezTo>
                    <a:pt x="0" y="4"/>
                    <a:pt x="1"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30">
              <a:extLst>
                <a:ext uri="{FF2B5EF4-FFF2-40B4-BE49-F238E27FC236}">
                  <a16:creationId xmlns:a16="http://schemas.microsoft.com/office/drawing/2014/main" id="{5302B42A-24B7-1D4B-A99D-72530650C636}"/>
                </a:ext>
              </a:extLst>
            </p:cNvPr>
            <p:cNvSpPr>
              <a:spLocks/>
            </p:cNvSpPr>
            <p:nvPr/>
          </p:nvSpPr>
          <p:spPr bwMode="auto">
            <a:xfrm>
              <a:off x="2743200" y="1868488"/>
              <a:ext cx="19050" cy="20638"/>
            </a:xfrm>
            <a:custGeom>
              <a:avLst/>
              <a:gdLst>
                <a:gd name="T0" fmla="*/ 3 w 6"/>
                <a:gd name="T1" fmla="*/ 6 h 6"/>
                <a:gd name="T2" fmla="*/ 5 w 6"/>
                <a:gd name="T3" fmla="*/ 5 h 6"/>
                <a:gd name="T4" fmla="*/ 6 w 6"/>
                <a:gd name="T5" fmla="*/ 3 h 6"/>
                <a:gd name="T6" fmla="*/ 5 w 6"/>
                <a:gd name="T7" fmla="*/ 1 h 6"/>
                <a:gd name="T8" fmla="*/ 1 w 6"/>
                <a:gd name="T9" fmla="*/ 1 h 6"/>
                <a:gd name="T10" fmla="*/ 0 w 6"/>
                <a:gd name="T11" fmla="*/ 3 h 6"/>
                <a:gd name="T12" fmla="*/ 1 w 6"/>
                <a:gd name="T13" fmla="*/ 5 h 6"/>
                <a:gd name="T14" fmla="*/ 3 w 6"/>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3" y="6"/>
                  </a:moveTo>
                  <a:cubicBezTo>
                    <a:pt x="4" y="6"/>
                    <a:pt x="4" y="5"/>
                    <a:pt x="5" y="5"/>
                  </a:cubicBezTo>
                  <a:cubicBezTo>
                    <a:pt x="5" y="4"/>
                    <a:pt x="6" y="4"/>
                    <a:pt x="6" y="3"/>
                  </a:cubicBezTo>
                  <a:cubicBezTo>
                    <a:pt x="6" y="2"/>
                    <a:pt x="5" y="2"/>
                    <a:pt x="5" y="1"/>
                  </a:cubicBezTo>
                  <a:cubicBezTo>
                    <a:pt x="4" y="0"/>
                    <a:pt x="2" y="0"/>
                    <a:pt x="1" y="1"/>
                  </a:cubicBezTo>
                  <a:cubicBezTo>
                    <a:pt x="1" y="2"/>
                    <a:pt x="0" y="2"/>
                    <a:pt x="0" y="3"/>
                  </a:cubicBezTo>
                  <a:cubicBezTo>
                    <a:pt x="0" y="4"/>
                    <a:pt x="1" y="4"/>
                    <a:pt x="1" y="5"/>
                  </a:cubicBezTo>
                  <a:cubicBezTo>
                    <a:pt x="2"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31">
              <a:extLst>
                <a:ext uri="{FF2B5EF4-FFF2-40B4-BE49-F238E27FC236}">
                  <a16:creationId xmlns:a16="http://schemas.microsoft.com/office/drawing/2014/main" id="{468E91F9-BB66-D346-B88D-7BEE62E4685C}"/>
                </a:ext>
              </a:extLst>
            </p:cNvPr>
            <p:cNvSpPr>
              <a:spLocks/>
            </p:cNvSpPr>
            <p:nvPr/>
          </p:nvSpPr>
          <p:spPr bwMode="auto">
            <a:xfrm>
              <a:off x="2687638" y="1906588"/>
              <a:ext cx="163513" cy="17463"/>
            </a:xfrm>
            <a:custGeom>
              <a:avLst/>
              <a:gdLst>
                <a:gd name="T0" fmla="*/ 46 w 48"/>
                <a:gd name="T1" fmla="*/ 0 h 5"/>
                <a:gd name="T2" fmla="*/ 3 w 48"/>
                <a:gd name="T3" fmla="*/ 0 h 5"/>
                <a:gd name="T4" fmla="*/ 0 w 48"/>
                <a:gd name="T5" fmla="*/ 3 h 5"/>
                <a:gd name="T6" fmla="*/ 3 w 48"/>
                <a:gd name="T7" fmla="*/ 5 h 5"/>
                <a:gd name="T8" fmla="*/ 46 w 48"/>
                <a:gd name="T9" fmla="*/ 5 h 5"/>
                <a:gd name="T10" fmla="*/ 48 w 48"/>
                <a:gd name="T11" fmla="*/ 3 h 5"/>
                <a:gd name="T12" fmla="*/ 46 w 4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8" h="5">
                  <a:moveTo>
                    <a:pt x="46" y="0"/>
                  </a:moveTo>
                  <a:cubicBezTo>
                    <a:pt x="3" y="0"/>
                    <a:pt x="3" y="0"/>
                    <a:pt x="3" y="0"/>
                  </a:cubicBezTo>
                  <a:cubicBezTo>
                    <a:pt x="2" y="0"/>
                    <a:pt x="0" y="1"/>
                    <a:pt x="0" y="3"/>
                  </a:cubicBezTo>
                  <a:cubicBezTo>
                    <a:pt x="0" y="4"/>
                    <a:pt x="2" y="5"/>
                    <a:pt x="3" y="5"/>
                  </a:cubicBezTo>
                  <a:cubicBezTo>
                    <a:pt x="46" y="5"/>
                    <a:pt x="46" y="5"/>
                    <a:pt x="46" y="5"/>
                  </a:cubicBezTo>
                  <a:cubicBezTo>
                    <a:pt x="47" y="5"/>
                    <a:pt x="48" y="4"/>
                    <a:pt x="48" y="3"/>
                  </a:cubicBezTo>
                  <a:cubicBezTo>
                    <a:pt x="48" y="1"/>
                    <a:pt x="47" y="0"/>
                    <a:pt x="4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32">
              <a:extLst>
                <a:ext uri="{FF2B5EF4-FFF2-40B4-BE49-F238E27FC236}">
                  <a16:creationId xmlns:a16="http://schemas.microsoft.com/office/drawing/2014/main" id="{7777D8D9-AAEE-A144-AD60-6998994D07F1}"/>
                </a:ext>
              </a:extLst>
            </p:cNvPr>
            <p:cNvSpPr>
              <a:spLocks/>
            </p:cNvSpPr>
            <p:nvPr/>
          </p:nvSpPr>
          <p:spPr bwMode="auto">
            <a:xfrm>
              <a:off x="2654300" y="1906588"/>
              <a:ext cx="15875" cy="17463"/>
            </a:xfrm>
            <a:custGeom>
              <a:avLst/>
              <a:gdLst>
                <a:gd name="T0" fmla="*/ 0 w 5"/>
                <a:gd name="T1" fmla="*/ 1 h 5"/>
                <a:gd name="T2" fmla="*/ 0 w 5"/>
                <a:gd name="T3" fmla="*/ 3 h 5"/>
                <a:gd name="T4" fmla="*/ 0 w 5"/>
                <a:gd name="T5" fmla="*/ 5 h 5"/>
                <a:gd name="T6" fmla="*/ 2 w 5"/>
                <a:gd name="T7" fmla="*/ 5 h 5"/>
                <a:gd name="T8" fmla="*/ 4 w 5"/>
                <a:gd name="T9" fmla="*/ 5 h 5"/>
                <a:gd name="T10" fmla="*/ 5 w 5"/>
                <a:gd name="T11" fmla="*/ 3 h 5"/>
                <a:gd name="T12" fmla="*/ 4 w 5"/>
                <a:gd name="T13" fmla="*/ 1 h 5"/>
                <a:gd name="T14" fmla="*/ 0 w 5"/>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0" y="1"/>
                  </a:moveTo>
                  <a:cubicBezTo>
                    <a:pt x="0" y="1"/>
                    <a:pt x="0" y="2"/>
                    <a:pt x="0" y="3"/>
                  </a:cubicBezTo>
                  <a:cubicBezTo>
                    <a:pt x="0" y="3"/>
                    <a:pt x="0" y="4"/>
                    <a:pt x="0" y="5"/>
                  </a:cubicBezTo>
                  <a:cubicBezTo>
                    <a:pt x="1" y="5"/>
                    <a:pt x="2" y="5"/>
                    <a:pt x="2" y="5"/>
                  </a:cubicBezTo>
                  <a:cubicBezTo>
                    <a:pt x="3" y="5"/>
                    <a:pt x="4" y="5"/>
                    <a:pt x="4" y="5"/>
                  </a:cubicBezTo>
                  <a:cubicBezTo>
                    <a:pt x="5" y="4"/>
                    <a:pt x="5" y="3"/>
                    <a:pt x="5" y="3"/>
                  </a:cubicBezTo>
                  <a:cubicBezTo>
                    <a:pt x="5" y="2"/>
                    <a:pt x="5" y="1"/>
                    <a:pt x="4" y="1"/>
                  </a:cubicBezTo>
                  <a:cubicBezTo>
                    <a:pt x="3"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933">
              <a:extLst>
                <a:ext uri="{FF2B5EF4-FFF2-40B4-BE49-F238E27FC236}">
                  <a16:creationId xmlns:a16="http://schemas.microsoft.com/office/drawing/2014/main" id="{E82D2336-79F3-2F48-A95B-9DD1EFEE0062}"/>
                </a:ext>
              </a:extLst>
            </p:cNvPr>
            <p:cNvSpPr>
              <a:spLocks noEditPoints="1"/>
            </p:cNvSpPr>
            <p:nvPr/>
          </p:nvSpPr>
          <p:spPr bwMode="auto">
            <a:xfrm>
              <a:off x="2625725" y="1641475"/>
              <a:ext cx="254000" cy="88900"/>
            </a:xfrm>
            <a:custGeom>
              <a:avLst/>
              <a:gdLst>
                <a:gd name="T0" fmla="*/ 61 w 74"/>
                <a:gd name="T1" fmla="*/ 0 h 26"/>
                <a:gd name="T2" fmla="*/ 13 w 74"/>
                <a:gd name="T3" fmla="*/ 0 h 26"/>
                <a:gd name="T4" fmla="*/ 0 w 74"/>
                <a:gd name="T5" fmla="*/ 13 h 26"/>
                <a:gd name="T6" fmla="*/ 13 w 74"/>
                <a:gd name="T7" fmla="*/ 26 h 26"/>
                <a:gd name="T8" fmla="*/ 61 w 74"/>
                <a:gd name="T9" fmla="*/ 26 h 26"/>
                <a:gd name="T10" fmla="*/ 74 w 74"/>
                <a:gd name="T11" fmla="*/ 13 h 26"/>
                <a:gd name="T12" fmla="*/ 61 w 74"/>
                <a:gd name="T13" fmla="*/ 0 h 26"/>
                <a:gd name="T14" fmla="*/ 61 w 74"/>
                <a:gd name="T15" fmla="*/ 21 h 26"/>
                <a:gd name="T16" fmla="*/ 13 w 74"/>
                <a:gd name="T17" fmla="*/ 21 h 26"/>
                <a:gd name="T18" fmla="*/ 5 w 74"/>
                <a:gd name="T19" fmla="*/ 13 h 26"/>
                <a:gd name="T20" fmla="*/ 13 w 74"/>
                <a:gd name="T21" fmla="*/ 5 h 26"/>
                <a:gd name="T22" fmla="*/ 61 w 74"/>
                <a:gd name="T23" fmla="*/ 5 h 26"/>
                <a:gd name="T24" fmla="*/ 69 w 74"/>
                <a:gd name="T25" fmla="*/ 13 h 26"/>
                <a:gd name="T26" fmla="*/ 61 w 74"/>
                <a:gd name="T27"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26">
                  <a:moveTo>
                    <a:pt x="61" y="0"/>
                  </a:moveTo>
                  <a:cubicBezTo>
                    <a:pt x="13" y="0"/>
                    <a:pt x="13" y="0"/>
                    <a:pt x="13" y="0"/>
                  </a:cubicBezTo>
                  <a:cubicBezTo>
                    <a:pt x="6" y="0"/>
                    <a:pt x="0" y="6"/>
                    <a:pt x="0" y="13"/>
                  </a:cubicBezTo>
                  <a:cubicBezTo>
                    <a:pt x="0" y="20"/>
                    <a:pt x="6" y="26"/>
                    <a:pt x="13" y="26"/>
                  </a:cubicBezTo>
                  <a:cubicBezTo>
                    <a:pt x="61" y="26"/>
                    <a:pt x="61" y="26"/>
                    <a:pt x="61" y="26"/>
                  </a:cubicBezTo>
                  <a:cubicBezTo>
                    <a:pt x="68" y="26"/>
                    <a:pt x="74" y="20"/>
                    <a:pt x="74" y="13"/>
                  </a:cubicBezTo>
                  <a:cubicBezTo>
                    <a:pt x="74" y="6"/>
                    <a:pt x="68" y="0"/>
                    <a:pt x="61" y="0"/>
                  </a:cubicBezTo>
                  <a:close/>
                  <a:moveTo>
                    <a:pt x="61" y="21"/>
                  </a:moveTo>
                  <a:cubicBezTo>
                    <a:pt x="13" y="21"/>
                    <a:pt x="13" y="21"/>
                    <a:pt x="13" y="21"/>
                  </a:cubicBezTo>
                  <a:cubicBezTo>
                    <a:pt x="9" y="21"/>
                    <a:pt x="5" y="17"/>
                    <a:pt x="5" y="13"/>
                  </a:cubicBezTo>
                  <a:cubicBezTo>
                    <a:pt x="5" y="9"/>
                    <a:pt x="9" y="5"/>
                    <a:pt x="13" y="5"/>
                  </a:cubicBezTo>
                  <a:cubicBezTo>
                    <a:pt x="61" y="5"/>
                    <a:pt x="61" y="5"/>
                    <a:pt x="61" y="5"/>
                  </a:cubicBezTo>
                  <a:cubicBezTo>
                    <a:pt x="65" y="5"/>
                    <a:pt x="69" y="9"/>
                    <a:pt x="69" y="13"/>
                  </a:cubicBezTo>
                  <a:cubicBezTo>
                    <a:pt x="69" y="17"/>
                    <a:pt x="65" y="21"/>
                    <a:pt x="6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 name="Freeform 934">
            <a:extLst>
              <a:ext uri="{FF2B5EF4-FFF2-40B4-BE49-F238E27FC236}">
                <a16:creationId xmlns:a16="http://schemas.microsoft.com/office/drawing/2014/main" id="{ACC20E50-3679-DA46-9BB9-D5192B897133}"/>
              </a:ext>
            </a:extLst>
          </p:cNvPr>
          <p:cNvSpPr>
            <a:spLocks noEditPoints="1"/>
          </p:cNvSpPr>
          <p:nvPr/>
        </p:nvSpPr>
        <p:spPr bwMode="auto">
          <a:xfrm>
            <a:off x="1531820" y="2236788"/>
            <a:ext cx="546100" cy="512763"/>
          </a:xfrm>
          <a:custGeom>
            <a:avLst/>
            <a:gdLst>
              <a:gd name="T0" fmla="*/ 6 w 160"/>
              <a:gd name="T1" fmla="*/ 0 h 149"/>
              <a:gd name="T2" fmla="*/ 8 w 160"/>
              <a:gd name="T3" fmla="*/ 37 h 149"/>
              <a:gd name="T4" fmla="*/ 20 w 160"/>
              <a:gd name="T5" fmla="*/ 149 h 149"/>
              <a:gd name="T6" fmla="*/ 140 w 160"/>
              <a:gd name="T7" fmla="*/ 149 h 149"/>
              <a:gd name="T8" fmla="*/ 152 w 160"/>
              <a:gd name="T9" fmla="*/ 37 h 149"/>
              <a:gd name="T10" fmla="*/ 20 w 160"/>
              <a:gd name="T11" fmla="*/ 144 h 149"/>
              <a:gd name="T12" fmla="*/ 35 w 160"/>
              <a:gd name="T13" fmla="*/ 144 h 149"/>
              <a:gd name="T14" fmla="*/ 140 w 160"/>
              <a:gd name="T15" fmla="*/ 144 h 149"/>
              <a:gd name="T16" fmla="*/ 147 w 160"/>
              <a:gd name="T17" fmla="*/ 138 h 149"/>
              <a:gd name="T18" fmla="*/ 40 w 160"/>
              <a:gd name="T19" fmla="*/ 144 h 149"/>
              <a:gd name="T20" fmla="*/ 147 w 160"/>
              <a:gd name="T21" fmla="*/ 37 h 149"/>
              <a:gd name="T22" fmla="*/ 152 w 160"/>
              <a:gd name="T23" fmla="*/ 32 h 149"/>
              <a:gd name="T24" fmla="*/ 5 w 160"/>
              <a:gd name="T25" fmla="*/ 6 h 149"/>
              <a:gd name="T26" fmla="*/ 155 w 160"/>
              <a:gd name="T27" fmla="*/ 6 h 149"/>
              <a:gd name="T28" fmla="*/ 27 w 160"/>
              <a:gd name="T29" fmla="*/ 19 h 149"/>
              <a:gd name="T30" fmla="*/ 24 w 160"/>
              <a:gd name="T31" fmla="*/ 16 h 149"/>
              <a:gd name="T32" fmla="*/ 16 w 160"/>
              <a:gd name="T33" fmla="*/ 13 h 149"/>
              <a:gd name="T34" fmla="*/ 32 w 160"/>
              <a:gd name="T35" fmla="*/ 8 h 149"/>
              <a:gd name="T36" fmla="*/ 29 w 160"/>
              <a:gd name="T37" fmla="*/ 11 h 149"/>
              <a:gd name="T38" fmla="*/ 19 w 160"/>
              <a:gd name="T39" fmla="*/ 27 h 149"/>
              <a:gd name="T40" fmla="*/ 16 w 160"/>
              <a:gd name="T41" fmla="*/ 24 h 149"/>
              <a:gd name="T42" fmla="*/ 32 w 160"/>
              <a:gd name="T43" fmla="*/ 29 h 149"/>
              <a:gd name="T44" fmla="*/ 40 w 160"/>
              <a:gd name="T45" fmla="*/ 16 h 149"/>
              <a:gd name="T46" fmla="*/ 37 w 160"/>
              <a:gd name="T47" fmla="*/ 19 h 149"/>
              <a:gd name="T48" fmla="*/ 59 w 160"/>
              <a:gd name="T49" fmla="*/ 19 h 149"/>
              <a:gd name="T50" fmla="*/ 56 w 160"/>
              <a:gd name="T51" fmla="*/ 16 h 149"/>
              <a:gd name="T52" fmla="*/ 48 w 160"/>
              <a:gd name="T53" fmla="*/ 13 h 149"/>
              <a:gd name="T54" fmla="*/ 64 w 160"/>
              <a:gd name="T55" fmla="*/ 8 h 149"/>
              <a:gd name="T56" fmla="*/ 61 w 160"/>
              <a:gd name="T57" fmla="*/ 11 h 149"/>
              <a:gd name="T58" fmla="*/ 51 w 160"/>
              <a:gd name="T59" fmla="*/ 27 h 149"/>
              <a:gd name="T60" fmla="*/ 48 w 160"/>
              <a:gd name="T61" fmla="*/ 24 h 149"/>
              <a:gd name="T62" fmla="*/ 64 w 160"/>
              <a:gd name="T63" fmla="*/ 29 h 149"/>
              <a:gd name="T64" fmla="*/ 72 w 160"/>
              <a:gd name="T65" fmla="*/ 16 h 149"/>
              <a:gd name="T66" fmla="*/ 69 w 160"/>
              <a:gd name="T67" fmla="*/ 19 h 149"/>
              <a:gd name="T68" fmla="*/ 91 w 160"/>
              <a:gd name="T69" fmla="*/ 19 h 149"/>
              <a:gd name="T70" fmla="*/ 88 w 160"/>
              <a:gd name="T71" fmla="*/ 16 h 149"/>
              <a:gd name="T72" fmla="*/ 80 w 160"/>
              <a:gd name="T73" fmla="*/ 13 h 149"/>
              <a:gd name="T74" fmla="*/ 96 w 160"/>
              <a:gd name="T75" fmla="*/ 8 h 149"/>
              <a:gd name="T76" fmla="*/ 93 w 160"/>
              <a:gd name="T77" fmla="*/ 11 h 149"/>
              <a:gd name="T78" fmla="*/ 83 w 160"/>
              <a:gd name="T79" fmla="*/ 27 h 149"/>
              <a:gd name="T80" fmla="*/ 80 w 160"/>
              <a:gd name="T81" fmla="*/ 24 h 149"/>
              <a:gd name="T82" fmla="*/ 96 w 160"/>
              <a:gd name="T83" fmla="*/ 29 h 149"/>
              <a:gd name="T84" fmla="*/ 104 w 160"/>
              <a:gd name="T85" fmla="*/ 16 h 149"/>
              <a:gd name="T86" fmla="*/ 101 w 160"/>
              <a:gd name="T87" fmla="*/ 19 h 149"/>
              <a:gd name="T88" fmla="*/ 123 w 160"/>
              <a:gd name="T89" fmla="*/ 19 h 149"/>
              <a:gd name="T90" fmla="*/ 120 w 160"/>
              <a:gd name="T91" fmla="*/ 16 h 149"/>
              <a:gd name="T92" fmla="*/ 112 w 160"/>
              <a:gd name="T93" fmla="*/ 13 h 149"/>
              <a:gd name="T94" fmla="*/ 128 w 160"/>
              <a:gd name="T95" fmla="*/ 8 h 149"/>
              <a:gd name="T96" fmla="*/ 125 w 160"/>
              <a:gd name="T97" fmla="*/ 11 h 149"/>
              <a:gd name="T98" fmla="*/ 115 w 160"/>
              <a:gd name="T99" fmla="*/ 27 h 149"/>
              <a:gd name="T100" fmla="*/ 112 w 160"/>
              <a:gd name="T101" fmla="*/ 24 h 149"/>
              <a:gd name="T102" fmla="*/ 128 w 160"/>
              <a:gd name="T103" fmla="*/ 29 h 149"/>
              <a:gd name="T104" fmla="*/ 136 w 160"/>
              <a:gd name="T105" fmla="*/ 16 h 149"/>
              <a:gd name="T106" fmla="*/ 133 w 160"/>
              <a:gd name="T107" fmla="*/ 19 h 149"/>
              <a:gd name="T108" fmla="*/ 147 w 160"/>
              <a:gd name="T109" fmla="*/ 11 h 149"/>
              <a:gd name="T110" fmla="*/ 144 w 160"/>
              <a:gd name="T111" fmla="*/ 8 h 149"/>
              <a:gd name="T112" fmla="*/ 144 w 160"/>
              <a:gd name="T113" fmla="*/ 29 h 149"/>
              <a:gd name="T114" fmla="*/ 56 w 160"/>
              <a:gd name="T115" fmla="*/ 68 h 149"/>
              <a:gd name="T116" fmla="*/ 61 w 160"/>
              <a:gd name="T117" fmla="*/ 64 h 149"/>
              <a:gd name="T118" fmla="*/ 95 w 160"/>
              <a:gd name="T119" fmla="*/ 72 h 149"/>
              <a:gd name="T120" fmla="*/ 101 w 160"/>
              <a:gd name="T121" fmla="*/ 61 h 149"/>
              <a:gd name="T122" fmla="*/ 95 w 160"/>
              <a:gd name="T123" fmla="*/ 7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 h="149">
                <a:moveTo>
                  <a:pt x="160" y="6"/>
                </a:moveTo>
                <a:cubicBezTo>
                  <a:pt x="160" y="3"/>
                  <a:pt x="157" y="0"/>
                  <a:pt x="154" y="0"/>
                </a:cubicBezTo>
                <a:cubicBezTo>
                  <a:pt x="6" y="0"/>
                  <a:pt x="6" y="0"/>
                  <a:pt x="6" y="0"/>
                </a:cubicBezTo>
                <a:cubicBezTo>
                  <a:pt x="3" y="0"/>
                  <a:pt x="0" y="3"/>
                  <a:pt x="0" y="6"/>
                </a:cubicBezTo>
                <a:cubicBezTo>
                  <a:pt x="0" y="37"/>
                  <a:pt x="0" y="37"/>
                  <a:pt x="0" y="37"/>
                </a:cubicBezTo>
                <a:cubicBezTo>
                  <a:pt x="8" y="37"/>
                  <a:pt x="8" y="37"/>
                  <a:pt x="8" y="37"/>
                </a:cubicBezTo>
                <a:cubicBezTo>
                  <a:pt x="8" y="117"/>
                  <a:pt x="8" y="117"/>
                  <a:pt x="8" y="117"/>
                </a:cubicBezTo>
                <a:cubicBezTo>
                  <a:pt x="8" y="138"/>
                  <a:pt x="8" y="138"/>
                  <a:pt x="8" y="138"/>
                </a:cubicBezTo>
                <a:cubicBezTo>
                  <a:pt x="8" y="144"/>
                  <a:pt x="13" y="149"/>
                  <a:pt x="20" y="149"/>
                </a:cubicBezTo>
                <a:cubicBezTo>
                  <a:pt x="40" y="149"/>
                  <a:pt x="40" y="149"/>
                  <a:pt x="40" y="149"/>
                </a:cubicBezTo>
                <a:cubicBezTo>
                  <a:pt x="120" y="149"/>
                  <a:pt x="120" y="149"/>
                  <a:pt x="120" y="149"/>
                </a:cubicBezTo>
                <a:cubicBezTo>
                  <a:pt x="140" y="149"/>
                  <a:pt x="140" y="149"/>
                  <a:pt x="140" y="149"/>
                </a:cubicBezTo>
                <a:cubicBezTo>
                  <a:pt x="147" y="149"/>
                  <a:pt x="152" y="144"/>
                  <a:pt x="152" y="138"/>
                </a:cubicBezTo>
                <a:cubicBezTo>
                  <a:pt x="152" y="117"/>
                  <a:pt x="152" y="117"/>
                  <a:pt x="152" y="117"/>
                </a:cubicBezTo>
                <a:cubicBezTo>
                  <a:pt x="152" y="37"/>
                  <a:pt x="152" y="37"/>
                  <a:pt x="152" y="37"/>
                </a:cubicBezTo>
                <a:cubicBezTo>
                  <a:pt x="160" y="37"/>
                  <a:pt x="160" y="37"/>
                  <a:pt x="160" y="37"/>
                </a:cubicBezTo>
                <a:lnTo>
                  <a:pt x="160" y="6"/>
                </a:lnTo>
                <a:close/>
                <a:moveTo>
                  <a:pt x="20" y="144"/>
                </a:moveTo>
                <a:cubicBezTo>
                  <a:pt x="16" y="144"/>
                  <a:pt x="13" y="141"/>
                  <a:pt x="13" y="138"/>
                </a:cubicBezTo>
                <a:cubicBezTo>
                  <a:pt x="13" y="123"/>
                  <a:pt x="13" y="123"/>
                  <a:pt x="13" y="123"/>
                </a:cubicBezTo>
                <a:cubicBezTo>
                  <a:pt x="24" y="124"/>
                  <a:pt x="33" y="133"/>
                  <a:pt x="35" y="144"/>
                </a:cubicBezTo>
                <a:lnTo>
                  <a:pt x="20" y="144"/>
                </a:lnTo>
                <a:close/>
                <a:moveTo>
                  <a:pt x="147" y="138"/>
                </a:moveTo>
                <a:cubicBezTo>
                  <a:pt x="147" y="141"/>
                  <a:pt x="144" y="144"/>
                  <a:pt x="140" y="144"/>
                </a:cubicBezTo>
                <a:cubicBezTo>
                  <a:pt x="125" y="144"/>
                  <a:pt x="125" y="144"/>
                  <a:pt x="125" y="144"/>
                </a:cubicBezTo>
                <a:cubicBezTo>
                  <a:pt x="127" y="133"/>
                  <a:pt x="136" y="124"/>
                  <a:pt x="147" y="123"/>
                </a:cubicBezTo>
                <a:lnTo>
                  <a:pt x="147" y="138"/>
                </a:lnTo>
                <a:close/>
                <a:moveTo>
                  <a:pt x="147" y="117"/>
                </a:moveTo>
                <a:cubicBezTo>
                  <a:pt x="133" y="119"/>
                  <a:pt x="121" y="130"/>
                  <a:pt x="120" y="144"/>
                </a:cubicBezTo>
                <a:cubicBezTo>
                  <a:pt x="40" y="144"/>
                  <a:pt x="40" y="144"/>
                  <a:pt x="40" y="144"/>
                </a:cubicBezTo>
                <a:cubicBezTo>
                  <a:pt x="39" y="130"/>
                  <a:pt x="27" y="119"/>
                  <a:pt x="13" y="117"/>
                </a:cubicBezTo>
                <a:cubicBezTo>
                  <a:pt x="13" y="37"/>
                  <a:pt x="13" y="37"/>
                  <a:pt x="13" y="37"/>
                </a:cubicBezTo>
                <a:cubicBezTo>
                  <a:pt x="147" y="37"/>
                  <a:pt x="147" y="37"/>
                  <a:pt x="147" y="37"/>
                </a:cubicBezTo>
                <a:lnTo>
                  <a:pt x="147" y="117"/>
                </a:lnTo>
                <a:close/>
                <a:moveTo>
                  <a:pt x="155" y="32"/>
                </a:moveTo>
                <a:cubicBezTo>
                  <a:pt x="152" y="32"/>
                  <a:pt x="152" y="32"/>
                  <a:pt x="152" y="32"/>
                </a:cubicBezTo>
                <a:cubicBezTo>
                  <a:pt x="8" y="32"/>
                  <a:pt x="8" y="32"/>
                  <a:pt x="8" y="32"/>
                </a:cubicBezTo>
                <a:cubicBezTo>
                  <a:pt x="5" y="32"/>
                  <a:pt x="5" y="32"/>
                  <a:pt x="5" y="32"/>
                </a:cubicBezTo>
                <a:cubicBezTo>
                  <a:pt x="5" y="6"/>
                  <a:pt x="5" y="6"/>
                  <a:pt x="5" y="6"/>
                </a:cubicBezTo>
                <a:cubicBezTo>
                  <a:pt x="5" y="6"/>
                  <a:pt x="6" y="5"/>
                  <a:pt x="6" y="5"/>
                </a:cubicBezTo>
                <a:cubicBezTo>
                  <a:pt x="154" y="5"/>
                  <a:pt x="154" y="5"/>
                  <a:pt x="154" y="5"/>
                </a:cubicBezTo>
                <a:cubicBezTo>
                  <a:pt x="154" y="5"/>
                  <a:pt x="155" y="6"/>
                  <a:pt x="155" y="6"/>
                </a:cubicBezTo>
                <a:lnTo>
                  <a:pt x="155" y="32"/>
                </a:lnTo>
                <a:close/>
                <a:moveTo>
                  <a:pt x="24" y="16"/>
                </a:moveTo>
                <a:cubicBezTo>
                  <a:pt x="25" y="16"/>
                  <a:pt x="27" y="17"/>
                  <a:pt x="27" y="19"/>
                </a:cubicBezTo>
                <a:cubicBezTo>
                  <a:pt x="27" y="20"/>
                  <a:pt x="25" y="21"/>
                  <a:pt x="24" y="21"/>
                </a:cubicBezTo>
                <a:cubicBezTo>
                  <a:pt x="23" y="21"/>
                  <a:pt x="21" y="20"/>
                  <a:pt x="21" y="19"/>
                </a:cubicBezTo>
                <a:cubicBezTo>
                  <a:pt x="21" y="17"/>
                  <a:pt x="23" y="16"/>
                  <a:pt x="24" y="16"/>
                </a:cubicBezTo>
                <a:close/>
                <a:moveTo>
                  <a:pt x="16" y="8"/>
                </a:moveTo>
                <a:cubicBezTo>
                  <a:pt x="17" y="8"/>
                  <a:pt x="19" y="9"/>
                  <a:pt x="19" y="11"/>
                </a:cubicBezTo>
                <a:cubicBezTo>
                  <a:pt x="19" y="12"/>
                  <a:pt x="17" y="13"/>
                  <a:pt x="16" y="13"/>
                </a:cubicBezTo>
                <a:cubicBezTo>
                  <a:pt x="15" y="13"/>
                  <a:pt x="13" y="12"/>
                  <a:pt x="13" y="11"/>
                </a:cubicBezTo>
                <a:cubicBezTo>
                  <a:pt x="13" y="9"/>
                  <a:pt x="15" y="8"/>
                  <a:pt x="16" y="8"/>
                </a:cubicBezTo>
                <a:close/>
                <a:moveTo>
                  <a:pt x="32" y="8"/>
                </a:moveTo>
                <a:cubicBezTo>
                  <a:pt x="33" y="8"/>
                  <a:pt x="35" y="9"/>
                  <a:pt x="35" y="11"/>
                </a:cubicBezTo>
                <a:cubicBezTo>
                  <a:pt x="35" y="12"/>
                  <a:pt x="33" y="13"/>
                  <a:pt x="32" y="13"/>
                </a:cubicBezTo>
                <a:cubicBezTo>
                  <a:pt x="31" y="13"/>
                  <a:pt x="29" y="12"/>
                  <a:pt x="29" y="11"/>
                </a:cubicBezTo>
                <a:cubicBezTo>
                  <a:pt x="29" y="9"/>
                  <a:pt x="31" y="8"/>
                  <a:pt x="32" y="8"/>
                </a:cubicBezTo>
                <a:close/>
                <a:moveTo>
                  <a:pt x="16" y="24"/>
                </a:moveTo>
                <a:cubicBezTo>
                  <a:pt x="17" y="24"/>
                  <a:pt x="19" y="25"/>
                  <a:pt x="19" y="27"/>
                </a:cubicBezTo>
                <a:cubicBezTo>
                  <a:pt x="19" y="28"/>
                  <a:pt x="17" y="29"/>
                  <a:pt x="16" y="29"/>
                </a:cubicBezTo>
                <a:cubicBezTo>
                  <a:pt x="15" y="29"/>
                  <a:pt x="13" y="28"/>
                  <a:pt x="13" y="27"/>
                </a:cubicBezTo>
                <a:cubicBezTo>
                  <a:pt x="13" y="25"/>
                  <a:pt x="15" y="24"/>
                  <a:pt x="16" y="24"/>
                </a:cubicBezTo>
                <a:close/>
                <a:moveTo>
                  <a:pt x="32" y="24"/>
                </a:moveTo>
                <a:cubicBezTo>
                  <a:pt x="33" y="24"/>
                  <a:pt x="35" y="25"/>
                  <a:pt x="35" y="27"/>
                </a:cubicBezTo>
                <a:cubicBezTo>
                  <a:pt x="35" y="28"/>
                  <a:pt x="33" y="29"/>
                  <a:pt x="32" y="29"/>
                </a:cubicBezTo>
                <a:cubicBezTo>
                  <a:pt x="31" y="29"/>
                  <a:pt x="29" y="28"/>
                  <a:pt x="29" y="27"/>
                </a:cubicBezTo>
                <a:cubicBezTo>
                  <a:pt x="29" y="25"/>
                  <a:pt x="31" y="24"/>
                  <a:pt x="32" y="24"/>
                </a:cubicBezTo>
                <a:close/>
                <a:moveTo>
                  <a:pt x="40" y="16"/>
                </a:moveTo>
                <a:cubicBezTo>
                  <a:pt x="41" y="16"/>
                  <a:pt x="43" y="17"/>
                  <a:pt x="43" y="19"/>
                </a:cubicBezTo>
                <a:cubicBezTo>
                  <a:pt x="43" y="20"/>
                  <a:pt x="41" y="21"/>
                  <a:pt x="40" y="21"/>
                </a:cubicBezTo>
                <a:cubicBezTo>
                  <a:pt x="39" y="21"/>
                  <a:pt x="37" y="20"/>
                  <a:pt x="37" y="19"/>
                </a:cubicBezTo>
                <a:cubicBezTo>
                  <a:pt x="37" y="17"/>
                  <a:pt x="39" y="16"/>
                  <a:pt x="40" y="16"/>
                </a:cubicBezTo>
                <a:close/>
                <a:moveTo>
                  <a:pt x="56" y="16"/>
                </a:moveTo>
                <a:cubicBezTo>
                  <a:pt x="57" y="16"/>
                  <a:pt x="59" y="17"/>
                  <a:pt x="59" y="19"/>
                </a:cubicBezTo>
                <a:cubicBezTo>
                  <a:pt x="59" y="20"/>
                  <a:pt x="57" y="21"/>
                  <a:pt x="56" y="21"/>
                </a:cubicBezTo>
                <a:cubicBezTo>
                  <a:pt x="55" y="21"/>
                  <a:pt x="53" y="20"/>
                  <a:pt x="53" y="19"/>
                </a:cubicBezTo>
                <a:cubicBezTo>
                  <a:pt x="53" y="17"/>
                  <a:pt x="55" y="16"/>
                  <a:pt x="56" y="16"/>
                </a:cubicBezTo>
                <a:close/>
                <a:moveTo>
                  <a:pt x="48" y="8"/>
                </a:moveTo>
                <a:cubicBezTo>
                  <a:pt x="49" y="8"/>
                  <a:pt x="51" y="9"/>
                  <a:pt x="51" y="11"/>
                </a:cubicBezTo>
                <a:cubicBezTo>
                  <a:pt x="51" y="12"/>
                  <a:pt x="49" y="13"/>
                  <a:pt x="48" y="13"/>
                </a:cubicBezTo>
                <a:cubicBezTo>
                  <a:pt x="47" y="13"/>
                  <a:pt x="45" y="12"/>
                  <a:pt x="45" y="11"/>
                </a:cubicBezTo>
                <a:cubicBezTo>
                  <a:pt x="45" y="9"/>
                  <a:pt x="47" y="8"/>
                  <a:pt x="48" y="8"/>
                </a:cubicBezTo>
                <a:close/>
                <a:moveTo>
                  <a:pt x="64" y="8"/>
                </a:moveTo>
                <a:cubicBezTo>
                  <a:pt x="65" y="8"/>
                  <a:pt x="67" y="9"/>
                  <a:pt x="67" y="11"/>
                </a:cubicBezTo>
                <a:cubicBezTo>
                  <a:pt x="67" y="12"/>
                  <a:pt x="65" y="13"/>
                  <a:pt x="64" y="13"/>
                </a:cubicBezTo>
                <a:cubicBezTo>
                  <a:pt x="63" y="13"/>
                  <a:pt x="61" y="12"/>
                  <a:pt x="61" y="11"/>
                </a:cubicBezTo>
                <a:cubicBezTo>
                  <a:pt x="61" y="9"/>
                  <a:pt x="63" y="8"/>
                  <a:pt x="64" y="8"/>
                </a:cubicBezTo>
                <a:close/>
                <a:moveTo>
                  <a:pt x="48" y="24"/>
                </a:moveTo>
                <a:cubicBezTo>
                  <a:pt x="49" y="24"/>
                  <a:pt x="51" y="25"/>
                  <a:pt x="51" y="27"/>
                </a:cubicBezTo>
                <a:cubicBezTo>
                  <a:pt x="51" y="28"/>
                  <a:pt x="49" y="29"/>
                  <a:pt x="48" y="29"/>
                </a:cubicBezTo>
                <a:cubicBezTo>
                  <a:pt x="47" y="29"/>
                  <a:pt x="45" y="28"/>
                  <a:pt x="45" y="27"/>
                </a:cubicBezTo>
                <a:cubicBezTo>
                  <a:pt x="45" y="25"/>
                  <a:pt x="47" y="24"/>
                  <a:pt x="48" y="24"/>
                </a:cubicBezTo>
                <a:close/>
                <a:moveTo>
                  <a:pt x="64" y="24"/>
                </a:moveTo>
                <a:cubicBezTo>
                  <a:pt x="65" y="24"/>
                  <a:pt x="67" y="25"/>
                  <a:pt x="67" y="27"/>
                </a:cubicBezTo>
                <a:cubicBezTo>
                  <a:pt x="67" y="28"/>
                  <a:pt x="65" y="29"/>
                  <a:pt x="64" y="29"/>
                </a:cubicBezTo>
                <a:cubicBezTo>
                  <a:pt x="63" y="29"/>
                  <a:pt x="61" y="28"/>
                  <a:pt x="61" y="27"/>
                </a:cubicBezTo>
                <a:cubicBezTo>
                  <a:pt x="61" y="25"/>
                  <a:pt x="63" y="24"/>
                  <a:pt x="64" y="24"/>
                </a:cubicBezTo>
                <a:close/>
                <a:moveTo>
                  <a:pt x="72" y="16"/>
                </a:moveTo>
                <a:cubicBezTo>
                  <a:pt x="73" y="16"/>
                  <a:pt x="75" y="17"/>
                  <a:pt x="75" y="19"/>
                </a:cubicBezTo>
                <a:cubicBezTo>
                  <a:pt x="75" y="20"/>
                  <a:pt x="73" y="21"/>
                  <a:pt x="72" y="21"/>
                </a:cubicBezTo>
                <a:cubicBezTo>
                  <a:pt x="71" y="21"/>
                  <a:pt x="69" y="20"/>
                  <a:pt x="69" y="19"/>
                </a:cubicBezTo>
                <a:cubicBezTo>
                  <a:pt x="69" y="17"/>
                  <a:pt x="71" y="16"/>
                  <a:pt x="72" y="16"/>
                </a:cubicBezTo>
                <a:close/>
                <a:moveTo>
                  <a:pt x="88" y="16"/>
                </a:moveTo>
                <a:cubicBezTo>
                  <a:pt x="89" y="16"/>
                  <a:pt x="91" y="17"/>
                  <a:pt x="91" y="19"/>
                </a:cubicBezTo>
                <a:cubicBezTo>
                  <a:pt x="91" y="20"/>
                  <a:pt x="89" y="21"/>
                  <a:pt x="88" y="21"/>
                </a:cubicBezTo>
                <a:cubicBezTo>
                  <a:pt x="87" y="21"/>
                  <a:pt x="85" y="20"/>
                  <a:pt x="85" y="19"/>
                </a:cubicBezTo>
                <a:cubicBezTo>
                  <a:pt x="85" y="17"/>
                  <a:pt x="87" y="16"/>
                  <a:pt x="88" y="16"/>
                </a:cubicBezTo>
                <a:close/>
                <a:moveTo>
                  <a:pt x="80" y="8"/>
                </a:moveTo>
                <a:cubicBezTo>
                  <a:pt x="81" y="8"/>
                  <a:pt x="83" y="9"/>
                  <a:pt x="83" y="11"/>
                </a:cubicBezTo>
                <a:cubicBezTo>
                  <a:pt x="83" y="12"/>
                  <a:pt x="81" y="13"/>
                  <a:pt x="80" y="13"/>
                </a:cubicBezTo>
                <a:cubicBezTo>
                  <a:pt x="79" y="13"/>
                  <a:pt x="77" y="12"/>
                  <a:pt x="77" y="11"/>
                </a:cubicBezTo>
                <a:cubicBezTo>
                  <a:pt x="77" y="9"/>
                  <a:pt x="79" y="8"/>
                  <a:pt x="80" y="8"/>
                </a:cubicBezTo>
                <a:close/>
                <a:moveTo>
                  <a:pt x="96" y="8"/>
                </a:moveTo>
                <a:cubicBezTo>
                  <a:pt x="97" y="8"/>
                  <a:pt x="99" y="9"/>
                  <a:pt x="99" y="11"/>
                </a:cubicBezTo>
                <a:cubicBezTo>
                  <a:pt x="99" y="12"/>
                  <a:pt x="97" y="13"/>
                  <a:pt x="96" y="13"/>
                </a:cubicBezTo>
                <a:cubicBezTo>
                  <a:pt x="95" y="13"/>
                  <a:pt x="93" y="12"/>
                  <a:pt x="93" y="11"/>
                </a:cubicBezTo>
                <a:cubicBezTo>
                  <a:pt x="93" y="9"/>
                  <a:pt x="95" y="8"/>
                  <a:pt x="96" y="8"/>
                </a:cubicBezTo>
                <a:close/>
                <a:moveTo>
                  <a:pt x="80" y="24"/>
                </a:moveTo>
                <a:cubicBezTo>
                  <a:pt x="81" y="24"/>
                  <a:pt x="83" y="25"/>
                  <a:pt x="83" y="27"/>
                </a:cubicBezTo>
                <a:cubicBezTo>
                  <a:pt x="83" y="28"/>
                  <a:pt x="81" y="29"/>
                  <a:pt x="80" y="29"/>
                </a:cubicBezTo>
                <a:cubicBezTo>
                  <a:pt x="79" y="29"/>
                  <a:pt x="77" y="28"/>
                  <a:pt x="77" y="27"/>
                </a:cubicBezTo>
                <a:cubicBezTo>
                  <a:pt x="77" y="25"/>
                  <a:pt x="79" y="24"/>
                  <a:pt x="80" y="24"/>
                </a:cubicBezTo>
                <a:close/>
                <a:moveTo>
                  <a:pt x="96" y="24"/>
                </a:moveTo>
                <a:cubicBezTo>
                  <a:pt x="97" y="24"/>
                  <a:pt x="99" y="25"/>
                  <a:pt x="99" y="27"/>
                </a:cubicBezTo>
                <a:cubicBezTo>
                  <a:pt x="99" y="28"/>
                  <a:pt x="97" y="29"/>
                  <a:pt x="96" y="29"/>
                </a:cubicBezTo>
                <a:cubicBezTo>
                  <a:pt x="95" y="29"/>
                  <a:pt x="93" y="28"/>
                  <a:pt x="93" y="27"/>
                </a:cubicBezTo>
                <a:cubicBezTo>
                  <a:pt x="93" y="25"/>
                  <a:pt x="95" y="24"/>
                  <a:pt x="96" y="24"/>
                </a:cubicBezTo>
                <a:close/>
                <a:moveTo>
                  <a:pt x="104" y="16"/>
                </a:moveTo>
                <a:cubicBezTo>
                  <a:pt x="105" y="16"/>
                  <a:pt x="107" y="17"/>
                  <a:pt x="107" y="19"/>
                </a:cubicBezTo>
                <a:cubicBezTo>
                  <a:pt x="107" y="20"/>
                  <a:pt x="105" y="21"/>
                  <a:pt x="104" y="21"/>
                </a:cubicBezTo>
                <a:cubicBezTo>
                  <a:pt x="103" y="21"/>
                  <a:pt x="101" y="20"/>
                  <a:pt x="101" y="19"/>
                </a:cubicBezTo>
                <a:cubicBezTo>
                  <a:pt x="101" y="17"/>
                  <a:pt x="103" y="16"/>
                  <a:pt x="104" y="16"/>
                </a:cubicBezTo>
                <a:close/>
                <a:moveTo>
                  <a:pt x="120" y="16"/>
                </a:moveTo>
                <a:cubicBezTo>
                  <a:pt x="121" y="16"/>
                  <a:pt x="123" y="17"/>
                  <a:pt x="123" y="19"/>
                </a:cubicBezTo>
                <a:cubicBezTo>
                  <a:pt x="123" y="20"/>
                  <a:pt x="121" y="21"/>
                  <a:pt x="120" y="21"/>
                </a:cubicBezTo>
                <a:cubicBezTo>
                  <a:pt x="119" y="21"/>
                  <a:pt x="117" y="20"/>
                  <a:pt x="117" y="19"/>
                </a:cubicBezTo>
                <a:cubicBezTo>
                  <a:pt x="117" y="17"/>
                  <a:pt x="119" y="16"/>
                  <a:pt x="120" y="16"/>
                </a:cubicBezTo>
                <a:close/>
                <a:moveTo>
                  <a:pt x="112" y="8"/>
                </a:moveTo>
                <a:cubicBezTo>
                  <a:pt x="113" y="8"/>
                  <a:pt x="115" y="9"/>
                  <a:pt x="115" y="11"/>
                </a:cubicBezTo>
                <a:cubicBezTo>
                  <a:pt x="115" y="12"/>
                  <a:pt x="113" y="13"/>
                  <a:pt x="112" y="13"/>
                </a:cubicBezTo>
                <a:cubicBezTo>
                  <a:pt x="111" y="13"/>
                  <a:pt x="109" y="12"/>
                  <a:pt x="109" y="11"/>
                </a:cubicBezTo>
                <a:cubicBezTo>
                  <a:pt x="109" y="9"/>
                  <a:pt x="111" y="8"/>
                  <a:pt x="112" y="8"/>
                </a:cubicBezTo>
                <a:close/>
                <a:moveTo>
                  <a:pt x="128" y="8"/>
                </a:moveTo>
                <a:cubicBezTo>
                  <a:pt x="129" y="8"/>
                  <a:pt x="131" y="9"/>
                  <a:pt x="131" y="11"/>
                </a:cubicBezTo>
                <a:cubicBezTo>
                  <a:pt x="131" y="12"/>
                  <a:pt x="129" y="13"/>
                  <a:pt x="128" y="13"/>
                </a:cubicBezTo>
                <a:cubicBezTo>
                  <a:pt x="127" y="13"/>
                  <a:pt x="125" y="12"/>
                  <a:pt x="125" y="11"/>
                </a:cubicBezTo>
                <a:cubicBezTo>
                  <a:pt x="125" y="9"/>
                  <a:pt x="127" y="8"/>
                  <a:pt x="128" y="8"/>
                </a:cubicBezTo>
                <a:close/>
                <a:moveTo>
                  <a:pt x="112" y="24"/>
                </a:moveTo>
                <a:cubicBezTo>
                  <a:pt x="113" y="24"/>
                  <a:pt x="115" y="25"/>
                  <a:pt x="115" y="27"/>
                </a:cubicBezTo>
                <a:cubicBezTo>
                  <a:pt x="115" y="28"/>
                  <a:pt x="113" y="29"/>
                  <a:pt x="112" y="29"/>
                </a:cubicBezTo>
                <a:cubicBezTo>
                  <a:pt x="111" y="29"/>
                  <a:pt x="109" y="28"/>
                  <a:pt x="109" y="27"/>
                </a:cubicBezTo>
                <a:cubicBezTo>
                  <a:pt x="109" y="25"/>
                  <a:pt x="111" y="24"/>
                  <a:pt x="112" y="24"/>
                </a:cubicBezTo>
                <a:close/>
                <a:moveTo>
                  <a:pt x="128" y="24"/>
                </a:moveTo>
                <a:cubicBezTo>
                  <a:pt x="129" y="24"/>
                  <a:pt x="131" y="25"/>
                  <a:pt x="131" y="27"/>
                </a:cubicBezTo>
                <a:cubicBezTo>
                  <a:pt x="131" y="28"/>
                  <a:pt x="129" y="29"/>
                  <a:pt x="128" y="29"/>
                </a:cubicBezTo>
                <a:cubicBezTo>
                  <a:pt x="127" y="29"/>
                  <a:pt x="125" y="28"/>
                  <a:pt x="125" y="27"/>
                </a:cubicBezTo>
                <a:cubicBezTo>
                  <a:pt x="125" y="25"/>
                  <a:pt x="127" y="24"/>
                  <a:pt x="128" y="24"/>
                </a:cubicBezTo>
                <a:close/>
                <a:moveTo>
                  <a:pt x="136" y="16"/>
                </a:moveTo>
                <a:cubicBezTo>
                  <a:pt x="137" y="16"/>
                  <a:pt x="139" y="17"/>
                  <a:pt x="139" y="19"/>
                </a:cubicBezTo>
                <a:cubicBezTo>
                  <a:pt x="139" y="20"/>
                  <a:pt x="137" y="21"/>
                  <a:pt x="136" y="21"/>
                </a:cubicBezTo>
                <a:cubicBezTo>
                  <a:pt x="135" y="21"/>
                  <a:pt x="133" y="20"/>
                  <a:pt x="133" y="19"/>
                </a:cubicBezTo>
                <a:cubicBezTo>
                  <a:pt x="133" y="17"/>
                  <a:pt x="135" y="16"/>
                  <a:pt x="136" y="16"/>
                </a:cubicBezTo>
                <a:close/>
                <a:moveTo>
                  <a:pt x="144" y="8"/>
                </a:moveTo>
                <a:cubicBezTo>
                  <a:pt x="145" y="8"/>
                  <a:pt x="147" y="9"/>
                  <a:pt x="147" y="11"/>
                </a:cubicBezTo>
                <a:cubicBezTo>
                  <a:pt x="147" y="12"/>
                  <a:pt x="145" y="13"/>
                  <a:pt x="144" y="13"/>
                </a:cubicBezTo>
                <a:cubicBezTo>
                  <a:pt x="143" y="13"/>
                  <a:pt x="141" y="12"/>
                  <a:pt x="141" y="11"/>
                </a:cubicBezTo>
                <a:cubicBezTo>
                  <a:pt x="141" y="9"/>
                  <a:pt x="143" y="8"/>
                  <a:pt x="144" y="8"/>
                </a:cubicBezTo>
                <a:close/>
                <a:moveTo>
                  <a:pt x="144" y="24"/>
                </a:moveTo>
                <a:cubicBezTo>
                  <a:pt x="145" y="24"/>
                  <a:pt x="147" y="25"/>
                  <a:pt x="147" y="27"/>
                </a:cubicBezTo>
                <a:cubicBezTo>
                  <a:pt x="147" y="28"/>
                  <a:pt x="145" y="29"/>
                  <a:pt x="144" y="29"/>
                </a:cubicBezTo>
                <a:cubicBezTo>
                  <a:pt x="143" y="29"/>
                  <a:pt x="141" y="28"/>
                  <a:pt x="141" y="27"/>
                </a:cubicBezTo>
                <a:cubicBezTo>
                  <a:pt x="141" y="25"/>
                  <a:pt x="143" y="24"/>
                  <a:pt x="144" y="24"/>
                </a:cubicBezTo>
                <a:close/>
                <a:moveTo>
                  <a:pt x="56" y="68"/>
                </a:moveTo>
                <a:cubicBezTo>
                  <a:pt x="56" y="64"/>
                  <a:pt x="56" y="64"/>
                  <a:pt x="56" y="64"/>
                </a:cubicBezTo>
                <a:cubicBezTo>
                  <a:pt x="56" y="63"/>
                  <a:pt x="57" y="61"/>
                  <a:pt x="59" y="61"/>
                </a:cubicBezTo>
                <a:cubicBezTo>
                  <a:pt x="60" y="61"/>
                  <a:pt x="61" y="63"/>
                  <a:pt x="61" y="64"/>
                </a:cubicBezTo>
                <a:cubicBezTo>
                  <a:pt x="61" y="68"/>
                  <a:pt x="61" y="68"/>
                  <a:pt x="61" y="68"/>
                </a:cubicBezTo>
                <a:cubicBezTo>
                  <a:pt x="61" y="70"/>
                  <a:pt x="63" y="72"/>
                  <a:pt x="65" y="72"/>
                </a:cubicBezTo>
                <a:cubicBezTo>
                  <a:pt x="95" y="72"/>
                  <a:pt x="95" y="72"/>
                  <a:pt x="95" y="72"/>
                </a:cubicBezTo>
                <a:cubicBezTo>
                  <a:pt x="97" y="72"/>
                  <a:pt x="99" y="70"/>
                  <a:pt x="99" y="68"/>
                </a:cubicBezTo>
                <a:cubicBezTo>
                  <a:pt x="99" y="64"/>
                  <a:pt x="99" y="64"/>
                  <a:pt x="99" y="64"/>
                </a:cubicBezTo>
                <a:cubicBezTo>
                  <a:pt x="99" y="63"/>
                  <a:pt x="100" y="61"/>
                  <a:pt x="101" y="61"/>
                </a:cubicBezTo>
                <a:cubicBezTo>
                  <a:pt x="103" y="61"/>
                  <a:pt x="104" y="63"/>
                  <a:pt x="104" y="64"/>
                </a:cubicBezTo>
                <a:cubicBezTo>
                  <a:pt x="104" y="68"/>
                  <a:pt x="104" y="68"/>
                  <a:pt x="104" y="68"/>
                </a:cubicBezTo>
                <a:cubicBezTo>
                  <a:pt x="104" y="73"/>
                  <a:pt x="100" y="77"/>
                  <a:pt x="95" y="77"/>
                </a:cubicBezTo>
                <a:cubicBezTo>
                  <a:pt x="65" y="77"/>
                  <a:pt x="65" y="77"/>
                  <a:pt x="65" y="77"/>
                </a:cubicBezTo>
                <a:cubicBezTo>
                  <a:pt x="60" y="77"/>
                  <a:pt x="56" y="73"/>
                  <a:pt x="56" y="68"/>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96" name="Group 95">
            <a:extLst>
              <a:ext uri="{FF2B5EF4-FFF2-40B4-BE49-F238E27FC236}">
                <a16:creationId xmlns:a16="http://schemas.microsoft.com/office/drawing/2014/main" id="{6D2B57C8-8580-2946-AE67-D9327B7C82CC}"/>
              </a:ext>
            </a:extLst>
          </p:cNvPr>
          <p:cNvGrpSpPr/>
          <p:nvPr/>
        </p:nvGrpSpPr>
        <p:grpSpPr>
          <a:xfrm>
            <a:off x="1531820" y="2841625"/>
            <a:ext cx="546100" cy="550863"/>
            <a:chOff x="2479675" y="2841625"/>
            <a:chExt cx="546100" cy="550863"/>
          </a:xfrm>
          <a:solidFill>
            <a:srgbClr val="242524">
              <a:alpha val="70000"/>
            </a:srgbClr>
          </a:solidFill>
        </p:grpSpPr>
        <p:sp>
          <p:nvSpPr>
            <p:cNvPr id="97" name="Freeform 935">
              <a:extLst>
                <a:ext uri="{FF2B5EF4-FFF2-40B4-BE49-F238E27FC236}">
                  <a16:creationId xmlns:a16="http://schemas.microsoft.com/office/drawing/2014/main" id="{77953A1F-86A8-1248-9285-4A29A9CC3BA6}"/>
                </a:ext>
              </a:extLst>
            </p:cNvPr>
            <p:cNvSpPr>
              <a:spLocks noEditPoints="1"/>
            </p:cNvSpPr>
            <p:nvPr/>
          </p:nvSpPr>
          <p:spPr bwMode="auto">
            <a:xfrm>
              <a:off x="2479675" y="2841625"/>
              <a:ext cx="546100" cy="550863"/>
            </a:xfrm>
            <a:custGeom>
              <a:avLst/>
              <a:gdLst>
                <a:gd name="T0" fmla="*/ 160 w 160"/>
                <a:gd name="T1" fmla="*/ 22 h 160"/>
                <a:gd name="T2" fmla="*/ 160 w 160"/>
                <a:gd name="T3" fmla="*/ 21 h 160"/>
                <a:gd name="T4" fmla="*/ 159 w 160"/>
                <a:gd name="T5" fmla="*/ 19 h 160"/>
                <a:gd name="T6" fmla="*/ 143 w 160"/>
                <a:gd name="T7" fmla="*/ 0 h 160"/>
                <a:gd name="T8" fmla="*/ 17 w 160"/>
                <a:gd name="T9" fmla="*/ 0 h 160"/>
                <a:gd name="T10" fmla="*/ 1 w 160"/>
                <a:gd name="T11" fmla="*/ 19 h 160"/>
                <a:gd name="T12" fmla="*/ 0 w 160"/>
                <a:gd name="T13" fmla="*/ 21 h 160"/>
                <a:gd name="T14" fmla="*/ 0 w 160"/>
                <a:gd name="T15" fmla="*/ 22 h 160"/>
                <a:gd name="T16" fmla="*/ 0 w 160"/>
                <a:gd name="T17" fmla="*/ 51 h 160"/>
                <a:gd name="T18" fmla="*/ 8 w 160"/>
                <a:gd name="T19" fmla="*/ 51 h 160"/>
                <a:gd name="T20" fmla="*/ 8 w 160"/>
                <a:gd name="T21" fmla="*/ 160 h 160"/>
                <a:gd name="T22" fmla="*/ 152 w 160"/>
                <a:gd name="T23" fmla="*/ 160 h 160"/>
                <a:gd name="T24" fmla="*/ 152 w 160"/>
                <a:gd name="T25" fmla="*/ 51 h 160"/>
                <a:gd name="T26" fmla="*/ 160 w 160"/>
                <a:gd name="T27" fmla="*/ 51 h 160"/>
                <a:gd name="T28" fmla="*/ 160 w 160"/>
                <a:gd name="T29" fmla="*/ 22 h 160"/>
                <a:gd name="T30" fmla="*/ 20 w 160"/>
                <a:gd name="T31" fmla="*/ 5 h 160"/>
                <a:gd name="T32" fmla="*/ 140 w 160"/>
                <a:gd name="T33" fmla="*/ 5 h 160"/>
                <a:gd name="T34" fmla="*/ 152 w 160"/>
                <a:gd name="T35" fmla="*/ 19 h 160"/>
                <a:gd name="T36" fmla="*/ 8 w 160"/>
                <a:gd name="T37" fmla="*/ 19 h 160"/>
                <a:gd name="T38" fmla="*/ 20 w 160"/>
                <a:gd name="T39" fmla="*/ 5 h 160"/>
                <a:gd name="T40" fmla="*/ 147 w 160"/>
                <a:gd name="T41" fmla="*/ 155 h 160"/>
                <a:gd name="T42" fmla="*/ 13 w 160"/>
                <a:gd name="T43" fmla="*/ 155 h 160"/>
                <a:gd name="T44" fmla="*/ 13 w 160"/>
                <a:gd name="T45" fmla="*/ 51 h 160"/>
                <a:gd name="T46" fmla="*/ 147 w 160"/>
                <a:gd name="T47" fmla="*/ 51 h 160"/>
                <a:gd name="T48" fmla="*/ 147 w 160"/>
                <a:gd name="T49" fmla="*/ 155 h 160"/>
                <a:gd name="T50" fmla="*/ 155 w 160"/>
                <a:gd name="T51" fmla="*/ 45 h 160"/>
                <a:gd name="T52" fmla="*/ 152 w 160"/>
                <a:gd name="T53" fmla="*/ 45 h 160"/>
                <a:gd name="T54" fmla="*/ 8 w 160"/>
                <a:gd name="T55" fmla="*/ 45 h 160"/>
                <a:gd name="T56" fmla="*/ 5 w 160"/>
                <a:gd name="T57" fmla="*/ 45 h 160"/>
                <a:gd name="T58" fmla="*/ 5 w 160"/>
                <a:gd name="T59" fmla="*/ 24 h 160"/>
                <a:gd name="T60" fmla="*/ 155 w 160"/>
                <a:gd name="T61" fmla="*/ 24 h 160"/>
                <a:gd name="T62" fmla="*/ 155 w 160"/>
                <a:gd name="T63" fmla="*/ 4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60">
                  <a:moveTo>
                    <a:pt x="160" y="22"/>
                  </a:moveTo>
                  <a:cubicBezTo>
                    <a:pt x="160" y="22"/>
                    <a:pt x="160" y="21"/>
                    <a:pt x="160" y="21"/>
                  </a:cubicBezTo>
                  <a:cubicBezTo>
                    <a:pt x="160" y="20"/>
                    <a:pt x="159" y="20"/>
                    <a:pt x="159" y="19"/>
                  </a:cubicBezTo>
                  <a:cubicBezTo>
                    <a:pt x="143" y="0"/>
                    <a:pt x="143" y="0"/>
                    <a:pt x="143" y="0"/>
                  </a:cubicBezTo>
                  <a:cubicBezTo>
                    <a:pt x="17" y="0"/>
                    <a:pt x="17" y="0"/>
                    <a:pt x="17" y="0"/>
                  </a:cubicBezTo>
                  <a:cubicBezTo>
                    <a:pt x="1" y="19"/>
                    <a:pt x="1" y="19"/>
                    <a:pt x="1" y="19"/>
                  </a:cubicBezTo>
                  <a:cubicBezTo>
                    <a:pt x="1" y="20"/>
                    <a:pt x="0" y="20"/>
                    <a:pt x="0" y="21"/>
                  </a:cubicBezTo>
                  <a:cubicBezTo>
                    <a:pt x="0" y="21"/>
                    <a:pt x="0" y="22"/>
                    <a:pt x="0" y="22"/>
                  </a:cubicBezTo>
                  <a:cubicBezTo>
                    <a:pt x="0" y="51"/>
                    <a:pt x="0" y="51"/>
                    <a:pt x="0" y="51"/>
                  </a:cubicBezTo>
                  <a:cubicBezTo>
                    <a:pt x="8" y="51"/>
                    <a:pt x="8" y="51"/>
                    <a:pt x="8" y="51"/>
                  </a:cubicBezTo>
                  <a:cubicBezTo>
                    <a:pt x="8" y="160"/>
                    <a:pt x="8" y="160"/>
                    <a:pt x="8" y="160"/>
                  </a:cubicBezTo>
                  <a:cubicBezTo>
                    <a:pt x="152" y="160"/>
                    <a:pt x="152" y="160"/>
                    <a:pt x="152" y="160"/>
                  </a:cubicBezTo>
                  <a:cubicBezTo>
                    <a:pt x="152" y="51"/>
                    <a:pt x="152" y="51"/>
                    <a:pt x="152" y="51"/>
                  </a:cubicBezTo>
                  <a:cubicBezTo>
                    <a:pt x="160" y="51"/>
                    <a:pt x="160" y="51"/>
                    <a:pt x="160" y="51"/>
                  </a:cubicBezTo>
                  <a:lnTo>
                    <a:pt x="160" y="22"/>
                  </a:lnTo>
                  <a:close/>
                  <a:moveTo>
                    <a:pt x="20" y="5"/>
                  </a:moveTo>
                  <a:cubicBezTo>
                    <a:pt x="140" y="5"/>
                    <a:pt x="140" y="5"/>
                    <a:pt x="140" y="5"/>
                  </a:cubicBezTo>
                  <a:cubicBezTo>
                    <a:pt x="152" y="19"/>
                    <a:pt x="152" y="19"/>
                    <a:pt x="152" y="19"/>
                  </a:cubicBezTo>
                  <a:cubicBezTo>
                    <a:pt x="8" y="19"/>
                    <a:pt x="8" y="19"/>
                    <a:pt x="8" y="19"/>
                  </a:cubicBezTo>
                  <a:lnTo>
                    <a:pt x="20" y="5"/>
                  </a:lnTo>
                  <a:close/>
                  <a:moveTo>
                    <a:pt x="147" y="155"/>
                  </a:moveTo>
                  <a:cubicBezTo>
                    <a:pt x="13" y="155"/>
                    <a:pt x="13" y="155"/>
                    <a:pt x="13" y="155"/>
                  </a:cubicBezTo>
                  <a:cubicBezTo>
                    <a:pt x="13" y="51"/>
                    <a:pt x="13" y="51"/>
                    <a:pt x="13" y="51"/>
                  </a:cubicBezTo>
                  <a:cubicBezTo>
                    <a:pt x="147" y="51"/>
                    <a:pt x="147" y="51"/>
                    <a:pt x="147" y="51"/>
                  </a:cubicBezTo>
                  <a:lnTo>
                    <a:pt x="147" y="155"/>
                  </a:lnTo>
                  <a:close/>
                  <a:moveTo>
                    <a:pt x="155" y="45"/>
                  </a:moveTo>
                  <a:cubicBezTo>
                    <a:pt x="152" y="45"/>
                    <a:pt x="152" y="45"/>
                    <a:pt x="152" y="45"/>
                  </a:cubicBezTo>
                  <a:cubicBezTo>
                    <a:pt x="8" y="45"/>
                    <a:pt x="8" y="45"/>
                    <a:pt x="8" y="45"/>
                  </a:cubicBezTo>
                  <a:cubicBezTo>
                    <a:pt x="5" y="45"/>
                    <a:pt x="5" y="45"/>
                    <a:pt x="5" y="45"/>
                  </a:cubicBezTo>
                  <a:cubicBezTo>
                    <a:pt x="5" y="24"/>
                    <a:pt x="5" y="24"/>
                    <a:pt x="5" y="24"/>
                  </a:cubicBezTo>
                  <a:cubicBezTo>
                    <a:pt x="155" y="24"/>
                    <a:pt x="155" y="24"/>
                    <a:pt x="155" y="24"/>
                  </a:cubicBezTo>
                  <a:lnTo>
                    <a:pt x="155"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936">
              <a:extLst>
                <a:ext uri="{FF2B5EF4-FFF2-40B4-BE49-F238E27FC236}">
                  <a16:creationId xmlns:a16="http://schemas.microsoft.com/office/drawing/2014/main" id="{5DAC321D-95A1-9D41-88A7-50010D10442E}"/>
                </a:ext>
              </a:extLst>
            </p:cNvPr>
            <p:cNvSpPr>
              <a:spLocks noEditPoints="1"/>
            </p:cNvSpPr>
            <p:nvPr/>
          </p:nvSpPr>
          <p:spPr bwMode="auto">
            <a:xfrm>
              <a:off x="2643188" y="3052763"/>
              <a:ext cx="219075" cy="92075"/>
            </a:xfrm>
            <a:custGeom>
              <a:avLst/>
              <a:gdLst>
                <a:gd name="T0" fmla="*/ 138 w 138"/>
                <a:gd name="T1" fmla="*/ 0 h 58"/>
                <a:gd name="T2" fmla="*/ 0 w 138"/>
                <a:gd name="T3" fmla="*/ 0 h 58"/>
                <a:gd name="T4" fmla="*/ 0 w 138"/>
                <a:gd name="T5" fmla="*/ 58 h 58"/>
                <a:gd name="T6" fmla="*/ 138 w 138"/>
                <a:gd name="T7" fmla="*/ 58 h 58"/>
                <a:gd name="T8" fmla="*/ 138 w 138"/>
                <a:gd name="T9" fmla="*/ 0 h 58"/>
                <a:gd name="T10" fmla="*/ 127 w 138"/>
                <a:gd name="T11" fmla="*/ 47 h 58"/>
                <a:gd name="T12" fmla="*/ 11 w 138"/>
                <a:gd name="T13" fmla="*/ 47 h 58"/>
                <a:gd name="T14" fmla="*/ 11 w 138"/>
                <a:gd name="T15" fmla="*/ 13 h 58"/>
                <a:gd name="T16" fmla="*/ 127 w 138"/>
                <a:gd name="T17" fmla="*/ 13 h 58"/>
                <a:gd name="T18" fmla="*/ 127 w 138"/>
                <a:gd name="T19" fmla="*/ 4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58">
                  <a:moveTo>
                    <a:pt x="138" y="0"/>
                  </a:moveTo>
                  <a:lnTo>
                    <a:pt x="0" y="0"/>
                  </a:lnTo>
                  <a:lnTo>
                    <a:pt x="0" y="58"/>
                  </a:lnTo>
                  <a:lnTo>
                    <a:pt x="138" y="58"/>
                  </a:lnTo>
                  <a:lnTo>
                    <a:pt x="138" y="0"/>
                  </a:lnTo>
                  <a:close/>
                  <a:moveTo>
                    <a:pt x="127" y="47"/>
                  </a:moveTo>
                  <a:lnTo>
                    <a:pt x="11" y="47"/>
                  </a:lnTo>
                  <a:lnTo>
                    <a:pt x="11" y="13"/>
                  </a:lnTo>
                  <a:lnTo>
                    <a:pt x="127" y="13"/>
                  </a:lnTo>
                  <a:lnTo>
                    <a:pt x="12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37">
              <a:extLst>
                <a:ext uri="{FF2B5EF4-FFF2-40B4-BE49-F238E27FC236}">
                  <a16:creationId xmlns:a16="http://schemas.microsoft.com/office/drawing/2014/main" id="{279176E0-D3D8-7A40-A51B-CE21E5487FD2}"/>
                </a:ext>
              </a:extLst>
            </p:cNvPr>
            <p:cNvSpPr>
              <a:spLocks noEditPoints="1"/>
            </p:cNvSpPr>
            <p:nvPr/>
          </p:nvSpPr>
          <p:spPr bwMode="auto">
            <a:xfrm>
              <a:off x="2616200" y="3189288"/>
              <a:ext cx="273050" cy="131763"/>
            </a:xfrm>
            <a:custGeom>
              <a:avLst/>
              <a:gdLst>
                <a:gd name="T0" fmla="*/ 172 w 172"/>
                <a:gd name="T1" fmla="*/ 0 h 83"/>
                <a:gd name="T2" fmla="*/ 0 w 172"/>
                <a:gd name="T3" fmla="*/ 0 h 83"/>
                <a:gd name="T4" fmla="*/ 0 w 172"/>
                <a:gd name="T5" fmla="*/ 83 h 83"/>
                <a:gd name="T6" fmla="*/ 172 w 172"/>
                <a:gd name="T7" fmla="*/ 83 h 83"/>
                <a:gd name="T8" fmla="*/ 172 w 172"/>
                <a:gd name="T9" fmla="*/ 0 h 83"/>
                <a:gd name="T10" fmla="*/ 161 w 172"/>
                <a:gd name="T11" fmla="*/ 70 h 83"/>
                <a:gd name="T12" fmla="*/ 11 w 172"/>
                <a:gd name="T13" fmla="*/ 70 h 83"/>
                <a:gd name="T14" fmla="*/ 11 w 172"/>
                <a:gd name="T15" fmla="*/ 13 h 83"/>
                <a:gd name="T16" fmla="*/ 161 w 172"/>
                <a:gd name="T17" fmla="*/ 13 h 83"/>
                <a:gd name="T18" fmla="*/ 161 w 172"/>
                <a:gd name="T19" fmla="*/ 7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83">
                  <a:moveTo>
                    <a:pt x="172" y="0"/>
                  </a:moveTo>
                  <a:lnTo>
                    <a:pt x="0" y="0"/>
                  </a:lnTo>
                  <a:lnTo>
                    <a:pt x="0" y="83"/>
                  </a:lnTo>
                  <a:lnTo>
                    <a:pt x="172" y="83"/>
                  </a:lnTo>
                  <a:lnTo>
                    <a:pt x="172" y="0"/>
                  </a:lnTo>
                  <a:close/>
                  <a:moveTo>
                    <a:pt x="161" y="70"/>
                  </a:moveTo>
                  <a:lnTo>
                    <a:pt x="11" y="70"/>
                  </a:lnTo>
                  <a:lnTo>
                    <a:pt x="11" y="13"/>
                  </a:lnTo>
                  <a:lnTo>
                    <a:pt x="161" y="13"/>
                  </a:lnTo>
                  <a:lnTo>
                    <a:pt x="161"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938">
              <a:extLst>
                <a:ext uri="{FF2B5EF4-FFF2-40B4-BE49-F238E27FC236}">
                  <a16:creationId xmlns:a16="http://schemas.microsoft.com/office/drawing/2014/main" id="{057D473C-192B-DD40-84B4-19FB821B7D5A}"/>
                </a:ext>
              </a:extLst>
            </p:cNvPr>
            <p:cNvSpPr>
              <a:spLocks/>
            </p:cNvSpPr>
            <p:nvPr/>
          </p:nvSpPr>
          <p:spPr bwMode="auto">
            <a:xfrm>
              <a:off x="2670175" y="3265488"/>
              <a:ext cx="65088" cy="17463"/>
            </a:xfrm>
            <a:custGeom>
              <a:avLst/>
              <a:gdLst>
                <a:gd name="T0" fmla="*/ 3 w 19"/>
                <a:gd name="T1" fmla="*/ 5 h 5"/>
                <a:gd name="T2" fmla="*/ 16 w 19"/>
                <a:gd name="T3" fmla="*/ 5 h 5"/>
                <a:gd name="T4" fmla="*/ 19 w 19"/>
                <a:gd name="T5" fmla="*/ 2 h 5"/>
                <a:gd name="T6" fmla="*/ 16 w 19"/>
                <a:gd name="T7" fmla="*/ 0 h 5"/>
                <a:gd name="T8" fmla="*/ 3 w 19"/>
                <a:gd name="T9" fmla="*/ 0 h 5"/>
                <a:gd name="T10" fmla="*/ 0 w 19"/>
                <a:gd name="T11" fmla="*/ 2 h 5"/>
                <a:gd name="T12" fmla="*/ 3 w 1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9" h="5">
                  <a:moveTo>
                    <a:pt x="3" y="5"/>
                  </a:moveTo>
                  <a:cubicBezTo>
                    <a:pt x="16" y="5"/>
                    <a:pt x="16" y="5"/>
                    <a:pt x="16" y="5"/>
                  </a:cubicBezTo>
                  <a:cubicBezTo>
                    <a:pt x="17" y="5"/>
                    <a:pt x="19" y="4"/>
                    <a:pt x="19" y="2"/>
                  </a:cubicBezTo>
                  <a:cubicBezTo>
                    <a:pt x="19" y="1"/>
                    <a:pt x="17" y="0"/>
                    <a:pt x="16" y="0"/>
                  </a:cubicBezTo>
                  <a:cubicBezTo>
                    <a:pt x="3" y="0"/>
                    <a:pt x="3" y="0"/>
                    <a:pt x="3" y="0"/>
                  </a:cubicBezTo>
                  <a:cubicBezTo>
                    <a:pt x="1" y="0"/>
                    <a:pt x="0" y="1"/>
                    <a:pt x="0" y="2"/>
                  </a:cubicBezTo>
                  <a:cubicBezTo>
                    <a:pt x="0" y="4"/>
                    <a:pt x="1"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39">
              <a:extLst>
                <a:ext uri="{FF2B5EF4-FFF2-40B4-BE49-F238E27FC236}">
                  <a16:creationId xmlns:a16="http://schemas.microsoft.com/office/drawing/2014/main" id="{E5E3D7F8-FF77-3742-9050-24E69C88827F}"/>
                </a:ext>
              </a:extLst>
            </p:cNvPr>
            <p:cNvSpPr>
              <a:spLocks/>
            </p:cNvSpPr>
            <p:nvPr/>
          </p:nvSpPr>
          <p:spPr bwMode="auto">
            <a:xfrm>
              <a:off x="2714625" y="3227388"/>
              <a:ext cx="120650" cy="17463"/>
            </a:xfrm>
            <a:custGeom>
              <a:avLst/>
              <a:gdLst>
                <a:gd name="T0" fmla="*/ 3 w 35"/>
                <a:gd name="T1" fmla="*/ 5 h 5"/>
                <a:gd name="T2" fmla="*/ 32 w 35"/>
                <a:gd name="T3" fmla="*/ 5 h 5"/>
                <a:gd name="T4" fmla="*/ 35 w 35"/>
                <a:gd name="T5" fmla="*/ 3 h 5"/>
                <a:gd name="T6" fmla="*/ 32 w 35"/>
                <a:gd name="T7" fmla="*/ 0 h 5"/>
                <a:gd name="T8" fmla="*/ 3 w 35"/>
                <a:gd name="T9" fmla="*/ 0 h 5"/>
                <a:gd name="T10" fmla="*/ 0 w 35"/>
                <a:gd name="T11" fmla="*/ 3 h 5"/>
                <a:gd name="T12" fmla="*/ 3 w 3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35" h="5">
                  <a:moveTo>
                    <a:pt x="3" y="5"/>
                  </a:moveTo>
                  <a:cubicBezTo>
                    <a:pt x="32" y="5"/>
                    <a:pt x="32" y="5"/>
                    <a:pt x="32" y="5"/>
                  </a:cubicBezTo>
                  <a:cubicBezTo>
                    <a:pt x="34" y="5"/>
                    <a:pt x="35" y="4"/>
                    <a:pt x="35" y="3"/>
                  </a:cubicBezTo>
                  <a:cubicBezTo>
                    <a:pt x="35" y="1"/>
                    <a:pt x="34" y="0"/>
                    <a:pt x="32" y="0"/>
                  </a:cubicBezTo>
                  <a:cubicBezTo>
                    <a:pt x="3" y="0"/>
                    <a:pt x="3" y="0"/>
                    <a:pt x="3" y="0"/>
                  </a:cubicBezTo>
                  <a:cubicBezTo>
                    <a:pt x="2" y="0"/>
                    <a:pt x="0" y="1"/>
                    <a:pt x="0" y="3"/>
                  </a:cubicBezTo>
                  <a:cubicBezTo>
                    <a:pt x="0" y="4"/>
                    <a:pt x="2"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40">
              <a:extLst>
                <a:ext uri="{FF2B5EF4-FFF2-40B4-BE49-F238E27FC236}">
                  <a16:creationId xmlns:a16="http://schemas.microsoft.com/office/drawing/2014/main" id="{690AF092-23F1-B444-A0C4-A58E6BDC385B}"/>
                </a:ext>
              </a:extLst>
            </p:cNvPr>
            <p:cNvSpPr>
              <a:spLocks/>
            </p:cNvSpPr>
            <p:nvPr/>
          </p:nvSpPr>
          <p:spPr bwMode="auto">
            <a:xfrm>
              <a:off x="2670175" y="3227388"/>
              <a:ext cx="17463" cy="17463"/>
            </a:xfrm>
            <a:custGeom>
              <a:avLst/>
              <a:gdLst>
                <a:gd name="T0" fmla="*/ 3 w 5"/>
                <a:gd name="T1" fmla="*/ 5 h 5"/>
                <a:gd name="T2" fmla="*/ 5 w 5"/>
                <a:gd name="T3" fmla="*/ 5 h 5"/>
                <a:gd name="T4" fmla="*/ 5 w 5"/>
                <a:gd name="T5" fmla="*/ 3 h 5"/>
                <a:gd name="T6" fmla="*/ 5 w 5"/>
                <a:gd name="T7" fmla="*/ 1 h 5"/>
                <a:gd name="T8" fmla="*/ 1 w 5"/>
                <a:gd name="T9" fmla="*/ 1 h 5"/>
                <a:gd name="T10" fmla="*/ 0 w 5"/>
                <a:gd name="T11" fmla="*/ 3 h 5"/>
                <a:gd name="T12" fmla="*/ 1 w 5"/>
                <a:gd name="T13" fmla="*/ 5 h 5"/>
                <a:gd name="T14" fmla="*/ 3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3" y="5"/>
                  </a:moveTo>
                  <a:cubicBezTo>
                    <a:pt x="3" y="5"/>
                    <a:pt x="4" y="5"/>
                    <a:pt x="5" y="5"/>
                  </a:cubicBezTo>
                  <a:cubicBezTo>
                    <a:pt x="5" y="4"/>
                    <a:pt x="5" y="3"/>
                    <a:pt x="5" y="3"/>
                  </a:cubicBezTo>
                  <a:cubicBezTo>
                    <a:pt x="5" y="2"/>
                    <a:pt x="5" y="1"/>
                    <a:pt x="5" y="1"/>
                  </a:cubicBezTo>
                  <a:cubicBezTo>
                    <a:pt x="4" y="0"/>
                    <a:pt x="2" y="0"/>
                    <a:pt x="1" y="1"/>
                  </a:cubicBezTo>
                  <a:cubicBezTo>
                    <a:pt x="0" y="1"/>
                    <a:pt x="0" y="2"/>
                    <a:pt x="0" y="3"/>
                  </a:cubicBezTo>
                  <a:cubicBezTo>
                    <a:pt x="0" y="3"/>
                    <a:pt x="0" y="4"/>
                    <a:pt x="1" y="5"/>
                  </a:cubicBezTo>
                  <a:cubicBezTo>
                    <a:pt x="1" y="5"/>
                    <a:pt x="2"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41">
              <a:extLst>
                <a:ext uri="{FF2B5EF4-FFF2-40B4-BE49-F238E27FC236}">
                  <a16:creationId xmlns:a16="http://schemas.microsoft.com/office/drawing/2014/main" id="{4381552E-65F6-8744-93D9-77B32A6B3AB0}"/>
                </a:ext>
              </a:extLst>
            </p:cNvPr>
            <p:cNvSpPr>
              <a:spLocks/>
            </p:cNvSpPr>
            <p:nvPr/>
          </p:nvSpPr>
          <p:spPr bwMode="auto">
            <a:xfrm>
              <a:off x="2762250" y="3262313"/>
              <a:ext cx="17463" cy="20638"/>
            </a:xfrm>
            <a:custGeom>
              <a:avLst/>
              <a:gdLst>
                <a:gd name="T0" fmla="*/ 0 w 5"/>
                <a:gd name="T1" fmla="*/ 1 h 6"/>
                <a:gd name="T2" fmla="*/ 0 w 5"/>
                <a:gd name="T3" fmla="*/ 3 h 6"/>
                <a:gd name="T4" fmla="*/ 0 w 5"/>
                <a:gd name="T5" fmla="*/ 5 h 6"/>
                <a:gd name="T6" fmla="*/ 2 w 5"/>
                <a:gd name="T7" fmla="*/ 6 h 6"/>
                <a:gd name="T8" fmla="*/ 4 w 5"/>
                <a:gd name="T9" fmla="*/ 5 h 6"/>
                <a:gd name="T10" fmla="*/ 5 w 5"/>
                <a:gd name="T11" fmla="*/ 3 h 6"/>
                <a:gd name="T12" fmla="*/ 4 w 5"/>
                <a:gd name="T13" fmla="*/ 1 h 6"/>
                <a:gd name="T14" fmla="*/ 0 w 5"/>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0" y="1"/>
                  </a:moveTo>
                  <a:cubicBezTo>
                    <a:pt x="0" y="2"/>
                    <a:pt x="0" y="3"/>
                    <a:pt x="0" y="3"/>
                  </a:cubicBezTo>
                  <a:cubicBezTo>
                    <a:pt x="0" y="4"/>
                    <a:pt x="0" y="5"/>
                    <a:pt x="0" y="5"/>
                  </a:cubicBezTo>
                  <a:cubicBezTo>
                    <a:pt x="1" y="6"/>
                    <a:pt x="2" y="6"/>
                    <a:pt x="2" y="6"/>
                  </a:cubicBezTo>
                  <a:cubicBezTo>
                    <a:pt x="3" y="6"/>
                    <a:pt x="4" y="6"/>
                    <a:pt x="4" y="5"/>
                  </a:cubicBezTo>
                  <a:cubicBezTo>
                    <a:pt x="5" y="5"/>
                    <a:pt x="5" y="4"/>
                    <a:pt x="5" y="3"/>
                  </a:cubicBezTo>
                  <a:cubicBezTo>
                    <a:pt x="5" y="3"/>
                    <a:pt x="5" y="2"/>
                    <a:pt x="4" y="1"/>
                  </a:cubicBezTo>
                  <a:cubicBezTo>
                    <a:pt x="3"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942">
              <a:extLst>
                <a:ext uri="{FF2B5EF4-FFF2-40B4-BE49-F238E27FC236}">
                  <a16:creationId xmlns:a16="http://schemas.microsoft.com/office/drawing/2014/main" id="{BEC49F2D-84B1-6645-85AA-041732E5C7CA}"/>
                </a:ext>
              </a:extLst>
            </p:cNvPr>
            <p:cNvSpPr>
              <a:spLocks/>
            </p:cNvSpPr>
            <p:nvPr/>
          </p:nvSpPr>
          <p:spPr bwMode="auto">
            <a:xfrm>
              <a:off x="2806700" y="3265488"/>
              <a:ext cx="28575" cy="17463"/>
            </a:xfrm>
            <a:custGeom>
              <a:avLst/>
              <a:gdLst>
                <a:gd name="T0" fmla="*/ 5 w 8"/>
                <a:gd name="T1" fmla="*/ 0 h 5"/>
                <a:gd name="T2" fmla="*/ 3 w 8"/>
                <a:gd name="T3" fmla="*/ 0 h 5"/>
                <a:gd name="T4" fmla="*/ 0 w 8"/>
                <a:gd name="T5" fmla="*/ 2 h 5"/>
                <a:gd name="T6" fmla="*/ 3 w 8"/>
                <a:gd name="T7" fmla="*/ 5 h 5"/>
                <a:gd name="T8" fmla="*/ 5 w 8"/>
                <a:gd name="T9" fmla="*/ 5 h 5"/>
                <a:gd name="T10" fmla="*/ 8 w 8"/>
                <a:gd name="T11" fmla="*/ 2 h 5"/>
                <a:gd name="T12" fmla="*/ 5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5" y="0"/>
                  </a:moveTo>
                  <a:cubicBezTo>
                    <a:pt x="3" y="0"/>
                    <a:pt x="3" y="0"/>
                    <a:pt x="3" y="0"/>
                  </a:cubicBezTo>
                  <a:cubicBezTo>
                    <a:pt x="1" y="0"/>
                    <a:pt x="0" y="1"/>
                    <a:pt x="0" y="2"/>
                  </a:cubicBezTo>
                  <a:cubicBezTo>
                    <a:pt x="0" y="4"/>
                    <a:pt x="1" y="5"/>
                    <a:pt x="3" y="5"/>
                  </a:cubicBezTo>
                  <a:cubicBezTo>
                    <a:pt x="5" y="5"/>
                    <a:pt x="5" y="5"/>
                    <a:pt x="5" y="5"/>
                  </a:cubicBezTo>
                  <a:cubicBezTo>
                    <a:pt x="7" y="5"/>
                    <a:pt x="8" y="4"/>
                    <a:pt x="8" y="2"/>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5" name="Freeform 943">
            <a:extLst>
              <a:ext uri="{FF2B5EF4-FFF2-40B4-BE49-F238E27FC236}">
                <a16:creationId xmlns:a16="http://schemas.microsoft.com/office/drawing/2014/main" id="{81DB516A-8787-F944-8C93-B372927F5A10}"/>
              </a:ext>
            </a:extLst>
          </p:cNvPr>
          <p:cNvSpPr>
            <a:spLocks/>
          </p:cNvSpPr>
          <p:nvPr/>
        </p:nvSpPr>
        <p:spPr bwMode="auto">
          <a:xfrm>
            <a:off x="1546108" y="3436938"/>
            <a:ext cx="522288" cy="561975"/>
          </a:xfrm>
          <a:custGeom>
            <a:avLst/>
            <a:gdLst>
              <a:gd name="T0" fmla="*/ 152 w 153"/>
              <a:gd name="T1" fmla="*/ 67 h 163"/>
              <a:gd name="T2" fmla="*/ 67 w 153"/>
              <a:gd name="T3" fmla="*/ 152 h 163"/>
              <a:gd name="T4" fmla="*/ 39 w 153"/>
              <a:gd name="T5" fmla="*/ 163 h 163"/>
              <a:gd name="T6" fmla="*/ 11 w 153"/>
              <a:gd name="T7" fmla="*/ 152 h 163"/>
              <a:gd name="T8" fmla="*/ 0 w 153"/>
              <a:gd name="T9" fmla="*/ 124 h 163"/>
              <a:gd name="T10" fmla="*/ 11 w 153"/>
              <a:gd name="T11" fmla="*/ 96 h 163"/>
              <a:gd name="T12" fmla="*/ 96 w 153"/>
              <a:gd name="T13" fmla="*/ 11 h 163"/>
              <a:gd name="T14" fmla="*/ 138 w 153"/>
              <a:gd name="T15" fmla="*/ 13 h 163"/>
              <a:gd name="T16" fmla="*/ 139 w 153"/>
              <a:gd name="T17" fmla="*/ 54 h 163"/>
              <a:gd name="T18" fmla="*/ 59 w 153"/>
              <a:gd name="T19" fmla="*/ 134 h 163"/>
              <a:gd name="T20" fmla="*/ 35 w 153"/>
              <a:gd name="T21" fmla="*/ 134 h 163"/>
              <a:gd name="T22" fmla="*/ 35 w 153"/>
              <a:gd name="T23" fmla="*/ 109 h 163"/>
              <a:gd name="T24" fmla="*/ 88 w 153"/>
              <a:gd name="T25" fmla="*/ 55 h 163"/>
              <a:gd name="T26" fmla="*/ 93 w 153"/>
              <a:gd name="T27" fmla="*/ 55 h 163"/>
              <a:gd name="T28" fmla="*/ 93 w 153"/>
              <a:gd name="T29" fmla="*/ 59 h 163"/>
              <a:gd name="T30" fmla="*/ 39 w 153"/>
              <a:gd name="T31" fmla="*/ 113 h 163"/>
              <a:gd name="T32" fmla="*/ 39 w 153"/>
              <a:gd name="T33" fmla="*/ 129 h 163"/>
              <a:gd name="T34" fmla="*/ 55 w 153"/>
              <a:gd name="T35" fmla="*/ 129 h 163"/>
              <a:gd name="T36" fmla="*/ 135 w 153"/>
              <a:gd name="T37" fmla="*/ 50 h 163"/>
              <a:gd name="T38" fmla="*/ 133 w 153"/>
              <a:gd name="T39" fmla="*/ 17 h 163"/>
              <a:gd name="T40" fmla="*/ 100 w 153"/>
              <a:gd name="T41" fmla="*/ 16 h 163"/>
              <a:gd name="T42" fmla="*/ 16 w 153"/>
              <a:gd name="T43" fmla="*/ 100 h 163"/>
              <a:gd name="T44" fmla="*/ 6 w 153"/>
              <a:gd name="T45" fmla="*/ 124 h 163"/>
              <a:gd name="T46" fmla="*/ 16 w 153"/>
              <a:gd name="T47" fmla="*/ 147 h 163"/>
              <a:gd name="T48" fmla="*/ 39 w 153"/>
              <a:gd name="T49" fmla="*/ 157 h 163"/>
              <a:gd name="T50" fmla="*/ 63 w 153"/>
              <a:gd name="T51" fmla="*/ 147 h 163"/>
              <a:gd name="T52" fmla="*/ 147 w 153"/>
              <a:gd name="T53" fmla="*/ 63 h 163"/>
              <a:gd name="T54" fmla="*/ 152 w 153"/>
              <a:gd name="T55" fmla="*/ 63 h 163"/>
              <a:gd name="T56" fmla="*/ 152 w 153"/>
              <a:gd name="T57" fmla="*/ 6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3" h="163">
                <a:moveTo>
                  <a:pt x="152" y="67"/>
                </a:moveTo>
                <a:cubicBezTo>
                  <a:pt x="67" y="152"/>
                  <a:pt x="67" y="152"/>
                  <a:pt x="67" y="152"/>
                </a:cubicBezTo>
                <a:cubicBezTo>
                  <a:pt x="60" y="159"/>
                  <a:pt x="50" y="163"/>
                  <a:pt x="39" y="163"/>
                </a:cubicBezTo>
                <a:cubicBezTo>
                  <a:pt x="29" y="163"/>
                  <a:pt x="19" y="159"/>
                  <a:pt x="11" y="152"/>
                </a:cubicBezTo>
                <a:cubicBezTo>
                  <a:pt x="4" y="144"/>
                  <a:pt x="0" y="134"/>
                  <a:pt x="0" y="124"/>
                </a:cubicBezTo>
                <a:cubicBezTo>
                  <a:pt x="0" y="113"/>
                  <a:pt x="4" y="103"/>
                  <a:pt x="11" y="96"/>
                </a:cubicBezTo>
                <a:cubicBezTo>
                  <a:pt x="96" y="11"/>
                  <a:pt x="96" y="11"/>
                  <a:pt x="96" y="11"/>
                </a:cubicBezTo>
                <a:cubicBezTo>
                  <a:pt x="108" y="0"/>
                  <a:pt x="125" y="0"/>
                  <a:pt x="138" y="13"/>
                </a:cubicBezTo>
                <a:cubicBezTo>
                  <a:pt x="150" y="25"/>
                  <a:pt x="150" y="43"/>
                  <a:pt x="139" y="54"/>
                </a:cubicBezTo>
                <a:cubicBezTo>
                  <a:pt x="59" y="134"/>
                  <a:pt x="59" y="134"/>
                  <a:pt x="59" y="134"/>
                </a:cubicBezTo>
                <a:cubicBezTo>
                  <a:pt x="53" y="140"/>
                  <a:pt x="41" y="140"/>
                  <a:pt x="35" y="134"/>
                </a:cubicBezTo>
                <a:cubicBezTo>
                  <a:pt x="28" y="127"/>
                  <a:pt x="28" y="116"/>
                  <a:pt x="35" y="109"/>
                </a:cubicBezTo>
                <a:cubicBezTo>
                  <a:pt x="88" y="55"/>
                  <a:pt x="88" y="55"/>
                  <a:pt x="88" y="55"/>
                </a:cubicBezTo>
                <a:cubicBezTo>
                  <a:pt x="90" y="54"/>
                  <a:pt x="92" y="54"/>
                  <a:pt x="93" y="55"/>
                </a:cubicBezTo>
                <a:cubicBezTo>
                  <a:pt x="94" y="56"/>
                  <a:pt x="94" y="58"/>
                  <a:pt x="93" y="59"/>
                </a:cubicBezTo>
                <a:cubicBezTo>
                  <a:pt x="39" y="113"/>
                  <a:pt x="39" y="113"/>
                  <a:pt x="39" y="113"/>
                </a:cubicBezTo>
                <a:cubicBezTo>
                  <a:pt x="34" y="118"/>
                  <a:pt x="34" y="125"/>
                  <a:pt x="39" y="129"/>
                </a:cubicBezTo>
                <a:cubicBezTo>
                  <a:pt x="43" y="134"/>
                  <a:pt x="51" y="134"/>
                  <a:pt x="55" y="129"/>
                </a:cubicBezTo>
                <a:cubicBezTo>
                  <a:pt x="135" y="50"/>
                  <a:pt x="135" y="50"/>
                  <a:pt x="135" y="50"/>
                </a:cubicBezTo>
                <a:cubicBezTo>
                  <a:pt x="144" y="41"/>
                  <a:pt x="143" y="27"/>
                  <a:pt x="133" y="17"/>
                </a:cubicBezTo>
                <a:cubicBezTo>
                  <a:pt x="124" y="7"/>
                  <a:pt x="109" y="7"/>
                  <a:pt x="100" y="16"/>
                </a:cubicBezTo>
                <a:cubicBezTo>
                  <a:pt x="16" y="100"/>
                  <a:pt x="16" y="100"/>
                  <a:pt x="16" y="100"/>
                </a:cubicBezTo>
                <a:cubicBezTo>
                  <a:pt x="10" y="106"/>
                  <a:pt x="6" y="115"/>
                  <a:pt x="6" y="124"/>
                </a:cubicBezTo>
                <a:cubicBezTo>
                  <a:pt x="6" y="133"/>
                  <a:pt x="10" y="141"/>
                  <a:pt x="16" y="147"/>
                </a:cubicBezTo>
                <a:cubicBezTo>
                  <a:pt x="22" y="153"/>
                  <a:pt x="30" y="157"/>
                  <a:pt x="39" y="157"/>
                </a:cubicBezTo>
                <a:cubicBezTo>
                  <a:pt x="48" y="157"/>
                  <a:pt x="57" y="153"/>
                  <a:pt x="63" y="147"/>
                </a:cubicBezTo>
                <a:cubicBezTo>
                  <a:pt x="147" y="63"/>
                  <a:pt x="147" y="63"/>
                  <a:pt x="147" y="63"/>
                </a:cubicBezTo>
                <a:cubicBezTo>
                  <a:pt x="149" y="61"/>
                  <a:pt x="151" y="61"/>
                  <a:pt x="152" y="63"/>
                </a:cubicBezTo>
                <a:cubicBezTo>
                  <a:pt x="153" y="64"/>
                  <a:pt x="153" y="66"/>
                  <a:pt x="152" y="67"/>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944">
            <a:extLst>
              <a:ext uri="{FF2B5EF4-FFF2-40B4-BE49-F238E27FC236}">
                <a16:creationId xmlns:a16="http://schemas.microsoft.com/office/drawing/2014/main" id="{66129E55-C905-BE4C-9BD5-4C9C912C0483}"/>
              </a:ext>
            </a:extLst>
          </p:cNvPr>
          <p:cNvSpPr>
            <a:spLocks noEditPoints="1"/>
          </p:cNvSpPr>
          <p:nvPr/>
        </p:nvSpPr>
        <p:spPr bwMode="auto">
          <a:xfrm>
            <a:off x="1600083" y="4081463"/>
            <a:ext cx="403225" cy="550863"/>
          </a:xfrm>
          <a:custGeom>
            <a:avLst/>
            <a:gdLst>
              <a:gd name="T0" fmla="*/ 116 w 118"/>
              <a:gd name="T1" fmla="*/ 0 h 160"/>
              <a:gd name="T2" fmla="*/ 112 w 118"/>
              <a:gd name="T3" fmla="*/ 1 h 160"/>
              <a:gd name="T4" fmla="*/ 8 w 118"/>
              <a:gd name="T5" fmla="*/ 73 h 160"/>
              <a:gd name="T6" fmla="*/ 8 w 118"/>
              <a:gd name="T7" fmla="*/ 4 h 160"/>
              <a:gd name="T8" fmla="*/ 4 w 118"/>
              <a:gd name="T9" fmla="*/ 0 h 160"/>
              <a:gd name="T10" fmla="*/ 0 w 118"/>
              <a:gd name="T11" fmla="*/ 4 h 160"/>
              <a:gd name="T12" fmla="*/ 0 w 118"/>
              <a:gd name="T13" fmla="*/ 156 h 160"/>
              <a:gd name="T14" fmla="*/ 4 w 118"/>
              <a:gd name="T15" fmla="*/ 160 h 160"/>
              <a:gd name="T16" fmla="*/ 8 w 118"/>
              <a:gd name="T17" fmla="*/ 156 h 160"/>
              <a:gd name="T18" fmla="*/ 8 w 118"/>
              <a:gd name="T19" fmla="*/ 87 h 160"/>
              <a:gd name="T20" fmla="*/ 112 w 118"/>
              <a:gd name="T21" fmla="*/ 159 h 160"/>
              <a:gd name="T22" fmla="*/ 114 w 118"/>
              <a:gd name="T23" fmla="*/ 160 h 160"/>
              <a:gd name="T24" fmla="*/ 116 w 118"/>
              <a:gd name="T25" fmla="*/ 160 h 160"/>
              <a:gd name="T26" fmla="*/ 118 w 118"/>
              <a:gd name="T27" fmla="*/ 156 h 160"/>
              <a:gd name="T28" fmla="*/ 118 w 118"/>
              <a:gd name="T29" fmla="*/ 4 h 160"/>
              <a:gd name="T30" fmla="*/ 116 w 118"/>
              <a:gd name="T31" fmla="*/ 0 h 160"/>
              <a:gd name="T32" fmla="*/ 110 w 118"/>
              <a:gd name="T33" fmla="*/ 149 h 160"/>
              <a:gd name="T34" fmla="*/ 11 w 118"/>
              <a:gd name="T35" fmla="*/ 80 h 160"/>
              <a:gd name="T36" fmla="*/ 110 w 118"/>
              <a:gd name="T37" fmla="*/ 11 h 160"/>
              <a:gd name="T38" fmla="*/ 110 w 118"/>
              <a:gd name="T39"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60">
                <a:moveTo>
                  <a:pt x="116" y="0"/>
                </a:moveTo>
                <a:cubicBezTo>
                  <a:pt x="115" y="0"/>
                  <a:pt x="113" y="0"/>
                  <a:pt x="112" y="1"/>
                </a:cubicBezTo>
                <a:cubicBezTo>
                  <a:pt x="8" y="73"/>
                  <a:pt x="8" y="73"/>
                  <a:pt x="8" y="73"/>
                </a:cubicBezTo>
                <a:cubicBezTo>
                  <a:pt x="8" y="4"/>
                  <a:pt x="8" y="4"/>
                  <a:pt x="8" y="4"/>
                </a:cubicBezTo>
                <a:cubicBezTo>
                  <a:pt x="8" y="2"/>
                  <a:pt x="6" y="0"/>
                  <a:pt x="4" y="0"/>
                </a:cubicBezTo>
                <a:cubicBezTo>
                  <a:pt x="2" y="0"/>
                  <a:pt x="0" y="2"/>
                  <a:pt x="0" y="4"/>
                </a:cubicBezTo>
                <a:cubicBezTo>
                  <a:pt x="0" y="156"/>
                  <a:pt x="0" y="156"/>
                  <a:pt x="0" y="156"/>
                </a:cubicBezTo>
                <a:cubicBezTo>
                  <a:pt x="0" y="158"/>
                  <a:pt x="2" y="160"/>
                  <a:pt x="4" y="160"/>
                </a:cubicBezTo>
                <a:cubicBezTo>
                  <a:pt x="6" y="160"/>
                  <a:pt x="8" y="158"/>
                  <a:pt x="8" y="156"/>
                </a:cubicBezTo>
                <a:cubicBezTo>
                  <a:pt x="8" y="87"/>
                  <a:pt x="8" y="87"/>
                  <a:pt x="8" y="87"/>
                </a:cubicBezTo>
                <a:cubicBezTo>
                  <a:pt x="112" y="159"/>
                  <a:pt x="112" y="159"/>
                  <a:pt x="112" y="159"/>
                </a:cubicBezTo>
                <a:cubicBezTo>
                  <a:pt x="113" y="160"/>
                  <a:pt x="114" y="160"/>
                  <a:pt x="114" y="160"/>
                </a:cubicBezTo>
                <a:cubicBezTo>
                  <a:pt x="115" y="160"/>
                  <a:pt x="116" y="160"/>
                  <a:pt x="116" y="160"/>
                </a:cubicBezTo>
                <a:cubicBezTo>
                  <a:pt x="117" y="159"/>
                  <a:pt x="118" y="158"/>
                  <a:pt x="118" y="156"/>
                </a:cubicBezTo>
                <a:cubicBezTo>
                  <a:pt x="118" y="4"/>
                  <a:pt x="118" y="4"/>
                  <a:pt x="118" y="4"/>
                </a:cubicBezTo>
                <a:cubicBezTo>
                  <a:pt x="118" y="2"/>
                  <a:pt x="117" y="1"/>
                  <a:pt x="116" y="0"/>
                </a:cubicBezTo>
                <a:close/>
                <a:moveTo>
                  <a:pt x="110" y="149"/>
                </a:moveTo>
                <a:cubicBezTo>
                  <a:pt x="11" y="80"/>
                  <a:pt x="11" y="80"/>
                  <a:pt x="11" y="80"/>
                </a:cubicBezTo>
                <a:cubicBezTo>
                  <a:pt x="110" y="11"/>
                  <a:pt x="110" y="11"/>
                  <a:pt x="110" y="11"/>
                </a:cubicBezTo>
                <a:lnTo>
                  <a:pt x="110" y="149"/>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Oval 952">
            <a:extLst>
              <a:ext uri="{FF2B5EF4-FFF2-40B4-BE49-F238E27FC236}">
                <a16:creationId xmlns:a16="http://schemas.microsoft.com/office/drawing/2014/main" id="{F2AB15FC-0FF1-134E-8696-835F29B95A3E}"/>
              </a:ext>
            </a:extLst>
          </p:cNvPr>
          <p:cNvSpPr>
            <a:spLocks noChangeArrowheads="1"/>
          </p:cNvSpPr>
          <p:nvPr/>
        </p:nvSpPr>
        <p:spPr bwMode="auto">
          <a:xfrm>
            <a:off x="1828683" y="4772025"/>
            <a:ext cx="17463" cy="20638"/>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8" name="Group 107">
            <a:extLst>
              <a:ext uri="{FF2B5EF4-FFF2-40B4-BE49-F238E27FC236}">
                <a16:creationId xmlns:a16="http://schemas.microsoft.com/office/drawing/2014/main" id="{A28EF715-672E-7C47-A16E-DBADCB642BBB}"/>
              </a:ext>
            </a:extLst>
          </p:cNvPr>
          <p:cNvGrpSpPr/>
          <p:nvPr/>
        </p:nvGrpSpPr>
        <p:grpSpPr>
          <a:xfrm>
            <a:off x="1654058" y="4700588"/>
            <a:ext cx="290513" cy="550863"/>
            <a:chOff x="2601913" y="4700588"/>
            <a:chExt cx="290513" cy="550863"/>
          </a:xfrm>
          <a:solidFill>
            <a:srgbClr val="242524">
              <a:alpha val="70000"/>
            </a:srgbClr>
          </a:solidFill>
        </p:grpSpPr>
        <p:sp>
          <p:nvSpPr>
            <p:cNvPr id="109" name="Freeform 945">
              <a:extLst>
                <a:ext uri="{FF2B5EF4-FFF2-40B4-BE49-F238E27FC236}">
                  <a16:creationId xmlns:a16="http://schemas.microsoft.com/office/drawing/2014/main" id="{9D0EDBF8-C71B-D84A-8A0A-2580B8FB7CD9}"/>
                </a:ext>
              </a:extLst>
            </p:cNvPr>
            <p:cNvSpPr>
              <a:spLocks noEditPoints="1"/>
            </p:cNvSpPr>
            <p:nvPr/>
          </p:nvSpPr>
          <p:spPr bwMode="auto">
            <a:xfrm>
              <a:off x="2601913" y="4700588"/>
              <a:ext cx="290513" cy="550863"/>
            </a:xfrm>
            <a:custGeom>
              <a:avLst/>
              <a:gdLst>
                <a:gd name="T0" fmla="*/ 59 w 85"/>
                <a:gd name="T1" fmla="*/ 11 h 160"/>
                <a:gd name="T2" fmla="*/ 27 w 85"/>
                <a:gd name="T3" fmla="*/ 0 h 160"/>
                <a:gd name="T4" fmla="*/ 9 w 85"/>
                <a:gd name="T5" fmla="*/ 11 h 160"/>
                <a:gd name="T6" fmla="*/ 0 w 85"/>
                <a:gd name="T7" fmla="*/ 151 h 160"/>
                <a:gd name="T8" fmla="*/ 76 w 85"/>
                <a:gd name="T9" fmla="*/ 160 h 160"/>
                <a:gd name="T10" fmla="*/ 85 w 85"/>
                <a:gd name="T11" fmla="*/ 20 h 160"/>
                <a:gd name="T12" fmla="*/ 32 w 85"/>
                <a:gd name="T13" fmla="*/ 5 h 160"/>
                <a:gd name="T14" fmla="*/ 53 w 85"/>
                <a:gd name="T15" fmla="*/ 11 h 160"/>
                <a:gd name="T16" fmla="*/ 32 w 85"/>
                <a:gd name="T17" fmla="*/ 5 h 160"/>
                <a:gd name="T18" fmla="*/ 80 w 85"/>
                <a:gd name="T19" fmla="*/ 48 h 160"/>
                <a:gd name="T20" fmla="*/ 80 w 85"/>
                <a:gd name="T21" fmla="*/ 80 h 160"/>
                <a:gd name="T22" fmla="*/ 80 w 85"/>
                <a:gd name="T23" fmla="*/ 112 h 160"/>
                <a:gd name="T24" fmla="*/ 80 w 85"/>
                <a:gd name="T25" fmla="*/ 144 h 160"/>
                <a:gd name="T26" fmla="*/ 76 w 85"/>
                <a:gd name="T27" fmla="*/ 155 h 160"/>
                <a:gd name="T28" fmla="*/ 53 w 85"/>
                <a:gd name="T29" fmla="*/ 155 h 160"/>
                <a:gd name="T30" fmla="*/ 21 w 85"/>
                <a:gd name="T31" fmla="*/ 155 h 160"/>
                <a:gd name="T32" fmla="*/ 7 w 85"/>
                <a:gd name="T33" fmla="*/ 154 h 160"/>
                <a:gd name="T34" fmla="*/ 5 w 85"/>
                <a:gd name="T35" fmla="*/ 149 h 160"/>
                <a:gd name="T36" fmla="*/ 8 w 85"/>
                <a:gd name="T37" fmla="*/ 136 h 160"/>
                <a:gd name="T38" fmla="*/ 5 w 85"/>
                <a:gd name="T39" fmla="*/ 123 h 160"/>
                <a:gd name="T40" fmla="*/ 5 w 85"/>
                <a:gd name="T41" fmla="*/ 117 h 160"/>
                <a:gd name="T42" fmla="*/ 8 w 85"/>
                <a:gd name="T43" fmla="*/ 104 h 160"/>
                <a:gd name="T44" fmla="*/ 5 w 85"/>
                <a:gd name="T45" fmla="*/ 91 h 160"/>
                <a:gd name="T46" fmla="*/ 5 w 85"/>
                <a:gd name="T47" fmla="*/ 85 h 160"/>
                <a:gd name="T48" fmla="*/ 8 w 85"/>
                <a:gd name="T49" fmla="*/ 72 h 160"/>
                <a:gd name="T50" fmla="*/ 5 w 85"/>
                <a:gd name="T51" fmla="*/ 59 h 160"/>
                <a:gd name="T52" fmla="*/ 5 w 85"/>
                <a:gd name="T53" fmla="*/ 53 h 160"/>
                <a:gd name="T54" fmla="*/ 8 w 85"/>
                <a:gd name="T55" fmla="*/ 40 h 160"/>
                <a:gd name="T56" fmla="*/ 5 w 85"/>
                <a:gd name="T57" fmla="*/ 27 h 160"/>
                <a:gd name="T58" fmla="*/ 5 w 85"/>
                <a:gd name="T59" fmla="*/ 21 h 160"/>
                <a:gd name="T60" fmla="*/ 9 w 85"/>
                <a:gd name="T61" fmla="*/ 16 h 160"/>
                <a:gd name="T62" fmla="*/ 13 w 85"/>
                <a:gd name="T63" fmla="*/ 19 h 160"/>
                <a:gd name="T64" fmla="*/ 27 w 85"/>
                <a:gd name="T65" fmla="*/ 16 h 160"/>
                <a:gd name="T66" fmla="*/ 32 w 85"/>
                <a:gd name="T67" fmla="*/ 16 h 160"/>
                <a:gd name="T68" fmla="*/ 45 w 85"/>
                <a:gd name="T69" fmla="*/ 19 h 160"/>
                <a:gd name="T70" fmla="*/ 59 w 85"/>
                <a:gd name="T71" fmla="*/ 16 h 160"/>
                <a:gd name="T72" fmla="*/ 64 w 85"/>
                <a:gd name="T73" fmla="*/ 16 h 160"/>
                <a:gd name="T74" fmla="*/ 77 w 85"/>
                <a:gd name="T75" fmla="*/ 19 h 160"/>
                <a:gd name="T76" fmla="*/ 80 w 85"/>
                <a:gd name="T77" fmla="*/ 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80" y="32"/>
                  </a:moveTo>
                  <a:cubicBezTo>
                    <a:pt x="80" y="48"/>
                    <a:pt x="80" y="48"/>
                    <a:pt x="80" y="48"/>
                  </a:cubicBezTo>
                  <a:cubicBezTo>
                    <a:pt x="80" y="64"/>
                    <a:pt x="80" y="64"/>
                    <a:pt x="80" y="64"/>
                  </a:cubicBezTo>
                  <a:cubicBezTo>
                    <a:pt x="80" y="80"/>
                    <a:pt x="80" y="80"/>
                    <a:pt x="80" y="80"/>
                  </a:cubicBezTo>
                  <a:cubicBezTo>
                    <a:pt x="80" y="96"/>
                    <a:pt x="80" y="96"/>
                    <a:pt x="80" y="96"/>
                  </a:cubicBezTo>
                  <a:cubicBezTo>
                    <a:pt x="80" y="112"/>
                    <a:pt x="80" y="112"/>
                    <a:pt x="80" y="112"/>
                  </a:cubicBezTo>
                  <a:cubicBezTo>
                    <a:pt x="80" y="128"/>
                    <a:pt x="80" y="128"/>
                    <a:pt x="80" y="128"/>
                  </a:cubicBezTo>
                  <a:cubicBezTo>
                    <a:pt x="80" y="144"/>
                    <a:pt x="80" y="144"/>
                    <a:pt x="80" y="144"/>
                  </a:cubicBezTo>
                  <a:cubicBezTo>
                    <a:pt x="80" y="151"/>
                    <a:pt x="80" y="151"/>
                    <a:pt x="80" y="151"/>
                  </a:cubicBezTo>
                  <a:cubicBezTo>
                    <a:pt x="80" y="153"/>
                    <a:pt x="78" y="155"/>
                    <a:pt x="76" y="155"/>
                  </a:cubicBezTo>
                  <a:cubicBezTo>
                    <a:pt x="69" y="155"/>
                    <a:pt x="69" y="155"/>
                    <a:pt x="69" y="155"/>
                  </a:cubicBezTo>
                  <a:cubicBezTo>
                    <a:pt x="53" y="155"/>
                    <a:pt x="53" y="155"/>
                    <a:pt x="53" y="155"/>
                  </a:cubicBezTo>
                  <a:cubicBezTo>
                    <a:pt x="37" y="155"/>
                    <a:pt x="37" y="155"/>
                    <a:pt x="37" y="155"/>
                  </a:cubicBezTo>
                  <a:cubicBezTo>
                    <a:pt x="21" y="155"/>
                    <a:pt x="21" y="155"/>
                    <a:pt x="21" y="155"/>
                  </a:cubicBezTo>
                  <a:cubicBezTo>
                    <a:pt x="9" y="155"/>
                    <a:pt x="9" y="155"/>
                    <a:pt x="9" y="155"/>
                  </a:cubicBezTo>
                  <a:cubicBezTo>
                    <a:pt x="8" y="155"/>
                    <a:pt x="8" y="154"/>
                    <a:pt x="7" y="154"/>
                  </a:cubicBezTo>
                  <a:cubicBezTo>
                    <a:pt x="8" y="154"/>
                    <a:pt x="8" y="153"/>
                    <a:pt x="8" y="152"/>
                  </a:cubicBezTo>
                  <a:cubicBezTo>
                    <a:pt x="8" y="151"/>
                    <a:pt x="7" y="149"/>
                    <a:pt x="5" y="149"/>
                  </a:cubicBezTo>
                  <a:cubicBezTo>
                    <a:pt x="5" y="139"/>
                    <a:pt x="5" y="139"/>
                    <a:pt x="5" y="139"/>
                  </a:cubicBezTo>
                  <a:cubicBezTo>
                    <a:pt x="7" y="139"/>
                    <a:pt x="8" y="137"/>
                    <a:pt x="8" y="136"/>
                  </a:cubicBezTo>
                  <a:cubicBezTo>
                    <a:pt x="8" y="135"/>
                    <a:pt x="7" y="133"/>
                    <a:pt x="5" y="133"/>
                  </a:cubicBezTo>
                  <a:cubicBezTo>
                    <a:pt x="5" y="123"/>
                    <a:pt x="5" y="123"/>
                    <a:pt x="5" y="123"/>
                  </a:cubicBezTo>
                  <a:cubicBezTo>
                    <a:pt x="7" y="123"/>
                    <a:pt x="8" y="121"/>
                    <a:pt x="8" y="120"/>
                  </a:cubicBezTo>
                  <a:cubicBezTo>
                    <a:pt x="8" y="119"/>
                    <a:pt x="7" y="117"/>
                    <a:pt x="5" y="117"/>
                  </a:cubicBezTo>
                  <a:cubicBezTo>
                    <a:pt x="5" y="107"/>
                    <a:pt x="5" y="107"/>
                    <a:pt x="5" y="107"/>
                  </a:cubicBezTo>
                  <a:cubicBezTo>
                    <a:pt x="7" y="107"/>
                    <a:pt x="8" y="105"/>
                    <a:pt x="8" y="104"/>
                  </a:cubicBezTo>
                  <a:cubicBezTo>
                    <a:pt x="8" y="103"/>
                    <a:pt x="7" y="101"/>
                    <a:pt x="5" y="101"/>
                  </a:cubicBezTo>
                  <a:cubicBezTo>
                    <a:pt x="5" y="91"/>
                    <a:pt x="5" y="91"/>
                    <a:pt x="5" y="91"/>
                  </a:cubicBezTo>
                  <a:cubicBezTo>
                    <a:pt x="7" y="91"/>
                    <a:pt x="8" y="89"/>
                    <a:pt x="8" y="88"/>
                  </a:cubicBezTo>
                  <a:cubicBezTo>
                    <a:pt x="8" y="87"/>
                    <a:pt x="7" y="85"/>
                    <a:pt x="5" y="85"/>
                  </a:cubicBezTo>
                  <a:cubicBezTo>
                    <a:pt x="5" y="75"/>
                    <a:pt x="5" y="75"/>
                    <a:pt x="5" y="75"/>
                  </a:cubicBezTo>
                  <a:cubicBezTo>
                    <a:pt x="7" y="75"/>
                    <a:pt x="8" y="73"/>
                    <a:pt x="8" y="72"/>
                  </a:cubicBezTo>
                  <a:cubicBezTo>
                    <a:pt x="8" y="71"/>
                    <a:pt x="7" y="69"/>
                    <a:pt x="5" y="69"/>
                  </a:cubicBezTo>
                  <a:cubicBezTo>
                    <a:pt x="5" y="59"/>
                    <a:pt x="5" y="59"/>
                    <a:pt x="5" y="59"/>
                  </a:cubicBezTo>
                  <a:cubicBezTo>
                    <a:pt x="7" y="59"/>
                    <a:pt x="8" y="57"/>
                    <a:pt x="8" y="56"/>
                  </a:cubicBezTo>
                  <a:cubicBezTo>
                    <a:pt x="8" y="55"/>
                    <a:pt x="7" y="53"/>
                    <a:pt x="5" y="53"/>
                  </a:cubicBezTo>
                  <a:cubicBezTo>
                    <a:pt x="5" y="43"/>
                    <a:pt x="5" y="43"/>
                    <a:pt x="5" y="43"/>
                  </a:cubicBezTo>
                  <a:cubicBezTo>
                    <a:pt x="7" y="43"/>
                    <a:pt x="8" y="41"/>
                    <a:pt x="8" y="40"/>
                  </a:cubicBezTo>
                  <a:cubicBezTo>
                    <a:pt x="8" y="39"/>
                    <a:pt x="7" y="37"/>
                    <a:pt x="5" y="37"/>
                  </a:cubicBezTo>
                  <a:cubicBezTo>
                    <a:pt x="5" y="27"/>
                    <a:pt x="5" y="27"/>
                    <a:pt x="5" y="27"/>
                  </a:cubicBezTo>
                  <a:cubicBezTo>
                    <a:pt x="7" y="27"/>
                    <a:pt x="8" y="25"/>
                    <a:pt x="8" y="24"/>
                  </a:cubicBezTo>
                  <a:cubicBezTo>
                    <a:pt x="8" y="23"/>
                    <a:pt x="7" y="21"/>
                    <a:pt x="5" y="21"/>
                  </a:cubicBezTo>
                  <a:cubicBezTo>
                    <a:pt x="5" y="20"/>
                    <a:pt x="5" y="20"/>
                    <a:pt x="5" y="20"/>
                  </a:cubicBezTo>
                  <a:cubicBezTo>
                    <a:pt x="5" y="18"/>
                    <a:pt x="7" y="16"/>
                    <a:pt x="9" y="16"/>
                  </a:cubicBezTo>
                  <a:cubicBezTo>
                    <a:pt x="11" y="16"/>
                    <a:pt x="11" y="16"/>
                    <a:pt x="11" y="16"/>
                  </a:cubicBezTo>
                  <a:cubicBezTo>
                    <a:pt x="11" y="17"/>
                    <a:pt x="12" y="19"/>
                    <a:pt x="13" y="19"/>
                  </a:cubicBezTo>
                  <a:cubicBezTo>
                    <a:pt x="15" y="19"/>
                    <a:pt x="16" y="17"/>
                    <a:pt x="16" y="16"/>
                  </a:cubicBezTo>
                  <a:cubicBezTo>
                    <a:pt x="27" y="16"/>
                    <a:pt x="27" y="16"/>
                    <a:pt x="27" y="16"/>
                  </a:cubicBezTo>
                  <a:cubicBezTo>
                    <a:pt x="27" y="17"/>
                    <a:pt x="28" y="19"/>
                    <a:pt x="29" y="19"/>
                  </a:cubicBezTo>
                  <a:cubicBezTo>
                    <a:pt x="31" y="19"/>
                    <a:pt x="32" y="17"/>
                    <a:pt x="32" y="16"/>
                  </a:cubicBezTo>
                  <a:cubicBezTo>
                    <a:pt x="43" y="16"/>
                    <a:pt x="43" y="16"/>
                    <a:pt x="43" y="16"/>
                  </a:cubicBezTo>
                  <a:cubicBezTo>
                    <a:pt x="43" y="17"/>
                    <a:pt x="44" y="19"/>
                    <a:pt x="45" y="19"/>
                  </a:cubicBezTo>
                  <a:cubicBezTo>
                    <a:pt x="47" y="19"/>
                    <a:pt x="48" y="17"/>
                    <a:pt x="48" y="16"/>
                  </a:cubicBezTo>
                  <a:cubicBezTo>
                    <a:pt x="59" y="16"/>
                    <a:pt x="59" y="16"/>
                    <a:pt x="59" y="16"/>
                  </a:cubicBezTo>
                  <a:cubicBezTo>
                    <a:pt x="59" y="17"/>
                    <a:pt x="60" y="19"/>
                    <a:pt x="61" y="19"/>
                  </a:cubicBezTo>
                  <a:cubicBezTo>
                    <a:pt x="63" y="19"/>
                    <a:pt x="64" y="17"/>
                    <a:pt x="64" y="16"/>
                  </a:cubicBezTo>
                  <a:cubicBezTo>
                    <a:pt x="75" y="16"/>
                    <a:pt x="75" y="16"/>
                    <a:pt x="75" y="16"/>
                  </a:cubicBezTo>
                  <a:cubicBezTo>
                    <a:pt x="75" y="17"/>
                    <a:pt x="76" y="19"/>
                    <a:pt x="77" y="19"/>
                  </a:cubicBezTo>
                  <a:cubicBezTo>
                    <a:pt x="78" y="19"/>
                    <a:pt x="79" y="18"/>
                    <a:pt x="79" y="18"/>
                  </a:cubicBezTo>
                  <a:cubicBezTo>
                    <a:pt x="80" y="18"/>
                    <a:pt x="80" y="19"/>
                    <a:pt x="80" y="20"/>
                  </a:cubicBezTo>
                  <a:lnTo>
                    <a:pt x="8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946">
              <a:extLst>
                <a:ext uri="{FF2B5EF4-FFF2-40B4-BE49-F238E27FC236}">
                  <a16:creationId xmlns:a16="http://schemas.microsoft.com/office/drawing/2014/main" id="{4503894C-9FE6-6E47-BCB4-AB2825EC8853}"/>
                </a:ext>
              </a:extLst>
            </p:cNvPr>
            <p:cNvSpPr>
              <a:spLocks noChangeArrowheads="1"/>
            </p:cNvSpPr>
            <p:nvPr/>
          </p:nvSpPr>
          <p:spPr bwMode="auto">
            <a:xfrm>
              <a:off x="2640013" y="48006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947">
              <a:extLst>
                <a:ext uri="{FF2B5EF4-FFF2-40B4-BE49-F238E27FC236}">
                  <a16:creationId xmlns:a16="http://schemas.microsoft.com/office/drawing/2014/main" id="{EB8C0802-7EDD-9048-ADF6-DDBDC7B66C57}"/>
                </a:ext>
              </a:extLst>
            </p:cNvPr>
            <p:cNvSpPr>
              <a:spLocks noChangeArrowheads="1"/>
            </p:cNvSpPr>
            <p:nvPr/>
          </p:nvSpPr>
          <p:spPr bwMode="auto">
            <a:xfrm>
              <a:off x="2667000" y="47720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948">
              <a:extLst>
                <a:ext uri="{FF2B5EF4-FFF2-40B4-BE49-F238E27FC236}">
                  <a16:creationId xmlns:a16="http://schemas.microsoft.com/office/drawing/2014/main" id="{ACFDB608-1AA7-BF49-BE51-F641AB99975D}"/>
                </a:ext>
              </a:extLst>
            </p:cNvPr>
            <p:cNvSpPr>
              <a:spLocks noChangeArrowheads="1"/>
            </p:cNvSpPr>
            <p:nvPr/>
          </p:nvSpPr>
          <p:spPr bwMode="auto">
            <a:xfrm>
              <a:off x="2667000" y="482758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949">
              <a:extLst>
                <a:ext uri="{FF2B5EF4-FFF2-40B4-BE49-F238E27FC236}">
                  <a16:creationId xmlns:a16="http://schemas.microsoft.com/office/drawing/2014/main" id="{004E2A54-6A3E-4043-AD33-161EDF87C167}"/>
                </a:ext>
              </a:extLst>
            </p:cNvPr>
            <p:cNvSpPr>
              <a:spLocks noChangeArrowheads="1"/>
            </p:cNvSpPr>
            <p:nvPr/>
          </p:nvSpPr>
          <p:spPr bwMode="auto">
            <a:xfrm>
              <a:off x="2693988" y="48006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950">
              <a:extLst>
                <a:ext uri="{FF2B5EF4-FFF2-40B4-BE49-F238E27FC236}">
                  <a16:creationId xmlns:a16="http://schemas.microsoft.com/office/drawing/2014/main" id="{D62C5874-2795-6443-921C-04C6DC54131A}"/>
                </a:ext>
              </a:extLst>
            </p:cNvPr>
            <p:cNvSpPr>
              <a:spLocks noChangeArrowheads="1"/>
            </p:cNvSpPr>
            <p:nvPr/>
          </p:nvSpPr>
          <p:spPr bwMode="auto">
            <a:xfrm>
              <a:off x="2749550" y="48006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951">
              <a:extLst>
                <a:ext uri="{FF2B5EF4-FFF2-40B4-BE49-F238E27FC236}">
                  <a16:creationId xmlns:a16="http://schemas.microsoft.com/office/drawing/2014/main" id="{9AF259EC-2B7B-CB49-A057-559D3AAA12E1}"/>
                </a:ext>
              </a:extLst>
            </p:cNvPr>
            <p:cNvSpPr>
              <a:spLocks noChangeArrowheads="1"/>
            </p:cNvSpPr>
            <p:nvPr/>
          </p:nvSpPr>
          <p:spPr bwMode="auto">
            <a:xfrm>
              <a:off x="2722563" y="4772025"/>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953">
              <a:extLst>
                <a:ext uri="{FF2B5EF4-FFF2-40B4-BE49-F238E27FC236}">
                  <a16:creationId xmlns:a16="http://schemas.microsoft.com/office/drawing/2014/main" id="{BF070601-0A86-6847-A089-77EF996D7A34}"/>
                </a:ext>
              </a:extLst>
            </p:cNvPr>
            <p:cNvSpPr>
              <a:spLocks noChangeArrowheads="1"/>
            </p:cNvSpPr>
            <p:nvPr/>
          </p:nvSpPr>
          <p:spPr bwMode="auto">
            <a:xfrm>
              <a:off x="2722563" y="4827588"/>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954">
              <a:extLst>
                <a:ext uri="{FF2B5EF4-FFF2-40B4-BE49-F238E27FC236}">
                  <a16:creationId xmlns:a16="http://schemas.microsoft.com/office/drawing/2014/main" id="{1153B097-338B-364A-B246-EB2946D330AE}"/>
                </a:ext>
              </a:extLst>
            </p:cNvPr>
            <p:cNvSpPr>
              <a:spLocks noChangeArrowheads="1"/>
            </p:cNvSpPr>
            <p:nvPr/>
          </p:nvSpPr>
          <p:spPr bwMode="auto">
            <a:xfrm>
              <a:off x="2776538" y="482758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955">
              <a:extLst>
                <a:ext uri="{FF2B5EF4-FFF2-40B4-BE49-F238E27FC236}">
                  <a16:creationId xmlns:a16="http://schemas.microsoft.com/office/drawing/2014/main" id="{F4D33219-ED17-3A44-94D0-3D19C06F5D0C}"/>
                </a:ext>
              </a:extLst>
            </p:cNvPr>
            <p:cNvSpPr>
              <a:spLocks noChangeArrowheads="1"/>
            </p:cNvSpPr>
            <p:nvPr/>
          </p:nvSpPr>
          <p:spPr bwMode="auto">
            <a:xfrm>
              <a:off x="2803525" y="48006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956">
              <a:extLst>
                <a:ext uri="{FF2B5EF4-FFF2-40B4-BE49-F238E27FC236}">
                  <a16:creationId xmlns:a16="http://schemas.microsoft.com/office/drawing/2014/main" id="{DC81F6D5-E8CD-0F48-8E03-D69CEE72B035}"/>
                </a:ext>
              </a:extLst>
            </p:cNvPr>
            <p:cNvSpPr>
              <a:spLocks noChangeArrowheads="1"/>
            </p:cNvSpPr>
            <p:nvPr/>
          </p:nvSpPr>
          <p:spPr bwMode="auto">
            <a:xfrm>
              <a:off x="2859088" y="4800600"/>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957">
              <a:extLst>
                <a:ext uri="{FF2B5EF4-FFF2-40B4-BE49-F238E27FC236}">
                  <a16:creationId xmlns:a16="http://schemas.microsoft.com/office/drawing/2014/main" id="{B13953AA-3543-F44A-AC0C-35A2E2AF5CE4}"/>
                </a:ext>
              </a:extLst>
            </p:cNvPr>
            <p:cNvSpPr>
              <a:spLocks noChangeArrowheads="1"/>
            </p:cNvSpPr>
            <p:nvPr/>
          </p:nvSpPr>
          <p:spPr bwMode="auto">
            <a:xfrm>
              <a:off x="2830513" y="47720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958">
              <a:extLst>
                <a:ext uri="{FF2B5EF4-FFF2-40B4-BE49-F238E27FC236}">
                  <a16:creationId xmlns:a16="http://schemas.microsoft.com/office/drawing/2014/main" id="{EDA24182-098D-7844-B3AF-6712D84C27CA}"/>
                </a:ext>
              </a:extLst>
            </p:cNvPr>
            <p:cNvSpPr>
              <a:spLocks noChangeArrowheads="1"/>
            </p:cNvSpPr>
            <p:nvPr/>
          </p:nvSpPr>
          <p:spPr bwMode="auto">
            <a:xfrm>
              <a:off x="2830513" y="482758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959">
              <a:extLst>
                <a:ext uri="{FF2B5EF4-FFF2-40B4-BE49-F238E27FC236}">
                  <a16:creationId xmlns:a16="http://schemas.microsoft.com/office/drawing/2014/main" id="{0CAA08A6-31A7-9F46-9D28-4B7442355053}"/>
                </a:ext>
              </a:extLst>
            </p:cNvPr>
            <p:cNvSpPr>
              <a:spLocks noChangeArrowheads="1"/>
            </p:cNvSpPr>
            <p:nvPr/>
          </p:nvSpPr>
          <p:spPr bwMode="auto">
            <a:xfrm>
              <a:off x="2640013" y="48545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960">
              <a:extLst>
                <a:ext uri="{FF2B5EF4-FFF2-40B4-BE49-F238E27FC236}">
                  <a16:creationId xmlns:a16="http://schemas.microsoft.com/office/drawing/2014/main" id="{6371DD11-6A27-B445-B3E2-3EF501D42EC5}"/>
                </a:ext>
              </a:extLst>
            </p:cNvPr>
            <p:cNvSpPr>
              <a:spLocks noChangeArrowheads="1"/>
            </p:cNvSpPr>
            <p:nvPr/>
          </p:nvSpPr>
          <p:spPr bwMode="auto">
            <a:xfrm>
              <a:off x="2640013" y="49101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961">
              <a:extLst>
                <a:ext uri="{FF2B5EF4-FFF2-40B4-BE49-F238E27FC236}">
                  <a16:creationId xmlns:a16="http://schemas.microsoft.com/office/drawing/2014/main" id="{1FE11E2F-1F94-4C47-94AC-528314A5E8E1}"/>
                </a:ext>
              </a:extLst>
            </p:cNvPr>
            <p:cNvSpPr>
              <a:spLocks noChangeArrowheads="1"/>
            </p:cNvSpPr>
            <p:nvPr/>
          </p:nvSpPr>
          <p:spPr bwMode="auto">
            <a:xfrm>
              <a:off x="2667000" y="48831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962">
              <a:extLst>
                <a:ext uri="{FF2B5EF4-FFF2-40B4-BE49-F238E27FC236}">
                  <a16:creationId xmlns:a16="http://schemas.microsoft.com/office/drawing/2014/main" id="{0AC9C424-357C-B14A-B2BE-236E983CBC7E}"/>
                </a:ext>
              </a:extLst>
            </p:cNvPr>
            <p:cNvSpPr>
              <a:spLocks noChangeArrowheads="1"/>
            </p:cNvSpPr>
            <p:nvPr/>
          </p:nvSpPr>
          <p:spPr bwMode="auto">
            <a:xfrm>
              <a:off x="2667000" y="49371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963">
              <a:extLst>
                <a:ext uri="{FF2B5EF4-FFF2-40B4-BE49-F238E27FC236}">
                  <a16:creationId xmlns:a16="http://schemas.microsoft.com/office/drawing/2014/main" id="{D9CCB9AA-D1F0-584B-8C8F-9D2AB95669CD}"/>
                </a:ext>
              </a:extLst>
            </p:cNvPr>
            <p:cNvSpPr>
              <a:spLocks noChangeArrowheads="1"/>
            </p:cNvSpPr>
            <p:nvPr/>
          </p:nvSpPr>
          <p:spPr bwMode="auto">
            <a:xfrm>
              <a:off x="2693988" y="48545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964">
              <a:extLst>
                <a:ext uri="{FF2B5EF4-FFF2-40B4-BE49-F238E27FC236}">
                  <a16:creationId xmlns:a16="http://schemas.microsoft.com/office/drawing/2014/main" id="{DC13BFED-258F-7740-8F78-7CFE478567CF}"/>
                </a:ext>
              </a:extLst>
            </p:cNvPr>
            <p:cNvSpPr>
              <a:spLocks noChangeArrowheads="1"/>
            </p:cNvSpPr>
            <p:nvPr/>
          </p:nvSpPr>
          <p:spPr bwMode="auto">
            <a:xfrm>
              <a:off x="2749550" y="48545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965">
              <a:extLst>
                <a:ext uri="{FF2B5EF4-FFF2-40B4-BE49-F238E27FC236}">
                  <a16:creationId xmlns:a16="http://schemas.microsoft.com/office/drawing/2014/main" id="{366480C3-C128-1B44-B06F-2CFD07BD76DB}"/>
                </a:ext>
              </a:extLst>
            </p:cNvPr>
            <p:cNvSpPr>
              <a:spLocks noChangeArrowheads="1"/>
            </p:cNvSpPr>
            <p:nvPr/>
          </p:nvSpPr>
          <p:spPr bwMode="auto">
            <a:xfrm>
              <a:off x="2693988" y="49101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966">
              <a:extLst>
                <a:ext uri="{FF2B5EF4-FFF2-40B4-BE49-F238E27FC236}">
                  <a16:creationId xmlns:a16="http://schemas.microsoft.com/office/drawing/2014/main" id="{71A629B6-55DF-8D47-BB19-2C038B1117F4}"/>
                </a:ext>
              </a:extLst>
            </p:cNvPr>
            <p:cNvSpPr>
              <a:spLocks noChangeArrowheads="1"/>
            </p:cNvSpPr>
            <p:nvPr/>
          </p:nvSpPr>
          <p:spPr bwMode="auto">
            <a:xfrm>
              <a:off x="2749550" y="49101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967">
              <a:extLst>
                <a:ext uri="{FF2B5EF4-FFF2-40B4-BE49-F238E27FC236}">
                  <a16:creationId xmlns:a16="http://schemas.microsoft.com/office/drawing/2014/main" id="{27439905-7980-2944-9629-E45CAE00AEBE}"/>
                </a:ext>
              </a:extLst>
            </p:cNvPr>
            <p:cNvSpPr>
              <a:spLocks noChangeArrowheads="1"/>
            </p:cNvSpPr>
            <p:nvPr/>
          </p:nvSpPr>
          <p:spPr bwMode="auto">
            <a:xfrm>
              <a:off x="2722563" y="4883150"/>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968">
              <a:extLst>
                <a:ext uri="{FF2B5EF4-FFF2-40B4-BE49-F238E27FC236}">
                  <a16:creationId xmlns:a16="http://schemas.microsoft.com/office/drawing/2014/main" id="{4B588984-1957-804C-9F6A-8D8A22721FD9}"/>
                </a:ext>
              </a:extLst>
            </p:cNvPr>
            <p:cNvSpPr>
              <a:spLocks noChangeArrowheads="1"/>
            </p:cNvSpPr>
            <p:nvPr/>
          </p:nvSpPr>
          <p:spPr bwMode="auto">
            <a:xfrm>
              <a:off x="2776538" y="48831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969">
              <a:extLst>
                <a:ext uri="{FF2B5EF4-FFF2-40B4-BE49-F238E27FC236}">
                  <a16:creationId xmlns:a16="http://schemas.microsoft.com/office/drawing/2014/main" id="{907B0491-216C-1B45-BA31-31215AD4D928}"/>
                </a:ext>
              </a:extLst>
            </p:cNvPr>
            <p:cNvSpPr>
              <a:spLocks noChangeArrowheads="1"/>
            </p:cNvSpPr>
            <p:nvPr/>
          </p:nvSpPr>
          <p:spPr bwMode="auto">
            <a:xfrm>
              <a:off x="2722563" y="4937125"/>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970">
              <a:extLst>
                <a:ext uri="{FF2B5EF4-FFF2-40B4-BE49-F238E27FC236}">
                  <a16:creationId xmlns:a16="http://schemas.microsoft.com/office/drawing/2014/main" id="{690C4C57-CBC8-0841-8C35-B207567B54A0}"/>
                </a:ext>
              </a:extLst>
            </p:cNvPr>
            <p:cNvSpPr>
              <a:spLocks noChangeArrowheads="1"/>
            </p:cNvSpPr>
            <p:nvPr/>
          </p:nvSpPr>
          <p:spPr bwMode="auto">
            <a:xfrm>
              <a:off x="2776538" y="49371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971">
              <a:extLst>
                <a:ext uri="{FF2B5EF4-FFF2-40B4-BE49-F238E27FC236}">
                  <a16:creationId xmlns:a16="http://schemas.microsoft.com/office/drawing/2014/main" id="{9A813802-C9E0-B845-8A29-BD81984926CC}"/>
                </a:ext>
              </a:extLst>
            </p:cNvPr>
            <p:cNvSpPr>
              <a:spLocks noChangeArrowheads="1"/>
            </p:cNvSpPr>
            <p:nvPr/>
          </p:nvSpPr>
          <p:spPr bwMode="auto">
            <a:xfrm>
              <a:off x="2803525" y="48545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972">
              <a:extLst>
                <a:ext uri="{FF2B5EF4-FFF2-40B4-BE49-F238E27FC236}">
                  <a16:creationId xmlns:a16="http://schemas.microsoft.com/office/drawing/2014/main" id="{A00EF201-7B75-5A4D-8871-DC6C796DE487}"/>
                </a:ext>
              </a:extLst>
            </p:cNvPr>
            <p:cNvSpPr>
              <a:spLocks noChangeArrowheads="1"/>
            </p:cNvSpPr>
            <p:nvPr/>
          </p:nvSpPr>
          <p:spPr bwMode="auto">
            <a:xfrm>
              <a:off x="2859088" y="4854575"/>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973">
              <a:extLst>
                <a:ext uri="{FF2B5EF4-FFF2-40B4-BE49-F238E27FC236}">
                  <a16:creationId xmlns:a16="http://schemas.microsoft.com/office/drawing/2014/main" id="{EE30CBF3-0271-3944-8118-9C24C8FD5DCC}"/>
                </a:ext>
              </a:extLst>
            </p:cNvPr>
            <p:cNvSpPr>
              <a:spLocks noChangeArrowheads="1"/>
            </p:cNvSpPr>
            <p:nvPr/>
          </p:nvSpPr>
          <p:spPr bwMode="auto">
            <a:xfrm>
              <a:off x="2803525" y="49101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974">
              <a:extLst>
                <a:ext uri="{FF2B5EF4-FFF2-40B4-BE49-F238E27FC236}">
                  <a16:creationId xmlns:a16="http://schemas.microsoft.com/office/drawing/2014/main" id="{E7D5C75A-5BB2-4044-B560-FB93FBF6D73C}"/>
                </a:ext>
              </a:extLst>
            </p:cNvPr>
            <p:cNvSpPr>
              <a:spLocks noChangeArrowheads="1"/>
            </p:cNvSpPr>
            <p:nvPr/>
          </p:nvSpPr>
          <p:spPr bwMode="auto">
            <a:xfrm>
              <a:off x="2859088" y="4910138"/>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975">
              <a:extLst>
                <a:ext uri="{FF2B5EF4-FFF2-40B4-BE49-F238E27FC236}">
                  <a16:creationId xmlns:a16="http://schemas.microsoft.com/office/drawing/2014/main" id="{47A65815-DE67-044B-8FFF-A50E10321E70}"/>
                </a:ext>
              </a:extLst>
            </p:cNvPr>
            <p:cNvSpPr>
              <a:spLocks noChangeArrowheads="1"/>
            </p:cNvSpPr>
            <p:nvPr/>
          </p:nvSpPr>
          <p:spPr bwMode="auto">
            <a:xfrm>
              <a:off x="2830513" y="48831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976">
              <a:extLst>
                <a:ext uri="{FF2B5EF4-FFF2-40B4-BE49-F238E27FC236}">
                  <a16:creationId xmlns:a16="http://schemas.microsoft.com/office/drawing/2014/main" id="{EACE643F-F9D4-7044-8350-F08F93C887B1}"/>
                </a:ext>
              </a:extLst>
            </p:cNvPr>
            <p:cNvSpPr>
              <a:spLocks noChangeArrowheads="1"/>
            </p:cNvSpPr>
            <p:nvPr/>
          </p:nvSpPr>
          <p:spPr bwMode="auto">
            <a:xfrm>
              <a:off x="2830513" y="49371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977">
              <a:extLst>
                <a:ext uri="{FF2B5EF4-FFF2-40B4-BE49-F238E27FC236}">
                  <a16:creationId xmlns:a16="http://schemas.microsoft.com/office/drawing/2014/main" id="{F0D3419B-AD75-5D48-AD74-041D8957ECE7}"/>
                </a:ext>
              </a:extLst>
            </p:cNvPr>
            <p:cNvSpPr>
              <a:spLocks noChangeArrowheads="1"/>
            </p:cNvSpPr>
            <p:nvPr/>
          </p:nvSpPr>
          <p:spPr bwMode="auto">
            <a:xfrm>
              <a:off x="2640013" y="49657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978">
              <a:extLst>
                <a:ext uri="{FF2B5EF4-FFF2-40B4-BE49-F238E27FC236}">
                  <a16:creationId xmlns:a16="http://schemas.microsoft.com/office/drawing/2014/main" id="{499A48C9-DF96-464D-B070-FE1778E7F143}"/>
                </a:ext>
              </a:extLst>
            </p:cNvPr>
            <p:cNvSpPr>
              <a:spLocks noChangeArrowheads="1"/>
            </p:cNvSpPr>
            <p:nvPr/>
          </p:nvSpPr>
          <p:spPr bwMode="auto">
            <a:xfrm>
              <a:off x="2640013" y="50196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979">
              <a:extLst>
                <a:ext uri="{FF2B5EF4-FFF2-40B4-BE49-F238E27FC236}">
                  <a16:creationId xmlns:a16="http://schemas.microsoft.com/office/drawing/2014/main" id="{2FFC4404-1CE3-4741-ACEB-F2E5D801ECC9}"/>
                </a:ext>
              </a:extLst>
            </p:cNvPr>
            <p:cNvSpPr>
              <a:spLocks noChangeArrowheads="1"/>
            </p:cNvSpPr>
            <p:nvPr/>
          </p:nvSpPr>
          <p:spPr bwMode="auto">
            <a:xfrm>
              <a:off x="2667000" y="499268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980">
              <a:extLst>
                <a:ext uri="{FF2B5EF4-FFF2-40B4-BE49-F238E27FC236}">
                  <a16:creationId xmlns:a16="http://schemas.microsoft.com/office/drawing/2014/main" id="{2DE3BD25-D33F-CB46-9F9E-511103050B5B}"/>
                </a:ext>
              </a:extLst>
            </p:cNvPr>
            <p:cNvSpPr>
              <a:spLocks noChangeArrowheads="1"/>
            </p:cNvSpPr>
            <p:nvPr/>
          </p:nvSpPr>
          <p:spPr bwMode="auto">
            <a:xfrm>
              <a:off x="2667000" y="50482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981">
              <a:extLst>
                <a:ext uri="{FF2B5EF4-FFF2-40B4-BE49-F238E27FC236}">
                  <a16:creationId xmlns:a16="http://schemas.microsoft.com/office/drawing/2014/main" id="{CF4D38B6-FEBE-6147-B59E-78A55884FE6A}"/>
                </a:ext>
              </a:extLst>
            </p:cNvPr>
            <p:cNvSpPr>
              <a:spLocks noChangeArrowheads="1"/>
            </p:cNvSpPr>
            <p:nvPr/>
          </p:nvSpPr>
          <p:spPr bwMode="auto">
            <a:xfrm>
              <a:off x="2693988" y="49657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982">
              <a:extLst>
                <a:ext uri="{FF2B5EF4-FFF2-40B4-BE49-F238E27FC236}">
                  <a16:creationId xmlns:a16="http://schemas.microsoft.com/office/drawing/2014/main" id="{A6B27F30-3239-814D-A845-6D8F89110D42}"/>
                </a:ext>
              </a:extLst>
            </p:cNvPr>
            <p:cNvSpPr>
              <a:spLocks noChangeArrowheads="1"/>
            </p:cNvSpPr>
            <p:nvPr/>
          </p:nvSpPr>
          <p:spPr bwMode="auto">
            <a:xfrm>
              <a:off x="2749550" y="49657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983">
              <a:extLst>
                <a:ext uri="{FF2B5EF4-FFF2-40B4-BE49-F238E27FC236}">
                  <a16:creationId xmlns:a16="http://schemas.microsoft.com/office/drawing/2014/main" id="{01527C3F-507A-DD41-815D-50D145FE30FF}"/>
                </a:ext>
              </a:extLst>
            </p:cNvPr>
            <p:cNvSpPr>
              <a:spLocks noChangeArrowheads="1"/>
            </p:cNvSpPr>
            <p:nvPr/>
          </p:nvSpPr>
          <p:spPr bwMode="auto">
            <a:xfrm>
              <a:off x="2693988" y="50196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984">
              <a:extLst>
                <a:ext uri="{FF2B5EF4-FFF2-40B4-BE49-F238E27FC236}">
                  <a16:creationId xmlns:a16="http://schemas.microsoft.com/office/drawing/2014/main" id="{ED5E5DDA-0185-9A41-AE86-1F672DE220F6}"/>
                </a:ext>
              </a:extLst>
            </p:cNvPr>
            <p:cNvSpPr>
              <a:spLocks noChangeArrowheads="1"/>
            </p:cNvSpPr>
            <p:nvPr/>
          </p:nvSpPr>
          <p:spPr bwMode="auto">
            <a:xfrm>
              <a:off x="2749550" y="50196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985">
              <a:extLst>
                <a:ext uri="{FF2B5EF4-FFF2-40B4-BE49-F238E27FC236}">
                  <a16:creationId xmlns:a16="http://schemas.microsoft.com/office/drawing/2014/main" id="{596B2A67-B6C1-7648-A2F3-ABF19228900B}"/>
                </a:ext>
              </a:extLst>
            </p:cNvPr>
            <p:cNvSpPr>
              <a:spLocks noChangeArrowheads="1"/>
            </p:cNvSpPr>
            <p:nvPr/>
          </p:nvSpPr>
          <p:spPr bwMode="auto">
            <a:xfrm>
              <a:off x="2722563" y="4992688"/>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986">
              <a:extLst>
                <a:ext uri="{FF2B5EF4-FFF2-40B4-BE49-F238E27FC236}">
                  <a16:creationId xmlns:a16="http://schemas.microsoft.com/office/drawing/2014/main" id="{FFA39B2F-FBD8-7A48-9211-9A1C90C3AB09}"/>
                </a:ext>
              </a:extLst>
            </p:cNvPr>
            <p:cNvSpPr>
              <a:spLocks noChangeArrowheads="1"/>
            </p:cNvSpPr>
            <p:nvPr/>
          </p:nvSpPr>
          <p:spPr bwMode="auto">
            <a:xfrm>
              <a:off x="2776538" y="499268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987">
              <a:extLst>
                <a:ext uri="{FF2B5EF4-FFF2-40B4-BE49-F238E27FC236}">
                  <a16:creationId xmlns:a16="http://schemas.microsoft.com/office/drawing/2014/main" id="{E1B24895-D625-0946-8118-0CBAEED7039B}"/>
                </a:ext>
              </a:extLst>
            </p:cNvPr>
            <p:cNvSpPr>
              <a:spLocks noChangeArrowheads="1"/>
            </p:cNvSpPr>
            <p:nvPr/>
          </p:nvSpPr>
          <p:spPr bwMode="auto">
            <a:xfrm>
              <a:off x="2722563" y="5048250"/>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988">
              <a:extLst>
                <a:ext uri="{FF2B5EF4-FFF2-40B4-BE49-F238E27FC236}">
                  <a16:creationId xmlns:a16="http://schemas.microsoft.com/office/drawing/2014/main" id="{D306574B-10DB-6B43-8BFC-FC02220FF479}"/>
                </a:ext>
              </a:extLst>
            </p:cNvPr>
            <p:cNvSpPr>
              <a:spLocks noChangeArrowheads="1"/>
            </p:cNvSpPr>
            <p:nvPr/>
          </p:nvSpPr>
          <p:spPr bwMode="auto">
            <a:xfrm>
              <a:off x="2776538" y="50482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989">
              <a:extLst>
                <a:ext uri="{FF2B5EF4-FFF2-40B4-BE49-F238E27FC236}">
                  <a16:creationId xmlns:a16="http://schemas.microsoft.com/office/drawing/2014/main" id="{9C66E932-FB84-5C4E-B784-91A6313B5278}"/>
                </a:ext>
              </a:extLst>
            </p:cNvPr>
            <p:cNvSpPr>
              <a:spLocks noChangeArrowheads="1"/>
            </p:cNvSpPr>
            <p:nvPr/>
          </p:nvSpPr>
          <p:spPr bwMode="auto">
            <a:xfrm>
              <a:off x="2803525" y="49657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990">
              <a:extLst>
                <a:ext uri="{FF2B5EF4-FFF2-40B4-BE49-F238E27FC236}">
                  <a16:creationId xmlns:a16="http://schemas.microsoft.com/office/drawing/2014/main" id="{888F6881-3493-7C46-89C7-A1DA68C50901}"/>
                </a:ext>
              </a:extLst>
            </p:cNvPr>
            <p:cNvSpPr>
              <a:spLocks noChangeArrowheads="1"/>
            </p:cNvSpPr>
            <p:nvPr/>
          </p:nvSpPr>
          <p:spPr bwMode="auto">
            <a:xfrm>
              <a:off x="2859088" y="4965700"/>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991">
              <a:extLst>
                <a:ext uri="{FF2B5EF4-FFF2-40B4-BE49-F238E27FC236}">
                  <a16:creationId xmlns:a16="http://schemas.microsoft.com/office/drawing/2014/main" id="{5D29CC4A-91DB-9D48-885D-22A396D5C116}"/>
                </a:ext>
              </a:extLst>
            </p:cNvPr>
            <p:cNvSpPr>
              <a:spLocks noChangeArrowheads="1"/>
            </p:cNvSpPr>
            <p:nvPr/>
          </p:nvSpPr>
          <p:spPr bwMode="auto">
            <a:xfrm>
              <a:off x="2803525" y="50196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992">
              <a:extLst>
                <a:ext uri="{FF2B5EF4-FFF2-40B4-BE49-F238E27FC236}">
                  <a16:creationId xmlns:a16="http://schemas.microsoft.com/office/drawing/2014/main" id="{FAB86F69-8556-8145-9952-751A7DE78A63}"/>
                </a:ext>
              </a:extLst>
            </p:cNvPr>
            <p:cNvSpPr>
              <a:spLocks noChangeArrowheads="1"/>
            </p:cNvSpPr>
            <p:nvPr/>
          </p:nvSpPr>
          <p:spPr bwMode="auto">
            <a:xfrm>
              <a:off x="2859088" y="5019675"/>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993">
              <a:extLst>
                <a:ext uri="{FF2B5EF4-FFF2-40B4-BE49-F238E27FC236}">
                  <a16:creationId xmlns:a16="http://schemas.microsoft.com/office/drawing/2014/main" id="{745B7BB4-1BB3-0A45-B370-8C8ED7BC83D9}"/>
                </a:ext>
              </a:extLst>
            </p:cNvPr>
            <p:cNvSpPr>
              <a:spLocks noChangeArrowheads="1"/>
            </p:cNvSpPr>
            <p:nvPr/>
          </p:nvSpPr>
          <p:spPr bwMode="auto">
            <a:xfrm>
              <a:off x="2830513" y="499268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994">
              <a:extLst>
                <a:ext uri="{FF2B5EF4-FFF2-40B4-BE49-F238E27FC236}">
                  <a16:creationId xmlns:a16="http://schemas.microsoft.com/office/drawing/2014/main" id="{75B72FD1-39A6-8E40-B773-A519BC1859AE}"/>
                </a:ext>
              </a:extLst>
            </p:cNvPr>
            <p:cNvSpPr>
              <a:spLocks noChangeArrowheads="1"/>
            </p:cNvSpPr>
            <p:nvPr/>
          </p:nvSpPr>
          <p:spPr bwMode="auto">
            <a:xfrm>
              <a:off x="2830513" y="50482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Oval 995">
              <a:extLst>
                <a:ext uri="{FF2B5EF4-FFF2-40B4-BE49-F238E27FC236}">
                  <a16:creationId xmlns:a16="http://schemas.microsoft.com/office/drawing/2014/main" id="{D714A90E-8725-9449-8BA1-E454DF0A7D55}"/>
                </a:ext>
              </a:extLst>
            </p:cNvPr>
            <p:cNvSpPr>
              <a:spLocks noChangeArrowheads="1"/>
            </p:cNvSpPr>
            <p:nvPr/>
          </p:nvSpPr>
          <p:spPr bwMode="auto">
            <a:xfrm>
              <a:off x="2640013" y="50752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996">
              <a:extLst>
                <a:ext uri="{FF2B5EF4-FFF2-40B4-BE49-F238E27FC236}">
                  <a16:creationId xmlns:a16="http://schemas.microsoft.com/office/drawing/2014/main" id="{254C3404-7412-0E48-BDF1-011A000363E3}"/>
                </a:ext>
              </a:extLst>
            </p:cNvPr>
            <p:cNvSpPr>
              <a:spLocks noChangeArrowheads="1"/>
            </p:cNvSpPr>
            <p:nvPr/>
          </p:nvSpPr>
          <p:spPr bwMode="auto">
            <a:xfrm>
              <a:off x="2640013" y="51308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997">
              <a:extLst>
                <a:ext uri="{FF2B5EF4-FFF2-40B4-BE49-F238E27FC236}">
                  <a16:creationId xmlns:a16="http://schemas.microsoft.com/office/drawing/2014/main" id="{CDA58ED9-D7E5-0349-9AA6-A15B14B5BDC9}"/>
                </a:ext>
              </a:extLst>
            </p:cNvPr>
            <p:cNvSpPr>
              <a:spLocks noChangeArrowheads="1"/>
            </p:cNvSpPr>
            <p:nvPr/>
          </p:nvSpPr>
          <p:spPr bwMode="auto">
            <a:xfrm>
              <a:off x="2667000" y="51022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998">
              <a:extLst>
                <a:ext uri="{FF2B5EF4-FFF2-40B4-BE49-F238E27FC236}">
                  <a16:creationId xmlns:a16="http://schemas.microsoft.com/office/drawing/2014/main" id="{D8D42F91-D588-1E44-88D5-A2F2CE7DDF81}"/>
                </a:ext>
              </a:extLst>
            </p:cNvPr>
            <p:cNvSpPr>
              <a:spLocks noChangeArrowheads="1"/>
            </p:cNvSpPr>
            <p:nvPr/>
          </p:nvSpPr>
          <p:spPr bwMode="auto">
            <a:xfrm>
              <a:off x="2667000" y="515778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999">
              <a:extLst>
                <a:ext uri="{FF2B5EF4-FFF2-40B4-BE49-F238E27FC236}">
                  <a16:creationId xmlns:a16="http://schemas.microsoft.com/office/drawing/2014/main" id="{E829E153-17DD-4F42-8508-EA5E74E631C5}"/>
                </a:ext>
              </a:extLst>
            </p:cNvPr>
            <p:cNvSpPr>
              <a:spLocks noChangeArrowheads="1"/>
            </p:cNvSpPr>
            <p:nvPr/>
          </p:nvSpPr>
          <p:spPr bwMode="auto">
            <a:xfrm>
              <a:off x="2693988" y="50752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1000">
              <a:extLst>
                <a:ext uri="{FF2B5EF4-FFF2-40B4-BE49-F238E27FC236}">
                  <a16:creationId xmlns:a16="http://schemas.microsoft.com/office/drawing/2014/main" id="{F096B074-5791-B64B-A45F-5A06C6370809}"/>
                </a:ext>
              </a:extLst>
            </p:cNvPr>
            <p:cNvSpPr>
              <a:spLocks noChangeArrowheads="1"/>
            </p:cNvSpPr>
            <p:nvPr/>
          </p:nvSpPr>
          <p:spPr bwMode="auto">
            <a:xfrm>
              <a:off x="2749550" y="50752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1001">
              <a:extLst>
                <a:ext uri="{FF2B5EF4-FFF2-40B4-BE49-F238E27FC236}">
                  <a16:creationId xmlns:a16="http://schemas.microsoft.com/office/drawing/2014/main" id="{96B1E8FC-5EB9-604F-BAA0-010C5CEA8987}"/>
                </a:ext>
              </a:extLst>
            </p:cNvPr>
            <p:cNvSpPr>
              <a:spLocks noChangeArrowheads="1"/>
            </p:cNvSpPr>
            <p:nvPr/>
          </p:nvSpPr>
          <p:spPr bwMode="auto">
            <a:xfrm>
              <a:off x="2693988" y="51308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1002">
              <a:extLst>
                <a:ext uri="{FF2B5EF4-FFF2-40B4-BE49-F238E27FC236}">
                  <a16:creationId xmlns:a16="http://schemas.microsoft.com/office/drawing/2014/main" id="{C6E03C10-9348-5448-82EC-C3F377724049}"/>
                </a:ext>
              </a:extLst>
            </p:cNvPr>
            <p:cNvSpPr>
              <a:spLocks noChangeArrowheads="1"/>
            </p:cNvSpPr>
            <p:nvPr/>
          </p:nvSpPr>
          <p:spPr bwMode="auto">
            <a:xfrm>
              <a:off x="2749550" y="51308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1003">
              <a:extLst>
                <a:ext uri="{FF2B5EF4-FFF2-40B4-BE49-F238E27FC236}">
                  <a16:creationId xmlns:a16="http://schemas.microsoft.com/office/drawing/2014/main" id="{F81F2540-C500-B04A-9099-35DCB5375AEC}"/>
                </a:ext>
              </a:extLst>
            </p:cNvPr>
            <p:cNvSpPr>
              <a:spLocks noChangeArrowheads="1"/>
            </p:cNvSpPr>
            <p:nvPr/>
          </p:nvSpPr>
          <p:spPr bwMode="auto">
            <a:xfrm>
              <a:off x="2722563" y="5102225"/>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Oval 1004">
              <a:extLst>
                <a:ext uri="{FF2B5EF4-FFF2-40B4-BE49-F238E27FC236}">
                  <a16:creationId xmlns:a16="http://schemas.microsoft.com/office/drawing/2014/main" id="{2B4A807D-FDB4-A649-B3DA-DACFA219BBA3}"/>
                </a:ext>
              </a:extLst>
            </p:cNvPr>
            <p:cNvSpPr>
              <a:spLocks noChangeArrowheads="1"/>
            </p:cNvSpPr>
            <p:nvPr/>
          </p:nvSpPr>
          <p:spPr bwMode="auto">
            <a:xfrm>
              <a:off x="2776538" y="51022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1005">
              <a:extLst>
                <a:ext uri="{FF2B5EF4-FFF2-40B4-BE49-F238E27FC236}">
                  <a16:creationId xmlns:a16="http://schemas.microsoft.com/office/drawing/2014/main" id="{A5A63512-F809-154F-A378-7F9CA3225AB7}"/>
                </a:ext>
              </a:extLst>
            </p:cNvPr>
            <p:cNvSpPr>
              <a:spLocks noChangeArrowheads="1"/>
            </p:cNvSpPr>
            <p:nvPr/>
          </p:nvSpPr>
          <p:spPr bwMode="auto">
            <a:xfrm>
              <a:off x="2722563" y="5157788"/>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1006">
              <a:extLst>
                <a:ext uri="{FF2B5EF4-FFF2-40B4-BE49-F238E27FC236}">
                  <a16:creationId xmlns:a16="http://schemas.microsoft.com/office/drawing/2014/main" id="{53895F29-D448-1146-8FAA-53BCFECEB550}"/>
                </a:ext>
              </a:extLst>
            </p:cNvPr>
            <p:cNvSpPr>
              <a:spLocks noChangeArrowheads="1"/>
            </p:cNvSpPr>
            <p:nvPr/>
          </p:nvSpPr>
          <p:spPr bwMode="auto">
            <a:xfrm>
              <a:off x="2776538" y="515778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1007">
              <a:extLst>
                <a:ext uri="{FF2B5EF4-FFF2-40B4-BE49-F238E27FC236}">
                  <a16:creationId xmlns:a16="http://schemas.microsoft.com/office/drawing/2014/main" id="{6D2F237A-9002-EA4A-A19B-FFE7AD02ADC1}"/>
                </a:ext>
              </a:extLst>
            </p:cNvPr>
            <p:cNvSpPr>
              <a:spLocks noChangeArrowheads="1"/>
            </p:cNvSpPr>
            <p:nvPr/>
          </p:nvSpPr>
          <p:spPr bwMode="auto">
            <a:xfrm>
              <a:off x="2803525" y="50752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1008">
              <a:extLst>
                <a:ext uri="{FF2B5EF4-FFF2-40B4-BE49-F238E27FC236}">
                  <a16:creationId xmlns:a16="http://schemas.microsoft.com/office/drawing/2014/main" id="{A211ACF5-2B4B-8849-806B-A79D9B86AFE8}"/>
                </a:ext>
              </a:extLst>
            </p:cNvPr>
            <p:cNvSpPr>
              <a:spLocks noChangeArrowheads="1"/>
            </p:cNvSpPr>
            <p:nvPr/>
          </p:nvSpPr>
          <p:spPr bwMode="auto">
            <a:xfrm>
              <a:off x="2859088" y="5075238"/>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1009">
              <a:extLst>
                <a:ext uri="{FF2B5EF4-FFF2-40B4-BE49-F238E27FC236}">
                  <a16:creationId xmlns:a16="http://schemas.microsoft.com/office/drawing/2014/main" id="{C919C1B2-E641-4549-BC3D-1B9EB8F93BA1}"/>
                </a:ext>
              </a:extLst>
            </p:cNvPr>
            <p:cNvSpPr>
              <a:spLocks noChangeArrowheads="1"/>
            </p:cNvSpPr>
            <p:nvPr/>
          </p:nvSpPr>
          <p:spPr bwMode="auto">
            <a:xfrm>
              <a:off x="2803525" y="513080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1010">
              <a:extLst>
                <a:ext uri="{FF2B5EF4-FFF2-40B4-BE49-F238E27FC236}">
                  <a16:creationId xmlns:a16="http://schemas.microsoft.com/office/drawing/2014/main" id="{6C4CF954-53F6-0247-BA2E-EF38C4FA260C}"/>
                </a:ext>
              </a:extLst>
            </p:cNvPr>
            <p:cNvSpPr>
              <a:spLocks noChangeArrowheads="1"/>
            </p:cNvSpPr>
            <p:nvPr/>
          </p:nvSpPr>
          <p:spPr bwMode="auto">
            <a:xfrm>
              <a:off x="2859088" y="5130800"/>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1011">
              <a:extLst>
                <a:ext uri="{FF2B5EF4-FFF2-40B4-BE49-F238E27FC236}">
                  <a16:creationId xmlns:a16="http://schemas.microsoft.com/office/drawing/2014/main" id="{4BC5BAA4-0CA1-5F41-B4ED-17D1633D68BB}"/>
                </a:ext>
              </a:extLst>
            </p:cNvPr>
            <p:cNvSpPr>
              <a:spLocks noChangeArrowheads="1"/>
            </p:cNvSpPr>
            <p:nvPr/>
          </p:nvSpPr>
          <p:spPr bwMode="auto">
            <a:xfrm>
              <a:off x="2830513" y="51022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012">
              <a:extLst>
                <a:ext uri="{FF2B5EF4-FFF2-40B4-BE49-F238E27FC236}">
                  <a16:creationId xmlns:a16="http://schemas.microsoft.com/office/drawing/2014/main" id="{A250E42F-1F26-E54A-8C40-156BBEC64A5C}"/>
                </a:ext>
              </a:extLst>
            </p:cNvPr>
            <p:cNvSpPr>
              <a:spLocks noChangeArrowheads="1"/>
            </p:cNvSpPr>
            <p:nvPr/>
          </p:nvSpPr>
          <p:spPr bwMode="auto">
            <a:xfrm>
              <a:off x="2830513" y="515778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1013">
              <a:extLst>
                <a:ext uri="{FF2B5EF4-FFF2-40B4-BE49-F238E27FC236}">
                  <a16:creationId xmlns:a16="http://schemas.microsoft.com/office/drawing/2014/main" id="{ECA830DD-3FE1-5749-A9DF-4369A0C747A7}"/>
                </a:ext>
              </a:extLst>
            </p:cNvPr>
            <p:cNvSpPr>
              <a:spLocks noChangeArrowheads="1"/>
            </p:cNvSpPr>
            <p:nvPr/>
          </p:nvSpPr>
          <p:spPr bwMode="auto">
            <a:xfrm>
              <a:off x="2640013" y="51847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1014">
              <a:extLst>
                <a:ext uri="{FF2B5EF4-FFF2-40B4-BE49-F238E27FC236}">
                  <a16:creationId xmlns:a16="http://schemas.microsoft.com/office/drawing/2014/main" id="{8BCFACCB-5DF1-4046-9941-1DF7E2E4983A}"/>
                </a:ext>
              </a:extLst>
            </p:cNvPr>
            <p:cNvSpPr>
              <a:spLocks noChangeArrowheads="1"/>
            </p:cNvSpPr>
            <p:nvPr/>
          </p:nvSpPr>
          <p:spPr bwMode="auto">
            <a:xfrm>
              <a:off x="2667000" y="52133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1015">
              <a:extLst>
                <a:ext uri="{FF2B5EF4-FFF2-40B4-BE49-F238E27FC236}">
                  <a16:creationId xmlns:a16="http://schemas.microsoft.com/office/drawing/2014/main" id="{F4822D57-D0D3-7148-B867-7040951B459A}"/>
                </a:ext>
              </a:extLst>
            </p:cNvPr>
            <p:cNvSpPr>
              <a:spLocks noChangeArrowheads="1"/>
            </p:cNvSpPr>
            <p:nvPr/>
          </p:nvSpPr>
          <p:spPr bwMode="auto">
            <a:xfrm>
              <a:off x="2693988" y="51847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1016">
              <a:extLst>
                <a:ext uri="{FF2B5EF4-FFF2-40B4-BE49-F238E27FC236}">
                  <a16:creationId xmlns:a16="http://schemas.microsoft.com/office/drawing/2014/main" id="{04BED534-690B-8F48-A0F2-3A119D4F591C}"/>
                </a:ext>
              </a:extLst>
            </p:cNvPr>
            <p:cNvSpPr>
              <a:spLocks noChangeArrowheads="1"/>
            </p:cNvSpPr>
            <p:nvPr/>
          </p:nvSpPr>
          <p:spPr bwMode="auto">
            <a:xfrm>
              <a:off x="2749550" y="51847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017">
              <a:extLst>
                <a:ext uri="{FF2B5EF4-FFF2-40B4-BE49-F238E27FC236}">
                  <a16:creationId xmlns:a16="http://schemas.microsoft.com/office/drawing/2014/main" id="{4E890482-5D41-8942-8B70-909276C292D0}"/>
                </a:ext>
              </a:extLst>
            </p:cNvPr>
            <p:cNvSpPr>
              <a:spLocks noChangeArrowheads="1"/>
            </p:cNvSpPr>
            <p:nvPr/>
          </p:nvSpPr>
          <p:spPr bwMode="auto">
            <a:xfrm>
              <a:off x="2722563" y="5213350"/>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1018">
              <a:extLst>
                <a:ext uri="{FF2B5EF4-FFF2-40B4-BE49-F238E27FC236}">
                  <a16:creationId xmlns:a16="http://schemas.microsoft.com/office/drawing/2014/main" id="{CCA64164-774C-524D-9593-2080D6C4ED4D}"/>
                </a:ext>
              </a:extLst>
            </p:cNvPr>
            <p:cNvSpPr>
              <a:spLocks noChangeArrowheads="1"/>
            </p:cNvSpPr>
            <p:nvPr/>
          </p:nvSpPr>
          <p:spPr bwMode="auto">
            <a:xfrm>
              <a:off x="2776538" y="52133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1019">
              <a:extLst>
                <a:ext uri="{FF2B5EF4-FFF2-40B4-BE49-F238E27FC236}">
                  <a16:creationId xmlns:a16="http://schemas.microsoft.com/office/drawing/2014/main" id="{F1E36C07-FAAC-EA4D-97A7-88439A2CE75B}"/>
                </a:ext>
              </a:extLst>
            </p:cNvPr>
            <p:cNvSpPr>
              <a:spLocks noChangeArrowheads="1"/>
            </p:cNvSpPr>
            <p:nvPr/>
          </p:nvSpPr>
          <p:spPr bwMode="auto">
            <a:xfrm>
              <a:off x="2803525" y="518477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1020">
              <a:extLst>
                <a:ext uri="{FF2B5EF4-FFF2-40B4-BE49-F238E27FC236}">
                  <a16:creationId xmlns:a16="http://schemas.microsoft.com/office/drawing/2014/main" id="{49F696AC-D4F6-B244-809D-AA37BAA23BC2}"/>
                </a:ext>
              </a:extLst>
            </p:cNvPr>
            <p:cNvSpPr>
              <a:spLocks noChangeArrowheads="1"/>
            </p:cNvSpPr>
            <p:nvPr/>
          </p:nvSpPr>
          <p:spPr bwMode="auto">
            <a:xfrm>
              <a:off x="2859088" y="5184775"/>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1021">
              <a:extLst>
                <a:ext uri="{FF2B5EF4-FFF2-40B4-BE49-F238E27FC236}">
                  <a16:creationId xmlns:a16="http://schemas.microsoft.com/office/drawing/2014/main" id="{4FF7236E-F986-274A-B757-AD8A0C4D932F}"/>
                </a:ext>
              </a:extLst>
            </p:cNvPr>
            <p:cNvSpPr>
              <a:spLocks noChangeArrowheads="1"/>
            </p:cNvSpPr>
            <p:nvPr/>
          </p:nvSpPr>
          <p:spPr bwMode="auto">
            <a:xfrm>
              <a:off x="2830513" y="5213350"/>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5" name="Freeform 1022">
            <a:extLst>
              <a:ext uri="{FF2B5EF4-FFF2-40B4-BE49-F238E27FC236}">
                <a16:creationId xmlns:a16="http://schemas.microsoft.com/office/drawing/2014/main" id="{A43028EE-9703-EF4D-AD1A-214D609D11BF}"/>
              </a:ext>
            </a:extLst>
          </p:cNvPr>
          <p:cNvSpPr>
            <a:spLocks noEditPoints="1"/>
          </p:cNvSpPr>
          <p:nvPr/>
        </p:nvSpPr>
        <p:spPr bwMode="auto">
          <a:xfrm>
            <a:off x="1654058" y="5319713"/>
            <a:ext cx="290513" cy="550863"/>
          </a:xfrm>
          <a:custGeom>
            <a:avLst/>
            <a:gdLst>
              <a:gd name="T0" fmla="*/ 9 w 85"/>
              <a:gd name="T1" fmla="*/ 11 h 160"/>
              <a:gd name="T2" fmla="*/ 85 w 85"/>
              <a:gd name="T3" fmla="*/ 20 h 160"/>
              <a:gd name="T4" fmla="*/ 32 w 85"/>
              <a:gd name="T5" fmla="*/ 5 h 160"/>
              <a:gd name="T6" fmla="*/ 80 w 85"/>
              <a:gd name="T7" fmla="*/ 51 h 160"/>
              <a:gd name="T8" fmla="*/ 80 w 85"/>
              <a:gd name="T9" fmla="*/ 112 h 160"/>
              <a:gd name="T10" fmla="*/ 53 w 85"/>
              <a:gd name="T11" fmla="*/ 155 h 160"/>
              <a:gd name="T12" fmla="*/ 5 w 85"/>
              <a:gd name="T13" fmla="*/ 149 h 160"/>
              <a:gd name="T14" fmla="*/ 5 w 85"/>
              <a:gd name="T15" fmla="*/ 117 h 160"/>
              <a:gd name="T16" fmla="*/ 5 w 85"/>
              <a:gd name="T17" fmla="*/ 85 h 160"/>
              <a:gd name="T18" fmla="*/ 19 w 85"/>
              <a:gd name="T19" fmla="*/ 56 h 160"/>
              <a:gd name="T20" fmla="*/ 51 w 85"/>
              <a:gd name="T21" fmla="*/ 56 h 160"/>
              <a:gd name="T22" fmla="*/ 80 w 85"/>
              <a:gd name="T23" fmla="*/ 56 h 160"/>
              <a:gd name="T24" fmla="*/ 11 w 85"/>
              <a:gd name="T25" fmla="*/ 64 h 160"/>
              <a:gd name="T26" fmla="*/ 21 w 85"/>
              <a:gd name="T27" fmla="*/ 69 h 160"/>
              <a:gd name="T28" fmla="*/ 45 w 85"/>
              <a:gd name="T29" fmla="*/ 61 h 160"/>
              <a:gd name="T30" fmla="*/ 40 w 85"/>
              <a:gd name="T31" fmla="*/ 72 h 160"/>
              <a:gd name="T32" fmla="*/ 53 w 85"/>
              <a:gd name="T33" fmla="*/ 75 h 160"/>
              <a:gd name="T34" fmla="*/ 59 w 85"/>
              <a:gd name="T35" fmla="*/ 64 h 160"/>
              <a:gd name="T36" fmla="*/ 77 w 85"/>
              <a:gd name="T37" fmla="*/ 61 h 160"/>
              <a:gd name="T38" fmla="*/ 13 w 85"/>
              <a:gd name="T39" fmla="*/ 77 h 160"/>
              <a:gd name="T40" fmla="*/ 16 w 85"/>
              <a:gd name="T41" fmla="*/ 96 h 160"/>
              <a:gd name="T42" fmla="*/ 21 w 85"/>
              <a:gd name="T43" fmla="*/ 91 h 160"/>
              <a:gd name="T44" fmla="*/ 19 w 85"/>
              <a:gd name="T45" fmla="*/ 104 h 160"/>
              <a:gd name="T46" fmla="*/ 29 w 85"/>
              <a:gd name="T47" fmla="*/ 77 h 160"/>
              <a:gd name="T48" fmla="*/ 29 w 85"/>
              <a:gd name="T49" fmla="*/ 93 h 160"/>
              <a:gd name="T50" fmla="*/ 48 w 85"/>
              <a:gd name="T51" fmla="*/ 96 h 160"/>
              <a:gd name="T52" fmla="*/ 37 w 85"/>
              <a:gd name="T53" fmla="*/ 91 h 160"/>
              <a:gd name="T54" fmla="*/ 51 w 85"/>
              <a:gd name="T55" fmla="*/ 88 h 160"/>
              <a:gd name="T56" fmla="*/ 37 w 85"/>
              <a:gd name="T57" fmla="*/ 101 h 160"/>
              <a:gd name="T58" fmla="*/ 61 w 85"/>
              <a:gd name="T59" fmla="*/ 77 h 160"/>
              <a:gd name="T60" fmla="*/ 80 w 85"/>
              <a:gd name="T61" fmla="*/ 80 h 160"/>
              <a:gd name="T62" fmla="*/ 61 w 85"/>
              <a:gd name="T63" fmla="*/ 99 h 160"/>
              <a:gd name="T64" fmla="*/ 75 w 85"/>
              <a:gd name="T65" fmla="*/ 96 h 160"/>
              <a:gd name="T66" fmla="*/ 69 w 85"/>
              <a:gd name="T67" fmla="*/ 85 h 160"/>
              <a:gd name="T68" fmla="*/ 13 w 85"/>
              <a:gd name="T69" fmla="*/ 109 h 160"/>
              <a:gd name="T70" fmla="*/ 16 w 85"/>
              <a:gd name="T71" fmla="*/ 128 h 160"/>
              <a:gd name="T72" fmla="*/ 21 w 85"/>
              <a:gd name="T73" fmla="*/ 123 h 160"/>
              <a:gd name="T74" fmla="*/ 19 w 85"/>
              <a:gd name="T75" fmla="*/ 136 h 160"/>
              <a:gd name="T76" fmla="*/ 29 w 85"/>
              <a:gd name="T77" fmla="*/ 109 h 160"/>
              <a:gd name="T78" fmla="*/ 29 w 85"/>
              <a:gd name="T79" fmla="*/ 125 h 160"/>
              <a:gd name="T80" fmla="*/ 48 w 85"/>
              <a:gd name="T81" fmla="*/ 128 h 160"/>
              <a:gd name="T82" fmla="*/ 37 w 85"/>
              <a:gd name="T83" fmla="*/ 123 h 160"/>
              <a:gd name="T84" fmla="*/ 51 w 85"/>
              <a:gd name="T85" fmla="*/ 120 h 160"/>
              <a:gd name="T86" fmla="*/ 37 w 85"/>
              <a:gd name="T87" fmla="*/ 133 h 160"/>
              <a:gd name="T88" fmla="*/ 61 w 85"/>
              <a:gd name="T89" fmla="*/ 109 h 160"/>
              <a:gd name="T90" fmla="*/ 80 w 85"/>
              <a:gd name="T91" fmla="*/ 112 h 160"/>
              <a:gd name="T92" fmla="*/ 61 w 85"/>
              <a:gd name="T93" fmla="*/ 131 h 160"/>
              <a:gd name="T94" fmla="*/ 75 w 85"/>
              <a:gd name="T95" fmla="*/ 128 h 160"/>
              <a:gd name="T96" fmla="*/ 69 w 85"/>
              <a:gd name="T97" fmla="*/ 117 h 160"/>
              <a:gd name="T98" fmla="*/ 13 w 85"/>
              <a:gd name="T99" fmla="*/ 141 h 160"/>
              <a:gd name="T100" fmla="*/ 24 w 85"/>
              <a:gd name="T101" fmla="*/ 152 h 160"/>
              <a:gd name="T102" fmla="*/ 29 w 85"/>
              <a:gd name="T103" fmla="*/ 147 h 160"/>
              <a:gd name="T104" fmla="*/ 43 w 85"/>
              <a:gd name="T105" fmla="*/ 144 h 160"/>
              <a:gd name="T106" fmla="*/ 37 w 85"/>
              <a:gd name="T107" fmla="*/ 149 h 160"/>
              <a:gd name="T108" fmla="*/ 61 w 85"/>
              <a:gd name="T109" fmla="*/ 141 h 160"/>
              <a:gd name="T110" fmla="*/ 80 w 85"/>
              <a:gd name="T111" fmla="*/ 144 h 160"/>
              <a:gd name="T112" fmla="*/ 69 w 85"/>
              <a:gd name="T113"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51"/>
                  <a:pt x="80" y="51"/>
                  <a:pt x="80" y="51"/>
                </a:cubicBezTo>
                <a:cubicBezTo>
                  <a:pt x="5" y="51"/>
                  <a:pt x="5" y="51"/>
                  <a:pt x="5" y="51"/>
                </a:cubicBezTo>
                <a:cubicBezTo>
                  <a:pt x="5" y="20"/>
                  <a:pt x="5" y="20"/>
                  <a:pt x="5" y="20"/>
                </a:cubicBezTo>
                <a:cubicBezTo>
                  <a:pt x="5" y="18"/>
                  <a:pt x="7" y="16"/>
                  <a:pt x="9" y="16"/>
                </a:cubicBezTo>
                <a:close/>
                <a:moveTo>
                  <a:pt x="80" y="80"/>
                </a:moveTo>
                <a:cubicBezTo>
                  <a:pt x="80" y="96"/>
                  <a:pt x="80" y="96"/>
                  <a:pt x="80" y="96"/>
                </a:cubicBezTo>
                <a:cubicBezTo>
                  <a:pt x="80" y="112"/>
                  <a:pt x="80" y="112"/>
                  <a:pt x="80" y="112"/>
                </a:cubicBezTo>
                <a:cubicBezTo>
                  <a:pt x="80" y="128"/>
                  <a:pt x="80" y="128"/>
                  <a:pt x="80" y="128"/>
                </a:cubicBezTo>
                <a:cubicBezTo>
                  <a:pt x="80" y="144"/>
                  <a:pt x="80" y="144"/>
                  <a:pt x="80" y="144"/>
                </a:cubicBezTo>
                <a:cubicBezTo>
                  <a:pt x="80" y="151"/>
                  <a:pt x="80" y="151"/>
                  <a:pt x="80" y="151"/>
                </a:cubicBezTo>
                <a:cubicBezTo>
                  <a:pt x="80" y="153"/>
                  <a:pt x="78" y="155"/>
                  <a:pt x="76" y="155"/>
                </a:cubicBezTo>
                <a:cubicBezTo>
                  <a:pt x="69" y="155"/>
                  <a:pt x="69" y="155"/>
                  <a:pt x="69" y="155"/>
                </a:cubicBezTo>
                <a:cubicBezTo>
                  <a:pt x="53" y="155"/>
                  <a:pt x="53" y="155"/>
                  <a:pt x="53" y="155"/>
                </a:cubicBezTo>
                <a:cubicBezTo>
                  <a:pt x="37" y="155"/>
                  <a:pt x="37" y="155"/>
                  <a:pt x="37" y="155"/>
                </a:cubicBezTo>
                <a:cubicBezTo>
                  <a:pt x="21" y="155"/>
                  <a:pt x="21" y="155"/>
                  <a:pt x="21" y="155"/>
                </a:cubicBezTo>
                <a:cubicBezTo>
                  <a:pt x="9" y="155"/>
                  <a:pt x="9" y="155"/>
                  <a:pt x="9" y="155"/>
                </a:cubicBezTo>
                <a:cubicBezTo>
                  <a:pt x="8" y="155"/>
                  <a:pt x="8" y="154"/>
                  <a:pt x="7" y="154"/>
                </a:cubicBezTo>
                <a:cubicBezTo>
                  <a:pt x="8" y="154"/>
                  <a:pt x="8" y="153"/>
                  <a:pt x="8" y="152"/>
                </a:cubicBezTo>
                <a:cubicBezTo>
                  <a:pt x="8" y="151"/>
                  <a:pt x="7" y="149"/>
                  <a:pt x="5" y="149"/>
                </a:cubicBezTo>
                <a:cubicBezTo>
                  <a:pt x="5" y="139"/>
                  <a:pt x="5" y="139"/>
                  <a:pt x="5" y="139"/>
                </a:cubicBezTo>
                <a:cubicBezTo>
                  <a:pt x="7" y="139"/>
                  <a:pt x="8" y="137"/>
                  <a:pt x="8" y="136"/>
                </a:cubicBezTo>
                <a:cubicBezTo>
                  <a:pt x="8" y="135"/>
                  <a:pt x="7" y="133"/>
                  <a:pt x="5" y="133"/>
                </a:cubicBezTo>
                <a:cubicBezTo>
                  <a:pt x="5" y="123"/>
                  <a:pt x="5" y="123"/>
                  <a:pt x="5" y="123"/>
                </a:cubicBezTo>
                <a:cubicBezTo>
                  <a:pt x="7" y="123"/>
                  <a:pt x="8" y="121"/>
                  <a:pt x="8" y="120"/>
                </a:cubicBezTo>
                <a:cubicBezTo>
                  <a:pt x="8" y="119"/>
                  <a:pt x="7" y="117"/>
                  <a:pt x="5" y="117"/>
                </a:cubicBezTo>
                <a:cubicBezTo>
                  <a:pt x="5" y="107"/>
                  <a:pt x="5" y="107"/>
                  <a:pt x="5" y="107"/>
                </a:cubicBezTo>
                <a:cubicBezTo>
                  <a:pt x="7" y="107"/>
                  <a:pt x="8" y="105"/>
                  <a:pt x="8" y="104"/>
                </a:cubicBezTo>
                <a:cubicBezTo>
                  <a:pt x="8" y="103"/>
                  <a:pt x="7" y="101"/>
                  <a:pt x="5" y="101"/>
                </a:cubicBezTo>
                <a:cubicBezTo>
                  <a:pt x="5" y="91"/>
                  <a:pt x="5" y="91"/>
                  <a:pt x="5" y="91"/>
                </a:cubicBezTo>
                <a:cubicBezTo>
                  <a:pt x="7" y="91"/>
                  <a:pt x="8" y="89"/>
                  <a:pt x="8" y="88"/>
                </a:cubicBezTo>
                <a:cubicBezTo>
                  <a:pt x="8" y="87"/>
                  <a:pt x="7" y="85"/>
                  <a:pt x="5" y="85"/>
                </a:cubicBezTo>
                <a:cubicBezTo>
                  <a:pt x="5" y="75"/>
                  <a:pt x="5" y="75"/>
                  <a:pt x="5" y="75"/>
                </a:cubicBezTo>
                <a:cubicBezTo>
                  <a:pt x="7" y="75"/>
                  <a:pt x="8" y="73"/>
                  <a:pt x="8" y="72"/>
                </a:cubicBezTo>
                <a:cubicBezTo>
                  <a:pt x="8" y="71"/>
                  <a:pt x="7" y="69"/>
                  <a:pt x="5" y="69"/>
                </a:cubicBezTo>
                <a:cubicBezTo>
                  <a:pt x="5" y="59"/>
                  <a:pt x="5" y="59"/>
                  <a:pt x="5" y="59"/>
                </a:cubicBezTo>
                <a:cubicBezTo>
                  <a:pt x="7" y="59"/>
                  <a:pt x="8" y="57"/>
                  <a:pt x="8" y="56"/>
                </a:cubicBezTo>
                <a:cubicBezTo>
                  <a:pt x="19" y="56"/>
                  <a:pt x="19" y="56"/>
                  <a:pt x="19" y="56"/>
                </a:cubicBezTo>
                <a:cubicBezTo>
                  <a:pt x="19" y="57"/>
                  <a:pt x="20" y="59"/>
                  <a:pt x="21" y="59"/>
                </a:cubicBezTo>
                <a:cubicBezTo>
                  <a:pt x="23" y="59"/>
                  <a:pt x="24" y="57"/>
                  <a:pt x="24" y="56"/>
                </a:cubicBezTo>
                <a:cubicBezTo>
                  <a:pt x="35" y="56"/>
                  <a:pt x="35" y="56"/>
                  <a:pt x="35" y="56"/>
                </a:cubicBezTo>
                <a:cubicBezTo>
                  <a:pt x="35" y="57"/>
                  <a:pt x="36" y="59"/>
                  <a:pt x="37" y="59"/>
                </a:cubicBezTo>
                <a:cubicBezTo>
                  <a:pt x="39" y="59"/>
                  <a:pt x="40" y="57"/>
                  <a:pt x="40" y="56"/>
                </a:cubicBezTo>
                <a:cubicBezTo>
                  <a:pt x="51" y="56"/>
                  <a:pt x="51" y="56"/>
                  <a:pt x="51" y="56"/>
                </a:cubicBezTo>
                <a:cubicBezTo>
                  <a:pt x="51" y="57"/>
                  <a:pt x="52" y="59"/>
                  <a:pt x="53" y="59"/>
                </a:cubicBezTo>
                <a:cubicBezTo>
                  <a:pt x="55" y="59"/>
                  <a:pt x="56" y="57"/>
                  <a:pt x="56" y="56"/>
                </a:cubicBezTo>
                <a:cubicBezTo>
                  <a:pt x="67" y="56"/>
                  <a:pt x="67" y="56"/>
                  <a:pt x="67" y="56"/>
                </a:cubicBezTo>
                <a:cubicBezTo>
                  <a:pt x="67" y="57"/>
                  <a:pt x="68" y="59"/>
                  <a:pt x="69" y="59"/>
                </a:cubicBezTo>
                <a:cubicBezTo>
                  <a:pt x="71" y="59"/>
                  <a:pt x="72" y="57"/>
                  <a:pt x="72" y="56"/>
                </a:cubicBezTo>
                <a:cubicBezTo>
                  <a:pt x="80" y="56"/>
                  <a:pt x="80" y="56"/>
                  <a:pt x="80" y="56"/>
                </a:cubicBezTo>
                <a:cubicBezTo>
                  <a:pt x="80" y="64"/>
                  <a:pt x="80" y="64"/>
                  <a:pt x="80" y="64"/>
                </a:cubicBezTo>
                <a:lnTo>
                  <a:pt x="80" y="80"/>
                </a:lnTo>
                <a:close/>
                <a:moveTo>
                  <a:pt x="13" y="61"/>
                </a:moveTo>
                <a:cubicBezTo>
                  <a:pt x="15" y="61"/>
                  <a:pt x="16" y="63"/>
                  <a:pt x="16" y="64"/>
                </a:cubicBezTo>
                <a:cubicBezTo>
                  <a:pt x="16" y="65"/>
                  <a:pt x="15" y="67"/>
                  <a:pt x="13" y="67"/>
                </a:cubicBezTo>
                <a:cubicBezTo>
                  <a:pt x="12" y="67"/>
                  <a:pt x="11" y="65"/>
                  <a:pt x="11" y="64"/>
                </a:cubicBezTo>
                <a:cubicBezTo>
                  <a:pt x="11" y="63"/>
                  <a:pt x="12" y="61"/>
                  <a:pt x="13" y="61"/>
                </a:cubicBezTo>
                <a:close/>
                <a:moveTo>
                  <a:pt x="21" y="69"/>
                </a:moveTo>
                <a:cubicBezTo>
                  <a:pt x="23" y="69"/>
                  <a:pt x="24" y="71"/>
                  <a:pt x="24" y="72"/>
                </a:cubicBezTo>
                <a:cubicBezTo>
                  <a:pt x="24" y="73"/>
                  <a:pt x="23" y="75"/>
                  <a:pt x="21" y="75"/>
                </a:cubicBezTo>
                <a:cubicBezTo>
                  <a:pt x="20" y="75"/>
                  <a:pt x="19" y="73"/>
                  <a:pt x="19" y="72"/>
                </a:cubicBezTo>
                <a:cubicBezTo>
                  <a:pt x="19" y="71"/>
                  <a:pt x="20" y="69"/>
                  <a:pt x="21" y="69"/>
                </a:cubicBezTo>
                <a:close/>
                <a:moveTo>
                  <a:pt x="29" y="61"/>
                </a:moveTo>
                <a:cubicBezTo>
                  <a:pt x="31" y="61"/>
                  <a:pt x="32" y="63"/>
                  <a:pt x="32" y="64"/>
                </a:cubicBezTo>
                <a:cubicBezTo>
                  <a:pt x="32" y="65"/>
                  <a:pt x="31" y="67"/>
                  <a:pt x="29" y="67"/>
                </a:cubicBezTo>
                <a:cubicBezTo>
                  <a:pt x="28" y="67"/>
                  <a:pt x="27" y="65"/>
                  <a:pt x="27" y="64"/>
                </a:cubicBezTo>
                <a:cubicBezTo>
                  <a:pt x="27" y="63"/>
                  <a:pt x="28" y="61"/>
                  <a:pt x="29" y="61"/>
                </a:cubicBezTo>
                <a:close/>
                <a:moveTo>
                  <a:pt x="45" y="61"/>
                </a:moveTo>
                <a:cubicBezTo>
                  <a:pt x="47" y="61"/>
                  <a:pt x="48" y="63"/>
                  <a:pt x="48" y="64"/>
                </a:cubicBezTo>
                <a:cubicBezTo>
                  <a:pt x="48" y="65"/>
                  <a:pt x="47" y="67"/>
                  <a:pt x="45" y="67"/>
                </a:cubicBezTo>
                <a:cubicBezTo>
                  <a:pt x="44" y="67"/>
                  <a:pt x="43" y="65"/>
                  <a:pt x="43" y="64"/>
                </a:cubicBezTo>
                <a:cubicBezTo>
                  <a:pt x="43" y="63"/>
                  <a:pt x="44" y="61"/>
                  <a:pt x="45" y="61"/>
                </a:cubicBezTo>
                <a:close/>
                <a:moveTo>
                  <a:pt x="37" y="69"/>
                </a:moveTo>
                <a:cubicBezTo>
                  <a:pt x="39" y="69"/>
                  <a:pt x="40" y="71"/>
                  <a:pt x="40" y="72"/>
                </a:cubicBezTo>
                <a:cubicBezTo>
                  <a:pt x="40" y="73"/>
                  <a:pt x="39" y="75"/>
                  <a:pt x="37" y="75"/>
                </a:cubicBezTo>
                <a:cubicBezTo>
                  <a:pt x="36" y="75"/>
                  <a:pt x="35" y="73"/>
                  <a:pt x="35" y="72"/>
                </a:cubicBezTo>
                <a:cubicBezTo>
                  <a:pt x="35" y="71"/>
                  <a:pt x="36" y="69"/>
                  <a:pt x="37" y="69"/>
                </a:cubicBezTo>
                <a:close/>
                <a:moveTo>
                  <a:pt x="53" y="69"/>
                </a:moveTo>
                <a:cubicBezTo>
                  <a:pt x="55" y="69"/>
                  <a:pt x="56" y="71"/>
                  <a:pt x="56" y="72"/>
                </a:cubicBezTo>
                <a:cubicBezTo>
                  <a:pt x="56" y="73"/>
                  <a:pt x="55" y="75"/>
                  <a:pt x="53" y="75"/>
                </a:cubicBezTo>
                <a:cubicBezTo>
                  <a:pt x="52" y="75"/>
                  <a:pt x="51" y="73"/>
                  <a:pt x="51" y="72"/>
                </a:cubicBezTo>
                <a:cubicBezTo>
                  <a:pt x="51" y="71"/>
                  <a:pt x="52" y="69"/>
                  <a:pt x="53" y="69"/>
                </a:cubicBezTo>
                <a:close/>
                <a:moveTo>
                  <a:pt x="61" y="61"/>
                </a:moveTo>
                <a:cubicBezTo>
                  <a:pt x="63" y="61"/>
                  <a:pt x="64" y="63"/>
                  <a:pt x="64" y="64"/>
                </a:cubicBezTo>
                <a:cubicBezTo>
                  <a:pt x="64" y="65"/>
                  <a:pt x="63" y="67"/>
                  <a:pt x="61" y="67"/>
                </a:cubicBezTo>
                <a:cubicBezTo>
                  <a:pt x="60" y="67"/>
                  <a:pt x="59" y="65"/>
                  <a:pt x="59" y="64"/>
                </a:cubicBezTo>
                <a:cubicBezTo>
                  <a:pt x="59" y="63"/>
                  <a:pt x="60" y="61"/>
                  <a:pt x="61" y="61"/>
                </a:cubicBezTo>
                <a:close/>
                <a:moveTo>
                  <a:pt x="77" y="61"/>
                </a:moveTo>
                <a:cubicBezTo>
                  <a:pt x="79" y="61"/>
                  <a:pt x="80" y="63"/>
                  <a:pt x="80" y="64"/>
                </a:cubicBezTo>
                <a:cubicBezTo>
                  <a:pt x="80" y="65"/>
                  <a:pt x="79" y="67"/>
                  <a:pt x="77" y="67"/>
                </a:cubicBezTo>
                <a:cubicBezTo>
                  <a:pt x="76" y="67"/>
                  <a:pt x="75" y="65"/>
                  <a:pt x="75" y="64"/>
                </a:cubicBezTo>
                <a:cubicBezTo>
                  <a:pt x="75" y="63"/>
                  <a:pt x="76" y="61"/>
                  <a:pt x="77" y="61"/>
                </a:cubicBezTo>
                <a:close/>
                <a:moveTo>
                  <a:pt x="69" y="69"/>
                </a:moveTo>
                <a:cubicBezTo>
                  <a:pt x="71" y="69"/>
                  <a:pt x="72" y="71"/>
                  <a:pt x="72" y="72"/>
                </a:cubicBezTo>
                <a:cubicBezTo>
                  <a:pt x="72" y="73"/>
                  <a:pt x="71" y="75"/>
                  <a:pt x="69" y="75"/>
                </a:cubicBezTo>
                <a:cubicBezTo>
                  <a:pt x="68" y="75"/>
                  <a:pt x="67" y="73"/>
                  <a:pt x="67" y="72"/>
                </a:cubicBezTo>
                <a:cubicBezTo>
                  <a:pt x="67" y="71"/>
                  <a:pt x="68" y="69"/>
                  <a:pt x="69" y="69"/>
                </a:cubicBezTo>
                <a:close/>
                <a:moveTo>
                  <a:pt x="13" y="77"/>
                </a:moveTo>
                <a:cubicBezTo>
                  <a:pt x="15" y="77"/>
                  <a:pt x="16" y="79"/>
                  <a:pt x="16" y="80"/>
                </a:cubicBezTo>
                <a:cubicBezTo>
                  <a:pt x="16" y="81"/>
                  <a:pt x="15" y="83"/>
                  <a:pt x="13" y="83"/>
                </a:cubicBezTo>
                <a:cubicBezTo>
                  <a:pt x="12" y="83"/>
                  <a:pt x="11" y="81"/>
                  <a:pt x="11" y="80"/>
                </a:cubicBezTo>
                <a:cubicBezTo>
                  <a:pt x="11" y="79"/>
                  <a:pt x="12" y="77"/>
                  <a:pt x="13" y="77"/>
                </a:cubicBezTo>
                <a:close/>
                <a:moveTo>
                  <a:pt x="13" y="93"/>
                </a:moveTo>
                <a:cubicBezTo>
                  <a:pt x="15" y="93"/>
                  <a:pt x="16" y="95"/>
                  <a:pt x="16" y="96"/>
                </a:cubicBezTo>
                <a:cubicBezTo>
                  <a:pt x="16" y="97"/>
                  <a:pt x="15" y="99"/>
                  <a:pt x="13" y="99"/>
                </a:cubicBezTo>
                <a:cubicBezTo>
                  <a:pt x="12" y="99"/>
                  <a:pt x="11" y="97"/>
                  <a:pt x="11" y="96"/>
                </a:cubicBezTo>
                <a:cubicBezTo>
                  <a:pt x="11" y="95"/>
                  <a:pt x="12" y="93"/>
                  <a:pt x="13" y="93"/>
                </a:cubicBezTo>
                <a:close/>
                <a:moveTo>
                  <a:pt x="21" y="85"/>
                </a:moveTo>
                <a:cubicBezTo>
                  <a:pt x="23" y="85"/>
                  <a:pt x="24" y="87"/>
                  <a:pt x="24" y="88"/>
                </a:cubicBezTo>
                <a:cubicBezTo>
                  <a:pt x="24" y="89"/>
                  <a:pt x="23" y="91"/>
                  <a:pt x="21" y="91"/>
                </a:cubicBezTo>
                <a:cubicBezTo>
                  <a:pt x="20" y="91"/>
                  <a:pt x="19" y="89"/>
                  <a:pt x="19" y="88"/>
                </a:cubicBezTo>
                <a:cubicBezTo>
                  <a:pt x="19" y="87"/>
                  <a:pt x="20" y="85"/>
                  <a:pt x="21" y="85"/>
                </a:cubicBezTo>
                <a:close/>
                <a:moveTo>
                  <a:pt x="21" y="101"/>
                </a:moveTo>
                <a:cubicBezTo>
                  <a:pt x="23" y="101"/>
                  <a:pt x="24" y="103"/>
                  <a:pt x="24" y="104"/>
                </a:cubicBezTo>
                <a:cubicBezTo>
                  <a:pt x="24" y="105"/>
                  <a:pt x="23" y="107"/>
                  <a:pt x="21" y="107"/>
                </a:cubicBezTo>
                <a:cubicBezTo>
                  <a:pt x="20" y="107"/>
                  <a:pt x="19" y="105"/>
                  <a:pt x="19" y="104"/>
                </a:cubicBezTo>
                <a:cubicBezTo>
                  <a:pt x="19" y="103"/>
                  <a:pt x="20" y="101"/>
                  <a:pt x="21" y="101"/>
                </a:cubicBezTo>
                <a:close/>
                <a:moveTo>
                  <a:pt x="29" y="77"/>
                </a:moveTo>
                <a:cubicBezTo>
                  <a:pt x="31" y="77"/>
                  <a:pt x="32" y="79"/>
                  <a:pt x="32" y="80"/>
                </a:cubicBezTo>
                <a:cubicBezTo>
                  <a:pt x="32" y="81"/>
                  <a:pt x="31" y="83"/>
                  <a:pt x="29" y="83"/>
                </a:cubicBezTo>
                <a:cubicBezTo>
                  <a:pt x="28" y="83"/>
                  <a:pt x="27" y="81"/>
                  <a:pt x="27" y="80"/>
                </a:cubicBezTo>
                <a:cubicBezTo>
                  <a:pt x="27" y="79"/>
                  <a:pt x="28" y="77"/>
                  <a:pt x="29" y="77"/>
                </a:cubicBezTo>
                <a:close/>
                <a:moveTo>
                  <a:pt x="45" y="77"/>
                </a:moveTo>
                <a:cubicBezTo>
                  <a:pt x="47" y="77"/>
                  <a:pt x="48" y="79"/>
                  <a:pt x="48" y="80"/>
                </a:cubicBezTo>
                <a:cubicBezTo>
                  <a:pt x="48" y="81"/>
                  <a:pt x="47" y="83"/>
                  <a:pt x="45" y="83"/>
                </a:cubicBezTo>
                <a:cubicBezTo>
                  <a:pt x="44" y="83"/>
                  <a:pt x="43" y="81"/>
                  <a:pt x="43" y="80"/>
                </a:cubicBezTo>
                <a:cubicBezTo>
                  <a:pt x="43" y="79"/>
                  <a:pt x="44" y="77"/>
                  <a:pt x="45" y="77"/>
                </a:cubicBezTo>
                <a:close/>
                <a:moveTo>
                  <a:pt x="29" y="93"/>
                </a:moveTo>
                <a:cubicBezTo>
                  <a:pt x="31" y="93"/>
                  <a:pt x="32" y="95"/>
                  <a:pt x="32" y="96"/>
                </a:cubicBezTo>
                <a:cubicBezTo>
                  <a:pt x="32" y="97"/>
                  <a:pt x="31" y="99"/>
                  <a:pt x="29" y="99"/>
                </a:cubicBezTo>
                <a:cubicBezTo>
                  <a:pt x="28" y="99"/>
                  <a:pt x="27" y="97"/>
                  <a:pt x="27" y="96"/>
                </a:cubicBezTo>
                <a:cubicBezTo>
                  <a:pt x="27" y="95"/>
                  <a:pt x="28" y="93"/>
                  <a:pt x="29" y="93"/>
                </a:cubicBezTo>
                <a:close/>
                <a:moveTo>
                  <a:pt x="45" y="93"/>
                </a:moveTo>
                <a:cubicBezTo>
                  <a:pt x="47" y="93"/>
                  <a:pt x="48" y="95"/>
                  <a:pt x="48" y="96"/>
                </a:cubicBezTo>
                <a:cubicBezTo>
                  <a:pt x="48" y="97"/>
                  <a:pt x="47" y="99"/>
                  <a:pt x="45" y="99"/>
                </a:cubicBezTo>
                <a:cubicBezTo>
                  <a:pt x="44" y="99"/>
                  <a:pt x="43" y="97"/>
                  <a:pt x="43" y="96"/>
                </a:cubicBezTo>
                <a:cubicBezTo>
                  <a:pt x="43" y="95"/>
                  <a:pt x="44" y="93"/>
                  <a:pt x="45" y="93"/>
                </a:cubicBezTo>
                <a:close/>
                <a:moveTo>
                  <a:pt x="37" y="85"/>
                </a:moveTo>
                <a:cubicBezTo>
                  <a:pt x="39" y="85"/>
                  <a:pt x="40" y="87"/>
                  <a:pt x="40" y="88"/>
                </a:cubicBezTo>
                <a:cubicBezTo>
                  <a:pt x="40" y="89"/>
                  <a:pt x="39" y="91"/>
                  <a:pt x="37" y="91"/>
                </a:cubicBezTo>
                <a:cubicBezTo>
                  <a:pt x="36" y="91"/>
                  <a:pt x="35" y="89"/>
                  <a:pt x="35" y="88"/>
                </a:cubicBezTo>
                <a:cubicBezTo>
                  <a:pt x="35" y="87"/>
                  <a:pt x="36" y="85"/>
                  <a:pt x="37" y="85"/>
                </a:cubicBezTo>
                <a:close/>
                <a:moveTo>
                  <a:pt x="53" y="85"/>
                </a:moveTo>
                <a:cubicBezTo>
                  <a:pt x="55" y="85"/>
                  <a:pt x="56" y="87"/>
                  <a:pt x="56" y="88"/>
                </a:cubicBezTo>
                <a:cubicBezTo>
                  <a:pt x="56" y="89"/>
                  <a:pt x="55" y="91"/>
                  <a:pt x="53" y="91"/>
                </a:cubicBezTo>
                <a:cubicBezTo>
                  <a:pt x="52" y="91"/>
                  <a:pt x="51" y="89"/>
                  <a:pt x="51" y="88"/>
                </a:cubicBezTo>
                <a:cubicBezTo>
                  <a:pt x="51" y="87"/>
                  <a:pt x="52" y="85"/>
                  <a:pt x="53" y="85"/>
                </a:cubicBezTo>
                <a:close/>
                <a:moveTo>
                  <a:pt x="37" y="101"/>
                </a:moveTo>
                <a:cubicBezTo>
                  <a:pt x="39" y="101"/>
                  <a:pt x="40" y="103"/>
                  <a:pt x="40" y="104"/>
                </a:cubicBezTo>
                <a:cubicBezTo>
                  <a:pt x="40" y="105"/>
                  <a:pt x="39" y="107"/>
                  <a:pt x="37" y="107"/>
                </a:cubicBezTo>
                <a:cubicBezTo>
                  <a:pt x="36" y="107"/>
                  <a:pt x="35" y="105"/>
                  <a:pt x="35" y="104"/>
                </a:cubicBezTo>
                <a:cubicBezTo>
                  <a:pt x="35" y="103"/>
                  <a:pt x="36" y="101"/>
                  <a:pt x="37" y="101"/>
                </a:cubicBezTo>
                <a:close/>
                <a:moveTo>
                  <a:pt x="53" y="101"/>
                </a:moveTo>
                <a:cubicBezTo>
                  <a:pt x="55" y="101"/>
                  <a:pt x="56" y="103"/>
                  <a:pt x="56" y="104"/>
                </a:cubicBezTo>
                <a:cubicBezTo>
                  <a:pt x="56" y="105"/>
                  <a:pt x="55" y="107"/>
                  <a:pt x="53" y="107"/>
                </a:cubicBezTo>
                <a:cubicBezTo>
                  <a:pt x="52" y="107"/>
                  <a:pt x="51" y="105"/>
                  <a:pt x="51" y="104"/>
                </a:cubicBezTo>
                <a:cubicBezTo>
                  <a:pt x="51" y="103"/>
                  <a:pt x="52" y="101"/>
                  <a:pt x="53" y="101"/>
                </a:cubicBezTo>
                <a:close/>
                <a:moveTo>
                  <a:pt x="61" y="77"/>
                </a:moveTo>
                <a:cubicBezTo>
                  <a:pt x="63" y="77"/>
                  <a:pt x="64" y="79"/>
                  <a:pt x="64" y="80"/>
                </a:cubicBezTo>
                <a:cubicBezTo>
                  <a:pt x="64" y="81"/>
                  <a:pt x="63" y="83"/>
                  <a:pt x="61" y="83"/>
                </a:cubicBezTo>
                <a:cubicBezTo>
                  <a:pt x="60" y="83"/>
                  <a:pt x="59" y="81"/>
                  <a:pt x="59" y="80"/>
                </a:cubicBezTo>
                <a:cubicBezTo>
                  <a:pt x="59" y="79"/>
                  <a:pt x="60" y="77"/>
                  <a:pt x="61" y="77"/>
                </a:cubicBezTo>
                <a:close/>
                <a:moveTo>
                  <a:pt x="77" y="77"/>
                </a:moveTo>
                <a:cubicBezTo>
                  <a:pt x="79" y="77"/>
                  <a:pt x="80" y="79"/>
                  <a:pt x="80" y="80"/>
                </a:cubicBezTo>
                <a:cubicBezTo>
                  <a:pt x="80" y="81"/>
                  <a:pt x="79" y="83"/>
                  <a:pt x="77" y="83"/>
                </a:cubicBezTo>
                <a:cubicBezTo>
                  <a:pt x="76" y="83"/>
                  <a:pt x="75" y="81"/>
                  <a:pt x="75" y="80"/>
                </a:cubicBezTo>
                <a:cubicBezTo>
                  <a:pt x="75" y="79"/>
                  <a:pt x="76" y="77"/>
                  <a:pt x="77" y="77"/>
                </a:cubicBezTo>
                <a:close/>
                <a:moveTo>
                  <a:pt x="61" y="93"/>
                </a:moveTo>
                <a:cubicBezTo>
                  <a:pt x="63" y="93"/>
                  <a:pt x="64" y="95"/>
                  <a:pt x="64" y="96"/>
                </a:cubicBezTo>
                <a:cubicBezTo>
                  <a:pt x="64" y="97"/>
                  <a:pt x="63" y="99"/>
                  <a:pt x="61" y="99"/>
                </a:cubicBezTo>
                <a:cubicBezTo>
                  <a:pt x="60" y="99"/>
                  <a:pt x="59" y="97"/>
                  <a:pt x="59" y="96"/>
                </a:cubicBezTo>
                <a:cubicBezTo>
                  <a:pt x="59" y="95"/>
                  <a:pt x="60" y="93"/>
                  <a:pt x="61" y="93"/>
                </a:cubicBezTo>
                <a:close/>
                <a:moveTo>
                  <a:pt x="77" y="93"/>
                </a:moveTo>
                <a:cubicBezTo>
                  <a:pt x="79" y="93"/>
                  <a:pt x="80" y="95"/>
                  <a:pt x="80" y="96"/>
                </a:cubicBezTo>
                <a:cubicBezTo>
                  <a:pt x="80" y="97"/>
                  <a:pt x="79" y="99"/>
                  <a:pt x="77" y="99"/>
                </a:cubicBezTo>
                <a:cubicBezTo>
                  <a:pt x="76" y="99"/>
                  <a:pt x="75" y="97"/>
                  <a:pt x="75" y="96"/>
                </a:cubicBezTo>
                <a:cubicBezTo>
                  <a:pt x="75" y="95"/>
                  <a:pt x="76" y="93"/>
                  <a:pt x="77" y="93"/>
                </a:cubicBezTo>
                <a:close/>
                <a:moveTo>
                  <a:pt x="69" y="85"/>
                </a:moveTo>
                <a:cubicBezTo>
                  <a:pt x="71" y="85"/>
                  <a:pt x="72" y="87"/>
                  <a:pt x="72" y="88"/>
                </a:cubicBezTo>
                <a:cubicBezTo>
                  <a:pt x="72" y="89"/>
                  <a:pt x="71" y="91"/>
                  <a:pt x="69" y="91"/>
                </a:cubicBezTo>
                <a:cubicBezTo>
                  <a:pt x="68" y="91"/>
                  <a:pt x="67" y="89"/>
                  <a:pt x="67" y="88"/>
                </a:cubicBezTo>
                <a:cubicBezTo>
                  <a:pt x="67" y="87"/>
                  <a:pt x="68" y="85"/>
                  <a:pt x="69" y="85"/>
                </a:cubicBezTo>
                <a:close/>
                <a:moveTo>
                  <a:pt x="69" y="101"/>
                </a:moveTo>
                <a:cubicBezTo>
                  <a:pt x="71" y="101"/>
                  <a:pt x="72" y="103"/>
                  <a:pt x="72" y="104"/>
                </a:cubicBezTo>
                <a:cubicBezTo>
                  <a:pt x="72" y="105"/>
                  <a:pt x="71" y="107"/>
                  <a:pt x="69" y="107"/>
                </a:cubicBezTo>
                <a:cubicBezTo>
                  <a:pt x="68" y="107"/>
                  <a:pt x="67" y="105"/>
                  <a:pt x="67" y="104"/>
                </a:cubicBezTo>
                <a:cubicBezTo>
                  <a:pt x="67" y="103"/>
                  <a:pt x="68" y="101"/>
                  <a:pt x="69" y="101"/>
                </a:cubicBezTo>
                <a:close/>
                <a:moveTo>
                  <a:pt x="13" y="109"/>
                </a:moveTo>
                <a:cubicBezTo>
                  <a:pt x="15" y="109"/>
                  <a:pt x="16" y="111"/>
                  <a:pt x="16" y="112"/>
                </a:cubicBezTo>
                <a:cubicBezTo>
                  <a:pt x="16" y="113"/>
                  <a:pt x="15" y="115"/>
                  <a:pt x="13" y="115"/>
                </a:cubicBezTo>
                <a:cubicBezTo>
                  <a:pt x="12" y="115"/>
                  <a:pt x="11" y="113"/>
                  <a:pt x="11" y="112"/>
                </a:cubicBezTo>
                <a:cubicBezTo>
                  <a:pt x="11" y="111"/>
                  <a:pt x="12" y="109"/>
                  <a:pt x="13" y="109"/>
                </a:cubicBezTo>
                <a:close/>
                <a:moveTo>
                  <a:pt x="13" y="125"/>
                </a:moveTo>
                <a:cubicBezTo>
                  <a:pt x="15" y="125"/>
                  <a:pt x="16" y="127"/>
                  <a:pt x="16" y="128"/>
                </a:cubicBezTo>
                <a:cubicBezTo>
                  <a:pt x="16" y="129"/>
                  <a:pt x="15" y="131"/>
                  <a:pt x="13" y="131"/>
                </a:cubicBezTo>
                <a:cubicBezTo>
                  <a:pt x="12" y="131"/>
                  <a:pt x="11" y="129"/>
                  <a:pt x="11" y="128"/>
                </a:cubicBezTo>
                <a:cubicBezTo>
                  <a:pt x="11" y="127"/>
                  <a:pt x="12" y="125"/>
                  <a:pt x="13" y="125"/>
                </a:cubicBezTo>
                <a:close/>
                <a:moveTo>
                  <a:pt x="21" y="117"/>
                </a:moveTo>
                <a:cubicBezTo>
                  <a:pt x="23" y="117"/>
                  <a:pt x="24" y="119"/>
                  <a:pt x="24" y="120"/>
                </a:cubicBezTo>
                <a:cubicBezTo>
                  <a:pt x="24" y="121"/>
                  <a:pt x="23" y="123"/>
                  <a:pt x="21" y="123"/>
                </a:cubicBezTo>
                <a:cubicBezTo>
                  <a:pt x="20" y="123"/>
                  <a:pt x="19" y="121"/>
                  <a:pt x="19" y="120"/>
                </a:cubicBezTo>
                <a:cubicBezTo>
                  <a:pt x="19" y="119"/>
                  <a:pt x="20" y="117"/>
                  <a:pt x="21" y="117"/>
                </a:cubicBezTo>
                <a:close/>
                <a:moveTo>
                  <a:pt x="21" y="133"/>
                </a:moveTo>
                <a:cubicBezTo>
                  <a:pt x="23" y="133"/>
                  <a:pt x="24" y="135"/>
                  <a:pt x="24" y="136"/>
                </a:cubicBezTo>
                <a:cubicBezTo>
                  <a:pt x="24" y="137"/>
                  <a:pt x="23" y="139"/>
                  <a:pt x="21" y="139"/>
                </a:cubicBezTo>
                <a:cubicBezTo>
                  <a:pt x="20" y="139"/>
                  <a:pt x="19" y="137"/>
                  <a:pt x="19" y="136"/>
                </a:cubicBezTo>
                <a:cubicBezTo>
                  <a:pt x="19" y="135"/>
                  <a:pt x="20" y="133"/>
                  <a:pt x="21" y="133"/>
                </a:cubicBezTo>
                <a:close/>
                <a:moveTo>
                  <a:pt x="29" y="109"/>
                </a:moveTo>
                <a:cubicBezTo>
                  <a:pt x="31" y="109"/>
                  <a:pt x="32" y="111"/>
                  <a:pt x="32" y="112"/>
                </a:cubicBezTo>
                <a:cubicBezTo>
                  <a:pt x="32" y="113"/>
                  <a:pt x="31" y="115"/>
                  <a:pt x="29" y="115"/>
                </a:cubicBezTo>
                <a:cubicBezTo>
                  <a:pt x="28" y="115"/>
                  <a:pt x="27" y="113"/>
                  <a:pt x="27" y="112"/>
                </a:cubicBezTo>
                <a:cubicBezTo>
                  <a:pt x="27" y="111"/>
                  <a:pt x="28" y="109"/>
                  <a:pt x="29" y="109"/>
                </a:cubicBezTo>
                <a:close/>
                <a:moveTo>
                  <a:pt x="45" y="109"/>
                </a:moveTo>
                <a:cubicBezTo>
                  <a:pt x="47" y="109"/>
                  <a:pt x="48" y="111"/>
                  <a:pt x="48" y="112"/>
                </a:cubicBezTo>
                <a:cubicBezTo>
                  <a:pt x="48" y="113"/>
                  <a:pt x="47" y="115"/>
                  <a:pt x="45" y="115"/>
                </a:cubicBezTo>
                <a:cubicBezTo>
                  <a:pt x="44" y="115"/>
                  <a:pt x="43" y="113"/>
                  <a:pt x="43" y="112"/>
                </a:cubicBezTo>
                <a:cubicBezTo>
                  <a:pt x="43" y="111"/>
                  <a:pt x="44" y="109"/>
                  <a:pt x="45" y="109"/>
                </a:cubicBezTo>
                <a:close/>
                <a:moveTo>
                  <a:pt x="29" y="125"/>
                </a:moveTo>
                <a:cubicBezTo>
                  <a:pt x="31" y="125"/>
                  <a:pt x="32" y="127"/>
                  <a:pt x="32" y="128"/>
                </a:cubicBezTo>
                <a:cubicBezTo>
                  <a:pt x="32" y="129"/>
                  <a:pt x="31" y="131"/>
                  <a:pt x="29" y="131"/>
                </a:cubicBezTo>
                <a:cubicBezTo>
                  <a:pt x="28" y="131"/>
                  <a:pt x="27" y="129"/>
                  <a:pt x="27" y="128"/>
                </a:cubicBezTo>
                <a:cubicBezTo>
                  <a:pt x="27" y="127"/>
                  <a:pt x="28" y="125"/>
                  <a:pt x="29" y="125"/>
                </a:cubicBezTo>
                <a:close/>
                <a:moveTo>
                  <a:pt x="45" y="125"/>
                </a:moveTo>
                <a:cubicBezTo>
                  <a:pt x="47" y="125"/>
                  <a:pt x="48" y="127"/>
                  <a:pt x="48" y="128"/>
                </a:cubicBezTo>
                <a:cubicBezTo>
                  <a:pt x="48" y="129"/>
                  <a:pt x="47" y="131"/>
                  <a:pt x="45" y="131"/>
                </a:cubicBezTo>
                <a:cubicBezTo>
                  <a:pt x="44" y="131"/>
                  <a:pt x="43" y="129"/>
                  <a:pt x="43" y="128"/>
                </a:cubicBezTo>
                <a:cubicBezTo>
                  <a:pt x="43" y="127"/>
                  <a:pt x="44" y="125"/>
                  <a:pt x="45" y="125"/>
                </a:cubicBezTo>
                <a:close/>
                <a:moveTo>
                  <a:pt x="37" y="117"/>
                </a:moveTo>
                <a:cubicBezTo>
                  <a:pt x="39" y="117"/>
                  <a:pt x="40" y="119"/>
                  <a:pt x="40" y="120"/>
                </a:cubicBezTo>
                <a:cubicBezTo>
                  <a:pt x="40" y="121"/>
                  <a:pt x="39" y="123"/>
                  <a:pt x="37" y="123"/>
                </a:cubicBezTo>
                <a:cubicBezTo>
                  <a:pt x="36" y="123"/>
                  <a:pt x="35" y="121"/>
                  <a:pt x="35" y="120"/>
                </a:cubicBezTo>
                <a:cubicBezTo>
                  <a:pt x="35" y="119"/>
                  <a:pt x="36" y="117"/>
                  <a:pt x="37" y="117"/>
                </a:cubicBezTo>
                <a:close/>
                <a:moveTo>
                  <a:pt x="53" y="117"/>
                </a:moveTo>
                <a:cubicBezTo>
                  <a:pt x="55" y="117"/>
                  <a:pt x="56" y="119"/>
                  <a:pt x="56" y="120"/>
                </a:cubicBezTo>
                <a:cubicBezTo>
                  <a:pt x="56" y="121"/>
                  <a:pt x="55" y="123"/>
                  <a:pt x="53" y="123"/>
                </a:cubicBezTo>
                <a:cubicBezTo>
                  <a:pt x="52" y="123"/>
                  <a:pt x="51" y="121"/>
                  <a:pt x="51" y="120"/>
                </a:cubicBezTo>
                <a:cubicBezTo>
                  <a:pt x="51" y="119"/>
                  <a:pt x="52" y="117"/>
                  <a:pt x="53" y="117"/>
                </a:cubicBezTo>
                <a:close/>
                <a:moveTo>
                  <a:pt x="37" y="133"/>
                </a:moveTo>
                <a:cubicBezTo>
                  <a:pt x="39" y="133"/>
                  <a:pt x="40" y="135"/>
                  <a:pt x="40" y="136"/>
                </a:cubicBezTo>
                <a:cubicBezTo>
                  <a:pt x="40" y="137"/>
                  <a:pt x="39" y="139"/>
                  <a:pt x="37" y="139"/>
                </a:cubicBezTo>
                <a:cubicBezTo>
                  <a:pt x="36" y="139"/>
                  <a:pt x="35" y="137"/>
                  <a:pt x="35" y="136"/>
                </a:cubicBezTo>
                <a:cubicBezTo>
                  <a:pt x="35" y="135"/>
                  <a:pt x="36" y="133"/>
                  <a:pt x="37" y="133"/>
                </a:cubicBezTo>
                <a:close/>
                <a:moveTo>
                  <a:pt x="53" y="133"/>
                </a:moveTo>
                <a:cubicBezTo>
                  <a:pt x="55" y="133"/>
                  <a:pt x="56" y="135"/>
                  <a:pt x="56" y="136"/>
                </a:cubicBezTo>
                <a:cubicBezTo>
                  <a:pt x="56" y="137"/>
                  <a:pt x="55" y="139"/>
                  <a:pt x="53" y="139"/>
                </a:cubicBezTo>
                <a:cubicBezTo>
                  <a:pt x="52" y="139"/>
                  <a:pt x="51" y="137"/>
                  <a:pt x="51" y="136"/>
                </a:cubicBezTo>
                <a:cubicBezTo>
                  <a:pt x="51" y="135"/>
                  <a:pt x="52" y="133"/>
                  <a:pt x="53" y="133"/>
                </a:cubicBezTo>
                <a:close/>
                <a:moveTo>
                  <a:pt x="61" y="109"/>
                </a:moveTo>
                <a:cubicBezTo>
                  <a:pt x="63" y="109"/>
                  <a:pt x="64" y="111"/>
                  <a:pt x="64" y="112"/>
                </a:cubicBezTo>
                <a:cubicBezTo>
                  <a:pt x="64" y="113"/>
                  <a:pt x="63" y="115"/>
                  <a:pt x="61" y="115"/>
                </a:cubicBezTo>
                <a:cubicBezTo>
                  <a:pt x="60" y="115"/>
                  <a:pt x="59" y="113"/>
                  <a:pt x="59" y="112"/>
                </a:cubicBezTo>
                <a:cubicBezTo>
                  <a:pt x="59" y="111"/>
                  <a:pt x="60" y="109"/>
                  <a:pt x="61" y="109"/>
                </a:cubicBezTo>
                <a:close/>
                <a:moveTo>
                  <a:pt x="77" y="109"/>
                </a:moveTo>
                <a:cubicBezTo>
                  <a:pt x="79" y="109"/>
                  <a:pt x="80" y="111"/>
                  <a:pt x="80" y="112"/>
                </a:cubicBezTo>
                <a:cubicBezTo>
                  <a:pt x="80" y="113"/>
                  <a:pt x="79" y="115"/>
                  <a:pt x="77" y="115"/>
                </a:cubicBezTo>
                <a:cubicBezTo>
                  <a:pt x="76" y="115"/>
                  <a:pt x="75" y="113"/>
                  <a:pt x="75" y="112"/>
                </a:cubicBezTo>
                <a:cubicBezTo>
                  <a:pt x="75" y="111"/>
                  <a:pt x="76" y="109"/>
                  <a:pt x="77" y="109"/>
                </a:cubicBezTo>
                <a:close/>
                <a:moveTo>
                  <a:pt x="61" y="125"/>
                </a:moveTo>
                <a:cubicBezTo>
                  <a:pt x="63" y="125"/>
                  <a:pt x="64" y="127"/>
                  <a:pt x="64" y="128"/>
                </a:cubicBezTo>
                <a:cubicBezTo>
                  <a:pt x="64" y="129"/>
                  <a:pt x="63" y="131"/>
                  <a:pt x="61" y="131"/>
                </a:cubicBezTo>
                <a:cubicBezTo>
                  <a:pt x="60" y="131"/>
                  <a:pt x="59" y="129"/>
                  <a:pt x="59" y="128"/>
                </a:cubicBezTo>
                <a:cubicBezTo>
                  <a:pt x="59" y="127"/>
                  <a:pt x="60" y="125"/>
                  <a:pt x="61" y="125"/>
                </a:cubicBezTo>
                <a:close/>
                <a:moveTo>
                  <a:pt x="77" y="125"/>
                </a:moveTo>
                <a:cubicBezTo>
                  <a:pt x="79" y="125"/>
                  <a:pt x="80" y="127"/>
                  <a:pt x="80" y="128"/>
                </a:cubicBezTo>
                <a:cubicBezTo>
                  <a:pt x="80" y="129"/>
                  <a:pt x="79" y="131"/>
                  <a:pt x="77" y="131"/>
                </a:cubicBezTo>
                <a:cubicBezTo>
                  <a:pt x="76" y="131"/>
                  <a:pt x="75" y="129"/>
                  <a:pt x="75" y="128"/>
                </a:cubicBezTo>
                <a:cubicBezTo>
                  <a:pt x="75" y="127"/>
                  <a:pt x="76" y="125"/>
                  <a:pt x="77" y="125"/>
                </a:cubicBezTo>
                <a:close/>
                <a:moveTo>
                  <a:pt x="69" y="117"/>
                </a:moveTo>
                <a:cubicBezTo>
                  <a:pt x="71" y="117"/>
                  <a:pt x="72" y="119"/>
                  <a:pt x="72" y="120"/>
                </a:cubicBezTo>
                <a:cubicBezTo>
                  <a:pt x="72" y="121"/>
                  <a:pt x="71" y="123"/>
                  <a:pt x="69" y="123"/>
                </a:cubicBezTo>
                <a:cubicBezTo>
                  <a:pt x="68" y="123"/>
                  <a:pt x="67" y="121"/>
                  <a:pt x="67" y="120"/>
                </a:cubicBezTo>
                <a:cubicBezTo>
                  <a:pt x="67" y="119"/>
                  <a:pt x="68" y="117"/>
                  <a:pt x="69" y="117"/>
                </a:cubicBezTo>
                <a:close/>
                <a:moveTo>
                  <a:pt x="69" y="133"/>
                </a:moveTo>
                <a:cubicBezTo>
                  <a:pt x="71" y="133"/>
                  <a:pt x="72" y="135"/>
                  <a:pt x="72" y="136"/>
                </a:cubicBezTo>
                <a:cubicBezTo>
                  <a:pt x="72" y="137"/>
                  <a:pt x="71" y="139"/>
                  <a:pt x="69" y="139"/>
                </a:cubicBezTo>
                <a:cubicBezTo>
                  <a:pt x="68" y="139"/>
                  <a:pt x="67" y="137"/>
                  <a:pt x="67" y="136"/>
                </a:cubicBezTo>
                <a:cubicBezTo>
                  <a:pt x="67" y="135"/>
                  <a:pt x="68" y="133"/>
                  <a:pt x="69" y="133"/>
                </a:cubicBezTo>
                <a:close/>
                <a:moveTo>
                  <a:pt x="13" y="141"/>
                </a:moveTo>
                <a:cubicBezTo>
                  <a:pt x="15" y="141"/>
                  <a:pt x="16" y="143"/>
                  <a:pt x="16" y="144"/>
                </a:cubicBezTo>
                <a:cubicBezTo>
                  <a:pt x="16" y="145"/>
                  <a:pt x="15" y="147"/>
                  <a:pt x="13" y="147"/>
                </a:cubicBezTo>
                <a:cubicBezTo>
                  <a:pt x="12" y="147"/>
                  <a:pt x="11" y="145"/>
                  <a:pt x="11" y="144"/>
                </a:cubicBezTo>
                <a:cubicBezTo>
                  <a:pt x="11" y="143"/>
                  <a:pt x="12" y="141"/>
                  <a:pt x="13" y="141"/>
                </a:cubicBezTo>
                <a:close/>
                <a:moveTo>
                  <a:pt x="21" y="149"/>
                </a:moveTo>
                <a:cubicBezTo>
                  <a:pt x="23" y="149"/>
                  <a:pt x="24" y="151"/>
                  <a:pt x="24" y="152"/>
                </a:cubicBezTo>
                <a:cubicBezTo>
                  <a:pt x="24" y="153"/>
                  <a:pt x="23" y="155"/>
                  <a:pt x="21" y="155"/>
                </a:cubicBezTo>
                <a:cubicBezTo>
                  <a:pt x="20" y="155"/>
                  <a:pt x="19" y="153"/>
                  <a:pt x="19" y="152"/>
                </a:cubicBezTo>
                <a:cubicBezTo>
                  <a:pt x="19" y="151"/>
                  <a:pt x="20" y="149"/>
                  <a:pt x="21" y="149"/>
                </a:cubicBezTo>
                <a:close/>
                <a:moveTo>
                  <a:pt x="29" y="141"/>
                </a:moveTo>
                <a:cubicBezTo>
                  <a:pt x="31" y="141"/>
                  <a:pt x="32" y="143"/>
                  <a:pt x="32" y="144"/>
                </a:cubicBezTo>
                <a:cubicBezTo>
                  <a:pt x="32" y="145"/>
                  <a:pt x="31" y="147"/>
                  <a:pt x="29" y="147"/>
                </a:cubicBezTo>
                <a:cubicBezTo>
                  <a:pt x="28" y="147"/>
                  <a:pt x="27" y="145"/>
                  <a:pt x="27" y="144"/>
                </a:cubicBezTo>
                <a:cubicBezTo>
                  <a:pt x="27" y="143"/>
                  <a:pt x="28" y="141"/>
                  <a:pt x="29" y="141"/>
                </a:cubicBezTo>
                <a:close/>
                <a:moveTo>
                  <a:pt x="45" y="141"/>
                </a:moveTo>
                <a:cubicBezTo>
                  <a:pt x="47" y="141"/>
                  <a:pt x="48" y="143"/>
                  <a:pt x="48" y="144"/>
                </a:cubicBezTo>
                <a:cubicBezTo>
                  <a:pt x="48" y="145"/>
                  <a:pt x="47" y="147"/>
                  <a:pt x="45" y="147"/>
                </a:cubicBezTo>
                <a:cubicBezTo>
                  <a:pt x="44" y="147"/>
                  <a:pt x="43" y="145"/>
                  <a:pt x="43" y="144"/>
                </a:cubicBezTo>
                <a:cubicBezTo>
                  <a:pt x="43" y="143"/>
                  <a:pt x="44" y="141"/>
                  <a:pt x="45" y="141"/>
                </a:cubicBezTo>
                <a:close/>
                <a:moveTo>
                  <a:pt x="37" y="149"/>
                </a:moveTo>
                <a:cubicBezTo>
                  <a:pt x="39" y="149"/>
                  <a:pt x="40" y="151"/>
                  <a:pt x="40" y="152"/>
                </a:cubicBezTo>
                <a:cubicBezTo>
                  <a:pt x="40" y="153"/>
                  <a:pt x="39" y="155"/>
                  <a:pt x="37" y="155"/>
                </a:cubicBezTo>
                <a:cubicBezTo>
                  <a:pt x="36" y="155"/>
                  <a:pt x="35" y="153"/>
                  <a:pt x="35" y="152"/>
                </a:cubicBezTo>
                <a:cubicBezTo>
                  <a:pt x="35" y="151"/>
                  <a:pt x="36" y="149"/>
                  <a:pt x="37" y="149"/>
                </a:cubicBezTo>
                <a:close/>
                <a:moveTo>
                  <a:pt x="53" y="149"/>
                </a:moveTo>
                <a:cubicBezTo>
                  <a:pt x="55" y="149"/>
                  <a:pt x="56" y="151"/>
                  <a:pt x="56" y="152"/>
                </a:cubicBezTo>
                <a:cubicBezTo>
                  <a:pt x="56" y="153"/>
                  <a:pt x="55" y="155"/>
                  <a:pt x="53" y="155"/>
                </a:cubicBezTo>
                <a:cubicBezTo>
                  <a:pt x="52" y="155"/>
                  <a:pt x="51" y="153"/>
                  <a:pt x="51" y="152"/>
                </a:cubicBezTo>
                <a:cubicBezTo>
                  <a:pt x="51" y="151"/>
                  <a:pt x="52" y="149"/>
                  <a:pt x="53" y="149"/>
                </a:cubicBezTo>
                <a:close/>
                <a:moveTo>
                  <a:pt x="61" y="141"/>
                </a:moveTo>
                <a:cubicBezTo>
                  <a:pt x="63" y="141"/>
                  <a:pt x="64" y="143"/>
                  <a:pt x="64" y="144"/>
                </a:cubicBezTo>
                <a:cubicBezTo>
                  <a:pt x="64" y="145"/>
                  <a:pt x="63" y="147"/>
                  <a:pt x="61" y="147"/>
                </a:cubicBezTo>
                <a:cubicBezTo>
                  <a:pt x="60" y="147"/>
                  <a:pt x="59" y="145"/>
                  <a:pt x="59" y="144"/>
                </a:cubicBezTo>
                <a:cubicBezTo>
                  <a:pt x="59" y="143"/>
                  <a:pt x="60" y="141"/>
                  <a:pt x="61" y="141"/>
                </a:cubicBezTo>
                <a:close/>
                <a:moveTo>
                  <a:pt x="77" y="141"/>
                </a:moveTo>
                <a:cubicBezTo>
                  <a:pt x="79" y="141"/>
                  <a:pt x="80" y="143"/>
                  <a:pt x="80" y="144"/>
                </a:cubicBezTo>
                <a:cubicBezTo>
                  <a:pt x="80" y="145"/>
                  <a:pt x="79" y="147"/>
                  <a:pt x="77" y="147"/>
                </a:cubicBezTo>
                <a:cubicBezTo>
                  <a:pt x="76" y="147"/>
                  <a:pt x="75" y="145"/>
                  <a:pt x="75" y="144"/>
                </a:cubicBezTo>
                <a:cubicBezTo>
                  <a:pt x="75" y="143"/>
                  <a:pt x="76" y="141"/>
                  <a:pt x="77" y="141"/>
                </a:cubicBezTo>
                <a:close/>
                <a:moveTo>
                  <a:pt x="69" y="149"/>
                </a:moveTo>
                <a:cubicBezTo>
                  <a:pt x="71" y="149"/>
                  <a:pt x="72" y="151"/>
                  <a:pt x="72" y="152"/>
                </a:cubicBezTo>
                <a:cubicBezTo>
                  <a:pt x="72" y="153"/>
                  <a:pt x="71" y="155"/>
                  <a:pt x="69" y="155"/>
                </a:cubicBezTo>
                <a:cubicBezTo>
                  <a:pt x="68" y="155"/>
                  <a:pt x="67" y="153"/>
                  <a:pt x="67" y="152"/>
                </a:cubicBezTo>
                <a:cubicBezTo>
                  <a:pt x="67" y="151"/>
                  <a:pt x="68" y="149"/>
                  <a:pt x="69" y="149"/>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6" name="Freeform 1023">
            <a:extLst>
              <a:ext uri="{FF2B5EF4-FFF2-40B4-BE49-F238E27FC236}">
                <a16:creationId xmlns:a16="http://schemas.microsoft.com/office/drawing/2014/main" id="{30906406-5844-9342-AC55-5BBD8E852D28}"/>
              </a:ext>
            </a:extLst>
          </p:cNvPr>
          <p:cNvSpPr>
            <a:spLocks noEditPoints="1"/>
          </p:cNvSpPr>
          <p:nvPr/>
        </p:nvSpPr>
        <p:spPr bwMode="auto">
          <a:xfrm>
            <a:off x="1654058" y="5938838"/>
            <a:ext cx="290513" cy="550863"/>
          </a:xfrm>
          <a:custGeom>
            <a:avLst/>
            <a:gdLst>
              <a:gd name="T0" fmla="*/ 27 w 85"/>
              <a:gd name="T1" fmla="*/ 0 h 160"/>
              <a:gd name="T2" fmla="*/ 0 w 85"/>
              <a:gd name="T3" fmla="*/ 151 h 160"/>
              <a:gd name="T4" fmla="*/ 85 w 85"/>
              <a:gd name="T5" fmla="*/ 20 h 160"/>
              <a:gd name="T6" fmla="*/ 53 w 85"/>
              <a:gd name="T7" fmla="*/ 11 h 160"/>
              <a:gd name="T8" fmla="*/ 27 w 85"/>
              <a:gd name="T9" fmla="*/ 16 h 160"/>
              <a:gd name="T10" fmla="*/ 80 w 85"/>
              <a:gd name="T11" fmla="*/ 85 h 160"/>
              <a:gd name="T12" fmla="*/ 80 w 85"/>
              <a:gd name="T13" fmla="*/ 112 h 160"/>
              <a:gd name="T14" fmla="*/ 76 w 85"/>
              <a:gd name="T15" fmla="*/ 155 h 160"/>
              <a:gd name="T16" fmla="*/ 21 w 85"/>
              <a:gd name="T17" fmla="*/ 155 h 160"/>
              <a:gd name="T18" fmla="*/ 5 w 85"/>
              <a:gd name="T19" fmla="*/ 149 h 160"/>
              <a:gd name="T20" fmla="*/ 5 w 85"/>
              <a:gd name="T21" fmla="*/ 123 h 160"/>
              <a:gd name="T22" fmla="*/ 8 w 85"/>
              <a:gd name="T23" fmla="*/ 104 h 160"/>
              <a:gd name="T24" fmla="*/ 80 w 85"/>
              <a:gd name="T25" fmla="*/ 96 h 160"/>
              <a:gd name="T26" fmla="*/ 13 w 85"/>
              <a:gd name="T27" fmla="*/ 99 h 160"/>
              <a:gd name="T28" fmla="*/ 24 w 85"/>
              <a:gd name="T29" fmla="*/ 104 h 160"/>
              <a:gd name="T30" fmla="*/ 29 w 85"/>
              <a:gd name="T31" fmla="*/ 93 h 160"/>
              <a:gd name="T32" fmla="*/ 29 w 85"/>
              <a:gd name="T33" fmla="*/ 93 h 160"/>
              <a:gd name="T34" fmla="*/ 43 w 85"/>
              <a:gd name="T35" fmla="*/ 96 h 160"/>
              <a:gd name="T36" fmla="*/ 37 w 85"/>
              <a:gd name="T37" fmla="*/ 107 h 160"/>
              <a:gd name="T38" fmla="*/ 56 w 85"/>
              <a:gd name="T39" fmla="*/ 104 h 160"/>
              <a:gd name="T40" fmla="*/ 61 w 85"/>
              <a:gd name="T41" fmla="*/ 93 h 160"/>
              <a:gd name="T42" fmla="*/ 61 w 85"/>
              <a:gd name="T43" fmla="*/ 93 h 160"/>
              <a:gd name="T44" fmla="*/ 75 w 85"/>
              <a:gd name="T45" fmla="*/ 96 h 160"/>
              <a:gd name="T46" fmla="*/ 69 w 85"/>
              <a:gd name="T47" fmla="*/ 107 h 160"/>
              <a:gd name="T48" fmla="*/ 16 w 85"/>
              <a:gd name="T49" fmla="*/ 112 h 160"/>
              <a:gd name="T50" fmla="*/ 13 w 85"/>
              <a:gd name="T51" fmla="*/ 125 h 160"/>
              <a:gd name="T52" fmla="*/ 13 w 85"/>
              <a:gd name="T53" fmla="*/ 125 h 160"/>
              <a:gd name="T54" fmla="*/ 19 w 85"/>
              <a:gd name="T55" fmla="*/ 120 h 160"/>
              <a:gd name="T56" fmla="*/ 21 w 85"/>
              <a:gd name="T57" fmla="*/ 139 h 160"/>
              <a:gd name="T58" fmla="*/ 32 w 85"/>
              <a:gd name="T59" fmla="*/ 112 h 160"/>
              <a:gd name="T60" fmla="*/ 45 w 85"/>
              <a:gd name="T61" fmla="*/ 109 h 160"/>
              <a:gd name="T62" fmla="*/ 45 w 85"/>
              <a:gd name="T63" fmla="*/ 109 h 160"/>
              <a:gd name="T64" fmla="*/ 27 w 85"/>
              <a:gd name="T65" fmla="*/ 128 h 160"/>
              <a:gd name="T66" fmla="*/ 45 w 85"/>
              <a:gd name="T67" fmla="*/ 131 h 160"/>
              <a:gd name="T68" fmla="*/ 40 w 85"/>
              <a:gd name="T69" fmla="*/ 120 h 160"/>
              <a:gd name="T70" fmla="*/ 53 w 85"/>
              <a:gd name="T71" fmla="*/ 117 h 160"/>
              <a:gd name="T72" fmla="*/ 53 w 85"/>
              <a:gd name="T73" fmla="*/ 117 h 160"/>
              <a:gd name="T74" fmla="*/ 35 w 85"/>
              <a:gd name="T75" fmla="*/ 136 h 160"/>
              <a:gd name="T76" fmla="*/ 53 w 85"/>
              <a:gd name="T77" fmla="*/ 139 h 160"/>
              <a:gd name="T78" fmla="*/ 64 w 85"/>
              <a:gd name="T79" fmla="*/ 112 h 160"/>
              <a:gd name="T80" fmla="*/ 77 w 85"/>
              <a:gd name="T81" fmla="*/ 109 h 160"/>
              <a:gd name="T82" fmla="*/ 77 w 85"/>
              <a:gd name="T83" fmla="*/ 109 h 160"/>
              <a:gd name="T84" fmla="*/ 59 w 85"/>
              <a:gd name="T85" fmla="*/ 128 h 160"/>
              <a:gd name="T86" fmla="*/ 77 w 85"/>
              <a:gd name="T87" fmla="*/ 131 h 160"/>
              <a:gd name="T88" fmla="*/ 72 w 85"/>
              <a:gd name="T89" fmla="*/ 120 h 160"/>
              <a:gd name="T90" fmla="*/ 69 w 85"/>
              <a:gd name="T91" fmla="*/ 133 h 160"/>
              <a:gd name="T92" fmla="*/ 69 w 85"/>
              <a:gd name="T93" fmla="*/ 133 h 160"/>
              <a:gd name="T94" fmla="*/ 11 w 85"/>
              <a:gd name="T95" fmla="*/ 144 h 160"/>
              <a:gd name="T96" fmla="*/ 21 w 85"/>
              <a:gd name="T97" fmla="*/ 155 h 160"/>
              <a:gd name="T98" fmla="*/ 32 w 85"/>
              <a:gd name="T99" fmla="*/ 144 h 160"/>
              <a:gd name="T100" fmla="*/ 45 w 85"/>
              <a:gd name="T101" fmla="*/ 141 h 160"/>
              <a:gd name="T102" fmla="*/ 45 w 85"/>
              <a:gd name="T103" fmla="*/ 141 h 160"/>
              <a:gd name="T104" fmla="*/ 35 w 85"/>
              <a:gd name="T105" fmla="*/ 152 h 160"/>
              <a:gd name="T106" fmla="*/ 53 w 85"/>
              <a:gd name="T107" fmla="*/ 155 h 160"/>
              <a:gd name="T108" fmla="*/ 64 w 85"/>
              <a:gd name="T109" fmla="*/ 144 h 160"/>
              <a:gd name="T110" fmla="*/ 77 w 85"/>
              <a:gd name="T111" fmla="*/ 141 h 160"/>
              <a:gd name="T112" fmla="*/ 77 w 85"/>
              <a:gd name="T113" fmla="*/ 141 h 160"/>
              <a:gd name="T114" fmla="*/ 67 w 85"/>
              <a:gd name="T115" fmla="*/ 1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85"/>
                  <a:pt x="80" y="85"/>
                  <a:pt x="80" y="85"/>
                </a:cubicBezTo>
                <a:cubicBezTo>
                  <a:pt x="5" y="85"/>
                  <a:pt x="5" y="85"/>
                  <a:pt x="5" y="85"/>
                </a:cubicBezTo>
                <a:cubicBezTo>
                  <a:pt x="5" y="20"/>
                  <a:pt x="5" y="20"/>
                  <a:pt x="5" y="20"/>
                </a:cubicBezTo>
                <a:cubicBezTo>
                  <a:pt x="5" y="18"/>
                  <a:pt x="7" y="16"/>
                  <a:pt x="9" y="16"/>
                </a:cubicBezTo>
                <a:close/>
                <a:moveTo>
                  <a:pt x="80" y="112"/>
                </a:moveTo>
                <a:cubicBezTo>
                  <a:pt x="80" y="128"/>
                  <a:pt x="80" y="128"/>
                  <a:pt x="80" y="128"/>
                </a:cubicBezTo>
                <a:cubicBezTo>
                  <a:pt x="80" y="144"/>
                  <a:pt x="80" y="144"/>
                  <a:pt x="80" y="144"/>
                </a:cubicBezTo>
                <a:cubicBezTo>
                  <a:pt x="80" y="151"/>
                  <a:pt x="80" y="151"/>
                  <a:pt x="80" y="151"/>
                </a:cubicBezTo>
                <a:cubicBezTo>
                  <a:pt x="80" y="153"/>
                  <a:pt x="78" y="155"/>
                  <a:pt x="76" y="155"/>
                </a:cubicBezTo>
                <a:cubicBezTo>
                  <a:pt x="69" y="155"/>
                  <a:pt x="69" y="155"/>
                  <a:pt x="69" y="155"/>
                </a:cubicBezTo>
                <a:cubicBezTo>
                  <a:pt x="53" y="155"/>
                  <a:pt x="53" y="155"/>
                  <a:pt x="53" y="155"/>
                </a:cubicBezTo>
                <a:cubicBezTo>
                  <a:pt x="37" y="155"/>
                  <a:pt x="37" y="155"/>
                  <a:pt x="37" y="155"/>
                </a:cubicBezTo>
                <a:cubicBezTo>
                  <a:pt x="21" y="155"/>
                  <a:pt x="21" y="155"/>
                  <a:pt x="21" y="155"/>
                </a:cubicBezTo>
                <a:cubicBezTo>
                  <a:pt x="9" y="155"/>
                  <a:pt x="9" y="155"/>
                  <a:pt x="9" y="155"/>
                </a:cubicBezTo>
                <a:cubicBezTo>
                  <a:pt x="8" y="155"/>
                  <a:pt x="8" y="154"/>
                  <a:pt x="7" y="154"/>
                </a:cubicBezTo>
                <a:cubicBezTo>
                  <a:pt x="8" y="154"/>
                  <a:pt x="8" y="153"/>
                  <a:pt x="8" y="152"/>
                </a:cubicBezTo>
                <a:cubicBezTo>
                  <a:pt x="8" y="151"/>
                  <a:pt x="7" y="149"/>
                  <a:pt x="5" y="149"/>
                </a:cubicBezTo>
                <a:cubicBezTo>
                  <a:pt x="5" y="139"/>
                  <a:pt x="5" y="139"/>
                  <a:pt x="5" y="139"/>
                </a:cubicBezTo>
                <a:cubicBezTo>
                  <a:pt x="7" y="139"/>
                  <a:pt x="8" y="137"/>
                  <a:pt x="8" y="136"/>
                </a:cubicBezTo>
                <a:cubicBezTo>
                  <a:pt x="8" y="135"/>
                  <a:pt x="7" y="133"/>
                  <a:pt x="5" y="133"/>
                </a:cubicBezTo>
                <a:cubicBezTo>
                  <a:pt x="5" y="123"/>
                  <a:pt x="5" y="123"/>
                  <a:pt x="5" y="123"/>
                </a:cubicBezTo>
                <a:cubicBezTo>
                  <a:pt x="7" y="123"/>
                  <a:pt x="8" y="121"/>
                  <a:pt x="8" y="120"/>
                </a:cubicBezTo>
                <a:cubicBezTo>
                  <a:pt x="8" y="119"/>
                  <a:pt x="7" y="117"/>
                  <a:pt x="5" y="117"/>
                </a:cubicBezTo>
                <a:cubicBezTo>
                  <a:pt x="5" y="107"/>
                  <a:pt x="5" y="107"/>
                  <a:pt x="5" y="107"/>
                </a:cubicBezTo>
                <a:cubicBezTo>
                  <a:pt x="7" y="107"/>
                  <a:pt x="8" y="105"/>
                  <a:pt x="8" y="104"/>
                </a:cubicBezTo>
                <a:cubicBezTo>
                  <a:pt x="8" y="103"/>
                  <a:pt x="7" y="101"/>
                  <a:pt x="5" y="101"/>
                </a:cubicBezTo>
                <a:cubicBezTo>
                  <a:pt x="5" y="91"/>
                  <a:pt x="5" y="91"/>
                  <a:pt x="5" y="91"/>
                </a:cubicBezTo>
                <a:cubicBezTo>
                  <a:pt x="80" y="91"/>
                  <a:pt x="80" y="91"/>
                  <a:pt x="80" y="91"/>
                </a:cubicBezTo>
                <a:cubicBezTo>
                  <a:pt x="80" y="96"/>
                  <a:pt x="80" y="96"/>
                  <a:pt x="80" y="96"/>
                </a:cubicBezTo>
                <a:lnTo>
                  <a:pt x="80" y="112"/>
                </a:lnTo>
                <a:close/>
                <a:moveTo>
                  <a:pt x="13" y="93"/>
                </a:moveTo>
                <a:cubicBezTo>
                  <a:pt x="15" y="93"/>
                  <a:pt x="16" y="95"/>
                  <a:pt x="16" y="96"/>
                </a:cubicBezTo>
                <a:cubicBezTo>
                  <a:pt x="16" y="97"/>
                  <a:pt x="15" y="99"/>
                  <a:pt x="13" y="99"/>
                </a:cubicBezTo>
                <a:cubicBezTo>
                  <a:pt x="12" y="99"/>
                  <a:pt x="11" y="97"/>
                  <a:pt x="11" y="96"/>
                </a:cubicBezTo>
                <a:cubicBezTo>
                  <a:pt x="11" y="95"/>
                  <a:pt x="12" y="93"/>
                  <a:pt x="13" y="93"/>
                </a:cubicBezTo>
                <a:close/>
                <a:moveTo>
                  <a:pt x="21" y="101"/>
                </a:moveTo>
                <a:cubicBezTo>
                  <a:pt x="23" y="101"/>
                  <a:pt x="24" y="103"/>
                  <a:pt x="24" y="104"/>
                </a:cubicBezTo>
                <a:cubicBezTo>
                  <a:pt x="24" y="105"/>
                  <a:pt x="23" y="107"/>
                  <a:pt x="21" y="107"/>
                </a:cubicBezTo>
                <a:cubicBezTo>
                  <a:pt x="20" y="107"/>
                  <a:pt x="19" y="105"/>
                  <a:pt x="19" y="104"/>
                </a:cubicBezTo>
                <a:cubicBezTo>
                  <a:pt x="19" y="103"/>
                  <a:pt x="20" y="101"/>
                  <a:pt x="21" y="101"/>
                </a:cubicBezTo>
                <a:close/>
                <a:moveTo>
                  <a:pt x="29" y="93"/>
                </a:moveTo>
                <a:cubicBezTo>
                  <a:pt x="31" y="93"/>
                  <a:pt x="32" y="95"/>
                  <a:pt x="32" y="96"/>
                </a:cubicBezTo>
                <a:cubicBezTo>
                  <a:pt x="32" y="97"/>
                  <a:pt x="31" y="99"/>
                  <a:pt x="29" y="99"/>
                </a:cubicBezTo>
                <a:cubicBezTo>
                  <a:pt x="28" y="99"/>
                  <a:pt x="27" y="97"/>
                  <a:pt x="27" y="96"/>
                </a:cubicBezTo>
                <a:cubicBezTo>
                  <a:pt x="27" y="95"/>
                  <a:pt x="28" y="93"/>
                  <a:pt x="29" y="93"/>
                </a:cubicBezTo>
                <a:close/>
                <a:moveTo>
                  <a:pt x="45" y="93"/>
                </a:moveTo>
                <a:cubicBezTo>
                  <a:pt x="47" y="93"/>
                  <a:pt x="48" y="95"/>
                  <a:pt x="48" y="96"/>
                </a:cubicBezTo>
                <a:cubicBezTo>
                  <a:pt x="48" y="97"/>
                  <a:pt x="47" y="99"/>
                  <a:pt x="45" y="99"/>
                </a:cubicBezTo>
                <a:cubicBezTo>
                  <a:pt x="44" y="99"/>
                  <a:pt x="43" y="97"/>
                  <a:pt x="43" y="96"/>
                </a:cubicBezTo>
                <a:cubicBezTo>
                  <a:pt x="43" y="95"/>
                  <a:pt x="44" y="93"/>
                  <a:pt x="45" y="93"/>
                </a:cubicBezTo>
                <a:close/>
                <a:moveTo>
                  <a:pt x="37" y="101"/>
                </a:moveTo>
                <a:cubicBezTo>
                  <a:pt x="39" y="101"/>
                  <a:pt x="40" y="103"/>
                  <a:pt x="40" y="104"/>
                </a:cubicBezTo>
                <a:cubicBezTo>
                  <a:pt x="40" y="105"/>
                  <a:pt x="39" y="107"/>
                  <a:pt x="37" y="107"/>
                </a:cubicBezTo>
                <a:cubicBezTo>
                  <a:pt x="36" y="107"/>
                  <a:pt x="35" y="105"/>
                  <a:pt x="35" y="104"/>
                </a:cubicBezTo>
                <a:cubicBezTo>
                  <a:pt x="35" y="103"/>
                  <a:pt x="36" y="101"/>
                  <a:pt x="37" y="101"/>
                </a:cubicBezTo>
                <a:close/>
                <a:moveTo>
                  <a:pt x="53" y="101"/>
                </a:moveTo>
                <a:cubicBezTo>
                  <a:pt x="55" y="101"/>
                  <a:pt x="56" y="103"/>
                  <a:pt x="56" y="104"/>
                </a:cubicBezTo>
                <a:cubicBezTo>
                  <a:pt x="56" y="105"/>
                  <a:pt x="55" y="107"/>
                  <a:pt x="53" y="107"/>
                </a:cubicBezTo>
                <a:cubicBezTo>
                  <a:pt x="52" y="107"/>
                  <a:pt x="51" y="105"/>
                  <a:pt x="51" y="104"/>
                </a:cubicBezTo>
                <a:cubicBezTo>
                  <a:pt x="51" y="103"/>
                  <a:pt x="52" y="101"/>
                  <a:pt x="53" y="101"/>
                </a:cubicBezTo>
                <a:close/>
                <a:moveTo>
                  <a:pt x="61" y="93"/>
                </a:moveTo>
                <a:cubicBezTo>
                  <a:pt x="63" y="93"/>
                  <a:pt x="64" y="95"/>
                  <a:pt x="64" y="96"/>
                </a:cubicBezTo>
                <a:cubicBezTo>
                  <a:pt x="64" y="97"/>
                  <a:pt x="63" y="99"/>
                  <a:pt x="61" y="99"/>
                </a:cubicBezTo>
                <a:cubicBezTo>
                  <a:pt x="60" y="99"/>
                  <a:pt x="59" y="97"/>
                  <a:pt x="59" y="96"/>
                </a:cubicBezTo>
                <a:cubicBezTo>
                  <a:pt x="59" y="95"/>
                  <a:pt x="60" y="93"/>
                  <a:pt x="61" y="93"/>
                </a:cubicBezTo>
                <a:close/>
                <a:moveTo>
                  <a:pt x="77" y="93"/>
                </a:moveTo>
                <a:cubicBezTo>
                  <a:pt x="79" y="93"/>
                  <a:pt x="80" y="95"/>
                  <a:pt x="80" y="96"/>
                </a:cubicBezTo>
                <a:cubicBezTo>
                  <a:pt x="80" y="97"/>
                  <a:pt x="79" y="99"/>
                  <a:pt x="77" y="99"/>
                </a:cubicBezTo>
                <a:cubicBezTo>
                  <a:pt x="76" y="99"/>
                  <a:pt x="75" y="97"/>
                  <a:pt x="75" y="96"/>
                </a:cubicBezTo>
                <a:cubicBezTo>
                  <a:pt x="75" y="95"/>
                  <a:pt x="76" y="93"/>
                  <a:pt x="77" y="93"/>
                </a:cubicBezTo>
                <a:close/>
                <a:moveTo>
                  <a:pt x="69" y="101"/>
                </a:moveTo>
                <a:cubicBezTo>
                  <a:pt x="71" y="101"/>
                  <a:pt x="72" y="103"/>
                  <a:pt x="72" y="104"/>
                </a:cubicBezTo>
                <a:cubicBezTo>
                  <a:pt x="72" y="105"/>
                  <a:pt x="71" y="107"/>
                  <a:pt x="69" y="107"/>
                </a:cubicBezTo>
                <a:cubicBezTo>
                  <a:pt x="68" y="107"/>
                  <a:pt x="67" y="105"/>
                  <a:pt x="67" y="104"/>
                </a:cubicBezTo>
                <a:cubicBezTo>
                  <a:pt x="67" y="103"/>
                  <a:pt x="68" y="101"/>
                  <a:pt x="69" y="101"/>
                </a:cubicBezTo>
                <a:close/>
                <a:moveTo>
                  <a:pt x="13" y="109"/>
                </a:moveTo>
                <a:cubicBezTo>
                  <a:pt x="15" y="109"/>
                  <a:pt x="16" y="111"/>
                  <a:pt x="16" y="112"/>
                </a:cubicBezTo>
                <a:cubicBezTo>
                  <a:pt x="16" y="113"/>
                  <a:pt x="15" y="115"/>
                  <a:pt x="13" y="115"/>
                </a:cubicBezTo>
                <a:cubicBezTo>
                  <a:pt x="12" y="115"/>
                  <a:pt x="11" y="113"/>
                  <a:pt x="11" y="112"/>
                </a:cubicBezTo>
                <a:cubicBezTo>
                  <a:pt x="11" y="111"/>
                  <a:pt x="12" y="109"/>
                  <a:pt x="13" y="109"/>
                </a:cubicBezTo>
                <a:close/>
                <a:moveTo>
                  <a:pt x="13" y="125"/>
                </a:moveTo>
                <a:cubicBezTo>
                  <a:pt x="15" y="125"/>
                  <a:pt x="16" y="127"/>
                  <a:pt x="16" y="128"/>
                </a:cubicBezTo>
                <a:cubicBezTo>
                  <a:pt x="16" y="129"/>
                  <a:pt x="15" y="131"/>
                  <a:pt x="13" y="131"/>
                </a:cubicBezTo>
                <a:cubicBezTo>
                  <a:pt x="12" y="131"/>
                  <a:pt x="11" y="129"/>
                  <a:pt x="11" y="128"/>
                </a:cubicBezTo>
                <a:cubicBezTo>
                  <a:pt x="11" y="127"/>
                  <a:pt x="12" y="125"/>
                  <a:pt x="13" y="125"/>
                </a:cubicBezTo>
                <a:close/>
                <a:moveTo>
                  <a:pt x="21" y="117"/>
                </a:moveTo>
                <a:cubicBezTo>
                  <a:pt x="23" y="117"/>
                  <a:pt x="24" y="119"/>
                  <a:pt x="24" y="120"/>
                </a:cubicBezTo>
                <a:cubicBezTo>
                  <a:pt x="24" y="121"/>
                  <a:pt x="23" y="123"/>
                  <a:pt x="21" y="123"/>
                </a:cubicBezTo>
                <a:cubicBezTo>
                  <a:pt x="20" y="123"/>
                  <a:pt x="19" y="121"/>
                  <a:pt x="19" y="120"/>
                </a:cubicBezTo>
                <a:cubicBezTo>
                  <a:pt x="19" y="119"/>
                  <a:pt x="20" y="117"/>
                  <a:pt x="21" y="117"/>
                </a:cubicBezTo>
                <a:close/>
                <a:moveTo>
                  <a:pt x="21" y="133"/>
                </a:moveTo>
                <a:cubicBezTo>
                  <a:pt x="23" y="133"/>
                  <a:pt x="24" y="135"/>
                  <a:pt x="24" y="136"/>
                </a:cubicBezTo>
                <a:cubicBezTo>
                  <a:pt x="24" y="137"/>
                  <a:pt x="23" y="139"/>
                  <a:pt x="21" y="139"/>
                </a:cubicBezTo>
                <a:cubicBezTo>
                  <a:pt x="20" y="139"/>
                  <a:pt x="19" y="137"/>
                  <a:pt x="19" y="136"/>
                </a:cubicBezTo>
                <a:cubicBezTo>
                  <a:pt x="19" y="135"/>
                  <a:pt x="20" y="133"/>
                  <a:pt x="21" y="133"/>
                </a:cubicBezTo>
                <a:close/>
                <a:moveTo>
                  <a:pt x="29" y="109"/>
                </a:moveTo>
                <a:cubicBezTo>
                  <a:pt x="31" y="109"/>
                  <a:pt x="32" y="111"/>
                  <a:pt x="32" y="112"/>
                </a:cubicBezTo>
                <a:cubicBezTo>
                  <a:pt x="32" y="113"/>
                  <a:pt x="31" y="115"/>
                  <a:pt x="29" y="115"/>
                </a:cubicBezTo>
                <a:cubicBezTo>
                  <a:pt x="28" y="115"/>
                  <a:pt x="27" y="113"/>
                  <a:pt x="27" y="112"/>
                </a:cubicBezTo>
                <a:cubicBezTo>
                  <a:pt x="27" y="111"/>
                  <a:pt x="28" y="109"/>
                  <a:pt x="29" y="109"/>
                </a:cubicBezTo>
                <a:close/>
                <a:moveTo>
                  <a:pt x="45" y="109"/>
                </a:moveTo>
                <a:cubicBezTo>
                  <a:pt x="47" y="109"/>
                  <a:pt x="48" y="111"/>
                  <a:pt x="48" y="112"/>
                </a:cubicBezTo>
                <a:cubicBezTo>
                  <a:pt x="48" y="113"/>
                  <a:pt x="47" y="115"/>
                  <a:pt x="45" y="115"/>
                </a:cubicBezTo>
                <a:cubicBezTo>
                  <a:pt x="44" y="115"/>
                  <a:pt x="43" y="113"/>
                  <a:pt x="43" y="112"/>
                </a:cubicBezTo>
                <a:cubicBezTo>
                  <a:pt x="43" y="111"/>
                  <a:pt x="44" y="109"/>
                  <a:pt x="45" y="109"/>
                </a:cubicBezTo>
                <a:close/>
                <a:moveTo>
                  <a:pt x="29" y="125"/>
                </a:moveTo>
                <a:cubicBezTo>
                  <a:pt x="31" y="125"/>
                  <a:pt x="32" y="127"/>
                  <a:pt x="32" y="128"/>
                </a:cubicBezTo>
                <a:cubicBezTo>
                  <a:pt x="32" y="129"/>
                  <a:pt x="31" y="131"/>
                  <a:pt x="29" y="131"/>
                </a:cubicBezTo>
                <a:cubicBezTo>
                  <a:pt x="28" y="131"/>
                  <a:pt x="27" y="129"/>
                  <a:pt x="27" y="128"/>
                </a:cubicBezTo>
                <a:cubicBezTo>
                  <a:pt x="27" y="127"/>
                  <a:pt x="28" y="125"/>
                  <a:pt x="29" y="125"/>
                </a:cubicBezTo>
                <a:close/>
                <a:moveTo>
                  <a:pt x="45" y="125"/>
                </a:moveTo>
                <a:cubicBezTo>
                  <a:pt x="47" y="125"/>
                  <a:pt x="48" y="127"/>
                  <a:pt x="48" y="128"/>
                </a:cubicBezTo>
                <a:cubicBezTo>
                  <a:pt x="48" y="129"/>
                  <a:pt x="47" y="131"/>
                  <a:pt x="45" y="131"/>
                </a:cubicBezTo>
                <a:cubicBezTo>
                  <a:pt x="44" y="131"/>
                  <a:pt x="43" y="129"/>
                  <a:pt x="43" y="128"/>
                </a:cubicBezTo>
                <a:cubicBezTo>
                  <a:pt x="43" y="127"/>
                  <a:pt x="44" y="125"/>
                  <a:pt x="45" y="125"/>
                </a:cubicBezTo>
                <a:close/>
                <a:moveTo>
                  <a:pt x="37" y="117"/>
                </a:moveTo>
                <a:cubicBezTo>
                  <a:pt x="39" y="117"/>
                  <a:pt x="40" y="119"/>
                  <a:pt x="40" y="120"/>
                </a:cubicBezTo>
                <a:cubicBezTo>
                  <a:pt x="40" y="121"/>
                  <a:pt x="39" y="123"/>
                  <a:pt x="37" y="123"/>
                </a:cubicBezTo>
                <a:cubicBezTo>
                  <a:pt x="36" y="123"/>
                  <a:pt x="35" y="121"/>
                  <a:pt x="35" y="120"/>
                </a:cubicBezTo>
                <a:cubicBezTo>
                  <a:pt x="35" y="119"/>
                  <a:pt x="36" y="117"/>
                  <a:pt x="37" y="117"/>
                </a:cubicBezTo>
                <a:close/>
                <a:moveTo>
                  <a:pt x="53" y="117"/>
                </a:moveTo>
                <a:cubicBezTo>
                  <a:pt x="55" y="117"/>
                  <a:pt x="56" y="119"/>
                  <a:pt x="56" y="120"/>
                </a:cubicBezTo>
                <a:cubicBezTo>
                  <a:pt x="56" y="121"/>
                  <a:pt x="55" y="123"/>
                  <a:pt x="53" y="123"/>
                </a:cubicBezTo>
                <a:cubicBezTo>
                  <a:pt x="52" y="123"/>
                  <a:pt x="51" y="121"/>
                  <a:pt x="51" y="120"/>
                </a:cubicBezTo>
                <a:cubicBezTo>
                  <a:pt x="51" y="119"/>
                  <a:pt x="52" y="117"/>
                  <a:pt x="53" y="117"/>
                </a:cubicBezTo>
                <a:close/>
                <a:moveTo>
                  <a:pt x="37" y="133"/>
                </a:moveTo>
                <a:cubicBezTo>
                  <a:pt x="39" y="133"/>
                  <a:pt x="40" y="135"/>
                  <a:pt x="40" y="136"/>
                </a:cubicBezTo>
                <a:cubicBezTo>
                  <a:pt x="40" y="137"/>
                  <a:pt x="39" y="139"/>
                  <a:pt x="37" y="139"/>
                </a:cubicBezTo>
                <a:cubicBezTo>
                  <a:pt x="36" y="139"/>
                  <a:pt x="35" y="137"/>
                  <a:pt x="35" y="136"/>
                </a:cubicBezTo>
                <a:cubicBezTo>
                  <a:pt x="35" y="135"/>
                  <a:pt x="36" y="133"/>
                  <a:pt x="37" y="133"/>
                </a:cubicBezTo>
                <a:close/>
                <a:moveTo>
                  <a:pt x="53" y="133"/>
                </a:moveTo>
                <a:cubicBezTo>
                  <a:pt x="55" y="133"/>
                  <a:pt x="56" y="135"/>
                  <a:pt x="56" y="136"/>
                </a:cubicBezTo>
                <a:cubicBezTo>
                  <a:pt x="56" y="137"/>
                  <a:pt x="55" y="139"/>
                  <a:pt x="53" y="139"/>
                </a:cubicBezTo>
                <a:cubicBezTo>
                  <a:pt x="52" y="139"/>
                  <a:pt x="51" y="137"/>
                  <a:pt x="51" y="136"/>
                </a:cubicBezTo>
                <a:cubicBezTo>
                  <a:pt x="51" y="135"/>
                  <a:pt x="52" y="133"/>
                  <a:pt x="53" y="133"/>
                </a:cubicBezTo>
                <a:close/>
                <a:moveTo>
                  <a:pt x="61" y="109"/>
                </a:moveTo>
                <a:cubicBezTo>
                  <a:pt x="63" y="109"/>
                  <a:pt x="64" y="111"/>
                  <a:pt x="64" y="112"/>
                </a:cubicBezTo>
                <a:cubicBezTo>
                  <a:pt x="64" y="113"/>
                  <a:pt x="63" y="115"/>
                  <a:pt x="61" y="115"/>
                </a:cubicBezTo>
                <a:cubicBezTo>
                  <a:pt x="60" y="115"/>
                  <a:pt x="59" y="113"/>
                  <a:pt x="59" y="112"/>
                </a:cubicBezTo>
                <a:cubicBezTo>
                  <a:pt x="59" y="111"/>
                  <a:pt x="60" y="109"/>
                  <a:pt x="61" y="109"/>
                </a:cubicBezTo>
                <a:close/>
                <a:moveTo>
                  <a:pt x="77" y="109"/>
                </a:moveTo>
                <a:cubicBezTo>
                  <a:pt x="79" y="109"/>
                  <a:pt x="80" y="111"/>
                  <a:pt x="80" y="112"/>
                </a:cubicBezTo>
                <a:cubicBezTo>
                  <a:pt x="80" y="113"/>
                  <a:pt x="79" y="115"/>
                  <a:pt x="77" y="115"/>
                </a:cubicBezTo>
                <a:cubicBezTo>
                  <a:pt x="76" y="115"/>
                  <a:pt x="75" y="113"/>
                  <a:pt x="75" y="112"/>
                </a:cubicBezTo>
                <a:cubicBezTo>
                  <a:pt x="75" y="111"/>
                  <a:pt x="76" y="109"/>
                  <a:pt x="77" y="109"/>
                </a:cubicBezTo>
                <a:close/>
                <a:moveTo>
                  <a:pt x="61" y="125"/>
                </a:moveTo>
                <a:cubicBezTo>
                  <a:pt x="63" y="125"/>
                  <a:pt x="64" y="127"/>
                  <a:pt x="64" y="128"/>
                </a:cubicBezTo>
                <a:cubicBezTo>
                  <a:pt x="64" y="129"/>
                  <a:pt x="63" y="131"/>
                  <a:pt x="61" y="131"/>
                </a:cubicBezTo>
                <a:cubicBezTo>
                  <a:pt x="60" y="131"/>
                  <a:pt x="59" y="129"/>
                  <a:pt x="59" y="128"/>
                </a:cubicBezTo>
                <a:cubicBezTo>
                  <a:pt x="59" y="127"/>
                  <a:pt x="60" y="125"/>
                  <a:pt x="61" y="125"/>
                </a:cubicBezTo>
                <a:close/>
                <a:moveTo>
                  <a:pt x="77" y="125"/>
                </a:moveTo>
                <a:cubicBezTo>
                  <a:pt x="79" y="125"/>
                  <a:pt x="80" y="127"/>
                  <a:pt x="80" y="128"/>
                </a:cubicBezTo>
                <a:cubicBezTo>
                  <a:pt x="80" y="129"/>
                  <a:pt x="79" y="131"/>
                  <a:pt x="77" y="131"/>
                </a:cubicBezTo>
                <a:cubicBezTo>
                  <a:pt x="76" y="131"/>
                  <a:pt x="75" y="129"/>
                  <a:pt x="75" y="128"/>
                </a:cubicBezTo>
                <a:cubicBezTo>
                  <a:pt x="75" y="127"/>
                  <a:pt x="76" y="125"/>
                  <a:pt x="77" y="125"/>
                </a:cubicBezTo>
                <a:close/>
                <a:moveTo>
                  <a:pt x="69" y="117"/>
                </a:moveTo>
                <a:cubicBezTo>
                  <a:pt x="71" y="117"/>
                  <a:pt x="72" y="119"/>
                  <a:pt x="72" y="120"/>
                </a:cubicBezTo>
                <a:cubicBezTo>
                  <a:pt x="72" y="121"/>
                  <a:pt x="71" y="123"/>
                  <a:pt x="69" y="123"/>
                </a:cubicBezTo>
                <a:cubicBezTo>
                  <a:pt x="68" y="123"/>
                  <a:pt x="67" y="121"/>
                  <a:pt x="67" y="120"/>
                </a:cubicBezTo>
                <a:cubicBezTo>
                  <a:pt x="67" y="119"/>
                  <a:pt x="68" y="117"/>
                  <a:pt x="69" y="117"/>
                </a:cubicBezTo>
                <a:close/>
                <a:moveTo>
                  <a:pt x="69" y="133"/>
                </a:moveTo>
                <a:cubicBezTo>
                  <a:pt x="71" y="133"/>
                  <a:pt x="72" y="135"/>
                  <a:pt x="72" y="136"/>
                </a:cubicBezTo>
                <a:cubicBezTo>
                  <a:pt x="72" y="137"/>
                  <a:pt x="71" y="139"/>
                  <a:pt x="69" y="139"/>
                </a:cubicBezTo>
                <a:cubicBezTo>
                  <a:pt x="68" y="139"/>
                  <a:pt x="67" y="137"/>
                  <a:pt x="67" y="136"/>
                </a:cubicBezTo>
                <a:cubicBezTo>
                  <a:pt x="67" y="135"/>
                  <a:pt x="68" y="133"/>
                  <a:pt x="69" y="133"/>
                </a:cubicBezTo>
                <a:close/>
                <a:moveTo>
                  <a:pt x="13" y="141"/>
                </a:moveTo>
                <a:cubicBezTo>
                  <a:pt x="15" y="141"/>
                  <a:pt x="16" y="143"/>
                  <a:pt x="16" y="144"/>
                </a:cubicBezTo>
                <a:cubicBezTo>
                  <a:pt x="16" y="145"/>
                  <a:pt x="15" y="147"/>
                  <a:pt x="13" y="147"/>
                </a:cubicBezTo>
                <a:cubicBezTo>
                  <a:pt x="12" y="147"/>
                  <a:pt x="11" y="145"/>
                  <a:pt x="11" y="144"/>
                </a:cubicBezTo>
                <a:cubicBezTo>
                  <a:pt x="11" y="143"/>
                  <a:pt x="12" y="141"/>
                  <a:pt x="13" y="141"/>
                </a:cubicBezTo>
                <a:close/>
                <a:moveTo>
                  <a:pt x="21" y="149"/>
                </a:moveTo>
                <a:cubicBezTo>
                  <a:pt x="23" y="149"/>
                  <a:pt x="24" y="151"/>
                  <a:pt x="24" y="152"/>
                </a:cubicBezTo>
                <a:cubicBezTo>
                  <a:pt x="24" y="153"/>
                  <a:pt x="23" y="155"/>
                  <a:pt x="21" y="155"/>
                </a:cubicBezTo>
                <a:cubicBezTo>
                  <a:pt x="20" y="155"/>
                  <a:pt x="19" y="153"/>
                  <a:pt x="19" y="152"/>
                </a:cubicBezTo>
                <a:cubicBezTo>
                  <a:pt x="19" y="151"/>
                  <a:pt x="20" y="149"/>
                  <a:pt x="21" y="149"/>
                </a:cubicBezTo>
                <a:close/>
                <a:moveTo>
                  <a:pt x="29" y="141"/>
                </a:moveTo>
                <a:cubicBezTo>
                  <a:pt x="31" y="141"/>
                  <a:pt x="32" y="143"/>
                  <a:pt x="32" y="144"/>
                </a:cubicBezTo>
                <a:cubicBezTo>
                  <a:pt x="32" y="145"/>
                  <a:pt x="31" y="147"/>
                  <a:pt x="29" y="147"/>
                </a:cubicBezTo>
                <a:cubicBezTo>
                  <a:pt x="28" y="147"/>
                  <a:pt x="27" y="145"/>
                  <a:pt x="27" y="144"/>
                </a:cubicBezTo>
                <a:cubicBezTo>
                  <a:pt x="27" y="143"/>
                  <a:pt x="28" y="141"/>
                  <a:pt x="29" y="141"/>
                </a:cubicBezTo>
                <a:close/>
                <a:moveTo>
                  <a:pt x="45" y="141"/>
                </a:moveTo>
                <a:cubicBezTo>
                  <a:pt x="47" y="141"/>
                  <a:pt x="48" y="143"/>
                  <a:pt x="48" y="144"/>
                </a:cubicBezTo>
                <a:cubicBezTo>
                  <a:pt x="48" y="145"/>
                  <a:pt x="47" y="147"/>
                  <a:pt x="45" y="147"/>
                </a:cubicBezTo>
                <a:cubicBezTo>
                  <a:pt x="44" y="147"/>
                  <a:pt x="43" y="145"/>
                  <a:pt x="43" y="144"/>
                </a:cubicBezTo>
                <a:cubicBezTo>
                  <a:pt x="43" y="143"/>
                  <a:pt x="44" y="141"/>
                  <a:pt x="45" y="141"/>
                </a:cubicBezTo>
                <a:close/>
                <a:moveTo>
                  <a:pt x="37" y="149"/>
                </a:moveTo>
                <a:cubicBezTo>
                  <a:pt x="39" y="149"/>
                  <a:pt x="40" y="151"/>
                  <a:pt x="40" y="152"/>
                </a:cubicBezTo>
                <a:cubicBezTo>
                  <a:pt x="40" y="153"/>
                  <a:pt x="39" y="155"/>
                  <a:pt x="37" y="155"/>
                </a:cubicBezTo>
                <a:cubicBezTo>
                  <a:pt x="36" y="155"/>
                  <a:pt x="35" y="153"/>
                  <a:pt x="35" y="152"/>
                </a:cubicBezTo>
                <a:cubicBezTo>
                  <a:pt x="35" y="151"/>
                  <a:pt x="36" y="149"/>
                  <a:pt x="37" y="149"/>
                </a:cubicBezTo>
                <a:close/>
                <a:moveTo>
                  <a:pt x="53" y="149"/>
                </a:moveTo>
                <a:cubicBezTo>
                  <a:pt x="55" y="149"/>
                  <a:pt x="56" y="151"/>
                  <a:pt x="56" y="152"/>
                </a:cubicBezTo>
                <a:cubicBezTo>
                  <a:pt x="56" y="153"/>
                  <a:pt x="55" y="155"/>
                  <a:pt x="53" y="155"/>
                </a:cubicBezTo>
                <a:cubicBezTo>
                  <a:pt x="52" y="155"/>
                  <a:pt x="51" y="153"/>
                  <a:pt x="51" y="152"/>
                </a:cubicBezTo>
                <a:cubicBezTo>
                  <a:pt x="51" y="151"/>
                  <a:pt x="52" y="149"/>
                  <a:pt x="53" y="149"/>
                </a:cubicBezTo>
                <a:close/>
                <a:moveTo>
                  <a:pt x="61" y="141"/>
                </a:moveTo>
                <a:cubicBezTo>
                  <a:pt x="63" y="141"/>
                  <a:pt x="64" y="143"/>
                  <a:pt x="64" y="144"/>
                </a:cubicBezTo>
                <a:cubicBezTo>
                  <a:pt x="64" y="145"/>
                  <a:pt x="63" y="147"/>
                  <a:pt x="61" y="147"/>
                </a:cubicBezTo>
                <a:cubicBezTo>
                  <a:pt x="60" y="147"/>
                  <a:pt x="59" y="145"/>
                  <a:pt x="59" y="144"/>
                </a:cubicBezTo>
                <a:cubicBezTo>
                  <a:pt x="59" y="143"/>
                  <a:pt x="60" y="141"/>
                  <a:pt x="61" y="141"/>
                </a:cubicBezTo>
                <a:close/>
                <a:moveTo>
                  <a:pt x="77" y="141"/>
                </a:moveTo>
                <a:cubicBezTo>
                  <a:pt x="79" y="141"/>
                  <a:pt x="80" y="143"/>
                  <a:pt x="80" y="144"/>
                </a:cubicBezTo>
                <a:cubicBezTo>
                  <a:pt x="80" y="145"/>
                  <a:pt x="79" y="147"/>
                  <a:pt x="77" y="147"/>
                </a:cubicBezTo>
                <a:cubicBezTo>
                  <a:pt x="76" y="147"/>
                  <a:pt x="75" y="145"/>
                  <a:pt x="75" y="144"/>
                </a:cubicBezTo>
                <a:cubicBezTo>
                  <a:pt x="75" y="143"/>
                  <a:pt x="76" y="141"/>
                  <a:pt x="77" y="141"/>
                </a:cubicBezTo>
                <a:close/>
                <a:moveTo>
                  <a:pt x="69" y="149"/>
                </a:moveTo>
                <a:cubicBezTo>
                  <a:pt x="71" y="149"/>
                  <a:pt x="72" y="151"/>
                  <a:pt x="72" y="152"/>
                </a:cubicBezTo>
                <a:cubicBezTo>
                  <a:pt x="72" y="153"/>
                  <a:pt x="71" y="155"/>
                  <a:pt x="69" y="155"/>
                </a:cubicBezTo>
                <a:cubicBezTo>
                  <a:pt x="68" y="155"/>
                  <a:pt x="67" y="153"/>
                  <a:pt x="67" y="152"/>
                </a:cubicBezTo>
                <a:cubicBezTo>
                  <a:pt x="67" y="151"/>
                  <a:pt x="68" y="149"/>
                  <a:pt x="69" y="149"/>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7" name="Group 186">
            <a:extLst>
              <a:ext uri="{FF2B5EF4-FFF2-40B4-BE49-F238E27FC236}">
                <a16:creationId xmlns:a16="http://schemas.microsoft.com/office/drawing/2014/main" id="{9EA02AB7-663C-734A-A850-4D2E83EE329B}"/>
              </a:ext>
            </a:extLst>
          </p:cNvPr>
          <p:cNvGrpSpPr/>
          <p:nvPr/>
        </p:nvGrpSpPr>
        <p:grpSpPr>
          <a:xfrm>
            <a:off x="2609733" y="365125"/>
            <a:ext cx="290513" cy="550863"/>
            <a:chOff x="3557588" y="365125"/>
            <a:chExt cx="290513" cy="550863"/>
          </a:xfrm>
          <a:solidFill>
            <a:srgbClr val="242524">
              <a:alpha val="70000"/>
            </a:srgbClr>
          </a:solidFill>
        </p:grpSpPr>
        <p:sp>
          <p:nvSpPr>
            <p:cNvPr id="188" name="Freeform 1024">
              <a:extLst>
                <a:ext uri="{FF2B5EF4-FFF2-40B4-BE49-F238E27FC236}">
                  <a16:creationId xmlns:a16="http://schemas.microsoft.com/office/drawing/2014/main" id="{5E687909-9097-C940-A5EC-D3EF24985E67}"/>
                </a:ext>
              </a:extLst>
            </p:cNvPr>
            <p:cNvSpPr>
              <a:spLocks noEditPoints="1"/>
            </p:cNvSpPr>
            <p:nvPr/>
          </p:nvSpPr>
          <p:spPr bwMode="auto">
            <a:xfrm>
              <a:off x="3557588" y="365125"/>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32 w 85"/>
                <a:gd name="T27" fmla="*/ 5 h 160"/>
                <a:gd name="T28" fmla="*/ 53 w 85"/>
                <a:gd name="T29" fmla="*/ 5 h 160"/>
                <a:gd name="T30" fmla="*/ 53 w 85"/>
                <a:gd name="T31" fmla="*/ 11 h 160"/>
                <a:gd name="T32" fmla="*/ 32 w 85"/>
                <a:gd name="T33" fmla="*/ 11 h 160"/>
                <a:gd name="T34" fmla="*/ 32 w 85"/>
                <a:gd name="T35" fmla="*/ 5 h 160"/>
                <a:gd name="T36" fmla="*/ 9 w 85"/>
                <a:gd name="T37" fmla="*/ 16 h 160"/>
                <a:gd name="T38" fmla="*/ 27 w 85"/>
                <a:gd name="T39" fmla="*/ 16 h 160"/>
                <a:gd name="T40" fmla="*/ 59 w 85"/>
                <a:gd name="T41" fmla="*/ 16 h 160"/>
                <a:gd name="T42" fmla="*/ 76 w 85"/>
                <a:gd name="T43" fmla="*/ 16 h 160"/>
                <a:gd name="T44" fmla="*/ 80 w 85"/>
                <a:gd name="T45" fmla="*/ 20 h 160"/>
                <a:gd name="T46" fmla="*/ 80 w 85"/>
                <a:gd name="T47" fmla="*/ 120 h 160"/>
                <a:gd name="T48" fmla="*/ 5 w 85"/>
                <a:gd name="T49" fmla="*/ 120 h 160"/>
                <a:gd name="T50" fmla="*/ 5 w 85"/>
                <a:gd name="T51" fmla="*/ 20 h 160"/>
                <a:gd name="T52" fmla="*/ 9 w 85"/>
                <a:gd name="T53" fmla="*/ 16 h 160"/>
                <a:gd name="T54" fmla="*/ 80 w 85"/>
                <a:gd name="T55" fmla="*/ 144 h 160"/>
                <a:gd name="T56" fmla="*/ 80 w 85"/>
                <a:gd name="T57" fmla="*/ 151 h 160"/>
                <a:gd name="T58" fmla="*/ 76 w 85"/>
                <a:gd name="T59" fmla="*/ 155 h 160"/>
                <a:gd name="T60" fmla="*/ 69 w 85"/>
                <a:gd name="T61" fmla="*/ 155 h 160"/>
                <a:gd name="T62" fmla="*/ 53 w 85"/>
                <a:gd name="T63" fmla="*/ 155 h 160"/>
                <a:gd name="T64" fmla="*/ 37 w 85"/>
                <a:gd name="T65" fmla="*/ 155 h 160"/>
                <a:gd name="T66" fmla="*/ 21 w 85"/>
                <a:gd name="T67" fmla="*/ 155 h 160"/>
                <a:gd name="T68" fmla="*/ 9 w 85"/>
                <a:gd name="T69" fmla="*/ 155 h 160"/>
                <a:gd name="T70" fmla="*/ 7 w 85"/>
                <a:gd name="T71" fmla="*/ 154 h 160"/>
                <a:gd name="T72" fmla="*/ 8 w 85"/>
                <a:gd name="T73" fmla="*/ 152 h 160"/>
                <a:gd name="T74" fmla="*/ 5 w 85"/>
                <a:gd name="T75" fmla="*/ 149 h 160"/>
                <a:gd name="T76" fmla="*/ 5 w 85"/>
                <a:gd name="T77" fmla="*/ 139 h 160"/>
                <a:gd name="T78" fmla="*/ 8 w 85"/>
                <a:gd name="T79" fmla="*/ 136 h 160"/>
                <a:gd name="T80" fmla="*/ 5 w 85"/>
                <a:gd name="T81" fmla="*/ 133 h 160"/>
                <a:gd name="T82" fmla="*/ 5 w 85"/>
                <a:gd name="T83" fmla="*/ 125 h 160"/>
                <a:gd name="T84" fmla="*/ 13 w 85"/>
                <a:gd name="T85" fmla="*/ 125 h 160"/>
                <a:gd name="T86" fmla="*/ 29 w 85"/>
                <a:gd name="T87" fmla="*/ 125 h 160"/>
                <a:gd name="T88" fmla="*/ 45 w 85"/>
                <a:gd name="T89" fmla="*/ 125 h 160"/>
                <a:gd name="T90" fmla="*/ 61 w 85"/>
                <a:gd name="T91" fmla="*/ 125 h 160"/>
                <a:gd name="T92" fmla="*/ 77 w 85"/>
                <a:gd name="T93" fmla="*/ 125 h 160"/>
                <a:gd name="T94" fmla="*/ 80 w 85"/>
                <a:gd name="T95" fmla="*/ 125 h 160"/>
                <a:gd name="T96" fmla="*/ 80 w 85"/>
                <a:gd name="T97" fmla="*/ 128 h 160"/>
                <a:gd name="T98" fmla="*/ 80 w 85"/>
                <a:gd name="T99"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120"/>
                    <a:pt x="80" y="120"/>
                    <a:pt x="80" y="120"/>
                  </a:cubicBezTo>
                  <a:cubicBezTo>
                    <a:pt x="5" y="120"/>
                    <a:pt x="5" y="120"/>
                    <a:pt x="5" y="120"/>
                  </a:cubicBezTo>
                  <a:cubicBezTo>
                    <a:pt x="5" y="20"/>
                    <a:pt x="5" y="20"/>
                    <a:pt x="5" y="20"/>
                  </a:cubicBezTo>
                  <a:cubicBezTo>
                    <a:pt x="5" y="18"/>
                    <a:pt x="7" y="16"/>
                    <a:pt x="9" y="16"/>
                  </a:cubicBezTo>
                  <a:close/>
                  <a:moveTo>
                    <a:pt x="80" y="144"/>
                  </a:moveTo>
                  <a:cubicBezTo>
                    <a:pt x="80" y="151"/>
                    <a:pt x="80" y="151"/>
                    <a:pt x="80" y="151"/>
                  </a:cubicBezTo>
                  <a:cubicBezTo>
                    <a:pt x="80" y="153"/>
                    <a:pt x="78" y="155"/>
                    <a:pt x="76" y="155"/>
                  </a:cubicBezTo>
                  <a:cubicBezTo>
                    <a:pt x="69" y="155"/>
                    <a:pt x="69" y="155"/>
                    <a:pt x="69" y="155"/>
                  </a:cubicBezTo>
                  <a:cubicBezTo>
                    <a:pt x="53" y="155"/>
                    <a:pt x="53" y="155"/>
                    <a:pt x="53" y="155"/>
                  </a:cubicBezTo>
                  <a:cubicBezTo>
                    <a:pt x="37" y="155"/>
                    <a:pt x="37" y="155"/>
                    <a:pt x="37" y="155"/>
                  </a:cubicBezTo>
                  <a:cubicBezTo>
                    <a:pt x="21" y="155"/>
                    <a:pt x="21" y="155"/>
                    <a:pt x="21" y="155"/>
                  </a:cubicBezTo>
                  <a:cubicBezTo>
                    <a:pt x="9" y="155"/>
                    <a:pt x="9" y="155"/>
                    <a:pt x="9" y="155"/>
                  </a:cubicBezTo>
                  <a:cubicBezTo>
                    <a:pt x="8" y="155"/>
                    <a:pt x="8" y="154"/>
                    <a:pt x="7" y="154"/>
                  </a:cubicBezTo>
                  <a:cubicBezTo>
                    <a:pt x="8" y="154"/>
                    <a:pt x="8" y="153"/>
                    <a:pt x="8" y="152"/>
                  </a:cubicBezTo>
                  <a:cubicBezTo>
                    <a:pt x="8" y="151"/>
                    <a:pt x="7" y="149"/>
                    <a:pt x="5" y="149"/>
                  </a:cubicBezTo>
                  <a:cubicBezTo>
                    <a:pt x="5" y="139"/>
                    <a:pt x="5" y="139"/>
                    <a:pt x="5" y="139"/>
                  </a:cubicBezTo>
                  <a:cubicBezTo>
                    <a:pt x="7" y="139"/>
                    <a:pt x="8" y="137"/>
                    <a:pt x="8" y="136"/>
                  </a:cubicBezTo>
                  <a:cubicBezTo>
                    <a:pt x="8" y="135"/>
                    <a:pt x="7" y="133"/>
                    <a:pt x="5" y="133"/>
                  </a:cubicBezTo>
                  <a:cubicBezTo>
                    <a:pt x="5" y="125"/>
                    <a:pt x="5" y="125"/>
                    <a:pt x="5" y="125"/>
                  </a:cubicBezTo>
                  <a:cubicBezTo>
                    <a:pt x="13" y="125"/>
                    <a:pt x="13" y="125"/>
                    <a:pt x="13" y="125"/>
                  </a:cubicBezTo>
                  <a:cubicBezTo>
                    <a:pt x="29" y="125"/>
                    <a:pt x="29" y="125"/>
                    <a:pt x="29" y="125"/>
                  </a:cubicBezTo>
                  <a:cubicBezTo>
                    <a:pt x="45" y="125"/>
                    <a:pt x="45" y="125"/>
                    <a:pt x="45" y="125"/>
                  </a:cubicBezTo>
                  <a:cubicBezTo>
                    <a:pt x="61" y="125"/>
                    <a:pt x="61" y="125"/>
                    <a:pt x="61" y="125"/>
                  </a:cubicBezTo>
                  <a:cubicBezTo>
                    <a:pt x="77" y="125"/>
                    <a:pt x="77" y="125"/>
                    <a:pt x="77" y="125"/>
                  </a:cubicBezTo>
                  <a:cubicBezTo>
                    <a:pt x="80" y="125"/>
                    <a:pt x="80" y="125"/>
                    <a:pt x="80" y="125"/>
                  </a:cubicBezTo>
                  <a:cubicBezTo>
                    <a:pt x="80" y="128"/>
                    <a:pt x="80" y="128"/>
                    <a:pt x="80" y="128"/>
                  </a:cubicBezTo>
                  <a:lnTo>
                    <a:pt x="8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1025">
              <a:extLst>
                <a:ext uri="{FF2B5EF4-FFF2-40B4-BE49-F238E27FC236}">
                  <a16:creationId xmlns:a16="http://schemas.microsoft.com/office/drawing/2014/main" id="{000B63FA-70F9-244E-8CC1-06136D8489CA}"/>
                </a:ext>
              </a:extLst>
            </p:cNvPr>
            <p:cNvSpPr>
              <a:spLocks noChangeArrowheads="1"/>
            </p:cNvSpPr>
            <p:nvPr/>
          </p:nvSpPr>
          <p:spPr bwMode="auto">
            <a:xfrm>
              <a:off x="3595688" y="7953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1026">
              <a:extLst>
                <a:ext uri="{FF2B5EF4-FFF2-40B4-BE49-F238E27FC236}">
                  <a16:creationId xmlns:a16="http://schemas.microsoft.com/office/drawing/2014/main" id="{E6292929-4C24-6646-9F04-C48A9EDF3389}"/>
                </a:ext>
              </a:extLst>
            </p:cNvPr>
            <p:cNvSpPr>
              <a:spLocks noChangeArrowheads="1"/>
            </p:cNvSpPr>
            <p:nvPr/>
          </p:nvSpPr>
          <p:spPr bwMode="auto">
            <a:xfrm>
              <a:off x="3622675" y="8223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1027">
              <a:extLst>
                <a:ext uri="{FF2B5EF4-FFF2-40B4-BE49-F238E27FC236}">
                  <a16:creationId xmlns:a16="http://schemas.microsoft.com/office/drawing/2014/main" id="{5B6A380D-F8D2-7C4D-A3A7-DBF40451512C}"/>
                </a:ext>
              </a:extLst>
            </p:cNvPr>
            <p:cNvSpPr>
              <a:spLocks noChangeArrowheads="1"/>
            </p:cNvSpPr>
            <p:nvPr/>
          </p:nvSpPr>
          <p:spPr bwMode="auto">
            <a:xfrm>
              <a:off x="3651250" y="795338"/>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1028">
              <a:extLst>
                <a:ext uri="{FF2B5EF4-FFF2-40B4-BE49-F238E27FC236}">
                  <a16:creationId xmlns:a16="http://schemas.microsoft.com/office/drawing/2014/main" id="{46B77F5F-8BB6-5E4C-AAE1-CEB952406AEF}"/>
                </a:ext>
              </a:extLst>
            </p:cNvPr>
            <p:cNvSpPr>
              <a:spLocks noChangeArrowheads="1"/>
            </p:cNvSpPr>
            <p:nvPr/>
          </p:nvSpPr>
          <p:spPr bwMode="auto">
            <a:xfrm>
              <a:off x="3705225" y="7953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1029">
              <a:extLst>
                <a:ext uri="{FF2B5EF4-FFF2-40B4-BE49-F238E27FC236}">
                  <a16:creationId xmlns:a16="http://schemas.microsoft.com/office/drawing/2014/main" id="{ED6E9E35-0FAF-EB43-A7A3-7A1C9DCE2705}"/>
                </a:ext>
              </a:extLst>
            </p:cNvPr>
            <p:cNvSpPr>
              <a:spLocks noChangeArrowheads="1"/>
            </p:cNvSpPr>
            <p:nvPr/>
          </p:nvSpPr>
          <p:spPr bwMode="auto">
            <a:xfrm>
              <a:off x="3678238" y="822325"/>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1030">
              <a:extLst>
                <a:ext uri="{FF2B5EF4-FFF2-40B4-BE49-F238E27FC236}">
                  <a16:creationId xmlns:a16="http://schemas.microsoft.com/office/drawing/2014/main" id="{42CCE308-DD36-8D48-BAB7-779CC508678E}"/>
                </a:ext>
              </a:extLst>
            </p:cNvPr>
            <p:cNvSpPr>
              <a:spLocks noChangeArrowheads="1"/>
            </p:cNvSpPr>
            <p:nvPr/>
          </p:nvSpPr>
          <p:spPr bwMode="auto">
            <a:xfrm>
              <a:off x="3732213" y="822325"/>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1031">
              <a:extLst>
                <a:ext uri="{FF2B5EF4-FFF2-40B4-BE49-F238E27FC236}">
                  <a16:creationId xmlns:a16="http://schemas.microsoft.com/office/drawing/2014/main" id="{3A49180D-26C9-8A44-8B81-B8AC4C66A3EC}"/>
                </a:ext>
              </a:extLst>
            </p:cNvPr>
            <p:cNvSpPr>
              <a:spLocks noChangeArrowheads="1"/>
            </p:cNvSpPr>
            <p:nvPr/>
          </p:nvSpPr>
          <p:spPr bwMode="auto">
            <a:xfrm>
              <a:off x="3759200" y="79533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1032">
              <a:extLst>
                <a:ext uri="{FF2B5EF4-FFF2-40B4-BE49-F238E27FC236}">
                  <a16:creationId xmlns:a16="http://schemas.microsoft.com/office/drawing/2014/main" id="{E42FAC54-CC8D-6440-8974-318B187D5064}"/>
                </a:ext>
              </a:extLst>
            </p:cNvPr>
            <p:cNvSpPr>
              <a:spLocks noChangeArrowheads="1"/>
            </p:cNvSpPr>
            <p:nvPr/>
          </p:nvSpPr>
          <p:spPr bwMode="auto">
            <a:xfrm>
              <a:off x="3814763" y="795338"/>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1033">
              <a:extLst>
                <a:ext uri="{FF2B5EF4-FFF2-40B4-BE49-F238E27FC236}">
                  <a16:creationId xmlns:a16="http://schemas.microsoft.com/office/drawing/2014/main" id="{BB2E4470-1555-034C-9E8D-AE52F7151BB6}"/>
                </a:ext>
              </a:extLst>
            </p:cNvPr>
            <p:cNvSpPr>
              <a:spLocks noChangeArrowheads="1"/>
            </p:cNvSpPr>
            <p:nvPr/>
          </p:nvSpPr>
          <p:spPr bwMode="auto">
            <a:xfrm>
              <a:off x="3787775" y="822325"/>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1034">
              <a:extLst>
                <a:ext uri="{FF2B5EF4-FFF2-40B4-BE49-F238E27FC236}">
                  <a16:creationId xmlns:a16="http://schemas.microsoft.com/office/drawing/2014/main" id="{4525A2AD-B4CF-F84D-8C2A-F6CF2F3D6798}"/>
                </a:ext>
              </a:extLst>
            </p:cNvPr>
            <p:cNvSpPr>
              <a:spLocks noChangeArrowheads="1"/>
            </p:cNvSpPr>
            <p:nvPr/>
          </p:nvSpPr>
          <p:spPr bwMode="auto">
            <a:xfrm>
              <a:off x="3595688" y="849313"/>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1035">
              <a:extLst>
                <a:ext uri="{FF2B5EF4-FFF2-40B4-BE49-F238E27FC236}">
                  <a16:creationId xmlns:a16="http://schemas.microsoft.com/office/drawing/2014/main" id="{70D09481-4D18-AB44-8C6C-68A786F029F0}"/>
                </a:ext>
              </a:extLst>
            </p:cNvPr>
            <p:cNvSpPr>
              <a:spLocks noChangeArrowheads="1"/>
            </p:cNvSpPr>
            <p:nvPr/>
          </p:nvSpPr>
          <p:spPr bwMode="auto">
            <a:xfrm>
              <a:off x="3622675" y="87788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1036">
              <a:extLst>
                <a:ext uri="{FF2B5EF4-FFF2-40B4-BE49-F238E27FC236}">
                  <a16:creationId xmlns:a16="http://schemas.microsoft.com/office/drawing/2014/main" id="{B26132B5-D36B-A44F-9275-F073EFB8598D}"/>
                </a:ext>
              </a:extLst>
            </p:cNvPr>
            <p:cNvSpPr>
              <a:spLocks noChangeArrowheads="1"/>
            </p:cNvSpPr>
            <p:nvPr/>
          </p:nvSpPr>
          <p:spPr bwMode="auto">
            <a:xfrm>
              <a:off x="3651250" y="849313"/>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1037">
              <a:extLst>
                <a:ext uri="{FF2B5EF4-FFF2-40B4-BE49-F238E27FC236}">
                  <a16:creationId xmlns:a16="http://schemas.microsoft.com/office/drawing/2014/main" id="{6A4AA651-B80A-8145-88A8-6DD10FE08775}"/>
                </a:ext>
              </a:extLst>
            </p:cNvPr>
            <p:cNvSpPr>
              <a:spLocks noChangeArrowheads="1"/>
            </p:cNvSpPr>
            <p:nvPr/>
          </p:nvSpPr>
          <p:spPr bwMode="auto">
            <a:xfrm>
              <a:off x="3705225" y="849313"/>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038">
              <a:extLst>
                <a:ext uri="{FF2B5EF4-FFF2-40B4-BE49-F238E27FC236}">
                  <a16:creationId xmlns:a16="http://schemas.microsoft.com/office/drawing/2014/main" id="{23974487-B19A-8B4F-B889-E9DA6D6ED13B}"/>
                </a:ext>
              </a:extLst>
            </p:cNvPr>
            <p:cNvSpPr>
              <a:spLocks noChangeArrowheads="1"/>
            </p:cNvSpPr>
            <p:nvPr/>
          </p:nvSpPr>
          <p:spPr bwMode="auto">
            <a:xfrm>
              <a:off x="3678238" y="877888"/>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039">
              <a:extLst>
                <a:ext uri="{FF2B5EF4-FFF2-40B4-BE49-F238E27FC236}">
                  <a16:creationId xmlns:a16="http://schemas.microsoft.com/office/drawing/2014/main" id="{E02D4F52-6511-984B-88BA-A2F2E062026E}"/>
                </a:ext>
              </a:extLst>
            </p:cNvPr>
            <p:cNvSpPr>
              <a:spLocks noChangeArrowheads="1"/>
            </p:cNvSpPr>
            <p:nvPr/>
          </p:nvSpPr>
          <p:spPr bwMode="auto">
            <a:xfrm>
              <a:off x="3732213" y="877888"/>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040">
              <a:extLst>
                <a:ext uri="{FF2B5EF4-FFF2-40B4-BE49-F238E27FC236}">
                  <a16:creationId xmlns:a16="http://schemas.microsoft.com/office/drawing/2014/main" id="{7F515F09-5137-2545-A029-F685AB219B7E}"/>
                </a:ext>
              </a:extLst>
            </p:cNvPr>
            <p:cNvSpPr>
              <a:spLocks noChangeArrowheads="1"/>
            </p:cNvSpPr>
            <p:nvPr/>
          </p:nvSpPr>
          <p:spPr bwMode="auto">
            <a:xfrm>
              <a:off x="3759200" y="849313"/>
              <a:ext cx="17463"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041">
              <a:extLst>
                <a:ext uri="{FF2B5EF4-FFF2-40B4-BE49-F238E27FC236}">
                  <a16:creationId xmlns:a16="http://schemas.microsoft.com/office/drawing/2014/main" id="{D8033B5E-AAB4-6E49-9F2E-5CCC7C463DAC}"/>
                </a:ext>
              </a:extLst>
            </p:cNvPr>
            <p:cNvSpPr>
              <a:spLocks noChangeArrowheads="1"/>
            </p:cNvSpPr>
            <p:nvPr/>
          </p:nvSpPr>
          <p:spPr bwMode="auto">
            <a:xfrm>
              <a:off x="3814763" y="849313"/>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042">
              <a:extLst>
                <a:ext uri="{FF2B5EF4-FFF2-40B4-BE49-F238E27FC236}">
                  <a16:creationId xmlns:a16="http://schemas.microsoft.com/office/drawing/2014/main" id="{84DC4FC8-EFCC-4F4B-BE75-429F59B7591A}"/>
                </a:ext>
              </a:extLst>
            </p:cNvPr>
            <p:cNvSpPr>
              <a:spLocks noChangeArrowheads="1"/>
            </p:cNvSpPr>
            <p:nvPr/>
          </p:nvSpPr>
          <p:spPr bwMode="auto">
            <a:xfrm>
              <a:off x="3787775" y="877888"/>
              <a:ext cx="15875"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7" name="Freeform 1044">
            <a:extLst>
              <a:ext uri="{FF2B5EF4-FFF2-40B4-BE49-F238E27FC236}">
                <a16:creationId xmlns:a16="http://schemas.microsoft.com/office/drawing/2014/main" id="{B65C8BF1-67FF-CE46-B4BB-427927C8D574}"/>
              </a:ext>
            </a:extLst>
          </p:cNvPr>
          <p:cNvSpPr>
            <a:spLocks noEditPoints="1"/>
          </p:cNvSpPr>
          <p:nvPr/>
        </p:nvSpPr>
        <p:spPr bwMode="auto">
          <a:xfrm>
            <a:off x="2609733" y="984250"/>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5 w 85"/>
              <a:gd name="T27" fmla="*/ 51 h 160"/>
              <a:gd name="T28" fmla="*/ 80 w 85"/>
              <a:gd name="T29" fmla="*/ 51 h 160"/>
              <a:gd name="T30" fmla="*/ 80 w 85"/>
              <a:gd name="T31" fmla="*/ 83 h 160"/>
              <a:gd name="T32" fmla="*/ 5 w 85"/>
              <a:gd name="T33" fmla="*/ 83 h 160"/>
              <a:gd name="T34" fmla="*/ 5 w 85"/>
              <a:gd name="T35" fmla="*/ 51 h 160"/>
              <a:gd name="T36" fmla="*/ 5 w 85"/>
              <a:gd name="T37" fmla="*/ 88 h 160"/>
              <a:gd name="T38" fmla="*/ 80 w 85"/>
              <a:gd name="T39" fmla="*/ 88 h 160"/>
              <a:gd name="T40" fmla="*/ 80 w 85"/>
              <a:gd name="T41" fmla="*/ 120 h 160"/>
              <a:gd name="T42" fmla="*/ 5 w 85"/>
              <a:gd name="T43" fmla="*/ 120 h 160"/>
              <a:gd name="T44" fmla="*/ 5 w 85"/>
              <a:gd name="T45" fmla="*/ 88 h 160"/>
              <a:gd name="T46" fmla="*/ 32 w 85"/>
              <a:gd name="T47" fmla="*/ 5 h 160"/>
              <a:gd name="T48" fmla="*/ 53 w 85"/>
              <a:gd name="T49" fmla="*/ 5 h 160"/>
              <a:gd name="T50" fmla="*/ 53 w 85"/>
              <a:gd name="T51" fmla="*/ 11 h 160"/>
              <a:gd name="T52" fmla="*/ 32 w 85"/>
              <a:gd name="T53" fmla="*/ 11 h 160"/>
              <a:gd name="T54" fmla="*/ 32 w 85"/>
              <a:gd name="T55" fmla="*/ 5 h 160"/>
              <a:gd name="T56" fmla="*/ 9 w 85"/>
              <a:gd name="T57" fmla="*/ 16 h 160"/>
              <a:gd name="T58" fmla="*/ 27 w 85"/>
              <a:gd name="T59" fmla="*/ 16 h 160"/>
              <a:gd name="T60" fmla="*/ 59 w 85"/>
              <a:gd name="T61" fmla="*/ 16 h 160"/>
              <a:gd name="T62" fmla="*/ 76 w 85"/>
              <a:gd name="T63" fmla="*/ 16 h 160"/>
              <a:gd name="T64" fmla="*/ 80 w 85"/>
              <a:gd name="T65" fmla="*/ 20 h 160"/>
              <a:gd name="T66" fmla="*/ 80 w 85"/>
              <a:gd name="T67" fmla="*/ 45 h 160"/>
              <a:gd name="T68" fmla="*/ 5 w 85"/>
              <a:gd name="T69" fmla="*/ 45 h 160"/>
              <a:gd name="T70" fmla="*/ 5 w 85"/>
              <a:gd name="T71" fmla="*/ 20 h 160"/>
              <a:gd name="T72" fmla="*/ 9 w 85"/>
              <a:gd name="T73" fmla="*/ 16 h 160"/>
              <a:gd name="T74" fmla="*/ 76 w 85"/>
              <a:gd name="T75" fmla="*/ 155 h 160"/>
              <a:gd name="T76" fmla="*/ 9 w 85"/>
              <a:gd name="T77" fmla="*/ 155 h 160"/>
              <a:gd name="T78" fmla="*/ 5 w 85"/>
              <a:gd name="T79" fmla="*/ 151 h 160"/>
              <a:gd name="T80" fmla="*/ 5 w 85"/>
              <a:gd name="T81" fmla="*/ 125 h 160"/>
              <a:gd name="T82" fmla="*/ 80 w 85"/>
              <a:gd name="T83" fmla="*/ 125 h 160"/>
              <a:gd name="T84" fmla="*/ 80 w 85"/>
              <a:gd name="T85" fmla="*/ 151 h 160"/>
              <a:gd name="T86" fmla="*/ 76 w 85"/>
              <a:gd name="T8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5" y="51"/>
                </a:moveTo>
                <a:cubicBezTo>
                  <a:pt x="80" y="51"/>
                  <a:pt x="80" y="51"/>
                  <a:pt x="80" y="51"/>
                </a:cubicBezTo>
                <a:cubicBezTo>
                  <a:pt x="80" y="83"/>
                  <a:pt x="80" y="83"/>
                  <a:pt x="80" y="83"/>
                </a:cubicBezTo>
                <a:cubicBezTo>
                  <a:pt x="5" y="83"/>
                  <a:pt x="5" y="83"/>
                  <a:pt x="5" y="83"/>
                </a:cubicBezTo>
                <a:lnTo>
                  <a:pt x="5" y="51"/>
                </a:lnTo>
                <a:close/>
                <a:moveTo>
                  <a:pt x="5" y="88"/>
                </a:moveTo>
                <a:cubicBezTo>
                  <a:pt x="80" y="88"/>
                  <a:pt x="80" y="88"/>
                  <a:pt x="80" y="88"/>
                </a:cubicBezTo>
                <a:cubicBezTo>
                  <a:pt x="80" y="120"/>
                  <a:pt x="80" y="120"/>
                  <a:pt x="80" y="120"/>
                </a:cubicBezTo>
                <a:cubicBezTo>
                  <a:pt x="5" y="120"/>
                  <a:pt x="5" y="120"/>
                  <a:pt x="5" y="120"/>
                </a:cubicBezTo>
                <a:lnTo>
                  <a:pt x="5" y="88"/>
                </a:ln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45"/>
                  <a:pt x="80" y="45"/>
                  <a:pt x="80" y="45"/>
                </a:cubicBezTo>
                <a:cubicBezTo>
                  <a:pt x="5" y="45"/>
                  <a:pt x="5" y="45"/>
                  <a:pt x="5" y="45"/>
                </a:cubicBezTo>
                <a:cubicBezTo>
                  <a:pt x="5" y="20"/>
                  <a:pt x="5" y="20"/>
                  <a:pt x="5" y="20"/>
                </a:cubicBezTo>
                <a:cubicBezTo>
                  <a:pt x="5" y="18"/>
                  <a:pt x="7" y="16"/>
                  <a:pt x="9" y="16"/>
                </a:cubicBezTo>
                <a:close/>
                <a:moveTo>
                  <a:pt x="76" y="155"/>
                </a:moveTo>
                <a:cubicBezTo>
                  <a:pt x="9" y="155"/>
                  <a:pt x="9" y="155"/>
                  <a:pt x="9" y="155"/>
                </a:cubicBezTo>
                <a:cubicBezTo>
                  <a:pt x="7" y="155"/>
                  <a:pt x="5" y="153"/>
                  <a:pt x="5" y="151"/>
                </a:cubicBezTo>
                <a:cubicBezTo>
                  <a:pt x="5" y="125"/>
                  <a:pt x="5" y="125"/>
                  <a:pt x="5" y="125"/>
                </a:cubicBezTo>
                <a:cubicBezTo>
                  <a:pt x="80" y="125"/>
                  <a:pt x="80" y="125"/>
                  <a:pt x="80" y="125"/>
                </a:cubicBezTo>
                <a:cubicBezTo>
                  <a:pt x="80" y="151"/>
                  <a:pt x="80" y="151"/>
                  <a:pt x="80" y="151"/>
                </a:cubicBezTo>
                <a:cubicBezTo>
                  <a:pt x="80" y="153"/>
                  <a:pt x="78" y="155"/>
                  <a:pt x="76" y="15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8" name="Freeform 1045">
            <a:extLst>
              <a:ext uri="{FF2B5EF4-FFF2-40B4-BE49-F238E27FC236}">
                <a16:creationId xmlns:a16="http://schemas.microsoft.com/office/drawing/2014/main" id="{D5776A19-90D9-C64F-B928-10A7AAD916E1}"/>
              </a:ext>
            </a:extLst>
          </p:cNvPr>
          <p:cNvSpPr>
            <a:spLocks noEditPoints="1"/>
          </p:cNvSpPr>
          <p:nvPr/>
        </p:nvSpPr>
        <p:spPr bwMode="auto">
          <a:xfrm>
            <a:off x="2609733" y="1603375"/>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5 w 85"/>
              <a:gd name="T27" fmla="*/ 88 h 160"/>
              <a:gd name="T28" fmla="*/ 80 w 85"/>
              <a:gd name="T29" fmla="*/ 88 h 160"/>
              <a:gd name="T30" fmla="*/ 80 w 85"/>
              <a:gd name="T31" fmla="*/ 120 h 160"/>
              <a:gd name="T32" fmla="*/ 5 w 85"/>
              <a:gd name="T33" fmla="*/ 120 h 160"/>
              <a:gd name="T34" fmla="*/ 5 w 85"/>
              <a:gd name="T35" fmla="*/ 88 h 160"/>
              <a:gd name="T36" fmla="*/ 32 w 85"/>
              <a:gd name="T37" fmla="*/ 5 h 160"/>
              <a:gd name="T38" fmla="*/ 53 w 85"/>
              <a:gd name="T39" fmla="*/ 5 h 160"/>
              <a:gd name="T40" fmla="*/ 53 w 85"/>
              <a:gd name="T41" fmla="*/ 11 h 160"/>
              <a:gd name="T42" fmla="*/ 32 w 85"/>
              <a:gd name="T43" fmla="*/ 11 h 160"/>
              <a:gd name="T44" fmla="*/ 32 w 85"/>
              <a:gd name="T45" fmla="*/ 5 h 160"/>
              <a:gd name="T46" fmla="*/ 9 w 85"/>
              <a:gd name="T47" fmla="*/ 16 h 160"/>
              <a:gd name="T48" fmla="*/ 27 w 85"/>
              <a:gd name="T49" fmla="*/ 16 h 160"/>
              <a:gd name="T50" fmla="*/ 59 w 85"/>
              <a:gd name="T51" fmla="*/ 16 h 160"/>
              <a:gd name="T52" fmla="*/ 76 w 85"/>
              <a:gd name="T53" fmla="*/ 16 h 160"/>
              <a:gd name="T54" fmla="*/ 80 w 85"/>
              <a:gd name="T55" fmla="*/ 20 h 160"/>
              <a:gd name="T56" fmla="*/ 80 w 85"/>
              <a:gd name="T57" fmla="*/ 83 h 160"/>
              <a:gd name="T58" fmla="*/ 5 w 85"/>
              <a:gd name="T59" fmla="*/ 83 h 160"/>
              <a:gd name="T60" fmla="*/ 5 w 85"/>
              <a:gd name="T61" fmla="*/ 20 h 160"/>
              <a:gd name="T62" fmla="*/ 9 w 85"/>
              <a:gd name="T63" fmla="*/ 16 h 160"/>
              <a:gd name="T64" fmla="*/ 76 w 85"/>
              <a:gd name="T65" fmla="*/ 155 h 160"/>
              <a:gd name="T66" fmla="*/ 9 w 85"/>
              <a:gd name="T67" fmla="*/ 155 h 160"/>
              <a:gd name="T68" fmla="*/ 5 w 85"/>
              <a:gd name="T69" fmla="*/ 151 h 160"/>
              <a:gd name="T70" fmla="*/ 5 w 85"/>
              <a:gd name="T71" fmla="*/ 125 h 160"/>
              <a:gd name="T72" fmla="*/ 80 w 85"/>
              <a:gd name="T73" fmla="*/ 125 h 160"/>
              <a:gd name="T74" fmla="*/ 80 w 85"/>
              <a:gd name="T75" fmla="*/ 151 h 160"/>
              <a:gd name="T76" fmla="*/ 76 w 85"/>
              <a:gd name="T7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5" y="88"/>
                </a:moveTo>
                <a:cubicBezTo>
                  <a:pt x="80" y="88"/>
                  <a:pt x="80" y="88"/>
                  <a:pt x="80" y="88"/>
                </a:cubicBezTo>
                <a:cubicBezTo>
                  <a:pt x="80" y="120"/>
                  <a:pt x="80" y="120"/>
                  <a:pt x="80" y="120"/>
                </a:cubicBezTo>
                <a:cubicBezTo>
                  <a:pt x="5" y="120"/>
                  <a:pt x="5" y="120"/>
                  <a:pt x="5" y="120"/>
                </a:cubicBezTo>
                <a:lnTo>
                  <a:pt x="5" y="88"/>
                </a:ln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83"/>
                  <a:pt x="80" y="83"/>
                  <a:pt x="80" y="83"/>
                </a:cubicBezTo>
                <a:cubicBezTo>
                  <a:pt x="5" y="83"/>
                  <a:pt x="5" y="83"/>
                  <a:pt x="5" y="83"/>
                </a:cubicBezTo>
                <a:cubicBezTo>
                  <a:pt x="5" y="20"/>
                  <a:pt x="5" y="20"/>
                  <a:pt x="5" y="20"/>
                </a:cubicBezTo>
                <a:cubicBezTo>
                  <a:pt x="5" y="18"/>
                  <a:pt x="7" y="16"/>
                  <a:pt x="9" y="16"/>
                </a:cubicBezTo>
                <a:close/>
                <a:moveTo>
                  <a:pt x="76" y="155"/>
                </a:moveTo>
                <a:cubicBezTo>
                  <a:pt x="9" y="155"/>
                  <a:pt x="9" y="155"/>
                  <a:pt x="9" y="155"/>
                </a:cubicBezTo>
                <a:cubicBezTo>
                  <a:pt x="7" y="155"/>
                  <a:pt x="5" y="153"/>
                  <a:pt x="5" y="151"/>
                </a:cubicBezTo>
                <a:cubicBezTo>
                  <a:pt x="5" y="125"/>
                  <a:pt x="5" y="125"/>
                  <a:pt x="5" y="125"/>
                </a:cubicBezTo>
                <a:cubicBezTo>
                  <a:pt x="80" y="125"/>
                  <a:pt x="80" y="125"/>
                  <a:pt x="80" y="125"/>
                </a:cubicBezTo>
                <a:cubicBezTo>
                  <a:pt x="80" y="151"/>
                  <a:pt x="80" y="151"/>
                  <a:pt x="80" y="151"/>
                </a:cubicBezTo>
                <a:cubicBezTo>
                  <a:pt x="80" y="153"/>
                  <a:pt x="78" y="155"/>
                  <a:pt x="76" y="15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9" name="Freeform 1046">
            <a:extLst>
              <a:ext uri="{FF2B5EF4-FFF2-40B4-BE49-F238E27FC236}">
                <a16:creationId xmlns:a16="http://schemas.microsoft.com/office/drawing/2014/main" id="{981FF1D3-DADE-864B-912A-DC160EF97235}"/>
              </a:ext>
            </a:extLst>
          </p:cNvPr>
          <p:cNvSpPr>
            <a:spLocks noEditPoints="1"/>
          </p:cNvSpPr>
          <p:nvPr/>
        </p:nvSpPr>
        <p:spPr bwMode="auto">
          <a:xfrm>
            <a:off x="2609733" y="2222500"/>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32 w 85"/>
              <a:gd name="T27" fmla="*/ 5 h 160"/>
              <a:gd name="T28" fmla="*/ 53 w 85"/>
              <a:gd name="T29" fmla="*/ 5 h 160"/>
              <a:gd name="T30" fmla="*/ 53 w 85"/>
              <a:gd name="T31" fmla="*/ 11 h 160"/>
              <a:gd name="T32" fmla="*/ 32 w 85"/>
              <a:gd name="T33" fmla="*/ 11 h 160"/>
              <a:gd name="T34" fmla="*/ 32 w 85"/>
              <a:gd name="T35" fmla="*/ 5 h 160"/>
              <a:gd name="T36" fmla="*/ 9 w 85"/>
              <a:gd name="T37" fmla="*/ 16 h 160"/>
              <a:gd name="T38" fmla="*/ 27 w 85"/>
              <a:gd name="T39" fmla="*/ 16 h 160"/>
              <a:gd name="T40" fmla="*/ 59 w 85"/>
              <a:gd name="T41" fmla="*/ 16 h 160"/>
              <a:gd name="T42" fmla="*/ 76 w 85"/>
              <a:gd name="T43" fmla="*/ 16 h 160"/>
              <a:gd name="T44" fmla="*/ 80 w 85"/>
              <a:gd name="T45" fmla="*/ 20 h 160"/>
              <a:gd name="T46" fmla="*/ 80 w 85"/>
              <a:gd name="T47" fmla="*/ 120 h 160"/>
              <a:gd name="T48" fmla="*/ 5 w 85"/>
              <a:gd name="T49" fmla="*/ 120 h 160"/>
              <a:gd name="T50" fmla="*/ 5 w 85"/>
              <a:gd name="T51" fmla="*/ 20 h 160"/>
              <a:gd name="T52" fmla="*/ 9 w 85"/>
              <a:gd name="T53" fmla="*/ 16 h 160"/>
              <a:gd name="T54" fmla="*/ 76 w 85"/>
              <a:gd name="T55" fmla="*/ 155 h 160"/>
              <a:gd name="T56" fmla="*/ 9 w 85"/>
              <a:gd name="T57" fmla="*/ 155 h 160"/>
              <a:gd name="T58" fmla="*/ 5 w 85"/>
              <a:gd name="T59" fmla="*/ 151 h 160"/>
              <a:gd name="T60" fmla="*/ 5 w 85"/>
              <a:gd name="T61" fmla="*/ 125 h 160"/>
              <a:gd name="T62" fmla="*/ 80 w 85"/>
              <a:gd name="T63" fmla="*/ 125 h 160"/>
              <a:gd name="T64" fmla="*/ 80 w 85"/>
              <a:gd name="T65" fmla="*/ 151 h 160"/>
              <a:gd name="T66" fmla="*/ 76 w 85"/>
              <a:gd name="T6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120"/>
                  <a:pt x="80" y="120"/>
                  <a:pt x="80" y="120"/>
                </a:cubicBezTo>
                <a:cubicBezTo>
                  <a:pt x="5" y="120"/>
                  <a:pt x="5" y="120"/>
                  <a:pt x="5" y="120"/>
                </a:cubicBezTo>
                <a:cubicBezTo>
                  <a:pt x="5" y="20"/>
                  <a:pt x="5" y="20"/>
                  <a:pt x="5" y="20"/>
                </a:cubicBezTo>
                <a:cubicBezTo>
                  <a:pt x="5" y="18"/>
                  <a:pt x="7" y="16"/>
                  <a:pt x="9" y="16"/>
                </a:cubicBezTo>
                <a:close/>
                <a:moveTo>
                  <a:pt x="76" y="155"/>
                </a:moveTo>
                <a:cubicBezTo>
                  <a:pt x="9" y="155"/>
                  <a:pt x="9" y="155"/>
                  <a:pt x="9" y="155"/>
                </a:cubicBezTo>
                <a:cubicBezTo>
                  <a:pt x="7" y="155"/>
                  <a:pt x="5" y="153"/>
                  <a:pt x="5" y="151"/>
                </a:cubicBezTo>
                <a:cubicBezTo>
                  <a:pt x="5" y="125"/>
                  <a:pt x="5" y="125"/>
                  <a:pt x="5" y="125"/>
                </a:cubicBezTo>
                <a:cubicBezTo>
                  <a:pt x="80" y="125"/>
                  <a:pt x="80" y="125"/>
                  <a:pt x="80" y="125"/>
                </a:cubicBezTo>
                <a:cubicBezTo>
                  <a:pt x="80" y="151"/>
                  <a:pt x="80" y="151"/>
                  <a:pt x="80" y="151"/>
                </a:cubicBezTo>
                <a:cubicBezTo>
                  <a:pt x="80" y="153"/>
                  <a:pt x="78" y="155"/>
                  <a:pt x="76" y="15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0" name="Freeform 1047">
            <a:extLst>
              <a:ext uri="{FF2B5EF4-FFF2-40B4-BE49-F238E27FC236}">
                <a16:creationId xmlns:a16="http://schemas.microsoft.com/office/drawing/2014/main" id="{69A7109D-C220-C941-B4E1-800A0F040783}"/>
              </a:ext>
            </a:extLst>
          </p:cNvPr>
          <p:cNvSpPr>
            <a:spLocks noEditPoints="1"/>
          </p:cNvSpPr>
          <p:nvPr/>
        </p:nvSpPr>
        <p:spPr bwMode="auto">
          <a:xfrm>
            <a:off x="2609733" y="2841625"/>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32 w 85"/>
              <a:gd name="T27" fmla="*/ 5 h 160"/>
              <a:gd name="T28" fmla="*/ 53 w 85"/>
              <a:gd name="T29" fmla="*/ 5 h 160"/>
              <a:gd name="T30" fmla="*/ 53 w 85"/>
              <a:gd name="T31" fmla="*/ 11 h 160"/>
              <a:gd name="T32" fmla="*/ 32 w 85"/>
              <a:gd name="T33" fmla="*/ 11 h 160"/>
              <a:gd name="T34" fmla="*/ 32 w 85"/>
              <a:gd name="T35" fmla="*/ 5 h 160"/>
              <a:gd name="T36" fmla="*/ 80 w 85"/>
              <a:gd name="T37" fmla="*/ 151 h 160"/>
              <a:gd name="T38" fmla="*/ 76 w 85"/>
              <a:gd name="T39" fmla="*/ 155 h 160"/>
              <a:gd name="T40" fmla="*/ 9 w 85"/>
              <a:gd name="T41" fmla="*/ 155 h 160"/>
              <a:gd name="T42" fmla="*/ 5 w 85"/>
              <a:gd name="T43" fmla="*/ 151 h 160"/>
              <a:gd name="T44" fmla="*/ 5 w 85"/>
              <a:gd name="T45" fmla="*/ 20 h 160"/>
              <a:gd name="T46" fmla="*/ 9 w 85"/>
              <a:gd name="T47" fmla="*/ 16 h 160"/>
              <a:gd name="T48" fmla="*/ 27 w 85"/>
              <a:gd name="T49" fmla="*/ 16 h 160"/>
              <a:gd name="T50" fmla="*/ 59 w 85"/>
              <a:gd name="T51" fmla="*/ 16 h 160"/>
              <a:gd name="T52" fmla="*/ 76 w 85"/>
              <a:gd name="T53" fmla="*/ 16 h 160"/>
              <a:gd name="T54" fmla="*/ 80 w 85"/>
              <a:gd name="T55" fmla="*/ 20 h 160"/>
              <a:gd name="T56" fmla="*/ 80 w 85"/>
              <a:gd name="T57" fmla="*/ 15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80" y="151"/>
                </a:moveTo>
                <a:cubicBezTo>
                  <a:pt x="80" y="153"/>
                  <a:pt x="78" y="155"/>
                  <a:pt x="76" y="155"/>
                </a:cubicBezTo>
                <a:cubicBezTo>
                  <a:pt x="9" y="155"/>
                  <a:pt x="9" y="155"/>
                  <a:pt x="9" y="155"/>
                </a:cubicBezTo>
                <a:cubicBezTo>
                  <a:pt x="7" y="155"/>
                  <a:pt x="5" y="153"/>
                  <a:pt x="5" y="151"/>
                </a:cubicBezTo>
                <a:cubicBezTo>
                  <a:pt x="5" y="20"/>
                  <a:pt x="5" y="20"/>
                  <a:pt x="5" y="20"/>
                </a:cubicBezTo>
                <a:cubicBezTo>
                  <a:pt x="5" y="18"/>
                  <a:pt x="7" y="16"/>
                  <a:pt x="9" y="16"/>
                </a:cubicBezTo>
                <a:cubicBezTo>
                  <a:pt x="27" y="16"/>
                  <a:pt x="27" y="16"/>
                  <a:pt x="27" y="16"/>
                </a:cubicBezTo>
                <a:cubicBezTo>
                  <a:pt x="59" y="16"/>
                  <a:pt x="59" y="16"/>
                  <a:pt x="59" y="16"/>
                </a:cubicBezTo>
                <a:cubicBezTo>
                  <a:pt x="76" y="16"/>
                  <a:pt x="76" y="16"/>
                  <a:pt x="76" y="16"/>
                </a:cubicBezTo>
                <a:cubicBezTo>
                  <a:pt x="78" y="16"/>
                  <a:pt x="80" y="18"/>
                  <a:pt x="80" y="20"/>
                </a:cubicBezTo>
                <a:lnTo>
                  <a:pt x="80" y="151"/>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1" name="Freeform 1048">
            <a:extLst>
              <a:ext uri="{FF2B5EF4-FFF2-40B4-BE49-F238E27FC236}">
                <a16:creationId xmlns:a16="http://schemas.microsoft.com/office/drawing/2014/main" id="{C05C2919-528A-B344-8894-A748E309BA43}"/>
              </a:ext>
            </a:extLst>
          </p:cNvPr>
          <p:cNvSpPr>
            <a:spLocks noEditPoints="1"/>
          </p:cNvSpPr>
          <p:nvPr/>
        </p:nvSpPr>
        <p:spPr bwMode="auto">
          <a:xfrm>
            <a:off x="2555758" y="3462338"/>
            <a:ext cx="420688" cy="549275"/>
          </a:xfrm>
          <a:custGeom>
            <a:avLst/>
            <a:gdLst>
              <a:gd name="T0" fmla="*/ 9 w 123"/>
              <a:gd name="T1" fmla="*/ 11 h 160"/>
              <a:gd name="T2" fmla="*/ 85 w 123"/>
              <a:gd name="T3" fmla="*/ 102 h 160"/>
              <a:gd name="T4" fmla="*/ 53 w 123"/>
              <a:gd name="T5" fmla="*/ 5 h 160"/>
              <a:gd name="T6" fmla="*/ 70 w 123"/>
              <a:gd name="T7" fmla="*/ 91 h 160"/>
              <a:gd name="T8" fmla="*/ 53 w 123"/>
              <a:gd name="T9" fmla="*/ 83 h 160"/>
              <a:gd name="T10" fmla="*/ 56 w 123"/>
              <a:gd name="T11" fmla="*/ 104 h 160"/>
              <a:gd name="T12" fmla="*/ 64 w 123"/>
              <a:gd name="T13" fmla="*/ 112 h 160"/>
              <a:gd name="T14" fmla="*/ 80 w 123"/>
              <a:gd name="T15" fmla="*/ 125 h 160"/>
              <a:gd name="T16" fmla="*/ 8 w 123"/>
              <a:gd name="T17" fmla="*/ 149 h 160"/>
              <a:gd name="T18" fmla="*/ 8 w 123"/>
              <a:gd name="T19" fmla="*/ 117 h 160"/>
              <a:gd name="T20" fmla="*/ 8 w 123"/>
              <a:gd name="T21" fmla="*/ 85 h 160"/>
              <a:gd name="T22" fmla="*/ 8 w 123"/>
              <a:gd name="T23" fmla="*/ 53 h 160"/>
              <a:gd name="T24" fmla="*/ 76 w 123"/>
              <a:gd name="T25" fmla="*/ 16 h 160"/>
              <a:gd name="T26" fmla="*/ 11 w 123"/>
              <a:gd name="T27" fmla="*/ 61 h 160"/>
              <a:gd name="T28" fmla="*/ 21 w 123"/>
              <a:gd name="T29" fmla="*/ 51 h 160"/>
              <a:gd name="T30" fmla="*/ 29 w 123"/>
              <a:gd name="T31" fmla="*/ 59 h 160"/>
              <a:gd name="T32" fmla="*/ 40 w 123"/>
              <a:gd name="T33" fmla="*/ 69 h 160"/>
              <a:gd name="T34" fmla="*/ 13 w 123"/>
              <a:gd name="T35" fmla="*/ 80 h 160"/>
              <a:gd name="T36" fmla="*/ 11 w 123"/>
              <a:gd name="T37" fmla="*/ 93 h 160"/>
              <a:gd name="T38" fmla="*/ 21 w 123"/>
              <a:gd name="T39" fmla="*/ 83 h 160"/>
              <a:gd name="T40" fmla="*/ 29 w 123"/>
              <a:gd name="T41" fmla="*/ 75 h 160"/>
              <a:gd name="T42" fmla="*/ 32 w 123"/>
              <a:gd name="T43" fmla="*/ 93 h 160"/>
              <a:gd name="T44" fmla="*/ 45 w 123"/>
              <a:gd name="T45" fmla="*/ 96 h 160"/>
              <a:gd name="T46" fmla="*/ 35 w 123"/>
              <a:gd name="T47" fmla="*/ 85 h 160"/>
              <a:gd name="T48" fmla="*/ 93 w 123"/>
              <a:gd name="T49" fmla="*/ 96 h 160"/>
              <a:gd name="T50" fmla="*/ 99 w 123"/>
              <a:gd name="T51" fmla="*/ 104 h 160"/>
              <a:gd name="T52" fmla="*/ 107 w 123"/>
              <a:gd name="T53" fmla="*/ 125 h 160"/>
              <a:gd name="T54" fmla="*/ 107 w 123"/>
              <a:gd name="T55" fmla="*/ 136 h 160"/>
              <a:gd name="T56" fmla="*/ 112 w 123"/>
              <a:gd name="T57" fmla="*/ 144 h 160"/>
              <a:gd name="T58" fmla="*/ 109 w 123"/>
              <a:gd name="T59" fmla="*/ 115 h 160"/>
              <a:gd name="T60" fmla="*/ 115 w 123"/>
              <a:gd name="T61" fmla="*/ 125 h 160"/>
              <a:gd name="T62" fmla="*/ 109 w 123"/>
              <a:gd name="T63" fmla="*/ 144 h 160"/>
              <a:gd name="T64" fmla="*/ 120 w 123"/>
              <a:gd name="T65" fmla="*/ 139 h 160"/>
              <a:gd name="T66" fmla="*/ 115 w 123"/>
              <a:gd name="T67" fmla="*/ 155 h 160"/>
              <a:gd name="T68" fmla="*/ 37 w 123"/>
              <a:gd name="T69" fmla="*/ 99 h 160"/>
              <a:gd name="T70" fmla="*/ 13 w 123"/>
              <a:gd name="T71" fmla="*/ 123 h 160"/>
              <a:gd name="T72" fmla="*/ 24 w 123"/>
              <a:gd name="T73" fmla="*/ 117 h 160"/>
              <a:gd name="T74" fmla="*/ 21 w 123"/>
              <a:gd name="T75" fmla="*/ 136 h 160"/>
              <a:gd name="T76" fmla="*/ 27 w 123"/>
              <a:gd name="T77" fmla="*/ 109 h 160"/>
              <a:gd name="T78" fmla="*/ 45 w 123"/>
              <a:gd name="T79" fmla="*/ 107 h 160"/>
              <a:gd name="T80" fmla="*/ 45 w 123"/>
              <a:gd name="T81" fmla="*/ 123 h 160"/>
              <a:gd name="T82" fmla="*/ 40 w 123"/>
              <a:gd name="T83" fmla="*/ 117 h 160"/>
              <a:gd name="T84" fmla="*/ 53 w 123"/>
              <a:gd name="T85" fmla="*/ 120 h 160"/>
              <a:gd name="T86" fmla="*/ 35 w 123"/>
              <a:gd name="T87" fmla="*/ 133 h 160"/>
              <a:gd name="T88" fmla="*/ 53 w 123"/>
              <a:gd name="T89" fmla="*/ 131 h 160"/>
              <a:gd name="T90" fmla="*/ 61 w 123"/>
              <a:gd name="T91" fmla="*/ 123 h 160"/>
              <a:gd name="T92" fmla="*/ 80 w 123"/>
              <a:gd name="T93" fmla="*/ 125 h 160"/>
              <a:gd name="T94" fmla="*/ 69 w 123"/>
              <a:gd name="T95" fmla="*/ 120 h 160"/>
              <a:gd name="T96" fmla="*/ 67 w 123"/>
              <a:gd name="T97" fmla="*/ 133 h 160"/>
              <a:gd name="T98" fmla="*/ 13 w 123"/>
              <a:gd name="T99" fmla="*/ 139 h 160"/>
              <a:gd name="T100" fmla="*/ 29 w 123"/>
              <a:gd name="T101" fmla="*/ 139 h 160"/>
              <a:gd name="T102" fmla="*/ 48 w 123"/>
              <a:gd name="T103" fmla="*/ 141 h 160"/>
              <a:gd name="T104" fmla="*/ 37 w 123"/>
              <a:gd name="T105" fmla="*/ 152 h 160"/>
              <a:gd name="T106" fmla="*/ 51 w 123"/>
              <a:gd name="T107" fmla="*/ 149 h 160"/>
              <a:gd name="T108" fmla="*/ 61 w 123"/>
              <a:gd name="T109" fmla="*/ 139 h 160"/>
              <a:gd name="T110" fmla="*/ 69 w 123"/>
              <a:gd name="T111" fmla="*/ 1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102"/>
                  <a:pt x="85" y="102"/>
                  <a:pt x="85" y="102"/>
                </a:cubicBezTo>
                <a:cubicBezTo>
                  <a:pt x="80" y="93"/>
                  <a:pt x="80" y="93"/>
                  <a:pt x="80" y="93"/>
                </a:cubicBezTo>
                <a:cubicBezTo>
                  <a:pt x="85" y="85"/>
                  <a:pt x="85" y="85"/>
                  <a:pt x="85" y="85"/>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80" y="83"/>
                </a:moveTo>
                <a:cubicBezTo>
                  <a:pt x="76" y="91"/>
                  <a:pt x="76" y="91"/>
                  <a:pt x="76" y="91"/>
                </a:cubicBezTo>
                <a:cubicBezTo>
                  <a:pt x="70" y="91"/>
                  <a:pt x="70" y="91"/>
                  <a:pt x="70" y="91"/>
                </a:cubicBezTo>
                <a:cubicBezTo>
                  <a:pt x="64" y="84"/>
                  <a:pt x="64" y="84"/>
                  <a:pt x="64" y="84"/>
                </a:cubicBezTo>
                <a:cubicBezTo>
                  <a:pt x="64" y="77"/>
                  <a:pt x="64" y="77"/>
                  <a:pt x="64" y="77"/>
                </a:cubicBezTo>
                <a:cubicBezTo>
                  <a:pt x="64" y="76"/>
                  <a:pt x="63" y="75"/>
                  <a:pt x="61" y="75"/>
                </a:cubicBezTo>
                <a:cubicBezTo>
                  <a:pt x="60" y="75"/>
                  <a:pt x="59" y="76"/>
                  <a:pt x="59" y="77"/>
                </a:cubicBezTo>
                <a:cubicBezTo>
                  <a:pt x="59" y="83"/>
                  <a:pt x="59" y="83"/>
                  <a:pt x="59" y="83"/>
                </a:cubicBezTo>
                <a:cubicBezTo>
                  <a:pt x="53" y="83"/>
                  <a:pt x="53" y="83"/>
                  <a:pt x="53" y="83"/>
                </a:cubicBezTo>
                <a:cubicBezTo>
                  <a:pt x="52" y="83"/>
                  <a:pt x="51" y="84"/>
                  <a:pt x="51" y="85"/>
                </a:cubicBezTo>
                <a:cubicBezTo>
                  <a:pt x="51" y="87"/>
                  <a:pt x="52" y="88"/>
                  <a:pt x="53" y="88"/>
                </a:cubicBezTo>
                <a:cubicBezTo>
                  <a:pt x="60" y="88"/>
                  <a:pt x="60" y="88"/>
                  <a:pt x="60" y="88"/>
                </a:cubicBezTo>
                <a:cubicBezTo>
                  <a:pt x="66" y="94"/>
                  <a:pt x="66" y="94"/>
                  <a:pt x="66" y="94"/>
                </a:cubicBezTo>
                <a:cubicBezTo>
                  <a:pt x="60" y="104"/>
                  <a:pt x="60" y="104"/>
                  <a:pt x="60" y="104"/>
                </a:cubicBezTo>
                <a:cubicBezTo>
                  <a:pt x="56" y="104"/>
                  <a:pt x="56" y="104"/>
                  <a:pt x="56" y="104"/>
                </a:cubicBezTo>
                <a:cubicBezTo>
                  <a:pt x="55" y="104"/>
                  <a:pt x="53" y="105"/>
                  <a:pt x="53" y="107"/>
                </a:cubicBezTo>
                <a:cubicBezTo>
                  <a:pt x="53" y="108"/>
                  <a:pt x="55" y="109"/>
                  <a:pt x="56" y="109"/>
                </a:cubicBezTo>
                <a:cubicBezTo>
                  <a:pt x="59" y="109"/>
                  <a:pt x="59" y="109"/>
                  <a:pt x="59" y="109"/>
                </a:cubicBezTo>
                <a:cubicBezTo>
                  <a:pt x="59" y="112"/>
                  <a:pt x="59" y="112"/>
                  <a:pt x="59" y="112"/>
                </a:cubicBezTo>
                <a:cubicBezTo>
                  <a:pt x="59" y="113"/>
                  <a:pt x="60" y="115"/>
                  <a:pt x="61" y="115"/>
                </a:cubicBezTo>
                <a:cubicBezTo>
                  <a:pt x="63" y="115"/>
                  <a:pt x="64" y="113"/>
                  <a:pt x="64" y="112"/>
                </a:cubicBezTo>
                <a:cubicBezTo>
                  <a:pt x="64" y="107"/>
                  <a:pt x="64" y="107"/>
                  <a:pt x="64" y="107"/>
                </a:cubicBezTo>
                <a:cubicBezTo>
                  <a:pt x="71" y="96"/>
                  <a:pt x="71" y="96"/>
                  <a:pt x="71" y="96"/>
                </a:cubicBezTo>
                <a:cubicBezTo>
                  <a:pt x="76" y="96"/>
                  <a:pt x="76" y="96"/>
                  <a:pt x="76" y="96"/>
                </a:cubicBezTo>
                <a:cubicBezTo>
                  <a:pt x="80" y="103"/>
                  <a:pt x="80" y="103"/>
                  <a:pt x="80" y="103"/>
                </a:cubicBezTo>
                <a:cubicBezTo>
                  <a:pt x="80" y="109"/>
                  <a:pt x="80" y="109"/>
                  <a:pt x="80" y="109"/>
                </a:cubicBezTo>
                <a:cubicBezTo>
                  <a:pt x="80" y="125"/>
                  <a:pt x="80" y="125"/>
                  <a:pt x="80" y="125"/>
                </a:cubicBezTo>
                <a:cubicBezTo>
                  <a:pt x="80" y="141"/>
                  <a:pt x="80" y="141"/>
                  <a:pt x="80" y="141"/>
                </a:cubicBezTo>
                <a:cubicBezTo>
                  <a:pt x="80" y="151"/>
                  <a:pt x="80" y="151"/>
                  <a:pt x="80" y="151"/>
                </a:cubicBezTo>
                <a:cubicBezTo>
                  <a:pt x="80" y="153"/>
                  <a:pt x="78" y="155"/>
                  <a:pt x="76" y="155"/>
                </a:cubicBezTo>
                <a:cubicBezTo>
                  <a:pt x="9" y="155"/>
                  <a:pt x="9" y="155"/>
                  <a:pt x="9" y="155"/>
                </a:cubicBezTo>
                <a:cubicBezTo>
                  <a:pt x="8" y="155"/>
                  <a:pt x="6" y="154"/>
                  <a:pt x="6" y="152"/>
                </a:cubicBezTo>
                <a:cubicBezTo>
                  <a:pt x="7" y="152"/>
                  <a:pt x="8" y="151"/>
                  <a:pt x="8" y="149"/>
                </a:cubicBezTo>
                <a:cubicBezTo>
                  <a:pt x="8" y="148"/>
                  <a:pt x="7" y="147"/>
                  <a:pt x="5" y="147"/>
                </a:cubicBezTo>
                <a:cubicBezTo>
                  <a:pt x="5" y="136"/>
                  <a:pt x="5" y="136"/>
                  <a:pt x="5" y="136"/>
                </a:cubicBezTo>
                <a:cubicBezTo>
                  <a:pt x="7" y="136"/>
                  <a:pt x="8" y="135"/>
                  <a:pt x="8" y="133"/>
                </a:cubicBezTo>
                <a:cubicBezTo>
                  <a:pt x="8" y="132"/>
                  <a:pt x="7" y="131"/>
                  <a:pt x="5" y="131"/>
                </a:cubicBezTo>
                <a:cubicBezTo>
                  <a:pt x="5" y="120"/>
                  <a:pt x="5" y="120"/>
                  <a:pt x="5" y="120"/>
                </a:cubicBezTo>
                <a:cubicBezTo>
                  <a:pt x="7" y="120"/>
                  <a:pt x="8" y="119"/>
                  <a:pt x="8" y="117"/>
                </a:cubicBezTo>
                <a:cubicBezTo>
                  <a:pt x="8" y="116"/>
                  <a:pt x="7" y="115"/>
                  <a:pt x="5" y="115"/>
                </a:cubicBezTo>
                <a:cubicBezTo>
                  <a:pt x="5" y="104"/>
                  <a:pt x="5" y="104"/>
                  <a:pt x="5" y="104"/>
                </a:cubicBezTo>
                <a:cubicBezTo>
                  <a:pt x="7" y="104"/>
                  <a:pt x="8" y="103"/>
                  <a:pt x="8" y="101"/>
                </a:cubicBezTo>
                <a:cubicBezTo>
                  <a:pt x="8" y="100"/>
                  <a:pt x="7" y="99"/>
                  <a:pt x="5" y="99"/>
                </a:cubicBezTo>
                <a:cubicBezTo>
                  <a:pt x="5" y="88"/>
                  <a:pt x="5" y="88"/>
                  <a:pt x="5" y="88"/>
                </a:cubicBezTo>
                <a:cubicBezTo>
                  <a:pt x="7" y="88"/>
                  <a:pt x="8" y="87"/>
                  <a:pt x="8" y="85"/>
                </a:cubicBezTo>
                <a:cubicBezTo>
                  <a:pt x="8" y="84"/>
                  <a:pt x="7" y="83"/>
                  <a:pt x="5" y="83"/>
                </a:cubicBezTo>
                <a:cubicBezTo>
                  <a:pt x="5" y="72"/>
                  <a:pt x="5" y="72"/>
                  <a:pt x="5" y="72"/>
                </a:cubicBezTo>
                <a:cubicBezTo>
                  <a:pt x="7" y="72"/>
                  <a:pt x="8" y="71"/>
                  <a:pt x="8" y="69"/>
                </a:cubicBezTo>
                <a:cubicBezTo>
                  <a:pt x="8" y="68"/>
                  <a:pt x="7" y="67"/>
                  <a:pt x="5" y="67"/>
                </a:cubicBezTo>
                <a:cubicBezTo>
                  <a:pt x="5" y="56"/>
                  <a:pt x="5" y="56"/>
                  <a:pt x="5" y="56"/>
                </a:cubicBezTo>
                <a:cubicBezTo>
                  <a:pt x="7" y="56"/>
                  <a:pt x="8" y="55"/>
                  <a:pt x="8" y="53"/>
                </a:cubicBezTo>
                <a:cubicBezTo>
                  <a:pt x="8" y="52"/>
                  <a:pt x="7" y="51"/>
                  <a:pt x="5" y="51"/>
                </a:cubicBezTo>
                <a:cubicBezTo>
                  <a:pt x="5" y="20"/>
                  <a:pt x="5" y="20"/>
                  <a:pt x="5" y="20"/>
                </a:cubicBezTo>
                <a:cubicBezTo>
                  <a:pt x="5" y="18"/>
                  <a:pt x="7" y="16"/>
                  <a:pt x="9" y="16"/>
                </a:cubicBezTo>
                <a:cubicBezTo>
                  <a:pt x="27" y="16"/>
                  <a:pt x="27" y="16"/>
                  <a:pt x="27" y="16"/>
                </a:cubicBezTo>
                <a:cubicBezTo>
                  <a:pt x="59" y="16"/>
                  <a:pt x="59" y="16"/>
                  <a:pt x="59" y="16"/>
                </a:cubicBezTo>
                <a:cubicBezTo>
                  <a:pt x="76" y="16"/>
                  <a:pt x="76" y="16"/>
                  <a:pt x="76" y="16"/>
                </a:cubicBezTo>
                <a:cubicBezTo>
                  <a:pt x="78" y="16"/>
                  <a:pt x="80" y="18"/>
                  <a:pt x="80" y="20"/>
                </a:cubicBezTo>
                <a:lnTo>
                  <a:pt x="80" y="83"/>
                </a:lnTo>
                <a:close/>
                <a:moveTo>
                  <a:pt x="13" y="59"/>
                </a:moveTo>
                <a:cubicBezTo>
                  <a:pt x="15" y="59"/>
                  <a:pt x="16" y="60"/>
                  <a:pt x="16" y="61"/>
                </a:cubicBezTo>
                <a:cubicBezTo>
                  <a:pt x="16" y="63"/>
                  <a:pt x="15" y="64"/>
                  <a:pt x="13" y="64"/>
                </a:cubicBezTo>
                <a:cubicBezTo>
                  <a:pt x="12" y="64"/>
                  <a:pt x="11" y="63"/>
                  <a:pt x="11" y="61"/>
                </a:cubicBezTo>
                <a:cubicBezTo>
                  <a:pt x="11" y="60"/>
                  <a:pt x="12" y="59"/>
                  <a:pt x="13" y="59"/>
                </a:cubicBezTo>
                <a:close/>
                <a:moveTo>
                  <a:pt x="21" y="51"/>
                </a:moveTo>
                <a:cubicBezTo>
                  <a:pt x="23" y="51"/>
                  <a:pt x="24" y="52"/>
                  <a:pt x="24" y="53"/>
                </a:cubicBezTo>
                <a:cubicBezTo>
                  <a:pt x="24" y="55"/>
                  <a:pt x="23" y="56"/>
                  <a:pt x="21" y="56"/>
                </a:cubicBezTo>
                <a:cubicBezTo>
                  <a:pt x="20" y="56"/>
                  <a:pt x="19" y="55"/>
                  <a:pt x="19" y="53"/>
                </a:cubicBezTo>
                <a:cubicBezTo>
                  <a:pt x="19" y="52"/>
                  <a:pt x="20" y="51"/>
                  <a:pt x="21" y="51"/>
                </a:cubicBezTo>
                <a:close/>
                <a:moveTo>
                  <a:pt x="21" y="67"/>
                </a:moveTo>
                <a:cubicBezTo>
                  <a:pt x="23" y="67"/>
                  <a:pt x="24" y="68"/>
                  <a:pt x="24" y="69"/>
                </a:cubicBezTo>
                <a:cubicBezTo>
                  <a:pt x="24" y="71"/>
                  <a:pt x="23" y="72"/>
                  <a:pt x="21" y="72"/>
                </a:cubicBezTo>
                <a:cubicBezTo>
                  <a:pt x="20" y="72"/>
                  <a:pt x="19" y="71"/>
                  <a:pt x="19" y="69"/>
                </a:cubicBezTo>
                <a:cubicBezTo>
                  <a:pt x="19" y="68"/>
                  <a:pt x="20" y="67"/>
                  <a:pt x="21" y="67"/>
                </a:cubicBezTo>
                <a:close/>
                <a:moveTo>
                  <a:pt x="29" y="59"/>
                </a:moveTo>
                <a:cubicBezTo>
                  <a:pt x="31" y="59"/>
                  <a:pt x="32" y="60"/>
                  <a:pt x="32" y="61"/>
                </a:cubicBezTo>
                <a:cubicBezTo>
                  <a:pt x="32" y="63"/>
                  <a:pt x="31" y="64"/>
                  <a:pt x="29" y="64"/>
                </a:cubicBezTo>
                <a:cubicBezTo>
                  <a:pt x="28" y="64"/>
                  <a:pt x="27" y="63"/>
                  <a:pt x="27" y="61"/>
                </a:cubicBezTo>
                <a:cubicBezTo>
                  <a:pt x="27" y="60"/>
                  <a:pt x="28" y="59"/>
                  <a:pt x="29" y="59"/>
                </a:cubicBezTo>
                <a:close/>
                <a:moveTo>
                  <a:pt x="37" y="67"/>
                </a:moveTo>
                <a:cubicBezTo>
                  <a:pt x="39" y="67"/>
                  <a:pt x="40" y="68"/>
                  <a:pt x="40" y="69"/>
                </a:cubicBezTo>
                <a:cubicBezTo>
                  <a:pt x="40" y="71"/>
                  <a:pt x="39" y="72"/>
                  <a:pt x="37" y="72"/>
                </a:cubicBezTo>
                <a:cubicBezTo>
                  <a:pt x="36" y="72"/>
                  <a:pt x="35" y="71"/>
                  <a:pt x="35" y="69"/>
                </a:cubicBezTo>
                <a:cubicBezTo>
                  <a:pt x="35" y="68"/>
                  <a:pt x="36" y="67"/>
                  <a:pt x="37" y="67"/>
                </a:cubicBezTo>
                <a:close/>
                <a:moveTo>
                  <a:pt x="13" y="75"/>
                </a:moveTo>
                <a:cubicBezTo>
                  <a:pt x="15" y="75"/>
                  <a:pt x="16" y="76"/>
                  <a:pt x="16" y="77"/>
                </a:cubicBezTo>
                <a:cubicBezTo>
                  <a:pt x="16" y="79"/>
                  <a:pt x="15" y="80"/>
                  <a:pt x="13" y="80"/>
                </a:cubicBezTo>
                <a:cubicBezTo>
                  <a:pt x="12" y="80"/>
                  <a:pt x="11" y="79"/>
                  <a:pt x="11" y="77"/>
                </a:cubicBezTo>
                <a:cubicBezTo>
                  <a:pt x="11" y="76"/>
                  <a:pt x="12" y="75"/>
                  <a:pt x="13" y="75"/>
                </a:cubicBezTo>
                <a:close/>
                <a:moveTo>
                  <a:pt x="13" y="91"/>
                </a:moveTo>
                <a:cubicBezTo>
                  <a:pt x="15" y="91"/>
                  <a:pt x="16" y="92"/>
                  <a:pt x="16" y="93"/>
                </a:cubicBezTo>
                <a:cubicBezTo>
                  <a:pt x="16" y="95"/>
                  <a:pt x="15" y="96"/>
                  <a:pt x="13" y="96"/>
                </a:cubicBezTo>
                <a:cubicBezTo>
                  <a:pt x="12" y="96"/>
                  <a:pt x="11" y="95"/>
                  <a:pt x="11" y="93"/>
                </a:cubicBezTo>
                <a:cubicBezTo>
                  <a:pt x="11" y="92"/>
                  <a:pt x="12" y="91"/>
                  <a:pt x="13" y="91"/>
                </a:cubicBezTo>
                <a:close/>
                <a:moveTo>
                  <a:pt x="21" y="83"/>
                </a:moveTo>
                <a:cubicBezTo>
                  <a:pt x="23" y="83"/>
                  <a:pt x="24" y="84"/>
                  <a:pt x="24" y="85"/>
                </a:cubicBezTo>
                <a:cubicBezTo>
                  <a:pt x="24" y="87"/>
                  <a:pt x="23" y="88"/>
                  <a:pt x="21" y="88"/>
                </a:cubicBezTo>
                <a:cubicBezTo>
                  <a:pt x="20" y="88"/>
                  <a:pt x="19" y="87"/>
                  <a:pt x="19" y="85"/>
                </a:cubicBezTo>
                <a:cubicBezTo>
                  <a:pt x="19" y="84"/>
                  <a:pt x="20" y="83"/>
                  <a:pt x="21" y="83"/>
                </a:cubicBezTo>
                <a:close/>
                <a:moveTo>
                  <a:pt x="21" y="99"/>
                </a:moveTo>
                <a:cubicBezTo>
                  <a:pt x="23" y="99"/>
                  <a:pt x="24" y="100"/>
                  <a:pt x="24" y="101"/>
                </a:cubicBezTo>
                <a:cubicBezTo>
                  <a:pt x="24" y="103"/>
                  <a:pt x="23" y="104"/>
                  <a:pt x="21" y="104"/>
                </a:cubicBezTo>
                <a:cubicBezTo>
                  <a:pt x="20" y="104"/>
                  <a:pt x="19" y="103"/>
                  <a:pt x="19" y="101"/>
                </a:cubicBezTo>
                <a:cubicBezTo>
                  <a:pt x="19" y="100"/>
                  <a:pt x="20" y="99"/>
                  <a:pt x="21" y="99"/>
                </a:cubicBezTo>
                <a:close/>
                <a:moveTo>
                  <a:pt x="29" y="75"/>
                </a:moveTo>
                <a:cubicBezTo>
                  <a:pt x="31" y="75"/>
                  <a:pt x="32" y="76"/>
                  <a:pt x="32" y="77"/>
                </a:cubicBezTo>
                <a:cubicBezTo>
                  <a:pt x="32" y="79"/>
                  <a:pt x="31" y="80"/>
                  <a:pt x="29" y="80"/>
                </a:cubicBezTo>
                <a:cubicBezTo>
                  <a:pt x="28" y="80"/>
                  <a:pt x="27" y="79"/>
                  <a:pt x="27" y="77"/>
                </a:cubicBezTo>
                <a:cubicBezTo>
                  <a:pt x="27" y="76"/>
                  <a:pt x="28" y="75"/>
                  <a:pt x="29" y="75"/>
                </a:cubicBezTo>
                <a:close/>
                <a:moveTo>
                  <a:pt x="29" y="91"/>
                </a:moveTo>
                <a:cubicBezTo>
                  <a:pt x="31" y="91"/>
                  <a:pt x="32" y="92"/>
                  <a:pt x="32" y="93"/>
                </a:cubicBezTo>
                <a:cubicBezTo>
                  <a:pt x="32" y="95"/>
                  <a:pt x="31" y="96"/>
                  <a:pt x="29" y="96"/>
                </a:cubicBezTo>
                <a:cubicBezTo>
                  <a:pt x="28" y="96"/>
                  <a:pt x="27" y="95"/>
                  <a:pt x="27" y="93"/>
                </a:cubicBezTo>
                <a:cubicBezTo>
                  <a:pt x="27" y="92"/>
                  <a:pt x="28" y="91"/>
                  <a:pt x="29" y="91"/>
                </a:cubicBezTo>
                <a:close/>
                <a:moveTo>
                  <a:pt x="45" y="91"/>
                </a:moveTo>
                <a:cubicBezTo>
                  <a:pt x="47" y="91"/>
                  <a:pt x="48" y="92"/>
                  <a:pt x="48" y="93"/>
                </a:cubicBezTo>
                <a:cubicBezTo>
                  <a:pt x="48" y="95"/>
                  <a:pt x="47" y="96"/>
                  <a:pt x="45" y="96"/>
                </a:cubicBezTo>
                <a:cubicBezTo>
                  <a:pt x="44" y="96"/>
                  <a:pt x="43" y="95"/>
                  <a:pt x="43" y="93"/>
                </a:cubicBezTo>
                <a:cubicBezTo>
                  <a:pt x="43" y="92"/>
                  <a:pt x="44" y="91"/>
                  <a:pt x="45" y="91"/>
                </a:cubicBezTo>
                <a:close/>
                <a:moveTo>
                  <a:pt x="37" y="83"/>
                </a:moveTo>
                <a:cubicBezTo>
                  <a:pt x="39" y="83"/>
                  <a:pt x="40" y="84"/>
                  <a:pt x="40" y="85"/>
                </a:cubicBezTo>
                <a:cubicBezTo>
                  <a:pt x="40" y="87"/>
                  <a:pt x="39" y="88"/>
                  <a:pt x="37" y="88"/>
                </a:cubicBezTo>
                <a:cubicBezTo>
                  <a:pt x="36" y="88"/>
                  <a:pt x="35" y="87"/>
                  <a:pt x="35" y="85"/>
                </a:cubicBezTo>
                <a:cubicBezTo>
                  <a:pt x="35" y="84"/>
                  <a:pt x="36" y="83"/>
                  <a:pt x="37" y="83"/>
                </a:cubicBezTo>
                <a:close/>
                <a:moveTo>
                  <a:pt x="93" y="96"/>
                </a:moveTo>
                <a:cubicBezTo>
                  <a:pt x="95" y="96"/>
                  <a:pt x="96" y="97"/>
                  <a:pt x="96" y="99"/>
                </a:cubicBezTo>
                <a:cubicBezTo>
                  <a:pt x="96" y="100"/>
                  <a:pt x="95" y="101"/>
                  <a:pt x="93" y="101"/>
                </a:cubicBezTo>
                <a:cubicBezTo>
                  <a:pt x="92" y="101"/>
                  <a:pt x="91" y="100"/>
                  <a:pt x="91" y="99"/>
                </a:cubicBezTo>
                <a:cubicBezTo>
                  <a:pt x="91" y="97"/>
                  <a:pt x="92" y="96"/>
                  <a:pt x="93" y="96"/>
                </a:cubicBezTo>
                <a:close/>
                <a:moveTo>
                  <a:pt x="99" y="115"/>
                </a:moveTo>
                <a:cubicBezTo>
                  <a:pt x="100" y="115"/>
                  <a:pt x="101" y="116"/>
                  <a:pt x="101" y="117"/>
                </a:cubicBezTo>
                <a:cubicBezTo>
                  <a:pt x="101" y="119"/>
                  <a:pt x="100" y="120"/>
                  <a:pt x="99" y="120"/>
                </a:cubicBezTo>
                <a:cubicBezTo>
                  <a:pt x="97" y="120"/>
                  <a:pt x="96" y="119"/>
                  <a:pt x="96" y="117"/>
                </a:cubicBezTo>
                <a:cubicBezTo>
                  <a:pt x="96" y="116"/>
                  <a:pt x="97" y="115"/>
                  <a:pt x="99" y="115"/>
                </a:cubicBezTo>
                <a:close/>
                <a:moveTo>
                  <a:pt x="99" y="104"/>
                </a:moveTo>
                <a:cubicBezTo>
                  <a:pt x="100" y="104"/>
                  <a:pt x="101" y="105"/>
                  <a:pt x="101" y="107"/>
                </a:cubicBezTo>
                <a:cubicBezTo>
                  <a:pt x="101" y="108"/>
                  <a:pt x="100" y="109"/>
                  <a:pt x="99" y="109"/>
                </a:cubicBezTo>
                <a:cubicBezTo>
                  <a:pt x="97" y="109"/>
                  <a:pt x="96" y="108"/>
                  <a:pt x="96" y="107"/>
                </a:cubicBezTo>
                <a:cubicBezTo>
                  <a:pt x="96" y="105"/>
                  <a:pt x="97" y="104"/>
                  <a:pt x="99" y="104"/>
                </a:cubicBezTo>
                <a:close/>
                <a:moveTo>
                  <a:pt x="104" y="123"/>
                </a:moveTo>
                <a:cubicBezTo>
                  <a:pt x="105" y="123"/>
                  <a:pt x="107" y="124"/>
                  <a:pt x="107" y="125"/>
                </a:cubicBezTo>
                <a:cubicBezTo>
                  <a:pt x="107" y="127"/>
                  <a:pt x="105" y="128"/>
                  <a:pt x="104" y="128"/>
                </a:cubicBezTo>
                <a:cubicBezTo>
                  <a:pt x="103" y="128"/>
                  <a:pt x="101" y="127"/>
                  <a:pt x="101" y="125"/>
                </a:cubicBezTo>
                <a:cubicBezTo>
                  <a:pt x="101" y="124"/>
                  <a:pt x="103" y="123"/>
                  <a:pt x="104" y="123"/>
                </a:cubicBezTo>
                <a:close/>
                <a:moveTo>
                  <a:pt x="107" y="131"/>
                </a:moveTo>
                <a:cubicBezTo>
                  <a:pt x="108" y="131"/>
                  <a:pt x="109" y="132"/>
                  <a:pt x="109" y="133"/>
                </a:cubicBezTo>
                <a:cubicBezTo>
                  <a:pt x="109" y="135"/>
                  <a:pt x="108" y="136"/>
                  <a:pt x="107" y="136"/>
                </a:cubicBezTo>
                <a:cubicBezTo>
                  <a:pt x="105" y="136"/>
                  <a:pt x="104" y="135"/>
                  <a:pt x="104" y="133"/>
                </a:cubicBezTo>
                <a:cubicBezTo>
                  <a:pt x="104" y="132"/>
                  <a:pt x="105" y="131"/>
                  <a:pt x="107" y="131"/>
                </a:cubicBezTo>
                <a:close/>
                <a:moveTo>
                  <a:pt x="115" y="141"/>
                </a:moveTo>
                <a:cubicBezTo>
                  <a:pt x="116" y="141"/>
                  <a:pt x="117" y="143"/>
                  <a:pt x="117" y="144"/>
                </a:cubicBezTo>
                <a:cubicBezTo>
                  <a:pt x="117" y="145"/>
                  <a:pt x="116" y="147"/>
                  <a:pt x="115" y="147"/>
                </a:cubicBezTo>
                <a:cubicBezTo>
                  <a:pt x="113" y="147"/>
                  <a:pt x="112" y="145"/>
                  <a:pt x="112" y="144"/>
                </a:cubicBezTo>
                <a:cubicBezTo>
                  <a:pt x="112" y="143"/>
                  <a:pt x="113" y="141"/>
                  <a:pt x="115" y="141"/>
                </a:cubicBezTo>
                <a:close/>
                <a:moveTo>
                  <a:pt x="109" y="115"/>
                </a:moveTo>
                <a:cubicBezTo>
                  <a:pt x="111" y="115"/>
                  <a:pt x="112" y="116"/>
                  <a:pt x="112" y="117"/>
                </a:cubicBezTo>
                <a:cubicBezTo>
                  <a:pt x="112" y="119"/>
                  <a:pt x="111" y="120"/>
                  <a:pt x="109" y="120"/>
                </a:cubicBezTo>
                <a:cubicBezTo>
                  <a:pt x="108" y="120"/>
                  <a:pt x="107" y="119"/>
                  <a:pt x="107" y="117"/>
                </a:cubicBezTo>
                <a:cubicBezTo>
                  <a:pt x="107" y="116"/>
                  <a:pt x="108" y="115"/>
                  <a:pt x="109" y="115"/>
                </a:cubicBezTo>
                <a:close/>
                <a:moveTo>
                  <a:pt x="109" y="104"/>
                </a:moveTo>
                <a:cubicBezTo>
                  <a:pt x="111" y="104"/>
                  <a:pt x="112" y="105"/>
                  <a:pt x="112" y="107"/>
                </a:cubicBezTo>
                <a:cubicBezTo>
                  <a:pt x="112" y="108"/>
                  <a:pt x="111" y="109"/>
                  <a:pt x="109" y="109"/>
                </a:cubicBezTo>
                <a:cubicBezTo>
                  <a:pt x="108" y="109"/>
                  <a:pt x="107" y="108"/>
                  <a:pt x="107" y="107"/>
                </a:cubicBezTo>
                <a:cubicBezTo>
                  <a:pt x="107" y="105"/>
                  <a:pt x="108" y="104"/>
                  <a:pt x="109" y="104"/>
                </a:cubicBezTo>
                <a:close/>
                <a:moveTo>
                  <a:pt x="115" y="125"/>
                </a:moveTo>
                <a:cubicBezTo>
                  <a:pt x="116" y="125"/>
                  <a:pt x="117" y="127"/>
                  <a:pt x="117" y="128"/>
                </a:cubicBezTo>
                <a:cubicBezTo>
                  <a:pt x="117" y="129"/>
                  <a:pt x="116" y="131"/>
                  <a:pt x="115" y="131"/>
                </a:cubicBezTo>
                <a:cubicBezTo>
                  <a:pt x="113" y="131"/>
                  <a:pt x="112" y="129"/>
                  <a:pt x="112" y="128"/>
                </a:cubicBezTo>
                <a:cubicBezTo>
                  <a:pt x="112" y="127"/>
                  <a:pt x="113" y="125"/>
                  <a:pt x="115" y="125"/>
                </a:cubicBezTo>
                <a:close/>
                <a:moveTo>
                  <a:pt x="107" y="141"/>
                </a:moveTo>
                <a:cubicBezTo>
                  <a:pt x="108" y="141"/>
                  <a:pt x="109" y="143"/>
                  <a:pt x="109" y="144"/>
                </a:cubicBezTo>
                <a:cubicBezTo>
                  <a:pt x="109" y="145"/>
                  <a:pt x="108" y="147"/>
                  <a:pt x="107" y="147"/>
                </a:cubicBezTo>
                <a:cubicBezTo>
                  <a:pt x="105" y="147"/>
                  <a:pt x="104" y="145"/>
                  <a:pt x="104" y="144"/>
                </a:cubicBezTo>
                <a:cubicBezTo>
                  <a:pt x="104" y="143"/>
                  <a:pt x="105" y="141"/>
                  <a:pt x="107" y="141"/>
                </a:cubicBezTo>
                <a:close/>
                <a:moveTo>
                  <a:pt x="120" y="133"/>
                </a:moveTo>
                <a:cubicBezTo>
                  <a:pt x="121" y="133"/>
                  <a:pt x="123" y="135"/>
                  <a:pt x="123" y="136"/>
                </a:cubicBezTo>
                <a:cubicBezTo>
                  <a:pt x="123" y="137"/>
                  <a:pt x="121" y="139"/>
                  <a:pt x="120" y="139"/>
                </a:cubicBezTo>
                <a:cubicBezTo>
                  <a:pt x="119" y="139"/>
                  <a:pt x="117" y="137"/>
                  <a:pt x="117" y="136"/>
                </a:cubicBezTo>
                <a:cubicBezTo>
                  <a:pt x="117" y="135"/>
                  <a:pt x="119" y="133"/>
                  <a:pt x="120" y="133"/>
                </a:cubicBezTo>
                <a:close/>
                <a:moveTo>
                  <a:pt x="117" y="152"/>
                </a:moveTo>
                <a:cubicBezTo>
                  <a:pt x="119" y="152"/>
                  <a:pt x="120" y="153"/>
                  <a:pt x="120" y="155"/>
                </a:cubicBezTo>
                <a:cubicBezTo>
                  <a:pt x="120" y="156"/>
                  <a:pt x="119" y="157"/>
                  <a:pt x="117" y="157"/>
                </a:cubicBezTo>
                <a:cubicBezTo>
                  <a:pt x="116" y="157"/>
                  <a:pt x="115" y="156"/>
                  <a:pt x="115" y="155"/>
                </a:cubicBezTo>
                <a:cubicBezTo>
                  <a:pt x="115" y="153"/>
                  <a:pt x="116" y="152"/>
                  <a:pt x="117" y="152"/>
                </a:cubicBezTo>
                <a:close/>
                <a:moveTo>
                  <a:pt x="37" y="99"/>
                </a:moveTo>
                <a:cubicBezTo>
                  <a:pt x="39" y="99"/>
                  <a:pt x="40" y="100"/>
                  <a:pt x="40" y="101"/>
                </a:cubicBezTo>
                <a:cubicBezTo>
                  <a:pt x="40" y="103"/>
                  <a:pt x="39" y="104"/>
                  <a:pt x="37" y="104"/>
                </a:cubicBezTo>
                <a:cubicBezTo>
                  <a:pt x="36" y="104"/>
                  <a:pt x="35" y="103"/>
                  <a:pt x="35" y="101"/>
                </a:cubicBezTo>
                <a:cubicBezTo>
                  <a:pt x="35" y="100"/>
                  <a:pt x="36" y="99"/>
                  <a:pt x="37" y="99"/>
                </a:cubicBezTo>
                <a:close/>
                <a:moveTo>
                  <a:pt x="13" y="107"/>
                </a:moveTo>
                <a:cubicBezTo>
                  <a:pt x="15" y="107"/>
                  <a:pt x="16" y="108"/>
                  <a:pt x="16" y="109"/>
                </a:cubicBezTo>
                <a:cubicBezTo>
                  <a:pt x="16" y="111"/>
                  <a:pt x="15" y="112"/>
                  <a:pt x="13" y="112"/>
                </a:cubicBezTo>
                <a:cubicBezTo>
                  <a:pt x="12" y="112"/>
                  <a:pt x="11" y="111"/>
                  <a:pt x="11" y="109"/>
                </a:cubicBezTo>
                <a:cubicBezTo>
                  <a:pt x="11" y="108"/>
                  <a:pt x="12" y="107"/>
                  <a:pt x="13" y="107"/>
                </a:cubicBezTo>
                <a:close/>
                <a:moveTo>
                  <a:pt x="13" y="123"/>
                </a:moveTo>
                <a:cubicBezTo>
                  <a:pt x="15" y="123"/>
                  <a:pt x="16" y="124"/>
                  <a:pt x="16" y="125"/>
                </a:cubicBezTo>
                <a:cubicBezTo>
                  <a:pt x="16" y="127"/>
                  <a:pt x="15" y="128"/>
                  <a:pt x="13" y="128"/>
                </a:cubicBezTo>
                <a:cubicBezTo>
                  <a:pt x="12" y="128"/>
                  <a:pt x="11" y="127"/>
                  <a:pt x="11" y="125"/>
                </a:cubicBezTo>
                <a:cubicBezTo>
                  <a:pt x="11" y="124"/>
                  <a:pt x="12" y="123"/>
                  <a:pt x="13" y="123"/>
                </a:cubicBezTo>
                <a:close/>
                <a:moveTo>
                  <a:pt x="21" y="115"/>
                </a:moveTo>
                <a:cubicBezTo>
                  <a:pt x="23" y="115"/>
                  <a:pt x="24" y="116"/>
                  <a:pt x="24" y="117"/>
                </a:cubicBezTo>
                <a:cubicBezTo>
                  <a:pt x="24" y="119"/>
                  <a:pt x="23" y="120"/>
                  <a:pt x="21" y="120"/>
                </a:cubicBezTo>
                <a:cubicBezTo>
                  <a:pt x="20" y="120"/>
                  <a:pt x="19" y="119"/>
                  <a:pt x="19" y="117"/>
                </a:cubicBezTo>
                <a:cubicBezTo>
                  <a:pt x="19" y="116"/>
                  <a:pt x="20" y="115"/>
                  <a:pt x="21" y="115"/>
                </a:cubicBezTo>
                <a:close/>
                <a:moveTo>
                  <a:pt x="21" y="131"/>
                </a:moveTo>
                <a:cubicBezTo>
                  <a:pt x="23" y="131"/>
                  <a:pt x="24" y="132"/>
                  <a:pt x="24" y="133"/>
                </a:cubicBezTo>
                <a:cubicBezTo>
                  <a:pt x="24" y="135"/>
                  <a:pt x="23" y="136"/>
                  <a:pt x="21" y="136"/>
                </a:cubicBezTo>
                <a:cubicBezTo>
                  <a:pt x="20" y="136"/>
                  <a:pt x="19" y="135"/>
                  <a:pt x="19" y="133"/>
                </a:cubicBezTo>
                <a:cubicBezTo>
                  <a:pt x="19" y="132"/>
                  <a:pt x="20" y="131"/>
                  <a:pt x="21" y="131"/>
                </a:cubicBezTo>
                <a:close/>
                <a:moveTo>
                  <a:pt x="29" y="107"/>
                </a:moveTo>
                <a:cubicBezTo>
                  <a:pt x="31" y="107"/>
                  <a:pt x="32" y="108"/>
                  <a:pt x="32" y="109"/>
                </a:cubicBezTo>
                <a:cubicBezTo>
                  <a:pt x="32" y="111"/>
                  <a:pt x="31" y="112"/>
                  <a:pt x="29" y="112"/>
                </a:cubicBezTo>
                <a:cubicBezTo>
                  <a:pt x="28" y="112"/>
                  <a:pt x="27" y="111"/>
                  <a:pt x="27" y="109"/>
                </a:cubicBezTo>
                <a:cubicBezTo>
                  <a:pt x="27" y="108"/>
                  <a:pt x="28" y="107"/>
                  <a:pt x="29" y="107"/>
                </a:cubicBezTo>
                <a:close/>
                <a:moveTo>
                  <a:pt x="45" y="107"/>
                </a:moveTo>
                <a:cubicBezTo>
                  <a:pt x="47" y="107"/>
                  <a:pt x="48" y="108"/>
                  <a:pt x="48" y="109"/>
                </a:cubicBezTo>
                <a:cubicBezTo>
                  <a:pt x="48" y="111"/>
                  <a:pt x="47" y="112"/>
                  <a:pt x="45" y="112"/>
                </a:cubicBezTo>
                <a:cubicBezTo>
                  <a:pt x="44" y="112"/>
                  <a:pt x="43" y="111"/>
                  <a:pt x="43" y="109"/>
                </a:cubicBezTo>
                <a:cubicBezTo>
                  <a:pt x="43" y="108"/>
                  <a:pt x="44" y="107"/>
                  <a:pt x="45" y="107"/>
                </a:cubicBezTo>
                <a:close/>
                <a:moveTo>
                  <a:pt x="29" y="123"/>
                </a:moveTo>
                <a:cubicBezTo>
                  <a:pt x="31" y="123"/>
                  <a:pt x="32" y="124"/>
                  <a:pt x="32" y="125"/>
                </a:cubicBezTo>
                <a:cubicBezTo>
                  <a:pt x="32" y="127"/>
                  <a:pt x="31" y="128"/>
                  <a:pt x="29" y="128"/>
                </a:cubicBezTo>
                <a:cubicBezTo>
                  <a:pt x="28" y="128"/>
                  <a:pt x="27" y="127"/>
                  <a:pt x="27" y="125"/>
                </a:cubicBezTo>
                <a:cubicBezTo>
                  <a:pt x="27" y="124"/>
                  <a:pt x="28" y="123"/>
                  <a:pt x="29" y="123"/>
                </a:cubicBezTo>
                <a:close/>
                <a:moveTo>
                  <a:pt x="45" y="123"/>
                </a:moveTo>
                <a:cubicBezTo>
                  <a:pt x="47" y="123"/>
                  <a:pt x="48" y="124"/>
                  <a:pt x="48" y="125"/>
                </a:cubicBezTo>
                <a:cubicBezTo>
                  <a:pt x="48" y="127"/>
                  <a:pt x="47" y="128"/>
                  <a:pt x="45" y="128"/>
                </a:cubicBezTo>
                <a:cubicBezTo>
                  <a:pt x="44" y="128"/>
                  <a:pt x="43" y="127"/>
                  <a:pt x="43" y="125"/>
                </a:cubicBezTo>
                <a:cubicBezTo>
                  <a:pt x="43" y="124"/>
                  <a:pt x="44" y="123"/>
                  <a:pt x="45" y="123"/>
                </a:cubicBezTo>
                <a:close/>
                <a:moveTo>
                  <a:pt x="37" y="115"/>
                </a:moveTo>
                <a:cubicBezTo>
                  <a:pt x="39" y="115"/>
                  <a:pt x="40" y="116"/>
                  <a:pt x="40" y="117"/>
                </a:cubicBezTo>
                <a:cubicBezTo>
                  <a:pt x="40" y="119"/>
                  <a:pt x="39" y="120"/>
                  <a:pt x="37" y="120"/>
                </a:cubicBezTo>
                <a:cubicBezTo>
                  <a:pt x="36" y="120"/>
                  <a:pt x="35" y="119"/>
                  <a:pt x="35" y="117"/>
                </a:cubicBezTo>
                <a:cubicBezTo>
                  <a:pt x="35" y="116"/>
                  <a:pt x="36" y="115"/>
                  <a:pt x="37" y="115"/>
                </a:cubicBezTo>
                <a:close/>
                <a:moveTo>
                  <a:pt x="53" y="115"/>
                </a:moveTo>
                <a:cubicBezTo>
                  <a:pt x="55" y="115"/>
                  <a:pt x="56" y="116"/>
                  <a:pt x="56" y="117"/>
                </a:cubicBezTo>
                <a:cubicBezTo>
                  <a:pt x="56" y="119"/>
                  <a:pt x="55" y="120"/>
                  <a:pt x="53" y="120"/>
                </a:cubicBezTo>
                <a:cubicBezTo>
                  <a:pt x="52" y="120"/>
                  <a:pt x="51" y="119"/>
                  <a:pt x="51" y="117"/>
                </a:cubicBezTo>
                <a:cubicBezTo>
                  <a:pt x="51" y="116"/>
                  <a:pt x="52" y="115"/>
                  <a:pt x="53" y="115"/>
                </a:cubicBezTo>
                <a:close/>
                <a:moveTo>
                  <a:pt x="37" y="131"/>
                </a:moveTo>
                <a:cubicBezTo>
                  <a:pt x="39" y="131"/>
                  <a:pt x="40" y="132"/>
                  <a:pt x="40" y="133"/>
                </a:cubicBezTo>
                <a:cubicBezTo>
                  <a:pt x="40" y="135"/>
                  <a:pt x="39" y="136"/>
                  <a:pt x="37" y="136"/>
                </a:cubicBezTo>
                <a:cubicBezTo>
                  <a:pt x="36" y="136"/>
                  <a:pt x="35" y="135"/>
                  <a:pt x="35" y="133"/>
                </a:cubicBezTo>
                <a:cubicBezTo>
                  <a:pt x="35" y="132"/>
                  <a:pt x="36" y="131"/>
                  <a:pt x="37" y="131"/>
                </a:cubicBezTo>
                <a:close/>
                <a:moveTo>
                  <a:pt x="53" y="131"/>
                </a:moveTo>
                <a:cubicBezTo>
                  <a:pt x="55" y="131"/>
                  <a:pt x="56" y="132"/>
                  <a:pt x="56" y="133"/>
                </a:cubicBezTo>
                <a:cubicBezTo>
                  <a:pt x="56" y="135"/>
                  <a:pt x="55" y="136"/>
                  <a:pt x="53" y="136"/>
                </a:cubicBezTo>
                <a:cubicBezTo>
                  <a:pt x="52" y="136"/>
                  <a:pt x="51" y="135"/>
                  <a:pt x="51" y="133"/>
                </a:cubicBezTo>
                <a:cubicBezTo>
                  <a:pt x="51" y="132"/>
                  <a:pt x="52" y="131"/>
                  <a:pt x="53" y="131"/>
                </a:cubicBezTo>
                <a:close/>
                <a:moveTo>
                  <a:pt x="77" y="107"/>
                </a:moveTo>
                <a:cubicBezTo>
                  <a:pt x="79" y="107"/>
                  <a:pt x="80" y="108"/>
                  <a:pt x="80" y="109"/>
                </a:cubicBezTo>
                <a:cubicBezTo>
                  <a:pt x="80" y="111"/>
                  <a:pt x="79" y="112"/>
                  <a:pt x="77" y="112"/>
                </a:cubicBezTo>
                <a:cubicBezTo>
                  <a:pt x="76" y="112"/>
                  <a:pt x="75" y="111"/>
                  <a:pt x="75" y="109"/>
                </a:cubicBezTo>
                <a:cubicBezTo>
                  <a:pt x="75" y="108"/>
                  <a:pt x="76" y="107"/>
                  <a:pt x="77" y="107"/>
                </a:cubicBezTo>
                <a:close/>
                <a:moveTo>
                  <a:pt x="61" y="123"/>
                </a:moveTo>
                <a:cubicBezTo>
                  <a:pt x="63" y="123"/>
                  <a:pt x="64" y="124"/>
                  <a:pt x="64" y="125"/>
                </a:cubicBezTo>
                <a:cubicBezTo>
                  <a:pt x="64" y="127"/>
                  <a:pt x="63" y="128"/>
                  <a:pt x="61" y="128"/>
                </a:cubicBezTo>
                <a:cubicBezTo>
                  <a:pt x="60" y="128"/>
                  <a:pt x="59" y="127"/>
                  <a:pt x="59" y="125"/>
                </a:cubicBezTo>
                <a:cubicBezTo>
                  <a:pt x="59" y="124"/>
                  <a:pt x="60" y="123"/>
                  <a:pt x="61" y="123"/>
                </a:cubicBezTo>
                <a:close/>
                <a:moveTo>
                  <a:pt x="77" y="123"/>
                </a:moveTo>
                <a:cubicBezTo>
                  <a:pt x="79" y="123"/>
                  <a:pt x="80" y="124"/>
                  <a:pt x="80" y="125"/>
                </a:cubicBezTo>
                <a:cubicBezTo>
                  <a:pt x="80" y="127"/>
                  <a:pt x="79" y="128"/>
                  <a:pt x="77" y="128"/>
                </a:cubicBezTo>
                <a:cubicBezTo>
                  <a:pt x="76" y="128"/>
                  <a:pt x="75" y="127"/>
                  <a:pt x="75" y="125"/>
                </a:cubicBezTo>
                <a:cubicBezTo>
                  <a:pt x="75" y="124"/>
                  <a:pt x="76" y="123"/>
                  <a:pt x="77" y="123"/>
                </a:cubicBezTo>
                <a:close/>
                <a:moveTo>
                  <a:pt x="69" y="115"/>
                </a:moveTo>
                <a:cubicBezTo>
                  <a:pt x="71" y="115"/>
                  <a:pt x="72" y="116"/>
                  <a:pt x="72" y="117"/>
                </a:cubicBezTo>
                <a:cubicBezTo>
                  <a:pt x="72" y="119"/>
                  <a:pt x="71" y="120"/>
                  <a:pt x="69" y="120"/>
                </a:cubicBezTo>
                <a:cubicBezTo>
                  <a:pt x="68" y="120"/>
                  <a:pt x="67" y="119"/>
                  <a:pt x="67" y="117"/>
                </a:cubicBezTo>
                <a:cubicBezTo>
                  <a:pt x="67" y="116"/>
                  <a:pt x="68" y="115"/>
                  <a:pt x="69" y="115"/>
                </a:cubicBezTo>
                <a:close/>
                <a:moveTo>
                  <a:pt x="69" y="131"/>
                </a:moveTo>
                <a:cubicBezTo>
                  <a:pt x="71" y="131"/>
                  <a:pt x="72" y="132"/>
                  <a:pt x="72" y="133"/>
                </a:cubicBezTo>
                <a:cubicBezTo>
                  <a:pt x="72" y="135"/>
                  <a:pt x="71" y="136"/>
                  <a:pt x="69" y="136"/>
                </a:cubicBezTo>
                <a:cubicBezTo>
                  <a:pt x="68" y="136"/>
                  <a:pt x="67" y="135"/>
                  <a:pt x="67" y="133"/>
                </a:cubicBezTo>
                <a:cubicBezTo>
                  <a:pt x="67" y="132"/>
                  <a:pt x="68" y="131"/>
                  <a:pt x="69" y="131"/>
                </a:cubicBezTo>
                <a:close/>
                <a:moveTo>
                  <a:pt x="13" y="139"/>
                </a:moveTo>
                <a:cubicBezTo>
                  <a:pt x="15" y="139"/>
                  <a:pt x="16" y="140"/>
                  <a:pt x="16" y="141"/>
                </a:cubicBezTo>
                <a:cubicBezTo>
                  <a:pt x="16" y="143"/>
                  <a:pt x="15" y="144"/>
                  <a:pt x="13" y="144"/>
                </a:cubicBezTo>
                <a:cubicBezTo>
                  <a:pt x="12" y="144"/>
                  <a:pt x="11" y="143"/>
                  <a:pt x="11" y="141"/>
                </a:cubicBezTo>
                <a:cubicBezTo>
                  <a:pt x="11" y="140"/>
                  <a:pt x="12" y="139"/>
                  <a:pt x="13" y="139"/>
                </a:cubicBezTo>
                <a:close/>
                <a:moveTo>
                  <a:pt x="21" y="147"/>
                </a:moveTo>
                <a:cubicBezTo>
                  <a:pt x="23" y="147"/>
                  <a:pt x="24" y="148"/>
                  <a:pt x="24" y="149"/>
                </a:cubicBezTo>
                <a:cubicBezTo>
                  <a:pt x="24" y="151"/>
                  <a:pt x="23" y="152"/>
                  <a:pt x="21" y="152"/>
                </a:cubicBezTo>
                <a:cubicBezTo>
                  <a:pt x="20" y="152"/>
                  <a:pt x="19" y="151"/>
                  <a:pt x="19" y="149"/>
                </a:cubicBezTo>
                <a:cubicBezTo>
                  <a:pt x="19" y="148"/>
                  <a:pt x="20" y="147"/>
                  <a:pt x="21" y="147"/>
                </a:cubicBezTo>
                <a:close/>
                <a:moveTo>
                  <a:pt x="29" y="139"/>
                </a:moveTo>
                <a:cubicBezTo>
                  <a:pt x="31" y="139"/>
                  <a:pt x="32" y="140"/>
                  <a:pt x="32" y="141"/>
                </a:cubicBezTo>
                <a:cubicBezTo>
                  <a:pt x="32" y="143"/>
                  <a:pt x="31" y="144"/>
                  <a:pt x="29" y="144"/>
                </a:cubicBezTo>
                <a:cubicBezTo>
                  <a:pt x="28" y="144"/>
                  <a:pt x="27" y="143"/>
                  <a:pt x="27" y="141"/>
                </a:cubicBezTo>
                <a:cubicBezTo>
                  <a:pt x="27" y="140"/>
                  <a:pt x="28" y="139"/>
                  <a:pt x="29" y="139"/>
                </a:cubicBezTo>
                <a:close/>
                <a:moveTo>
                  <a:pt x="45" y="139"/>
                </a:moveTo>
                <a:cubicBezTo>
                  <a:pt x="47" y="139"/>
                  <a:pt x="48" y="140"/>
                  <a:pt x="48" y="141"/>
                </a:cubicBezTo>
                <a:cubicBezTo>
                  <a:pt x="48" y="143"/>
                  <a:pt x="47" y="144"/>
                  <a:pt x="45" y="144"/>
                </a:cubicBezTo>
                <a:cubicBezTo>
                  <a:pt x="44" y="144"/>
                  <a:pt x="43" y="143"/>
                  <a:pt x="43" y="141"/>
                </a:cubicBezTo>
                <a:cubicBezTo>
                  <a:pt x="43" y="140"/>
                  <a:pt x="44" y="139"/>
                  <a:pt x="45" y="139"/>
                </a:cubicBezTo>
                <a:close/>
                <a:moveTo>
                  <a:pt x="37" y="147"/>
                </a:moveTo>
                <a:cubicBezTo>
                  <a:pt x="39" y="147"/>
                  <a:pt x="40" y="148"/>
                  <a:pt x="40" y="149"/>
                </a:cubicBezTo>
                <a:cubicBezTo>
                  <a:pt x="40" y="151"/>
                  <a:pt x="39" y="152"/>
                  <a:pt x="37" y="152"/>
                </a:cubicBezTo>
                <a:cubicBezTo>
                  <a:pt x="36" y="152"/>
                  <a:pt x="35" y="151"/>
                  <a:pt x="35" y="149"/>
                </a:cubicBezTo>
                <a:cubicBezTo>
                  <a:pt x="35" y="148"/>
                  <a:pt x="36" y="147"/>
                  <a:pt x="37" y="147"/>
                </a:cubicBezTo>
                <a:close/>
                <a:moveTo>
                  <a:pt x="53" y="147"/>
                </a:moveTo>
                <a:cubicBezTo>
                  <a:pt x="55" y="147"/>
                  <a:pt x="56" y="148"/>
                  <a:pt x="56" y="149"/>
                </a:cubicBezTo>
                <a:cubicBezTo>
                  <a:pt x="56" y="151"/>
                  <a:pt x="55" y="152"/>
                  <a:pt x="53" y="152"/>
                </a:cubicBezTo>
                <a:cubicBezTo>
                  <a:pt x="52" y="152"/>
                  <a:pt x="51" y="151"/>
                  <a:pt x="51" y="149"/>
                </a:cubicBezTo>
                <a:cubicBezTo>
                  <a:pt x="51" y="148"/>
                  <a:pt x="52" y="147"/>
                  <a:pt x="53" y="147"/>
                </a:cubicBezTo>
                <a:close/>
                <a:moveTo>
                  <a:pt x="61" y="139"/>
                </a:moveTo>
                <a:cubicBezTo>
                  <a:pt x="63" y="139"/>
                  <a:pt x="64" y="140"/>
                  <a:pt x="64" y="141"/>
                </a:cubicBezTo>
                <a:cubicBezTo>
                  <a:pt x="64" y="143"/>
                  <a:pt x="63" y="144"/>
                  <a:pt x="61" y="144"/>
                </a:cubicBezTo>
                <a:cubicBezTo>
                  <a:pt x="60" y="144"/>
                  <a:pt x="59" y="143"/>
                  <a:pt x="59" y="141"/>
                </a:cubicBezTo>
                <a:cubicBezTo>
                  <a:pt x="59" y="140"/>
                  <a:pt x="60" y="139"/>
                  <a:pt x="61" y="139"/>
                </a:cubicBezTo>
                <a:close/>
                <a:moveTo>
                  <a:pt x="77" y="139"/>
                </a:moveTo>
                <a:cubicBezTo>
                  <a:pt x="79" y="139"/>
                  <a:pt x="80" y="140"/>
                  <a:pt x="80" y="141"/>
                </a:cubicBezTo>
                <a:cubicBezTo>
                  <a:pt x="80" y="143"/>
                  <a:pt x="79" y="144"/>
                  <a:pt x="77" y="144"/>
                </a:cubicBezTo>
                <a:cubicBezTo>
                  <a:pt x="76" y="144"/>
                  <a:pt x="75" y="143"/>
                  <a:pt x="75" y="141"/>
                </a:cubicBezTo>
                <a:cubicBezTo>
                  <a:pt x="75" y="140"/>
                  <a:pt x="76" y="139"/>
                  <a:pt x="77" y="139"/>
                </a:cubicBezTo>
                <a:close/>
                <a:moveTo>
                  <a:pt x="69" y="147"/>
                </a:moveTo>
                <a:cubicBezTo>
                  <a:pt x="71" y="147"/>
                  <a:pt x="72" y="148"/>
                  <a:pt x="72" y="149"/>
                </a:cubicBezTo>
                <a:cubicBezTo>
                  <a:pt x="72" y="151"/>
                  <a:pt x="71" y="152"/>
                  <a:pt x="69" y="152"/>
                </a:cubicBezTo>
                <a:cubicBezTo>
                  <a:pt x="68" y="152"/>
                  <a:pt x="67" y="151"/>
                  <a:pt x="67" y="149"/>
                </a:cubicBezTo>
                <a:cubicBezTo>
                  <a:pt x="67" y="148"/>
                  <a:pt x="68" y="147"/>
                  <a:pt x="69" y="147"/>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2" name="Freeform 1049">
            <a:extLst>
              <a:ext uri="{FF2B5EF4-FFF2-40B4-BE49-F238E27FC236}">
                <a16:creationId xmlns:a16="http://schemas.microsoft.com/office/drawing/2014/main" id="{C639F741-4F35-6343-9C61-01539C5D97C3}"/>
              </a:ext>
            </a:extLst>
          </p:cNvPr>
          <p:cNvSpPr>
            <a:spLocks noEditPoints="1"/>
          </p:cNvSpPr>
          <p:nvPr/>
        </p:nvSpPr>
        <p:spPr bwMode="auto">
          <a:xfrm>
            <a:off x="2609733" y="4081463"/>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32 w 85"/>
              <a:gd name="T27" fmla="*/ 5 h 160"/>
              <a:gd name="T28" fmla="*/ 53 w 85"/>
              <a:gd name="T29" fmla="*/ 5 h 160"/>
              <a:gd name="T30" fmla="*/ 53 w 85"/>
              <a:gd name="T31" fmla="*/ 11 h 160"/>
              <a:gd name="T32" fmla="*/ 32 w 85"/>
              <a:gd name="T33" fmla="*/ 11 h 160"/>
              <a:gd name="T34" fmla="*/ 32 w 85"/>
              <a:gd name="T35" fmla="*/ 5 h 160"/>
              <a:gd name="T36" fmla="*/ 80 w 85"/>
              <a:gd name="T37" fmla="*/ 151 h 160"/>
              <a:gd name="T38" fmla="*/ 76 w 85"/>
              <a:gd name="T39" fmla="*/ 155 h 160"/>
              <a:gd name="T40" fmla="*/ 9 w 85"/>
              <a:gd name="T41" fmla="*/ 155 h 160"/>
              <a:gd name="T42" fmla="*/ 5 w 85"/>
              <a:gd name="T43" fmla="*/ 151 h 160"/>
              <a:gd name="T44" fmla="*/ 5 w 85"/>
              <a:gd name="T45" fmla="*/ 20 h 160"/>
              <a:gd name="T46" fmla="*/ 9 w 85"/>
              <a:gd name="T47" fmla="*/ 16 h 160"/>
              <a:gd name="T48" fmla="*/ 27 w 85"/>
              <a:gd name="T49" fmla="*/ 16 h 160"/>
              <a:gd name="T50" fmla="*/ 59 w 85"/>
              <a:gd name="T51" fmla="*/ 16 h 160"/>
              <a:gd name="T52" fmla="*/ 76 w 85"/>
              <a:gd name="T53" fmla="*/ 16 h 160"/>
              <a:gd name="T54" fmla="*/ 80 w 85"/>
              <a:gd name="T55" fmla="*/ 20 h 160"/>
              <a:gd name="T56" fmla="*/ 80 w 85"/>
              <a:gd name="T57" fmla="*/ 151 h 160"/>
              <a:gd name="T58" fmla="*/ 53 w 85"/>
              <a:gd name="T59" fmla="*/ 46 h 160"/>
              <a:gd name="T60" fmla="*/ 52 w 85"/>
              <a:gd name="T61" fmla="*/ 43 h 160"/>
              <a:gd name="T62" fmla="*/ 50 w 85"/>
              <a:gd name="T63" fmla="*/ 42 h 160"/>
              <a:gd name="T64" fmla="*/ 48 w 85"/>
              <a:gd name="T65" fmla="*/ 44 h 160"/>
              <a:gd name="T66" fmla="*/ 19 w 85"/>
              <a:gd name="T67" fmla="*/ 91 h 160"/>
              <a:gd name="T68" fmla="*/ 35 w 85"/>
              <a:gd name="T69" fmla="*/ 91 h 160"/>
              <a:gd name="T70" fmla="*/ 35 w 85"/>
              <a:gd name="T71" fmla="*/ 125 h 160"/>
              <a:gd name="T72" fmla="*/ 36 w 85"/>
              <a:gd name="T73" fmla="*/ 128 h 160"/>
              <a:gd name="T74" fmla="*/ 38 w 85"/>
              <a:gd name="T75" fmla="*/ 129 h 160"/>
              <a:gd name="T76" fmla="*/ 40 w 85"/>
              <a:gd name="T77" fmla="*/ 127 h 160"/>
              <a:gd name="T78" fmla="*/ 66 w 85"/>
              <a:gd name="T79" fmla="*/ 77 h 160"/>
              <a:gd name="T80" fmla="*/ 53 w 85"/>
              <a:gd name="T81" fmla="*/ 77 h 160"/>
              <a:gd name="T82" fmla="*/ 53 w 85"/>
              <a:gd name="T83" fmla="*/ 46 h 160"/>
              <a:gd name="T84" fmla="*/ 57 w 85"/>
              <a:gd name="T85" fmla="*/ 83 h 160"/>
              <a:gd name="T86" fmla="*/ 40 w 85"/>
              <a:gd name="T87" fmla="*/ 115 h 160"/>
              <a:gd name="T88" fmla="*/ 40 w 85"/>
              <a:gd name="T89" fmla="*/ 85 h 160"/>
              <a:gd name="T90" fmla="*/ 29 w 85"/>
              <a:gd name="T91" fmla="*/ 85 h 160"/>
              <a:gd name="T92" fmla="*/ 48 w 85"/>
              <a:gd name="T93" fmla="*/ 54 h 160"/>
              <a:gd name="T94" fmla="*/ 48 w 85"/>
              <a:gd name="T95" fmla="*/ 83 h 160"/>
              <a:gd name="T96" fmla="*/ 57 w 85"/>
              <a:gd name="T97" fmla="*/ 8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80" y="151"/>
                </a:moveTo>
                <a:cubicBezTo>
                  <a:pt x="80" y="153"/>
                  <a:pt x="78" y="155"/>
                  <a:pt x="76" y="155"/>
                </a:cubicBezTo>
                <a:cubicBezTo>
                  <a:pt x="9" y="155"/>
                  <a:pt x="9" y="155"/>
                  <a:pt x="9" y="155"/>
                </a:cubicBezTo>
                <a:cubicBezTo>
                  <a:pt x="7" y="155"/>
                  <a:pt x="5" y="153"/>
                  <a:pt x="5" y="151"/>
                </a:cubicBezTo>
                <a:cubicBezTo>
                  <a:pt x="5" y="20"/>
                  <a:pt x="5" y="20"/>
                  <a:pt x="5" y="20"/>
                </a:cubicBezTo>
                <a:cubicBezTo>
                  <a:pt x="5" y="18"/>
                  <a:pt x="7" y="16"/>
                  <a:pt x="9" y="16"/>
                </a:cubicBezTo>
                <a:cubicBezTo>
                  <a:pt x="27" y="16"/>
                  <a:pt x="27" y="16"/>
                  <a:pt x="27" y="16"/>
                </a:cubicBezTo>
                <a:cubicBezTo>
                  <a:pt x="59" y="16"/>
                  <a:pt x="59" y="16"/>
                  <a:pt x="59" y="16"/>
                </a:cubicBezTo>
                <a:cubicBezTo>
                  <a:pt x="76" y="16"/>
                  <a:pt x="76" y="16"/>
                  <a:pt x="76" y="16"/>
                </a:cubicBezTo>
                <a:cubicBezTo>
                  <a:pt x="78" y="16"/>
                  <a:pt x="80" y="18"/>
                  <a:pt x="80" y="20"/>
                </a:cubicBezTo>
                <a:lnTo>
                  <a:pt x="80" y="151"/>
                </a:lnTo>
                <a:close/>
                <a:moveTo>
                  <a:pt x="53" y="46"/>
                </a:moveTo>
                <a:cubicBezTo>
                  <a:pt x="53" y="44"/>
                  <a:pt x="53" y="43"/>
                  <a:pt x="52" y="43"/>
                </a:cubicBezTo>
                <a:cubicBezTo>
                  <a:pt x="50" y="42"/>
                  <a:pt x="50" y="42"/>
                  <a:pt x="50" y="42"/>
                </a:cubicBezTo>
                <a:cubicBezTo>
                  <a:pt x="48" y="44"/>
                  <a:pt x="48" y="44"/>
                  <a:pt x="48" y="44"/>
                </a:cubicBezTo>
                <a:cubicBezTo>
                  <a:pt x="19" y="91"/>
                  <a:pt x="19" y="91"/>
                  <a:pt x="19" y="91"/>
                </a:cubicBezTo>
                <a:cubicBezTo>
                  <a:pt x="35" y="91"/>
                  <a:pt x="35" y="91"/>
                  <a:pt x="35" y="91"/>
                </a:cubicBezTo>
                <a:cubicBezTo>
                  <a:pt x="35" y="125"/>
                  <a:pt x="35" y="125"/>
                  <a:pt x="35" y="125"/>
                </a:cubicBezTo>
                <a:cubicBezTo>
                  <a:pt x="35" y="126"/>
                  <a:pt x="35" y="127"/>
                  <a:pt x="36" y="128"/>
                </a:cubicBezTo>
                <a:cubicBezTo>
                  <a:pt x="38" y="129"/>
                  <a:pt x="38" y="129"/>
                  <a:pt x="38" y="129"/>
                </a:cubicBezTo>
                <a:cubicBezTo>
                  <a:pt x="40" y="127"/>
                  <a:pt x="40" y="127"/>
                  <a:pt x="40" y="127"/>
                </a:cubicBezTo>
                <a:cubicBezTo>
                  <a:pt x="66" y="77"/>
                  <a:pt x="66" y="77"/>
                  <a:pt x="66" y="77"/>
                </a:cubicBezTo>
                <a:cubicBezTo>
                  <a:pt x="53" y="77"/>
                  <a:pt x="53" y="77"/>
                  <a:pt x="53" y="77"/>
                </a:cubicBezTo>
                <a:lnTo>
                  <a:pt x="53" y="46"/>
                </a:lnTo>
                <a:close/>
                <a:moveTo>
                  <a:pt x="57" y="83"/>
                </a:moveTo>
                <a:cubicBezTo>
                  <a:pt x="40" y="115"/>
                  <a:pt x="40" y="115"/>
                  <a:pt x="40" y="115"/>
                </a:cubicBezTo>
                <a:cubicBezTo>
                  <a:pt x="40" y="85"/>
                  <a:pt x="40" y="85"/>
                  <a:pt x="40" y="85"/>
                </a:cubicBezTo>
                <a:cubicBezTo>
                  <a:pt x="29" y="85"/>
                  <a:pt x="29" y="85"/>
                  <a:pt x="29" y="85"/>
                </a:cubicBezTo>
                <a:cubicBezTo>
                  <a:pt x="48" y="54"/>
                  <a:pt x="48" y="54"/>
                  <a:pt x="48" y="54"/>
                </a:cubicBezTo>
                <a:cubicBezTo>
                  <a:pt x="48" y="83"/>
                  <a:pt x="48" y="83"/>
                  <a:pt x="48" y="83"/>
                </a:cubicBezTo>
                <a:lnTo>
                  <a:pt x="57" y="83"/>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3" name="Freeform 1050">
            <a:extLst>
              <a:ext uri="{FF2B5EF4-FFF2-40B4-BE49-F238E27FC236}">
                <a16:creationId xmlns:a16="http://schemas.microsoft.com/office/drawing/2014/main" id="{1944A56A-E6B6-6342-839E-1A7B78EED9FD}"/>
              </a:ext>
            </a:extLst>
          </p:cNvPr>
          <p:cNvSpPr>
            <a:spLocks noEditPoints="1"/>
          </p:cNvSpPr>
          <p:nvPr/>
        </p:nvSpPr>
        <p:spPr bwMode="auto">
          <a:xfrm>
            <a:off x="2487495" y="4714875"/>
            <a:ext cx="546100" cy="495300"/>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4" name="Freeform 1051">
            <a:extLst>
              <a:ext uri="{FF2B5EF4-FFF2-40B4-BE49-F238E27FC236}">
                <a16:creationId xmlns:a16="http://schemas.microsoft.com/office/drawing/2014/main" id="{EDEA359D-581F-2D4D-82E3-28BDEF6A4E6F}"/>
              </a:ext>
            </a:extLst>
          </p:cNvPr>
          <p:cNvSpPr>
            <a:spLocks noEditPoints="1"/>
          </p:cNvSpPr>
          <p:nvPr/>
        </p:nvSpPr>
        <p:spPr bwMode="auto">
          <a:xfrm>
            <a:off x="2487495" y="5319713"/>
            <a:ext cx="546100" cy="550863"/>
          </a:xfrm>
          <a:custGeom>
            <a:avLst/>
            <a:gdLst>
              <a:gd name="T0" fmla="*/ 19 w 160"/>
              <a:gd name="T1" fmla="*/ 160 h 160"/>
              <a:gd name="T2" fmla="*/ 22 w 160"/>
              <a:gd name="T3" fmla="*/ 6 h 160"/>
              <a:gd name="T4" fmla="*/ 14 w 160"/>
              <a:gd name="T5" fmla="*/ 123 h 160"/>
              <a:gd name="T6" fmla="*/ 5 w 160"/>
              <a:gd name="T7" fmla="*/ 19 h 160"/>
              <a:gd name="T8" fmla="*/ 38 w 160"/>
              <a:gd name="T9" fmla="*/ 24 h 160"/>
              <a:gd name="T10" fmla="*/ 129 w 160"/>
              <a:gd name="T11" fmla="*/ 56 h 160"/>
              <a:gd name="T12" fmla="*/ 141 w 160"/>
              <a:gd name="T13" fmla="*/ 62 h 160"/>
              <a:gd name="T14" fmla="*/ 111 w 160"/>
              <a:gd name="T15" fmla="*/ 111 h 160"/>
              <a:gd name="T16" fmla="*/ 144 w 160"/>
              <a:gd name="T17" fmla="*/ 80 h 160"/>
              <a:gd name="T18" fmla="*/ 110 w 160"/>
              <a:gd name="T19" fmla="*/ 40 h 160"/>
              <a:gd name="T20" fmla="*/ 125 w 160"/>
              <a:gd name="T21" fmla="*/ 108 h 160"/>
              <a:gd name="T22" fmla="*/ 71 w 160"/>
              <a:gd name="T23" fmla="*/ 114 h 160"/>
              <a:gd name="T24" fmla="*/ 138 w 160"/>
              <a:gd name="T25" fmla="*/ 91 h 160"/>
              <a:gd name="T26" fmla="*/ 93 w 160"/>
              <a:gd name="T27" fmla="*/ 31 h 160"/>
              <a:gd name="T28" fmla="*/ 138 w 160"/>
              <a:gd name="T29" fmla="*/ 107 h 160"/>
              <a:gd name="T30" fmla="*/ 138 w 160"/>
              <a:gd name="T31" fmla="*/ 108 h 160"/>
              <a:gd name="T32" fmla="*/ 54 w 160"/>
              <a:gd name="T33" fmla="*/ 114 h 160"/>
              <a:gd name="T34" fmla="*/ 49 w 160"/>
              <a:gd name="T35" fmla="*/ 76 h 160"/>
              <a:gd name="T36" fmla="*/ 57 w 160"/>
              <a:gd name="T37" fmla="*/ 63 h 160"/>
              <a:gd name="T38" fmla="*/ 75 w 160"/>
              <a:gd name="T39" fmla="*/ 50 h 160"/>
              <a:gd name="T40" fmla="*/ 52 w 160"/>
              <a:gd name="T41" fmla="*/ 84 h 160"/>
              <a:gd name="T42" fmla="*/ 89 w 160"/>
              <a:gd name="T43" fmla="*/ 37 h 160"/>
              <a:gd name="T44" fmla="*/ 95 w 160"/>
              <a:gd name="T45" fmla="*/ 111 h 160"/>
              <a:gd name="T46" fmla="*/ 49 w 160"/>
              <a:gd name="T47" fmla="*/ 98 h 160"/>
              <a:gd name="T48" fmla="*/ 146 w 160"/>
              <a:gd name="T49" fmla="*/ 125 h 160"/>
              <a:gd name="T50" fmla="*/ 117 w 160"/>
              <a:gd name="T51" fmla="*/ 130 h 160"/>
              <a:gd name="T52" fmla="*/ 62 w 160"/>
              <a:gd name="T53" fmla="*/ 79 h 160"/>
              <a:gd name="T54" fmla="*/ 87 w 160"/>
              <a:gd name="T55" fmla="*/ 76 h 160"/>
              <a:gd name="T56" fmla="*/ 65 w 160"/>
              <a:gd name="T57" fmla="*/ 76 h 160"/>
              <a:gd name="T58" fmla="*/ 68 w 160"/>
              <a:gd name="T59" fmla="*/ 100 h 160"/>
              <a:gd name="T60" fmla="*/ 87 w 160"/>
              <a:gd name="T61" fmla="*/ 98 h 160"/>
              <a:gd name="T62" fmla="*/ 117 w 160"/>
              <a:gd name="T63" fmla="*/ 79 h 160"/>
              <a:gd name="T64" fmla="*/ 127 w 160"/>
              <a:gd name="T65" fmla="*/ 84 h 160"/>
              <a:gd name="T66" fmla="*/ 125 w 160"/>
              <a:gd name="T67" fmla="*/ 95 h 160"/>
              <a:gd name="T68" fmla="*/ 103 w 160"/>
              <a:gd name="T69" fmla="*/ 87 h 160"/>
              <a:gd name="T70" fmla="*/ 103 w 160"/>
              <a:gd name="T71" fmla="*/ 98 h 160"/>
              <a:gd name="T72" fmla="*/ 106 w 160"/>
              <a:gd name="T73" fmla="*/ 127 h 160"/>
              <a:gd name="T74" fmla="*/ 106 w 160"/>
              <a:gd name="T75" fmla="*/ 136 h 160"/>
              <a:gd name="T76" fmla="*/ 106 w 160"/>
              <a:gd name="T77" fmla="*/ 144 h 160"/>
              <a:gd name="T78" fmla="*/ 11 w 160"/>
              <a:gd name="T79" fmla="*/ 11 h 160"/>
              <a:gd name="T80" fmla="*/ 27 w 160"/>
              <a:gd name="T81" fmla="*/ 16 h 160"/>
              <a:gd name="T82" fmla="*/ 19 w 160"/>
              <a:gd name="T83" fmla="*/ 19 h 160"/>
              <a:gd name="T84" fmla="*/ 30 w 160"/>
              <a:gd name="T85" fmla="*/ 30 h 160"/>
              <a:gd name="T86" fmla="*/ 8 w 160"/>
              <a:gd name="T87" fmla="*/ 46 h 160"/>
              <a:gd name="T88" fmla="*/ 19 w 160"/>
              <a:gd name="T89" fmla="*/ 35 h 160"/>
              <a:gd name="T90" fmla="*/ 19 w 160"/>
              <a:gd name="T91" fmla="*/ 57 h 160"/>
              <a:gd name="T92" fmla="*/ 11 w 160"/>
              <a:gd name="T93" fmla="*/ 60 h 160"/>
              <a:gd name="T94" fmla="*/ 14 w 160"/>
              <a:gd name="T95" fmla="*/ 79 h 160"/>
              <a:gd name="T96" fmla="*/ 24 w 160"/>
              <a:gd name="T97" fmla="*/ 79 h 160"/>
              <a:gd name="T98" fmla="*/ 19 w 160"/>
              <a:gd name="T99" fmla="*/ 84 h 160"/>
              <a:gd name="T100" fmla="*/ 11 w 160"/>
              <a:gd name="T101" fmla="*/ 98 h 160"/>
              <a:gd name="T102" fmla="*/ 27 w 160"/>
              <a:gd name="T103" fmla="*/ 92 h 160"/>
              <a:gd name="T104" fmla="*/ 30 w 160"/>
              <a:gd name="T105" fmla="*/ 111 h 160"/>
              <a:gd name="T106" fmla="*/ 16 w 160"/>
              <a:gd name="T107" fmla="*/ 10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60">
                <a:moveTo>
                  <a:pt x="38" y="19"/>
                </a:moveTo>
                <a:cubicBezTo>
                  <a:pt x="38" y="9"/>
                  <a:pt x="29" y="0"/>
                  <a:pt x="19" y="0"/>
                </a:cubicBezTo>
                <a:cubicBezTo>
                  <a:pt x="9" y="0"/>
                  <a:pt x="0" y="9"/>
                  <a:pt x="0" y="19"/>
                </a:cubicBezTo>
                <a:cubicBezTo>
                  <a:pt x="0" y="141"/>
                  <a:pt x="0" y="141"/>
                  <a:pt x="0" y="141"/>
                </a:cubicBezTo>
                <a:cubicBezTo>
                  <a:pt x="0" y="141"/>
                  <a:pt x="0" y="141"/>
                  <a:pt x="0" y="141"/>
                </a:cubicBezTo>
                <a:cubicBezTo>
                  <a:pt x="0" y="141"/>
                  <a:pt x="0" y="141"/>
                  <a:pt x="0" y="141"/>
                </a:cubicBezTo>
                <a:cubicBezTo>
                  <a:pt x="0" y="152"/>
                  <a:pt x="8" y="160"/>
                  <a:pt x="19" y="160"/>
                </a:cubicBezTo>
                <a:cubicBezTo>
                  <a:pt x="160" y="160"/>
                  <a:pt x="160" y="160"/>
                  <a:pt x="160" y="160"/>
                </a:cubicBezTo>
                <a:cubicBezTo>
                  <a:pt x="160" y="19"/>
                  <a:pt x="160" y="19"/>
                  <a:pt x="160" y="19"/>
                </a:cubicBezTo>
                <a:lnTo>
                  <a:pt x="38" y="19"/>
                </a:lnTo>
                <a:close/>
                <a:moveTo>
                  <a:pt x="5" y="19"/>
                </a:moveTo>
                <a:cubicBezTo>
                  <a:pt x="5" y="12"/>
                  <a:pt x="10" y="7"/>
                  <a:pt x="16" y="6"/>
                </a:cubicBezTo>
                <a:cubicBezTo>
                  <a:pt x="16" y="7"/>
                  <a:pt x="18" y="8"/>
                  <a:pt x="19" y="8"/>
                </a:cubicBezTo>
                <a:cubicBezTo>
                  <a:pt x="20" y="8"/>
                  <a:pt x="22" y="7"/>
                  <a:pt x="22" y="6"/>
                </a:cubicBezTo>
                <a:cubicBezTo>
                  <a:pt x="28" y="7"/>
                  <a:pt x="33" y="12"/>
                  <a:pt x="33" y="19"/>
                </a:cubicBezTo>
                <a:cubicBezTo>
                  <a:pt x="33" y="128"/>
                  <a:pt x="33" y="128"/>
                  <a:pt x="33" y="128"/>
                </a:cubicBezTo>
                <a:cubicBezTo>
                  <a:pt x="29" y="124"/>
                  <a:pt x="24" y="122"/>
                  <a:pt x="19" y="122"/>
                </a:cubicBezTo>
                <a:cubicBezTo>
                  <a:pt x="18" y="122"/>
                  <a:pt x="18" y="122"/>
                  <a:pt x="17" y="122"/>
                </a:cubicBezTo>
                <a:cubicBezTo>
                  <a:pt x="17" y="122"/>
                  <a:pt x="16" y="122"/>
                  <a:pt x="16" y="122"/>
                </a:cubicBezTo>
                <a:cubicBezTo>
                  <a:pt x="16" y="122"/>
                  <a:pt x="15" y="122"/>
                  <a:pt x="15" y="122"/>
                </a:cubicBezTo>
                <a:cubicBezTo>
                  <a:pt x="15" y="123"/>
                  <a:pt x="14" y="123"/>
                  <a:pt x="14" y="123"/>
                </a:cubicBezTo>
                <a:cubicBezTo>
                  <a:pt x="14" y="123"/>
                  <a:pt x="14" y="123"/>
                  <a:pt x="13" y="123"/>
                </a:cubicBezTo>
                <a:cubicBezTo>
                  <a:pt x="13" y="123"/>
                  <a:pt x="12" y="123"/>
                  <a:pt x="12" y="123"/>
                </a:cubicBezTo>
                <a:cubicBezTo>
                  <a:pt x="12" y="123"/>
                  <a:pt x="12" y="123"/>
                  <a:pt x="12" y="124"/>
                </a:cubicBezTo>
                <a:cubicBezTo>
                  <a:pt x="11" y="124"/>
                  <a:pt x="11" y="124"/>
                  <a:pt x="10" y="124"/>
                </a:cubicBezTo>
                <a:cubicBezTo>
                  <a:pt x="10" y="124"/>
                  <a:pt x="10" y="124"/>
                  <a:pt x="10" y="124"/>
                </a:cubicBezTo>
                <a:cubicBezTo>
                  <a:pt x="8" y="125"/>
                  <a:pt x="7" y="126"/>
                  <a:pt x="5" y="128"/>
                </a:cubicBezTo>
                <a:lnTo>
                  <a:pt x="5" y="19"/>
                </a:lnTo>
                <a:close/>
                <a:moveTo>
                  <a:pt x="155" y="155"/>
                </a:moveTo>
                <a:cubicBezTo>
                  <a:pt x="19" y="155"/>
                  <a:pt x="19" y="155"/>
                  <a:pt x="19" y="155"/>
                </a:cubicBezTo>
                <a:cubicBezTo>
                  <a:pt x="11" y="155"/>
                  <a:pt x="5" y="149"/>
                  <a:pt x="5" y="141"/>
                </a:cubicBezTo>
                <a:cubicBezTo>
                  <a:pt x="5" y="134"/>
                  <a:pt x="12" y="127"/>
                  <a:pt x="19" y="127"/>
                </a:cubicBezTo>
                <a:cubicBezTo>
                  <a:pt x="26" y="127"/>
                  <a:pt x="33" y="134"/>
                  <a:pt x="33" y="141"/>
                </a:cubicBezTo>
                <a:cubicBezTo>
                  <a:pt x="38" y="141"/>
                  <a:pt x="38" y="141"/>
                  <a:pt x="38" y="141"/>
                </a:cubicBezTo>
                <a:cubicBezTo>
                  <a:pt x="38" y="24"/>
                  <a:pt x="38" y="24"/>
                  <a:pt x="38" y="24"/>
                </a:cubicBezTo>
                <a:cubicBezTo>
                  <a:pt x="155" y="24"/>
                  <a:pt x="155" y="24"/>
                  <a:pt x="155" y="24"/>
                </a:cubicBezTo>
                <a:lnTo>
                  <a:pt x="155" y="155"/>
                </a:lnTo>
                <a:close/>
                <a:moveTo>
                  <a:pt x="120" y="54"/>
                </a:moveTo>
                <a:cubicBezTo>
                  <a:pt x="119" y="53"/>
                  <a:pt x="119" y="51"/>
                  <a:pt x="120" y="50"/>
                </a:cubicBezTo>
                <a:cubicBezTo>
                  <a:pt x="121" y="49"/>
                  <a:pt x="122" y="49"/>
                  <a:pt x="123" y="49"/>
                </a:cubicBezTo>
                <a:cubicBezTo>
                  <a:pt x="128" y="53"/>
                  <a:pt x="128" y="53"/>
                  <a:pt x="128" y="53"/>
                </a:cubicBezTo>
                <a:cubicBezTo>
                  <a:pt x="129" y="53"/>
                  <a:pt x="129" y="55"/>
                  <a:pt x="129" y="56"/>
                </a:cubicBezTo>
                <a:cubicBezTo>
                  <a:pt x="128" y="57"/>
                  <a:pt x="127" y="57"/>
                  <a:pt x="126" y="57"/>
                </a:cubicBezTo>
                <a:cubicBezTo>
                  <a:pt x="126" y="57"/>
                  <a:pt x="125" y="57"/>
                  <a:pt x="125" y="57"/>
                </a:cubicBezTo>
                <a:lnTo>
                  <a:pt x="120" y="54"/>
                </a:lnTo>
                <a:close/>
                <a:moveTo>
                  <a:pt x="134" y="63"/>
                </a:moveTo>
                <a:cubicBezTo>
                  <a:pt x="132" y="62"/>
                  <a:pt x="132" y="61"/>
                  <a:pt x="133" y="59"/>
                </a:cubicBezTo>
                <a:cubicBezTo>
                  <a:pt x="134" y="58"/>
                  <a:pt x="136" y="58"/>
                  <a:pt x="137" y="59"/>
                </a:cubicBezTo>
                <a:cubicBezTo>
                  <a:pt x="141" y="62"/>
                  <a:pt x="141" y="62"/>
                  <a:pt x="141" y="62"/>
                </a:cubicBezTo>
                <a:cubicBezTo>
                  <a:pt x="142" y="63"/>
                  <a:pt x="143" y="64"/>
                  <a:pt x="142" y="66"/>
                </a:cubicBezTo>
                <a:cubicBezTo>
                  <a:pt x="141" y="66"/>
                  <a:pt x="141" y="67"/>
                  <a:pt x="140" y="67"/>
                </a:cubicBezTo>
                <a:cubicBezTo>
                  <a:pt x="139" y="67"/>
                  <a:pt x="139" y="67"/>
                  <a:pt x="138" y="66"/>
                </a:cubicBezTo>
                <a:lnTo>
                  <a:pt x="134" y="63"/>
                </a:lnTo>
                <a:close/>
                <a:moveTo>
                  <a:pt x="103" y="108"/>
                </a:moveTo>
                <a:cubicBezTo>
                  <a:pt x="108" y="108"/>
                  <a:pt x="108" y="108"/>
                  <a:pt x="108" y="108"/>
                </a:cubicBezTo>
                <a:cubicBezTo>
                  <a:pt x="110" y="108"/>
                  <a:pt x="111" y="110"/>
                  <a:pt x="111" y="111"/>
                </a:cubicBezTo>
                <a:cubicBezTo>
                  <a:pt x="111" y="113"/>
                  <a:pt x="110" y="114"/>
                  <a:pt x="108" y="114"/>
                </a:cubicBezTo>
                <a:cubicBezTo>
                  <a:pt x="103" y="114"/>
                  <a:pt x="103" y="114"/>
                  <a:pt x="103" y="114"/>
                </a:cubicBezTo>
                <a:cubicBezTo>
                  <a:pt x="102" y="114"/>
                  <a:pt x="100" y="113"/>
                  <a:pt x="100" y="111"/>
                </a:cubicBezTo>
                <a:cubicBezTo>
                  <a:pt x="100" y="110"/>
                  <a:pt x="102" y="108"/>
                  <a:pt x="103" y="108"/>
                </a:cubicBezTo>
                <a:close/>
                <a:moveTo>
                  <a:pt x="141" y="72"/>
                </a:moveTo>
                <a:cubicBezTo>
                  <a:pt x="143" y="72"/>
                  <a:pt x="144" y="73"/>
                  <a:pt x="144" y="74"/>
                </a:cubicBezTo>
                <a:cubicBezTo>
                  <a:pt x="144" y="80"/>
                  <a:pt x="144" y="80"/>
                  <a:pt x="144" y="80"/>
                </a:cubicBezTo>
                <a:cubicBezTo>
                  <a:pt x="144" y="81"/>
                  <a:pt x="143" y="82"/>
                  <a:pt x="141" y="82"/>
                </a:cubicBezTo>
                <a:cubicBezTo>
                  <a:pt x="140" y="82"/>
                  <a:pt x="138" y="81"/>
                  <a:pt x="138" y="80"/>
                </a:cubicBezTo>
                <a:cubicBezTo>
                  <a:pt x="138" y="74"/>
                  <a:pt x="138" y="74"/>
                  <a:pt x="138" y="74"/>
                </a:cubicBezTo>
                <a:cubicBezTo>
                  <a:pt x="138" y="73"/>
                  <a:pt x="140" y="72"/>
                  <a:pt x="141" y="72"/>
                </a:cubicBezTo>
                <a:close/>
                <a:moveTo>
                  <a:pt x="107" y="44"/>
                </a:moveTo>
                <a:cubicBezTo>
                  <a:pt x="106" y="44"/>
                  <a:pt x="106" y="42"/>
                  <a:pt x="106" y="41"/>
                </a:cubicBezTo>
                <a:cubicBezTo>
                  <a:pt x="107" y="39"/>
                  <a:pt x="109" y="39"/>
                  <a:pt x="110" y="40"/>
                </a:cubicBezTo>
                <a:cubicBezTo>
                  <a:pt x="115" y="43"/>
                  <a:pt x="115" y="43"/>
                  <a:pt x="115" y="43"/>
                </a:cubicBezTo>
                <a:cubicBezTo>
                  <a:pt x="116" y="44"/>
                  <a:pt x="116" y="46"/>
                  <a:pt x="115" y="47"/>
                </a:cubicBezTo>
                <a:cubicBezTo>
                  <a:pt x="115" y="48"/>
                  <a:pt x="114" y="48"/>
                  <a:pt x="113" y="48"/>
                </a:cubicBezTo>
                <a:cubicBezTo>
                  <a:pt x="113" y="48"/>
                  <a:pt x="112" y="48"/>
                  <a:pt x="112" y="48"/>
                </a:cubicBezTo>
                <a:lnTo>
                  <a:pt x="107" y="44"/>
                </a:lnTo>
                <a:close/>
                <a:moveTo>
                  <a:pt x="119" y="108"/>
                </a:moveTo>
                <a:cubicBezTo>
                  <a:pt x="125" y="108"/>
                  <a:pt x="125" y="108"/>
                  <a:pt x="125" y="108"/>
                </a:cubicBezTo>
                <a:cubicBezTo>
                  <a:pt x="126" y="108"/>
                  <a:pt x="127" y="110"/>
                  <a:pt x="127" y="111"/>
                </a:cubicBezTo>
                <a:cubicBezTo>
                  <a:pt x="127" y="113"/>
                  <a:pt x="126" y="114"/>
                  <a:pt x="125" y="114"/>
                </a:cubicBezTo>
                <a:cubicBezTo>
                  <a:pt x="119" y="114"/>
                  <a:pt x="119" y="114"/>
                  <a:pt x="119" y="114"/>
                </a:cubicBezTo>
                <a:cubicBezTo>
                  <a:pt x="118" y="114"/>
                  <a:pt x="117" y="113"/>
                  <a:pt x="117" y="111"/>
                </a:cubicBezTo>
                <a:cubicBezTo>
                  <a:pt x="117" y="110"/>
                  <a:pt x="118" y="108"/>
                  <a:pt x="119" y="108"/>
                </a:cubicBezTo>
                <a:close/>
                <a:moveTo>
                  <a:pt x="76" y="114"/>
                </a:moveTo>
                <a:cubicBezTo>
                  <a:pt x="71" y="114"/>
                  <a:pt x="71" y="114"/>
                  <a:pt x="71" y="114"/>
                </a:cubicBezTo>
                <a:cubicBezTo>
                  <a:pt x="69" y="114"/>
                  <a:pt x="68" y="113"/>
                  <a:pt x="68" y="111"/>
                </a:cubicBezTo>
                <a:cubicBezTo>
                  <a:pt x="68" y="110"/>
                  <a:pt x="69" y="108"/>
                  <a:pt x="71" y="108"/>
                </a:cubicBezTo>
                <a:cubicBezTo>
                  <a:pt x="76" y="108"/>
                  <a:pt x="76" y="108"/>
                  <a:pt x="76" y="108"/>
                </a:cubicBezTo>
                <a:cubicBezTo>
                  <a:pt x="77" y="108"/>
                  <a:pt x="79" y="110"/>
                  <a:pt x="79" y="111"/>
                </a:cubicBezTo>
                <a:cubicBezTo>
                  <a:pt x="79" y="113"/>
                  <a:pt x="77" y="114"/>
                  <a:pt x="76" y="114"/>
                </a:cubicBezTo>
                <a:close/>
                <a:moveTo>
                  <a:pt x="138" y="96"/>
                </a:moveTo>
                <a:cubicBezTo>
                  <a:pt x="138" y="91"/>
                  <a:pt x="138" y="91"/>
                  <a:pt x="138" y="91"/>
                </a:cubicBezTo>
                <a:cubicBezTo>
                  <a:pt x="138" y="89"/>
                  <a:pt x="140" y="88"/>
                  <a:pt x="141" y="88"/>
                </a:cubicBezTo>
                <a:cubicBezTo>
                  <a:pt x="143" y="88"/>
                  <a:pt x="144" y="89"/>
                  <a:pt x="144" y="91"/>
                </a:cubicBezTo>
                <a:cubicBezTo>
                  <a:pt x="144" y="96"/>
                  <a:pt x="144" y="96"/>
                  <a:pt x="144" y="96"/>
                </a:cubicBezTo>
                <a:cubicBezTo>
                  <a:pt x="144" y="97"/>
                  <a:pt x="143" y="99"/>
                  <a:pt x="141" y="99"/>
                </a:cubicBezTo>
                <a:cubicBezTo>
                  <a:pt x="140" y="99"/>
                  <a:pt x="138" y="97"/>
                  <a:pt x="138" y="96"/>
                </a:cubicBezTo>
                <a:close/>
                <a:moveTo>
                  <a:pt x="94" y="35"/>
                </a:moveTo>
                <a:cubicBezTo>
                  <a:pt x="93" y="34"/>
                  <a:pt x="92" y="33"/>
                  <a:pt x="93" y="31"/>
                </a:cubicBezTo>
                <a:cubicBezTo>
                  <a:pt x="94" y="30"/>
                  <a:pt x="96" y="30"/>
                  <a:pt x="97" y="31"/>
                </a:cubicBezTo>
                <a:cubicBezTo>
                  <a:pt x="101" y="34"/>
                  <a:pt x="101" y="34"/>
                  <a:pt x="101" y="34"/>
                </a:cubicBezTo>
                <a:cubicBezTo>
                  <a:pt x="103" y="35"/>
                  <a:pt x="103" y="36"/>
                  <a:pt x="102" y="38"/>
                </a:cubicBezTo>
                <a:cubicBezTo>
                  <a:pt x="101" y="38"/>
                  <a:pt x="101" y="39"/>
                  <a:pt x="100" y="39"/>
                </a:cubicBezTo>
                <a:cubicBezTo>
                  <a:pt x="99" y="39"/>
                  <a:pt x="99" y="39"/>
                  <a:pt x="98" y="38"/>
                </a:cubicBezTo>
                <a:lnTo>
                  <a:pt x="94" y="35"/>
                </a:lnTo>
                <a:close/>
                <a:moveTo>
                  <a:pt x="138" y="107"/>
                </a:moveTo>
                <a:cubicBezTo>
                  <a:pt x="138" y="105"/>
                  <a:pt x="140" y="104"/>
                  <a:pt x="141" y="104"/>
                </a:cubicBezTo>
                <a:cubicBezTo>
                  <a:pt x="143" y="104"/>
                  <a:pt x="144" y="105"/>
                  <a:pt x="144" y="107"/>
                </a:cubicBezTo>
                <a:cubicBezTo>
                  <a:pt x="144" y="114"/>
                  <a:pt x="144" y="114"/>
                  <a:pt x="144" y="114"/>
                </a:cubicBezTo>
                <a:cubicBezTo>
                  <a:pt x="136" y="114"/>
                  <a:pt x="136" y="114"/>
                  <a:pt x="136" y="114"/>
                </a:cubicBezTo>
                <a:cubicBezTo>
                  <a:pt x="134" y="114"/>
                  <a:pt x="133" y="113"/>
                  <a:pt x="133" y="111"/>
                </a:cubicBezTo>
                <a:cubicBezTo>
                  <a:pt x="133" y="110"/>
                  <a:pt x="134" y="108"/>
                  <a:pt x="136" y="108"/>
                </a:cubicBezTo>
                <a:cubicBezTo>
                  <a:pt x="138" y="108"/>
                  <a:pt x="138" y="108"/>
                  <a:pt x="138" y="108"/>
                </a:cubicBezTo>
                <a:lnTo>
                  <a:pt x="138" y="107"/>
                </a:lnTo>
                <a:close/>
                <a:moveTo>
                  <a:pt x="52" y="111"/>
                </a:moveTo>
                <a:cubicBezTo>
                  <a:pt x="52" y="110"/>
                  <a:pt x="53" y="108"/>
                  <a:pt x="54" y="108"/>
                </a:cubicBezTo>
                <a:cubicBezTo>
                  <a:pt x="60" y="108"/>
                  <a:pt x="60" y="108"/>
                  <a:pt x="60" y="108"/>
                </a:cubicBezTo>
                <a:cubicBezTo>
                  <a:pt x="61" y="108"/>
                  <a:pt x="62" y="110"/>
                  <a:pt x="62" y="111"/>
                </a:cubicBezTo>
                <a:cubicBezTo>
                  <a:pt x="62" y="113"/>
                  <a:pt x="61" y="114"/>
                  <a:pt x="60" y="114"/>
                </a:cubicBezTo>
                <a:cubicBezTo>
                  <a:pt x="54" y="114"/>
                  <a:pt x="54" y="114"/>
                  <a:pt x="54" y="114"/>
                </a:cubicBezTo>
                <a:cubicBezTo>
                  <a:pt x="53" y="114"/>
                  <a:pt x="52" y="113"/>
                  <a:pt x="52" y="111"/>
                </a:cubicBezTo>
                <a:close/>
                <a:moveTo>
                  <a:pt x="46" y="73"/>
                </a:moveTo>
                <a:cubicBezTo>
                  <a:pt x="46" y="68"/>
                  <a:pt x="46" y="68"/>
                  <a:pt x="46" y="68"/>
                </a:cubicBezTo>
                <a:cubicBezTo>
                  <a:pt x="46" y="66"/>
                  <a:pt x="47" y="65"/>
                  <a:pt x="49" y="65"/>
                </a:cubicBezTo>
                <a:cubicBezTo>
                  <a:pt x="50" y="65"/>
                  <a:pt x="52" y="66"/>
                  <a:pt x="52" y="68"/>
                </a:cubicBezTo>
                <a:cubicBezTo>
                  <a:pt x="52" y="73"/>
                  <a:pt x="52" y="73"/>
                  <a:pt x="52" y="73"/>
                </a:cubicBezTo>
                <a:cubicBezTo>
                  <a:pt x="52" y="75"/>
                  <a:pt x="50" y="76"/>
                  <a:pt x="49" y="76"/>
                </a:cubicBezTo>
                <a:cubicBezTo>
                  <a:pt x="47" y="76"/>
                  <a:pt x="46" y="75"/>
                  <a:pt x="46" y="73"/>
                </a:cubicBezTo>
                <a:close/>
                <a:moveTo>
                  <a:pt x="53" y="62"/>
                </a:moveTo>
                <a:cubicBezTo>
                  <a:pt x="52" y="61"/>
                  <a:pt x="53" y="59"/>
                  <a:pt x="54" y="58"/>
                </a:cubicBezTo>
                <a:cubicBezTo>
                  <a:pt x="58" y="55"/>
                  <a:pt x="58" y="55"/>
                  <a:pt x="58" y="55"/>
                </a:cubicBezTo>
                <a:cubicBezTo>
                  <a:pt x="60" y="54"/>
                  <a:pt x="61" y="54"/>
                  <a:pt x="62" y="56"/>
                </a:cubicBezTo>
                <a:cubicBezTo>
                  <a:pt x="63" y="57"/>
                  <a:pt x="63" y="59"/>
                  <a:pt x="61" y="59"/>
                </a:cubicBezTo>
                <a:cubicBezTo>
                  <a:pt x="57" y="63"/>
                  <a:pt x="57" y="63"/>
                  <a:pt x="57" y="63"/>
                </a:cubicBezTo>
                <a:cubicBezTo>
                  <a:pt x="57" y="63"/>
                  <a:pt x="56" y="63"/>
                  <a:pt x="55" y="63"/>
                </a:cubicBezTo>
                <a:cubicBezTo>
                  <a:pt x="55" y="63"/>
                  <a:pt x="54" y="63"/>
                  <a:pt x="53" y="62"/>
                </a:cubicBezTo>
                <a:close/>
                <a:moveTo>
                  <a:pt x="67" y="53"/>
                </a:moveTo>
                <a:cubicBezTo>
                  <a:pt x="66" y="51"/>
                  <a:pt x="66" y="50"/>
                  <a:pt x="67" y="49"/>
                </a:cubicBezTo>
                <a:cubicBezTo>
                  <a:pt x="72" y="46"/>
                  <a:pt x="72" y="46"/>
                  <a:pt x="72" y="46"/>
                </a:cubicBezTo>
                <a:cubicBezTo>
                  <a:pt x="73" y="45"/>
                  <a:pt x="75" y="45"/>
                  <a:pt x="75" y="46"/>
                </a:cubicBezTo>
                <a:cubicBezTo>
                  <a:pt x="76" y="48"/>
                  <a:pt x="76" y="49"/>
                  <a:pt x="75" y="50"/>
                </a:cubicBezTo>
                <a:cubicBezTo>
                  <a:pt x="70" y="53"/>
                  <a:pt x="70" y="53"/>
                  <a:pt x="70" y="53"/>
                </a:cubicBezTo>
                <a:cubicBezTo>
                  <a:pt x="70" y="54"/>
                  <a:pt x="69" y="54"/>
                  <a:pt x="69" y="54"/>
                </a:cubicBezTo>
                <a:cubicBezTo>
                  <a:pt x="68" y="54"/>
                  <a:pt x="67" y="53"/>
                  <a:pt x="67" y="53"/>
                </a:cubicBezTo>
                <a:close/>
                <a:moveTo>
                  <a:pt x="46" y="89"/>
                </a:moveTo>
                <a:cubicBezTo>
                  <a:pt x="46" y="84"/>
                  <a:pt x="46" y="84"/>
                  <a:pt x="46" y="84"/>
                </a:cubicBezTo>
                <a:cubicBezTo>
                  <a:pt x="46" y="83"/>
                  <a:pt x="47" y="81"/>
                  <a:pt x="49" y="81"/>
                </a:cubicBezTo>
                <a:cubicBezTo>
                  <a:pt x="50" y="81"/>
                  <a:pt x="52" y="83"/>
                  <a:pt x="52" y="84"/>
                </a:cubicBezTo>
                <a:cubicBezTo>
                  <a:pt x="52" y="89"/>
                  <a:pt x="52" y="89"/>
                  <a:pt x="52" y="89"/>
                </a:cubicBezTo>
                <a:cubicBezTo>
                  <a:pt x="52" y="91"/>
                  <a:pt x="50" y="92"/>
                  <a:pt x="49" y="92"/>
                </a:cubicBezTo>
                <a:cubicBezTo>
                  <a:pt x="47" y="92"/>
                  <a:pt x="46" y="91"/>
                  <a:pt x="46" y="89"/>
                </a:cubicBezTo>
                <a:close/>
                <a:moveTo>
                  <a:pt x="80" y="43"/>
                </a:moveTo>
                <a:cubicBezTo>
                  <a:pt x="79" y="42"/>
                  <a:pt x="79" y="40"/>
                  <a:pt x="80" y="39"/>
                </a:cubicBezTo>
                <a:cubicBezTo>
                  <a:pt x="85" y="36"/>
                  <a:pt x="85" y="36"/>
                  <a:pt x="85" y="36"/>
                </a:cubicBezTo>
                <a:cubicBezTo>
                  <a:pt x="86" y="35"/>
                  <a:pt x="88" y="36"/>
                  <a:pt x="89" y="37"/>
                </a:cubicBezTo>
                <a:cubicBezTo>
                  <a:pt x="90" y="38"/>
                  <a:pt x="89" y="40"/>
                  <a:pt x="88" y="41"/>
                </a:cubicBezTo>
                <a:cubicBezTo>
                  <a:pt x="84" y="44"/>
                  <a:pt x="84" y="44"/>
                  <a:pt x="84" y="44"/>
                </a:cubicBezTo>
                <a:cubicBezTo>
                  <a:pt x="83" y="44"/>
                  <a:pt x="83" y="44"/>
                  <a:pt x="82" y="44"/>
                </a:cubicBezTo>
                <a:cubicBezTo>
                  <a:pt x="81" y="44"/>
                  <a:pt x="80" y="44"/>
                  <a:pt x="80" y="43"/>
                </a:cubicBezTo>
                <a:close/>
                <a:moveTo>
                  <a:pt x="87" y="108"/>
                </a:moveTo>
                <a:cubicBezTo>
                  <a:pt x="92" y="108"/>
                  <a:pt x="92" y="108"/>
                  <a:pt x="92" y="108"/>
                </a:cubicBezTo>
                <a:cubicBezTo>
                  <a:pt x="94" y="108"/>
                  <a:pt x="95" y="110"/>
                  <a:pt x="95" y="111"/>
                </a:cubicBezTo>
                <a:cubicBezTo>
                  <a:pt x="95" y="113"/>
                  <a:pt x="94" y="114"/>
                  <a:pt x="92" y="114"/>
                </a:cubicBezTo>
                <a:cubicBezTo>
                  <a:pt x="87" y="114"/>
                  <a:pt x="87" y="114"/>
                  <a:pt x="87" y="114"/>
                </a:cubicBezTo>
                <a:cubicBezTo>
                  <a:pt x="85" y="114"/>
                  <a:pt x="84" y="113"/>
                  <a:pt x="84" y="111"/>
                </a:cubicBezTo>
                <a:cubicBezTo>
                  <a:pt x="84" y="110"/>
                  <a:pt x="85" y="108"/>
                  <a:pt x="87" y="108"/>
                </a:cubicBezTo>
                <a:close/>
                <a:moveTo>
                  <a:pt x="46" y="106"/>
                </a:moveTo>
                <a:cubicBezTo>
                  <a:pt x="46" y="100"/>
                  <a:pt x="46" y="100"/>
                  <a:pt x="46" y="100"/>
                </a:cubicBezTo>
                <a:cubicBezTo>
                  <a:pt x="46" y="99"/>
                  <a:pt x="47" y="98"/>
                  <a:pt x="49" y="98"/>
                </a:cubicBezTo>
                <a:cubicBezTo>
                  <a:pt x="50" y="98"/>
                  <a:pt x="52" y="99"/>
                  <a:pt x="52" y="100"/>
                </a:cubicBezTo>
                <a:cubicBezTo>
                  <a:pt x="52" y="106"/>
                  <a:pt x="52" y="106"/>
                  <a:pt x="52" y="106"/>
                </a:cubicBezTo>
                <a:cubicBezTo>
                  <a:pt x="52" y="107"/>
                  <a:pt x="50" y="108"/>
                  <a:pt x="49" y="108"/>
                </a:cubicBezTo>
                <a:cubicBezTo>
                  <a:pt x="47" y="108"/>
                  <a:pt x="46" y="107"/>
                  <a:pt x="46" y="106"/>
                </a:cubicBezTo>
                <a:close/>
                <a:moveTo>
                  <a:pt x="111" y="146"/>
                </a:moveTo>
                <a:cubicBezTo>
                  <a:pt x="146" y="146"/>
                  <a:pt x="146" y="146"/>
                  <a:pt x="146" y="146"/>
                </a:cubicBezTo>
                <a:cubicBezTo>
                  <a:pt x="146" y="125"/>
                  <a:pt x="146" y="125"/>
                  <a:pt x="146" y="125"/>
                </a:cubicBezTo>
                <a:cubicBezTo>
                  <a:pt x="111" y="125"/>
                  <a:pt x="111" y="125"/>
                  <a:pt x="111" y="125"/>
                </a:cubicBezTo>
                <a:lnTo>
                  <a:pt x="111" y="146"/>
                </a:lnTo>
                <a:close/>
                <a:moveTo>
                  <a:pt x="117" y="130"/>
                </a:moveTo>
                <a:cubicBezTo>
                  <a:pt x="141" y="130"/>
                  <a:pt x="141" y="130"/>
                  <a:pt x="141" y="130"/>
                </a:cubicBezTo>
                <a:cubicBezTo>
                  <a:pt x="141" y="141"/>
                  <a:pt x="141" y="141"/>
                  <a:pt x="141" y="141"/>
                </a:cubicBezTo>
                <a:cubicBezTo>
                  <a:pt x="117" y="141"/>
                  <a:pt x="117" y="141"/>
                  <a:pt x="117" y="141"/>
                </a:cubicBezTo>
                <a:lnTo>
                  <a:pt x="117" y="130"/>
                </a:lnTo>
                <a:close/>
                <a:moveTo>
                  <a:pt x="62" y="79"/>
                </a:moveTo>
                <a:cubicBezTo>
                  <a:pt x="64" y="79"/>
                  <a:pt x="65" y="80"/>
                  <a:pt x="65" y="81"/>
                </a:cubicBezTo>
                <a:cubicBezTo>
                  <a:pt x="65" y="87"/>
                  <a:pt x="65" y="87"/>
                  <a:pt x="65" y="87"/>
                </a:cubicBezTo>
                <a:cubicBezTo>
                  <a:pt x="65" y="88"/>
                  <a:pt x="64" y="89"/>
                  <a:pt x="62" y="89"/>
                </a:cubicBezTo>
                <a:cubicBezTo>
                  <a:pt x="61" y="89"/>
                  <a:pt x="60" y="88"/>
                  <a:pt x="60" y="87"/>
                </a:cubicBezTo>
                <a:cubicBezTo>
                  <a:pt x="60" y="81"/>
                  <a:pt x="60" y="81"/>
                  <a:pt x="60" y="81"/>
                </a:cubicBezTo>
                <a:cubicBezTo>
                  <a:pt x="60" y="80"/>
                  <a:pt x="61" y="79"/>
                  <a:pt x="62" y="79"/>
                </a:cubicBezTo>
                <a:close/>
                <a:moveTo>
                  <a:pt x="87" y="76"/>
                </a:moveTo>
                <a:cubicBezTo>
                  <a:pt x="87" y="81"/>
                  <a:pt x="87" y="81"/>
                  <a:pt x="87" y="81"/>
                </a:cubicBezTo>
                <a:cubicBezTo>
                  <a:pt x="87" y="83"/>
                  <a:pt x="86" y="84"/>
                  <a:pt x="84" y="84"/>
                </a:cubicBezTo>
                <a:cubicBezTo>
                  <a:pt x="83" y="84"/>
                  <a:pt x="81" y="83"/>
                  <a:pt x="81" y="81"/>
                </a:cubicBezTo>
                <a:cubicBezTo>
                  <a:pt x="81" y="76"/>
                  <a:pt x="81" y="76"/>
                  <a:pt x="81" y="76"/>
                </a:cubicBezTo>
                <a:cubicBezTo>
                  <a:pt x="81" y="74"/>
                  <a:pt x="83" y="73"/>
                  <a:pt x="84" y="73"/>
                </a:cubicBezTo>
                <a:cubicBezTo>
                  <a:pt x="86" y="73"/>
                  <a:pt x="87" y="74"/>
                  <a:pt x="87" y="76"/>
                </a:cubicBezTo>
                <a:close/>
                <a:moveTo>
                  <a:pt x="65" y="76"/>
                </a:moveTo>
                <a:cubicBezTo>
                  <a:pt x="65" y="74"/>
                  <a:pt x="66" y="73"/>
                  <a:pt x="68" y="73"/>
                </a:cubicBezTo>
                <a:cubicBezTo>
                  <a:pt x="73" y="73"/>
                  <a:pt x="73" y="73"/>
                  <a:pt x="73" y="73"/>
                </a:cubicBezTo>
                <a:cubicBezTo>
                  <a:pt x="75" y="73"/>
                  <a:pt x="76" y="74"/>
                  <a:pt x="76" y="76"/>
                </a:cubicBezTo>
                <a:cubicBezTo>
                  <a:pt x="76" y="77"/>
                  <a:pt x="75" y="79"/>
                  <a:pt x="73" y="79"/>
                </a:cubicBezTo>
                <a:cubicBezTo>
                  <a:pt x="68" y="79"/>
                  <a:pt x="68" y="79"/>
                  <a:pt x="68" y="79"/>
                </a:cubicBezTo>
                <a:cubicBezTo>
                  <a:pt x="66" y="79"/>
                  <a:pt x="65" y="77"/>
                  <a:pt x="65" y="76"/>
                </a:cubicBezTo>
                <a:close/>
                <a:moveTo>
                  <a:pt x="68" y="100"/>
                </a:moveTo>
                <a:cubicBezTo>
                  <a:pt x="62" y="100"/>
                  <a:pt x="62" y="100"/>
                  <a:pt x="62" y="100"/>
                </a:cubicBezTo>
                <a:cubicBezTo>
                  <a:pt x="61" y="100"/>
                  <a:pt x="60" y="99"/>
                  <a:pt x="60" y="98"/>
                </a:cubicBezTo>
                <a:cubicBezTo>
                  <a:pt x="60" y="96"/>
                  <a:pt x="61" y="95"/>
                  <a:pt x="62" y="95"/>
                </a:cubicBezTo>
                <a:cubicBezTo>
                  <a:pt x="68" y="95"/>
                  <a:pt x="68" y="95"/>
                  <a:pt x="68" y="95"/>
                </a:cubicBezTo>
                <a:cubicBezTo>
                  <a:pt x="69" y="95"/>
                  <a:pt x="71" y="96"/>
                  <a:pt x="71" y="98"/>
                </a:cubicBezTo>
                <a:cubicBezTo>
                  <a:pt x="71" y="99"/>
                  <a:pt x="69" y="100"/>
                  <a:pt x="68" y="100"/>
                </a:cubicBezTo>
                <a:close/>
                <a:moveTo>
                  <a:pt x="76" y="98"/>
                </a:moveTo>
                <a:cubicBezTo>
                  <a:pt x="76" y="96"/>
                  <a:pt x="77" y="95"/>
                  <a:pt x="79" y="95"/>
                </a:cubicBezTo>
                <a:cubicBezTo>
                  <a:pt x="81" y="95"/>
                  <a:pt x="81" y="95"/>
                  <a:pt x="81" y="95"/>
                </a:cubicBezTo>
                <a:cubicBezTo>
                  <a:pt x="81" y="92"/>
                  <a:pt x="81" y="92"/>
                  <a:pt x="81" y="92"/>
                </a:cubicBezTo>
                <a:cubicBezTo>
                  <a:pt x="81" y="91"/>
                  <a:pt x="83" y="89"/>
                  <a:pt x="84" y="89"/>
                </a:cubicBezTo>
                <a:cubicBezTo>
                  <a:pt x="86" y="89"/>
                  <a:pt x="87" y="91"/>
                  <a:pt x="87" y="92"/>
                </a:cubicBezTo>
                <a:cubicBezTo>
                  <a:pt x="87" y="98"/>
                  <a:pt x="87" y="98"/>
                  <a:pt x="87" y="98"/>
                </a:cubicBezTo>
                <a:cubicBezTo>
                  <a:pt x="87" y="99"/>
                  <a:pt x="86" y="100"/>
                  <a:pt x="84" y="100"/>
                </a:cubicBezTo>
                <a:cubicBezTo>
                  <a:pt x="79" y="100"/>
                  <a:pt x="79" y="100"/>
                  <a:pt x="79" y="100"/>
                </a:cubicBezTo>
                <a:cubicBezTo>
                  <a:pt x="77" y="100"/>
                  <a:pt x="76" y="99"/>
                  <a:pt x="76" y="98"/>
                </a:cubicBezTo>
                <a:close/>
                <a:moveTo>
                  <a:pt x="111" y="73"/>
                </a:moveTo>
                <a:cubicBezTo>
                  <a:pt x="117" y="73"/>
                  <a:pt x="117" y="73"/>
                  <a:pt x="117" y="73"/>
                </a:cubicBezTo>
                <a:cubicBezTo>
                  <a:pt x="118" y="73"/>
                  <a:pt x="119" y="74"/>
                  <a:pt x="119" y="76"/>
                </a:cubicBezTo>
                <a:cubicBezTo>
                  <a:pt x="119" y="77"/>
                  <a:pt x="118" y="79"/>
                  <a:pt x="117" y="79"/>
                </a:cubicBezTo>
                <a:cubicBezTo>
                  <a:pt x="111" y="79"/>
                  <a:pt x="111" y="79"/>
                  <a:pt x="111" y="79"/>
                </a:cubicBezTo>
                <a:cubicBezTo>
                  <a:pt x="110" y="79"/>
                  <a:pt x="108" y="77"/>
                  <a:pt x="108" y="76"/>
                </a:cubicBezTo>
                <a:cubicBezTo>
                  <a:pt x="108" y="74"/>
                  <a:pt x="110" y="73"/>
                  <a:pt x="111" y="73"/>
                </a:cubicBezTo>
                <a:close/>
                <a:moveTo>
                  <a:pt x="127" y="73"/>
                </a:moveTo>
                <a:cubicBezTo>
                  <a:pt x="129" y="73"/>
                  <a:pt x="130" y="74"/>
                  <a:pt x="130" y="76"/>
                </a:cubicBezTo>
                <a:cubicBezTo>
                  <a:pt x="130" y="81"/>
                  <a:pt x="130" y="81"/>
                  <a:pt x="130" y="81"/>
                </a:cubicBezTo>
                <a:cubicBezTo>
                  <a:pt x="130" y="83"/>
                  <a:pt x="129" y="84"/>
                  <a:pt x="127" y="84"/>
                </a:cubicBezTo>
                <a:cubicBezTo>
                  <a:pt x="126" y="84"/>
                  <a:pt x="125" y="83"/>
                  <a:pt x="125" y="81"/>
                </a:cubicBezTo>
                <a:cubicBezTo>
                  <a:pt x="125" y="76"/>
                  <a:pt x="125" y="76"/>
                  <a:pt x="125" y="76"/>
                </a:cubicBezTo>
                <a:cubicBezTo>
                  <a:pt x="125" y="74"/>
                  <a:pt x="126" y="73"/>
                  <a:pt x="127" y="73"/>
                </a:cubicBezTo>
                <a:close/>
                <a:moveTo>
                  <a:pt x="122" y="100"/>
                </a:moveTo>
                <a:cubicBezTo>
                  <a:pt x="121" y="100"/>
                  <a:pt x="119" y="99"/>
                  <a:pt x="119" y="98"/>
                </a:cubicBezTo>
                <a:cubicBezTo>
                  <a:pt x="119" y="96"/>
                  <a:pt x="121" y="95"/>
                  <a:pt x="122" y="95"/>
                </a:cubicBezTo>
                <a:cubicBezTo>
                  <a:pt x="125" y="95"/>
                  <a:pt x="125" y="95"/>
                  <a:pt x="125" y="95"/>
                </a:cubicBezTo>
                <a:cubicBezTo>
                  <a:pt x="125" y="92"/>
                  <a:pt x="125" y="92"/>
                  <a:pt x="125" y="92"/>
                </a:cubicBezTo>
                <a:cubicBezTo>
                  <a:pt x="125" y="91"/>
                  <a:pt x="126" y="89"/>
                  <a:pt x="127" y="89"/>
                </a:cubicBezTo>
                <a:cubicBezTo>
                  <a:pt x="129" y="89"/>
                  <a:pt x="130" y="91"/>
                  <a:pt x="130" y="92"/>
                </a:cubicBezTo>
                <a:cubicBezTo>
                  <a:pt x="130" y="98"/>
                  <a:pt x="130" y="98"/>
                  <a:pt x="130" y="98"/>
                </a:cubicBezTo>
                <a:cubicBezTo>
                  <a:pt x="130" y="99"/>
                  <a:pt x="129" y="100"/>
                  <a:pt x="127" y="100"/>
                </a:cubicBezTo>
                <a:lnTo>
                  <a:pt x="122" y="100"/>
                </a:lnTo>
                <a:close/>
                <a:moveTo>
                  <a:pt x="103" y="87"/>
                </a:moveTo>
                <a:cubicBezTo>
                  <a:pt x="103" y="81"/>
                  <a:pt x="103" y="81"/>
                  <a:pt x="103" y="81"/>
                </a:cubicBezTo>
                <a:cubicBezTo>
                  <a:pt x="103" y="80"/>
                  <a:pt x="104" y="79"/>
                  <a:pt x="106" y="79"/>
                </a:cubicBezTo>
                <a:cubicBezTo>
                  <a:pt x="107" y="79"/>
                  <a:pt x="108" y="80"/>
                  <a:pt x="108" y="81"/>
                </a:cubicBezTo>
                <a:cubicBezTo>
                  <a:pt x="108" y="87"/>
                  <a:pt x="108" y="87"/>
                  <a:pt x="108" y="87"/>
                </a:cubicBezTo>
                <a:cubicBezTo>
                  <a:pt x="108" y="88"/>
                  <a:pt x="107" y="89"/>
                  <a:pt x="106" y="89"/>
                </a:cubicBezTo>
                <a:cubicBezTo>
                  <a:pt x="104" y="89"/>
                  <a:pt x="103" y="88"/>
                  <a:pt x="103" y="87"/>
                </a:cubicBezTo>
                <a:close/>
                <a:moveTo>
                  <a:pt x="103" y="98"/>
                </a:moveTo>
                <a:cubicBezTo>
                  <a:pt x="103" y="96"/>
                  <a:pt x="104" y="95"/>
                  <a:pt x="106" y="95"/>
                </a:cubicBezTo>
                <a:cubicBezTo>
                  <a:pt x="111" y="95"/>
                  <a:pt x="111" y="95"/>
                  <a:pt x="111" y="95"/>
                </a:cubicBezTo>
                <a:cubicBezTo>
                  <a:pt x="113" y="95"/>
                  <a:pt x="114" y="96"/>
                  <a:pt x="114" y="98"/>
                </a:cubicBezTo>
                <a:cubicBezTo>
                  <a:pt x="114" y="99"/>
                  <a:pt x="113" y="100"/>
                  <a:pt x="111" y="100"/>
                </a:cubicBezTo>
                <a:cubicBezTo>
                  <a:pt x="106" y="100"/>
                  <a:pt x="106" y="100"/>
                  <a:pt x="106" y="100"/>
                </a:cubicBezTo>
                <a:cubicBezTo>
                  <a:pt x="104" y="100"/>
                  <a:pt x="103" y="99"/>
                  <a:pt x="103" y="98"/>
                </a:cubicBezTo>
                <a:close/>
                <a:moveTo>
                  <a:pt x="106" y="127"/>
                </a:moveTo>
                <a:cubicBezTo>
                  <a:pt x="106" y="129"/>
                  <a:pt x="105" y="130"/>
                  <a:pt x="103" y="130"/>
                </a:cubicBezTo>
                <a:cubicBezTo>
                  <a:pt x="89" y="130"/>
                  <a:pt x="89" y="130"/>
                  <a:pt x="89" y="130"/>
                </a:cubicBezTo>
                <a:cubicBezTo>
                  <a:pt x="88" y="130"/>
                  <a:pt x="87" y="129"/>
                  <a:pt x="87" y="127"/>
                </a:cubicBezTo>
                <a:cubicBezTo>
                  <a:pt x="87" y="126"/>
                  <a:pt x="88" y="125"/>
                  <a:pt x="89" y="125"/>
                </a:cubicBezTo>
                <a:cubicBezTo>
                  <a:pt x="103" y="125"/>
                  <a:pt x="103" y="125"/>
                  <a:pt x="103" y="125"/>
                </a:cubicBezTo>
                <a:cubicBezTo>
                  <a:pt x="105" y="125"/>
                  <a:pt x="106" y="126"/>
                  <a:pt x="106" y="127"/>
                </a:cubicBezTo>
                <a:close/>
                <a:moveTo>
                  <a:pt x="106" y="136"/>
                </a:moveTo>
                <a:cubicBezTo>
                  <a:pt x="106" y="137"/>
                  <a:pt x="105" y="138"/>
                  <a:pt x="103" y="138"/>
                </a:cubicBezTo>
                <a:cubicBezTo>
                  <a:pt x="84" y="138"/>
                  <a:pt x="84" y="138"/>
                  <a:pt x="84" y="138"/>
                </a:cubicBezTo>
                <a:cubicBezTo>
                  <a:pt x="83" y="138"/>
                  <a:pt x="81" y="137"/>
                  <a:pt x="81" y="136"/>
                </a:cubicBezTo>
                <a:cubicBezTo>
                  <a:pt x="81" y="134"/>
                  <a:pt x="83" y="133"/>
                  <a:pt x="84" y="133"/>
                </a:cubicBezTo>
                <a:cubicBezTo>
                  <a:pt x="103" y="133"/>
                  <a:pt x="103" y="133"/>
                  <a:pt x="103" y="133"/>
                </a:cubicBezTo>
                <a:cubicBezTo>
                  <a:pt x="105" y="133"/>
                  <a:pt x="106" y="134"/>
                  <a:pt x="106" y="136"/>
                </a:cubicBezTo>
                <a:close/>
                <a:moveTo>
                  <a:pt x="106" y="144"/>
                </a:moveTo>
                <a:cubicBezTo>
                  <a:pt x="106" y="145"/>
                  <a:pt x="105" y="146"/>
                  <a:pt x="103" y="146"/>
                </a:cubicBezTo>
                <a:cubicBezTo>
                  <a:pt x="76" y="146"/>
                  <a:pt x="76" y="146"/>
                  <a:pt x="76" y="146"/>
                </a:cubicBezTo>
                <a:cubicBezTo>
                  <a:pt x="74" y="146"/>
                  <a:pt x="73" y="145"/>
                  <a:pt x="73" y="144"/>
                </a:cubicBezTo>
                <a:cubicBezTo>
                  <a:pt x="73" y="142"/>
                  <a:pt x="74" y="141"/>
                  <a:pt x="76" y="141"/>
                </a:cubicBezTo>
                <a:cubicBezTo>
                  <a:pt x="103" y="141"/>
                  <a:pt x="103" y="141"/>
                  <a:pt x="103" y="141"/>
                </a:cubicBezTo>
                <a:cubicBezTo>
                  <a:pt x="105" y="141"/>
                  <a:pt x="106" y="142"/>
                  <a:pt x="106" y="144"/>
                </a:cubicBezTo>
                <a:close/>
                <a:moveTo>
                  <a:pt x="11" y="11"/>
                </a:moveTo>
                <a:cubicBezTo>
                  <a:pt x="12" y="11"/>
                  <a:pt x="14" y="12"/>
                  <a:pt x="14" y="14"/>
                </a:cubicBezTo>
                <a:cubicBezTo>
                  <a:pt x="14" y="15"/>
                  <a:pt x="12" y="16"/>
                  <a:pt x="11" y="16"/>
                </a:cubicBezTo>
                <a:cubicBezTo>
                  <a:pt x="9" y="16"/>
                  <a:pt x="8" y="15"/>
                  <a:pt x="8" y="14"/>
                </a:cubicBezTo>
                <a:cubicBezTo>
                  <a:pt x="8" y="12"/>
                  <a:pt x="9" y="11"/>
                  <a:pt x="11" y="11"/>
                </a:cubicBezTo>
                <a:close/>
                <a:moveTo>
                  <a:pt x="27" y="11"/>
                </a:moveTo>
                <a:cubicBezTo>
                  <a:pt x="29" y="11"/>
                  <a:pt x="30" y="12"/>
                  <a:pt x="30" y="14"/>
                </a:cubicBezTo>
                <a:cubicBezTo>
                  <a:pt x="30" y="15"/>
                  <a:pt x="29" y="16"/>
                  <a:pt x="27" y="16"/>
                </a:cubicBezTo>
                <a:cubicBezTo>
                  <a:pt x="26" y="16"/>
                  <a:pt x="24" y="15"/>
                  <a:pt x="24" y="14"/>
                </a:cubicBezTo>
                <a:cubicBezTo>
                  <a:pt x="24" y="12"/>
                  <a:pt x="26" y="11"/>
                  <a:pt x="27" y="11"/>
                </a:cubicBezTo>
                <a:close/>
                <a:moveTo>
                  <a:pt x="19" y="19"/>
                </a:moveTo>
                <a:cubicBezTo>
                  <a:pt x="20" y="19"/>
                  <a:pt x="22" y="20"/>
                  <a:pt x="22" y="22"/>
                </a:cubicBezTo>
                <a:cubicBezTo>
                  <a:pt x="22" y="23"/>
                  <a:pt x="20" y="24"/>
                  <a:pt x="19" y="24"/>
                </a:cubicBezTo>
                <a:cubicBezTo>
                  <a:pt x="17" y="24"/>
                  <a:pt x="16" y="23"/>
                  <a:pt x="16" y="22"/>
                </a:cubicBezTo>
                <a:cubicBezTo>
                  <a:pt x="16" y="20"/>
                  <a:pt x="17" y="19"/>
                  <a:pt x="19" y="19"/>
                </a:cubicBezTo>
                <a:close/>
                <a:moveTo>
                  <a:pt x="11" y="27"/>
                </a:moveTo>
                <a:cubicBezTo>
                  <a:pt x="12" y="27"/>
                  <a:pt x="14" y="28"/>
                  <a:pt x="14" y="30"/>
                </a:cubicBezTo>
                <a:cubicBezTo>
                  <a:pt x="14" y="31"/>
                  <a:pt x="12" y="33"/>
                  <a:pt x="11" y="33"/>
                </a:cubicBezTo>
                <a:cubicBezTo>
                  <a:pt x="9" y="33"/>
                  <a:pt x="8" y="31"/>
                  <a:pt x="8" y="30"/>
                </a:cubicBezTo>
                <a:cubicBezTo>
                  <a:pt x="8" y="28"/>
                  <a:pt x="9" y="27"/>
                  <a:pt x="11" y="27"/>
                </a:cubicBezTo>
                <a:close/>
                <a:moveTo>
                  <a:pt x="27" y="27"/>
                </a:moveTo>
                <a:cubicBezTo>
                  <a:pt x="29" y="27"/>
                  <a:pt x="30" y="28"/>
                  <a:pt x="30" y="30"/>
                </a:cubicBezTo>
                <a:cubicBezTo>
                  <a:pt x="30" y="31"/>
                  <a:pt x="29" y="33"/>
                  <a:pt x="27" y="33"/>
                </a:cubicBezTo>
                <a:cubicBezTo>
                  <a:pt x="26" y="33"/>
                  <a:pt x="24" y="31"/>
                  <a:pt x="24" y="30"/>
                </a:cubicBezTo>
                <a:cubicBezTo>
                  <a:pt x="24" y="28"/>
                  <a:pt x="26" y="27"/>
                  <a:pt x="27" y="27"/>
                </a:cubicBezTo>
                <a:close/>
                <a:moveTo>
                  <a:pt x="11" y="43"/>
                </a:moveTo>
                <a:cubicBezTo>
                  <a:pt x="12" y="43"/>
                  <a:pt x="14" y="45"/>
                  <a:pt x="14" y="46"/>
                </a:cubicBezTo>
                <a:cubicBezTo>
                  <a:pt x="14" y="48"/>
                  <a:pt x="12" y="49"/>
                  <a:pt x="11" y="49"/>
                </a:cubicBezTo>
                <a:cubicBezTo>
                  <a:pt x="9" y="49"/>
                  <a:pt x="8" y="48"/>
                  <a:pt x="8" y="46"/>
                </a:cubicBezTo>
                <a:cubicBezTo>
                  <a:pt x="8" y="45"/>
                  <a:pt x="9" y="43"/>
                  <a:pt x="11" y="43"/>
                </a:cubicBezTo>
                <a:close/>
                <a:moveTo>
                  <a:pt x="27" y="43"/>
                </a:moveTo>
                <a:cubicBezTo>
                  <a:pt x="29" y="43"/>
                  <a:pt x="30" y="45"/>
                  <a:pt x="30" y="46"/>
                </a:cubicBezTo>
                <a:cubicBezTo>
                  <a:pt x="30" y="48"/>
                  <a:pt x="29" y="49"/>
                  <a:pt x="27" y="49"/>
                </a:cubicBezTo>
                <a:cubicBezTo>
                  <a:pt x="26" y="49"/>
                  <a:pt x="24" y="48"/>
                  <a:pt x="24" y="46"/>
                </a:cubicBezTo>
                <a:cubicBezTo>
                  <a:pt x="24" y="45"/>
                  <a:pt x="26" y="43"/>
                  <a:pt x="27" y="43"/>
                </a:cubicBezTo>
                <a:close/>
                <a:moveTo>
                  <a:pt x="19" y="35"/>
                </a:moveTo>
                <a:cubicBezTo>
                  <a:pt x="20" y="35"/>
                  <a:pt x="22" y="36"/>
                  <a:pt x="22" y="38"/>
                </a:cubicBezTo>
                <a:cubicBezTo>
                  <a:pt x="22" y="39"/>
                  <a:pt x="20" y="41"/>
                  <a:pt x="19" y="41"/>
                </a:cubicBezTo>
                <a:cubicBezTo>
                  <a:pt x="17" y="41"/>
                  <a:pt x="16" y="39"/>
                  <a:pt x="16" y="38"/>
                </a:cubicBezTo>
                <a:cubicBezTo>
                  <a:pt x="16" y="36"/>
                  <a:pt x="17" y="35"/>
                  <a:pt x="19" y="35"/>
                </a:cubicBezTo>
                <a:close/>
                <a:moveTo>
                  <a:pt x="19" y="52"/>
                </a:moveTo>
                <a:cubicBezTo>
                  <a:pt x="20" y="52"/>
                  <a:pt x="22" y="53"/>
                  <a:pt x="22" y="54"/>
                </a:cubicBezTo>
                <a:cubicBezTo>
                  <a:pt x="22" y="56"/>
                  <a:pt x="20" y="57"/>
                  <a:pt x="19" y="57"/>
                </a:cubicBezTo>
                <a:cubicBezTo>
                  <a:pt x="17" y="57"/>
                  <a:pt x="16" y="56"/>
                  <a:pt x="16" y="54"/>
                </a:cubicBezTo>
                <a:cubicBezTo>
                  <a:pt x="16" y="53"/>
                  <a:pt x="17" y="52"/>
                  <a:pt x="19" y="52"/>
                </a:cubicBezTo>
                <a:close/>
                <a:moveTo>
                  <a:pt x="11" y="60"/>
                </a:moveTo>
                <a:cubicBezTo>
                  <a:pt x="12" y="60"/>
                  <a:pt x="14" y="61"/>
                  <a:pt x="14" y="62"/>
                </a:cubicBezTo>
                <a:cubicBezTo>
                  <a:pt x="14" y="64"/>
                  <a:pt x="12" y="65"/>
                  <a:pt x="11" y="65"/>
                </a:cubicBezTo>
                <a:cubicBezTo>
                  <a:pt x="9" y="65"/>
                  <a:pt x="8" y="64"/>
                  <a:pt x="8" y="62"/>
                </a:cubicBezTo>
                <a:cubicBezTo>
                  <a:pt x="8" y="61"/>
                  <a:pt x="9" y="60"/>
                  <a:pt x="11" y="60"/>
                </a:cubicBezTo>
                <a:close/>
                <a:moveTo>
                  <a:pt x="27" y="60"/>
                </a:moveTo>
                <a:cubicBezTo>
                  <a:pt x="29" y="60"/>
                  <a:pt x="30" y="61"/>
                  <a:pt x="30" y="62"/>
                </a:cubicBezTo>
                <a:cubicBezTo>
                  <a:pt x="30" y="64"/>
                  <a:pt x="29" y="65"/>
                  <a:pt x="27" y="65"/>
                </a:cubicBezTo>
                <a:cubicBezTo>
                  <a:pt x="26" y="65"/>
                  <a:pt x="24" y="64"/>
                  <a:pt x="24" y="62"/>
                </a:cubicBezTo>
                <a:cubicBezTo>
                  <a:pt x="24" y="61"/>
                  <a:pt x="26" y="60"/>
                  <a:pt x="27" y="60"/>
                </a:cubicBezTo>
                <a:close/>
                <a:moveTo>
                  <a:pt x="11" y="76"/>
                </a:moveTo>
                <a:cubicBezTo>
                  <a:pt x="12" y="76"/>
                  <a:pt x="14" y="77"/>
                  <a:pt x="14" y="79"/>
                </a:cubicBezTo>
                <a:cubicBezTo>
                  <a:pt x="14" y="80"/>
                  <a:pt x="12" y="81"/>
                  <a:pt x="11" y="81"/>
                </a:cubicBezTo>
                <a:cubicBezTo>
                  <a:pt x="9" y="81"/>
                  <a:pt x="8" y="80"/>
                  <a:pt x="8" y="79"/>
                </a:cubicBezTo>
                <a:cubicBezTo>
                  <a:pt x="8" y="77"/>
                  <a:pt x="9" y="76"/>
                  <a:pt x="11" y="76"/>
                </a:cubicBezTo>
                <a:close/>
                <a:moveTo>
                  <a:pt x="27" y="76"/>
                </a:moveTo>
                <a:cubicBezTo>
                  <a:pt x="29" y="76"/>
                  <a:pt x="30" y="77"/>
                  <a:pt x="30" y="79"/>
                </a:cubicBezTo>
                <a:cubicBezTo>
                  <a:pt x="30" y="80"/>
                  <a:pt x="29" y="81"/>
                  <a:pt x="27" y="81"/>
                </a:cubicBezTo>
                <a:cubicBezTo>
                  <a:pt x="26" y="81"/>
                  <a:pt x="24" y="80"/>
                  <a:pt x="24" y="79"/>
                </a:cubicBezTo>
                <a:cubicBezTo>
                  <a:pt x="24" y="77"/>
                  <a:pt x="26" y="76"/>
                  <a:pt x="27" y="76"/>
                </a:cubicBezTo>
                <a:close/>
                <a:moveTo>
                  <a:pt x="19" y="68"/>
                </a:moveTo>
                <a:cubicBezTo>
                  <a:pt x="20" y="68"/>
                  <a:pt x="22" y="69"/>
                  <a:pt x="22" y="71"/>
                </a:cubicBezTo>
                <a:cubicBezTo>
                  <a:pt x="22" y="72"/>
                  <a:pt x="20" y="73"/>
                  <a:pt x="19" y="73"/>
                </a:cubicBezTo>
                <a:cubicBezTo>
                  <a:pt x="17" y="73"/>
                  <a:pt x="16" y="72"/>
                  <a:pt x="16" y="71"/>
                </a:cubicBezTo>
                <a:cubicBezTo>
                  <a:pt x="16" y="69"/>
                  <a:pt x="17" y="68"/>
                  <a:pt x="19" y="68"/>
                </a:cubicBezTo>
                <a:close/>
                <a:moveTo>
                  <a:pt x="19" y="84"/>
                </a:moveTo>
                <a:cubicBezTo>
                  <a:pt x="20" y="84"/>
                  <a:pt x="22" y="85"/>
                  <a:pt x="22" y="87"/>
                </a:cubicBezTo>
                <a:cubicBezTo>
                  <a:pt x="22" y="88"/>
                  <a:pt x="20" y="89"/>
                  <a:pt x="19" y="89"/>
                </a:cubicBezTo>
                <a:cubicBezTo>
                  <a:pt x="17" y="89"/>
                  <a:pt x="16" y="88"/>
                  <a:pt x="16" y="87"/>
                </a:cubicBezTo>
                <a:cubicBezTo>
                  <a:pt x="16" y="85"/>
                  <a:pt x="17" y="84"/>
                  <a:pt x="19" y="84"/>
                </a:cubicBezTo>
                <a:close/>
                <a:moveTo>
                  <a:pt x="11" y="92"/>
                </a:moveTo>
                <a:cubicBezTo>
                  <a:pt x="12" y="92"/>
                  <a:pt x="14" y="93"/>
                  <a:pt x="14" y="95"/>
                </a:cubicBezTo>
                <a:cubicBezTo>
                  <a:pt x="14" y="96"/>
                  <a:pt x="12" y="98"/>
                  <a:pt x="11" y="98"/>
                </a:cubicBezTo>
                <a:cubicBezTo>
                  <a:pt x="9" y="98"/>
                  <a:pt x="8" y="96"/>
                  <a:pt x="8" y="95"/>
                </a:cubicBezTo>
                <a:cubicBezTo>
                  <a:pt x="8" y="93"/>
                  <a:pt x="9" y="92"/>
                  <a:pt x="11" y="92"/>
                </a:cubicBezTo>
                <a:close/>
                <a:moveTo>
                  <a:pt x="27" y="92"/>
                </a:moveTo>
                <a:cubicBezTo>
                  <a:pt x="29" y="92"/>
                  <a:pt x="30" y="93"/>
                  <a:pt x="30" y="95"/>
                </a:cubicBezTo>
                <a:cubicBezTo>
                  <a:pt x="30" y="96"/>
                  <a:pt x="29" y="98"/>
                  <a:pt x="27" y="98"/>
                </a:cubicBezTo>
                <a:cubicBezTo>
                  <a:pt x="26" y="98"/>
                  <a:pt x="24" y="96"/>
                  <a:pt x="24" y="95"/>
                </a:cubicBezTo>
                <a:cubicBezTo>
                  <a:pt x="24" y="93"/>
                  <a:pt x="26" y="92"/>
                  <a:pt x="27" y="92"/>
                </a:cubicBezTo>
                <a:close/>
                <a:moveTo>
                  <a:pt x="11" y="108"/>
                </a:moveTo>
                <a:cubicBezTo>
                  <a:pt x="12" y="108"/>
                  <a:pt x="14" y="110"/>
                  <a:pt x="14" y="111"/>
                </a:cubicBezTo>
                <a:cubicBezTo>
                  <a:pt x="14" y="113"/>
                  <a:pt x="12" y="114"/>
                  <a:pt x="11" y="114"/>
                </a:cubicBezTo>
                <a:cubicBezTo>
                  <a:pt x="9" y="114"/>
                  <a:pt x="8" y="113"/>
                  <a:pt x="8" y="111"/>
                </a:cubicBezTo>
                <a:cubicBezTo>
                  <a:pt x="8" y="110"/>
                  <a:pt x="9" y="108"/>
                  <a:pt x="11" y="108"/>
                </a:cubicBezTo>
                <a:close/>
                <a:moveTo>
                  <a:pt x="27" y="108"/>
                </a:moveTo>
                <a:cubicBezTo>
                  <a:pt x="29" y="108"/>
                  <a:pt x="30" y="110"/>
                  <a:pt x="30" y="111"/>
                </a:cubicBezTo>
                <a:cubicBezTo>
                  <a:pt x="30" y="113"/>
                  <a:pt x="29" y="114"/>
                  <a:pt x="27" y="114"/>
                </a:cubicBezTo>
                <a:cubicBezTo>
                  <a:pt x="26" y="114"/>
                  <a:pt x="24" y="113"/>
                  <a:pt x="24" y="111"/>
                </a:cubicBezTo>
                <a:cubicBezTo>
                  <a:pt x="24" y="110"/>
                  <a:pt x="26" y="108"/>
                  <a:pt x="27" y="108"/>
                </a:cubicBezTo>
                <a:close/>
                <a:moveTo>
                  <a:pt x="19" y="100"/>
                </a:moveTo>
                <a:cubicBezTo>
                  <a:pt x="20" y="100"/>
                  <a:pt x="22" y="102"/>
                  <a:pt x="22" y="103"/>
                </a:cubicBezTo>
                <a:cubicBezTo>
                  <a:pt x="22" y="105"/>
                  <a:pt x="20" y="106"/>
                  <a:pt x="19" y="106"/>
                </a:cubicBezTo>
                <a:cubicBezTo>
                  <a:pt x="17" y="106"/>
                  <a:pt x="16" y="105"/>
                  <a:pt x="16" y="103"/>
                </a:cubicBezTo>
                <a:cubicBezTo>
                  <a:pt x="16" y="102"/>
                  <a:pt x="17" y="100"/>
                  <a:pt x="19" y="100"/>
                </a:cubicBezTo>
                <a:close/>
                <a:moveTo>
                  <a:pt x="19" y="117"/>
                </a:moveTo>
                <a:cubicBezTo>
                  <a:pt x="20" y="117"/>
                  <a:pt x="22" y="118"/>
                  <a:pt x="22" y="119"/>
                </a:cubicBezTo>
                <a:cubicBezTo>
                  <a:pt x="22" y="121"/>
                  <a:pt x="20" y="122"/>
                  <a:pt x="19" y="122"/>
                </a:cubicBezTo>
                <a:cubicBezTo>
                  <a:pt x="17" y="122"/>
                  <a:pt x="16" y="121"/>
                  <a:pt x="16" y="119"/>
                </a:cubicBezTo>
                <a:cubicBezTo>
                  <a:pt x="16" y="118"/>
                  <a:pt x="17" y="117"/>
                  <a:pt x="19" y="117"/>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5" name="Freeform 1052">
            <a:extLst>
              <a:ext uri="{FF2B5EF4-FFF2-40B4-BE49-F238E27FC236}">
                <a16:creationId xmlns:a16="http://schemas.microsoft.com/office/drawing/2014/main" id="{540BF567-BC27-8848-8970-F343D57605E6}"/>
              </a:ext>
            </a:extLst>
          </p:cNvPr>
          <p:cNvSpPr>
            <a:spLocks noEditPoints="1"/>
          </p:cNvSpPr>
          <p:nvPr/>
        </p:nvSpPr>
        <p:spPr bwMode="auto">
          <a:xfrm>
            <a:off x="2624020" y="5938838"/>
            <a:ext cx="273050" cy="550863"/>
          </a:xfrm>
          <a:custGeom>
            <a:avLst/>
            <a:gdLst>
              <a:gd name="T0" fmla="*/ 172 w 172"/>
              <a:gd name="T1" fmla="*/ 93 h 347"/>
              <a:gd name="T2" fmla="*/ 82 w 172"/>
              <a:gd name="T3" fmla="*/ 0 h 347"/>
              <a:gd name="T4" fmla="*/ 82 w 172"/>
              <a:gd name="T5" fmla="*/ 154 h 347"/>
              <a:gd name="T6" fmla="*/ 9 w 172"/>
              <a:gd name="T7" fmla="*/ 83 h 347"/>
              <a:gd name="T8" fmla="*/ 0 w 172"/>
              <a:gd name="T9" fmla="*/ 91 h 347"/>
              <a:gd name="T10" fmla="*/ 82 w 172"/>
              <a:gd name="T11" fmla="*/ 174 h 347"/>
              <a:gd name="T12" fmla="*/ 82 w 172"/>
              <a:gd name="T13" fmla="*/ 174 h 347"/>
              <a:gd name="T14" fmla="*/ 0 w 172"/>
              <a:gd name="T15" fmla="*/ 256 h 347"/>
              <a:gd name="T16" fmla="*/ 9 w 172"/>
              <a:gd name="T17" fmla="*/ 265 h 347"/>
              <a:gd name="T18" fmla="*/ 82 w 172"/>
              <a:gd name="T19" fmla="*/ 191 h 347"/>
              <a:gd name="T20" fmla="*/ 82 w 172"/>
              <a:gd name="T21" fmla="*/ 193 h 347"/>
              <a:gd name="T22" fmla="*/ 82 w 172"/>
              <a:gd name="T23" fmla="*/ 347 h 347"/>
              <a:gd name="T24" fmla="*/ 172 w 172"/>
              <a:gd name="T25" fmla="*/ 247 h 347"/>
              <a:gd name="T26" fmla="*/ 99 w 172"/>
              <a:gd name="T27" fmla="*/ 174 h 347"/>
              <a:gd name="T28" fmla="*/ 172 w 172"/>
              <a:gd name="T29" fmla="*/ 93 h 347"/>
              <a:gd name="T30" fmla="*/ 95 w 172"/>
              <a:gd name="T31" fmla="*/ 31 h 347"/>
              <a:gd name="T32" fmla="*/ 155 w 172"/>
              <a:gd name="T33" fmla="*/ 93 h 347"/>
              <a:gd name="T34" fmla="*/ 95 w 172"/>
              <a:gd name="T35" fmla="*/ 161 h 347"/>
              <a:gd name="T36" fmla="*/ 95 w 172"/>
              <a:gd name="T37" fmla="*/ 31 h 347"/>
              <a:gd name="T38" fmla="*/ 95 w 172"/>
              <a:gd name="T39" fmla="*/ 314 h 347"/>
              <a:gd name="T40" fmla="*/ 95 w 172"/>
              <a:gd name="T41" fmla="*/ 184 h 347"/>
              <a:gd name="T42" fmla="*/ 155 w 172"/>
              <a:gd name="T43" fmla="*/ 247 h 347"/>
              <a:gd name="T44" fmla="*/ 95 w 172"/>
              <a:gd name="T45" fmla="*/ 31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347">
                <a:moveTo>
                  <a:pt x="172" y="93"/>
                </a:moveTo>
                <a:lnTo>
                  <a:pt x="82" y="0"/>
                </a:lnTo>
                <a:lnTo>
                  <a:pt x="82" y="154"/>
                </a:lnTo>
                <a:lnTo>
                  <a:pt x="9" y="83"/>
                </a:lnTo>
                <a:lnTo>
                  <a:pt x="0" y="91"/>
                </a:lnTo>
                <a:lnTo>
                  <a:pt x="82" y="174"/>
                </a:lnTo>
                <a:lnTo>
                  <a:pt x="82" y="174"/>
                </a:lnTo>
                <a:lnTo>
                  <a:pt x="0" y="256"/>
                </a:lnTo>
                <a:lnTo>
                  <a:pt x="9" y="265"/>
                </a:lnTo>
                <a:lnTo>
                  <a:pt x="82" y="191"/>
                </a:lnTo>
                <a:lnTo>
                  <a:pt x="82" y="193"/>
                </a:lnTo>
                <a:lnTo>
                  <a:pt x="82" y="347"/>
                </a:lnTo>
                <a:lnTo>
                  <a:pt x="172" y="247"/>
                </a:lnTo>
                <a:lnTo>
                  <a:pt x="99" y="174"/>
                </a:lnTo>
                <a:lnTo>
                  <a:pt x="172" y="93"/>
                </a:lnTo>
                <a:close/>
                <a:moveTo>
                  <a:pt x="95" y="31"/>
                </a:moveTo>
                <a:lnTo>
                  <a:pt x="155" y="93"/>
                </a:lnTo>
                <a:lnTo>
                  <a:pt x="95" y="161"/>
                </a:lnTo>
                <a:lnTo>
                  <a:pt x="95" y="31"/>
                </a:lnTo>
                <a:close/>
                <a:moveTo>
                  <a:pt x="95" y="314"/>
                </a:moveTo>
                <a:lnTo>
                  <a:pt x="95" y="184"/>
                </a:lnTo>
                <a:lnTo>
                  <a:pt x="155" y="247"/>
                </a:lnTo>
                <a:lnTo>
                  <a:pt x="95" y="314"/>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6" name="Freeform 1053">
            <a:extLst>
              <a:ext uri="{FF2B5EF4-FFF2-40B4-BE49-F238E27FC236}">
                <a16:creationId xmlns:a16="http://schemas.microsoft.com/office/drawing/2014/main" id="{BC70AF2E-3C6A-CC49-B7AA-A209B0274CEB}"/>
              </a:ext>
            </a:extLst>
          </p:cNvPr>
          <p:cNvSpPr>
            <a:spLocks noEditPoints="1"/>
          </p:cNvSpPr>
          <p:nvPr/>
        </p:nvSpPr>
        <p:spPr bwMode="auto">
          <a:xfrm>
            <a:off x="3538420" y="365125"/>
            <a:ext cx="344488" cy="550863"/>
          </a:xfrm>
          <a:custGeom>
            <a:avLst/>
            <a:gdLst>
              <a:gd name="T0" fmla="*/ 48 w 101"/>
              <a:gd name="T1" fmla="*/ 24 h 160"/>
              <a:gd name="T2" fmla="*/ 48 w 101"/>
              <a:gd name="T3" fmla="*/ 72 h 160"/>
              <a:gd name="T4" fmla="*/ 25 w 101"/>
              <a:gd name="T5" fmla="*/ 51 h 160"/>
              <a:gd name="T6" fmla="*/ 21 w 101"/>
              <a:gd name="T7" fmla="*/ 55 h 160"/>
              <a:gd name="T8" fmla="*/ 46 w 101"/>
              <a:gd name="T9" fmla="*/ 79 h 160"/>
              <a:gd name="T10" fmla="*/ 21 w 101"/>
              <a:gd name="T11" fmla="*/ 102 h 160"/>
              <a:gd name="T12" fmla="*/ 24 w 101"/>
              <a:gd name="T13" fmla="*/ 106 h 160"/>
              <a:gd name="T14" fmla="*/ 48 w 101"/>
              <a:gd name="T15" fmla="*/ 85 h 160"/>
              <a:gd name="T16" fmla="*/ 48 w 101"/>
              <a:gd name="T17" fmla="*/ 137 h 160"/>
              <a:gd name="T18" fmla="*/ 77 w 101"/>
              <a:gd name="T19" fmla="*/ 104 h 160"/>
              <a:gd name="T20" fmla="*/ 54 w 101"/>
              <a:gd name="T21" fmla="*/ 79 h 160"/>
              <a:gd name="T22" fmla="*/ 77 w 101"/>
              <a:gd name="T23" fmla="*/ 53 h 160"/>
              <a:gd name="T24" fmla="*/ 48 w 101"/>
              <a:gd name="T25" fmla="*/ 24 h 160"/>
              <a:gd name="T26" fmla="*/ 69 w 101"/>
              <a:gd name="T27" fmla="*/ 53 h 160"/>
              <a:gd name="T28" fmla="*/ 53 w 101"/>
              <a:gd name="T29" fmla="*/ 71 h 160"/>
              <a:gd name="T30" fmla="*/ 53 w 101"/>
              <a:gd name="T31" fmla="*/ 38 h 160"/>
              <a:gd name="T32" fmla="*/ 69 w 101"/>
              <a:gd name="T33" fmla="*/ 53 h 160"/>
              <a:gd name="T34" fmla="*/ 53 w 101"/>
              <a:gd name="T35" fmla="*/ 122 h 160"/>
              <a:gd name="T36" fmla="*/ 53 w 101"/>
              <a:gd name="T37" fmla="*/ 87 h 160"/>
              <a:gd name="T38" fmla="*/ 69 w 101"/>
              <a:gd name="T39" fmla="*/ 104 h 160"/>
              <a:gd name="T40" fmla="*/ 53 w 101"/>
              <a:gd name="T41" fmla="*/ 122 h 160"/>
              <a:gd name="T42" fmla="*/ 51 w 101"/>
              <a:gd name="T43" fmla="*/ 0 h 160"/>
              <a:gd name="T44" fmla="*/ 0 w 101"/>
              <a:gd name="T45" fmla="*/ 51 h 160"/>
              <a:gd name="T46" fmla="*/ 0 w 101"/>
              <a:gd name="T47" fmla="*/ 109 h 160"/>
              <a:gd name="T48" fmla="*/ 51 w 101"/>
              <a:gd name="T49" fmla="*/ 160 h 160"/>
              <a:gd name="T50" fmla="*/ 101 w 101"/>
              <a:gd name="T51" fmla="*/ 109 h 160"/>
              <a:gd name="T52" fmla="*/ 101 w 101"/>
              <a:gd name="T53" fmla="*/ 51 h 160"/>
              <a:gd name="T54" fmla="*/ 51 w 101"/>
              <a:gd name="T55" fmla="*/ 0 h 160"/>
              <a:gd name="T56" fmla="*/ 95 w 101"/>
              <a:gd name="T57" fmla="*/ 109 h 160"/>
              <a:gd name="T58" fmla="*/ 51 w 101"/>
              <a:gd name="T59" fmla="*/ 154 h 160"/>
              <a:gd name="T60" fmla="*/ 6 w 101"/>
              <a:gd name="T61" fmla="*/ 109 h 160"/>
              <a:gd name="T62" fmla="*/ 6 w 101"/>
              <a:gd name="T63" fmla="*/ 51 h 160"/>
              <a:gd name="T64" fmla="*/ 51 w 101"/>
              <a:gd name="T65" fmla="*/ 6 h 160"/>
              <a:gd name="T66" fmla="*/ 95 w 101"/>
              <a:gd name="T67" fmla="*/ 51 h 160"/>
              <a:gd name="T68" fmla="*/ 95 w 101"/>
              <a:gd name="T69"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 h="160">
                <a:moveTo>
                  <a:pt x="48" y="24"/>
                </a:moveTo>
                <a:cubicBezTo>
                  <a:pt x="48" y="72"/>
                  <a:pt x="48" y="72"/>
                  <a:pt x="48" y="72"/>
                </a:cubicBezTo>
                <a:cubicBezTo>
                  <a:pt x="25" y="51"/>
                  <a:pt x="25" y="51"/>
                  <a:pt x="25" y="51"/>
                </a:cubicBezTo>
                <a:cubicBezTo>
                  <a:pt x="21" y="55"/>
                  <a:pt x="21" y="55"/>
                  <a:pt x="21" y="55"/>
                </a:cubicBezTo>
                <a:cubicBezTo>
                  <a:pt x="46" y="79"/>
                  <a:pt x="46" y="79"/>
                  <a:pt x="46" y="79"/>
                </a:cubicBezTo>
                <a:cubicBezTo>
                  <a:pt x="21" y="102"/>
                  <a:pt x="21" y="102"/>
                  <a:pt x="21" y="102"/>
                </a:cubicBezTo>
                <a:cubicBezTo>
                  <a:pt x="24" y="106"/>
                  <a:pt x="24" y="106"/>
                  <a:pt x="24" y="106"/>
                </a:cubicBezTo>
                <a:cubicBezTo>
                  <a:pt x="48" y="85"/>
                  <a:pt x="48" y="85"/>
                  <a:pt x="48" y="85"/>
                </a:cubicBezTo>
                <a:cubicBezTo>
                  <a:pt x="48" y="137"/>
                  <a:pt x="48" y="137"/>
                  <a:pt x="48" y="137"/>
                </a:cubicBezTo>
                <a:cubicBezTo>
                  <a:pt x="77" y="104"/>
                  <a:pt x="77" y="104"/>
                  <a:pt x="77" y="104"/>
                </a:cubicBezTo>
                <a:cubicBezTo>
                  <a:pt x="54" y="79"/>
                  <a:pt x="54" y="79"/>
                  <a:pt x="54" y="79"/>
                </a:cubicBezTo>
                <a:cubicBezTo>
                  <a:pt x="77" y="53"/>
                  <a:pt x="77" y="53"/>
                  <a:pt x="77" y="53"/>
                </a:cubicBezTo>
                <a:lnTo>
                  <a:pt x="48" y="24"/>
                </a:lnTo>
                <a:close/>
                <a:moveTo>
                  <a:pt x="69" y="53"/>
                </a:moveTo>
                <a:cubicBezTo>
                  <a:pt x="53" y="71"/>
                  <a:pt x="53" y="71"/>
                  <a:pt x="53" y="71"/>
                </a:cubicBezTo>
                <a:cubicBezTo>
                  <a:pt x="53" y="38"/>
                  <a:pt x="53" y="38"/>
                  <a:pt x="53" y="38"/>
                </a:cubicBezTo>
                <a:lnTo>
                  <a:pt x="69" y="53"/>
                </a:lnTo>
                <a:close/>
                <a:moveTo>
                  <a:pt x="53" y="122"/>
                </a:moveTo>
                <a:cubicBezTo>
                  <a:pt x="53" y="87"/>
                  <a:pt x="53" y="87"/>
                  <a:pt x="53" y="87"/>
                </a:cubicBezTo>
                <a:cubicBezTo>
                  <a:pt x="69" y="104"/>
                  <a:pt x="69" y="104"/>
                  <a:pt x="69" y="104"/>
                </a:cubicBezTo>
                <a:lnTo>
                  <a:pt x="53" y="122"/>
                </a:lnTo>
                <a:close/>
                <a:moveTo>
                  <a:pt x="51" y="0"/>
                </a:moveTo>
                <a:cubicBezTo>
                  <a:pt x="23" y="0"/>
                  <a:pt x="0" y="23"/>
                  <a:pt x="0" y="51"/>
                </a:cubicBezTo>
                <a:cubicBezTo>
                  <a:pt x="0" y="109"/>
                  <a:pt x="0" y="109"/>
                  <a:pt x="0" y="109"/>
                </a:cubicBezTo>
                <a:cubicBezTo>
                  <a:pt x="0" y="137"/>
                  <a:pt x="23" y="160"/>
                  <a:pt x="51" y="160"/>
                </a:cubicBezTo>
                <a:cubicBezTo>
                  <a:pt x="78" y="160"/>
                  <a:pt x="101" y="137"/>
                  <a:pt x="101" y="109"/>
                </a:cubicBezTo>
                <a:cubicBezTo>
                  <a:pt x="101" y="51"/>
                  <a:pt x="101" y="51"/>
                  <a:pt x="101" y="51"/>
                </a:cubicBezTo>
                <a:cubicBezTo>
                  <a:pt x="101" y="23"/>
                  <a:pt x="78" y="0"/>
                  <a:pt x="51" y="0"/>
                </a:cubicBezTo>
                <a:close/>
                <a:moveTo>
                  <a:pt x="95" y="109"/>
                </a:moveTo>
                <a:cubicBezTo>
                  <a:pt x="95" y="134"/>
                  <a:pt x="75" y="154"/>
                  <a:pt x="51" y="154"/>
                </a:cubicBezTo>
                <a:cubicBezTo>
                  <a:pt x="26" y="154"/>
                  <a:pt x="6" y="134"/>
                  <a:pt x="6" y="109"/>
                </a:cubicBezTo>
                <a:cubicBezTo>
                  <a:pt x="6" y="51"/>
                  <a:pt x="6" y="51"/>
                  <a:pt x="6" y="51"/>
                </a:cubicBezTo>
                <a:cubicBezTo>
                  <a:pt x="6" y="26"/>
                  <a:pt x="26" y="6"/>
                  <a:pt x="51" y="6"/>
                </a:cubicBezTo>
                <a:cubicBezTo>
                  <a:pt x="75" y="6"/>
                  <a:pt x="95" y="26"/>
                  <a:pt x="95" y="51"/>
                </a:cubicBezTo>
                <a:lnTo>
                  <a:pt x="95" y="109"/>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7" name="Freeform 1054">
            <a:extLst>
              <a:ext uri="{FF2B5EF4-FFF2-40B4-BE49-F238E27FC236}">
                <a16:creationId xmlns:a16="http://schemas.microsoft.com/office/drawing/2014/main" id="{873B9E0A-5AFF-E049-9469-57C12C4FDA2F}"/>
              </a:ext>
            </a:extLst>
          </p:cNvPr>
          <p:cNvSpPr>
            <a:spLocks noEditPoints="1"/>
          </p:cNvSpPr>
          <p:nvPr/>
        </p:nvSpPr>
        <p:spPr bwMode="auto">
          <a:xfrm>
            <a:off x="3484445" y="984250"/>
            <a:ext cx="463550" cy="550863"/>
          </a:xfrm>
          <a:custGeom>
            <a:avLst/>
            <a:gdLst>
              <a:gd name="T0" fmla="*/ 115 w 136"/>
              <a:gd name="T1" fmla="*/ 101 h 160"/>
              <a:gd name="T2" fmla="*/ 19 w 136"/>
              <a:gd name="T3" fmla="*/ 99 h 160"/>
              <a:gd name="T4" fmla="*/ 115 w 136"/>
              <a:gd name="T5" fmla="*/ 96 h 160"/>
              <a:gd name="T6" fmla="*/ 80 w 136"/>
              <a:gd name="T7" fmla="*/ 83 h 160"/>
              <a:gd name="T8" fmla="*/ 117 w 136"/>
              <a:gd name="T9" fmla="*/ 80 h 160"/>
              <a:gd name="T10" fmla="*/ 80 w 136"/>
              <a:gd name="T11" fmla="*/ 77 h 160"/>
              <a:gd name="T12" fmla="*/ 80 w 136"/>
              <a:gd name="T13" fmla="*/ 83 h 160"/>
              <a:gd name="T14" fmla="*/ 115 w 136"/>
              <a:gd name="T15" fmla="*/ 64 h 160"/>
              <a:gd name="T16" fmla="*/ 115 w 136"/>
              <a:gd name="T17" fmla="*/ 59 h 160"/>
              <a:gd name="T18" fmla="*/ 77 w 136"/>
              <a:gd name="T19" fmla="*/ 61 h 160"/>
              <a:gd name="T20" fmla="*/ 80 w 136"/>
              <a:gd name="T21" fmla="*/ 45 h 160"/>
              <a:gd name="T22" fmla="*/ 117 w 136"/>
              <a:gd name="T23" fmla="*/ 43 h 160"/>
              <a:gd name="T24" fmla="*/ 80 w 136"/>
              <a:gd name="T25" fmla="*/ 40 h 160"/>
              <a:gd name="T26" fmla="*/ 80 w 136"/>
              <a:gd name="T27" fmla="*/ 45 h 160"/>
              <a:gd name="T28" fmla="*/ 21 w 136"/>
              <a:gd name="T29" fmla="*/ 128 h 160"/>
              <a:gd name="T30" fmla="*/ 21 w 136"/>
              <a:gd name="T31" fmla="*/ 133 h 160"/>
              <a:gd name="T32" fmla="*/ 117 w 136"/>
              <a:gd name="T33" fmla="*/ 131 h 160"/>
              <a:gd name="T34" fmla="*/ 21 w 136"/>
              <a:gd name="T35" fmla="*/ 117 h 160"/>
              <a:gd name="T36" fmla="*/ 61 w 136"/>
              <a:gd name="T37" fmla="*/ 115 h 160"/>
              <a:gd name="T38" fmla="*/ 21 w 136"/>
              <a:gd name="T39" fmla="*/ 112 h 160"/>
              <a:gd name="T40" fmla="*/ 21 w 136"/>
              <a:gd name="T41" fmla="*/ 117 h 160"/>
              <a:gd name="T42" fmla="*/ 80 w 136"/>
              <a:gd name="T43" fmla="*/ 112 h 160"/>
              <a:gd name="T44" fmla="*/ 80 w 136"/>
              <a:gd name="T45" fmla="*/ 117 h 160"/>
              <a:gd name="T46" fmla="*/ 117 w 136"/>
              <a:gd name="T47" fmla="*/ 115 h 160"/>
              <a:gd name="T48" fmla="*/ 71 w 136"/>
              <a:gd name="T49" fmla="*/ 117 h 160"/>
              <a:gd name="T50" fmla="*/ 71 w 136"/>
              <a:gd name="T51" fmla="*/ 113 h 160"/>
              <a:gd name="T52" fmla="*/ 67 w 136"/>
              <a:gd name="T53" fmla="*/ 115 h 160"/>
              <a:gd name="T54" fmla="*/ 69 w 136"/>
              <a:gd name="T55" fmla="*/ 117 h 160"/>
              <a:gd name="T56" fmla="*/ 136 w 136"/>
              <a:gd name="T57" fmla="*/ 13 h 160"/>
              <a:gd name="T58" fmla="*/ 133 w 136"/>
              <a:gd name="T59" fmla="*/ 160 h 160"/>
              <a:gd name="T60" fmla="*/ 0 w 136"/>
              <a:gd name="T61" fmla="*/ 157 h 160"/>
              <a:gd name="T62" fmla="*/ 3 w 136"/>
              <a:gd name="T63" fmla="*/ 11 h 160"/>
              <a:gd name="T64" fmla="*/ 19 w 136"/>
              <a:gd name="T65" fmla="*/ 3 h 160"/>
              <a:gd name="T66" fmla="*/ 64 w 136"/>
              <a:gd name="T67" fmla="*/ 0 h 160"/>
              <a:gd name="T68" fmla="*/ 67 w 136"/>
              <a:gd name="T69" fmla="*/ 11 h 160"/>
              <a:gd name="T70" fmla="*/ 136 w 136"/>
              <a:gd name="T71" fmla="*/ 13 h 160"/>
              <a:gd name="T72" fmla="*/ 41 w 136"/>
              <a:gd name="T73" fmla="*/ 59 h 160"/>
              <a:gd name="T74" fmla="*/ 61 w 136"/>
              <a:gd name="T75" fmla="*/ 72 h 160"/>
              <a:gd name="T76" fmla="*/ 61 w 136"/>
              <a:gd name="T77" fmla="*/ 5 h 160"/>
              <a:gd name="T78" fmla="*/ 24 w 136"/>
              <a:gd name="T79" fmla="*/ 13 h 160"/>
              <a:gd name="T80" fmla="*/ 131 w 136"/>
              <a:gd name="T81" fmla="*/ 16 h 160"/>
              <a:gd name="T82" fmla="*/ 67 w 136"/>
              <a:gd name="T83" fmla="*/ 77 h 160"/>
              <a:gd name="T84" fmla="*/ 64 w 136"/>
              <a:gd name="T85" fmla="*/ 80 h 160"/>
              <a:gd name="T86" fmla="*/ 64 w 136"/>
              <a:gd name="T87" fmla="*/ 80 h 160"/>
              <a:gd name="T88" fmla="*/ 63 w 136"/>
              <a:gd name="T89" fmla="*/ 80 h 160"/>
              <a:gd name="T90" fmla="*/ 43 w 136"/>
              <a:gd name="T91" fmla="*/ 65 h 160"/>
              <a:gd name="T92" fmla="*/ 20 w 136"/>
              <a:gd name="T93" fmla="*/ 80 h 160"/>
              <a:gd name="T94" fmla="*/ 19 w 136"/>
              <a:gd name="T95" fmla="*/ 16 h 160"/>
              <a:gd name="T96" fmla="*/ 5 w 136"/>
              <a:gd name="T97" fmla="*/ 155 h 160"/>
              <a:gd name="T98" fmla="*/ 131 w 136"/>
              <a:gd name="T99"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160">
                <a:moveTo>
                  <a:pt x="117" y="99"/>
                </a:moveTo>
                <a:cubicBezTo>
                  <a:pt x="117" y="100"/>
                  <a:pt x="116" y="101"/>
                  <a:pt x="115" y="101"/>
                </a:cubicBezTo>
                <a:cubicBezTo>
                  <a:pt x="21" y="101"/>
                  <a:pt x="21" y="101"/>
                  <a:pt x="21" y="101"/>
                </a:cubicBezTo>
                <a:cubicBezTo>
                  <a:pt x="20" y="101"/>
                  <a:pt x="19" y="100"/>
                  <a:pt x="19" y="99"/>
                </a:cubicBezTo>
                <a:cubicBezTo>
                  <a:pt x="19" y="97"/>
                  <a:pt x="20" y="96"/>
                  <a:pt x="21" y="96"/>
                </a:cubicBezTo>
                <a:cubicBezTo>
                  <a:pt x="115" y="96"/>
                  <a:pt x="115" y="96"/>
                  <a:pt x="115" y="96"/>
                </a:cubicBezTo>
                <a:cubicBezTo>
                  <a:pt x="116" y="96"/>
                  <a:pt x="117" y="97"/>
                  <a:pt x="117" y="99"/>
                </a:cubicBezTo>
                <a:close/>
                <a:moveTo>
                  <a:pt x="80" y="83"/>
                </a:moveTo>
                <a:cubicBezTo>
                  <a:pt x="115" y="83"/>
                  <a:pt x="115" y="83"/>
                  <a:pt x="115" y="83"/>
                </a:cubicBezTo>
                <a:cubicBezTo>
                  <a:pt x="116" y="83"/>
                  <a:pt x="117" y="81"/>
                  <a:pt x="117" y="80"/>
                </a:cubicBezTo>
                <a:cubicBezTo>
                  <a:pt x="117" y="79"/>
                  <a:pt x="116" y="77"/>
                  <a:pt x="115" y="77"/>
                </a:cubicBezTo>
                <a:cubicBezTo>
                  <a:pt x="80" y="77"/>
                  <a:pt x="80" y="77"/>
                  <a:pt x="80" y="77"/>
                </a:cubicBezTo>
                <a:cubicBezTo>
                  <a:pt x="79" y="77"/>
                  <a:pt x="77" y="79"/>
                  <a:pt x="77" y="80"/>
                </a:cubicBezTo>
                <a:cubicBezTo>
                  <a:pt x="77" y="81"/>
                  <a:pt x="79" y="83"/>
                  <a:pt x="80" y="83"/>
                </a:cubicBezTo>
                <a:close/>
                <a:moveTo>
                  <a:pt x="80" y="64"/>
                </a:moveTo>
                <a:cubicBezTo>
                  <a:pt x="115" y="64"/>
                  <a:pt x="115" y="64"/>
                  <a:pt x="115" y="64"/>
                </a:cubicBezTo>
                <a:cubicBezTo>
                  <a:pt x="116" y="64"/>
                  <a:pt x="117" y="63"/>
                  <a:pt x="117" y="61"/>
                </a:cubicBezTo>
                <a:cubicBezTo>
                  <a:pt x="117" y="60"/>
                  <a:pt x="116" y="59"/>
                  <a:pt x="115" y="59"/>
                </a:cubicBezTo>
                <a:cubicBezTo>
                  <a:pt x="80" y="59"/>
                  <a:pt x="80" y="59"/>
                  <a:pt x="80" y="59"/>
                </a:cubicBezTo>
                <a:cubicBezTo>
                  <a:pt x="79" y="59"/>
                  <a:pt x="77" y="60"/>
                  <a:pt x="77" y="61"/>
                </a:cubicBezTo>
                <a:cubicBezTo>
                  <a:pt x="77" y="63"/>
                  <a:pt x="79" y="64"/>
                  <a:pt x="80" y="64"/>
                </a:cubicBezTo>
                <a:close/>
                <a:moveTo>
                  <a:pt x="80" y="45"/>
                </a:moveTo>
                <a:cubicBezTo>
                  <a:pt x="115" y="45"/>
                  <a:pt x="115" y="45"/>
                  <a:pt x="115" y="45"/>
                </a:cubicBezTo>
                <a:cubicBezTo>
                  <a:pt x="116" y="45"/>
                  <a:pt x="117" y="44"/>
                  <a:pt x="117" y="43"/>
                </a:cubicBezTo>
                <a:cubicBezTo>
                  <a:pt x="117" y="41"/>
                  <a:pt x="116" y="40"/>
                  <a:pt x="115" y="40"/>
                </a:cubicBezTo>
                <a:cubicBezTo>
                  <a:pt x="80" y="40"/>
                  <a:pt x="80" y="40"/>
                  <a:pt x="80" y="40"/>
                </a:cubicBezTo>
                <a:cubicBezTo>
                  <a:pt x="79" y="40"/>
                  <a:pt x="77" y="41"/>
                  <a:pt x="77" y="43"/>
                </a:cubicBezTo>
                <a:cubicBezTo>
                  <a:pt x="77" y="44"/>
                  <a:pt x="79" y="45"/>
                  <a:pt x="80" y="45"/>
                </a:cubicBezTo>
                <a:close/>
                <a:moveTo>
                  <a:pt x="115" y="128"/>
                </a:moveTo>
                <a:cubicBezTo>
                  <a:pt x="21" y="128"/>
                  <a:pt x="21" y="128"/>
                  <a:pt x="21" y="128"/>
                </a:cubicBezTo>
                <a:cubicBezTo>
                  <a:pt x="20" y="128"/>
                  <a:pt x="19" y="129"/>
                  <a:pt x="19" y="131"/>
                </a:cubicBezTo>
                <a:cubicBezTo>
                  <a:pt x="19" y="132"/>
                  <a:pt x="20" y="133"/>
                  <a:pt x="21" y="133"/>
                </a:cubicBezTo>
                <a:cubicBezTo>
                  <a:pt x="115" y="133"/>
                  <a:pt x="115" y="133"/>
                  <a:pt x="115" y="133"/>
                </a:cubicBezTo>
                <a:cubicBezTo>
                  <a:pt x="116" y="133"/>
                  <a:pt x="117" y="132"/>
                  <a:pt x="117" y="131"/>
                </a:cubicBezTo>
                <a:cubicBezTo>
                  <a:pt x="117" y="129"/>
                  <a:pt x="116" y="128"/>
                  <a:pt x="115" y="128"/>
                </a:cubicBezTo>
                <a:close/>
                <a:moveTo>
                  <a:pt x="21" y="117"/>
                </a:moveTo>
                <a:cubicBezTo>
                  <a:pt x="59" y="117"/>
                  <a:pt x="59" y="117"/>
                  <a:pt x="59" y="117"/>
                </a:cubicBezTo>
                <a:cubicBezTo>
                  <a:pt x="60" y="117"/>
                  <a:pt x="61" y="116"/>
                  <a:pt x="61" y="115"/>
                </a:cubicBezTo>
                <a:cubicBezTo>
                  <a:pt x="61" y="113"/>
                  <a:pt x="60" y="112"/>
                  <a:pt x="59" y="112"/>
                </a:cubicBezTo>
                <a:cubicBezTo>
                  <a:pt x="21" y="112"/>
                  <a:pt x="21" y="112"/>
                  <a:pt x="21" y="112"/>
                </a:cubicBezTo>
                <a:cubicBezTo>
                  <a:pt x="20" y="112"/>
                  <a:pt x="19" y="113"/>
                  <a:pt x="19" y="115"/>
                </a:cubicBezTo>
                <a:cubicBezTo>
                  <a:pt x="19" y="116"/>
                  <a:pt x="20" y="117"/>
                  <a:pt x="21" y="117"/>
                </a:cubicBezTo>
                <a:close/>
                <a:moveTo>
                  <a:pt x="115" y="112"/>
                </a:moveTo>
                <a:cubicBezTo>
                  <a:pt x="80" y="112"/>
                  <a:pt x="80" y="112"/>
                  <a:pt x="80" y="112"/>
                </a:cubicBezTo>
                <a:cubicBezTo>
                  <a:pt x="79" y="112"/>
                  <a:pt x="77" y="113"/>
                  <a:pt x="77" y="115"/>
                </a:cubicBezTo>
                <a:cubicBezTo>
                  <a:pt x="77" y="116"/>
                  <a:pt x="79" y="117"/>
                  <a:pt x="80" y="117"/>
                </a:cubicBezTo>
                <a:cubicBezTo>
                  <a:pt x="115" y="117"/>
                  <a:pt x="115" y="117"/>
                  <a:pt x="115" y="117"/>
                </a:cubicBezTo>
                <a:cubicBezTo>
                  <a:pt x="116" y="117"/>
                  <a:pt x="117" y="116"/>
                  <a:pt x="117" y="115"/>
                </a:cubicBezTo>
                <a:cubicBezTo>
                  <a:pt x="117" y="113"/>
                  <a:pt x="116" y="112"/>
                  <a:pt x="115" y="112"/>
                </a:cubicBezTo>
                <a:close/>
                <a:moveTo>
                  <a:pt x="71" y="117"/>
                </a:moveTo>
                <a:cubicBezTo>
                  <a:pt x="72" y="116"/>
                  <a:pt x="72" y="115"/>
                  <a:pt x="72" y="115"/>
                </a:cubicBezTo>
                <a:cubicBezTo>
                  <a:pt x="72" y="114"/>
                  <a:pt x="72" y="113"/>
                  <a:pt x="71" y="113"/>
                </a:cubicBezTo>
                <a:cubicBezTo>
                  <a:pt x="70" y="112"/>
                  <a:pt x="68" y="112"/>
                  <a:pt x="67" y="113"/>
                </a:cubicBezTo>
                <a:cubicBezTo>
                  <a:pt x="67" y="113"/>
                  <a:pt x="67" y="114"/>
                  <a:pt x="67" y="115"/>
                </a:cubicBezTo>
                <a:cubicBezTo>
                  <a:pt x="67" y="115"/>
                  <a:pt x="67" y="116"/>
                  <a:pt x="67" y="117"/>
                </a:cubicBezTo>
                <a:cubicBezTo>
                  <a:pt x="68" y="117"/>
                  <a:pt x="69" y="117"/>
                  <a:pt x="69" y="117"/>
                </a:cubicBezTo>
                <a:cubicBezTo>
                  <a:pt x="70" y="117"/>
                  <a:pt x="71" y="117"/>
                  <a:pt x="71" y="117"/>
                </a:cubicBezTo>
                <a:close/>
                <a:moveTo>
                  <a:pt x="136" y="13"/>
                </a:moveTo>
                <a:cubicBezTo>
                  <a:pt x="136" y="157"/>
                  <a:pt x="136" y="157"/>
                  <a:pt x="136" y="157"/>
                </a:cubicBezTo>
                <a:cubicBezTo>
                  <a:pt x="136" y="159"/>
                  <a:pt x="135" y="160"/>
                  <a:pt x="133" y="160"/>
                </a:cubicBezTo>
                <a:cubicBezTo>
                  <a:pt x="3" y="160"/>
                  <a:pt x="3" y="160"/>
                  <a:pt x="3" y="160"/>
                </a:cubicBezTo>
                <a:cubicBezTo>
                  <a:pt x="1" y="160"/>
                  <a:pt x="0" y="159"/>
                  <a:pt x="0" y="157"/>
                </a:cubicBezTo>
                <a:cubicBezTo>
                  <a:pt x="0" y="13"/>
                  <a:pt x="0" y="13"/>
                  <a:pt x="0" y="13"/>
                </a:cubicBezTo>
                <a:cubicBezTo>
                  <a:pt x="0" y="12"/>
                  <a:pt x="1" y="11"/>
                  <a:pt x="3" y="11"/>
                </a:cubicBezTo>
                <a:cubicBezTo>
                  <a:pt x="19" y="11"/>
                  <a:pt x="19" y="11"/>
                  <a:pt x="19" y="11"/>
                </a:cubicBezTo>
                <a:cubicBezTo>
                  <a:pt x="19" y="3"/>
                  <a:pt x="19" y="3"/>
                  <a:pt x="19" y="3"/>
                </a:cubicBezTo>
                <a:cubicBezTo>
                  <a:pt x="19" y="1"/>
                  <a:pt x="20" y="0"/>
                  <a:pt x="21" y="0"/>
                </a:cubicBezTo>
                <a:cubicBezTo>
                  <a:pt x="64" y="0"/>
                  <a:pt x="64" y="0"/>
                  <a:pt x="64" y="0"/>
                </a:cubicBezTo>
                <a:cubicBezTo>
                  <a:pt x="65" y="0"/>
                  <a:pt x="67" y="1"/>
                  <a:pt x="67" y="3"/>
                </a:cubicBezTo>
                <a:cubicBezTo>
                  <a:pt x="67" y="11"/>
                  <a:pt x="67" y="11"/>
                  <a:pt x="67" y="11"/>
                </a:cubicBezTo>
                <a:cubicBezTo>
                  <a:pt x="133" y="11"/>
                  <a:pt x="133" y="11"/>
                  <a:pt x="133" y="11"/>
                </a:cubicBezTo>
                <a:cubicBezTo>
                  <a:pt x="135" y="11"/>
                  <a:pt x="136" y="12"/>
                  <a:pt x="136" y="13"/>
                </a:cubicBezTo>
                <a:close/>
                <a:moveTo>
                  <a:pt x="24" y="72"/>
                </a:moveTo>
                <a:cubicBezTo>
                  <a:pt x="41" y="59"/>
                  <a:pt x="41" y="59"/>
                  <a:pt x="41" y="59"/>
                </a:cubicBezTo>
                <a:cubicBezTo>
                  <a:pt x="42" y="58"/>
                  <a:pt x="43" y="58"/>
                  <a:pt x="44" y="59"/>
                </a:cubicBezTo>
                <a:cubicBezTo>
                  <a:pt x="61" y="72"/>
                  <a:pt x="61" y="72"/>
                  <a:pt x="61" y="72"/>
                </a:cubicBezTo>
                <a:cubicBezTo>
                  <a:pt x="61" y="13"/>
                  <a:pt x="61" y="13"/>
                  <a:pt x="61" y="13"/>
                </a:cubicBezTo>
                <a:cubicBezTo>
                  <a:pt x="61" y="5"/>
                  <a:pt x="61" y="5"/>
                  <a:pt x="61" y="5"/>
                </a:cubicBezTo>
                <a:cubicBezTo>
                  <a:pt x="24" y="5"/>
                  <a:pt x="24" y="5"/>
                  <a:pt x="24" y="5"/>
                </a:cubicBezTo>
                <a:cubicBezTo>
                  <a:pt x="24" y="13"/>
                  <a:pt x="24" y="13"/>
                  <a:pt x="24" y="13"/>
                </a:cubicBezTo>
                <a:lnTo>
                  <a:pt x="24" y="72"/>
                </a:lnTo>
                <a:close/>
                <a:moveTo>
                  <a:pt x="131" y="16"/>
                </a:moveTo>
                <a:cubicBezTo>
                  <a:pt x="67" y="16"/>
                  <a:pt x="67" y="16"/>
                  <a:pt x="67" y="16"/>
                </a:cubicBezTo>
                <a:cubicBezTo>
                  <a:pt x="67" y="77"/>
                  <a:pt x="67" y="77"/>
                  <a:pt x="67" y="77"/>
                </a:cubicBezTo>
                <a:cubicBezTo>
                  <a:pt x="67" y="78"/>
                  <a:pt x="66" y="79"/>
                  <a:pt x="65" y="80"/>
                </a:cubicBezTo>
                <a:cubicBezTo>
                  <a:pt x="65" y="80"/>
                  <a:pt x="64" y="80"/>
                  <a:pt x="64" y="80"/>
                </a:cubicBezTo>
                <a:cubicBezTo>
                  <a:pt x="64" y="80"/>
                  <a:pt x="64" y="80"/>
                  <a:pt x="64" y="80"/>
                </a:cubicBezTo>
                <a:cubicBezTo>
                  <a:pt x="64" y="80"/>
                  <a:pt x="64" y="80"/>
                  <a:pt x="64" y="80"/>
                </a:cubicBezTo>
                <a:cubicBezTo>
                  <a:pt x="64" y="80"/>
                  <a:pt x="64" y="80"/>
                  <a:pt x="63" y="80"/>
                </a:cubicBezTo>
                <a:cubicBezTo>
                  <a:pt x="63" y="80"/>
                  <a:pt x="63" y="80"/>
                  <a:pt x="63" y="80"/>
                </a:cubicBezTo>
                <a:cubicBezTo>
                  <a:pt x="63" y="80"/>
                  <a:pt x="63" y="80"/>
                  <a:pt x="62" y="79"/>
                </a:cubicBezTo>
                <a:cubicBezTo>
                  <a:pt x="43" y="65"/>
                  <a:pt x="43" y="65"/>
                  <a:pt x="43" y="65"/>
                </a:cubicBezTo>
                <a:cubicBezTo>
                  <a:pt x="23" y="79"/>
                  <a:pt x="23" y="79"/>
                  <a:pt x="23" y="79"/>
                </a:cubicBezTo>
                <a:cubicBezTo>
                  <a:pt x="22" y="80"/>
                  <a:pt x="21" y="80"/>
                  <a:pt x="20" y="80"/>
                </a:cubicBezTo>
                <a:cubicBezTo>
                  <a:pt x="19" y="79"/>
                  <a:pt x="19" y="78"/>
                  <a:pt x="19" y="77"/>
                </a:cubicBezTo>
                <a:cubicBezTo>
                  <a:pt x="19" y="16"/>
                  <a:pt x="19" y="16"/>
                  <a:pt x="19" y="16"/>
                </a:cubicBezTo>
                <a:cubicBezTo>
                  <a:pt x="5" y="16"/>
                  <a:pt x="5" y="16"/>
                  <a:pt x="5" y="16"/>
                </a:cubicBezTo>
                <a:cubicBezTo>
                  <a:pt x="5" y="155"/>
                  <a:pt x="5" y="155"/>
                  <a:pt x="5" y="155"/>
                </a:cubicBezTo>
                <a:cubicBezTo>
                  <a:pt x="131" y="155"/>
                  <a:pt x="131" y="155"/>
                  <a:pt x="131" y="155"/>
                </a:cubicBezTo>
                <a:lnTo>
                  <a:pt x="131" y="16"/>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8" name="Freeform 1055">
            <a:extLst>
              <a:ext uri="{FF2B5EF4-FFF2-40B4-BE49-F238E27FC236}">
                <a16:creationId xmlns:a16="http://schemas.microsoft.com/office/drawing/2014/main" id="{D6582877-359D-C743-A80A-0C4A58FA8BC7}"/>
              </a:ext>
            </a:extLst>
          </p:cNvPr>
          <p:cNvSpPr>
            <a:spLocks noEditPoints="1"/>
          </p:cNvSpPr>
          <p:nvPr/>
        </p:nvSpPr>
        <p:spPr bwMode="auto">
          <a:xfrm>
            <a:off x="3484445" y="1603375"/>
            <a:ext cx="471488" cy="550863"/>
          </a:xfrm>
          <a:custGeom>
            <a:avLst/>
            <a:gdLst>
              <a:gd name="T0" fmla="*/ 138 w 138"/>
              <a:gd name="T1" fmla="*/ 17 h 160"/>
              <a:gd name="T2" fmla="*/ 121 w 138"/>
              <a:gd name="T3" fmla="*/ 0 h 160"/>
              <a:gd name="T4" fmla="*/ 121 w 138"/>
              <a:gd name="T5" fmla="*/ 0 h 160"/>
              <a:gd name="T6" fmla="*/ 17 w 138"/>
              <a:gd name="T7" fmla="*/ 0 h 160"/>
              <a:gd name="T8" fmla="*/ 0 w 138"/>
              <a:gd name="T9" fmla="*/ 17 h 160"/>
              <a:gd name="T10" fmla="*/ 0 w 138"/>
              <a:gd name="T11" fmla="*/ 160 h 160"/>
              <a:gd name="T12" fmla="*/ 53 w 138"/>
              <a:gd name="T13" fmla="*/ 124 h 160"/>
              <a:gd name="T14" fmla="*/ 107 w 138"/>
              <a:gd name="T15" fmla="*/ 160 h 160"/>
              <a:gd name="T16" fmla="*/ 107 w 138"/>
              <a:gd name="T17" fmla="*/ 70 h 160"/>
              <a:gd name="T18" fmla="*/ 138 w 138"/>
              <a:gd name="T19" fmla="*/ 70 h 160"/>
              <a:gd name="T20" fmla="*/ 138 w 138"/>
              <a:gd name="T21" fmla="*/ 17 h 160"/>
              <a:gd name="T22" fmla="*/ 101 w 138"/>
              <a:gd name="T23" fmla="*/ 149 h 160"/>
              <a:gd name="T24" fmla="*/ 53 w 138"/>
              <a:gd name="T25" fmla="*/ 118 h 160"/>
              <a:gd name="T26" fmla="*/ 6 w 138"/>
              <a:gd name="T27" fmla="*/ 149 h 160"/>
              <a:gd name="T28" fmla="*/ 6 w 138"/>
              <a:gd name="T29" fmla="*/ 17 h 160"/>
              <a:gd name="T30" fmla="*/ 17 w 138"/>
              <a:gd name="T31" fmla="*/ 6 h 160"/>
              <a:gd name="T32" fmla="*/ 107 w 138"/>
              <a:gd name="T33" fmla="*/ 6 h 160"/>
              <a:gd name="T34" fmla="*/ 102 w 138"/>
              <a:gd name="T35" fmla="*/ 16 h 160"/>
              <a:gd name="T36" fmla="*/ 102 w 138"/>
              <a:gd name="T37" fmla="*/ 16 h 160"/>
              <a:gd name="T38" fmla="*/ 101 w 138"/>
              <a:gd name="T39" fmla="*/ 18 h 160"/>
              <a:gd name="T40" fmla="*/ 101 w 138"/>
              <a:gd name="T41" fmla="*/ 20 h 160"/>
              <a:gd name="T42" fmla="*/ 101 w 138"/>
              <a:gd name="T43" fmla="*/ 70 h 160"/>
              <a:gd name="T44" fmla="*/ 101 w 138"/>
              <a:gd name="T45" fmla="*/ 149 h 160"/>
              <a:gd name="T46" fmla="*/ 132 w 138"/>
              <a:gd name="T47" fmla="*/ 65 h 160"/>
              <a:gd name="T48" fmla="*/ 107 w 138"/>
              <a:gd name="T49" fmla="*/ 65 h 160"/>
              <a:gd name="T50" fmla="*/ 107 w 138"/>
              <a:gd name="T51" fmla="*/ 20 h 160"/>
              <a:gd name="T52" fmla="*/ 107 w 138"/>
              <a:gd name="T53" fmla="*/ 17 h 160"/>
              <a:gd name="T54" fmla="*/ 118 w 138"/>
              <a:gd name="T55" fmla="*/ 6 h 160"/>
              <a:gd name="T56" fmla="*/ 118 w 138"/>
              <a:gd name="T57" fmla="*/ 6 h 160"/>
              <a:gd name="T58" fmla="*/ 120 w 138"/>
              <a:gd name="T59" fmla="*/ 6 h 160"/>
              <a:gd name="T60" fmla="*/ 121 w 138"/>
              <a:gd name="T61" fmla="*/ 6 h 160"/>
              <a:gd name="T62" fmla="*/ 132 w 138"/>
              <a:gd name="T63" fmla="*/ 17 h 160"/>
              <a:gd name="T64" fmla="*/ 132 w 138"/>
              <a:gd name="T65" fmla="*/ 6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60">
                <a:moveTo>
                  <a:pt x="138" y="17"/>
                </a:moveTo>
                <a:cubicBezTo>
                  <a:pt x="138" y="8"/>
                  <a:pt x="130" y="0"/>
                  <a:pt x="121" y="0"/>
                </a:cubicBezTo>
                <a:cubicBezTo>
                  <a:pt x="121" y="0"/>
                  <a:pt x="121" y="0"/>
                  <a:pt x="121" y="0"/>
                </a:cubicBezTo>
                <a:cubicBezTo>
                  <a:pt x="17" y="0"/>
                  <a:pt x="17" y="0"/>
                  <a:pt x="17" y="0"/>
                </a:cubicBezTo>
                <a:cubicBezTo>
                  <a:pt x="8" y="0"/>
                  <a:pt x="0" y="8"/>
                  <a:pt x="0" y="17"/>
                </a:cubicBezTo>
                <a:cubicBezTo>
                  <a:pt x="0" y="160"/>
                  <a:pt x="0" y="160"/>
                  <a:pt x="0" y="160"/>
                </a:cubicBezTo>
                <a:cubicBezTo>
                  <a:pt x="53" y="124"/>
                  <a:pt x="53" y="124"/>
                  <a:pt x="53" y="124"/>
                </a:cubicBezTo>
                <a:cubicBezTo>
                  <a:pt x="107" y="160"/>
                  <a:pt x="107" y="160"/>
                  <a:pt x="107" y="160"/>
                </a:cubicBezTo>
                <a:cubicBezTo>
                  <a:pt x="107" y="70"/>
                  <a:pt x="107" y="70"/>
                  <a:pt x="107" y="70"/>
                </a:cubicBezTo>
                <a:cubicBezTo>
                  <a:pt x="138" y="70"/>
                  <a:pt x="138" y="70"/>
                  <a:pt x="138" y="70"/>
                </a:cubicBezTo>
                <a:lnTo>
                  <a:pt x="138" y="17"/>
                </a:lnTo>
                <a:close/>
                <a:moveTo>
                  <a:pt x="101" y="149"/>
                </a:moveTo>
                <a:cubicBezTo>
                  <a:pt x="53" y="118"/>
                  <a:pt x="53" y="118"/>
                  <a:pt x="53" y="118"/>
                </a:cubicBezTo>
                <a:cubicBezTo>
                  <a:pt x="6" y="149"/>
                  <a:pt x="6" y="149"/>
                  <a:pt x="6" y="149"/>
                </a:cubicBezTo>
                <a:cubicBezTo>
                  <a:pt x="6" y="17"/>
                  <a:pt x="6" y="17"/>
                  <a:pt x="6" y="17"/>
                </a:cubicBezTo>
                <a:cubicBezTo>
                  <a:pt x="6" y="11"/>
                  <a:pt x="11" y="6"/>
                  <a:pt x="17" y="6"/>
                </a:cubicBezTo>
                <a:cubicBezTo>
                  <a:pt x="107" y="6"/>
                  <a:pt x="107" y="6"/>
                  <a:pt x="107" y="6"/>
                </a:cubicBezTo>
                <a:cubicBezTo>
                  <a:pt x="104" y="8"/>
                  <a:pt x="102" y="12"/>
                  <a:pt x="102" y="16"/>
                </a:cubicBezTo>
                <a:cubicBezTo>
                  <a:pt x="102" y="16"/>
                  <a:pt x="102" y="16"/>
                  <a:pt x="102" y="16"/>
                </a:cubicBezTo>
                <a:cubicBezTo>
                  <a:pt x="102" y="16"/>
                  <a:pt x="101" y="17"/>
                  <a:pt x="101" y="18"/>
                </a:cubicBezTo>
                <a:cubicBezTo>
                  <a:pt x="101" y="18"/>
                  <a:pt x="101" y="19"/>
                  <a:pt x="101" y="20"/>
                </a:cubicBezTo>
                <a:cubicBezTo>
                  <a:pt x="101" y="70"/>
                  <a:pt x="101" y="70"/>
                  <a:pt x="101" y="70"/>
                </a:cubicBezTo>
                <a:lnTo>
                  <a:pt x="101" y="149"/>
                </a:lnTo>
                <a:close/>
                <a:moveTo>
                  <a:pt x="132" y="65"/>
                </a:moveTo>
                <a:cubicBezTo>
                  <a:pt x="107" y="65"/>
                  <a:pt x="107" y="65"/>
                  <a:pt x="107" y="65"/>
                </a:cubicBezTo>
                <a:cubicBezTo>
                  <a:pt x="107" y="20"/>
                  <a:pt x="107" y="20"/>
                  <a:pt x="107" y="20"/>
                </a:cubicBezTo>
                <a:cubicBezTo>
                  <a:pt x="107" y="19"/>
                  <a:pt x="107" y="18"/>
                  <a:pt x="107" y="17"/>
                </a:cubicBezTo>
                <a:cubicBezTo>
                  <a:pt x="108" y="12"/>
                  <a:pt x="112" y="7"/>
                  <a:pt x="118" y="6"/>
                </a:cubicBezTo>
                <a:cubicBezTo>
                  <a:pt x="118" y="6"/>
                  <a:pt x="118" y="6"/>
                  <a:pt x="118" y="6"/>
                </a:cubicBezTo>
                <a:cubicBezTo>
                  <a:pt x="119" y="6"/>
                  <a:pt x="119" y="6"/>
                  <a:pt x="120" y="6"/>
                </a:cubicBezTo>
                <a:cubicBezTo>
                  <a:pt x="120" y="6"/>
                  <a:pt x="121" y="6"/>
                  <a:pt x="121" y="6"/>
                </a:cubicBezTo>
                <a:cubicBezTo>
                  <a:pt x="127" y="6"/>
                  <a:pt x="132" y="11"/>
                  <a:pt x="132" y="17"/>
                </a:cubicBezTo>
                <a:lnTo>
                  <a:pt x="132" y="65"/>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9" name="Freeform 1056">
            <a:extLst>
              <a:ext uri="{FF2B5EF4-FFF2-40B4-BE49-F238E27FC236}">
                <a16:creationId xmlns:a16="http://schemas.microsoft.com/office/drawing/2014/main" id="{5EE3A875-F814-504B-B4A1-133B04A772E3}"/>
              </a:ext>
            </a:extLst>
          </p:cNvPr>
          <p:cNvSpPr>
            <a:spLocks noEditPoints="1"/>
          </p:cNvSpPr>
          <p:nvPr/>
        </p:nvSpPr>
        <p:spPr bwMode="auto">
          <a:xfrm>
            <a:off x="3443170" y="2263775"/>
            <a:ext cx="546100" cy="468313"/>
          </a:xfrm>
          <a:custGeom>
            <a:avLst/>
            <a:gdLst>
              <a:gd name="T0" fmla="*/ 147 w 160"/>
              <a:gd name="T1" fmla="*/ 24 h 136"/>
              <a:gd name="T2" fmla="*/ 120 w 160"/>
              <a:gd name="T3" fmla="*/ 16 h 136"/>
              <a:gd name="T4" fmla="*/ 109 w 160"/>
              <a:gd name="T5" fmla="*/ 24 h 136"/>
              <a:gd name="T6" fmla="*/ 101 w 160"/>
              <a:gd name="T7" fmla="*/ 0 h 136"/>
              <a:gd name="T8" fmla="*/ 51 w 160"/>
              <a:gd name="T9" fmla="*/ 9 h 136"/>
              <a:gd name="T10" fmla="*/ 40 w 160"/>
              <a:gd name="T11" fmla="*/ 24 h 136"/>
              <a:gd name="T12" fmla="*/ 13 w 160"/>
              <a:gd name="T13" fmla="*/ 16 h 136"/>
              <a:gd name="T14" fmla="*/ 8 w 160"/>
              <a:gd name="T15" fmla="*/ 24 h 136"/>
              <a:gd name="T16" fmla="*/ 0 w 160"/>
              <a:gd name="T17" fmla="*/ 128 h 136"/>
              <a:gd name="T18" fmla="*/ 152 w 160"/>
              <a:gd name="T19" fmla="*/ 136 h 136"/>
              <a:gd name="T20" fmla="*/ 160 w 160"/>
              <a:gd name="T21" fmla="*/ 32 h 136"/>
              <a:gd name="T22" fmla="*/ 125 w 160"/>
              <a:gd name="T23" fmla="*/ 21 h 136"/>
              <a:gd name="T24" fmla="*/ 141 w 160"/>
              <a:gd name="T25" fmla="*/ 24 h 136"/>
              <a:gd name="T26" fmla="*/ 125 w 160"/>
              <a:gd name="T27" fmla="*/ 21 h 136"/>
              <a:gd name="T28" fmla="*/ 59 w 160"/>
              <a:gd name="T29" fmla="*/ 5 h 136"/>
              <a:gd name="T30" fmla="*/ 104 w 160"/>
              <a:gd name="T31" fmla="*/ 9 h 136"/>
              <a:gd name="T32" fmla="*/ 56 w 160"/>
              <a:gd name="T33" fmla="*/ 24 h 136"/>
              <a:gd name="T34" fmla="*/ 51 w 160"/>
              <a:gd name="T35" fmla="*/ 29 h 136"/>
              <a:gd name="T36" fmla="*/ 120 w 160"/>
              <a:gd name="T37" fmla="*/ 29 h 136"/>
              <a:gd name="T38" fmla="*/ 133 w 160"/>
              <a:gd name="T39" fmla="*/ 131 h 136"/>
              <a:gd name="T40" fmla="*/ 27 w 160"/>
              <a:gd name="T41" fmla="*/ 29 h 136"/>
              <a:gd name="T42" fmla="*/ 51 w 160"/>
              <a:gd name="T43" fmla="*/ 29 h 136"/>
              <a:gd name="T44" fmla="*/ 35 w 160"/>
              <a:gd name="T45" fmla="*/ 21 h 136"/>
              <a:gd name="T46" fmla="*/ 19 w 160"/>
              <a:gd name="T47" fmla="*/ 24 h 136"/>
              <a:gd name="T48" fmla="*/ 5 w 160"/>
              <a:gd name="T49" fmla="*/ 128 h 136"/>
              <a:gd name="T50" fmla="*/ 8 w 160"/>
              <a:gd name="T51" fmla="*/ 29 h 136"/>
              <a:gd name="T52" fmla="*/ 21 w 160"/>
              <a:gd name="T53" fmla="*/ 29 h 136"/>
              <a:gd name="T54" fmla="*/ 8 w 160"/>
              <a:gd name="T55" fmla="*/ 131 h 136"/>
              <a:gd name="T56" fmla="*/ 155 w 160"/>
              <a:gd name="T57" fmla="*/ 128 h 136"/>
              <a:gd name="T58" fmla="*/ 139 w 160"/>
              <a:gd name="T59" fmla="*/ 131 h 136"/>
              <a:gd name="T60" fmla="*/ 147 w 160"/>
              <a:gd name="T61" fmla="*/ 29 h 136"/>
              <a:gd name="T62" fmla="*/ 155 w 160"/>
              <a:gd name="T63" fmla="*/ 3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36">
                <a:moveTo>
                  <a:pt x="152" y="24"/>
                </a:moveTo>
                <a:cubicBezTo>
                  <a:pt x="147" y="24"/>
                  <a:pt x="147" y="24"/>
                  <a:pt x="147" y="24"/>
                </a:cubicBezTo>
                <a:cubicBezTo>
                  <a:pt x="147" y="16"/>
                  <a:pt x="147" y="16"/>
                  <a:pt x="147" y="16"/>
                </a:cubicBezTo>
                <a:cubicBezTo>
                  <a:pt x="120" y="16"/>
                  <a:pt x="120" y="16"/>
                  <a:pt x="120" y="16"/>
                </a:cubicBezTo>
                <a:cubicBezTo>
                  <a:pt x="120" y="24"/>
                  <a:pt x="120" y="24"/>
                  <a:pt x="120" y="24"/>
                </a:cubicBezTo>
                <a:cubicBezTo>
                  <a:pt x="109" y="24"/>
                  <a:pt x="109" y="24"/>
                  <a:pt x="109" y="24"/>
                </a:cubicBezTo>
                <a:cubicBezTo>
                  <a:pt x="109" y="9"/>
                  <a:pt x="109" y="9"/>
                  <a:pt x="109" y="9"/>
                </a:cubicBezTo>
                <a:cubicBezTo>
                  <a:pt x="109" y="4"/>
                  <a:pt x="106" y="0"/>
                  <a:pt x="101" y="0"/>
                </a:cubicBezTo>
                <a:cubicBezTo>
                  <a:pt x="59" y="0"/>
                  <a:pt x="59" y="0"/>
                  <a:pt x="59" y="0"/>
                </a:cubicBezTo>
                <a:cubicBezTo>
                  <a:pt x="55" y="0"/>
                  <a:pt x="51" y="4"/>
                  <a:pt x="51" y="9"/>
                </a:cubicBezTo>
                <a:cubicBezTo>
                  <a:pt x="51" y="24"/>
                  <a:pt x="51" y="24"/>
                  <a:pt x="51" y="24"/>
                </a:cubicBezTo>
                <a:cubicBezTo>
                  <a:pt x="40" y="24"/>
                  <a:pt x="40" y="24"/>
                  <a:pt x="40" y="24"/>
                </a:cubicBezTo>
                <a:cubicBezTo>
                  <a:pt x="40" y="16"/>
                  <a:pt x="40" y="16"/>
                  <a:pt x="40" y="16"/>
                </a:cubicBezTo>
                <a:cubicBezTo>
                  <a:pt x="13" y="16"/>
                  <a:pt x="13" y="16"/>
                  <a:pt x="13" y="16"/>
                </a:cubicBezTo>
                <a:cubicBezTo>
                  <a:pt x="13" y="24"/>
                  <a:pt x="13" y="24"/>
                  <a:pt x="13" y="24"/>
                </a:cubicBezTo>
                <a:cubicBezTo>
                  <a:pt x="8" y="24"/>
                  <a:pt x="8" y="24"/>
                  <a:pt x="8" y="24"/>
                </a:cubicBezTo>
                <a:cubicBezTo>
                  <a:pt x="4" y="24"/>
                  <a:pt x="0" y="28"/>
                  <a:pt x="0" y="32"/>
                </a:cubicBezTo>
                <a:cubicBezTo>
                  <a:pt x="0" y="128"/>
                  <a:pt x="0" y="128"/>
                  <a:pt x="0" y="128"/>
                </a:cubicBezTo>
                <a:cubicBezTo>
                  <a:pt x="0" y="132"/>
                  <a:pt x="4" y="136"/>
                  <a:pt x="8" y="136"/>
                </a:cubicBezTo>
                <a:cubicBezTo>
                  <a:pt x="152" y="136"/>
                  <a:pt x="152" y="136"/>
                  <a:pt x="152" y="136"/>
                </a:cubicBezTo>
                <a:cubicBezTo>
                  <a:pt x="156" y="136"/>
                  <a:pt x="160" y="132"/>
                  <a:pt x="160" y="128"/>
                </a:cubicBezTo>
                <a:cubicBezTo>
                  <a:pt x="160" y="32"/>
                  <a:pt x="160" y="32"/>
                  <a:pt x="160" y="32"/>
                </a:cubicBezTo>
                <a:cubicBezTo>
                  <a:pt x="160" y="28"/>
                  <a:pt x="156" y="24"/>
                  <a:pt x="152" y="24"/>
                </a:cubicBezTo>
                <a:close/>
                <a:moveTo>
                  <a:pt x="125" y="21"/>
                </a:moveTo>
                <a:cubicBezTo>
                  <a:pt x="141" y="21"/>
                  <a:pt x="141" y="21"/>
                  <a:pt x="141" y="21"/>
                </a:cubicBezTo>
                <a:cubicBezTo>
                  <a:pt x="141" y="24"/>
                  <a:pt x="141" y="24"/>
                  <a:pt x="141" y="24"/>
                </a:cubicBezTo>
                <a:cubicBezTo>
                  <a:pt x="125" y="24"/>
                  <a:pt x="125" y="24"/>
                  <a:pt x="125" y="24"/>
                </a:cubicBezTo>
                <a:lnTo>
                  <a:pt x="125" y="21"/>
                </a:lnTo>
                <a:close/>
                <a:moveTo>
                  <a:pt x="56" y="9"/>
                </a:moveTo>
                <a:cubicBezTo>
                  <a:pt x="56" y="7"/>
                  <a:pt x="57" y="5"/>
                  <a:pt x="59" y="5"/>
                </a:cubicBezTo>
                <a:cubicBezTo>
                  <a:pt x="101" y="5"/>
                  <a:pt x="101" y="5"/>
                  <a:pt x="101" y="5"/>
                </a:cubicBezTo>
                <a:cubicBezTo>
                  <a:pt x="103" y="5"/>
                  <a:pt x="104" y="7"/>
                  <a:pt x="104" y="9"/>
                </a:cubicBezTo>
                <a:cubicBezTo>
                  <a:pt x="104" y="24"/>
                  <a:pt x="104" y="24"/>
                  <a:pt x="104" y="24"/>
                </a:cubicBezTo>
                <a:cubicBezTo>
                  <a:pt x="56" y="24"/>
                  <a:pt x="56" y="24"/>
                  <a:pt x="56" y="24"/>
                </a:cubicBezTo>
                <a:lnTo>
                  <a:pt x="56" y="9"/>
                </a:lnTo>
                <a:close/>
                <a:moveTo>
                  <a:pt x="51" y="29"/>
                </a:moveTo>
                <a:cubicBezTo>
                  <a:pt x="109" y="29"/>
                  <a:pt x="109" y="29"/>
                  <a:pt x="109" y="29"/>
                </a:cubicBezTo>
                <a:cubicBezTo>
                  <a:pt x="120" y="29"/>
                  <a:pt x="120" y="29"/>
                  <a:pt x="120" y="29"/>
                </a:cubicBezTo>
                <a:cubicBezTo>
                  <a:pt x="133" y="29"/>
                  <a:pt x="133" y="29"/>
                  <a:pt x="133" y="29"/>
                </a:cubicBezTo>
                <a:cubicBezTo>
                  <a:pt x="133" y="131"/>
                  <a:pt x="133" y="131"/>
                  <a:pt x="133" y="131"/>
                </a:cubicBezTo>
                <a:cubicBezTo>
                  <a:pt x="27" y="131"/>
                  <a:pt x="27" y="131"/>
                  <a:pt x="27" y="131"/>
                </a:cubicBezTo>
                <a:cubicBezTo>
                  <a:pt x="27" y="29"/>
                  <a:pt x="27" y="29"/>
                  <a:pt x="27" y="29"/>
                </a:cubicBezTo>
                <a:cubicBezTo>
                  <a:pt x="40" y="29"/>
                  <a:pt x="40" y="29"/>
                  <a:pt x="40" y="29"/>
                </a:cubicBezTo>
                <a:lnTo>
                  <a:pt x="51" y="29"/>
                </a:lnTo>
                <a:close/>
                <a:moveTo>
                  <a:pt x="19" y="21"/>
                </a:moveTo>
                <a:cubicBezTo>
                  <a:pt x="35" y="21"/>
                  <a:pt x="35" y="21"/>
                  <a:pt x="35" y="21"/>
                </a:cubicBezTo>
                <a:cubicBezTo>
                  <a:pt x="35" y="24"/>
                  <a:pt x="35" y="24"/>
                  <a:pt x="35" y="24"/>
                </a:cubicBezTo>
                <a:cubicBezTo>
                  <a:pt x="19" y="24"/>
                  <a:pt x="19" y="24"/>
                  <a:pt x="19" y="24"/>
                </a:cubicBezTo>
                <a:lnTo>
                  <a:pt x="19" y="21"/>
                </a:lnTo>
                <a:close/>
                <a:moveTo>
                  <a:pt x="5" y="128"/>
                </a:moveTo>
                <a:cubicBezTo>
                  <a:pt x="5" y="32"/>
                  <a:pt x="5" y="32"/>
                  <a:pt x="5" y="32"/>
                </a:cubicBezTo>
                <a:cubicBezTo>
                  <a:pt x="5" y="31"/>
                  <a:pt x="7" y="29"/>
                  <a:pt x="8" y="29"/>
                </a:cubicBezTo>
                <a:cubicBezTo>
                  <a:pt x="13" y="29"/>
                  <a:pt x="13" y="29"/>
                  <a:pt x="13" y="29"/>
                </a:cubicBezTo>
                <a:cubicBezTo>
                  <a:pt x="21" y="29"/>
                  <a:pt x="21" y="29"/>
                  <a:pt x="21" y="29"/>
                </a:cubicBezTo>
                <a:cubicBezTo>
                  <a:pt x="21" y="131"/>
                  <a:pt x="21" y="131"/>
                  <a:pt x="21" y="131"/>
                </a:cubicBezTo>
                <a:cubicBezTo>
                  <a:pt x="8" y="131"/>
                  <a:pt x="8" y="131"/>
                  <a:pt x="8" y="131"/>
                </a:cubicBezTo>
                <a:cubicBezTo>
                  <a:pt x="7" y="131"/>
                  <a:pt x="5" y="129"/>
                  <a:pt x="5" y="128"/>
                </a:cubicBezTo>
                <a:close/>
                <a:moveTo>
                  <a:pt x="155" y="128"/>
                </a:moveTo>
                <a:cubicBezTo>
                  <a:pt x="155" y="129"/>
                  <a:pt x="153" y="131"/>
                  <a:pt x="152" y="131"/>
                </a:cubicBezTo>
                <a:cubicBezTo>
                  <a:pt x="139" y="131"/>
                  <a:pt x="139" y="131"/>
                  <a:pt x="139" y="131"/>
                </a:cubicBezTo>
                <a:cubicBezTo>
                  <a:pt x="139" y="29"/>
                  <a:pt x="139" y="29"/>
                  <a:pt x="139" y="29"/>
                </a:cubicBezTo>
                <a:cubicBezTo>
                  <a:pt x="147" y="29"/>
                  <a:pt x="147" y="29"/>
                  <a:pt x="147" y="29"/>
                </a:cubicBezTo>
                <a:cubicBezTo>
                  <a:pt x="152" y="29"/>
                  <a:pt x="152" y="29"/>
                  <a:pt x="152" y="29"/>
                </a:cubicBezTo>
                <a:cubicBezTo>
                  <a:pt x="153" y="29"/>
                  <a:pt x="155" y="31"/>
                  <a:pt x="155" y="32"/>
                </a:cubicBezTo>
                <a:lnTo>
                  <a:pt x="155" y="128"/>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0" name="Freeform 1057">
            <a:extLst>
              <a:ext uri="{FF2B5EF4-FFF2-40B4-BE49-F238E27FC236}">
                <a16:creationId xmlns:a16="http://schemas.microsoft.com/office/drawing/2014/main" id="{2A6E0613-8EB8-B44C-B683-874394A99E0D}"/>
              </a:ext>
            </a:extLst>
          </p:cNvPr>
          <p:cNvSpPr>
            <a:spLocks noEditPoints="1"/>
          </p:cNvSpPr>
          <p:nvPr/>
        </p:nvSpPr>
        <p:spPr bwMode="auto">
          <a:xfrm>
            <a:off x="3443170" y="2828925"/>
            <a:ext cx="546100" cy="563563"/>
          </a:xfrm>
          <a:custGeom>
            <a:avLst/>
            <a:gdLst>
              <a:gd name="T0" fmla="*/ 149 w 160"/>
              <a:gd name="T1" fmla="*/ 66 h 164"/>
              <a:gd name="T2" fmla="*/ 87 w 160"/>
              <a:gd name="T3" fmla="*/ 113 h 164"/>
              <a:gd name="T4" fmla="*/ 62 w 160"/>
              <a:gd name="T5" fmla="*/ 98 h 164"/>
              <a:gd name="T6" fmla="*/ 109 w 160"/>
              <a:gd name="T7" fmla="*/ 98 h 164"/>
              <a:gd name="T8" fmla="*/ 154 w 160"/>
              <a:gd name="T9" fmla="*/ 40 h 164"/>
              <a:gd name="T10" fmla="*/ 124 w 160"/>
              <a:gd name="T11" fmla="*/ 10 h 164"/>
              <a:gd name="T12" fmla="*/ 75 w 160"/>
              <a:gd name="T13" fmla="*/ 47 h 164"/>
              <a:gd name="T14" fmla="*/ 70 w 160"/>
              <a:gd name="T15" fmla="*/ 42 h 164"/>
              <a:gd name="T16" fmla="*/ 149 w 160"/>
              <a:gd name="T17" fmla="*/ 15 h 164"/>
              <a:gd name="T18" fmla="*/ 81 w 160"/>
              <a:gd name="T19" fmla="*/ 126 h 164"/>
              <a:gd name="T20" fmla="*/ 36 w 160"/>
              <a:gd name="T21" fmla="*/ 158 h 164"/>
              <a:gd name="T22" fmla="*/ 15 w 160"/>
              <a:gd name="T23" fmla="*/ 106 h 164"/>
              <a:gd name="T24" fmla="*/ 92 w 160"/>
              <a:gd name="T25" fmla="*/ 72 h 164"/>
              <a:gd name="T26" fmla="*/ 96 w 160"/>
              <a:gd name="T27" fmla="*/ 68 h 164"/>
              <a:gd name="T28" fmla="*/ 11 w 160"/>
              <a:gd name="T29" fmla="*/ 102 h 164"/>
              <a:gd name="T30" fmla="*/ 11 w 160"/>
              <a:gd name="T31" fmla="*/ 153 h 164"/>
              <a:gd name="T32" fmla="*/ 62 w 160"/>
              <a:gd name="T33" fmla="*/ 153 h 164"/>
              <a:gd name="T34" fmla="*/ 85 w 160"/>
              <a:gd name="T35" fmla="*/ 126 h 164"/>
              <a:gd name="T36" fmla="*/ 103 w 160"/>
              <a:gd name="T37" fmla="*/ 137 h 164"/>
              <a:gd name="T38" fmla="*/ 100 w 160"/>
              <a:gd name="T39" fmla="*/ 158 h 164"/>
              <a:gd name="T40" fmla="*/ 106 w 160"/>
              <a:gd name="T41" fmla="*/ 158 h 164"/>
              <a:gd name="T42" fmla="*/ 103 w 160"/>
              <a:gd name="T43" fmla="*/ 137 h 164"/>
              <a:gd name="T44" fmla="*/ 112 w 160"/>
              <a:gd name="T45" fmla="*/ 132 h 164"/>
              <a:gd name="T46" fmla="*/ 125 w 160"/>
              <a:gd name="T47" fmla="*/ 149 h 164"/>
              <a:gd name="T48" fmla="*/ 129 w 160"/>
              <a:gd name="T49" fmla="*/ 149 h 164"/>
              <a:gd name="T50" fmla="*/ 116 w 160"/>
              <a:gd name="T51" fmla="*/ 132 h 164"/>
              <a:gd name="T52" fmla="*/ 118 w 160"/>
              <a:gd name="T53" fmla="*/ 119 h 164"/>
              <a:gd name="T54" fmla="*/ 118 w 160"/>
              <a:gd name="T55" fmla="*/ 125 h 164"/>
              <a:gd name="T56" fmla="*/ 139 w 160"/>
              <a:gd name="T57" fmla="*/ 122 h 164"/>
              <a:gd name="T58" fmla="*/ 48 w 160"/>
              <a:gd name="T59" fmla="*/ 37 h 164"/>
              <a:gd name="T60" fmla="*/ 51 w 160"/>
              <a:gd name="T61" fmla="*/ 16 h 164"/>
              <a:gd name="T62" fmla="*/ 45 w 160"/>
              <a:gd name="T63" fmla="*/ 16 h 164"/>
              <a:gd name="T64" fmla="*/ 48 w 160"/>
              <a:gd name="T65" fmla="*/ 37 h 164"/>
              <a:gd name="T66" fmla="*/ 37 w 160"/>
              <a:gd name="T67" fmla="*/ 43 h 164"/>
              <a:gd name="T68" fmla="*/ 39 w 160"/>
              <a:gd name="T69" fmla="*/ 38 h 164"/>
              <a:gd name="T70" fmla="*/ 22 w 160"/>
              <a:gd name="T71" fmla="*/ 25 h 164"/>
              <a:gd name="T72" fmla="*/ 35 w 160"/>
              <a:gd name="T73" fmla="*/ 42 h 164"/>
              <a:gd name="T74" fmla="*/ 33 w 160"/>
              <a:gd name="T75" fmla="*/ 55 h 164"/>
              <a:gd name="T76" fmla="*/ 33 w 160"/>
              <a:gd name="T77" fmla="*/ 49 h 164"/>
              <a:gd name="T78" fmla="*/ 12 w 160"/>
              <a:gd name="T79" fmla="*/ 5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64">
                <a:moveTo>
                  <a:pt x="160" y="40"/>
                </a:moveTo>
                <a:cubicBezTo>
                  <a:pt x="160" y="50"/>
                  <a:pt x="156" y="59"/>
                  <a:pt x="149" y="66"/>
                </a:cubicBezTo>
                <a:cubicBezTo>
                  <a:pt x="113" y="102"/>
                  <a:pt x="113" y="102"/>
                  <a:pt x="113" y="102"/>
                </a:cubicBezTo>
                <a:cubicBezTo>
                  <a:pt x="106" y="109"/>
                  <a:pt x="97" y="113"/>
                  <a:pt x="87" y="113"/>
                </a:cubicBezTo>
                <a:cubicBezTo>
                  <a:pt x="78" y="113"/>
                  <a:pt x="69" y="109"/>
                  <a:pt x="62" y="102"/>
                </a:cubicBezTo>
                <a:cubicBezTo>
                  <a:pt x="61" y="101"/>
                  <a:pt x="61" y="99"/>
                  <a:pt x="62" y="98"/>
                </a:cubicBezTo>
                <a:cubicBezTo>
                  <a:pt x="63" y="97"/>
                  <a:pt x="65" y="97"/>
                  <a:pt x="66" y="98"/>
                </a:cubicBezTo>
                <a:cubicBezTo>
                  <a:pt x="78" y="110"/>
                  <a:pt x="97" y="110"/>
                  <a:pt x="109" y="98"/>
                </a:cubicBezTo>
                <a:cubicBezTo>
                  <a:pt x="145" y="62"/>
                  <a:pt x="145" y="62"/>
                  <a:pt x="145" y="62"/>
                </a:cubicBezTo>
                <a:cubicBezTo>
                  <a:pt x="151" y="56"/>
                  <a:pt x="154" y="48"/>
                  <a:pt x="154" y="40"/>
                </a:cubicBezTo>
                <a:cubicBezTo>
                  <a:pt x="154" y="32"/>
                  <a:pt x="151" y="25"/>
                  <a:pt x="145" y="19"/>
                </a:cubicBezTo>
                <a:cubicBezTo>
                  <a:pt x="139" y="13"/>
                  <a:pt x="132" y="10"/>
                  <a:pt x="124" y="10"/>
                </a:cubicBezTo>
                <a:cubicBezTo>
                  <a:pt x="116" y="10"/>
                  <a:pt x="108" y="13"/>
                  <a:pt x="102" y="19"/>
                </a:cubicBezTo>
                <a:cubicBezTo>
                  <a:pt x="75" y="47"/>
                  <a:pt x="75" y="47"/>
                  <a:pt x="75" y="47"/>
                </a:cubicBezTo>
                <a:cubicBezTo>
                  <a:pt x="73" y="48"/>
                  <a:pt x="72" y="48"/>
                  <a:pt x="70" y="47"/>
                </a:cubicBezTo>
                <a:cubicBezTo>
                  <a:pt x="69" y="45"/>
                  <a:pt x="69" y="44"/>
                  <a:pt x="70" y="42"/>
                </a:cubicBezTo>
                <a:cubicBezTo>
                  <a:pt x="98" y="15"/>
                  <a:pt x="98" y="15"/>
                  <a:pt x="98" y="15"/>
                </a:cubicBezTo>
                <a:cubicBezTo>
                  <a:pt x="112" y="0"/>
                  <a:pt x="135" y="0"/>
                  <a:pt x="149" y="15"/>
                </a:cubicBezTo>
                <a:cubicBezTo>
                  <a:pt x="156" y="21"/>
                  <a:pt x="160" y="31"/>
                  <a:pt x="160" y="40"/>
                </a:cubicBezTo>
                <a:close/>
                <a:moveTo>
                  <a:pt x="81" y="126"/>
                </a:moveTo>
                <a:cubicBezTo>
                  <a:pt x="58" y="149"/>
                  <a:pt x="58" y="149"/>
                  <a:pt x="58" y="149"/>
                </a:cubicBezTo>
                <a:cubicBezTo>
                  <a:pt x="52" y="155"/>
                  <a:pt x="44" y="158"/>
                  <a:pt x="36" y="158"/>
                </a:cubicBezTo>
                <a:cubicBezTo>
                  <a:pt x="28" y="158"/>
                  <a:pt x="21" y="155"/>
                  <a:pt x="15" y="149"/>
                </a:cubicBezTo>
                <a:cubicBezTo>
                  <a:pt x="3" y="137"/>
                  <a:pt x="3" y="118"/>
                  <a:pt x="15" y="106"/>
                </a:cubicBezTo>
                <a:cubicBezTo>
                  <a:pt x="49" y="72"/>
                  <a:pt x="49" y="72"/>
                  <a:pt x="49" y="72"/>
                </a:cubicBezTo>
                <a:cubicBezTo>
                  <a:pt x="61" y="60"/>
                  <a:pt x="80" y="60"/>
                  <a:pt x="92" y="72"/>
                </a:cubicBezTo>
                <a:cubicBezTo>
                  <a:pt x="93" y="73"/>
                  <a:pt x="95" y="73"/>
                  <a:pt x="96" y="72"/>
                </a:cubicBezTo>
                <a:cubicBezTo>
                  <a:pt x="97" y="71"/>
                  <a:pt x="97" y="69"/>
                  <a:pt x="96" y="68"/>
                </a:cubicBezTo>
                <a:cubicBezTo>
                  <a:pt x="82" y="54"/>
                  <a:pt x="59" y="54"/>
                  <a:pt x="45" y="68"/>
                </a:cubicBezTo>
                <a:cubicBezTo>
                  <a:pt x="11" y="102"/>
                  <a:pt x="11" y="102"/>
                  <a:pt x="11" y="102"/>
                </a:cubicBezTo>
                <a:cubicBezTo>
                  <a:pt x="4" y="109"/>
                  <a:pt x="0" y="118"/>
                  <a:pt x="0" y="128"/>
                </a:cubicBezTo>
                <a:cubicBezTo>
                  <a:pt x="0" y="138"/>
                  <a:pt x="4" y="147"/>
                  <a:pt x="11" y="153"/>
                </a:cubicBezTo>
                <a:cubicBezTo>
                  <a:pt x="17" y="160"/>
                  <a:pt x="26" y="164"/>
                  <a:pt x="36" y="164"/>
                </a:cubicBezTo>
                <a:cubicBezTo>
                  <a:pt x="46" y="164"/>
                  <a:pt x="55" y="160"/>
                  <a:pt x="62" y="153"/>
                </a:cubicBezTo>
                <a:cubicBezTo>
                  <a:pt x="85" y="130"/>
                  <a:pt x="85" y="130"/>
                  <a:pt x="85" y="130"/>
                </a:cubicBezTo>
                <a:cubicBezTo>
                  <a:pt x="87" y="129"/>
                  <a:pt x="87" y="127"/>
                  <a:pt x="85" y="126"/>
                </a:cubicBezTo>
                <a:cubicBezTo>
                  <a:pt x="84" y="124"/>
                  <a:pt x="82" y="124"/>
                  <a:pt x="81" y="126"/>
                </a:cubicBezTo>
                <a:close/>
                <a:moveTo>
                  <a:pt x="103" y="137"/>
                </a:moveTo>
                <a:cubicBezTo>
                  <a:pt x="101" y="137"/>
                  <a:pt x="100" y="138"/>
                  <a:pt x="100" y="140"/>
                </a:cubicBezTo>
                <a:cubicBezTo>
                  <a:pt x="100" y="158"/>
                  <a:pt x="100" y="158"/>
                  <a:pt x="100" y="158"/>
                </a:cubicBezTo>
                <a:cubicBezTo>
                  <a:pt x="100" y="160"/>
                  <a:pt x="101" y="161"/>
                  <a:pt x="103" y="161"/>
                </a:cubicBezTo>
                <a:cubicBezTo>
                  <a:pt x="104" y="161"/>
                  <a:pt x="106" y="160"/>
                  <a:pt x="106" y="158"/>
                </a:cubicBezTo>
                <a:cubicBezTo>
                  <a:pt x="106" y="140"/>
                  <a:pt x="106" y="140"/>
                  <a:pt x="106" y="140"/>
                </a:cubicBezTo>
                <a:cubicBezTo>
                  <a:pt x="106" y="138"/>
                  <a:pt x="104" y="137"/>
                  <a:pt x="103" y="137"/>
                </a:cubicBezTo>
                <a:close/>
                <a:moveTo>
                  <a:pt x="116" y="132"/>
                </a:moveTo>
                <a:cubicBezTo>
                  <a:pt x="115" y="131"/>
                  <a:pt x="113" y="131"/>
                  <a:pt x="112" y="132"/>
                </a:cubicBezTo>
                <a:cubicBezTo>
                  <a:pt x="111" y="133"/>
                  <a:pt x="111" y="135"/>
                  <a:pt x="112" y="136"/>
                </a:cubicBezTo>
                <a:cubicBezTo>
                  <a:pt x="125" y="149"/>
                  <a:pt x="125" y="149"/>
                  <a:pt x="125" y="149"/>
                </a:cubicBezTo>
                <a:cubicBezTo>
                  <a:pt x="125" y="149"/>
                  <a:pt x="126" y="150"/>
                  <a:pt x="127" y="150"/>
                </a:cubicBezTo>
                <a:cubicBezTo>
                  <a:pt x="128" y="150"/>
                  <a:pt x="128" y="149"/>
                  <a:pt x="129" y="149"/>
                </a:cubicBezTo>
                <a:cubicBezTo>
                  <a:pt x="130" y="148"/>
                  <a:pt x="130" y="146"/>
                  <a:pt x="129" y="145"/>
                </a:cubicBezTo>
                <a:lnTo>
                  <a:pt x="116" y="132"/>
                </a:lnTo>
                <a:close/>
                <a:moveTo>
                  <a:pt x="136" y="119"/>
                </a:moveTo>
                <a:cubicBezTo>
                  <a:pt x="118" y="119"/>
                  <a:pt x="118" y="119"/>
                  <a:pt x="118" y="119"/>
                </a:cubicBezTo>
                <a:cubicBezTo>
                  <a:pt x="116" y="119"/>
                  <a:pt x="115" y="120"/>
                  <a:pt x="115" y="122"/>
                </a:cubicBezTo>
                <a:cubicBezTo>
                  <a:pt x="115" y="123"/>
                  <a:pt x="116" y="125"/>
                  <a:pt x="118" y="125"/>
                </a:cubicBezTo>
                <a:cubicBezTo>
                  <a:pt x="136" y="125"/>
                  <a:pt x="136" y="125"/>
                  <a:pt x="136" y="125"/>
                </a:cubicBezTo>
                <a:cubicBezTo>
                  <a:pt x="137" y="125"/>
                  <a:pt x="139" y="123"/>
                  <a:pt x="139" y="122"/>
                </a:cubicBezTo>
                <a:cubicBezTo>
                  <a:pt x="139" y="120"/>
                  <a:pt x="137" y="119"/>
                  <a:pt x="136" y="119"/>
                </a:cubicBezTo>
                <a:close/>
                <a:moveTo>
                  <a:pt x="48" y="37"/>
                </a:moveTo>
                <a:cubicBezTo>
                  <a:pt x="50" y="37"/>
                  <a:pt x="51" y="36"/>
                  <a:pt x="51" y="34"/>
                </a:cubicBezTo>
                <a:cubicBezTo>
                  <a:pt x="51" y="16"/>
                  <a:pt x="51" y="16"/>
                  <a:pt x="51" y="16"/>
                </a:cubicBezTo>
                <a:cubicBezTo>
                  <a:pt x="51" y="14"/>
                  <a:pt x="50" y="13"/>
                  <a:pt x="48" y="13"/>
                </a:cubicBezTo>
                <a:cubicBezTo>
                  <a:pt x="47" y="13"/>
                  <a:pt x="45" y="14"/>
                  <a:pt x="45" y="16"/>
                </a:cubicBezTo>
                <a:cubicBezTo>
                  <a:pt x="45" y="34"/>
                  <a:pt x="45" y="34"/>
                  <a:pt x="45" y="34"/>
                </a:cubicBezTo>
                <a:cubicBezTo>
                  <a:pt x="45" y="36"/>
                  <a:pt x="47" y="37"/>
                  <a:pt x="48" y="37"/>
                </a:cubicBezTo>
                <a:close/>
                <a:moveTo>
                  <a:pt x="35" y="42"/>
                </a:moveTo>
                <a:cubicBezTo>
                  <a:pt x="35" y="43"/>
                  <a:pt x="36" y="43"/>
                  <a:pt x="37" y="43"/>
                </a:cubicBezTo>
                <a:cubicBezTo>
                  <a:pt x="38" y="43"/>
                  <a:pt x="38" y="43"/>
                  <a:pt x="39" y="42"/>
                </a:cubicBezTo>
                <a:cubicBezTo>
                  <a:pt x="40" y="41"/>
                  <a:pt x="40" y="39"/>
                  <a:pt x="39" y="38"/>
                </a:cubicBezTo>
                <a:cubicBezTo>
                  <a:pt x="26" y="25"/>
                  <a:pt x="26" y="25"/>
                  <a:pt x="26" y="25"/>
                </a:cubicBezTo>
                <a:cubicBezTo>
                  <a:pt x="25" y="24"/>
                  <a:pt x="23" y="24"/>
                  <a:pt x="22" y="25"/>
                </a:cubicBezTo>
                <a:cubicBezTo>
                  <a:pt x="21" y="27"/>
                  <a:pt x="21" y="28"/>
                  <a:pt x="22" y="30"/>
                </a:cubicBezTo>
                <a:lnTo>
                  <a:pt x="35" y="42"/>
                </a:lnTo>
                <a:close/>
                <a:moveTo>
                  <a:pt x="15" y="55"/>
                </a:moveTo>
                <a:cubicBezTo>
                  <a:pt x="33" y="55"/>
                  <a:pt x="33" y="55"/>
                  <a:pt x="33" y="55"/>
                </a:cubicBezTo>
                <a:cubicBezTo>
                  <a:pt x="35" y="55"/>
                  <a:pt x="36" y="54"/>
                  <a:pt x="36" y="52"/>
                </a:cubicBezTo>
                <a:cubicBezTo>
                  <a:pt x="36" y="51"/>
                  <a:pt x="35" y="49"/>
                  <a:pt x="33" y="49"/>
                </a:cubicBezTo>
                <a:cubicBezTo>
                  <a:pt x="15" y="49"/>
                  <a:pt x="15" y="49"/>
                  <a:pt x="15" y="49"/>
                </a:cubicBezTo>
                <a:cubicBezTo>
                  <a:pt x="13" y="49"/>
                  <a:pt x="12" y="51"/>
                  <a:pt x="12" y="52"/>
                </a:cubicBezTo>
                <a:cubicBezTo>
                  <a:pt x="12" y="54"/>
                  <a:pt x="13" y="55"/>
                  <a:pt x="15" y="5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1" name="Freeform 1058">
            <a:extLst>
              <a:ext uri="{FF2B5EF4-FFF2-40B4-BE49-F238E27FC236}">
                <a16:creationId xmlns:a16="http://schemas.microsoft.com/office/drawing/2014/main" id="{2AEF00C5-F332-144D-861F-B05E429D56B9}"/>
              </a:ext>
            </a:extLst>
          </p:cNvPr>
          <p:cNvSpPr>
            <a:spLocks noEditPoints="1"/>
          </p:cNvSpPr>
          <p:nvPr/>
        </p:nvSpPr>
        <p:spPr bwMode="auto">
          <a:xfrm>
            <a:off x="3497145" y="3462338"/>
            <a:ext cx="427038" cy="549275"/>
          </a:xfrm>
          <a:custGeom>
            <a:avLst/>
            <a:gdLst>
              <a:gd name="T0" fmla="*/ 8 w 125"/>
              <a:gd name="T1" fmla="*/ 0 h 160"/>
              <a:gd name="T2" fmla="*/ 0 w 125"/>
              <a:gd name="T3" fmla="*/ 152 h 160"/>
              <a:gd name="T4" fmla="*/ 118 w 125"/>
              <a:gd name="T5" fmla="*/ 160 h 160"/>
              <a:gd name="T6" fmla="*/ 125 w 125"/>
              <a:gd name="T7" fmla="*/ 8 h 160"/>
              <a:gd name="T8" fmla="*/ 120 w 125"/>
              <a:gd name="T9" fmla="*/ 152 h 160"/>
              <a:gd name="T10" fmla="*/ 8 w 125"/>
              <a:gd name="T11" fmla="*/ 155 h 160"/>
              <a:gd name="T12" fmla="*/ 5 w 125"/>
              <a:gd name="T13" fmla="*/ 8 h 160"/>
              <a:gd name="T14" fmla="*/ 118 w 125"/>
              <a:gd name="T15" fmla="*/ 5 h 160"/>
              <a:gd name="T16" fmla="*/ 120 w 125"/>
              <a:gd name="T17" fmla="*/ 152 h 160"/>
              <a:gd name="T18" fmla="*/ 43 w 125"/>
              <a:gd name="T19" fmla="*/ 147 h 160"/>
              <a:gd name="T20" fmla="*/ 13 w 125"/>
              <a:gd name="T21" fmla="*/ 117 h 160"/>
              <a:gd name="T22" fmla="*/ 19 w 125"/>
              <a:gd name="T23" fmla="*/ 123 h 160"/>
              <a:gd name="T24" fmla="*/ 37 w 125"/>
              <a:gd name="T25" fmla="*/ 141 h 160"/>
              <a:gd name="T26" fmla="*/ 19 w 125"/>
              <a:gd name="T27" fmla="*/ 123 h 160"/>
              <a:gd name="T28" fmla="*/ 77 w 125"/>
              <a:gd name="T29" fmla="*/ 147 h 160"/>
              <a:gd name="T30" fmla="*/ 48 w 125"/>
              <a:gd name="T31" fmla="*/ 117 h 160"/>
              <a:gd name="T32" fmla="*/ 53 w 125"/>
              <a:gd name="T33" fmla="*/ 123 h 160"/>
              <a:gd name="T34" fmla="*/ 72 w 125"/>
              <a:gd name="T35" fmla="*/ 141 h 160"/>
              <a:gd name="T36" fmla="*/ 53 w 125"/>
              <a:gd name="T37" fmla="*/ 123 h 160"/>
              <a:gd name="T38" fmla="*/ 112 w 125"/>
              <a:gd name="T39" fmla="*/ 147 h 160"/>
              <a:gd name="T40" fmla="*/ 83 w 125"/>
              <a:gd name="T41" fmla="*/ 83 h 160"/>
              <a:gd name="T42" fmla="*/ 88 w 125"/>
              <a:gd name="T43" fmla="*/ 88 h 160"/>
              <a:gd name="T44" fmla="*/ 107 w 125"/>
              <a:gd name="T45" fmla="*/ 141 h 160"/>
              <a:gd name="T46" fmla="*/ 88 w 125"/>
              <a:gd name="T47" fmla="*/ 88 h 160"/>
              <a:gd name="T48" fmla="*/ 43 w 125"/>
              <a:gd name="T49" fmla="*/ 112 h 160"/>
              <a:gd name="T50" fmla="*/ 13 w 125"/>
              <a:gd name="T51" fmla="*/ 83 h 160"/>
              <a:gd name="T52" fmla="*/ 19 w 125"/>
              <a:gd name="T53" fmla="*/ 88 h 160"/>
              <a:gd name="T54" fmla="*/ 37 w 125"/>
              <a:gd name="T55" fmla="*/ 107 h 160"/>
              <a:gd name="T56" fmla="*/ 19 w 125"/>
              <a:gd name="T57" fmla="*/ 88 h 160"/>
              <a:gd name="T58" fmla="*/ 77 w 125"/>
              <a:gd name="T59" fmla="*/ 112 h 160"/>
              <a:gd name="T60" fmla="*/ 48 w 125"/>
              <a:gd name="T61" fmla="*/ 83 h 160"/>
              <a:gd name="T62" fmla="*/ 53 w 125"/>
              <a:gd name="T63" fmla="*/ 88 h 160"/>
              <a:gd name="T64" fmla="*/ 72 w 125"/>
              <a:gd name="T65" fmla="*/ 107 h 160"/>
              <a:gd name="T66" fmla="*/ 53 w 125"/>
              <a:gd name="T67" fmla="*/ 88 h 160"/>
              <a:gd name="T68" fmla="*/ 43 w 125"/>
              <a:gd name="T69" fmla="*/ 77 h 160"/>
              <a:gd name="T70" fmla="*/ 13 w 125"/>
              <a:gd name="T71" fmla="*/ 48 h 160"/>
              <a:gd name="T72" fmla="*/ 19 w 125"/>
              <a:gd name="T73" fmla="*/ 53 h 160"/>
              <a:gd name="T74" fmla="*/ 37 w 125"/>
              <a:gd name="T75" fmla="*/ 72 h 160"/>
              <a:gd name="T76" fmla="*/ 19 w 125"/>
              <a:gd name="T77" fmla="*/ 53 h 160"/>
              <a:gd name="T78" fmla="*/ 77 w 125"/>
              <a:gd name="T79" fmla="*/ 77 h 160"/>
              <a:gd name="T80" fmla="*/ 48 w 125"/>
              <a:gd name="T81" fmla="*/ 48 h 160"/>
              <a:gd name="T82" fmla="*/ 53 w 125"/>
              <a:gd name="T83" fmla="*/ 53 h 160"/>
              <a:gd name="T84" fmla="*/ 72 w 125"/>
              <a:gd name="T85" fmla="*/ 72 h 160"/>
              <a:gd name="T86" fmla="*/ 53 w 125"/>
              <a:gd name="T87" fmla="*/ 53 h 160"/>
              <a:gd name="T88" fmla="*/ 112 w 125"/>
              <a:gd name="T89" fmla="*/ 77 h 160"/>
              <a:gd name="T90" fmla="*/ 83 w 125"/>
              <a:gd name="T91" fmla="*/ 48 h 160"/>
              <a:gd name="T92" fmla="*/ 88 w 125"/>
              <a:gd name="T93" fmla="*/ 53 h 160"/>
              <a:gd name="T94" fmla="*/ 107 w 125"/>
              <a:gd name="T95" fmla="*/ 72 h 160"/>
              <a:gd name="T96" fmla="*/ 88 w 125"/>
              <a:gd name="T97" fmla="*/ 53 h 160"/>
              <a:gd name="T98" fmla="*/ 112 w 125"/>
              <a:gd name="T99" fmla="*/ 40 h 160"/>
              <a:gd name="T100" fmla="*/ 13 w 125"/>
              <a:gd name="T101" fmla="*/ 13 h 160"/>
              <a:gd name="T102" fmla="*/ 19 w 125"/>
              <a:gd name="T103" fmla="*/ 19 h 160"/>
              <a:gd name="T104" fmla="*/ 107 w 125"/>
              <a:gd name="T105" fmla="*/ 35 h 160"/>
              <a:gd name="T106" fmla="*/ 19 w 125"/>
              <a:gd name="T107" fmla="*/ 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 h="160">
                <a:moveTo>
                  <a:pt x="118" y="0"/>
                </a:moveTo>
                <a:cubicBezTo>
                  <a:pt x="8" y="0"/>
                  <a:pt x="8" y="0"/>
                  <a:pt x="8" y="0"/>
                </a:cubicBezTo>
                <a:cubicBezTo>
                  <a:pt x="3" y="0"/>
                  <a:pt x="0" y="3"/>
                  <a:pt x="0" y="8"/>
                </a:cubicBezTo>
                <a:cubicBezTo>
                  <a:pt x="0" y="152"/>
                  <a:pt x="0" y="152"/>
                  <a:pt x="0" y="152"/>
                </a:cubicBezTo>
                <a:cubicBezTo>
                  <a:pt x="0" y="157"/>
                  <a:pt x="3" y="160"/>
                  <a:pt x="8" y="160"/>
                </a:cubicBezTo>
                <a:cubicBezTo>
                  <a:pt x="118" y="160"/>
                  <a:pt x="118" y="160"/>
                  <a:pt x="118" y="160"/>
                </a:cubicBezTo>
                <a:cubicBezTo>
                  <a:pt x="122" y="160"/>
                  <a:pt x="125" y="157"/>
                  <a:pt x="125" y="152"/>
                </a:cubicBezTo>
                <a:cubicBezTo>
                  <a:pt x="125" y="8"/>
                  <a:pt x="125" y="8"/>
                  <a:pt x="125" y="8"/>
                </a:cubicBezTo>
                <a:cubicBezTo>
                  <a:pt x="125" y="3"/>
                  <a:pt x="122" y="0"/>
                  <a:pt x="118" y="0"/>
                </a:cubicBezTo>
                <a:close/>
                <a:moveTo>
                  <a:pt x="120" y="152"/>
                </a:moveTo>
                <a:cubicBezTo>
                  <a:pt x="120" y="154"/>
                  <a:pt x="119" y="155"/>
                  <a:pt x="118" y="155"/>
                </a:cubicBezTo>
                <a:cubicBezTo>
                  <a:pt x="8" y="155"/>
                  <a:pt x="8" y="155"/>
                  <a:pt x="8" y="155"/>
                </a:cubicBezTo>
                <a:cubicBezTo>
                  <a:pt x="6" y="155"/>
                  <a:pt x="5" y="154"/>
                  <a:pt x="5" y="152"/>
                </a:cubicBezTo>
                <a:cubicBezTo>
                  <a:pt x="5" y="8"/>
                  <a:pt x="5" y="8"/>
                  <a:pt x="5" y="8"/>
                </a:cubicBezTo>
                <a:cubicBezTo>
                  <a:pt x="5" y="6"/>
                  <a:pt x="6" y="5"/>
                  <a:pt x="8" y="5"/>
                </a:cubicBezTo>
                <a:cubicBezTo>
                  <a:pt x="118" y="5"/>
                  <a:pt x="118" y="5"/>
                  <a:pt x="118" y="5"/>
                </a:cubicBezTo>
                <a:cubicBezTo>
                  <a:pt x="119" y="5"/>
                  <a:pt x="120" y="6"/>
                  <a:pt x="120" y="8"/>
                </a:cubicBezTo>
                <a:lnTo>
                  <a:pt x="120" y="152"/>
                </a:lnTo>
                <a:close/>
                <a:moveTo>
                  <a:pt x="13" y="147"/>
                </a:moveTo>
                <a:cubicBezTo>
                  <a:pt x="43" y="147"/>
                  <a:pt x="43" y="147"/>
                  <a:pt x="43" y="147"/>
                </a:cubicBezTo>
                <a:cubicBezTo>
                  <a:pt x="43" y="117"/>
                  <a:pt x="43" y="117"/>
                  <a:pt x="43" y="117"/>
                </a:cubicBezTo>
                <a:cubicBezTo>
                  <a:pt x="13" y="117"/>
                  <a:pt x="13" y="117"/>
                  <a:pt x="13" y="117"/>
                </a:cubicBezTo>
                <a:lnTo>
                  <a:pt x="13" y="147"/>
                </a:lnTo>
                <a:close/>
                <a:moveTo>
                  <a:pt x="19" y="123"/>
                </a:moveTo>
                <a:cubicBezTo>
                  <a:pt x="37" y="123"/>
                  <a:pt x="37" y="123"/>
                  <a:pt x="37" y="123"/>
                </a:cubicBezTo>
                <a:cubicBezTo>
                  <a:pt x="37" y="141"/>
                  <a:pt x="37" y="141"/>
                  <a:pt x="37" y="141"/>
                </a:cubicBezTo>
                <a:cubicBezTo>
                  <a:pt x="19" y="141"/>
                  <a:pt x="19" y="141"/>
                  <a:pt x="19" y="141"/>
                </a:cubicBezTo>
                <a:lnTo>
                  <a:pt x="19" y="123"/>
                </a:lnTo>
                <a:close/>
                <a:moveTo>
                  <a:pt x="48" y="147"/>
                </a:moveTo>
                <a:cubicBezTo>
                  <a:pt x="77" y="147"/>
                  <a:pt x="77" y="147"/>
                  <a:pt x="77" y="147"/>
                </a:cubicBezTo>
                <a:cubicBezTo>
                  <a:pt x="77" y="117"/>
                  <a:pt x="77" y="117"/>
                  <a:pt x="77" y="117"/>
                </a:cubicBezTo>
                <a:cubicBezTo>
                  <a:pt x="48" y="117"/>
                  <a:pt x="48" y="117"/>
                  <a:pt x="48" y="117"/>
                </a:cubicBezTo>
                <a:lnTo>
                  <a:pt x="48" y="147"/>
                </a:lnTo>
                <a:close/>
                <a:moveTo>
                  <a:pt x="53" y="123"/>
                </a:moveTo>
                <a:cubicBezTo>
                  <a:pt x="72" y="123"/>
                  <a:pt x="72" y="123"/>
                  <a:pt x="72" y="123"/>
                </a:cubicBezTo>
                <a:cubicBezTo>
                  <a:pt x="72" y="141"/>
                  <a:pt x="72" y="141"/>
                  <a:pt x="72" y="141"/>
                </a:cubicBezTo>
                <a:cubicBezTo>
                  <a:pt x="53" y="141"/>
                  <a:pt x="53" y="141"/>
                  <a:pt x="53" y="141"/>
                </a:cubicBezTo>
                <a:lnTo>
                  <a:pt x="53" y="123"/>
                </a:lnTo>
                <a:close/>
                <a:moveTo>
                  <a:pt x="83" y="147"/>
                </a:moveTo>
                <a:cubicBezTo>
                  <a:pt x="112" y="147"/>
                  <a:pt x="112" y="147"/>
                  <a:pt x="112" y="147"/>
                </a:cubicBezTo>
                <a:cubicBezTo>
                  <a:pt x="112" y="83"/>
                  <a:pt x="112" y="83"/>
                  <a:pt x="112" y="83"/>
                </a:cubicBezTo>
                <a:cubicBezTo>
                  <a:pt x="83" y="83"/>
                  <a:pt x="83" y="83"/>
                  <a:pt x="83" y="83"/>
                </a:cubicBezTo>
                <a:lnTo>
                  <a:pt x="83" y="147"/>
                </a:lnTo>
                <a:close/>
                <a:moveTo>
                  <a:pt x="88" y="88"/>
                </a:moveTo>
                <a:cubicBezTo>
                  <a:pt x="107" y="88"/>
                  <a:pt x="107" y="88"/>
                  <a:pt x="107" y="88"/>
                </a:cubicBezTo>
                <a:cubicBezTo>
                  <a:pt x="107" y="141"/>
                  <a:pt x="107" y="141"/>
                  <a:pt x="107" y="141"/>
                </a:cubicBezTo>
                <a:cubicBezTo>
                  <a:pt x="88" y="141"/>
                  <a:pt x="88" y="141"/>
                  <a:pt x="88" y="141"/>
                </a:cubicBezTo>
                <a:lnTo>
                  <a:pt x="88" y="88"/>
                </a:lnTo>
                <a:close/>
                <a:moveTo>
                  <a:pt x="13" y="112"/>
                </a:moveTo>
                <a:cubicBezTo>
                  <a:pt x="43" y="112"/>
                  <a:pt x="43" y="112"/>
                  <a:pt x="43" y="112"/>
                </a:cubicBezTo>
                <a:cubicBezTo>
                  <a:pt x="43" y="83"/>
                  <a:pt x="43" y="83"/>
                  <a:pt x="43" y="83"/>
                </a:cubicBezTo>
                <a:cubicBezTo>
                  <a:pt x="13" y="83"/>
                  <a:pt x="13" y="83"/>
                  <a:pt x="13" y="83"/>
                </a:cubicBezTo>
                <a:lnTo>
                  <a:pt x="13" y="112"/>
                </a:lnTo>
                <a:close/>
                <a:moveTo>
                  <a:pt x="19" y="88"/>
                </a:moveTo>
                <a:cubicBezTo>
                  <a:pt x="37" y="88"/>
                  <a:pt x="37" y="88"/>
                  <a:pt x="37" y="88"/>
                </a:cubicBezTo>
                <a:cubicBezTo>
                  <a:pt x="37" y="107"/>
                  <a:pt x="37" y="107"/>
                  <a:pt x="37" y="107"/>
                </a:cubicBezTo>
                <a:cubicBezTo>
                  <a:pt x="19" y="107"/>
                  <a:pt x="19" y="107"/>
                  <a:pt x="19" y="107"/>
                </a:cubicBezTo>
                <a:lnTo>
                  <a:pt x="19" y="88"/>
                </a:lnTo>
                <a:close/>
                <a:moveTo>
                  <a:pt x="48" y="112"/>
                </a:moveTo>
                <a:cubicBezTo>
                  <a:pt x="77" y="112"/>
                  <a:pt x="77" y="112"/>
                  <a:pt x="77" y="112"/>
                </a:cubicBezTo>
                <a:cubicBezTo>
                  <a:pt x="77" y="83"/>
                  <a:pt x="77" y="83"/>
                  <a:pt x="77" y="83"/>
                </a:cubicBezTo>
                <a:cubicBezTo>
                  <a:pt x="48" y="83"/>
                  <a:pt x="48" y="83"/>
                  <a:pt x="48" y="83"/>
                </a:cubicBezTo>
                <a:lnTo>
                  <a:pt x="48" y="112"/>
                </a:lnTo>
                <a:close/>
                <a:moveTo>
                  <a:pt x="53" y="88"/>
                </a:moveTo>
                <a:cubicBezTo>
                  <a:pt x="72" y="88"/>
                  <a:pt x="72" y="88"/>
                  <a:pt x="72" y="88"/>
                </a:cubicBezTo>
                <a:cubicBezTo>
                  <a:pt x="72" y="107"/>
                  <a:pt x="72" y="107"/>
                  <a:pt x="72" y="107"/>
                </a:cubicBezTo>
                <a:cubicBezTo>
                  <a:pt x="53" y="107"/>
                  <a:pt x="53" y="107"/>
                  <a:pt x="53" y="107"/>
                </a:cubicBezTo>
                <a:lnTo>
                  <a:pt x="53" y="88"/>
                </a:lnTo>
                <a:close/>
                <a:moveTo>
                  <a:pt x="13" y="77"/>
                </a:moveTo>
                <a:cubicBezTo>
                  <a:pt x="43" y="77"/>
                  <a:pt x="43" y="77"/>
                  <a:pt x="43" y="77"/>
                </a:cubicBezTo>
                <a:cubicBezTo>
                  <a:pt x="43" y="48"/>
                  <a:pt x="43" y="48"/>
                  <a:pt x="43" y="48"/>
                </a:cubicBezTo>
                <a:cubicBezTo>
                  <a:pt x="13" y="48"/>
                  <a:pt x="13" y="48"/>
                  <a:pt x="13" y="48"/>
                </a:cubicBezTo>
                <a:lnTo>
                  <a:pt x="13" y="77"/>
                </a:lnTo>
                <a:close/>
                <a:moveTo>
                  <a:pt x="19" y="53"/>
                </a:moveTo>
                <a:cubicBezTo>
                  <a:pt x="37" y="53"/>
                  <a:pt x="37" y="53"/>
                  <a:pt x="37" y="53"/>
                </a:cubicBezTo>
                <a:cubicBezTo>
                  <a:pt x="37" y="72"/>
                  <a:pt x="37" y="72"/>
                  <a:pt x="37" y="72"/>
                </a:cubicBezTo>
                <a:cubicBezTo>
                  <a:pt x="19" y="72"/>
                  <a:pt x="19" y="72"/>
                  <a:pt x="19" y="72"/>
                </a:cubicBezTo>
                <a:lnTo>
                  <a:pt x="19" y="53"/>
                </a:lnTo>
                <a:close/>
                <a:moveTo>
                  <a:pt x="48" y="77"/>
                </a:moveTo>
                <a:cubicBezTo>
                  <a:pt x="77" y="77"/>
                  <a:pt x="77" y="77"/>
                  <a:pt x="77" y="77"/>
                </a:cubicBezTo>
                <a:cubicBezTo>
                  <a:pt x="77" y="48"/>
                  <a:pt x="77" y="48"/>
                  <a:pt x="77" y="48"/>
                </a:cubicBezTo>
                <a:cubicBezTo>
                  <a:pt x="48" y="48"/>
                  <a:pt x="48" y="48"/>
                  <a:pt x="48" y="48"/>
                </a:cubicBezTo>
                <a:lnTo>
                  <a:pt x="48" y="77"/>
                </a:lnTo>
                <a:close/>
                <a:moveTo>
                  <a:pt x="53" y="53"/>
                </a:moveTo>
                <a:cubicBezTo>
                  <a:pt x="72" y="53"/>
                  <a:pt x="72" y="53"/>
                  <a:pt x="72" y="53"/>
                </a:cubicBezTo>
                <a:cubicBezTo>
                  <a:pt x="72" y="72"/>
                  <a:pt x="72" y="72"/>
                  <a:pt x="72" y="72"/>
                </a:cubicBezTo>
                <a:cubicBezTo>
                  <a:pt x="53" y="72"/>
                  <a:pt x="53" y="72"/>
                  <a:pt x="53" y="72"/>
                </a:cubicBezTo>
                <a:lnTo>
                  <a:pt x="53" y="53"/>
                </a:lnTo>
                <a:close/>
                <a:moveTo>
                  <a:pt x="83" y="77"/>
                </a:moveTo>
                <a:cubicBezTo>
                  <a:pt x="112" y="77"/>
                  <a:pt x="112" y="77"/>
                  <a:pt x="112" y="77"/>
                </a:cubicBezTo>
                <a:cubicBezTo>
                  <a:pt x="112" y="48"/>
                  <a:pt x="112" y="48"/>
                  <a:pt x="112" y="48"/>
                </a:cubicBezTo>
                <a:cubicBezTo>
                  <a:pt x="83" y="48"/>
                  <a:pt x="83" y="48"/>
                  <a:pt x="83" y="48"/>
                </a:cubicBezTo>
                <a:lnTo>
                  <a:pt x="83" y="77"/>
                </a:lnTo>
                <a:close/>
                <a:moveTo>
                  <a:pt x="88" y="53"/>
                </a:moveTo>
                <a:cubicBezTo>
                  <a:pt x="107" y="53"/>
                  <a:pt x="107" y="53"/>
                  <a:pt x="107" y="53"/>
                </a:cubicBezTo>
                <a:cubicBezTo>
                  <a:pt x="107" y="72"/>
                  <a:pt x="107" y="72"/>
                  <a:pt x="107" y="72"/>
                </a:cubicBezTo>
                <a:cubicBezTo>
                  <a:pt x="88" y="72"/>
                  <a:pt x="88" y="72"/>
                  <a:pt x="88" y="72"/>
                </a:cubicBezTo>
                <a:lnTo>
                  <a:pt x="88" y="53"/>
                </a:lnTo>
                <a:close/>
                <a:moveTo>
                  <a:pt x="13" y="40"/>
                </a:moveTo>
                <a:cubicBezTo>
                  <a:pt x="112" y="40"/>
                  <a:pt x="112" y="40"/>
                  <a:pt x="112" y="40"/>
                </a:cubicBezTo>
                <a:cubicBezTo>
                  <a:pt x="112" y="13"/>
                  <a:pt x="112" y="13"/>
                  <a:pt x="112" y="13"/>
                </a:cubicBezTo>
                <a:cubicBezTo>
                  <a:pt x="13" y="13"/>
                  <a:pt x="13" y="13"/>
                  <a:pt x="13" y="13"/>
                </a:cubicBezTo>
                <a:lnTo>
                  <a:pt x="13" y="40"/>
                </a:lnTo>
                <a:close/>
                <a:moveTo>
                  <a:pt x="19" y="19"/>
                </a:moveTo>
                <a:cubicBezTo>
                  <a:pt x="107" y="19"/>
                  <a:pt x="107" y="19"/>
                  <a:pt x="107" y="19"/>
                </a:cubicBezTo>
                <a:cubicBezTo>
                  <a:pt x="107" y="35"/>
                  <a:pt x="107" y="35"/>
                  <a:pt x="107" y="35"/>
                </a:cubicBezTo>
                <a:cubicBezTo>
                  <a:pt x="19" y="35"/>
                  <a:pt x="19" y="35"/>
                  <a:pt x="19" y="35"/>
                </a:cubicBezTo>
                <a:lnTo>
                  <a:pt x="19" y="19"/>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2" name="Freeform 1059">
            <a:extLst>
              <a:ext uri="{FF2B5EF4-FFF2-40B4-BE49-F238E27FC236}">
                <a16:creationId xmlns:a16="http://schemas.microsoft.com/office/drawing/2014/main" id="{6E2D6F04-1000-1E40-B64E-2E714E28E334}"/>
              </a:ext>
            </a:extLst>
          </p:cNvPr>
          <p:cNvSpPr>
            <a:spLocks noEditPoints="1"/>
          </p:cNvSpPr>
          <p:nvPr/>
        </p:nvSpPr>
        <p:spPr bwMode="auto">
          <a:xfrm>
            <a:off x="3443170" y="4081463"/>
            <a:ext cx="546100" cy="550863"/>
          </a:xfrm>
          <a:custGeom>
            <a:avLst/>
            <a:gdLst>
              <a:gd name="T0" fmla="*/ 58 w 160"/>
              <a:gd name="T1" fmla="*/ 44 h 160"/>
              <a:gd name="T2" fmla="*/ 44 w 160"/>
              <a:gd name="T3" fmla="*/ 58 h 160"/>
              <a:gd name="T4" fmla="*/ 39 w 160"/>
              <a:gd name="T5" fmla="*/ 58 h 160"/>
              <a:gd name="T6" fmla="*/ 25 w 160"/>
              <a:gd name="T7" fmla="*/ 44 h 160"/>
              <a:gd name="T8" fmla="*/ 25 w 160"/>
              <a:gd name="T9" fmla="*/ 39 h 160"/>
              <a:gd name="T10" fmla="*/ 39 w 160"/>
              <a:gd name="T11" fmla="*/ 25 h 160"/>
              <a:gd name="T12" fmla="*/ 44 w 160"/>
              <a:gd name="T13" fmla="*/ 25 h 160"/>
              <a:gd name="T14" fmla="*/ 58 w 160"/>
              <a:gd name="T15" fmla="*/ 39 h 160"/>
              <a:gd name="T16" fmla="*/ 135 w 160"/>
              <a:gd name="T17" fmla="*/ 39 h 160"/>
              <a:gd name="T18" fmla="*/ 99 w 160"/>
              <a:gd name="T19" fmla="*/ 41 h 160"/>
              <a:gd name="T20" fmla="*/ 135 w 160"/>
              <a:gd name="T21" fmla="*/ 44 h 160"/>
              <a:gd name="T22" fmla="*/ 135 w 160"/>
              <a:gd name="T23" fmla="*/ 39 h 160"/>
              <a:gd name="T24" fmla="*/ 160 w 160"/>
              <a:gd name="T25" fmla="*/ 77 h 160"/>
              <a:gd name="T26" fmla="*/ 160 w 160"/>
              <a:gd name="T27" fmla="*/ 160 h 160"/>
              <a:gd name="T28" fmla="*/ 77 w 160"/>
              <a:gd name="T29" fmla="*/ 160 h 160"/>
              <a:gd name="T30" fmla="*/ 0 w 160"/>
              <a:gd name="T31" fmla="*/ 83 h 160"/>
              <a:gd name="T32" fmla="*/ 0 w 160"/>
              <a:gd name="T33" fmla="*/ 0 h 160"/>
              <a:gd name="T34" fmla="*/ 83 w 160"/>
              <a:gd name="T35" fmla="*/ 0 h 160"/>
              <a:gd name="T36" fmla="*/ 6 w 160"/>
              <a:gd name="T37" fmla="*/ 77 h 160"/>
              <a:gd name="T38" fmla="*/ 77 w 160"/>
              <a:gd name="T39" fmla="*/ 6 h 160"/>
              <a:gd name="T40" fmla="*/ 6 w 160"/>
              <a:gd name="T41" fmla="*/ 77 h 160"/>
              <a:gd name="T42" fmla="*/ 77 w 160"/>
              <a:gd name="T43" fmla="*/ 83 h 160"/>
              <a:gd name="T44" fmla="*/ 6 w 160"/>
              <a:gd name="T45" fmla="*/ 154 h 160"/>
              <a:gd name="T46" fmla="*/ 154 w 160"/>
              <a:gd name="T47" fmla="*/ 83 h 160"/>
              <a:gd name="T48" fmla="*/ 83 w 160"/>
              <a:gd name="T49" fmla="*/ 154 h 160"/>
              <a:gd name="T50" fmla="*/ 154 w 160"/>
              <a:gd name="T51" fmla="*/ 83 h 160"/>
              <a:gd name="T52" fmla="*/ 154 w 160"/>
              <a:gd name="T53" fmla="*/ 6 h 160"/>
              <a:gd name="T54" fmla="*/ 83 w 160"/>
              <a:gd name="T55" fmla="*/ 77 h 160"/>
              <a:gd name="T56" fmla="*/ 102 w 160"/>
              <a:gd name="T57" fmla="*/ 130 h 160"/>
              <a:gd name="T58" fmla="*/ 138 w 160"/>
              <a:gd name="T59" fmla="*/ 127 h 160"/>
              <a:gd name="T60" fmla="*/ 102 w 160"/>
              <a:gd name="T61" fmla="*/ 124 h 160"/>
              <a:gd name="T62" fmla="*/ 102 w 160"/>
              <a:gd name="T63" fmla="*/ 130 h 160"/>
              <a:gd name="T64" fmla="*/ 135 w 160"/>
              <a:gd name="T65" fmla="*/ 113 h 160"/>
              <a:gd name="T66" fmla="*/ 135 w 160"/>
              <a:gd name="T67" fmla="*/ 108 h 160"/>
              <a:gd name="T68" fmla="*/ 99 w 160"/>
              <a:gd name="T69" fmla="*/ 110 h 160"/>
              <a:gd name="T70" fmla="*/ 57 w 160"/>
              <a:gd name="T71" fmla="*/ 103 h 160"/>
              <a:gd name="T72" fmla="*/ 41 w 160"/>
              <a:gd name="T73" fmla="*/ 115 h 160"/>
              <a:gd name="T74" fmla="*/ 26 w 160"/>
              <a:gd name="T75" fmla="*/ 103 h 160"/>
              <a:gd name="T76" fmla="*/ 37 w 160"/>
              <a:gd name="T77" fmla="*/ 119 h 160"/>
              <a:gd name="T78" fmla="*/ 26 w 160"/>
              <a:gd name="T79" fmla="*/ 134 h 160"/>
              <a:gd name="T80" fmla="*/ 30 w 160"/>
              <a:gd name="T81" fmla="*/ 134 h 160"/>
              <a:gd name="T82" fmla="*/ 53 w 160"/>
              <a:gd name="T83" fmla="*/ 134 h 160"/>
              <a:gd name="T84" fmla="*/ 57 w 160"/>
              <a:gd name="T85" fmla="*/ 134 h 160"/>
              <a:gd name="T86" fmla="*/ 45 w 160"/>
              <a:gd name="T87" fmla="*/ 119 h 160"/>
              <a:gd name="T88" fmla="*/ 57 w 160"/>
              <a:gd name="T89" fmla="*/ 10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160">
                <a:moveTo>
                  <a:pt x="61" y="41"/>
                </a:moveTo>
                <a:cubicBezTo>
                  <a:pt x="61" y="43"/>
                  <a:pt x="59" y="44"/>
                  <a:pt x="58" y="44"/>
                </a:cubicBezTo>
                <a:cubicBezTo>
                  <a:pt x="44" y="44"/>
                  <a:pt x="44" y="44"/>
                  <a:pt x="44" y="44"/>
                </a:cubicBezTo>
                <a:cubicBezTo>
                  <a:pt x="44" y="58"/>
                  <a:pt x="44" y="58"/>
                  <a:pt x="44" y="58"/>
                </a:cubicBezTo>
                <a:cubicBezTo>
                  <a:pt x="44" y="59"/>
                  <a:pt x="43" y="61"/>
                  <a:pt x="41" y="61"/>
                </a:cubicBezTo>
                <a:cubicBezTo>
                  <a:pt x="40" y="61"/>
                  <a:pt x="39" y="59"/>
                  <a:pt x="39" y="58"/>
                </a:cubicBezTo>
                <a:cubicBezTo>
                  <a:pt x="39" y="44"/>
                  <a:pt x="39" y="44"/>
                  <a:pt x="39" y="44"/>
                </a:cubicBezTo>
                <a:cubicBezTo>
                  <a:pt x="25" y="44"/>
                  <a:pt x="25" y="44"/>
                  <a:pt x="25" y="44"/>
                </a:cubicBezTo>
                <a:cubicBezTo>
                  <a:pt x="23" y="44"/>
                  <a:pt x="22" y="43"/>
                  <a:pt x="22" y="41"/>
                </a:cubicBezTo>
                <a:cubicBezTo>
                  <a:pt x="22" y="40"/>
                  <a:pt x="23" y="39"/>
                  <a:pt x="25" y="39"/>
                </a:cubicBezTo>
                <a:cubicBezTo>
                  <a:pt x="39" y="39"/>
                  <a:pt x="39" y="39"/>
                  <a:pt x="39" y="39"/>
                </a:cubicBezTo>
                <a:cubicBezTo>
                  <a:pt x="39" y="25"/>
                  <a:pt x="39" y="25"/>
                  <a:pt x="39" y="25"/>
                </a:cubicBezTo>
                <a:cubicBezTo>
                  <a:pt x="39" y="23"/>
                  <a:pt x="40" y="22"/>
                  <a:pt x="41" y="22"/>
                </a:cubicBezTo>
                <a:cubicBezTo>
                  <a:pt x="43" y="22"/>
                  <a:pt x="44" y="23"/>
                  <a:pt x="44" y="25"/>
                </a:cubicBezTo>
                <a:cubicBezTo>
                  <a:pt x="44" y="39"/>
                  <a:pt x="44" y="39"/>
                  <a:pt x="44" y="39"/>
                </a:cubicBezTo>
                <a:cubicBezTo>
                  <a:pt x="58" y="39"/>
                  <a:pt x="58" y="39"/>
                  <a:pt x="58" y="39"/>
                </a:cubicBezTo>
                <a:cubicBezTo>
                  <a:pt x="59" y="39"/>
                  <a:pt x="61" y="40"/>
                  <a:pt x="61" y="41"/>
                </a:cubicBezTo>
                <a:close/>
                <a:moveTo>
                  <a:pt x="135" y="39"/>
                </a:moveTo>
                <a:cubicBezTo>
                  <a:pt x="102" y="39"/>
                  <a:pt x="102" y="39"/>
                  <a:pt x="102" y="39"/>
                </a:cubicBezTo>
                <a:cubicBezTo>
                  <a:pt x="101" y="39"/>
                  <a:pt x="99" y="40"/>
                  <a:pt x="99" y="41"/>
                </a:cubicBezTo>
                <a:cubicBezTo>
                  <a:pt x="99" y="43"/>
                  <a:pt x="101" y="44"/>
                  <a:pt x="102" y="44"/>
                </a:cubicBezTo>
                <a:cubicBezTo>
                  <a:pt x="135" y="44"/>
                  <a:pt x="135" y="44"/>
                  <a:pt x="135" y="44"/>
                </a:cubicBezTo>
                <a:cubicBezTo>
                  <a:pt x="137" y="44"/>
                  <a:pt x="138" y="43"/>
                  <a:pt x="138" y="41"/>
                </a:cubicBezTo>
                <a:cubicBezTo>
                  <a:pt x="138" y="40"/>
                  <a:pt x="137" y="39"/>
                  <a:pt x="135" y="39"/>
                </a:cubicBezTo>
                <a:close/>
                <a:moveTo>
                  <a:pt x="160" y="0"/>
                </a:moveTo>
                <a:cubicBezTo>
                  <a:pt x="160" y="77"/>
                  <a:pt x="160" y="77"/>
                  <a:pt x="160" y="77"/>
                </a:cubicBezTo>
                <a:cubicBezTo>
                  <a:pt x="160" y="83"/>
                  <a:pt x="160" y="83"/>
                  <a:pt x="160" y="83"/>
                </a:cubicBezTo>
                <a:cubicBezTo>
                  <a:pt x="160" y="160"/>
                  <a:pt x="160" y="160"/>
                  <a:pt x="160" y="160"/>
                </a:cubicBezTo>
                <a:cubicBezTo>
                  <a:pt x="83" y="160"/>
                  <a:pt x="83" y="160"/>
                  <a:pt x="83" y="160"/>
                </a:cubicBezTo>
                <a:cubicBezTo>
                  <a:pt x="77" y="160"/>
                  <a:pt x="77" y="160"/>
                  <a:pt x="77" y="160"/>
                </a:cubicBezTo>
                <a:cubicBezTo>
                  <a:pt x="0" y="160"/>
                  <a:pt x="0" y="160"/>
                  <a:pt x="0" y="160"/>
                </a:cubicBezTo>
                <a:cubicBezTo>
                  <a:pt x="0" y="83"/>
                  <a:pt x="0" y="83"/>
                  <a:pt x="0" y="83"/>
                </a:cubicBezTo>
                <a:cubicBezTo>
                  <a:pt x="0" y="77"/>
                  <a:pt x="0" y="77"/>
                  <a:pt x="0" y="77"/>
                </a:cubicBezTo>
                <a:cubicBezTo>
                  <a:pt x="0" y="0"/>
                  <a:pt x="0" y="0"/>
                  <a:pt x="0" y="0"/>
                </a:cubicBezTo>
                <a:cubicBezTo>
                  <a:pt x="77" y="0"/>
                  <a:pt x="77" y="0"/>
                  <a:pt x="77" y="0"/>
                </a:cubicBezTo>
                <a:cubicBezTo>
                  <a:pt x="83" y="0"/>
                  <a:pt x="83" y="0"/>
                  <a:pt x="83" y="0"/>
                </a:cubicBezTo>
                <a:lnTo>
                  <a:pt x="160" y="0"/>
                </a:lnTo>
                <a:close/>
                <a:moveTo>
                  <a:pt x="6" y="77"/>
                </a:moveTo>
                <a:cubicBezTo>
                  <a:pt x="77" y="77"/>
                  <a:pt x="77" y="77"/>
                  <a:pt x="77" y="77"/>
                </a:cubicBezTo>
                <a:cubicBezTo>
                  <a:pt x="77" y="6"/>
                  <a:pt x="77" y="6"/>
                  <a:pt x="77" y="6"/>
                </a:cubicBezTo>
                <a:cubicBezTo>
                  <a:pt x="6" y="6"/>
                  <a:pt x="6" y="6"/>
                  <a:pt x="6" y="6"/>
                </a:cubicBezTo>
                <a:lnTo>
                  <a:pt x="6" y="77"/>
                </a:lnTo>
                <a:close/>
                <a:moveTo>
                  <a:pt x="77" y="154"/>
                </a:moveTo>
                <a:cubicBezTo>
                  <a:pt x="77" y="83"/>
                  <a:pt x="77" y="83"/>
                  <a:pt x="77" y="83"/>
                </a:cubicBezTo>
                <a:cubicBezTo>
                  <a:pt x="6" y="83"/>
                  <a:pt x="6" y="83"/>
                  <a:pt x="6" y="83"/>
                </a:cubicBezTo>
                <a:cubicBezTo>
                  <a:pt x="6" y="154"/>
                  <a:pt x="6" y="154"/>
                  <a:pt x="6" y="154"/>
                </a:cubicBezTo>
                <a:lnTo>
                  <a:pt x="77" y="154"/>
                </a:lnTo>
                <a:close/>
                <a:moveTo>
                  <a:pt x="154" y="83"/>
                </a:moveTo>
                <a:cubicBezTo>
                  <a:pt x="83" y="83"/>
                  <a:pt x="83" y="83"/>
                  <a:pt x="83" y="83"/>
                </a:cubicBezTo>
                <a:cubicBezTo>
                  <a:pt x="83" y="154"/>
                  <a:pt x="83" y="154"/>
                  <a:pt x="83" y="154"/>
                </a:cubicBezTo>
                <a:cubicBezTo>
                  <a:pt x="154" y="154"/>
                  <a:pt x="154" y="154"/>
                  <a:pt x="154" y="154"/>
                </a:cubicBezTo>
                <a:lnTo>
                  <a:pt x="154" y="83"/>
                </a:lnTo>
                <a:close/>
                <a:moveTo>
                  <a:pt x="154" y="77"/>
                </a:moveTo>
                <a:cubicBezTo>
                  <a:pt x="154" y="6"/>
                  <a:pt x="154" y="6"/>
                  <a:pt x="154" y="6"/>
                </a:cubicBezTo>
                <a:cubicBezTo>
                  <a:pt x="83" y="6"/>
                  <a:pt x="83" y="6"/>
                  <a:pt x="83" y="6"/>
                </a:cubicBezTo>
                <a:cubicBezTo>
                  <a:pt x="83" y="77"/>
                  <a:pt x="83" y="77"/>
                  <a:pt x="83" y="77"/>
                </a:cubicBezTo>
                <a:lnTo>
                  <a:pt x="154" y="77"/>
                </a:lnTo>
                <a:close/>
                <a:moveTo>
                  <a:pt x="102" y="130"/>
                </a:moveTo>
                <a:cubicBezTo>
                  <a:pt x="135" y="130"/>
                  <a:pt x="135" y="130"/>
                  <a:pt x="135" y="130"/>
                </a:cubicBezTo>
                <a:cubicBezTo>
                  <a:pt x="137" y="130"/>
                  <a:pt x="138" y="128"/>
                  <a:pt x="138" y="127"/>
                </a:cubicBezTo>
                <a:cubicBezTo>
                  <a:pt x="138" y="125"/>
                  <a:pt x="137" y="124"/>
                  <a:pt x="135" y="124"/>
                </a:cubicBezTo>
                <a:cubicBezTo>
                  <a:pt x="102" y="124"/>
                  <a:pt x="102" y="124"/>
                  <a:pt x="102" y="124"/>
                </a:cubicBezTo>
                <a:cubicBezTo>
                  <a:pt x="101" y="124"/>
                  <a:pt x="99" y="125"/>
                  <a:pt x="99" y="127"/>
                </a:cubicBezTo>
                <a:cubicBezTo>
                  <a:pt x="99" y="128"/>
                  <a:pt x="101" y="130"/>
                  <a:pt x="102" y="130"/>
                </a:cubicBezTo>
                <a:close/>
                <a:moveTo>
                  <a:pt x="102" y="113"/>
                </a:moveTo>
                <a:cubicBezTo>
                  <a:pt x="135" y="113"/>
                  <a:pt x="135" y="113"/>
                  <a:pt x="135" y="113"/>
                </a:cubicBezTo>
                <a:cubicBezTo>
                  <a:pt x="137" y="113"/>
                  <a:pt x="138" y="112"/>
                  <a:pt x="138" y="110"/>
                </a:cubicBezTo>
                <a:cubicBezTo>
                  <a:pt x="138" y="109"/>
                  <a:pt x="137" y="108"/>
                  <a:pt x="135" y="108"/>
                </a:cubicBezTo>
                <a:cubicBezTo>
                  <a:pt x="102" y="108"/>
                  <a:pt x="102" y="108"/>
                  <a:pt x="102" y="108"/>
                </a:cubicBezTo>
                <a:cubicBezTo>
                  <a:pt x="101" y="108"/>
                  <a:pt x="99" y="109"/>
                  <a:pt x="99" y="110"/>
                </a:cubicBezTo>
                <a:cubicBezTo>
                  <a:pt x="99" y="112"/>
                  <a:pt x="101" y="113"/>
                  <a:pt x="102" y="113"/>
                </a:cubicBezTo>
                <a:close/>
                <a:moveTo>
                  <a:pt x="57" y="103"/>
                </a:moveTo>
                <a:cubicBezTo>
                  <a:pt x="56" y="102"/>
                  <a:pt x="54" y="102"/>
                  <a:pt x="53" y="103"/>
                </a:cubicBezTo>
                <a:cubicBezTo>
                  <a:pt x="41" y="115"/>
                  <a:pt x="41" y="115"/>
                  <a:pt x="41" y="115"/>
                </a:cubicBezTo>
                <a:cubicBezTo>
                  <a:pt x="30" y="103"/>
                  <a:pt x="30" y="103"/>
                  <a:pt x="30" y="103"/>
                </a:cubicBezTo>
                <a:cubicBezTo>
                  <a:pt x="28" y="102"/>
                  <a:pt x="27" y="102"/>
                  <a:pt x="26" y="103"/>
                </a:cubicBezTo>
                <a:cubicBezTo>
                  <a:pt x="25" y="104"/>
                  <a:pt x="25" y="106"/>
                  <a:pt x="26" y="107"/>
                </a:cubicBezTo>
                <a:cubicBezTo>
                  <a:pt x="37" y="119"/>
                  <a:pt x="37" y="119"/>
                  <a:pt x="37" y="119"/>
                </a:cubicBezTo>
                <a:cubicBezTo>
                  <a:pt x="26" y="130"/>
                  <a:pt x="26" y="130"/>
                  <a:pt x="26" y="130"/>
                </a:cubicBezTo>
                <a:cubicBezTo>
                  <a:pt x="25" y="132"/>
                  <a:pt x="25" y="133"/>
                  <a:pt x="26" y="134"/>
                </a:cubicBezTo>
                <a:cubicBezTo>
                  <a:pt x="26" y="135"/>
                  <a:pt x="27" y="135"/>
                  <a:pt x="28" y="135"/>
                </a:cubicBezTo>
                <a:cubicBezTo>
                  <a:pt x="28" y="135"/>
                  <a:pt x="29" y="135"/>
                  <a:pt x="30" y="134"/>
                </a:cubicBezTo>
                <a:cubicBezTo>
                  <a:pt x="41" y="123"/>
                  <a:pt x="41" y="123"/>
                  <a:pt x="41" y="123"/>
                </a:cubicBezTo>
                <a:cubicBezTo>
                  <a:pt x="53" y="134"/>
                  <a:pt x="53" y="134"/>
                  <a:pt x="53" y="134"/>
                </a:cubicBezTo>
                <a:cubicBezTo>
                  <a:pt x="54" y="135"/>
                  <a:pt x="54" y="135"/>
                  <a:pt x="55" y="135"/>
                </a:cubicBezTo>
                <a:cubicBezTo>
                  <a:pt x="56" y="135"/>
                  <a:pt x="57" y="135"/>
                  <a:pt x="57" y="134"/>
                </a:cubicBezTo>
                <a:cubicBezTo>
                  <a:pt x="58" y="133"/>
                  <a:pt x="58" y="132"/>
                  <a:pt x="57" y="130"/>
                </a:cubicBezTo>
                <a:cubicBezTo>
                  <a:pt x="45" y="119"/>
                  <a:pt x="45" y="119"/>
                  <a:pt x="45" y="119"/>
                </a:cubicBezTo>
                <a:cubicBezTo>
                  <a:pt x="57" y="107"/>
                  <a:pt x="57" y="107"/>
                  <a:pt x="57" y="107"/>
                </a:cubicBezTo>
                <a:cubicBezTo>
                  <a:pt x="58" y="106"/>
                  <a:pt x="58" y="104"/>
                  <a:pt x="57" y="103"/>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3" name="Freeform 1060">
            <a:extLst>
              <a:ext uri="{FF2B5EF4-FFF2-40B4-BE49-F238E27FC236}">
                <a16:creationId xmlns:a16="http://schemas.microsoft.com/office/drawing/2014/main" id="{CEDCDBF7-DA01-EC46-96BC-2ED956AA8EAD}"/>
              </a:ext>
            </a:extLst>
          </p:cNvPr>
          <p:cNvSpPr>
            <a:spLocks noEditPoints="1"/>
          </p:cNvSpPr>
          <p:nvPr/>
        </p:nvSpPr>
        <p:spPr bwMode="auto">
          <a:xfrm>
            <a:off x="3443170" y="4700588"/>
            <a:ext cx="546100" cy="539750"/>
          </a:xfrm>
          <a:custGeom>
            <a:avLst/>
            <a:gdLst>
              <a:gd name="T0" fmla="*/ 102 w 160"/>
              <a:gd name="T1" fmla="*/ 3 h 157"/>
              <a:gd name="T2" fmla="*/ 105 w 160"/>
              <a:gd name="T3" fmla="*/ 22 h 157"/>
              <a:gd name="T4" fmla="*/ 118 w 160"/>
              <a:gd name="T5" fmla="*/ 17 h 157"/>
              <a:gd name="T6" fmla="*/ 121 w 160"/>
              <a:gd name="T7" fmla="*/ 36 h 157"/>
              <a:gd name="T8" fmla="*/ 77 w 160"/>
              <a:gd name="T9" fmla="*/ 36 h 157"/>
              <a:gd name="T10" fmla="*/ 6 w 160"/>
              <a:gd name="T11" fmla="*/ 36 h 157"/>
              <a:gd name="T12" fmla="*/ 52 w 160"/>
              <a:gd name="T13" fmla="*/ 17 h 157"/>
              <a:gd name="T14" fmla="*/ 47 w 160"/>
              <a:gd name="T15" fmla="*/ 11 h 157"/>
              <a:gd name="T16" fmla="*/ 55 w 160"/>
              <a:gd name="T17" fmla="*/ 22 h 157"/>
              <a:gd name="T18" fmla="*/ 69 w 160"/>
              <a:gd name="T19" fmla="*/ 14 h 157"/>
              <a:gd name="T20" fmla="*/ 0 w 160"/>
              <a:gd name="T21" fmla="*/ 11 h 157"/>
              <a:gd name="T22" fmla="*/ 0 w 160"/>
              <a:gd name="T23" fmla="*/ 74 h 157"/>
              <a:gd name="T24" fmla="*/ 0 w 160"/>
              <a:gd name="T25" fmla="*/ 119 h 157"/>
              <a:gd name="T26" fmla="*/ 44 w 160"/>
              <a:gd name="T27" fmla="*/ 157 h 157"/>
              <a:gd name="T28" fmla="*/ 116 w 160"/>
              <a:gd name="T29" fmla="*/ 157 h 157"/>
              <a:gd name="T30" fmla="*/ 160 w 160"/>
              <a:gd name="T31" fmla="*/ 119 h 157"/>
              <a:gd name="T32" fmla="*/ 160 w 160"/>
              <a:gd name="T33" fmla="*/ 74 h 157"/>
              <a:gd name="T34" fmla="*/ 160 w 160"/>
              <a:gd name="T35" fmla="*/ 11 h 157"/>
              <a:gd name="T36" fmla="*/ 116 w 160"/>
              <a:gd name="T37" fmla="*/ 41 h 157"/>
              <a:gd name="T38" fmla="*/ 83 w 160"/>
              <a:gd name="T39" fmla="*/ 41 h 157"/>
              <a:gd name="T40" fmla="*/ 83 w 160"/>
              <a:gd name="T41" fmla="*/ 80 h 157"/>
              <a:gd name="T42" fmla="*/ 44 w 160"/>
              <a:gd name="T43" fmla="*/ 80 h 157"/>
              <a:gd name="T44" fmla="*/ 44 w 160"/>
              <a:gd name="T45" fmla="*/ 113 h 157"/>
              <a:gd name="T46" fmla="*/ 77 w 160"/>
              <a:gd name="T47" fmla="*/ 41 h 157"/>
              <a:gd name="T48" fmla="*/ 44 w 160"/>
              <a:gd name="T49" fmla="*/ 41 h 157"/>
              <a:gd name="T50" fmla="*/ 39 w 160"/>
              <a:gd name="T51" fmla="*/ 41 h 157"/>
              <a:gd name="T52" fmla="*/ 6 w 160"/>
              <a:gd name="T53" fmla="*/ 44 h 157"/>
              <a:gd name="T54" fmla="*/ 39 w 160"/>
              <a:gd name="T55" fmla="*/ 113 h 157"/>
              <a:gd name="T56" fmla="*/ 6 w 160"/>
              <a:gd name="T57" fmla="*/ 152 h 157"/>
              <a:gd name="T58" fmla="*/ 39 w 160"/>
              <a:gd name="T59" fmla="*/ 152 h 157"/>
              <a:gd name="T60" fmla="*/ 44 w 160"/>
              <a:gd name="T61" fmla="*/ 119 h 157"/>
              <a:gd name="T62" fmla="*/ 44 w 160"/>
              <a:gd name="T63" fmla="*/ 152 h 157"/>
              <a:gd name="T64" fmla="*/ 116 w 160"/>
              <a:gd name="T65" fmla="*/ 119 h 157"/>
              <a:gd name="T66" fmla="*/ 154 w 160"/>
              <a:gd name="T67" fmla="*/ 152 h 157"/>
              <a:gd name="T68" fmla="*/ 154 w 160"/>
              <a:gd name="T69" fmla="*/ 119 h 157"/>
              <a:gd name="T70" fmla="*/ 121 w 160"/>
              <a:gd name="T71" fmla="*/ 113 h 157"/>
              <a:gd name="T72" fmla="*/ 154 w 160"/>
              <a:gd name="T73" fmla="*/ 113 h 157"/>
              <a:gd name="T74" fmla="*/ 154 w 160"/>
              <a:gd name="T75" fmla="*/ 41 h 157"/>
              <a:gd name="T76" fmla="*/ 121 w 160"/>
              <a:gd name="T77" fmla="*/ 74 h 157"/>
              <a:gd name="T78" fmla="*/ 86 w 160"/>
              <a:gd name="T79" fmla="*/ 14 h 157"/>
              <a:gd name="T80" fmla="*/ 72 w 160"/>
              <a:gd name="T81" fmla="*/ 22 h 157"/>
              <a:gd name="T82" fmla="*/ 69 w 160"/>
              <a:gd name="T83" fmla="*/ 3 h 157"/>
              <a:gd name="T84" fmla="*/ 102 w 160"/>
              <a:gd name="T85" fmla="*/ 14 h 157"/>
              <a:gd name="T86" fmla="*/ 88 w 160"/>
              <a:gd name="T87" fmla="*/ 22 h 157"/>
              <a:gd name="T88" fmla="*/ 86 w 160"/>
              <a:gd name="T89" fmla="*/ 3 h 157"/>
              <a:gd name="T90" fmla="*/ 86 w 160"/>
              <a:gd name="T91" fmla="*/ 87 h 157"/>
              <a:gd name="T92" fmla="*/ 99 w 160"/>
              <a:gd name="T93" fmla="*/ 93 h 157"/>
              <a:gd name="T94" fmla="*/ 112 w 160"/>
              <a:gd name="T95" fmla="*/ 87 h 157"/>
              <a:gd name="T96" fmla="*/ 112 w 160"/>
              <a:gd name="T97" fmla="*/ 110 h 157"/>
              <a:gd name="T98" fmla="*/ 99 w 160"/>
              <a:gd name="T99" fmla="*/ 100 h 157"/>
              <a:gd name="T100" fmla="*/ 86 w 160"/>
              <a:gd name="T101" fmla="*/ 11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157">
                <a:moveTo>
                  <a:pt x="118" y="11"/>
                </a:moveTo>
                <a:cubicBezTo>
                  <a:pt x="117" y="5"/>
                  <a:pt x="111" y="0"/>
                  <a:pt x="105" y="0"/>
                </a:cubicBezTo>
                <a:cubicBezTo>
                  <a:pt x="103" y="0"/>
                  <a:pt x="102" y="1"/>
                  <a:pt x="102" y="3"/>
                </a:cubicBezTo>
                <a:cubicBezTo>
                  <a:pt x="102" y="4"/>
                  <a:pt x="103" y="6"/>
                  <a:pt x="105" y="6"/>
                </a:cubicBezTo>
                <a:cubicBezTo>
                  <a:pt x="109" y="6"/>
                  <a:pt x="113" y="9"/>
                  <a:pt x="113" y="14"/>
                </a:cubicBezTo>
                <a:cubicBezTo>
                  <a:pt x="113" y="18"/>
                  <a:pt x="109" y="22"/>
                  <a:pt x="105" y="22"/>
                </a:cubicBezTo>
                <a:cubicBezTo>
                  <a:pt x="103" y="22"/>
                  <a:pt x="102" y="23"/>
                  <a:pt x="102" y="25"/>
                </a:cubicBezTo>
                <a:cubicBezTo>
                  <a:pt x="102" y="26"/>
                  <a:pt x="103" y="28"/>
                  <a:pt x="105" y="28"/>
                </a:cubicBezTo>
                <a:cubicBezTo>
                  <a:pt x="111" y="28"/>
                  <a:pt x="117" y="23"/>
                  <a:pt x="118" y="17"/>
                </a:cubicBezTo>
                <a:cubicBezTo>
                  <a:pt x="154" y="17"/>
                  <a:pt x="154" y="17"/>
                  <a:pt x="154" y="17"/>
                </a:cubicBezTo>
                <a:cubicBezTo>
                  <a:pt x="154" y="36"/>
                  <a:pt x="154" y="36"/>
                  <a:pt x="154" y="36"/>
                </a:cubicBezTo>
                <a:cubicBezTo>
                  <a:pt x="121" y="36"/>
                  <a:pt x="121" y="36"/>
                  <a:pt x="121" y="36"/>
                </a:cubicBezTo>
                <a:cubicBezTo>
                  <a:pt x="116" y="36"/>
                  <a:pt x="116" y="36"/>
                  <a:pt x="116" y="36"/>
                </a:cubicBezTo>
                <a:cubicBezTo>
                  <a:pt x="83" y="36"/>
                  <a:pt x="83" y="36"/>
                  <a:pt x="83" y="36"/>
                </a:cubicBezTo>
                <a:cubicBezTo>
                  <a:pt x="77" y="36"/>
                  <a:pt x="77" y="36"/>
                  <a:pt x="77" y="36"/>
                </a:cubicBezTo>
                <a:cubicBezTo>
                  <a:pt x="44" y="36"/>
                  <a:pt x="44" y="36"/>
                  <a:pt x="44" y="36"/>
                </a:cubicBezTo>
                <a:cubicBezTo>
                  <a:pt x="39" y="36"/>
                  <a:pt x="39" y="36"/>
                  <a:pt x="39" y="36"/>
                </a:cubicBezTo>
                <a:cubicBezTo>
                  <a:pt x="6" y="36"/>
                  <a:pt x="6" y="36"/>
                  <a:pt x="6" y="36"/>
                </a:cubicBezTo>
                <a:cubicBezTo>
                  <a:pt x="6" y="17"/>
                  <a:pt x="6" y="17"/>
                  <a:pt x="6" y="17"/>
                </a:cubicBezTo>
                <a:cubicBezTo>
                  <a:pt x="44" y="17"/>
                  <a:pt x="44" y="17"/>
                  <a:pt x="44" y="17"/>
                </a:cubicBezTo>
                <a:cubicBezTo>
                  <a:pt x="52" y="17"/>
                  <a:pt x="52" y="17"/>
                  <a:pt x="52" y="17"/>
                </a:cubicBezTo>
                <a:cubicBezTo>
                  <a:pt x="54" y="17"/>
                  <a:pt x="55" y="15"/>
                  <a:pt x="55" y="14"/>
                </a:cubicBezTo>
                <a:cubicBezTo>
                  <a:pt x="55" y="12"/>
                  <a:pt x="54" y="11"/>
                  <a:pt x="52" y="11"/>
                </a:cubicBezTo>
                <a:cubicBezTo>
                  <a:pt x="47" y="11"/>
                  <a:pt x="47" y="11"/>
                  <a:pt x="47" y="11"/>
                </a:cubicBezTo>
                <a:cubicBezTo>
                  <a:pt x="49" y="8"/>
                  <a:pt x="52" y="6"/>
                  <a:pt x="55" y="6"/>
                </a:cubicBezTo>
                <a:cubicBezTo>
                  <a:pt x="60" y="6"/>
                  <a:pt x="63" y="9"/>
                  <a:pt x="63" y="14"/>
                </a:cubicBezTo>
                <a:cubicBezTo>
                  <a:pt x="63" y="18"/>
                  <a:pt x="60" y="22"/>
                  <a:pt x="55" y="22"/>
                </a:cubicBezTo>
                <a:cubicBezTo>
                  <a:pt x="54" y="22"/>
                  <a:pt x="52" y="23"/>
                  <a:pt x="52" y="25"/>
                </a:cubicBezTo>
                <a:cubicBezTo>
                  <a:pt x="52" y="26"/>
                  <a:pt x="54" y="28"/>
                  <a:pt x="55" y="28"/>
                </a:cubicBezTo>
                <a:cubicBezTo>
                  <a:pt x="63" y="28"/>
                  <a:pt x="69" y="21"/>
                  <a:pt x="69" y="14"/>
                </a:cubicBezTo>
                <a:cubicBezTo>
                  <a:pt x="69" y="6"/>
                  <a:pt x="63" y="0"/>
                  <a:pt x="55" y="0"/>
                </a:cubicBezTo>
                <a:cubicBezTo>
                  <a:pt x="49" y="0"/>
                  <a:pt x="43" y="5"/>
                  <a:pt x="42" y="11"/>
                </a:cubicBezTo>
                <a:cubicBezTo>
                  <a:pt x="0" y="11"/>
                  <a:pt x="0" y="11"/>
                  <a:pt x="0" y="11"/>
                </a:cubicBezTo>
                <a:cubicBezTo>
                  <a:pt x="0" y="36"/>
                  <a:pt x="0" y="36"/>
                  <a:pt x="0" y="36"/>
                </a:cubicBezTo>
                <a:cubicBezTo>
                  <a:pt x="0" y="44"/>
                  <a:pt x="0" y="44"/>
                  <a:pt x="0" y="44"/>
                </a:cubicBezTo>
                <a:cubicBezTo>
                  <a:pt x="0" y="74"/>
                  <a:pt x="0" y="74"/>
                  <a:pt x="0" y="74"/>
                </a:cubicBezTo>
                <a:cubicBezTo>
                  <a:pt x="0" y="80"/>
                  <a:pt x="0" y="80"/>
                  <a:pt x="0" y="80"/>
                </a:cubicBezTo>
                <a:cubicBezTo>
                  <a:pt x="0" y="113"/>
                  <a:pt x="0" y="113"/>
                  <a:pt x="0" y="113"/>
                </a:cubicBezTo>
                <a:cubicBezTo>
                  <a:pt x="0" y="119"/>
                  <a:pt x="0" y="119"/>
                  <a:pt x="0" y="119"/>
                </a:cubicBezTo>
                <a:cubicBezTo>
                  <a:pt x="0" y="157"/>
                  <a:pt x="0" y="157"/>
                  <a:pt x="0" y="157"/>
                </a:cubicBezTo>
                <a:cubicBezTo>
                  <a:pt x="39" y="157"/>
                  <a:pt x="39" y="157"/>
                  <a:pt x="39" y="157"/>
                </a:cubicBezTo>
                <a:cubicBezTo>
                  <a:pt x="44" y="157"/>
                  <a:pt x="44" y="157"/>
                  <a:pt x="44" y="157"/>
                </a:cubicBezTo>
                <a:cubicBezTo>
                  <a:pt x="77" y="157"/>
                  <a:pt x="77" y="157"/>
                  <a:pt x="77" y="157"/>
                </a:cubicBezTo>
                <a:cubicBezTo>
                  <a:pt x="83" y="157"/>
                  <a:pt x="83" y="157"/>
                  <a:pt x="83" y="157"/>
                </a:cubicBezTo>
                <a:cubicBezTo>
                  <a:pt x="116" y="157"/>
                  <a:pt x="116" y="157"/>
                  <a:pt x="116" y="157"/>
                </a:cubicBezTo>
                <a:cubicBezTo>
                  <a:pt x="121" y="157"/>
                  <a:pt x="121" y="157"/>
                  <a:pt x="121" y="157"/>
                </a:cubicBezTo>
                <a:cubicBezTo>
                  <a:pt x="160" y="157"/>
                  <a:pt x="160" y="157"/>
                  <a:pt x="160" y="157"/>
                </a:cubicBezTo>
                <a:cubicBezTo>
                  <a:pt x="160" y="119"/>
                  <a:pt x="160" y="119"/>
                  <a:pt x="160" y="119"/>
                </a:cubicBezTo>
                <a:cubicBezTo>
                  <a:pt x="160" y="113"/>
                  <a:pt x="160" y="113"/>
                  <a:pt x="160" y="113"/>
                </a:cubicBezTo>
                <a:cubicBezTo>
                  <a:pt x="160" y="80"/>
                  <a:pt x="160" y="80"/>
                  <a:pt x="160" y="80"/>
                </a:cubicBezTo>
                <a:cubicBezTo>
                  <a:pt x="160" y="74"/>
                  <a:pt x="160" y="74"/>
                  <a:pt x="160" y="74"/>
                </a:cubicBezTo>
                <a:cubicBezTo>
                  <a:pt x="160" y="44"/>
                  <a:pt x="160" y="44"/>
                  <a:pt x="160" y="44"/>
                </a:cubicBezTo>
                <a:cubicBezTo>
                  <a:pt x="160" y="36"/>
                  <a:pt x="160" y="36"/>
                  <a:pt x="160" y="36"/>
                </a:cubicBezTo>
                <a:cubicBezTo>
                  <a:pt x="160" y="11"/>
                  <a:pt x="160" y="11"/>
                  <a:pt x="160" y="11"/>
                </a:cubicBezTo>
                <a:lnTo>
                  <a:pt x="118" y="11"/>
                </a:lnTo>
                <a:close/>
                <a:moveTo>
                  <a:pt x="83" y="41"/>
                </a:moveTo>
                <a:cubicBezTo>
                  <a:pt x="116" y="41"/>
                  <a:pt x="116" y="41"/>
                  <a:pt x="116" y="41"/>
                </a:cubicBezTo>
                <a:cubicBezTo>
                  <a:pt x="116" y="74"/>
                  <a:pt x="116" y="74"/>
                  <a:pt x="116" y="74"/>
                </a:cubicBezTo>
                <a:cubicBezTo>
                  <a:pt x="83" y="74"/>
                  <a:pt x="83" y="74"/>
                  <a:pt x="83" y="74"/>
                </a:cubicBezTo>
                <a:lnTo>
                  <a:pt x="83" y="41"/>
                </a:lnTo>
                <a:close/>
                <a:moveTo>
                  <a:pt x="116" y="113"/>
                </a:moveTo>
                <a:cubicBezTo>
                  <a:pt x="83" y="113"/>
                  <a:pt x="83" y="113"/>
                  <a:pt x="83" y="113"/>
                </a:cubicBezTo>
                <a:cubicBezTo>
                  <a:pt x="83" y="80"/>
                  <a:pt x="83" y="80"/>
                  <a:pt x="83" y="80"/>
                </a:cubicBezTo>
                <a:cubicBezTo>
                  <a:pt x="116" y="80"/>
                  <a:pt x="116" y="80"/>
                  <a:pt x="116" y="80"/>
                </a:cubicBezTo>
                <a:lnTo>
                  <a:pt x="116" y="113"/>
                </a:lnTo>
                <a:close/>
                <a:moveTo>
                  <a:pt x="44" y="80"/>
                </a:moveTo>
                <a:cubicBezTo>
                  <a:pt x="77" y="80"/>
                  <a:pt x="77" y="80"/>
                  <a:pt x="77" y="80"/>
                </a:cubicBezTo>
                <a:cubicBezTo>
                  <a:pt x="77" y="113"/>
                  <a:pt x="77" y="113"/>
                  <a:pt x="77" y="113"/>
                </a:cubicBezTo>
                <a:cubicBezTo>
                  <a:pt x="44" y="113"/>
                  <a:pt x="44" y="113"/>
                  <a:pt x="44" y="113"/>
                </a:cubicBezTo>
                <a:lnTo>
                  <a:pt x="44" y="80"/>
                </a:lnTo>
                <a:close/>
                <a:moveTo>
                  <a:pt x="44" y="41"/>
                </a:moveTo>
                <a:cubicBezTo>
                  <a:pt x="77" y="41"/>
                  <a:pt x="77" y="41"/>
                  <a:pt x="77" y="41"/>
                </a:cubicBezTo>
                <a:cubicBezTo>
                  <a:pt x="77" y="74"/>
                  <a:pt x="77" y="74"/>
                  <a:pt x="77" y="74"/>
                </a:cubicBezTo>
                <a:cubicBezTo>
                  <a:pt x="44" y="74"/>
                  <a:pt x="44" y="74"/>
                  <a:pt x="44" y="74"/>
                </a:cubicBezTo>
                <a:lnTo>
                  <a:pt x="44" y="41"/>
                </a:lnTo>
                <a:close/>
                <a:moveTo>
                  <a:pt x="6" y="44"/>
                </a:moveTo>
                <a:cubicBezTo>
                  <a:pt x="6" y="41"/>
                  <a:pt x="6" y="41"/>
                  <a:pt x="6" y="41"/>
                </a:cubicBezTo>
                <a:cubicBezTo>
                  <a:pt x="39" y="41"/>
                  <a:pt x="39" y="41"/>
                  <a:pt x="39" y="41"/>
                </a:cubicBezTo>
                <a:cubicBezTo>
                  <a:pt x="39" y="74"/>
                  <a:pt x="39" y="74"/>
                  <a:pt x="39" y="74"/>
                </a:cubicBezTo>
                <a:cubicBezTo>
                  <a:pt x="6" y="74"/>
                  <a:pt x="6" y="74"/>
                  <a:pt x="6" y="74"/>
                </a:cubicBezTo>
                <a:lnTo>
                  <a:pt x="6" y="44"/>
                </a:lnTo>
                <a:close/>
                <a:moveTo>
                  <a:pt x="6" y="80"/>
                </a:moveTo>
                <a:cubicBezTo>
                  <a:pt x="39" y="80"/>
                  <a:pt x="39" y="80"/>
                  <a:pt x="39" y="80"/>
                </a:cubicBezTo>
                <a:cubicBezTo>
                  <a:pt x="39" y="113"/>
                  <a:pt x="39" y="113"/>
                  <a:pt x="39" y="113"/>
                </a:cubicBezTo>
                <a:cubicBezTo>
                  <a:pt x="6" y="113"/>
                  <a:pt x="6" y="113"/>
                  <a:pt x="6" y="113"/>
                </a:cubicBezTo>
                <a:lnTo>
                  <a:pt x="6" y="80"/>
                </a:lnTo>
                <a:close/>
                <a:moveTo>
                  <a:pt x="6" y="152"/>
                </a:moveTo>
                <a:cubicBezTo>
                  <a:pt x="6" y="119"/>
                  <a:pt x="6" y="119"/>
                  <a:pt x="6" y="119"/>
                </a:cubicBezTo>
                <a:cubicBezTo>
                  <a:pt x="39" y="119"/>
                  <a:pt x="39" y="119"/>
                  <a:pt x="39" y="119"/>
                </a:cubicBezTo>
                <a:cubicBezTo>
                  <a:pt x="39" y="152"/>
                  <a:pt x="39" y="152"/>
                  <a:pt x="39" y="152"/>
                </a:cubicBezTo>
                <a:lnTo>
                  <a:pt x="6" y="152"/>
                </a:lnTo>
                <a:close/>
                <a:moveTo>
                  <a:pt x="44" y="152"/>
                </a:moveTo>
                <a:cubicBezTo>
                  <a:pt x="44" y="119"/>
                  <a:pt x="44" y="119"/>
                  <a:pt x="44" y="119"/>
                </a:cubicBezTo>
                <a:cubicBezTo>
                  <a:pt x="77" y="119"/>
                  <a:pt x="77" y="119"/>
                  <a:pt x="77" y="119"/>
                </a:cubicBezTo>
                <a:cubicBezTo>
                  <a:pt x="77" y="152"/>
                  <a:pt x="77" y="152"/>
                  <a:pt x="77" y="152"/>
                </a:cubicBezTo>
                <a:lnTo>
                  <a:pt x="44" y="152"/>
                </a:lnTo>
                <a:close/>
                <a:moveTo>
                  <a:pt x="83" y="152"/>
                </a:moveTo>
                <a:cubicBezTo>
                  <a:pt x="83" y="119"/>
                  <a:pt x="83" y="119"/>
                  <a:pt x="83" y="119"/>
                </a:cubicBezTo>
                <a:cubicBezTo>
                  <a:pt x="116" y="119"/>
                  <a:pt x="116" y="119"/>
                  <a:pt x="116" y="119"/>
                </a:cubicBezTo>
                <a:cubicBezTo>
                  <a:pt x="116" y="152"/>
                  <a:pt x="116" y="152"/>
                  <a:pt x="116" y="152"/>
                </a:cubicBezTo>
                <a:lnTo>
                  <a:pt x="83" y="152"/>
                </a:lnTo>
                <a:close/>
                <a:moveTo>
                  <a:pt x="154" y="152"/>
                </a:moveTo>
                <a:cubicBezTo>
                  <a:pt x="121" y="152"/>
                  <a:pt x="121" y="152"/>
                  <a:pt x="121" y="152"/>
                </a:cubicBezTo>
                <a:cubicBezTo>
                  <a:pt x="121" y="119"/>
                  <a:pt x="121" y="119"/>
                  <a:pt x="121" y="119"/>
                </a:cubicBezTo>
                <a:cubicBezTo>
                  <a:pt x="154" y="119"/>
                  <a:pt x="154" y="119"/>
                  <a:pt x="154" y="119"/>
                </a:cubicBezTo>
                <a:lnTo>
                  <a:pt x="154" y="152"/>
                </a:lnTo>
                <a:close/>
                <a:moveTo>
                  <a:pt x="154" y="113"/>
                </a:moveTo>
                <a:cubicBezTo>
                  <a:pt x="121" y="113"/>
                  <a:pt x="121" y="113"/>
                  <a:pt x="121" y="113"/>
                </a:cubicBezTo>
                <a:cubicBezTo>
                  <a:pt x="121" y="80"/>
                  <a:pt x="121" y="80"/>
                  <a:pt x="121" y="80"/>
                </a:cubicBezTo>
                <a:cubicBezTo>
                  <a:pt x="154" y="80"/>
                  <a:pt x="154" y="80"/>
                  <a:pt x="154" y="80"/>
                </a:cubicBezTo>
                <a:lnTo>
                  <a:pt x="154" y="113"/>
                </a:lnTo>
                <a:close/>
                <a:moveTo>
                  <a:pt x="121" y="74"/>
                </a:moveTo>
                <a:cubicBezTo>
                  <a:pt x="121" y="41"/>
                  <a:pt x="121" y="41"/>
                  <a:pt x="121" y="41"/>
                </a:cubicBezTo>
                <a:cubicBezTo>
                  <a:pt x="154" y="41"/>
                  <a:pt x="154" y="41"/>
                  <a:pt x="154" y="41"/>
                </a:cubicBezTo>
                <a:cubicBezTo>
                  <a:pt x="154" y="44"/>
                  <a:pt x="154" y="44"/>
                  <a:pt x="154" y="44"/>
                </a:cubicBezTo>
                <a:cubicBezTo>
                  <a:pt x="154" y="74"/>
                  <a:pt x="154" y="74"/>
                  <a:pt x="154" y="74"/>
                </a:cubicBezTo>
                <a:lnTo>
                  <a:pt x="121" y="74"/>
                </a:lnTo>
                <a:close/>
                <a:moveTo>
                  <a:pt x="69" y="3"/>
                </a:moveTo>
                <a:cubicBezTo>
                  <a:pt x="69" y="1"/>
                  <a:pt x="70" y="0"/>
                  <a:pt x="72" y="0"/>
                </a:cubicBezTo>
                <a:cubicBezTo>
                  <a:pt x="79" y="0"/>
                  <a:pt x="86" y="6"/>
                  <a:pt x="86" y="14"/>
                </a:cubicBezTo>
                <a:cubicBezTo>
                  <a:pt x="86" y="21"/>
                  <a:pt x="79" y="28"/>
                  <a:pt x="72" y="28"/>
                </a:cubicBezTo>
                <a:cubicBezTo>
                  <a:pt x="70" y="28"/>
                  <a:pt x="69" y="26"/>
                  <a:pt x="69" y="25"/>
                </a:cubicBezTo>
                <a:cubicBezTo>
                  <a:pt x="69" y="23"/>
                  <a:pt x="70" y="22"/>
                  <a:pt x="72" y="22"/>
                </a:cubicBezTo>
                <a:cubicBezTo>
                  <a:pt x="76" y="22"/>
                  <a:pt x="80" y="18"/>
                  <a:pt x="80" y="14"/>
                </a:cubicBezTo>
                <a:cubicBezTo>
                  <a:pt x="80" y="9"/>
                  <a:pt x="76" y="6"/>
                  <a:pt x="72" y="6"/>
                </a:cubicBezTo>
                <a:cubicBezTo>
                  <a:pt x="70" y="6"/>
                  <a:pt x="69" y="4"/>
                  <a:pt x="69" y="3"/>
                </a:cubicBezTo>
                <a:close/>
                <a:moveTo>
                  <a:pt x="86" y="3"/>
                </a:moveTo>
                <a:cubicBezTo>
                  <a:pt x="86" y="1"/>
                  <a:pt x="87" y="0"/>
                  <a:pt x="88" y="0"/>
                </a:cubicBezTo>
                <a:cubicBezTo>
                  <a:pt x="96" y="0"/>
                  <a:pt x="102" y="6"/>
                  <a:pt x="102" y="14"/>
                </a:cubicBezTo>
                <a:cubicBezTo>
                  <a:pt x="102" y="21"/>
                  <a:pt x="96" y="28"/>
                  <a:pt x="88" y="28"/>
                </a:cubicBezTo>
                <a:cubicBezTo>
                  <a:pt x="87" y="28"/>
                  <a:pt x="86" y="26"/>
                  <a:pt x="86" y="25"/>
                </a:cubicBezTo>
                <a:cubicBezTo>
                  <a:pt x="86" y="23"/>
                  <a:pt x="87" y="22"/>
                  <a:pt x="88" y="22"/>
                </a:cubicBezTo>
                <a:cubicBezTo>
                  <a:pt x="93" y="22"/>
                  <a:pt x="97" y="18"/>
                  <a:pt x="97" y="14"/>
                </a:cubicBezTo>
                <a:cubicBezTo>
                  <a:pt x="97" y="9"/>
                  <a:pt x="93" y="6"/>
                  <a:pt x="88" y="6"/>
                </a:cubicBezTo>
                <a:cubicBezTo>
                  <a:pt x="87" y="6"/>
                  <a:pt x="86" y="4"/>
                  <a:pt x="86" y="3"/>
                </a:cubicBezTo>
                <a:close/>
                <a:moveTo>
                  <a:pt x="86" y="106"/>
                </a:moveTo>
                <a:cubicBezTo>
                  <a:pt x="95" y="97"/>
                  <a:pt x="95" y="97"/>
                  <a:pt x="95" y="97"/>
                </a:cubicBezTo>
                <a:cubicBezTo>
                  <a:pt x="86" y="87"/>
                  <a:pt x="86" y="87"/>
                  <a:pt x="86" y="87"/>
                </a:cubicBezTo>
                <a:cubicBezTo>
                  <a:pt x="85" y="86"/>
                  <a:pt x="85" y="85"/>
                  <a:pt x="86" y="84"/>
                </a:cubicBezTo>
                <a:cubicBezTo>
                  <a:pt x="87" y="82"/>
                  <a:pt x="89" y="82"/>
                  <a:pt x="90" y="84"/>
                </a:cubicBezTo>
                <a:cubicBezTo>
                  <a:pt x="99" y="93"/>
                  <a:pt x="99" y="93"/>
                  <a:pt x="99" y="93"/>
                </a:cubicBezTo>
                <a:cubicBezTo>
                  <a:pt x="108" y="84"/>
                  <a:pt x="108" y="84"/>
                  <a:pt x="108" y="84"/>
                </a:cubicBezTo>
                <a:cubicBezTo>
                  <a:pt x="109" y="82"/>
                  <a:pt x="111" y="82"/>
                  <a:pt x="112" y="84"/>
                </a:cubicBezTo>
                <a:cubicBezTo>
                  <a:pt x="113" y="85"/>
                  <a:pt x="113" y="86"/>
                  <a:pt x="112" y="87"/>
                </a:cubicBezTo>
                <a:cubicBezTo>
                  <a:pt x="103" y="97"/>
                  <a:pt x="103" y="97"/>
                  <a:pt x="103" y="97"/>
                </a:cubicBezTo>
                <a:cubicBezTo>
                  <a:pt x="112" y="106"/>
                  <a:pt x="112" y="106"/>
                  <a:pt x="112" y="106"/>
                </a:cubicBezTo>
                <a:cubicBezTo>
                  <a:pt x="113" y="107"/>
                  <a:pt x="113" y="108"/>
                  <a:pt x="112" y="110"/>
                </a:cubicBezTo>
                <a:cubicBezTo>
                  <a:pt x="112" y="110"/>
                  <a:pt x="111" y="110"/>
                  <a:pt x="110" y="110"/>
                </a:cubicBezTo>
                <a:cubicBezTo>
                  <a:pt x="110" y="110"/>
                  <a:pt x="109" y="110"/>
                  <a:pt x="108" y="110"/>
                </a:cubicBezTo>
                <a:cubicBezTo>
                  <a:pt x="99" y="100"/>
                  <a:pt x="99" y="100"/>
                  <a:pt x="99" y="100"/>
                </a:cubicBezTo>
                <a:cubicBezTo>
                  <a:pt x="90" y="110"/>
                  <a:pt x="90" y="110"/>
                  <a:pt x="90" y="110"/>
                </a:cubicBezTo>
                <a:cubicBezTo>
                  <a:pt x="90" y="110"/>
                  <a:pt x="89" y="110"/>
                  <a:pt x="88" y="110"/>
                </a:cubicBezTo>
                <a:cubicBezTo>
                  <a:pt x="88" y="110"/>
                  <a:pt x="87" y="110"/>
                  <a:pt x="86" y="110"/>
                </a:cubicBezTo>
                <a:cubicBezTo>
                  <a:pt x="85" y="108"/>
                  <a:pt x="85" y="107"/>
                  <a:pt x="86" y="106"/>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4" name="Freeform 1061">
            <a:extLst>
              <a:ext uri="{FF2B5EF4-FFF2-40B4-BE49-F238E27FC236}">
                <a16:creationId xmlns:a16="http://schemas.microsoft.com/office/drawing/2014/main" id="{61FE77BB-BB06-EB4E-88A6-6C59A12768AF}"/>
              </a:ext>
            </a:extLst>
          </p:cNvPr>
          <p:cNvSpPr>
            <a:spLocks noEditPoints="1"/>
          </p:cNvSpPr>
          <p:nvPr/>
        </p:nvSpPr>
        <p:spPr bwMode="auto">
          <a:xfrm>
            <a:off x="3443170" y="5319713"/>
            <a:ext cx="546100" cy="539750"/>
          </a:xfrm>
          <a:custGeom>
            <a:avLst/>
            <a:gdLst>
              <a:gd name="T0" fmla="*/ 102 w 160"/>
              <a:gd name="T1" fmla="*/ 3 h 157"/>
              <a:gd name="T2" fmla="*/ 105 w 160"/>
              <a:gd name="T3" fmla="*/ 22 h 157"/>
              <a:gd name="T4" fmla="*/ 118 w 160"/>
              <a:gd name="T5" fmla="*/ 17 h 157"/>
              <a:gd name="T6" fmla="*/ 6 w 160"/>
              <a:gd name="T7" fmla="*/ 41 h 157"/>
              <a:gd name="T8" fmla="*/ 52 w 160"/>
              <a:gd name="T9" fmla="*/ 17 h 157"/>
              <a:gd name="T10" fmla="*/ 47 w 160"/>
              <a:gd name="T11" fmla="*/ 11 h 157"/>
              <a:gd name="T12" fmla="*/ 55 w 160"/>
              <a:gd name="T13" fmla="*/ 22 h 157"/>
              <a:gd name="T14" fmla="*/ 69 w 160"/>
              <a:gd name="T15" fmla="*/ 14 h 157"/>
              <a:gd name="T16" fmla="*/ 0 w 160"/>
              <a:gd name="T17" fmla="*/ 11 h 157"/>
              <a:gd name="T18" fmla="*/ 160 w 160"/>
              <a:gd name="T19" fmla="*/ 157 h 157"/>
              <a:gd name="T20" fmla="*/ 118 w 160"/>
              <a:gd name="T21" fmla="*/ 11 h 157"/>
              <a:gd name="T22" fmla="*/ 6 w 160"/>
              <a:gd name="T23" fmla="*/ 47 h 157"/>
              <a:gd name="T24" fmla="*/ 69 w 160"/>
              <a:gd name="T25" fmla="*/ 3 h 157"/>
              <a:gd name="T26" fmla="*/ 72 w 160"/>
              <a:gd name="T27" fmla="*/ 28 h 157"/>
              <a:gd name="T28" fmla="*/ 80 w 160"/>
              <a:gd name="T29" fmla="*/ 14 h 157"/>
              <a:gd name="T30" fmla="*/ 86 w 160"/>
              <a:gd name="T31" fmla="*/ 3 h 157"/>
              <a:gd name="T32" fmla="*/ 88 w 160"/>
              <a:gd name="T33" fmla="*/ 28 h 157"/>
              <a:gd name="T34" fmla="*/ 97 w 160"/>
              <a:gd name="T35" fmla="*/ 14 h 157"/>
              <a:gd name="T36" fmla="*/ 22 w 160"/>
              <a:gd name="T37" fmla="*/ 66 h 157"/>
              <a:gd name="T38" fmla="*/ 88 w 160"/>
              <a:gd name="T39" fmla="*/ 66 h 157"/>
              <a:gd name="T40" fmla="*/ 22 w 160"/>
              <a:gd name="T41" fmla="*/ 66 h 157"/>
              <a:gd name="T42" fmla="*/ 94 w 160"/>
              <a:gd name="T43" fmla="*/ 113 h 157"/>
              <a:gd name="T44" fmla="*/ 135 w 160"/>
              <a:gd name="T45" fmla="*/ 108 h 157"/>
              <a:gd name="T46" fmla="*/ 25 w 160"/>
              <a:gd name="T47" fmla="*/ 86 h 157"/>
              <a:gd name="T48" fmla="*/ 52 w 160"/>
              <a:gd name="T49" fmla="*/ 91 h 157"/>
              <a:gd name="T50" fmla="*/ 138 w 160"/>
              <a:gd name="T51" fmla="*/ 132 h 157"/>
              <a:gd name="T52" fmla="*/ 105 w 160"/>
              <a:gd name="T53" fmla="*/ 132 h 157"/>
              <a:gd name="T54" fmla="*/ 138 w 160"/>
              <a:gd name="T55" fmla="*/ 132 h 157"/>
              <a:gd name="T56" fmla="*/ 124 w 160"/>
              <a:gd name="T57" fmla="*/ 88 h 157"/>
              <a:gd name="T58" fmla="*/ 77 w 160"/>
              <a:gd name="T59" fmla="*/ 88 h 157"/>
              <a:gd name="T60" fmla="*/ 64 w 160"/>
              <a:gd name="T61" fmla="*/ 90 h 157"/>
              <a:gd name="T62" fmla="*/ 68 w 160"/>
              <a:gd name="T63" fmla="*/ 86 h 157"/>
              <a:gd name="T64" fmla="*/ 66 w 160"/>
              <a:gd name="T65" fmla="*/ 91 h 157"/>
              <a:gd name="T66" fmla="*/ 83 w 160"/>
              <a:gd name="T67" fmla="*/ 110 h 157"/>
              <a:gd name="T68" fmla="*/ 36 w 160"/>
              <a:gd name="T69" fmla="*/ 110 h 157"/>
              <a:gd name="T70" fmla="*/ 22 w 160"/>
              <a:gd name="T71" fmla="*/ 110 h 157"/>
              <a:gd name="T72" fmla="*/ 28 w 160"/>
              <a:gd name="T73" fmla="*/ 110 h 157"/>
              <a:gd name="T74" fmla="*/ 23 w 160"/>
              <a:gd name="T75" fmla="*/ 112 h 157"/>
              <a:gd name="T76" fmla="*/ 133 w 160"/>
              <a:gd name="T77" fmla="*/ 86 h 157"/>
              <a:gd name="T78" fmla="*/ 137 w 160"/>
              <a:gd name="T79" fmla="*/ 90 h 157"/>
              <a:gd name="T80" fmla="*/ 97 w 160"/>
              <a:gd name="T81" fmla="*/ 132 h 157"/>
              <a:gd name="T82" fmla="*/ 22 w 160"/>
              <a:gd name="T83" fmla="*/ 132 h 157"/>
              <a:gd name="T84" fmla="*/ 97 w 160"/>
              <a:gd name="T85" fmla="*/ 13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57">
                <a:moveTo>
                  <a:pt x="118" y="11"/>
                </a:moveTo>
                <a:cubicBezTo>
                  <a:pt x="117" y="5"/>
                  <a:pt x="111" y="0"/>
                  <a:pt x="105" y="0"/>
                </a:cubicBezTo>
                <a:cubicBezTo>
                  <a:pt x="103" y="0"/>
                  <a:pt x="102" y="1"/>
                  <a:pt x="102" y="3"/>
                </a:cubicBezTo>
                <a:cubicBezTo>
                  <a:pt x="102" y="4"/>
                  <a:pt x="103" y="6"/>
                  <a:pt x="105" y="6"/>
                </a:cubicBezTo>
                <a:cubicBezTo>
                  <a:pt x="109" y="6"/>
                  <a:pt x="113" y="9"/>
                  <a:pt x="113" y="14"/>
                </a:cubicBezTo>
                <a:cubicBezTo>
                  <a:pt x="113" y="18"/>
                  <a:pt x="109" y="22"/>
                  <a:pt x="105" y="22"/>
                </a:cubicBezTo>
                <a:cubicBezTo>
                  <a:pt x="103" y="22"/>
                  <a:pt x="102" y="23"/>
                  <a:pt x="102" y="25"/>
                </a:cubicBezTo>
                <a:cubicBezTo>
                  <a:pt x="102" y="26"/>
                  <a:pt x="103" y="28"/>
                  <a:pt x="105" y="28"/>
                </a:cubicBezTo>
                <a:cubicBezTo>
                  <a:pt x="111" y="28"/>
                  <a:pt x="117" y="23"/>
                  <a:pt x="118" y="17"/>
                </a:cubicBezTo>
                <a:cubicBezTo>
                  <a:pt x="154" y="17"/>
                  <a:pt x="154" y="17"/>
                  <a:pt x="154" y="17"/>
                </a:cubicBezTo>
                <a:cubicBezTo>
                  <a:pt x="154" y="41"/>
                  <a:pt x="154" y="41"/>
                  <a:pt x="154" y="41"/>
                </a:cubicBezTo>
                <a:cubicBezTo>
                  <a:pt x="6" y="41"/>
                  <a:pt x="6" y="41"/>
                  <a:pt x="6" y="41"/>
                </a:cubicBezTo>
                <a:cubicBezTo>
                  <a:pt x="6" y="17"/>
                  <a:pt x="6" y="17"/>
                  <a:pt x="6" y="17"/>
                </a:cubicBezTo>
                <a:cubicBezTo>
                  <a:pt x="44" y="17"/>
                  <a:pt x="44" y="17"/>
                  <a:pt x="44" y="17"/>
                </a:cubicBezTo>
                <a:cubicBezTo>
                  <a:pt x="52" y="17"/>
                  <a:pt x="52" y="17"/>
                  <a:pt x="52" y="17"/>
                </a:cubicBezTo>
                <a:cubicBezTo>
                  <a:pt x="54" y="17"/>
                  <a:pt x="55" y="15"/>
                  <a:pt x="55" y="14"/>
                </a:cubicBezTo>
                <a:cubicBezTo>
                  <a:pt x="55" y="12"/>
                  <a:pt x="54" y="11"/>
                  <a:pt x="52" y="11"/>
                </a:cubicBezTo>
                <a:cubicBezTo>
                  <a:pt x="47" y="11"/>
                  <a:pt x="47" y="11"/>
                  <a:pt x="47" y="11"/>
                </a:cubicBezTo>
                <a:cubicBezTo>
                  <a:pt x="49" y="8"/>
                  <a:pt x="52" y="6"/>
                  <a:pt x="55" y="6"/>
                </a:cubicBezTo>
                <a:cubicBezTo>
                  <a:pt x="60" y="6"/>
                  <a:pt x="63" y="9"/>
                  <a:pt x="63" y="14"/>
                </a:cubicBezTo>
                <a:cubicBezTo>
                  <a:pt x="63" y="18"/>
                  <a:pt x="60" y="22"/>
                  <a:pt x="55" y="22"/>
                </a:cubicBezTo>
                <a:cubicBezTo>
                  <a:pt x="54" y="22"/>
                  <a:pt x="52" y="23"/>
                  <a:pt x="52" y="25"/>
                </a:cubicBezTo>
                <a:cubicBezTo>
                  <a:pt x="52" y="26"/>
                  <a:pt x="54" y="28"/>
                  <a:pt x="55" y="28"/>
                </a:cubicBezTo>
                <a:cubicBezTo>
                  <a:pt x="63" y="28"/>
                  <a:pt x="69" y="21"/>
                  <a:pt x="69" y="14"/>
                </a:cubicBezTo>
                <a:cubicBezTo>
                  <a:pt x="69" y="6"/>
                  <a:pt x="63" y="0"/>
                  <a:pt x="55" y="0"/>
                </a:cubicBezTo>
                <a:cubicBezTo>
                  <a:pt x="49" y="0"/>
                  <a:pt x="43" y="5"/>
                  <a:pt x="42" y="11"/>
                </a:cubicBezTo>
                <a:cubicBezTo>
                  <a:pt x="0" y="11"/>
                  <a:pt x="0" y="11"/>
                  <a:pt x="0" y="11"/>
                </a:cubicBezTo>
                <a:cubicBezTo>
                  <a:pt x="0" y="47"/>
                  <a:pt x="0" y="47"/>
                  <a:pt x="0" y="47"/>
                </a:cubicBezTo>
                <a:cubicBezTo>
                  <a:pt x="0" y="157"/>
                  <a:pt x="0" y="157"/>
                  <a:pt x="0" y="157"/>
                </a:cubicBezTo>
                <a:cubicBezTo>
                  <a:pt x="160" y="157"/>
                  <a:pt x="160" y="157"/>
                  <a:pt x="160" y="157"/>
                </a:cubicBezTo>
                <a:cubicBezTo>
                  <a:pt x="160" y="47"/>
                  <a:pt x="160" y="47"/>
                  <a:pt x="160" y="47"/>
                </a:cubicBezTo>
                <a:cubicBezTo>
                  <a:pt x="160" y="11"/>
                  <a:pt x="160" y="11"/>
                  <a:pt x="160" y="11"/>
                </a:cubicBezTo>
                <a:lnTo>
                  <a:pt x="118" y="11"/>
                </a:lnTo>
                <a:close/>
                <a:moveTo>
                  <a:pt x="154" y="152"/>
                </a:moveTo>
                <a:cubicBezTo>
                  <a:pt x="6" y="152"/>
                  <a:pt x="6" y="152"/>
                  <a:pt x="6" y="152"/>
                </a:cubicBezTo>
                <a:cubicBezTo>
                  <a:pt x="6" y="47"/>
                  <a:pt x="6" y="47"/>
                  <a:pt x="6" y="47"/>
                </a:cubicBezTo>
                <a:cubicBezTo>
                  <a:pt x="154" y="47"/>
                  <a:pt x="154" y="47"/>
                  <a:pt x="154" y="47"/>
                </a:cubicBezTo>
                <a:lnTo>
                  <a:pt x="154" y="152"/>
                </a:lnTo>
                <a:close/>
                <a:moveTo>
                  <a:pt x="69" y="3"/>
                </a:moveTo>
                <a:cubicBezTo>
                  <a:pt x="69" y="1"/>
                  <a:pt x="70" y="0"/>
                  <a:pt x="72" y="0"/>
                </a:cubicBezTo>
                <a:cubicBezTo>
                  <a:pt x="79" y="0"/>
                  <a:pt x="86" y="6"/>
                  <a:pt x="86" y="14"/>
                </a:cubicBezTo>
                <a:cubicBezTo>
                  <a:pt x="86" y="21"/>
                  <a:pt x="79" y="28"/>
                  <a:pt x="72" y="28"/>
                </a:cubicBezTo>
                <a:cubicBezTo>
                  <a:pt x="70" y="28"/>
                  <a:pt x="69" y="26"/>
                  <a:pt x="69" y="25"/>
                </a:cubicBezTo>
                <a:cubicBezTo>
                  <a:pt x="69" y="23"/>
                  <a:pt x="70" y="22"/>
                  <a:pt x="72" y="22"/>
                </a:cubicBezTo>
                <a:cubicBezTo>
                  <a:pt x="76" y="22"/>
                  <a:pt x="80" y="18"/>
                  <a:pt x="80" y="14"/>
                </a:cubicBezTo>
                <a:cubicBezTo>
                  <a:pt x="80" y="9"/>
                  <a:pt x="76" y="6"/>
                  <a:pt x="72" y="6"/>
                </a:cubicBezTo>
                <a:cubicBezTo>
                  <a:pt x="70" y="6"/>
                  <a:pt x="69" y="4"/>
                  <a:pt x="69" y="3"/>
                </a:cubicBezTo>
                <a:close/>
                <a:moveTo>
                  <a:pt x="86" y="3"/>
                </a:moveTo>
                <a:cubicBezTo>
                  <a:pt x="86" y="1"/>
                  <a:pt x="87" y="0"/>
                  <a:pt x="88" y="0"/>
                </a:cubicBezTo>
                <a:cubicBezTo>
                  <a:pt x="96" y="0"/>
                  <a:pt x="102" y="6"/>
                  <a:pt x="102" y="14"/>
                </a:cubicBezTo>
                <a:cubicBezTo>
                  <a:pt x="102" y="21"/>
                  <a:pt x="96" y="28"/>
                  <a:pt x="88" y="28"/>
                </a:cubicBezTo>
                <a:cubicBezTo>
                  <a:pt x="87" y="28"/>
                  <a:pt x="86" y="26"/>
                  <a:pt x="86" y="25"/>
                </a:cubicBezTo>
                <a:cubicBezTo>
                  <a:pt x="86" y="23"/>
                  <a:pt x="87" y="22"/>
                  <a:pt x="88" y="22"/>
                </a:cubicBezTo>
                <a:cubicBezTo>
                  <a:pt x="93" y="22"/>
                  <a:pt x="97" y="18"/>
                  <a:pt x="97" y="14"/>
                </a:cubicBezTo>
                <a:cubicBezTo>
                  <a:pt x="97" y="9"/>
                  <a:pt x="93" y="6"/>
                  <a:pt x="88" y="6"/>
                </a:cubicBezTo>
                <a:cubicBezTo>
                  <a:pt x="87" y="6"/>
                  <a:pt x="86" y="4"/>
                  <a:pt x="86" y="3"/>
                </a:cubicBezTo>
                <a:close/>
                <a:moveTo>
                  <a:pt x="22" y="66"/>
                </a:moveTo>
                <a:cubicBezTo>
                  <a:pt x="22" y="65"/>
                  <a:pt x="23" y="63"/>
                  <a:pt x="25" y="63"/>
                </a:cubicBezTo>
                <a:cubicBezTo>
                  <a:pt x="86" y="63"/>
                  <a:pt x="86" y="63"/>
                  <a:pt x="86" y="63"/>
                </a:cubicBezTo>
                <a:cubicBezTo>
                  <a:pt x="87" y="63"/>
                  <a:pt x="88" y="65"/>
                  <a:pt x="88" y="66"/>
                </a:cubicBezTo>
                <a:cubicBezTo>
                  <a:pt x="88" y="68"/>
                  <a:pt x="87" y="69"/>
                  <a:pt x="86" y="69"/>
                </a:cubicBezTo>
                <a:cubicBezTo>
                  <a:pt x="25" y="69"/>
                  <a:pt x="25" y="69"/>
                  <a:pt x="25" y="69"/>
                </a:cubicBezTo>
                <a:cubicBezTo>
                  <a:pt x="23" y="69"/>
                  <a:pt x="22" y="68"/>
                  <a:pt x="22" y="66"/>
                </a:cubicBezTo>
                <a:close/>
                <a:moveTo>
                  <a:pt x="138" y="110"/>
                </a:moveTo>
                <a:cubicBezTo>
                  <a:pt x="138" y="112"/>
                  <a:pt x="137" y="113"/>
                  <a:pt x="135" y="113"/>
                </a:cubicBezTo>
                <a:cubicBezTo>
                  <a:pt x="94" y="113"/>
                  <a:pt x="94" y="113"/>
                  <a:pt x="94" y="113"/>
                </a:cubicBezTo>
                <a:cubicBezTo>
                  <a:pt x="92" y="113"/>
                  <a:pt x="91" y="112"/>
                  <a:pt x="91" y="110"/>
                </a:cubicBezTo>
                <a:cubicBezTo>
                  <a:pt x="91" y="109"/>
                  <a:pt x="92" y="108"/>
                  <a:pt x="94" y="108"/>
                </a:cubicBezTo>
                <a:cubicBezTo>
                  <a:pt x="135" y="108"/>
                  <a:pt x="135" y="108"/>
                  <a:pt x="135" y="108"/>
                </a:cubicBezTo>
                <a:cubicBezTo>
                  <a:pt x="137" y="108"/>
                  <a:pt x="138" y="109"/>
                  <a:pt x="138" y="110"/>
                </a:cubicBezTo>
                <a:close/>
                <a:moveTo>
                  <a:pt x="22" y="88"/>
                </a:moveTo>
                <a:cubicBezTo>
                  <a:pt x="22" y="87"/>
                  <a:pt x="23" y="86"/>
                  <a:pt x="25" y="86"/>
                </a:cubicBezTo>
                <a:cubicBezTo>
                  <a:pt x="52" y="86"/>
                  <a:pt x="52" y="86"/>
                  <a:pt x="52" y="86"/>
                </a:cubicBezTo>
                <a:cubicBezTo>
                  <a:pt x="54" y="86"/>
                  <a:pt x="55" y="87"/>
                  <a:pt x="55" y="88"/>
                </a:cubicBezTo>
                <a:cubicBezTo>
                  <a:pt x="55" y="90"/>
                  <a:pt x="54" y="91"/>
                  <a:pt x="52" y="91"/>
                </a:cubicBezTo>
                <a:cubicBezTo>
                  <a:pt x="25" y="91"/>
                  <a:pt x="25" y="91"/>
                  <a:pt x="25" y="91"/>
                </a:cubicBezTo>
                <a:cubicBezTo>
                  <a:pt x="23" y="91"/>
                  <a:pt x="22" y="90"/>
                  <a:pt x="22" y="88"/>
                </a:cubicBezTo>
                <a:close/>
                <a:moveTo>
                  <a:pt x="138" y="132"/>
                </a:moveTo>
                <a:cubicBezTo>
                  <a:pt x="138" y="134"/>
                  <a:pt x="137" y="135"/>
                  <a:pt x="135" y="135"/>
                </a:cubicBezTo>
                <a:cubicBezTo>
                  <a:pt x="108" y="135"/>
                  <a:pt x="108" y="135"/>
                  <a:pt x="108" y="135"/>
                </a:cubicBezTo>
                <a:cubicBezTo>
                  <a:pt x="106" y="135"/>
                  <a:pt x="105" y="134"/>
                  <a:pt x="105" y="132"/>
                </a:cubicBezTo>
                <a:cubicBezTo>
                  <a:pt x="105" y="131"/>
                  <a:pt x="106" y="130"/>
                  <a:pt x="108" y="130"/>
                </a:cubicBezTo>
                <a:cubicBezTo>
                  <a:pt x="135" y="130"/>
                  <a:pt x="135" y="130"/>
                  <a:pt x="135" y="130"/>
                </a:cubicBezTo>
                <a:cubicBezTo>
                  <a:pt x="137" y="130"/>
                  <a:pt x="138" y="131"/>
                  <a:pt x="138" y="132"/>
                </a:cubicBezTo>
                <a:close/>
                <a:moveTo>
                  <a:pt x="80" y="86"/>
                </a:moveTo>
                <a:cubicBezTo>
                  <a:pt x="121" y="86"/>
                  <a:pt x="121" y="86"/>
                  <a:pt x="121" y="86"/>
                </a:cubicBezTo>
                <a:cubicBezTo>
                  <a:pt x="123" y="86"/>
                  <a:pt x="124" y="87"/>
                  <a:pt x="124" y="88"/>
                </a:cubicBezTo>
                <a:cubicBezTo>
                  <a:pt x="124" y="90"/>
                  <a:pt x="123" y="91"/>
                  <a:pt x="121" y="91"/>
                </a:cubicBezTo>
                <a:cubicBezTo>
                  <a:pt x="80" y="91"/>
                  <a:pt x="80" y="91"/>
                  <a:pt x="80" y="91"/>
                </a:cubicBezTo>
                <a:cubicBezTo>
                  <a:pt x="78" y="91"/>
                  <a:pt x="77" y="90"/>
                  <a:pt x="77" y="88"/>
                </a:cubicBezTo>
                <a:cubicBezTo>
                  <a:pt x="77" y="87"/>
                  <a:pt x="78" y="86"/>
                  <a:pt x="80" y="86"/>
                </a:cubicBezTo>
                <a:close/>
                <a:moveTo>
                  <a:pt x="66" y="91"/>
                </a:moveTo>
                <a:cubicBezTo>
                  <a:pt x="65" y="91"/>
                  <a:pt x="65" y="91"/>
                  <a:pt x="64" y="90"/>
                </a:cubicBezTo>
                <a:cubicBezTo>
                  <a:pt x="64" y="90"/>
                  <a:pt x="63" y="89"/>
                  <a:pt x="63" y="88"/>
                </a:cubicBezTo>
                <a:cubicBezTo>
                  <a:pt x="63" y="88"/>
                  <a:pt x="64" y="87"/>
                  <a:pt x="64" y="86"/>
                </a:cubicBezTo>
                <a:cubicBezTo>
                  <a:pt x="65" y="85"/>
                  <a:pt x="67" y="85"/>
                  <a:pt x="68" y="86"/>
                </a:cubicBezTo>
                <a:cubicBezTo>
                  <a:pt x="69" y="87"/>
                  <a:pt x="69" y="88"/>
                  <a:pt x="69" y="88"/>
                </a:cubicBezTo>
                <a:cubicBezTo>
                  <a:pt x="69" y="89"/>
                  <a:pt x="69" y="90"/>
                  <a:pt x="68" y="90"/>
                </a:cubicBezTo>
                <a:cubicBezTo>
                  <a:pt x="68" y="91"/>
                  <a:pt x="67" y="91"/>
                  <a:pt x="66" y="91"/>
                </a:cubicBezTo>
                <a:close/>
                <a:moveTo>
                  <a:pt x="39" y="108"/>
                </a:moveTo>
                <a:cubicBezTo>
                  <a:pt x="80" y="108"/>
                  <a:pt x="80" y="108"/>
                  <a:pt x="80" y="108"/>
                </a:cubicBezTo>
                <a:cubicBezTo>
                  <a:pt x="82" y="108"/>
                  <a:pt x="83" y="109"/>
                  <a:pt x="83" y="110"/>
                </a:cubicBezTo>
                <a:cubicBezTo>
                  <a:pt x="83" y="112"/>
                  <a:pt x="82" y="113"/>
                  <a:pt x="80" y="113"/>
                </a:cubicBezTo>
                <a:cubicBezTo>
                  <a:pt x="39" y="113"/>
                  <a:pt x="39" y="113"/>
                  <a:pt x="39" y="113"/>
                </a:cubicBezTo>
                <a:cubicBezTo>
                  <a:pt x="37" y="113"/>
                  <a:pt x="36" y="112"/>
                  <a:pt x="36" y="110"/>
                </a:cubicBezTo>
                <a:cubicBezTo>
                  <a:pt x="36" y="109"/>
                  <a:pt x="37" y="108"/>
                  <a:pt x="39" y="108"/>
                </a:cubicBezTo>
                <a:close/>
                <a:moveTo>
                  <a:pt x="23" y="112"/>
                </a:moveTo>
                <a:cubicBezTo>
                  <a:pt x="22" y="112"/>
                  <a:pt x="22" y="111"/>
                  <a:pt x="22" y="110"/>
                </a:cubicBezTo>
                <a:cubicBezTo>
                  <a:pt x="22" y="110"/>
                  <a:pt x="22" y="109"/>
                  <a:pt x="23" y="108"/>
                </a:cubicBezTo>
                <a:cubicBezTo>
                  <a:pt x="24" y="107"/>
                  <a:pt x="26" y="107"/>
                  <a:pt x="27" y="108"/>
                </a:cubicBezTo>
                <a:cubicBezTo>
                  <a:pt x="27" y="109"/>
                  <a:pt x="28" y="110"/>
                  <a:pt x="28" y="110"/>
                </a:cubicBezTo>
                <a:cubicBezTo>
                  <a:pt x="28" y="111"/>
                  <a:pt x="27" y="112"/>
                  <a:pt x="27" y="112"/>
                </a:cubicBezTo>
                <a:cubicBezTo>
                  <a:pt x="26" y="113"/>
                  <a:pt x="26" y="113"/>
                  <a:pt x="25" y="113"/>
                </a:cubicBezTo>
                <a:cubicBezTo>
                  <a:pt x="24" y="113"/>
                  <a:pt x="23" y="113"/>
                  <a:pt x="23" y="112"/>
                </a:cubicBezTo>
                <a:close/>
                <a:moveTo>
                  <a:pt x="133" y="90"/>
                </a:moveTo>
                <a:cubicBezTo>
                  <a:pt x="133" y="90"/>
                  <a:pt x="132" y="89"/>
                  <a:pt x="132" y="88"/>
                </a:cubicBezTo>
                <a:cubicBezTo>
                  <a:pt x="132" y="88"/>
                  <a:pt x="133" y="87"/>
                  <a:pt x="133" y="86"/>
                </a:cubicBezTo>
                <a:cubicBezTo>
                  <a:pt x="134" y="85"/>
                  <a:pt x="136" y="85"/>
                  <a:pt x="137" y="86"/>
                </a:cubicBezTo>
                <a:cubicBezTo>
                  <a:pt x="138" y="87"/>
                  <a:pt x="138" y="88"/>
                  <a:pt x="138" y="88"/>
                </a:cubicBezTo>
                <a:cubicBezTo>
                  <a:pt x="138" y="89"/>
                  <a:pt x="138" y="90"/>
                  <a:pt x="137" y="90"/>
                </a:cubicBezTo>
                <a:cubicBezTo>
                  <a:pt x="137" y="91"/>
                  <a:pt x="136" y="91"/>
                  <a:pt x="135" y="91"/>
                </a:cubicBezTo>
                <a:cubicBezTo>
                  <a:pt x="134" y="91"/>
                  <a:pt x="134" y="91"/>
                  <a:pt x="133" y="90"/>
                </a:cubicBezTo>
                <a:close/>
                <a:moveTo>
                  <a:pt x="97" y="132"/>
                </a:moveTo>
                <a:cubicBezTo>
                  <a:pt x="97" y="134"/>
                  <a:pt x="95" y="135"/>
                  <a:pt x="94" y="135"/>
                </a:cubicBezTo>
                <a:cubicBezTo>
                  <a:pt x="25" y="135"/>
                  <a:pt x="25" y="135"/>
                  <a:pt x="25" y="135"/>
                </a:cubicBezTo>
                <a:cubicBezTo>
                  <a:pt x="23" y="135"/>
                  <a:pt x="22" y="134"/>
                  <a:pt x="22" y="132"/>
                </a:cubicBezTo>
                <a:cubicBezTo>
                  <a:pt x="22" y="131"/>
                  <a:pt x="23" y="130"/>
                  <a:pt x="25" y="130"/>
                </a:cubicBezTo>
                <a:cubicBezTo>
                  <a:pt x="94" y="130"/>
                  <a:pt x="94" y="130"/>
                  <a:pt x="94" y="130"/>
                </a:cubicBezTo>
                <a:cubicBezTo>
                  <a:pt x="95" y="130"/>
                  <a:pt x="97" y="131"/>
                  <a:pt x="97" y="132"/>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5" name="Freeform 1062">
            <a:extLst>
              <a:ext uri="{FF2B5EF4-FFF2-40B4-BE49-F238E27FC236}">
                <a16:creationId xmlns:a16="http://schemas.microsoft.com/office/drawing/2014/main" id="{0BF57433-0086-8E48-A33A-43A855D6354B}"/>
              </a:ext>
            </a:extLst>
          </p:cNvPr>
          <p:cNvSpPr>
            <a:spLocks noEditPoints="1"/>
          </p:cNvSpPr>
          <p:nvPr/>
        </p:nvSpPr>
        <p:spPr bwMode="auto">
          <a:xfrm>
            <a:off x="3443170" y="5938838"/>
            <a:ext cx="546100" cy="539750"/>
          </a:xfrm>
          <a:custGeom>
            <a:avLst/>
            <a:gdLst>
              <a:gd name="T0" fmla="*/ 105 w 160"/>
              <a:gd name="T1" fmla="*/ 0 h 157"/>
              <a:gd name="T2" fmla="*/ 105 w 160"/>
              <a:gd name="T3" fmla="*/ 6 h 157"/>
              <a:gd name="T4" fmla="*/ 105 w 160"/>
              <a:gd name="T5" fmla="*/ 22 h 157"/>
              <a:gd name="T6" fmla="*/ 105 w 160"/>
              <a:gd name="T7" fmla="*/ 28 h 157"/>
              <a:gd name="T8" fmla="*/ 154 w 160"/>
              <a:gd name="T9" fmla="*/ 17 h 157"/>
              <a:gd name="T10" fmla="*/ 6 w 160"/>
              <a:gd name="T11" fmla="*/ 41 h 157"/>
              <a:gd name="T12" fmla="*/ 44 w 160"/>
              <a:gd name="T13" fmla="*/ 17 h 157"/>
              <a:gd name="T14" fmla="*/ 55 w 160"/>
              <a:gd name="T15" fmla="*/ 14 h 157"/>
              <a:gd name="T16" fmla="*/ 47 w 160"/>
              <a:gd name="T17" fmla="*/ 11 h 157"/>
              <a:gd name="T18" fmla="*/ 63 w 160"/>
              <a:gd name="T19" fmla="*/ 14 h 157"/>
              <a:gd name="T20" fmla="*/ 52 w 160"/>
              <a:gd name="T21" fmla="*/ 25 h 157"/>
              <a:gd name="T22" fmla="*/ 69 w 160"/>
              <a:gd name="T23" fmla="*/ 14 h 157"/>
              <a:gd name="T24" fmla="*/ 42 w 160"/>
              <a:gd name="T25" fmla="*/ 11 h 157"/>
              <a:gd name="T26" fmla="*/ 0 w 160"/>
              <a:gd name="T27" fmla="*/ 47 h 157"/>
              <a:gd name="T28" fmla="*/ 160 w 160"/>
              <a:gd name="T29" fmla="*/ 157 h 157"/>
              <a:gd name="T30" fmla="*/ 160 w 160"/>
              <a:gd name="T31" fmla="*/ 11 h 157"/>
              <a:gd name="T32" fmla="*/ 154 w 160"/>
              <a:gd name="T33" fmla="*/ 152 h 157"/>
              <a:gd name="T34" fmla="*/ 6 w 160"/>
              <a:gd name="T35" fmla="*/ 47 h 157"/>
              <a:gd name="T36" fmla="*/ 154 w 160"/>
              <a:gd name="T37" fmla="*/ 152 h 157"/>
              <a:gd name="T38" fmla="*/ 50 w 160"/>
              <a:gd name="T39" fmla="*/ 62 h 157"/>
              <a:gd name="T40" fmla="*/ 53 w 160"/>
              <a:gd name="T41" fmla="*/ 61 h 157"/>
              <a:gd name="T42" fmla="*/ 55 w 160"/>
              <a:gd name="T43" fmla="*/ 63 h 157"/>
              <a:gd name="T44" fmla="*/ 63 w 160"/>
              <a:gd name="T45" fmla="*/ 132 h 157"/>
              <a:gd name="T46" fmla="*/ 63 w 160"/>
              <a:gd name="T47" fmla="*/ 138 h 157"/>
              <a:gd name="T48" fmla="*/ 39 w 160"/>
              <a:gd name="T49" fmla="*/ 135 h 157"/>
              <a:gd name="T50" fmla="*/ 50 w 160"/>
              <a:gd name="T51" fmla="*/ 132 h 157"/>
              <a:gd name="T52" fmla="*/ 38 w 160"/>
              <a:gd name="T53" fmla="*/ 82 h 157"/>
              <a:gd name="T54" fmla="*/ 34 w 160"/>
              <a:gd name="T55" fmla="*/ 82 h 157"/>
              <a:gd name="T56" fmla="*/ 105 w 160"/>
              <a:gd name="T57" fmla="*/ 132 h 157"/>
              <a:gd name="T58" fmla="*/ 88 w 160"/>
              <a:gd name="T59" fmla="*/ 116 h 157"/>
              <a:gd name="T60" fmla="*/ 105 w 160"/>
              <a:gd name="T61" fmla="*/ 138 h 157"/>
              <a:gd name="T62" fmla="*/ 124 w 160"/>
              <a:gd name="T63" fmla="*/ 80 h 157"/>
              <a:gd name="T64" fmla="*/ 86 w 160"/>
              <a:gd name="T65" fmla="*/ 80 h 157"/>
              <a:gd name="T66" fmla="*/ 119 w 160"/>
              <a:gd name="T67" fmla="*/ 93 h 157"/>
              <a:gd name="T68" fmla="*/ 105 w 160"/>
              <a:gd name="T69" fmla="*/ 132 h 157"/>
              <a:gd name="T70" fmla="*/ 91 w 160"/>
              <a:gd name="T71" fmla="*/ 80 h 157"/>
              <a:gd name="T72" fmla="*/ 119 w 160"/>
              <a:gd name="T73" fmla="*/ 80 h 157"/>
              <a:gd name="T74" fmla="*/ 69 w 160"/>
              <a:gd name="T75" fmla="*/ 3 h 157"/>
              <a:gd name="T76" fmla="*/ 86 w 160"/>
              <a:gd name="T77" fmla="*/ 14 h 157"/>
              <a:gd name="T78" fmla="*/ 69 w 160"/>
              <a:gd name="T79" fmla="*/ 25 h 157"/>
              <a:gd name="T80" fmla="*/ 80 w 160"/>
              <a:gd name="T81" fmla="*/ 14 h 157"/>
              <a:gd name="T82" fmla="*/ 69 w 160"/>
              <a:gd name="T83" fmla="*/ 3 h 157"/>
              <a:gd name="T84" fmla="*/ 88 w 160"/>
              <a:gd name="T85" fmla="*/ 0 h 157"/>
              <a:gd name="T86" fmla="*/ 88 w 160"/>
              <a:gd name="T87" fmla="*/ 28 h 157"/>
              <a:gd name="T88" fmla="*/ 88 w 160"/>
              <a:gd name="T89" fmla="*/ 22 h 157"/>
              <a:gd name="T90" fmla="*/ 88 w 160"/>
              <a:gd name="T91" fmla="*/ 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57">
                <a:moveTo>
                  <a:pt x="118" y="11"/>
                </a:moveTo>
                <a:cubicBezTo>
                  <a:pt x="117" y="5"/>
                  <a:pt x="111" y="0"/>
                  <a:pt x="105" y="0"/>
                </a:cubicBezTo>
                <a:cubicBezTo>
                  <a:pt x="103" y="0"/>
                  <a:pt x="102" y="1"/>
                  <a:pt x="102" y="3"/>
                </a:cubicBezTo>
                <a:cubicBezTo>
                  <a:pt x="102" y="4"/>
                  <a:pt x="103" y="6"/>
                  <a:pt x="105" y="6"/>
                </a:cubicBezTo>
                <a:cubicBezTo>
                  <a:pt x="109" y="6"/>
                  <a:pt x="113" y="9"/>
                  <a:pt x="113" y="14"/>
                </a:cubicBezTo>
                <a:cubicBezTo>
                  <a:pt x="113" y="18"/>
                  <a:pt x="109" y="22"/>
                  <a:pt x="105" y="22"/>
                </a:cubicBezTo>
                <a:cubicBezTo>
                  <a:pt x="103" y="22"/>
                  <a:pt x="102" y="23"/>
                  <a:pt x="102" y="25"/>
                </a:cubicBezTo>
                <a:cubicBezTo>
                  <a:pt x="102" y="26"/>
                  <a:pt x="103" y="28"/>
                  <a:pt x="105" y="28"/>
                </a:cubicBezTo>
                <a:cubicBezTo>
                  <a:pt x="111" y="28"/>
                  <a:pt x="117" y="23"/>
                  <a:pt x="118" y="17"/>
                </a:cubicBezTo>
                <a:cubicBezTo>
                  <a:pt x="154" y="17"/>
                  <a:pt x="154" y="17"/>
                  <a:pt x="154" y="17"/>
                </a:cubicBezTo>
                <a:cubicBezTo>
                  <a:pt x="154" y="41"/>
                  <a:pt x="154" y="41"/>
                  <a:pt x="154" y="41"/>
                </a:cubicBezTo>
                <a:cubicBezTo>
                  <a:pt x="6" y="41"/>
                  <a:pt x="6" y="41"/>
                  <a:pt x="6" y="41"/>
                </a:cubicBezTo>
                <a:cubicBezTo>
                  <a:pt x="6" y="17"/>
                  <a:pt x="6" y="17"/>
                  <a:pt x="6" y="17"/>
                </a:cubicBezTo>
                <a:cubicBezTo>
                  <a:pt x="44" y="17"/>
                  <a:pt x="44" y="17"/>
                  <a:pt x="44" y="17"/>
                </a:cubicBezTo>
                <a:cubicBezTo>
                  <a:pt x="52" y="17"/>
                  <a:pt x="52" y="17"/>
                  <a:pt x="52" y="17"/>
                </a:cubicBezTo>
                <a:cubicBezTo>
                  <a:pt x="54" y="17"/>
                  <a:pt x="55" y="15"/>
                  <a:pt x="55" y="14"/>
                </a:cubicBezTo>
                <a:cubicBezTo>
                  <a:pt x="55" y="12"/>
                  <a:pt x="54" y="11"/>
                  <a:pt x="52" y="11"/>
                </a:cubicBezTo>
                <a:cubicBezTo>
                  <a:pt x="47" y="11"/>
                  <a:pt x="47" y="11"/>
                  <a:pt x="47" y="11"/>
                </a:cubicBezTo>
                <a:cubicBezTo>
                  <a:pt x="49" y="8"/>
                  <a:pt x="52" y="6"/>
                  <a:pt x="55" y="6"/>
                </a:cubicBezTo>
                <a:cubicBezTo>
                  <a:pt x="60" y="6"/>
                  <a:pt x="63" y="9"/>
                  <a:pt x="63" y="14"/>
                </a:cubicBezTo>
                <a:cubicBezTo>
                  <a:pt x="63" y="18"/>
                  <a:pt x="60" y="22"/>
                  <a:pt x="55" y="22"/>
                </a:cubicBezTo>
                <a:cubicBezTo>
                  <a:pt x="54" y="22"/>
                  <a:pt x="52" y="23"/>
                  <a:pt x="52" y="25"/>
                </a:cubicBezTo>
                <a:cubicBezTo>
                  <a:pt x="52" y="26"/>
                  <a:pt x="54" y="28"/>
                  <a:pt x="55" y="28"/>
                </a:cubicBezTo>
                <a:cubicBezTo>
                  <a:pt x="63" y="28"/>
                  <a:pt x="69" y="21"/>
                  <a:pt x="69" y="14"/>
                </a:cubicBezTo>
                <a:cubicBezTo>
                  <a:pt x="69" y="6"/>
                  <a:pt x="63" y="0"/>
                  <a:pt x="55" y="0"/>
                </a:cubicBezTo>
                <a:cubicBezTo>
                  <a:pt x="49" y="0"/>
                  <a:pt x="43" y="5"/>
                  <a:pt x="42" y="11"/>
                </a:cubicBezTo>
                <a:cubicBezTo>
                  <a:pt x="0" y="11"/>
                  <a:pt x="0" y="11"/>
                  <a:pt x="0" y="11"/>
                </a:cubicBezTo>
                <a:cubicBezTo>
                  <a:pt x="0" y="47"/>
                  <a:pt x="0" y="47"/>
                  <a:pt x="0" y="47"/>
                </a:cubicBezTo>
                <a:cubicBezTo>
                  <a:pt x="0" y="157"/>
                  <a:pt x="0" y="157"/>
                  <a:pt x="0" y="157"/>
                </a:cubicBezTo>
                <a:cubicBezTo>
                  <a:pt x="160" y="157"/>
                  <a:pt x="160" y="157"/>
                  <a:pt x="160" y="157"/>
                </a:cubicBezTo>
                <a:cubicBezTo>
                  <a:pt x="160" y="47"/>
                  <a:pt x="160" y="47"/>
                  <a:pt x="160" y="47"/>
                </a:cubicBezTo>
                <a:cubicBezTo>
                  <a:pt x="160" y="11"/>
                  <a:pt x="160" y="11"/>
                  <a:pt x="160" y="11"/>
                </a:cubicBezTo>
                <a:lnTo>
                  <a:pt x="118" y="11"/>
                </a:lnTo>
                <a:close/>
                <a:moveTo>
                  <a:pt x="154" y="152"/>
                </a:moveTo>
                <a:cubicBezTo>
                  <a:pt x="6" y="152"/>
                  <a:pt x="6" y="152"/>
                  <a:pt x="6" y="152"/>
                </a:cubicBezTo>
                <a:cubicBezTo>
                  <a:pt x="6" y="47"/>
                  <a:pt x="6" y="47"/>
                  <a:pt x="6" y="47"/>
                </a:cubicBezTo>
                <a:cubicBezTo>
                  <a:pt x="154" y="47"/>
                  <a:pt x="154" y="47"/>
                  <a:pt x="154" y="47"/>
                </a:cubicBezTo>
                <a:lnTo>
                  <a:pt x="154" y="152"/>
                </a:lnTo>
                <a:close/>
                <a:moveTo>
                  <a:pt x="34" y="78"/>
                </a:moveTo>
                <a:cubicBezTo>
                  <a:pt x="50" y="62"/>
                  <a:pt x="50" y="62"/>
                  <a:pt x="50" y="62"/>
                </a:cubicBezTo>
                <a:cubicBezTo>
                  <a:pt x="51" y="61"/>
                  <a:pt x="51" y="61"/>
                  <a:pt x="51" y="61"/>
                </a:cubicBezTo>
                <a:cubicBezTo>
                  <a:pt x="52" y="61"/>
                  <a:pt x="53" y="61"/>
                  <a:pt x="53" y="61"/>
                </a:cubicBezTo>
                <a:cubicBezTo>
                  <a:pt x="54" y="61"/>
                  <a:pt x="55" y="62"/>
                  <a:pt x="55" y="62"/>
                </a:cubicBezTo>
                <a:cubicBezTo>
                  <a:pt x="55" y="63"/>
                  <a:pt x="55" y="63"/>
                  <a:pt x="55" y="63"/>
                </a:cubicBezTo>
                <a:cubicBezTo>
                  <a:pt x="55" y="132"/>
                  <a:pt x="55" y="132"/>
                  <a:pt x="55" y="132"/>
                </a:cubicBezTo>
                <a:cubicBezTo>
                  <a:pt x="63" y="132"/>
                  <a:pt x="63" y="132"/>
                  <a:pt x="63" y="132"/>
                </a:cubicBezTo>
                <a:cubicBezTo>
                  <a:pt x="65" y="132"/>
                  <a:pt x="66" y="134"/>
                  <a:pt x="66" y="135"/>
                </a:cubicBezTo>
                <a:cubicBezTo>
                  <a:pt x="66" y="137"/>
                  <a:pt x="65" y="138"/>
                  <a:pt x="63" y="138"/>
                </a:cubicBezTo>
                <a:cubicBezTo>
                  <a:pt x="41" y="138"/>
                  <a:pt x="41" y="138"/>
                  <a:pt x="41" y="138"/>
                </a:cubicBezTo>
                <a:cubicBezTo>
                  <a:pt x="40" y="138"/>
                  <a:pt x="39" y="137"/>
                  <a:pt x="39" y="135"/>
                </a:cubicBezTo>
                <a:cubicBezTo>
                  <a:pt x="39" y="134"/>
                  <a:pt x="40" y="132"/>
                  <a:pt x="41" y="132"/>
                </a:cubicBezTo>
                <a:cubicBezTo>
                  <a:pt x="50" y="132"/>
                  <a:pt x="50" y="132"/>
                  <a:pt x="50" y="132"/>
                </a:cubicBezTo>
                <a:cubicBezTo>
                  <a:pt x="50" y="70"/>
                  <a:pt x="50" y="70"/>
                  <a:pt x="50" y="70"/>
                </a:cubicBezTo>
                <a:cubicBezTo>
                  <a:pt x="38" y="82"/>
                  <a:pt x="38" y="82"/>
                  <a:pt x="38" y="82"/>
                </a:cubicBezTo>
                <a:cubicBezTo>
                  <a:pt x="37" y="82"/>
                  <a:pt x="37" y="83"/>
                  <a:pt x="36" y="83"/>
                </a:cubicBezTo>
                <a:cubicBezTo>
                  <a:pt x="35" y="83"/>
                  <a:pt x="34" y="82"/>
                  <a:pt x="34" y="82"/>
                </a:cubicBezTo>
                <a:cubicBezTo>
                  <a:pt x="33" y="81"/>
                  <a:pt x="33" y="79"/>
                  <a:pt x="34" y="78"/>
                </a:cubicBezTo>
                <a:close/>
                <a:moveTo>
                  <a:pt x="105" y="132"/>
                </a:moveTo>
                <a:cubicBezTo>
                  <a:pt x="97" y="132"/>
                  <a:pt x="91" y="126"/>
                  <a:pt x="91" y="119"/>
                </a:cubicBezTo>
                <a:cubicBezTo>
                  <a:pt x="91" y="117"/>
                  <a:pt x="90" y="116"/>
                  <a:pt x="88" y="116"/>
                </a:cubicBezTo>
                <a:cubicBezTo>
                  <a:pt x="87" y="116"/>
                  <a:pt x="86" y="117"/>
                  <a:pt x="86" y="119"/>
                </a:cubicBezTo>
                <a:cubicBezTo>
                  <a:pt x="86" y="129"/>
                  <a:pt x="94" y="138"/>
                  <a:pt x="105" y="138"/>
                </a:cubicBezTo>
                <a:cubicBezTo>
                  <a:pt x="115" y="138"/>
                  <a:pt x="124" y="129"/>
                  <a:pt x="124" y="119"/>
                </a:cubicBezTo>
                <a:cubicBezTo>
                  <a:pt x="124" y="80"/>
                  <a:pt x="124" y="80"/>
                  <a:pt x="124" y="80"/>
                </a:cubicBezTo>
                <a:cubicBezTo>
                  <a:pt x="124" y="69"/>
                  <a:pt x="115" y="61"/>
                  <a:pt x="105" y="61"/>
                </a:cubicBezTo>
                <a:cubicBezTo>
                  <a:pt x="94" y="61"/>
                  <a:pt x="86" y="69"/>
                  <a:pt x="86" y="80"/>
                </a:cubicBezTo>
                <a:cubicBezTo>
                  <a:pt x="86" y="91"/>
                  <a:pt x="94" y="99"/>
                  <a:pt x="105" y="99"/>
                </a:cubicBezTo>
                <a:cubicBezTo>
                  <a:pt x="110" y="99"/>
                  <a:pt x="115" y="97"/>
                  <a:pt x="119" y="93"/>
                </a:cubicBezTo>
                <a:cubicBezTo>
                  <a:pt x="119" y="119"/>
                  <a:pt x="119" y="119"/>
                  <a:pt x="119" y="119"/>
                </a:cubicBezTo>
                <a:cubicBezTo>
                  <a:pt x="119" y="126"/>
                  <a:pt x="112" y="132"/>
                  <a:pt x="105" y="132"/>
                </a:cubicBezTo>
                <a:close/>
                <a:moveTo>
                  <a:pt x="105" y="94"/>
                </a:moveTo>
                <a:cubicBezTo>
                  <a:pt x="97" y="94"/>
                  <a:pt x="91" y="88"/>
                  <a:pt x="91" y="80"/>
                </a:cubicBezTo>
                <a:cubicBezTo>
                  <a:pt x="91" y="72"/>
                  <a:pt x="97" y="66"/>
                  <a:pt x="105" y="66"/>
                </a:cubicBezTo>
                <a:cubicBezTo>
                  <a:pt x="112" y="66"/>
                  <a:pt x="119" y="72"/>
                  <a:pt x="119" y="80"/>
                </a:cubicBezTo>
                <a:cubicBezTo>
                  <a:pt x="119" y="88"/>
                  <a:pt x="112" y="94"/>
                  <a:pt x="105" y="94"/>
                </a:cubicBezTo>
                <a:close/>
                <a:moveTo>
                  <a:pt x="69" y="3"/>
                </a:moveTo>
                <a:cubicBezTo>
                  <a:pt x="69" y="1"/>
                  <a:pt x="70" y="0"/>
                  <a:pt x="72" y="0"/>
                </a:cubicBezTo>
                <a:cubicBezTo>
                  <a:pt x="79" y="0"/>
                  <a:pt x="86" y="6"/>
                  <a:pt x="86" y="14"/>
                </a:cubicBezTo>
                <a:cubicBezTo>
                  <a:pt x="86" y="21"/>
                  <a:pt x="79" y="28"/>
                  <a:pt x="72" y="28"/>
                </a:cubicBezTo>
                <a:cubicBezTo>
                  <a:pt x="70" y="28"/>
                  <a:pt x="69" y="26"/>
                  <a:pt x="69" y="25"/>
                </a:cubicBezTo>
                <a:cubicBezTo>
                  <a:pt x="69" y="23"/>
                  <a:pt x="70" y="22"/>
                  <a:pt x="72" y="22"/>
                </a:cubicBezTo>
                <a:cubicBezTo>
                  <a:pt x="76" y="22"/>
                  <a:pt x="80" y="18"/>
                  <a:pt x="80" y="14"/>
                </a:cubicBezTo>
                <a:cubicBezTo>
                  <a:pt x="80" y="9"/>
                  <a:pt x="76" y="6"/>
                  <a:pt x="72" y="6"/>
                </a:cubicBezTo>
                <a:cubicBezTo>
                  <a:pt x="70" y="6"/>
                  <a:pt x="69" y="4"/>
                  <a:pt x="69" y="3"/>
                </a:cubicBezTo>
                <a:close/>
                <a:moveTo>
                  <a:pt x="86" y="3"/>
                </a:moveTo>
                <a:cubicBezTo>
                  <a:pt x="86" y="1"/>
                  <a:pt x="87" y="0"/>
                  <a:pt x="88" y="0"/>
                </a:cubicBezTo>
                <a:cubicBezTo>
                  <a:pt x="96" y="0"/>
                  <a:pt x="102" y="6"/>
                  <a:pt x="102" y="14"/>
                </a:cubicBezTo>
                <a:cubicBezTo>
                  <a:pt x="102" y="21"/>
                  <a:pt x="96" y="28"/>
                  <a:pt x="88" y="28"/>
                </a:cubicBezTo>
                <a:cubicBezTo>
                  <a:pt x="87" y="28"/>
                  <a:pt x="86" y="26"/>
                  <a:pt x="86" y="25"/>
                </a:cubicBezTo>
                <a:cubicBezTo>
                  <a:pt x="86" y="23"/>
                  <a:pt x="87" y="22"/>
                  <a:pt x="88" y="22"/>
                </a:cubicBezTo>
                <a:cubicBezTo>
                  <a:pt x="93" y="22"/>
                  <a:pt x="97" y="18"/>
                  <a:pt x="97" y="14"/>
                </a:cubicBezTo>
                <a:cubicBezTo>
                  <a:pt x="97" y="9"/>
                  <a:pt x="93" y="6"/>
                  <a:pt x="88" y="6"/>
                </a:cubicBezTo>
                <a:cubicBezTo>
                  <a:pt x="87" y="6"/>
                  <a:pt x="86" y="4"/>
                  <a:pt x="86" y="3"/>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6" name="Freeform 1063">
            <a:extLst>
              <a:ext uri="{FF2B5EF4-FFF2-40B4-BE49-F238E27FC236}">
                <a16:creationId xmlns:a16="http://schemas.microsoft.com/office/drawing/2014/main" id="{47CB2B6C-909F-3B46-8316-933E08C465E7}"/>
              </a:ext>
            </a:extLst>
          </p:cNvPr>
          <p:cNvSpPr>
            <a:spLocks noEditPoints="1"/>
          </p:cNvSpPr>
          <p:nvPr/>
        </p:nvSpPr>
        <p:spPr bwMode="auto">
          <a:xfrm>
            <a:off x="4398845" y="365125"/>
            <a:ext cx="546100" cy="539750"/>
          </a:xfrm>
          <a:custGeom>
            <a:avLst/>
            <a:gdLst>
              <a:gd name="T0" fmla="*/ 72 w 160"/>
              <a:gd name="T1" fmla="*/ 28 h 157"/>
              <a:gd name="T2" fmla="*/ 72 w 160"/>
              <a:gd name="T3" fmla="*/ 6 h 157"/>
              <a:gd name="T4" fmla="*/ 88 w 160"/>
              <a:gd name="T5" fmla="*/ 22 h 157"/>
              <a:gd name="T6" fmla="*/ 88 w 160"/>
              <a:gd name="T7" fmla="*/ 0 h 157"/>
              <a:gd name="T8" fmla="*/ 160 w 160"/>
              <a:gd name="T9" fmla="*/ 50 h 157"/>
              <a:gd name="T10" fmla="*/ 0 w 160"/>
              <a:gd name="T11" fmla="*/ 11 h 157"/>
              <a:gd name="T12" fmla="*/ 55 w 160"/>
              <a:gd name="T13" fmla="*/ 28 h 157"/>
              <a:gd name="T14" fmla="*/ 55 w 160"/>
              <a:gd name="T15" fmla="*/ 6 h 157"/>
              <a:gd name="T16" fmla="*/ 52 w 160"/>
              <a:gd name="T17" fmla="*/ 17 h 157"/>
              <a:gd name="T18" fmla="*/ 8 w 160"/>
              <a:gd name="T19" fmla="*/ 22 h 157"/>
              <a:gd name="T20" fmla="*/ 6 w 160"/>
              <a:gd name="T21" fmla="*/ 41 h 157"/>
              <a:gd name="T22" fmla="*/ 152 w 160"/>
              <a:gd name="T23" fmla="*/ 39 h 157"/>
              <a:gd name="T24" fmla="*/ 154 w 160"/>
              <a:gd name="T25" fmla="*/ 19 h 157"/>
              <a:gd name="T26" fmla="*/ 102 w 160"/>
              <a:gd name="T27" fmla="*/ 25 h 157"/>
              <a:gd name="T28" fmla="*/ 102 w 160"/>
              <a:gd name="T29" fmla="*/ 3 h 157"/>
              <a:gd name="T30" fmla="*/ 154 w 160"/>
              <a:gd name="T31" fmla="*/ 50 h 157"/>
              <a:gd name="T32" fmla="*/ 154 w 160"/>
              <a:gd name="T33" fmla="*/ 50 h 157"/>
              <a:gd name="T34" fmla="*/ 50 w 160"/>
              <a:gd name="T35" fmla="*/ 73 h 157"/>
              <a:gd name="T36" fmla="*/ 41 w 160"/>
              <a:gd name="T37" fmla="*/ 141 h 157"/>
              <a:gd name="T38" fmla="*/ 55 w 160"/>
              <a:gd name="T39" fmla="*/ 135 h 157"/>
              <a:gd name="T40" fmla="*/ 51 w 160"/>
              <a:gd name="T41" fmla="*/ 64 h 157"/>
              <a:gd name="T42" fmla="*/ 95 w 160"/>
              <a:gd name="T43" fmla="*/ 99 h 157"/>
              <a:gd name="T44" fmla="*/ 115 w 160"/>
              <a:gd name="T45" fmla="*/ 99 h 157"/>
              <a:gd name="T46" fmla="*/ 95 w 160"/>
              <a:gd name="T47" fmla="*/ 99 h 157"/>
              <a:gd name="T48" fmla="*/ 91 w 160"/>
              <a:gd name="T49" fmla="*/ 83 h 157"/>
              <a:gd name="T50" fmla="*/ 121 w 160"/>
              <a:gd name="T51" fmla="*/ 119 h 157"/>
              <a:gd name="T52" fmla="*/ 22 w 160"/>
              <a:gd name="T53" fmla="*/ 25 h 157"/>
              <a:gd name="T54" fmla="*/ 19 w 160"/>
              <a:gd name="T55" fmla="*/ 39 h 157"/>
              <a:gd name="T56" fmla="*/ 19 w 160"/>
              <a:gd name="T57" fmla="*/ 39 h 157"/>
              <a:gd name="T58" fmla="*/ 14 w 160"/>
              <a:gd name="T59" fmla="*/ 28 h 157"/>
              <a:gd name="T60" fmla="*/ 33 w 160"/>
              <a:gd name="T61" fmla="*/ 30 h 157"/>
              <a:gd name="T62" fmla="*/ 39 w 160"/>
              <a:gd name="T63" fmla="*/ 25 h 157"/>
              <a:gd name="T64" fmla="*/ 36 w 160"/>
              <a:gd name="T65" fmla="*/ 39 h 157"/>
              <a:gd name="T66" fmla="*/ 36 w 160"/>
              <a:gd name="T67" fmla="*/ 39 h 157"/>
              <a:gd name="T68" fmla="*/ 55 w 160"/>
              <a:gd name="T69" fmla="*/ 36 h 157"/>
              <a:gd name="T70" fmla="*/ 50 w 160"/>
              <a:gd name="T71" fmla="*/ 30 h 157"/>
              <a:gd name="T72" fmla="*/ 63 w 160"/>
              <a:gd name="T73" fmla="*/ 33 h 157"/>
              <a:gd name="T74" fmla="*/ 69 w 160"/>
              <a:gd name="T75" fmla="*/ 39 h 157"/>
              <a:gd name="T76" fmla="*/ 69 w 160"/>
              <a:gd name="T77" fmla="*/ 39 h 157"/>
              <a:gd name="T78" fmla="*/ 88 w 160"/>
              <a:gd name="T79" fmla="*/ 36 h 157"/>
              <a:gd name="T80" fmla="*/ 83 w 160"/>
              <a:gd name="T81" fmla="*/ 30 h 157"/>
              <a:gd name="T82" fmla="*/ 97 w 160"/>
              <a:gd name="T83" fmla="*/ 33 h 157"/>
              <a:gd name="T84" fmla="*/ 119 w 160"/>
              <a:gd name="T85" fmla="*/ 22 h 157"/>
              <a:gd name="T86" fmla="*/ 119 w 160"/>
              <a:gd name="T87" fmla="*/ 22 h 157"/>
              <a:gd name="T88" fmla="*/ 105 w 160"/>
              <a:gd name="T89" fmla="*/ 36 h 157"/>
              <a:gd name="T90" fmla="*/ 124 w 160"/>
              <a:gd name="T91" fmla="*/ 39 h 157"/>
              <a:gd name="T92" fmla="*/ 113 w 160"/>
              <a:gd name="T93" fmla="*/ 33 h 157"/>
              <a:gd name="T94" fmla="*/ 127 w 160"/>
              <a:gd name="T95" fmla="*/ 30 h 157"/>
              <a:gd name="T96" fmla="*/ 127 w 160"/>
              <a:gd name="T97" fmla="*/ 30 h 157"/>
              <a:gd name="T98" fmla="*/ 138 w 160"/>
              <a:gd name="T99" fmla="*/ 19 h 157"/>
              <a:gd name="T100" fmla="*/ 141 w 160"/>
              <a:gd name="T101" fmla="*/ 39 h 157"/>
              <a:gd name="T102" fmla="*/ 146 w 160"/>
              <a:gd name="T103" fmla="*/ 3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 h="157">
                <a:moveTo>
                  <a:pt x="69" y="3"/>
                </a:moveTo>
                <a:cubicBezTo>
                  <a:pt x="69" y="1"/>
                  <a:pt x="70" y="0"/>
                  <a:pt x="72" y="0"/>
                </a:cubicBezTo>
                <a:cubicBezTo>
                  <a:pt x="79" y="0"/>
                  <a:pt x="86" y="6"/>
                  <a:pt x="86" y="14"/>
                </a:cubicBezTo>
                <a:cubicBezTo>
                  <a:pt x="86" y="21"/>
                  <a:pt x="79" y="28"/>
                  <a:pt x="72" y="28"/>
                </a:cubicBezTo>
                <a:cubicBezTo>
                  <a:pt x="70" y="28"/>
                  <a:pt x="69" y="26"/>
                  <a:pt x="69" y="25"/>
                </a:cubicBezTo>
                <a:cubicBezTo>
                  <a:pt x="69" y="23"/>
                  <a:pt x="70" y="22"/>
                  <a:pt x="72" y="22"/>
                </a:cubicBezTo>
                <a:cubicBezTo>
                  <a:pt x="76" y="22"/>
                  <a:pt x="80" y="18"/>
                  <a:pt x="80" y="14"/>
                </a:cubicBezTo>
                <a:cubicBezTo>
                  <a:pt x="80" y="9"/>
                  <a:pt x="76" y="6"/>
                  <a:pt x="72" y="6"/>
                </a:cubicBezTo>
                <a:cubicBezTo>
                  <a:pt x="70" y="6"/>
                  <a:pt x="69" y="4"/>
                  <a:pt x="69" y="3"/>
                </a:cubicBezTo>
                <a:close/>
                <a:moveTo>
                  <a:pt x="88" y="6"/>
                </a:moveTo>
                <a:cubicBezTo>
                  <a:pt x="93" y="6"/>
                  <a:pt x="97" y="9"/>
                  <a:pt x="97" y="14"/>
                </a:cubicBezTo>
                <a:cubicBezTo>
                  <a:pt x="97" y="18"/>
                  <a:pt x="93" y="22"/>
                  <a:pt x="88" y="22"/>
                </a:cubicBezTo>
                <a:cubicBezTo>
                  <a:pt x="87" y="22"/>
                  <a:pt x="86" y="23"/>
                  <a:pt x="86" y="25"/>
                </a:cubicBezTo>
                <a:cubicBezTo>
                  <a:pt x="86" y="26"/>
                  <a:pt x="87" y="28"/>
                  <a:pt x="88" y="28"/>
                </a:cubicBezTo>
                <a:cubicBezTo>
                  <a:pt x="96" y="28"/>
                  <a:pt x="102" y="21"/>
                  <a:pt x="102" y="14"/>
                </a:cubicBezTo>
                <a:cubicBezTo>
                  <a:pt x="102" y="6"/>
                  <a:pt x="96" y="0"/>
                  <a:pt x="88" y="0"/>
                </a:cubicBezTo>
                <a:cubicBezTo>
                  <a:pt x="87" y="0"/>
                  <a:pt x="86" y="1"/>
                  <a:pt x="86" y="3"/>
                </a:cubicBezTo>
                <a:cubicBezTo>
                  <a:pt x="86" y="4"/>
                  <a:pt x="87" y="6"/>
                  <a:pt x="88" y="6"/>
                </a:cubicBezTo>
                <a:close/>
                <a:moveTo>
                  <a:pt x="160" y="11"/>
                </a:moveTo>
                <a:cubicBezTo>
                  <a:pt x="160" y="50"/>
                  <a:pt x="160" y="50"/>
                  <a:pt x="160" y="50"/>
                </a:cubicBezTo>
                <a:cubicBezTo>
                  <a:pt x="160" y="157"/>
                  <a:pt x="160" y="157"/>
                  <a:pt x="160" y="157"/>
                </a:cubicBezTo>
                <a:cubicBezTo>
                  <a:pt x="0" y="157"/>
                  <a:pt x="0" y="157"/>
                  <a:pt x="0" y="157"/>
                </a:cubicBezTo>
                <a:cubicBezTo>
                  <a:pt x="0" y="50"/>
                  <a:pt x="0" y="50"/>
                  <a:pt x="0" y="50"/>
                </a:cubicBezTo>
                <a:cubicBezTo>
                  <a:pt x="0" y="11"/>
                  <a:pt x="0" y="11"/>
                  <a:pt x="0" y="11"/>
                </a:cubicBezTo>
                <a:cubicBezTo>
                  <a:pt x="42" y="11"/>
                  <a:pt x="42" y="11"/>
                  <a:pt x="42" y="11"/>
                </a:cubicBezTo>
                <a:cubicBezTo>
                  <a:pt x="43" y="5"/>
                  <a:pt x="49" y="0"/>
                  <a:pt x="55" y="0"/>
                </a:cubicBezTo>
                <a:cubicBezTo>
                  <a:pt x="63" y="0"/>
                  <a:pt x="69" y="6"/>
                  <a:pt x="69" y="14"/>
                </a:cubicBezTo>
                <a:cubicBezTo>
                  <a:pt x="69" y="21"/>
                  <a:pt x="63" y="28"/>
                  <a:pt x="55" y="28"/>
                </a:cubicBezTo>
                <a:cubicBezTo>
                  <a:pt x="54" y="28"/>
                  <a:pt x="52" y="26"/>
                  <a:pt x="52" y="25"/>
                </a:cubicBezTo>
                <a:cubicBezTo>
                  <a:pt x="52" y="23"/>
                  <a:pt x="54" y="22"/>
                  <a:pt x="55" y="22"/>
                </a:cubicBezTo>
                <a:cubicBezTo>
                  <a:pt x="60" y="22"/>
                  <a:pt x="63" y="18"/>
                  <a:pt x="63" y="14"/>
                </a:cubicBezTo>
                <a:cubicBezTo>
                  <a:pt x="63" y="9"/>
                  <a:pt x="60" y="6"/>
                  <a:pt x="55" y="6"/>
                </a:cubicBezTo>
                <a:cubicBezTo>
                  <a:pt x="52" y="6"/>
                  <a:pt x="49" y="8"/>
                  <a:pt x="47" y="11"/>
                </a:cubicBezTo>
                <a:cubicBezTo>
                  <a:pt x="52" y="11"/>
                  <a:pt x="52" y="11"/>
                  <a:pt x="52" y="11"/>
                </a:cubicBezTo>
                <a:cubicBezTo>
                  <a:pt x="54" y="11"/>
                  <a:pt x="55" y="12"/>
                  <a:pt x="55" y="14"/>
                </a:cubicBezTo>
                <a:cubicBezTo>
                  <a:pt x="55" y="15"/>
                  <a:pt x="54" y="17"/>
                  <a:pt x="52" y="17"/>
                </a:cubicBezTo>
                <a:cubicBezTo>
                  <a:pt x="44" y="17"/>
                  <a:pt x="44" y="17"/>
                  <a:pt x="44" y="17"/>
                </a:cubicBezTo>
                <a:cubicBezTo>
                  <a:pt x="6" y="17"/>
                  <a:pt x="6" y="17"/>
                  <a:pt x="6" y="17"/>
                </a:cubicBezTo>
                <a:cubicBezTo>
                  <a:pt x="6" y="19"/>
                  <a:pt x="6" y="19"/>
                  <a:pt x="6" y="19"/>
                </a:cubicBezTo>
                <a:cubicBezTo>
                  <a:pt x="7" y="19"/>
                  <a:pt x="8" y="21"/>
                  <a:pt x="8" y="22"/>
                </a:cubicBezTo>
                <a:cubicBezTo>
                  <a:pt x="8" y="24"/>
                  <a:pt x="7" y="25"/>
                  <a:pt x="6" y="25"/>
                </a:cubicBezTo>
                <a:cubicBezTo>
                  <a:pt x="6" y="36"/>
                  <a:pt x="6" y="36"/>
                  <a:pt x="6" y="36"/>
                </a:cubicBezTo>
                <a:cubicBezTo>
                  <a:pt x="7" y="36"/>
                  <a:pt x="8" y="37"/>
                  <a:pt x="8" y="39"/>
                </a:cubicBezTo>
                <a:cubicBezTo>
                  <a:pt x="8" y="40"/>
                  <a:pt x="7" y="41"/>
                  <a:pt x="6" y="41"/>
                </a:cubicBezTo>
                <a:cubicBezTo>
                  <a:pt x="6" y="44"/>
                  <a:pt x="6" y="44"/>
                  <a:pt x="6" y="44"/>
                </a:cubicBezTo>
                <a:cubicBezTo>
                  <a:pt x="154" y="44"/>
                  <a:pt x="154" y="44"/>
                  <a:pt x="154" y="44"/>
                </a:cubicBezTo>
                <a:cubicBezTo>
                  <a:pt x="154" y="41"/>
                  <a:pt x="154" y="41"/>
                  <a:pt x="154" y="41"/>
                </a:cubicBezTo>
                <a:cubicBezTo>
                  <a:pt x="153" y="41"/>
                  <a:pt x="152" y="40"/>
                  <a:pt x="152" y="39"/>
                </a:cubicBezTo>
                <a:cubicBezTo>
                  <a:pt x="152" y="37"/>
                  <a:pt x="153" y="36"/>
                  <a:pt x="154" y="36"/>
                </a:cubicBezTo>
                <a:cubicBezTo>
                  <a:pt x="154" y="25"/>
                  <a:pt x="154" y="25"/>
                  <a:pt x="154" y="25"/>
                </a:cubicBezTo>
                <a:cubicBezTo>
                  <a:pt x="153" y="25"/>
                  <a:pt x="152" y="24"/>
                  <a:pt x="152" y="22"/>
                </a:cubicBezTo>
                <a:cubicBezTo>
                  <a:pt x="152" y="21"/>
                  <a:pt x="153" y="19"/>
                  <a:pt x="154" y="19"/>
                </a:cubicBezTo>
                <a:cubicBezTo>
                  <a:pt x="154" y="17"/>
                  <a:pt x="154" y="17"/>
                  <a:pt x="154" y="17"/>
                </a:cubicBezTo>
                <a:cubicBezTo>
                  <a:pt x="118" y="17"/>
                  <a:pt x="118" y="17"/>
                  <a:pt x="118" y="17"/>
                </a:cubicBezTo>
                <a:cubicBezTo>
                  <a:pt x="117" y="23"/>
                  <a:pt x="111" y="28"/>
                  <a:pt x="105" y="28"/>
                </a:cubicBezTo>
                <a:cubicBezTo>
                  <a:pt x="103" y="28"/>
                  <a:pt x="102" y="26"/>
                  <a:pt x="102" y="25"/>
                </a:cubicBezTo>
                <a:cubicBezTo>
                  <a:pt x="102" y="23"/>
                  <a:pt x="103" y="22"/>
                  <a:pt x="105" y="22"/>
                </a:cubicBezTo>
                <a:cubicBezTo>
                  <a:pt x="109" y="22"/>
                  <a:pt x="113" y="18"/>
                  <a:pt x="113" y="14"/>
                </a:cubicBezTo>
                <a:cubicBezTo>
                  <a:pt x="113" y="9"/>
                  <a:pt x="109" y="6"/>
                  <a:pt x="105" y="6"/>
                </a:cubicBezTo>
                <a:cubicBezTo>
                  <a:pt x="103" y="6"/>
                  <a:pt x="102" y="4"/>
                  <a:pt x="102" y="3"/>
                </a:cubicBezTo>
                <a:cubicBezTo>
                  <a:pt x="102" y="1"/>
                  <a:pt x="103" y="0"/>
                  <a:pt x="105" y="0"/>
                </a:cubicBezTo>
                <a:cubicBezTo>
                  <a:pt x="111" y="0"/>
                  <a:pt x="117" y="5"/>
                  <a:pt x="118" y="11"/>
                </a:cubicBezTo>
                <a:lnTo>
                  <a:pt x="160" y="11"/>
                </a:lnTo>
                <a:close/>
                <a:moveTo>
                  <a:pt x="154" y="50"/>
                </a:moveTo>
                <a:cubicBezTo>
                  <a:pt x="6" y="50"/>
                  <a:pt x="6" y="50"/>
                  <a:pt x="6" y="50"/>
                </a:cubicBezTo>
                <a:cubicBezTo>
                  <a:pt x="6" y="152"/>
                  <a:pt x="6" y="152"/>
                  <a:pt x="6" y="152"/>
                </a:cubicBezTo>
                <a:cubicBezTo>
                  <a:pt x="154" y="152"/>
                  <a:pt x="154" y="152"/>
                  <a:pt x="154" y="152"/>
                </a:cubicBezTo>
                <a:lnTo>
                  <a:pt x="154" y="50"/>
                </a:lnTo>
                <a:close/>
                <a:moveTo>
                  <a:pt x="34" y="85"/>
                </a:moveTo>
                <a:cubicBezTo>
                  <a:pt x="34" y="85"/>
                  <a:pt x="35" y="86"/>
                  <a:pt x="36" y="86"/>
                </a:cubicBezTo>
                <a:cubicBezTo>
                  <a:pt x="37" y="86"/>
                  <a:pt x="37" y="85"/>
                  <a:pt x="38" y="85"/>
                </a:cubicBezTo>
                <a:cubicBezTo>
                  <a:pt x="50" y="73"/>
                  <a:pt x="50" y="73"/>
                  <a:pt x="50" y="73"/>
                </a:cubicBezTo>
                <a:cubicBezTo>
                  <a:pt x="50" y="135"/>
                  <a:pt x="50" y="135"/>
                  <a:pt x="50" y="135"/>
                </a:cubicBezTo>
                <a:cubicBezTo>
                  <a:pt x="41" y="135"/>
                  <a:pt x="41" y="135"/>
                  <a:pt x="41" y="135"/>
                </a:cubicBezTo>
                <a:cubicBezTo>
                  <a:pt x="40" y="135"/>
                  <a:pt x="39" y="136"/>
                  <a:pt x="39" y="138"/>
                </a:cubicBezTo>
                <a:cubicBezTo>
                  <a:pt x="39" y="139"/>
                  <a:pt x="40" y="141"/>
                  <a:pt x="41" y="141"/>
                </a:cubicBezTo>
                <a:cubicBezTo>
                  <a:pt x="63" y="141"/>
                  <a:pt x="63" y="141"/>
                  <a:pt x="63" y="141"/>
                </a:cubicBezTo>
                <a:cubicBezTo>
                  <a:pt x="65" y="141"/>
                  <a:pt x="66" y="139"/>
                  <a:pt x="66" y="138"/>
                </a:cubicBezTo>
                <a:cubicBezTo>
                  <a:pt x="66" y="136"/>
                  <a:pt x="65" y="135"/>
                  <a:pt x="63" y="135"/>
                </a:cubicBezTo>
                <a:cubicBezTo>
                  <a:pt x="55" y="135"/>
                  <a:pt x="55" y="135"/>
                  <a:pt x="55" y="135"/>
                </a:cubicBezTo>
                <a:cubicBezTo>
                  <a:pt x="55" y="66"/>
                  <a:pt x="55" y="66"/>
                  <a:pt x="55" y="66"/>
                </a:cubicBezTo>
                <a:cubicBezTo>
                  <a:pt x="55" y="66"/>
                  <a:pt x="55" y="65"/>
                  <a:pt x="55" y="65"/>
                </a:cubicBezTo>
                <a:cubicBezTo>
                  <a:pt x="55" y="64"/>
                  <a:pt x="54" y="64"/>
                  <a:pt x="53" y="64"/>
                </a:cubicBezTo>
                <a:cubicBezTo>
                  <a:pt x="53" y="63"/>
                  <a:pt x="52" y="63"/>
                  <a:pt x="51" y="64"/>
                </a:cubicBezTo>
                <a:cubicBezTo>
                  <a:pt x="51" y="64"/>
                  <a:pt x="51" y="64"/>
                  <a:pt x="50" y="64"/>
                </a:cubicBezTo>
                <a:cubicBezTo>
                  <a:pt x="34" y="81"/>
                  <a:pt x="34" y="81"/>
                  <a:pt x="34" y="81"/>
                </a:cubicBezTo>
                <a:cubicBezTo>
                  <a:pt x="33" y="82"/>
                  <a:pt x="33" y="84"/>
                  <a:pt x="34" y="85"/>
                </a:cubicBezTo>
                <a:close/>
                <a:moveTo>
                  <a:pt x="95" y="99"/>
                </a:moveTo>
                <a:cubicBezTo>
                  <a:pt x="89" y="96"/>
                  <a:pt x="86" y="90"/>
                  <a:pt x="86" y="83"/>
                </a:cubicBezTo>
                <a:cubicBezTo>
                  <a:pt x="86" y="72"/>
                  <a:pt x="94" y="63"/>
                  <a:pt x="105" y="63"/>
                </a:cubicBezTo>
                <a:cubicBezTo>
                  <a:pt x="115" y="63"/>
                  <a:pt x="124" y="72"/>
                  <a:pt x="124" y="83"/>
                </a:cubicBezTo>
                <a:cubicBezTo>
                  <a:pt x="124" y="90"/>
                  <a:pt x="121" y="96"/>
                  <a:pt x="115" y="99"/>
                </a:cubicBezTo>
                <a:cubicBezTo>
                  <a:pt x="122" y="103"/>
                  <a:pt x="127" y="110"/>
                  <a:pt x="127" y="119"/>
                </a:cubicBezTo>
                <a:cubicBezTo>
                  <a:pt x="127" y="131"/>
                  <a:pt x="117" y="141"/>
                  <a:pt x="105" y="141"/>
                </a:cubicBezTo>
                <a:cubicBezTo>
                  <a:pt x="93" y="141"/>
                  <a:pt x="83" y="131"/>
                  <a:pt x="83" y="119"/>
                </a:cubicBezTo>
                <a:cubicBezTo>
                  <a:pt x="83" y="110"/>
                  <a:pt x="88" y="103"/>
                  <a:pt x="95" y="99"/>
                </a:cubicBezTo>
                <a:close/>
                <a:moveTo>
                  <a:pt x="105" y="97"/>
                </a:moveTo>
                <a:cubicBezTo>
                  <a:pt x="112" y="97"/>
                  <a:pt x="119" y="90"/>
                  <a:pt x="119" y="83"/>
                </a:cubicBezTo>
                <a:cubicBezTo>
                  <a:pt x="119" y="75"/>
                  <a:pt x="112" y="69"/>
                  <a:pt x="105" y="69"/>
                </a:cubicBezTo>
                <a:cubicBezTo>
                  <a:pt x="97" y="69"/>
                  <a:pt x="91" y="75"/>
                  <a:pt x="91" y="83"/>
                </a:cubicBezTo>
                <a:cubicBezTo>
                  <a:pt x="91" y="90"/>
                  <a:pt x="97" y="97"/>
                  <a:pt x="105" y="97"/>
                </a:cubicBezTo>
                <a:close/>
                <a:moveTo>
                  <a:pt x="88" y="119"/>
                </a:moveTo>
                <a:cubicBezTo>
                  <a:pt x="88" y="128"/>
                  <a:pt x="96" y="135"/>
                  <a:pt x="105" y="135"/>
                </a:cubicBezTo>
                <a:cubicBezTo>
                  <a:pt x="114" y="135"/>
                  <a:pt x="121" y="128"/>
                  <a:pt x="121" y="119"/>
                </a:cubicBezTo>
                <a:cubicBezTo>
                  <a:pt x="121" y="109"/>
                  <a:pt x="114" y="102"/>
                  <a:pt x="105" y="102"/>
                </a:cubicBezTo>
                <a:cubicBezTo>
                  <a:pt x="96" y="102"/>
                  <a:pt x="88" y="109"/>
                  <a:pt x="88" y="119"/>
                </a:cubicBezTo>
                <a:close/>
                <a:moveTo>
                  <a:pt x="19" y="22"/>
                </a:moveTo>
                <a:cubicBezTo>
                  <a:pt x="19" y="24"/>
                  <a:pt x="21" y="25"/>
                  <a:pt x="22" y="25"/>
                </a:cubicBezTo>
                <a:cubicBezTo>
                  <a:pt x="24" y="25"/>
                  <a:pt x="25" y="24"/>
                  <a:pt x="25" y="22"/>
                </a:cubicBezTo>
                <a:cubicBezTo>
                  <a:pt x="25" y="21"/>
                  <a:pt x="24" y="19"/>
                  <a:pt x="22" y="19"/>
                </a:cubicBezTo>
                <a:cubicBezTo>
                  <a:pt x="21" y="19"/>
                  <a:pt x="19" y="21"/>
                  <a:pt x="19" y="22"/>
                </a:cubicBezTo>
                <a:close/>
                <a:moveTo>
                  <a:pt x="19" y="39"/>
                </a:moveTo>
                <a:cubicBezTo>
                  <a:pt x="19" y="40"/>
                  <a:pt x="21" y="41"/>
                  <a:pt x="22" y="41"/>
                </a:cubicBezTo>
                <a:cubicBezTo>
                  <a:pt x="24" y="41"/>
                  <a:pt x="25" y="40"/>
                  <a:pt x="25" y="39"/>
                </a:cubicBezTo>
                <a:cubicBezTo>
                  <a:pt x="25" y="37"/>
                  <a:pt x="24" y="36"/>
                  <a:pt x="22" y="36"/>
                </a:cubicBezTo>
                <a:cubicBezTo>
                  <a:pt x="21" y="36"/>
                  <a:pt x="19" y="37"/>
                  <a:pt x="19" y="39"/>
                </a:cubicBezTo>
                <a:close/>
                <a:moveTo>
                  <a:pt x="11" y="30"/>
                </a:moveTo>
                <a:cubicBezTo>
                  <a:pt x="11" y="32"/>
                  <a:pt x="12" y="33"/>
                  <a:pt x="14" y="33"/>
                </a:cubicBezTo>
                <a:cubicBezTo>
                  <a:pt x="15" y="33"/>
                  <a:pt x="17" y="32"/>
                  <a:pt x="17" y="30"/>
                </a:cubicBezTo>
                <a:cubicBezTo>
                  <a:pt x="17" y="29"/>
                  <a:pt x="15" y="28"/>
                  <a:pt x="14" y="28"/>
                </a:cubicBezTo>
                <a:cubicBezTo>
                  <a:pt x="12" y="28"/>
                  <a:pt x="11" y="29"/>
                  <a:pt x="11" y="30"/>
                </a:cubicBezTo>
                <a:close/>
                <a:moveTo>
                  <a:pt x="28" y="30"/>
                </a:moveTo>
                <a:cubicBezTo>
                  <a:pt x="28" y="32"/>
                  <a:pt x="29" y="33"/>
                  <a:pt x="30" y="33"/>
                </a:cubicBezTo>
                <a:cubicBezTo>
                  <a:pt x="32" y="33"/>
                  <a:pt x="33" y="32"/>
                  <a:pt x="33" y="30"/>
                </a:cubicBezTo>
                <a:cubicBezTo>
                  <a:pt x="33" y="29"/>
                  <a:pt x="32" y="28"/>
                  <a:pt x="30" y="28"/>
                </a:cubicBezTo>
                <a:cubicBezTo>
                  <a:pt x="29" y="28"/>
                  <a:pt x="28" y="29"/>
                  <a:pt x="28" y="30"/>
                </a:cubicBezTo>
                <a:close/>
                <a:moveTo>
                  <a:pt x="36" y="22"/>
                </a:moveTo>
                <a:cubicBezTo>
                  <a:pt x="36" y="24"/>
                  <a:pt x="37" y="25"/>
                  <a:pt x="39" y="25"/>
                </a:cubicBezTo>
                <a:cubicBezTo>
                  <a:pt x="40" y="25"/>
                  <a:pt x="41" y="24"/>
                  <a:pt x="41" y="22"/>
                </a:cubicBezTo>
                <a:cubicBezTo>
                  <a:pt x="41" y="21"/>
                  <a:pt x="40" y="19"/>
                  <a:pt x="39" y="19"/>
                </a:cubicBezTo>
                <a:cubicBezTo>
                  <a:pt x="37" y="19"/>
                  <a:pt x="36" y="21"/>
                  <a:pt x="36" y="22"/>
                </a:cubicBezTo>
                <a:close/>
                <a:moveTo>
                  <a:pt x="36" y="39"/>
                </a:moveTo>
                <a:cubicBezTo>
                  <a:pt x="36" y="40"/>
                  <a:pt x="37" y="41"/>
                  <a:pt x="39" y="41"/>
                </a:cubicBezTo>
                <a:cubicBezTo>
                  <a:pt x="40" y="41"/>
                  <a:pt x="41" y="40"/>
                  <a:pt x="41" y="39"/>
                </a:cubicBezTo>
                <a:cubicBezTo>
                  <a:pt x="41" y="37"/>
                  <a:pt x="40" y="36"/>
                  <a:pt x="39" y="36"/>
                </a:cubicBezTo>
                <a:cubicBezTo>
                  <a:pt x="37" y="36"/>
                  <a:pt x="36" y="37"/>
                  <a:pt x="36" y="39"/>
                </a:cubicBezTo>
                <a:close/>
                <a:moveTo>
                  <a:pt x="52" y="39"/>
                </a:moveTo>
                <a:cubicBezTo>
                  <a:pt x="52" y="40"/>
                  <a:pt x="54" y="41"/>
                  <a:pt x="55" y="41"/>
                </a:cubicBezTo>
                <a:cubicBezTo>
                  <a:pt x="57" y="41"/>
                  <a:pt x="58" y="40"/>
                  <a:pt x="58" y="39"/>
                </a:cubicBezTo>
                <a:cubicBezTo>
                  <a:pt x="58" y="37"/>
                  <a:pt x="57" y="36"/>
                  <a:pt x="55" y="36"/>
                </a:cubicBezTo>
                <a:cubicBezTo>
                  <a:pt x="54" y="36"/>
                  <a:pt x="52" y="37"/>
                  <a:pt x="52" y="39"/>
                </a:cubicBezTo>
                <a:close/>
                <a:moveTo>
                  <a:pt x="44" y="30"/>
                </a:moveTo>
                <a:cubicBezTo>
                  <a:pt x="44" y="32"/>
                  <a:pt x="45" y="33"/>
                  <a:pt x="47" y="33"/>
                </a:cubicBezTo>
                <a:cubicBezTo>
                  <a:pt x="48" y="33"/>
                  <a:pt x="50" y="32"/>
                  <a:pt x="50" y="30"/>
                </a:cubicBezTo>
                <a:cubicBezTo>
                  <a:pt x="50" y="29"/>
                  <a:pt x="48" y="28"/>
                  <a:pt x="47" y="28"/>
                </a:cubicBezTo>
                <a:cubicBezTo>
                  <a:pt x="45" y="28"/>
                  <a:pt x="44" y="29"/>
                  <a:pt x="44" y="30"/>
                </a:cubicBezTo>
                <a:close/>
                <a:moveTo>
                  <a:pt x="61" y="30"/>
                </a:moveTo>
                <a:cubicBezTo>
                  <a:pt x="61" y="32"/>
                  <a:pt x="62" y="33"/>
                  <a:pt x="63" y="33"/>
                </a:cubicBezTo>
                <a:cubicBezTo>
                  <a:pt x="65" y="33"/>
                  <a:pt x="66" y="32"/>
                  <a:pt x="66" y="30"/>
                </a:cubicBezTo>
                <a:cubicBezTo>
                  <a:pt x="66" y="29"/>
                  <a:pt x="65" y="28"/>
                  <a:pt x="63" y="28"/>
                </a:cubicBezTo>
                <a:cubicBezTo>
                  <a:pt x="62" y="28"/>
                  <a:pt x="61" y="29"/>
                  <a:pt x="61" y="30"/>
                </a:cubicBezTo>
                <a:close/>
                <a:moveTo>
                  <a:pt x="69" y="39"/>
                </a:moveTo>
                <a:cubicBezTo>
                  <a:pt x="69" y="40"/>
                  <a:pt x="70" y="41"/>
                  <a:pt x="72" y="41"/>
                </a:cubicBezTo>
                <a:cubicBezTo>
                  <a:pt x="73" y="41"/>
                  <a:pt x="74" y="40"/>
                  <a:pt x="74" y="39"/>
                </a:cubicBezTo>
                <a:cubicBezTo>
                  <a:pt x="74" y="37"/>
                  <a:pt x="73" y="36"/>
                  <a:pt x="72" y="36"/>
                </a:cubicBezTo>
                <a:cubicBezTo>
                  <a:pt x="70" y="36"/>
                  <a:pt x="69" y="37"/>
                  <a:pt x="69" y="39"/>
                </a:cubicBezTo>
                <a:close/>
                <a:moveTo>
                  <a:pt x="86" y="39"/>
                </a:moveTo>
                <a:cubicBezTo>
                  <a:pt x="86" y="40"/>
                  <a:pt x="87" y="41"/>
                  <a:pt x="88" y="41"/>
                </a:cubicBezTo>
                <a:cubicBezTo>
                  <a:pt x="90" y="41"/>
                  <a:pt x="91" y="40"/>
                  <a:pt x="91" y="39"/>
                </a:cubicBezTo>
                <a:cubicBezTo>
                  <a:pt x="91" y="37"/>
                  <a:pt x="90" y="36"/>
                  <a:pt x="88" y="36"/>
                </a:cubicBezTo>
                <a:cubicBezTo>
                  <a:pt x="87" y="36"/>
                  <a:pt x="86" y="37"/>
                  <a:pt x="86" y="39"/>
                </a:cubicBezTo>
                <a:close/>
                <a:moveTo>
                  <a:pt x="77" y="30"/>
                </a:moveTo>
                <a:cubicBezTo>
                  <a:pt x="77" y="32"/>
                  <a:pt x="78" y="33"/>
                  <a:pt x="80" y="33"/>
                </a:cubicBezTo>
                <a:cubicBezTo>
                  <a:pt x="82" y="33"/>
                  <a:pt x="83" y="32"/>
                  <a:pt x="83" y="30"/>
                </a:cubicBezTo>
                <a:cubicBezTo>
                  <a:pt x="83" y="29"/>
                  <a:pt x="82" y="28"/>
                  <a:pt x="80" y="28"/>
                </a:cubicBezTo>
                <a:cubicBezTo>
                  <a:pt x="78" y="28"/>
                  <a:pt x="77" y="29"/>
                  <a:pt x="77" y="30"/>
                </a:cubicBezTo>
                <a:close/>
                <a:moveTo>
                  <a:pt x="94" y="30"/>
                </a:moveTo>
                <a:cubicBezTo>
                  <a:pt x="94" y="32"/>
                  <a:pt x="95" y="33"/>
                  <a:pt x="97" y="33"/>
                </a:cubicBezTo>
                <a:cubicBezTo>
                  <a:pt x="98" y="33"/>
                  <a:pt x="99" y="32"/>
                  <a:pt x="99" y="30"/>
                </a:cubicBezTo>
                <a:cubicBezTo>
                  <a:pt x="99" y="29"/>
                  <a:pt x="98" y="28"/>
                  <a:pt x="97" y="28"/>
                </a:cubicBezTo>
                <a:cubicBezTo>
                  <a:pt x="95" y="28"/>
                  <a:pt x="94" y="29"/>
                  <a:pt x="94" y="30"/>
                </a:cubicBezTo>
                <a:close/>
                <a:moveTo>
                  <a:pt x="119" y="22"/>
                </a:moveTo>
                <a:cubicBezTo>
                  <a:pt x="119" y="24"/>
                  <a:pt x="120" y="25"/>
                  <a:pt x="121" y="25"/>
                </a:cubicBezTo>
                <a:cubicBezTo>
                  <a:pt x="123" y="25"/>
                  <a:pt x="124" y="24"/>
                  <a:pt x="124" y="22"/>
                </a:cubicBezTo>
                <a:cubicBezTo>
                  <a:pt x="124" y="21"/>
                  <a:pt x="123" y="19"/>
                  <a:pt x="121" y="19"/>
                </a:cubicBezTo>
                <a:cubicBezTo>
                  <a:pt x="120" y="19"/>
                  <a:pt x="119" y="21"/>
                  <a:pt x="119" y="22"/>
                </a:cubicBezTo>
                <a:close/>
                <a:moveTo>
                  <a:pt x="102" y="39"/>
                </a:moveTo>
                <a:cubicBezTo>
                  <a:pt x="102" y="40"/>
                  <a:pt x="103" y="41"/>
                  <a:pt x="105" y="41"/>
                </a:cubicBezTo>
                <a:cubicBezTo>
                  <a:pt x="106" y="41"/>
                  <a:pt x="108" y="40"/>
                  <a:pt x="108" y="39"/>
                </a:cubicBezTo>
                <a:cubicBezTo>
                  <a:pt x="108" y="37"/>
                  <a:pt x="106" y="36"/>
                  <a:pt x="105" y="36"/>
                </a:cubicBezTo>
                <a:cubicBezTo>
                  <a:pt x="103" y="36"/>
                  <a:pt x="102" y="37"/>
                  <a:pt x="102" y="39"/>
                </a:cubicBezTo>
                <a:close/>
                <a:moveTo>
                  <a:pt x="119" y="39"/>
                </a:moveTo>
                <a:cubicBezTo>
                  <a:pt x="119" y="40"/>
                  <a:pt x="120" y="41"/>
                  <a:pt x="121" y="41"/>
                </a:cubicBezTo>
                <a:cubicBezTo>
                  <a:pt x="123" y="41"/>
                  <a:pt x="124" y="40"/>
                  <a:pt x="124" y="39"/>
                </a:cubicBezTo>
                <a:cubicBezTo>
                  <a:pt x="124" y="37"/>
                  <a:pt x="123" y="36"/>
                  <a:pt x="121" y="36"/>
                </a:cubicBezTo>
                <a:cubicBezTo>
                  <a:pt x="120" y="36"/>
                  <a:pt x="119" y="37"/>
                  <a:pt x="119" y="39"/>
                </a:cubicBezTo>
                <a:close/>
                <a:moveTo>
                  <a:pt x="110" y="30"/>
                </a:moveTo>
                <a:cubicBezTo>
                  <a:pt x="110" y="32"/>
                  <a:pt x="112" y="33"/>
                  <a:pt x="113" y="33"/>
                </a:cubicBezTo>
                <a:cubicBezTo>
                  <a:pt x="115" y="33"/>
                  <a:pt x="116" y="32"/>
                  <a:pt x="116" y="30"/>
                </a:cubicBezTo>
                <a:cubicBezTo>
                  <a:pt x="116" y="29"/>
                  <a:pt x="115" y="28"/>
                  <a:pt x="113" y="28"/>
                </a:cubicBezTo>
                <a:cubicBezTo>
                  <a:pt x="112" y="28"/>
                  <a:pt x="110" y="29"/>
                  <a:pt x="110" y="30"/>
                </a:cubicBezTo>
                <a:close/>
                <a:moveTo>
                  <a:pt x="127" y="30"/>
                </a:moveTo>
                <a:cubicBezTo>
                  <a:pt x="127" y="32"/>
                  <a:pt x="128" y="33"/>
                  <a:pt x="130" y="33"/>
                </a:cubicBezTo>
                <a:cubicBezTo>
                  <a:pt x="131" y="33"/>
                  <a:pt x="132" y="32"/>
                  <a:pt x="132" y="30"/>
                </a:cubicBezTo>
                <a:cubicBezTo>
                  <a:pt x="132" y="29"/>
                  <a:pt x="131" y="28"/>
                  <a:pt x="130" y="28"/>
                </a:cubicBezTo>
                <a:cubicBezTo>
                  <a:pt x="128" y="28"/>
                  <a:pt x="127" y="29"/>
                  <a:pt x="127" y="30"/>
                </a:cubicBezTo>
                <a:close/>
                <a:moveTo>
                  <a:pt x="135" y="22"/>
                </a:moveTo>
                <a:cubicBezTo>
                  <a:pt x="135" y="24"/>
                  <a:pt x="136" y="25"/>
                  <a:pt x="138" y="25"/>
                </a:cubicBezTo>
                <a:cubicBezTo>
                  <a:pt x="139" y="25"/>
                  <a:pt x="141" y="24"/>
                  <a:pt x="141" y="22"/>
                </a:cubicBezTo>
                <a:cubicBezTo>
                  <a:pt x="141" y="21"/>
                  <a:pt x="139" y="19"/>
                  <a:pt x="138" y="19"/>
                </a:cubicBezTo>
                <a:cubicBezTo>
                  <a:pt x="136" y="19"/>
                  <a:pt x="135" y="21"/>
                  <a:pt x="135" y="22"/>
                </a:cubicBezTo>
                <a:close/>
                <a:moveTo>
                  <a:pt x="135" y="39"/>
                </a:moveTo>
                <a:cubicBezTo>
                  <a:pt x="135" y="40"/>
                  <a:pt x="136" y="41"/>
                  <a:pt x="138" y="41"/>
                </a:cubicBezTo>
                <a:cubicBezTo>
                  <a:pt x="139" y="41"/>
                  <a:pt x="141" y="40"/>
                  <a:pt x="141" y="39"/>
                </a:cubicBezTo>
                <a:cubicBezTo>
                  <a:pt x="141" y="37"/>
                  <a:pt x="139" y="36"/>
                  <a:pt x="138" y="36"/>
                </a:cubicBezTo>
                <a:cubicBezTo>
                  <a:pt x="136" y="36"/>
                  <a:pt x="135" y="37"/>
                  <a:pt x="135" y="39"/>
                </a:cubicBezTo>
                <a:close/>
                <a:moveTo>
                  <a:pt x="143" y="30"/>
                </a:moveTo>
                <a:cubicBezTo>
                  <a:pt x="143" y="32"/>
                  <a:pt x="145" y="33"/>
                  <a:pt x="146" y="33"/>
                </a:cubicBezTo>
                <a:cubicBezTo>
                  <a:pt x="148" y="33"/>
                  <a:pt x="149" y="32"/>
                  <a:pt x="149" y="30"/>
                </a:cubicBezTo>
                <a:cubicBezTo>
                  <a:pt x="149" y="29"/>
                  <a:pt x="148" y="28"/>
                  <a:pt x="146" y="28"/>
                </a:cubicBezTo>
                <a:cubicBezTo>
                  <a:pt x="145" y="28"/>
                  <a:pt x="143" y="29"/>
                  <a:pt x="143" y="3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7" name="Freeform 1064">
            <a:extLst>
              <a:ext uri="{FF2B5EF4-FFF2-40B4-BE49-F238E27FC236}">
                <a16:creationId xmlns:a16="http://schemas.microsoft.com/office/drawing/2014/main" id="{747AB843-8BF7-3645-B020-81071EE12A6A}"/>
              </a:ext>
            </a:extLst>
          </p:cNvPr>
          <p:cNvSpPr>
            <a:spLocks noEditPoints="1"/>
          </p:cNvSpPr>
          <p:nvPr/>
        </p:nvSpPr>
        <p:spPr bwMode="auto">
          <a:xfrm>
            <a:off x="4413133" y="984250"/>
            <a:ext cx="508000" cy="550863"/>
          </a:xfrm>
          <a:custGeom>
            <a:avLst/>
            <a:gdLst>
              <a:gd name="T0" fmla="*/ 147 w 149"/>
              <a:gd name="T1" fmla="*/ 11 h 160"/>
              <a:gd name="T2" fmla="*/ 128 w 149"/>
              <a:gd name="T3" fmla="*/ 11 h 160"/>
              <a:gd name="T4" fmla="*/ 128 w 149"/>
              <a:gd name="T5" fmla="*/ 3 h 160"/>
              <a:gd name="T6" fmla="*/ 125 w 149"/>
              <a:gd name="T7" fmla="*/ 0 h 160"/>
              <a:gd name="T8" fmla="*/ 107 w 149"/>
              <a:gd name="T9" fmla="*/ 0 h 160"/>
              <a:gd name="T10" fmla="*/ 104 w 149"/>
              <a:gd name="T11" fmla="*/ 3 h 160"/>
              <a:gd name="T12" fmla="*/ 104 w 149"/>
              <a:gd name="T13" fmla="*/ 11 h 160"/>
              <a:gd name="T14" fmla="*/ 45 w 149"/>
              <a:gd name="T15" fmla="*/ 11 h 160"/>
              <a:gd name="T16" fmla="*/ 45 w 149"/>
              <a:gd name="T17" fmla="*/ 3 h 160"/>
              <a:gd name="T18" fmla="*/ 43 w 149"/>
              <a:gd name="T19" fmla="*/ 0 h 160"/>
              <a:gd name="T20" fmla="*/ 24 w 149"/>
              <a:gd name="T21" fmla="*/ 0 h 160"/>
              <a:gd name="T22" fmla="*/ 21 w 149"/>
              <a:gd name="T23" fmla="*/ 3 h 160"/>
              <a:gd name="T24" fmla="*/ 21 w 149"/>
              <a:gd name="T25" fmla="*/ 11 h 160"/>
              <a:gd name="T26" fmla="*/ 3 w 149"/>
              <a:gd name="T27" fmla="*/ 11 h 160"/>
              <a:gd name="T28" fmla="*/ 0 w 149"/>
              <a:gd name="T29" fmla="*/ 13 h 160"/>
              <a:gd name="T30" fmla="*/ 0 w 149"/>
              <a:gd name="T31" fmla="*/ 43 h 160"/>
              <a:gd name="T32" fmla="*/ 0 w 149"/>
              <a:gd name="T33" fmla="*/ 157 h 160"/>
              <a:gd name="T34" fmla="*/ 3 w 149"/>
              <a:gd name="T35" fmla="*/ 160 h 160"/>
              <a:gd name="T36" fmla="*/ 147 w 149"/>
              <a:gd name="T37" fmla="*/ 160 h 160"/>
              <a:gd name="T38" fmla="*/ 149 w 149"/>
              <a:gd name="T39" fmla="*/ 157 h 160"/>
              <a:gd name="T40" fmla="*/ 149 w 149"/>
              <a:gd name="T41" fmla="*/ 43 h 160"/>
              <a:gd name="T42" fmla="*/ 149 w 149"/>
              <a:gd name="T43" fmla="*/ 13 h 160"/>
              <a:gd name="T44" fmla="*/ 147 w 149"/>
              <a:gd name="T45" fmla="*/ 11 h 160"/>
              <a:gd name="T46" fmla="*/ 109 w 149"/>
              <a:gd name="T47" fmla="*/ 5 h 160"/>
              <a:gd name="T48" fmla="*/ 123 w 149"/>
              <a:gd name="T49" fmla="*/ 5 h 160"/>
              <a:gd name="T50" fmla="*/ 123 w 149"/>
              <a:gd name="T51" fmla="*/ 13 h 160"/>
              <a:gd name="T52" fmla="*/ 123 w 149"/>
              <a:gd name="T53" fmla="*/ 21 h 160"/>
              <a:gd name="T54" fmla="*/ 109 w 149"/>
              <a:gd name="T55" fmla="*/ 21 h 160"/>
              <a:gd name="T56" fmla="*/ 109 w 149"/>
              <a:gd name="T57" fmla="*/ 13 h 160"/>
              <a:gd name="T58" fmla="*/ 109 w 149"/>
              <a:gd name="T59" fmla="*/ 5 h 160"/>
              <a:gd name="T60" fmla="*/ 27 w 149"/>
              <a:gd name="T61" fmla="*/ 5 h 160"/>
              <a:gd name="T62" fmla="*/ 40 w 149"/>
              <a:gd name="T63" fmla="*/ 5 h 160"/>
              <a:gd name="T64" fmla="*/ 40 w 149"/>
              <a:gd name="T65" fmla="*/ 13 h 160"/>
              <a:gd name="T66" fmla="*/ 40 w 149"/>
              <a:gd name="T67" fmla="*/ 21 h 160"/>
              <a:gd name="T68" fmla="*/ 27 w 149"/>
              <a:gd name="T69" fmla="*/ 21 h 160"/>
              <a:gd name="T70" fmla="*/ 27 w 149"/>
              <a:gd name="T71" fmla="*/ 13 h 160"/>
              <a:gd name="T72" fmla="*/ 27 w 149"/>
              <a:gd name="T73" fmla="*/ 5 h 160"/>
              <a:gd name="T74" fmla="*/ 5 w 149"/>
              <a:gd name="T75" fmla="*/ 16 h 160"/>
              <a:gd name="T76" fmla="*/ 21 w 149"/>
              <a:gd name="T77" fmla="*/ 16 h 160"/>
              <a:gd name="T78" fmla="*/ 21 w 149"/>
              <a:gd name="T79" fmla="*/ 24 h 160"/>
              <a:gd name="T80" fmla="*/ 24 w 149"/>
              <a:gd name="T81" fmla="*/ 27 h 160"/>
              <a:gd name="T82" fmla="*/ 43 w 149"/>
              <a:gd name="T83" fmla="*/ 27 h 160"/>
              <a:gd name="T84" fmla="*/ 45 w 149"/>
              <a:gd name="T85" fmla="*/ 24 h 160"/>
              <a:gd name="T86" fmla="*/ 45 w 149"/>
              <a:gd name="T87" fmla="*/ 16 h 160"/>
              <a:gd name="T88" fmla="*/ 104 w 149"/>
              <a:gd name="T89" fmla="*/ 16 h 160"/>
              <a:gd name="T90" fmla="*/ 104 w 149"/>
              <a:gd name="T91" fmla="*/ 24 h 160"/>
              <a:gd name="T92" fmla="*/ 107 w 149"/>
              <a:gd name="T93" fmla="*/ 27 h 160"/>
              <a:gd name="T94" fmla="*/ 125 w 149"/>
              <a:gd name="T95" fmla="*/ 27 h 160"/>
              <a:gd name="T96" fmla="*/ 128 w 149"/>
              <a:gd name="T97" fmla="*/ 24 h 160"/>
              <a:gd name="T98" fmla="*/ 128 w 149"/>
              <a:gd name="T99" fmla="*/ 16 h 160"/>
              <a:gd name="T100" fmla="*/ 144 w 149"/>
              <a:gd name="T101" fmla="*/ 16 h 160"/>
              <a:gd name="T102" fmla="*/ 144 w 149"/>
              <a:gd name="T103" fmla="*/ 40 h 160"/>
              <a:gd name="T104" fmla="*/ 5 w 149"/>
              <a:gd name="T105" fmla="*/ 40 h 160"/>
              <a:gd name="T106" fmla="*/ 5 w 149"/>
              <a:gd name="T107" fmla="*/ 16 h 160"/>
              <a:gd name="T108" fmla="*/ 5 w 149"/>
              <a:gd name="T109" fmla="*/ 155 h 160"/>
              <a:gd name="T110" fmla="*/ 5 w 149"/>
              <a:gd name="T111" fmla="*/ 45 h 160"/>
              <a:gd name="T112" fmla="*/ 144 w 149"/>
              <a:gd name="T113" fmla="*/ 45 h 160"/>
              <a:gd name="T114" fmla="*/ 144 w 149"/>
              <a:gd name="T115" fmla="*/ 155 h 160"/>
              <a:gd name="T116" fmla="*/ 5 w 149"/>
              <a:gd name="T11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160">
                <a:moveTo>
                  <a:pt x="147" y="11"/>
                </a:moveTo>
                <a:cubicBezTo>
                  <a:pt x="128" y="11"/>
                  <a:pt x="128" y="11"/>
                  <a:pt x="128" y="11"/>
                </a:cubicBezTo>
                <a:cubicBezTo>
                  <a:pt x="128" y="3"/>
                  <a:pt x="128" y="3"/>
                  <a:pt x="128" y="3"/>
                </a:cubicBezTo>
                <a:cubicBezTo>
                  <a:pt x="128" y="1"/>
                  <a:pt x="127" y="0"/>
                  <a:pt x="125" y="0"/>
                </a:cubicBezTo>
                <a:cubicBezTo>
                  <a:pt x="107" y="0"/>
                  <a:pt x="107" y="0"/>
                  <a:pt x="107" y="0"/>
                </a:cubicBezTo>
                <a:cubicBezTo>
                  <a:pt x="105" y="0"/>
                  <a:pt x="104" y="1"/>
                  <a:pt x="104" y="3"/>
                </a:cubicBezTo>
                <a:cubicBezTo>
                  <a:pt x="104" y="11"/>
                  <a:pt x="104" y="11"/>
                  <a:pt x="104" y="11"/>
                </a:cubicBezTo>
                <a:cubicBezTo>
                  <a:pt x="45" y="11"/>
                  <a:pt x="45" y="11"/>
                  <a:pt x="45" y="11"/>
                </a:cubicBezTo>
                <a:cubicBezTo>
                  <a:pt x="45" y="3"/>
                  <a:pt x="45" y="3"/>
                  <a:pt x="45" y="3"/>
                </a:cubicBezTo>
                <a:cubicBezTo>
                  <a:pt x="45" y="1"/>
                  <a:pt x="44" y="0"/>
                  <a:pt x="43" y="0"/>
                </a:cubicBezTo>
                <a:cubicBezTo>
                  <a:pt x="24" y="0"/>
                  <a:pt x="24" y="0"/>
                  <a:pt x="24" y="0"/>
                </a:cubicBezTo>
                <a:cubicBezTo>
                  <a:pt x="23" y="0"/>
                  <a:pt x="21" y="1"/>
                  <a:pt x="21" y="3"/>
                </a:cubicBezTo>
                <a:cubicBezTo>
                  <a:pt x="21" y="11"/>
                  <a:pt x="21" y="11"/>
                  <a:pt x="21" y="11"/>
                </a:cubicBezTo>
                <a:cubicBezTo>
                  <a:pt x="3" y="11"/>
                  <a:pt x="3" y="11"/>
                  <a:pt x="3" y="11"/>
                </a:cubicBezTo>
                <a:cubicBezTo>
                  <a:pt x="1" y="11"/>
                  <a:pt x="0" y="12"/>
                  <a:pt x="0" y="13"/>
                </a:cubicBezTo>
                <a:cubicBezTo>
                  <a:pt x="0" y="43"/>
                  <a:pt x="0" y="43"/>
                  <a:pt x="0" y="43"/>
                </a:cubicBezTo>
                <a:cubicBezTo>
                  <a:pt x="0" y="157"/>
                  <a:pt x="0" y="157"/>
                  <a:pt x="0" y="157"/>
                </a:cubicBezTo>
                <a:cubicBezTo>
                  <a:pt x="0" y="159"/>
                  <a:pt x="1" y="160"/>
                  <a:pt x="3" y="160"/>
                </a:cubicBezTo>
                <a:cubicBezTo>
                  <a:pt x="147" y="160"/>
                  <a:pt x="147" y="160"/>
                  <a:pt x="147" y="160"/>
                </a:cubicBezTo>
                <a:cubicBezTo>
                  <a:pt x="148" y="160"/>
                  <a:pt x="149" y="159"/>
                  <a:pt x="149" y="157"/>
                </a:cubicBezTo>
                <a:cubicBezTo>
                  <a:pt x="149" y="43"/>
                  <a:pt x="149" y="43"/>
                  <a:pt x="149" y="43"/>
                </a:cubicBezTo>
                <a:cubicBezTo>
                  <a:pt x="149" y="13"/>
                  <a:pt x="149" y="13"/>
                  <a:pt x="149" y="13"/>
                </a:cubicBezTo>
                <a:cubicBezTo>
                  <a:pt x="149" y="12"/>
                  <a:pt x="148" y="11"/>
                  <a:pt x="147" y="11"/>
                </a:cubicBezTo>
                <a:close/>
                <a:moveTo>
                  <a:pt x="109" y="5"/>
                </a:moveTo>
                <a:cubicBezTo>
                  <a:pt x="123" y="5"/>
                  <a:pt x="123" y="5"/>
                  <a:pt x="123" y="5"/>
                </a:cubicBezTo>
                <a:cubicBezTo>
                  <a:pt x="123" y="13"/>
                  <a:pt x="123" y="13"/>
                  <a:pt x="123" y="13"/>
                </a:cubicBezTo>
                <a:cubicBezTo>
                  <a:pt x="123" y="21"/>
                  <a:pt x="123" y="21"/>
                  <a:pt x="123" y="21"/>
                </a:cubicBezTo>
                <a:cubicBezTo>
                  <a:pt x="109" y="21"/>
                  <a:pt x="109" y="21"/>
                  <a:pt x="109" y="21"/>
                </a:cubicBezTo>
                <a:cubicBezTo>
                  <a:pt x="109" y="13"/>
                  <a:pt x="109" y="13"/>
                  <a:pt x="109" y="13"/>
                </a:cubicBezTo>
                <a:lnTo>
                  <a:pt x="109" y="5"/>
                </a:lnTo>
                <a:close/>
                <a:moveTo>
                  <a:pt x="27" y="5"/>
                </a:moveTo>
                <a:cubicBezTo>
                  <a:pt x="40" y="5"/>
                  <a:pt x="40" y="5"/>
                  <a:pt x="40" y="5"/>
                </a:cubicBezTo>
                <a:cubicBezTo>
                  <a:pt x="40" y="13"/>
                  <a:pt x="40" y="13"/>
                  <a:pt x="40" y="13"/>
                </a:cubicBezTo>
                <a:cubicBezTo>
                  <a:pt x="40" y="21"/>
                  <a:pt x="40" y="21"/>
                  <a:pt x="40" y="21"/>
                </a:cubicBezTo>
                <a:cubicBezTo>
                  <a:pt x="27" y="21"/>
                  <a:pt x="27" y="21"/>
                  <a:pt x="27" y="21"/>
                </a:cubicBezTo>
                <a:cubicBezTo>
                  <a:pt x="27" y="13"/>
                  <a:pt x="27" y="13"/>
                  <a:pt x="27" y="13"/>
                </a:cubicBezTo>
                <a:lnTo>
                  <a:pt x="27" y="5"/>
                </a:lnTo>
                <a:close/>
                <a:moveTo>
                  <a:pt x="5" y="16"/>
                </a:moveTo>
                <a:cubicBezTo>
                  <a:pt x="21" y="16"/>
                  <a:pt x="21" y="16"/>
                  <a:pt x="21" y="16"/>
                </a:cubicBezTo>
                <a:cubicBezTo>
                  <a:pt x="21" y="24"/>
                  <a:pt x="21" y="24"/>
                  <a:pt x="21" y="24"/>
                </a:cubicBezTo>
                <a:cubicBezTo>
                  <a:pt x="21" y="25"/>
                  <a:pt x="23" y="27"/>
                  <a:pt x="24" y="27"/>
                </a:cubicBezTo>
                <a:cubicBezTo>
                  <a:pt x="43" y="27"/>
                  <a:pt x="43" y="27"/>
                  <a:pt x="43" y="27"/>
                </a:cubicBezTo>
                <a:cubicBezTo>
                  <a:pt x="44" y="27"/>
                  <a:pt x="45" y="25"/>
                  <a:pt x="45" y="24"/>
                </a:cubicBezTo>
                <a:cubicBezTo>
                  <a:pt x="45" y="16"/>
                  <a:pt x="45" y="16"/>
                  <a:pt x="45" y="16"/>
                </a:cubicBezTo>
                <a:cubicBezTo>
                  <a:pt x="104" y="16"/>
                  <a:pt x="104" y="16"/>
                  <a:pt x="104" y="16"/>
                </a:cubicBezTo>
                <a:cubicBezTo>
                  <a:pt x="104" y="24"/>
                  <a:pt x="104" y="24"/>
                  <a:pt x="104" y="24"/>
                </a:cubicBezTo>
                <a:cubicBezTo>
                  <a:pt x="104" y="25"/>
                  <a:pt x="105" y="27"/>
                  <a:pt x="107" y="27"/>
                </a:cubicBezTo>
                <a:cubicBezTo>
                  <a:pt x="125" y="27"/>
                  <a:pt x="125" y="27"/>
                  <a:pt x="125" y="27"/>
                </a:cubicBezTo>
                <a:cubicBezTo>
                  <a:pt x="127" y="27"/>
                  <a:pt x="128" y="25"/>
                  <a:pt x="128" y="24"/>
                </a:cubicBezTo>
                <a:cubicBezTo>
                  <a:pt x="128" y="16"/>
                  <a:pt x="128" y="16"/>
                  <a:pt x="128" y="16"/>
                </a:cubicBezTo>
                <a:cubicBezTo>
                  <a:pt x="144" y="16"/>
                  <a:pt x="144" y="16"/>
                  <a:pt x="144" y="16"/>
                </a:cubicBezTo>
                <a:cubicBezTo>
                  <a:pt x="144" y="40"/>
                  <a:pt x="144" y="40"/>
                  <a:pt x="144" y="40"/>
                </a:cubicBezTo>
                <a:cubicBezTo>
                  <a:pt x="5" y="40"/>
                  <a:pt x="5" y="40"/>
                  <a:pt x="5" y="40"/>
                </a:cubicBezTo>
                <a:lnTo>
                  <a:pt x="5" y="16"/>
                </a:lnTo>
                <a:close/>
                <a:moveTo>
                  <a:pt x="5" y="155"/>
                </a:moveTo>
                <a:cubicBezTo>
                  <a:pt x="5" y="45"/>
                  <a:pt x="5" y="45"/>
                  <a:pt x="5" y="45"/>
                </a:cubicBezTo>
                <a:cubicBezTo>
                  <a:pt x="144" y="45"/>
                  <a:pt x="144" y="45"/>
                  <a:pt x="144" y="45"/>
                </a:cubicBezTo>
                <a:cubicBezTo>
                  <a:pt x="144" y="155"/>
                  <a:pt x="144" y="155"/>
                  <a:pt x="144" y="155"/>
                </a:cubicBezTo>
                <a:lnTo>
                  <a:pt x="5" y="155"/>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8" name="Freeform 1065">
            <a:extLst>
              <a:ext uri="{FF2B5EF4-FFF2-40B4-BE49-F238E27FC236}">
                <a16:creationId xmlns:a16="http://schemas.microsoft.com/office/drawing/2014/main" id="{C98559C9-250B-9648-8938-E65809857483}"/>
              </a:ext>
            </a:extLst>
          </p:cNvPr>
          <p:cNvSpPr>
            <a:spLocks noEditPoints="1"/>
          </p:cNvSpPr>
          <p:nvPr/>
        </p:nvSpPr>
        <p:spPr bwMode="auto">
          <a:xfrm>
            <a:off x="4494095" y="1193800"/>
            <a:ext cx="344488" cy="268288"/>
          </a:xfrm>
          <a:custGeom>
            <a:avLst/>
            <a:gdLst>
              <a:gd name="T0" fmla="*/ 114 w 217"/>
              <a:gd name="T1" fmla="*/ 0 h 169"/>
              <a:gd name="T2" fmla="*/ 63 w 217"/>
              <a:gd name="T3" fmla="*/ 0 h 169"/>
              <a:gd name="T4" fmla="*/ 0 w 217"/>
              <a:gd name="T5" fmla="*/ 0 h 169"/>
              <a:gd name="T6" fmla="*/ 0 w 217"/>
              <a:gd name="T7" fmla="*/ 65 h 169"/>
              <a:gd name="T8" fmla="*/ 0 w 217"/>
              <a:gd name="T9" fmla="*/ 117 h 169"/>
              <a:gd name="T10" fmla="*/ 52 w 217"/>
              <a:gd name="T11" fmla="*/ 169 h 169"/>
              <a:gd name="T12" fmla="*/ 104 w 217"/>
              <a:gd name="T13" fmla="*/ 169 h 169"/>
              <a:gd name="T14" fmla="*/ 155 w 217"/>
              <a:gd name="T15" fmla="*/ 169 h 169"/>
              <a:gd name="T16" fmla="*/ 217 w 217"/>
              <a:gd name="T17" fmla="*/ 169 h 169"/>
              <a:gd name="T18" fmla="*/ 217 w 217"/>
              <a:gd name="T19" fmla="*/ 104 h 169"/>
              <a:gd name="T20" fmla="*/ 217 w 217"/>
              <a:gd name="T21" fmla="*/ 52 h 169"/>
              <a:gd name="T22" fmla="*/ 166 w 217"/>
              <a:gd name="T23" fmla="*/ 0 h 169"/>
              <a:gd name="T24" fmla="*/ 114 w 217"/>
              <a:gd name="T25" fmla="*/ 13 h 169"/>
              <a:gd name="T26" fmla="*/ 155 w 217"/>
              <a:gd name="T27" fmla="*/ 52 h 169"/>
              <a:gd name="T28" fmla="*/ 114 w 217"/>
              <a:gd name="T29" fmla="*/ 13 h 169"/>
              <a:gd name="T30" fmla="*/ 114 w 217"/>
              <a:gd name="T31" fmla="*/ 104 h 169"/>
              <a:gd name="T32" fmla="*/ 155 w 217"/>
              <a:gd name="T33" fmla="*/ 65 h 169"/>
              <a:gd name="T34" fmla="*/ 63 w 217"/>
              <a:gd name="T35" fmla="*/ 65 h 169"/>
              <a:gd name="T36" fmla="*/ 104 w 217"/>
              <a:gd name="T37" fmla="*/ 104 h 169"/>
              <a:gd name="T38" fmla="*/ 63 w 217"/>
              <a:gd name="T39" fmla="*/ 65 h 169"/>
              <a:gd name="T40" fmla="*/ 104 w 217"/>
              <a:gd name="T41" fmla="*/ 13 h 169"/>
              <a:gd name="T42" fmla="*/ 63 w 217"/>
              <a:gd name="T43" fmla="*/ 52 h 169"/>
              <a:gd name="T44" fmla="*/ 11 w 217"/>
              <a:gd name="T45" fmla="*/ 13 h 169"/>
              <a:gd name="T46" fmla="*/ 52 w 217"/>
              <a:gd name="T47" fmla="*/ 52 h 169"/>
              <a:gd name="T48" fmla="*/ 11 w 217"/>
              <a:gd name="T49" fmla="*/ 13 h 169"/>
              <a:gd name="T50" fmla="*/ 52 w 217"/>
              <a:gd name="T51" fmla="*/ 65 h 169"/>
              <a:gd name="T52" fmla="*/ 11 w 217"/>
              <a:gd name="T53" fmla="*/ 104 h 169"/>
              <a:gd name="T54" fmla="*/ 52 w 217"/>
              <a:gd name="T55" fmla="*/ 156 h 169"/>
              <a:gd name="T56" fmla="*/ 11 w 217"/>
              <a:gd name="T57" fmla="*/ 117 h 169"/>
              <a:gd name="T58" fmla="*/ 52 w 217"/>
              <a:gd name="T59" fmla="*/ 156 h 169"/>
              <a:gd name="T60" fmla="*/ 63 w 217"/>
              <a:gd name="T61" fmla="*/ 156 h 169"/>
              <a:gd name="T62" fmla="*/ 104 w 217"/>
              <a:gd name="T63" fmla="*/ 117 h 169"/>
              <a:gd name="T64" fmla="*/ 155 w 217"/>
              <a:gd name="T65" fmla="*/ 156 h 169"/>
              <a:gd name="T66" fmla="*/ 114 w 217"/>
              <a:gd name="T67" fmla="*/ 117 h 169"/>
              <a:gd name="T68" fmla="*/ 155 w 217"/>
              <a:gd name="T69" fmla="*/ 156 h 169"/>
              <a:gd name="T70" fmla="*/ 166 w 217"/>
              <a:gd name="T71" fmla="*/ 156 h 169"/>
              <a:gd name="T72" fmla="*/ 207 w 217"/>
              <a:gd name="T73" fmla="*/ 117 h 169"/>
              <a:gd name="T74" fmla="*/ 207 w 217"/>
              <a:gd name="T75" fmla="*/ 104 h 169"/>
              <a:gd name="T76" fmla="*/ 166 w 217"/>
              <a:gd name="T77" fmla="*/ 65 h 169"/>
              <a:gd name="T78" fmla="*/ 207 w 217"/>
              <a:gd name="T79" fmla="*/ 104 h 169"/>
              <a:gd name="T80" fmla="*/ 207 w 217"/>
              <a:gd name="T81" fmla="*/ 52 h 169"/>
              <a:gd name="T82" fmla="*/ 166 w 217"/>
              <a:gd name="T83" fmla="*/ 1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7" h="169">
                <a:moveTo>
                  <a:pt x="155" y="0"/>
                </a:moveTo>
                <a:lnTo>
                  <a:pt x="114" y="0"/>
                </a:lnTo>
                <a:lnTo>
                  <a:pt x="104" y="0"/>
                </a:lnTo>
                <a:lnTo>
                  <a:pt x="63" y="0"/>
                </a:lnTo>
                <a:lnTo>
                  <a:pt x="52" y="0"/>
                </a:lnTo>
                <a:lnTo>
                  <a:pt x="0" y="0"/>
                </a:lnTo>
                <a:lnTo>
                  <a:pt x="0" y="52"/>
                </a:lnTo>
                <a:lnTo>
                  <a:pt x="0" y="65"/>
                </a:lnTo>
                <a:lnTo>
                  <a:pt x="0" y="104"/>
                </a:lnTo>
                <a:lnTo>
                  <a:pt x="0" y="117"/>
                </a:lnTo>
                <a:lnTo>
                  <a:pt x="0" y="169"/>
                </a:lnTo>
                <a:lnTo>
                  <a:pt x="52" y="169"/>
                </a:lnTo>
                <a:lnTo>
                  <a:pt x="63" y="169"/>
                </a:lnTo>
                <a:lnTo>
                  <a:pt x="104" y="169"/>
                </a:lnTo>
                <a:lnTo>
                  <a:pt x="114" y="169"/>
                </a:lnTo>
                <a:lnTo>
                  <a:pt x="155" y="169"/>
                </a:lnTo>
                <a:lnTo>
                  <a:pt x="166" y="169"/>
                </a:lnTo>
                <a:lnTo>
                  <a:pt x="217" y="169"/>
                </a:lnTo>
                <a:lnTo>
                  <a:pt x="217" y="117"/>
                </a:lnTo>
                <a:lnTo>
                  <a:pt x="217" y="104"/>
                </a:lnTo>
                <a:lnTo>
                  <a:pt x="217" y="65"/>
                </a:lnTo>
                <a:lnTo>
                  <a:pt x="217" y="52"/>
                </a:lnTo>
                <a:lnTo>
                  <a:pt x="217" y="0"/>
                </a:lnTo>
                <a:lnTo>
                  <a:pt x="166" y="0"/>
                </a:lnTo>
                <a:lnTo>
                  <a:pt x="155" y="0"/>
                </a:lnTo>
                <a:close/>
                <a:moveTo>
                  <a:pt x="114" y="13"/>
                </a:moveTo>
                <a:lnTo>
                  <a:pt x="155" y="13"/>
                </a:lnTo>
                <a:lnTo>
                  <a:pt x="155" y="52"/>
                </a:lnTo>
                <a:lnTo>
                  <a:pt x="114" y="52"/>
                </a:lnTo>
                <a:lnTo>
                  <a:pt x="114" y="13"/>
                </a:lnTo>
                <a:close/>
                <a:moveTo>
                  <a:pt x="155" y="104"/>
                </a:moveTo>
                <a:lnTo>
                  <a:pt x="114" y="104"/>
                </a:lnTo>
                <a:lnTo>
                  <a:pt x="114" y="65"/>
                </a:lnTo>
                <a:lnTo>
                  <a:pt x="155" y="65"/>
                </a:lnTo>
                <a:lnTo>
                  <a:pt x="155" y="104"/>
                </a:lnTo>
                <a:close/>
                <a:moveTo>
                  <a:pt x="63" y="65"/>
                </a:moveTo>
                <a:lnTo>
                  <a:pt x="104" y="65"/>
                </a:lnTo>
                <a:lnTo>
                  <a:pt x="104" y="104"/>
                </a:lnTo>
                <a:lnTo>
                  <a:pt x="63" y="104"/>
                </a:lnTo>
                <a:lnTo>
                  <a:pt x="63" y="65"/>
                </a:lnTo>
                <a:close/>
                <a:moveTo>
                  <a:pt x="63" y="13"/>
                </a:moveTo>
                <a:lnTo>
                  <a:pt x="104" y="13"/>
                </a:lnTo>
                <a:lnTo>
                  <a:pt x="104" y="52"/>
                </a:lnTo>
                <a:lnTo>
                  <a:pt x="63" y="52"/>
                </a:lnTo>
                <a:lnTo>
                  <a:pt x="63" y="13"/>
                </a:lnTo>
                <a:close/>
                <a:moveTo>
                  <a:pt x="11" y="13"/>
                </a:moveTo>
                <a:lnTo>
                  <a:pt x="52" y="13"/>
                </a:lnTo>
                <a:lnTo>
                  <a:pt x="52" y="52"/>
                </a:lnTo>
                <a:lnTo>
                  <a:pt x="11" y="52"/>
                </a:lnTo>
                <a:lnTo>
                  <a:pt x="11" y="13"/>
                </a:lnTo>
                <a:close/>
                <a:moveTo>
                  <a:pt x="11" y="65"/>
                </a:moveTo>
                <a:lnTo>
                  <a:pt x="52" y="65"/>
                </a:lnTo>
                <a:lnTo>
                  <a:pt x="52" y="104"/>
                </a:lnTo>
                <a:lnTo>
                  <a:pt x="11" y="104"/>
                </a:lnTo>
                <a:lnTo>
                  <a:pt x="11" y="65"/>
                </a:lnTo>
                <a:close/>
                <a:moveTo>
                  <a:pt x="52" y="156"/>
                </a:moveTo>
                <a:lnTo>
                  <a:pt x="11" y="156"/>
                </a:lnTo>
                <a:lnTo>
                  <a:pt x="11" y="117"/>
                </a:lnTo>
                <a:lnTo>
                  <a:pt x="52" y="117"/>
                </a:lnTo>
                <a:lnTo>
                  <a:pt x="52" y="156"/>
                </a:lnTo>
                <a:close/>
                <a:moveTo>
                  <a:pt x="104" y="156"/>
                </a:moveTo>
                <a:lnTo>
                  <a:pt x="63" y="156"/>
                </a:lnTo>
                <a:lnTo>
                  <a:pt x="63" y="117"/>
                </a:lnTo>
                <a:lnTo>
                  <a:pt x="104" y="117"/>
                </a:lnTo>
                <a:lnTo>
                  <a:pt x="104" y="156"/>
                </a:lnTo>
                <a:close/>
                <a:moveTo>
                  <a:pt x="155" y="156"/>
                </a:moveTo>
                <a:lnTo>
                  <a:pt x="114" y="156"/>
                </a:lnTo>
                <a:lnTo>
                  <a:pt x="114" y="117"/>
                </a:lnTo>
                <a:lnTo>
                  <a:pt x="155" y="117"/>
                </a:lnTo>
                <a:lnTo>
                  <a:pt x="155" y="156"/>
                </a:lnTo>
                <a:close/>
                <a:moveTo>
                  <a:pt x="207" y="156"/>
                </a:moveTo>
                <a:lnTo>
                  <a:pt x="166" y="156"/>
                </a:lnTo>
                <a:lnTo>
                  <a:pt x="166" y="117"/>
                </a:lnTo>
                <a:lnTo>
                  <a:pt x="207" y="117"/>
                </a:lnTo>
                <a:lnTo>
                  <a:pt x="207" y="156"/>
                </a:lnTo>
                <a:close/>
                <a:moveTo>
                  <a:pt x="207" y="104"/>
                </a:moveTo>
                <a:lnTo>
                  <a:pt x="166" y="104"/>
                </a:lnTo>
                <a:lnTo>
                  <a:pt x="166" y="65"/>
                </a:lnTo>
                <a:lnTo>
                  <a:pt x="207" y="65"/>
                </a:lnTo>
                <a:lnTo>
                  <a:pt x="207" y="104"/>
                </a:lnTo>
                <a:close/>
                <a:moveTo>
                  <a:pt x="207" y="13"/>
                </a:moveTo>
                <a:lnTo>
                  <a:pt x="207" y="52"/>
                </a:lnTo>
                <a:lnTo>
                  <a:pt x="166" y="52"/>
                </a:lnTo>
                <a:lnTo>
                  <a:pt x="166" y="13"/>
                </a:lnTo>
                <a:lnTo>
                  <a:pt x="207" y="13"/>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9" name="Freeform 1066">
            <a:extLst>
              <a:ext uri="{FF2B5EF4-FFF2-40B4-BE49-F238E27FC236}">
                <a16:creationId xmlns:a16="http://schemas.microsoft.com/office/drawing/2014/main" id="{8E2754B4-AFCE-2B48-BC64-D7F5610AB9FA}"/>
              </a:ext>
            </a:extLst>
          </p:cNvPr>
          <p:cNvSpPr>
            <a:spLocks noEditPoints="1"/>
          </p:cNvSpPr>
          <p:nvPr/>
        </p:nvSpPr>
        <p:spPr bwMode="auto">
          <a:xfrm>
            <a:off x="4398845" y="1603375"/>
            <a:ext cx="546100" cy="539750"/>
          </a:xfrm>
          <a:custGeom>
            <a:avLst/>
            <a:gdLst>
              <a:gd name="T0" fmla="*/ 102 w 160"/>
              <a:gd name="T1" fmla="*/ 3 h 157"/>
              <a:gd name="T2" fmla="*/ 105 w 160"/>
              <a:gd name="T3" fmla="*/ 22 h 157"/>
              <a:gd name="T4" fmla="*/ 118 w 160"/>
              <a:gd name="T5" fmla="*/ 17 h 157"/>
              <a:gd name="T6" fmla="*/ 6 w 160"/>
              <a:gd name="T7" fmla="*/ 41 h 157"/>
              <a:gd name="T8" fmla="*/ 52 w 160"/>
              <a:gd name="T9" fmla="*/ 17 h 157"/>
              <a:gd name="T10" fmla="*/ 47 w 160"/>
              <a:gd name="T11" fmla="*/ 11 h 157"/>
              <a:gd name="T12" fmla="*/ 55 w 160"/>
              <a:gd name="T13" fmla="*/ 22 h 157"/>
              <a:gd name="T14" fmla="*/ 69 w 160"/>
              <a:gd name="T15" fmla="*/ 14 h 157"/>
              <a:gd name="T16" fmla="*/ 0 w 160"/>
              <a:gd name="T17" fmla="*/ 11 h 157"/>
              <a:gd name="T18" fmla="*/ 160 w 160"/>
              <a:gd name="T19" fmla="*/ 157 h 157"/>
              <a:gd name="T20" fmla="*/ 118 w 160"/>
              <a:gd name="T21" fmla="*/ 11 h 157"/>
              <a:gd name="T22" fmla="*/ 6 w 160"/>
              <a:gd name="T23" fmla="*/ 47 h 157"/>
              <a:gd name="T24" fmla="*/ 69 w 160"/>
              <a:gd name="T25" fmla="*/ 3 h 157"/>
              <a:gd name="T26" fmla="*/ 72 w 160"/>
              <a:gd name="T27" fmla="*/ 28 h 157"/>
              <a:gd name="T28" fmla="*/ 80 w 160"/>
              <a:gd name="T29" fmla="*/ 14 h 157"/>
              <a:gd name="T30" fmla="*/ 86 w 160"/>
              <a:gd name="T31" fmla="*/ 3 h 157"/>
              <a:gd name="T32" fmla="*/ 88 w 160"/>
              <a:gd name="T33" fmla="*/ 28 h 157"/>
              <a:gd name="T34" fmla="*/ 97 w 160"/>
              <a:gd name="T35" fmla="*/ 14 h 157"/>
              <a:gd name="T36" fmla="*/ 61 w 160"/>
              <a:gd name="T37" fmla="*/ 63 h 157"/>
              <a:gd name="T38" fmla="*/ 58 w 160"/>
              <a:gd name="T39" fmla="*/ 66 h 157"/>
              <a:gd name="T40" fmla="*/ 83 w 160"/>
              <a:gd name="T41" fmla="*/ 66 h 157"/>
              <a:gd name="T42" fmla="*/ 80 w 160"/>
              <a:gd name="T43" fmla="*/ 63 h 157"/>
              <a:gd name="T44" fmla="*/ 99 w 160"/>
              <a:gd name="T45" fmla="*/ 69 h 157"/>
              <a:gd name="T46" fmla="*/ 119 w 160"/>
              <a:gd name="T47" fmla="*/ 63 h 157"/>
              <a:gd name="T48" fmla="*/ 116 w 160"/>
              <a:gd name="T49" fmla="*/ 66 h 157"/>
              <a:gd name="T50" fmla="*/ 141 w 160"/>
              <a:gd name="T51" fmla="*/ 66 h 157"/>
              <a:gd name="T52" fmla="*/ 138 w 160"/>
              <a:gd name="T53" fmla="*/ 63 h 157"/>
              <a:gd name="T54" fmla="*/ 22 w 160"/>
              <a:gd name="T55" fmla="*/ 91 h 157"/>
              <a:gd name="T56" fmla="*/ 41 w 160"/>
              <a:gd name="T57" fmla="*/ 86 h 157"/>
              <a:gd name="T58" fmla="*/ 39 w 160"/>
              <a:gd name="T59" fmla="*/ 88 h 157"/>
              <a:gd name="T60" fmla="*/ 63 w 160"/>
              <a:gd name="T61" fmla="*/ 88 h 157"/>
              <a:gd name="T62" fmla="*/ 61 w 160"/>
              <a:gd name="T63" fmla="*/ 86 h 157"/>
              <a:gd name="T64" fmla="*/ 80 w 160"/>
              <a:gd name="T65" fmla="*/ 91 h 157"/>
              <a:gd name="T66" fmla="*/ 99 w 160"/>
              <a:gd name="T67" fmla="*/ 86 h 157"/>
              <a:gd name="T68" fmla="*/ 97 w 160"/>
              <a:gd name="T69" fmla="*/ 88 h 157"/>
              <a:gd name="T70" fmla="*/ 121 w 160"/>
              <a:gd name="T71" fmla="*/ 88 h 157"/>
              <a:gd name="T72" fmla="*/ 119 w 160"/>
              <a:gd name="T73" fmla="*/ 86 h 157"/>
              <a:gd name="T74" fmla="*/ 138 w 160"/>
              <a:gd name="T75" fmla="*/ 91 h 157"/>
              <a:gd name="T76" fmla="*/ 22 w 160"/>
              <a:gd name="T77" fmla="*/ 105 h 157"/>
              <a:gd name="T78" fmla="*/ 19 w 160"/>
              <a:gd name="T79" fmla="*/ 108 h 157"/>
              <a:gd name="T80" fmla="*/ 44 w 160"/>
              <a:gd name="T81" fmla="*/ 108 h 157"/>
              <a:gd name="T82" fmla="*/ 41 w 160"/>
              <a:gd name="T83" fmla="*/ 105 h 157"/>
              <a:gd name="T84" fmla="*/ 61 w 160"/>
              <a:gd name="T85" fmla="*/ 110 h 157"/>
              <a:gd name="T86" fmla="*/ 80 w 160"/>
              <a:gd name="T87" fmla="*/ 105 h 157"/>
              <a:gd name="T88" fmla="*/ 77 w 160"/>
              <a:gd name="T89" fmla="*/ 108 h 157"/>
              <a:gd name="T90" fmla="*/ 102 w 160"/>
              <a:gd name="T91" fmla="*/ 108 h 157"/>
              <a:gd name="T92" fmla="*/ 99 w 160"/>
              <a:gd name="T93" fmla="*/ 105 h 157"/>
              <a:gd name="T94" fmla="*/ 119 w 160"/>
              <a:gd name="T95" fmla="*/ 110 h 157"/>
              <a:gd name="T96" fmla="*/ 138 w 160"/>
              <a:gd name="T97" fmla="*/ 105 h 157"/>
              <a:gd name="T98" fmla="*/ 135 w 160"/>
              <a:gd name="T99" fmla="*/ 108 h 157"/>
              <a:gd name="T100" fmla="*/ 25 w 160"/>
              <a:gd name="T101" fmla="*/ 130 h 157"/>
              <a:gd name="T102" fmla="*/ 22 w 160"/>
              <a:gd name="T103" fmla="*/ 127 h 157"/>
              <a:gd name="T104" fmla="*/ 41 w 160"/>
              <a:gd name="T105" fmla="*/ 132 h 157"/>
              <a:gd name="T106" fmla="*/ 61 w 160"/>
              <a:gd name="T107" fmla="*/ 127 h 157"/>
              <a:gd name="T108" fmla="*/ 58 w 160"/>
              <a:gd name="T109" fmla="*/ 130 h 157"/>
              <a:gd name="T110" fmla="*/ 83 w 160"/>
              <a:gd name="T111" fmla="*/ 130 h 157"/>
              <a:gd name="T112" fmla="*/ 80 w 160"/>
              <a:gd name="T113" fmla="*/ 127 h 157"/>
              <a:gd name="T114" fmla="*/ 99 w 160"/>
              <a:gd name="T115" fmla="*/ 13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57">
                <a:moveTo>
                  <a:pt x="118" y="11"/>
                </a:moveTo>
                <a:cubicBezTo>
                  <a:pt x="117" y="5"/>
                  <a:pt x="111" y="0"/>
                  <a:pt x="105" y="0"/>
                </a:cubicBezTo>
                <a:cubicBezTo>
                  <a:pt x="103" y="0"/>
                  <a:pt x="102" y="1"/>
                  <a:pt x="102" y="3"/>
                </a:cubicBezTo>
                <a:cubicBezTo>
                  <a:pt x="102" y="4"/>
                  <a:pt x="103" y="6"/>
                  <a:pt x="105" y="6"/>
                </a:cubicBezTo>
                <a:cubicBezTo>
                  <a:pt x="109" y="6"/>
                  <a:pt x="113" y="9"/>
                  <a:pt x="113" y="14"/>
                </a:cubicBezTo>
                <a:cubicBezTo>
                  <a:pt x="113" y="18"/>
                  <a:pt x="109" y="22"/>
                  <a:pt x="105" y="22"/>
                </a:cubicBezTo>
                <a:cubicBezTo>
                  <a:pt x="103" y="22"/>
                  <a:pt x="102" y="23"/>
                  <a:pt x="102" y="25"/>
                </a:cubicBezTo>
                <a:cubicBezTo>
                  <a:pt x="102" y="26"/>
                  <a:pt x="103" y="28"/>
                  <a:pt x="105" y="28"/>
                </a:cubicBezTo>
                <a:cubicBezTo>
                  <a:pt x="111" y="28"/>
                  <a:pt x="117" y="23"/>
                  <a:pt x="118" y="17"/>
                </a:cubicBezTo>
                <a:cubicBezTo>
                  <a:pt x="154" y="17"/>
                  <a:pt x="154" y="17"/>
                  <a:pt x="154" y="17"/>
                </a:cubicBezTo>
                <a:cubicBezTo>
                  <a:pt x="154" y="41"/>
                  <a:pt x="154" y="41"/>
                  <a:pt x="154" y="41"/>
                </a:cubicBezTo>
                <a:cubicBezTo>
                  <a:pt x="6" y="41"/>
                  <a:pt x="6" y="41"/>
                  <a:pt x="6" y="41"/>
                </a:cubicBezTo>
                <a:cubicBezTo>
                  <a:pt x="6" y="17"/>
                  <a:pt x="6" y="17"/>
                  <a:pt x="6" y="17"/>
                </a:cubicBezTo>
                <a:cubicBezTo>
                  <a:pt x="44" y="17"/>
                  <a:pt x="44" y="17"/>
                  <a:pt x="44" y="17"/>
                </a:cubicBezTo>
                <a:cubicBezTo>
                  <a:pt x="52" y="17"/>
                  <a:pt x="52" y="17"/>
                  <a:pt x="52" y="17"/>
                </a:cubicBezTo>
                <a:cubicBezTo>
                  <a:pt x="54" y="17"/>
                  <a:pt x="55" y="15"/>
                  <a:pt x="55" y="14"/>
                </a:cubicBezTo>
                <a:cubicBezTo>
                  <a:pt x="55" y="12"/>
                  <a:pt x="54" y="11"/>
                  <a:pt x="52" y="11"/>
                </a:cubicBezTo>
                <a:cubicBezTo>
                  <a:pt x="47" y="11"/>
                  <a:pt x="47" y="11"/>
                  <a:pt x="47" y="11"/>
                </a:cubicBezTo>
                <a:cubicBezTo>
                  <a:pt x="49" y="8"/>
                  <a:pt x="52" y="6"/>
                  <a:pt x="55" y="6"/>
                </a:cubicBezTo>
                <a:cubicBezTo>
                  <a:pt x="60" y="6"/>
                  <a:pt x="63" y="9"/>
                  <a:pt x="63" y="14"/>
                </a:cubicBezTo>
                <a:cubicBezTo>
                  <a:pt x="63" y="18"/>
                  <a:pt x="60" y="22"/>
                  <a:pt x="55" y="22"/>
                </a:cubicBezTo>
                <a:cubicBezTo>
                  <a:pt x="54" y="22"/>
                  <a:pt x="52" y="23"/>
                  <a:pt x="52" y="25"/>
                </a:cubicBezTo>
                <a:cubicBezTo>
                  <a:pt x="52" y="26"/>
                  <a:pt x="54" y="28"/>
                  <a:pt x="55" y="28"/>
                </a:cubicBezTo>
                <a:cubicBezTo>
                  <a:pt x="63" y="28"/>
                  <a:pt x="69" y="21"/>
                  <a:pt x="69" y="14"/>
                </a:cubicBezTo>
                <a:cubicBezTo>
                  <a:pt x="69" y="6"/>
                  <a:pt x="63" y="0"/>
                  <a:pt x="55" y="0"/>
                </a:cubicBezTo>
                <a:cubicBezTo>
                  <a:pt x="49" y="0"/>
                  <a:pt x="43" y="5"/>
                  <a:pt x="42" y="11"/>
                </a:cubicBezTo>
                <a:cubicBezTo>
                  <a:pt x="0" y="11"/>
                  <a:pt x="0" y="11"/>
                  <a:pt x="0" y="11"/>
                </a:cubicBezTo>
                <a:cubicBezTo>
                  <a:pt x="0" y="47"/>
                  <a:pt x="0" y="47"/>
                  <a:pt x="0" y="47"/>
                </a:cubicBezTo>
                <a:cubicBezTo>
                  <a:pt x="0" y="157"/>
                  <a:pt x="0" y="157"/>
                  <a:pt x="0" y="157"/>
                </a:cubicBezTo>
                <a:cubicBezTo>
                  <a:pt x="160" y="157"/>
                  <a:pt x="160" y="157"/>
                  <a:pt x="160" y="157"/>
                </a:cubicBezTo>
                <a:cubicBezTo>
                  <a:pt x="160" y="47"/>
                  <a:pt x="160" y="47"/>
                  <a:pt x="160" y="47"/>
                </a:cubicBezTo>
                <a:cubicBezTo>
                  <a:pt x="160" y="11"/>
                  <a:pt x="160" y="11"/>
                  <a:pt x="160" y="11"/>
                </a:cubicBezTo>
                <a:lnTo>
                  <a:pt x="118" y="11"/>
                </a:lnTo>
                <a:close/>
                <a:moveTo>
                  <a:pt x="154" y="152"/>
                </a:moveTo>
                <a:cubicBezTo>
                  <a:pt x="6" y="152"/>
                  <a:pt x="6" y="152"/>
                  <a:pt x="6" y="152"/>
                </a:cubicBezTo>
                <a:cubicBezTo>
                  <a:pt x="6" y="47"/>
                  <a:pt x="6" y="47"/>
                  <a:pt x="6" y="47"/>
                </a:cubicBezTo>
                <a:cubicBezTo>
                  <a:pt x="154" y="47"/>
                  <a:pt x="154" y="47"/>
                  <a:pt x="154" y="47"/>
                </a:cubicBezTo>
                <a:lnTo>
                  <a:pt x="154" y="152"/>
                </a:lnTo>
                <a:close/>
                <a:moveTo>
                  <a:pt x="69" y="3"/>
                </a:moveTo>
                <a:cubicBezTo>
                  <a:pt x="69" y="1"/>
                  <a:pt x="70" y="0"/>
                  <a:pt x="72" y="0"/>
                </a:cubicBezTo>
                <a:cubicBezTo>
                  <a:pt x="79" y="0"/>
                  <a:pt x="86" y="6"/>
                  <a:pt x="86" y="14"/>
                </a:cubicBezTo>
                <a:cubicBezTo>
                  <a:pt x="86" y="21"/>
                  <a:pt x="79" y="28"/>
                  <a:pt x="72" y="28"/>
                </a:cubicBezTo>
                <a:cubicBezTo>
                  <a:pt x="70" y="28"/>
                  <a:pt x="69" y="26"/>
                  <a:pt x="69" y="25"/>
                </a:cubicBezTo>
                <a:cubicBezTo>
                  <a:pt x="69" y="23"/>
                  <a:pt x="70" y="22"/>
                  <a:pt x="72" y="22"/>
                </a:cubicBezTo>
                <a:cubicBezTo>
                  <a:pt x="76" y="22"/>
                  <a:pt x="80" y="18"/>
                  <a:pt x="80" y="14"/>
                </a:cubicBezTo>
                <a:cubicBezTo>
                  <a:pt x="80" y="9"/>
                  <a:pt x="76" y="6"/>
                  <a:pt x="72" y="6"/>
                </a:cubicBezTo>
                <a:cubicBezTo>
                  <a:pt x="70" y="6"/>
                  <a:pt x="69" y="4"/>
                  <a:pt x="69" y="3"/>
                </a:cubicBezTo>
                <a:close/>
                <a:moveTo>
                  <a:pt x="86" y="3"/>
                </a:moveTo>
                <a:cubicBezTo>
                  <a:pt x="86" y="1"/>
                  <a:pt x="87" y="0"/>
                  <a:pt x="88" y="0"/>
                </a:cubicBezTo>
                <a:cubicBezTo>
                  <a:pt x="96" y="0"/>
                  <a:pt x="102" y="6"/>
                  <a:pt x="102" y="14"/>
                </a:cubicBezTo>
                <a:cubicBezTo>
                  <a:pt x="102" y="21"/>
                  <a:pt x="96" y="28"/>
                  <a:pt x="88" y="28"/>
                </a:cubicBezTo>
                <a:cubicBezTo>
                  <a:pt x="87" y="28"/>
                  <a:pt x="86" y="26"/>
                  <a:pt x="86" y="25"/>
                </a:cubicBezTo>
                <a:cubicBezTo>
                  <a:pt x="86" y="23"/>
                  <a:pt x="87" y="22"/>
                  <a:pt x="88" y="22"/>
                </a:cubicBezTo>
                <a:cubicBezTo>
                  <a:pt x="93" y="22"/>
                  <a:pt x="97" y="18"/>
                  <a:pt x="97" y="14"/>
                </a:cubicBezTo>
                <a:cubicBezTo>
                  <a:pt x="97" y="9"/>
                  <a:pt x="93" y="6"/>
                  <a:pt x="88" y="6"/>
                </a:cubicBezTo>
                <a:cubicBezTo>
                  <a:pt x="87" y="6"/>
                  <a:pt x="86" y="4"/>
                  <a:pt x="86" y="3"/>
                </a:cubicBezTo>
                <a:close/>
                <a:moveTo>
                  <a:pt x="61" y="63"/>
                </a:moveTo>
                <a:cubicBezTo>
                  <a:pt x="62" y="63"/>
                  <a:pt x="63" y="65"/>
                  <a:pt x="63" y="66"/>
                </a:cubicBezTo>
                <a:cubicBezTo>
                  <a:pt x="63" y="68"/>
                  <a:pt x="62" y="69"/>
                  <a:pt x="61" y="69"/>
                </a:cubicBezTo>
                <a:cubicBezTo>
                  <a:pt x="59" y="69"/>
                  <a:pt x="58" y="68"/>
                  <a:pt x="58" y="66"/>
                </a:cubicBezTo>
                <a:cubicBezTo>
                  <a:pt x="58" y="65"/>
                  <a:pt x="59" y="63"/>
                  <a:pt x="61" y="63"/>
                </a:cubicBezTo>
                <a:close/>
                <a:moveTo>
                  <a:pt x="80" y="63"/>
                </a:moveTo>
                <a:cubicBezTo>
                  <a:pt x="82" y="63"/>
                  <a:pt x="83" y="65"/>
                  <a:pt x="83" y="66"/>
                </a:cubicBezTo>
                <a:cubicBezTo>
                  <a:pt x="83" y="68"/>
                  <a:pt x="82" y="69"/>
                  <a:pt x="80" y="69"/>
                </a:cubicBezTo>
                <a:cubicBezTo>
                  <a:pt x="78" y="69"/>
                  <a:pt x="77" y="68"/>
                  <a:pt x="77" y="66"/>
                </a:cubicBezTo>
                <a:cubicBezTo>
                  <a:pt x="77" y="65"/>
                  <a:pt x="78" y="63"/>
                  <a:pt x="80" y="63"/>
                </a:cubicBezTo>
                <a:close/>
                <a:moveTo>
                  <a:pt x="99" y="63"/>
                </a:moveTo>
                <a:cubicBezTo>
                  <a:pt x="101" y="63"/>
                  <a:pt x="102" y="65"/>
                  <a:pt x="102" y="66"/>
                </a:cubicBezTo>
                <a:cubicBezTo>
                  <a:pt x="102" y="68"/>
                  <a:pt x="101" y="69"/>
                  <a:pt x="99" y="69"/>
                </a:cubicBezTo>
                <a:cubicBezTo>
                  <a:pt x="98" y="69"/>
                  <a:pt x="97" y="68"/>
                  <a:pt x="97" y="66"/>
                </a:cubicBezTo>
                <a:cubicBezTo>
                  <a:pt x="97" y="65"/>
                  <a:pt x="98" y="63"/>
                  <a:pt x="99" y="63"/>
                </a:cubicBezTo>
                <a:close/>
                <a:moveTo>
                  <a:pt x="119" y="63"/>
                </a:moveTo>
                <a:cubicBezTo>
                  <a:pt x="120" y="63"/>
                  <a:pt x="121" y="65"/>
                  <a:pt x="121" y="66"/>
                </a:cubicBezTo>
                <a:cubicBezTo>
                  <a:pt x="121" y="68"/>
                  <a:pt x="120" y="69"/>
                  <a:pt x="119" y="69"/>
                </a:cubicBezTo>
                <a:cubicBezTo>
                  <a:pt x="117" y="69"/>
                  <a:pt x="116" y="68"/>
                  <a:pt x="116" y="66"/>
                </a:cubicBezTo>
                <a:cubicBezTo>
                  <a:pt x="116" y="65"/>
                  <a:pt x="117" y="63"/>
                  <a:pt x="119" y="63"/>
                </a:cubicBezTo>
                <a:close/>
                <a:moveTo>
                  <a:pt x="138" y="63"/>
                </a:moveTo>
                <a:cubicBezTo>
                  <a:pt x="139" y="63"/>
                  <a:pt x="141" y="65"/>
                  <a:pt x="141" y="66"/>
                </a:cubicBezTo>
                <a:cubicBezTo>
                  <a:pt x="141" y="68"/>
                  <a:pt x="139" y="69"/>
                  <a:pt x="138" y="69"/>
                </a:cubicBezTo>
                <a:cubicBezTo>
                  <a:pt x="136" y="69"/>
                  <a:pt x="135" y="68"/>
                  <a:pt x="135" y="66"/>
                </a:cubicBezTo>
                <a:cubicBezTo>
                  <a:pt x="135" y="65"/>
                  <a:pt x="136" y="63"/>
                  <a:pt x="138" y="63"/>
                </a:cubicBezTo>
                <a:close/>
                <a:moveTo>
                  <a:pt x="22" y="86"/>
                </a:moveTo>
                <a:cubicBezTo>
                  <a:pt x="24" y="86"/>
                  <a:pt x="25" y="87"/>
                  <a:pt x="25" y="88"/>
                </a:cubicBezTo>
                <a:cubicBezTo>
                  <a:pt x="25" y="90"/>
                  <a:pt x="24" y="91"/>
                  <a:pt x="22" y="91"/>
                </a:cubicBezTo>
                <a:cubicBezTo>
                  <a:pt x="21" y="91"/>
                  <a:pt x="19" y="90"/>
                  <a:pt x="19" y="88"/>
                </a:cubicBezTo>
                <a:cubicBezTo>
                  <a:pt x="19" y="87"/>
                  <a:pt x="21" y="86"/>
                  <a:pt x="22" y="86"/>
                </a:cubicBezTo>
                <a:close/>
                <a:moveTo>
                  <a:pt x="41" y="86"/>
                </a:moveTo>
                <a:cubicBezTo>
                  <a:pt x="43" y="86"/>
                  <a:pt x="44" y="87"/>
                  <a:pt x="44" y="88"/>
                </a:cubicBezTo>
                <a:cubicBezTo>
                  <a:pt x="44" y="90"/>
                  <a:pt x="43" y="91"/>
                  <a:pt x="41" y="91"/>
                </a:cubicBezTo>
                <a:cubicBezTo>
                  <a:pt x="40" y="91"/>
                  <a:pt x="39" y="90"/>
                  <a:pt x="39" y="88"/>
                </a:cubicBezTo>
                <a:cubicBezTo>
                  <a:pt x="39" y="87"/>
                  <a:pt x="40" y="86"/>
                  <a:pt x="41" y="86"/>
                </a:cubicBezTo>
                <a:close/>
                <a:moveTo>
                  <a:pt x="61" y="86"/>
                </a:moveTo>
                <a:cubicBezTo>
                  <a:pt x="62" y="86"/>
                  <a:pt x="63" y="87"/>
                  <a:pt x="63" y="88"/>
                </a:cubicBezTo>
                <a:cubicBezTo>
                  <a:pt x="63" y="90"/>
                  <a:pt x="62" y="91"/>
                  <a:pt x="61" y="91"/>
                </a:cubicBezTo>
                <a:cubicBezTo>
                  <a:pt x="59" y="91"/>
                  <a:pt x="58" y="90"/>
                  <a:pt x="58" y="88"/>
                </a:cubicBezTo>
                <a:cubicBezTo>
                  <a:pt x="58" y="87"/>
                  <a:pt x="59" y="86"/>
                  <a:pt x="61" y="86"/>
                </a:cubicBezTo>
                <a:close/>
                <a:moveTo>
                  <a:pt x="80" y="86"/>
                </a:moveTo>
                <a:cubicBezTo>
                  <a:pt x="82" y="86"/>
                  <a:pt x="83" y="87"/>
                  <a:pt x="83" y="88"/>
                </a:cubicBezTo>
                <a:cubicBezTo>
                  <a:pt x="83" y="90"/>
                  <a:pt x="82" y="91"/>
                  <a:pt x="80" y="91"/>
                </a:cubicBezTo>
                <a:cubicBezTo>
                  <a:pt x="78" y="91"/>
                  <a:pt x="77" y="90"/>
                  <a:pt x="77" y="88"/>
                </a:cubicBezTo>
                <a:cubicBezTo>
                  <a:pt x="77" y="87"/>
                  <a:pt x="78" y="86"/>
                  <a:pt x="80" y="86"/>
                </a:cubicBezTo>
                <a:close/>
                <a:moveTo>
                  <a:pt x="99" y="86"/>
                </a:moveTo>
                <a:cubicBezTo>
                  <a:pt x="101" y="86"/>
                  <a:pt x="102" y="87"/>
                  <a:pt x="102" y="88"/>
                </a:cubicBezTo>
                <a:cubicBezTo>
                  <a:pt x="102" y="90"/>
                  <a:pt x="101" y="91"/>
                  <a:pt x="99" y="91"/>
                </a:cubicBezTo>
                <a:cubicBezTo>
                  <a:pt x="98" y="91"/>
                  <a:pt x="97" y="90"/>
                  <a:pt x="97" y="88"/>
                </a:cubicBezTo>
                <a:cubicBezTo>
                  <a:pt x="97" y="87"/>
                  <a:pt x="98" y="86"/>
                  <a:pt x="99" y="86"/>
                </a:cubicBezTo>
                <a:close/>
                <a:moveTo>
                  <a:pt x="119" y="86"/>
                </a:moveTo>
                <a:cubicBezTo>
                  <a:pt x="120" y="86"/>
                  <a:pt x="121" y="87"/>
                  <a:pt x="121" y="88"/>
                </a:cubicBezTo>
                <a:cubicBezTo>
                  <a:pt x="121" y="90"/>
                  <a:pt x="120" y="91"/>
                  <a:pt x="119" y="91"/>
                </a:cubicBezTo>
                <a:cubicBezTo>
                  <a:pt x="117" y="91"/>
                  <a:pt x="116" y="90"/>
                  <a:pt x="116" y="88"/>
                </a:cubicBezTo>
                <a:cubicBezTo>
                  <a:pt x="116" y="87"/>
                  <a:pt x="117" y="86"/>
                  <a:pt x="119" y="86"/>
                </a:cubicBezTo>
                <a:close/>
                <a:moveTo>
                  <a:pt x="138" y="86"/>
                </a:moveTo>
                <a:cubicBezTo>
                  <a:pt x="139" y="86"/>
                  <a:pt x="141" y="87"/>
                  <a:pt x="141" y="88"/>
                </a:cubicBezTo>
                <a:cubicBezTo>
                  <a:pt x="141" y="90"/>
                  <a:pt x="139" y="91"/>
                  <a:pt x="138" y="91"/>
                </a:cubicBezTo>
                <a:cubicBezTo>
                  <a:pt x="136" y="91"/>
                  <a:pt x="135" y="90"/>
                  <a:pt x="135" y="88"/>
                </a:cubicBezTo>
                <a:cubicBezTo>
                  <a:pt x="135" y="87"/>
                  <a:pt x="136" y="86"/>
                  <a:pt x="138" y="86"/>
                </a:cubicBezTo>
                <a:close/>
                <a:moveTo>
                  <a:pt x="22" y="105"/>
                </a:moveTo>
                <a:cubicBezTo>
                  <a:pt x="24" y="105"/>
                  <a:pt x="25" y="106"/>
                  <a:pt x="25" y="108"/>
                </a:cubicBezTo>
                <a:cubicBezTo>
                  <a:pt x="25" y="109"/>
                  <a:pt x="24" y="110"/>
                  <a:pt x="22" y="110"/>
                </a:cubicBezTo>
                <a:cubicBezTo>
                  <a:pt x="21" y="110"/>
                  <a:pt x="19" y="109"/>
                  <a:pt x="19" y="108"/>
                </a:cubicBezTo>
                <a:cubicBezTo>
                  <a:pt x="19" y="106"/>
                  <a:pt x="21" y="105"/>
                  <a:pt x="22" y="105"/>
                </a:cubicBezTo>
                <a:close/>
                <a:moveTo>
                  <a:pt x="41" y="105"/>
                </a:moveTo>
                <a:cubicBezTo>
                  <a:pt x="43" y="105"/>
                  <a:pt x="44" y="106"/>
                  <a:pt x="44" y="108"/>
                </a:cubicBezTo>
                <a:cubicBezTo>
                  <a:pt x="44" y="109"/>
                  <a:pt x="43" y="110"/>
                  <a:pt x="41" y="110"/>
                </a:cubicBezTo>
                <a:cubicBezTo>
                  <a:pt x="40" y="110"/>
                  <a:pt x="39" y="109"/>
                  <a:pt x="39" y="108"/>
                </a:cubicBezTo>
                <a:cubicBezTo>
                  <a:pt x="39" y="106"/>
                  <a:pt x="40" y="105"/>
                  <a:pt x="41" y="105"/>
                </a:cubicBezTo>
                <a:close/>
                <a:moveTo>
                  <a:pt x="61" y="105"/>
                </a:moveTo>
                <a:cubicBezTo>
                  <a:pt x="62" y="105"/>
                  <a:pt x="63" y="106"/>
                  <a:pt x="63" y="108"/>
                </a:cubicBezTo>
                <a:cubicBezTo>
                  <a:pt x="63" y="109"/>
                  <a:pt x="62" y="110"/>
                  <a:pt x="61" y="110"/>
                </a:cubicBezTo>
                <a:cubicBezTo>
                  <a:pt x="59" y="110"/>
                  <a:pt x="58" y="109"/>
                  <a:pt x="58" y="108"/>
                </a:cubicBezTo>
                <a:cubicBezTo>
                  <a:pt x="58" y="106"/>
                  <a:pt x="59" y="105"/>
                  <a:pt x="61" y="105"/>
                </a:cubicBezTo>
                <a:close/>
                <a:moveTo>
                  <a:pt x="80" y="105"/>
                </a:moveTo>
                <a:cubicBezTo>
                  <a:pt x="82" y="105"/>
                  <a:pt x="83" y="106"/>
                  <a:pt x="83" y="108"/>
                </a:cubicBezTo>
                <a:cubicBezTo>
                  <a:pt x="83" y="109"/>
                  <a:pt x="82" y="110"/>
                  <a:pt x="80" y="110"/>
                </a:cubicBezTo>
                <a:cubicBezTo>
                  <a:pt x="78" y="110"/>
                  <a:pt x="77" y="109"/>
                  <a:pt x="77" y="108"/>
                </a:cubicBezTo>
                <a:cubicBezTo>
                  <a:pt x="77" y="106"/>
                  <a:pt x="78" y="105"/>
                  <a:pt x="80" y="105"/>
                </a:cubicBezTo>
                <a:close/>
                <a:moveTo>
                  <a:pt x="99" y="105"/>
                </a:moveTo>
                <a:cubicBezTo>
                  <a:pt x="101" y="105"/>
                  <a:pt x="102" y="106"/>
                  <a:pt x="102" y="108"/>
                </a:cubicBezTo>
                <a:cubicBezTo>
                  <a:pt x="102" y="109"/>
                  <a:pt x="101" y="110"/>
                  <a:pt x="99" y="110"/>
                </a:cubicBezTo>
                <a:cubicBezTo>
                  <a:pt x="98" y="110"/>
                  <a:pt x="97" y="109"/>
                  <a:pt x="97" y="108"/>
                </a:cubicBezTo>
                <a:cubicBezTo>
                  <a:pt x="97" y="106"/>
                  <a:pt x="98" y="105"/>
                  <a:pt x="99" y="105"/>
                </a:cubicBezTo>
                <a:close/>
                <a:moveTo>
                  <a:pt x="119" y="105"/>
                </a:moveTo>
                <a:cubicBezTo>
                  <a:pt x="120" y="105"/>
                  <a:pt x="121" y="106"/>
                  <a:pt x="121" y="108"/>
                </a:cubicBezTo>
                <a:cubicBezTo>
                  <a:pt x="121" y="109"/>
                  <a:pt x="120" y="110"/>
                  <a:pt x="119" y="110"/>
                </a:cubicBezTo>
                <a:cubicBezTo>
                  <a:pt x="117" y="110"/>
                  <a:pt x="116" y="109"/>
                  <a:pt x="116" y="108"/>
                </a:cubicBezTo>
                <a:cubicBezTo>
                  <a:pt x="116" y="106"/>
                  <a:pt x="117" y="105"/>
                  <a:pt x="119" y="105"/>
                </a:cubicBezTo>
                <a:close/>
                <a:moveTo>
                  <a:pt x="138" y="105"/>
                </a:moveTo>
                <a:cubicBezTo>
                  <a:pt x="139" y="105"/>
                  <a:pt x="141" y="106"/>
                  <a:pt x="141" y="108"/>
                </a:cubicBezTo>
                <a:cubicBezTo>
                  <a:pt x="141" y="109"/>
                  <a:pt x="139" y="110"/>
                  <a:pt x="138" y="110"/>
                </a:cubicBezTo>
                <a:cubicBezTo>
                  <a:pt x="136" y="110"/>
                  <a:pt x="135" y="109"/>
                  <a:pt x="135" y="108"/>
                </a:cubicBezTo>
                <a:cubicBezTo>
                  <a:pt x="135" y="106"/>
                  <a:pt x="136" y="105"/>
                  <a:pt x="138" y="105"/>
                </a:cubicBezTo>
                <a:close/>
                <a:moveTo>
                  <a:pt x="22" y="127"/>
                </a:moveTo>
                <a:cubicBezTo>
                  <a:pt x="24" y="127"/>
                  <a:pt x="25" y="128"/>
                  <a:pt x="25" y="130"/>
                </a:cubicBezTo>
                <a:cubicBezTo>
                  <a:pt x="25" y="131"/>
                  <a:pt x="24" y="132"/>
                  <a:pt x="22" y="132"/>
                </a:cubicBezTo>
                <a:cubicBezTo>
                  <a:pt x="21" y="132"/>
                  <a:pt x="19" y="131"/>
                  <a:pt x="19" y="130"/>
                </a:cubicBezTo>
                <a:cubicBezTo>
                  <a:pt x="19" y="128"/>
                  <a:pt x="21" y="127"/>
                  <a:pt x="22" y="127"/>
                </a:cubicBezTo>
                <a:close/>
                <a:moveTo>
                  <a:pt x="41" y="127"/>
                </a:moveTo>
                <a:cubicBezTo>
                  <a:pt x="43" y="127"/>
                  <a:pt x="44" y="128"/>
                  <a:pt x="44" y="130"/>
                </a:cubicBezTo>
                <a:cubicBezTo>
                  <a:pt x="44" y="131"/>
                  <a:pt x="43" y="132"/>
                  <a:pt x="41" y="132"/>
                </a:cubicBezTo>
                <a:cubicBezTo>
                  <a:pt x="40" y="132"/>
                  <a:pt x="39" y="131"/>
                  <a:pt x="39" y="130"/>
                </a:cubicBezTo>
                <a:cubicBezTo>
                  <a:pt x="39" y="128"/>
                  <a:pt x="40" y="127"/>
                  <a:pt x="41" y="127"/>
                </a:cubicBezTo>
                <a:close/>
                <a:moveTo>
                  <a:pt x="61" y="127"/>
                </a:moveTo>
                <a:cubicBezTo>
                  <a:pt x="62" y="127"/>
                  <a:pt x="63" y="128"/>
                  <a:pt x="63" y="130"/>
                </a:cubicBezTo>
                <a:cubicBezTo>
                  <a:pt x="63" y="131"/>
                  <a:pt x="62" y="132"/>
                  <a:pt x="61" y="132"/>
                </a:cubicBezTo>
                <a:cubicBezTo>
                  <a:pt x="59" y="132"/>
                  <a:pt x="58" y="131"/>
                  <a:pt x="58" y="130"/>
                </a:cubicBezTo>
                <a:cubicBezTo>
                  <a:pt x="58" y="128"/>
                  <a:pt x="59" y="127"/>
                  <a:pt x="61" y="127"/>
                </a:cubicBezTo>
                <a:close/>
                <a:moveTo>
                  <a:pt x="80" y="127"/>
                </a:moveTo>
                <a:cubicBezTo>
                  <a:pt x="82" y="127"/>
                  <a:pt x="83" y="128"/>
                  <a:pt x="83" y="130"/>
                </a:cubicBezTo>
                <a:cubicBezTo>
                  <a:pt x="83" y="131"/>
                  <a:pt x="82" y="132"/>
                  <a:pt x="80" y="132"/>
                </a:cubicBezTo>
                <a:cubicBezTo>
                  <a:pt x="78" y="132"/>
                  <a:pt x="77" y="131"/>
                  <a:pt x="77" y="130"/>
                </a:cubicBezTo>
                <a:cubicBezTo>
                  <a:pt x="77" y="128"/>
                  <a:pt x="78" y="127"/>
                  <a:pt x="80" y="127"/>
                </a:cubicBezTo>
                <a:close/>
                <a:moveTo>
                  <a:pt x="99" y="127"/>
                </a:moveTo>
                <a:cubicBezTo>
                  <a:pt x="101" y="127"/>
                  <a:pt x="102" y="128"/>
                  <a:pt x="102" y="130"/>
                </a:cubicBezTo>
                <a:cubicBezTo>
                  <a:pt x="102" y="131"/>
                  <a:pt x="101" y="132"/>
                  <a:pt x="99" y="132"/>
                </a:cubicBezTo>
                <a:cubicBezTo>
                  <a:pt x="98" y="132"/>
                  <a:pt x="97" y="131"/>
                  <a:pt x="97" y="130"/>
                </a:cubicBezTo>
                <a:cubicBezTo>
                  <a:pt x="97" y="128"/>
                  <a:pt x="98" y="127"/>
                  <a:pt x="99" y="127"/>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0" name="Freeform 1067">
            <a:extLst>
              <a:ext uri="{FF2B5EF4-FFF2-40B4-BE49-F238E27FC236}">
                <a16:creationId xmlns:a16="http://schemas.microsoft.com/office/drawing/2014/main" id="{A654D4F3-7E57-294B-94EE-0B98D7A07E9B}"/>
              </a:ext>
            </a:extLst>
          </p:cNvPr>
          <p:cNvSpPr>
            <a:spLocks noEditPoints="1"/>
          </p:cNvSpPr>
          <p:nvPr/>
        </p:nvSpPr>
        <p:spPr bwMode="auto">
          <a:xfrm>
            <a:off x="4398845" y="2222500"/>
            <a:ext cx="546100" cy="550863"/>
          </a:xfrm>
          <a:custGeom>
            <a:avLst/>
            <a:gdLst>
              <a:gd name="T0" fmla="*/ 80 w 160"/>
              <a:gd name="T1" fmla="*/ 0 h 160"/>
              <a:gd name="T2" fmla="*/ 0 w 160"/>
              <a:gd name="T3" fmla="*/ 29 h 160"/>
              <a:gd name="T4" fmla="*/ 160 w 160"/>
              <a:gd name="T5" fmla="*/ 29 h 160"/>
              <a:gd name="T6" fmla="*/ 86 w 160"/>
              <a:gd name="T7" fmla="*/ 8 h 160"/>
              <a:gd name="T8" fmla="*/ 88 w 160"/>
              <a:gd name="T9" fmla="*/ 13 h 160"/>
              <a:gd name="T10" fmla="*/ 72 w 160"/>
              <a:gd name="T11" fmla="*/ 12 h 160"/>
              <a:gd name="T12" fmla="*/ 74 w 160"/>
              <a:gd name="T13" fmla="*/ 8 h 160"/>
              <a:gd name="T14" fmla="*/ 67 w 160"/>
              <a:gd name="T15" fmla="*/ 13 h 160"/>
              <a:gd name="T16" fmla="*/ 93 w 160"/>
              <a:gd name="T17" fmla="*/ 13 h 160"/>
              <a:gd name="T18" fmla="*/ 37 w 160"/>
              <a:gd name="T19" fmla="*/ 29 h 160"/>
              <a:gd name="T20" fmla="*/ 133 w 160"/>
              <a:gd name="T21" fmla="*/ 35 h 160"/>
              <a:gd name="T22" fmla="*/ 5 w 160"/>
              <a:gd name="T23" fmla="*/ 48 h 160"/>
              <a:gd name="T24" fmla="*/ 5 w 160"/>
              <a:gd name="T25" fmla="*/ 155 h 160"/>
              <a:gd name="T26" fmla="*/ 155 w 160"/>
              <a:gd name="T27" fmla="*/ 155 h 160"/>
              <a:gd name="T28" fmla="*/ 64 w 160"/>
              <a:gd name="T29" fmla="*/ 75 h 160"/>
              <a:gd name="T30" fmla="*/ 61 w 160"/>
              <a:gd name="T31" fmla="*/ 72 h 160"/>
              <a:gd name="T32" fmla="*/ 80 w 160"/>
              <a:gd name="T33" fmla="*/ 77 h 160"/>
              <a:gd name="T34" fmla="*/ 99 w 160"/>
              <a:gd name="T35" fmla="*/ 72 h 160"/>
              <a:gd name="T36" fmla="*/ 96 w 160"/>
              <a:gd name="T37" fmla="*/ 75 h 160"/>
              <a:gd name="T38" fmla="*/ 120 w 160"/>
              <a:gd name="T39" fmla="*/ 75 h 160"/>
              <a:gd name="T40" fmla="*/ 117 w 160"/>
              <a:gd name="T41" fmla="*/ 72 h 160"/>
              <a:gd name="T42" fmla="*/ 136 w 160"/>
              <a:gd name="T43" fmla="*/ 77 h 160"/>
              <a:gd name="T44" fmla="*/ 24 w 160"/>
              <a:gd name="T45" fmla="*/ 93 h 160"/>
              <a:gd name="T46" fmla="*/ 21 w 160"/>
              <a:gd name="T47" fmla="*/ 96 h 160"/>
              <a:gd name="T48" fmla="*/ 45 w 160"/>
              <a:gd name="T49" fmla="*/ 96 h 160"/>
              <a:gd name="T50" fmla="*/ 43 w 160"/>
              <a:gd name="T51" fmla="*/ 93 h 160"/>
              <a:gd name="T52" fmla="*/ 61 w 160"/>
              <a:gd name="T53" fmla="*/ 99 h 160"/>
              <a:gd name="T54" fmla="*/ 80 w 160"/>
              <a:gd name="T55" fmla="*/ 93 h 160"/>
              <a:gd name="T56" fmla="*/ 77 w 160"/>
              <a:gd name="T57" fmla="*/ 96 h 160"/>
              <a:gd name="T58" fmla="*/ 101 w 160"/>
              <a:gd name="T59" fmla="*/ 96 h 160"/>
              <a:gd name="T60" fmla="*/ 99 w 160"/>
              <a:gd name="T61" fmla="*/ 93 h 160"/>
              <a:gd name="T62" fmla="*/ 117 w 160"/>
              <a:gd name="T63" fmla="*/ 99 h 160"/>
              <a:gd name="T64" fmla="*/ 136 w 160"/>
              <a:gd name="T65" fmla="*/ 93 h 160"/>
              <a:gd name="T66" fmla="*/ 133 w 160"/>
              <a:gd name="T67" fmla="*/ 96 h 160"/>
              <a:gd name="T68" fmla="*/ 27 w 160"/>
              <a:gd name="T69" fmla="*/ 115 h 160"/>
              <a:gd name="T70" fmla="*/ 24 w 160"/>
              <a:gd name="T71" fmla="*/ 112 h 160"/>
              <a:gd name="T72" fmla="*/ 43 w 160"/>
              <a:gd name="T73" fmla="*/ 117 h 160"/>
              <a:gd name="T74" fmla="*/ 61 w 160"/>
              <a:gd name="T75" fmla="*/ 112 h 160"/>
              <a:gd name="T76" fmla="*/ 59 w 160"/>
              <a:gd name="T77" fmla="*/ 115 h 160"/>
              <a:gd name="T78" fmla="*/ 83 w 160"/>
              <a:gd name="T79" fmla="*/ 115 h 160"/>
              <a:gd name="T80" fmla="*/ 80 w 160"/>
              <a:gd name="T81" fmla="*/ 112 h 160"/>
              <a:gd name="T82" fmla="*/ 99 w 160"/>
              <a:gd name="T83" fmla="*/ 117 h 160"/>
              <a:gd name="T84" fmla="*/ 117 w 160"/>
              <a:gd name="T85" fmla="*/ 112 h 160"/>
              <a:gd name="T86" fmla="*/ 115 w 160"/>
              <a:gd name="T87" fmla="*/ 115 h 160"/>
              <a:gd name="T88" fmla="*/ 139 w 160"/>
              <a:gd name="T89" fmla="*/ 115 h 160"/>
              <a:gd name="T90" fmla="*/ 136 w 160"/>
              <a:gd name="T91" fmla="*/ 112 h 160"/>
              <a:gd name="T92" fmla="*/ 24 w 160"/>
              <a:gd name="T93" fmla="*/ 139 h 160"/>
              <a:gd name="T94" fmla="*/ 43 w 160"/>
              <a:gd name="T95" fmla="*/ 133 h 160"/>
              <a:gd name="T96" fmla="*/ 40 w 160"/>
              <a:gd name="T97" fmla="*/ 136 h 160"/>
              <a:gd name="T98" fmla="*/ 64 w 160"/>
              <a:gd name="T99" fmla="*/ 136 h 160"/>
              <a:gd name="T100" fmla="*/ 61 w 160"/>
              <a:gd name="T101" fmla="*/ 133 h 160"/>
              <a:gd name="T102" fmla="*/ 80 w 160"/>
              <a:gd name="T103" fmla="*/ 139 h 160"/>
              <a:gd name="T104" fmla="*/ 99 w 160"/>
              <a:gd name="T105" fmla="*/ 133 h 160"/>
              <a:gd name="T106" fmla="*/ 96 w 160"/>
              <a:gd name="T107"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60">
                <a:moveTo>
                  <a:pt x="134" y="29"/>
                </a:moveTo>
                <a:cubicBezTo>
                  <a:pt x="130" y="27"/>
                  <a:pt x="104" y="13"/>
                  <a:pt x="90" y="4"/>
                </a:cubicBezTo>
                <a:cubicBezTo>
                  <a:pt x="87" y="2"/>
                  <a:pt x="84" y="0"/>
                  <a:pt x="80" y="0"/>
                </a:cubicBezTo>
                <a:cubicBezTo>
                  <a:pt x="76" y="0"/>
                  <a:pt x="73" y="2"/>
                  <a:pt x="70" y="4"/>
                </a:cubicBezTo>
                <a:cubicBezTo>
                  <a:pt x="56" y="13"/>
                  <a:pt x="30" y="27"/>
                  <a:pt x="26" y="29"/>
                </a:cubicBezTo>
                <a:cubicBezTo>
                  <a:pt x="0" y="29"/>
                  <a:pt x="0" y="29"/>
                  <a:pt x="0" y="29"/>
                </a:cubicBezTo>
                <a:cubicBezTo>
                  <a:pt x="0" y="160"/>
                  <a:pt x="0" y="160"/>
                  <a:pt x="0" y="160"/>
                </a:cubicBezTo>
                <a:cubicBezTo>
                  <a:pt x="160" y="160"/>
                  <a:pt x="160" y="160"/>
                  <a:pt x="160" y="160"/>
                </a:cubicBezTo>
                <a:cubicBezTo>
                  <a:pt x="160" y="29"/>
                  <a:pt x="160" y="29"/>
                  <a:pt x="160" y="29"/>
                </a:cubicBezTo>
                <a:lnTo>
                  <a:pt x="134" y="29"/>
                </a:lnTo>
                <a:close/>
                <a:moveTo>
                  <a:pt x="86" y="8"/>
                </a:moveTo>
                <a:cubicBezTo>
                  <a:pt x="86" y="8"/>
                  <a:pt x="86" y="8"/>
                  <a:pt x="86" y="8"/>
                </a:cubicBezTo>
                <a:cubicBezTo>
                  <a:pt x="87" y="9"/>
                  <a:pt x="87" y="10"/>
                  <a:pt x="88" y="11"/>
                </a:cubicBezTo>
                <a:cubicBezTo>
                  <a:pt x="88" y="11"/>
                  <a:pt x="88" y="12"/>
                  <a:pt x="88" y="12"/>
                </a:cubicBezTo>
                <a:cubicBezTo>
                  <a:pt x="88" y="12"/>
                  <a:pt x="88" y="13"/>
                  <a:pt x="88" y="13"/>
                </a:cubicBezTo>
                <a:cubicBezTo>
                  <a:pt x="88" y="18"/>
                  <a:pt x="84" y="21"/>
                  <a:pt x="80" y="21"/>
                </a:cubicBezTo>
                <a:cubicBezTo>
                  <a:pt x="76" y="21"/>
                  <a:pt x="72" y="18"/>
                  <a:pt x="72" y="13"/>
                </a:cubicBezTo>
                <a:cubicBezTo>
                  <a:pt x="72" y="13"/>
                  <a:pt x="72" y="12"/>
                  <a:pt x="72" y="12"/>
                </a:cubicBezTo>
                <a:cubicBezTo>
                  <a:pt x="72" y="12"/>
                  <a:pt x="72" y="11"/>
                  <a:pt x="72" y="11"/>
                </a:cubicBezTo>
                <a:cubicBezTo>
                  <a:pt x="73" y="10"/>
                  <a:pt x="73" y="9"/>
                  <a:pt x="74" y="8"/>
                </a:cubicBezTo>
                <a:cubicBezTo>
                  <a:pt x="74" y="8"/>
                  <a:pt x="74" y="8"/>
                  <a:pt x="74" y="8"/>
                </a:cubicBezTo>
                <a:cubicBezTo>
                  <a:pt x="76" y="6"/>
                  <a:pt x="78" y="5"/>
                  <a:pt x="80" y="5"/>
                </a:cubicBezTo>
                <a:cubicBezTo>
                  <a:pt x="82" y="5"/>
                  <a:pt x="84" y="6"/>
                  <a:pt x="86" y="8"/>
                </a:cubicBezTo>
                <a:close/>
                <a:moveTo>
                  <a:pt x="67" y="13"/>
                </a:moveTo>
                <a:cubicBezTo>
                  <a:pt x="67" y="13"/>
                  <a:pt x="67" y="13"/>
                  <a:pt x="67" y="13"/>
                </a:cubicBezTo>
                <a:cubicBezTo>
                  <a:pt x="67" y="21"/>
                  <a:pt x="73" y="27"/>
                  <a:pt x="80" y="27"/>
                </a:cubicBezTo>
                <a:cubicBezTo>
                  <a:pt x="87" y="27"/>
                  <a:pt x="93" y="21"/>
                  <a:pt x="93" y="13"/>
                </a:cubicBezTo>
                <a:cubicBezTo>
                  <a:pt x="93" y="13"/>
                  <a:pt x="93" y="13"/>
                  <a:pt x="93" y="13"/>
                </a:cubicBezTo>
                <a:cubicBezTo>
                  <a:pt x="103" y="18"/>
                  <a:pt x="115" y="25"/>
                  <a:pt x="123" y="29"/>
                </a:cubicBezTo>
                <a:cubicBezTo>
                  <a:pt x="37" y="29"/>
                  <a:pt x="37" y="29"/>
                  <a:pt x="37" y="29"/>
                </a:cubicBezTo>
                <a:cubicBezTo>
                  <a:pt x="45" y="25"/>
                  <a:pt x="57" y="18"/>
                  <a:pt x="67" y="13"/>
                </a:cubicBezTo>
                <a:close/>
                <a:moveTo>
                  <a:pt x="27" y="35"/>
                </a:moveTo>
                <a:cubicBezTo>
                  <a:pt x="133" y="35"/>
                  <a:pt x="133" y="35"/>
                  <a:pt x="133" y="35"/>
                </a:cubicBezTo>
                <a:cubicBezTo>
                  <a:pt x="155" y="35"/>
                  <a:pt x="155" y="35"/>
                  <a:pt x="155" y="35"/>
                </a:cubicBezTo>
                <a:cubicBezTo>
                  <a:pt x="155" y="48"/>
                  <a:pt x="155" y="48"/>
                  <a:pt x="155" y="48"/>
                </a:cubicBezTo>
                <a:cubicBezTo>
                  <a:pt x="5" y="48"/>
                  <a:pt x="5" y="48"/>
                  <a:pt x="5" y="48"/>
                </a:cubicBezTo>
                <a:cubicBezTo>
                  <a:pt x="5" y="35"/>
                  <a:pt x="5" y="35"/>
                  <a:pt x="5" y="35"/>
                </a:cubicBezTo>
                <a:lnTo>
                  <a:pt x="27" y="35"/>
                </a:lnTo>
                <a:close/>
                <a:moveTo>
                  <a:pt x="5" y="155"/>
                </a:moveTo>
                <a:cubicBezTo>
                  <a:pt x="5" y="53"/>
                  <a:pt x="5" y="53"/>
                  <a:pt x="5" y="53"/>
                </a:cubicBezTo>
                <a:cubicBezTo>
                  <a:pt x="155" y="53"/>
                  <a:pt x="155" y="53"/>
                  <a:pt x="155" y="53"/>
                </a:cubicBezTo>
                <a:cubicBezTo>
                  <a:pt x="155" y="155"/>
                  <a:pt x="155" y="155"/>
                  <a:pt x="155" y="155"/>
                </a:cubicBezTo>
                <a:lnTo>
                  <a:pt x="5" y="155"/>
                </a:lnTo>
                <a:close/>
                <a:moveTo>
                  <a:pt x="61" y="72"/>
                </a:moveTo>
                <a:cubicBezTo>
                  <a:pt x="63" y="72"/>
                  <a:pt x="64" y="73"/>
                  <a:pt x="64" y="75"/>
                </a:cubicBezTo>
                <a:cubicBezTo>
                  <a:pt x="64" y="76"/>
                  <a:pt x="63" y="77"/>
                  <a:pt x="61" y="77"/>
                </a:cubicBezTo>
                <a:cubicBezTo>
                  <a:pt x="60" y="77"/>
                  <a:pt x="59" y="76"/>
                  <a:pt x="59" y="75"/>
                </a:cubicBezTo>
                <a:cubicBezTo>
                  <a:pt x="59" y="73"/>
                  <a:pt x="60" y="72"/>
                  <a:pt x="61" y="72"/>
                </a:cubicBezTo>
                <a:close/>
                <a:moveTo>
                  <a:pt x="80" y="72"/>
                </a:moveTo>
                <a:cubicBezTo>
                  <a:pt x="81" y="72"/>
                  <a:pt x="83" y="73"/>
                  <a:pt x="83" y="75"/>
                </a:cubicBezTo>
                <a:cubicBezTo>
                  <a:pt x="83" y="76"/>
                  <a:pt x="81" y="77"/>
                  <a:pt x="80" y="77"/>
                </a:cubicBezTo>
                <a:cubicBezTo>
                  <a:pt x="79" y="77"/>
                  <a:pt x="77" y="76"/>
                  <a:pt x="77" y="75"/>
                </a:cubicBezTo>
                <a:cubicBezTo>
                  <a:pt x="77" y="73"/>
                  <a:pt x="79" y="72"/>
                  <a:pt x="80" y="72"/>
                </a:cubicBezTo>
                <a:close/>
                <a:moveTo>
                  <a:pt x="99" y="72"/>
                </a:moveTo>
                <a:cubicBezTo>
                  <a:pt x="100" y="72"/>
                  <a:pt x="101" y="73"/>
                  <a:pt x="101" y="75"/>
                </a:cubicBezTo>
                <a:cubicBezTo>
                  <a:pt x="101" y="76"/>
                  <a:pt x="100" y="77"/>
                  <a:pt x="99" y="77"/>
                </a:cubicBezTo>
                <a:cubicBezTo>
                  <a:pt x="97" y="77"/>
                  <a:pt x="96" y="76"/>
                  <a:pt x="96" y="75"/>
                </a:cubicBezTo>
                <a:cubicBezTo>
                  <a:pt x="96" y="73"/>
                  <a:pt x="97" y="72"/>
                  <a:pt x="99" y="72"/>
                </a:cubicBezTo>
                <a:close/>
                <a:moveTo>
                  <a:pt x="117" y="72"/>
                </a:moveTo>
                <a:cubicBezTo>
                  <a:pt x="119" y="72"/>
                  <a:pt x="120" y="73"/>
                  <a:pt x="120" y="75"/>
                </a:cubicBezTo>
                <a:cubicBezTo>
                  <a:pt x="120" y="76"/>
                  <a:pt x="119" y="77"/>
                  <a:pt x="117" y="77"/>
                </a:cubicBezTo>
                <a:cubicBezTo>
                  <a:pt x="116" y="77"/>
                  <a:pt x="115" y="76"/>
                  <a:pt x="115" y="75"/>
                </a:cubicBezTo>
                <a:cubicBezTo>
                  <a:pt x="115" y="73"/>
                  <a:pt x="116" y="72"/>
                  <a:pt x="117" y="72"/>
                </a:cubicBezTo>
                <a:close/>
                <a:moveTo>
                  <a:pt x="136" y="72"/>
                </a:moveTo>
                <a:cubicBezTo>
                  <a:pt x="137" y="72"/>
                  <a:pt x="139" y="73"/>
                  <a:pt x="139" y="75"/>
                </a:cubicBezTo>
                <a:cubicBezTo>
                  <a:pt x="139" y="76"/>
                  <a:pt x="137" y="77"/>
                  <a:pt x="136" y="77"/>
                </a:cubicBezTo>
                <a:cubicBezTo>
                  <a:pt x="135" y="77"/>
                  <a:pt x="133" y="76"/>
                  <a:pt x="133" y="75"/>
                </a:cubicBezTo>
                <a:cubicBezTo>
                  <a:pt x="133" y="73"/>
                  <a:pt x="135" y="72"/>
                  <a:pt x="136" y="72"/>
                </a:cubicBezTo>
                <a:close/>
                <a:moveTo>
                  <a:pt x="24" y="93"/>
                </a:moveTo>
                <a:cubicBezTo>
                  <a:pt x="25" y="93"/>
                  <a:pt x="27" y="95"/>
                  <a:pt x="27" y="96"/>
                </a:cubicBezTo>
                <a:cubicBezTo>
                  <a:pt x="27" y="97"/>
                  <a:pt x="25" y="99"/>
                  <a:pt x="24" y="99"/>
                </a:cubicBezTo>
                <a:cubicBezTo>
                  <a:pt x="23" y="99"/>
                  <a:pt x="21" y="97"/>
                  <a:pt x="21" y="96"/>
                </a:cubicBezTo>
                <a:cubicBezTo>
                  <a:pt x="21" y="95"/>
                  <a:pt x="23" y="93"/>
                  <a:pt x="24" y="93"/>
                </a:cubicBezTo>
                <a:close/>
                <a:moveTo>
                  <a:pt x="43" y="93"/>
                </a:moveTo>
                <a:cubicBezTo>
                  <a:pt x="44" y="93"/>
                  <a:pt x="45" y="95"/>
                  <a:pt x="45" y="96"/>
                </a:cubicBezTo>
                <a:cubicBezTo>
                  <a:pt x="45" y="97"/>
                  <a:pt x="44" y="99"/>
                  <a:pt x="43" y="99"/>
                </a:cubicBezTo>
                <a:cubicBezTo>
                  <a:pt x="41" y="99"/>
                  <a:pt x="40" y="97"/>
                  <a:pt x="40" y="96"/>
                </a:cubicBezTo>
                <a:cubicBezTo>
                  <a:pt x="40" y="95"/>
                  <a:pt x="41" y="93"/>
                  <a:pt x="43" y="93"/>
                </a:cubicBezTo>
                <a:close/>
                <a:moveTo>
                  <a:pt x="61" y="93"/>
                </a:moveTo>
                <a:cubicBezTo>
                  <a:pt x="63" y="93"/>
                  <a:pt x="64" y="95"/>
                  <a:pt x="64" y="96"/>
                </a:cubicBezTo>
                <a:cubicBezTo>
                  <a:pt x="64" y="97"/>
                  <a:pt x="63" y="99"/>
                  <a:pt x="61" y="99"/>
                </a:cubicBezTo>
                <a:cubicBezTo>
                  <a:pt x="60" y="99"/>
                  <a:pt x="59" y="97"/>
                  <a:pt x="59" y="96"/>
                </a:cubicBezTo>
                <a:cubicBezTo>
                  <a:pt x="59" y="95"/>
                  <a:pt x="60" y="93"/>
                  <a:pt x="61" y="93"/>
                </a:cubicBezTo>
                <a:close/>
                <a:moveTo>
                  <a:pt x="80" y="93"/>
                </a:moveTo>
                <a:cubicBezTo>
                  <a:pt x="81" y="93"/>
                  <a:pt x="83" y="95"/>
                  <a:pt x="83" y="96"/>
                </a:cubicBezTo>
                <a:cubicBezTo>
                  <a:pt x="83" y="97"/>
                  <a:pt x="81" y="99"/>
                  <a:pt x="80" y="99"/>
                </a:cubicBezTo>
                <a:cubicBezTo>
                  <a:pt x="79" y="99"/>
                  <a:pt x="77" y="97"/>
                  <a:pt x="77" y="96"/>
                </a:cubicBezTo>
                <a:cubicBezTo>
                  <a:pt x="77" y="95"/>
                  <a:pt x="79" y="93"/>
                  <a:pt x="80" y="93"/>
                </a:cubicBezTo>
                <a:close/>
                <a:moveTo>
                  <a:pt x="99" y="93"/>
                </a:moveTo>
                <a:cubicBezTo>
                  <a:pt x="100" y="93"/>
                  <a:pt x="101" y="95"/>
                  <a:pt x="101" y="96"/>
                </a:cubicBezTo>
                <a:cubicBezTo>
                  <a:pt x="101" y="97"/>
                  <a:pt x="100" y="99"/>
                  <a:pt x="99" y="99"/>
                </a:cubicBezTo>
                <a:cubicBezTo>
                  <a:pt x="97" y="99"/>
                  <a:pt x="96" y="97"/>
                  <a:pt x="96" y="96"/>
                </a:cubicBezTo>
                <a:cubicBezTo>
                  <a:pt x="96" y="95"/>
                  <a:pt x="97" y="93"/>
                  <a:pt x="99" y="93"/>
                </a:cubicBezTo>
                <a:close/>
                <a:moveTo>
                  <a:pt x="117" y="93"/>
                </a:moveTo>
                <a:cubicBezTo>
                  <a:pt x="119" y="93"/>
                  <a:pt x="120" y="95"/>
                  <a:pt x="120" y="96"/>
                </a:cubicBezTo>
                <a:cubicBezTo>
                  <a:pt x="120" y="97"/>
                  <a:pt x="119" y="99"/>
                  <a:pt x="117" y="99"/>
                </a:cubicBezTo>
                <a:cubicBezTo>
                  <a:pt x="116" y="99"/>
                  <a:pt x="115" y="97"/>
                  <a:pt x="115" y="96"/>
                </a:cubicBezTo>
                <a:cubicBezTo>
                  <a:pt x="115" y="95"/>
                  <a:pt x="116" y="93"/>
                  <a:pt x="117" y="93"/>
                </a:cubicBezTo>
                <a:close/>
                <a:moveTo>
                  <a:pt x="136" y="93"/>
                </a:moveTo>
                <a:cubicBezTo>
                  <a:pt x="137" y="93"/>
                  <a:pt x="139" y="95"/>
                  <a:pt x="139" y="96"/>
                </a:cubicBezTo>
                <a:cubicBezTo>
                  <a:pt x="139" y="97"/>
                  <a:pt x="137" y="99"/>
                  <a:pt x="136" y="99"/>
                </a:cubicBezTo>
                <a:cubicBezTo>
                  <a:pt x="135" y="99"/>
                  <a:pt x="133" y="97"/>
                  <a:pt x="133" y="96"/>
                </a:cubicBezTo>
                <a:cubicBezTo>
                  <a:pt x="133" y="95"/>
                  <a:pt x="135" y="93"/>
                  <a:pt x="136" y="93"/>
                </a:cubicBezTo>
                <a:close/>
                <a:moveTo>
                  <a:pt x="24" y="112"/>
                </a:moveTo>
                <a:cubicBezTo>
                  <a:pt x="25" y="112"/>
                  <a:pt x="27" y="113"/>
                  <a:pt x="27" y="115"/>
                </a:cubicBezTo>
                <a:cubicBezTo>
                  <a:pt x="27" y="116"/>
                  <a:pt x="25" y="117"/>
                  <a:pt x="24" y="117"/>
                </a:cubicBezTo>
                <a:cubicBezTo>
                  <a:pt x="23" y="117"/>
                  <a:pt x="21" y="116"/>
                  <a:pt x="21" y="115"/>
                </a:cubicBezTo>
                <a:cubicBezTo>
                  <a:pt x="21" y="113"/>
                  <a:pt x="23" y="112"/>
                  <a:pt x="24" y="112"/>
                </a:cubicBezTo>
                <a:close/>
                <a:moveTo>
                  <a:pt x="43" y="112"/>
                </a:moveTo>
                <a:cubicBezTo>
                  <a:pt x="44" y="112"/>
                  <a:pt x="45" y="113"/>
                  <a:pt x="45" y="115"/>
                </a:cubicBezTo>
                <a:cubicBezTo>
                  <a:pt x="45" y="116"/>
                  <a:pt x="44" y="117"/>
                  <a:pt x="43" y="117"/>
                </a:cubicBezTo>
                <a:cubicBezTo>
                  <a:pt x="41" y="117"/>
                  <a:pt x="40" y="116"/>
                  <a:pt x="40" y="115"/>
                </a:cubicBezTo>
                <a:cubicBezTo>
                  <a:pt x="40" y="113"/>
                  <a:pt x="41" y="112"/>
                  <a:pt x="43" y="112"/>
                </a:cubicBezTo>
                <a:close/>
                <a:moveTo>
                  <a:pt x="61" y="112"/>
                </a:moveTo>
                <a:cubicBezTo>
                  <a:pt x="63" y="112"/>
                  <a:pt x="64" y="113"/>
                  <a:pt x="64" y="115"/>
                </a:cubicBezTo>
                <a:cubicBezTo>
                  <a:pt x="64" y="116"/>
                  <a:pt x="63" y="117"/>
                  <a:pt x="61" y="117"/>
                </a:cubicBezTo>
                <a:cubicBezTo>
                  <a:pt x="60" y="117"/>
                  <a:pt x="59" y="116"/>
                  <a:pt x="59" y="115"/>
                </a:cubicBezTo>
                <a:cubicBezTo>
                  <a:pt x="59" y="113"/>
                  <a:pt x="60" y="112"/>
                  <a:pt x="61" y="112"/>
                </a:cubicBezTo>
                <a:close/>
                <a:moveTo>
                  <a:pt x="80" y="112"/>
                </a:moveTo>
                <a:cubicBezTo>
                  <a:pt x="81" y="112"/>
                  <a:pt x="83" y="113"/>
                  <a:pt x="83" y="115"/>
                </a:cubicBezTo>
                <a:cubicBezTo>
                  <a:pt x="83" y="116"/>
                  <a:pt x="81" y="117"/>
                  <a:pt x="80" y="117"/>
                </a:cubicBezTo>
                <a:cubicBezTo>
                  <a:pt x="79" y="117"/>
                  <a:pt x="77" y="116"/>
                  <a:pt x="77" y="115"/>
                </a:cubicBezTo>
                <a:cubicBezTo>
                  <a:pt x="77" y="113"/>
                  <a:pt x="79" y="112"/>
                  <a:pt x="80" y="112"/>
                </a:cubicBezTo>
                <a:close/>
                <a:moveTo>
                  <a:pt x="99" y="112"/>
                </a:moveTo>
                <a:cubicBezTo>
                  <a:pt x="100" y="112"/>
                  <a:pt x="101" y="113"/>
                  <a:pt x="101" y="115"/>
                </a:cubicBezTo>
                <a:cubicBezTo>
                  <a:pt x="101" y="116"/>
                  <a:pt x="100" y="117"/>
                  <a:pt x="99" y="117"/>
                </a:cubicBezTo>
                <a:cubicBezTo>
                  <a:pt x="97" y="117"/>
                  <a:pt x="96" y="116"/>
                  <a:pt x="96" y="115"/>
                </a:cubicBezTo>
                <a:cubicBezTo>
                  <a:pt x="96" y="113"/>
                  <a:pt x="97" y="112"/>
                  <a:pt x="99" y="112"/>
                </a:cubicBezTo>
                <a:close/>
                <a:moveTo>
                  <a:pt x="117" y="112"/>
                </a:moveTo>
                <a:cubicBezTo>
                  <a:pt x="119" y="112"/>
                  <a:pt x="120" y="113"/>
                  <a:pt x="120" y="115"/>
                </a:cubicBezTo>
                <a:cubicBezTo>
                  <a:pt x="120" y="116"/>
                  <a:pt x="119" y="117"/>
                  <a:pt x="117" y="117"/>
                </a:cubicBezTo>
                <a:cubicBezTo>
                  <a:pt x="116" y="117"/>
                  <a:pt x="115" y="116"/>
                  <a:pt x="115" y="115"/>
                </a:cubicBezTo>
                <a:cubicBezTo>
                  <a:pt x="115" y="113"/>
                  <a:pt x="116" y="112"/>
                  <a:pt x="117" y="112"/>
                </a:cubicBezTo>
                <a:close/>
                <a:moveTo>
                  <a:pt x="136" y="112"/>
                </a:moveTo>
                <a:cubicBezTo>
                  <a:pt x="137" y="112"/>
                  <a:pt x="139" y="113"/>
                  <a:pt x="139" y="115"/>
                </a:cubicBezTo>
                <a:cubicBezTo>
                  <a:pt x="139" y="116"/>
                  <a:pt x="137" y="117"/>
                  <a:pt x="136" y="117"/>
                </a:cubicBezTo>
                <a:cubicBezTo>
                  <a:pt x="135" y="117"/>
                  <a:pt x="133" y="116"/>
                  <a:pt x="133" y="115"/>
                </a:cubicBezTo>
                <a:cubicBezTo>
                  <a:pt x="133" y="113"/>
                  <a:pt x="135" y="112"/>
                  <a:pt x="136" y="112"/>
                </a:cubicBezTo>
                <a:close/>
                <a:moveTo>
                  <a:pt x="24" y="133"/>
                </a:moveTo>
                <a:cubicBezTo>
                  <a:pt x="25" y="133"/>
                  <a:pt x="27" y="135"/>
                  <a:pt x="27" y="136"/>
                </a:cubicBezTo>
                <a:cubicBezTo>
                  <a:pt x="27" y="137"/>
                  <a:pt x="25" y="139"/>
                  <a:pt x="24" y="139"/>
                </a:cubicBezTo>
                <a:cubicBezTo>
                  <a:pt x="23" y="139"/>
                  <a:pt x="21" y="137"/>
                  <a:pt x="21" y="136"/>
                </a:cubicBezTo>
                <a:cubicBezTo>
                  <a:pt x="21" y="135"/>
                  <a:pt x="23" y="133"/>
                  <a:pt x="24" y="133"/>
                </a:cubicBezTo>
                <a:close/>
                <a:moveTo>
                  <a:pt x="43" y="133"/>
                </a:moveTo>
                <a:cubicBezTo>
                  <a:pt x="44" y="133"/>
                  <a:pt x="45" y="135"/>
                  <a:pt x="45" y="136"/>
                </a:cubicBezTo>
                <a:cubicBezTo>
                  <a:pt x="45" y="137"/>
                  <a:pt x="44" y="139"/>
                  <a:pt x="43" y="139"/>
                </a:cubicBezTo>
                <a:cubicBezTo>
                  <a:pt x="41" y="139"/>
                  <a:pt x="40" y="137"/>
                  <a:pt x="40" y="136"/>
                </a:cubicBezTo>
                <a:cubicBezTo>
                  <a:pt x="40" y="135"/>
                  <a:pt x="41" y="133"/>
                  <a:pt x="43" y="133"/>
                </a:cubicBezTo>
                <a:close/>
                <a:moveTo>
                  <a:pt x="61" y="133"/>
                </a:moveTo>
                <a:cubicBezTo>
                  <a:pt x="63" y="133"/>
                  <a:pt x="64" y="135"/>
                  <a:pt x="64" y="136"/>
                </a:cubicBezTo>
                <a:cubicBezTo>
                  <a:pt x="64" y="137"/>
                  <a:pt x="63" y="139"/>
                  <a:pt x="61" y="139"/>
                </a:cubicBezTo>
                <a:cubicBezTo>
                  <a:pt x="60" y="139"/>
                  <a:pt x="59" y="137"/>
                  <a:pt x="59" y="136"/>
                </a:cubicBezTo>
                <a:cubicBezTo>
                  <a:pt x="59" y="135"/>
                  <a:pt x="60" y="133"/>
                  <a:pt x="61" y="133"/>
                </a:cubicBezTo>
                <a:close/>
                <a:moveTo>
                  <a:pt x="80" y="133"/>
                </a:moveTo>
                <a:cubicBezTo>
                  <a:pt x="81" y="133"/>
                  <a:pt x="83" y="135"/>
                  <a:pt x="83" y="136"/>
                </a:cubicBezTo>
                <a:cubicBezTo>
                  <a:pt x="83" y="137"/>
                  <a:pt x="81" y="139"/>
                  <a:pt x="80" y="139"/>
                </a:cubicBezTo>
                <a:cubicBezTo>
                  <a:pt x="79" y="139"/>
                  <a:pt x="77" y="137"/>
                  <a:pt x="77" y="136"/>
                </a:cubicBezTo>
                <a:cubicBezTo>
                  <a:pt x="77" y="135"/>
                  <a:pt x="79" y="133"/>
                  <a:pt x="80" y="133"/>
                </a:cubicBezTo>
                <a:close/>
                <a:moveTo>
                  <a:pt x="99" y="133"/>
                </a:moveTo>
                <a:cubicBezTo>
                  <a:pt x="100" y="133"/>
                  <a:pt x="101" y="135"/>
                  <a:pt x="101" y="136"/>
                </a:cubicBezTo>
                <a:cubicBezTo>
                  <a:pt x="101" y="137"/>
                  <a:pt x="100" y="139"/>
                  <a:pt x="99" y="139"/>
                </a:cubicBezTo>
                <a:cubicBezTo>
                  <a:pt x="97" y="139"/>
                  <a:pt x="96" y="137"/>
                  <a:pt x="96" y="136"/>
                </a:cubicBezTo>
                <a:cubicBezTo>
                  <a:pt x="96" y="135"/>
                  <a:pt x="97" y="133"/>
                  <a:pt x="99" y="133"/>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1" name="Freeform 1068">
            <a:extLst>
              <a:ext uri="{FF2B5EF4-FFF2-40B4-BE49-F238E27FC236}">
                <a16:creationId xmlns:a16="http://schemas.microsoft.com/office/drawing/2014/main" id="{E63CDED5-9CCB-2846-846A-A356E50B7E2D}"/>
              </a:ext>
            </a:extLst>
          </p:cNvPr>
          <p:cNvSpPr>
            <a:spLocks noEditPoints="1"/>
          </p:cNvSpPr>
          <p:nvPr/>
        </p:nvSpPr>
        <p:spPr bwMode="auto">
          <a:xfrm>
            <a:off x="4398845" y="2841625"/>
            <a:ext cx="546100" cy="541338"/>
          </a:xfrm>
          <a:custGeom>
            <a:avLst/>
            <a:gdLst>
              <a:gd name="T0" fmla="*/ 118 w 160"/>
              <a:gd name="T1" fmla="*/ 11 h 157"/>
              <a:gd name="T2" fmla="*/ 105 w 160"/>
              <a:gd name="T3" fmla="*/ 0 h 157"/>
              <a:gd name="T4" fmla="*/ 102 w 160"/>
              <a:gd name="T5" fmla="*/ 3 h 157"/>
              <a:gd name="T6" fmla="*/ 105 w 160"/>
              <a:gd name="T7" fmla="*/ 6 h 157"/>
              <a:gd name="T8" fmla="*/ 113 w 160"/>
              <a:gd name="T9" fmla="*/ 14 h 157"/>
              <a:gd name="T10" fmla="*/ 105 w 160"/>
              <a:gd name="T11" fmla="*/ 22 h 157"/>
              <a:gd name="T12" fmla="*/ 102 w 160"/>
              <a:gd name="T13" fmla="*/ 25 h 157"/>
              <a:gd name="T14" fmla="*/ 105 w 160"/>
              <a:gd name="T15" fmla="*/ 28 h 157"/>
              <a:gd name="T16" fmla="*/ 118 w 160"/>
              <a:gd name="T17" fmla="*/ 17 h 157"/>
              <a:gd name="T18" fmla="*/ 154 w 160"/>
              <a:gd name="T19" fmla="*/ 17 h 157"/>
              <a:gd name="T20" fmla="*/ 154 w 160"/>
              <a:gd name="T21" fmla="*/ 41 h 157"/>
              <a:gd name="T22" fmla="*/ 6 w 160"/>
              <a:gd name="T23" fmla="*/ 41 h 157"/>
              <a:gd name="T24" fmla="*/ 6 w 160"/>
              <a:gd name="T25" fmla="*/ 17 h 157"/>
              <a:gd name="T26" fmla="*/ 44 w 160"/>
              <a:gd name="T27" fmla="*/ 17 h 157"/>
              <a:gd name="T28" fmla="*/ 52 w 160"/>
              <a:gd name="T29" fmla="*/ 17 h 157"/>
              <a:gd name="T30" fmla="*/ 55 w 160"/>
              <a:gd name="T31" fmla="*/ 14 h 157"/>
              <a:gd name="T32" fmla="*/ 52 w 160"/>
              <a:gd name="T33" fmla="*/ 11 h 157"/>
              <a:gd name="T34" fmla="*/ 47 w 160"/>
              <a:gd name="T35" fmla="*/ 11 h 157"/>
              <a:gd name="T36" fmla="*/ 55 w 160"/>
              <a:gd name="T37" fmla="*/ 6 h 157"/>
              <a:gd name="T38" fmla="*/ 63 w 160"/>
              <a:gd name="T39" fmla="*/ 14 h 157"/>
              <a:gd name="T40" fmla="*/ 55 w 160"/>
              <a:gd name="T41" fmla="*/ 22 h 157"/>
              <a:gd name="T42" fmla="*/ 52 w 160"/>
              <a:gd name="T43" fmla="*/ 25 h 157"/>
              <a:gd name="T44" fmla="*/ 55 w 160"/>
              <a:gd name="T45" fmla="*/ 28 h 157"/>
              <a:gd name="T46" fmla="*/ 69 w 160"/>
              <a:gd name="T47" fmla="*/ 14 h 157"/>
              <a:gd name="T48" fmla="*/ 55 w 160"/>
              <a:gd name="T49" fmla="*/ 0 h 157"/>
              <a:gd name="T50" fmla="*/ 42 w 160"/>
              <a:gd name="T51" fmla="*/ 11 h 157"/>
              <a:gd name="T52" fmla="*/ 0 w 160"/>
              <a:gd name="T53" fmla="*/ 11 h 157"/>
              <a:gd name="T54" fmla="*/ 0 w 160"/>
              <a:gd name="T55" fmla="*/ 47 h 157"/>
              <a:gd name="T56" fmla="*/ 0 w 160"/>
              <a:gd name="T57" fmla="*/ 157 h 157"/>
              <a:gd name="T58" fmla="*/ 160 w 160"/>
              <a:gd name="T59" fmla="*/ 157 h 157"/>
              <a:gd name="T60" fmla="*/ 160 w 160"/>
              <a:gd name="T61" fmla="*/ 47 h 157"/>
              <a:gd name="T62" fmla="*/ 160 w 160"/>
              <a:gd name="T63" fmla="*/ 11 h 157"/>
              <a:gd name="T64" fmla="*/ 118 w 160"/>
              <a:gd name="T65" fmla="*/ 11 h 157"/>
              <a:gd name="T66" fmla="*/ 154 w 160"/>
              <a:gd name="T67" fmla="*/ 152 h 157"/>
              <a:gd name="T68" fmla="*/ 6 w 160"/>
              <a:gd name="T69" fmla="*/ 152 h 157"/>
              <a:gd name="T70" fmla="*/ 6 w 160"/>
              <a:gd name="T71" fmla="*/ 47 h 157"/>
              <a:gd name="T72" fmla="*/ 154 w 160"/>
              <a:gd name="T73" fmla="*/ 47 h 157"/>
              <a:gd name="T74" fmla="*/ 154 w 160"/>
              <a:gd name="T75" fmla="*/ 15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57">
                <a:moveTo>
                  <a:pt x="118" y="11"/>
                </a:moveTo>
                <a:cubicBezTo>
                  <a:pt x="117" y="5"/>
                  <a:pt x="111" y="0"/>
                  <a:pt x="105" y="0"/>
                </a:cubicBezTo>
                <a:cubicBezTo>
                  <a:pt x="103" y="0"/>
                  <a:pt x="102" y="1"/>
                  <a:pt x="102" y="3"/>
                </a:cubicBezTo>
                <a:cubicBezTo>
                  <a:pt x="102" y="4"/>
                  <a:pt x="103" y="6"/>
                  <a:pt x="105" y="6"/>
                </a:cubicBezTo>
                <a:cubicBezTo>
                  <a:pt x="109" y="6"/>
                  <a:pt x="113" y="9"/>
                  <a:pt x="113" y="14"/>
                </a:cubicBezTo>
                <a:cubicBezTo>
                  <a:pt x="113" y="18"/>
                  <a:pt x="109" y="22"/>
                  <a:pt x="105" y="22"/>
                </a:cubicBezTo>
                <a:cubicBezTo>
                  <a:pt x="103" y="22"/>
                  <a:pt x="102" y="23"/>
                  <a:pt x="102" y="25"/>
                </a:cubicBezTo>
                <a:cubicBezTo>
                  <a:pt x="102" y="26"/>
                  <a:pt x="103" y="28"/>
                  <a:pt x="105" y="28"/>
                </a:cubicBezTo>
                <a:cubicBezTo>
                  <a:pt x="111" y="28"/>
                  <a:pt x="117" y="23"/>
                  <a:pt x="118" y="17"/>
                </a:cubicBezTo>
                <a:cubicBezTo>
                  <a:pt x="154" y="17"/>
                  <a:pt x="154" y="17"/>
                  <a:pt x="154" y="17"/>
                </a:cubicBezTo>
                <a:cubicBezTo>
                  <a:pt x="154" y="41"/>
                  <a:pt x="154" y="41"/>
                  <a:pt x="154" y="41"/>
                </a:cubicBezTo>
                <a:cubicBezTo>
                  <a:pt x="6" y="41"/>
                  <a:pt x="6" y="41"/>
                  <a:pt x="6" y="41"/>
                </a:cubicBezTo>
                <a:cubicBezTo>
                  <a:pt x="6" y="17"/>
                  <a:pt x="6" y="17"/>
                  <a:pt x="6" y="17"/>
                </a:cubicBezTo>
                <a:cubicBezTo>
                  <a:pt x="44" y="17"/>
                  <a:pt x="44" y="17"/>
                  <a:pt x="44" y="17"/>
                </a:cubicBezTo>
                <a:cubicBezTo>
                  <a:pt x="52" y="17"/>
                  <a:pt x="52" y="17"/>
                  <a:pt x="52" y="17"/>
                </a:cubicBezTo>
                <a:cubicBezTo>
                  <a:pt x="54" y="17"/>
                  <a:pt x="55" y="15"/>
                  <a:pt x="55" y="14"/>
                </a:cubicBezTo>
                <a:cubicBezTo>
                  <a:pt x="55" y="12"/>
                  <a:pt x="54" y="11"/>
                  <a:pt x="52" y="11"/>
                </a:cubicBezTo>
                <a:cubicBezTo>
                  <a:pt x="47" y="11"/>
                  <a:pt x="47" y="11"/>
                  <a:pt x="47" y="11"/>
                </a:cubicBezTo>
                <a:cubicBezTo>
                  <a:pt x="49" y="8"/>
                  <a:pt x="52" y="6"/>
                  <a:pt x="55" y="6"/>
                </a:cubicBezTo>
                <a:cubicBezTo>
                  <a:pt x="60" y="6"/>
                  <a:pt x="63" y="9"/>
                  <a:pt x="63" y="14"/>
                </a:cubicBezTo>
                <a:cubicBezTo>
                  <a:pt x="63" y="18"/>
                  <a:pt x="60" y="22"/>
                  <a:pt x="55" y="22"/>
                </a:cubicBezTo>
                <a:cubicBezTo>
                  <a:pt x="54" y="22"/>
                  <a:pt x="52" y="23"/>
                  <a:pt x="52" y="25"/>
                </a:cubicBezTo>
                <a:cubicBezTo>
                  <a:pt x="52" y="26"/>
                  <a:pt x="54" y="28"/>
                  <a:pt x="55" y="28"/>
                </a:cubicBezTo>
                <a:cubicBezTo>
                  <a:pt x="63" y="28"/>
                  <a:pt x="69" y="21"/>
                  <a:pt x="69" y="14"/>
                </a:cubicBezTo>
                <a:cubicBezTo>
                  <a:pt x="69" y="6"/>
                  <a:pt x="63" y="0"/>
                  <a:pt x="55" y="0"/>
                </a:cubicBezTo>
                <a:cubicBezTo>
                  <a:pt x="49" y="0"/>
                  <a:pt x="43" y="5"/>
                  <a:pt x="42" y="11"/>
                </a:cubicBezTo>
                <a:cubicBezTo>
                  <a:pt x="0" y="11"/>
                  <a:pt x="0" y="11"/>
                  <a:pt x="0" y="11"/>
                </a:cubicBezTo>
                <a:cubicBezTo>
                  <a:pt x="0" y="47"/>
                  <a:pt x="0" y="47"/>
                  <a:pt x="0" y="47"/>
                </a:cubicBezTo>
                <a:cubicBezTo>
                  <a:pt x="0" y="157"/>
                  <a:pt x="0" y="157"/>
                  <a:pt x="0" y="157"/>
                </a:cubicBezTo>
                <a:cubicBezTo>
                  <a:pt x="160" y="157"/>
                  <a:pt x="160" y="157"/>
                  <a:pt x="160" y="157"/>
                </a:cubicBezTo>
                <a:cubicBezTo>
                  <a:pt x="160" y="47"/>
                  <a:pt x="160" y="47"/>
                  <a:pt x="160" y="47"/>
                </a:cubicBezTo>
                <a:cubicBezTo>
                  <a:pt x="160" y="11"/>
                  <a:pt x="160" y="11"/>
                  <a:pt x="160" y="11"/>
                </a:cubicBezTo>
                <a:lnTo>
                  <a:pt x="118" y="11"/>
                </a:lnTo>
                <a:close/>
                <a:moveTo>
                  <a:pt x="154" y="152"/>
                </a:moveTo>
                <a:cubicBezTo>
                  <a:pt x="6" y="152"/>
                  <a:pt x="6" y="152"/>
                  <a:pt x="6" y="152"/>
                </a:cubicBezTo>
                <a:cubicBezTo>
                  <a:pt x="6" y="47"/>
                  <a:pt x="6" y="47"/>
                  <a:pt x="6" y="47"/>
                </a:cubicBezTo>
                <a:cubicBezTo>
                  <a:pt x="154" y="47"/>
                  <a:pt x="154" y="47"/>
                  <a:pt x="154" y="47"/>
                </a:cubicBezTo>
                <a:lnTo>
                  <a:pt x="154" y="152"/>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2" name="Freeform 1069">
            <a:extLst>
              <a:ext uri="{FF2B5EF4-FFF2-40B4-BE49-F238E27FC236}">
                <a16:creationId xmlns:a16="http://schemas.microsoft.com/office/drawing/2014/main" id="{085050A7-505A-8F46-B51C-D82E191BFDFE}"/>
              </a:ext>
            </a:extLst>
          </p:cNvPr>
          <p:cNvSpPr>
            <a:spLocks/>
          </p:cNvSpPr>
          <p:nvPr/>
        </p:nvSpPr>
        <p:spPr bwMode="auto">
          <a:xfrm>
            <a:off x="4633795" y="2841625"/>
            <a:ext cx="58738" cy="96838"/>
          </a:xfrm>
          <a:custGeom>
            <a:avLst/>
            <a:gdLst>
              <a:gd name="T0" fmla="*/ 3 w 17"/>
              <a:gd name="T1" fmla="*/ 6 h 28"/>
              <a:gd name="T2" fmla="*/ 11 w 17"/>
              <a:gd name="T3" fmla="*/ 14 h 28"/>
              <a:gd name="T4" fmla="*/ 3 w 17"/>
              <a:gd name="T5" fmla="*/ 22 h 28"/>
              <a:gd name="T6" fmla="*/ 0 w 17"/>
              <a:gd name="T7" fmla="*/ 25 h 28"/>
              <a:gd name="T8" fmla="*/ 3 w 17"/>
              <a:gd name="T9" fmla="*/ 28 h 28"/>
              <a:gd name="T10" fmla="*/ 17 w 17"/>
              <a:gd name="T11" fmla="*/ 14 h 28"/>
              <a:gd name="T12" fmla="*/ 3 w 17"/>
              <a:gd name="T13" fmla="*/ 0 h 28"/>
              <a:gd name="T14" fmla="*/ 0 w 17"/>
              <a:gd name="T15" fmla="*/ 3 h 28"/>
              <a:gd name="T16" fmla="*/ 3 w 17"/>
              <a:gd name="T1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8">
                <a:moveTo>
                  <a:pt x="3" y="6"/>
                </a:moveTo>
                <a:cubicBezTo>
                  <a:pt x="7" y="6"/>
                  <a:pt x="11" y="9"/>
                  <a:pt x="11" y="14"/>
                </a:cubicBezTo>
                <a:cubicBezTo>
                  <a:pt x="11" y="18"/>
                  <a:pt x="7" y="22"/>
                  <a:pt x="3" y="22"/>
                </a:cubicBezTo>
                <a:cubicBezTo>
                  <a:pt x="1" y="22"/>
                  <a:pt x="0" y="23"/>
                  <a:pt x="0" y="25"/>
                </a:cubicBezTo>
                <a:cubicBezTo>
                  <a:pt x="0" y="26"/>
                  <a:pt x="1" y="28"/>
                  <a:pt x="3" y="28"/>
                </a:cubicBezTo>
                <a:cubicBezTo>
                  <a:pt x="10" y="28"/>
                  <a:pt x="17" y="21"/>
                  <a:pt x="17" y="14"/>
                </a:cubicBezTo>
                <a:cubicBezTo>
                  <a:pt x="17" y="6"/>
                  <a:pt x="10" y="0"/>
                  <a:pt x="3" y="0"/>
                </a:cubicBezTo>
                <a:cubicBezTo>
                  <a:pt x="1" y="0"/>
                  <a:pt x="0" y="1"/>
                  <a:pt x="0" y="3"/>
                </a:cubicBezTo>
                <a:cubicBezTo>
                  <a:pt x="0" y="4"/>
                  <a:pt x="1" y="6"/>
                  <a:pt x="3" y="6"/>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1070">
            <a:extLst>
              <a:ext uri="{FF2B5EF4-FFF2-40B4-BE49-F238E27FC236}">
                <a16:creationId xmlns:a16="http://schemas.microsoft.com/office/drawing/2014/main" id="{11072875-7882-BE47-91F6-DF2078A870F1}"/>
              </a:ext>
            </a:extLst>
          </p:cNvPr>
          <p:cNvSpPr>
            <a:spLocks/>
          </p:cNvSpPr>
          <p:nvPr/>
        </p:nvSpPr>
        <p:spPr bwMode="auto">
          <a:xfrm>
            <a:off x="4692533" y="2841625"/>
            <a:ext cx="53975" cy="96838"/>
          </a:xfrm>
          <a:custGeom>
            <a:avLst/>
            <a:gdLst>
              <a:gd name="T0" fmla="*/ 2 w 16"/>
              <a:gd name="T1" fmla="*/ 6 h 28"/>
              <a:gd name="T2" fmla="*/ 11 w 16"/>
              <a:gd name="T3" fmla="*/ 14 h 28"/>
              <a:gd name="T4" fmla="*/ 2 w 16"/>
              <a:gd name="T5" fmla="*/ 22 h 28"/>
              <a:gd name="T6" fmla="*/ 0 w 16"/>
              <a:gd name="T7" fmla="*/ 25 h 28"/>
              <a:gd name="T8" fmla="*/ 2 w 16"/>
              <a:gd name="T9" fmla="*/ 28 h 28"/>
              <a:gd name="T10" fmla="*/ 16 w 16"/>
              <a:gd name="T11" fmla="*/ 14 h 28"/>
              <a:gd name="T12" fmla="*/ 2 w 16"/>
              <a:gd name="T13" fmla="*/ 0 h 28"/>
              <a:gd name="T14" fmla="*/ 0 w 16"/>
              <a:gd name="T15" fmla="*/ 3 h 28"/>
              <a:gd name="T16" fmla="*/ 2 w 16"/>
              <a:gd name="T1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8">
                <a:moveTo>
                  <a:pt x="2" y="6"/>
                </a:moveTo>
                <a:cubicBezTo>
                  <a:pt x="7" y="6"/>
                  <a:pt x="11" y="9"/>
                  <a:pt x="11" y="14"/>
                </a:cubicBezTo>
                <a:cubicBezTo>
                  <a:pt x="11" y="18"/>
                  <a:pt x="7" y="22"/>
                  <a:pt x="2" y="22"/>
                </a:cubicBezTo>
                <a:cubicBezTo>
                  <a:pt x="1" y="22"/>
                  <a:pt x="0" y="23"/>
                  <a:pt x="0" y="25"/>
                </a:cubicBezTo>
                <a:cubicBezTo>
                  <a:pt x="0" y="26"/>
                  <a:pt x="1" y="28"/>
                  <a:pt x="2" y="28"/>
                </a:cubicBezTo>
                <a:cubicBezTo>
                  <a:pt x="10" y="28"/>
                  <a:pt x="16" y="21"/>
                  <a:pt x="16" y="14"/>
                </a:cubicBezTo>
                <a:cubicBezTo>
                  <a:pt x="16" y="6"/>
                  <a:pt x="10" y="0"/>
                  <a:pt x="2" y="0"/>
                </a:cubicBezTo>
                <a:cubicBezTo>
                  <a:pt x="1" y="0"/>
                  <a:pt x="0" y="1"/>
                  <a:pt x="0" y="3"/>
                </a:cubicBezTo>
                <a:cubicBezTo>
                  <a:pt x="0" y="4"/>
                  <a:pt x="1" y="6"/>
                  <a:pt x="2" y="6"/>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1071">
            <a:extLst>
              <a:ext uri="{FF2B5EF4-FFF2-40B4-BE49-F238E27FC236}">
                <a16:creationId xmlns:a16="http://schemas.microsoft.com/office/drawing/2014/main" id="{50307C46-B41E-3A4B-B1C3-B90D3B35756C}"/>
              </a:ext>
            </a:extLst>
          </p:cNvPr>
          <p:cNvSpPr>
            <a:spLocks noEditPoints="1"/>
          </p:cNvSpPr>
          <p:nvPr/>
        </p:nvSpPr>
        <p:spPr bwMode="auto">
          <a:xfrm>
            <a:off x="4463933" y="3041650"/>
            <a:ext cx="112713" cy="114300"/>
          </a:xfrm>
          <a:custGeom>
            <a:avLst/>
            <a:gdLst>
              <a:gd name="T0" fmla="*/ 17 w 33"/>
              <a:gd name="T1" fmla="*/ 33 h 33"/>
              <a:gd name="T2" fmla="*/ 33 w 33"/>
              <a:gd name="T3" fmla="*/ 16 h 33"/>
              <a:gd name="T4" fmla="*/ 17 w 33"/>
              <a:gd name="T5" fmla="*/ 0 h 33"/>
              <a:gd name="T6" fmla="*/ 0 w 33"/>
              <a:gd name="T7" fmla="*/ 16 h 33"/>
              <a:gd name="T8" fmla="*/ 17 w 33"/>
              <a:gd name="T9" fmla="*/ 33 h 33"/>
              <a:gd name="T10" fmla="*/ 17 w 33"/>
              <a:gd name="T11" fmla="*/ 5 h 33"/>
              <a:gd name="T12" fmla="*/ 28 w 33"/>
              <a:gd name="T13" fmla="*/ 16 h 33"/>
              <a:gd name="T14" fmla="*/ 17 w 33"/>
              <a:gd name="T15" fmla="*/ 28 h 33"/>
              <a:gd name="T16" fmla="*/ 6 w 33"/>
              <a:gd name="T17" fmla="*/ 16 h 33"/>
              <a:gd name="T18" fmla="*/ 17 w 33"/>
              <a:gd name="T1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7" y="33"/>
                </a:moveTo>
                <a:cubicBezTo>
                  <a:pt x="26" y="33"/>
                  <a:pt x="33" y="26"/>
                  <a:pt x="33" y="16"/>
                </a:cubicBezTo>
                <a:cubicBezTo>
                  <a:pt x="33" y="7"/>
                  <a:pt x="26" y="0"/>
                  <a:pt x="17" y="0"/>
                </a:cubicBezTo>
                <a:cubicBezTo>
                  <a:pt x="8" y="0"/>
                  <a:pt x="0" y="7"/>
                  <a:pt x="0" y="16"/>
                </a:cubicBezTo>
                <a:cubicBezTo>
                  <a:pt x="0" y="26"/>
                  <a:pt x="8" y="33"/>
                  <a:pt x="17" y="33"/>
                </a:cubicBezTo>
                <a:close/>
                <a:moveTo>
                  <a:pt x="17" y="5"/>
                </a:moveTo>
                <a:cubicBezTo>
                  <a:pt x="23" y="5"/>
                  <a:pt x="28" y="10"/>
                  <a:pt x="28" y="16"/>
                </a:cubicBezTo>
                <a:cubicBezTo>
                  <a:pt x="28" y="23"/>
                  <a:pt x="23" y="28"/>
                  <a:pt x="17" y="28"/>
                </a:cubicBezTo>
                <a:cubicBezTo>
                  <a:pt x="11" y="28"/>
                  <a:pt x="6" y="23"/>
                  <a:pt x="6" y="16"/>
                </a:cubicBezTo>
                <a:cubicBezTo>
                  <a:pt x="6" y="10"/>
                  <a:pt x="11" y="5"/>
                  <a:pt x="17" y="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1072">
            <a:extLst>
              <a:ext uri="{FF2B5EF4-FFF2-40B4-BE49-F238E27FC236}">
                <a16:creationId xmlns:a16="http://schemas.microsoft.com/office/drawing/2014/main" id="{9B5946DD-2D32-624F-9DCE-2E5E18315FE9}"/>
              </a:ext>
            </a:extLst>
          </p:cNvPr>
          <p:cNvSpPr>
            <a:spLocks noEditPoints="1"/>
          </p:cNvSpPr>
          <p:nvPr/>
        </p:nvSpPr>
        <p:spPr bwMode="auto">
          <a:xfrm>
            <a:off x="4614745" y="3041650"/>
            <a:ext cx="115888" cy="114300"/>
          </a:xfrm>
          <a:custGeom>
            <a:avLst/>
            <a:gdLst>
              <a:gd name="T0" fmla="*/ 17 w 34"/>
              <a:gd name="T1" fmla="*/ 33 h 33"/>
              <a:gd name="T2" fmla="*/ 34 w 34"/>
              <a:gd name="T3" fmla="*/ 16 h 33"/>
              <a:gd name="T4" fmla="*/ 17 w 34"/>
              <a:gd name="T5" fmla="*/ 0 h 33"/>
              <a:gd name="T6" fmla="*/ 0 w 34"/>
              <a:gd name="T7" fmla="*/ 16 h 33"/>
              <a:gd name="T8" fmla="*/ 17 w 34"/>
              <a:gd name="T9" fmla="*/ 33 h 33"/>
              <a:gd name="T10" fmla="*/ 17 w 34"/>
              <a:gd name="T11" fmla="*/ 5 h 33"/>
              <a:gd name="T12" fmla="*/ 28 w 34"/>
              <a:gd name="T13" fmla="*/ 16 h 33"/>
              <a:gd name="T14" fmla="*/ 17 w 34"/>
              <a:gd name="T15" fmla="*/ 28 h 33"/>
              <a:gd name="T16" fmla="*/ 6 w 34"/>
              <a:gd name="T17" fmla="*/ 16 h 33"/>
              <a:gd name="T18" fmla="*/ 17 w 34"/>
              <a:gd name="T1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26" y="33"/>
                  <a:pt x="34" y="26"/>
                  <a:pt x="34" y="16"/>
                </a:cubicBezTo>
                <a:cubicBezTo>
                  <a:pt x="34" y="7"/>
                  <a:pt x="26" y="0"/>
                  <a:pt x="17" y="0"/>
                </a:cubicBezTo>
                <a:cubicBezTo>
                  <a:pt x="8" y="0"/>
                  <a:pt x="0" y="7"/>
                  <a:pt x="0" y="16"/>
                </a:cubicBezTo>
                <a:cubicBezTo>
                  <a:pt x="0" y="26"/>
                  <a:pt x="8" y="33"/>
                  <a:pt x="17" y="33"/>
                </a:cubicBezTo>
                <a:close/>
                <a:moveTo>
                  <a:pt x="17" y="5"/>
                </a:moveTo>
                <a:cubicBezTo>
                  <a:pt x="23" y="5"/>
                  <a:pt x="28" y="10"/>
                  <a:pt x="28" y="16"/>
                </a:cubicBezTo>
                <a:cubicBezTo>
                  <a:pt x="28" y="23"/>
                  <a:pt x="23" y="28"/>
                  <a:pt x="17" y="28"/>
                </a:cubicBezTo>
                <a:cubicBezTo>
                  <a:pt x="11" y="28"/>
                  <a:pt x="6" y="23"/>
                  <a:pt x="6" y="16"/>
                </a:cubicBezTo>
                <a:cubicBezTo>
                  <a:pt x="6" y="10"/>
                  <a:pt x="11" y="5"/>
                  <a:pt x="17" y="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6" name="Freeform 1073">
            <a:extLst>
              <a:ext uri="{FF2B5EF4-FFF2-40B4-BE49-F238E27FC236}">
                <a16:creationId xmlns:a16="http://schemas.microsoft.com/office/drawing/2014/main" id="{698FAA6E-818D-5D4D-8DC5-AF9CD375A756}"/>
              </a:ext>
            </a:extLst>
          </p:cNvPr>
          <p:cNvSpPr>
            <a:spLocks noEditPoints="1"/>
          </p:cNvSpPr>
          <p:nvPr/>
        </p:nvSpPr>
        <p:spPr bwMode="auto">
          <a:xfrm>
            <a:off x="4767145" y="3041650"/>
            <a:ext cx="112713" cy="114300"/>
          </a:xfrm>
          <a:custGeom>
            <a:avLst/>
            <a:gdLst>
              <a:gd name="T0" fmla="*/ 16 w 33"/>
              <a:gd name="T1" fmla="*/ 33 h 33"/>
              <a:gd name="T2" fmla="*/ 33 w 33"/>
              <a:gd name="T3" fmla="*/ 16 h 33"/>
              <a:gd name="T4" fmla="*/ 16 w 33"/>
              <a:gd name="T5" fmla="*/ 0 h 33"/>
              <a:gd name="T6" fmla="*/ 0 w 33"/>
              <a:gd name="T7" fmla="*/ 16 h 33"/>
              <a:gd name="T8" fmla="*/ 16 w 33"/>
              <a:gd name="T9" fmla="*/ 33 h 33"/>
              <a:gd name="T10" fmla="*/ 16 w 33"/>
              <a:gd name="T11" fmla="*/ 5 h 33"/>
              <a:gd name="T12" fmla="*/ 27 w 33"/>
              <a:gd name="T13" fmla="*/ 16 h 33"/>
              <a:gd name="T14" fmla="*/ 16 w 33"/>
              <a:gd name="T15" fmla="*/ 28 h 33"/>
              <a:gd name="T16" fmla="*/ 5 w 33"/>
              <a:gd name="T17" fmla="*/ 16 h 33"/>
              <a:gd name="T18" fmla="*/ 16 w 33"/>
              <a:gd name="T1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33"/>
                </a:moveTo>
                <a:cubicBezTo>
                  <a:pt x="25" y="33"/>
                  <a:pt x="33" y="26"/>
                  <a:pt x="33" y="16"/>
                </a:cubicBezTo>
                <a:cubicBezTo>
                  <a:pt x="33" y="7"/>
                  <a:pt x="25" y="0"/>
                  <a:pt x="16" y="0"/>
                </a:cubicBezTo>
                <a:cubicBezTo>
                  <a:pt x="7" y="0"/>
                  <a:pt x="0" y="7"/>
                  <a:pt x="0" y="16"/>
                </a:cubicBezTo>
                <a:cubicBezTo>
                  <a:pt x="0" y="26"/>
                  <a:pt x="7" y="33"/>
                  <a:pt x="16" y="33"/>
                </a:cubicBezTo>
                <a:close/>
                <a:moveTo>
                  <a:pt x="16" y="5"/>
                </a:moveTo>
                <a:cubicBezTo>
                  <a:pt x="22" y="5"/>
                  <a:pt x="27" y="10"/>
                  <a:pt x="27" y="16"/>
                </a:cubicBezTo>
                <a:cubicBezTo>
                  <a:pt x="27" y="23"/>
                  <a:pt x="22" y="28"/>
                  <a:pt x="16" y="28"/>
                </a:cubicBezTo>
                <a:cubicBezTo>
                  <a:pt x="10" y="28"/>
                  <a:pt x="5" y="23"/>
                  <a:pt x="5" y="16"/>
                </a:cubicBezTo>
                <a:cubicBezTo>
                  <a:pt x="5" y="10"/>
                  <a:pt x="10" y="5"/>
                  <a:pt x="16" y="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Freeform 1074">
            <a:extLst>
              <a:ext uri="{FF2B5EF4-FFF2-40B4-BE49-F238E27FC236}">
                <a16:creationId xmlns:a16="http://schemas.microsoft.com/office/drawing/2014/main" id="{4B9AA73A-078A-254E-88DE-8022A25F1545}"/>
              </a:ext>
            </a:extLst>
          </p:cNvPr>
          <p:cNvSpPr>
            <a:spLocks noEditPoints="1"/>
          </p:cNvSpPr>
          <p:nvPr/>
        </p:nvSpPr>
        <p:spPr bwMode="auto">
          <a:xfrm>
            <a:off x="4463933" y="3192463"/>
            <a:ext cx="112713" cy="114300"/>
          </a:xfrm>
          <a:custGeom>
            <a:avLst/>
            <a:gdLst>
              <a:gd name="T0" fmla="*/ 17 w 33"/>
              <a:gd name="T1" fmla="*/ 33 h 33"/>
              <a:gd name="T2" fmla="*/ 33 w 33"/>
              <a:gd name="T3" fmla="*/ 17 h 33"/>
              <a:gd name="T4" fmla="*/ 17 w 33"/>
              <a:gd name="T5" fmla="*/ 0 h 33"/>
              <a:gd name="T6" fmla="*/ 0 w 33"/>
              <a:gd name="T7" fmla="*/ 17 h 33"/>
              <a:gd name="T8" fmla="*/ 17 w 33"/>
              <a:gd name="T9" fmla="*/ 33 h 33"/>
              <a:gd name="T10" fmla="*/ 17 w 33"/>
              <a:gd name="T11" fmla="*/ 6 h 33"/>
              <a:gd name="T12" fmla="*/ 28 w 33"/>
              <a:gd name="T13" fmla="*/ 17 h 33"/>
              <a:gd name="T14" fmla="*/ 17 w 33"/>
              <a:gd name="T15" fmla="*/ 28 h 33"/>
              <a:gd name="T16" fmla="*/ 6 w 33"/>
              <a:gd name="T17" fmla="*/ 17 h 33"/>
              <a:gd name="T18" fmla="*/ 17 w 33"/>
              <a:gd name="T1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7" y="33"/>
                </a:moveTo>
                <a:cubicBezTo>
                  <a:pt x="26" y="33"/>
                  <a:pt x="33" y="26"/>
                  <a:pt x="33" y="17"/>
                </a:cubicBezTo>
                <a:cubicBezTo>
                  <a:pt x="33" y="7"/>
                  <a:pt x="26" y="0"/>
                  <a:pt x="17" y="0"/>
                </a:cubicBezTo>
                <a:cubicBezTo>
                  <a:pt x="8" y="0"/>
                  <a:pt x="0" y="7"/>
                  <a:pt x="0" y="17"/>
                </a:cubicBezTo>
                <a:cubicBezTo>
                  <a:pt x="0" y="26"/>
                  <a:pt x="8" y="33"/>
                  <a:pt x="17" y="33"/>
                </a:cubicBezTo>
                <a:close/>
                <a:moveTo>
                  <a:pt x="17" y="6"/>
                </a:moveTo>
                <a:cubicBezTo>
                  <a:pt x="23" y="6"/>
                  <a:pt x="28" y="11"/>
                  <a:pt x="28" y="17"/>
                </a:cubicBezTo>
                <a:cubicBezTo>
                  <a:pt x="28" y="23"/>
                  <a:pt x="23" y="28"/>
                  <a:pt x="17" y="28"/>
                </a:cubicBezTo>
                <a:cubicBezTo>
                  <a:pt x="11" y="28"/>
                  <a:pt x="6" y="23"/>
                  <a:pt x="6" y="17"/>
                </a:cubicBezTo>
                <a:cubicBezTo>
                  <a:pt x="6" y="11"/>
                  <a:pt x="11" y="6"/>
                  <a:pt x="17" y="6"/>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8" name="Freeform 1075">
            <a:extLst>
              <a:ext uri="{FF2B5EF4-FFF2-40B4-BE49-F238E27FC236}">
                <a16:creationId xmlns:a16="http://schemas.microsoft.com/office/drawing/2014/main" id="{31CEB496-CE79-294B-BAFE-32FE9F807DC2}"/>
              </a:ext>
            </a:extLst>
          </p:cNvPr>
          <p:cNvSpPr>
            <a:spLocks noEditPoints="1"/>
          </p:cNvSpPr>
          <p:nvPr/>
        </p:nvSpPr>
        <p:spPr bwMode="auto">
          <a:xfrm>
            <a:off x="4614745" y="3192463"/>
            <a:ext cx="115888" cy="114300"/>
          </a:xfrm>
          <a:custGeom>
            <a:avLst/>
            <a:gdLst>
              <a:gd name="T0" fmla="*/ 17 w 34"/>
              <a:gd name="T1" fmla="*/ 33 h 33"/>
              <a:gd name="T2" fmla="*/ 34 w 34"/>
              <a:gd name="T3" fmla="*/ 17 h 33"/>
              <a:gd name="T4" fmla="*/ 17 w 34"/>
              <a:gd name="T5" fmla="*/ 0 h 33"/>
              <a:gd name="T6" fmla="*/ 0 w 34"/>
              <a:gd name="T7" fmla="*/ 17 h 33"/>
              <a:gd name="T8" fmla="*/ 17 w 34"/>
              <a:gd name="T9" fmla="*/ 33 h 33"/>
              <a:gd name="T10" fmla="*/ 17 w 34"/>
              <a:gd name="T11" fmla="*/ 6 h 33"/>
              <a:gd name="T12" fmla="*/ 28 w 34"/>
              <a:gd name="T13" fmla="*/ 17 h 33"/>
              <a:gd name="T14" fmla="*/ 17 w 34"/>
              <a:gd name="T15" fmla="*/ 28 h 33"/>
              <a:gd name="T16" fmla="*/ 6 w 34"/>
              <a:gd name="T17" fmla="*/ 17 h 33"/>
              <a:gd name="T18" fmla="*/ 17 w 34"/>
              <a:gd name="T1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26" y="33"/>
                  <a:pt x="34" y="26"/>
                  <a:pt x="34" y="17"/>
                </a:cubicBezTo>
                <a:cubicBezTo>
                  <a:pt x="34" y="7"/>
                  <a:pt x="26" y="0"/>
                  <a:pt x="17" y="0"/>
                </a:cubicBezTo>
                <a:cubicBezTo>
                  <a:pt x="8" y="0"/>
                  <a:pt x="0" y="7"/>
                  <a:pt x="0" y="17"/>
                </a:cubicBezTo>
                <a:cubicBezTo>
                  <a:pt x="0" y="26"/>
                  <a:pt x="8" y="33"/>
                  <a:pt x="17" y="33"/>
                </a:cubicBezTo>
                <a:close/>
                <a:moveTo>
                  <a:pt x="17" y="6"/>
                </a:moveTo>
                <a:cubicBezTo>
                  <a:pt x="23" y="6"/>
                  <a:pt x="28" y="11"/>
                  <a:pt x="28" y="17"/>
                </a:cubicBezTo>
                <a:cubicBezTo>
                  <a:pt x="28" y="23"/>
                  <a:pt x="23" y="28"/>
                  <a:pt x="17" y="28"/>
                </a:cubicBezTo>
                <a:cubicBezTo>
                  <a:pt x="11" y="28"/>
                  <a:pt x="6" y="23"/>
                  <a:pt x="6" y="17"/>
                </a:cubicBezTo>
                <a:cubicBezTo>
                  <a:pt x="6" y="11"/>
                  <a:pt x="11" y="6"/>
                  <a:pt x="17" y="6"/>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Oval 1076">
            <a:extLst>
              <a:ext uri="{FF2B5EF4-FFF2-40B4-BE49-F238E27FC236}">
                <a16:creationId xmlns:a16="http://schemas.microsoft.com/office/drawing/2014/main" id="{64DD4A2A-76D6-5447-B3F6-5B6DED976602}"/>
              </a:ext>
            </a:extLst>
          </p:cNvPr>
          <p:cNvSpPr>
            <a:spLocks noChangeArrowheads="1"/>
          </p:cNvSpPr>
          <p:nvPr/>
        </p:nvSpPr>
        <p:spPr bwMode="auto">
          <a:xfrm>
            <a:off x="4811595" y="3289300"/>
            <a:ext cx="20638" cy="17463"/>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0" name="Oval 1077">
            <a:extLst>
              <a:ext uri="{FF2B5EF4-FFF2-40B4-BE49-F238E27FC236}">
                <a16:creationId xmlns:a16="http://schemas.microsoft.com/office/drawing/2014/main" id="{FCE98DF4-AAC0-864C-A47E-2122142AA33B}"/>
              </a:ext>
            </a:extLst>
          </p:cNvPr>
          <p:cNvSpPr>
            <a:spLocks noChangeArrowheads="1"/>
          </p:cNvSpPr>
          <p:nvPr/>
        </p:nvSpPr>
        <p:spPr bwMode="auto">
          <a:xfrm>
            <a:off x="4775083" y="3279775"/>
            <a:ext cx="20638" cy="15875"/>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Oval 1078">
            <a:extLst>
              <a:ext uri="{FF2B5EF4-FFF2-40B4-BE49-F238E27FC236}">
                <a16:creationId xmlns:a16="http://schemas.microsoft.com/office/drawing/2014/main" id="{98E1A405-CDFE-D746-8E36-150D3BAC0C67}"/>
              </a:ext>
            </a:extLst>
          </p:cNvPr>
          <p:cNvSpPr>
            <a:spLocks noChangeArrowheads="1"/>
          </p:cNvSpPr>
          <p:nvPr/>
        </p:nvSpPr>
        <p:spPr bwMode="auto">
          <a:xfrm>
            <a:off x="4849695" y="3279775"/>
            <a:ext cx="20638" cy="15875"/>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2" name="Oval 1079">
            <a:extLst>
              <a:ext uri="{FF2B5EF4-FFF2-40B4-BE49-F238E27FC236}">
                <a16:creationId xmlns:a16="http://schemas.microsoft.com/office/drawing/2014/main" id="{4CF59E69-6B78-144A-ADC3-1EA366F008B5}"/>
              </a:ext>
            </a:extLst>
          </p:cNvPr>
          <p:cNvSpPr>
            <a:spLocks noChangeArrowheads="1"/>
          </p:cNvSpPr>
          <p:nvPr/>
        </p:nvSpPr>
        <p:spPr bwMode="auto">
          <a:xfrm>
            <a:off x="4849695" y="3203575"/>
            <a:ext cx="20638" cy="17463"/>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3" name="Oval 1080">
            <a:extLst>
              <a:ext uri="{FF2B5EF4-FFF2-40B4-BE49-F238E27FC236}">
                <a16:creationId xmlns:a16="http://schemas.microsoft.com/office/drawing/2014/main" id="{773F64EB-C2CB-BC4B-A216-5941F8EAB57D}"/>
              </a:ext>
            </a:extLst>
          </p:cNvPr>
          <p:cNvSpPr>
            <a:spLocks noChangeArrowheads="1"/>
          </p:cNvSpPr>
          <p:nvPr/>
        </p:nvSpPr>
        <p:spPr bwMode="auto">
          <a:xfrm>
            <a:off x="4775083" y="3203575"/>
            <a:ext cx="20638" cy="17463"/>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4" name="Oval 1081">
            <a:extLst>
              <a:ext uri="{FF2B5EF4-FFF2-40B4-BE49-F238E27FC236}">
                <a16:creationId xmlns:a16="http://schemas.microsoft.com/office/drawing/2014/main" id="{D5FE8442-C885-A845-BCFE-33D5F7750BCD}"/>
              </a:ext>
            </a:extLst>
          </p:cNvPr>
          <p:cNvSpPr>
            <a:spLocks noChangeArrowheads="1"/>
          </p:cNvSpPr>
          <p:nvPr/>
        </p:nvSpPr>
        <p:spPr bwMode="auto">
          <a:xfrm>
            <a:off x="4795720" y="3221038"/>
            <a:ext cx="15875" cy="20638"/>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5" name="Oval 1082">
            <a:extLst>
              <a:ext uri="{FF2B5EF4-FFF2-40B4-BE49-F238E27FC236}">
                <a16:creationId xmlns:a16="http://schemas.microsoft.com/office/drawing/2014/main" id="{AD56A628-B05D-9549-95EB-178F6CEE9799}"/>
              </a:ext>
            </a:extLst>
          </p:cNvPr>
          <p:cNvSpPr>
            <a:spLocks noChangeArrowheads="1"/>
          </p:cNvSpPr>
          <p:nvPr/>
        </p:nvSpPr>
        <p:spPr bwMode="auto">
          <a:xfrm>
            <a:off x="4832233" y="3221038"/>
            <a:ext cx="17463" cy="20638"/>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6" name="Oval 1083">
            <a:extLst>
              <a:ext uri="{FF2B5EF4-FFF2-40B4-BE49-F238E27FC236}">
                <a16:creationId xmlns:a16="http://schemas.microsoft.com/office/drawing/2014/main" id="{1DEF6131-46D9-9446-BC43-50D5F6CBBEE2}"/>
              </a:ext>
            </a:extLst>
          </p:cNvPr>
          <p:cNvSpPr>
            <a:spLocks noChangeArrowheads="1"/>
          </p:cNvSpPr>
          <p:nvPr/>
        </p:nvSpPr>
        <p:spPr bwMode="auto">
          <a:xfrm>
            <a:off x="4811595" y="3241675"/>
            <a:ext cx="20638" cy="17463"/>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7" name="Oval 1084">
            <a:extLst>
              <a:ext uri="{FF2B5EF4-FFF2-40B4-BE49-F238E27FC236}">
                <a16:creationId xmlns:a16="http://schemas.microsoft.com/office/drawing/2014/main" id="{B2B34573-C6DC-3D46-AE86-0C7768A6F663}"/>
              </a:ext>
            </a:extLst>
          </p:cNvPr>
          <p:cNvSpPr>
            <a:spLocks noChangeArrowheads="1"/>
          </p:cNvSpPr>
          <p:nvPr/>
        </p:nvSpPr>
        <p:spPr bwMode="auto">
          <a:xfrm>
            <a:off x="4795720" y="3259138"/>
            <a:ext cx="15875" cy="20638"/>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Oval 1085">
            <a:extLst>
              <a:ext uri="{FF2B5EF4-FFF2-40B4-BE49-F238E27FC236}">
                <a16:creationId xmlns:a16="http://schemas.microsoft.com/office/drawing/2014/main" id="{FFDE8DCF-ECC1-7D40-8DBA-8FCF67721118}"/>
              </a:ext>
            </a:extLst>
          </p:cNvPr>
          <p:cNvSpPr>
            <a:spLocks noChangeArrowheads="1"/>
          </p:cNvSpPr>
          <p:nvPr/>
        </p:nvSpPr>
        <p:spPr bwMode="auto">
          <a:xfrm>
            <a:off x="4832233" y="3259138"/>
            <a:ext cx="17463" cy="20638"/>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9" name="Oval 1086">
            <a:extLst>
              <a:ext uri="{FF2B5EF4-FFF2-40B4-BE49-F238E27FC236}">
                <a16:creationId xmlns:a16="http://schemas.microsoft.com/office/drawing/2014/main" id="{746EA349-8E08-564C-BFBD-72BF24C0331D}"/>
              </a:ext>
            </a:extLst>
          </p:cNvPr>
          <p:cNvSpPr>
            <a:spLocks noChangeArrowheads="1"/>
          </p:cNvSpPr>
          <p:nvPr/>
        </p:nvSpPr>
        <p:spPr bwMode="auto">
          <a:xfrm>
            <a:off x="4859220" y="3241675"/>
            <a:ext cx="20638" cy="17463"/>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0" name="Oval 1087">
            <a:extLst>
              <a:ext uri="{FF2B5EF4-FFF2-40B4-BE49-F238E27FC236}">
                <a16:creationId xmlns:a16="http://schemas.microsoft.com/office/drawing/2014/main" id="{B7514D87-E425-6E4E-B4FF-3F1DBB550D81}"/>
              </a:ext>
            </a:extLst>
          </p:cNvPr>
          <p:cNvSpPr>
            <a:spLocks noChangeArrowheads="1"/>
          </p:cNvSpPr>
          <p:nvPr/>
        </p:nvSpPr>
        <p:spPr bwMode="auto">
          <a:xfrm>
            <a:off x="4767145" y="3241675"/>
            <a:ext cx="17463" cy="17463"/>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1" name="Oval 1088">
            <a:extLst>
              <a:ext uri="{FF2B5EF4-FFF2-40B4-BE49-F238E27FC236}">
                <a16:creationId xmlns:a16="http://schemas.microsoft.com/office/drawing/2014/main" id="{B10EC94A-4A11-BA4D-AF72-47588E9C6956}"/>
              </a:ext>
            </a:extLst>
          </p:cNvPr>
          <p:cNvSpPr>
            <a:spLocks noChangeArrowheads="1"/>
          </p:cNvSpPr>
          <p:nvPr/>
        </p:nvSpPr>
        <p:spPr bwMode="auto">
          <a:xfrm>
            <a:off x="4811595" y="3192463"/>
            <a:ext cx="20638" cy="20638"/>
          </a:xfrm>
          <a:prstGeom prst="ellipse">
            <a:avLst/>
          </a:pr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2" name="Freeform 1089">
            <a:extLst>
              <a:ext uri="{FF2B5EF4-FFF2-40B4-BE49-F238E27FC236}">
                <a16:creationId xmlns:a16="http://schemas.microsoft.com/office/drawing/2014/main" id="{0A349DCC-A080-F643-B230-E5B38C14642A}"/>
              </a:ext>
            </a:extLst>
          </p:cNvPr>
          <p:cNvSpPr>
            <a:spLocks noEditPoints="1"/>
          </p:cNvSpPr>
          <p:nvPr/>
        </p:nvSpPr>
        <p:spPr bwMode="auto">
          <a:xfrm>
            <a:off x="4398845" y="3489325"/>
            <a:ext cx="546100" cy="495300"/>
          </a:xfrm>
          <a:custGeom>
            <a:avLst/>
            <a:gdLst>
              <a:gd name="T0" fmla="*/ 144 w 160"/>
              <a:gd name="T1" fmla="*/ 52 h 144"/>
              <a:gd name="T2" fmla="*/ 144 w 160"/>
              <a:gd name="T3" fmla="*/ 144 h 144"/>
              <a:gd name="T4" fmla="*/ 0 w 160"/>
              <a:gd name="T5" fmla="*/ 144 h 144"/>
              <a:gd name="T6" fmla="*/ 0 w 160"/>
              <a:gd name="T7" fmla="*/ 0 h 144"/>
              <a:gd name="T8" fmla="*/ 144 w 160"/>
              <a:gd name="T9" fmla="*/ 0 h 144"/>
              <a:gd name="T10" fmla="*/ 144 w 160"/>
              <a:gd name="T11" fmla="*/ 8 h 144"/>
              <a:gd name="T12" fmla="*/ 141 w 160"/>
              <a:gd name="T13" fmla="*/ 11 h 144"/>
              <a:gd name="T14" fmla="*/ 138 w 160"/>
              <a:gd name="T15" fmla="*/ 8 h 144"/>
              <a:gd name="T16" fmla="*/ 138 w 160"/>
              <a:gd name="T17" fmla="*/ 5 h 144"/>
              <a:gd name="T18" fmla="*/ 5 w 160"/>
              <a:gd name="T19" fmla="*/ 5 h 144"/>
              <a:gd name="T20" fmla="*/ 5 w 160"/>
              <a:gd name="T21" fmla="*/ 138 h 144"/>
              <a:gd name="T22" fmla="*/ 138 w 160"/>
              <a:gd name="T23" fmla="*/ 138 h 144"/>
              <a:gd name="T24" fmla="*/ 138 w 160"/>
              <a:gd name="T25" fmla="*/ 52 h 144"/>
              <a:gd name="T26" fmla="*/ 141 w 160"/>
              <a:gd name="T27" fmla="*/ 49 h 144"/>
              <a:gd name="T28" fmla="*/ 144 w 160"/>
              <a:gd name="T29" fmla="*/ 52 h 144"/>
              <a:gd name="T30" fmla="*/ 159 w 160"/>
              <a:gd name="T31" fmla="*/ 12 h 144"/>
              <a:gd name="T32" fmla="*/ 155 w 160"/>
              <a:gd name="T33" fmla="*/ 12 h 144"/>
              <a:gd name="T34" fmla="*/ 73 w 160"/>
              <a:gd name="T35" fmla="*/ 94 h 144"/>
              <a:gd name="T36" fmla="*/ 38 w 160"/>
              <a:gd name="T37" fmla="*/ 58 h 144"/>
              <a:gd name="T38" fmla="*/ 34 w 160"/>
              <a:gd name="T39" fmla="*/ 58 h 144"/>
              <a:gd name="T40" fmla="*/ 34 w 160"/>
              <a:gd name="T41" fmla="*/ 62 h 144"/>
              <a:gd name="T42" fmla="*/ 71 w 160"/>
              <a:gd name="T43" fmla="*/ 100 h 144"/>
              <a:gd name="T44" fmla="*/ 73 w 160"/>
              <a:gd name="T45" fmla="*/ 100 h 144"/>
              <a:gd name="T46" fmla="*/ 75 w 160"/>
              <a:gd name="T47" fmla="*/ 100 h 144"/>
              <a:gd name="T48" fmla="*/ 159 w 160"/>
              <a:gd name="T49" fmla="*/ 15 h 144"/>
              <a:gd name="T50" fmla="*/ 159 w 160"/>
              <a:gd name="T51"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0" h="144">
                <a:moveTo>
                  <a:pt x="144" y="52"/>
                </a:moveTo>
                <a:cubicBezTo>
                  <a:pt x="144" y="144"/>
                  <a:pt x="144" y="144"/>
                  <a:pt x="144" y="144"/>
                </a:cubicBezTo>
                <a:cubicBezTo>
                  <a:pt x="0" y="144"/>
                  <a:pt x="0" y="144"/>
                  <a:pt x="0" y="144"/>
                </a:cubicBezTo>
                <a:cubicBezTo>
                  <a:pt x="0" y="0"/>
                  <a:pt x="0" y="0"/>
                  <a:pt x="0" y="0"/>
                </a:cubicBezTo>
                <a:cubicBezTo>
                  <a:pt x="144" y="0"/>
                  <a:pt x="144" y="0"/>
                  <a:pt x="144" y="0"/>
                </a:cubicBezTo>
                <a:cubicBezTo>
                  <a:pt x="144" y="8"/>
                  <a:pt x="144" y="8"/>
                  <a:pt x="144" y="8"/>
                </a:cubicBezTo>
                <a:cubicBezTo>
                  <a:pt x="144" y="10"/>
                  <a:pt x="143" y="11"/>
                  <a:pt x="141" y="11"/>
                </a:cubicBezTo>
                <a:cubicBezTo>
                  <a:pt x="140" y="11"/>
                  <a:pt x="138" y="10"/>
                  <a:pt x="138" y="8"/>
                </a:cubicBezTo>
                <a:cubicBezTo>
                  <a:pt x="138" y="5"/>
                  <a:pt x="138" y="5"/>
                  <a:pt x="138" y="5"/>
                </a:cubicBezTo>
                <a:cubicBezTo>
                  <a:pt x="5" y="5"/>
                  <a:pt x="5" y="5"/>
                  <a:pt x="5" y="5"/>
                </a:cubicBezTo>
                <a:cubicBezTo>
                  <a:pt x="5" y="138"/>
                  <a:pt x="5" y="138"/>
                  <a:pt x="5" y="138"/>
                </a:cubicBezTo>
                <a:cubicBezTo>
                  <a:pt x="138" y="138"/>
                  <a:pt x="138" y="138"/>
                  <a:pt x="138" y="138"/>
                </a:cubicBezTo>
                <a:cubicBezTo>
                  <a:pt x="138" y="52"/>
                  <a:pt x="138" y="52"/>
                  <a:pt x="138" y="52"/>
                </a:cubicBezTo>
                <a:cubicBezTo>
                  <a:pt x="138" y="50"/>
                  <a:pt x="140" y="49"/>
                  <a:pt x="141" y="49"/>
                </a:cubicBezTo>
                <a:cubicBezTo>
                  <a:pt x="143" y="49"/>
                  <a:pt x="144" y="50"/>
                  <a:pt x="144" y="52"/>
                </a:cubicBezTo>
                <a:close/>
                <a:moveTo>
                  <a:pt x="159" y="12"/>
                </a:moveTo>
                <a:cubicBezTo>
                  <a:pt x="158" y="11"/>
                  <a:pt x="156" y="11"/>
                  <a:pt x="155" y="12"/>
                </a:cubicBezTo>
                <a:cubicBezTo>
                  <a:pt x="73" y="94"/>
                  <a:pt x="73" y="94"/>
                  <a:pt x="73" y="94"/>
                </a:cubicBezTo>
                <a:cubicBezTo>
                  <a:pt x="38" y="58"/>
                  <a:pt x="38" y="58"/>
                  <a:pt x="38" y="58"/>
                </a:cubicBezTo>
                <a:cubicBezTo>
                  <a:pt x="37" y="57"/>
                  <a:pt x="35" y="57"/>
                  <a:pt x="34" y="58"/>
                </a:cubicBezTo>
                <a:cubicBezTo>
                  <a:pt x="33" y="59"/>
                  <a:pt x="33" y="61"/>
                  <a:pt x="34" y="62"/>
                </a:cubicBezTo>
                <a:cubicBezTo>
                  <a:pt x="71" y="100"/>
                  <a:pt x="71" y="100"/>
                  <a:pt x="71" y="100"/>
                </a:cubicBezTo>
                <a:cubicBezTo>
                  <a:pt x="72" y="100"/>
                  <a:pt x="73" y="100"/>
                  <a:pt x="73" y="100"/>
                </a:cubicBezTo>
                <a:cubicBezTo>
                  <a:pt x="74" y="100"/>
                  <a:pt x="75" y="100"/>
                  <a:pt x="75" y="100"/>
                </a:cubicBezTo>
                <a:cubicBezTo>
                  <a:pt x="159" y="15"/>
                  <a:pt x="159" y="15"/>
                  <a:pt x="159" y="15"/>
                </a:cubicBezTo>
                <a:cubicBezTo>
                  <a:pt x="160" y="14"/>
                  <a:pt x="160" y="13"/>
                  <a:pt x="159" y="12"/>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3" name="Freeform 1090">
            <a:extLst>
              <a:ext uri="{FF2B5EF4-FFF2-40B4-BE49-F238E27FC236}">
                <a16:creationId xmlns:a16="http://schemas.microsoft.com/office/drawing/2014/main" id="{36050305-DCEA-4D4D-9776-789598D4E888}"/>
              </a:ext>
            </a:extLst>
          </p:cNvPr>
          <p:cNvSpPr>
            <a:spLocks/>
          </p:cNvSpPr>
          <p:nvPr/>
        </p:nvSpPr>
        <p:spPr bwMode="auto">
          <a:xfrm>
            <a:off x="4541720" y="4264025"/>
            <a:ext cx="260350" cy="185738"/>
          </a:xfrm>
          <a:custGeom>
            <a:avLst/>
            <a:gdLst>
              <a:gd name="T0" fmla="*/ 28 w 76"/>
              <a:gd name="T1" fmla="*/ 53 h 54"/>
              <a:gd name="T2" fmla="*/ 30 w 76"/>
              <a:gd name="T3" fmla="*/ 54 h 54"/>
              <a:gd name="T4" fmla="*/ 32 w 76"/>
              <a:gd name="T5" fmla="*/ 53 h 54"/>
              <a:gd name="T6" fmla="*/ 75 w 76"/>
              <a:gd name="T7" fmla="*/ 5 h 54"/>
              <a:gd name="T8" fmla="*/ 74 w 76"/>
              <a:gd name="T9" fmla="*/ 1 h 54"/>
              <a:gd name="T10" fmla="*/ 71 w 76"/>
              <a:gd name="T11" fmla="*/ 1 h 54"/>
              <a:gd name="T12" fmla="*/ 30 w 76"/>
              <a:gd name="T13" fmla="*/ 47 h 54"/>
              <a:gd name="T14" fmla="*/ 5 w 76"/>
              <a:gd name="T15" fmla="*/ 28 h 54"/>
              <a:gd name="T16" fmla="*/ 1 w 76"/>
              <a:gd name="T17" fmla="*/ 28 h 54"/>
              <a:gd name="T18" fmla="*/ 2 w 76"/>
              <a:gd name="T19" fmla="*/ 32 h 54"/>
              <a:gd name="T20" fmla="*/ 28 w 76"/>
              <a:gd name="T21" fmla="*/ 5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54">
                <a:moveTo>
                  <a:pt x="28" y="53"/>
                </a:moveTo>
                <a:cubicBezTo>
                  <a:pt x="29" y="53"/>
                  <a:pt x="29" y="54"/>
                  <a:pt x="30" y="54"/>
                </a:cubicBezTo>
                <a:cubicBezTo>
                  <a:pt x="31" y="54"/>
                  <a:pt x="31" y="53"/>
                  <a:pt x="32" y="53"/>
                </a:cubicBezTo>
                <a:cubicBezTo>
                  <a:pt x="75" y="5"/>
                  <a:pt x="75" y="5"/>
                  <a:pt x="75" y="5"/>
                </a:cubicBezTo>
                <a:cubicBezTo>
                  <a:pt x="76" y="4"/>
                  <a:pt x="76" y="2"/>
                  <a:pt x="74" y="1"/>
                </a:cubicBezTo>
                <a:cubicBezTo>
                  <a:pt x="73" y="0"/>
                  <a:pt x="72" y="0"/>
                  <a:pt x="71" y="1"/>
                </a:cubicBezTo>
                <a:cubicBezTo>
                  <a:pt x="30" y="47"/>
                  <a:pt x="30" y="47"/>
                  <a:pt x="30" y="47"/>
                </a:cubicBezTo>
                <a:cubicBezTo>
                  <a:pt x="5" y="28"/>
                  <a:pt x="5" y="28"/>
                  <a:pt x="5" y="28"/>
                </a:cubicBezTo>
                <a:cubicBezTo>
                  <a:pt x="4" y="27"/>
                  <a:pt x="2" y="27"/>
                  <a:pt x="1" y="28"/>
                </a:cubicBezTo>
                <a:cubicBezTo>
                  <a:pt x="0" y="29"/>
                  <a:pt x="1" y="31"/>
                  <a:pt x="2" y="32"/>
                </a:cubicBezTo>
                <a:lnTo>
                  <a:pt x="28" y="53"/>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4" name="Freeform 1091">
            <a:extLst>
              <a:ext uri="{FF2B5EF4-FFF2-40B4-BE49-F238E27FC236}">
                <a16:creationId xmlns:a16="http://schemas.microsoft.com/office/drawing/2014/main" id="{30038CF4-B940-BC49-BF97-FAFAA766A5C8}"/>
              </a:ext>
            </a:extLst>
          </p:cNvPr>
          <p:cNvSpPr>
            <a:spLocks noEditPoints="1"/>
          </p:cNvSpPr>
          <p:nvPr/>
        </p:nvSpPr>
        <p:spPr bwMode="auto">
          <a:xfrm>
            <a:off x="4398845" y="4081463"/>
            <a:ext cx="546100" cy="550863"/>
          </a:xfrm>
          <a:custGeom>
            <a:avLst/>
            <a:gdLst>
              <a:gd name="T0" fmla="*/ 0 w 344"/>
              <a:gd name="T1" fmla="*/ 0 h 347"/>
              <a:gd name="T2" fmla="*/ 0 w 344"/>
              <a:gd name="T3" fmla="*/ 347 h 347"/>
              <a:gd name="T4" fmla="*/ 344 w 344"/>
              <a:gd name="T5" fmla="*/ 347 h 347"/>
              <a:gd name="T6" fmla="*/ 344 w 344"/>
              <a:gd name="T7" fmla="*/ 0 h 347"/>
              <a:gd name="T8" fmla="*/ 0 w 344"/>
              <a:gd name="T9" fmla="*/ 0 h 347"/>
              <a:gd name="T10" fmla="*/ 333 w 344"/>
              <a:gd name="T11" fmla="*/ 336 h 347"/>
              <a:gd name="T12" fmla="*/ 11 w 344"/>
              <a:gd name="T13" fmla="*/ 336 h 347"/>
              <a:gd name="T14" fmla="*/ 11 w 344"/>
              <a:gd name="T15" fmla="*/ 11 h 347"/>
              <a:gd name="T16" fmla="*/ 333 w 344"/>
              <a:gd name="T17" fmla="*/ 11 h 347"/>
              <a:gd name="T18" fmla="*/ 333 w 344"/>
              <a:gd name="T19" fmla="*/ 33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7">
                <a:moveTo>
                  <a:pt x="0" y="0"/>
                </a:moveTo>
                <a:lnTo>
                  <a:pt x="0" y="347"/>
                </a:lnTo>
                <a:lnTo>
                  <a:pt x="344" y="347"/>
                </a:lnTo>
                <a:lnTo>
                  <a:pt x="344" y="0"/>
                </a:lnTo>
                <a:lnTo>
                  <a:pt x="0" y="0"/>
                </a:lnTo>
                <a:close/>
                <a:moveTo>
                  <a:pt x="333" y="336"/>
                </a:moveTo>
                <a:lnTo>
                  <a:pt x="11" y="336"/>
                </a:lnTo>
                <a:lnTo>
                  <a:pt x="11" y="11"/>
                </a:lnTo>
                <a:lnTo>
                  <a:pt x="333" y="11"/>
                </a:lnTo>
                <a:lnTo>
                  <a:pt x="333" y="336"/>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5" name="Freeform 1092">
            <a:extLst>
              <a:ext uri="{FF2B5EF4-FFF2-40B4-BE49-F238E27FC236}">
                <a16:creationId xmlns:a16="http://schemas.microsoft.com/office/drawing/2014/main" id="{FE0FCA0A-0317-5245-97FA-2DB4DE777286}"/>
              </a:ext>
            </a:extLst>
          </p:cNvPr>
          <p:cNvSpPr>
            <a:spLocks noEditPoints="1"/>
          </p:cNvSpPr>
          <p:nvPr/>
        </p:nvSpPr>
        <p:spPr bwMode="auto">
          <a:xfrm>
            <a:off x="4398845" y="4700588"/>
            <a:ext cx="546100" cy="550863"/>
          </a:xfrm>
          <a:custGeom>
            <a:avLst/>
            <a:gdLst>
              <a:gd name="T0" fmla="*/ 0 w 160"/>
              <a:gd name="T1" fmla="*/ 80 h 160"/>
              <a:gd name="T2" fmla="*/ 160 w 160"/>
              <a:gd name="T3" fmla="*/ 80 h 160"/>
              <a:gd name="T4" fmla="*/ 80 w 160"/>
              <a:gd name="T5" fmla="*/ 155 h 160"/>
              <a:gd name="T6" fmla="*/ 80 w 160"/>
              <a:gd name="T7" fmla="*/ 5 h 160"/>
              <a:gd name="T8" fmla="*/ 80 w 160"/>
              <a:gd name="T9" fmla="*/ 155 h 160"/>
              <a:gd name="T10" fmla="*/ 83 w 160"/>
              <a:gd name="T11" fmla="*/ 42 h 160"/>
              <a:gd name="T12" fmla="*/ 77 w 160"/>
              <a:gd name="T13" fmla="*/ 42 h 160"/>
              <a:gd name="T14" fmla="*/ 70 w 160"/>
              <a:gd name="T15" fmla="*/ 77 h 160"/>
              <a:gd name="T16" fmla="*/ 48 w 160"/>
              <a:gd name="T17" fmla="*/ 80 h 160"/>
              <a:gd name="T18" fmla="*/ 70 w 160"/>
              <a:gd name="T19" fmla="*/ 82 h 160"/>
              <a:gd name="T20" fmla="*/ 91 w 160"/>
              <a:gd name="T21" fmla="*/ 80 h 160"/>
              <a:gd name="T22" fmla="*/ 80 w 160"/>
              <a:gd name="T23" fmla="*/ 85 h 160"/>
              <a:gd name="T24" fmla="*/ 80 w 160"/>
              <a:gd name="T25" fmla="*/ 74 h 160"/>
              <a:gd name="T26" fmla="*/ 80 w 160"/>
              <a:gd name="T27" fmla="*/ 85 h 160"/>
              <a:gd name="T28" fmla="*/ 77 w 160"/>
              <a:gd name="T29" fmla="*/ 21 h 160"/>
              <a:gd name="T30" fmla="*/ 83 w 160"/>
              <a:gd name="T31" fmla="*/ 21 h 160"/>
              <a:gd name="T32" fmla="*/ 80 w 160"/>
              <a:gd name="T33" fmla="*/ 26 h 160"/>
              <a:gd name="T34" fmla="*/ 83 w 160"/>
              <a:gd name="T35" fmla="*/ 136 h 160"/>
              <a:gd name="T36" fmla="*/ 80 w 160"/>
              <a:gd name="T37" fmla="*/ 141 h 160"/>
              <a:gd name="T38" fmla="*/ 77 w 160"/>
              <a:gd name="T39" fmla="*/ 136 h 160"/>
              <a:gd name="T40" fmla="*/ 83 w 160"/>
              <a:gd name="T41" fmla="*/ 136 h 160"/>
              <a:gd name="T42" fmla="*/ 139 w 160"/>
              <a:gd name="T43" fmla="*/ 82 h 160"/>
              <a:gd name="T44" fmla="*/ 133 w 160"/>
              <a:gd name="T45" fmla="*/ 80 h 160"/>
              <a:gd name="T46" fmla="*/ 139 w 160"/>
              <a:gd name="T47" fmla="*/ 77 h 160"/>
              <a:gd name="T48" fmla="*/ 27 w 160"/>
              <a:gd name="T49" fmla="*/ 80 h 160"/>
              <a:gd name="T50" fmla="*/ 21 w 160"/>
              <a:gd name="T51" fmla="*/ 82 h 160"/>
              <a:gd name="T52" fmla="*/ 21 w 160"/>
              <a:gd name="T53" fmla="*/ 77 h 160"/>
              <a:gd name="T54" fmla="*/ 27 w 160"/>
              <a:gd name="T55" fmla="*/ 80 h 160"/>
              <a:gd name="T56" fmla="*/ 123 w 160"/>
              <a:gd name="T57" fmla="*/ 40 h 160"/>
              <a:gd name="T58" fmla="*/ 120 w 160"/>
              <a:gd name="T59" fmla="*/ 43 h 160"/>
              <a:gd name="T60" fmla="*/ 118 w 160"/>
              <a:gd name="T61" fmla="*/ 38 h 160"/>
              <a:gd name="T62" fmla="*/ 123 w 160"/>
              <a:gd name="T63" fmla="*/ 36 h 160"/>
              <a:gd name="T64" fmla="*/ 42 w 160"/>
              <a:gd name="T65" fmla="*/ 121 h 160"/>
              <a:gd name="T66" fmla="*/ 39 w 160"/>
              <a:gd name="T67" fmla="*/ 124 h 160"/>
              <a:gd name="T68" fmla="*/ 37 w 160"/>
              <a:gd name="T69" fmla="*/ 119 h 160"/>
              <a:gd name="T70" fmla="*/ 42 w 160"/>
              <a:gd name="T71" fmla="*/ 117 h 160"/>
              <a:gd name="T72" fmla="*/ 123 w 160"/>
              <a:gd name="T73" fmla="*/ 123 h 160"/>
              <a:gd name="T74" fmla="*/ 120 w 160"/>
              <a:gd name="T75" fmla="*/ 123 h 160"/>
              <a:gd name="T76" fmla="*/ 118 w 160"/>
              <a:gd name="T77" fmla="*/ 117 h 160"/>
              <a:gd name="T78" fmla="*/ 123 w 160"/>
              <a:gd name="T79" fmla="*/ 119 h 160"/>
              <a:gd name="T80" fmla="*/ 42 w 160"/>
              <a:gd name="T81" fmla="*/ 42 h 160"/>
              <a:gd name="T82" fmla="*/ 39 w 160"/>
              <a:gd name="T83" fmla="*/ 42 h 160"/>
              <a:gd name="T84" fmla="*/ 37 w 160"/>
              <a:gd name="T85" fmla="*/ 36 h 160"/>
              <a:gd name="T86" fmla="*/ 42 w 160"/>
              <a:gd name="T87" fmla="*/ 3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83" y="69"/>
                </a:moveTo>
                <a:cubicBezTo>
                  <a:pt x="83" y="42"/>
                  <a:pt x="83" y="42"/>
                  <a:pt x="83" y="42"/>
                </a:cubicBezTo>
                <a:cubicBezTo>
                  <a:pt x="83" y="41"/>
                  <a:pt x="81" y="40"/>
                  <a:pt x="80" y="40"/>
                </a:cubicBezTo>
                <a:cubicBezTo>
                  <a:pt x="79" y="40"/>
                  <a:pt x="77" y="41"/>
                  <a:pt x="77" y="42"/>
                </a:cubicBezTo>
                <a:cubicBezTo>
                  <a:pt x="77" y="69"/>
                  <a:pt x="77" y="69"/>
                  <a:pt x="77" y="69"/>
                </a:cubicBezTo>
                <a:cubicBezTo>
                  <a:pt x="74" y="70"/>
                  <a:pt x="71" y="73"/>
                  <a:pt x="70" y="77"/>
                </a:cubicBezTo>
                <a:cubicBezTo>
                  <a:pt x="51" y="77"/>
                  <a:pt x="51" y="77"/>
                  <a:pt x="51" y="77"/>
                </a:cubicBezTo>
                <a:cubicBezTo>
                  <a:pt x="49" y="77"/>
                  <a:pt x="48" y="78"/>
                  <a:pt x="48" y="80"/>
                </a:cubicBezTo>
                <a:cubicBezTo>
                  <a:pt x="48" y="81"/>
                  <a:pt x="49" y="82"/>
                  <a:pt x="51" y="82"/>
                </a:cubicBezTo>
                <a:cubicBezTo>
                  <a:pt x="70" y="82"/>
                  <a:pt x="70" y="82"/>
                  <a:pt x="70" y="82"/>
                </a:cubicBezTo>
                <a:cubicBezTo>
                  <a:pt x="71" y="87"/>
                  <a:pt x="75" y="90"/>
                  <a:pt x="80" y="90"/>
                </a:cubicBezTo>
                <a:cubicBezTo>
                  <a:pt x="86" y="90"/>
                  <a:pt x="91" y="86"/>
                  <a:pt x="91" y="80"/>
                </a:cubicBezTo>
                <a:cubicBezTo>
                  <a:pt x="91" y="75"/>
                  <a:pt x="87" y="71"/>
                  <a:pt x="83" y="69"/>
                </a:cubicBezTo>
                <a:close/>
                <a:moveTo>
                  <a:pt x="80" y="85"/>
                </a:moveTo>
                <a:cubicBezTo>
                  <a:pt x="77" y="85"/>
                  <a:pt x="75" y="83"/>
                  <a:pt x="75" y="80"/>
                </a:cubicBezTo>
                <a:cubicBezTo>
                  <a:pt x="75" y="77"/>
                  <a:pt x="77" y="74"/>
                  <a:pt x="80" y="74"/>
                </a:cubicBezTo>
                <a:cubicBezTo>
                  <a:pt x="83" y="74"/>
                  <a:pt x="85" y="77"/>
                  <a:pt x="85" y="80"/>
                </a:cubicBezTo>
                <a:cubicBezTo>
                  <a:pt x="85" y="83"/>
                  <a:pt x="83" y="85"/>
                  <a:pt x="80" y="85"/>
                </a:cubicBezTo>
                <a:close/>
                <a:moveTo>
                  <a:pt x="77" y="24"/>
                </a:moveTo>
                <a:cubicBezTo>
                  <a:pt x="77" y="21"/>
                  <a:pt x="77" y="21"/>
                  <a:pt x="77" y="21"/>
                </a:cubicBezTo>
                <a:cubicBezTo>
                  <a:pt x="77" y="20"/>
                  <a:pt x="79" y="18"/>
                  <a:pt x="80" y="18"/>
                </a:cubicBezTo>
                <a:cubicBezTo>
                  <a:pt x="81" y="18"/>
                  <a:pt x="83" y="20"/>
                  <a:pt x="83" y="21"/>
                </a:cubicBezTo>
                <a:cubicBezTo>
                  <a:pt x="83" y="24"/>
                  <a:pt x="83" y="24"/>
                  <a:pt x="83" y="24"/>
                </a:cubicBezTo>
                <a:cubicBezTo>
                  <a:pt x="83" y="25"/>
                  <a:pt x="81" y="26"/>
                  <a:pt x="80" y="26"/>
                </a:cubicBezTo>
                <a:cubicBezTo>
                  <a:pt x="79" y="26"/>
                  <a:pt x="77" y="25"/>
                  <a:pt x="77" y="24"/>
                </a:cubicBezTo>
                <a:close/>
                <a:moveTo>
                  <a:pt x="83" y="136"/>
                </a:moveTo>
                <a:cubicBezTo>
                  <a:pt x="83" y="138"/>
                  <a:pt x="83" y="138"/>
                  <a:pt x="83" y="138"/>
                </a:cubicBezTo>
                <a:cubicBezTo>
                  <a:pt x="83" y="140"/>
                  <a:pt x="81" y="141"/>
                  <a:pt x="80" y="141"/>
                </a:cubicBezTo>
                <a:cubicBezTo>
                  <a:pt x="79" y="141"/>
                  <a:pt x="77" y="140"/>
                  <a:pt x="77" y="138"/>
                </a:cubicBezTo>
                <a:cubicBezTo>
                  <a:pt x="77" y="136"/>
                  <a:pt x="77" y="136"/>
                  <a:pt x="77" y="136"/>
                </a:cubicBezTo>
                <a:cubicBezTo>
                  <a:pt x="77" y="134"/>
                  <a:pt x="79" y="133"/>
                  <a:pt x="80" y="133"/>
                </a:cubicBezTo>
                <a:cubicBezTo>
                  <a:pt x="81" y="133"/>
                  <a:pt x="83" y="134"/>
                  <a:pt x="83" y="136"/>
                </a:cubicBezTo>
                <a:close/>
                <a:moveTo>
                  <a:pt x="141" y="80"/>
                </a:moveTo>
                <a:cubicBezTo>
                  <a:pt x="141" y="81"/>
                  <a:pt x="140" y="82"/>
                  <a:pt x="139" y="82"/>
                </a:cubicBezTo>
                <a:cubicBezTo>
                  <a:pt x="136" y="82"/>
                  <a:pt x="136" y="82"/>
                  <a:pt x="136" y="82"/>
                </a:cubicBezTo>
                <a:cubicBezTo>
                  <a:pt x="135" y="82"/>
                  <a:pt x="133" y="81"/>
                  <a:pt x="133" y="80"/>
                </a:cubicBezTo>
                <a:cubicBezTo>
                  <a:pt x="133" y="78"/>
                  <a:pt x="135" y="77"/>
                  <a:pt x="136" y="77"/>
                </a:cubicBezTo>
                <a:cubicBezTo>
                  <a:pt x="139" y="77"/>
                  <a:pt x="139" y="77"/>
                  <a:pt x="139" y="77"/>
                </a:cubicBezTo>
                <a:cubicBezTo>
                  <a:pt x="140" y="77"/>
                  <a:pt x="141" y="78"/>
                  <a:pt x="141" y="80"/>
                </a:cubicBezTo>
                <a:close/>
                <a:moveTo>
                  <a:pt x="27" y="80"/>
                </a:moveTo>
                <a:cubicBezTo>
                  <a:pt x="27" y="81"/>
                  <a:pt x="25" y="82"/>
                  <a:pt x="24" y="82"/>
                </a:cubicBezTo>
                <a:cubicBezTo>
                  <a:pt x="21" y="82"/>
                  <a:pt x="21" y="82"/>
                  <a:pt x="21" y="82"/>
                </a:cubicBezTo>
                <a:cubicBezTo>
                  <a:pt x="20" y="82"/>
                  <a:pt x="19" y="81"/>
                  <a:pt x="19" y="80"/>
                </a:cubicBezTo>
                <a:cubicBezTo>
                  <a:pt x="19" y="78"/>
                  <a:pt x="20" y="77"/>
                  <a:pt x="21" y="77"/>
                </a:cubicBezTo>
                <a:cubicBezTo>
                  <a:pt x="24" y="77"/>
                  <a:pt x="24" y="77"/>
                  <a:pt x="24" y="77"/>
                </a:cubicBezTo>
                <a:cubicBezTo>
                  <a:pt x="25" y="77"/>
                  <a:pt x="27" y="78"/>
                  <a:pt x="27" y="80"/>
                </a:cubicBezTo>
                <a:close/>
                <a:moveTo>
                  <a:pt x="123" y="36"/>
                </a:moveTo>
                <a:cubicBezTo>
                  <a:pt x="124" y="37"/>
                  <a:pt x="124" y="39"/>
                  <a:pt x="123" y="40"/>
                </a:cubicBezTo>
                <a:cubicBezTo>
                  <a:pt x="121" y="42"/>
                  <a:pt x="121" y="42"/>
                  <a:pt x="121" y="42"/>
                </a:cubicBezTo>
                <a:cubicBezTo>
                  <a:pt x="121" y="42"/>
                  <a:pt x="120" y="43"/>
                  <a:pt x="120" y="43"/>
                </a:cubicBezTo>
                <a:cubicBezTo>
                  <a:pt x="119" y="43"/>
                  <a:pt x="118" y="42"/>
                  <a:pt x="118" y="42"/>
                </a:cubicBezTo>
                <a:cubicBezTo>
                  <a:pt x="117" y="41"/>
                  <a:pt x="117" y="39"/>
                  <a:pt x="118" y="38"/>
                </a:cubicBezTo>
                <a:cubicBezTo>
                  <a:pt x="120" y="36"/>
                  <a:pt x="120" y="36"/>
                  <a:pt x="120" y="36"/>
                </a:cubicBezTo>
                <a:cubicBezTo>
                  <a:pt x="121" y="35"/>
                  <a:pt x="122" y="35"/>
                  <a:pt x="123" y="36"/>
                </a:cubicBezTo>
                <a:close/>
                <a:moveTo>
                  <a:pt x="42" y="117"/>
                </a:moveTo>
                <a:cubicBezTo>
                  <a:pt x="43" y="118"/>
                  <a:pt x="43" y="120"/>
                  <a:pt x="42" y="121"/>
                </a:cubicBezTo>
                <a:cubicBezTo>
                  <a:pt x="40" y="123"/>
                  <a:pt x="40" y="123"/>
                  <a:pt x="40" y="123"/>
                </a:cubicBezTo>
                <a:cubicBezTo>
                  <a:pt x="40" y="124"/>
                  <a:pt x="39" y="124"/>
                  <a:pt x="39" y="124"/>
                </a:cubicBezTo>
                <a:cubicBezTo>
                  <a:pt x="38" y="124"/>
                  <a:pt x="37" y="124"/>
                  <a:pt x="37" y="123"/>
                </a:cubicBezTo>
                <a:cubicBezTo>
                  <a:pt x="36" y="122"/>
                  <a:pt x="36" y="120"/>
                  <a:pt x="37" y="119"/>
                </a:cubicBezTo>
                <a:cubicBezTo>
                  <a:pt x="39" y="117"/>
                  <a:pt x="39" y="117"/>
                  <a:pt x="39" y="117"/>
                </a:cubicBezTo>
                <a:cubicBezTo>
                  <a:pt x="40" y="116"/>
                  <a:pt x="41" y="116"/>
                  <a:pt x="42" y="117"/>
                </a:cubicBezTo>
                <a:close/>
                <a:moveTo>
                  <a:pt x="123" y="119"/>
                </a:moveTo>
                <a:cubicBezTo>
                  <a:pt x="124" y="120"/>
                  <a:pt x="124" y="122"/>
                  <a:pt x="123" y="123"/>
                </a:cubicBezTo>
                <a:cubicBezTo>
                  <a:pt x="123" y="124"/>
                  <a:pt x="122" y="124"/>
                  <a:pt x="121" y="124"/>
                </a:cubicBezTo>
                <a:cubicBezTo>
                  <a:pt x="121" y="124"/>
                  <a:pt x="120" y="124"/>
                  <a:pt x="120" y="123"/>
                </a:cubicBezTo>
                <a:cubicBezTo>
                  <a:pt x="118" y="121"/>
                  <a:pt x="118" y="121"/>
                  <a:pt x="118" y="121"/>
                </a:cubicBezTo>
                <a:cubicBezTo>
                  <a:pt x="117" y="120"/>
                  <a:pt x="117" y="118"/>
                  <a:pt x="118" y="117"/>
                </a:cubicBezTo>
                <a:cubicBezTo>
                  <a:pt x="119" y="116"/>
                  <a:pt x="120" y="116"/>
                  <a:pt x="121" y="117"/>
                </a:cubicBezTo>
                <a:lnTo>
                  <a:pt x="123" y="119"/>
                </a:lnTo>
                <a:close/>
                <a:moveTo>
                  <a:pt x="42" y="38"/>
                </a:moveTo>
                <a:cubicBezTo>
                  <a:pt x="43" y="39"/>
                  <a:pt x="43" y="41"/>
                  <a:pt x="42" y="42"/>
                </a:cubicBezTo>
                <a:cubicBezTo>
                  <a:pt x="42" y="42"/>
                  <a:pt x="41" y="43"/>
                  <a:pt x="40" y="43"/>
                </a:cubicBezTo>
                <a:cubicBezTo>
                  <a:pt x="40" y="43"/>
                  <a:pt x="39" y="42"/>
                  <a:pt x="39" y="42"/>
                </a:cubicBezTo>
                <a:cubicBezTo>
                  <a:pt x="37" y="40"/>
                  <a:pt x="37" y="40"/>
                  <a:pt x="37" y="40"/>
                </a:cubicBezTo>
                <a:cubicBezTo>
                  <a:pt x="36" y="39"/>
                  <a:pt x="36" y="37"/>
                  <a:pt x="37" y="36"/>
                </a:cubicBezTo>
                <a:cubicBezTo>
                  <a:pt x="38" y="35"/>
                  <a:pt x="39" y="35"/>
                  <a:pt x="40" y="36"/>
                </a:cubicBezTo>
                <a:lnTo>
                  <a:pt x="42" y="38"/>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6" name="Freeform 1093">
            <a:extLst>
              <a:ext uri="{FF2B5EF4-FFF2-40B4-BE49-F238E27FC236}">
                <a16:creationId xmlns:a16="http://schemas.microsoft.com/office/drawing/2014/main" id="{FAACA3D7-7465-2244-8A75-CB66D4678729}"/>
              </a:ext>
            </a:extLst>
          </p:cNvPr>
          <p:cNvSpPr>
            <a:spLocks noEditPoints="1"/>
          </p:cNvSpPr>
          <p:nvPr/>
        </p:nvSpPr>
        <p:spPr bwMode="auto">
          <a:xfrm>
            <a:off x="4398845" y="5319713"/>
            <a:ext cx="546100" cy="550863"/>
          </a:xfrm>
          <a:custGeom>
            <a:avLst/>
            <a:gdLst>
              <a:gd name="T0" fmla="*/ 70 w 160"/>
              <a:gd name="T1" fmla="*/ 83 h 160"/>
              <a:gd name="T2" fmla="*/ 91 w 160"/>
              <a:gd name="T3" fmla="*/ 80 h 160"/>
              <a:gd name="T4" fmla="*/ 83 w 160"/>
              <a:gd name="T5" fmla="*/ 43 h 160"/>
              <a:gd name="T6" fmla="*/ 77 w 160"/>
              <a:gd name="T7" fmla="*/ 43 h 160"/>
              <a:gd name="T8" fmla="*/ 70 w 160"/>
              <a:gd name="T9" fmla="*/ 77 h 160"/>
              <a:gd name="T10" fmla="*/ 48 w 160"/>
              <a:gd name="T11" fmla="*/ 80 h 160"/>
              <a:gd name="T12" fmla="*/ 80 w 160"/>
              <a:gd name="T13" fmla="*/ 75 h 160"/>
              <a:gd name="T14" fmla="*/ 80 w 160"/>
              <a:gd name="T15" fmla="*/ 85 h 160"/>
              <a:gd name="T16" fmla="*/ 80 w 160"/>
              <a:gd name="T17" fmla="*/ 75 h 160"/>
              <a:gd name="T18" fmla="*/ 77 w 160"/>
              <a:gd name="T19" fmla="*/ 21 h 160"/>
              <a:gd name="T20" fmla="*/ 83 w 160"/>
              <a:gd name="T21" fmla="*/ 21 h 160"/>
              <a:gd name="T22" fmla="*/ 80 w 160"/>
              <a:gd name="T23" fmla="*/ 27 h 160"/>
              <a:gd name="T24" fmla="*/ 83 w 160"/>
              <a:gd name="T25" fmla="*/ 136 h 160"/>
              <a:gd name="T26" fmla="*/ 80 w 160"/>
              <a:gd name="T27" fmla="*/ 141 h 160"/>
              <a:gd name="T28" fmla="*/ 77 w 160"/>
              <a:gd name="T29" fmla="*/ 136 h 160"/>
              <a:gd name="T30" fmla="*/ 83 w 160"/>
              <a:gd name="T31" fmla="*/ 136 h 160"/>
              <a:gd name="T32" fmla="*/ 141 w 160"/>
              <a:gd name="T33" fmla="*/ 80 h 160"/>
              <a:gd name="T34" fmla="*/ 136 w 160"/>
              <a:gd name="T35" fmla="*/ 83 h 160"/>
              <a:gd name="T36" fmla="*/ 136 w 160"/>
              <a:gd name="T37" fmla="*/ 77 h 160"/>
              <a:gd name="T38" fmla="*/ 19 w 160"/>
              <a:gd name="T39" fmla="*/ 80 h 160"/>
              <a:gd name="T40" fmla="*/ 24 w 160"/>
              <a:gd name="T41" fmla="*/ 77 h 160"/>
              <a:gd name="T42" fmla="*/ 24 w 160"/>
              <a:gd name="T43" fmla="*/ 83 h 160"/>
              <a:gd name="T44" fmla="*/ 19 w 160"/>
              <a:gd name="T45" fmla="*/ 80 h 160"/>
              <a:gd name="T46" fmla="*/ 132 w 160"/>
              <a:gd name="T47" fmla="*/ 24 h 160"/>
              <a:gd name="T48" fmla="*/ 138 w 160"/>
              <a:gd name="T49" fmla="*/ 22 h 160"/>
              <a:gd name="T50" fmla="*/ 136 w 160"/>
              <a:gd name="T51" fmla="*/ 28 h 160"/>
              <a:gd name="T52" fmla="*/ 132 w 160"/>
              <a:gd name="T53" fmla="*/ 28 h 160"/>
              <a:gd name="T54" fmla="*/ 28 w 160"/>
              <a:gd name="T55" fmla="*/ 136 h 160"/>
              <a:gd name="T56" fmla="*/ 24 w 160"/>
              <a:gd name="T57" fmla="*/ 138 h 160"/>
              <a:gd name="T58" fmla="*/ 23 w 160"/>
              <a:gd name="T59" fmla="*/ 134 h 160"/>
              <a:gd name="T60" fmla="*/ 28 w 160"/>
              <a:gd name="T61" fmla="*/ 132 h 160"/>
              <a:gd name="T62" fmla="*/ 132 w 160"/>
              <a:gd name="T63" fmla="*/ 132 h 160"/>
              <a:gd name="T64" fmla="*/ 137 w 160"/>
              <a:gd name="T65" fmla="*/ 134 h 160"/>
              <a:gd name="T66" fmla="*/ 136 w 160"/>
              <a:gd name="T67" fmla="*/ 138 h 160"/>
              <a:gd name="T68" fmla="*/ 132 w 160"/>
              <a:gd name="T69" fmla="*/ 136 h 160"/>
              <a:gd name="T70" fmla="*/ 22 w 160"/>
              <a:gd name="T71" fmla="*/ 22 h 160"/>
              <a:gd name="T72" fmla="*/ 27 w 160"/>
              <a:gd name="T73" fmla="*/ 23 h 160"/>
              <a:gd name="T74" fmla="*/ 25 w 160"/>
              <a:gd name="T75" fmla="*/ 28 h 160"/>
              <a:gd name="T76" fmla="*/ 22 w 160"/>
              <a:gd name="T77" fmla="*/ 25 h 160"/>
              <a:gd name="T78" fmla="*/ 0 w 160"/>
              <a:gd name="T79" fmla="*/ 160 h 160"/>
              <a:gd name="T80" fmla="*/ 160 w 160"/>
              <a:gd name="T81" fmla="*/ 0 h 160"/>
              <a:gd name="T82" fmla="*/ 155 w 160"/>
              <a:gd name="T83" fmla="*/ 155 h 160"/>
              <a:gd name="T84" fmla="*/ 5 w 160"/>
              <a:gd name="T85" fmla="*/ 5 h 160"/>
              <a:gd name="T86" fmla="*/ 155 w 160"/>
              <a:gd name="T8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0">
                <a:moveTo>
                  <a:pt x="51" y="83"/>
                </a:moveTo>
                <a:cubicBezTo>
                  <a:pt x="70" y="83"/>
                  <a:pt x="70" y="83"/>
                  <a:pt x="70" y="83"/>
                </a:cubicBezTo>
                <a:cubicBezTo>
                  <a:pt x="71" y="87"/>
                  <a:pt x="75" y="91"/>
                  <a:pt x="80" y="91"/>
                </a:cubicBezTo>
                <a:cubicBezTo>
                  <a:pt x="86" y="91"/>
                  <a:pt x="91" y="86"/>
                  <a:pt x="91" y="80"/>
                </a:cubicBezTo>
                <a:cubicBezTo>
                  <a:pt x="91" y="75"/>
                  <a:pt x="87" y="71"/>
                  <a:pt x="83" y="70"/>
                </a:cubicBezTo>
                <a:cubicBezTo>
                  <a:pt x="83" y="43"/>
                  <a:pt x="83" y="43"/>
                  <a:pt x="83" y="43"/>
                </a:cubicBezTo>
                <a:cubicBezTo>
                  <a:pt x="83" y="41"/>
                  <a:pt x="81" y="40"/>
                  <a:pt x="80" y="40"/>
                </a:cubicBezTo>
                <a:cubicBezTo>
                  <a:pt x="79" y="40"/>
                  <a:pt x="77" y="41"/>
                  <a:pt x="77" y="43"/>
                </a:cubicBezTo>
                <a:cubicBezTo>
                  <a:pt x="77" y="70"/>
                  <a:pt x="77" y="70"/>
                  <a:pt x="77" y="70"/>
                </a:cubicBezTo>
                <a:cubicBezTo>
                  <a:pt x="74" y="71"/>
                  <a:pt x="71" y="74"/>
                  <a:pt x="70" y="77"/>
                </a:cubicBezTo>
                <a:cubicBezTo>
                  <a:pt x="51" y="77"/>
                  <a:pt x="51" y="77"/>
                  <a:pt x="51" y="77"/>
                </a:cubicBezTo>
                <a:cubicBezTo>
                  <a:pt x="49" y="77"/>
                  <a:pt x="48" y="79"/>
                  <a:pt x="48" y="80"/>
                </a:cubicBezTo>
                <a:cubicBezTo>
                  <a:pt x="48" y="81"/>
                  <a:pt x="49" y="83"/>
                  <a:pt x="51" y="83"/>
                </a:cubicBezTo>
                <a:close/>
                <a:moveTo>
                  <a:pt x="80" y="75"/>
                </a:moveTo>
                <a:cubicBezTo>
                  <a:pt x="83" y="75"/>
                  <a:pt x="85" y="77"/>
                  <a:pt x="85" y="80"/>
                </a:cubicBezTo>
                <a:cubicBezTo>
                  <a:pt x="85" y="83"/>
                  <a:pt x="83" y="85"/>
                  <a:pt x="80" y="85"/>
                </a:cubicBezTo>
                <a:cubicBezTo>
                  <a:pt x="77" y="85"/>
                  <a:pt x="75" y="83"/>
                  <a:pt x="75" y="80"/>
                </a:cubicBezTo>
                <a:cubicBezTo>
                  <a:pt x="75" y="77"/>
                  <a:pt x="77" y="75"/>
                  <a:pt x="80" y="75"/>
                </a:cubicBezTo>
                <a:close/>
                <a:moveTo>
                  <a:pt x="77" y="24"/>
                </a:moveTo>
                <a:cubicBezTo>
                  <a:pt x="77" y="21"/>
                  <a:pt x="77" y="21"/>
                  <a:pt x="77" y="21"/>
                </a:cubicBezTo>
                <a:cubicBezTo>
                  <a:pt x="77" y="20"/>
                  <a:pt x="79" y="19"/>
                  <a:pt x="80" y="19"/>
                </a:cubicBezTo>
                <a:cubicBezTo>
                  <a:pt x="81" y="19"/>
                  <a:pt x="83" y="20"/>
                  <a:pt x="83" y="21"/>
                </a:cubicBezTo>
                <a:cubicBezTo>
                  <a:pt x="83" y="24"/>
                  <a:pt x="83" y="24"/>
                  <a:pt x="83" y="24"/>
                </a:cubicBezTo>
                <a:cubicBezTo>
                  <a:pt x="83" y="25"/>
                  <a:pt x="81" y="27"/>
                  <a:pt x="80" y="27"/>
                </a:cubicBezTo>
                <a:cubicBezTo>
                  <a:pt x="79" y="27"/>
                  <a:pt x="77" y="25"/>
                  <a:pt x="77" y="24"/>
                </a:cubicBezTo>
                <a:close/>
                <a:moveTo>
                  <a:pt x="83" y="136"/>
                </a:moveTo>
                <a:cubicBezTo>
                  <a:pt x="83" y="139"/>
                  <a:pt x="83" y="139"/>
                  <a:pt x="83" y="139"/>
                </a:cubicBezTo>
                <a:cubicBezTo>
                  <a:pt x="83" y="140"/>
                  <a:pt x="81" y="141"/>
                  <a:pt x="80" y="141"/>
                </a:cubicBezTo>
                <a:cubicBezTo>
                  <a:pt x="79" y="141"/>
                  <a:pt x="77" y="140"/>
                  <a:pt x="77" y="139"/>
                </a:cubicBezTo>
                <a:cubicBezTo>
                  <a:pt x="77" y="136"/>
                  <a:pt x="77" y="136"/>
                  <a:pt x="77" y="136"/>
                </a:cubicBezTo>
                <a:cubicBezTo>
                  <a:pt x="77" y="135"/>
                  <a:pt x="79" y="133"/>
                  <a:pt x="80" y="133"/>
                </a:cubicBezTo>
                <a:cubicBezTo>
                  <a:pt x="81" y="133"/>
                  <a:pt x="83" y="135"/>
                  <a:pt x="83" y="136"/>
                </a:cubicBezTo>
                <a:close/>
                <a:moveTo>
                  <a:pt x="139" y="77"/>
                </a:moveTo>
                <a:cubicBezTo>
                  <a:pt x="140" y="77"/>
                  <a:pt x="141" y="79"/>
                  <a:pt x="141" y="80"/>
                </a:cubicBezTo>
                <a:cubicBezTo>
                  <a:pt x="141" y="81"/>
                  <a:pt x="140" y="83"/>
                  <a:pt x="139" y="83"/>
                </a:cubicBezTo>
                <a:cubicBezTo>
                  <a:pt x="136" y="83"/>
                  <a:pt x="136" y="83"/>
                  <a:pt x="136" y="83"/>
                </a:cubicBezTo>
                <a:cubicBezTo>
                  <a:pt x="135" y="83"/>
                  <a:pt x="133" y="81"/>
                  <a:pt x="133" y="80"/>
                </a:cubicBezTo>
                <a:cubicBezTo>
                  <a:pt x="133" y="79"/>
                  <a:pt x="135" y="77"/>
                  <a:pt x="136" y="77"/>
                </a:cubicBezTo>
                <a:lnTo>
                  <a:pt x="139" y="77"/>
                </a:lnTo>
                <a:close/>
                <a:moveTo>
                  <a:pt x="19" y="80"/>
                </a:moveTo>
                <a:cubicBezTo>
                  <a:pt x="19" y="79"/>
                  <a:pt x="20" y="77"/>
                  <a:pt x="21" y="77"/>
                </a:cubicBezTo>
                <a:cubicBezTo>
                  <a:pt x="24" y="77"/>
                  <a:pt x="24" y="77"/>
                  <a:pt x="24" y="77"/>
                </a:cubicBezTo>
                <a:cubicBezTo>
                  <a:pt x="25" y="77"/>
                  <a:pt x="27" y="79"/>
                  <a:pt x="27" y="80"/>
                </a:cubicBezTo>
                <a:cubicBezTo>
                  <a:pt x="27" y="81"/>
                  <a:pt x="25" y="83"/>
                  <a:pt x="24" y="83"/>
                </a:cubicBezTo>
                <a:cubicBezTo>
                  <a:pt x="21" y="83"/>
                  <a:pt x="21" y="83"/>
                  <a:pt x="21" y="83"/>
                </a:cubicBezTo>
                <a:cubicBezTo>
                  <a:pt x="20" y="83"/>
                  <a:pt x="19" y="81"/>
                  <a:pt x="19" y="80"/>
                </a:cubicBezTo>
                <a:close/>
                <a:moveTo>
                  <a:pt x="132" y="28"/>
                </a:moveTo>
                <a:cubicBezTo>
                  <a:pt x="131" y="27"/>
                  <a:pt x="131" y="25"/>
                  <a:pt x="132" y="24"/>
                </a:cubicBezTo>
                <a:cubicBezTo>
                  <a:pt x="134" y="22"/>
                  <a:pt x="134" y="22"/>
                  <a:pt x="134" y="22"/>
                </a:cubicBezTo>
                <a:cubicBezTo>
                  <a:pt x="135" y="21"/>
                  <a:pt x="137" y="21"/>
                  <a:pt x="138" y="22"/>
                </a:cubicBezTo>
                <a:cubicBezTo>
                  <a:pt x="139" y="23"/>
                  <a:pt x="139" y="25"/>
                  <a:pt x="138" y="26"/>
                </a:cubicBezTo>
                <a:cubicBezTo>
                  <a:pt x="136" y="28"/>
                  <a:pt x="136" y="28"/>
                  <a:pt x="136" y="28"/>
                </a:cubicBezTo>
                <a:cubicBezTo>
                  <a:pt x="135" y="28"/>
                  <a:pt x="135" y="29"/>
                  <a:pt x="134" y="29"/>
                </a:cubicBezTo>
                <a:cubicBezTo>
                  <a:pt x="133" y="29"/>
                  <a:pt x="133" y="28"/>
                  <a:pt x="132" y="28"/>
                </a:cubicBezTo>
                <a:close/>
                <a:moveTo>
                  <a:pt x="28" y="132"/>
                </a:moveTo>
                <a:cubicBezTo>
                  <a:pt x="29" y="133"/>
                  <a:pt x="29" y="135"/>
                  <a:pt x="28" y="136"/>
                </a:cubicBezTo>
                <a:cubicBezTo>
                  <a:pt x="26" y="137"/>
                  <a:pt x="26" y="137"/>
                  <a:pt x="26" y="137"/>
                </a:cubicBezTo>
                <a:cubicBezTo>
                  <a:pt x="26" y="138"/>
                  <a:pt x="25" y="138"/>
                  <a:pt x="24" y="138"/>
                </a:cubicBezTo>
                <a:cubicBezTo>
                  <a:pt x="24" y="138"/>
                  <a:pt x="23" y="138"/>
                  <a:pt x="23" y="137"/>
                </a:cubicBezTo>
                <a:cubicBezTo>
                  <a:pt x="21" y="136"/>
                  <a:pt x="21" y="135"/>
                  <a:pt x="23" y="134"/>
                </a:cubicBezTo>
                <a:cubicBezTo>
                  <a:pt x="24" y="132"/>
                  <a:pt x="24" y="132"/>
                  <a:pt x="24" y="132"/>
                </a:cubicBezTo>
                <a:cubicBezTo>
                  <a:pt x="25" y="131"/>
                  <a:pt x="27" y="131"/>
                  <a:pt x="28" y="132"/>
                </a:cubicBezTo>
                <a:close/>
                <a:moveTo>
                  <a:pt x="132" y="136"/>
                </a:moveTo>
                <a:cubicBezTo>
                  <a:pt x="131" y="135"/>
                  <a:pt x="131" y="133"/>
                  <a:pt x="132" y="132"/>
                </a:cubicBezTo>
                <a:cubicBezTo>
                  <a:pt x="133" y="131"/>
                  <a:pt x="135" y="131"/>
                  <a:pt x="136" y="132"/>
                </a:cubicBezTo>
                <a:cubicBezTo>
                  <a:pt x="137" y="134"/>
                  <a:pt x="137" y="134"/>
                  <a:pt x="137" y="134"/>
                </a:cubicBezTo>
                <a:cubicBezTo>
                  <a:pt x="139" y="135"/>
                  <a:pt x="139" y="136"/>
                  <a:pt x="137" y="137"/>
                </a:cubicBezTo>
                <a:cubicBezTo>
                  <a:pt x="137" y="138"/>
                  <a:pt x="136" y="138"/>
                  <a:pt x="136" y="138"/>
                </a:cubicBezTo>
                <a:cubicBezTo>
                  <a:pt x="135" y="138"/>
                  <a:pt x="134" y="138"/>
                  <a:pt x="134" y="137"/>
                </a:cubicBezTo>
                <a:lnTo>
                  <a:pt x="132" y="136"/>
                </a:lnTo>
                <a:close/>
                <a:moveTo>
                  <a:pt x="22" y="25"/>
                </a:moveTo>
                <a:cubicBezTo>
                  <a:pt x="21" y="24"/>
                  <a:pt x="21" y="23"/>
                  <a:pt x="22" y="22"/>
                </a:cubicBezTo>
                <a:cubicBezTo>
                  <a:pt x="23" y="21"/>
                  <a:pt x="24" y="21"/>
                  <a:pt x="25" y="22"/>
                </a:cubicBezTo>
                <a:cubicBezTo>
                  <a:pt x="27" y="23"/>
                  <a:pt x="27" y="23"/>
                  <a:pt x="27" y="23"/>
                </a:cubicBezTo>
                <a:cubicBezTo>
                  <a:pt x="28" y="24"/>
                  <a:pt x="28" y="26"/>
                  <a:pt x="27" y="27"/>
                </a:cubicBezTo>
                <a:cubicBezTo>
                  <a:pt x="27" y="28"/>
                  <a:pt x="26" y="28"/>
                  <a:pt x="25" y="28"/>
                </a:cubicBezTo>
                <a:cubicBezTo>
                  <a:pt x="25" y="28"/>
                  <a:pt x="24" y="28"/>
                  <a:pt x="23" y="27"/>
                </a:cubicBezTo>
                <a:lnTo>
                  <a:pt x="22" y="25"/>
                </a:lnTo>
                <a:close/>
                <a:moveTo>
                  <a:pt x="0" y="0"/>
                </a:moveTo>
                <a:cubicBezTo>
                  <a:pt x="0" y="160"/>
                  <a:pt x="0" y="160"/>
                  <a:pt x="0" y="160"/>
                </a:cubicBezTo>
                <a:cubicBezTo>
                  <a:pt x="160" y="160"/>
                  <a:pt x="160" y="160"/>
                  <a:pt x="160" y="160"/>
                </a:cubicBezTo>
                <a:cubicBezTo>
                  <a:pt x="160" y="0"/>
                  <a:pt x="160" y="0"/>
                  <a:pt x="160" y="0"/>
                </a:cubicBezTo>
                <a:lnTo>
                  <a:pt x="0" y="0"/>
                </a:lnTo>
                <a:close/>
                <a:moveTo>
                  <a:pt x="155" y="155"/>
                </a:moveTo>
                <a:cubicBezTo>
                  <a:pt x="5" y="155"/>
                  <a:pt x="5" y="155"/>
                  <a:pt x="5" y="155"/>
                </a:cubicBezTo>
                <a:cubicBezTo>
                  <a:pt x="5" y="5"/>
                  <a:pt x="5" y="5"/>
                  <a:pt x="5" y="5"/>
                </a:cubicBezTo>
                <a:cubicBezTo>
                  <a:pt x="155" y="5"/>
                  <a:pt x="155" y="5"/>
                  <a:pt x="155" y="5"/>
                </a:cubicBezTo>
                <a:lnTo>
                  <a:pt x="155" y="155"/>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7" name="Freeform 1094">
            <a:extLst>
              <a:ext uri="{FF2B5EF4-FFF2-40B4-BE49-F238E27FC236}">
                <a16:creationId xmlns:a16="http://schemas.microsoft.com/office/drawing/2014/main" id="{9654119D-1D9D-5346-A458-A5A129C8816B}"/>
              </a:ext>
            </a:extLst>
          </p:cNvPr>
          <p:cNvSpPr>
            <a:spLocks noEditPoints="1"/>
          </p:cNvSpPr>
          <p:nvPr/>
        </p:nvSpPr>
        <p:spPr bwMode="auto">
          <a:xfrm>
            <a:off x="4398845" y="5938838"/>
            <a:ext cx="546100" cy="539750"/>
          </a:xfrm>
          <a:custGeom>
            <a:avLst/>
            <a:gdLst>
              <a:gd name="T0" fmla="*/ 308 w 344"/>
              <a:gd name="T1" fmla="*/ 50 h 340"/>
              <a:gd name="T2" fmla="*/ 308 w 344"/>
              <a:gd name="T3" fmla="*/ 0 h 340"/>
              <a:gd name="T4" fmla="*/ 0 w 344"/>
              <a:gd name="T5" fmla="*/ 0 h 340"/>
              <a:gd name="T6" fmla="*/ 0 w 344"/>
              <a:gd name="T7" fmla="*/ 297 h 340"/>
              <a:gd name="T8" fmla="*/ 43 w 344"/>
              <a:gd name="T9" fmla="*/ 297 h 340"/>
              <a:gd name="T10" fmla="*/ 43 w 344"/>
              <a:gd name="T11" fmla="*/ 340 h 340"/>
              <a:gd name="T12" fmla="*/ 344 w 344"/>
              <a:gd name="T13" fmla="*/ 340 h 340"/>
              <a:gd name="T14" fmla="*/ 344 w 344"/>
              <a:gd name="T15" fmla="*/ 50 h 340"/>
              <a:gd name="T16" fmla="*/ 308 w 344"/>
              <a:gd name="T17" fmla="*/ 50 h 340"/>
              <a:gd name="T18" fmla="*/ 13 w 344"/>
              <a:gd name="T19" fmla="*/ 284 h 340"/>
              <a:gd name="T20" fmla="*/ 13 w 344"/>
              <a:gd name="T21" fmla="*/ 13 h 340"/>
              <a:gd name="T22" fmla="*/ 295 w 344"/>
              <a:gd name="T23" fmla="*/ 13 h 340"/>
              <a:gd name="T24" fmla="*/ 295 w 344"/>
              <a:gd name="T25" fmla="*/ 50 h 340"/>
              <a:gd name="T26" fmla="*/ 43 w 344"/>
              <a:gd name="T27" fmla="*/ 50 h 340"/>
              <a:gd name="T28" fmla="*/ 43 w 344"/>
              <a:gd name="T29" fmla="*/ 284 h 340"/>
              <a:gd name="T30" fmla="*/ 13 w 344"/>
              <a:gd name="T31" fmla="*/ 284 h 340"/>
              <a:gd name="T32" fmla="*/ 331 w 344"/>
              <a:gd name="T33" fmla="*/ 327 h 340"/>
              <a:gd name="T34" fmla="*/ 56 w 344"/>
              <a:gd name="T35" fmla="*/ 327 h 340"/>
              <a:gd name="T36" fmla="*/ 56 w 344"/>
              <a:gd name="T37" fmla="*/ 297 h 340"/>
              <a:gd name="T38" fmla="*/ 56 w 344"/>
              <a:gd name="T39" fmla="*/ 63 h 340"/>
              <a:gd name="T40" fmla="*/ 308 w 344"/>
              <a:gd name="T41" fmla="*/ 63 h 340"/>
              <a:gd name="T42" fmla="*/ 331 w 344"/>
              <a:gd name="T43" fmla="*/ 63 h 340"/>
              <a:gd name="T44" fmla="*/ 331 w 344"/>
              <a:gd name="T45" fmla="*/ 32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340">
                <a:moveTo>
                  <a:pt x="308" y="50"/>
                </a:moveTo>
                <a:lnTo>
                  <a:pt x="308" y="0"/>
                </a:lnTo>
                <a:lnTo>
                  <a:pt x="0" y="0"/>
                </a:lnTo>
                <a:lnTo>
                  <a:pt x="0" y="297"/>
                </a:lnTo>
                <a:lnTo>
                  <a:pt x="43" y="297"/>
                </a:lnTo>
                <a:lnTo>
                  <a:pt x="43" y="340"/>
                </a:lnTo>
                <a:lnTo>
                  <a:pt x="344" y="340"/>
                </a:lnTo>
                <a:lnTo>
                  <a:pt x="344" y="50"/>
                </a:lnTo>
                <a:lnTo>
                  <a:pt x="308" y="50"/>
                </a:lnTo>
                <a:close/>
                <a:moveTo>
                  <a:pt x="13" y="284"/>
                </a:moveTo>
                <a:lnTo>
                  <a:pt x="13" y="13"/>
                </a:lnTo>
                <a:lnTo>
                  <a:pt x="295" y="13"/>
                </a:lnTo>
                <a:lnTo>
                  <a:pt x="295" y="50"/>
                </a:lnTo>
                <a:lnTo>
                  <a:pt x="43" y="50"/>
                </a:lnTo>
                <a:lnTo>
                  <a:pt x="43" y="284"/>
                </a:lnTo>
                <a:lnTo>
                  <a:pt x="13" y="284"/>
                </a:lnTo>
                <a:close/>
                <a:moveTo>
                  <a:pt x="331" y="327"/>
                </a:moveTo>
                <a:lnTo>
                  <a:pt x="56" y="327"/>
                </a:lnTo>
                <a:lnTo>
                  <a:pt x="56" y="297"/>
                </a:lnTo>
                <a:lnTo>
                  <a:pt x="56" y="63"/>
                </a:lnTo>
                <a:lnTo>
                  <a:pt x="308" y="63"/>
                </a:lnTo>
                <a:lnTo>
                  <a:pt x="331" y="63"/>
                </a:lnTo>
                <a:lnTo>
                  <a:pt x="331" y="327"/>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8" name="Freeform 1095">
            <a:extLst>
              <a:ext uri="{FF2B5EF4-FFF2-40B4-BE49-F238E27FC236}">
                <a16:creationId xmlns:a16="http://schemas.microsoft.com/office/drawing/2014/main" id="{684CF96B-D31C-9246-8D2C-E335EC1A2877}"/>
              </a:ext>
            </a:extLst>
          </p:cNvPr>
          <p:cNvSpPr>
            <a:spLocks/>
          </p:cNvSpPr>
          <p:nvPr/>
        </p:nvSpPr>
        <p:spPr bwMode="auto">
          <a:xfrm>
            <a:off x="4617920" y="6159500"/>
            <a:ext cx="177800" cy="179388"/>
          </a:xfrm>
          <a:custGeom>
            <a:avLst/>
            <a:gdLst>
              <a:gd name="T0" fmla="*/ 51 w 52"/>
              <a:gd name="T1" fmla="*/ 2 h 52"/>
              <a:gd name="T2" fmla="*/ 47 w 52"/>
              <a:gd name="T3" fmla="*/ 2 h 52"/>
              <a:gd name="T4" fmla="*/ 26 w 52"/>
              <a:gd name="T5" fmla="*/ 22 h 52"/>
              <a:gd name="T6" fmla="*/ 6 w 52"/>
              <a:gd name="T7" fmla="*/ 2 h 52"/>
              <a:gd name="T8" fmla="*/ 1 w 52"/>
              <a:gd name="T9" fmla="*/ 2 h 52"/>
              <a:gd name="T10" fmla="*/ 1 w 52"/>
              <a:gd name="T11" fmla="*/ 6 h 52"/>
              <a:gd name="T12" fmla="*/ 22 w 52"/>
              <a:gd name="T13" fmla="*/ 26 h 52"/>
              <a:gd name="T14" fmla="*/ 1 w 52"/>
              <a:gd name="T15" fmla="*/ 47 h 52"/>
              <a:gd name="T16" fmla="*/ 1 w 52"/>
              <a:gd name="T17" fmla="*/ 51 h 52"/>
              <a:gd name="T18" fmla="*/ 4 w 52"/>
              <a:gd name="T19" fmla="*/ 52 h 52"/>
              <a:gd name="T20" fmla="*/ 6 w 52"/>
              <a:gd name="T21" fmla="*/ 51 h 52"/>
              <a:gd name="T22" fmla="*/ 26 w 52"/>
              <a:gd name="T23" fmla="*/ 30 h 52"/>
              <a:gd name="T24" fmla="*/ 47 w 52"/>
              <a:gd name="T25" fmla="*/ 51 h 52"/>
              <a:gd name="T26" fmla="*/ 49 w 52"/>
              <a:gd name="T27" fmla="*/ 52 h 52"/>
              <a:gd name="T28" fmla="*/ 51 w 52"/>
              <a:gd name="T29" fmla="*/ 51 h 52"/>
              <a:gd name="T30" fmla="*/ 51 w 52"/>
              <a:gd name="T31" fmla="*/ 47 h 52"/>
              <a:gd name="T32" fmla="*/ 30 w 52"/>
              <a:gd name="T33" fmla="*/ 26 h 52"/>
              <a:gd name="T34" fmla="*/ 51 w 52"/>
              <a:gd name="T35" fmla="*/ 6 h 52"/>
              <a:gd name="T36" fmla="*/ 51 w 52"/>
              <a:gd name="T3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52">
                <a:moveTo>
                  <a:pt x="51" y="2"/>
                </a:moveTo>
                <a:cubicBezTo>
                  <a:pt x="50" y="0"/>
                  <a:pt x="48" y="0"/>
                  <a:pt x="47" y="2"/>
                </a:cubicBezTo>
                <a:cubicBezTo>
                  <a:pt x="26" y="22"/>
                  <a:pt x="26" y="22"/>
                  <a:pt x="26" y="22"/>
                </a:cubicBezTo>
                <a:cubicBezTo>
                  <a:pt x="6" y="2"/>
                  <a:pt x="6" y="2"/>
                  <a:pt x="6" y="2"/>
                </a:cubicBezTo>
                <a:cubicBezTo>
                  <a:pt x="4" y="0"/>
                  <a:pt x="3" y="0"/>
                  <a:pt x="1" y="2"/>
                </a:cubicBezTo>
                <a:cubicBezTo>
                  <a:pt x="0" y="3"/>
                  <a:pt x="0" y="4"/>
                  <a:pt x="1" y="6"/>
                </a:cubicBezTo>
                <a:cubicBezTo>
                  <a:pt x="22" y="26"/>
                  <a:pt x="22" y="26"/>
                  <a:pt x="22" y="26"/>
                </a:cubicBezTo>
                <a:cubicBezTo>
                  <a:pt x="1" y="47"/>
                  <a:pt x="1" y="47"/>
                  <a:pt x="1" y="47"/>
                </a:cubicBezTo>
                <a:cubicBezTo>
                  <a:pt x="0" y="48"/>
                  <a:pt x="0" y="50"/>
                  <a:pt x="1" y="51"/>
                </a:cubicBezTo>
                <a:cubicBezTo>
                  <a:pt x="2" y="51"/>
                  <a:pt x="3" y="52"/>
                  <a:pt x="4" y="52"/>
                </a:cubicBezTo>
                <a:cubicBezTo>
                  <a:pt x="4" y="52"/>
                  <a:pt x="5" y="51"/>
                  <a:pt x="6" y="51"/>
                </a:cubicBezTo>
                <a:cubicBezTo>
                  <a:pt x="26" y="30"/>
                  <a:pt x="26" y="30"/>
                  <a:pt x="26" y="30"/>
                </a:cubicBezTo>
                <a:cubicBezTo>
                  <a:pt x="47" y="51"/>
                  <a:pt x="47" y="51"/>
                  <a:pt x="47" y="51"/>
                </a:cubicBezTo>
                <a:cubicBezTo>
                  <a:pt x="47" y="51"/>
                  <a:pt x="48" y="52"/>
                  <a:pt x="49" y="52"/>
                </a:cubicBezTo>
                <a:cubicBezTo>
                  <a:pt x="50" y="52"/>
                  <a:pt x="50" y="51"/>
                  <a:pt x="51" y="51"/>
                </a:cubicBezTo>
                <a:cubicBezTo>
                  <a:pt x="52" y="50"/>
                  <a:pt x="52" y="48"/>
                  <a:pt x="51" y="47"/>
                </a:cubicBezTo>
                <a:cubicBezTo>
                  <a:pt x="30" y="26"/>
                  <a:pt x="30" y="26"/>
                  <a:pt x="30" y="26"/>
                </a:cubicBezTo>
                <a:cubicBezTo>
                  <a:pt x="51" y="6"/>
                  <a:pt x="51" y="6"/>
                  <a:pt x="51" y="6"/>
                </a:cubicBezTo>
                <a:cubicBezTo>
                  <a:pt x="52" y="4"/>
                  <a:pt x="52" y="3"/>
                  <a:pt x="51" y="2"/>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9" name="Freeform 1096">
            <a:extLst>
              <a:ext uri="{FF2B5EF4-FFF2-40B4-BE49-F238E27FC236}">
                <a16:creationId xmlns:a16="http://schemas.microsoft.com/office/drawing/2014/main" id="{1ABA2975-93F7-F54F-9630-E03919F141EA}"/>
              </a:ext>
            </a:extLst>
          </p:cNvPr>
          <p:cNvSpPr>
            <a:spLocks noEditPoints="1"/>
          </p:cNvSpPr>
          <p:nvPr/>
        </p:nvSpPr>
        <p:spPr bwMode="auto">
          <a:xfrm>
            <a:off x="5354520" y="392113"/>
            <a:ext cx="546100" cy="485775"/>
          </a:xfrm>
          <a:custGeom>
            <a:avLst/>
            <a:gdLst>
              <a:gd name="T0" fmla="*/ 128 w 160"/>
              <a:gd name="T1" fmla="*/ 107 h 141"/>
              <a:gd name="T2" fmla="*/ 115 w 160"/>
              <a:gd name="T3" fmla="*/ 104 h 141"/>
              <a:gd name="T4" fmla="*/ 128 w 160"/>
              <a:gd name="T5" fmla="*/ 101 h 141"/>
              <a:gd name="T6" fmla="*/ 133 w 160"/>
              <a:gd name="T7" fmla="*/ 48 h 141"/>
              <a:gd name="T8" fmla="*/ 120 w 160"/>
              <a:gd name="T9" fmla="*/ 48 h 141"/>
              <a:gd name="T10" fmla="*/ 120 w 160"/>
              <a:gd name="T11" fmla="*/ 43 h 141"/>
              <a:gd name="T12" fmla="*/ 91 w 160"/>
              <a:gd name="T13" fmla="*/ 5 h 141"/>
              <a:gd name="T14" fmla="*/ 67 w 160"/>
              <a:gd name="T15" fmla="*/ 40 h 141"/>
              <a:gd name="T16" fmla="*/ 61 w 160"/>
              <a:gd name="T17" fmla="*/ 40 h 141"/>
              <a:gd name="T18" fmla="*/ 51 w 160"/>
              <a:gd name="T19" fmla="*/ 23 h 141"/>
              <a:gd name="T20" fmla="*/ 48 w 160"/>
              <a:gd name="T21" fmla="*/ 22 h 141"/>
              <a:gd name="T22" fmla="*/ 46 w 160"/>
              <a:gd name="T23" fmla="*/ 22 h 141"/>
              <a:gd name="T24" fmla="*/ 43 w 160"/>
              <a:gd name="T25" fmla="*/ 21 h 141"/>
              <a:gd name="T26" fmla="*/ 24 w 160"/>
              <a:gd name="T27" fmla="*/ 41 h 141"/>
              <a:gd name="T28" fmla="*/ 24 w 160"/>
              <a:gd name="T29" fmla="*/ 42 h 141"/>
              <a:gd name="T30" fmla="*/ 24 w 160"/>
              <a:gd name="T31" fmla="*/ 44 h 141"/>
              <a:gd name="T32" fmla="*/ 5 w 160"/>
              <a:gd name="T33" fmla="*/ 72 h 141"/>
              <a:gd name="T34" fmla="*/ 48 w 160"/>
              <a:gd name="T35" fmla="*/ 101 h 141"/>
              <a:gd name="T36" fmla="*/ 48 w 160"/>
              <a:gd name="T37" fmla="*/ 107 h 141"/>
              <a:gd name="T38" fmla="*/ 0 w 160"/>
              <a:gd name="T39" fmla="*/ 72 h 141"/>
              <a:gd name="T40" fmla="*/ 19 w 160"/>
              <a:gd name="T41" fmla="*/ 40 h 141"/>
              <a:gd name="T42" fmla="*/ 45 w 160"/>
              <a:gd name="T43" fmla="*/ 16 h 141"/>
              <a:gd name="T44" fmla="*/ 48 w 160"/>
              <a:gd name="T45" fmla="*/ 17 h 141"/>
              <a:gd name="T46" fmla="*/ 51 w 160"/>
              <a:gd name="T47" fmla="*/ 17 h 141"/>
              <a:gd name="T48" fmla="*/ 53 w 160"/>
              <a:gd name="T49" fmla="*/ 18 h 141"/>
              <a:gd name="T50" fmla="*/ 91 w 160"/>
              <a:gd name="T51" fmla="*/ 0 h 141"/>
              <a:gd name="T52" fmla="*/ 160 w 160"/>
              <a:gd name="T53" fmla="*/ 75 h 141"/>
              <a:gd name="T54" fmla="*/ 104 w 160"/>
              <a:gd name="T55" fmla="*/ 83 h 141"/>
              <a:gd name="T56" fmla="*/ 106 w 160"/>
              <a:gd name="T57" fmla="*/ 78 h 141"/>
              <a:gd name="T58" fmla="*/ 84 w 160"/>
              <a:gd name="T59" fmla="*/ 56 h 141"/>
              <a:gd name="T60" fmla="*/ 81 w 160"/>
              <a:gd name="T61" fmla="*/ 57 h 141"/>
              <a:gd name="T62" fmla="*/ 59 w 160"/>
              <a:gd name="T63" fmla="*/ 82 h 141"/>
              <a:gd name="T64" fmla="*/ 63 w 160"/>
              <a:gd name="T65" fmla="*/ 82 h 141"/>
              <a:gd name="T66" fmla="*/ 80 w 160"/>
              <a:gd name="T67" fmla="*/ 132 h 141"/>
              <a:gd name="T68" fmla="*/ 59 w 160"/>
              <a:gd name="T69" fmla="*/ 115 h 141"/>
              <a:gd name="T70" fmla="*/ 81 w 160"/>
              <a:gd name="T71" fmla="*/ 141 h 141"/>
              <a:gd name="T72" fmla="*/ 83 w 160"/>
              <a:gd name="T73" fmla="*/ 141 h 141"/>
              <a:gd name="T74" fmla="*/ 85 w 160"/>
              <a:gd name="T75" fmla="*/ 141 h 141"/>
              <a:gd name="T76" fmla="*/ 106 w 160"/>
              <a:gd name="T77" fmla="*/ 115 h 141"/>
              <a:gd name="T78" fmla="*/ 85 w 160"/>
              <a:gd name="T79" fmla="*/ 132 h 141"/>
              <a:gd name="T80" fmla="*/ 102 w 160"/>
              <a:gd name="T81" fmla="*/ 8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 h="141">
                <a:moveTo>
                  <a:pt x="160" y="75"/>
                </a:moveTo>
                <a:cubicBezTo>
                  <a:pt x="160" y="92"/>
                  <a:pt x="146" y="107"/>
                  <a:pt x="128" y="107"/>
                </a:cubicBezTo>
                <a:cubicBezTo>
                  <a:pt x="117" y="107"/>
                  <a:pt x="117" y="107"/>
                  <a:pt x="117" y="107"/>
                </a:cubicBezTo>
                <a:cubicBezTo>
                  <a:pt x="116" y="107"/>
                  <a:pt x="115" y="105"/>
                  <a:pt x="115" y="104"/>
                </a:cubicBezTo>
                <a:cubicBezTo>
                  <a:pt x="115" y="103"/>
                  <a:pt x="116" y="101"/>
                  <a:pt x="117" y="101"/>
                </a:cubicBezTo>
                <a:cubicBezTo>
                  <a:pt x="128" y="101"/>
                  <a:pt x="128" y="101"/>
                  <a:pt x="128" y="101"/>
                </a:cubicBezTo>
                <a:cubicBezTo>
                  <a:pt x="143" y="101"/>
                  <a:pt x="155" y="89"/>
                  <a:pt x="155" y="75"/>
                </a:cubicBezTo>
                <a:cubicBezTo>
                  <a:pt x="155" y="62"/>
                  <a:pt x="145" y="50"/>
                  <a:pt x="133" y="48"/>
                </a:cubicBezTo>
                <a:cubicBezTo>
                  <a:pt x="133" y="48"/>
                  <a:pt x="126" y="47"/>
                  <a:pt x="120" y="48"/>
                </a:cubicBezTo>
                <a:cubicBezTo>
                  <a:pt x="120" y="48"/>
                  <a:pt x="120" y="48"/>
                  <a:pt x="120" y="48"/>
                </a:cubicBezTo>
                <a:cubicBezTo>
                  <a:pt x="119" y="48"/>
                  <a:pt x="118" y="47"/>
                  <a:pt x="117" y="46"/>
                </a:cubicBezTo>
                <a:cubicBezTo>
                  <a:pt x="117" y="44"/>
                  <a:pt x="118" y="43"/>
                  <a:pt x="120" y="43"/>
                </a:cubicBezTo>
                <a:cubicBezTo>
                  <a:pt x="124" y="42"/>
                  <a:pt x="128" y="42"/>
                  <a:pt x="130" y="42"/>
                </a:cubicBezTo>
                <a:cubicBezTo>
                  <a:pt x="129" y="22"/>
                  <a:pt x="112" y="5"/>
                  <a:pt x="91" y="5"/>
                </a:cubicBezTo>
                <a:cubicBezTo>
                  <a:pt x="78" y="5"/>
                  <a:pt x="66" y="12"/>
                  <a:pt x="58" y="22"/>
                </a:cubicBezTo>
                <a:cubicBezTo>
                  <a:pt x="63" y="26"/>
                  <a:pt x="67" y="33"/>
                  <a:pt x="67" y="40"/>
                </a:cubicBezTo>
                <a:cubicBezTo>
                  <a:pt x="67" y="41"/>
                  <a:pt x="65" y="43"/>
                  <a:pt x="64" y="43"/>
                </a:cubicBezTo>
                <a:cubicBezTo>
                  <a:pt x="63" y="43"/>
                  <a:pt x="61" y="41"/>
                  <a:pt x="61" y="40"/>
                </a:cubicBezTo>
                <a:cubicBezTo>
                  <a:pt x="61" y="33"/>
                  <a:pt x="58" y="28"/>
                  <a:pt x="53" y="24"/>
                </a:cubicBezTo>
                <a:cubicBezTo>
                  <a:pt x="52" y="24"/>
                  <a:pt x="52" y="24"/>
                  <a:pt x="51" y="23"/>
                </a:cubicBezTo>
                <a:cubicBezTo>
                  <a:pt x="51" y="23"/>
                  <a:pt x="51" y="23"/>
                  <a:pt x="50" y="23"/>
                </a:cubicBezTo>
                <a:cubicBezTo>
                  <a:pt x="50" y="23"/>
                  <a:pt x="49" y="22"/>
                  <a:pt x="48" y="22"/>
                </a:cubicBezTo>
                <a:cubicBezTo>
                  <a:pt x="48" y="22"/>
                  <a:pt x="48" y="22"/>
                  <a:pt x="48" y="22"/>
                </a:cubicBezTo>
                <a:cubicBezTo>
                  <a:pt x="47" y="22"/>
                  <a:pt x="46" y="22"/>
                  <a:pt x="46" y="22"/>
                </a:cubicBezTo>
                <a:cubicBezTo>
                  <a:pt x="46" y="22"/>
                  <a:pt x="45" y="22"/>
                  <a:pt x="45" y="22"/>
                </a:cubicBezTo>
                <a:cubicBezTo>
                  <a:pt x="44" y="21"/>
                  <a:pt x="43" y="21"/>
                  <a:pt x="43" y="21"/>
                </a:cubicBezTo>
                <a:cubicBezTo>
                  <a:pt x="32" y="21"/>
                  <a:pt x="24" y="30"/>
                  <a:pt x="24" y="40"/>
                </a:cubicBezTo>
                <a:cubicBezTo>
                  <a:pt x="24" y="40"/>
                  <a:pt x="24" y="40"/>
                  <a:pt x="24" y="41"/>
                </a:cubicBezTo>
                <a:cubicBezTo>
                  <a:pt x="24" y="41"/>
                  <a:pt x="24" y="41"/>
                  <a:pt x="24" y="41"/>
                </a:cubicBezTo>
                <a:cubicBezTo>
                  <a:pt x="24" y="42"/>
                  <a:pt x="24" y="42"/>
                  <a:pt x="24" y="42"/>
                </a:cubicBezTo>
                <a:cubicBezTo>
                  <a:pt x="24" y="42"/>
                  <a:pt x="24" y="42"/>
                  <a:pt x="24" y="43"/>
                </a:cubicBezTo>
                <a:cubicBezTo>
                  <a:pt x="24" y="44"/>
                  <a:pt x="24" y="44"/>
                  <a:pt x="24" y="44"/>
                </a:cubicBezTo>
                <a:cubicBezTo>
                  <a:pt x="22" y="45"/>
                  <a:pt x="22" y="45"/>
                  <a:pt x="22" y="45"/>
                </a:cubicBezTo>
                <a:cubicBezTo>
                  <a:pt x="13" y="50"/>
                  <a:pt x="5" y="61"/>
                  <a:pt x="5" y="72"/>
                </a:cubicBezTo>
                <a:cubicBezTo>
                  <a:pt x="5" y="88"/>
                  <a:pt x="18" y="101"/>
                  <a:pt x="34" y="101"/>
                </a:cubicBezTo>
                <a:cubicBezTo>
                  <a:pt x="48" y="101"/>
                  <a:pt x="48" y="101"/>
                  <a:pt x="48" y="101"/>
                </a:cubicBezTo>
                <a:cubicBezTo>
                  <a:pt x="49" y="101"/>
                  <a:pt x="51" y="103"/>
                  <a:pt x="51" y="104"/>
                </a:cubicBezTo>
                <a:cubicBezTo>
                  <a:pt x="51" y="105"/>
                  <a:pt x="49" y="107"/>
                  <a:pt x="48" y="107"/>
                </a:cubicBezTo>
                <a:cubicBezTo>
                  <a:pt x="34" y="107"/>
                  <a:pt x="34" y="107"/>
                  <a:pt x="34" y="107"/>
                </a:cubicBezTo>
                <a:cubicBezTo>
                  <a:pt x="15" y="107"/>
                  <a:pt x="0" y="91"/>
                  <a:pt x="0" y="72"/>
                </a:cubicBezTo>
                <a:cubicBezTo>
                  <a:pt x="0" y="60"/>
                  <a:pt x="8" y="47"/>
                  <a:pt x="19" y="41"/>
                </a:cubicBezTo>
                <a:cubicBezTo>
                  <a:pt x="19" y="41"/>
                  <a:pt x="19" y="40"/>
                  <a:pt x="19" y="40"/>
                </a:cubicBezTo>
                <a:cubicBezTo>
                  <a:pt x="19" y="27"/>
                  <a:pt x="29" y="16"/>
                  <a:pt x="43" y="16"/>
                </a:cubicBezTo>
                <a:cubicBezTo>
                  <a:pt x="44" y="16"/>
                  <a:pt x="44" y="16"/>
                  <a:pt x="45" y="16"/>
                </a:cubicBezTo>
                <a:cubicBezTo>
                  <a:pt x="46" y="16"/>
                  <a:pt x="46" y="16"/>
                  <a:pt x="46" y="16"/>
                </a:cubicBezTo>
                <a:cubicBezTo>
                  <a:pt x="47" y="16"/>
                  <a:pt x="47" y="16"/>
                  <a:pt x="48" y="17"/>
                </a:cubicBezTo>
                <a:cubicBezTo>
                  <a:pt x="48" y="17"/>
                  <a:pt x="49" y="17"/>
                  <a:pt x="49" y="17"/>
                </a:cubicBezTo>
                <a:cubicBezTo>
                  <a:pt x="49" y="17"/>
                  <a:pt x="50" y="17"/>
                  <a:pt x="51" y="17"/>
                </a:cubicBezTo>
                <a:cubicBezTo>
                  <a:pt x="51" y="17"/>
                  <a:pt x="51" y="18"/>
                  <a:pt x="51" y="18"/>
                </a:cubicBezTo>
                <a:cubicBezTo>
                  <a:pt x="52" y="18"/>
                  <a:pt x="53" y="18"/>
                  <a:pt x="53" y="18"/>
                </a:cubicBezTo>
                <a:cubicBezTo>
                  <a:pt x="53" y="19"/>
                  <a:pt x="54" y="19"/>
                  <a:pt x="54" y="19"/>
                </a:cubicBezTo>
                <a:cubicBezTo>
                  <a:pt x="62" y="7"/>
                  <a:pt x="76" y="0"/>
                  <a:pt x="91" y="0"/>
                </a:cubicBezTo>
                <a:cubicBezTo>
                  <a:pt x="115" y="0"/>
                  <a:pt x="135" y="19"/>
                  <a:pt x="136" y="43"/>
                </a:cubicBezTo>
                <a:cubicBezTo>
                  <a:pt x="150" y="47"/>
                  <a:pt x="160" y="60"/>
                  <a:pt x="160" y="75"/>
                </a:cubicBezTo>
                <a:close/>
                <a:moveTo>
                  <a:pt x="102" y="82"/>
                </a:moveTo>
                <a:cubicBezTo>
                  <a:pt x="103" y="82"/>
                  <a:pt x="103" y="83"/>
                  <a:pt x="104" y="83"/>
                </a:cubicBezTo>
                <a:cubicBezTo>
                  <a:pt x="105" y="83"/>
                  <a:pt x="105" y="82"/>
                  <a:pt x="106" y="82"/>
                </a:cubicBezTo>
                <a:cubicBezTo>
                  <a:pt x="107" y="81"/>
                  <a:pt x="107" y="79"/>
                  <a:pt x="106" y="78"/>
                </a:cubicBezTo>
                <a:cubicBezTo>
                  <a:pt x="85" y="57"/>
                  <a:pt x="85" y="57"/>
                  <a:pt x="85" y="57"/>
                </a:cubicBezTo>
                <a:cubicBezTo>
                  <a:pt x="84" y="57"/>
                  <a:pt x="84" y="56"/>
                  <a:pt x="84" y="56"/>
                </a:cubicBezTo>
                <a:cubicBezTo>
                  <a:pt x="83" y="56"/>
                  <a:pt x="82" y="56"/>
                  <a:pt x="82" y="56"/>
                </a:cubicBezTo>
                <a:cubicBezTo>
                  <a:pt x="81" y="56"/>
                  <a:pt x="81" y="57"/>
                  <a:pt x="81" y="57"/>
                </a:cubicBezTo>
                <a:cubicBezTo>
                  <a:pt x="59" y="78"/>
                  <a:pt x="59" y="78"/>
                  <a:pt x="59" y="78"/>
                </a:cubicBezTo>
                <a:cubicBezTo>
                  <a:pt x="58" y="79"/>
                  <a:pt x="58" y="81"/>
                  <a:pt x="59" y="82"/>
                </a:cubicBezTo>
                <a:cubicBezTo>
                  <a:pt x="60" y="82"/>
                  <a:pt x="61" y="83"/>
                  <a:pt x="61" y="83"/>
                </a:cubicBezTo>
                <a:cubicBezTo>
                  <a:pt x="62" y="83"/>
                  <a:pt x="63" y="82"/>
                  <a:pt x="63" y="82"/>
                </a:cubicBezTo>
                <a:cubicBezTo>
                  <a:pt x="80" y="65"/>
                  <a:pt x="80" y="65"/>
                  <a:pt x="80" y="65"/>
                </a:cubicBezTo>
                <a:cubicBezTo>
                  <a:pt x="80" y="132"/>
                  <a:pt x="80" y="132"/>
                  <a:pt x="80" y="132"/>
                </a:cubicBezTo>
                <a:cubicBezTo>
                  <a:pt x="63" y="115"/>
                  <a:pt x="63" y="115"/>
                  <a:pt x="63" y="115"/>
                </a:cubicBezTo>
                <a:cubicBezTo>
                  <a:pt x="62" y="114"/>
                  <a:pt x="60" y="114"/>
                  <a:pt x="59" y="115"/>
                </a:cubicBezTo>
                <a:cubicBezTo>
                  <a:pt x="58" y="116"/>
                  <a:pt x="58" y="118"/>
                  <a:pt x="59" y="119"/>
                </a:cubicBezTo>
                <a:cubicBezTo>
                  <a:pt x="81" y="141"/>
                  <a:pt x="81" y="141"/>
                  <a:pt x="81" y="141"/>
                </a:cubicBezTo>
                <a:cubicBezTo>
                  <a:pt x="81" y="141"/>
                  <a:pt x="81" y="141"/>
                  <a:pt x="82" y="141"/>
                </a:cubicBezTo>
                <a:cubicBezTo>
                  <a:pt x="82" y="141"/>
                  <a:pt x="82" y="141"/>
                  <a:pt x="83" y="141"/>
                </a:cubicBezTo>
                <a:cubicBezTo>
                  <a:pt x="83" y="141"/>
                  <a:pt x="83" y="141"/>
                  <a:pt x="84" y="141"/>
                </a:cubicBezTo>
                <a:cubicBezTo>
                  <a:pt x="84" y="141"/>
                  <a:pt x="84" y="141"/>
                  <a:pt x="85" y="141"/>
                </a:cubicBezTo>
                <a:cubicBezTo>
                  <a:pt x="106" y="119"/>
                  <a:pt x="106" y="119"/>
                  <a:pt x="106" y="119"/>
                </a:cubicBezTo>
                <a:cubicBezTo>
                  <a:pt x="107" y="118"/>
                  <a:pt x="107" y="116"/>
                  <a:pt x="106" y="115"/>
                </a:cubicBezTo>
                <a:cubicBezTo>
                  <a:pt x="105" y="114"/>
                  <a:pt x="103" y="114"/>
                  <a:pt x="102" y="115"/>
                </a:cubicBezTo>
                <a:cubicBezTo>
                  <a:pt x="85" y="132"/>
                  <a:pt x="85" y="132"/>
                  <a:pt x="85" y="132"/>
                </a:cubicBezTo>
                <a:cubicBezTo>
                  <a:pt x="85" y="65"/>
                  <a:pt x="85" y="65"/>
                  <a:pt x="85" y="65"/>
                </a:cubicBezTo>
                <a:lnTo>
                  <a:pt x="102" y="82"/>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0" name="Freeform 1097">
            <a:extLst>
              <a:ext uri="{FF2B5EF4-FFF2-40B4-BE49-F238E27FC236}">
                <a16:creationId xmlns:a16="http://schemas.microsoft.com/office/drawing/2014/main" id="{9B9259AC-98B4-514B-9C78-C5A4499126A7}"/>
              </a:ext>
            </a:extLst>
          </p:cNvPr>
          <p:cNvSpPr>
            <a:spLocks noEditPoints="1"/>
          </p:cNvSpPr>
          <p:nvPr/>
        </p:nvSpPr>
        <p:spPr bwMode="auto">
          <a:xfrm>
            <a:off x="5354520" y="1025525"/>
            <a:ext cx="546100" cy="468313"/>
          </a:xfrm>
          <a:custGeom>
            <a:avLst/>
            <a:gdLst>
              <a:gd name="T0" fmla="*/ 128 w 160"/>
              <a:gd name="T1" fmla="*/ 107 h 136"/>
              <a:gd name="T2" fmla="*/ 115 w 160"/>
              <a:gd name="T3" fmla="*/ 104 h 136"/>
              <a:gd name="T4" fmla="*/ 128 w 160"/>
              <a:gd name="T5" fmla="*/ 101 h 136"/>
              <a:gd name="T6" fmla="*/ 133 w 160"/>
              <a:gd name="T7" fmla="*/ 48 h 136"/>
              <a:gd name="T8" fmla="*/ 120 w 160"/>
              <a:gd name="T9" fmla="*/ 48 h 136"/>
              <a:gd name="T10" fmla="*/ 120 w 160"/>
              <a:gd name="T11" fmla="*/ 43 h 136"/>
              <a:gd name="T12" fmla="*/ 91 w 160"/>
              <a:gd name="T13" fmla="*/ 5 h 136"/>
              <a:gd name="T14" fmla="*/ 67 w 160"/>
              <a:gd name="T15" fmla="*/ 40 h 136"/>
              <a:gd name="T16" fmla="*/ 61 w 160"/>
              <a:gd name="T17" fmla="*/ 40 h 136"/>
              <a:gd name="T18" fmla="*/ 51 w 160"/>
              <a:gd name="T19" fmla="*/ 23 h 136"/>
              <a:gd name="T20" fmla="*/ 48 w 160"/>
              <a:gd name="T21" fmla="*/ 22 h 136"/>
              <a:gd name="T22" fmla="*/ 46 w 160"/>
              <a:gd name="T23" fmla="*/ 22 h 136"/>
              <a:gd name="T24" fmla="*/ 43 w 160"/>
              <a:gd name="T25" fmla="*/ 21 h 136"/>
              <a:gd name="T26" fmla="*/ 24 w 160"/>
              <a:gd name="T27" fmla="*/ 41 h 136"/>
              <a:gd name="T28" fmla="*/ 24 w 160"/>
              <a:gd name="T29" fmla="*/ 42 h 136"/>
              <a:gd name="T30" fmla="*/ 24 w 160"/>
              <a:gd name="T31" fmla="*/ 44 h 136"/>
              <a:gd name="T32" fmla="*/ 5 w 160"/>
              <a:gd name="T33" fmla="*/ 72 h 136"/>
              <a:gd name="T34" fmla="*/ 48 w 160"/>
              <a:gd name="T35" fmla="*/ 101 h 136"/>
              <a:gd name="T36" fmla="*/ 48 w 160"/>
              <a:gd name="T37" fmla="*/ 107 h 136"/>
              <a:gd name="T38" fmla="*/ 0 w 160"/>
              <a:gd name="T39" fmla="*/ 72 h 136"/>
              <a:gd name="T40" fmla="*/ 19 w 160"/>
              <a:gd name="T41" fmla="*/ 40 h 136"/>
              <a:gd name="T42" fmla="*/ 45 w 160"/>
              <a:gd name="T43" fmla="*/ 16 h 136"/>
              <a:gd name="T44" fmla="*/ 48 w 160"/>
              <a:gd name="T45" fmla="*/ 17 h 136"/>
              <a:gd name="T46" fmla="*/ 51 w 160"/>
              <a:gd name="T47" fmla="*/ 17 h 136"/>
              <a:gd name="T48" fmla="*/ 53 w 160"/>
              <a:gd name="T49" fmla="*/ 18 h 136"/>
              <a:gd name="T50" fmla="*/ 91 w 160"/>
              <a:gd name="T51" fmla="*/ 0 h 136"/>
              <a:gd name="T52" fmla="*/ 160 w 160"/>
              <a:gd name="T53" fmla="*/ 75 h 136"/>
              <a:gd name="T54" fmla="*/ 84 w 160"/>
              <a:gd name="T55" fmla="*/ 70 h 136"/>
              <a:gd name="T56" fmla="*/ 81 w 160"/>
              <a:gd name="T57" fmla="*/ 70 h 136"/>
              <a:gd name="T58" fmla="*/ 59 w 160"/>
              <a:gd name="T59" fmla="*/ 95 h 136"/>
              <a:gd name="T60" fmla="*/ 63 w 160"/>
              <a:gd name="T61" fmla="*/ 95 h 136"/>
              <a:gd name="T62" fmla="*/ 80 w 160"/>
              <a:gd name="T63" fmla="*/ 133 h 136"/>
              <a:gd name="T64" fmla="*/ 85 w 160"/>
              <a:gd name="T65" fmla="*/ 133 h 136"/>
              <a:gd name="T66" fmla="*/ 102 w 160"/>
              <a:gd name="T67" fmla="*/ 95 h 136"/>
              <a:gd name="T68" fmla="*/ 106 w 160"/>
              <a:gd name="T69" fmla="*/ 95 h 136"/>
              <a:gd name="T70" fmla="*/ 85 w 160"/>
              <a:gd name="T71" fmla="*/ 7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36">
                <a:moveTo>
                  <a:pt x="160" y="75"/>
                </a:moveTo>
                <a:cubicBezTo>
                  <a:pt x="160" y="92"/>
                  <a:pt x="146" y="107"/>
                  <a:pt x="128" y="107"/>
                </a:cubicBezTo>
                <a:cubicBezTo>
                  <a:pt x="117" y="107"/>
                  <a:pt x="117" y="107"/>
                  <a:pt x="117" y="107"/>
                </a:cubicBezTo>
                <a:cubicBezTo>
                  <a:pt x="116" y="107"/>
                  <a:pt x="115" y="105"/>
                  <a:pt x="115" y="104"/>
                </a:cubicBezTo>
                <a:cubicBezTo>
                  <a:pt x="115" y="103"/>
                  <a:pt x="116" y="101"/>
                  <a:pt x="117" y="101"/>
                </a:cubicBezTo>
                <a:cubicBezTo>
                  <a:pt x="128" y="101"/>
                  <a:pt x="128" y="101"/>
                  <a:pt x="128" y="101"/>
                </a:cubicBezTo>
                <a:cubicBezTo>
                  <a:pt x="143" y="101"/>
                  <a:pt x="155" y="89"/>
                  <a:pt x="155" y="75"/>
                </a:cubicBezTo>
                <a:cubicBezTo>
                  <a:pt x="155" y="62"/>
                  <a:pt x="145" y="50"/>
                  <a:pt x="133" y="48"/>
                </a:cubicBezTo>
                <a:cubicBezTo>
                  <a:pt x="133" y="48"/>
                  <a:pt x="126" y="47"/>
                  <a:pt x="120" y="48"/>
                </a:cubicBezTo>
                <a:cubicBezTo>
                  <a:pt x="120" y="48"/>
                  <a:pt x="120" y="48"/>
                  <a:pt x="120" y="48"/>
                </a:cubicBezTo>
                <a:cubicBezTo>
                  <a:pt x="119" y="48"/>
                  <a:pt x="118" y="47"/>
                  <a:pt x="117" y="46"/>
                </a:cubicBezTo>
                <a:cubicBezTo>
                  <a:pt x="117" y="44"/>
                  <a:pt x="118" y="43"/>
                  <a:pt x="120" y="43"/>
                </a:cubicBezTo>
                <a:cubicBezTo>
                  <a:pt x="124" y="42"/>
                  <a:pt x="128" y="42"/>
                  <a:pt x="130" y="42"/>
                </a:cubicBezTo>
                <a:cubicBezTo>
                  <a:pt x="129" y="22"/>
                  <a:pt x="112" y="5"/>
                  <a:pt x="91" y="5"/>
                </a:cubicBezTo>
                <a:cubicBezTo>
                  <a:pt x="78" y="5"/>
                  <a:pt x="66" y="12"/>
                  <a:pt x="58" y="22"/>
                </a:cubicBezTo>
                <a:cubicBezTo>
                  <a:pt x="63" y="26"/>
                  <a:pt x="67" y="33"/>
                  <a:pt x="67" y="40"/>
                </a:cubicBezTo>
                <a:cubicBezTo>
                  <a:pt x="67" y="41"/>
                  <a:pt x="65" y="43"/>
                  <a:pt x="64" y="43"/>
                </a:cubicBezTo>
                <a:cubicBezTo>
                  <a:pt x="63" y="43"/>
                  <a:pt x="61" y="41"/>
                  <a:pt x="61" y="40"/>
                </a:cubicBezTo>
                <a:cubicBezTo>
                  <a:pt x="61" y="33"/>
                  <a:pt x="58" y="28"/>
                  <a:pt x="53" y="24"/>
                </a:cubicBezTo>
                <a:cubicBezTo>
                  <a:pt x="52" y="24"/>
                  <a:pt x="52" y="24"/>
                  <a:pt x="51" y="23"/>
                </a:cubicBezTo>
                <a:cubicBezTo>
                  <a:pt x="51" y="23"/>
                  <a:pt x="51" y="23"/>
                  <a:pt x="50" y="23"/>
                </a:cubicBezTo>
                <a:cubicBezTo>
                  <a:pt x="50" y="23"/>
                  <a:pt x="49" y="22"/>
                  <a:pt x="48" y="22"/>
                </a:cubicBezTo>
                <a:cubicBezTo>
                  <a:pt x="48" y="22"/>
                  <a:pt x="48" y="22"/>
                  <a:pt x="48" y="22"/>
                </a:cubicBezTo>
                <a:cubicBezTo>
                  <a:pt x="47" y="22"/>
                  <a:pt x="46" y="22"/>
                  <a:pt x="46" y="22"/>
                </a:cubicBezTo>
                <a:cubicBezTo>
                  <a:pt x="46" y="22"/>
                  <a:pt x="45" y="22"/>
                  <a:pt x="45" y="22"/>
                </a:cubicBezTo>
                <a:cubicBezTo>
                  <a:pt x="44" y="21"/>
                  <a:pt x="43" y="21"/>
                  <a:pt x="43" y="21"/>
                </a:cubicBezTo>
                <a:cubicBezTo>
                  <a:pt x="32" y="21"/>
                  <a:pt x="24" y="30"/>
                  <a:pt x="24" y="40"/>
                </a:cubicBezTo>
                <a:cubicBezTo>
                  <a:pt x="24" y="40"/>
                  <a:pt x="24" y="40"/>
                  <a:pt x="24" y="41"/>
                </a:cubicBezTo>
                <a:cubicBezTo>
                  <a:pt x="24" y="41"/>
                  <a:pt x="24" y="41"/>
                  <a:pt x="24" y="41"/>
                </a:cubicBezTo>
                <a:cubicBezTo>
                  <a:pt x="24" y="42"/>
                  <a:pt x="24" y="42"/>
                  <a:pt x="24" y="42"/>
                </a:cubicBezTo>
                <a:cubicBezTo>
                  <a:pt x="24" y="42"/>
                  <a:pt x="24" y="42"/>
                  <a:pt x="24" y="43"/>
                </a:cubicBezTo>
                <a:cubicBezTo>
                  <a:pt x="24" y="44"/>
                  <a:pt x="24" y="44"/>
                  <a:pt x="24" y="44"/>
                </a:cubicBezTo>
                <a:cubicBezTo>
                  <a:pt x="22" y="45"/>
                  <a:pt x="22" y="45"/>
                  <a:pt x="22" y="45"/>
                </a:cubicBezTo>
                <a:cubicBezTo>
                  <a:pt x="13" y="50"/>
                  <a:pt x="5" y="61"/>
                  <a:pt x="5" y="72"/>
                </a:cubicBezTo>
                <a:cubicBezTo>
                  <a:pt x="5" y="88"/>
                  <a:pt x="18" y="101"/>
                  <a:pt x="34" y="101"/>
                </a:cubicBezTo>
                <a:cubicBezTo>
                  <a:pt x="48" y="101"/>
                  <a:pt x="48" y="101"/>
                  <a:pt x="48" y="101"/>
                </a:cubicBezTo>
                <a:cubicBezTo>
                  <a:pt x="49" y="101"/>
                  <a:pt x="51" y="103"/>
                  <a:pt x="51" y="104"/>
                </a:cubicBezTo>
                <a:cubicBezTo>
                  <a:pt x="51" y="105"/>
                  <a:pt x="49" y="107"/>
                  <a:pt x="48" y="107"/>
                </a:cubicBezTo>
                <a:cubicBezTo>
                  <a:pt x="34" y="107"/>
                  <a:pt x="34" y="107"/>
                  <a:pt x="34" y="107"/>
                </a:cubicBezTo>
                <a:cubicBezTo>
                  <a:pt x="15" y="107"/>
                  <a:pt x="0" y="91"/>
                  <a:pt x="0" y="72"/>
                </a:cubicBezTo>
                <a:cubicBezTo>
                  <a:pt x="0" y="60"/>
                  <a:pt x="8" y="47"/>
                  <a:pt x="19" y="41"/>
                </a:cubicBezTo>
                <a:cubicBezTo>
                  <a:pt x="19" y="41"/>
                  <a:pt x="19" y="40"/>
                  <a:pt x="19" y="40"/>
                </a:cubicBezTo>
                <a:cubicBezTo>
                  <a:pt x="19" y="27"/>
                  <a:pt x="29" y="16"/>
                  <a:pt x="43" y="16"/>
                </a:cubicBezTo>
                <a:cubicBezTo>
                  <a:pt x="44" y="16"/>
                  <a:pt x="44" y="16"/>
                  <a:pt x="45" y="16"/>
                </a:cubicBezTo>
                <a:cubicBezTo>
                  <a:pt x="46" y="16"/>
                  <a:pt x="46" y="16"/>
                  <a:pt x="46" y="16"/>
                </a:cubicBezTo>
                <a:cubicBezTo>
                  <a:pt x="47" y="16"/>
                  <a:pt x="47" y="16"/>
                  <a:pt x="48" y="17"/>
                </a:cubicBezTo>
                <a:cubicBezTo>
                  <a:pt x="48" y="17"/>
                  <a:pt x="49" y="17"/>
                  <a:pt x="49" y="17"/>
                </a:cubicBezTo>
                <a:cubicBezTo>
                  <a:pt x="49" y="17"/>
                  <a:pt x="50" y="17"/>
                  <a:pt x="51" y="17"/>
                </a:cubicBezTo>
                <a:cubicBezTo>
                  <a:pt x="51" y="17"/>
                  <a:pt x="51" y="18"/>
                  <a:pt x="51" y="18"/>
                </a:cubicBezTo>
                <a:cubicBezTo>
                  <a:pt x="52" y="18"/>
                  <a:pt x="53" y="18"/>
                  <a:pt x="53" y="18"/>
                </a:cubicBezTo>
                <a:cubicBezTo>
                  <a:pt x="53" y="19"/>
                  <a:pt x="54" y="19"/>
                  <a:pt x="54" y="19"/>
                </a:cubicBezTo>
                <a:cubicBezTo>
                  <a:pt x="62" y="7"/>
                  <a:pt x="76" y="0"/>
                  <a:pt x="91" y="0"/>
                </a:cubicBezTo>
                <a:cubicBezTo>
                  <a:pt x="115" y="0"/>
                  <a:pt x="135" y="19"/>
                  <a:pt x="136" y="43"/>
                </a:cubicBezTo>
                <a:cubicBezTo>
                  <a:pt x="150" y="47"/>
                  <a:pt x="160" y="60"/>
                  <a:pt x="160" y="75"/>
                </a:cubicBezTo>
                <a:close/>
                <a:moveTo>
                  <a:pt x="85" y="70"/>
                </a:moveTo>
                <a:cubicBezTo>
                  <a:pt x="84" y="70"/>
                  <a:pt x="84" y="70"/>
                  <a:pt x="84" y="70"/>
                </a:cubicBezTo>
                <a:cubicBezTo>
                  <a:pt x="83" y="69"/>
                  <a:pt x="82" y="69"/>
                  <a:pt x="82" y="70"/>
                </a:cubicBezTo>
                <a:cubicBezTo>
                  <a:pt x="81" y="70"/>
                  <a:pt x="81" y="70"/>
                  <a:pt x="81" y="70"/>
                </a:cubicBezTo>
                <a:cubicBezTo>
                  <a:pt x="59" y="91"/>
                  <a:pt x="59" y="91"/>
                  <a:pt x="59" y="91"/>
                </a:cubicBezTo>
                <a:cubicBezTo>
                  <a:pt x="58" y="92"/>
                  <a:pt x="58" y="94"/>
                  <a:pt x="59" y="95"/>
                </a:cubicBezTo>
                <a:cubicBezTo>
                  <a:pt x="60" y="96"/>
                  <a:pt x="61" y="96"/>
                  <a:pt x="61" y="96"/>
                </a:cubicBezTo>
                <a:cubicBezTo>
                  <a:pt x="62" y="96"/>
                  <a:pt x="63" y="96"/>
                  <a:pt x="63" y="95"/>
                </a:cubicBezTo>
                <a:cubicBezTo>
                  <a:pt x="80" y="78"/>
                  <a:pt x="80" y="78"/>
                  <a:pt x="80" y="78"/>
                </a:cubicBezTo>
                <a:cubicBezTo>
                  <a:pt x="80" y="133"/>
                  <a:pt x="80" y="133"/>
                  <a:pt x="80" y="133"/>
                </a:cubicBezTo>
                <a:cubicBezTo>
                  <a:pt x="80" y="135"/>
                  <a:pt x="81" y="136"/>
                  <a:pt x="83" y="136"/>
                </a:cubicBezTo>
                <a:cubicBezTo>
                  <a:pt x="84" y="136"/>
                  <a:pt x="85" y="135"/>
                  <a:pt x="85" y="133"/>
                </a:cubicBezTo>
                <a:cubicBezTo>
                  <a:pt x="85" y="78"/>
                  <a:pt x="85" y="78"/>
                  <a:pt x="85" y="78"/>
                </a:cubicBezTo>
                <a:cubicBezTo>
                  <a:pt x="102" y="95"/>
                  <a:pt x="102" y="95"/>
                  <a:pt x="102" y="95"/>
                </a:cubicBezTo>
                <a:cubicBezTo>
                  <a:pt x="103" y="96"/>
                  <a:pt x="103" y="96"/>
                  <a:pt x="104" y="96"/>
                </a:cubicBezTo>
                <a:cubicBezTo>
                  <a:pt x="105" y="96"/>
                  <a:pt x="105" y="96"/>
                  <a:pt x="106" y="95"/>
                </a:cubicBezTo>
                <a:cubicBezTo>
                  <a:pt x="107" y="94"/>
                  <a:pt x="107" y="92"/>
                  <a:pt x="106" y="91"/>
                </a:cubicBezTo>
                <a:lnTo>
                  <a:pt x="85" y="70"/>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1" name="Freeform 1098">
            <a:extLst>
              <a:ext uri="{FF2B5EF4-FFF2-40B4-BE49-F238E27FC236}">
                <a16:creationId xmlns:a16="http://schemas.microsoft.com/office/drawing/2014/main" id="{EB90E3B4-479F-4F4C-8259-74A91C9E9D87}"/>
              </a:ext>
            </a:extLst>
          </p:cNvPr>
          <p:cNvSpPr>
            <a:spLocks/>
          </p:cNvSpPr>
          <p:nvPr/>
        </p:nvSpPr>
        <p:spPr bwMode="auto">
          <a:xfrm>
            <a:off x="5354520" y="1644650"/>
            <a:ext cx="546100" cy="368300"/>
          </a:xfrm>
          <a:custGeom>
            <a:avLst/>
            <a:gdLst>
              <a:gd name="T0" fmla="*/ 136 w 160"/>
              <a:gd name="T1" fmla="*/ 43 h 107"/>
              <a:gd name="T2" fmla="*/ 91 w 160"/>
              <a:gd name="T3" fmla="*/ 0 h 107"/>
              <a:gd name="T4" fmla="*/ 54 w 160"/>
              <a:gd name="T5" fmla="*/ 19 h 107"/>
              <a:gd name="T6" fmla="*/ 53 w 160"/>
              <a:gd name="T7" fmla="*/ 18 h 107"/>
              <a:gd name="T8" fmla="*/ 51 w 160"/>
              <a:gd name="T9" fmla="*/ 18 h 107"/>
              <a:gd name="T10" fmla="*/ 51 w 160"/>
              <a:gd name="T11" fmla="*/ 17 h 107"/>
              <a:gd name="T12" fmla="*/ 49 w 160"/>
              <a:gd name="T13" fmla="*/ 17 h 107"/>
              <a:gd name="T14" fmla="*/ 48 w 160"/>
              <a:gd name="T15" fmla="*/ 17 h 107"/>
              <a:gd name="T16" fmla="*/ 46 w 160"/>
              <a:gd name="T17" fmla="*/ 16 h 107"/>
              <a:gd name="T18" fmla="*/ 45 w 160"/>
              <a:gd name="T19" fmla="*/ 16 h 107"/>
              <a:gd name="T20" fmla="*/ 43 w 160"/>
              <a:gd name="T21" fmla="*/ 16 h 107"/>
              <a:gd name="T22" fmla="*/ 19 w 160"/>
              <a:gd name="T23" fmla="*/ 40 h 107"/>
              <a:gd name="T24" fmla="*/ 19 w 160"/>
              <a:gd name="T25" fmla="*/ 41 h 107"/>
              <a:gd name="T26" fmla="*/ 0 w 160"/>
              <a:gd name="T27" fmla="*/ 72 h 107"/>
              <a:gd name="T28" fmla="*/ 34 w 160"/>
              <a:gd name="T29" fmla="*/ 107 h 107"/>
              <a:gd name="T30" fmla="*/ 48 w 160"/>
              <a:gd name="T31" fmla="*/ 107 h 107"/>
              <a:gd name="T32" fmla="*/ 51 w 160"/>
              <a:gd name="T33" fmla="*/ 104 h 107"/>
              <a:gd name="T34" fmla="*/ 48 w 160"/>
              <a:gd name="T35" fmla="*/ 101 h 107"/>
              <a:gd name="T36" fmla="*/ 34 w 160"/>
              <a:gd name="T37" fmla="*/ 101 h 107"/>
              <a:gd name="T38" fmla="*/ 5 w 160"/>
              <a:gd name="T39" fmla="*/ 72 h 107"/>
              <a:gd name="T40" fmla="*/ 22 w 160"/>
              <a:gd name="T41" fmla="*/ 45 h 107"/>
              <a:gd name="T42" fmla="*/ 24 w 160"/>
              <a:gd name="T43" fmla="*/ 44 h 107"/>
              <a:gd name="T44" fmla="*/ 24 w 160"/>
              <a:gd name="T45" fmla="*/ 43 h 107"/>
              <a:gd name="T46" fmla="*/ 24 w 160"/>
              <a:gd name="T47" fmla="*/ 42 h 107"/>
              <a:gd name="T48" fmla="*/ 24 w 160"/>
              <a:gd name="T49" fmla="*/ 41 h 107"/>
              <a:gd name="T50" fmla="*/ 24 w 160"/>
              <a:gd name="T51" fmla="*/ 41 h 107"/>
              <a:gd name="T52" fmla="*/ 24 w 160"/>
              <a:gd name="T53" fmla="*/ 40 h 107"/>
              <a:gd name="T54" fmla="*/ 43 w 160"/>
              <a:gd name="T55" fmla="*/ 21 h 107"/>
              <a:gd name="T56" fmla="*/ 45 w 160"/>
              <a:gd name="T57" fmla="*/ 22 h 107"/>
              <a:gd name="T58" fmla="*/ 46 w 160"/>
              <a:gd name="T59" fmla="*/ 22 h 107"/>
              <a:gd name="T60" fmla="*/ 48 w 160"/>
              <a:gd name="T61" fmla="*/ 22 h 107"/>
              <a:gd name="T62" fmla="*/ 48 w 160"/>
              <a:gd name="T63" fmla="*/ 22 h 107"/>
              <a:gd name="T64" fmla="*/ 50 w 160"/>
              <a:gd name="T65" fmla="*/ 23 h 107"/>
              <a:gd name="T66" fmla="*/ 51 w 160"/>
              <a:gd name="T67" fmla="*/ 23 h 107"/>
              <a:gd name="T68" fmla="*/ 53 w 160"/>
              <a:gd name="T69" fmla="*/ 24 h 107"/>
              <a:gd name="T70" fmla="*/ 61 w 160"/>
              <a:gd name="T71" fmla="*/ 40 h 107"/>
              <a:gd name="T72" fmla="*/ 64 w 160"/>
              <a:gd name="T73" fmla="*/ 43 h 107"/>
              <a:gd name="T74" fmla="*/ 67 w 160"/>
              <a:gd name="T75" fmla="*/ 40 h 107"/>
              <a:gd name="T76" fmla="*/ 58 w 160"/>
              <a:gd name="T77" fmla="*/ 22 h 107"/>
              <a:gd name="T78" fmla="*/ 91 w 160"/>
              <a:gd name="T79" fmla="*/ 5 h 107"/>
              <a:gd name="T80" fmla="*/ 130 w 160"/>
              <a:gd name="T81" fmla="*/ 42 h 107"/>
              <a:gd name="T82" fmla="*/ 120 w 160"/>
              <a:gd name="T83" fmla="*/ 43 h 107"/>
              <a:gd name="T84" fmla="*/ 117 w 160"/>
              <a:gd name="T85" fmla="*/ 46 h 107"/>
              <a:gd name="T86" fmla="*/ 120 w 160"/>
              <a:gd name="T87" fmla="*/ 48 h 107"/>
              <a:gd name="T88" fmla="*/ 120 w 160"/>
              <a:gd name="T89" fmla="*/ 48 h 107"/>
              <a:gd name="T90" fmla="*/ 133 w 160"/>
              <a:gd name="T91" fmla="*/ 48 h 107"/>
              <a:gd name="T92" fmla="*/ 155 w 160"/>
              <a:gd name="T93" fmla="*/ 75 h 107"/>
              <a:gd name="T94" fmla="*/ 128 w 160"/>
              <a:gd name="T95" fmla="*/ 101 h 107"/>
              <a:gd name="T96" fmla="*/ 117 w 160"/>
              <a:gd name="T97" fmla="*/ 101 h 107"/>
              <a:gd name="T98" fmla="*/ 115 w 160"/>
              <a:gd name="T99" fmla="*/ 104 h 107"/>
              <a:gd name="T100" fmla="*/ 117 w 160"/>
              <a:gd name="T101" fmla="*/ 107 h 107"/>
              <a:gd name="T102" fmla="*/ 128 w 160"/>
              <a:gd name="T103" fmla="*/ 107 h 107"/>
              <a:gd name="T104" fmla="*/ 160 w 160"/>
              <a:gd name="T105" fmla="*/ 75 h 107"/>
              <a:gd name="T106" fmla="*/ 136 w 160"/>
              <a:gd name="T107"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07">
                <a:moveTo>
                  <a:pt x="136" y="43"/>
                </a:moveTo>
                <a:cubicBezTo>
                  <a:pt x="135" y="19"/>
                  <a:pt x="115" y="0"/>
                  <a:pt x="91" y="0"/>
                </a:cubicBezTo>
                <a:cubicBezTo>
                  <a:pt x="76" y="0"/>
                  <a:pt x="62" y="7"/>
                  <a:pt x="54" y="19"/>
                </a:cubicBezTo>
                <a:cubicBezTo>
                  <a:pt x="54" y="19"/>
                  <a:pt x="53" y="19"/>
                  <a:pt x="53" y="18"/>
                </a:cubicBezTo>
                <a:cubicBezTo>
                  <a:pt x="53" y="18"/>
                  <a:pt x="52" y="18"/>
                  <a:pt x="51" y="18"/>
                </a:cubicBezTo>
                <a:cubicBezTo>
                  <a:pt x="51" y="18"/>
                  <a:pt x="51" y="17"/>
                  <a:pt x="51" y="17"/>
                </a:cubicBezTo>
                <a:cubicBezTo>
                  <a:pt x="50" y="17"/>
                  <a:pt x="49" y="17"/>
                  <a:pt x="49" y="17"/>
                </a:cubicBezTo>
                <a:cubicBezTo>
                  <a:pt x="49" y="17"/>
                  <a:pt x="48" y="17"/>
                  <a:pt x="48" y="17"/>
                </a:cubicBezTo>
                <a:cubicBezTo>
                  <a:pt x="47" y="16"/>
                  <a:pt x="47" y="16"/>
                  <a:pt x="46" y="16"/>
                </a:cubicBezTo>
                <a:cubicBezTo>
                  <a:pt x="46" y="16"/>
                  <a:pt x="46" y="16"/>
                  <a:pt x="45" y="16"/>
                </a:cubicBezTo>
                <a:cubicBezTo>
                  <a:pt x="44" y="16"/>
                  <a:pt x="44" y="16"/>
                  <a:pt x="43" y="16"/>
                </a:cubicBezTo>
                <a:cubicBezTo>
                  <a:pt x="29" y="16"/>
                  <a:pt x="19" y="27"/>
                  <a:pt x="19" y="40"/>
                </a:cubicBezTo>
                <a:cubicBezTo>
                  <a:pt x="19" y="40"/>
                  <a:pt x="19" y="41"/>
                  <a:pt x="19" y="41"/>
                </a:cubicBezTo>
                <a:cubicBezTo>
                  <a:pt x="8" y="47"/>
                  <a:pt x="0" y="60"/>
                  <a:pt x="0" y="72"/>
                </a:cubicBezTo>
                <a:cubicBezTo>
                  <a:pt x="0" y="91"/>
                  <a:pt x="15" y="107"/>
                  <a:pt x="34" y="107"/>
                </a:cubicBezTo>
                <a:cubicBezTo>
                  <a:pt x="48" y="107"/>
                  <a:pt x="48" y="107"/>
                  <a:pt x="48" y="107"/>
                </a:cubicBezTo>
                <a:cubicBezTo>
                  <a:pt x="49" y="107"/>
                  <a:pt x="51" y="105"/>
                  <a:pt x="51" y="104"/>
                </a:cubicBezTo>
                <a:cubicBezTo>
                  <a:pt x="51" y="103"/>
                  <a:pt x="49" y="101"/>
                  <a:pt x="48" y="101"/>
                </a:cubicBezTo>
                <a:cubicBezTo>
                  <a:pt x="34" y="101"/>
                  <a:pt x="34" y="101"/>
                  <a:pt x="34" y="101"/>
                </a:cubicBezTo>
                <a:cubicBezTo>
                  <a:pt x="18" y="101"/>
                  <a:pt x="5" y="88"/>
                  <a:pt x="5" y="72"/>
                </a:cubicBezTo>
                <a:cubicBezTo>
                  <a:pt x="5" y="61"/>
                  <a:pt x="13" y="50"/>
                  <a:pt x="22" y="45"/>
                </a:cubicBezTo>
                <a:cubicBezTo>
                  <a:pt x="24" y="44"/>
                  <a:pt x="24" y="44"/>
                  <a:pt x="24" y="44"/>
                </a:cubicBezTo>
                <a:cubicBezTo>
                  <a:pt x="24" y="43"/>
                  <a:pt x="24" y="43"/>
                  <a:pt x="24" y="43"/>
                </a:cubicBezTo>
                <a:cubicBezTo>
                  <a:pt x="24" y="42"/>
                  <a:pt x="24" y="42"/>
                  <a:pt x="24" y="42"/>
                </a:cubicBezTo>
                <a:cubicBezTo>
                  <a:pt x="24" y="41"/>
                  <a:pt x="24" y="41"/>
                  <a:pt x="24" y="41"/>
                </a:cubicBezTo>
                <a:cubicBezTo>
                  <a:pt x="24" y="41"/>
                  <a:pt x="24" y="41"/>
                  <a:pt x="24" y="41"/>
                </a:cubicBezTo>
                <a:cubicBezTo>
                  <a:pt x="24" y="40"/>
                  <a:pt x="24" y="40"/>
                  <a:pt x="24" y="40"/>
                </a:cubicBezTo>
                <a:cubicBezTo>
                  <a:pt x="24" y="30"/>
                  <a:pt x="32" y="21"/>
                  <a:pt x="43" y="21"/>
                </a:cubicBezTo>
                <a:cubicBezTo>
                  <a:pt x="43" y="21"/>
                  <a:pt x="44" y="21"/>
                  <a:pt x="45" y="22"/>
                </a:cubicBezTo>
                <a:cubicBezTo>
                  <a:pt x="45" y="22"/>
                  <a:pt x="46" y="22"/>
                  <a:pt x="46" y="22"/>
                </a:cubicBezTo>
                <a:cubicBezTo>
                  <a:pt x="46" y="22"/>
                  <a:pt x="47" y="22"/>
                  <a:pt x="48" y="22"/>
                </a:cubicBezTo>
                <a:cubicBezTo>
                  <a:pt x="48" y="22"/>
                  <a:pt x="48" y="22"/>
                  <a:pt x="48" y="22"/>
                </a:cubicBezTo>
                <a:cubicBezTo>
                  <a:pt x="49" y="22"/>
                  <a:pt x="50" y="23"/>
                  <a:pt x="50" y="23"/>
                </a:cubicBezTo>
                <a:cubicBezTo>
                  <a:pt x="51" y="23"/>
                  <a:pt x="51" y="23"/>
                  <a:pt x="51" y="23"/>
                </a:cubicBezTo>
                <a:cubicBezTo>
                  <a:pt x="52" y="24"/>
                  <a:pt x="52" y="24"/>
                  <a:pt x="53" y="24"/>
                </a:cubicBezTo>
                <a:cubicBezTo>
                  <a:pt x="58" y="28"/>
                  <a:pt x="61" y="33"/>
                  <a:pt x="61" y="40"/>
                </a:cubicBezTo>
                <a:cubicBezTo>
                  <a:pt x="61" y="41"/>
                  <a:pt x="63" y="43"/>
                  <a:pt x="64" y="43"/>
                </a:cubicBezTo>
                <a:cubicBezTo>
                  <a:pt x="65" y="43"/>
                  <a:pt x="67" y="41"/>
                  <a:pt x="67" y="40"/>
                </a:cubicBezTo>
                <a:cubicBezTo>
                  <a:pt x="67" y="33"/>
                  <a:pt x="63" y="26"/>
                  <a:pt x="58" y="22"/>
                </a:cubicBezTo>
                <a:cubicBezTo>
                  <a:pt x="66" y="12"/>
                  <a:pt x="78" y="5"/>
                  <a:pt x="91" y="5"/>
                </a:cubicBezTo>
                <a:cubicBezTo>
                  <a:pt x="112" y="5"/>
                  <a:pt x="129" y="22"/>
                  <a:pt x="130" y="42"/>
                </a:cubicBezTo>
                <a:cubicBezTo>
                  <a:pt x="128" y="42"/>
                  <a:pt x="124" y="42"/>
                  <a:pt x="120" y="43"/>
                </a:cubicBezTo>
                <a:cubicBezTo>
                  <a:pt x="118" y="43"/>
                  <a:pt x="117" y="44"/>
                  <a:pt x="117" y="46"/>
                </a:cubicBezTo>
                <a:cubicBezTo>
                  <a:pt x="118" y="47"/>
                  <a:pt x="119" y="48"/>
                  <a:pt x="120" y="48"/>
                </a:cubicBezTo>
                <a:cubicBezTo>
                  <a:pt x="120" y="48"/>
                  <a:pt x="120" y="48"/>
                  <a:pt x="120" y="48"/>
                </a:cubicBezTo>
                <a:cubicBezTo>
                  <a:pt x="126" y="47"/>
                  <a:pt x="133" y="48"/>
                  <a:pt x="133" y="48"/>
                </a:cubicBezTo>
                <a:cubicBezTo>
                  <a:pt x="145" y="50"/>
                  <a:pt x="155" y="62"/>
                  <a:pt x="155" y="75"/>
                </a:cubicBezTo>
                <a:cubicBezTo>
                  <a:pt x="155" y="89"/>
                  <a:pt x="143" y="101"/>
                  <a:pt x="128" y="101"/>
                </a:cubicBezTo>
                <a:cubicBezTo>
                  <a:pt x="117" y="101"/>
                  <a:pt x="117" y="101"/>
                  <a:pt x="117" y="101"/>
                </a:cubicBezTo>
                <a:cubicBezTo>
                  <a:pt x="116" y="101"/>
                  <a:pt x="115" y="103"/>
                  <a:pt x="115" y="104"/>
                </a:cubicBezTo>
                <a:cubicBezTo>
                  <a:pt x="115" y="105"/>
                  <a:pt x="116" y="107"/>
                  <a:pt x="117" y="107"/>
                </a:cubicBezTo>
                <a:cubicBezTo>
                  <a:pt x="128" y="107"/>
                  <a:pt x="128" y="107"/>
                  <a:pt x="128" y="107"/>
                </a:cubicBezTo>
                <a:cubicBezTo>
                  <a:pt x="146" y="107"/>
                  <a:pt x="160" y="92"/>
                  <a:pt x="160" y="75"/>
                </a:cubicBezTo>
                <a:cubicBezTo>
                  <a:pt x="160" y="60"/>
                  <a:pt x="150" y="47"/>
                  <a:pt x="136" y="43"/>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1099">
            <a:extLst>
              <a:ext uri="{FF2B5EF4-FFF2-40B4-BE49-F238E27FC236}">
                <a16:creationId xmlns:a16="http://schemas.microsoft.com/office/drawing/2014/main" id="{92A49033-1E24-A841-8084-D502EC75C205}"/>
              </a:ext>
            </a:extLst>
          </p:cNvPr>
          <p:cNvSpPr>
            <a:spLocks/>
          </p:cNvSpPr>
          <p:nvPr/>
        </p:nvSpPr>
        <p:spPr bwMode="auto">
          <a:xfrm>
            <a:off x="5535495" y="1882775"/>
            <a:ext cx="201613" cy="219075"/>
          </a:xfrm>
          <a:custGeom>
            <a:avLst/>
            <a:gdLst>
              <a:gd name="T0" fmla="*/ 56 w 59"/>
              <a:gd name="T1" fmla="*/ 32 h 64"/>
              <a:gd name="T2" fmla="*/ 54 w 59"/>
              <a:gd name="T3" fmla="*/ 35 h 64"/>
              <a:gd name="T4" fmla="*/ 30 w 59"/>
              <a:gd name="T5" fmla="*/ 59 h 64"/>
              <a:gd name="T6" fmla="*/ 6 w 59"/>
              <a:gd name="T7" fmla="*/ 35 h 64"/>
              <a:gd name="T8" fmla="*/ 30 w 59"/>
              <a:gd name="T9" fmla="*/ 11 h 64"/>
              <a:gd name="T10" fmla="*/ 49 w 59"/>
              <a:gd name="T11" fmla="*/ 22 h 64"/>
              <a:gd name="T12" fmla="*/ 32 w 59"/>
              <a:gd name="T13" fmla="*/ 22 h 64"/>
              <a:gd name="T14" fmla="*/ 30 w 59"/>
              <a:gd name="T15" fmla="*/ 24 h 64"/>
              <a:gd name="T16" fmla="*/ 32 w 59"/>
              <a:gd name="T17" fmla="*/ 27 h 64"/>
              <a:gd name="T18" fmla="*/ 54 w 59"/>
              <a:gd name="T19" fmla="*/ 27 h 64"/>
              <a:gd name="T20" fmla="*/ 54 w 59"/>
              <a:gd name="T21" fmla="*/ 27 h 64"/>
              <a:gd name="T22" fmla="*/ 54 w 59"/>
              <a:gd name="T23" fmla="*/ 27 h 64"/>
              <a:gd name="T24" fmla="*/ 55 w 59"/>
              <a:gd name="T25" fmla="*/ 27 h 64"/>
              <a:gd name="T26" fmla="*/ 55 w 59"/>
              <a:gd name="T27" fmla="*/ 27 h 64"/>
              <a:gd name="T28" fmla="*/ 55 w 59"/>
              <a:gd name="T29" fmla="*/ 27 h 64"/>
              <a:gd name="T30" fmla="*/ 56 w 59"/>
              <a:gd name="T31" fmla="*/ 26 h 64"/>
              <a:gd name="T32" fmla="*/ 56 w 59"/>
              <a:gd name="T33" fmla="*/ 26 h 64"/>
              <a:gd name="T34" fmla="*/ 56 w 59"/>
              <a:gd name="T35" fmla="*/ 25 h 64"/>
              <a:gd name="T36" fmla="*/ 56 w 59"/>
              <a:gd name="T37" fmla="*/ 25 h 64"/>
              <a:gd name="T38" fmla="*/ 56 w 59"/>
              <a:gd name="T39" fmla="*/ 24 h 64"/>
              <a:gd name="T40" fmla="*/ 56 w 59"/>
              <a:gd name="T41" fmla="*/ 24 h 64"/>
              <a:gd name="T42" fmla="*/ 56 w 59"/>
              <a:gd name="T43" fmla="*/ 24 h 64"/>
              <a:gd name="T44" fmla="*/ 56 w 59"/>
              <a:gd name="T45" fmla="*/ 3 h 64"/>
              <a:gd name="T46" fmla="*/ 54 w 59"/>
              <a:gd name="T47" fmla="*/ 0 h 64"/>
              <a:gd name="T48" fmla="*/ 51 w 59"/>
              <a:gd name="T49" fmla="*/ 3 h 64"/>
              <a:gd name="T50" fmla="*/ 51 w 59"/>
              <a:gd name="T51" fmla="*/ 15 h 64"/>
              <a:gd name="T52" fmla="*/ 30 w 59"/>
              <a:gd name="T53" fmla="*/ 6 h 64"/>
              <a:gd name="T54" fmla="*/ 0 w 59"/>
              <a:gd name="T55" fmla="*/ 35 h 64"/>
              <a:gd name="T56" fmla="*/ 30 w 59"/>
              <a:gd name="T57" fmla="*/ 64 h 64"/>
              <a:gd name="T58" fmla="*/ 59 w 59"/>
              <a:gd name="T59" fmla="*/ 35 h 64"/>
              <a:gd name="T60" fmla="*/ 56 w 59"/>
              <a:gd name="T61"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64">
                <a:moveTo>
                  <a:pt x="56" y="32"/>
                </a:moveTo>
                <a:cubicBezTo>
                  <a:pt x="55" y="32"/>
                  <a:pt x="54" y="34"/>
                  <a:pt x="54" y="35"/>
                </a:cubicBezTo>
                <a:cubicBezTo>
                  <a:pt x="54" y="48"/>
                  <a:pt x="43" y="59"/>
                  <a:pt x="30" y="59"/>
                </a:cubicBezTo>
                <a:cubicBezTo>
                  <a:pt x="16" y="59"/>
                  <a:pt x="6" y="48"/>
                  <a:pt x="6" y="35"/>
                </a:cubicBezTo>
                <a:cubicBezTo>
                  <a:pt x="6" y="22"/>
                  <a:pt x="16" y="11"/>
                  <a:pt x="30" y="11"/>
                </a:cubicBezTo>
                <a:cubicBezTo>
                  <a:pt x="38" y="11"/>
                  <a:pt x="45" y="15"/>
                  <a:pt x="49" y="22"/>
                </a:cubicBezTo>
                <a:cubicBezTo>
                  <a:pt x="32" y="22"/>
                  <a:pt x="32" y="22"/>
                  <a:pt x="32" y="22"/>
                </a:cubicBezTo>
                <a:cubicBezTo>
                  <a:pt x="31" y="22"/>
                  <a:pt x="30" y="23"/>
                  <a:pt x="30" y="24"/>
                </a:cubicBezTo>
                <a:cubicBezTo>
                  <a:pt x="30" y="26"/>
                  <a:pt x="31" y="27"/>
                  <a:pt x="32" y="27"/>
                </a:cubicBezTo>
                <a:cubicBezTo>
                  <a:pt x="54" y="27"/>
                  <a:pt x="54" y="27"/>
                  <a:pt x="54" y="27"/>
                </a:cubicBezTo>
                <a:cubicBezTo>
                  <a:pt x="54" y="27"/>
                  <a:pt x="54" y="27"/>
                  <a:pt x="54" y="27"/>
                </a:cubicBezTo>
                <a:cubicBezTo>
                  <a:pt x="54" y="27"/>
                  <a:pt x="54" y="27"/>
                  <a:pt x="54" y="27"/>
                </a:cubicBezTo>
                <a:cubicBezTo>
                  <a:pt x="54" y="27"/>
                  <a:pt x="55" y="27"/>
                  <a:pt x="55" y="27"/>
                </a:cubicBezTo>
                <a:cubicBezTo>
                  <a:pt x="55" y="27"/>
                  <a:pt x="55" y="27"/>
                  <a:pt x="55" y="27"/>
                </a:cubicBezTo>
                <a:cubicBezTo>
                  <a:pt x="55" y="27"/>
                  <a:pt x="55" y="27"/>
                  <a:pt x="55" y="27"/>
                </a:cubicBezTo>
                <a:cubicBezTo>
                  <a:pt x="55" y="26"/>
                  <a:pt x="55" y="26"/>
                  <a:pt x="56" y="26"/>
                </a:cubicBezTo>
                <a:cubicBezTo>
                  <a:pt x="56" y="26"/>
                  <a:pt x="56" y="26"/>
                  <a:pt x="56" y="26"/>
                </a:cubicBezTo>
                <a:cubicBezTo>
                  <a:pt x="56" y="26"/>
                  <a:pt x="56" y="26"/>
                  <a:pt x="56" y="25"/>
                </a:cubicBezTo>
                <a:cubicBezTo>
                  <a:pt x="56" y="25"/>
                  <a:pt x="56" y="25"/>
                  <a:pt x="56" y="25"/>
                </a:cubicBezTo>
                <a:cubicBezTo>
                  <a:pt x="56" y="25"/>
                  <a:pt x="56" y="24"/>
                  <a:pt x="56" y="24"/>
                </a:cubicBezTo>
                <a:cubicBezTo>
                  <a:pt x="56" y="24"/>
                  <a:pt x="56" y="24"/>
                  <a:pt x="56" y="24"/>
                </a:cubicBezTo>
                <a:cubicBezTo>
                  <a:pt x="56" y="24"/>
                  <a:pt x="56" y="24"/>
                  <a:pt x="56" y="24"/>
                </a:cubicBezTo>
                <a:cubicBezTo>
                  <a:pt x="56" y="3"/>
                  <a:pt x="56" y="3"/>
                  <a:pt x="56" y="3"/>
                </a:cubicBezTo>
                <a:cubicBezTo>
                  <a:pt x="56" y="2"/>
                  <a:pt x="55" y="0"/>
                  <a:pt x="54" y="0"/>
                </a:cubicBezTo>
                <a:cubicBezTo>
                  <a:pt x="52" y="0"/>
                  <a:pt x="51" y="2"/>
                  <a:pt x="51" y="3"/>
                </a:cubicBezTo>
                <a:cubicBezTo>
                  <a:pt x="51" y="15"/>
                  <a:pt x="51" y="15"/>
                  <a:pt x="51" y="15"/>
                </a:cubicBezTo>
                <a:cubicBezTo>
                  <a:pt x="46" y="9"/>
                  <a:pt x="38" y="6"/>
                  <a:pt x="30" y="6"/>
                </a:cubicBezTo>
                <a:cubicBezTo>
                  <a:pt x="13" y="6"/>
                  <a:pt x="0" y="19"/>
                  <a:pt x="0" y="35"/>
                </a:cubicBezTo>
                <a:cubicBezTo>
                  <a:pt x="0" y="51"/>
                  <a:pt x="13" y="64"/>
                  <a:pt x="30" y="64"/>
                </a:cubicBezTo>
                <a:cubicBezTo>
                  <a:pt x="46" y="64"/>
                  <a:pt x="59" y="51"/>
                  <a:pt x="59" y="35"/>
                </a:cubicBezTo>
                <a:cubicBezTo>
                  <a:pt x="59" y="34"/>
                  <a:pt x="58" y="32"/>
                  <a:pt x="56" y="32"/>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3" name="Freeform 1100">
            <a:extLst>
              <a:ext uri="{FF2B5EF4-FFF2-40B4-BE49-F238E27FC236}">
                <a16:creationId xmlns:a16="http://schemas.microsoft.com/office/drawing/2014/main" id="{632DE9FC-A8EF-1C45-9050-89D0026E044E}"/>
              </a:ext>
            </a:extLst>
          </p:cNvPr>
          <p:cNvSpPr>
            <a:spLocks noEditPoints="1"/>
          </p:cNvSpPr>
          <p:nvPr/>
        </p:nvSpPr>
        <p:spPr bwMode="auto">
          <a:xfrm>
            <a:off x="5354520" y="2236788"/>
            <a:ext cx="546100" cy="522288"/>
          </a:xfrm>
          <a:custGeom>
            <a:avLst/>
            <a:gdLst>
              <a:gd name="T0" fmla="*/ 128 w 160"/>
              <a:gd name="T1" fmla="*/ 107 h 152"/>
              <a:gd name="T2" fmla="*/ 115 w 160"/>
              <a:gd name="T3" fmla="*/ 104 h 152"/>
              <a:gd name="T4" fmla="*/ 128 w 160"/>
              <a:gd name="T5" fmla="*/ 101 h 152"/>
              <a:gd name="T6" fmla="*/ 133 w 160"/>
              <a:gd name="T7" fmla="*/ 48 h 152"/>
              <a:gd name="T8" fmla="*/ 120 w 160"/>
              <a:gd name="T9" fmla="*/ 48 h 152"/>
              <a:gd name="T10" fmla="*/ 120 w 160"/>
              <a:gd name="T11" fmla="*/ 43 h 152"/>
              <a:gd name="T12" fmla="*/ 91 w 160"/>
              <a:gd name="T13" fmla="*/ 5 h 152"/>
              <a:gd name="T14" fmla="*/ 67 w 160"/>
              <a:gd name="T15" fmla="*/ 40 h 152"/>
              <a:gd name="T16" fmla="*/ 61 w 160"/>
              <a:gd name="T17" fmla="*/ 40 h 152"/>
              <a:gd name="T18" fmla="*/ 51 w 160"/>
              <a:gd name="T19" fmla="*/ 23 h 152"/>
              <a:gd name="T20" fmla="*/ 48 w 160"/>
              <a:gd name="T21" fmla="*/ 22 h 152"/>
              <a:gd name="T22" fmla="*/ 46 w 160"/>
              <a:gd name="T23" fmla="*/ 22 h 152"/>
              <a:gd name="T24" fmla="*/ 43 w 160"/>
              <a:gd name="T25" fmla="*/ 21 h 152"/>
              <a:gd name="T26" fmla="*/ 24 w 160"/>
              <a:gd name="T27" fmla="*/ 41 h 152"/>
              <a:gd name="T28" fmla="*/ 24 w 160"/>
              <a:gd name="T29" fmla="*/ 42 h 152"/>
              <a:gd name="T30" fmla="*/ 24 w 160"/>
              <a:gd name="T31" fmla="*/ 44 h 152"/>
              <a:gd name="T32" fmla="*/ 5 w 160"/>
              <a:gd name="T33" fmla="*/ 72 h 152"/>
              <a:gd name="T34" fmla="*/ 48 w 160"/>
              <a:gd name="T35" fmla="*/ 101 h 152"/>
              <a:gd name="T36" fmla="*/ 48 w 160"/>
              <a:gd name="T37" fmla="*/ 107 h 152"/>
              <a:gd name="T38" fmla="*/ 0 w 160"/>
              <a:gd name="T39" fmla="*/ 72 h 152"/>
              <a:gd name="T40" fmla="*/ 19 w 160"/>
              <a:gd name="T41" fmla="*/ 40 h 152"/>
              <a:gd name="T42" fmla="*/ 45 w 160"/>
              <a:gd name="T43" fmla="*/ 16 h 152"/>
              <a:gd name="T44" fmla="*/ 48 w 160"/>
              <a:gd name="T45" fmla="*/ 17 h 152"/>
              <a:gd name="T46" fmla="*/ 51 w 160"/>
              <a:gd name="T47" fmla="*/ 17 h 152"/>
              <a:gd name="T48" fmla="*/ 53 w 160"/>
              <a:gd name="T49" fmla="*/ 18 h 152"/>
              <a:gd name="T50" fmla="*/ 91 w 160"/>
              <a:gd name="T51" fmla="*/ 0 h 152"/>
              <a:gd name="T52" fmla="*/ 160 w 160"/>
              <a:gd name="T53" fmla="*/ 75 h 152"/>
              <a:gd name="T54" fmla="*/ 130 w 160"/>
              <a:gd name="T55" fmla="*/ 151 h 152"/>
              <a:gd name="T56" fmla="*/ 126 w 160"/>
              <a:gd name="T57" fmla="*/ 151 h 152"/>
              <a:gd name="T58" fmla="*/ 83 w 160"/>
              <a:gd name="T59" fmla="*/ 133 h 152"/>
              <a:gd name="T60" fmla="*/ 83 w 160"/>
              <a:gd name="T61" fmla="*/ 75 h 152"/>
              <a:gd name="T62" fmla="*/ 105 w 160"/>
              <a:gd name="T63" fmla="*/ 123 h 152"/>
              <a:gd name="T64" fmla="*/ 107 w 160"/>
              <a:gd name="T65" fmla="*/ 104 h 152"/>
              <a:gd name="T66" fmla="*/ 59 w 160"/>
              <a:gd name="T67" fmla="*/ 104 h 152"/>
              <a:gd name="T68" fmla="*/ 107 w 160"/>
              <a:gd name="T69" fmla="*/ 10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52">
                <a:moveTo>
                  <a:pt x="160" y="75"/>
                </a:moveTo>
                <a:cubicBezTo>
                  <a:pt x="160" y="92"/>
                  <a:pt x="146" y="107"/>
                  <a:pt x="128" y="107"/>
                </a:cubicBezTo>
                <a:cubicBezTo>
                  <a:pt x="117" y="107"/>
                  <a:pt x="117" y="107"/>
                  <a:pt x="117" y="107"/>
                </a:cubicBezTo>
                <a:cubicBezTo>
                  <a:pt x="116" y="107"/>
                  <a:pt x="115" y="105"/>
                  <a:pt x="115" y="104"/>
                </a:cubicBezTo>
                <a:cubicBezTo>
                  <a:pt x="115" y="103"/>
                  <a:pt x="116" y="101"/>
                  <a:pt x="117" y="101"/>
                </a:cubicBezTo>
                <a:cubicBezTo>
                  <a:pt x="128" y="101"/>
                  <a:pt x="128" y="101"/>
                  <a:pt x="128" y="101"/>
                </a:cubicBezTo>
                <a:cubicBezTo>
                  <a:pt x="143" y="101"/>
                  <a:pt x="155" y="89"/>
                  <a:pt x="155" y="75"/>
                </a:cubicBezTo>
                <a:cubicBezTo>
                  <a:pt x="155" y="62"/>
                  <a:pt x="145" y="50"/>
                  <a:pt x="133" y="48"/>
                </a:cubicBezTo>
                <a:cubicBezTo>
                  <a:pt x="133" y="48"/>
                  <a:pt x="126" y="47"/>
                  <a:pt x="120" y="48"/>
                </a:cubicBezTo>
                <a:cubicBezTo>
                  <a:pt x="120" y="48"/>
                  <a:pt x="120" y="48"/>
                  <a:pt x="120" y="48"/>
                </a:cubicBezTo>
                <a:cubicBezTo>
                  <a:pt x="119" y="48"/>
                  <a:pt x="118" y="47"/>
                  <a:pt x="117" y="46"/>
                </a:cubicBezTo>
                <a:cubicBezTo>
                  <a:pt x="117" y="44"/>
                  <a:pt x="118" y="43"/>
                  <a:pt x="120" y="43"/>
                </a:cubicBezTo>
                <a:cubicBezTo>
                  <a:pt x="124" y="42"/>
                  <a:pt x="128" y="42"/>
                  <a:pt x="130" y="42"/>
                </a:cubicBezTo>
                <a:cubicBezTo>
                  <a:pt x="129" y="22"/>
                  <a:pt x="112" y="5"/>
                  <a:pt x="91" y="5"/>
                </a:cubicBezTo>
                <a:cubicBezTo>
                  <a:pt x="78" y="5"/>
                  <a:pt x="66" y="12"/>
                  <a:pt x="58" y="22"/>
                </a:cubicBezTo>
                <a:cubicBezTo>
                  <a:pt x="63" y="26"/>
                  <a:pt x="67" y="33"/>
                  <a:pt x="67" y="40"/>
                </a:cubicBezTo>
                <a:cubicBezTo>
                  <a:pt x="67" y="41"/>
                  <a:pt x="65" y="43"/>
                  <a:pt x="64" y="43"/>
                </a:cubicBezTo>
                <a:cubicBezTo>
                  <a:pt x="63" y="43"/>
                  <a:pt x="61" y="41"/>
                  <a:pt x="61" y="40"/>
                </a:cubicBezTo>
                <a:cubicBezTo>
                  <a:pt x="61" y="33"/>
                  <a:pt x="58" y="28"/>
                  <a:pt x="53" y="24"/>
                </a:cubicBezTo>
                <a:cubicBezTo>
                  <a:pt x="52" y="24"/>
                  <a:pt x="52" y="24"/>
                  <a:pt x="51" y="23"/>
                </a:cubicBezTo>
                <a:cubicBezTo>
                  <a:pt x="51" y="23"/>
                  <a:pt x="51" y="23"/>
                  <a:pt x="50" y="23"/>
                </a:cubicBezTo>
                <a:cubicBezTo>
                  <a:pt x="50" y="23"/>
                  <a:pt x="49" y="22"/>
                  <a:pt x="48" y="22"/>
                </a:cubicBezTo>
                <a:cubicBezTo>
                  <a:pt x="48" y="22"/>
                  <a:pt x="48" y="22"/>
                  <a:pt x="48" y="22"/>
                </a:cubicBezTo>
                <a:cubicBezTo>
                  <a:pt x="47" y="22"/>
                  <a:pt x="46" y="22"/>
                  <a:pt x="46" y="22"/>
                </a:cubicBezTo>
                <a:cubicBezTo>
                  <a:pt x="46" y="22"/>
                  <a:pt x="45" y="22"/>
                  <a:pt x="45" y="22"/>
                </a:cubicBezTo>
                <a:cubicBezTo>
                  <a:pt x="44" y="21"/>
                  <a:pt x="43" y="21"/>
                  <a:pt x="43" y="21"/>
                </a:cubicBezTo>
                <a:cubicBezTo>
                  <a:pt x="32" y="21"/>
                  <a:pt x="24" y="30"/>
                  <a:pt x="24" y="40"/>
                </a:cubicBezTo>
                <a:cubicBezTo>
                  <a:pt x="24" y="40"/>
                  <a:pt x="24" y="40"/>
                  <a:pt x="24" y="41"/>
                </a:cubicBezTo>
                <a:cubicBezTo>
                  <a:pt x="24" y="41"/>
                  <a:pt x="24" y="41"/>
                  <a:pt x="24" y="41"/>
                </a:cubicBezTo>
                <a:cubicBezTo>
                  <a:pt x="24" y="42"/>
                  <a:pt x="24" y="42"/>
                  <a:pt x="24" y="42"/>
                </a:cubicBezTo>
                <a:cubicBezTo>
                  <a:pt x="24" y="42"/>
                  <a:pt x="24" y="42"/>
                  <a:pt x="24" y="43"/>
                </a:cubicBezTo>
                <a:cubicBezTo>
                  <a:pt x="24" y="44"/>
                  <a:pt x="24" y="44"/>
                  <a:pt x="24" y="44"/>
                </a:cubicBezTo>
                <a:cubicBezTo>
                  <a:pt x="22" y="45"/>
                  <a:pt x="22" y="45"/>
                  <a:pt x="22" y="45"/>
                </a:cubicBezTo>
                <a:cubicBezTo>
                  <a:pt x="13" y="50"/>
                  <a:pt x="5" y="61"/>
                  <a:pt x="5" y="72"/>
                </a:cubicBezTo>
                <a:cubicBezTo>
                  <a:pt x="5" y="88"/>
                  <a:pt x="18" y="101"/>
                  <a:pt x="34" y="101"/>
                </a:cubicBezTo>
                <a:cubicBezTo>
                  <a:pt x="48" y="101"/>
                  <a:pt x="48" y="101"/>
                  <a:pt x="48" y="101"/>
                </a:cubicBezTo>
                <a:cubicBezTo>
                  <a:pt x="49" y="101"/>
                  <a:pt x="51" y="103"/>
                  <a:pt x="51" y="104"/>
                </a:cubicBezTo>
                <a:cubicBezTo>
                  <a:pt x="51" y="105"/>
                  <a:pt x="49" y="107"/>
                  <a:pt x="48" y="107"/>
                </a:cubicBezTo>
                <a:cubicBezTo>
                  <a:pt x="34" y="107"/>
                  <a:pt x="34" y="107"/>
                  <a:pt x="34" y="107"/>
                </a:cubicBezTo>
                <a:cubicBezTo>
                  <a:pt x="15" y="107"/>
                  <a:pt x="0" y="91"/>
                  <a:pt x="0" y="72"/>
                </a:cubicBezTo>
                <a:cubicBezTo>
                  <a:pt x="0" y="60"/>
                  <a:pt x="8" y="47"/>
                  <a:pt x="19" y="41"/>
                </a:cubicBezTo>
                <a:cubicBezTo>
                  <a:pt x="19" y="41"/>
                  <a:pt x="19" y="40"/>
                  <a:pt x="19" y="40"/>
                </a:cubicBezTo>
                <a:cubicBezTo>
                  <a:pt x="19" y="27"/>
                  <a:pt x="29" y="16"/>
                  <a:pt x="43" y="16"/>
                </a:cubicBezTo>
                <a:cubicBezTo>
                  <a:pt x="44" y="16"/>
                  <a:pt x="44" y="16"/>
                  <a:pt x="45" y="16"/>
                </a:cubicBezTo>
                <a:cubicBezTo>
                  <a:pt x="46" y="16"/>
                  <a:pt x="46" y="16"/>
                  <a:pt x="46" y="16"/>
                </a:cubicBezTo>
                <a:cubicBezTo>
                  <a:pt x="47" y="16"/>
                  <a:pt x="47" y="16"/>
                  <a:pt x="48" y="17"/>
                </a:cubicBezTo>
                <a:cubicBezTo>
                  <a:pt x="48" y="17"/>
                  <a:pt x="49" y="17"/>
                  <a:pt x="49" y="17"/>
                </a:cubicBezTo>
                <a:cubicBezTo>
                  <a:pt x="49" y="17"/>
                  <a:pt x="50" y="17"/>
                  <a:pt x="51" y="17"/>
                </a:cubicBezTo>
                <a:cubicBezTo>
                  <a:pt x="51" y="17"/>
                  <a:pt x="51" y="18"/>
                  <a:pt x="51" y="18"/>
                </a:cubicBezTo>
                <a:cubicBezTo>
                  <a:pt x="52" y="18"/>
                  <a:pt x="53" y="18"/>
                  <a:pt x="53" y="18"/>
                </a:cubicBezTo>
                <a:cubicBezTo>
                  <a:pt x="53" y="19"/>
                  <a:pt x="54" y="19"/>
                  <a:pt x="54" y="19"/>
                </a:cubicBezTo>
                <a:cubicBezTo>
                  <a:pt x="62" y="7"/>
                  <a:pt x="76" y="0"/>
                  <a:pt x="91" y="0"/>
                </a:cubicBezTo>
                <a:cubicBezTo>
                  <a:pt x="115" y="0"/>
                  <a:pt x="135" y="19"/>
                  <a:pt x="136" y="43"/>
                </a:cubicBezTo>
                <a:cubicBezTo>
                  <a:pt x="150" y="47"/>
                  <a:pt x="160" y="60"/>
                  <a:pt x="160" y="75"/>
                </a:cubicBezTo>
                <a:close/>
                <a:moveTo>
                  <a:pt x="130" y="147"/>
                </a:moveTo>
                <a:cubicBezTo>
                  <a:pt x="131" y="148"/>
                  <a:pt x="131" y="150"/>
                  <a:pt x="130" y="151"/>
                </a:cubicBezTo>
                <a:cubicBezTo>
                  <a:pt x="129" y="152"/>
                  <a:pt x="129" y="152"/>
                  <a:pt x="128" y="152"/>
                </a:cubicBezTo>
                <a:cubicBezTo>
                  <a:pt x="127" y="152"/>
                  <a:pt x="127" y="152"/>
                  <a:pt x="126" y="151"/>
                </a:cubicBezTo>
                <a:cubicBezTo>
                  <a:pt x="101" y="127"/>
                  <a:pt x="101" y="127"/>
                  <a:pt x="101" y="127"/>
                </a:cubicBezTo>
                <a:cubicBezTo>
                  <a:pt x="96" y="131"/>
                  <a:pt x="90" y="133"/>
                  <a:pt x="83" y="133"/>
                </a:cubicBezTo>
                <a:cubicBezTo>
                  <a:pt x="66" y="133"/>
                  <a:pt x="53" y="120"/>
                  <a:pt x="53" y="104"/>
                </a:cubicBezTo>
                <a:cubicBezTo>
                  <a:pt x="53" y="88"/>
                  <a:pt x="66" y="75"/>
                  <a:pt x="83" y="75"/>
                </a:cubicBezTo>
                <a:cubicBezTo>
                  <a:pt x="99" y="75"/>
                  <a:pt x="112" y="88"/>
                  <a:pt x="112" y="104"/>
                </a:cubicBezTo>
                <a:cubicBezTo>
                  <a:pt x="112" y="111"/>
                  <a:pt x="109" y="118"/>
                  <a:pt x="105" y="123"/>
                </a:cubicBezTo>
                <a:lnTo>
                  <a:pt x="130" y="147"/>
                </a:lnTo>
                <a:close/>
                <a:moveTo>
                  <a:pt x="107" y="104"/>
                </a:moveTo>
                <a:cubicBezTo>
                  <a:pt x="107" y="91"/>
                  <a:pt x="96" y="80"/>
                  <a:pt x="83" y="80"/>
                </a:cubicBezTo>
                <a:cubicBezTo>
                  <a:pt x="69" y="80"/>
                  <a:pt x="59" y="91"/>
                  <a:pt x="59" y="104"/>
                </a:cubicBezTo>
                <a:cubicBezTo>
                  <a:pt x="59" y="117"/>
                  <a:pt x="69" y="128"/>
                  <a:pt x="83" y="128"/>
                </a:cubicBezTo>
                <a:cubicBezTo>
                  <a:pt x="96" y="128"/>
                  <a:pt x="107" y="117"/>
                  <a:pt x="107" y="104"/>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4" name="Freeform 1101">
            <a:extLst>
              <a:ext uri="{FF2B5EF4-FFF2-40B4-BE49-F238E27FC236}">
                <a16:creationId xmlns:a16="http://schemas.microsoft.com/office/drawing/2014/main" id="{F7CF2B89-561F-7745-8318-B18A5235D5B7}"/>
              </a:ext>
            </a:extLst>
          </p:cNvPr>
          <p:cNvSpPr>
            <a:spLocks noEditPoints="1"/>
          </p:cNvSpPr>
          <p:nvPr/>
        </p:nvSpPr>
        <p:spPr bwMode="auto">
          <a:xfrm>
            <a:off x="5354520" y="2882900"/>
            <a:ext cx="546100" cy="450850"/>
          </a:xfrm>
          <a:custGeom>
            <a:avLst/>
            <a:gdLst>
              <a:gd name="T0" fmla="*/ 91 w 160"/>
              <a:gd name="T1" fmla="*/ 0 h 131"/>
              <a:gd name="T2" fmla="*/ 53 w 160"/>
              <a:gd name="T3" fmla="*/ 18 h 131"/>
              <a:gd name="T4" fmla="*/ 51 w 160"/>
              <a:gd name="T5" fmla="*/ 17 h 131"/>
              <a:gd name="T6" fmla="*/ 48 w 160"/>
              <a:gd name="T7" fmla="*/ 17 h 131"/>
              <a:gd name="T8" fmla="*/ 45 w 160"/>
              <a:gd name="T9" fmla="*/ 16 h 131"/>
              <a:gd name="T10" fmla="*/ 19 w 160"/>
              <a:gd name="T11" fmla="*/ 40 h 131"/>
              <a:gd name="T12" fmla="*/ 0 w 160"/>
              <a:gd name="T13" fmla="*/ 72 h 131"/>
              <a:gd name="T14" fmla="*/ 51 w 160"/>
              <a:gd name="T15" fmla="*/ 107 h 131"/>
              <a:gd name="T16" fmla="*/ 123 w 160"/>
              <a:gd name="T17" fmla="*/ 131 h 131"/>
              <a:gd name="T18" fmla="*/ 128 w 160"/>
              <a:gd name="T19" fmla="*/ 107 h 131"/>
              <a:gd name="T20" fmla="*/ 136 w 160"/>
              <a:gd name="T21" fmla="*/ 43 h 131"/>
              <a:gd name="T22" fmla="*/ 46 w 160"/>
              <a:gd name="T23" fmla="*/ 125 h 131"/>
              <a:gd name="T24" fmla="*/ 57 w 160"/>
              <a:gd name="T25" fmla="*/ 107 h 131"/>
              <a:gd name="T26" fmla="*/ 103 w 160"/>
              <a:gd name="T27" fmla="*/ 107 h 131"/>
              <a:gd name="T28" fmla="*/ 114 w 160"/>
              <a:gd name="T29" fmla="*/ 125 h 131"/>
              <a:gd name="T30" fmla="*/ 106 w 160"/>
              <a:gd name="T31" fmla="*/ 101 h 131"/>
              <a:gd name="T32" fmla="*/ 54 w 160"/>
              <a:gd name="T33" fmla="*/ 101 h 131"/>
              <a:gd name="T34" fmla="*/ 5 w 160"/>
              <a:gd name="T35" fmla="*/ 72 h 131"/>
              <a:gd name="T36" fmla="*/ 24 w 160"/>
              <a:gd name="T37" fmla="*/ 44 h 131"/>
              <a:gd name="T38" fmla="*/ 24 w 160"/>
              <a:gd name="T39" fmla="*/ 42 h 131"/>
              <a:gd name="T40" fmla="*/ 24 w 160"/>
              <a:gd name="T41" fmla="*/ 41 h 131"/>
              <a:gd name="T42" fmla="*/ 43 w 160"/>
              <a:gd name="T43" fmla="*/ 21 h 131"/>
              <a:gd name="T44" fmla="*/ 46 w 160"/>
              <a:gd name="T45" fmla="*/ 22 h 131"/>
              <a:gd name="T46" fmla="*/ 48 w 160"/>
              <a:gd name="T47" fmla="*/ 22 h 131"/>
              <a:gd name="T48" fmla="*/ 51 w 160"/>
              <a:gd name="T49" fmla="*/ 23 h 131"/>
              <a:gd name="T50" fmla="*/ 61 w 160"/>
              <a:gd name="T51" fmla="*/ 40 h 131"/>
              <a:gd name="T52" fmla="*/ 67 w 160"/>
              <a:gd name="T53" fmla="*/ 40 h 131"/>
              <a:gd name="T54" fmla="*/ 91 w 160"/>
              <a:gd name="T55" fmla="*/ 5 h 131"/>
              <a:gd name="T56" fmla="*/ 120 w 160"/>
              <a:gd name="T57" fmla="*/ 43 h 131"/>
              <a:gd name="T58" fmla="*/ 120 w 160"/>
              <a:gd name="T59" fmla="*/ 48 h 131"/>
              <a:gd name="T60" fmla="*/ 133 w 160"/>
              <a:gd name="T61" fmla="*/ 48 h 131"/>
              <a:gd name="T62" fmla="*/ 128 w 160"/>
              <a:gd name="T63" fmla="*/ 101 h 131"/>
              <a:gd name="T64" fmla="*/ 83 w 160"/>
              <a:gd name="T65" fmla="*/ 104 h 131"/>
              <a:gd name="T66" fmla="*/ 77 w 160"/>
              <a:gd name="T67" fmla="*/ 104 h 131"/>
              <a:gd name="T68" fmla="*/ 80 w 160"/>
              <a:gd name="T69" fmla="*/ 80 h 131"/>
              <a:gd name="T70" fmla="*/ 83 w 160"/>
              <a:gd name="T71" fmla="*/ 115 h 131"/>
              <a:gd name="T72" fmla="*/ 80 w 160"/>
              <a:gd name="T73" fmla="*/ 120 h 131"/>
              <a:gd name="T74" fmla="*/ 77 w 160"/>
              <a:gd name="T75" fmla="*/ 115 h 131"/>
              <a:gd name="T76" fmla="*/ 83 w 160"/>
              <a:gd name="T77" fmla="*/ 11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31">
                <a:moveTo>
                  <a:pt x="136" y="43"/>
                </a:moveTo>
                <a:cubicBezTo>
                  <a:pt x="135" y="19"/>
                  <a:pt x="115" y="0"/>
                  <a:pt x="91" y="0"/>
                </a:cubicBezTo>
                <a:cubicBezTo>
                  <a:pt x="76" y="0"/>
                  <a:pt x="62" y="7"/>
                  <a:pt x="54" y="19"/>
                </a:cubicBezTo>
                <a:cubicBezTo>
                  <a:pt x="54" y="19"/>
                  <a:pt x="53" y="19"/>
                  <a:pt x="53" y="18"/>
                </a:cubicBezTo>
                <a:cubicBezTo>
                  <a:pt x="53" y="18"/>
                  <a:pt x="52" y="18"/>
                  <a:pt x="51" y="18"/>
                </a:cubicBezTo>
                <a:cubicBezTo>
                  <a:pt x="51" y="18"/>
                  <a:pt x="51" y="17"/>
                  <a:pt x="51" y="17"/>
                </a:cubicBezTo>
                <a:cubicBezTo>
                  <a:pt x="50" y="17"/>
                  <a:pt x="49" y="17"/>
                  <a:pt x="49" y="17"/>
                </a:cubicBezTo>
                <a:cubicBezTo>
                  <a:pt x="49" y="17"/>
                  <a:pt x="48" y="17"/>
                  <a:pt x="48" y="17"/>
                </a:cubicBezTo>
                <a:cubicBezTo>
                  <a:pt x="47" y="16"/>
                  <a:pt x="47" y="16"/>
                  <a:pt x="46" y="16"/>
                </a:cubicBezTo>
                <a:cubicBezTo>
                  <a:pt x="46" y="16"/>
                  <a:pt x="46" y="16"/>
                  <a:pt x="45" y="16"/>
                </a:cubicBezTo>
                <a:cubicBezTo>
                  <a:pt x="44" y="16"/>
                  <a:pt x="44" y="16"/>
                  <a:pt x="43" y="16"/>
                </a:cubicBezTo>
                <a:cubicBezTo>
                  <a:pt x="29" y="16"/>
                  <a:pt x="19" y="27"/>
                  <a:pt x="19" y="40"/>
                </a:cubicBezTo>
                <a:cubicBezTo>
                  <a:pt x="19" y="40"/>
                  <a:pt x="19" y="41"/>
                  <a:pt x="19" y="41"/>
                </a:cubicBezTo>
                <a:cubicBezTo>
                  <a:pt x="8" y="47"/>
                  <a:pt x="0" y="60"/>
                  <a:pt x="0" y="72"/>
                </a:cubicBezTo>
                <a:cubicBezTo>
                  <a:pt x="0" y="91"/>
                  <a:pt x="15" y="107"/>
                  <a:pt x="34" y="107"/>
                </a:cubicBezTo>
                <a:cubicBezTo>
                  <a:pt x="51" y="107"/>
                  <a:pt x="51" y="107"/>
                  <a:pt x="51" y="107"/>
                </a:cubicBezTo>
                <a:cubicBezTo>
                  <a:pt x="37" y="131"/>
                  <a:pt x="37" y="131"/>
                  <a:pt x="37" y="131"/>
                </a:cubicBezTo>
                <a:cubicBezTo>
                  <a:pt x="123" y="131"/>
                  <a:pt x="123" y="131"/>
                  <a:pt x="123" y="131"/>
                </a:cubicBezTo>
                <a:cubicBezTo>
                  <a:pt x="109" y="107"/>
                  <a:pt x="109" y="107"/>
                  <a:pt x="109" y="107"/>
                </a:cubicBezTo>
                <a:cubicBezTo>
                  <a:pt x="128" y="107"/>
                  <a:pt x="128" y="107"/>
                  <a:pt x="128" y="107"/>
                </a:cubicBezTo>
                <a:cubicBezTo>
                  <a:pt x="146" y="107"/>
                  <a:pt x="160" y="92"/>
                  <a:pt x="160" y="75"/>
                </a:cubicBezTo>
                <a:cubicBezTo>
                  <a:pt x="160" y="60"/>
                  <a:pt x="150" y="47"/>
                  <a:pt x="136" y="43"/>
                </a:cubicBezTo>
                <a:close/>
                <a:moveTo>
                  <a:pt x="114" y="125"/>
                </a:moveTo>
                <a:cubicBezTo>
                  <a:pt x="46" y="125"/>
                  <a:pt x="46" y="125"/>
                  <a:pt x="46" y="125"/>
                </a:cubicBezTo>
                <a:cubicBezTo>
                  <a:pt x="57" y="107"/>
                  <a:pt x="57" y="107"/>
                  <a:pt x="57" y="107"/>
                </a:cubicBezTo>
                <a:cubicBezTo>
                  <a:pt x="57" y="107"/>
                  <a:pt x="57" y="107"/>
                  <a:pt x="57" y="107"/>
                </a:cubicBezTo>
                <a:cubicBezTo>
                  <a:pt x="80" y="68"/>
                  <a:pt x="80" y="68"/>
                  <a:pt x="80" y="68"/>
                </a:cubicBezTo>
                <a:cubicBezTo>
                  <a:pt x="103" y="107"/>
                  <a:pt x="103" y="107"/>
                  <a:pt x="103" y="107"/>
                </a:cubicBezTo>
                <a:cubicBezTo>
                  <a:pt x="103" y="107"/>
                  <a:pt x="103" y="107"/>
                  <a:pt x="103" y="107"/>
                </a:cubicBezTo>
                <a:lnTo>
                  <a:pt x="114" y="125"/>
                </a:lnTo>
                <a:close/>
                <a:moveTo>
                  <a:pt x="128" y="101"/>
                </a:moveTo>
                <a:cubicBezTo>
                  <a:pt x="106" y="101"/>
                  <a:pt x="106" y="101"/>
                  <a:pt x="106" y="101"/>
                </a:cubicBezTo>
                <a:cubicBezTo>
                  <a:pt x="80" y="57"/>
                  <a:pt x="80" y="57"/>
                  <a:pt x="80" y="57"/>
                </a:cubicBezTo>
                <a:cubicBezTo>
                  <a:pt x="54" y="101"/>
                  <a:pt x="54" y="101"/>
                  <a:pt x="54" y="101"/>
                </a:cubicBezTo>
                <a:cubicBezTo>
                  <a:pt x="34" y="101"/>
                  <a:pt x="34" y="101"/>
                  <a:pt x="34" y="101"/>
                </a:cubicBezTo>
                <a:cubicBezTo>
                  <a:pt x="18" y="101"/>
                  <a:pt x="5" y="88"/>
                  <a:pt x="5" y="72"/>
                </a:cubicBezTo>
                <a:cubicBezTo>
                  <a:pt x="5" y="61"/>
                  <a:pt x="13" y="50"/>
                  <a:pt x="22" y="45"/>
                </a:cubicBezTo>
                <a:cubicBezTo>
                  <a:pt x="24" y="44"/>
                  <a:pt x="24" y="44"/>
                  <a:pt x="24" y="44"/>
                </a:cubicBezTo>
                <a:cubicBezTo>
                  <a:pt x="24" y="43"/>
                  <a:pt x="24" y="43"/>
                  <a:pt x="24" y="43"/>
                </a:cubicBezTo>
                <a:cubicBezTo>
                  <a:pt x="24" y="42"/>
                  <a:pt x="24" y="42"/>
                  <a:pt x="24" y="42"/>
                </a:cubicBezTo>
                <a:cubicBezTo>
                  <a:pt x="24" y="41"/>
                  <a:pt x="24" y="41"/>
                  <a:pt x="24" y="41"/>
                </a:cubicBezTo>
                <a:cubicBezTo>
                  <a:pt x="24" y="41"/>
                  <a:pt x="24" y="41"/>
                  <a:pt x="24" y="41"/>
                </a:cubicBezTo>
                <a:cubicBezTo>
                  <a:pt x="24" y="40"/>
                  <a:pt x="24" y="40"/>
                  <a:pt x="24" y="40"/>
                </a:cubicBezTo>
                <a:cubicBezTo>
                  <a:pt x="24" y="30"/>
                  <a:pt x="32" y="21"/>
                  <a:pt x="43" y="21"/>
                </a:cubicBezTo>
                <a:cubicBezTo>
                  <a:pt x="43" y="21"/>
                  <a:pt x="44" y="21"/>
                  <a:pt x="45" y="22"/>
                </a:cubicBezTo>
                <a:cubicBezTo>
                  <a:pt x="45" y="22"/>
                  <a:pt x="46" y="22"/>
                  <a:pt x="46" y="22"/>
                </a:cubicBezTo>
                <a:cubicBezTo>
                  <a:pt x="46" y="22"/>
                  <a:pt x="47" y="22"/>
                  <a:pt x="48" y="22"/>
                </a:cubicBezTo>
                <a:cubicBezTo>
                  <a:pt x="48" y="22"/>
                  <a:pt x="48" y="22"/>
                  <a:pt x="48" y="22"/>
                </a:cubicBezTo>
                <a:cubicBezTo>
                  <a:pt x="49" y="22"/>
                  <a:pt x="50" y="23"/>
                  <a:pt x="50" y="23"/>
                </a:cubicBezTo>
                <a:cubicBezTo>
                  <a:pt x="51" y="23"/>
                  <a:pt x="51" y="23"/>
                  <a:pt x="51" y="23"/>
                </a:cubicBezTo>
                <a:cubicBezTo>
                  <a:pt x="52" y="24"/>
                  <a:pt x="52" y="24"/>
                  <a:pt x="53" y="24"/>
                </a:cubicBezTo>
                <a:cubicBezTo>
                  <a:pt x="58" y="28"/>
                  <a:pt x="61" y="33"/>
                  <a:pt x="61" y="40"/>
                </a:cubicBezTo>
                <a:cubicBezTo>
                  <a:pt x="61" y="41"/>
                  <a:pt x="63" y="43"/>
                  <a:pt x="64" y="43"/>
                </a:cubicBezTo>
                <a:cubicBezTo>
                  <a:pt x="65" y="43"/>
                  <a:pt x="67" y="41"/>
                  <a:pt x="67" y="40"/>
                </a:cubicBezTo>
                <a:cubicBezTo>
                  <a:pt x="67" y="33"/>
                  <a:pt x="63" y="26"/>
                  <a:pt x="58" y="22"/>
                </a:cubicBezTo>
                <a:cubicBezTo>
                  <a:pt x="66" y="12"/>
                  <a:pt x="78" y="5"/>
                  <a:pt x="91" y="5"/>
                </a:cubicBezTo>
                <a:cubicBezTo>
                  <a:pt x="112" y="5"/>
                  <a:pt x="129" y="22"/>
                  <a:pt x="130" y="42"/>
                </a:cubicBezTo>
                <a:cubicBezTo>
                  <a:pt x="128" y="42"/>
                  <a:pt x="124" y="42"/>
                  <a:pt x="120" y="43"/>
                </a:cubicBezTo>
                <a:cubicBezTo>
                  <a:pt x="118" y="43"/>
                  <a:pt x="117" y="44"/>
                  <a:pt x="117" y="46"/>
                </a:cubicBezTo>
                <a:cubicBezTo>
                  <a:pt x="118" y="47"/>
                  <a:pt x="119" y="48"/>
                  <a:pt x="120" y="48"/>
                </a:cubicBezTo>
                <a:cubicBezTo>
                  <a:pt x="120" y="48"/>
                  <a:pt x="120" y="48"/>
                  <a:pt x="120" y="48"/>
                </a:cubicBezTo>
                <a:cubicBezTo>
                  <a:pt x="126" y="47"/>
                  <a:pt x="133" y="48"/>
                  <a:pt x="133" y="48"/>
                </a:cubicBezTo>
                <a:cubicBezTo>
                  <a:pt x="145" y="50"/>
                  <a:pt x="155" y="62"/>
                  <a:pt x="155" y="75"/>
                </a:cubicBezTo>
                <a:cubicBezTo>
                  <a:pt x="155" y="89"/>
                  <a:pt x="143" y="101"/>
                  <a:pt x="128" y="101"/>
                </a:cubicBezTo>
                <a:close/>
                <a:moveTo>
                  <a:pt x="83" y="83"/>
                </a:moveTo>
                <a:cubicBezTo>
                  <a:pt x="83" y="104"/>
                  <a:pt x="83" y="104"/>
                  <a:pt x="83" y="104"/>
                </a:cubicBezTo>
                <a:cubicBezTo>
                  <a:pt x="83" y="105"/>
                  <a:pt x="81" y="107"/>
                  <a:pt x="80" y="107"/>
                </a:cubicBezTo>
                <a:cubicBezTo>
                  <a:pt x="79" y="107"/>
                  <a:pt x="77" y="105"/>
                  <a:pt x="77" y="104"/>
                </a:cubicBezTo>
                <a:cubicBezTo>
                  <a:pt x="77" y="83"/>
                  <a:pt x="77" y="83"/>
                  <a:pt x="77" y="83"/>
                </a:cubicBezTo>
                <a:cubicBezTo>
                  <a:pt x="77" y="81"/>
                  <a:pt x="79" y="80"/>
                  <a:pt x="80" y="80"/>
                </a:cubicBezTo>
                <a:cubicBezTo>
                  <a:pt x="81" y="80"/>
                  <a:pt x="83" y="81"/>
                  <a:pt x="83" y="83"/>
                </a:cubicBezTo>
                <a:close/>
                <a:moveTo>
                  <a:pt x="83" y="115"/>
                </a:moveTo>
                <a:cubicBezTo>
                  <a:pt x="83" y="117"/>
                  <a:pt x="83" y="117"/>
                  <a:pt x="83" y="117"/>
                </a:cubicBezTo>
                <a:cubicBezTo>
                  <a:pt x="83" y="119"/>
                  <a:pt x="81" y="120"/>
                  <a:pt x="80" y="120"/>
                </a:cubicBezTo>
                <a:cubicBezTo>
                  <a:pt x="79" y="120"/>
                  <a:pt x="77" y="119"/>
                  <a:pt x="77" y="117"/>
                </a:cubicBezTo>
                <a:cubicBezTo>
                  <a:pt x="77" y="115"/>
                  <a:pt x="77" y="115"/>
                  <a:pt x="77" y="115"/>
                </a:cubicBezTo>
                <a:cubicBezTo>
                  <a:pt x="77" y="113"/>
                  <a:pt x="79" y="112"/>
                  <a:pt x="80" y="112"/>
                </a:cubicBezTo>
                <a:cubicBezTo>
                  <a:pt x="81" y="112"/>
                  <a:pt x="83" y="113"/>
                  <a:pt x="83" y="11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1102">
            <a:extLst>
              <a:ext uri="{FF2B5EF4-FFF2-40B4-BE49-F238E27FC236}">
                <a16:creationId xmlns:a16="http://schemas.microsoft.com/office/drawing/2014/main" id="{34143728-34C2-E94C-B603-569B80EF5A4F}"/>
              </a:ext>
            </a:extLst>
          </p:cNvPr>
          <p:cNvSpPr>
            <a:spLocks noEditPoints="1"/>
          </p:cNvSpPr>
          <p:nvPr/>
        </p:nvSpPr>
        <p:spPr bwMode="auto">
          <a:xfrm>
            <a:off x="5354520" y="3503613"/>
            <a:ext cx="546100" cy="466725"/>
          </a:xfrm>
          <a:custGeom>
            <a:avLst/>
            <a:gdLst>
              <a:gd name="T0" fmla="*/ 128 w 160"/>
              <a:gd name="T1" fmla="*/ 107 h 136"/>
              <a:gd name="T2" fmla="*/ 115 w 160"/>
              <a:gd name="T3" fmla="*/ 104 h 136"/>
              <a:gd name="T4" fmla="*/ 128 w 160"/>
              <a:gd name="T5" fmla="*/ 101 h 136"/>
              <a:gd name="T6" fmla="*/ 133 w 160"/>
              <a:gd name="T7" fmla="*/ 48 h 136"/>
              <a:gd name="T8" fmla="*/ 120 w 160"/>
              <a:gd name="T9" fmla="*/ 48 h 136"/>
              <a:gd name="T10" fmla="*/ 120 w 160"/>
              <a:gd name="T11" fmla="*/ 43 h 136"/>
              <a:gd name="T12" fmla="*/ 91 w 160"/>
              <a:gd name="T13" fmla="*/ 5 h 136"/>
              <a:gd name="T14" fmla="*/ 67 w 160"/>
              <a:gd name="T15" fmla="*/ 40 h 136"/>
              <a:gd name="T16" fmla="*/ 61 w 160"/>
              <a:gd name="T17" fmla="*/ 40 h 136"/>
              <a:gd name="T18" fmla="*/ 51 w 160"/>
              <a:gd name="T19" fmla="*/ 23 h 136"/>
              <a:gd name="T20" fmla="*/ 48 w 160"/>
              <a:gd name="T21" fmla="*/ 22 h 136"/>
              <a:gd name="T22" fmla="*/ 46 w 160"/>
              <a:gd name="T23" fmla="*/ 22 h 136"/>
              <a:gd name="T24" fmla="*/ 43 w 160"/>
              <a:gd name="T25" fmla="*/ 21 h 136"/>
              <a:gd name="T26" fmla="*/ 24 w 160"/>
              <a:gd name="T27" fmla="*/ 41 h 136"/>
              <a:gd name="T28" fmla="*/ 24 w 160"/>
              <a:gd name="T29" fmla="*/ 42 h 136"/>
              <a:gd name="T30" fmla="*/ 24 w 160"/>
              <a:gd name="T31" fmla="*/ 44 h 136"/>
              <a:gd name="T32" fmla="*/ 5 w 160"/>
              <a:gd name="T33" fmla="*/ 72 h 136"/>
              <a:gd name="T34" fmla="*/ 48 w 160"/>
              <a:gd name="T35" fmla="*/ 101 h 136"/>
              <a:gd name="T36" fmla="*/ 48 w 160"/>
              <a:gd name="T37" fmla="*/ 107 h 136"/>
              <a:gd name="T38" fmla="*/ 0 w 160"/>
              <a:gd name="T39" fmla="*/ 72 h 136"/>
              <a:gd name="T40" fmla="*/ 19 w 160"/>
              <a:gd name="T41" fmla="*/ 40 h 136"/>
              <a:gd name="T42" fmla="*/ 45 w 160"/>
              <a:gd name="T43" fmla="*/ 16 h 136"/>
              <a:gd name="T44" fmla="*/ 48 w 160"/>
              <a:gd name="T45" fmla="*/ 17 h 136"/>
              <a:gd name="T46" fmla="*/ 51 w 160"/>
              <a:gd name="T47" fmla="*/ 17 h 136"/>
              <a:gd name="T48" fmla="*/ 53 w 160"/>
              <a:gd name="T49" fmla="*/ 18 h 136"/>
              <a:gd name="T50" fmla="*/ 91 w 160"/>
              <a:gd name="T51" fmla="*/ 0 h 136"/>
              <a:gd name="T52" fmla="*/ 160 w 160"/>
              <a:gd name="T53" fmla="*/ 75 h 136"/>
              <a:gd name="T54" fmla="*/ 85 w 160"/>
              <a:gd name="T55" fmla="*/ 127 h 136"/>
              <a:gd name="T56" fmla="*/ 83 w 160"/>
              <a:gd name="T57" fmla="*/ 69 h 136"/>
              <a:gd name="T58" fmla="*/ 80 w 160"/>
              <a:gd name="T59" fmla="*/ 127 h 136"/>
              <a:gd name="T60" fmla="*/ 59 w 160"/>
              <a:gd name="T61" fmla="*/ 110 h 136"/>
              <a:gd name="T62" fmla="*/ 81 w 160"/>
              <a:gd name="T63" fmla="*/ 135 h 136"/>
              <a:gd name="T64" fmla="*/ 83 w 160"/>
              <a:gd name="T65" fmla="*/ 136 h 136"/>
              <a:gd name="T66" fmla="*/ 85 w 160"/>
              <a:gd name="T67" fmla="*/ 135 h 136"/>
              <a:gd name="T68" fmla="*/ 106 w 160"/>
              <a:gd name="T69"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36">
                <a:moveTo>
                  <a:pt x="160" y="75"/>
                </a:moveTo>
                <a:cubicBezTo>
                  <a:pt x="160" y="92"/>
                  <a:pt x="146" y="107"/>
                  <a:pt x="128" y="107"/>
                </a:cubicBezTo>
                <a:cubicBezTo>
                  <a:pt x="117" y="107"/>
                  <a:pt x="117" y="107"/>
                  <a:pt x="117" y="107"/>
                </a:cubicBezTo>
                <a:cubicBezTo>
                  <a:pt x="116" y="107"/>
                  <a:pt x="115" y="105"/>
                  <a:pt x="115" y="104"/>
                </a:cubicBezTo>
                <a:cubicBezTo>
                  <a:pt x="115" y="103"/>
                  <a:pt x="116" y="101"/>
                  <a:pt x="117" y="101"/>
                </a:cubicBezTo>
                <a:cubicBezTo>
                  <a:pt x="128" y="101"/>
                  <a:pt x="128" y="101"/>
                  <a:pt x="128" y="101"/>
                </a:cubicBezTo>
                <a:cubicBezTo>
                  <a:pt x="143" y="101"/>
                  <a:pt x="155" y="89"/>
                  <a:pt x="155" y="75"/>
                </a:cubicBezTo>
                <a:cubicBezTo>
                  <a:pt x="155" y="62"/>
                  <a:pt x="145" y="50"/>
                  <a:pt x="133" y="48"/>
                </a:cubicBezTo>
                <a:cubicBezTo>
                  <a:pt x="133" y="48"/>
                  <a:pt x="126" y="47"/>
                  <a:pt x="120" y="48"/>
                </a:cubicBezTo>
                <a:cubicBezTo>
                  <a:pt x="120" y="48"/>
                  <a:pt x="120" y="48"/>
                  <a:pt x="120" y="48"/>
                </a:cubicBezTo>
                <a:cubicBezTo>
                  <a:pt x="119" y="48"/>
                  <a:pt x="118" y="47"/>
                  <a:pt x="117" y="46"/>
                </a:cubicBezTo>
                <a:cubicBezTo>
                  <a:pt x="117" y="44"/>
                  <a:pt x="118" y="43"/>
                  <a:pt x="120" y="43"/>
                </a:cubicBezTo>
                <a:cubicBezTo>
                  <a:pt x="124" y="42"/>
                  <a:pt x="128" y="42"/>
                  <a:pt x="130" y="42"/>
                </a:cubicBezTo>
                <a:cubicBezTo>
                  <a:pt x="129" y="22"/>
                  <a:pt x="112" y="5"/>
                  <a:pt x="91" y="5"/>
                </a:cubicBezTo>
                <a:cubicBezTo>
                  <a:pt x="78" y="5"/>
                  <a:pt x="66" y="12"/>
                  <a:pt x="58" y="22"/>
                </a:cubicBezTo>
                <a:cubicBezTo>
                  <a:pt x="63" y="26"/>
                  <a:pt x="67" y="33"/>
                  <a:pt x="67" y="40"/>
                </a:cubicBezTo>
                <a:cubicBezTo>
                  <a:pt x="67" y="41"/>
                  <a:pt x="65" y="43"/>
                  <a:pt x="64" y="43"/>
                </a:cubicBezTo>
                <a:cubicBezTo>
                  <a:pt x="63" y="43"/>
                  <a:pt x="61" y="41"/>
                  <a:pt x="61" y="40"/>
                </a:cubicBezTo>
                <a:cubicBezTo>
                  <a:pt x="61" y="33"/>
                  <a:pt x="58" y="28"/>
                  <a:pt x="53" y="24"/>
                </a:cubicBezTo>
                <a:cubicBezTo>
                  <a:pt x="52" y="24"/>
                  <a:pt x="52" y="24"/>
                  <a:pt x="51" y="23"/>
                </a:cubicBezTo>
                <a:cubicBezTo>
                  <a:pt x="51" y="23"/>
                  <a:pt x="51" y="23"/>
                  <a:pt x="50" y="23"/>
                </a:cubicBezTo>
                <a:cubicBezTo>
                  <a:pt x="50" y="23"/>
                  <a:pt x="49" y="22"/>
                  <a:pt x="48" y="22"/>
                </a:cubicBezTo>
                <a:cubicBezTo>
                  <a:pt x="48" y="22"/>
                  <a:pt x="48" y="22"/>
                  <a:pt x="48" y="22"/>
                </a:cubicBezTo>
                <a:cubicBezTo>
                  <a:pt x="47" y="22"/>
                  <a:pt x="46" y="22"/>
                  <a:pt x="46" y="22"/>
                </a:cubicBezTo>
                <a:cubicBezTo>
                  <a:pt x="46" y="22"/>
                  <a:pt x="45" y="22"/>
                  <a:pt x="45" y="22"/>
                </a:cubicBezTo>
                <a:cubicBezTo>
                  <a:pt x="44" y="21"/>
                  <a:pt x="43" y="21"/>
                  <a:pt x="43" y="21"/>
                </a:cubicBezTo>
                <a:cubicBezTo>
                  <a:pt x="32" y="21"/>
                  <a:pt x="24" y="30"/>
                  <a:pt x="24" y="40"/>
                </a:cubicBezTo>
                <a:cubicBezTo>
                  <a:pt x="24" y="40"/>
                  <a:pt x="24" y="40"/>
                  <a:pt x="24" y="41"/>
                </a:cubicBezTo>
                <a:cubicBezTo>
                  <a:pt x="24" y="41"/>
                  <a:pt x="24" y="41"/>
                  <a:pt x="24" y="41"/>
                </a:cubicBezTo>
                <a:cubicBezTo>
                  <a:pt x="24" y="42"/>
                  <a:pt x="24" y="42"/>
                  <a:pt x="24" y="42"/>
                </a:cubicBezTo>
                <a:cubicBezTo>
                  <a:pt x="24" y="42"/>
                  <a:pt x="24" y="42"/>
                  <a:pt x="24" y="43"/>
                </a:cubicBezTo>
                <a:cubicBezTo>
                  <a:pt x="24" y="44"/>
                  <a:pt x="24" y="44"/>
                  <a:pt x="24" y="44"/>
                </a:cubicBezTo>
                <a:cubicBezTo>
                  <a:pt x="22" y="45"/>
                  <a:pt x="22" y="45"/>
                  <a:pt x="22" y="45"/>
                </a:cubicBezTo>
                <a:cubicBezTo>
                  <a:pt x="13" y="50"/>
                  <a:pt x="5" y="61"/>
                  <a:pt x="5" y="72"/>
                </a:cubicBezTo>
                <a:cubicBezTo>
                  <a:pt x="5" y="88"/>
                  <a:pt x="18" y="101"/>
                  <a:pt x="34" y="101"/>
                </a:cubicBezTo>
                <a:cubicBezTo>
                  <a:pt x="48" y="101"/>
                  <a:pt x="48" y="101"/>
                  <a:pt x="48" y="101"/>
                </a:cubicBezTo>
                <a:cubicBezTo>
                  <a:pt x="49" y="101"/>
                  <a:pt x="51" y="103"/>
                  <a:pt x="51" y="104"/>
                </a:cubicBezTo>
                <a:cubicBezTo>
                  <a:pt x="51" y="105"/>
                  <a:pt x="49" y="107"/>
                  <a:pt x="48" y="107"/>
                </a:cubicBezTo>
                <a:cubicBezTo>
                  <a:pt x="34" y="107"/>
                  <a:pt x="34" y="107"/>
                  <a:pt x="34" y="107"/>
                </a:cubicBezTo>
                <a:cubicBezTo>
                  <a:pt x="15" y="107"/>
                  <a:pt x="0" y="91"/>
                  <a:pt x="0" y="72"/>
                </a:cubicBezTo>
                <a:cubicBezTo>
                  <a:pt x="0" y="60"/>
                  <a:pt x="8" y="47"/>
                  <a:pt x="19" y="41"/>
                </a:cubicBezTo>
                <a:cubicBezTo>
                  <a:pt x="19" y="41"/>
                  <a:pt x="19" y="40"/>
                  <a:pt x="19" y="40"/>
                </a:cubicBezTo>
                <a:cubicBezTo>
                  <a:pt x="19" y="27"/>
                  <a:pt x="29" y="16"/>
                  <a:pt x="43" y="16"/>
                </a:cubicBezTo>
                <a:cubicBezTo>
                  <a:pt x="44" y="16"/>
                  <a:pt x="44" y="16"/>
                  <a:pt x="45" y="16"/>
                </a:cubicBezTo>
                <a:cubicBezTo>
                  <a:pt x="46" y="16"/>
                  <a:pt x="46" y="16"/>
                  <a:pt x="46" y="16"/>
                </a:cubicBezTo>
                <a:cubicBezTo>
                  <a:pt x="47" y="16"/>
                  <a:pt x="47" y="16"/>
                  <a:pt x="48" y="17"/>
                </a:cubicBezTo>
                <a:cubicBezTo>
                  <a:pt x="48" y="17"/>
                  <a:pt x="49" y="17"/>
                  <a:pt x="49" y="17"/>
                </a:cubicBezTo>
                <a:cubicBezTo>
                  <a:pt x="49" y="17"/>
                  <a:pt x="50" y="17"/>
                  <a:pt x="51" y="17"/>
                </a:cubicBezTo>
                <a:cubicBezTo>
                  <a:pt x="51" y="17"/>
                  <a:pt x="51" y="18"/>
                  <a:pt x="51" y="18"/>
                </a:cubicBezTo>
                <a:cubicBezTo>
                  <a:pt x="52" y="18"/>
                  <a:pt x="53" y="18"/>
                  <a:pt x="53" y="18"/>
                </a:cubicBezTo>
                <a:cubicBezTo>
                  <a:pt x="53" y="19"/>
                  <a:pt x="54" y="19"/>
                  <a:pt x="54" y="19"/>
                </a:cubicBezTo>
                <a:cubicBezTo>
                  <a:pt x="62" y="7"/>
                  <a:pt x="76" y="0"/>
                  <a:pt x="91" y="0"/>
                </a:cubicBezTo>
                <a:cubicBezTo>
                  <a:pt x="115" y="0"/>
                  <a:pt x="135" y="19"/>
                  <a:pt x="136" y="43"/>
                </a:cubicBezTo>
                <a:cubicBezTo>
                  <a:pt x="150" y="47"/>
                  <a:pt x="160" y="60"/>
                  <a:pt x="160" y="75"/>
                </a:cubicBezTo>
                <a:close/>
                <a:moveTo>
                  <a:pt x="102" y="110"/>
                </a:moveTo>
                <a:cubicBezTo>
                  <a:pt x="85" y="127"/>
                  <a:pt x="85" y="127"/>
                  <a:pt x="85" y="127"/>
                </a:cubicBezTo>
                <a:cubicBezTo>
                  <a:pt x="85" y="72"/>
                  <a:pt x="85" y="72"/>
                  <a:pt x="85" y="72"/>
                </a:cubicBezTo>
                <a:cubicBezTo>
                  <a:pt x="85" y="71"/>
                  <a:pt x="84" y="69"/>
                  <a:pt x="83" y="69"/>
                </a:cubicBezTo>
                <a:cubicBezTo>
                  <a:pt x="81" y="69"/>
                  <a:pt x="80" y="71"/>
                  <a:pt x="80" y="72"/>
                </a:cubicBezTo>
                <a:cubicBezTo>
                  <a:pt x="80" y="127"/>
                  <a:pt x="80" y="127"/>
                  <a:pt x="80" y="127"/>
                </a:cubicBezTo>
                <a:cubicBezTo>
                  <a:pt x="63" y="110"/>
                  <a:pt x="63" y="110"/>
                  <a:pt x="63" y="110"/>
                </a:cubicBezTo>
                <a:cubicBezTo>
                  <a:pt x="62" y="109"/>
                  <a:pt x="60" y="109"/>
                  <a:pt x="59" y="110"/>
                </a:cubicBezTo>
                <a:cubicBezTo>
                  <a:pt x="58" y="111"/>
                  <a:pt x="58" y="113"/>
                  <a:pt x="59" y="114"/>
                </a:cubicBezTo>
                <a:cubicBezTo>
                  <a:pt x="81" y="135"/>
                  <a:pt x="81" y="135"/>
                  <a:pt x="81" y="135"/>
                </a:cubicBezTo>
                <a:cubicBezTo>
                  <a:pt x="81" y="135"/>
                  <a:pt x="81" y="136"/>
                  <a:pt x="82" y="136"/>
                </a:cubicBezTo>
                <a:cubicBezTo>
                  <a:pt x="82" y="136"/>
                  <a:pt x="82" y="136"/>
                  <a:pt x="83" y="136"/>
                </a:cubicBezTo>
                <a:cubicBezTo>
                  <a:pt x="83" y="136"/>
                  <a:pt x="83" y="136"/>
                  <a:pt x="84" y="136"/>
                </a:cubicBezTo>
                <a:cubicBezTo>
                  <a:pt x="84" y="136"/>
                  <a:pt x="84" y="135"/>
                  <a:pt x="85" y="135"/>
                </a:cubicBezTo>
                <a:cubicBezTo>
                  <a:pt x="106" y="114"/>
                  <a:pt x="106" y="114"/>
                  <a:pt x="106" y="114"/>
                </a:cubicBezTo>
                <a:cubicBezTo>
                  <a:pt x="107" y="113"/>
                  <a:pt x="107" y="111"/>
                  <a:pt x="106" y="110"/>
                </a:cubicBezTo>
                <a:cubicBezTo>
                  <a:pt x="105" y="109"/>
                  <a:pt x="103" y="109"/>
                  <a:pt x="102" y="11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6" name="Freeform 1103">
            <a:extLst>
              <a:ext uri="{FF2B5EF4-FFF2-40B4-BE49-F238E27FC236}">
                <a16:creationId xmlns:a16="http://schemas.microsoft.com/office/drawing/2014/main" id="{30B943F9-6722-1248-B46C-3BB7732C2654}"/>
              </a:ext>
            </a:extLst>
          </p:cNvPr>
          <p:cNvSpPr>
            <a:spLocks noEditPoints="1"/>
          </p:cNvSpPr>
          <p:nvPr/>
        </p:nvSpPr>
        <p:spPr bwMode="auto">
          <a:xfrm>
            <a:off x="5354520" y="4164013"/>
            <a:ext cx="546100" cy="368300"/>
          </a:xfrm>
          <a:custGeom>
            <a:avLst/>
            <a:gdLst>
              <a:gd name="T0" fmla="*/ 136 w 160"/>
              <a:gd name="T1" fmla="*/ 43 h 107"/>
              <a:gd name="T2" fmla="*/ 91 w 160"/>
              <a:gd name="T3" fmla="*/ 0 h 107"/>
              <a:gd name="T4" fmla="*/ 54 w 160"/>
              <a:gd name="T5" fmla="*/ 19 h 107"/>
              <a:gd name="T6" fmla="*/ 53 w 160"/>
              <a:gd name="T7" fmla="*/ 18 h 107"/>
              <a:gd name="T8" fmla="*/ 51 w 160"/>
              <a:gd name="T9" fmla="*/ 18 h 107"/>
              <a:gd name="T10" fmla="*/ 51 w 160"/>
              <a:gd name="T11" fmla="*/ 17 h 107"/>
              <a:gd name="T12" fmla="*/ 49 w 160"/>
              <a:gd name="T13" fmla="*/ 17 h 107"/>
              <a:gd name="T14" fmla="*/ 48 w 160"/>
              <a:gd name="T15" fmla="*/ 17 h 107"/>
              <a:gd name="T16" fmla="*/ 46 w 160"/>
              <a:gd name="T17" fmla="*/ 16 h 107"/>
              <a:gd name="T18" fmla="*/ 45 w 160"/>
              <a:gd name="T19" fmla="*/ 16 h 107"/>
              <a:gd name="T20" fmla="*/ 43 w 160"/>
              <a:gd name="T21" fmla="*/ 16 h 107"/>
              <a:gd name="T22" fmla="*/ 19 w 160"/>
              <a:gd name="T23" fmla="*/ 40 h 107"/>
              <a:gd name="T24" fmla="*/ 19 w 160"/>
              <a:gd name="T25" fmla="*/ 41 h 107"/>
              <a:gd name="T26" fmla="*/ 19 w 160"/>
              <a:gd name="T27" fmla="*/ 41 h 107"/>
              <a:gd name="T28" fmla="*/ 0 w 160"/>
              <a:gd name="T29" fmla="*/ 72 h 107"/>
              <a:gd name="T30" fmla="*/ 34 w 160"/>
              <a:gd name="T31" fmla="*/ 107 h 107"/>
              <a:gd name="T32" fmla="*/ 100 w 160"/>
              <a:gd name="T33" fmla="*/ 107 h 107"/>
              <a:gd name="T34" fmla="*/ 100 w 160"/>
              <a:gd name="T35" fmla="*/ 107 h 107"/>
              <a:gd name="T36" fmla="*/ 101 w 160"/>
              <a:gd name="T37" fmla="*/ 107 h 107"/>
              <a:gd name="T38" fmla="*/ 101 w 160"/>
              <a:gd name="T39" fmla="*/ 107 h 107"/>
              <a:gd name="T40" fmla="*/ 102 w 160"/>
              <a:gd name="T41" fmla="*/ 107 h 107"/>
              <a:gd name="T42" fmla="*/ 128 w 160"/>
              <a:gd name="T43" fmla="*/ 107 h 107"/>
              <a:gd name="T44" fmla="*/ 160 w 160"/>
              <a:gd name="T45" fmla="*/ 75 h 107"/>
              <a:gd name="T46" fmla="*/ 136 w 160"/>
              <a:gd name="T47" fmla="*/ 43 h 107"/>
              <a:gd name="T48" fmla="*/ 128 w 160"/>
              <a:gd name="T49" fmla="*/ 101 h 107"/>
              <a:gd name="T50" fmla="*/ 102 w 160"/>
              <a:gd name="T51" fmla="*/ 101 h 107"/>
              <a:gd name="T52" fmla="*/ 101 w 160"/>
              <a:gd name="T53" fmla="*/ 101 h 107"/>
              <a:gd name="T54" fmla="*/ 101 w 160"/>
              <a:gd name="T55" fmla="*/ 101 h 107"/>
              <a:gd name="T56" fmla="*/ 100 w 160"/>
              <a:gd name="T57" fmla="*/ 101 h 107"/>
              <a:gd name="T58" fmla="*/ 100 w 160"/>
              <a:gd name="T59" fmla="*/ 101 h 107"/>
              <a:gd name="T60" fmla="*/ 34 w 160"/>
              <a:gd name="T61" fmla="*/ 101 h 107"/>
              <a:gd name="T62" fmla="*/ 5 w 160"/>
              <a:gd name="T63" fmla="*/ 72 h 107"/>
              <a:gd name="T64" fmla="*/ 22 w 160"/>
              <a:gd name="T65" fmla="*/ 45 h 107"/>
              <a:gd name="T66" fmla="*/ 24 w 160"/>
              <a:gd name="T67" fmla="*/ 44 h 107"/>
              <a:gd name="T68" fmla="*/ 24 w 160"/>
              <a:gd name="T69" fmla="*/ 43 h 107"/>
              <a:gd name="T70" fmla="*/ 24 w 160"/>
              <a:gd name="T71" fmla="*/ 42 h 107"/>
              <a:gd name="T72" fmla="*/ 24 w 160"/>
              <a:gd name="T73" fmla="*/ 41 h 107"/>
              <a:gd name="T74" fmla="*/ 24 w 160"/>
              <a:gd name="T75" fmla="*/ 41 h 107"/>
              <a:gd name="T76" fmla="*/ 24 w 160"/>
              <a:gd name="T77" fmla="*/ 40 h 107"/>
              <a:gd name="T78" fmla="*/ 43 w 160"/>
              <a:gd name="T79" fmla="*/ 21 h 107"/>
              <a:gd name="T80" fmla="*/ 45 w 160"/>
              <a:gd name="T81" fmla="*/ 22 h 107"/>
              <a:gd name="T82" fmla="*/ 46 w 160"/>
              <a:gd name="T83" fmla="*/ 22 h 107"/>
              <a:gd name="T84" fmla="*/ 48 w 160"/>
              <a:gd name="T85" fmla="*/ 22 h 107"/>
              <a:gd name="T86" fmla="*/ 48 w 160"/>
              <a:gd name="T87" fmla="*/ 22 h 107"/>
              <a:gd name="T88" fmla="*/ 50 w 160"/>
              <a:gd name="T89" fmla="*/ 23 h 107"/>
              <a:gd name="T90" fmla="*/ 51 w 160"/>
              <a:gd name="T91" fmla="*/ 23 h 107"/>
              <a:gd name="T92" fmla="*/ 53 w 160"/>
              <a:gd name="T93" fmla="*/ 24 h 107"/>
              <a:gd name="T94" fmla="*/ 61 w 160"/>
              <a:gd name="T95" fmla="*/ 40 h 107"/>
              <a:gd name="T96" fmla="*/ 64 w 160"/>
              <a:gd name="T97" fmla="*/ 43 h 107"/>
              <a:gd name="T98" fmla="*/ 67 w 160"/>
              <a:gd name="T99" fmla="*/ 40 h 107"/>
              <a:gd name="T100" fmla="*/ 58 w 160"/>
              <a:gd name="T101" fmla="*/ 22 h 107"/>
              <a:gd name="T102" fmla="*/ 91 w 160"/>
              <a:gd name="T103" fmla="*/ 5 h 107"/>
              <a:gd name="T104" fmla="*/ 130 w 160"/>
              <a:gd name="T105" fmla="*/ 42 h 107"/>
              <a:gd name="T106" fmla="*/ 120 w 160"/>
              <a:gd name="T107" fmla="*/ 43 h 107"/>
              <a:gd name="T108" fmla="*/ 117 w 160"/>
              <a:gd name="T109" fmla="*/ 46 h 107"/>
              <a:gd name="T110" fmla="*/ 120 w 160"/>
              <a:gd name="T111" fmla="*/ 48 h 107"/>
              <a:gd name="T112" fmla="*/ 120 w 160"/>
              <a:gd name="T113" fmla="*/ 48 h 107"/>
              <a:gd name="T114" fmla="*/ 133 w 160"/>
              <a:gd name="T115" fmla="*/ 48 h 107"/>
              <a:gd name="T116" fmla="*/ 155 w 160"/>
              <a:gd name="T117" fmla="*/ 75 h 107"/>
              <a:gd name="T118" fmla="*/ 128 w 160"/>
              <a:gd name="T119"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07">
                <a:moveTo>
                  <a:pt x="136" y="43"/>
                </a:moveTo>
                <a:cubicBezTo>
                  <a:pt x="135" y="19"/>
                  <a:pt x="115" y="0"/>
                  <a:pt x="91" y="0"/>
                </a:cubicBezTo>
                <a:cubicBezTo>
                  <a:pt x="76" y="0"/>
                  <a:pt x="62" y="7"/>
                  <a:pt x="54" y="19"/>
                </a:cubicBezTo>
                <a:cubicBezTo>
                  <a:pt x="54" y="19"/>
                  <a:pt x="53" y="19"/>
                  <a:pt x="53" y="18"/>
                </a:cubicBezTo>
                <a:cubicBezTo>
                  <a:pt x="53" y="18"/>
                  <a:pt x="52" y="18"/>
                  <a:pt x="51" y="18"/>
                </a:cubicBezTo>
                <a:cubicBezTo>
                  <a:pt x="51" y="18"/>
                  <a:pt x="51" y="17"/>
                  <a:pt x="51" y="17"/>
                </a:cubicBezTo>
                <a:cubicBezTo>
                  <a:pt x="50" y="17"/>
                  <a:pt x="49" y="17"/>
                  <a:pt x="49" y="17"/>
                </a:cubicBezTo>
                <a:cubicBezTo>
                  <a:pt x="49" y="17"/>
                  <a:pt x="48" y="17"/>
                  <a:pt x="48" y="17"/>
                </a:cubicBezTo>
                <a:cubicBezTo>
                  <a:pt x="47" y="16"/>
                  <a:pt x="47" y="16"/>
                  <a:pt x="46" y="16"/>
                </a:cubicBezTo>
                <a:cubicBezTo>
                  <a:pt x="46" y="16"/>
                  <a:pt x="46" y="16"/>
                  <a:pt x="45" y="16"/>
                </a:cubicBezTo>
                <a:cubicBezTo>
                  <a:pt x="44" y="16"/>
                  <a:pt x="44" y="16"/>
                  <a:pt x="43" y="16"/>
                </a:cubicBezTo>
                <a:cubicBezTo>
                  <a:pt x="29" y="16"/>
                  <a:pt x="19" y="27"/>
                  <a:pt x="19" y="40"/>
                </a:cubicBezTo>
                <a:cubicBezTo>
                  <a:pt x="19" y="40"/>
                  <a:pt x="19" y="41"/>
                  <a:pt x="19" y="41"/>
                </a:cubicBezTo>
                <a:cubicBezTo>
                  <a:pt x="19" y="41"/>
                  <a:pt x="19" y="41"/>
                  <a:pt x="19" y="41"/>
                </a:cubicBezTo>
                <a:cubicBezTo>
                  <a:pt x="8" y="47"/>
                  <a:pt x="0" y="60"/>
                  <a:pt x="0" y="72"/>
                </a:cubicBezTo>
                <a:cubicBezTo>
                  <a:pt x="0" y="91"/>
                  <a:pt x="15" y="107"/>
                  <a:pt x="34" y="107"/>
                </a:cubicBezTo>
                <a:cubicBezTo>
                  <a:pt x="100" y="107"/>
                  <a:pt x="100" y="107"/>
                  <a:pt x="100" y="107"/>
                </a:cubicBezTo>
                <a:cubicBezTo>
                  <a:pt x="100" y="107"/>
                  <a:pt x="100" y="107"/>
                  <a:pt x="100" y="107"/>
                </a:cubicBezTo>
                <a:cubicBezTo>
                  <a:pt x="101" y="107"/>
                  <a:pt x="101" y="107"/>
                  <a:pt x="101" y="107"/>
                </a:cubicBezTo>
                <a:cubicBezTo>
                  <a:pt x="101" y="107"/>
                  <a:pt x="101" y="107"/>
                  <a:pt x="101" y="107"/>
                </a:cubicBezTo>
                <a:cubicBezTo>
                  <a:pt x="101" y="107"/>
                  <a:pt x="102" y="107"/>
                  <a:pt x="102" y="107"/>
                </a:cubicBezTo>
                <a:cubicBezTo>
                  <a:pt x="128" y="107"/>
                  <a:pt x="128" y="107"/>
                  <a:pt x="128" y="107"/>
                </a:cubicBezTo>
                <a:cubicBezTo>
                  <a:pt x="146" y="107"/>
                  <a:pt x="160" y="92"/>
                  <a:pt x="160" y="75"/>
                </a:cubicBezTo>
                <a:cubicBezTo>
                  <a:pt x="160" y="60"/>
                  <a:pt x="150" y="47"/>
                  <a:pt x="136" y="43"/>
                </a:cubicBezTo>
                <a:close/>
                <a:moveTo>
                  <a:pt x="128" y="101"/>
                </a:moveTo>
                <a:cubicBezTo>
                  <a:pt x="102" y="101"/>
                  <a:pt x="102" y="101"/>
                  <a:pt x="102" y="101"/>
                </a:cubicBezTo>
                <a:cubicBezTo>
                  <a:pt x="102" y="101"/>
                  <a:pt x="101" y="101"/>
                  <a:pt x="101" y="101"/>
                </a:cubicBezTo>
                <a:cubicBezTo>
                  <a:pt x="101" y="101"/>
                  <a:pt x="101" y="101"/>
                  <a:pt x="101" y="101"/>
                </a:cubicBezTo>
                <a:cubicBezTo>
                  <a:pt x="100" y="101"/>
                  <a:pt x="100" y="101"/>
                  <a:pt x="100" y="101"/>
                </a:cubicBezTo>
                <a:cubicBezTo>
                  <a:pt x="100" y="101"/>
                  <a:pt x="100" y="101"/>
                  <a:pt x="100" y="101"/>
                </a:cubicBezTo>
                <a:cubicBezTo>
                  <a:pt x="34" y="101"/>
                  <a:pt x="34" y="101"/>
                  <a:pt x="34" y="101"/>
                </a:cubicBezTo>
                <a:cubicBezTo>
                  <a:pt x="18" y="101"/>
                  <a:pt x="5" y="88"/>
                  <a:pt x="5" y="72"/>
                </a:cubicBezTo>
                <a:cubicBezTo>
                  <a:pt x="5" y="61"/>
                  <a:pt x="13" y="50"/>
                  <a:pt x="22" y="45"/>
                </a:cubicBezTo>
                <a:cubicBezTo>
                  <a:pt x="24" y="44"/>
                  <a:pt x="24" y="44"/>
                  <a:pt x="24" y="44"/>
                </a:cubicBezTo>
                <a:cubicBezTo>
                  <a:pt x="24" y="43"/>
                  <a:pt x="24" y="43"/>
                  <a:pt x="24" y="43"/>
                </a:cubicBezTo>
                <a:cubicBezTo>
                  <a:pt x="24" y="42"/>
                  <a:pt x="24" y="42"/>
                  <a:pt x="24" y="42"/>
                </a:cubicBezTo>
                <a:cubicBezTo>
                  <a:pt x="24" y="41"/>
                  <a:pt x="24" y="41"/>
                  <a:pt x="24" y="41"/>
                </a:cubicBezTo>
                <a:cubicBezTo>
                  <a:pt x="24" y="41"/>
                  <a:pt x="24" y="41"/>
                  <a:pt x="24" y="41"/>
                </a:cubicBezTo>
                <a:cubicBezTo>
                  <a:pt x="24" y="40"/>
                  <a:pt x="24" y="40"/>
                  <a:pt x="24" y="40"/>
                </a:cubicBezTo>
                <a:cubicBezTo>
                  <a:pt x="24" y="30"/>
                  <a:pt x="32" y="21"/>
                  <a:pt x="43" y="21"/>
                </a:cubicBezTo>
                <a:cubicBezTo>
                  <a:pt x="43" y="21"/>
                  <a:pt x="44" y="21"/>
                  <a:pt x="45" y="22"/>
                </a:cubicBezTo>
                <a:cubicBezTo>
                  <a:pt x="45" y="22"/>
                  <a:pt x="46" y="22"/>
                  <a:pt x="46" y="22"/>
                </a:cubicBezTo>
                <a:cubicBezTo>
                  <a:pt x="46" y="22"/>
                  <a:pt x="47" y="22"/>
                  <a:pt x="48" y="22"/>
                </a:cubicBezTo>
                <a:cubicBezTo>
                  <a:pt x="48" y="22"/>
                  <a:pt x="48" y="22"/>
                  <a:pt x="48" y="22"/>
                </a:cubicBezTo>
                <a:cubicBezTo>
                  <a:pt x="49" y="22"/>
                  <a:pt x="50" y="23"/>
                  <a:pt x="50" y="23"/>
                </a:cubicBezTo>
                <a:cubicBezTo>
                  <a:pt x="51" y="23"/>
                  <a:pt x="51" y="23"/>
                  <a:pt x="51" y="23"/>
                </a:cubicBezTo>
                <a:cubicBezTo>
                  <a:pt x="52" y="24"/>
                  <a:pt x="52" y="24"/>
                  <a:pt x="53" y="24"/>
                </a:cubicBezTo>
                <a:cubicBezTo>
                  <a:pt x="58" y="28"/>
                  <a:pt x="61" y="33"/>
                  <a:pt x="61" y="40"/>
                </a:cubicBezTo>
                <a:cubicBezTo>
                  <a:pt x="61" y="41"/>
                  <a:pt x="63" y="43"/>
                  <a:pt x="64" y="43"/>
                </a:cubicBezTo>
                <a:cubicBezTo>
                  <a:pt x="65" y="43"/>
                  <a:pt x="67" y="41"/>
                  <a:pt x="67" y="40"/>
                </a:cubicBezTo>
                <a:cubicBezTo>
                  <a:pt x="67" y="33"/>
                  <a:pt x="63" y="26"/>
                  <a:pt x="58" y="22"/>
                </a:cubicBezTo>
                <a:cubicBezTo>
                  <a:pt x="66" y="12"/>
                  <a:pt x="78" y="5"/>
                  <a:pt x="91" y="5"/>
                </a:cubicBezTo>
                <a:cubicBezTo>
                  <a:pt x="112" y="5"/>
                  <a:pt x="129" y="22"/>
                  <a:pt x="130" y="42"/>
                </a:cubicBezTo>
                <a:cubicBezTo>
                  <a:pt x="128" y="42"/>
                  <a:pt x="124" y="42"/>
                  <a:pt x="120" y="43"/>
                </a:cubicBezTo>
                <a:cubicBezTo>
                  <a:pt x="118" y="43"/>
                  <a:pt x="117" y="44"/>
                  <a:pt x="117" y="46"/>
                </a:cubicBezTo>
                <a:cubicBezTo>
                  <a:pt x="118" y="47"/>
                  <a:pt x="119" y="48"/>
                  <a:pt x="120" y="48"/>
                </a:cubicBezTo>
                <a:cubicBezTo>
                  <a:pt x="120" y="48"/>
                  <a:pt x="120" y="48"/>
                  <a:pt x="120" y="48"/>
                </a:cubicBezTo>
                <a:cubicBezTo>
                  <a:pt x="126" y="47"/>
                  <a:pt x="133" y="48"/>
                  <a:pt x="133" y="48"/>
                </a:cubicBezTo>
                <a:cubicBezTo>
                  <a:pt x="145" y="50"/>
                  <a:pt x="155" y="62"/>
                  <a:pt x="155" y="75"/>
                </a:cubicBezTo>
                <a:cubicBezTo>
                  <a:pt x="155" y="89"/>
                  <a:pt x="143" y="101"/>
                  <a:pt x="128" y="101"/>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7" name="Freeform 1104">
            <a:extLst>
              <a:ext uri="{FF2B5EF4-FFF2-40B4-BE49-F238E27FC236}">
                <a16:creationId xmlns:a16="http://schemas.microsoft.com/office/drawing/2014/main" id="{E525326F-06E0-194A-A6C9-346647C2209D}"/>
              </a:ext>
            </a:extLst>
          </p:cNvPr>
          <p:cNvSpPr>
            <a:spLocks noEditPoints="1"/>
          </p:cNvSpPr>
          <p:nvPr/>
        </p:nvSpPr>
        <p:spPr bwMode="auto">
          <a:xfrm>
            <a:off x="5354520" y="4700588"/>
            <a:ext cx="546100" cy="550863"/>
          </a:xfrm>
          <a:custGeom>
            <a:avLst/>
            <a:gdLst>
              <a:gd name="T0" fmla="*/ 133 w 160"/>
              <a:gd name="T1" fmla="*/ 107 h 160"/>
              <a:gd name="T2" fmla="*/ 112 w 160"/>
              <a:gd name="T3" fmla="*/ 107 h 160"/>
              <a:gd name="T4" fmla="*/ 112 w 160"/>
              <a:gd name="T5" fmla="*/ 53 h 160"/>
              <a:gd name="T6" fmla="*/ 133 w 160"/>
              <a:gd name="T7" fmla="*/ 53 h 160"/>
              <a:gd name="T8" fmla="*/ 160 w 160"/>
              <a:gd name="T9" fmla="*/ 27 h 160"/>
              <a:gd name="T10" fmla="*/ 133 w 160"/>
              <a:gd name="T11" fmla="*/ 0 h 160"/>
              <a:gd name="T12" fmla="*/ 107 w 160"/>
              <a:gd name="T13" fmla="*/ 27 h 160"/>
              <a:gd name="T14" fmla="*/ 107 w 160"/>
              <a:gd name="T15" fmla="*/ 48 h 160"/>
              <a:gd name="T16" fmla="*/ 53 w 160"/>
              <a:gd name="T17" fmla="*/ 48 h 160"/>
              <a:gd name="T18" fmla="*/ 53 w 160"/>
              <a:gd name="T19" fmla="*/ 27 h 160"/>
              <a:gd name="T20" fmla="*/ 27 w 160"/>
              <a:gd name="T21" fmla="*/ 0 h 160"/>
              <a:gd name="T22" fmla="*/ 0 w 160"/>
              <a:gd name="T23" fmla="*/ 27 h 160"/>
              <a:gd name="T24" fmla="*/ 27 w 160"/>
              <a:gd name="T25" fmla="*/ 53 h 160"/>
              <a:gd name="T26" fmla="*/ 48 w 160"/>
              <a:gd name="T27" fmla="*/ 53 h 160"/>
              <a:gd name="T28" fmla="*/ 48 w 160"/>
              <a:gd name="T29" fmla="*/ 107 h 160"/>
              <a:gd name="T30" fmla="*/ 27 w 160"/>
              <a:gd name="T31" fmla="*/ 107 h 160"/>
              <a:gd name="T32" fmla="*/ 0 w 160"/>
              <a:gd name="T33" fmla="*/ 133 h 160"/>
              <a:gd name="T34" fmla="*/ 27 w 160"/>
              <a:gd name="T35" fmla="*/ 160 h 160"/>
              <a:gd name="T36" fmla="*/ 53 w 160"/>
              <a:gd name="T37" fmla="*/ 133 h 160"/>
              <a:gd name="T38" fmla="*/ 53 w 160"/>
              <a:gd name="T39" fmla="*/ 112 h 160"/>
              <a:gd name="T40" fmla="*/ 107 w 160"/>
              <a:gd name="T41" fmla="*/ 112 h 160"/>
              <a:gd name="T42" fmla="*/ 107 w 160"/>
              <a:gd name="T43" fmla="*/ 133 h 160"/>
              <a:gd name="T44" fmla="*/ 133 w 160"/>
              <a:gd name="T45" fmla="*/ 160 h 160"/>
              <a:gd name="T46" fmla="*/ 160 w 160"/>
              <a:gd name="T47" fmla="*/ 133 h 160"/>
              <a:gd name="T48" fmla="*/ 133 w 160"/>
              <a:gd name="T49" fmla="*/ 107 h 160"/>
              <a:gd name="T50" fmla="*/ 112 w 160"/>
              <a:gd name="T51" fmla="*/ 27 h 160"/>
              <a:gd name="T52" fmla="*/ 133 w 160"/>
              <a:gd name="T53" fmla="*/ 5 h 160"/>
              <a:gd name="T54" fmla="*/ 155 w 160"/>
              <a:gd name="T55" fmla="*/ 27 h 160"/>
              <a:gd name="T56" fmla="*/ 133 w 160"/>
              <a:gd name="T57" fmla="*/ 48 h 160"/>
              <a:gd name="T58" fmla="*/ 112 w 160"/>
              <a:gd name="T59" fmla="*/ 48 h 160"/>
              <a:gd name="T60" fmla="*/ 112 w 160"/>
              <a:gd name="T61" fmla="*/ 27 h 160"/>
              <a:gd name="T62" fmla="*/ 27 w 160"/>
              <a:gd name="T63" fmla="*/ 48 h 160"/>
              <a:gd name="T64" fmla="*/ 5 w 160"/>
              <a:gd name="T65" fmla="*/ 27 h 160"/>
              <a:gd name="T66" fmla="*/ 27 w 160"/>
              <a:gd name="T67" fmla="*/ 5 h 160"/>
              <a:gd name="T68" fmla="*/ 48 w 160"/>
              <a:gd name="T69" fmla="*/ 27 h 160"/>
              <a:gd name="T70" fmla="*/ 48 w 160"/>
              <a:gd name="T71" fmla="*/ 48 h 160"/>
              <a:gd name="T72" fmla="*/ 27 w 160"/>
              <a:gd name="T73" fmla="*/ 48 h 160"/>
              <a:gd name="T74" fmla="*/ 48 w 160"/>
              <a:gd name="T75" fmla="*/ 133 h 160"/>
              <a:gd name="T76" fmla="*/ 27 w 160"/>
              <a:gd name="T77" fmla="*/ 155 h 160"/>
              <a:gd name="T78" fmla="*/ 5 w 160"/>
              <a:gd name="T79" fmla="*/ 133 h 160"/>
              <a:gd name="T80" fmla="*/ 27 w 160"/>
              <a:gd name="T81" fmla="*/ 112 h 160"/>
              <a:gd name="T82" fmla="*/ 48 w 160"/>
              <a:gd name="T83" fmla="*/ 112 h 160"/>
              <a:gd name="T84" fmla="*/ 48 w 160"/>
              <a:gd name="T85" fmla="*/ 133 h 160"/>
              <a:gd name="T86" fmla="*/ 53 w 160"/>
              <a:gd name="T87" fmla="*/ 107 h 160"/>
              <a:gd name="T88" fmla="*/ 53 w 160"/>
              <a:gd name="T89" fmla="*/ 53 h 160"/>
              <a:gd name="T90" fmla="*/ 107 w 160"/>
              <a:gd name="T91" fmla="*/ 53 h 160"/>
              <a:gd name="T92" fmla="*/ 107 w 160"/>
              <a:gd name="T93" fmla="*/ 107 h 160"/>
              <a:gd name="T94" fmla="*/ 53 w 160"/>
              <a:gd name="T95" fmla="*/ 107 h 160"/>
              <a:gd name="T96" fmla="*/ 133 w 160"/>
              <a:gd name="T97" fmla="*/ 155 h 160"/>
              <a:gd name="T98" fmla="*/ 112 w 160"/>
              <a:gd name="T99" fmla="*/ 133 h 160"/>
              <a:gd name="T100" fmla="*/ 112 w 160"/>
              <a:gd name="T101" fmla="*/ 112 h 160"/>
              <a:gd name="T102" fmla="*/ 133 w 160"/>
              <a:gd name="T103" fmla="*/ 112 h 160"/>
              <a:gd name="T104" fmla="*/ 155 w 160"/>
              <a:gd name="T105" fmla="*/ 133 h 160"/>
              <a:gd name="T106" fmla="*/ 133 w 160"/>
              <a:gd name="T10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60">
                <a:moveTo>
                  <a:pt x="133" y="107"/>
                </a:moveTo>
                <a:cubicBezTo>
                  <a:pt x="112" y="107"/>
                  <a:pt x="112" y="107"/>
                  <a:pt x="112" y="107"/>
                </a:cubicBezTo>
                <a:cubicBezTo>
                  <a:pt x="112" y="53"/>
                  <a:pt x="112" y="53"/>
                  <a:pt x="112" y="53"/>
                </a:cubicBezTo>
                <a:cubicBezTo>
                  <a:pt x="133" y="53"/>
                  <a:pt x="133" y="53"/>
                  <a:pt x="133" y="53"/>
                </a:cubicBezTo>
                <a:cubicBezTo>
                  <a:pt x="148" y="53"/>
                  <a:pt x="160" y="41"/>
                  <a:pt x="160" y="27"/>
                </a:cubicBezTo>
                <a:cubicBezTo>
                  <a:pt x="160" y="12"/>
                  <a:pt x="148" y="0"/>
                  <a:pt x="133" y="0"/>
                </a:cubicBezTo>
                <a:cubicBezTo>
                  <a:pt x="119" y="0"/>
                  <a:pt x="107" y="12"/>
                  <a:pt x="107" y="27"/>
                </a:cubicBezTo>
                <a:cubicBezTo>
                  <a:pt x="107" y="48"/>
                  <a:pt x="107" y="48"/>
                  <a:pt x="107" y="48"/>
                </a:cubicBezTo>
                <a:cubicBezTo>
                  <a:pt x="53" y="48"/>
                  <a:pt x="53" y="48"/>
                  <a:pt x="53" y="48"/>
                </a:cubicBezTo>
                <a:cubicBezTo>
                  <a:pt x="53" y="27"/>
                  <a:pt x="53" y="27"/>
                  <a:pt x="53" y="27"/>
                </a:cubicBezTo>
                <a:cubicBezTo>
                  <a:pt x="53" y="12"/>
                  <a:pt x="41" y="0"/>
                  <a:pt x="27" y="0"/>
                </a:cubicBezTo>
                <a:cubicBezTo>
                  <a:pt x="12" y="0"/>
                  <a:pt x="0" y="12"/>
                  <a:pt x="0" y="27"/>
                </a:cubicBezTo>
                <a:cubicBezTo>
                  <a:pt x="0" y="41"/>
                  <a:pt x="12" y="53"/>
                  <a:pt x="27" y="53"/>
                </a:cubicBezTo>
                <a:cubicBezTo>
                  <a:pt x="48" y="53"/>
                  <a:pt x="48" y="53"/>
                  <a:pt x="48" y="53"/>
                </a:cubicBezTo>
                <a:cubicBezTo>
                  <a:pt x="48" y="107"/>
                  <a:pt x="48" y="107"/>
                  <a:pt x="48" y="107"/>
                </a:cubicBezTo>
                <a:cubicBezTo>
                  <a:pt x="27" y="107"/>
                  <a:pt x="27" y="107"/>
                  <a:pt x="27" y="107"/>
                </a:cubicBezTo>
                <a:cubicBezTo>
                  <a:pt x="12" y="107"/>
                  <a:pt x="0" y="119"/>
                  <a:pt x="0" y="133"/>
                </a:cubicBezTo>
                <a:cubicBezTo>
                  <a:pt x="0" y="148"/>
                  <a:pt x="12" y="160"/>
                  <a:pt x="27" y="160"/>
                </a:cubicBezTo>
                <a:cubicBezTo>
                  <a:pt x="41" y="160"/>
                  <a:pt x="53" y="148"/>
                  <a:pt x="53" y="133"/>
                </a:cubicBezTo>
                <a:cubicBezTo>
                  <a:pt x="53" y="112"/>
                  <a:pt x="53" y="112"/>
                  <a:pt x="53" y="112"/>
                </a:cubicBezTo>
                <a:cubicBezTo>
                  <a:pt x="107" y="112"/>
                  <a:pt x="107" y="112"/>
                  <a:pt x="107" y="112"/>
                </a:cubicBezTo>
                <a:cubicBezTo>
                  <a:pt x="107" y="133"/>
                  <a:pt x="107" y="133"/>
                  <a:pt x="107" y="133"/>
                </a:cubicBezTo>
                <a:cubicBezTo>
                  <a:pt x="107" y="148"/>
                  <a:pt x="119" y="160"/>
                  <a:pt x="133" y="160"/>
                </a:cubicBezTo>
                <a:cubicBezTo>
                  <a:pt x="148" y="160"/>
                  <a:pt x="160" y="148"/>
                  <a:pt x="160" y="133"/>
                </a:cubicBezTo>
                <a:cubicBezTo>
                  <a:pt x="160" y="119"/>
                  <a:pt x="148" y="107"/>
                  <a:pt x="133" y="107"/>
                </a:cubicBezTo>
                <a:close/>
                <a:moveTo>
                  <a:pt x="112" y="27"/>
                </a:moveTo>
                <a:cubicBezTo>
                  <a:pt x="112" y="15"/>
                  <a:pt x="122" y="5"/>
                  <a:pt x="133" y="5"/>
                </a:cubicBezTo>
                <a:cubicBezTo>
                  <a:pt x="145" y="5"/>
                  <a:pt x="155" y="15"/>
                  <a:pt x="155" y="27"/>
                </a:cubicBezTo>
                <a:cubicBezTo>
                  <a:pt x="155" y="38"/>
                  <a:pt x="145" y="48"/>
                  <a:pt x="133" y="48"/>
                </a:cubicBezTo>
                <a:cubicBezTo>
                  <a:pt x="112" y="48"/>
                  <a:pt x="112" y="48"/>
                  <a:pt x="112" y="48"/>
                </a:cubicBezTo>
                <a:lnTo>
                  <a:pt x="112" y="27"/>
                </a:lnTo>
                <a:close/>
                <a:moveTo>
                  <a:pt x="27" y="48"/>
                </a:moveTo>
                <a:cubicBezTo>
                  <a:pt x="15" y="48"/>
                  <a:pt x="5" y="38"/>
                  <a:pt x="5" y="27"/>
                </a:cubicBezTo>
                <a:cubicBezTo>
                  <a:pt x="5" y="15"/>
                  <a:pt x="15" y="5"/>
                  <a:pt x="27" y="5"/>
                </a:cubicBezTo>
                <a:cubicBezTo>
                  <a:pt x="38" y="5"/>
                  <a:pt x="48" y="15"/>
                  <a:pt x="48" y="27"/>
                </a:cubicBezTo>
                <a:cubicBezTo>
                  <a:pt x="48" y="48"/>
                  <a:pt x="48" y="48"/>
                  <a:pt x="48" y="48"/>
                </a:cubicBezTo>
                <a:lnTo>
                  <a:pt x="27" y="48"/>
                </a:lnTo>
                <a:close/>
                <a:moveTo>
                  <a:pt x="48" y="133"/>
                </a:moveTo>
                <a:cubicBezTo>
                  <a:pt x="48" y="145"/>
                  <a:pt x="38" y="155"/>
                  <a:pt x="27" y="155"/>
                </a:cubicBezTo>
                <a:cubicBezTo>
                  <a:pt x="15" y="155"/>
                  <a:pt x="5" y="145"/>
                  <a:pt x="5" y="133"/>
                </a:cubicBezTo>
                <a:cubicBezTo>
                  <a:pt x="5" y="122"/>
                  <a:pt x="15" y="112"/>
                  <a:pt x="27" y="112"/>
                </a:cubicBezTo>
                <a:cubicBezTo>
                  <a:pt x="48" y="112"/>
                  <a:pt x="48" y="112"/>
                  <a:pt x="48" y="112"/>
                </a:cubicBezTo>
                <a:lnTo>
                  <a:pt x="48" y="133"/>
                </a:lnTo>
                <a:close/>
                <a:moveTo>
                  <a:pt x="53" y="107"/>
                </a:moveTo>
                <a:cubicBezTo>
                  <a:pt x="53" y="53"/>
                  <a:pt x="53" y="53"/>
                  <a:pt x="53" y="53"/>
                </a:cubicBezTo>
                <a:cubicBezTo>
                  <a:pt x="107" y="53"/>
                  <a:pt x="107" y="53"/>
                  <a:pt x="107" y="53"/>
                </a:cubicBezTo>
                <a:cubicBezTo>
                  <a:pt x="107" y="107"/>
                  <a:pt x="107" y="107"/>
                  <a:pt x="107" y="107"/>
                </a:cubicBezTo>
                <a:lnTo>
                  <a:pt x="53" y="107"/>
                </a:lnTo>
                <a:close/>
                <a:moveTo>
                  <a:pt x="133" y="155"/>
                </a:moveTo>
                <a:cubicBezTo>
                  <a:pt x="122" y="155"/>
                  <a:pt x="112" y="145"/>
                  <a:pt x="112" y="133"/>
                </a:cubicBezTo>
                <a:cubicBezTo>
                  <a:pt x="112" y="112"/>
                  <a:pt x="112" y="112"/>
                  <a:pt x="112" y="112"/>
                </a:cubicBezTo>
                <a:cubicBezTo>
                  <a:pt x="133" y="112"/>
                  <a:pt x="133" y="112"/>
                  <a:pt x="133" y="112"/>
                </a:cubicBezTo>
                <a:cubicBezTo>
                  <a:pt x="145" y="112"/>
                  <a:pt x="155" y="122"/>
                  <a:pt x="155" y="133"/>
                </a:cubicBezTo>
                <a:cubicBezTo>
                  <a:pt x="155" y="145"/>
                  <a:pt x="145" y="155"/>
                  <a:pt x="133" y="15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105">
            <a:extLst>
              <a:ext uri="{FF2B5EF4-FFF2-40B4-BE49-F238E27FC236}">
                <a16:creationId xmlns:a16="http://schemas.microsoft.com/office/drawing/2014/main" id="{C4BB971F-925C-9B4A-B728-90F277AB67FD}"/>
              </a:ext>
            </a:extLst>
          </p:cNvPr>
          <p:cNvSpPr>
            <a:spLocks noEditPoints="1"/>
          </p:cNvSpPr>
          <p:nvPr/>
        </p:nvSpPr>
        <p:spPr bwMode="auto">
          <a:xfrm>
            <a:off x="5354520" y="5319713"/>
            <a:ext cx="546100" cy="550863"/>
          </a:xfrm>
          <a:custGeom>
            <a:avLst/>
            <a:gdLst>
              <a:gd name="T0" fmla="*/ 0 w 160"/>
              <a:gd name="T1" fmla="*/ 80 h 160"/>
              <a:gd name="T2" fmla="*/ 160 w 160"/>
              <a:gd name="T3" fmla="*/ 80 h 160"/>
              <a:gd name="T4" fmla="*/ 80 w 160"/>
              <a:gd name="T5" fmla="*/ 155 h 160"/>
              <a:gd name="T6" fmla="*/ 80 w 160"/>
              <a:gd name="T7" fmla="*/ 5 h 160"/>
              <a:gd name="T8" fmla="*/ 80 w 160"/>
              <a:gd name="T9" fmla="*/ 155 h 160"/>
              <a:gd name="T10" fmla="*/ 23 w 160"/>
              <a:gd name="T11" fmla="*/ 62 h 160"/>
              <a:gd name="T12" fmla="*/ 19 w 160"/>
              <a:gd name="T13" fmla="*/ 64 h 160"/>
              <a:gd name="T14" fmla="*/ 33 w 160"/>
              <a:gd name="T15" fmla="*/ 33 h 160"/>
              <a:gd name="T16" fmla="*/ 64 w 160"/>
              <a:gd name="T17" fmla="*/ 19 h 160"/>
              <a:gd name="T18" fmla="*/ 37 w 160"/>
              <a:gd name="T19" fmla="*/ 37 h 160"/>
              <a:gd name="T20" fmla="*/ 127 w 160"/>
              <a:gd name="T21" fmla="*/ 127 h 160"/>
              <a:gd name="T22" fmla="*/ 99 w 160"/>
              <a:gd name="T23" fmla="*/ 143 h 160"/>
              <a:gd name="T24" fmla="*/ 98 w 160"/>
              <a:gd name="T25" fmla="*/ 137 h 160"/>
              <a:gd name="T26" fmla="*/ 137 w 160"/>
              <a:gd name="T27" fmla="*/ 98 h 160"/>
              <a:gd name="T28" fmla="*/ 143 w 160"/>
              <a:gd name="T29" fmla="*/ 99 h 160"/>
              <a:gd name="T30" fmla="*/ 35 w 160"/>
              <a:gd name="T31" fmla="*/ 65 h 160"/>
              <a:gd name="T32" fmla="*/ 32 w 160"/>
              <a:gd name="T33" fmla="*/ 67 h 160"/>
              <a:gd name="T34" fmla="*/ 42 w 160"/>
              <a:gd name="T35" fmla="*/ 42 h 160"/>
              <a:gd name="T36" fmla="*/ 67 w 160"/>
              <a:gd name="T37" fmla="*/ 32 h 160"/>
              <a:gd name="T38" fmla="*/ 46 w 160"/>
              <a:gd name="T39" fmla="*/ 46 h 160"/>
              <a:gd name="T40" fmla="*/ 96 w 160"/>
              <a:gd name="T41" fmla="*/ 130 h 160"/>
              <a:gd name="T42" fmla="*/ 93 w 160"/>
              <a:gd name="T43" fmla="*/ 128 h 160"/>
              <a:gd name="T44" fmla="*/ 114 w 160"/>
              <a:gd name="T45" fmla="*/ 114 h 160"/>
              <a:gd name="T46" fmla="*/ 128 w 160"/>
              <a:gd name="T47" fmla="*/ 93 h 160"/>
              <a:gd name="T48" fmla="*/ 118 w 160"/>
              <a:gd name="T49" fmla="*/ 118 h 160"/>
              <a:gd name="T50" fmla="*/ 48 w 160"/>
              <a:gd name="T51" fmla="*/ 69 h 160"/>
              <a:gd name="T52" fmla="*/ 45 w 160"/>
              <a:gd name="T53" fmla="*/ 71 h 160"/>
              <a:gd name="T54" fmla="*/ 67 w 160"/>
              <a:gd name="T55" fmla="*/ 43 h 160"/>
              <a:gd name="T56" fmla="*/ 69 w 160"/>
              <a:gd name="T57" fmla="*/ 48 h 160"/>
              <a:gd name="T58" fmla="*/ 92 w 160"/>
              <a:gd name="T59" fmla="*/ 117 h 160"/>
              <a:gd name="T60" fmla="*/ 91 w 160"/>
              <a:gd name="T61" fmla="*/ 112 h 160"/>
              <a:gd name="T62" fmla="*/ 115 w 160"/>
              <a:gd name="T63" fmla="*/ 89 h 160"/>
              <a:gd name="T64" fmla="*/ 93 w 160"/>
              <a:gd name="T65" fmla="*/ 117 h 160"/>
              <a:gd name="T66" fmla="*/ 80 w 160"/>
              <a:gd name="T67" fmla="*/ 58 h 160"/>
              <a:gd name="T68" fmla="*/ 80 w 160"/>
              <a:gd name="T69" fmla="*/ 102 h 160"/>
              <a:gd name="T70" fmla="*/ 80 w 160"/>
              <a:gd name="T71" fmla="*/ 96 h 160"/>
              <a:gd name="T72" fmla="*/ 80 w 160"/>
              <a:gd name="T73" fmla="*/ 64 h 160"/>
              <a:gd name="T74" fmla="*/ 80 w 160"/>
              <a:gd name="T75" fmla="*/ 9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37" y="37"/>
                </a:moveTo>
                <a:cubicBezTo>
                  <a:pt x="30" y="44"/>
                  <a:pt x="25" y="52"/>
                  <a:pt x="23" y="62"/>
                </a:cubicBezTo>
                <a:cubicBezTo>
                  <a:pt x="22" y="63"/>
                  <a:pt x="21" y="64"/>
                  <a:pt x="20" y="64"/>
                </a:cubicBezTo>
                <a:cubicBezTo>
                  <a:pt x="20" y="64"/>
                  <a:pt x="20" y="64"/>
                  <a:pt x="19" y="64"/>
                </a:cubicBezTo>
                <a:cubicBezTo>
                  <a:pt x="18" y="63"/>
                  <a:pt x="17" y="62"/>
                  <a:pt x="17" y="61"/>
                </a:cubicBezTo>
                <a:cubicBezTo>
                  <a:pt x="20" y="50"/>
                  <a:pt x="25" y="40"/>
                  <a:pt x="33" y="33"/>
                </a:cubicBezTo>
                <a:cubicBezTo>
                  <a:pt x="40" y="25"/>
                  <a:pt x="50" y="20"/>
                  <a:pt x="61" y="17"/>
                </a:cubicBezTo>
                <a:cubicBezTo>
                  <a:pt x="62" y="17"/>
                  <a:pt x="63" y="18"/>
                  <a:pt x="64" y="19"/>
                </a:cubicBezTo>
                <a:cubicBezTo>
                  <a:pt x="64" y="21"/>
                  <a:pt x="63" y="22"/>
                  <a:pt x="62" y="23"/>
                </a:cubicBezTo>
                <a:cubicBezTo>
                  <a:pt x="52" y="25"/>
                  <a:pt x="44" y="30"/>
                  <a:pt x="37" y="37"/>
                </a:cubicBezTo>
                <a:close/>
                <a:moveTo>
                  <a:pt x="143" y="99"/>
                </a:moveTo>
                <a:cubicBezTo>
                  <a:pt x="140" y="110"/>
                  <a:pt x="135" y="120"/>
                  <a:pt x="127" y="127"/>
                </a:cubicBezTo>
                <a:cubicBezTo>
                  <a:pt x="120" y="135"/>
                  <a:pt x="110" y="140"/>
                  <a:pt x="99" y="143"/>
                </a:cubicBezTo>
                <a:cubicBezTo>
                  <a:pt x="99" y="143"/>
                  <a:pt x="99" y="143"/>
                  <a:pt x="99" y="143"/>
                </a:cubicBezTo>
                <a:cubicBezTo>
                  <a:pt x="98" y="143"/>
                  <a:pt x="97" y="142"/>
                  <a:pt x="96" y="141"/>
                </a:cubicBezTo>
                <a:cubicBezTo>
                  <a:pt x="96" y="139"/>
                  <a:pt x="97" y="138"/>
                  <a:pt x="98" y="137"/>
                </a:cubicBezTo>
                <a:cubicBezTo>
                  <a:pt x="108" y="135"/>
                  <a:pt x="116" y="130"/>
                  <a:pt x="123" y="123"/>
                </a:cubicBezTo>
                <a:cubicBezTo>
                  <a:pt x="130" y="116"/>
                  <a:pt x="135" y="108"/>
                  <a:pt x="137" y="98"/>
                </a:cubicBezTo>
                <a:cubicBezTo>
                  <a:pt x="138" y="97"/>
                  <a:pt x="139" y="96"/>
                  <a:pt x="141" y="96"/>
                </a:cubicBezTo>
                <a:cubicBezTo>
                  <a:pt x="142" y="97"/>
                  <a:pt x="143" y="98"/>
                  <a:pt x="143" y="99"/>
                </a:cubicBezTo>
                <a:close/>
                <a:moveTo>
                  <a:pt x="46" y="46"/>
                </a:moveTo>
                <a:cubicBezTo>
                  <a:pt x="41" y="51"/>
                  <a:pt x="37" y="58"/>
                  <a:pt x="35" y="65"/>
                </a:cubicBezTo>
                <a:cubicBezTo>
                  <a:pt x="35" y="66"/>
                  <a:pt x="34" y="67"/>
                  <a:pt x="33" y="67"/>
                </a:cubicBezTo>
                <a:cubicBezTo>
                  <a:pt x="33" y="67"/>
                  <a:pt x="32" y="67"/>
                  <a:pt x="32" y="67"/>
                </a:cubicBezTo>
                <a:cubicBezTo>
                  <a:pt x="31" y="67"/>
                  <a:pt x="30" y="65"/>
                  <a:pt x="30" y="64"/>
                </a:cubicBezTo>
                <a:cubicBezTo>
                  <a:pt x="32" y="56"/>
                  <a:pt x="36" y="48"/>
                  <a:pt x="42" y="42"/>
                </a:cubicBezTo>
                <a:cubicBezTo>
                  <a:pt x="48" y="36"/>
                  <a:pt x="56" y="32"/>
                  <a:pt x="64" y="30"/>
                </a:cubicBezTo>
                <a:cubicBezTo>
                  <a:pt x="65" y="30"/>
                  <a:pt x="67" y="31"/>
                  <a:pt x="67" y="32"/>
                </a:cubicBezTo>
                <a:cubicBezTo>
                  <a:pt x="68" y="34"/>
                  <a:pt x="67" y="35"/>
                  <a:pt x="65" y="35"/>
                </a:cubicBezTo>
                <a:cubicBezTo>
                  <a:pt x="58" y="37"/>
                  <a:pt x="51" y="41"/>
                  <a:pt x="46" y="46"/>
                </a:cubicBezTo>
                <a:close/>
                <a:moveTo>
                  <a:pt x="118" y="118"/>
                </a:moveTo>
                <a:cubicBezTo>
                  <a:pt x="112" y="124"/>
                  <a:pt x="104" y="128"/>
                  <a:pt x="96" y="130"/>
                </a:cubicBezTo>
                <a:cubicBezTo>
                  <a:pt x="96" y="130"/>
                  <a:pt x="96" y="130"/>
                  <a:pt x="95" y="130"/>
                </a:cubicBezTo>
                <a:cubicBezTo>
                  <a:pt x="94" y="130"/>
                  <a:pt x="93" y="129"/>
                  <a:pt x="93" y="128"/>
                </a:cubicBezTo>
                <a:cubicBezTo>
                  <a:pt x="92" y="126"/>
                  <a:pt x="93" y="125"/>
                  <a:pt x="95" y="125"/>
                </a:cubicBezTo>
                <a:cubicBezTo>
                  <a:pt x="102" y="123"/>
                  <a:pt x="109" y="119"/>
                  <a:pt x="114" y="114"/>
                </a:cubicBezTo>
                <a:cubicBezTo>
                  <a:pt x="119" y="109"/>
                  <a:pt x="123" y="102"/>
                  <a:pt x="125" y="95"/>
                </a:cubicBezTo>
                <a:cubicBezTo>
                  <a:pt x="125" y="93"/>
                  <a:pt x="126" y="92"/>
                  <a:pt x="128" y="93"/>
                </a:cubicBezTo>
                <a:cubicBezTo>
                  <a:pt x="129" y="93"/>
                  <a:pt x="130" y="95"/>
                  <a:pt x="130" y="96"/>
                </a:cubicBezTo>
                <a:cubicBezTo>
                  <a:pt x="128" y="104"/>
                  <a:pt x="124" y="112"/>
                  <a:pt x="118" y="118"/>
                </a:cubicBezTo>
                <a:close/>
                <a:moveTo>
                  <a:pt x="69" y="48"/>
                </a:moveTo>
                <a:cubicBezTo>
                  <a:pt x="59" y="51"/>
                  <a:pt x="51" y="58"/>
                  <a:pt x="48" y="69"/>
                </a:cubicBezTo>
                <a:cubicBezTo>
                  <a:pt x="48" y="70"/>
                  <a:pt x="47" y="71"/>
                  <a:pt x="46" y="71"/>
                </a:cubicBezTo>
                <a:cubicBezTo>
                  <a:pt x="46" y="71"/>
                  <a:pt x="45" y="71"/>
                  <a:pt x="45" y="71"/>
                </a:cubicBezTo>
                <a:cubicBezTo>
                  <a:pt x="44" y="70"/>
                  <a:pt x="43" y="69"/>
                  <a:pt x="43" y="67"/>
                </a:cubicBezTo>
                <a:cubicBezTo>
                  <a:pt x="46" y="55"/>
                  <a:pt x="55" y="46"/>
                  <a:pt x="67" y="43"/>
                </a:cubicBezTo>
                <a:cubicBezTo>
                  <a:pt x="69" y="43"/>
                  <a:pt x="70" y="44"/>
                  <a:pt x="71" y="45"/>
                </a:cubicBezTo>
                <a:cubicBezTo>
                  <a:pt x="71" y="47"/>
                  <a:pt x="70" y="48"/>
                  <a:pt x="69" y="48"/>
                </a:cubicBezTo>
                <a:close/>
                <a:moveTo>
                  <a:pt x="93" y="117"/>
                </a:moveTo>
                <a:cubicBezTo>
                  <a:pt x="92" y="117"/>
                  <a:pt x="92" y="117"/>
                  <a:pt x="92" y="117"/>
                </a:cubicBezTo>
                <a:cubicBezTo>
                  <a:pt x="91" y="117"/>
                  <a:pt x="90" y="116"/>
                  <a:pt x="89" y="115"/>
                </a:cubicBezTo>
                <a:cubicBezTo>
                  <a:pt x="89" y="113"/>
                  <a:pt x="90" y="112"/>
                  <a:pt x="91" y="112"/>
                </a:cubicBezTo>
                <a:cubicBezTo>
                  <a:pt x="102" y="109"/>
                  <a:pt x="109" y="102"/>
                  <a:pt x="112" y="91"/>
                </a:cubicBezTo>
                <a:cubicBezTo>
                  <a:pt x="112" y="90"/>
                  <a:pt x="113" y="89"/>
                  <a:pt x="115" y="89"/>
                </a:cubicBezTo>
                <a:cubicBezTo>
                  <a:pt x="116" y="90"/>
                  <a:pt x="117" y="91"/>
                  <a:pt x="117" y="93"/>
                </a:cubicBezTo>
                <a:cubicBezTo>
                  <a:pt x="114" y="105"/>
                  <a:pt x="105" y="114"/>
                  <a:pt x="93" y="117"/>
                </a:cubicBezTo>
                <a:close/>
                <a:moveTo>
                  <a:pt x="102" y="80"/>
                </a:moveTo>
                <a:cubicBezTo>
                  <a:pt x="102" y="68"/>
                  <a:pt x="92" y="58"/>
                  <a:pt x="80" y="58"/>
                </a:cubicBezTo>
                <a:cubicBezTo>
                  <a:pt x="68" y="58"/>
                  <a:pt x="58" y="68"/>
                  <a:pt x="58" y="80"/>
                </a:cubicBezTo>
                <a:cubicBezTo>
                  <a:pt x="58" y="92"/>
                  <a:pt x="68" y="102"/>
                  <a:pt x="80" y="102"/>
                </a:cubicBezTo>
                <a:cubicBezTo>
                  <a:pt x="92" y="102"/>
                  <a:pt x="102" y="92"/>
                  <a:pt x="102" y="80"/>
                </a:cubicBezTo>
                <a:close/>
                <a:moveTo>
                  <a:pt x="80" y="96"/>
                </a:moveTo>
                <a:cubicBezTo>
                  <a:pt x="71" y="96"/>
                  <a:pt x="64" y="89"/>
                  <a:pt x="64" y="80"/>
                </a:cubicBezTo>
                <a:cubicBezTo>
                  <a:pt x="64" y="71"/>
                  <a:pt x="71" y="64"/>
                  <a:pt x="80" y="64"/>
                </a:cubicBezTo>
                <a:cubicBezTo>
                  <a:pt x="89" y="64"/>
                  <a:pt x="96" y="71"/>
                  <a:pt x="96" y="80"/>
                </a:cubicBezTo>
                <a:cubicBezTo>
                  <a:pt x="96" y="89"/>
                  <a:pt x="89" y="96"/>
                  <a:pt x="80" y="96"/>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1106">
            <a:extLst>
              <a:ext uri="{FF2B5EF4-FFF2-40B4-BE49-F238E27FC236}">
                <a16:creationId xmlns:a16="http://schemas.microsoft.com/office/drawing/2014/main" id="{14C7B81A-586B-864A-9D60-6E268DF85061}"/>
              </a:ext>
            </a:extLst>
          </p:cNvPr>
          <p:cNvSpPr>
            <a:spLocks noEditPoints="1"/>
          </p:cNvSpPr>
          <p:nvPr/>
        </p:nvSpPr>
        <p:spPr bwMode="auto">
          <a:xfrm>
            <a:off x="5354520" y="5938838"/>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5 h 160"/>
              <a:gd name="T12" fmla="*/ 5 w 160"/>
              <a:gd name="T13" fmla="*/ 80 h 160"/>
              <a:gd name="T14" fmla="*/ 80 w 160"/>
              <a:gd name="T15" fmla="*/ 5 h 160"/>
              <a:gd name="T16" fmla="*/ 155 w 160"/>
              <a:gd name="T17" fmla="*/ 80 h 160"/>
              <a:gd name="T18" fmla="*/ 80 w 160"/>
              <a:gd name="T1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0" name="Freeform 1107">
            <a:extLst>
              <a:ext uri="{FF2B5EF4-FFF2-40B4-BE49-F238E27FC236}">
                <a16:creationId xmlns:a16="http://schemas.microsoft.com/office/drawing/2014/main" id="{E5C5D796-1A86-1E4B-A26A-D2855B4F9636}"/>
              </a:ext>
            </a:extLst>
          </p:cNvPr>
          <p:cNvSpPr>
            <a:spLocks noEditPoints="1"/>
          </p:cNvSpPr>
          <p:nvPr/>
        </p:nvSpPr>
        <p:spPr bwMode="auto">
          <a:xfrm>
            <a:off x="5556133" y="6142038"/>
            <a:ext cx="142875" cy="144463"/>
          </a:xfrm>
          <a:custGeom>
            <a:avLst/>
            <a:gdLst>
              <a:gd name="T0" fmla="*/ 21 w 42"/>
              <a:gd name="T1" fmla="*/ 0 h 42"/>
              <a:gd name="T2" fmla="*/ 0 w 42"/>
              <a:gd name="T3" fmla="*/ 21 h 42"/>
              <a:gd name="T4" fmla="*/ 21 w 42"/>
              <a:gd name="T5" fmla="*/ 42 h 42"/>
              <a:gd name="T6" fmla="*/ 42 w 42"/>
              <a:gd name="T7" fmla="*/ 21 h 42"/>
              <a:gd name="T8" fmla="*/ 21 w 42"/>
              <a:gd name="T9" fmla="*/ 0 h 42"/>
              <a:gd name="T10" fmla="*/ 21 w 42"/>
              <a:gd name="T11" fmla="*/ 37 h 42"/>
              <a:gd name="T12" fmla="*/ 5 w 42"/>
              <a:gd name="T13" fmla="*/ 21 h 42"/>
              <a:gd name="T14" fmla="*/ 21 w 42"/>
              <a:gd name="T15" fmla="*/ 5 h 42"/>
              <a:gd name="T16" fmla="*/ 37 w 42"/>
              <a:gd name="T17" fmla="*/ 21 h 42"/>
              <a:gd name="T18" fmla="*/ 21 w 42"/>
              <a:gd name="T19" fmla="*/ 3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0"/>
                </a:moveTo>
                <a:cubicBezTo>
                  <a:pt x="9" y="0"/>
                  <a:pt x="0" y="9"/>
                  <a:pt x="0" y="21"/>
                </a:cubicBezTo>
                <a:cubicBezTo>
                  <a:pt x="0" y="33"/>
                  <a:pt x="9" y="42"/>
                  <a:pt x="21" y="42"/>
                </a:cubicBezTo>
                <a:cubicBezTo>
                  <a:pt x="33" y="42"/>
                  <a:pt x="42" y="33"/>
                  <a:pt x="42" y="21"/>
                </a:cubicBezTo>
                <a:cubicBezTo>
                  <a:pt x="42" y="9"/>
                  <a:pt x="33" y="0"/>
                  <a:pt x="21" y="0"/>
                </a:cubicBezTo>
                <a:close/>
                <a:moveTo>
                  <a:pt x="21" y="37"/>
                </a:moveTo>
                <a:cubicBezTo>
                  <a:pt x="12" y="37"/>
                  <a:pt x="5" y="30"/>
                  <a:pt x="5" y="21"/>
                </a:cubicBezTo>
                <a:cubicBezTo>
                  <a:pt x="5" y="12"/>
                  <a:pt x="12" y="5"/>
                  <a:pt x="21" y="5"/>
                </a:cubicBezTo>
                <a:cubicBezTo>
                  <a:pt x="30" y="5"/>
                  <a:pt x="37" y="12"/>
                  <a:pt x="37" y="21"/>
                </a:cubicBezTo>
                <a:cubicBezTo>
                  <a:pt x="37" y="30"/>
                  <a:pt x="30" y="37"/>
                  <a:pt x="21" y="37"/>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1" name="Freeform 1108">
            <a:extLst>
              <a:ext uri="{FF2B5EF4-FFF2-40B4-BE49-F238E27FC236}">
                <a16:creationId xmlns:a16="http://schemas.microsoft.com/office/drawing/2014/main" id="{5455E0E3-404F-6F46-B9BA-F3815CC06572}"/>
              </a:ext>
            </a:extLst>
          </p:cNvPr>
          <p:cNvSpPr>
            <a:spLocks noEditPoints="1"/>
          </p:cNvSpPr>
          <p:nvPr/>
        </p:nvSpPr>
        <p:spPr bwMode="auto">
          <a:xfrm>
            <a:off x="5502158" y="6086475"/>
            <a:ext cx="252413" cy="255588"/>
          </a:xfrm>
          <a:custGeom>
            <a:avLst/>
            <a:gdLst>
              <a:gd name="T0" fmla="*/ 37 w 74"/>
              <a:gd name="T1" fmla="*/ 0 h 74"/>
              <a:gd name="T2" fmla="*/ 0 w 74"/>
              <a:gd name="T3" fmla="*/ 37 h 74"/>
              <a:gd name="T4" fmla="*/ 37 w 74"/>
              <a:gd name="T5" fmla="*/ 74 h 74"/>
              <a:gd name="T6" fmla="*/ 74 w 74"/>
              <a:gd name="T7" fmla="*/ 37 h 74"/>
              <a:gd name="T8" fmla="*/ 37 w 74"/>
              <a:gd name="T9" fmla="*/ 0 h 74"/>
              <a:gd name="T10" fmla="*/ 37 w 74"/>
              <a:gd name="T11" fmla="*/ 69 h 74"/>
              <a:gd name="T12" fmla="*/ 5 w 74"/>
              <a:gd name="T13" fmla="*/ 37 h 74"/>
              <a:gd name="T14" fmla="*/ 37 w 74"/>
              <a:gd name="T15" fmla="*/ 5 h 74"/>
              <a:gd name="T16" fmla="*/ 69 w 74"/>
              <a:gd name="T17" fmla="*/ 37 h 74"/>
              <a:gd name="T18" fmla="*/ 37 w 74"/>
              <a:gd name="T1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37" y="0"/>
                </a:moveTo>
                <a:cubicBezTo>
                  <a:pt x="16" y="0"/>
                  <a:pt x="0" y="16"/>
                  <a:pt x="0" y="37"/>
                </a:cubicBezTo>
                <a:cubicBezTo>
                  <a:pt x="0" y="58"/>
                  <a:pt x="16" y="74"/>
                  <a:pt x="37" y="74"/>
                </a:cubicBezTo>
                <a:cubicBezTo>
                  <a:pt x="58" y="74"/>
                  <a:pt x="74" y="58"/>
                  <a:pt x="74" y="37"/>
                </a:cubicBezTo>
                <a:cubicBezTo>
                  <a:pt x="74" y="16"/>
                  <a:pt x="58" y="0"/>
                  <a:pt x="37" y="0"/>
                </a:cubicBezTo>
                <a:close/>
                <a:moveTo>
                  <a:pt x="37" y="69"/>
                </a:moveTo>
                <a:cubicBezTo>
                  <a:pt x="19" y="69"/>
                  <a:pt x="5" y="55"/>
                  <a:pt x="5" y="37"/>
                </a:cubicBezTo>
                <a:cubicBezTo>
                  <a:pt x="5" y="19"/>
                  <a:pt x="19" y="5"/>
                  <a:pt x="37" y="5"/>
                </a:cubicBezTo>
                <a:cubicBezTo>
                  <a:pt x="55" y="5"/>
                  <a:pt x="69" y="19"/>
                  <a:pt x="69" y="37"/>
                </a:cubicBezTo>
                <a:cubicBezTo>
                  <a:pt x="69" y="55"/>
                  <a:pt x="55" y="69"/>
                  <a:pt x="37" y="69"/>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109">
            <a:extLst>
              <a:ext uri="{FF2B5EF4-FFF2-40B4-BE49-F238E27FC236}">
                <a16:creationId xmlns:a16="http://schemas.microsoft.com/office/drawing/2014/main" id="{C2B77BEE-1C2A-4940-95CF-90812BD728B9}"/>
              </a:ext>
            </a:extLst>
          </p:cNvPr>
          <p:cNvSpPr>
            <a:spLocks noEditPoints="1"/>
          </p:cNvSpPr>
          <p:nvPr/>
        </p:nvSpPr>
        <p:spPr bwMode="auto">
          <a:xfrm>
            <a:off x="6286383" y="341313"/>
            <a:ext cx="593725" cy="577850"/>
          </a:xfrm>
          <a:custGeom>
            <a:avLst/>
            <a:gdLst>
              <a:gd name="T0" fmla="*/ 51 w 174"/>
              <a:gd name="T1" fmla="*/ 15 h 168"/>
              <a:gd name="T2" fmla="*/ 44 w 174"/>
              <a:gd name="T3" fmla="*/ 19 h 168"/>
              <a:gd name="T4" fmla="*/ 39 w 174"/>
              <a:gd name="T5" fmla="*/ 23 h 168"/>
              <a:gd name="T6" fmla="*/ 30 w 174"/>
              <a:gd name="T7" fmla="*/ 30 h 168"/>
              <a:gd name="T8" fmla="*/ 23 w 174"/>
              <a:gd name="T9" fmla="*/ 39 h 168"/>
              <a:gd name="T10" fmla="*/ 19 w 174"/>
              <a:gd name="T11" fmla="*/ 44 h 168"/>
              <a:gd name="T12" fmla="*/ 15 w 174"/>
              <a:gd name="T13" fmla="*/ 51 h 168"/>
              <a:gd name="T14" fmla="*/ 87 w 174"/>
              <a:gd name="T15" fmla="*/ 167 h 168"/>
              <a:gd name="T16" fmla="*/ 125 w 174"/>
              <a:gd name="T17" fmla="*/ 157 h 168"/>
              <a:gd name="T18" fmla="*/ 130 w 174"/>
              <a:gd name="T19" fmla="*/ 154 h 168"/>
              <a:gd name="T20" fmla="*/ 139 w 174"/>
              <a:gd name="T21" fmla="*/ 148 h 168"/>
              <a:gd name="T22" fmla="*/ 147 w 174"/>
              <a:gd name="T23" fmla="*/ 140 h 168"/>
              <a:gd name="T24" fmla="*/ 151 w 174"/>
              <a:gd name="T25" fmla="*/ 135 h 168"/>
              <a:gd name="T26" fmla="*/ 157 w 174"/>
              <a:gd name="T27" fmla="*/ 126 h 168"/>
              <a:gd name="T28" fmla="*/ 158 w 174"/>
              <a:gd name="T29" fmla="*/ 123 h 168"/>
              <a:gd name="T30" fmla="*/ 140 w 174"/>
              <a:gd name="T31" fmla="*/ 34 h 168"/>
              <a:gd name="T32" fmla="*/ 110 w 174"/>
              <a:gd name="T33" fmla="*/ 64 h 168"/>
              <a:gd name="T34" fmla="*/ 87 w 174"/>
              <a:gd name="T35" fmla="*/ 12 h 168"/>
              <a:gd name="T36" fmla="*/ 145 w 174"/>
              <a:gd name="T37" fmla="*/ 133 h 168"/>
              <a:gd name="T38" fmla="*/ 140 w 174"/>
              <a:gd name="T39" fmla="*/ 140 h 168"/>
              <a:gd name="T40" fmla="*/ 133 w 174"/>
              <a:gd name="T41" fmla="*/ 145 h 168"/>
              <a:gd name="T42" fmla="*/ 129 w 174"/>
              <a:gd name="T43" fmla="*/ 149 h 168"/>
              <a:gd name="T44" fmla="*/ 110 w 174"/>
              <a:gd name="T45" fmla="*/ 110 h 168"/>
              <a:gd name="T46" fmla="*/ 149 w 174"/>
              <a:gd name="T47" fmla="*/ 129 h 168"/>
              <a:gd name="T48" fmla="*/ 103 w 174"/>
              <a:gd name="T49" fmla="*/ 109 h 168"/>
              <a:gd name="T50" fmla="*/ 100 w 174"/>
              <a:gd name="T51" fmla="*/ 112 h 168"/>
              <a:gd name="T52" fmla="*/ 63 w 174"/>
              <a:gd name="T53" fmla="*/ 74 h 168"/>
              <a:gd name="T54" fmla="*/ 65 w 174"/>
              <a:gd name="T55" fmla="*/ 70 h 168"/>
              <a:gd name="T56" fmla="*/ 71 w 174"/>
              <a:gd name="T57" fmla="*/ 65 h 168"/>
              <a:gd name="T58" fmla="*/ 74 w 174"/>
              <a:gd name="T59" fmla="*/ 62 h 168"/>
              <a:gd name="T60" fmla="*/ 112 w 174"/>
              <a:gd name="T61" fmla="*/ 100 h 168"/>
              <a:gd name="T62" fmla="*/ 109 w 174"/>
              <a:gd name="T63" fmla="*/ 103 h 168"/>
              <a:gd name="T64" fmla="*/ 104 w 174"/>
              <a:gd name="T65" fmla="*/ 109 h 168"/>
              <a:gd name="T66" fmla="*/ 28 w 174"/>
              <a:gd name="T67" fmla="*/ 42 h 168"/>
              <a:gd name="T68" fmla="*/ 31 w 174"/>
              <a:gd name="T69" fmla="*/ 37 h 168"/>
              <a:gd name="T70" fmla="*/ 38 w 174"/>
              <a:gd name="T71" fmla="*/ 31 h 168"/>
              <a:gd name="T72" fmla="*/ 45 w 174"/>
              <a:gd name="T73" fmla="*/ 26 h 168"/>
              <a:gd name="T74" fmla="*/ 69 w 174"/>
              <a:gd name="T75" fmla="*/ 59 h 168"/>
              <a:gd name="T76" fmla="*/ 23 w 174"/>
              <a:gd name="T77" fmla="*/ 49 h 168"/>
              <a:gd name="T78" fmla="*/ 20 w 174"/>
              <a:gd name="T79" fmla="*/ 54 h 168"/>
              <a:gd name="T80" fmla="*/ 87 w 174"/>
              <a:gd name="T81" fmla="*/ 120 h 168"/>
              <a:gd name="T82" fmla="*/ 34 w 174"/>
              <a:gd name="T83" fmla="*/ 140 h 168"/>
              <a:gd name="T84" fmla="*/ 79 w 174"/>
              <a:gd name="T85" fmla="*/ 95 h 168"/>
              <a:gd name="T86" fmla="*/ 98 w 174"/>
              <a:gd name="T87" fmla="*/ 87 h 168"/>
              <a:gd name="T88" fmla="*/ 91 w 174"/>
              <a:gd name="T89" fmla="*/ 91 h 168"/>
              <a:gd name="T90" fmla="*/ 83 w 174"/>
              <a:gd name="T91" fmla="*/ 83 h 168"/>
              <a:gd name="T92" fmla="*/ 93 w 174"/>
              <a:gd name="T93" fmla="*/ 8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4" h="168">
                <a:moveTo>
                  <a:pt x="144" y="30"/>
                </a:moveTo>
                <a:cubicBezTo>
                  <a:pt x="119" y="5"/>
                  <a:pt x="81" y="0"/>
                  <a:pt x="51" y="15"/>
                </a:cubicBezTo>
                <a:cubicBezTo>
                  <a:pt x="51" y="15"/>
                  <a:pt x="51" y="15"/>
                  <a:pt x="51" y="15"/>
                </a:cubicBezTo>
                <a:cubicBezTo>
                  <a:pt x="49" y="17"/>
                  <a:pt x="49" y="17"/>
                  <a:pt x="49" y="17"/>
                </a:cubicBezTo>
                <a:cubicBezTo>
                  <a:pt x="48" y="17"/>
                  <a:pt x="48" y="17"/>
                  <a:pt x="48" y="17"/>
                </a:cubicBezTo>
                <a:cubicBezTo>
                  <a:pt x="47" y="18"/>
                  <a:pt x="45" y="19"/>
                  <a:pt x="44" y="19"/>
                </a:cubicBezTo>
                <a:cubicBezTo>
                  <a:pt x="44" y="20"/>
                  <a:pt x="44" y="20"/>
                  <a:pt x="44" y="20"/>
                </a:cubicBezTo>
                <a:cubicBezTo>
                  <a:pt x="42" y="21"/>
                  <a:pt x="41" y="22"/>
                  <a:pt x="39" y="23"/>
                </a:cubicBezTo>
                <a:cubicBezTo>
                  <a:pt x="39" y="23"/>
                  <a:pt x="39" y="23"/>
                  <a:pt x="39" y="23"/>
                </a:cubicBezTo>
                <a:cubicBezTo>
                  <a:pt x="37" y="24"/>
                  <a:pt x="36" y="25"/>
                  <a:pt x="35" y="26"/>
                </a:cubicBezTo>
                <a:cubicBezTo>
                  <a:pt x="35" y="26"/>
                  <a:pt x="34" y="27"/>
                  <a:pt x="34" y="27"/>
                </a:cubicBezTo>
                <a:cubicBezTo>
                  <a:pt x="33" y="28"/>
                  <a:pt x="32" y="29"/>
                  <a:pt x="30" y="30"/>
                </a:cubicBezTo>
                <a:cubicBezTo>
                  <a:pt x="29" y="32"/>
                  <a:pt x="28" y="33"/>
                  <a:pt x="27" y="34"/>
                </a:cubicBezTo>
                <a:cubicBezTo>
                  <a:pt x="27" y="34"/>
                  <a:pt x="26" y="35"/>
                  <a:pt x="26" y="35"/>
                </a:cubicBezTo>
                <a:cubicBezTo>
                  <a:pt x="25" y="36"/>
                  <a:pt x="24" y="37"/>
                  <a:pt x="23" y="39"/>
                </a:cubicBezTo>
                <a:cubicBezTo>
                  <a:pt x="23" y="39"/>
                  <a:pt x="23" y="39"/>
                  <a:pt x="23" y="39"/>
                </a:cubicBezTo>
                <a:cubicBezTo>
                  <a:pt x="22" y="41"/>
                  <a:pt x="21" y="42"/>
                  <a:pt x="20" y="44"/>
                </a:cubicBezTo>
                <a:cubicBezTo>
                  <a:pt x="20" y="44"/>
                  <a:pt x="20" y="44"/>
                  <a:pt x="19" y="44"/>
                </a:cubicBezTo>
                <a:cubicBezTo>
                  <a:pt x="19" y="45"/>
                  <a:pt x="18" y="47"/>
                  <a:pt x="17" y="48"/>
                </a:cubicBezTo>
                <a:cubicBezTo>
                  <a:pt x="17" y="48"/>
                  <a:pt x="17" y="48"/>
                  <a:pt x="17" y="49"/>
                </a:cubicBezTo>
                <a:cubicBezTo>
                  <a:pt x="15" y="51"/>
                  <a:pt x="15" y="51"/>
                  <a:pt x="15" y="51"/>
                </a:cubicBezTo>
                <a:cubicBezTo>
                  <a:pt x="15" y="51"/>
                  <a:pt x="15" y="51"/>
                  <a:pt x="15" y="51"/>
                </a:cubicBezTo>
                <a:cubicBezTo>
                  <a:pt x="0" y="81"/>
                  <a:pt x="5" y="119"/>
                  <a:pt x="30" y="144"/>
                </a:cubicBezTo>
                <a:cubicBezTo>
                  <a:pt x="46" y="159"/>
                  <a:pt x="66" y="167"/>
                  <a:pt x="87" y="167"/>
                </a:cubicBezTo>
                <a:cubicBezTo>
                  <a:pt x="99" y="167"/>
                  <a:pt x="112" y="164"/>
                  <a:pt x="123" y="158"/>
                </a:cubicBezTo>
                <a:cubicBezTo>
                  <a:pt x="123" y="159"/>
                  <a:pt x="123" y="159"/>
                  <a:pt x="123" y="159"/>
                </a:cubicBezTo>
                <a:cubicBezTo>
                  <a:pt x="125" y="157"/>
                  <a:pt x="125" y="157"/>
                  <a:pt x="125" y="157"/>
                </a:cubicBezTo>
                <a:cubicBezTo>
                  <a:pt x="126" y="157"/>
                  <a:pt x="126" y="157"/>
                  <a:pt x="126" y="157"/>
                </a:cubicBezTo>
                <a:cubicBezTo>
                  <a:pt x="127" y="156"/>
                  <a:pt x="129" y="155"/>
                  <a:pt x="130" y="154"/>
                </a:cubicBezTo>
                <a:cubicBezTo>
                  <a:pt x="130" y="154"/>
                  <a:pt x="130" y="154"/>
                  <a:pt x="130" y="154"/>
                </a:cubicBezTo>
                <a:cubicBezTo>
                  <a:pt x="132" y="153"/>
                  <a:pt x="133" y="152"/>
                  <a:pt x="135" y="151"/>
                </a:cubicBezTo>
                <a:cubicBezTo>
                  <a:pt x="135" y="151"/>
                  <a:pt x="135" y="151"/>
                  <a:pt x="135" y="151"/>
                </a:cubicBezTo>
                <a:cubicBezTo>
                  <a:pt x="137" y="150"/>
                  <a:pt x="138" y="149"/>
                  <a:pt x="139" y="148"/>
                </a:cubicBezTo>
                <a:cubicBezTo>
                  <a:pt x="139" y="148"/>
                  <a:pt x="140" y="147"/>
                  <a:pt x="140" y="147"/>
                </a:cubicBezTo>
                <a:cubicBezTo>
                  <a:pt x="141" y="146"/>
                  <a:pt x="142" y="145"/>
                  <a:pt x="144" y="144"/>
                </a:cubicBezTo>
                <a:cubicBezTo>
                  <a:pt x="145" y="142"/>
                  <a:pt x="146" y="141"/>
                  <a:pt x="147" y="140"/>
                </a:cubicBezTo>
                <a:cubicBezTo>
                  <a:pt x="147" y="139"/>
                  <a:pt x="148" y="139"/>
                  <a:pt x="148" y="139"/>
                </a:cubicBezTo>
                <a:cubicBezTo>
                  <a:pt x="149" y="138"/>
                  <a:pt x="150" y="137"/>
                  <a:pt x="151" y="135"/>
                </a:cubicBezTo>
                <a:cubicBezTo>
                  <a:pt x="151" y="135"/>
                  <a:pt x="151" y="135"/>
                  <a:pt x="151" y="135"/>
                </a:cubicBezTo>
                <a:cubicBezTo>
                  <a:pt x="152" y="133"/>
                  <a:pt x="153" y="132"/>
                  <a:pt x="154" y="130"/>
                </a:cubicBezTo>
                <a:cubicBezTo>
                  <a:pt x="154" y="130"/>
                  <a:pt x="154" y="130"/>
                  <a:pt x="154" y="130"/>
                </a:cubicBezTo>
                <a:cubicBezTo>
                  <a:pt x="155" y="129"/>
                  <a:pt x="156" y="127"/>
                  <a:pt x="157" y="126"/>
                </a:cubicBezTo>
                <a:cubicBezTo>
                  <a:pt x="157" y="126"/>
                  <a:pt x="157" y="126"/>
                  <a:pt x="157" y="125"/>
                </a:cubicBezTo>
                <a:cubicBezTo>
                  <a:pt x="159" y="123"/>
                  <a:pt x="159" y="123"/>
                  <a:pt x="159" y="123"/>
                </a:cubicBezTo>
                <a:cubicBezTo>
                  <a:pt x="158" y="123"/>
                  <a:pt x="158" y="123"/>
                  <a:pt x="158" y="123"/>
                </a:cubicBezTo>
                <a:cubicBezTo>
                  <a:pt x="174" y="93"/>
                  <a:pt x="169" y="55"/>
                  <a:pt x="144" y="30"/>
                </a:cubicBezTo>
                <a:close/>
                <a:moveTo>
                  <a:pt x="87" y="12"/>
                </a:moveTo>
                <a:cubicBezTo>
                  <a:pt x="106" y="12"/>
                  <a:pt x="125" y="20"/>
                  <a:pt x="140" y="34"/>
                </a:cubicBezTo>
                <a:cubicBezTo>
                  <a:pt x="163" y="58"/>
                  <a:pt x="168" y="92"/>
                  <a:pt x="154" y="120"/>
                </a:cubicBezTo>
                <a:cubicBezTo>
                  <a:pt x="117" y="100"/>
                  <a:pt x="117" y="100"/>
                  <a:pt x="117" y="100"/>
                </a:cubicBezTo>
                <a:cubicBezTo>
                  <a:pt x="123" y="88"/>
                  <a:pt x="120" y="74"/>
                  <a:pt x="110" y="64"/>
                </a:cubicBezTo>
                <a:cubicBezTo>
                  <a:pt x="100" y="54"/>
                  <a:pt x="86" y="51"/>
                  <a:pt x="74" y="57"/>
                </a:cubicBezTo>
                <a:cubicBezTo>
                  <a:pt x="54" y="20"/>
                  <a:pt x="54" y="20"/>
                  <a:pt x="54" y="20"/>
                </a:cubicBezTo>
                <a:cubicBezTo>
                  <a:pt x="64" y="15"/>
                  <a:pt x="76" y="12"/>
                  <a:pt x="87" y="12"/>
                </a:cubicBezTo>
                <a:close/>
                <a:moveTo>
                  <a:pt x="148" y="129"/>
                </a:moveTo>
                <a:cubicBezTo>
                  <a:pt x="148" y="130"/>
                  <a:pt x="147" y="131"/>
                  <a:pt x="146" y="132"/>
                </a:cubicBezTo>
                <a:cubicBezTo>
                  <a:pt x="146" y="133"/>
                  <a:pt x="146" y="133"/>
                  <a:pt x="145" y="133"/>
                </a:cubicBezTo>
                <a:cubicBezTo>
                  <a:pt x="145" y="134"/>
                  <a:pt x="144" y="135"/>
                  <a:pt x="143" y="136"/>
                </a:cubicBezTo>
                <a:cubicBezTo>
                  <a:pt x="143" y="136"/>
                  <a:pt x="143" y="136"/>
                  <a:pt x="143" y="137"/>
                </a:cubicBezTo>
                <a:cubicBezTo>
                  <a:pt x="142" y="138"/>
                  <a:pt x="141" y="139"/>
                  <a:pt x="140" y="140"/>
                </a:cubicBezTo>
                <a:cubicBezTo>
                  <a:pt x="139" y="141"/>
                  <a:pt x="138" y="142"/>
                  <a:pt x="137" y="143"/>
                </a:cubicBezTo>
                <a:cubicBezTo>
                  <a:pt x="136" y="143"/>
                  <a:pt x="136" y="143"/>
                  <a:pt x="136" y="143"/>
                </a:cubicBezTo>
                <a:cubicBezTo>
                  <a:pt x="135" y="144"/>
                  <a:pt x="134" y="145"/>
                  <a:pt x="133" y="145"/>
                </a:cubicBezTo>
                <a:cubicBezTo>
                  <a:pt x="133" y="146"/>
                  <a:pt x="133" y="146"/>
                  <a:pt x="132" y="146"/>
                </a:cubicBezTo>
                <a:cubicBezTo>
                  <a:pt x="131" y="147"/>
                  <a:pt x="130" y="148"/>
                  <a:pt x="129" y="148"/>
                </a:cubicBezTo>
                <a:cubicBezTo>
                  <a:pt x="129" y="148"/>
                  <a:pt x="129" y="149"/>
                  <a:pt x="129" y="149"/>
                </a:cubicBezTo>
                <a:cubicBezTo>
                  <a:pt x="128" y="149"/>
                  <a:pt x="126" y="150"/>
                  <a:pt x="125" y="151"/>
                </a:cubicBezTo>
                <a:cubicBezTo>
                  <a:pt x="105" y="115"/>
                  <a:pt x="105" y="115"/>
                  <a:pt x="105" y="115"/>
                </a:cubicBezTo>
                <a:cubicBezTo>
                  <a:pt x="107" y="113"/>
                  <a:pt x="109" y="112"/>
                  <a:pt x="110" y="110"/>
                </a:cubicBezTo>
                <a:cubicBezTo>
                  <a:pt x="112" y="109"/>
                  <a:pt x="113" y="107"/>
                  <a:pt x="115" y="105"/>
                </a:cubicBezTo>
                <a:cubicBezTo>
                  <a:pt x="151" y="125"/>
                  <a:pt x="151" y="125"/>
                  <a:pt x="151" y="125"/>
                </a:cubicBezTo>
                <a:cubicBezTo>
                  <a:pt x="150" y="126"/>
                  <a:pt x="149" y="128"/>
                  <a:pt x="149" y="129"/>
                </a:cubicBezTo>
                <a:cubicBezTo>
                  <a:pt x="149" y="129"/>
                  <a:pt x="148" y="129"/>
                  <a:pt x="148" y="129"/>
                </a:cubicBezTo>
                <a:close/>
                <a:moveTo>
                  <a:pt x="104" y="109"/>
                </a:moveTo>
                <a:cubicBezTo>
                  <a:pt x="104" y="109"/>
                  <a:pt x="103" y="109"/>
                  <a:pt x="103" y="109"/>
                </a:cubicBezTo>
                <a:cubicBezTo>
                  <a:pt x="102" y="110"/>
                  <a:pt x="101" y="111"/>
                  <a:pt x="100" y="111"/>
                </a:cubicBezTo>
                <a:cubicBezTo>
                  <a:pt x="100" y="111"/>
                  <a:pt x="100" y="111"/>
                  <a:pt x="100" y="111"/>
                </a:cubicBezTo>
                <a:cubicBezTo>
                  <a:pt x="100" y="112"/>
                  <a:pt x="100" y="112"/>
                  <a:pt x="100" y="112"/>
                </a:cubicBezTo>
                <a:cubicBezTo>
                  <a:pt x="89" y="117"/>
                  <a:pt x="76" y="115"/>
                  <a:pt x="67" y="107"/>
                </a:cubicBezTo>
                <a:cubicBezTo>
                  <a:pt x="59" y="98"/>
                  <a:pt x="57" y="85"/>
                  <a:pt x="62" y="74"/>
                </a:cubicBezTo>
                <a:cubicBezTo>
                  <a:pt x="63" y="74"/>
                  <a:pt x="63" y="74"/>
                  <a:pt x="63" y="74"/>
                </a:cubicBezTo>
                <a:cubicBezTo>
                  <a:pt x="63" y="74"/>
                  <a:pt x="63" y="74"/>
                  <a:pt x="63" y="74"/>
                </a:cubicBezTo>
                <a:cubicBezTo>
                  <a:pt x="63" y="73"/>
                  <a:pt x="64" y="72"/>
                  <a:pt x="65" y="71"/>
                </a:cubicBezTo>
                <a:cubicBezTo>
                  <a:pt x="65" y="71"/>
                  <a:pt x="65" y="70"/>
                  <a:pt x="65" y="70"/>
                </a:cubicBezTo>
                <a:cubicBezTo>
                  <a:pt x="66" y="69"/>
                  <a:pt x="67" y="68"/>
                  <a:pt x="67" y="67"/>
                </a:cubicBezTo>
                <a:cubicBezTo>
                  <a:pt x="68" y="67"/>
                  <a:pt x="69" y="66"/>
                  <a:pt x="70" y="65"/>
                </a:cubicBezTo>
                <a:cubicBezTo>
                  <a:pt x="70" y="65"/>
                  <a:pt x="71" y="65"/>
                  <a:pt x="71" y="65"/>
                </a:cubicBezTo>
                <a:cubicBezTo>
                  <a:pt x="72" y="64"/>
                  <a:pt x="73" y="63"/>
                  <a:pt x="74" y="63"/>
                </a:cubicBezTo>
                <a:cubicBezTo>
                  <a:pt x="74" y="63"/>
                  <a:pt x="74" y="63"/>
                  <a:pt x="74" y="63"/>
                </a:cubicBezTo>
                <a:cubicBezTo>
                  <a:pt x="74" y="62"/>
                  <a:pt x="74" y="62"/>
                  <a:pt x="74" y="62"/>
                </a:cubicBezTo>
                <a:cubicBezTo>
                  <a:pt x="78" y="60"/>
                  <a:pt x="83" y="59"/>
                  <a:pt x="87" y="59"/>
                </a:cubicBezTo>
                <a:cubicBezTo>
                  <a:pt x="94" y="59"/>
                  <a:pt x="101" y="62"/>
                  <a:pt x="107" y="67"/>
                </a:cubicBezTo>
                <a:cubicBezTo>
                  <a:pt x="115" y="76"/>
                  <a:pt x="117" y="89"/>
                  <a:pt x="112" y="100"/>
                </a:cubicBezTo>
                <a:cubicBezTo>
                  <a:pt x="111" y="100"/>
                  <a:pt x="111" y="100"/>
                  <a:pt x="111" y="100"/>
                </a:cubicBezTo>
                <a:cubicBezTo>
                  <a:pt x="111" y="100"/>
                  <a:pt x="111" y="100"/>
                  <a:pt x="111" y="100"/>
                </a:cubicBezTo>
                <a:cubicBezTo>
                  <a:pt x="111" y="101"/>
                  <a:pt x="110" y="102"/>
                  <a:pt x="109" y="103"/>
                </a:cubicBezTo>
                <a:cubicBezTo>
                  <a:pt x="109" y="103"/>
                  <a:pt x="109" y="104"/>
                  <a:pt x="109" y="104"/>
                </a:cubicBezTo>
                <a:cubicBezTo>
                  <a:pt x="108" y="105"/>
                  <a:pt x="107" y="106"/>
                  <a:pt x="107" y="107"/>
                </a:cubicBezTo>
                <a:cubicBezTo>
                  <a:pt x="106" y="107"/>
                  <a:pt x="105" y="108"/>
                  <a:pt x="104" y="109"/>
                </a:cubicBezTo>
                <a:close/>
                <a:moveTo>
                  <a:pt x="25" y="45"/>
                </a:moveTo>
                <a:cubicBezTo>
                  <a:pt x="25" y="45"/>
                  <a:pt x="26" y="45"/>
                  <a:pt x="26" y="45"/>
                </a:cubicBezTo>
                <a:cubicBezTo>
                  <a:pt x="26" y="44"/>
                  <a:pt x="27" y="43"/>
                  <a:pt x="28" y="42"/>
                </a:cubicBezTo>
                <a:cubicBezTo>
                  <a:pt x="28" y="41"/>
                  <a:pt x="28" y="41"/>
                  <a:pt x="29" y="41"/>
                </a:cubicBezTo>
                <a:cubicBezTo>
                  <a:pt x="29" y="40"/>
                  <a:pt x="30" y="39"/>
                  <a:pt x="31" y="38"/>
                </a:cubicBezTo>
                <a:cubicBezTo>
                  <a:pt x="31" y="38"/>
                  <a:pt x="31" y="38"/>
                  <a:pt x="31" y="37"/>
                </a:cubicBezTo>
                <a:cubicBezTo>
                  <a:pt x="32" y="36"/>
                  <a:pt x="33" y="35"/>
                  <a:pt x="34" y="34"/>
                </a:cubicBezTo>
                <a:cubicBezTo>
                  <a:pt x="35" y="33"/>
                  <a:pt x="36" y="32"/>
                  <a:pt x="37" y="31"/>
                </a:cubicBezTo>
                <a:cubicBezTo>
                  <a:pt x="38" y="31"/>
                  <a:pt x="38" y="31"/>
                  <a:pt x="38" y="31"/>
                </a:cubicBezTo>
                <a:cubicBezTo>
                  <a:pt x="39" y="30"/>
                  <a:pt x="40" y="29"/>
                  <a:pt x="41" y="29"/>
                </a:cubicBezTo>
                <a:cubicBezTo>
                  <a:pt x="41" y="28"/>
                  <a:pt x="41" y="28"/>
                  <a:pt x="42" y="28"/>
                </a:cubicBezTo>
                <a:cubicBezTo>
                  <a:pt x="43" y="27"/>
                  <a:pt x="44" y="26"/>
                  <a:pt x="45" y="26"/>
                </a:cubicBezTo>
                <a:cubicBezTo>
                  <a:pt x="45" y="26"/>
                  <a:pt x="45" y="25"/>
                  <a:pt x="45" y="25"/>
                </a:cubicBezTo>
                <a:cubicBezTo>
                  <a:pt x="46" y="25"/>
                  <a:pt x="48" y="24"/>
                  <a:pt x="49" y="23"/>
                </a:cubicBezTo>
                <a:cubicBezTo>
                  <a:pt x="69" y="59"/>
                  <a:pt x="69" y="59"/>
                  <a:pt x="69" y="59"/>
                </a:cubicBezTo>
                <a:cubicBezTo>
                  <a:pt x="67" y="61"/>
                  <a:pt x="65" y="62"/>
                  <a:pt x="64" y="64"/>
                </a:cubicBezTo>
                <a:cubicBezTo>
                  <a:pt x="62" y="65"/>
                  <a:pt x="61" y="67"/>
                  <a:pt x="59" y="69"/>
                </a:cubicBezTo>
                <a:cubicBezTo>
                  <a:pt x="23" y="49"/>
                  <a:pt x="23" y="49"/>
                  <a:pt x="23" y="49"/>
                </a:cubicBezTo>
                <a:cubicBezTo>
                  <a:pt x="24" y="48"/>
                  <a:pt x="25" y="46"/>
                  <a:pt x="25" y="45"/>
                </a:cubicBezTo>
                <a:close/>
                <a:moveTo>
                  <a:pt x="34" y="140"/>
                </a:moveTo>
                <a:cubicBezTo>
                  <a:pt x="11" y="116"/>
                  <a:pt x="6" y="82"/>
                  <a:pt x="20" y="54"/>
                </a:cubicBezTo>
                <a:cubicBezTo>
                  <a:pt x="57" y="74"/>
                  <a:pt x="57" y="74"/>
                  <a:pt x="57" y="74"/>
                </a:cubicBezTo>
                <a:cubicBezTo>
                  <a:pt x="51" y="86"/>
                  <a:pt x="54" y="100"/>
                  <a:pt x="64" y="110"/>
                </a:cubicBezTo>
                <a:cubicBezTo>
                  <a:pt x="70" y="117"/>
                  <a:pt x="79" y="120"/>
                  <a:pt x="87" y="120"/>
                </a:cubicBezTo>
                <a:cubicBezTo>
                  <a:pt x="92" y="120"/>
                  <a:pt x="96" y="119"/>
                  <a:pt x="100" y="117"/>
                </a:cubicBezTo>
                <a:cubicBezTo>
                  <a:pt x="120" y="154"/>
                  <a:pt x="120" y="154"/>
                  <a:pt x="120" y="154"/>
                </a:cubicBezTo>
                <a:cubicBezTo>
                  <a:pt x="92" y="168"/>
                  <a:pt x="58" y="163"/>
                  <a:pt x="34" y="140"/>
                </a:cubicBezTo>
                <a:close/>
                <a:moveTo>
                  <a:pt x="79" y="79"/>
                </a:moveTo>
                <a:cubicBezTo>
                  <a:pt x="77" y="81"/>
                  <a:pt x="76" y="84"/>
                  <a:pt x="76" y="87"/>
                </a:cubicBezTo>
                <a:cubicBezTo>
                  <a:pt x="76" y="90"/>
                  <a:pt x="77" y="93"/>
                  <a:pt x="79" y="95"/>
                </a:cubicBezTo>
                <a:cubicBezTo>
                  <a:pt x="81" y="97"/>
                  <a:pt x="84" y="98"/>
                  <a:pt x="87" y="98"/>
                </a:cubicBezTo>
                <a:cubicBezTo>
                  <a:pt x="90" y="98"/>
                  <a:pt x="93" y="97"/>
                  <a:pt x="95" y="95"/>
                </a:cubicBezTo>
                <a:cubicBezTo>
                  <a:pt x="97" y="93"/>
                  <a:pt x="98" y="90"/>
                  <a:pt x="98" y="87"/>
                </a:cubicBezTo>
                <a:cubicBezTo>
                  <a:pt x="98" y="84"/>
                  <a:pt x="97" y="81"/>
                  <a:pt x="95" y="79"/>
                </a:cubicBezTo>
                <a:cubicBezTo>
                  <a:pt x="91" y="75"/>
                  <a:pt x="83" y="75"/>
                  <a:pt x="79" y="79"/>
                </a:cubicBezTo>
                <a:close/>
                <a:moveTo>
                  <a:pt x="91" y="91"/>
                </a:moveTo>
                <a:cubicBezTo>
                  <a:pt x="89" y="93"/>
                  <a:pt x="85" y="93"/>
                  <a:pt x="83" y="91"/>
                </a:cubicBezTo>
                <a:cubicBezTo>
                  <a:pt x="82" y="90"/>
                  <a:pt x="81" y="88"/>
                  <a:pt x="81" y="87"/>
                </a:cubicBezTo>
                <a:cubicBezTo>
                  <a:pt x="81" y="86"/>
                  <a:pt x="82" y="84"/>
                  <a:pt x="83" y="83"/>
                </a:cubicBezTo>
                <a:cubicBezTo>
                  <a:pt x="84" y="82"/>
                  <a:pt x="86" y="81"/>
                  <a:pt x="87" y="81"/>
                </a:cubicBezTo>
                <a:cubicBezTo>
                  <a:pt x="88" y="81"/>
                  <a:pt x="90" y="82"/>
                  <a:pt x="91" y="83"/>
                </a:cubicBezTo>
                <a:cubicBezTo>
                  <a:pt x="92" y="84"/>
                  <a:pt x="93" y="86"/>
                  <a:pt x="93" y="87"/>
                </a:cubicBezTo>
                <a:cubicBezTo>
                  <a:pt x="93" y="88"/>
                  <a:pt x="92" y="90"/>
                  <a:pt x="91" y="91"/>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110">
            <a:extLst>
              <a:ext uri="{FF2B5EF4-FFF2-40B4-BE49-F238E27FC236}">
                <a16:creationId xmlns:a16="http://schemas.microsoft.com/office/drawing/2014/main" id="{A5515D00-B779-2E42-AF6D-CCB5BF95E7D2}"/>
              </a:ext>
            </a:extLst>
          </p:cNvPr>
          <p:cNvSpPr>
            <a:spLocks noEditPoints="1"/>
          </p:cNvSpPr>
          <p:nvPr/>
        </p:nvSpPr>
        <p:spPr bwMode="auto">
          <a:xfrm>
            <a:off x="6351470" y="984250"/>
            <a:ext cx="463550" cy="550863"/>
          </a:xfrm>
          <a:custGeom>
            <a:avLst/>
            <a:gdLst>
              <a:gd name="T0" fmla="*/ 71 w 136"/>
              <a:gd name="T1" fmla="*/ 24 h 160"/>
              <a:gd name="T2" fmla="*/ 71 w 136"/>
              <a:gd name="T3" fmla="*/ 21 h 160"/>
              <a:gd name="T4" fmla="*/ 79 w 136"/>
              <a:gd name="T5" fmla="*/ 11 h 160"/>
              <a:gd name="T6" fmla="*/ 68 w 136"/>
              <a:gd name="T7" fmla="*/ 0 h 160"/>
              <a:gd name="T8" fmla="*/ 57 w 136"/>
              <a:gd name="T9" fmla="*/ 11 h 160"/>
              <a:gd name="T10" fmla="*/ 65 w 136"/>
              <a:gd name="T11" fmla="*/ 21 h 160"/>
              <a:gd name="T12" fmla="*/ 65 w 136"/>
              <a:gd name="T13" fmla="*/ 24 h 160"/>
              <a:gd name="T14" fmla="*/ 0 w 136"/>
              <a:gd name="T15" fmla="*/ 92 h 160"/>
              <a:gd name="T16" fmla="*/ 68 w 136"/>
              <a:gd name="T17" fmla="*/ 160 h 160"/>
              <a:gd name="T18" fmla="*/ 136 w 136"/>
              <a:gd name="T19" fmla="*/ 92 h 160"/>
              <a:gd name="T20" fmla="*/ 71 w 136"/>
              <a:gd name="T21" fmla="*/ 24 h 160"/>
              <a:gd name="T22" fmla="*/ 62 w 136"/>
              <a:gd name="T23" fmla="*/ 11 h 160"/>
              <a:gd name="T24" fmla="*/ 68 w 136"/>
              <a:gd name="T25" fmla="*/ 5 h 160"/>
              <a:gd name="T26" fmla="*/ 73 w 136"/>
              <a:gd name="T27" fmla="*/ 11 h 160"/>
              <a:gd name="T28" fmla="*/ 68 w 136"/>
              <a:gd name="T29" fmla="*/ 16 h 160"/>
              <a:gd name="T30" fmla="*/ 62 w 136"/>
              <a:gd name="T31" fmla="*/ 11 h 160"/>
              <a:gd name="T32" fmla="*/ 68 w 136"/>
              <a:gd name="T33" fmla="*/ 155 h 160"/>
              <a:gd name="T34" fmla="*/ 5 w 136"/>
              <a:gd name="T35" fmla="*/ 92 h 160"/>
              <a:gd name="T36" fmla="*/ 68 w 136"/>
              <a:gd name="T37" fmla="*/ 30 h 160"/>
              <a:gd name="T38" fmla="*/ 130 w 136"/>
              <a:gd name="T39" fmla="*/ 92 h 160"/>
              <a:gd name="T40" fmla="*/ 68 w 136"/>
              <a:gd name="T41" fmla="*/ 155 h 160"/>
              <a:gd name="T42" fmla="*/ 101 w 136"/>
              <a:gd name="T43" fmla="*/ 55 h 160"/>
              <a:gd name="T44" fmla="*/ 55 w 136"/>
              <a:gd name="T45" fmla="*/ 78 h 160"/>
              <a:gd name="T46" fmla="*/ 55 w 136"/>
              <a:gd name="T47" fmla="*/ 78 h 160"/>
              <a:gd name="T48" fmla="*/ 54 w 136"/>
              <a:gd name="T49" fmla="*/ 79 h 160"/>
              <a:gd name="T50" fmla="*/ 54 w 136"/>
              <a:gd name="T51" fmla="*/ 79 h 160"/>
              <a:gd name="T52" fmla="*/ 54 w 136"/>
              <a:gd name="T53" fmla="*/ 79 h 160"/>
              <a:gd name="T54" fmla="*/ 31 w 136"/>
              <a:gd name="T55" fmla="*/ 126 h 160"/>
              <a:gd name="T56" fmla="*/ 31 w 136"/>
              <a:gd name="T57" fmla="*/ 129 h 160"/>
              <a:gd name="T58" fmla="*/ 33 w 136"/>
              <a:gd name="T59" fmla="*/ 129 h 160"/>
              <a:gd name="T60" fmla="*/ 34 w 136"/>
              <a:gd name="T61" fmla="*/ 129 h 160"/>
              <a:gd name="T62" fmla="*/ 81 w 136"/>
              <a:gd name="T63" fmla="*/ 106 h 160"/>
              <a:gd name="T64" fmla="*/ 81 w 136"/>
              <a:gd name="T65" fmla="*/ 106 h 160"/>
              <a:gd name="T66" fmla="*/ 81 w 136"/>
              <a:gd name="T67" fmla="*/ 106 h 160"/>
              <a:gd name="T68" fmla="*/ 82 w 136"/>
              <a:gd name="T69" fmla="*/ 105 h 160"/>
              <a:gd name="T70" fmla="*/ 82 w 136"/>
              <a:gd name="T71" fmla="*/ 105 h 160"/>
              <a:gd name="T72" fmla="*/ 105 w 136"/>
              <a:gd name="T73" fmla="*/ 59 h 160"/>
              <a:gd name="T74" fmla="*/ 104 w 136"/>
              <a:gd name="T75" fmla="*/ 56 h 160"/>
              <a:gd name="T76" fmla="*/ 101 w 136"/>
              <a:gd name="T77" fmla="*/ 55 h 160"/>
              <a:gd name="T78" fmla="*/ 39 w 136"/>
              <a:gd name="T79" fmla="*/ 121 h 160"/>
              <a:gd name="T80" fmla="*/ 57 w 136"/>
              <a:gd name="T81" fmla="*/ 85 h 160"/>
              <a:gd name="T82" fmla="*/ 75 w 136"/>
              <a:gd name="T83" fmla="*/ 103 h 160"/>
              <a:gd name="T84" fmla="*/ 39 w 136"/>
              <a:gd name="T85" fmla="*/ 121 h 160"/>
              <a:gd name="T86" fmla="*/ 79 w 136"/>
              <a:gd name="T87" fmla="*/ 99 h 160"/>
              <a:gd name="T88" fmla="*/ 61 w 136"/>
              <a:gd name="T89" fmla="*/ 81 h 160"/>
              <a:gd name="T90" fmla="*/ 96 w 136"/>
              <a:gd name="T91" fmla="*/ 64 h 160"/>
              <a:gd name="T92" fmla="*/ 79 w 136"/>
              <a:gd name="T93" fmla="*/ 9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6" h="160">
                <a:moveTo>
                  <a:pt x="71" y="24"/>
                </a:moveTo>
                <a:cubicBezTo>
                  <a:pt x="71" y="21"/>
                  <a:pt x="71" y="21"/>
                  <a:pt x="71" y="21"/>
                </a:cubicBezTo>
                <a:cubicBezTo>
                  <a:pt x="75" y="20"/>
                  <a:pt x="79" y="16"/>
                  <a:pt x="79" y="11"/>
                </a:cubicBezTo>
                <a:cubicBezTo>
                  <a:pt x="79" y="5"/>
                  <a:pt x="74" y="0"/>
                  <a:pt x="68" y="0"/>
                </a:cubicBezTo>
                <a:cubicBezTo>
                  <a:pt x="62" y="0"/>
                  <a:pt x="57" y="5"/>
                  <a:pt x="57" y="11"/>
                </a:cubicBezTo>
                <a:cubicBezTo>
                  <a:pt x="57" y="16"/>
                  <a:pt x="60" y="20"/>
                  <a:pt x="65" y="21"/>
                </a:cubicBezTo>
                <a:cubicBezTo>
                  <a:pt x="65" y="24"/>
                  <a:pt x="65" y="24"/>
                  <a:pt x="65" y="24"/>
                </a:cubicBezTo>
                <a:cubicBezTo>
                  <a:pt x="29" y="26"/>
                  <a:pt x="0" y="56"/>
                  <a:pt x="0" y="92"/>
                </a:cubicBezTo>
                <a:cubicBezTo>
                  <a:pt x="0" y="130"/>
                  <a:pt x="30" y="160"/>
                  <a:pt x="68" y="160"/>
                </a:cubicBezTo>
                <a:cubicBezTo>
                  <a:pt x="105" y="160"/>
                  <a:pt x="136" y="130"/>
                  <a:pt x="136" y="92"/>
                </a:cubicBezTo>
                <a:cubicBezTo>
                  <a:pt x="136" y="56"/>
                  <a:pt x="107" y="26"/>
                  <a:pt x="71" y="24"/>
                </a:cubicBezTo>
                <a:close/>
                <a:moveTo>
                  <a:pt x="62" y="11"/>
                </a:moveTo>
                <a:cubicBezTo>
                  <a:pt x="62" y="8"/>
                  <a:pt x="65" y="5"/>
                  <a:pt x="68" y="5"/>
                </a:cubicBezTo>
                <a:cubicBezTo>
                  <a:pt x="71" y="5"/>
                  <a:pt x="73" y="8"/>
                  <a:pt x="73" y="11"/>
                </a:cubicBezTo>
                <a:cubicBezTo>
                  <a:pt x="73" y="14"/>
                  <a:pt x="71" y="16"/>
                  <a:pt x="68" y="16"/>
                </a:cubicBezTo>
                <a:cubicBezTo>
                  <a:pt x="65" y="16"/>
                  <a:pt x="62" y="14"/>
                  <a:pt x="62" y="11"/>
                </a:cubicBezTo>
                <a:close/>
                <a:moveTo>
                  <a:pt x="68" y="155"/>
                </a:moveTo>
                <a:cubicBezTo>
                  <a:pt x="33" y="155"/>
                  <a:pt x="5" y="127"/>
                  <a:pt x="5" y="92"/>
                </a:cubicBezTo>
                <a:cubicBezTo>
                  <a:pt x="5" y="58"/>
                  <a:pt x="33" y="30"/>
                  <a:pt x="68" y="30"/>
                </a:cubicBezTo>
                <a:cubicBezTo>
                  <a:pt x="102" y="30"/>
                  <a:pt x="130" y="58"/>
                  <a:pt x="130" y="92"/>
                </a:cubicBezTo>
                <a:cubicBezTo>
                  <a:pt x="130" y="127"/>
                  <a:pt x="102" y="155"/>
                  <a:pt x="68" y="155"/>
                </a:cubicBezTo>
                <a:close/>
                <a:moveTo>
                  <a:pt x="101" y="55"/>
                </a:moveTo>
                <a:cubicBezTo>
                  <a:pt x="55" y="78"/>
                  <a:pt x="55" y="78"/>
                  <a:pt x="55" y="78"/>
                </a:cubicBezTo>
                <a:cubicBezTo>
                  <a:pt x="55" y="78"/>
                  <a:pt x="55" y="78"/>
                  <a:pt x="55" y="78"/>
                </a:cubicBezTo>
                <a:cubicBezTo>
                  <a:pt x="55" y="79"/>
                  <a:pt x="55" y="79"/>
                  <a:pt x="54" y="79"/>
                </a:cubicBezTo>
                <a:cubicBezTo>
                  <a:pt x="54" y="79"/>
                  <a:pt x="54" y="79"/>
                  <a:pt x="54" y="79"/>
                </a:cubicBezTo>
                <a:cubicBezTo>
                  <a:pt x="54" y="79"/>
                  <a:pt x="54" y="79"/>
                  <a:pt x="54" y="79"/>
                </a:cubicBezTo>
                <a:cubicBezTo>
                  <a:pt x="31" y="126"/>
                  <a:pt x="31" y="126"/>
                  <a:pt x="31" y="126"/>
                </a:cubicBezTo>
                <a:cubicBezTo>
                  <a:pt x="30" y="127"/>
                  <a:pt x="31" y="128"/>
                  <a:pt x="31" y="129"/>
                </a:cubicBezTo>
                <a:cubicBezTo>
                  <a:pt x="32" y="129"/>
                  <a:pt x="33" y="129"/>
                  <a:pt x="33" y="129"/>
                </a:cubicBezTo>
                <a:cubicBezTo>
                  <a:pt x="34" y="129"/>
                  <a:pt x="34" y="129"/>
                  <a:pt x="34" y="129"/>
                </a:cubicBezTo>
                <a:cubicBezTo>
                  <a:pt x="81" y="106"/>
                  <a:pt x="81" y="106"/>
                  <a:pt x="81" y="106"/>
                </a:cubicBezTo>
                <a:cubicBezTo>
                  <a:pt x="81" y="106"/>
                  <a:pt x="81" y="106"/>
                  <a:pt x="81" y="106"/>
                </a:cubicBezTo>
                <a:cubicBezTo>
                  <a:pt x="81" y="106"/>
                  <a:pt x="81" y="106"/>
                  <a:pt x="81" y="106"/>
                </a:cubicBezTo>
                <a:cubicBezTo>
                  <a:pt x="81" y="105"/>
                  <a:pt x="81" y="105"/>
                  <a:pt x="82" y="105"/>
                </a:cubicBezTo>
                <a:cubicBezTo>
                  <a:pt x="82" y="105"/>
                  <a:pt x="82" y="105"/>
                  <a:pt x="82" y="105"/>
                </a:cubicBezTo>
                <a:cubicBezTo>
                  <a:pt x="105" y="59"/>
                  <a:pt x="105" y="59"/>
                  <a:pt x="105" y="59"/>
                </a:cubicBezTo>
                <a:cubicBezTo>
                  <a:pt x="105" y="58"/>
                  <a:pt x="105" y="57"/>
                  <a:pt x="104" y="56"/>
                </a:cubicBezTo>
                <a:cubicBezTo>
                  <a:pt x="103" y="55"/>
                  <a:pt x="102" y="55"/>
                  <a:pt x="101" y="55"/>
                </a:cubicBezTo>
                <a:close/>
                <a:moveTo>
                  <a:pt x="39" y="121"/>
                </a:moveTo>
                <a:cubicBezTo>
                  <a:pt x="57" y="85"/>
                  <a:pt x="57" y="85"/>
                  <a:pt x="57" y="85"/>
                </a:cubicBezTo>
                <a:cubicBezTo>
                  <a:pt x="75" y="103"/>
                  <a:pt x="75" y="103"/>
                  <a:pt x="75" y="103"/>
                </a:cubicBezTo>
                <a:lnTo>
                  <a:pt x="39" y="121"/>
                </a:lnTo>
                <a:close/>
                <a:moveTo>
                  <a:pt x="79" y="99"/>
                </a:moveTo>
                <a:cubicBezTo>
                  <a:pt x="61" y="81"/>
                  <a:pt x="61" y="81"/>
                  <a:pt x="61" y="81"/>
                </a:cubicBezTo>
                <a:cubicBezTo>
                  <a:pt x="96" y="64"/>
                  <a:pt x="96" y="64"/>
                  <a:pt x="96" y="64"/>
                </a:cubicBezTo>
                <a:lnTo>
                  <a:pt x="79" y="99"/>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111">
            <a:extLst>
              <a:ext uri="{FF2B5EF4-FFF2-40B4-BE49-F238E27FC236}">
                <a16:creationId xmlns:a16="http://schemas.microsoft.com/office/drawing/2014/main" id="{1C69A05D-5D16-7746-A963-AEC09627E2BC}"/>
              </a:ext>
            </a:extLst>
          </p:cNvPr>
          <p:cNvSpPr>
            <a:spLocks noEditPoints="1"/>
          </p:cNvSpPr>
          <p:nvPr/>
        </p:nvSpPr>
        <p:spPr bwMode="auto">
          <a:xfrm>
            <a:off x="6310195" y="1603375"/>
            <a:ext cx="546100" cy="550863"/>
          </a:xfrm>
          <a:custGeom>
            <a:avLst/>
            <a:gdLst>
              <a:gd name="T0" fmla="*/ 135 w 160"/>
              <a:gd name="T1" fmla="*/ 22 h 160"/>
              <a:gd name="T2" fmla="*/ 131 w 160"/>
              <a:gd name="T3" fmla="*/ 18 h 160"/>
              <a:gd name="T4" fmla="*/ 128 w 160"/>
              <a:gd name="T5" fmla="*/ 16 h 160"/>
              <a:gd name="T6" fmla="*/ 122 w 160"/>
              <a:gd name="T7" fmla="*/ 12 h 160"/>
              <a:gd name="T8" fmla="*/ 118 w 160"/>
              <a:gd name="T9" fmla="*/ 10 h 160"/>
              <a:gd name="T10" fmla="*/ 111 w 160"/>
              <a:gd name="T11" fmla="*/ 6 h 160"/>
              <a:gd name="T12" fmla="*/ 108 w 160"/>
              <a:gd name="T13" fmla="*/ 5 h 160"/>
              <a:gd name="T14" fmla="*/ 104 w 160"/>
              <a:gd name="T15" fmla="*/ 4 h 160"/>
              <a:gd name="T16" fmla="*/ 100 w 160"/>
              <a:gd name="T17" fmla="*/ 2 h 160"/>
              <a:gd name="T18" fmla="*/ 93 w 160"/>
              <a:gd name="T19" fmla="*/ 1 h 160"/>
              <a:gd name="T20" fmla="*/ 88 w 160"/>
              <a:gd name="T21" fmla="*/ 0 h 160"/>
              <a:gd name="T22" fmla="*/ 80 w 160"/>
              <a:gd name="T23" fmla="*/ 0 h 160"/>
              <a:gd name="T24" fmla="*/ 72 w 160"/>
              <a:gd name="T25" fmla="*/ 0 h 160"/>
              <a:gd name="T26" fmla="*/ 67 w 160"/>
              <a:gd name="T27" fmla="*/ 1 h 160"/>
              <a:gd name="T28" fmla="*/ 60 w 160"/>
              <a:gd name="T29" fmla="*/ 2 h 160"/>
              <a:gd name="T30" fmla="*/ 56 w 160"/>
              <a:gd name="T31" fmla="*/ 4 h 160"/>
              <a:gd name="T32" fmla="*/ 52 w 160"/>
              <a:gd name="T33" fmla="*/ 5 h 160"/>
              <a:gd name="T34" fmla="*/ 49 w 160"/>
              <a:gd name="T35" fmla="*/ 6 h 160"/>
              <a:gd name="T36" fmla="*/ 42 w 160"/>
              <a:gd name="T37" fmla="*/ 10 h 160"/>
              <a:gd name="T38" fmla="*/ 38 w 160"/>
              <a:gd name="T39" fmla="*/ 12 h 160"/>
              <a:gd name="T40" fmla="*/ 32 w 160"/>
              <a:gd name="T41" fmla="*/ 16 h 160"/>
              <a:gd name="T42" fmla="*/ 29 w 160"/>
              <a:gd name="T43" fmla="*/ 18 h 160"/>
              <a:gd name="T44" fmla="*/ 25 w 160"/>
              <a:gd name="T45" fmla="*/ 22 h 160"/>
              <a:gd name="T46" fmla="*/ 0 w 160"/>
              <a:gd name="T47" fmla="*/ 80 h 160"/>
              <a:gd name="T48" fmla="*/ 136 w 160"/>
              <a:gd name="T49" fmla="*/ 23 h 160"/>
              <a:gd name="T50" fmla="*/ 80 w 160"/>
              <a:gd name="T51" fmla="*/ 139 h 160"/>
              <a:gd name="T52" fmla="*/ 101 w 160"/>
              <a:gd name="T53" fmla="*/ 108 h 160"/>
              <a:gd name="T54" fmla="*/ 105 w 160"/>
              <a:gd name="T55" fmla="*/ 104 h 160"/>
              <a:gd name="T56" fmla="*/ 30 w 160"/>
              <a:gd name="T57" fmla="*/ 72 h 160"/>
              <a:gd name="T58" fmla="*/ 77 w 160"/>
              <a:gd name="T59" fmla="*/ 74 h 160"/>
              <a:gd name="T60" fmla="*/ 80 w 160"/>
              <a:gd name="T61" fmla="*/ 75 h 160"/>
              <a:gd name="T62" fmla="*/ 83 w 160"/>
              <a:gd name="T63" fmla="*/ 74 h 160"/>
              <a:gd name="T64" fmla="*/ 130 w 160"/>
              <a:gd name="T65" fmla="*/ 72 h 160"/>
              <a:gd name="T66" fmla="*/ 30 w 160"/>
              <a:gd name="T67" fmla="*/ 25 h 160"/>
              <a:gd name="T68" fmla="*/ 48 w 160"/>
              <a:gd name="T69" fmla="*/ 13 h 160"/>
              <a:gd name="T70" fmla="*/ 51 w 160"/>
              <a:gd name="T71" fmla="*/ 49 h 160"/>
              <a:gd name="T72" fmla="*/ 30 w 160"/>
              <a:gd name="T73" fmla="*/ 25 h 160"/>
              <a:gd name="T74" fmla="*/ 62 w 160"/>
              <a:gd name="T75" fmla="*/ 8 h 160"/>
              <a:gd name="T76" fmla="*/ 68 w 160"/>
              <a:gd name="T77" fmla="*/ 6 h 160"/>
              <a:gd name="T78" fmla="*/ 73 w 160"/>
              <a:gd name="T79" fmla="*/ 6 h 160"/>
              <a:gd name="T80" fmla="*/ 77 w 160"/>
              <a:gd name="T81" fmla="*/ 5 h 160"/>
              <a:gd name="T82" fmla="*/ 56 w 160"/>
              <a:gd name="T83" fmla="*/ 9 h 160"/>
              <a:gd name="T84" fmla="*/ 85 w 160"/>
              <a:gd name="T85" fmla="*/ 6 h 160"/>
              <a:gd name="T86" fmla="*/ 91 w 160"/>
              <a:gd name="T87" fmla="*/ 6 h 160"/>
              <a:gd name="T88" fmla="*/ 96 w 160"/>
              <a:gd name="T89" fmla="*/ 7 h 160"/>
              <a:gd name="T90" fmla="*/ 102 w 160"/>
              <a:gd name="T91" fmla="*/ 9 h 160"/>
              <a:gd name="T92" fmla="*/ 104 w 160"/>
              <a:gd name="T93" fmla="*/ 49 h 160"/>
              <a:gd name="T94" fmla="*/ 84 w 160"/>
              <a:gd name="T95" fmla="*/ 5 h 160"/>
              <a:gd name="T96" fmla="*/ 116 w 160"/>
              <a:gd name="T97" fmla="*/ 14 h 160"/>
              <a:gd name="T98" fmla="*/ 130 w 160"/>
              <a:gd name="T99" fmla="*/ 25 h 160"/>
              <a:gd name="T100" fmla="*/ 109 w 160"/>
              <a:gd name="T101" fmla="*/ 49 h 160"/>
              <a:gd name="T102" fmla="*/ 112 w 160"/>
              <a:gd name="T103" fmla="*/ 13 h 160"/>
              <a:gd name="T104" fmla="*/ 24 w 160"/>
              <a:gd name="T105" fmla="*/ 31 h 160"/>
              <a:gd name="T106" fmla="*/ 77 w 160"/>
              <a:gd name="T107" fmla="*/ 140 h 160"/>
              <a:gd name="T108" fmla="*/ 77 w 160"/>
              <a:gd name="T109" fmla="*/ 140 h 160"/>
              <a:gd name="T110" fmla="*/ 80 w 160"/>
              <a:gd name="T111" fmla="*/ 142 h 160"/>
              <a:gd name="T112" fmla="*/ 80 w 160"/>
              <a:gd name="T113" fmla="*/ 142 h 160"/>
              <a:gd name="T114" fmla="*/ 82 w 160"/>
              <a:gd name="T115" fmla="*/ 141 h 160"/>
              <a:gd name="T116" fmla="*/ 83 w 160"/>
              <a:gd name="T117" fmla="*/ 140 h 160"/>
              <a:gd name="T118" fmla="*/ 136 w 160"/>
              <a:gd name="T119" fmla="*/ 71 h 160"/>
              <a:gd name="T120" fmla="*/ 80 w 160"/>
              <a:gd name="T121"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60">
                <a:moveTo>
                  <a:pt x="136" y="23"/>
                </a:moveTo>
                <a:cubicBezTo>
                  <a:pt x="136" y="23"/>
                  <a:pt x="136" y="23"/>
                  <a:pt x="136" y="23"/>
                </a:cubicBezTo>
                <a:cubicBezTo>
                  <a:pt x="135" y="22"/>
                  <a:pt x="135" y="22"/>
                  <a:pt x="135" y="22"/>
                </a:cubicBezTo>
                <a:cubicBezTo>
                  <a:pt x="135" y="22"/>
                  <a:pt x="134" y="21"/>
                  <a:pt x="134" y="21"/>
                </a:cubicBezTo>
                <a:cubicBezTo>
                  <a:pt x="134" y="21"/>
                  <a:pt x="134" y="21"/>
                  <a:pt x="133" y="21"/>
                </a:cubicBezTo>
                <a:cubicBezTo>
                  <a:pt x="133" y="20"/>
                  <a:pt x="132" y="19"/>
                  <a:pt x="131" y="18"/>
                </a:cubicBezTo>
                <a:cubicBezTo>
                  <a:pt x="131" y="18"/>
                  <a:pt x="131" y="18"/>
                  <a:pt x="131" y="18"/>
                </a:cubicBezTo>
                <a:cubicBezTo>
                  <a:pt x="130" y="17"/>
                  <a:pt x="129" y="17"/>
                  <a:pt x="128" y="16"/>
                </a:cubicBezTo>
                <a:cubicBezTo>
                  <a:pt x="128" y="16"/>
                  <a:pt x="128" y="16"/>
                  <a:pt x="128" y="16"/>
                </a:cubicBezTo>
                <a:cubicBezTo>
                  <a:pt x="127" y="15"/>
                  <a:pt x="126" y="14"/>
                  <a:pt x="125" y="14"/>
                </a:cubicBezTo>
                <a:cubicBezTo>
                  <a:pt x="125" y="14"/>
                  <a:pt x="125" y="14"/>
                  <a:pt x="125" y="14"/>
                </a:cubicBezTo>
                <a:cubicBezTo>
                  <a:pt x="124" y="13"/>
                  <a:pt x="123" y="12"/>
                  <a:pt x="122" y="12"/>
                </a:cubicBezTo>
                <a:cubicBezTo>
                  <a:pt x="121" y="12"/>
                  <a:pt x="121" y="12"/>
                  <a:pt x="121" y="12"/>
                </a:cubicBezTo>
                <a:cubicBezTo>
                  <a:pt x="120" y="11"/>
                  <a:pt x="119" y="10"/>
                  <a:pt x="118" y="10"/>
                </a:cubicBezTo>
                <a:cubicBezTo>
                  <a:pt x="118" y="10"/>
                  <a:pt x="118" y="10"/>
                  <a:pt x="118" y="10"/>
                </a:cubicBezTo>
                <a:cubicBezTo>
                  <a:pt x="117" y="9"/>
                  <a:pt x="116" y="9"/>
                  <a:pt x="115" y="8"/>
                </a:cubicBezTo>
                <a:cubicBezTo>
                  <a:pt x="115" y="8"/>
                  <a:pt x="115" y="8"/>
                  <a:pt x="115" y="8"/>
                </a:cubicBezTo>
                <a:cubicBezTo>
                  <a:pt x="113" y="7"/>
                  <a:pt x="112" y="7"/>
                  <a:pt x="111" y="6"/>
                </a:cubicBezTo>
                <a:cubicBezTo>
                  <a:pt x="111" y="6"/>
                  <a:pt x="111" y="6"/>
                  <a:pt x="111" y="6"/>
                </a:cubicBezTo>
                <a:cubicBezTo>
                  <a:pt x="110" y="6"/>
                  <a:pt x="109" y="5"/>
                  <a:pt x="108" y="5"/>
                </a:cubicBezTo>
                <a:cubicBezTo>
                  <a:pt x="108" y="5"/>
                  <a:pt x="108" y="5"/>
                  <a:pt x="108" y="5"/>
                </a:cubicBezTo>
                <a:cubicBezTo>
                  <a:pt x="108" y="5"/>
                  <a:pt x="108" y="5"/>
                  <a:pt x="108" y="5"/>
                </a:cubicBezTo>
                <a:cubicBezTo>
                  <a:pt x="107" y="5"/>
                  <a:pt x="107" y="5"/>
                  <a:pt x="107" y="5"/>
                </a:cubicBezTo>
                <a:cubicBezTo>
                  <a:pt x="106" y="4"/>
                  <a:pt x="105" y="4"/>
                  <a:pt x="104" y="4"/>
                </a:cubicBezTo>
                <a:cubicBezTo>
                  <a:pt x="104" y="4"/>
                  <a:pt x="104" y="4"/>
                  <a:pt x="103" y="4"/>
                </a:cubicBezTo>
                <a:cubicBezTo>
                  <a:pt x="103" y="3"/>
                  <a:pt x="102" y="3"/>
                  <a:pt x="101" y="3"/>
                </a:cubicBezTo>
                <a:cubicBezTo>
                  <a:pt x="100" y="3"/>
                  <a:pt x="100" y="3"/>
                  <a:pt x="100" y="2"/>
                </a:cubicBezTo>
                <a:cubicBezTo>
                  <a:pt x="99" y="2"/>
                  <a:pt x="98" y="2"/>
                  <a:pt x="97" y="2"/>
                </a:cubicBezTo>
                <a:cubicBezTo>
                  <a:pt x="97" y="2"/>
                  <a:pt x="96" y="2"/>
                  <a:pt x="96" y="2"/>
                </a:cubicBezTo>
                <a:cubicBezTo>
                  <a:pt x="95" y="1"/>
                  <a:pt x="94" y="1"/>
                  <a:pt x="93" y="1"/>
                </a:cubicBezTo>
                <a:cubicBezTo>
                  <a:pt x="93" y="1"/>
                  <a:pt x="92" y="1"/>
                  <a:pt x="92" y="1"/>
                </a:cubicBezTo>
                <a:cubicBezTo>
                  <a:pt x="91" y="1"/>
                  <a:pt x="90" y="1"/>
                  <a:pt x="89" y="1"/>
                </a:cubicBezTo>
                <a:cubicBezTo>
                  <a:pt x="89" y="1"/>
                  <a:pt x="88" y="0"/>
                  <a:pt x="88" y="0"/>
                </a:cubicBezTo>
                <a:cubicBezTo>
                  <a:pt x="87" y="0"/>
                  <a:pt x="86" y="0"/>
                  <a:pt x="85" y="0"/>
                </a:cubicBezTo>
                <a:cubicBezTo>
                  <a:pt x="85" y="0"/>
                  <a:pt x="84" y="0"/>
                  <a:pt x="84" y="0"/>
                </a:cubicBezTo>
                <a:cubicBezTo>
                  <a:pt x="83" y="0"/>
                  <a:pt x="81" y="0"/>
                  <a:pt x="80" y="0"/>
                </a:cubicBezTo>
                <a:cubicBezTo>
                  <a:pt x="79" y="0"/>
                  <a:pt x="77" y="0"/>
                  <a:pt x="76" y="0"/>
                </a:cubicBezTo>
                <a:cubicBezTo>
                  <a:pt x="76" y="0"/>
                  <a:pt x="75" y="0"/>
                  <a:pt x="75" y="0"/>
                </a:cubicBezTo>
                <a:cubicBezTo>
                  <a:pt x="74" y="0"/>
                  <a:pt x="73" y="0"/>
                  <a:pt x="72" y="0"/>
                </a:cubicBezTo>
                <a:cubicBezTo>
                  <a:pt x="72" y="0"/>
                  <a:pt x="71" y="1"/>
                  <a:pt x="71" y="1"/>
                </a:cubicBezTo>
                <a:cubicBezTo>
                  <a:pt x="70" y="1"/>
                  <a:pt x="69" y="1"/>
                  <a:pt x="68" y="1"/>
                </a:cubicBezTo>
                <a:cubicBezTo>
                  <a:pt x="68" y="1"/>
                  <a:pt x="67" y="1"/>
                  <a:pt x="67" y="1"/>
                </a:cubicBezTo>
                <a:cubicBezTo>
                  <a:pt x="66" y="1"/>
                  <a:pt x="65" y="1"/>
                  <a:pt x="64" y="2"/>
                </a:cubicBezTo>
                <a:cubicBezTo>
                  <a:pt x="64" y="2"/>
                  <a:pt x="63" y="2"/>
                  <a:pt x="63" y="2"/>
                </a:cubicBezTo>
                <a:cubicBezTo>
                  <a:pt x="62" y="2"/>
                  <a:pt x="61" y="2"/>
                  <a:pt x="60" y="2"/>
                </a:cubicBezTo>
                <a:cubicBezTo>
                  <a:pt x="60" y="3"/>
                  <a:pt x="60" y="3"/>
                  <a:pt x="59" y="3"/>
                </a:cubicBezTo>
                <a:cubicBezTo>
                  <a:pt x="58" y="3"/>
                  <a:pt x="57" y="3"/>
                  <a:pt x="57" y="4"/>
                </a:cubicBezTo>
                <a:cubicBezTo>
                  <a:pt x="56" y="4"/>
                  <a:pt x="56" y="4"/>
                  <a:pt x="56" y="4"/>
                </a:cubicBezTo>
                <a:cubicBezTo>
                  <a:pt x="55" y="4"/>
                  <a:pt x="54" y="4"/>
                  <a:pt x="53" y="5"/>
                </a:cubicBezTo>
                <a:cubicBezTo>
                  <a:pt x="53" y="5"/>
                  <a:pt x="52" y="5"/>
                  <a:pt x="52" y="5"/>
                </a:cubicBezTo>
                <a:cubicBezTo>
                  <a:pt x="52" y="5"/>
                  <a:pt x="52" y="5"/>
                  <a:pt x="52" y="5"/>
                </a:cubicBezTo>
                <a:cubicBezTo>
                  <a:pt x="52" y="5"/>
                  <a:pt x="52" y="5"/>
                  <a:pt x="52" y="5"/>
                </a:cubicBezTo>
                <a:cubicBezTo>
                  <a:pt x="51" y="5"/>
                  <a:pt x="50" y="6"/>
                  <a:pt x="49" y="6"/>
                </a:cubicBezTo>
                <a:cubicBezTo>
                  <a:pt x="49" y="6"/>
                  <a:pt x="49" y="6"/>
                  <a:pt x="49" y="6"/>
                </a:cubicBezTo>
                <a:cubicBezTo>
                  <a:pt x="48" y="7"/>
                  <a:pt x="47" y="7"/>
                  <a:pt x="45" y="8"/>
                </a:cubicBezTo>
                <a:cubicBezTo>
                  <a:pt x="45" y="8"/>
                  <a:pt x="45" y="8"/>
                  <a:pt x="45" y="8"/>
                </a:cubicBezTo>
                <a:cubicBezTo>
                  <a:pt x="44" y="9"/>
                  <a:pt x="43" y="9"/>
                  <a:pt x="42" y="10"/>
                </a:cubicBezTo>
                <a:cubicBezTo>
                  <a:pt x="42" y="10"/>
                  <a:pt x="42" y="10"/>
                  <a:pt x="42" y="10"/>
                </a:cubicBezTo>
                <a:cubicBezTo>
                  <a:pt x="41" y="10"/>
                  <a:pt x="40" y="11"/>
                  <a:pt x="39" y="12"/>
                </a:cubicBezTo>
                <a:cubicBezTo>
                  <a:pt x="39" y="12"/>
                  <a:pt x="39" y="12"/>
                  <a:pt x="38" y="12"/>
                </a:cubicBezTo>
                <a:cubicBezTo>
                  <a:pt x="37" y="12"/>
                  <a:pt x="36" y="13"/>
                  <a:pt x="35" y="14"/>
                </a:cubicBezTo>
                <a:cubicBezTo>
                  <a:pt x="35" y="14"/>
                  <a:pt x="35" y="14"/>
                  <a:pt x="35" y="14"/>
                </a:cubicBezTo>
                <a:cubicBezTo>
                  <a:pt x="34" y="14"/>
                  <a:pt x="33" y="15"/>
                  <a:pt x="32" y="16"/>
                </a:cubicBezTo>
                <a:cubicBezTo>
                  <a:pt x="32" y="16"/>
                  <a:pt x="32" y="16"/>
                  <a:pt x="32" y="16"/>
                </a:cubicBezTo>
                <a:cubicBezTo>
                  <a:pt x="31" y="17"/>
                  <a:pt x="30" y="17"/>
                  <a:pt x="29" y="18"/>
                </a:cubicBezTo>
                <a:cubicBezTo>
                  <a:pt x="29" y="18"/>
                  <a:pt x="29" y="18"/>
                  <a:pt x="29" y="18"/>
                </a:cubicBezTo>
                <a:cubicBezTo>
                  <a:pt x="28" y="19"/>
                  <a:pt x="27" y="20"/>
                  <a:pt x="26" y="21"/>
                </a:cubicBezTo>
                <a:cubicBezTo>
                  <a:pt x="26" y="21"/>
                  <a:pt x="26" y="21"/>
                  <a:pt x="26" y="21"/>
                </a:cubicBezTo>
                <a:cubicBezTo>
                  <a:pt x="26" y="21"/>
                  <a:pt x="25" y="22"/>
                  <a:pt x="25" y="22"/>
                </a:cubicBezTo>
                <a:cubicBezTo>
                  <a:pt x="24" y="23"/>
                  <a:pt x="24" y="23"/>
                  <a:pt x="24" y="23"/>
                </a:cubicBezTo>
                <a:cubicBezTo>
                  <a:pt x="24" y="23"/>
                  <a:pt x="24" y="23"/>
                  <a:pt x="24" y="23"/>
                </a:cubicBezTo>
                <a:cubicBezTo>
                  <a:pt x="9" y="37"/>
                  <a:pt x="0" y="58"/>
                  <a:pt x="0" y="80"/>
                </a:cubicBezTo>
                <a:cubicBezTo>
                  <a:pt x="0" y="124"/>
                  <a:pt x="36" y="160"/>
                  <a:pt x="80" y="160"/>
                </a:cubicBezTo>
                <a:cubicBezTo>
                  <a:pt x="124" y="160"/>
                  <a:pt x="160" y="124"/>
                  <a:pt x="160" y="80"/>
                </a:cubicBezTo>
                <a:cubicBezTo>
                  <a:pt x="160" y="58"/>
                  <a:pt x="151" y="37"/>
                  <a:pt x="136" y="23"/>
                </a:cubicBezTo>
                <a:close/>
                <a:moveTo>
                  <a:pt x="80" y="139"/>
                </a:moveTo>
                <a:cubicBezTo>
                  <a:pt x="80" y="139"/>
                  <a:pt x="80" y="139"/>
                  <a:pt x="80" y="139"/>
                </a:cubicBezTo>
                <a:cubicBezTo>
                  <a:pt x="80" y="139"/>
                  <a:pt x="80" y="139"/>
                  <a:pt x="80" y="139"/>
                </a:cubicBezTo>
                <a:close/>
                <a:moveTo>
                  <a:pt x="59" y="108"/>
                </a:moveTo>
                <a:cubicBezTo>
                  <a:pt x="64" y="102"/>
                  <a:pt x="72" y="99"/>
                  <a:pt x="80" y="99"/>
                </a:cubicBezTo>
                <a:cubicBezTo>
                  <a:pt x="88" y="99"/>
                  <a:pt x="96" y="102"/>
                  <a:pt x="101" y="108"/>
                </a:cubicBezTo>
                <a:cubicBezTo>
                  <a:pt x="80" y="135"/>
                  <a:pt x="80" y="135"/>
                  <a:pt x="80" y="135"/>
                </a:cubicBezTo>
                <a:lnTo>
                  <a:pt x="59" y="108"/>
                </a:lnTo>
                <a:close/>
                <a:moveTo>
                  <a:pt x="105" y="104"/>
                </a:moveTo>
                <a:cubicBezTo>
                  <a:pt x="98" y="97"/>
                  <a:pt x="89" y="93"/>
                  <a:pt x="80" y="93"/>
                </a:cubicBezTo>
                <a:cubicBezTo>
                  <a:pt x="71" y="93"/>
                  <a:pt x="62" y="97"/>
                  <a:pt x="55" y="104"/>
                </a:cubicBezTo>
                <a:cubicBezTo>
                  <a:pt x="30" y="72"/>
                  <a:pt x="30" y="72"/>
                  <a:pt x="30" y="72"/>
                </a:cubicBezTo>
                <a:cubicBezTo>
                  <a:pt x="53" y="54"/>
                  <a:pt x="53" y="54"/>
                  <a:pt x="53" y="54"/>
                </a:cubicBezTo>
                <a:cubicBezTo>
                  <a:pt x="77" y="73"/>
                  <a:pt x="77" y="73"/>
                  <a:pt x="77" y="73"/>
                </a:cubicBezTo>
                <a:cubicBezTo>
                  <a:pt x="77" y="74"/>
                  <a:pt x="77" y="74"/>
                  <a:pt x="77" y="74"/>
                </a:cubicBezTo>
                <a:cubicBezTo>
                  <a:pt x="78" y="74"/>
                  <a:pt x="78" y="74"/>
                  <a:pt x="78" y="74"/>
                </a:cubicBezTo>
                <a:cubicBezTo>
                  <a:pt x="80" y="75"/>
                  <a:pt x="80" y="75"/>
                  <a:pt x="80" y="75"/>
                </a:cubicBezTo>
                <a:cubicBezTo>
                  <a:pt x="80" y="75"/>
                  <a:pt x="80" y="75"/>
                  <a:pt x="80" y="75"/>
                </a:cubicBezTo>
                <a:cubicBezTo>
                  <a:pt x="80" y="75"/>
                  <a:pt x="80" y="75"/>
                  <a:pt x="80" y="75"/>
                </a:cubicBezTo>
                <a:cubicBezTo>
                  <a:pt x="82" y="74"/>
                  <a:pt x="82" y="74"/>
                  <a:pt x="82" y="74"/>
                </a:cubicBezTo>
                <a:cubicBezTo>
                  <a:pt x="83" y="74"/>
                  <a:pt x="83" y="74"/>
                  <a:pt x="83" y="74"/>
                </a:cubicBezTo>
                <a:cubicBezTo>
                  <a:pt x="83" y="73"/>
                  <a:pt x="83" y="73"/>
                  <a:pt x="83" y="73"/>
                </a:cubicBezTo>
                <a:cubicBezTo>
                  <a:pt x="107" y="54"/>
                  <a:pt x="107" y="54"/>
                  <a:pt x="107" y="54"/>
                </a:cubicBezTo>
                <a:cubicBezTo>
                  <a:pt x="130" y="72"/>
                  <a:pt x="130" y="72"/>
                  <a:pt x="130" y="72"/>
                </a:cubicBezTo>
                <a:lnTo>
                  <a:pt x="105" y="104"/>
                </a:lnTo>
                <a:close/>
                <a:moveTo>
                  <a:pt x="30" y="25"/>
                </a:moveTo>
                <a:cubicBezTo>
                  <a:pt x="30" y="25"/>
                  <a:pt x="30" y="25"/>
                  <a:pt x="30" y="25"/>
                </a:cubicBezTo>
                <a:cubicBezTo>
                  <a:pt x="34" y="21"/>
                  <a:pt x="39" y="17"/>
                  <a:pt x="44" y="14"/>
                </a:cubicBezTo>
                <a:cubicBezTo>
                  <a:pt x="44" y="14"/>
                  <a:pt x="44" y="14"/>
                  <a:pt x="45" y="14"/>
                </a:cubicBezTo>
                <a:cubicBezTo>
                  <a:pt x="46" y="14"/>
                  <a:pt x="47" y="13"/>
                  <a:pt x="48" y="13"/>
                </a:cubicBezTo>
                <a:cubicBezTo>
                  <a:pt x="48" y="13"/>
                  <a:pt x="48" y="13"/>
                  <a:pt x="48" y="13"/>
                </a:cubicBezTo>
                <a:cubicBezTo>
                  <a:pt x="49" y="12"/>
                  <a:pt x="50" y="12"/>
                  <a:pt x="51" y="11"/>
                </a:cubicBezTo>
                <a:cubicBezTo>
                  <a:pt x="51" y="49"/>
                  <a:pt x="51" y="49"/>
                  <a:pt x="51" y="49"/>
                </a:cubicBezTo>
                <a:cubicBezTo>
                  <a:pt x="29" y="66"/>
                  <a:pt x="29" y="66"/>
                  <a:pt x="29" y="66"/>
                </a:cubicBezTo>
                <a:cubicBezTo>
                  <a:pt x="29" y="25"/>
                  <a:pt x="29" y="25"/>
                  <a:pt x="29" y="25"/>
                </a:cubicBezTo>
                <a:cubicBezTo>
                  <a:pt x="29" y="25"/>
                  <a:pt x="30" y="25"/>
                  <a:pt x="30" y="25"/>
                </a:cubicBezTo>
                <a:close/>
                <a:moveTo>
                  <a:pt x="58" y="9"/>
                </a:moveTo>
                <a:cubicBezTo>
                  <a:pt x="59" y="8"/>
                  <a:pt x="60" y="8"/>
                  <a:pt x="61" y="8"/>
                </a:cubicBezTo>
                <a:cubicBezTo>
                  <a:pt x="61" y="8"/>
                  <a:pt x="61" y="8"/>
                  <a:pt x="62" y="8"/>
                </a:cubicBezTo>
                <a:cubicBezTo>
                  <a:pt x="63" y="7"/>
                  <a:pt x="63" y="7"/>
                  <a:pt x="64" y="7"/>
                </a:cubicBezTo>
                <a:cubicBezTo>
                  <a:pt x="65" y="7"/>
                  <a:pt x="65" y="7"/>
                  <a:pt x="65" y="7"/>
                </a:cubicBezTo>
                <a:cubicBezTo>
                  <a:pt x="66" y="7"/>
                  <a:pt x="67" y="6"/>
                  <a:pt x="68" y="6"/>
                </a:cubicBezTo>
                <a:cubicBezTo>
                  <a:pt x="68" y="6"/>
                  <a:pt x="69" y="6"/>
                  <a:pt x="69" y="6"/>
                </a:cubicBezTo>
                <a:cubicBezTo>
                  <a:pt x="70" y="6"/>
                  <a:pt x="71" y="6"/>
                  <a:pt x="71" y="6"/>
                </a:cubicBezTo>
                <a:cubicBezTo>
                  <a:pt x="72" y="6"/>
                  <a:pt x="72" y="6"/>
                  <a:pt x="73" y="6"/>
                </a:cubicBezTo>
                <a:cubicBezTo>
                  <a:pt x="73" y="6"/>
                  <a:pt x="74" y="6"/>
                  <a:pt x="75" y="6"/>
                </a:cubicBezTo>
                <a:cubicBezTo>
                  <a:pt x="76" y="5"/>
                  <a:pt x="76" y="5"/>
                  <a:pt x="76" y="5"/>
                </a:cubicBezTo>
                <a:cubicBezTo>
                  <a:pt x="77" y="5"/>
                  <a:pt x="77" y="5"/>
                  <a:pt x="77" y="5"/>
                </a:cubicBezTo>
                <a:cubicBezTo>
                  <a:pt x="77" y="66"/>
                  <a:pt x="77" y="66"/>
                  <a:pt x="77" y="66"/>
                </a:cubicBezTo>
                <a:cubicBezTo>
                  <a:pt x="56" y="49"/>
                  <a:pt x="56" y="49"/>
                  <a:pt x="56" y="49"/>
                </a:cubicBezTo>
                <a:cubicBezTo>
                  <a:pt x="56" y="9"/>
                  <a:pt x="56" y="9"/>
                  <a:pt x="56" y="9"/>
                </a:cubicBezTo>
                <a:cubicBezTo>
                  <a:pt x="56" y="9"/>
                  <a:pt x="57" y="9"/>
                  <a:pt x="57" y="9"/>
                </a:cubicBezTo>
                <a:cubicBezTo>
                  <a:pt x="58" y="9"/>
                  <a:pt x="58" y="9"/>
                  <a:pt x="58" y="9"/>
                </a:cubicBezTo>
                <a:close/>
                <a:moveTo>
                  <a:pt x="85" y="6"/>
                </a:moveTo>
                <a:cubicBezTo>
                  <a:pt x="86" y="6"/>
                  <a:pt x="87" y="6"/>
                  <a:pt x="87" y="6"/>
                </a:cubicBezTo>
                <a:cubicBezTo>
                  <a:pt x="88" y="6"/>
                  <a:pt x="88" y="6"/>
                  <a:pt x="89" y="6"/>
                </a:cubicBezTo>
                <a:cubicBezTo>
                  <a:pt x="89" y="6"/>
                  <a:pt x="90" y="6"/>
                  <a:pt x="91" y="6"/>
                </a:cubicBezTo>
                <a:cubicBezTo>
                  <a:pt x="91" y="6"/>
                  <a:pt x="92" y="6"/>
                  <a:pt x="92" y="6"/>
                </a:cubicBezTo>
                <a:cubicBezTo>
                  <a:pt x="93" y="6"/>
                  <a:pt x="94" y="7"/>
                  <a:pt x="95" y="7"/>
                </a:cubicBezTo>
                <a:cubicBezTo>
                  <a:pt x="95" y="7"/>
                  <a:pt x="95" y="7"/>
                  <a:pt x="96" y="7"/>
                </a:cubicBezTo>
                <a:cubicBezTo>
                  <a:pt x="97" y="7"/>
                  <a:pt x="97" y="7"/>
                  <a:pt x="98" y="8"/>
                </a:cubicBezTo>
                <a:cubicBezTo>
                  <a:pt x="99" y="8"/>
                  <a:pt x="99" y="8"/>
                  <a:pt x="99" y="8"/>
                </a:cubicBezTo>
                <a:cubicBezTo>
                  <a:pt x="100" y="8"/>
                  <a:pt x="101" y="8"/>
                  <a:pt x="102" y="9"/>
                </a:cubicBezTo>
                <a:cubicBezTo>
                  <a:pt x="102" y="9"/>
                  <a:pt x="102" y="9"/>
                  <a:pt x="103" y="9"/>
                </a:cubicBezTo>
                <a:cubicBezTo>
                  <a:pt x="103" y="9"/>
                  <a:pt x="104" y="9"/>
                  <a:pt x="104" y="9"/>
                </a:cubicBezTo>
                <a:cubicBezTo>
                  <a:pt x="104" y="49"/>
                  <a:pt x="104" y="49"/>
                  <a:pt x="104" y="49"/>
                </a:cubicBezTo>
                <a:cubicBezTo>
                  <a:pt x="83" y="66"/>
                  <a:pt x="83" y="66"/>
                  <a:pt x="83" y="66"/>
                </a:cubicBezTo>
                <a:cubicBezTo>
                  <a:pt x="83" y="5"/>
                  <a:pt x="83" y="5"/>
                  <a:pt x="83" y="5"/>
                </a:cubicBezTo>
                <a:cubicBezTo>
                  <a:pt x="83" y="5"/>
                  <a:pt x="83" y="5"/>
                  <a:pt x="84" y="5"/>
                </a:cubicBezTo>
                <a:cubicBezTo>
                  <a:pt x="84" y="5"/>
                  <a:pt x="84" y="5"/>
                  <a:pt x="85" y="6"/>
                </a:cubicBezTo>
                <a:close/>
                <a:moveTo>
                  <a:pt x="112" y="13"/>
                </a:moveTo>
                <a:cubicBezTo>
                  <a:pt x="113" y="13"/>
                  <a:pt x="114" y="14"/>
                  <a:pt x="116" y="14"/>
                </a:cubicBezTo>
                <a:cubicBezTo>
                  <a:pt x="116" y="14"/>
                  <a:pt x="116" y="14"/>
                  <a:pt x="116" y="14"/>
                </a:cubicBezTo>
                <a:cubicBezTo>
                  <a:pt x="121" y="17"/>
                  <a:pt x="126" y="21"/>
                  <a:pt x="130" y="25"/>
                </a:cubicBezTo>
                <a:cubicBezTo>
                  <a:pt x="130" y="25"/>
                  <a:pt x="130" y="25"/>
                  <a:pt x="130" y="25"/>
                </a:cubicBezTo>
                <a:cubicBezTo>
                  <a:pt x="130" y="25"/>
                  <a:pt x="131" y="25"/>
                  <a:pt x="131" y="25"/>
                </a:cubicBezTo>
                <a:cubicBezTo>
                  <a:pt x="131" y="66"/>
                  <a:pt x="131" y="66"/>
                  <a:pt x="131" y="66"/>
                </a:cubicBezTo>
                <a:cubicBezTo>
                  <a:pt x="109" y="49"/>
                  <a:pt x="109" y="49"/>
                  <a:pt x="109" y="49"/>
                </a:cubicBezTo>
                <a:cubicBezTo>
                  <a:pt x="109" y="11"/>
                  <a:pt x="109" y="11"/>
                  <a:pt x="109" y="11"/>
                </a:cubicBezTo>
                <a:cubicBezTo>
                  <a:pt x="110" y="12"/>
                  <a:pt x="111" y="12"/>
                  <a:pt x="112" y="13"/>
                </a:cubicBezTo>
                <a:cubicBezTo>
                  <a:pt x="112" y="13"/>
                  <a:pt x="112" y="13"/>
                  <a:pt x="112" y="13"/>
                </a:cubicBezTo>
                <a:close/>
                <a:moveTo>
                  <a:pt x="80" y="155"/>
                </a:moveTo>
                <a:cubicBezTo>
                  <a:pt x="39" y="155"/>
                  <a:pt x="5" y="121"/>
                  <a:pt x="5" y="80"/>
                </a:cubicBezTo>
                <a:cubicBezTo>
                  <a:pt x="5" y="61"/>
                  <a:pt x="12" y="44"/>
                  <a:pt x="24" y="31"/>
                </a:cubicBezTo>
                <a:cubicBezTo>
                  <a:pt x="24" y="71"/>
                  <a:pt x="24" y="71"/>
                  <a:pt x="24" y="71"/>
                </a:cubicBezTo>
                <a:cubicBezTo>
                  <a:pt x="24" y="73"/>
                  <a:pt x="24" y="73"/>
                  <a:pt x="24" y="73"/>
                </a:cubicBezTo>
                <a:cubicBezTo>
                  <a:pt x="77" y="140"/>
                  <a:pt x="77" y="140"/>
                  <a:pt x="77" y="140"/>
                </a:cubicBezTo>
                <a:cubicBezTo>
                  <a:pt x="77" y="140"/>
                  <a:pt x="77" y="140"/>
                  <a:pt x="77" y="140"/>
                </a:cubicBezTo>
                <a:cubicBezTo>
                  <a:pt x="77" y="140"/>
                  <a:pt x="77" y="140"/>
                  <a:pt x="77" y="140"/>
                </a:cubicBezTo>
                <a:cubicBezTo>
                  <a:pt x="77" y="140"/>
                  <a:pt x="77" y="140"/>
                  <a:pt x="77" y="140"/>
                </a:cubicBezTo>
                <a:cubicBezTo>
                  <a:pt x="78" y="141"/>
                  <a:pt x="78" y="141"/>
                  <a:pt x="78" y="141"/>
                </a:cubicBezTo>
                <a:cubicBezTo>
                  <a:pt x="80" y="142"/>
                  <a:pt x="80" y="142"/>
                  <a:pt x="80" y="142"/>
                </a:cubicBezTo>
                <a:cubicBezTo>
                  <a:pt x="80" y="142"/>
                  <a:pt x="80" y="142"/>
                  <a:pt x="80" y="142"/>
                </a:cubicBezTo>
                <a:cubicBezTo>
                  <a:pt x="80" y="142"/>
                  <a:pt x="80" y="142"/>
                  <a:pt x="80" y="142"/>
                </a:cubicBezTo>
                <a:cubicBezTo>
                  <a:pt x="80" y="142"/>
                  <a:pt x="80" y="142"/>
                  <a:pt x="80" y="142"/>
                </a:cubicBezTo>
                <a:cubicBezTo>
                  <a:pt x="80" y="142"/>
                  <a:pt x="80" y="142"/>
                  <a:pt x="80" y="142"/>
                </a:cubicBezTo>
                <a:cubicBezTo>
                  <a:pt x="80" y="142"/>
                  <a:pt x="80" y="142"/>
                  <a:pt x="80" y="142"/>
                </a:cubicBezTo>
                <a:cubicBezTo>
                  <a:pt x="81" y="142"/>
                  <a:pt x="81" y="142"/>
                  <a:pt x="81" y="142"/>
                </a:cubicBezTo>
                <a:cubicBezTo>
                  <a:pt x="82" y="141"/>
                  <a:pt x="82" y="141"/>
                  <a:pt x="82" y="141"/>
                </a:cubicBezTo>
                <a:cubicBezTo>
                  <a:pt x="82" y="141"/>
                  <a:pt x="82" y="141"/>
                  <a:pt x="82" y="141"/>
                </a:cubicBezTo>
                <a:cubicBezTo>
                  <a:pt x="83" y="140"/>
                  <a:pt x="83" y="140"/>
                  <a:pt x="83" y="140"/>
                </a:cubicBezTo>
                <a:cubicBezTo>
                  <a:pt x="83" y="140"/>
                  <a:pt x="83" y="140"/>
                  <a:pt x="83" y="140"/>
                </a:cubicBezTo>
                <a:cubicBezTo>
                  <a:pt x="83" y="140"/>
                  <a:pt x="83" y="140"/>
                  <a:pt x="83" y="140"/>
                </a:cubicBezTo>
                <a:cubicBezTo>
                  <a:pt x="136" y="73"/>
                  <a:pt x="136" y="73"/>
                  <a:pt x="136" y="73"/>
                </a:cubicBezTo>
                <a:cubicBezTo>
                  <a:pt x="136" y="71"/>
                  <a:pt x="136" y="71"/>
                  <a:pt x="136" y="71"/>
                </a:cubicBezTo>
                <a:cubicBezTo>
                  <a:pt x="136" y="31"/>
                  <a:pt x="136" y="31"/>
                  <a:pt x="136" y="31"/>
                </a:cubicBezTo>
                <a:cubicBezTo>
                  <a:pt x="148" y="44"/>
                  <a:pt x="155" y="61"/>
                  <a:pt x="155" y="80"/>
                </a:cubicBezTo>
                <a:cubicBezTo>
                  <a:pt x="155" y="121"/>
                  <a:pt x="121" y="155"/>
                  <a:pt x="80" y="15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112">
            <a:extLst>
              <a:ext uri="{FF2B5EF4-FFF2-40B4-BE49-F238E27FC236}">
                <a16:creationId xmlns:a16="http://schemas.microsoft.com/office/drawing/2014/main" id="{EC7F2F5E-A53E-7D4D-96D8-D59E0E6FE1D7}"/>
              </a:ext>
            </a:extLst>
          </p:cNvPr>
          <p:cNvSpPr>
            <a:spLocks noEditPoints="1"/>
          </p:cNvSpPr>
          <p:nvPr/>
        </p:nvSpPr>
        <p:spPr bwMode="auto">
          <a:xfrm>
            <a:off x="6310195" y="2222500"/>
            <a:ext cx="546100" cy="550863"/>
          </a:xfrm>
          <a:custGeom>
            <a:avLst/>
            <a:gdLst>
              <a:gd name="T0" fmla="*/ 32 w 160"/>
              <a:gd name="T1" fmla="*/ 141 h 160"/>
              <a:gd name="T2" fmla="*/ 51 w 160"/>
              <a:gd name="T3" fmla="*/ 123 h 160"/>
              <a:gd name="T4" fmla="*/ 35 w 160"/>
              <a:gd name="T5" fmla="*/ 104 h 160"/>
              <a:gd name="T6" fmla="*/ 35 w 160"/>
              <a:gd name="T7" fmla="*/ 21 h 160"/>
              <a:gd name="T8" fmla="*/ 32 w 160"/>
              <a:gd name="T9" fmla="*/ 19 h 160"/>
              <a:gd name="T10" fmla="*/ 29 w 160"/>
              <a:gd name="T11" fmla="*/ 21 h 160"/>
              <a:gd name="T12" fmla="*/ 29 w 160"/>
              <a:gd name="T13" fmla="*/ 104 h 160"/>
              <a:gd name="T14" fmla="*/ 13 w 160"/>
              <a:gd name="T15" fmla="*/ 123 h 160"/>
              <a:gd name="T16" fmla="*/ 32 w 160"/>
              <a:gd name="T17" fmla="*/ 141 h 160"/>
              <a:gd name="T18" fmla="*/ 32 w 160"/>
              <a:gd name="T19" fmla="*/ 109 h 160"/>
              <a:gd name="T20" fmla="*/ 45 w 160"/>
              <a:gd name="T21" fmla="*/ 123 h 160"/>
              <a:gd name="T22" fmla="*/ 32 w 160"/>
              <a:gd name="T23" fmla="*/ 136 h 160"/>
              <a:gd name="T24" fmla="*/ 19 w 160"/>
              <a:gd name="T25" fmla="*/ 123 h 160"/>
              <a:gd name="T26" fmla="*/ 32 w 160"/>
              <a:gd name="T27" fmla="*/ 109 h 160"/>
              <a:gd name="T28" fmla="*/ 125 w 160"/>
              <a:gd name="T29" fmla="*/ 56 h 160"/>
              <a:gd name="T30" fmla="*/ 125 w 160"/>
              <a:gd name="T31" fmla="*/ 139 h 160"/>
              <a:gd name="T32" fmla="*/ 128 w 160"/>
              <a:gd name="T33" fmla="*/ 141 h 160"/>
              <a:gd name="T34" fmla="*/ 131 w 160"/>
              <a:gd name="T35" fmla="*/ 139 h 160"/>
              <a:gd name="T36" fmla="*/ 131 w 160"/>
              <a:gd name="T37" fmla="*/ 56 h 160"/>
              <a:gd name="T38" fmla="*/ 147 w 160"/>
              <a:gd name="T39" fmla="*/ 37 h 160"/>
              <a:gd name="T40" fmla="*/ 128 w 160"/>
              <a:gd name="T41" fmla="*/ 19 h 160"/>
              <a:gd name="T42" fmla="*/ 109 w 160"/>
              <a:gd name="T43" fmla="*/ 37 h 160"/>
              <a:gd name="T44" fmla="*/ 125 w 160"/>
              <a:gd name="T45" fmla="*/ 56 h 160"/>
              <a:gd name="T46" fmla="*/ 128 w 160"/>
              <a:gd name="T47" fmla="*/ 24 h 160"/>
              <a:gd name="T48" fmla="*/ 141 w 160"/>
              <a:gd name="T49" fmla="*/ 37 h 160"/>
              <a:gd name="T50" fmla="*/ 128 w 160"/>
              <a:gd name="T51" fmla="*/ 51 h 160"/>
              <a:gd name="T52" fmla="*/ 115 w 160"/>
              <a:gd name="T53" fmla="*/ 37 h 160"/>
              <a:gd name="T54" fmla="*/ 128 w 160"/>
              <a:gd name="T55" fmla="*/ 24 h 160"/>
              <a:gd name="T56" fmla="*/ 77 w 160"/>
              <a:gd name="T57" fmla="*/ 96 h 160"/>
              <a:gd name="T58" fmla="*/ 77 w 160"/>
              <a:gd name="T59" fmla="*/ 139 h 160"/>
              <a:gd name="T60" fmla="*/ 80 w 160"/>
              <a:gd name="T61" fmla="*/ 141 h 160"/>
              <a:gd name="T62" fmla="*/ 83 w 160"/>
              <a:gd name="T63" fmla="*/ 139 h 160"/>
              <a:gd name="T64" fmla="*/ 83 w 160"/>
              <a:gd name="T65" fmla="*/ 96 h 160"/>
              <a:gd name="T66" fmla="*/ 99 w 160"/>
              <a:gd name="T67" fmla="*/ 77 h 160"/>
              <a:gd name="T68" fmla="*/ 83 w 160"/>
              <a:gd name="T69" fmla="*/ 59 h 160"/>
              <a:gd name="T70" fmla="*/ 83 w 160"/>
              <a:gd name="T71" fmla="*/ 21 h 160"/>
              <a:gd name="T72" fmla="*/ 80 w 160"/>
              <a:gd name="T73" fmla="*/ 19 h 160"/>
              <a:gd name="T74" fmla="*/ 77 w 160"/>
              <a:gd name="T75" fmla="*/ 21 h 160"/>
              <a:gd name="T76" fmla="*/ 77 w 160"/>
              <a:gd name="T77" fmla="*/ 59 h 160"/>
              <a:gd name="T78" fmla="*/ 61 w 160"/>
              <a:gd name="T79" fmla="*/ 77 h 160"/>
              <a:gd name="T80" fmla="*/ 77 w 160"/>
              <a:gd name="T81" fmla="*/ 96 h 160"/>
              <a:gd name="T82" fmla="*/ 80 w 160"/>
              <a:gd name="T83" fmla="*/ 64 h 160"/>
              <a:gd name="T84" fmla="*/ 93 w 160"/>
              <a:gd name="T85" fmla="*/ 77 h 160"/>
              <a:gd name="T86" fmla="*/ 80 w 160"/>
              <a:gd name="T87" fmla="*/ 91 h 160"/>
              <a:gd name="T88" fmla="*/ 67 w 160"/>
              <a:gd name="T89" fmla="*/ 77 h 160"/>
              <a:gd name="T90" fmla="*/ 80 w 160"/>
              <a:gd name="T91" fmla="*/ 64 h 160"/>
              <a:gd name="T92" fmla="*/ 157 w 160"/>
              <a:gd name="T93" fmla="*/ 0 h 160"/>
              <a:gd name="T94" fmla="*/ 3 w 160"/>
              <a:gd name="T95" fmla="*/ 0 h 160"/>
              <a:gd name="T96" fmla="*/ 0 w 160"/>
              <a:gd name="T97" fmla="*/ 3 h 160"/>
              <a:gd name="T98" fmla="*/ 0 w 160"/>
              <a:gd name="T99" fmla="*/ 157 h 160"/>
              <a:gd name="T100" fmla="*/ 3 w 160"/>
              <a:gd name="T101" fmla="*/ 160 h 160"/>
              <a:gd name="T102" fmla="*/ 157 w 160"/>
              <a:gd name="T103" fmla="*/ 160 h 160"/>
              <a:gd name="T104" fmla="*/ 160 w 160"/>
              <a:gd name="T105" fmla="*/ 157 h 160"/>
              <a:gd name="T106" fmla="*/ 160 w 160"/>
              <a:gd name="T107" fmla="*/ 3 h 160"/>
              <a:gd name="T108" fmla="*/ 157 w 160"/>
              <a:gd name="T109" fmla="*/ 0 h 160"/>
              <a:gd name="T110" fmla="*/ 155 w 160"/>
              <a:gd name="T111" fmla="*/ 155 h 160"/>
              <a:gd name="T112" fmla="*/ 5 w 160"/>
              <a:gd name="T113" fmla="*/ 155 h 160"/>
              <a:gd name="T114" fmla="*/ 5 w 160"/>
              <a:gd name="T115" fmla="*/ 5 h 160"/>
              <a:gd name="T116" fmla="*/ 155 w 160"/>
              <a:gd name="T117" fmla="*/ 5 h 160"/>
              <a:gd name="T118" fmla="*/ 155 w 160"/>
              <a:gd name="T11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60">
                <a:moveTo>
                  <a:pt x="32" y="141"/>
                </a:moveTo>
                <a:cubicBezTo>
                  <a:pt x="42" y="141"/>
                  <a:pt x="51" y="133"/>
                  <a:pt x="51" y="123"/>
                </a:cubicBezTo>
                <a:cubicBezTo>
                  <a:pt x="51" y="113"/>
                  <a:pt x="44" y="106"/>
                  <a:pt x="35" y="104"/>
                </a:cubicBezTo>
                <a:cubicBezTo>
                  <a:pt x="35" y="21"/>
                  <a:pt x="35" y="21"/>
                  <a:pt x="35" y="21"/>
                </a:cubicBezTo>
                <a:cubicBezTo>
                  <a:pt x="35" y="20"/>
                  <a:pt x="33" y="19"/>
                  <a:pt x="32" y="19"/>
                </a:cubicBezTo>
                <a:cubicBezTo>
                  <a:pt x="31" y="19"/>
                  <a:pt x="29" y="20"/>
                  <a:pt x="29" y="21"/>
                </a:cubicBezTo>
                <a:cubicBezTo>
                  <a:pt x="29" y="104"/>
                  <a:pt x="29" y="104"/>
                  <a:pt x="29" y="104"/>
                </a:cubicBezTo>
                <a:cubicBezTo>
                  <a:pt x="20" y="106"/>
                  <a:pt x="13" y="113"/>
                  <a:pt x="13" y="123"/>
                </a:cubicBezTo>
                <a:cubicBezTo>
                  <a:pt x="13" y="133"/>
                  <a:pt x="22" y="141"/>
                  <a:pt x="32" y="141"/>
                </a:cubicBezTo>
                <a:close/>
                <a:moveTo>
                  <a:pt x="32" y="109"/>
                </a:moveTo>
                <a:cubicBezTo>
                  <a:pt x="39" y="109"/>
                  <a:pt x="45" y="115"/>
                  <a:pt x="45" y="123"/>
                </a:cubicBezTo>
                <a:cubicBezTo>
                  <a:pt x="45" y="130"/>
                  <a:pt x="39" y="136"/>
                  <a:pt x="32" y="136"/>
                </a:cubicBezTo>
                <a:cubicBezTo>
                  <a:pt x="25" y="136"/>
                  <a:pt x="19" y="130"/>
                  <a:pt x="19" y="123"/>
                </a:cubicBezTo>
                <a:cubicBezTo>
                  <a:pt x="19" y="115"/>
                  <a:pt x="25" y="109"/>
                  <a:pt x="32" y="109"/>
                </a:cubicBezTo>
                <a:close/>
                <a:moveTo>
                  <a:pt x="125" y="56"/>
                </a:moveTo>
                <a:cubicBezTo>
                  <a:pt x="125" y="139"/>
                  <a:pt x="125" y="139"/>
                  <a:pt x="125" y="139"/>
                </a:cubicBezTo>
                <a:cubicBezTo>
                  <a:pt x="125" y="140"/>
                  <a:pt x="127" y="141"/>
                  <a:pt x="128" y="141"/>
                </a:cubicBezTo>
                <a:cubicBezTo>
                  <a:pt x="129" y="141"/>
                  <a:pt x="131" y="140"/>
                  <a:pt x="131" y="139"/>
                </a:cubicBezTo>
                <a:cubicBezTo>
                  <a:pt x="131" y="56"/>
                  <a:pt x="131" y="56"/>
                  <a:pt x="131" y="56"/>
                </a:cubicBezTo>
                <a:cubicBezTo>
                  <a:pt x="140" y="54"/>
                  <a:pt x="147" y="47"/>
                  <a:pt x="147" y="37"/>
                </a:cubicBezTo>
                <a:cubicBezTo>
                  <a:pt x="147" y="27"/>
                  <a:pt x="138" y="19"/>
                  <a:pt x="128" y="19"/>
                </a:cubicBezTo>
                <a:cubicBezTo>
                  <a:pt x="118" y="19"/>
                  <a:pt x="109" y="27"/>
                  <a:pt x="109" y="37"/>
                </a:cubicBezTo>
                <a:cubicBezTo>
                  <a:pt x="109" y="47"/>
                  <a:pt x="116" y="54"/>
                  <a:pt x="125" y="56"/>
                </a:cubicBezTo>
                <a:close/>
                <a:moveTo>
                  <a:pt x="128" y="24"/>
                </a:moveTo>
                <a:cubicBezTo>
                  <a:pt x="135" y="24"/>
                  <a:pt x="141" y="30"/>
                  <a:pt x="141" y="37"/>
                </a:cubicBezTo>
                <a:cubicBezTo>
                  <a:pt x="141" y="45"/>
                  <a:pt x="135" y="51"/>
                  <a:pt x="128" y="51"/>
                </a:cubicBezTo>
                <a:cubicBezTo>
                  <a:pt x="121" y="51"/>
                  <a:pt x="115" y="45"/>
                  <a:pt x="115" y="37"/>
                </a:cubicBezTo>
                <a:cubicBezTo>
                  <a:pt x="115" y="30"/>
                  <a:pt x="121" y="24"/>
                  <a:pt x="128" y="24"/>
                </a:cubicBezTo>
                <a:close/>
                <a:moveTo>
                  <a:pt x="77" y="96"/>
                </a:moveTo>
                <a:cubicBezTo>
                  <a:pt x="77" y="139"/>
                  <a:pt x="77" y="139"/>
                  <a:pt x="77" y="139"/>
                </a:cubicBezTo>
                <a:cubicBezTo>
                  <a:pt x="77" y="140"/>
                  <a:pt x="79" y="141"/>
                  <a:pt x="80" y="141"/>
                </a:cubicBezTo>
                <a:cubicBezTo>
                  <a:pt x="81" y="141"/>
                  <a:pt x="83" y="140"/>
                  <a:pt x="83" y="139"/>
                </a:cubicBezTo>
                <a:cubicBezTo>
                  <a:pt x="83" y="96"/>
                  <a:pt x="83" y="96"/>
                  <a:pt x="83" y="96"/>
                </a:cubicBezTo>
                <a:cubicBezTo>
                  <a:pt x="92" y="94"/>
                  <a:pt x="99" y="87"/>
                  <a:pt x="99" y="77"/>
                </a:cubicBezTo>
                <a:cubicBezTo>
                  <a:pt x="99" y="68"/>
                  <a:pt x="92" y="60"/>
                  <a:pt x="83" y="59"/>
                </a:cubicBezTo>
                <a:cubicBezTo>
                  <a:pt x="83" y="21"/>
                  <a:pt x="83" y="21"/>
                  <a:pt x="83" y="21"/>
                </a:cubicBezTo>
                <a:cubicBezTo>
                  <a:pt x="83" y="20"/>
                  <a:pt x="81" y="19"/>
                  <a:pt x="80" y="19"/>
                </a:cubicBezTo>
                <a:cubicBezTo>
                  <a:pt x="79" y="19"/>
                  <a:pt x="77" y="20"/>
                  <a:pt x="77" y="21"/>
                </a:cubicBezTo>
                <a:cubicBezTo>
                  <a:pt x="77" y="59"/>
                  <a:pt x="77" y="59"/>
                  <a:pt x="77" y="59"/>
                </a:cubicBezTo>
                <a:cubicBezTo>
                  <a:pt x="68" y="60"/>
                  <a:pt x="61" y="68"/>
                  <a:pt x="61" y="77"/>
                </a:cubicBezTo>
                <a:cubicBezTo>
                  <a:pt x="61" y="87"/>
                  <a:pt x="68" y="94"/>
                  <a:pt x="77" y="96"/>
                </a:cubicBezTo>
                <a:close/>
                <a:moveTo>
                  <a:pt x="80" y="64"/>
                </a:moveTo>
                <a:cubicBezTo>
                  <a:pt x="87" y="64"/>
                  <a:pt x="93" y="70"/>
                  <a:pt x="93" y="77"/>
                </a:cubicBezTo>
                <a:cubicBezTo>
                  <a:pt x="93" y="85"/>
                  <a:pt x="87" y="91"/>
                  <a:pt x="80" y="91"/>
                </a:cubicBezTo>
                <a:cubicBezTo>
                  <a:pt x="73" y="91"/>
                  <a:pt x="67" y="85"/>
                  <a:pt x="67" y="77"/>
                </a:cubicBezTo>
                <a:cubicBezTo>
                  <a:pt x="67" y="70"/>
                  <a:pt x="73" y="64"/>
                  <a:pt x="80" y="64"/>
                </a:cubicBezTo>
                <a:close/>
                <a:moveTo>
                  <a:pt x="157" y="0"/>
                </a:moveTo>
                <a:cubicBezTo>
                  <a:pt x="3" y="0"/>
                  <a:pt x="3" y="0"/>
                  <a:pt x="3" y="0"/>
                </a:cubicBezTo>
                <a:cubicBezTo>
                  <a:pt x="1" y="0"/>
                  <a:pt x="0" y="1"/>
                  <a:pt x="0" y="3"/>
                </a:cubicBezTo>
                <a:cubicBezTo>
                  <a:pt x="0" y="157"/>
                  <a:pt x="0" y="157"/>
                  <a:pt x="0" y="157"/>
                </a:cubicBezTo>
                <a:cubicBezTo>
                  <a:pt x="0" y="159"/>
                  <a:pt x="1" y="160"/>
                  <a:pt x="3" y="160"/>
                </a:cubicBezTo>
                <a:cubicBezTo>
                  <a:pt x="157" y="160"/>
                  <a:pt x="157" y="160"/>
                  <a:pt x="157" y="160"/>
                </a:cubicBezTo>
                <a:cubicBezTo>
                  <a:pt x="159" y="160"/>
                  <a:pt x="160" y="159"/>
                  <a:pt x="160" y="157"/>
                </a:cubicBezTo>
                <a:cubicBezTo>
                  <a:pt x="160" y="3"/>
                  <a:pt x="160" y="3"/>
                  <a:pt x="160" y="3"/>
                </a:cubicBezTo>
                <a:cubicBezTo>
                  <a:pt x="160" y="1"/>
                  <a:pt x="159" y="0"/>
                  <a:pt x="157" y="0"/>
                </a:cubicBezTo>
                <a:close/>
                <a:moveTo>
                  <a:pt x="155" y="155"/>
                </a:moveTo>
                <a:cubicBezTo>
                  <a:pt x="5" y="155"/>
                  <a:pt x="5" y="155"/>
                  <a:pt x="5" y="155"/>
                </a:cubicBezTo>
                <a:cubicBezTo>
                  <a:pt x="5" y="5"/>
                  <a:pt x="5" y="5"/>
                  <a:pt x="5" y="5"/>
                </a:cubicBezTo>
                <a:cubicBezTo>
                  <a:pt x="155" y="5"/>
                  <a:pt x="155" y="5"/>
                  <a:pt x="155" y="5"/>
                </a:cubicBezTo>
                <a:lnTo>
                  <a:pt x="155" y="155"/>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113">
            <a:extLst>
              <a:ext uri="{FF2B5EF4-FFF2-40B4-BE49-F238E27FC236}">
                <a16:creationId xmlns:a16="http://schemas.microsoft.com/office/drawing/2014/main" id="{4B7563D8-2CBA-124F-B4E0-400E0644C134}"/>
              </a:ext>
            </a:extLst>
          </p:cNvPr>
          <p:cNvSpPr>
            <a:spLocks noEditPoints="1"/>
          </p:cNvSpPr>
          <p:nvPr/>
        </p:nvSpPr>
        <p:spPr bwMode="auto">
          <a:xfrm>
            <a:off x="6324483" y="2841625"/>
            <a:ext cx="504825" cy="550863"/>
          </a:xfrm>
          <a:custGeom>
            <a:avLst/>
            <a:gdLst>
              <a:gd name="T0" fmla="*/ 21 w 148"/>
              <a:gd name="T1" fmla="*/ 107 h 160"/>
              <a:gd name="T2" fmla="*/ 18 w 148"/>
              <a:gd name="T3" fmla="*/ 0 h 160"/>
              <a:gd name="T4" fmla="*/ 15 w 148"/>
              <a:gd name="T5" fmla="*/ 107 h 160"/>
              <a:gd name="T6" fmla="*/ 0 w 148"/>
              <a:gd name="T7" fmla="*/ 110 h 160"/>
              <a:gd name="T8" fmla="*/ 3 w 148"/>
              <a:gd name="T9" fmla="*/ 148 h 160"/>
              <a:gd name="T10" fmla="*/ 15 w 148"/>
              <a:gd name="T11" fmla="*/ 157 h 160"/>
              <a:gd name="T12" fmla="*/ 21 w 148"/>
              <a:gd name="T13" fmla="*/ 157 h 160"/>
              <a:gd name="T14" fmla="*/ 33 w 148"/>
              <a:gd name="T15" fmla="*/ 148 h 160"/>
              <a:gd name="T16" fmla="*/ 36 w 148"/>
              <a:gd name="T17" fmla="*/ 110 h 160"/>
              <a:gd name="T18" fmla="*/ 30 w 148"/>
              <a:gd name="T19" fmla="*/ 142 h 160"/>
              <a:gd name="T20" fmla="*/ 6 w 148"/>
              <a:gd name="T21" fmla="*/ 113 h 160"/>
              <a:gd name="T22" fmla="*/ 30 w 148"/>
              <a:gd name="T23" fmla="*/ 142 h 160"/>
              <a:gd name="T24" fmla="*/ 77 w 148"/>
              <a:gd name="T25" fmla="*/ 59 h 160"/>
              <a:gd name="T26" fmla="*/ 74 w 148"/>
              <a:gd name="T27" fmla="*/ 0 h 160"/>
              <a:gd name="T28" fmla="*/ 71 w 148"/>
              <a:gd name="T29" fmla="*/ 59 h 160"/>
              <a:gd name="T30" fmla="*/ 56 w 148"/>
              <a:gd name="T31" fmla="*/ 62 h 160"/>
              <a:gd name="T32" fmla="*/ 59 w 148"/>
              <a:gd name="T33" fmla="*/ 101 h 160"/>
              <a:gd name="T34" fmla="*/ 71 w 148"/>
              <a:gd name="T35" fmla="*/ 157 h 160"/>
              <a:gd name="T36" fmla="*/ 77 w 148"/>
              <a:gd name="T37" fmla="*/ 157 h 160"/>
              <a:gd name="T38" fmla="*/ 89 w 148"/>
              <a:gd name="T39" fmla="*/ 101 h 160"/>
              <a:gd name="T40" fmla="*/ 92 w 148"/>
              <a:gd name="T41" fmla="*/ 62 h 160"/>
              <a:gd name="T42" fmla="*/ 86 w 148"/>
              <a:gd name="T43" fmla="*/ 95 h 160"/>
              <a:gd name="T44" fmla="*/ 62 w 148"/>
              <a:gd name="T45" fmla="*/ 65 h 160"/>
              <a:gd name="T46" fmla="*/ 86 w 148"/>
              <a:gd name="T47" fmla="*/ 95 h 160"/>
              <a:gd name="T48" fmla="*/ 133 w 148"/>
              <a:gd name="T49" fmla="*/ 12 h 160"/>
              <a:gd name="T50" fmla="*/ 130 w 148"/>
              <a:gd name="T51" fmla="*/ 0 h 160"/>
              <a:gd name="T52" fmla="*/ 127 w 148"/>
              <a:gd name="T53" fmla="*/ 12 h 160"/>
              <a:gd name="T54" fmla="*/ 113 w 148"/>
              <a:gd name="T55" fmla="*/ 15 h 160"/>
              <a:gd name="T56" fmla="*/ 116 w 148"/>
              <a:gd name="T57" fmla="*/ 53 h 160"/>
              <a:gd name="T58" fmla="*/ 127 w 148"/>
              <a:gd name="T59" fmla="*/ 157 h 160"/>
              <a:gd name="T60" fmla="*/ 133 w 148"/>
              <a:gd name="T61" fmla="*/ 157 h 160"/>
              <a:gd name="T62" fmla="*/ 145 w 148"/>
              <a:gd name="T63" fmla="*/ 53 h 160"/>
              <a:gd name="T64" fmla="*/ 148 w 148"/>
              <a:gd name="T65" fmla="*/ 15 h 160"/>
              <a:gd name="T66" fmla="*/ 142 w 148"/>
              <a:gd name="T67" fmla="*/ 47 h 160"/>
              <a:gd name="T68" fmla="*/ 119 w 148"/>
              <a:gd name="T69" fmla="*/ 18 h 160"/>
              <a:gd name="T70" fmla="*/ 142 w 148"/>
              <a:gd name="T71" fmla="*/ 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 h="160">
                <a:moveTo>
                  <a:pt x="33" y="107"/>
                </a:moveTo>
                <a:cubicBezTo>
                  <a:pt x="21" y="107"/>
                  <a:pt x="21" y="107"/>
                  <a:pt x="21" y="107"/>
                </a:cubicBezTo>
                <a:cubicBezTo>
                  <a:pt x="21" y="3"/>
                  <a:pt x="21" y="3"/>
                  <a:pt x="21" y="3"/>
                </a:cubicBezTo>
                <a:cubicBezTo>
                  <a:pt x="21" y="1"/>
                  <a:pt x="19" y="0"/>
                  <a:pt x="18" y="0"/>
                </a:cubicBezTo>
                <a:cubicBezTo>
                  <a:pt x="16" y="0"/>
                  <a:pt x="15" y="1"/>
                  <a:pt x="15" y="3"/>
                </a:cubicBezTo>
                <a:cubicBezTo>
                  <a:pt x="15" y="107"/>
                  <a:pt x="15" y="107"/>
                  <a:pt x="15" y="107"/>
                </a:cubicBezTo>
                <a:cubicBezTo>
                  <a:pt x="3" y="107"/>
                  <a:pt x="3" y="107"/>
                  <a:pt x="3" y="107"/>
                </a:cubicBezTo>
                <a:cubicBezTo>
                  <a:pt x="1" y="107"/>
                  <a:pt x="0" y="108"/>
                  <a:pt x="0" y="110"/>
                </a:cubicBezTo>
                <a:cubicBezTo>
                  <a:pt x="0" y="145"/>
                  <a:pt x="0" y="145"/>
                  <a:pt x="0" y="145"/>
                </a:cubicBezTo>
                <a:cubicBezTo>
                  <a:pt x="0" y="147"/>
                  <a:pt x="1" y="148"/>
                  <a:pt x="3" y="148"/>
                </a:cubicBezTo>
                <a:cubicBezTo>
                  <a:pt x="15" y="148"/>
                  <a:pt x="15" y="148"/>
                  <a:pt x="15" y="148"/>
                </a:cubicBezTo>
                <a:cubicBezTo>
                  <a:pt x="15" y="157"/>
                  <a:pt x="15" y="157"/>
                  <a:pt x="15" y="157"/>
                </a:cubicBezTo>
                <a:cubicBezTo>
                  <a:pt x="15" y="159"/>
                  <a:pt x="16" y="160"/>
                  <a:pt x="18" y="160"/>
                </a:cubicBezTo>
                <a:cubicBezTo>
                  <a:pt x="19" y="160"/>
                  <a:pt x="21" y="159"/>
                  <a:pt x="21" y="157"/>
                </a:cubicBezTo>
                <a:cubicBezTo>
                  <a:pt x="21" y="148"/>
                  <a:pt x="21" y="148"/>
                  <a:pt x="21" y="148"/>
                </a:cubicBezTo>
                <a:cubicBezTo>
                  <a:pt x="33" y="148"/>
                  <a:pt x="33" y="148"/>
                  <a:pt x="33" y="148"/>
                </a:cubicBezTo>
                <a:cubicBezTo>
                  <a:pt x="34" y="148"/>
                  <a:pt x="36" y="147"/>
                  <a:pt x="36" y="145"/>
                </a:cubicBezTo>
                <a:cubicBezTo>
                  <a:pt x="36" y="110"/>
                  <a:pt x="36" y="110"/>
                  <a:pt x="36" y="110"/>
                </a:cubicBezTo>
                <a:cubicBezTo>
                  <a:pt x="36" y="108"/>
                  <a:pt x="34" y="107"/>
                  <a:pt x="33" y="107"/>
                </a:cubicBezTo>
                <a:close/>
                <a:moveTo>
                  <a:pt x="30" y="142"/>
                </a:moveTo>
                <a:cubicBezTo>
                  <a:pt x="6" y="142"/>
                  <a:pt x="6" y="142"/>
                  <a:pt x="6" y="142"/>
                </a:cubicBezTo>
                <a:cubicBezTo>
                  <a:pt x="6" y="113"/>
                  <a:pt x="6" y="113"/>
                  <a:pt x="6" y="113"/>
                </a:cubicBezTo>
                <a:cubicBezTo>
                  <a:pt x="30" y="113"/>
                  <a:pt x="30" y="113"/>
                  <a:pt x="30" y="113"/>
                </a:cubicBezTo>
                <a:lnTo>
                  <a:pt x="30" y="142"/>
                </a:lnTo>
                <a:close/>
                <a:moveTo>
                  <a:pt x="89" y="59"/>
                </a:moveTo>
                <a:cubicBezTo>
                  <a:pt x="77" y="59"/>
                  <a:pt x="77" y="59"/>
                  <a:pt x="77" y="59"/>
                </a:cubicBezTo>
                <a:cubicBezTo>
                  <a:pt x="77" y="3"/>
                  <a:pt x="77" y="3"/>
                  <a:pt x="77" y="3"/>
                </a:cubicBezTo>
                <a:cubicBezTo>
                  <a:pt x="77" y="1"/>
                  <a:pt x="76" y="0"/>
                  <a:pt x="74" y="0"/>
                </a:cubicBezTo>
                <a:cubicBezTo>
                  <a:pt x="72" y="0"/>
                  <a:pt x="71" y="1"/>
                  <a:pt x="71" y="3"/>
                </a:cubicBezTo>
                <a:cubicBezTo>
                  <a:pt x="71" y="59"/>
                  <a:pt x="71" y="59"/>
                  <a:pt x="71" y="59"/>
                </a:cubicBezTo>
                <a:cubicBezTo>
                  <a:pt x="59" y="59"/>
                  <a:pt x="59" y="59"/>
                  <a:pt x="59" y="59"/>
                </a:cubicBezTo>
                <a:cubicBezTo>
                  <a:pt x="58" y="59"/>
                  <a:pt x="56" y="61"/>
                  <a:pt x="56" y="62"/>
                </a:cubicBezTo>
                <a:cubicBezTo>
                  <a:pt x="56" y="98"/>
                  <a:pt x="56" y="98"/>
                  <a:pt x="56" y="98"/>
                </a:cubicBezTo>
                <a:cubicBezTo>
                  <a:pt x="56" y="99"/>
                  <a:pt x="58" y="101"/>
                  <a:pt x="59" y="101"/>
                </a:cubicBezTo>
                <a:cubicBezTo>
                  <a:pt x="71" y="101"/>
                  <a:pt x="71" y="101"/>
                  <a:pt x="71" y="101"/>
                </a:cubicBezTo>
                <a:cubicBezTo>
                  <a:pt x="71" y="157"/>
                  <a:pt x="71" y="157"/>
                  <a:pt x="71" y="157"/>
                </a:cubicBezTo>
                <a:cubicBezTo>
                  <a:pt x="71" y="159"/>
                  <a:pt x="72" y="160"/>
                  <a:pt x="74" y="160"/>
                </a:cubicBezTo>
                <a:cubicBezTo>
                  <a:pt x="76" y="160"/>
                  <a:pt x="77" y="159"/>
                  <a:pt x="77" y="157"/>
                </a:cubicBezTo>
                <a:cubicBezTo>
                  <a:pt x="77" y="101"/>
                  <a:pt x="77" y="101"/>
                  <a:pt x="77" y="101"/>
                </a:cubicBezTo>
                <a:cubicBezTo>
                  <a:pt x="89" y="101"/>
                  <a:pt x="89" y="101"/>
                  <a:pt x="89" y="101"/>
                </a:cubicBezTo>
                <a:cubicBezTo>
                  <a:pt x="91" y="101"/>
                  <a:pt x="92" y="99"/>
                  <a:pt x="92" y="98"/>
                </a:cubicBezTo>
                <a:cubicBezTo>
                  <a:pt x="92" y="62"/>
                  <a:pt x="92" y="62"/>
                  <a:pt x="92" y="62"/>
                </a:cubicBezTo>
                <a:cubicBezTo>
                  <a:pt x="92" y="61"/>
                  <a:pt x="91" y="59"/>
                  <a:pt x="89" y="59"/>
                </a:cubicBezTo>
                <a:close/>
                <a:moveTo>
                  <a:pt x="86" y="95"/>
                </a:moveTo>
                <a:cubicBezTo>
                  <a:pt x="62" y="95"/>
                  <a:pt x="62" y="95"/>
                  <a:pt x="62" y="95"/>
                </a:cubicBezTo>
                <a:cubicBezTo>
                  <a:pt x="62" y="65"/>
                  <a:pt x="62" y="65"/>
                  <a:pt x="62" y="65"/>
                </a:cubicBezTo>
                <a:cubicBezTo>
                  <a:pt x="86" y="65"/>
                  <a:pt x="86" y="65"/>
                  <a:pt x="86" y="65"/>
                </a:cubicBezTo>
                <a:lnTo>
                  <a:pt x="86" y="95"/>
                </a:lnTo>
                <a:close/>
                <a:moveTo>
                  <a:pt x="145" y="12"/>
                </a:moveTo>
                <a:cubicBezTo>
                  <a:pt x="133" y="12"/>
                  <a:pt x="133" y="12"/>
                  <a:pt x="133" y="12"/>
                </a:cubicBezTo>
                <a:cubicBezTo>
                  <a:pt x="133" y="3"/>
                  <a:pt x="133" y="3"/>
                  <a:pt x="133" y="3"/>
                </a:cubicBezTo>
                <a:cubicBezTo>
                  <a:pt x="133" y="1"/>
                  <a:pt x="132" y="0"/>
                  <a:pt x="130" y="0"/>
                </a:cubicBezTo>
                <a:cubicBezTo>
                  <a:pt x="129" y="0"/>
                  <a:pt x="127" y="1"/>
                  <a:pt x="127" y="3"/>
                </a:cubicBezTo>
                <a:cubicBezTo>
                  <a:pt x="127" y="12"/>
                  <a:pt x="127" y="12"/>
                  <a:pt x="127" y="12"/>
                </a:cubicBezTo>
                <a:cubicBezTo>
                  <a:pt x="116" y="12"/>
                  <a:pt x="116" y="12"/>
                  <a:pt x="116" y="12"/>
                </a:cubicBezTo>
                <a:cubicBezTo>
                  <a:pt x="114" y="12"/>
                  <a:pt x="113" y="13"/>
                  <a:pt x="113" y="15"/>
                </a:cubicBezTo>
                <a:cubicBezTo>
                  <a:pt x="113" y="50"/>
                  <a:pt x="113" y="50"/>
                  <a:pt x="113" y="50"/>
                </a:cubicBezTo>
                <a:cubicBezTo>
                  <a:pt x="113" y="52"/>
                  <a:pt x="114" y="53"/>
                  <a:pt x="116" y="53"/>
                </a:cubicBezTo>
                <a:cubicBezTo>
                  <a:pt x="127" y="53"/>
                  <a:pt x="127" y="53"/>
                  <a:pt x="127" y="53"/>
                </a:cubicBezTo>
                <a:cubicBezTo>
                  <a:pt x="127" y="157"/>
                  <a:pt x="127" y="157"/>
                  <a:pt x="127" y="157"/>
                </a:cubicBezTo>
                <a:cubicBezTo>
                  <a:pt x="127" y="159"/>
                  <a:pt x="129" y="160"/>
                  <a:pt x="130" y="160"/>
                </a:cubicBezTo>
                <a:cubicBezTo>
                  <a:pt x="132" y="160"/>
                  <a:pt x="133" y="159"/>
                  <a:pt x="133" y="157"/>
                </a:cubicBezTo>
                <a:cubicBezTo>
                  <a:pt x="133" y="53"/>
                  <a:pt x="133" y="53"/>
                  <a:pt x="133" y="53"/>
                </a:cubicBezTo>
                <a:cubicBezTo>
                  <a:pt x="145" y="53"/>
                  <a:pt x="145" y="53"/>
                  <a:pt x="145" y="53"/>
                </a:cubicBezTo>
                <a:cubicBezTo>
                  <a:pt x="147" y="53"/>
                  <a:pt x="148" y="52"/>
                  <a:pt x="148" y="50"/>
                </a:cubicBezTo>
                <a:cubicBezTo>
                  <a:pt x="148" y="15"/>
                  <a:pt x="148" y="15"/>
                  <a:pt x="148" y="15"/>
                </a:cubicBezTo>
                <a:cubicBezTo>
                  <a:pt x="148" y="13"/>
                  <a:pt x="147" y="12"/>
                  <a:pt x="145" y="12"/>
                </a:cubicBezTo>
                <a:close/>
                <a:moveTo>
                  <a:pt x="142" y="47"/>
                </a:moveTo>
                <a:cubicBezTo>
                  <a:pt x="119" y="47"/>
                  <a:pt x="119" y="47"/>
                  <a:pt x="119" y="47"/>
                </a:cubicBezTo>
                <a:cubicBezTo>
                  <a:pt x="119" y="18"/>
                  <a:pt x="119" y="18"/>
                  <a:pt x="119" y="18"/>
                </a:cubicBezTo>
                <a:cubicBezTo>
                  <a:pt x="142" y="18"/>
                  <a:pt x="142" y="18"/>
                  <a:pt x="142" y="18"/>
                </a:cubicBezTo>
                <a:lnTo>
                  <a:pt x="142" y="47"/>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7" name="Freeform 1114">
            <a:extLst>
              <a:ext uri="{FF2B5EF4-FFF2-40B4-BE49-F238E27FC236}">
                <a16:creationId xmlns:a16="http://schemas.microsoft.com/office/drawing/2014/main" id="{42CE5ADD-0A7A-0245-8C67-AC3347AEB9E3}"/>
              </a:ext>
            </a:extLst>
          </p:cNvPr>
          <p:cNvSpPr>
            <a:spLocks noEditPoints="1"/>
          </p:cNvSpPr>
          <p:nvPr/>
        </p:nvSpPr>
        <p:spPr bwMode="auto">
          <a:xfrm>
            <a:off x="6310195" y="3462338"/>
            <a:ext cx="546100" cy="549275"/>
          </a:xfrm>
          <a:custGeom>
            <a:avLst/>
            <a:gdLst>
              <a:gd name="T0" fmla="*/ 3 w 160"/>
              <a:gd name="T1" fmla="*/ 0 h 160"/>
              <a:gd name="T2" fmla="*/ 0 w 160"/>
              <a:gd name="T3" fmla="*/ 157 h 160"/>
              <a:gd name="T4" fmla="*/ 157 w 160"/>
              <a:gd name="T5" fmla="*/ 160 h 160"/>
              <a:gd name="T6" fmla="*/ 160 w 160"/>
              <a:gd name="T7" fmla="*/ 3 h 160"/>
              <a:gd name="T8" fmla="*/ 155 w 160"/>
              <a:gd name="T9" fmla="*/ 155 h 160"/>
              <a:gd name="T10" fmla="*/ 5 w 160"/>
              <a:gd name="T11" fmla="*/ 5 h 160"/>
              <a:gd name="T12" fmla="*/ 155 w 160"/>
              <a:gd name="T13" fmla="*/ 155 h 160"/>
              <a:gd name="T14" fmla="*/ 27 w 160"/>
              <a:gd name="T15" fmla="*/ 136 h 160"/>
              <a:gd name="T16" fmla="*/ 29 w 160"/>
              <a:gd name="T17" fmla="*/ 147 h 160"/>
              <a:gd name="T18" fmla="*/ 32 w 160"/>
              <a:gd name="T19" fmla="*/ 136 h 160"/>
              <a:gd name="T20" fmla="*/ 45 w 160"/>
              <a:gd name="T21" fmla="*/ 133 h 160"/>
              <a:gd name="T22" fmla="*/ 43 w 160"/>
              <a:gd name="T23" fmla="*/ 99 h 160"/>
              <a:gd name="T24" fmla="*/ 32 w 160"/>
              <a:gd name="T25" fmla="*/ 16 h 160"/>
              <a:gd name="T26" fmla="*/ 27 w 160"/>
              <a:gd name="T27" fmla="*/ 16 h 160"/>
              <a:gd name="T28" fmla="*/ 16 w 160"/>
              <a:gd name="T29" fmla="*/ 99 h 160"/>
              <a:gd name="T30" fmla="*/ 13 w 160"/>
              <a:gd name="T31" fmla="*/ 133 h 160"/>
              <a:gd name="T32" fmla="*/ 19 w 160"/>
              <a:gd name="T33" fmla="*/ 104 h 160"/>
              <a:gd name="T34" fmla="*/ 40 w 160"/>
              <a:gd name="T35" fmla="*/ 131 h 160"/>
              <a:gd name="T36" fmla="*/ 19 w 160"/>
              <a:gd name="T37" fmla="*/ 104 h 160"/>
              <a:gd name="T38" fmla="*/ 77 w 160"/>
              <a:gd name="T39" fmla="*/ 99 h 160"/>
              <a:gd name="T40" fmla="*/ 80 w 160"/>
              <a:gd name="T41" fmla="*/ 147 h 160"/>
              <a:gd name="T42" fmla="*/ 83 w 160"/>
              <a:gd name="T43" fmla="*/ 99 h 160"/>
              <a:gd name="T44" fmla="*/ 96 w 160"/>
              <a:gd name="T45" fmla="*/ 96 h 160"/>
              <a:gd name="T46" fmla="*/ 93 w 160"/>
              <a:gd name="T47" fmla="*/ 61 h 160"/>
              <a:gd name="T48" fmla="*/ 83 w 160"/>
              <a:gd name="T49" fmla="*/ 16 h 160"/>
              <a:gd name="T50" fmla="*/ 77 w 160"/>
              <a:gd name="T51" fmla="*/ 16 h 160"/>
              <a:gd name="T52" fmla="*/ 67 w 160"/>
              <a:gd name="T53" fmla="*/ 61 h 160"/>
              <a:gd name="T54" fmla="*/ 64 w 160"/>
              <a:gd name="T55" fmla="*/ 96 h 160"/>
              <a:gd name="T56" fmla="*/ 69 w 160"/>
              <a:gd name="T57" fmla="*/ 67 h 160"/>
              <a:gd name="T58" fmla="*/ 91 w 160"/>
              <a:gd name="T59" fmla="*/ 93 h 160"/>
              <a:gd name="T60" fmla="*/ 69 w 160"/>
              <a:gd name="T61" fmla="*/ 67 h 160"/>
              <a:gd name="T62" fmla="*/ 128 w 160"/>
              <a:gd name="T63" fmla="*/ 61 h 160"/>
              <a:gd name="T64" fmla="*/ 131 w 160"/>
              <a:gd name="T65" fmla="*/ 147 h 160"/>
              <a:gd name="T66" fmla="*/ 133 w 160"/>
              <a:gd name="T67" fmla="*/ 61 h 160"/>
              <a:gd name="T68" fmla="*/ 147 w 160"/>
              <a:gd name="T69" fmla="*/ 59 h 160"/>
              <a:gd name="T70" fmla="*/ 144 w 160"/>
              <a:gd name="T71" fmla="*/ 24 h 160"/>
              <a:gd name="T72" fmla="*/ 133 w 160"/>
              <a:gd name="T73" fmla="*/ 16 h 160"/>
              <a:gd name="T74" fmla="*/ 128 w 160"/>
              <a:gd name="T75" fmla="*/ 16 h 160"/>
              <a:gd name="T76" fmla="*/ 117 w 160"/>
              <a:gd name="T77" fmla="*/ 24 h 160"/>
              <a:gd name="T78" fmla="*/ 115 w 160"/>
              <a:gd name="T79" fmla="*/ 59 h 160"/>
              <a:gd name="T80" fmla="*/ 120 w 160"/>
              <a:gd name="T81" fmla="*/ 29 h 160"/>
              <a:gd name="T82" fmla="*/ 141 w 160"/>
              <a:gd name="T83" fmla="*/ 56 h 160"/>
              <a:gd name="T84" fmla="*/ 120 w 160"/>
              <a:gd name="T85" fmla="*/ 2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60">
                <a:moveTo>
                  <a:pt x="157" y="0"/>
                </a:moveTo>
                <a:cubicBezTo>
                  <a:pt x="3" y="0"/>
                  <a:pt x="3" y="0"/>
                  <a:pt x="3" y="0"/>
                </a:cubicBezTo>
                <a:cubicBezTo>
                  <a:pt x="1" y="0"/>
                  <a:pt x="0" y="1"/>
                  <a:pt x="0" y="3"/>
                </a:cubicBezTo>
                <a:cubicBezTo>
                  <a:pt x="0" y="157"/>
                  <a:pt x="0" y="157"/>
                  <a:pt x="0" y="157"/>
                </a:cubicBezTo>
                <a:cubicBezTo>
                  <a:pt x="0" y="159"/>
                  <a:pt x="1" y="160"/>
                  <a:pt x="3" y="160"/>
                </a:cubicBezTo>
                <a:cubicBezTo>
                  <a:pt x="157" y="160"/>
                  <a:pt x="157" y="160"/>
                  <a:pt x="157" y="160"/>
                </a:cubicBezTo>
                <a:cubicBezTo>
                  <a:pt x="159" y="160"/>
                  <a:pt x="160" y="159"/>
                  <a:pt x="160" y="157"/>
                </a:cubicBezTo>
                <a:cubicBezTo>
                  <a:pt x="160" y="3"/>
                  <a:pt x="160" y="3"/>
                  <a:pt x="160" y="3"/>
                </a:cubicBezTo>
                <a:cubicBezTo>
                  <a:pt x="160" y="1"/>
                  <a:pt x="159" y="0"/>
                  <a:pt x="157" y="0"/>
                </a:cubicBezTo>
                <a:close/>
                <a:moveTo>
                  <a:pt x="155" y="155"/>
                </a:moveTo>
                <a:cubicBezTo>
                  <a:pt x="5" y="155"/>
                  <a:pt x="5" y="155"/>
                  <a:pt x="5" y="155"/>
                </a:cubicBezTo>
                <a:cubicBezTo>
                  <a:pt x="5" y="5"/>
                  <a:pt x="5" y="5"/>
                  <a:pt x="5" y="5"/>
                </a:cubicBezTo>
                <a:cubicBezTo>
                  <a:pt x="155" y="5"/>
                  <a:pt x="155" y="5"/>
                  <a:pt x="155" y="5"/>
                </a:cubicBezTo>
                <a:lnTo>
                  <a:pt x="155" y="155"/>
                </a:lnTo>
                <a:close/>
                <a:moveTo>
                  <a:pt x="16" y="136"/>
                </a:moveTo>
                <a:cubicBezTo>
                  <a:pt x="27" y="136"/>
                  <a:pt x="27" y="136"/>
                  <a:pt x="27" y="136"/>
                </a:cubicBezTo>
                <a:cubicBezTo>
                  <a:pt x="27" y="144"/>
                  <a:pt x="27" y="144"/>
                  <a:pt x="27" y="144"/>
                </a:cubicBezTo>
                <a:cubicBezTo>
                  <a:pt x="27" y="145"/>
                  <a:pt x="28" y="147"/>
                  <a:pt x="29" y="147"/>
                </a:cubicBezTo>
                <a:cubicBezTo>
                  <a:pt x="31" y="147"/>
                  <a:pt x="32" y="145"/>
                  <a:pt x="32" y="144"/>
                </a:cubicBezTo>
                <a:cubicBezTo>
                  <a:pt x="32" y="136"/>
                  <a:pt x="32" y="136"/>
                  <a:pt x="32" y="136"/>
                </a:cubicBezTo>
                <a:cubicBezTo>
                  <a:pt x="43" y="136"/>
                  <a:pt x="43" y="136"/>
                  <a:pt x="43" y="136"/>
                </a:cubicBezTo>
                <a:cubicBezTo>
                  <a:pt x="44" y="136"/>
                  <a:pt x="45" y="135"/>
                  <a:pt x="45" y="133"/>
                </a:cubicBezTo>
                <a:cubicBezTo>
                  <a:pt x="45" y="101"/>
                  <a:pt x="45" y="101"/>
                  <a:pt x="45" y="101"/>
                </a:cubicBezTo>
                <a:cubicBezTo>
                  <a:pt x="45" y="100"/>
                  <a:pt x="44" y="99"/>
                  <a:pt x="43" y="99"/>
                </a:cubicBezTo>
                <a:cubicBezTo>
                  <a:pt x="32" y="99"/>
                  <a:pt x="32" y="99"/>
                  <a:pt x="32" y="99"/>
                </a:cubicBezTo>
                <a:cubicBezTo>
                  <a:pt x="32" y="16"/>
                  <a:pt x="32" y="16"/>
                  <a:pt x="32" y="16"/>
                </a:cubicBezTo>
                <a:cubicBezTo>
                  <a:pt x="32" y="15"/>
                  <a:pt x="31" y="13"/>
                  <a:pt x="29" y="13"/>
                </a:cubicBezTo>
                <a:cubicBezTo>
                  <a:pt x="28" y="13"/>
                  <a:pt x="27" y="15"/>
                  <a:pt x="27" y="16"/>
                </a:cubicBezTo>
                <a:cubicBezTo>
                  <a:pt x="27" y="99"/>
                  <a:pt x="27" y="99"/>
                  <a:pt x="27" y="99"/>
                </a:cubicBezTo>
                <a:cubicBezTo>
                  <a:pt x="16" y="99"/>
                  <a:pt x="16" y="99"/>
                  <a:pt x="16" y="99"/>
                </a:cubicBezTo>
                <a:cubicBezTo>
                  <a:pt x="15" y="99"/>
                  <a:pt x="13" y="100"/>
                  <a:pt x="13" y="101"/>
                </a:cubicBezTo>
                <a:cubicBezTo>
                  <a:pt x="13" y="133"/>
                  <a:pt x="13" y="133"/>
                  <a:pt x="13" y="133"/>
                </a:cubicBezTo>
                <a:cubicBezTo>
                  <a:pt x="13" y="135"/>
                  <a:pt x="15" y="136"/>
                  <a:pt x="16" y="136"/>
                </a:cubicBezTo>
                <a:close/>
                <a:moveTo>
                  <a:pt x="19" y="104"/>
                </a:moveTo>
                <a:cubicBezTo>
                  <a:pt x="40" y="104"/>
                  <a:pt x="40" y="104"/>
                  <a:pt x="40" y="104"/>
                </a:cubicBezTo>
                <a:cubicBezTo>
                  <a:pt x="40" y="131"/>
                  <a:pt x="40" y="131"/>
                  <a:pt x="40" y="131"/>
                </a:cubicBezTo>
                <a:cubicBezTo>
                  <a:pt x="19" y="131"/>
                  <a:pt x="19" y="131"/>
                  <a:pt x="19" y="131"/>
                </a:cubicBezTo>
                <a:lnTo>
                  <a:pt x="19" y="104"/>
                </a:lnTo>
                <a:close/>
                <a:moveTo>
                  <a:pt x="67" y="99"/>
                </a:moveTo>
                <a:cubicBezTo>
                  <a:pt x="77" y="99"/>
                  <a:pt x="77" y="99"/>
                  <a:pt x="77" y="99"/>
                </a:cubicBezTo>
                <a:cubicBezTo>
                  <a:pt x="77" y="144"/>
                  <a:pt x="77" y="144"/>
                  <a:pt x="77" y="144"/>
                </a:cubicBezTo>
                <a:cubicBezTo>
                  <a:pt x="77" y="145"/>
                  <a:pt x="79" y="147"/>
                  <a:pt x="80" y="147"/>
                </a:cubicBezTo>
                <a:cubicBezTo>
                  <a:pt x="81" y="147"/>
                  <a:pt x="83" y="145"/>
                  <a:pt x="83" y="144"/>
                </a:cubicBezTo>
                <a:cubicBezTo>
                  <a:pt x="83" y="99"/>
                  <a:pt x="83" y="99"/>
                  <a:pt x="83" y="99"/>
                </a:cubicBezTo>
                <a:cubicBezTo>
                  <a:pt x="93" y="99"/>
                  <a:pt x="93" y="99"/>
                  <a:pt x="93" y="99"/>
                </a:cubicBezTo>
                <a:cubicBezTo>
                  <a:pt x="95" y="99"/>
                  <a:pt x="96" y="97"/>
                  <a:pt x="96" y="96"/>
                </a:cubicBezTo>
                <a:cubicBezTo>
                  <a:pt x="96" y="64"/>
                  <a:pt x="96" y="64"/>
                  <a:pt x="96" y="64"/>
                </a:cubicBezTo>
                <a:cubicBezTo>
                  <a:pt x="96" y="63"/>
                  <a:pt x="95" y="61"/>
                  <a:pt x="93" y="61"/>
                </a:cubicBezTo>
                <a:cubicBezTo>
                  <a:pt x="83" y="61"/>
                  <a:pt x="83" y="61"/>
                  <a:pt x="83" y="61"/>
                </a:cubicBezTo>
                <a:cubicBezTo>
                  <a:pt x="83" y="16"/>
                  <a:pt x="83" y="16"/>
                  <a:pt x="83" y="16"/>
                </a:cubicBezTo>
                <a:cubicBezTo>
                  <a:pt x="83" y="15"/>
                  <a:pt x="81" y="13"/>
                  <a:pt x="80" y="13"/>
                </a:cubicBezTo>
                <a:cubicBezTo>
                  <a:pt x="79" y="13"/>
                  <a:pt x="77" y="15"/>
                  <a:pt x="77" y="16"/>
                </a:cubicBezTo>
                <a:cubicBezTo>
                  <a:pt x="77" y="61"/>
                  <a:pt x="77" y="61"/>
                  <a:pt x="77" y="61"/>
                </a:cubicBezTo>
                <a:cubicBezTo>
                  <a:pt x="67" y="61"/>
                  <a:pt x="67" y="61"/>
                  <a:pt x="67" y="61"/>
                </a:cubicBezTo>
                <a:cubicBezTo>
                  <a:pt x="65" y="61"/>
                  <a:pt x="64" y="63"/>
                  <a:pt x="64" y="64"/>
                </a:cubicBezTo>
                <a:cubicBezTo>
                  <a:pt x="64" y="96"/>
                  <a:pt x="64" y="96"/>
                  <a:pt x="64" y="96"/>
                </a:cubicBezTo>
                <a:cubicBezTo>
                  <a:pt x="64" y="97"/>
                  <a:pt x="65" y="99"/>
                  <a:pt x="67" y="99"/>
                </a:cubicBezTo>
                <a:close/>
                <a:moveTo>
                  <a:pt x="69" y="67"/>
                </a:moveTo>
                <a:cubicBezTo>
                  <a:pt x="91" y="67"/>
                  <a:pt x="91" y="67"/>
                  <a:pt x="91" y="67"/>
                </a:cubicBezTo>
                <a:cubicBezTo>
                  <a:pt x="91" y="93"/>
                  <a:pt x="91" y="93"/>
                  <a:pt x="91" y="93"/>
                </a:cubicBezTo>
                <a:cubicBezTo>
                  <a:pt x="69" y="93"/>
                  <a:pt x="69" y="93"/>
                  <a:pt x="69" y="93"/>
                </a:cubicBezTo>
                <a:lnTo>
                  <a:pt x="69" y="67"/>
                </a:lnTo>
                <a:close/>
                <a:moveTo>
                  <a:pt x="117" y="61"/>
                </a:moveTo>
                <a:cubicBezTo>
                  <a:pt x="128" y="61"/>
                  <a:pt x="128" y="61"/>
                  <a:pt x="128" y="61"/>
                </a:cubicBezTo>
                <a:cubicBezTo>
                  <a:pt x="128" y="144"/>
                  <a:pt x="128" y="144"/>
                  <a:pt x="128" y="144"/>
                </a:cubicBezTo>
                <a:cubicBezTo>
                  <a:pt x="128" y="145"/>
                  <a:pt x="129" y="147"/>
                  <a:pt x="131" y="147"/>
                </a:cubicBezTo>
                <a:cubicBezTo>
                  <a:pt x="132" y="147"/>
                  <a:pt x="133" y="145"/>
                  <a:pt x="133" y="144"/>
                </a:cubicBezTo>
                <a:cubicBezTo>
                  <a:pt x="133" y="61"/>
                  <a:pt x="133" y="61"/>
                  <a:pt x="133" y="61"/>
                </a:cubicBezTo>
                <a:cubicBezTo>
                  <a:pt x="144" y="61"/>
                  <a:pt x="144" y="61"/>
                  <a:pt x="144" y="61"/>
                </a:cubicBezTo>
                <a:cubicBezTo>
                  <a:pt x="145" y="61"/>
                  <a:pt x="147" y="60"/>
                  <a:pt x="147" y="59"/>
                </a:cubicBezTo>
                <a:cubicBezTo>
                  <a:pt x="147" y="27"/>
                  <a:pt x="147" y="27"/>
                  <a:pt x="147" y="27"/>
                </a:cubicBezTo>
                <a:cubicBezTo>
                  <a:pt x="147" y="25"/>
                  <a:pt x="145" y="24"/>
                  <a:pt x="144" y="24"/>
                </a:cubicBezTo>
                <a:cubicBezTo>
                  <a:pt x="133" y="24"/>
                  <a:pt x="133" y="24"/>
                  <a:pt x="133" y="24"/>
                </a:cubicBezTo>
                <a:cubicBezTo>
                  <a:pt x="133" y="16"/>
                  <a:pt x="133" y="16"/>
                  <a:pt x="133" y="16"/>
                </a:cubicBezTo>
                <a:cubicBezTo>
                  <a:pt x="133" y="15"/>
                  <a:pt x="132" y="13"/>
                  <a:pt x="131" y="13"/>
                </a:cubicBezTo>
                <a:cubicBezTo>
                  <a:pt x="129" y="13"/>
                  <a:pt x="128" y="15"/>
                  <a:pt x="128" y="16"/>
                </a:cubicBezTo>
                <a:cubicBezTo>
                  <a:pt x="128" y="24"/>
                  <a:pt x="128" y="24"/>
                  <a:pt x="128" y="24"/>
                </a:cubicBezTo>
                <a:cubicBezTo>
                  <a:pt x="117" y="24"/>
                  <a:pt x="117" y="24"/>
                  <a:pt x="117" y="24"/>
                </a:cubicBezTo>
                <a:cubicBezTo>
                  <a:pt x="116" y="24"/>
                  <a:pt x="115" y="25"/>
                  <a:pt x="115" y="27"/>
                </a:cubicBezTo>
                <a:cubicBezTo>
                  <a:pt x="115" y="59"/>
                  <a:pt x="115" y="59"/>
                  <a:pt x="115" y="59"/>
                </a:cubicBezTo>
                <a:cubicBezTo>
                  <a:pt x="115" y="60"/>
                  <a:pt x="116" y="61"/>
                  <a:pt x="117" y="61"/>
                </a:cubicBezTo>
                <a:close/>
                <a:moveTo>
                  <a:pt x="120" y="29"/>
                </a:moveTo>
                <a:cubicBezTo>
                  <a:pt x="141" y="29"/>
                  <a:pt x="141" y="29"/>
                  <a:pt x="141" y="29"/>
                </a:cubicBezTo>
                <a:cubicBezTo>
                  <a:pt x="141" y="56"/>
                  <a:pt x="141" y="56"/>
                  <a:pt x="141" y="56"/>
                </a:cubicBezTo>
                <a:cubicBezTo>
                  <a:pt x="120" y="56"/>
                  <a:pt x="120" y="56"/>
                  <a:pt x="120" y="56"/>
                </a:cubicBezTo>
                <a:lnTo>
                  <a:pt x="120" y="29"/>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8" name="Freeform 1115">
            <a:extLst>
              <a:ext uri="{FF2B5EF4-FFF2-40B4-BE49-F238E27FC236}">
                <a16:creationId xmlns:a16="http://schemas.microsoft.com/office/drawing/2014/main" id="{83F85BD7-E70B-6942-974F-5D6BAAC7FF1E}"/>
              </a:ext>
            </a:extLst>
          </p:cNvPr>
          <p:cNvSpPr>
            <a:spLocks noEditPoints="1"/>
          </p:cNvSpPr>
          <p:nvPr/>
        </p:nvSpPr>
        <p:spPr bwMode="auto">
          <a:xfrm>
            <a:off x="6324483" y="4081463"/>
            <a:ext cx="525463" cy="550863"/>
          </a:xfrm>
          <a:custGeom>
            <a:avLst/>
            <a:gdLst>
              <a:gd name="T0" fmla="*/ 20 w 154"/>
              <a:gd name="T1" fmla="*/ 40 h 160"/>
              <a:gd name="T2" fmla="*/ 40 w 154"/>
              <a:gd name="T3" fmla="*/ 23 h 160"/>
              <a:gd name="T4" fmla="*/ 151 w 154"/>
              <a:gd name="T5" fmla="*/ 23 h 160"/>
              <a:gd name="T6" fmla="*/ 154 w 154"/>
              <a:gd name="T7" fmla="*/ 20 h 160"/>
              <a:gd name="T8" fmla="*/ 151 w 154"/>
              <a:gd name="T9" fmla="*/ 17 h 160"/>
              <a:gd name="T10" fmla="*/ 40 w 154"/>
              <a:gd name="T11" fmla="*/ 17 h 160"/>
              <a:gd name="T12" fmla="*/ 20 w 154"/>
              <a:gd name="T13" fmla="*/ 0 h 160"/>
              <a:gd name="T14" fmla="*/ 0 w 154"/>
              <a:gd name="T15" fmla="*/ 20 h 160"/>
              <a:gd name="T16" fmla="*/ 20 w 154"/>
              <a:gd name="T17" fmla="*/ 40 h 160"/>
              <a:gd name="T18" fmla="*/ 20 w 154"/>
              <a:gd name="T19" fmla="*/ 6 h 160"/>
              <a:gd name="T20" fmla="*/ 34 w 154"/>
              <a:gd name="T21" fmla="*/ 20 h 160"/>
              <a:gd name="T22" fmla="*/ 20 w 154"/>
              <a:gd name="T23" fmla="*/ 34 h 160"/>
              <a:gd name="T24" fmla="*/ 6 w 154"/>
              <a:gd name="T25" fmla="*/ 20 h 160"/>
              <a:gd name="T26" fmla="*/ 20 w 154"/>
              <a:gd name="T27" fmla="*/ 6 h 160"/>
              <a:gd name="T28" fmla="*/ 134 w 154"/>
              <a:gd name="T29" fmla="*/ 120 h 160"/>
              <a:gd name="T30" fmla="*/ 115 w 154"/>
              <a:gd name="T31" fmla="*/ 137 h 160"/>
              <a:gd name="T32" fmla="*/ 3 w 154"/>
              <a:gd name="T33" fmla="*/ 137 h 160"/>
              <a:gd name="T34" fmla="*/ 0 w 154"/>
              <a:gd name="T35" fmla="*/ 140 h 160"/>
              <a:gd name="T36" fmla="*/ 3 w 154"/>
              <a:gd name="T37" fmla="*/ 143 h 160"/>
              <a:gd name="T38" fmla="*/ 115 w 154"/>
              <a:gd name="T39" fmla="*/ 143 h 160"/>
              <a:gd name="T40" fmla="*/ 134 w 154"/>
              <a:gd name="T41" fmla="*/ 160 h 160"/>
              <a:gd name="T42" fmla="*/ 154 w 154"/>
              <a:gd name="T43" fmla="*/ 140 h 160"/>
              <a:gd name="T44" fmla="*/ 134 w 154"/>
              <a:gd name="T45" fmla="*/ 120 h 160"/>
              <a:gd name="T46" fmla="*/ 134 w 154"/>
              <a:gd name="T47" fmla="*/ 154 h 160"/>
              <a:gd name="T48" fmla="*/ 120 w 154"/>
              <a:gd name="T49" fmla="*/ 140 h 160"/>
              <a:gd name="T50" fmla="*/ 134 w 154"/>
              <a:gd name="T51" fmla="*/ 126 h 160"/>
              <a:gd name="T52" fmla="*/ 149 w 154"/>
              <a:gd name="T53" fmla="*/ 140 h 160"/>
              <a:gd name="T54" fmla="*/ 134 w 154"/>
              <a:gd name="T55" fmla="*/ 154 h 160"/>
              <a:gd name="T56" fmla="*/ 151 w 154"/>
              <a:gd name="T57" fmla="*/ 77 h 160"/>
              <a:gd name="T58" fmla="*/ 98 w 154"/>
              <a:gd name="T59" fmla="*/ 77 h 160"/>
              <a:gd name="T60" fmla="*/ 78 w 154"/>
              <a:gd name="T61" fmla="*/ 59 h 160"/>
              <a:gd name="T62" fmla="*/ 57 w 154"/>
              <a:gd name="T63" fmla="*/ 77 h 160"/>
              <a:gd name="T64" fmla="*/ 3 w 154"/>
              <a:gd name="T65" fmla="*/ 77 h 160"/>
              <a:gd name="T66" fmla="*/ 0 w 154"/>
              <a:gd name="T67" fmla="*/ 80 h 160"/>
              <a:gd name="T68" fmla="*/ 3 w 154"/>
              <a:gd name="T69" fmla="*/ 83 h 160"/>
              <a:gd name="T70" fmla="*/ 57 w 154"/>
              <a:gd name="T71" fmla="*/ 83 h 160"/>
              <a:gd name="T72" fmla="*/ 78 w 154"/>
              <a:gd name="T73" fmla="*/ 100 h 160"/>
              <a:gd name="T74" fmla="*/ 98 w 154"/>
              <a:gd name="T75" fmla="*/ 83 h 160"/>
              <a:gd name="T76" fmla="*/ 151 w 154"/>
              <a:gd name="T77" fmla="*/ 83 h 160"/>
              <a:gd name="T78" fmla="*/ 154 w 154"/>
              <a:gd name="T79" fmla="*/ 80 h 160"/>
              <a:gd name="T80" fmla="*/ 151 w 154"/>
              <a:gd name="T81" fmla="*/ 77 h 160"/>
              <a:gd name="T82" fmla="*/ 78 w 154"/>
              <a:gd name="T83" fmla="*/ 94 h 160"/>
              <a:gd name="T84" fmla="*/ 63 w 154"/>
              <a:gd name="T85" fmla="*/ 79 h 160"/>
              <a:gd name="T86" fmla="*/ 78 w 154"/>
              <a:gd name="T87" fmla="*/ 65 h 160"/>
              <a:gd name="T88" fmla="*/ 93 w 154"/>
              <a:gd name="T89" fmla="*/ 79 h 160"/>
              <a:gd name="T90" fmla="*/ 78 w 154"/>
              <a:gd name="T91" fmla="*/ 9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4" h="160">
                <a:moveTo>
                  <a:pt x="20" y="40"/>
                </a:moveTo>
                <a:cubicBezTo>
                  <a:pt x="30" y="40"/>
                  <a:pt x="38" y="33"/>
                  <a:pt x="40" y="23"/>
                </a:cubicBezTo>
                <a:cubicBezTo>
                  <a:pt x="151" y="23"/>
                  <a:pt x="151" y="23"/>
                  <a:pt x="151" y="23"/>
                </a:cubicBezTo>
                <a:cubicBezTo>
                  <a:pt x="153" y="23"/>
                  <a:pt x="154" y="22"/>
                  <a:pt x="154" y="20"/>
                </a:cubicBezTo>
                <a:cubicBezTo>
                  <a:pt x="154" y="18"/>
                  <a:pt x="153" y="17"/>
                  <a:pt x="151" y="17"/>
                </a:cubicBezTo>
                <a:cubicBezTo>
                  <a:pt x="40" y="17"/>
                  <a:pt x="40" y="17"/>
                  <a:pt x="40" y="17"/>
                </a:cubicBezTo>
                <a:cubicBezTo>
                  <a:pt x="38" y="7"/>
                  <a:pt x="30" y="0"/>
                  <a:pt x="20" y="0"/>
                </a:cubicBezTo>
                <a:cubicBezTo>
                  <a:pt x="9" y="0"/>
                  <a:pt x="0" y="9"/>
                  <a:pt x="0" y="20"/>
                </a:cubicBezTo>
                <a:cubicBezTo>
                  <a:pt x="0" y="31"/>
                  <a:pt x="9" y="40"/>
                  <a:pt x="20" y="40"/>
                </a:cubicBezTo>
                <a:close/>
                <a:moveTo>
                  <a:pt x="20" y="6"/>
                </a:moveTo>
                <a:cubicBezTo>
                  <a:pt x="28" y="6"/>
                  <a:pt x="34" y="12"/>
                  <a:pt x="34" y="20"/>
                </a:cubicBezTo>
                <a:cubicBezTo>
                  <a:pt x="34" y="28"/>
                  <a:pt x="28" y="34"/>
                  <a:pt x="20" y="34"/>
                </a:cubicBezTo>
                <a:cubicBezTo>
                  <a:pt x="12" y="34"/>
                  <a:pt x="6" y="28"/>
                  <a:pt x="6" y="20"/>
                </a:cubicBezTo>
                <a:cubicBezTo>
                  <a:pt x="6" y="12"/>
                  <a:pt x="12" y="6"/>
                  <a:pt x="20" y="6"/>
                </a:cubicBezTo>
                <a:close/>
                <a:moveTo>
                  <a:pt x="134" y="120"/>
                </a:moveTo>
                <a:cubicBezTo>
                  <a:pt x="124" y="120"/>
                  <a:pt x="116" y="127"/>
                  <a:pt x="115" y="137"/>
                </a:cubicBezTo>
                <a:cubicBezTo>
                  <a:pt x="3" y="137"/>
                  <a:pt x="3" y="137"/>
                  <a:pt x="3" y="137"/>
                </a:cubicBezTo>
                <a:cubicBezTo>
                  <a:pt x="1" y="137"/>
                  <a:pt x="0" y="138"/>
                  <a:pt x="0" y="140"/>
                </a:cubicBezTo>
                <a:cubicBezTo>
                  <a:pt x="0" y="142"/>
                  <a:pt x="1" y="143"/>
                  <a:pt x="3" y="143"/>
                </a:cubicBezTo>
                <a:cubicBezTo>
                  <a:pt x="115" y="143"/>
                  <a:pt x="115" y="143"/>
                  <a:pt x="115" y="143"/>
                </a:cubicBezTo>
                <a:cubicBezTo>
                  <a:pt x="116" y="153"/>
                  <a:pt x="124" y="160"/>
                  <a:pt x="134" y="160"/>
                </a:cubicBezTo>
                <a:cubicBezTo>
                  <a:pt x="145" y="160"/>
                  <a:pt x="154" y="151"/>
                  <a:pt x="154" y="140"/>
                </a:cubicBezTo>
                <a:cubicBezTo>
                  <a:pt x="154" y="129"/>
                  <a:pt x="145" y="120"/>
                  <a:pt x="134" y="120"/>
                </a:cubicBezTo>
                <a:close/>
                <a:moveTo>
                  <a:pt x="134" y="154"/>
                </a:moveTo>
                <a:cubicBezTo>
                  <a:pt x="126" y="154"/>
                  <a:pt x="120" y="148"/>
                  <a:pt x="120" y="140"/>
                </a:cubicBezTo>
                <a:cubicBezTo>
                  <a:pt x="120" y="132"/>
                  <a:pt x="126" y="126"/>
                  <a:pt x="134" y="126"/>
                </a:cubicBezTo>
                <a:cubicBezTo>
                  <a:pt x="142" y="126"/>
                  <a:pt x="149" y="132"/>
                  <a:pt x="149" y="140"/>
                </a:cubicBezTo>
                <a:cubicBezTo>
                  <a:pt x="149" y="148"/>
                  <a:pt x="142" y="154"/>
                  <a:pt x="134" y="154"/>
                </a:cubicBezTo>
                <a:close/>
                <a:moveTo>
                  <a:pt x="151" y="77"/>
                </a:moveTo>
                <a:cubicBezTo>
                  <a:pt x="98" y="77"/>
                  <a:pt x="98" y="77"/>
                  <a:pt x="98" y="77"/>
                </a:cubicBezTo>
                <a:cubicBezTo>
                  <a:pt x="97" y="67"/>
                  <a:pt x="88" y="59"/>
                  <a:pt x="78" y="59"/>
                </a:cubicBezTo>
                <a:cubicBezTo>
                  <a:pt x="67" y="59"/>
                  <a:pt x="58" y="67"/>
                  <a:pt x="57" y="77"/>
                </a:cubicBezTo>
                <a:cubicBezTo>
                  <a:pt x="3" y="77"/>
                  <a:pt x="3" y="77"/>
                  <a:pt x="3" y="77"/>
                </a:cubicBezTo>
                <a:cubicBezTo>
                  <a:pt x="1" y="77"/>
                  <a:pt x="0" y="78"/>
                  <a:pt x="0" y="80"/>
                </a:cubicBezTo>
                <a:cubicBezTo>
                  <a:pt x="0" y="82"/>
                  <a:pt x="1" y="83"/>
                  <a:pt x="3" y="83"/>
                </a:cubicBezTo>
                <a:cubicBezTo>
                  <a:pt x="57" y="83"/>
                  <a:pt x="57" y="83"/>
                  <a:pt x="57" y="83"/>
                </a:cubicBezTo>
                <a:cubicBezTo>
                  <a:pt x="59" y="93"/>
                  <a:pt x="68" y="100"/>
                  <a:pt x="78" y="100"/>
                </a:cubicBezTo>
                <a:cubicBezTo>
                  <a:pt x="88" y="100"/>
                  <a:pt x="96" y="93"/>
                  <a:pt x="98" y="83"/>
                </a:cubicBezTo>
                <a:cubicBezTo>
                  <a:pt x="151" y="83"/>
                  <a:pt x="151" y="83"/>
                  <a:pt x="151" y="83"/>
                </a:cubicBezTo>
                <a:cubicBezTo>
                  <a:pt x="153" y="83"/>
                  <a:pt x="154" y="82"/>
                  <a:pt x="154" y="80"/>
                </a:cubicBezTo>
                <a:cubicBezTo>
                  <a:pt x="154" y="78"/>
                  <a:pt x="153" y="77"/>
                  <a:pt x="151" y="77"/>
                </a:cubicBezTo>
                <a:close/>
                <a:moveTo>
                  <a:pt x="78" y="94"/>
                </a:moveTo>
                <a:cubicBezTo>
                  <a:pt x="70" y="94"/>
                  <a:pt x="63" y="88"/>
                  <a:pt x="63" y="79"/>
                </a:cubicBezTo>
                <a:cubicBezTo>
                  <a:pt x="63" y="71"/>
                  <a:pt x="70" y="65"/>
                  <a:pt x="78" y="65"/>
                </a:cubicBezTo>
                <a:cubicBezTo>
                  <a:pt x="86" y="65"/>
                  <a:pt x="93" y="71"/>
                  <a:pt x="93" y="79"/>
                </a:cubicBezTo>
                <a:cubicBezTo>
                  <a:pt x="93" y="88"/>
                  <a:pt x="86" y="94"/>
                  <a:pt x="78" y="94"/>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1116">
            <a:extLst>
              <a:ext uri="{FF2B5EF4-FFF2-40B4-BE49-F238E27FC236}">
                <a16:creationId xmlns:a16="http://schemas.microsoft.com/office/drawing/2014/main" id="{48F34C71-DE08-E142-93D8-03E33989A06C}"/>
              </a:ext>
            </a:extLst>
          </p:cNvPr>
          <p:cNvSpPr>
            <a:spLocks noEditPoints="1"/>
          </p:cNvSpPr>
          <p:nvPr/>
        </p:nvSpPr>
        <p:spPr bwMode="auto">
          <a:xfrm>
            <a:off x="6310195" y="4700588"/>
            <a:ext cx="546100" cy="550863"/>
          </a:xfrm>
          <a:custGeom>
            <a:avLst/>
            <a:gdLst>
              <a:gd name="T0" fmla="*/ 37 w 160"/>
              <a:gd name="T1" fmla="*/ 51 h 160"/>
              <a:gd name="T2" fmla="*/ 56 w 160"/>
              <a:gd name="T3" fmla="*/ 35 h 160"/>
              <a:gd name="T4" fmla="*/ 139 w 160"/>
              <a:gd name="T5" fmla="*/ 35 h 160"/>
              <a:gd name="T6" fmla="*/ 141 w 160"/>
              <a:gd name="T7" fmla="*/ 32 h 160"/>
              <a:gd name="T8" fmla="*/ 139 w 160"/>
              <a:gd name="T9" fmla="*/ 29 h 160"/>
              <a:gd name="T10" fmla="*/ 56 w 160"/>
              <a:gd name="T11" fmla="*/ 29 h 160"/>
              <a:gd name="T12" fmla="*/ 37 w 160"/>
              <a:gd name="T13" fmla="*/ 13 h 160"/>
              <a:gd name="T14" fmla="*/ 19 w 160"/>
              <a:gd name="T15" fmla="*/ 32 h 160"/>
              <a:gd name="T16" fmla="*/ 37 w 160"/>
              <a:gd name="T17" fmla="*/ 51 h 160"/>
              <a:gd name="T18" fmla="*/ 37 w 160"/>
              <a:gd name="T19" fmla="*/ 19 h 160"/>
              <a:gd name="T20" fmla="*/ 51 w 160"/>
              <a:gd name="T21" fmla="*/ 32 h 160"/>
              <a:gd name="T22" fmla="*/ 37 w 160"/>
              <a:gd name="T23" fmla="*/ 45 h 160"/>
              <a:gd name="T24" fmla="*/ 24 w 160"/>
              <a:gd name="T25" fmla="*/ 32 h 160"/>
              <a:gd name="T26" fmla="*/ 37 w 160"/>
              <a:gd name="T27" fmla="*/ 19 h 160"/>
              <a:gd name="T28" fmla="*/ 21 w 160"/>
              <a:gd name="T29" fmla="*/ 131 h 160"/>
              <a:gd name="T30" fmla="*/ 104 w 160"/>
              <a:gd name="T31" fmla="*/ 131 h 160"/>
              <a:gd name="T32" fmla="*/ 123 w 160"/>
              <a:gd name="T33" fmla="*/ 147 h 160"/>
              <a:gd name="T34" fmla="*/ 141 w 160"/>
              <a:gd name="T35" fmla="*/ 128 h 160"/>
              <a:gd name="T36" fmla="*/ 123 w 160"/>
              <a:gd name="T37" fmla="*/ 109 h 160"/>
              <a:gd name="T38" fmla="*/ 104 w 160"/>
              <a:gd name="T39" fmla="*/ 125 h 160"/>
              <a:gd name="T40" fmla="*/ 21 w 160"/>
              <a:gd name="T41" fmla="*/ 125 h 160"/>
              <a:gd name="T42" fmla="*/ 19 w 160"/>
              <a:gd name="T43" fmla="*/ 128 h 160"/>
              <a:gd name="T44" fmla="*/ 21 w 160"/>
              <a:gd name="T45" fmla="*/ 131 h 160"/>
              <a:gd name="T46" fmla="*/ 123 w 160"/>
              <a:gd name="T47" fmla="*/ 115 h 160"/>
              <a:gd name="T48" fmla="*/ 136 w 160"/>
              <a:gd name="T49" fmla="*/ 128 h 160"/>
              <a:gd name="T50" fmla="*/ 123 w 160"/>
              <a:gd name="T51" fmla="*/ 141 h 160"/>
              <a:gd name="T52" fmla="*/ 109 w 160"/>
              <a:gd name="T53" fmla="*/ 128 h 160"/>
              <a:gd name="T54" fmla="*/ 123 w 160"/>
              <a:gd name="T55" fmla="*/ 115 h 160"/>
              <a:gd name="T56" fmla="*/ 21 w 160"/>
              <a:gd name="T57" fmla="*/ 83 h 160"/>
              <a:gd name="T58" fmla="*/ 64 w 160"/>
              <a:gd name="T59" fmla="*/ 83 h 160"/>
              <a:gd name="T60" fmla="*/ 83 w 160"/>
              <a:gd name="T61" fmla="*/ 99 h 160"/>
              <a:gd name="T62" fmla="*/ 101 w 160"/>
              <a:gd name="T63" fmla="*/ 83 h 160"/>
              <a:gd name="T64" fmla="*/ 139 w 160"/>
              <a:gd name="T65" fmla="*/ 83 h 160"/>
              <a:gd name="T66" fmla="*/ 141 w 160"/>
              <a:gd name="T67" fmla="*/ 80 h 160"/>
              <a:gd name="T68" fmla="*/ 139 w 160"/>
              <a:gd name="T69" fmla="*/ 77 h 160"/>
              <a:gd name="T70" fmla="*/ 101 w 160"/>
              <a:gd name="T71" fmla="*/ 77 h 160"/>
              <a:gd name="T72" fmla="*/ 83 w 160"/>
              <a:gd name="T73" fmla="*/ 61 h 160"/>
              <a:gd name="T74" fmla="*/ 64 w 160"/>
              <a:gd name="T75" fmla="*/ 77 h 160"/>
              <a:gd name="T76" fmla="*/ 21 w 160"/>
              <a:gd name="T77" fmla="*/ 77 h 160"/>
              <a:gd name="T78" fmla="*/ 19 w 160"/>
              <a:gd name="T79" fmla="*/ 80 h 160"/>
              <a:gd name="T80" fmla="*/ 21 w 160"/>
              <a:gd name="T81" fmla="*/ 83 h 160"/>
              <a:gd name="T82" fmla="*/ 83 w 160"/>
              <a:gd name="T83" fmla="*/ 67 h 160"/>
              <a:gd name="T84" fmla="*/ 96 w 160"/>
              <a:gd name="T85" fmla="*/ 80 h 160"/>
              <a:gd name="T86" fmla="*/ 83 w 160"/>
              <a:gd name="T87" fmla="*/ 93 h 160"/>
              <a:gd name="T88" fmla="*/ 69 w 160"/>
              <a:gd name="T89" fmla="*/ 80 h 160"/>
              <a:gd name="T90" fmla="*/ 83 w 160"/>
              <a:gd name="T91" fmla="*/ 67 h 160"/>
              <a:gd name="T92" fmla="*/ 157 w 160"/>
              <a:gd name="T93" fmla="*/ 0 h 160"/>
              <a:gd name="T94" fmla="*/ 3 w 160"/>
              <a:gd name="T95" fmla="*/ 0 h 160"/>
              <a:gd name="T96" fmla="*/ 0 w 160"/>
              <a:gd name="T97" fmla="*/ 3 h 160"/>
              <a:gd name="T98" fmla="*/ 0 w 160"/>
              <a:gd name="T99" fmla="*/ 157 h 160"/>
              <a:gd name="T100" fmla="*/ 3 w 160"/>
              <a:gd name="T101" fmla="*/ 160 h 160"/>
              <a:gd name="T102" fmla="*/ 157 w 160"/>
              <a:gd name="T103" fmla="*/ 160 h 160"/>
              <a:gd name="T104" fmla="*/ 160 w 160"/>
              <a:gd name="T105" fmla="*/ 157 h 160"/>
              <a:gd name="T106" fmla="*/ 160 w 160"/>
              <a:gd name="T107" fmla="*/ 3 h 160"/>
              <a:gd name="T108" fmla="*/ 157 w 160"/>
              <a:gd name="T109" fmla="*/ 0 h 160"/>
              <a:gd name="T110" fmla="*/ 155 w 160"/>
              <a:gd name="T111" fmla="*/ 155 h 160"/>
              <a:gd name="T112" fmla="*/ 5 w 160"/>
              <a:gd name="T113" fmla="*/ 155 h 160"/>
              <a:gd name="T114" fmla="*/ 5 w 160"/>
              <a:gd name="T115" fmla="*/ 5 h 160"/>
              <a:gd name="T116" fmla="*/ 155 w 160"/>
              <a:gd name="T117" fmla="*/ 5 h 160"/>
              <a:gd name="T118" fmla="*/ 155 w 160"/>
              <a:gd name="T11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60">
                <a:moveTo>
                  <a:pt x="37" y="51"/>
                </a:moveTo>
                <a:cubicBezTo>
                  <a:pt x="47" y="51"/>
                  <a:pt x="54" y="44"/>
                  <a:pt x="56" y="35"/>
                </a:cubicBezTo>
                <a:cubicBezTo>
                  <a:pt x="139" y="35"/>
                  <a:pt x="139" y="35"/>
                  <a:pt x="139" y="35"/>
                </a:cubicBezTo>
                <a:cubicBezTo>
                  <a:pt x="140" y="35"/>
                  <a:pt x="141" y="33"/>
                  <a:pt x="141" y="32"/>
                </a:cubicBezTo>
                <a:cubicBezTo>
                  <a:pt x="141" y="31"/>
                  <a:pt x="140" y="29"/>
                  <a:pt x="139" y="29"/>
                </a:cubicBezTo>
                <a:cubicBezTo>
                  <a:pt x="56" y="29"/>
                  <a:pt x="56" y="29"/>
                  <a:pt x="56" y="29"/>
                </a:cubicBezTo>
                <a:cubicBezTo>
                  <a:pt x="54" y="20"/>
                  <a:pt x="47" y="13"/>
                  <a:pt x="37" y="13"/>
                </a:cubicBezTo>
                <a:cubicBezTo>
                  <a:pt x="27" y="13"/>
                  <a:pt x="19" y="22"/>
                  <a:pt x="19" y="32"/>
                </a:cubicBezTo>
                <a:cubicBezTo>
                  <a:pt x="19" y="42"/>
                  <a:pt x="27" y="51"/>
                  <a:pt x="37" y="51"/>
                </a:cubicBezTo>
                <a:close/>
                <a:moveTo>
                  <a:pt x="37" y="19"/>
                </a:moveTo>
                <a:cubicBezTo>
                  <a:pt x="45" y="19"/>
                  <a:pt x="51" y="25"/>
                  <a:pt x="51" y="32"/>
                </a:cubicBezTo>
                <a:cubicBezTo>
                  <a:pt x="51" y="39"/>
                  <a:pt x="45" y="45"/>
                  <a:pt x="37" y="45"/>
                </a:cubicBezTo>
                <a:cubicBezTo>
                  <a:pt x="30" y="45"/>
                  <a:pt x="24" y="39"/>
                  <a:pt x="24" y="32"/>
                </a:cubicBezTo>
                <a:cubicBezTo>
                  <a:pt x="24" y="25"/>
                  <a:pt x="30" y="19"/>
                  <a:pt x="37" y="19"/>
                </a:cubicBezTo>
                <a:close/>
                <a:moveTo>
                  <a:pt x="21" y="131"/>
                </a:moveTo>
                <a:cubicBezTo>
                  <a:pt x="104" y="131"/>
                  <a:pt x="104" y="131"/>
                  <a:pt x="104" y="131"/>
                </a:cubicBezTo>
                <a:cubicBezTo>
                  <a:pt x="106" y="140"/>
                  <a:pt x="113" y="147"/>
                  <a:pt x="123" y="147"/>
                </a:cubicBezTo>
                <a:cubicBezTo>
                  <a:pt x="133" y="147"/>
                  <a:pt x="141" y="138"/>
                  <a:pt x="141" y="128"/>
                </a:cubicBezTo>
                <a:cubicBezTo>
                  <a:pt x="141" y="118"/>
                  <a:pt x="133" y="109"/>
                  <a:pt x="123" y="109"/>
                </a:cubicBezTo>
                <a:cubicBezTo>
                  <a:pt x="113" y="109"/>
                  <a:pt x="106" y="116"/>
                  <a:pt x="104" y="125"/>
                </a:cubicBezTo>
                <a:cubicBezTo>
                  <a:pt x="21" y="125"/>
                  <a:pt x="21" y="125"/>
                  <a:pt x="21" y="125"/>
                </a:cubicBezTo>
                <a:cubicBezTo>
                  <a:pt x="20" y="125"/>
                  <a:pt x="19" y="127"/>
                  <a:pt x="19" y="128"/>
                </a:cubicBezTo>
                <a:cubicBezTo>
                  <a:pt x="19" y="129"/>
                  <a:pt x="20" y="131"/>
                  <a:pt x="21" y="131"/>
                </a:cubicBezTo>
                <a:close/>
                <a:moveTo>
                  <a:pt x="123" y="115"/>
                </a:moveTo>
                <a:cubicBezTo>
                  <a:pt x="130" y="115"/>
                  <a:pt x="136" y="121"/>
                  <a:pt x="136" y="128"/>
                </a:cubicBezTo>
                <a:cubicBezTo>
                  <a:pt x="136" y="135"/>
                  <a:pt x="130" y="141"/>
                  <a:pt x="123" y="141"/>
                </a:cubicBezTo>
                <a:cubicBezTo>
                  <a:pt x="115" y="141"/>
                  <a:pt x="109" y="135"/>
                  <a:pt x="109" y="128"/>
                </a:cubicBezTo>
                <a:cubicBezTo>
                  <a:pt x="109" y="121"/>
                  <a:pt x="115" y="115"/>
                  <a:pt x="123" y="115"/>
                </a:cubicBezTo>
                <a:close/>
                <a:moveTo>
                  <a:pt x="21" y="83"/>
                </a:moveTo>
                <a:cubicBezTo>
                  <a:pt x="64" y="83"/>
                  <a:pt x="64" y="83"/>
                  <a:pt x="64" y="83"/>
                </a:cubicBezTo>
                <a:cubicBezTo>
                  <a:pt x="66" y="92"/>
                  <a:pt x="73" y="99"/>
                  <a:pt x="83" y="99"/>
                </a:cubicBezTo>
                <a:cubicBezTo>
                  <a:pt x="92" y="99"/>
                  <a:pt x="100" y="92"/>
                  <a:pt x="101" y="83"/>
                </a:cubicBezTo>
                <a:cubicBezTo>
                  <a:pt x="139" y="83"/>
                  <a:pt x="139" y="83"/>
                  <a:pt x="139" y="83"/>
                </a:cubicBezTo>
                <a:cubicBezTo>
                  <a:pt x="140" y="83"/>
                  <a:pt x="141" y="81"/>
                  <a:pt x="141" y="80"/>
                </a:cubicBezTo>
                <a:cubicBezTo>
                  <a:pt x="141" y="79"/>
                  <a:pt x="140" y="77"/>
                  <a:pt x="139" y="77"/>
                </a:cubicBezTo>
                <a:cubicBezTo>
                  <a:pt x="101" y="77"/>
                  <a:pt x="101" y="77"/>
                  <a:pt x="101" y="77"/>
                </a:cubicBezTo>
                <a:cubicBezTo>
                  <a:pt x="100" y="68"/>
                  <a:pt x="92" y="61"/>
                  <a:pt x="83" y="61"/>
                </a:cubicBezTo>
                <a:cubicBezTo>
                  <a:pt x="73" y="61"/>
                  <a:pt x="66" y="68"/>
                  <a:pt x="64" y="77"/>
                </a:cubicBezTo>
                <a:cubicBezTo>
                  <a:pt x="21" y="77"/>
                  <a:pt x="21" y="77"/>
                  <a:pt x="21" y="77"/>
                </a:cubicBezTo>
                <a:cubicBezTo>
                  <a:pt x="20" y="77"/>
                  <a:pt x="19" y="79"/>
                  <a:pt x="19" y="80"/>
                </a:cubicBezTo>
                <a:cubicBezTo>
                  <a:pt x="19" y="81"/>
                  <a:pt x="20" y="83"/>
                  <a:pt x="21" y="83"/>
                </a:cubicBezTo>
                <a:close/>
                <a:moveTo>
                  <a:pt x="83" y="67"/>
                </a:moveTo>
                <a:cubicBezTo>
                  <a:pt x="90" y="67"/>
                  <a:pt x="96" y="73"/>
                  <a:pt x="96" y="80"/>
                </a:cubicBezTo>
                <a:cubicBezTo>
                  <a:pt x="96" y="87"/>
                  <a:pt x="90" y="93"/>
                  <a:pt x="83" y="93"/>
                </a:cubicBezTo>
                <a:cubicBezTo>
                  <a:pt x="75" y="93"/>
                  <a:pt x="69" y="87"/>
                  <a:pt x="69" y="80"/>
                </a:cubicBezTo>
                <a:cubicBezTo>
                  <a:pt x="69" y="73"/>
                  <a:pt x="75" y="67"/>
                  <a:pt x="83" y="67"/>
                </a:cubicBezTo>
                <a:close/>
                <a:moveTo>
                  <a:pt x="157" y="0"/>
                </a:moveTo>
                <a:cubicBezTo>
                  <a:pt x="3" y="0"/>
                  <a:pt x="3" y="0"/>
                  <a:pt x="3" y="0"/>
                </a:cubicBezTo>
                <a:cubicBezTo>
                  <a:pt x="1" y="0"/>
                  <a:pt x="0" y="1"/>
                  <a:pt x="0" y="3"/>
                </a:cubicBezTo>
                <a:cubicBezTo>
                  <a:pt x="0" y="157"/>
                  <a:pt x="0" y="157"/>
                  <a:pt x="0" y="157"/>
                </a:cubicBezTo>
                <a:cubicBezTo>
                  <a:pt x="0" y="159"/>
                  <a:pt x="1" y="160"/>
                  <a:pt x="3" y="160"/>
                </a:cubicBezTo>
                <a:cubicBezTo>
                  <a:pt x="157" y="160"/>
                  <a:pt x="157" y="160"/>
                  <a:pt x="157" y="160"/>
                </a:cubicBezTo>
                <a:cubicBezTo>
                  <a:pt x="159" y="160"/>
                  <a:pt x="160" y="159"/>
                  <a:pt x="160" y="157"/>
                </a:cubicBezTo>
                <a:cubicBezTo>
                  <a:pt x="160" y="3"/>
                  <a:pt x="160" y="3"/>
                  <a:pt x="160" y="3"/>
                </a:cubicBezTo>
                <a:cubicBezTo>
                  <a:pt x="160" y="1"/>
                  <a:pt x="159" y="0"/>
                  <a:pt x="157" y="0"/>
                </a:cubicBezTo>
                <a:close/>
                <a:moveTo>
                  <a:pt x="155" y="155"/>
                </a:moveTo>
                <a:cubicBezTo>
                  <a:pt x="5" y="155"/>
                  <a:pt x="5" y="155"/>
                  <a:pt x="5" y="155"/>
                </a:cubicBezTo>
                <a:cubicBezTo>
                  <a:pt x="5" y="5"/>
                  <a:pt x="5" y="5"/>
                  <a:pt x="5" y="5"/>
                </a:cubicBezTo>
                <a:cubicBezTo>
                  <a:pt x="155" y="5"/>
                  <a:pt x="155" y="5"/>
                  <a:pt x="155" y="5"/>
                </a:cubicBezTo>
                <a:lnTo>
                  <a:pt x="155" y="155"/>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1117">
            <a:extLst>
              <a:ext uri="{FF2B5EF4-FFF2-40B4-BE49-F238E27FC236}">
                <a16:creationId xmlns:a16="http://schemas.microsoft.com/office/drawing/2014/main" id="{75915754-BD61-464C-A384-6DF10B048464}"/>
              </a:ext>
            </a:extLst>
          </p:cNvPr>
          <p:cNvSpPr>
            <a:spLocks noEditPoints="1"/>
          </p:cNvSpPr>
          <p:nvPr/>
        </p:nvSpPr>
        <p:spPr bwMode="auto">
          <a:xfrm>
            <a:off x="6310195" y="5334000"/>
            <a:ext cx="546100" cy="508000"/>
          </a:xfrm>
          <a:custGeom>
            <a:avLst/>
            <a:gdLst>
              <a:gd name="T0" fmla="*/ 12 w 160"/>
              <a:gd name="T1" fmla="*/ 21 h 148"/>
              <a:gd name="T2" fmla="*/ 15 w 160"/>
              <a:gd name="T3" fmla="*/ 36 h 148"/>
              <a:gd name="T4" fmla="*/ 53 w 160"/>
              <a:gd name="T5" fmla="*/ 33 h 148"/>
              <a:gd name="T6" fmla="*/ 157 w 160"/>
              <a:gd name="T7" fmla="*/ 21 h 148"/>
              <a:gd name="T8" fmla="*/ 157 w 160"/>
              <a:gd name="T9" fmla="*/ 15 h 148"/>
              <a:gd name="T10" fmla="*/ 53 w 160"/>
              <a:gd name="T11" fmla="*/ 3 h 148"/>
              <a:gd name="T12" fmla="*/ 15 w 160"/>
              <a:gd name="T13" fmla="*/ 0 h 148"/>
              <a:gd name="T14" fmla="*/ 12 w 160"/>
              <a:gd name="T15" fmla="*/ 15 h 148"/>
              <a:gd name="T16" fmla="*/ 0 w 160"/>
              <a:gd name="T17" fmla="*/ 18 h 148"/>
              <a:gd name="T18" fmla="*/ 18 w 160"/>
              <a:gd name="T19" fmla="*/ 6 h 148"/>
              <a:gd name="T20" fmla="*/ 47 w 160"/>
              <a:gd name="T21" fmla="*/ 30 h 148"/>
              <a:gd name="T22" fmla="*/ 18 w 160"/>
              <a:gd name="T23" fmla="*/ 6 h 148"/>
              <a:gd name="T24" fmla="*/ 101 w 160"/>
              <a:gd name="T25" fmla="*/ 71 h 148"/>
              <a:gd name="T26" fmla="*/ 98 w 160"/>
              <a:gd name="T27" fmla="*/ 56 h 148"/>
              <a:gd name="T28" fmla="*/ 59 w 160"/>
              <a:gd name="T29" fmla="*/ 59 h 148"/>
              <a:gd name="T30" fmla="*/ 3 w 160"/>
              <a:gd name="T31" fmla="*/ 71 h 148"/>
              <a:gd name="T32" fmla="*/ 3 w 160"/>
              <a:gd name="T33" fmla="*/ 77 h 148"/>
              <a:gd name="T34" fmla="*/ 59 w 160"/>
              <a:gd name="T35" fmla="*/ 89 h 148"/>
              <a:gd name="T36" fmla="*/ 98 w 160"/>
              <a:gd name="T37" fmla="*/ 92 h 148"/>
              <a:gd name="T38" fmla="*/ 101 w 160"/>
              <a:gd name="T39" fmla="*/ 77 h 148"/>
              <a:gd name="T40" fmla="*/ 160 w 160"/>
              <a:gd name="T41" fmla="*/ 74 h 148"/>
              <a:gd name="T42" fmla="*/ 95 w 160"/>
              <a:gd name="T43" fmla="*/ 86 h 148"/>
              <a:gd name="T44" fmla="*/ 65 w 160"/>
              <a:gd name="T45" fmla="*/ 62 h 148"/>
              <a:gd name="T46" fmla="*/ 95 w 160"/>
              <a:gd name="T47" fmla="*/ 86 h 148"/>
              <a:gd name="T48" fmla="*/ 148 w 160"/>
              <a:gd name="T49" fmla="*/ 127 h 148"/>
              <a:gd name="T50" fmla="*/ 145 w 160"/>
              <a:gd name="T51" fmla="*/ 113 h 148"/>
              <a:gd name="T52" fmla="*/ 107 w 160"/>
              <a:gd name="T53" fmla="*/ 116 h 148"/>
              <a:gd name="T54" fmla="*/ 3 w 160"/>
              <a:gd name="T55" fmla="*/ 127 h 148"/>
              <a:gd name="T56" fmla="*/ 3 w 160"/>
              <a:gd name="T57" fmla="*/ 133 h 148"/>
              <a:gd name="T58" fmla="*/ 107 w 160"/>
              <a:gd name="T59" fmla="*/ 145 h 148"/>
              <a:gd name="T60" fmla="*/ 145 w 160"/>
              <a:gd name="T61" fmla="*/ 148 h 148"/>
              <a:gd name="T62" fmla="*/ 148 w 160"/>
              <a:gd name="T63" fmla="*/ 133 h 148"/>
              <a:gd name="T64" fmla="*/ 160 w 160"/>
              <a:gd name="T65" fmla="*/ 130 h 148"/>
              <a:gd name="T66" fmla="*/ 142 w 160"/>
              <a:gd name="T67" fmla="*/ 142 h 148"/>
              <a:gd name="T68" fmla="*/ 113 w 160"/>
              <a:gd name="T69" fmla="*/ 119 h 148"/>
              <a:gd name="T70" fmla="*/ 142 w 160"/>
              <a:gd name="T71" fmla="*/ 14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48">
                <a:moveTo>
                  <a:pt x="3" y="21"/>
                </a:moveTo>
                <a:cubicBezTo>
                  <a:pt x="12" y="21"/>
                  <a:pt x="12" y="21"/>
                  <a:pt x="12" y="21"/>
                </a:cubicBezTo>
                <a:cubicBezTo>
                  <a:pt x="12" y="33"/>
                  <a:pt x="12" y="33"/>
                  <a:pt x="12" y="33"/>
                </a:cubicBezTo>
                <a:cubicBezTo>
                  <a:pt x="12" y="34"/>
                  <a:pt x="13" y="36"/>
                  <a:pt x="15" y="36"/>
                </a:cubicBezTo>
                <a:cubicBezTo>
                  <a:pt x="50" y="36"/>
                  <a:pt x="50" y="36"/>
                  <a:pt x="50" y="36"/>
                </a:cubicBezTo>
                <a:cubicBezTo>
                  <a:pt x="52" y="36"/>
                  <a:pt x="53" y="34"/>
                  <a:pt x="53" y="33"/>
                </a:cubicBezTo>
                <a:cubicBezTo>
                  <a:pt x="53" y="21"/>
                  <a:pt x="53" y="21"/>
                  <a:pt x="53" y="21"/>
                </a:cubicBezTo>
                <a:cubicBezTo>
                  <a:pt x="157" y="21"/>
                  <a:pt x="157" y="21"/>
                  <a:pt x="157" y="21"/>
                </a:cubicBezTo>
                <a:cubicBezTo>
                  <a:pt x="159" y="21"/>
                  <a:pt x="160" y="19"/>
                  <a:pt x="160" y="18"/>
                </a:cubicBezTo>
                <a:cubicBezTo>
                  <a:pt x="160" y="16"/>
                  <a:pt x="159" y="15"/>
                  <a:pt x="157" y="15"/>
                </a:cubicBezTo>
                <a:cubicBezTo>
                  <a:pt x="53" y="15"/>
                  <a:pt x="53" y="15"/>
                  <a:pt x="53" y="15"/>
                </a:cubicBezTo>
                <a:cubicBezTo>
                  <a:pt x="53" y="3"/>
                  <a:pt x="53" y="3"/>
                  <a:pt x="53" y="3"/>
                </a:cubicBezTo>
                <a:cubicBezTo>
                  <a:pt x="53" y="1"/>
                  <a:pt x="52" y="0"/>
                  <a:pt x="50" y="0"/>
                </a:cubicBezTo>
                <a:cubicBezTo>
                  <a:pt x="15" y="0"/>
                  <a:pt x="15" y="0"/>
                  <a:pt x="15" y="0"/>
                </a:cubicBezTo>
                <a:cubicBezTo>
                  <a:pt x="13" y="0"/>
                  <a:pt x="12" y="1"/>
                  <a:pt x="12" y="3"/>
                </a:cubicBezTo>
                <a:cubicBezTo>
                  <a:pt x="12" y="15"/>
                  <a:pt x="12" y="15"/>
                  <a:pt x="12" y="15"/>
                </a:cubicBezTo>
                <a:cubicBezTo>
                  <a:pt x="3" y="15"/>
                  <a:pt x="3" y="15"/>
                  <a:pt x="3" y="15"/>
                </a:cubicBezTo>
                <a:cubicBezTo>
                  <a:pt x="1" y="15"/>
                  <a:pt x="0" y="16"/>
                  <a:pt x="0" y="18"/>
                </a:cubicBezTo>
                <a:cubicBezTo>
                  <a:pt x="0" y="19"/>
                  <a:pt x="1" y="21"/>
                  <a:pt x="3" y="21"/>
                </a:cubicBezTo>
                <a:close/>
                <a:moveTo>
                  <a:pt x="18" y="6"/>
                </a:moveTo>
                <a:cubicBezTo>
                  <a:pt x="47" y="6"/>
                  <a:pt x="47" y="6"/>
                  <a:pt x="47" y="6"/>
                </a:cubicBezTo>
                <a:cubicBezTo>
                  <a:pt x="47" y="30"/>
                  <a:pt x="47" y="30"/>
                  <a:pt x="47" y="30"/>
                </a:cubicBezTo>
                <a:cubicBezTo>
                  <a:pt x="18" y="30"/>
                  <a:pt x="18" y="30"/>
                  <a:pt x="18" y="30"/>
                </a:cubicBezTo>
                <a:lnTo>
                  <a:pt x="18" y="6"/>
                </a:lnTo>
                <a:close/>
                <a:moveTo>
                  <a:pt x="157" y="71"/>
                </a:moveTo>
                <a:cubicBezTo>
                  <a:pt x="101" y="71"/>
                  <a:pt x="101" y="71"/>
                  <a:pt x="101" y="71"/>
                </a:cubicBezTo>
                <a:cubicBezTo>
                  <a:pt x="101" y="59"/>
                  <a:pt x="101" y="59"/>
                  <a:pt x="101" y="59"/>
                </a:cubicBezTo>
                <a:cubicBezTo>
                  <a:pt x="101" y="58"/>
                  <a:pt x="99" y="56"/>
                  <a:pt x="98" y="56"/>
                </a:cubicBezTo>
                <a:cubicBezTo>
                  <a:pt x="62" y="56"/>
                  <a:pt x="62" y="56"/>
                  <a:pt x="62" y="56"/>
                </a:cubicBezTo>
                <a:cubicBezTo>
                  <a:pt x="61" y="56"/>
                  <a:pt x="59" y="58"/>
                  <a:pt x="59" y="59"/>
                </a:cubicBezTo>
                <a:cubicBezTo>
                  <a:pt x="59" y="71"/>
                  <a:pt x="59" y="71"/>
                  <a:pt x="59" y="71"/>
                </a:cubicBezTo>
                <a:cubicBezTo>
                  <a:pt x="3" y="71"/>
                  <a:pt x="3" y="71"/>
                  <a:pt x="3" y="71"/>
                </a:cubicBezTo>
                <a:cubicBezTo>
                  <a:pt x="1" y="71"/>
                  <a:pt x="0" y="72"/>
                  <a:pt x="0" y="74"/>
                </a:cubicBezTo>
                <a:cubicBezTo>
                  <a:pt x="0" y="76"/>
                  <a:pt x="1" y="77"/>
                  <a:pt x="3" y="77"/>
                </a:cubicBezTo>
                <a:cubicBezTo>
                  <a:pt x="59" y="77"/>
                  <a:pt x="59" y="77"/>
                  <a:pt x="59" y="77"/>
                </a:cubicBezTo>
                <a:cubicBezTo>
                  <a:pt x="59" y="89"/>
                  <a:pt x="59" y="89"/>
                  <a:pt x="59" y="89"/>
                </a:cubicBezTo>
                <a:cubicBezTo>
                  <a:pt x="59" y="91"/>
                  <a:pt x="61" y="92"/>
                  <a:pt x="62" y="92"/>
                </a:cubicBezTo>
                <a:cubicBezTo>
                  <a:pt x="98" y="92"/>
                  <a:pt x="98" y="92"/>
                  <a:pt x="98" y="92"/>
                </a:cubicBezTo>
                <a:cubicBezTo>
                  <a:pt x="99" y="92"/>
                  <a:pt x="101" y="91"/>
                  <a:pt x="101" y="89"/>
                </a:cubicBezTo>
                <a:cubicBezTo>
                  <a:pt x="101" y="77"/>
                  <a:pt x="101" y="77"/>
                  <a:pt x="101" y="77"/>
                </a:cubicBezTo>
                <a:cubicBezTo>
                  <a:pt x="157" y="77"/>
                  <a:pt x="157" y="77"/>
                  <a:pt x="157" y="77"/>
                </a:cubicBezTo>
                <a:cubicBezTo>
                  <a:pt x="159" y="77"/>
                  <a:pt x="160" y="76"/>
                  <a:pt x="160" y="74"/>
                </a:cubicBezTo>
                <a:cubicBezTo>
                  <a:pt x="160" y="72"/>
                  <a:pt x="159" y="71"/>
                  <a:pt x="157" y="71"/>
                </a:cubicBezTo>
                <a:close/>
                <a:moveTo>
                  <a:pt x="95" y="86"/>
                </a:moveTo>
                <a:cubicBezTo>
                  <a:pt x="65" y="86"/>
                  <a:pt x="65" y="86"/>
                  <a:pt x="65" y="86"/>
                </a:cubicBezTo>
                <a:cubicBezTo>
                  <a:pt x="65" y="62"/>
                  <a:pt x="65" y="62"/>
                  <a:pt x="65" y="62"/>
                </a:cubicBezTo>
                <a:cubicBezTo>
                  <a:pt x="95" y="62"/>
                  <a:pt x="95" y="62"/>
                  <a:pt x="95" y="62"/>
                </a:cubicBezTo>
                <a:lnTo>
                  <a:pt x="95" y="86"/>
                </a:lnTo>
                <a:close/>
                <a:moveTo>
                  <a:pt x="157" y="127"/>
                </a:moveTo>
                <a:cubicBezTo>
                  <a:pt x="148" y="127"/>
                  <a:pt x="148" y="127"/>
                  <a:pt x="148" y="127"/>
                </a:cubicBezTo>
                <a:cubicBezTo>
                  <a:pt x="148" y="116"/>
                  <a:pt x="148" y="116"/>
                  <a:pt x="148" y="116"/>
                </a:cubicBezTo>
                <a:cubicBezTo>
                  <a:pt x="148" y="114"/>
                  <a:pt x="147" y="113"/>
                  <a:pt x="145" y="113"/>
                </a:cubicBezTo>
                <a:cubicBezTo>
                  <a:pt x="110" y="113"/>
                  <a:pt x="110" y="113"/>
                  <a:pt x="110" y="113"/>
                </a:cubicBezTo>
                <a:cubicBezTo>
                  <a:pt x="108" y="113"/>
                  <a:pt x="107" y="114"/>
                  <a:pt x="107" y="116"/>
                </a:cubicBezTo>
                <a:cubicBezTo>
                  <a:pt x="107" y="127"/>
                  <a:pt x="107" y="127"/>
                  <a:pt x="107" y="127"/>
                </a:cubicBezTo>
                <a:cubicBezTo>
                  <a:pt x="3" y="127"/>
                  <a:pt x="3" y="127"/>
                  <a:pt x="3" y="127"/>
                </a:cubicBezTo>
                <a:cubicBezTo>
                  <a:pt x="1" y="127"/>
                  <a:pt x="0" y="129"/>
                  <a:pt x="0" y="130"/>
                </a:cubicBezTo>
                <a:cubicBezTo>
                  <a:pt x="0" y="132"/>
                  <a:pt x="1" y="133"/>
                  <a:pt x="3" y="133"/>
                </a:cubicBezTo>
                <a:cubicBezTo>
                  <a:pt x="107" y="133"/>
                  <a:pt x="107" y="133"/>
                  <a:pt x="107" y="133"/>
                </a:cubicBezTo>
                <a:cubicBezTo>
                  <a:pt x="107" y="145"/>
                  <a:pt x="107" y="145"/>
                  <a:pt x="107" y="145"/>
                </a:cubicBezTo>
                <a:cubicBezTo>
                  <a:pt x="107" y="147"/>
                  <a:pt x="108" y="148"/>
                  <a:pt x="110" y="148"/>
                </a:cubicBezTo>
                <a:cubicBezTo>
                  <a:pt x="145" y="148"/>
                  <a:pt x="145" y="148"/>
                  <a:pt x="145" y="148"/>
                </a:cubicBezTo>
                <a:cubicBezTo>
                  <a:pt x="147" y="148"/>
                  <a:pt x="148" y="147"/>
                  <a:pt x="148" y="145"/>
                </a:cubicBezTo>
                <a:cubicBezTo>
                  <a:pt x="148" y="133"/>
                  <a:pt x="148" y="133"/>
                  <a:pt x="148" y="133"/>
                </a:cubicBezTo>
                <a:cubicBezTo>
                  <a:pt x="157" y="133"/>
                  <a:pt x="157" y="133"/>
                  <a:pt x="157" y="133"/>
                </a:cubicBezTo>
                <a:cubicBezTo>
                  <a:pt x="159" y="133"/>
                  <a:pt x="160" y="132"/>
                  <a:pt x="160" y="130"/>
                </a:cubicBezTo>
                <a:cubicBezTo>
                  <a:pt x="160" y="129"/>
                  <a:pt x="159" y="127"/>
                  <a:pt x="157" y="127"/>
                </a:cubicBezTo>
                <a:close/>
                <a:moveTo>
                  <a:pt x="142" y="142"/>
                </a:moveTo>
                <a:cubicBezTo>
                  <a:pt x="113" y="142"/>
                  <a:pt x="113" y="142"/>
                  <a:pt x="113" y="142"/>
                </a:cubicBezTo>
                <a:cubicBezTo>
                  <a:pt x="113" y="119"/>
                  <a:pt x="113" y="119"/>
                  <a:pt x="113" y="119"/>
                </a:cubicBezTo>
                <a:cubicBezTo>
                  <a:pt x="142" y="119"/>
                  <a:pt x="142" y="119"/>
                  <a:pt x="142" y="119"/>
                </a:cubicBezTo>
                <a:lnTo>
                  <a:pt x="142" y="142"/>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1" name="Freeform 1118">
            <a:extLst>
              <a:ext uri="{FF2B5EF4-FFF2-40B4-BE49-F238E27FC236}">
                <a16:creationId xmlns:a16="http://schemas.microsoft.com/office/drawing/2014/main" id="{4D2F946A-3B52-B841-BC24-4935DB557167}"/>
              </a:ext>
            </a:extLst>
          </p:cNvPr>
          <p:cNvSpPr>
            <a:spLocks noEditPoints="1"/>
          </p:cNvSpPr>
          <p:nvPr/>
        </p:nvSpPr>
        <p:spPr bwMode="auto">
          <a:xfrm>
            <a:off x="6310195" y="5938838"/>
            <a:ext cx="546100" cy="550863"/>
          </a:xfrm>
          <a:custGeom>
            <a:avLst/>
            <a:gdLst>
              <a:gd name="T0" fmla="*/ 3 w 160"/>
              <a:gd name="T1" fmla="*/ 0 h 160"/>
              <a:gd name="T2" fmla="*/ 0 w 160"/>
              <a:gd name="T3" fmla="*/ 157 h 160"/>
              <a:gd name="T4" fmla="*/ 157 w 160"/>
              <a:gd name="T5" fmla="*/ 160 h 160"/>
              <a:gd name="T6" fmla="*/ 160 w 160"/>
              <a:gd name="T7" fmla="*/ 3 h 160"/>
              <a:gd name="T8" fmla="*/ 155 w 160"/>
              <a:gd name="T9" fmla="*/ 155 h 160"/>
              <a:gd name="T10" fmla="*/ 5 w 160"/>
              <a:gd name="T11" fmla="*/ 5 h 160"/>
              <a:gd name="T12" fmla="*/ 155 w 160"/>
              <a:gd name="T13" fmla="*/ 155 h 160"/>
              <a:gd name="T14" fmla="*/ 24 w 160"/>
              <a:gd name="T15" fmla="*/ 32 h 160"/>
              <a:gd name="T16" fmla="*/ 27 w 160"/>
              <a:gd name="T17" fmla="*/ 45 h 160"/>
              <a:gd name="T18" fmla="*/ 61 w 160"/>
              <a:gd name="T19" fmla="*/ 43 h 160"/>
              <a:gd name="T20" fmla="*/ 144 w 160"/>
              <a:gd name="T21" fmla="*/ 32 h 160"/>
              <a:gd name="T22" fmla="*/ 144 w 160"/>
              <a:gd name="T23" fmla="*/ 27 h 160"/>
              <a:gd name="T24" fmla="*/ 61 w 160"/>
              <a:gd name="T25" fmla="*/ 16 h 160"/>
              <a:gd name="T26" fmla="*/ 27 w 160"/>
              <a:gd name="T27" fmla="*/ 13 h 160"/>
              <a:gd name="T28" fmla="*/ 24 w 160"/>
              <a:gd name="T29" fmla="*/ 27 h 160"/>
              <a:gd name="T30" fmla="*/ 13 w 160"/>
              <a:gd name="T31" fmla="*/ 29 h 160"/>
              <a:gd name="T32" fmla="*/ 29 w 160"/>
              <a:gd name="T33" fmla="*/ 19 h 160"/>
              <a:gd name="T34" fmla="*/ 56 w 160"/>
              <a:gd name="T35" fmla="*/ 40 h 160"/>
              <a:gd name="T36" fmla="*/ 29 w 160"/>
              <a:gd name="T37" fmla="*/ 19 h 160"/>
              <a:gd name="T38" fmla="*/ 61 w 160"/>
              <a:gd name="T39" fmla="*/ 83 h 160"/>
              <a:gd name="T40" fmla="*/ 64 w 160"/>
              <a:gd name="T41" fmla="*/ 96 h 160"/>
              <a:gd name="T42" fmla="*/ 99 w 160"/>
              <a:gd name="T43" fmla="*/ 93 h 160"/>
              <a:gd name="T44" fmla="*/ 144 w 160"/>
              <a:gd name="T45" fmla="*/ 83 h 160"/>
              <a:gd name="T46" fmla="*/ 144 w 160"/>
              <a:gd name="T47" fmla="*/ 77 h 160"/>
              <a:gd name="T48" fmla="*/ 99 w 160"/>
              <a:gd name="T49" fmla="*/ 67 h 160"/>
              <a:gd name="T50" fmla="*/ 64 w 160"/>
              <a:gd name="T51" fmla="*/ 64 h 160"/>
              <a:gd name="T52" fmla="*/ 61 w 160"/>
              <a:gd name="T53" fmla="*/ 77 h 160"/>
              <a:gd name="T54" fmla="*/ 13 w 160"/>
              <a:gd name="T55" fmla="*/ 80 h 160"/>
              <a:gd name="T56" fmla="*/ 67 w 160"/>
              <a:gd name="T57" fmla="*/ 69 h 160"/>
              <a:gd name="T58" fmla="*/ 93 w 160"/>
              <a:gd name="T59" fmla="*/ 91 h 160"/>
              <a:gd name="T60" fmla="*/ 67 w 160"/>
              <a:gd name="T61" fmla="*/ 69 h 160"/>
              <a:gd name="T62" fmla="*/ 99 w 160"/>
              <a:gd name="T63" fmla="*/ 133 h 160"/>
              <a:gd name="T64" fmla="*/ 101 w 160"/>
              <a:gd name="T65" fmla="*/ 147 h 160"/>
              <a:gd name="T66" fmla="*/ 136 w 160"/>
              <a:gd name="T67" fmla="*/ 144 h 160"/>
              <a:gd name="T68" fmla="*/ 144 w 160"/>
              <a:gd name="T69" fmla="*/ 133 h 160"/>
              <a:gd name="T70" fmla="*/ 144 w 160"/>
              <a:gd name="T71" fmla="*/ 128 h 160"/>
              <a:gd name="T72" fmla="*/ 136 w 160"/>
              <a:gd name="T73" fmla="*/ 117 h 160"/>
              <a:gd name="T74" fmla="*/ 101 w 160"/>
              <a:gd name="T75" fmla="*/ 115 h 160"/>
              <a:gd name="T76" fmla="*/ 99 w 160"/>
              <a:gd name="T77" fmla="*/ 128 h 160"/>
              <a:gd name="T78" fmla="*/ 13 w 160"/>
              <a:gd name="T79" fmla="*/ 131 h 160"/>
              <a:gd name="T80" fmla="*/ 104 w 160"/>
              <a:gd name="T81" fmla="*/ 120 h 160"/>
              <a:gd name="T82" fmla="*/ 131 w 160"/>
              <a:gd name="T83" fmla="*/ 141 h 160"/>
              <a:gd name="T84" fmla="*/ 104 w 160"/>
              <a:gd name="T85"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60">
                <a:moveTo>
                  <a:pt x="157" y="0"/>
                </a:moveTo>
                <a:cubicBezTo>
                  <a:pt x="3" y="0"/>
                  <a:pt x="3" y="0"/>
                  <a:pt x="3" y="0"/>
                </a:cubicBezTo>
                <a:cubicBezTo>
                  <a:pt x="1" y="0"/>
                  <a:pt x="0" y="1"/>
                  <a:pt x="0" y="3"/>
                </a:cubicBezTo>
                <a:cubicBezTo>
                  <a:pt x="0" y="157"/>
                  <a:pt x="0" y="157"/>
                  <a:pt x="0" y="157"/>
                </a:cubicBezTo>
                <a:cubicBezTo>
                  <a:pt x="0" y="159"/>
                  <a:pt x="1" y="160"/>
                  <a:pt x="3" y="160"/>
                </a:cubicBezTo>
                <a:cubicBezTo>
                  <a:pt x="157" y="160"/>
                  <a:pt x="157" y="160"/>
                  <a:pt x="157" y="160"/>
                </a:cubicBezTo>
                <a:cubicBezTo>
                  <a:pt x="159" y="160"/>
                  <a:pt x="160" y="159"/>
                  <a:pt x="160" y="157"/>
                </a:cubicBezTo>
                <a:cubicBezTo>
                  <a:pt x="160" y="3"/>
                  <a:pt x="160" y="3"/>
                  <a:pt x="160" y="3"/>
                </a:cubicBezTo>
                <a:cubicBezTo>
                  <a:pt x="160" y="1"/>
                  <a:pt x="159" y="0"/>
                  <a:pt x="157" y="0"/>
                </a:cubicBezTo>
                <a:close/>
                <a:moveTo>
                  <a:pt x="155" y="155"/>
                </a:moveTo>
                <a:cubicBezTo>
                  <a:pt x="5" y="155"/>
                  <a:pt x="5" y="155"/>
                  <a:pt x="5" y="155"/>
                </a:cubicBezTo>
                <a:cubicBezTo>
                  <a:pt x="5" y="5"/>
                  <a:pt x="5" y="5"/>
                  <a:pt x="5" y="5"/>
                </a:cubicBezTo>
                <a:cubicBezTo>
                  <a:pt x="155" y="5"/>
                  <a:pt x="155" y="5"/>
                  <a:pt x="155" y="5"/>
                </a:cubicBezTo>
                <a:lnTo>
                  <a:pt x="155" y="155"/>
                </a:lnTo>
                <a:close/>
                <a:moveTo>
                  <a:pt x="16" y="32"/>
                </a:moveTo>
                <a:cubicBezTo>
                  <a:pt x="24" y="32"/>
                  <a:pt x="24" y="32"/>
                  <a:pt x="24" y="32"/>
                </a:cubicBezTo>
                <a:cubicBezTo>
                  <a:pt x="24" y="43"/>
                  <a:pt x="24" y="43"/>
                  <a:pt x="24" y="43"/>
                </a:cubicBezTo>
                <a:cubicBezTo>
                  <a:pt x="24" y="44"/>
                  <a:pt x="25" y="45"/>
                  <a:pt x="27" y="45"/>
                </a:cubicBezTo>
                <a:cubicBezTo>
                  <a:pt x="59" y="45"/>
                  <a:pt x="59" y="45"/>
                  <a:pt x="59" y="45"/>
                </a:cubicBezTo>
                <a:cubicBezTo>
                  <a:pt x="60" y="45"/>
                  <a:pt x="61" y="44"/>
                  <a:pt x="61" y="43"/>
                </a:cubicBezTo>
                <a:cubicBezTo>
                  <a:pt x="61" y="32"/>
                  <a:pt x="61" y="32"/>
                  <a:pt x="61" y="32"/>
                </a:cubicBezTo>
                <a:cubicBezTo>
                  <a:pt x="144" y="32"/>
                  <a:pt x="144" y="32"/>
                  <a:pt x="144" y="32"/>
                </a:cubicBezTo>
                <a:cubicBezTo>
                  <a:pt x="145" y="32"/>
                  <a:pt x="147" y="31"/>
                  <a:pt x="147" y="29"/>
                </a:cubicBezTo>
                <a:cubicBezTo>
                  <a:pt x="147" y="28"/>
                  <a:pt x="145" y="27"/>
                  <a:pt x="144" y="27"/>
                </a:cubicBezTo>
                <a:cubicBezTo>
                  <a:pt x="61" y="27"/>
                  <a:pt x="61" y="27"/>
                  <a:pt x="61" y="27"/>
                </a:cubicBezTo>
                <a:cubicBezTo>
                  <a:pt x="61" y="16"/>
                  <a:pt x="61" y="16"/>
                  <a:pt x="61" y="16"/>
                </a:cubicBezTo>
                <a:cubicBezTo>
                  <a:pt x="61" y="15"/>
                  <a:pt x="60" y="13"/>
                  <a:pt x="59" y="13"/>
                </a:cubicBezTo>
                <a:cubicBezTo>
                  <a:pt x="27" y="13"/>
                  <a:pt x="27" y="13"/>
                  <a:pt x="27" y="13"/>
                </a:cubicBezTo>
                <a:cubicBezTo>
                  <a:pt x="25" y="13"/>
                  <a:pt x="24" y="15"/>
                  <a:pt x="24" y="16"/>
                </a:cubicBezTo>
                <a:cubicBezTo>
                  <a:pt x="24" y="27"/>
                  <a:pt x="24" y="27"/>
                  <a:pt x="24" y="27"/>
                </a:cubicBezTo>
                <a:cubicBezTo>
                  <a:pt x="16" y="27"/>
                  <a:pt x="16" y="27"/>
                  <a:pt x="16" y="27"/>
                </a:cubicBezTo>
                <a:cubicBezTo>
                  <a:pt x="15" y="27"/>
                  <a:pt x="13" y="28"/>
                  <a:pt x="13" y="29"/>
                </a:cubicBezTo>
                <a:cubicBezTo>
                  <a:pt x="13" y="31"/>
                  <a:pt x="15" y="32"/>
                  <a:pt x="16" y="32"/>
                </a:cubicBezTo>
                <a:close/>
                <a:moveTo>
                  <a:pt x="29" y="19"/>
                </a:moveTo>
                <a:cubicBezTo>
                  <a:pt x="56" y="19"/>
                  <a:pt x="56" y="19"/>
                  <a:pt x="56" y="19"/>
                </a:cubicBezTo>
                <a:cubicBezTo>
                  <a:pt x="56" y="40"/>
                  <a:pt x="56" y="40"/>
                  <a:pt x="56" y="40"/>
                </a:cubicBezTo>
                <a:cubicBezTo>
                  <a:pt x="29" y="40"/>
                  <a:pt x="29" y="40"/>
                  <a:pt x="29" y="40"/>
                </a:cubicBezTo>
                <a:lnTo>
                  <a:pt x="29" y="19"/>
                </a:lnTo>
                <a:close/>
                <a:moveTo>
                  <a:pt x="16" y="83"/>
                </a:moveTo>
                <a:cubicBezTo>
                  <a:pt x="61" y="83"/>
                  <a:pt x="61" y="83"/>
                  <a:pt x="61" y="83"/>
                </a:cubicBezTo>
                <a:cubicBezTo>
                  <a:pt x="61" y="93"/>
                  <a:pt x="61" y="93"/>
                  <a:pt x="61" y="93"/>
                </a:cubicBezTo>
                <a:cubicBezTo>
                  <a:pt x="61" y="95"/>
                  <a:pt x="63" y="96"/>
                  <a:pt x="64" y="96"/>
                </a:cubicBezTo>
                <a:cubicBezTo>
                  <a:pt x="96" y="96"/>
                  <a:pt x="96" y="96"/>
                  <a:pt x="96" y="96"/>
                </a:cubicBezTo>
                <a:cubicBezTo>
                  <a:pt x="97" y="96"/>
                  <a:pt x="99" y="95"/>
                  <a:pt x="99" y="93"/>
                </a:cubicBezTo>
                <a:cubicBezTo>
                  <a:pt x="99" y="83"/>
                  <a:pt x="99" y="83"/>
                  <a:pt x="99" y="83"/>
                </a:cubicBezTo>
                <a:cubicBezTo>
                  <a:pt x="144" y="83"/>
                  <a:pt x="144" y="83"/>
                  <a:pt x="144" y="83"/>
                </a:cubicBezTo>
                <a:cubicBezTo>
                  <a:pt x="145" y="83"/>
                  <a:pt x="147" y="81"/>
                  <a:pt x="147" y="80"/>
                </a:cubicBezTo>
                <a:cubicBezTo>
                  <a:pt x="147" y="79"/>
                  <a:pt x="145" y="77"/>
                  <a:pt x="144" y="77"/>
                </a:cubicBezTo>
                <a:cubicBezTo>
                  <a:pt x="99" y="77"/>
                  <a:pt x="99" y="77"/>
                  <a:pt x="99" y="77"/>
                </a:cubicBezTo>
                <a:cubicBezTo>
                  <a:pt x="99" y="67"/>
                  <a:pt x="99" y="67"/>
                  <a:pt x="99" y="67"/>
                </a:cubicBezTo>
                <a:cubicBezTo>
                  <a:pt x="99" y="65"/>
                  <a:pt x="97" y="64"/>
                  <a:pt x="96" y="64"/>
                </a:cubicBezTo>
                <a:cubicBezTo>
                  <a:pt x="64" y="64"/>
                  <a:pt x="64" y="64"/>
                  <a:pt x="64" y="64"/>
                </a:cubicBezTo>
                <a:cubicBezTo>
                  <a:pt x="63" y="64"/>
                  <a:pt x="61" y="65"/>
                  <a:pt x="61" y="67"/>
                </a:cubicBezTo>
                <a:cubicBezTo>
                  <a:pt x="61" y="77"/>
                  <a:pt x="61" y="77"/>
                  <a:pt x="61" y="77"/>
                </a:cubicBezTo>
                <a:cubicBezTo>
                  <a:pt x="16" y="77"/>
                  <a:pt x="16" y="77"/>
                  <a:pt x="16" y="77"/>
                </a:cubicBezTo>
                <a:cubicBezTo>
                  <a:pt x="15" y="77"/>
                  <a:pt x="13" y="79"/>
                  <a:pt x="13" y="80"/>
                </a:cubicBezTo>
                <a:cubicBezTo>
                  <a:pt x="13" y="81"/>
                  <a:pt x="15" y="83"/>
                  <a:pt x="16" y="83"/>
                </a:cubicBezTo>
                <a:close/>
                <a:moveTo>
                  <a:pt x="67" y="69"/>
                </a:moveTo>
                <a:cubicBezTo>
                  <a:pt x="93" y="69"/>
                  <a:pt x="93" y="69"/>
                  <a:pt x="93" y="69"/>
                </a:cubicBezTo>
                <a:cubicBezTo>
                  <a:pt x="93" y="91"/>
                  <a:pt x="93" y="91"/>
                  <a:pt x="93" y="91"/>
                </a:cubicBezTo>
                <a:cubicBezTo>
                  <a:pt x="67" y="91"/>
                  <a:pt x="67" y="91"/>
                  <a:pt x="67" y="91"/>
                </a:cubicBezTo>
                <a:lnTo>
                  <a:pt x="67" y="69"/>
                </a:lnTo>
                <a:close/>
                <a:moveTo>
                  <a:pt x="16" y="133"/>
                </a:moveTo>
                <a:cubicBezTo>
                  <a:pt x="99" y="133"/>
                  <a:pt x="99" y="133"/>
                  <a:pt x="99" y="133"/>
                </a:cubicBezTo>
                <a:cubicBezTo>
                  <a:pt x="99" y="144"/>
                  <a:pt x="99" y="144"/>
                  <a:pt x="99" y="144"/>
                </a:cubicBezTo>
                <a:cubicBezTo>
                  <a:pt x="99" y="145"/>
                  <a:pt x="100" y="147"/>
                  <a:pt x="101" y="147"/>
                </a:cubicBezTo>
                <a:cubicBezTo>
                  <a:pt x="133" y="147"/>
                  <a:pt x="133" y="147"/>
                  <a:pt x="133" y="147"/>
                </a:cubicBezTo>
                <a:cubicBezTo>
                  <a:pt x="135" y="147"/>
                  <a:pt x="136" y="145"/>
                  <a:pt x="136" y="144"/>
                </a:cubicBezTo>
                <a:cubicBezTo>
                  <a:pt x="136" y="133"/>
                  <a:pt x="136" y="133"/>
                  <a:pt x="136" y="133"/>
                </a:cubicBezTo>
                <a:cubicBezTo>
                  <a:pt x="144" y="133"/>
                  <a:pt x="144" y="133"/>
                  <a:pt x="144" y="133"/>
                </a:cubicBezTo>
                <a:cubicBezTo>
                  <a:pt x="145" y="133"/>
                  <a:pt x="147" y="132"/>
                  <a:pt x="147" y="131"/>
                </a:cubicBezTo>
                <a:cubicBezTo>
                  <a:pt x="147" y="129"/>
                  <a:pt x="145" y="128"/>
                  <a:pt x="144" y="128"/>
                </a:cubicBezTo>
                <a:cubicBezTo>
                  <a:pt x="136" y="128"/>
                  <a:pt x="136" y="128"/>
                  <a:pt x="136" y="128"/>
                </a:cubicBezTo>
                <a:cubicBezTo>
                  <a:pt x="136" y="117"/>
                  <a:pt x="136" y="117"/>
                  <a:pt x="136" y="117"/>
                </a:cubicBezTo>
                <a:cubicBezTo>
                  <a:pt x="136" y="116"/>
                  <a:pt x="135" y="115"/>
                  <a:pt x="133" y="115"/>
                </a:cubicBezTo>
                <a:cubicBezTo>
                  <a:pt x="101" y="115"/>
                  <a:pt x="101" y="115"/>
                  <a:pt x="101" y="115"/>
                </a:cubicBezTo>
                <a:cubicBezTo>
                  <a:pt x="100" y="115"/>
                  <a:pt x="99" y="116"/>
                  <a:pt x="99" y="117"/>
                </a:cubicBezTo>
                <a:cubicBezTo>
                  <a:pt x="99" y="128"/>
                  <a:pt x="99" y="128"/>
                  <a:pt x="99" y="128"/>
                </a:cubicBezTo>
                <a:cubicBezTo>
                  <a:pt x="16" y="128"/>
                  <a:pt x="16" y="128"/>
                  <a:pt x="16" y="128"/>
                </a:cubicBezTo>
                <a:cubicBezTo>
                  <a:pt x="15" y="128"/>
                  <a:pt x="13" y="129"/>
                  <a:pt x="13" y="131"/>
                </a:cubicBezTo>
                <a:cubicBezTo>
                  <a:pt x="13" y="132"/>
                  <a:pt x="15" y="133"/>
                  <a:pt x="16" y="133"/>
                </a:cubicBezTo>
                <a:close/>
                <a:moveTo>
                  <a:pt x="104" y="120"/>
                </a:moveTo>
                <a:cubicBezTo>
                  <a:pt x="131" y="120"/>
                  <a:pt x="131" y="120"/>
                  <a:pt x="131" y="120"/>
                </a:cubicBezTo>
                <a:cubicBezTo>
                  <a:pt x="131" y="141"/>
                  <a:pt x="131" y="141"/>
                  <a:pt x="131" y="141"/>
                </a:cubicBezTo>
                <a:cubicBezTo>
                  <a:pt x="104" y="141"/>
                  <a:pt x="104" y="141"/>
                  <a:pt x="104" y="141"/>
                </a:cubicBezTo>
                <a:lnTo>
                  <a:pt x="104" y="120"/>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1119">
            <a:extLst>
              <a:ext uri="{FF2B5EF4-FFF2-40B4-BE49-F238E27FC236}">
                <a16:creationId xmlns:a16="http://schemas.microsoft.com/office/drawing/2014/main" id="{CC688BD6-332A-6A47-83D4-C06FDA64EFCB}"/>
              </a:ext>
            </a:extLst>
          </p:cNvPr>
          <p:cNvSpPr>
            <a:spLocks noEditPoints="1"/>
          </p:cNvSpPr>
          <p:nvPr/>
        </p:nvSpPr>
        <p:spPr bwMode="auto">
          <a:xfrm>
            <a:off x="7265870" y="377825"/>
            <a:ext cx="130175" cy="503238"/>
          </a:xfrm>
          <a:custGeom>
            <a:avLst/>
            <a:gdLst>
              <a:gd name="T0" fmla="*/ 22 w 38"/>
              <a:gd name="T1" fmla="*/ 109 h 146"/>
              <a:gd name="T2" fmla="*/ 22 w 38"/>
              <a:gd name="T3" fmla="*/ 3 h 146"/>
              <a:gd name="T4" fmla="*/ 19 w 38"/>
              <a:gd name="T5" fmla="*/ 0 h 146"/>
              <a:gd name="T6" fmla="*/ 16 w 38"/>
              <a:gd name="T7" fmla="*/ 3 h 146"/>
              <a:gd name="T8" fmla="*/ 16 w 38"/>
              <a:gd name="T9" fmla="*/ 109 h 146"/>
              <a:gd name="T10" fmla="*/ 0 w 38"/>
              <a:gd name="T11" fmla="*/ 127 h 146"/>
              <a:gd name="T12" fmla="*/ 19 w 38"/>
              <a:gd name="T13" fmla="*/ 146 h 146"/>
              <a:gd name="T14" fmla="*/ 38 w 38"/>
              <a:gd name="T15" fmla="*/ 127 h 146"/>
              <a:gd name="T16" fmla="*/ 22 w 38"/>
              <a:gd name="T17" fmla="*/ 109 h 146"/>
              <a:gd name="T18" fmla="*/ 19 w 38"/>
              <a:gd name="T19" fmla="*/ 141 h 146"/>
              <a:gd name="T20" fmla="*/ 5 w 38"/>
              <a:gd name="T21" fmla="*/ 127 h 146"/>
              <a:gd name="T22" fmla="*/ 19 w 38"/>
              <a:gd name="T23" fmla="*/ 114 h 146"/>
              <a:gd name="T24" fmla="*/ 33 w 38"/>
              <a:gd name="T25" fmla="*/ 127 h 146"/>
              <a:gd name="T26" fmla="*/ 19 w 38"/>
              <a:gd name="T27" fmla="*/ 14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46">
                <a:moveTo>
                  <a:pt x="22" y="109"/>
                </a:moveTo>
                <a:cubicBezTo>
                  <a:pt x="22" y="3"/>
                  <a:pt x="22" y="3"/>
                  <a:pt x="22" y="3"/>
                </a:cubicBezTo>
                <a:cubicBezTo>
                  <a:pt x="22" y="1"/>
                  <a:pt x="20" y="0"/>
                  <a:pt x="19" y="0"/>
                </a:cubicBezTo>
                <a:cubicBezTo>
                  <a:pt x="17" y="0"/>
                  <a:pt x="16" y="1"/>
                  <a:pt x="16" y="3"/>
                </a:cubicBezTo>
                <a:cubicBezTo>
                  <a:pt x="16" y="109"/>
                  <a:pt x="16" y="109"/>
                  <a:pt x="16" y="109"/>
                </a:cubicBezTo>
                <a:cubicBezTo>
                  <a:pt x="7" y="110"/>
                  <a:pt x="0" y="118"/>
                  <a:pt x="0" y="127"/>
                </a:cubicBezTo>
                <a:cubicBezTo>
                  <a:pt x="0" y="138"/>
                  <a:pt x="9" y="146"/>
                  <a:pt x="19" y="146"/>
                </a:cubicBezTo>
                <a:cubicBezTo>
                  <a:pt x="29" y="146"/>
                  <a:pt x="38" y="138"/>
                  <a:pt x="38" y="127"/>
                </a:cubicBezTo>
                <a:cubicBezTo>
                  <a:pt x="38" y="118"/>
                  <a:pt x="31" y="110"/>
                  <a:pt x="22" y="109"/>
                </a:cubicBezTo>
                <a:close/>
                <a:moveTo>
                  <a:pt x="19" y="141"/>
                </a:moveTo>
                <a:cubicBezTo>
                  <a:pt x="12" y="141"/>
                  <a:pt x="5" y="135"/>
                  <a:pt x="5" y="127"/>
                </a:cubicBezTo>
                <a:cubicBezTo>
                  <a:pt x="5" y="120"/>
                  <a:pt x="12" y="114"/>
                  <a:pt x="19" y="114"/>
                </a:cubicBezTo>
                <a:cubicBezTo>
                  <a:pt x="26" y="114"/>
                  <a:pt x="33" y="120"/>
                  <a:pt x="33" y="127"/>
                </a:cubicBezTo>
                <a:cubicBezTo>
                  <a:pt x="33" y="135"/>
                  <a:pt x="26" y="141"/>
                  <a:pt x="19" y="141"/>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3" name="Freeform 1120">
            <a:extLst>
              <a:ext uri="{FF2B5EF4-FFF2-40B4-BE49-F238E27FC236}">
                <a16:creationId xmlns:a16="http://schemas.microsoft.com/office/drawing/2014/main" id="{F84FB8F3-1A9D-EB42-B8A9-DA936B977218}"/>
              </a:ext>
            </a:extLst>
          </p:cNvPr>
          <p:cNvSpPr>
            <a:spLocks noEditPoints="1"/>
          </p:cNvSpPr>
          <p:nvPr/>
        </p:nvSpPr>
        <p:spPr bwMode="auto">
          <a:xfrm>
            <a:off x="7405570" y="377825"/>
            <a:ext cx="130175" cy="503238"/>
          </a:xfrm>
          <a:custGeom>
            <a:avLst/>
            <a:gdLst>
              <a:gd name="T0" fmla="*/ 21 w 38"/>
              <a:gd name="T1" fmla="*/ 76 h 146"/>
              <a:gd name="T2" fmla="*/ 21 w 38"/>
              <a:gd name="T3" fmla="*/ 3 h 146"/>
              <a:gd name="T4" fmla="*/ 19 w 38"/>
              <a:gd name="T5" fmla="*/ 0 h 146"/>
              <a:gd name="T6" fmla="*/ 16 w 38"/>
              <a:gd name="T7" fmla="*/ 3 h 146"/>
              <a:gd name="T8" fmla="*/ 16 w 38"/>
              <a:gd name="T9" fmla="*/ 76 h 146"/>
              <a:gd name="T10" fmla="*/ 0 w 38"/>
              <a:gd name="T11" fmla="*/ 95 h 146"/>
              <a:gd name="T12" fmla="*/ 16 w 38"/>
              <a:gd name="T13" fmla="*/ 114 h 146"/>
              <a:gd name="T14" fmla="*/ 16 w 38"/>
              <a:gd name="T15" fmla="*/ 144 h 146"/>
              <a:gd name="T16" fmla="*/ 19 w 38"/>
              <a:gd name="T17" fmla="*/ 146 h 146"/>
              <a:gd name="T18" fmla="*/ 21 w 38"/>
              <a:gd name="T19" fmla="*/ 144 h 146"/>
              <a:gd name="T20" fmla="*/ 21 w 38"/>
              <a:gd name="T21" fmla="*/ 114 h 146"/>
              <a:gd name="T22" fmla="*/ 38 w 38"/>
              <a:gd name="T23" fmla="*/ 95 h 146"/>
              <a:gd name="T24" fmla="*/ 21 w 38"/>
              <a:gd name="T25" fmla="*/ 76 h 146"/>
              <a:gd name="T26" fmla="*/ 19 w 38"/>
              <a:gd name="T27" fmla="*/ 108 h 146"/>
              <a:gd name="T28" fmla="*/ 5 w 38"/>
              <a:gd name="T29" fmla="*/ 95 h 146"/>
              <a:gd name="T30" fmla="*/ 19 w 38"/>
              <a:gd name="T31" fmla="*/ 81 h 146"/>
              <a:gd name="T32" fmla="*/ 32 w 38"/>
              <a:gd name="T33" fmla="*/ 95 h 146"/>
              <a:gd name="T34" fmla="*/ 19 w 38"/>
              <a:gd name="T35"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146">
                <a:moveTo>
                  <a:pt x="21" y="76"/>
                </a:moveTo>
                <a:cubicBezTo>
                  <a:pt x="21" y="3"/>
                  <a:pt x="21" y="3"/>
                  <a:pt x="21" y="3"/>
                </a:cubicBezTo>
                <a:cubicBezTo>
                  <a:pt x="21" y="1"/>
                  <a:pt x="20" y="0"/>
                  <a:pt x="19" y="0"/>
                </a:cubicBezTo>
                <a:cubicBezTo>
                  <a:pt x="17" y="0"/>
                  <a:pt x="16" y="1"/>
                  <a:pt x="16" y="3"/>
                </a:cubicBezTo>
                <a:cubicBezTo>
                  <a:pt x="16" y="76"/>
                  <a:pt x="16" y="76"/>
                  <a:pt x="16" y="76"/>
                </a:cubicBezTo>
                <a:cubicBezTo>
                  <a:pt x="7" y="77"/>
                  <a:pt x="0" y="85"/>
                  <a:pt x="0" y="95"/>
                </a:cubicBezTo>
                <a:cubicBezTo>
                  <a:pt x="0" y="104"/>
                  <a:pt x="7" y="112"/>
                  <a:pt x="16" y="114"/>
                </a:cubicBezTo>
                <a:cubicBezTo>
                  <a:pt x="16" y="144"/>
                  <a:pt x="16" y="144"/>
                  <a:pt x="16" y="144"/>
                </a:cubicBezTo>
                <a:cubicBezTo>
                  <a:pt x="16" y="145"/>
                  <a:pt x="17" y="146"/>
                  <a:pt x="19" y="146"/>
                </a:cubicBezTo>
                <a:cubicBezTo>
                  <a:pt x="20" y="146"/>
                  <a:pt x="21" y="145"/>
                  <a:pt x="21" y="144"/>
                </a:cubicBezTo>
                <a:cubicBezTo>
                  <a:pt x="21" y="114"/>
                  <a:pt x="21" y="114"/>
                  <a:pt x="21" y="114"/>
                </a:cubicBezTo>
                <a:cubicBezTo>
                  <a:pt x="31" y="112"/>
                  <a:pt x="38" y="104"/>
                  <a:pt x="38" y="95"/>
                </a:cubicBezTo>
                <a:cubicBezTo>
                  <a:pt x="38" y="85"/>
                  <a:pt x="31" y="77"/>
                  <a:pt x="21" y="76"/>
                </a:cubicBezTo>
                <a:close/>
                <a:moveTo>
                  <a:pt x="19" y="108"/>
                </a:moveTo>
                <a:cubicBezTo>
                  <a:pt x="11" y="108"/>
                  <a:pt x="5" y="102"/>
                  <a:pt x="5" y="95"/>
                </a:cubicBezTo>
                <a:cubicBezTo>
                  <a:pt x="5" y="87"/>
                  <a:pt x="11" y="81"/>
                  <a:pt x="19" y="81"/>
                </a:cubicBezTo>
                <a:cubicBezTo>
                  <a:pt x="26" y="81"/>
                  <a:pt x="32" y="87"/>
                  <a:pt x="32" y="95"/>
                </a:cubicBezTo>
                <a:cubicBezTo>
                  <a:pt x="32" y="102"/>
                  <a:pt x="26" y="108"/>
                  <a:pt x="19" y="108"/>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Freeform 1121">
            <a:extLst>
              <a:ext uri="{FF2B5EF4-FFF2-40B4-BE49-F238E27FC236}">
                <a16:creationId xmlns:a16="http://schemas.microsoft.com/office/drawing/2014/main" id="{E8F0E367-16B1-0748-8149-04218B8580FB}"/>
              </a:ext>
            </a:extLst>
          </p:cNvPr>
          <p:cNvSpPr>
            <a:spLocks noEditPoints="1"/>
          </p:cNvSpPr>
          <p:nvPr/>
        </p:nvSpPr>
        <p:spPr bwMode="auto">
          <a:xfrm>
            <a:off x="7542095" y="377825"/>
            <a:ext cx="130175" cy="503238"/>
          </a:xfrm>
          <a:custGeom>
            <a:avLst/>
            <a:gdLst>
              <a:gd name="T0" fmla="*/ 22 w 38"/>
              <a:gd name="T1" fmla="*/ 44 h 146"/>
              <a:gd name="T2" fmla="*/ 22 w 38"/>
              <a:gd name="T3" fmla="*/ 3 h 146"/>
              <a:gd name="T4" fmla="*/ 19 w 38"/>
              <a:gd name="T5" fmla="*/ 0 h 146"/>
              <a:gd name="T6" fmla="*/ 17 w 38"/>
              <a:gd name="T7" fmla="*/ 3 h 146"/>
              <a:gd name="T8" fmla="*/ 17 w 38"/>
              <a:gd name="T9" fmla="*/ 44 h 146"/>
              <a:gd name="T10" fmla="*/ 0 w 38"/>
              <a:gd name="T11" fmla="*/ 62 h 146"/>
              <a:gd name="T12" fmla="*/ 17 w 38"/>
              <a:gd name="T13" fmla="*/ 81 h 146"/>
              <a:gd name="T14" fmla="*/ 17 w 38"/>
              <a:gd name="T15" fmla="*/ 144 h 146"/>
              <a:gd name="T16" fmla="*/ 19 w 38"/>
              <a:gd name="T17" fmla="*/ 146 h 146"/>
              <a:gd name="T18" fmla="*/ 22 w 38"/>
              <a:gd name="T19" fmla="*/ 144 h 146"/>
              <a:gd name="T20" fmla="*/ 22 w 38"/>
              <a:gd name="T21" fmla="*/ 81 h 146"/>
              <a:gd name="T22" fmla="*/ 38 w 38"/>
              <a:gd name="T23" fmla="*/ 62 h 146"/>
              <a:gd name="T24" fmla="*/ 22 w 38"/>
              <a:gd name="T25" fmla="*/ 44 h 146"/>
              <a:gd name="T26" fmla="*/ 19 w 38"/>
              <a:gd name="T27" fmla="*/ 76 h 146"/>
              <a:gd name="T28" fmla="*/ 6 w 38"/>
              <a:gd name="T29" fmla="*/ 62 h 146"/>
              <a:gd name="T30" fmla="*/ 19 w 38"/>
              <a:gd name="T31" fmla="*/ 49 h 146"/>
              <a:gd name="T32" fmla="*/ 33 w 38"/>
              <a:gd name="T33" fmla="*/ 62 h 146"/>
              <a:gd name="T34" fmla="*/ 19 w 38"/>
              <a:gd name="T35" fmla="*/ 7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146">
                <a:moveTo>
                  <a:pt x="22" y="44"/>
                </a:moveTo>
                <a:cubicBezTo>
                  <a:pt x="22" y="3"/>
                  <a:pt x="22" y="3"/>
                  <a:pt x="22" y="3"/>
                </a:cubicBezTo>
                <a:cubicBezTo>
                  <a:pt x="22" y="1"/>
                  <a:pt x="21" y="0"/>
                  <a:pt x="19" y="0"/>
                </a:cubicBezTo>
                <a:cubicBezTo>
                  <a:pt x="18" y="0"/>
                  <a:pt x="17" y="1"/>
                  <a:pt x="17" y="3"/>
                </a:cubicBezTo>
                <a:cubicBezTo>
                  <a:pt x="17" y="44"/>
                  <a:pt x="17" y="44"/>
                  <a:pt x="17" y="44"/>
                </a:cubicBezTo>
                <a:cubicBezTo>
                  <a:pt x="7" y="45"/>
                  <a:pt x="0" y="53"/>
                  <a:pt x="0" y="62"/>
                </a:cubicBezTo>
                <a:cubicBezTo>
                  <a:pt x="0" y="72"/>
                  <a:pt x="7" y="80"/>
                  <a:pt x="17" y="81"/>
                </a:cubicBezTo>
                <a:cubicBezTo>
                  <a:pt x="17" y="144"/>
                  <a:pt x="17" y="144"/>
                  <a:pt x="17" y="144"/>
                </a:cubicBezTo>
                <a:cubicBezTo>
                  <a:pt x="17" y="145"/>
                  <a:pt x="18" y="146"/>
                  <a:pt x="19" y="146"/>
                </a:cubicBezTo>
                <a:cubicBezTo>
                  <a:pt x="21" y="146"/>
                  <a:pt x="22" y="145"/>
                  <a:pt x="22" y="144"/>
                </a:cubicBezTo>
                <a:cubicBezTo>
                  <a:pt x="22" y="81"/>
                  <a:pt x="22" y="81"/>
                  <a:pt x="22" y="81"/>
                </a:cubicBezTo>
                <a:cubicBezTo>
                  <a:pt x="31" y="80"/>
                  <a:pt x="38" y="72"/>
                  <a:pt x="38" y="62"/>
                </a:cubicBezTo>
                <a:cubicBezTo>
                  <a:pt x="38" y="53"/>
                  <a:pt x="31" y="45"/>
                  <a:pt x="22" y="44"/>
                </a:cubicBezTo>
                <a:close/>
                <a:moveTo>
                  <a:pt x="19" y="76"/>
                </a:moveTo>
                <a:cubicBezTo>
                  <a:pt x="12" y="76"/>
                  <a:pt x="6" y="70"/>
                  <a:pt x="6" y="62"/>
                </a:cubicBezTo>
                <a:cubicBezTo>
                  <a:pt x="6" y="55"/>
                  <a:pt x="12" y="49"/>
                  <a:pt x="19" y="49"/>
                </a:cubicBezTo>
                <a:cubicBezTo>
                  <a:pt x="27" y="49"/>
                  <a:pt x="33" y="55"/>
                  <a:pt x="33" y="62"/>
                </a:cubicBezTo>
                <a:cubicBezTo>
                  <a:pt x="33" y="70"/>
                  <a:pt x="27" y="76"/>
                  <a:pt x="19" y="76"/>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1122">
            <a:extLst>
              <a:ext uri="{FF2B5EF4-FFF2-40B4-BE49-F238E27FC236}">
                <a16:creationId xmlns:a16="http://schemas.microsoft.com/office/drawing/2014/main" id="{6DB2F03B-290B-8948-83E3-AC6076200E8C}"/>
              </a:ext>
            </a:extLst>
          </p:cNvPr>
          <p:cNvSpPr>
            <a:spLocks noEditPoints="1"/>
          </p:cNvSpPr>
          <p:nvPr/>
        </p:nvSpPr>
        <p:spPr bwMode="auto">
          <a:xfrm>
            <a:off x="7681795" y="377825"/>
            <a:ext cx="130175" cy="503238"/>
          </a:xfrm>
          <a:custGeom>
            <a:avLst/>
            <a:gdLst>
              <a:gd name="T0" fmla="*/ 38 w 38"/>
              <a:gd name="T1" fmla="*/ 30 h 146"/>
              <a:gd name="T2" fmla="*/ 22 w 38"/>
              <a:gd name="T3" fmla="*/ 11 h 146"/>
              <a:gd name="T4" fmla="*/ 22 w 38"/>
              <a:gd name="T5" fmla="*/ 3 h 146"/>
              <a:gd name="T6" fmla="*/ 19 w 38"/>
              <a:gd name="T7" fmla="*/ 0 h 146"/>
              <a:gd name="T8" fmla="*/ 16 w 38"/>
              <a:gd name="T9" fmla="*/ 3 h 146"/>
              <a:gd name="T10" fmla="*/ 16 w 38"/>
              <a:gd name="T11" fmla="*/ 11 h 146"/>
              <a:gd name="T12" fmla="*/ 0 w 38"/>
              <a:gd name="T13" fmla="*/ 30 h 146"/>
              <a:gd name="T14" fmla="*/ 16 w 38"/>
              <a:gd name="T15" fmla="*/ 49 h 146"/>
              <a:gd name="T16" fmla="*/ 16 w 38"/>
              <a:gd name="T17" fmla="*/ 144 h 146"/>
              <a:gd name="T18" fmla="*/ 19 w 38"/>
              <a:gd name="T19" fmla="*/ 146 h 146"/>
              <a:gd name="T20" fmla="*/ 22 w 38"/>
              <a:gd name="T21" fmla="*/ 144 h 146"/>
              <a:gd name="T22" fmla="*/ 22 w 38"/>
              <a:gd name="T23" fmla="*/ 49 h 146"/>
              <a:gd name="T24" fmla="*/ 38 w 38"/>
              <a:gd name="T25" fmla="*/ 30 h 146"/>
              <a:gd name="T26" fmla="*/ 19 w 38"/>
              <a:gd name="T27" fmla="*/ 43 h 146"/>
              <a:gd name="T28" fmla="*/ 5 w 38"/>
              <a:gd name="T29" fmla="*/ 30 h 146"/>
              <a:gd name="T30" fmla="*/ 19 w 38"/>
              <a:gd name="T31" fmla="*/ 16 h 146"/>
              <a:gd name="T32" fmla="*/ 33 w 38"/>
              <a:gd name="T33" fmla="*/ 30 h 146"/>
              <a:gd name="T34" fmla="*/ 19 w 38"/>
              <a:gd name="T35" fmla="*/ 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146">
                <a:moveTo>
                  <a:pt x="38" y="30"/>
                </a:moveTo>
                <a:cubicBezTo>
                  <a:pt x="38" y="20"/>
                  <a:pt x="31" y="12"/>
                  <a:pt x="22" y="11"/>
                </a:cubicBezTo>
                <a:cubicBezTo>
                  <a:pt x="22" y="3"/>
                  <a:pt x="22" y="3"/>
                  <a:pt x="22" y="3"/>
                </a:cubicBezTo>
                <a:cubicBezTo>
                  <a:pt x="22" y="1"/>
                  <a:pt x="21" y="0"/>
                  <a:pt x="19" y="0"/>
                </a:cubicBezTo>
                <a:cubicBezTo>
                  <a:pt x="18" y="0"/>
                  <a:pt x="16" y="1"/>
                  <a:pt x="16" y="3"/>
                </a:cubicBezTo>
                <a:cubicBezTo>
                  <a:pt x="16" y="11"/>
                  <a:pt x="16" y="11"/>
                  <a:pt x="16" y="11"/>
                </a:cubicBezTo>
                <a:cubicBezTo>
                  <a:pt x="7" y="12"/>
                  <a:pt x="0" y="20"/>
                  <a:pt x="0" y="30"/>
                </a:cubicBezTo>
                <a:cubicBezTo>
                  <a:pt x="0" y="39"/>
                  <a:pt x="7" y="47"/>
                  <a:pt x="16" y="49"/>
                </a:cubicBezTo>
                <a:cubicBezTo>
                  <a:pt x="16" y="144"/>
                  <a:pt x="16" y="144"/>
                  <a:pt x="16" y="144"/>
                </a:cubicBezTo>
                <a:cubicBezTo>
                  <a:pt x="16" y="145"/>
                  <a:pt x="18" y="146"/>
                  <a:pt x="19" y="146"/>
                </a:cubicBezTo>
                <a:cubicBezTo>
                  <a:pt x="21" y="146"/>
                  <a:pt x="22" y="145"/>
                  <a:pt x="22" y="144"/>
                </a:cubicBezTo>
                <a:cubicBezTo>
                  <a:pt x="22" y="49"/>
                  <a:pt x="22" y="49"/>
                  <a:pt x="22" y="49"/>
                </a:cubicBezTo>
                <a:cubicBezTo>
                  <a:pt x="31" y="47"/>
                  <a:pt x="38" y="39"/>
                  <a:pt x="38" y="30"/>
                </a:cubicBezTo>
                <a:close/>
                <a:moveTo>
                  <a:pt x="19" y="43"/>
                </a:moveTo>
                <a:cubicBezTo>
                  <a:pt x="12" y="43"/>
                  <a:pt x="5" y="37"/>
                  <a:pt x="5" y="30"/>
                </a:cubicBezTo>
                <a:cubicBezTo>
                  <a:pt x="5" y="22"/>
                  <a:pt x="12" y="16"/>
                  <a:pt x="19" y="16"/>
                </a:cubicBezTo>
                <a:cubicBezTo>
                  <a:pt x="26" y="16"/>
                  <a:pt x="33" y="22"/>
                  <a:pt x="33" y="30"/>
                </a:cubicBezTo>
                <a:cubicBezTo>
                  <a:pt x="33" y="37"/>
                  <a:pt x="26" y="43"/>
                  <a:pt x="19" y="43"/>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1123">
            <a:extLst>
              <a:ext uri="{FF2B5EF4-FFF2-40B4-BE49-F238E27FC236}">
                <a16:creationId xmlns:a16="http://schemas.microsoft.com/office/drawing/2014/main" id="{A6317310-9D05-6140-9400-0434A0DEF577}"/>
              </a:ext>
            </a:extLst>
          </p:cNvPr>
          <p:cNvSpPr>
            <a:spLocks/>
          </p:cNvSpPr>
          <p:nvPr/>
        </p:nvSpPr>
        <p:spPr bwMode="auto">
          <a:xfrm>
            <a:off x="7731008" y="454025"/>
            <a:ext cx="33338" cy="17463"/>
          </a:xfrm>
          <a:custGeom>
            <a:avLst/>
            <a:gdLst>
              <a:gd name="T0" fmla="*/ 8 w 10"/>
              <a:gd name="T1" fmla="*/ 0 h 5"/>
              <a:gd name="T2" fmla="*/ 2 w 10"/>
              <a:gd name="T3" fmla="*/ 0 h 5"/>
              <a:gd name="T4" fmla="*/ 0 w 10"/>
              <a:gd name="T5" fmla="*/ 2 h 5"/>
              <a:gd name="T6" fmla="*/ 2 w 10"/>
              <a:gd name="T7" fmla="*/ 5 h 5"/>
              <a:gd name="T8" fmla="*/ 8 w 10"/>
              <a:gd name="T9" fmla="*/ 5 h 5"/>
              <a:gd name="T10" fmla="*/ 10 w 10"/>
              <a:gd name="T11" fmla="*/ 2 h 5"/>
              <a:gd name="T12" fmla="*/ 8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8" y="0"/>
                </a:moveTo>
                <a:cubicBezTo>
                  <a:pt x="2" y="0"/>
                  <a:pt x="2" y="0"/>
                  <a:pt x="2" y="0"/>
                </a:cubicBezTo>
                <a:cubicBezTo>
                  <a:pt x="1" y="0"/>
                  <a:pt x="0" y="1"/>
                  <a:pt x="0" y="2"/>
                </a:cubicBezTo>
                <a:cubicBezTo>
                  <a:pt x="0" y="4"/>
                  <a:pt x="1" y="5"/>
                  <a:pt x="2" y="5"/>
                </a:cubicBezTo>
                <a:cubicBezTo>
                  <a:pt x="8" y="5"/>
                  <a:pt x="8" y="5"/>
                  <a:pt x="8" y="5"/>
                </a:cubicBezTo>
                <a:cubicBezTo>
                  <a:pt x="9" y="5"/>
                  <a:pt x="10" y="4"/>
                  <a:pt x="10" y="2"/>
                </a:cubicBezTo>
                <a:cubicBezTo>
                  <a:pt x="10" y="1"/>
                  <a:pt x="9" y="0"/>
                  <a:pt x="8" y="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7" name="Freeform 1124">
            <a:extLst>
              <a:ext uri="{FF2B5EF4-FFF2-40B4-BE49-F238E27FC236}">
                <a16:creationId xmlns:a16="http://schemas.microsoft.com/office/drawing/2014/main" id="{8424AB53-9B20-1044-AB62-BC5ADE3B143D}"/>
              </a:ext>
            </a:extLst>
          </p:cNvPr>
          <p:cNvSpPr>
            <a:spLocks/>
          </p:cNvSpPr>
          <p:nvPr/>
        </p:nvSpPr>
        <p:spPr bwMode="auto">
          <a:xfrm>
            <a:off x="7589720" y="565150"/>
            <a:ext cx="38100" cy="20638"/>
          </a:xfrm>
          <a:custGeom>
            <a:avLst/>
            <a:gdLst>
              <a:gd name="T0" fmla="*/ 8 w 11"/>
              <a:gd name="T1" fmla="*/ 0 h 6"/>
              <a:gd name="T2" fmla="*/ 3 w 11"/>
              <a:gd name="T3" fmla="*/ 0 h 6"/>
              <a:gd name="T4" fmla="*/ 0 w 11"/>
              <a:gd name="T5" fmla="*/ 3 h 6"/>
              <a:gd name="T6" fmla="*/ 3 w 11"/>
              <a:gd name="T7" fmla="*/ 6 h 6"/>
              <a:gd name="T8" fmla="*/ 8 w 11"/>
              <a:gd name="T9" fmla="*/ 6 h 6"/>
              <a:gd name="T10" fmla="*/ 11 w 11"/>
              <a:gd name="T11" fmla="*/ 3 h 6"/>
              <a:gd name="T12" fmla="*/ 8 w 11"/>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8" y="0"/>
                </a:moveTo>
                <a:cubicBezTo>
                  <a:pt x="3" y="0"/>
                  <a:pt x="3" y="0"/>
                  <a:pt x="3" y="0"/>
                </a:cubicBezTo>
                <a:cubicBezTo>
                  <a:pt x="1" y="0"/>
                  <a:pt x="0" y="1"/>
                  <a:pt x="0" y="3"/>
                </a:cubicBezTo>
                <a:cubicBezTo>
                  <a:pt x="0" y="4"/>
                  <a:pt x="1" y="6"/>
                  <a:pt x="3" y="6"/>
                </a:cubicBezTo>
                <a:cubicBezTo>
                  <a:pt x="8" y="6"/>
                  <a:pt x="8" y="6"/>
                  <a:pt x="8" y="6"/>
                </a:cubicBezTo>
                <a:cubicBezTo>
                  <a:pt x="10" y="6"/>
                  <a:pt x="11" y="4"/>
                  <a:pt x="11" y="3"/>
                </a:cubicBezTo>
                <a:cubicBezTo>
                  <a:pt x="11" y="1"/>
                  <a:pt x="10" y="0"/>
                  <a:pt x="8" y="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8" name="Freeform 1125">
            <a:extLst>
              <a:ext uri="{FF2B5EF4-FFF2-40B4-BE49-F238E27FC236}">
                <a16:creationId xmlns:a16="http://schemas.microsoft.com/office/drawing/2014/main" id="{D9B55EF5-1CCC-DB4B-A8BC-3CE62E4F4CE1}"/>
              </a:ext>
            </a:extLst>
          </p:cNvPr>
          <p:cNvSpPr>
            <a:spLocks/>
          </p:cNvSpPr>
          <p:nvPr/>
        </p:nvSpPr>
        <p:spPr bwMode="auto">
          <a:xfrm>
            <a:off x="7589720" y="601663"/>
            <a:ext cx="38100" cy="20638"/>
          </a:xfrm>
          <a:custGeom>
            <a:avLst/>
            <a:gdLst>
              <a:gd name="T0" fmla="*/ 8 w 11"/>
              <a:gd name="T1" fmla="*/ 0 h 6"/>
              <a:gd name="T2" fmla="*/ 3 w 11"/>
              <a:gd name="T3" fmla="*/ 0 h 6"/>
              <a:gd name="T4" fmla="*/ 0 w 11"/>
              <a:gd name="T5" fmla="*/ 3 h 6"/>
              <a:gd name="T6" fmla="*/ 3 w 11"/>
              <a:gd name="T7" fmla="*/ 6 h 6"/>
              <a:gd name="T8" fmla="*/ 8 w 11"/>
              <a:gd name="T9" fmla="*/ 6 h 6"/>
              <a:gd name="T10" fmla="*/ 11 w 11"/>
              <a:gd name="T11" fmla="*/ 3 h 6"/>
              <a:gd name="T12" fmla="*/ 8 w 11"/>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8" y="0"/>
                </a:moveTo>
                <a:cubicBezTo>
                  <a:pt x="3" y="0"/>
                  <a:pt x="3" y="0"/>
                  <a:pt x="3" y="0"/>
                </a:cubicBezTo>
                <a:cubicBezTo>
                  <a:pt x="1" y="0"/>
                  <a:pt x="0" y="1"/>
                  <a:pt x="0" y="3"/>
                </a:cubicBezTo>
                <a:cubicBezTo>
                  <a:pt x="0" y="4"/>
                  <a:pt x="1" y="6"/>
                  <a:pt x="3" y="6"/>
                </a:cubicBezTo>
                <a:cubicBezTo>
                  <a:pt x="8" y="6"/>
                  <a:pt x="8" y="6"/>
                  <a:pt x="8" y="6"/>
                </a:cubicBezTo>
                <a:cubicBezTo>
                  <a:pt x="10" y="6"/>
                  <a:pt x="11" y="4"/>
                  <a:pt x="11" y="3"/>
                </a:cubicBezTo>
                <a:cubicBezTo>
                  <a:pt x="11" y="1"/>
                  <a:pt x="10" y="0"/>
                  <a:pt x="8" y="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9" name="Freeform 1126">
            <a:extLst>
              <a:ext uri="{FF2B5EF4-FFF2-40B4-BE49-F238E27FC236}">
                <a16:creationId xmlns:a16="http://schemas.microsoft.com/office/drawing/2014/main" id="{3B0BE5FD-08D7-5247-AC72-1E02B238135C}"/>
              </a:ext>
            </a:extLst>
          </p:cNvPr>
          <p:cNvSpPr>
            <a:spLocks/>
          </p:cNvSpPr>
          <p:nvPr/>
        </p:nvSpPr>
        <p:spPr bwMode="auto">
          <a:xfrm>
            <a:off x="7450020" y="677863"/>
            <a:ext cx="38100" cy="17463"/>
          </a:xfrm>
          <a:custGeom>
            <a:avLst/>
            <a:gdLst>
              <a:gd name="T0" fmla="*/ 8 w 11"/>
              <a:gd name="T1" fmla="*/ 0 h 5"/>
              <a:gd name="T2" fmla="*/ 3 w 11"/>
              <a:gd name="T3" fmla="*/ 0 h 5"/>
              <a:gd name="T4" fmla="*/ 0 w 11"/>
              <a:gd name="T5" fmla="*/ 2 h 5"/>
              <a:gd name="T6" fmla="*/ 3 w 11"/>
              <a:gd name="T7" fmla="*/ 5 h 5"/>
              <a:gd name="T8" fmla="*/ 8 w 11"/>
              <a:gd name="T9" fmla="*/ 5 h 5"/>
              <a:gd name="T10" fmla="*/ 11 w 11"/>
              <a:gd name="T11" fmla="*/ 2 h 5"/>
              <a:gd name="T12" fmla="*/ 8 w 11"/>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1" h="5">
                <a:moveTo>
                  <a:pt x="8" y="0"/>
                </a:moveTo>
                <a:cubicBezTo>
                  <a:pt x="3" y="0"/>
                  <a:pt x="3" y="0"/>
                  <a:pt x="3" y="0"/>
                </a:cubicBezTo>
                <a:cubicBezTo>
                  <a:pt x="1" y="0"/>
                  <a:pt x="0" y="1"/>
                  <a:pt x="0" y="2"/>
                </a:cubicBezTo>
                <a:cubicBezTo>
                  <a:pt x="0" y="4"/>
                  <a:pt x="1" y="5"/>
                  <a:pt x="3" y="5"/>
                </a:cubicBezTo>
                <a:cubicBezTo>
                  <a:pt x="8" y="5"/>
                  <a:pt x="8" y="5"/>
                  <a:pt x="8" y="5"/>
                </a:cubicBezTo>
                <a:cubicBezTo>
                  <a:pt x="10" y="5"/>
                  <a:pt x="11" y="4"/>
                  <a:pt x="11" y="2"/>
                </a:cubicBezTo>
                <a:cubicBezTo>
                  <a:pt x="11" y="1"/>
                  <a:pt x="10" y="0"/>
                  <a:pt x="8" y="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0" name="Freeform 1127">
            <a:extLst>
              <a:ext uri="{FF2B5EF4-FFF2-40B4-BE49-F238E27FC236}">
                <a16:creationId xmlns:a16="http://schemas.microsoft.com/office/drawing/2014/main" id="{669C37DB-C489-A442-ADA4-10BE3709C80E}"/>
              </a:ext>
            </a:extLst>
          </p:cNvPr>
          <p:cNvSpPr>
            <a:spLocks/>
          </p:cNvSpPr>
          <p:nvPr/>
        </p:nvSpPr>
        <p:spPr bwMode="auto">
          <a:xfrm>
            <a:off x="7450020" y="715963"/>
            <a:ext cx="38100" cy="17463"/>
          </a:xfrm>
          <a:custGeom>
            <a:avLst/>
            <a:gdLst>
              <a:gd name="T0" fmla="*/ 8 w 11"/>
              <a:gd name="T1" fmla="*/ 0 h 5"/>
              <a:gd name="T2" fmla="*/ 3 w 11"/>
              <a:gd name="T3" fmla="*/ 0 h 5"/>
              <a:gd name="T4" fmla="*/ 0 w 11"/>
              <a:gd name="T5" fmla="*/ 2 h 5"/>
              <a:gd name="T6" fmla="*/ 3 w 11"/>
              <a:gd name="T7" fmla="*/ 5 h 5"/>
              <a:gd name="T8" fmla="*/ 8 w 11"/>
              <a:gd name="T9" fmla="*/ 5 h 5"/>
              <a:gd name="T10" fmla="*/ 11 w 11"/>
              <a:gd name="T11" fmla="*/ 2 h 5"/>
              <a:gd name="T12" fmla="*/ 8 w 11"/>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1" h="5">
                <a:moveTo>
                  <a:pt x="8" y="0"/>
                </a:moveTo>
                <a:cubicBezTo>
                  <a:pt x="3" y="0"/>
                  <a:pt x="3" y="0"/>
                  <a:pt x="3" y="0"/>
                </a:cubicBezTo>
                <a:cubicBezTo>
                  <a:pt x="1" y="0"/>
                  <a:pt x="0" y="1"/>
                  <a:pt x="0" y="2"/>
                </a:cubicBezTo>
                <a:cubicBezTo>
                  <a:pt x="0" y="4"/>
                  <a:pt x="1" y="5"/>
                  <a:pt x="3" y="5"/>
                </a:cubicBezTo>
                <a:cubicBezTo>
                  <a:pt x="8" y="5"/>
                  <a:pt x="8" y="5"/>
                  <a:pt x="8" y="5"/>
                </a:cubicBezTo>
                <a:cubicBezTo>
                  <a:pt x="10" y="5"/>
                  <a:pt x="11" y="4"/>
                  <a:pt x="11" y="2"/>
                </a:cubicBezTo>
                <a:cubicBezTo>
                  <a:pt x="11" y="1"/>
                  <a:pt x="10" y="0"/>
                  <a:pt x="8" y="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Freeform 1128">
            <a:extLst>
              <a:ext uri="{FF2B5EF4-FFF2-40B4-BE49-F238E27FC236}">
                <a16:creationId xmlns:a16="http://schemas.microsoft.com/office/drawing/2014/main" id="{088753E8-0A8A-3340-A752-15BFDB5FC7CC}"/>
              </a:ext>
            </a:extLst>
          </p:cNvPr>
          <p:cNvSpPr>
            <a:spLocks/>
          </p:cNvSpPr>
          <p:nvPr/>
        </p:nvSpPr>
        <p:spPr bwMode="auto">
          <a:xfrm>
            <a:off x="7313495" y="787400"/>
            <a:ext cx="34925" cy="20638"/>
          </a:xfrm>
          <a:custGeom>
            <a:avLst/>
            <a:gdLst>
              <a:gd name="T0" fmla="*/ 8 w 10"/>
              <a:gd name="T1" fmla="*/ 0 h 6"/>
              <a:gd name="T2" fmla="*/ 2 w 10"/>
              <a:gd name="T3" fmla="*/ 0 h 6"/>
              <a:gd name="T4" fmla="*/ 0 w 10"/>
              <a:gd name="T5" fmla="*/ 3 h 6"/>
              <a:gd name="T6" fmla="*/ 2 w 10"/>
              <a:gd name="T7" fmla="*/ 6 h 6"/>
              <a:gd name="T8" fmla="*/ 8 w 10"/>
              <a:gd name="T9" fmla="*/ 6 h 6"/>
              <a:gd name="T10" fmla="*/ 10 w 10"/>
              <a:gd name="T11" fmla="*/ 3 h 6"/>
              <a:gd name="T12" fmla="*/ 8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0"/>
                </a:moveTo>
                <a:cubicBezTo>
                  <a:pt x="2" y="0"/>
                  <a:pt x="2" y="0"/>
                  <a:pt x="2" y="0"/>
                </a:cubicBezTo>
                <a:cubicBezTo>
                  <a:pt x="1" y="0"/>
                  <a:pt x="0" y="2"/>
                  <a:pt x="0" y="3"/>
                </a:cubicBezTo>
                <a:cubicBezTo>
                  <a:pt x="0" y="5"/>
                  <a:pt x="1" y="6"/>
                  <a:pt x="2" y="6"/>
                </a:cubicBezTo>
                <a:cubicBezTo>
                  <a:pt x="8" y="6"/>
                  <a:pt x="8" y="6"/>
                  <a:pt x="8" y="6"/>
                </a:cubicBezTo>
                <a:cubicBezTo>
                  <a:pt x="9" y="6"/>
                  <a:pt x="10" y="5"/>
                  <a:pt x="10" y="3"/>
                </a:cubicBezTo>
                <a:cubicBezTo>
                  <a:pt x="10" y="2"/>
                  <a:pt x="9" y="0"/>
                  <a:pt x="8" y="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1129">
            <a:extLst>
              <a:ext uri="{FF2B5EF4-FFF2-40B4-BE49-F238E27FC236}">
                <a16:creationId xmlns:a16="http://schemas.microsoft.com/office/drawing/2014/main" id="{D4F10FAC-0B02-D240-BDDB-66E518A7EC05}"/>
              </a:ext>
            </a:extLst>
          </p:cNvPr>
          <p:cNvSpPr>
            <a:spLocks/>
          </p:cNvSpPr>
          <p:nvPr/>
        </p:nvSpPr>
        <p:spPr bwMode="auto">
          <a:xfrm>
            <a:off x="7313495" y="825500"/>
            <a:ext cx="34925" cy="20638"/>
          </a:xfrm>
          <a:custGeom>
            <a:avLst/>
            <a:gdLst>
              <a:gd name="T0" fmla="*/ 8 w 10"/>
              <a:gd name="T1" fmla="*/ 0 h 6"/>
              <a:gd name="T2" fmla="*/ 2 w 10"/>
              <a:gd name="T3" fmla="*/ 0 h 6"/>
              <a:gd name="T4" fmla="*/ 0 w 10"/>
              <a:gd name="T5" fmla="*/ 3 h 6"/>
              <a:gd name="T6" fmla="*/ 2 w 10"/>
              <a:gd name="T7" fmla="*/ 6 h 6"/>
              <a:gd name="T8" fmla="*/ 8 w 10"/>
              <a:gd name="T9" fmla="*/ 6 h 6"/>
              <a:gd name="T10" fmla="*/ 10 w 10"/>
              <a:gd name="T11" fmla="*/ 3 h 6"/>
              <a:gd name="T12" fmla="*/ 8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0"/>
                </a:moveTo>
                <a:cubicBezTo>
                  <a:pt x="2" y="0"/>
                  <a:pt x="2" y="0"/>
                  <a:pt x="2" y="0"/>
                </a:cubicBezTo>
                <a:cubicBezTo>
                  <a:pt x="1" y="0"/>
                  <a:pt x="0" y="1"/>
                  <a:pt x="0" y="3"/>
                </a:cubicBezTo>
                <a:cubicBezTo>
                  <a:pt x="0" y="4"/>
                  <a:pt x="1" y="6"/>
                  <a:pt x="2" y="6"/>
                </a:cubicBezTo>
                <a:cubicBezTo>
                  <a:pt x="8" y="6"/>
                  <a:pt x="8" y="6"/>
                  <a:pt x="8" y="6"/>
                </a:cubicBezTo>
                <a:cubicBezTo>
                  <a:pt x="9" y="6"/>
                  <a:pt x="10" y="4"/>
                  <a:pt x="10" y="3"/>
                </a:cubicBezTo>
                <a:cubicBezTo>
                  <a:pt x="10" y="1"/>
                  <a:pt x="9" y="0"/>
                  <a:pt x="8" y="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3" name="Freeform 1130">
            <a:extLst>
              <a:ext uri="{FF2B5EF4-FFF2-40B4-BE49-F238E27FC236}">
                <a16:creationId xmlns:a16="http://schemas.microsoft.com/office/drawing/2014/main" id="{5B6BCFD0-A50B-074C-BDBE-F153C62C606A}"/>
              </a:ext>
            </a:extLst>
          </p:cNvPr>
          <p:cNvSpPr>
            <a:spLocks/>
          </p:cNvSpPr>
          <p:nvPr/>
        </p:nvSpPr>
        <p:spPr bwMode="auto">
          <a:xfrm>
            <a:off x="7731008" y="492125"/>
            <a:ext cx="33338" cy="17463"/>
          </a:xfrm>
          <a:custGeom>
            <a:avLst/>
            <a:gdLst>
              <a:gd name="T0" fmla="*/ 8 w 10"/>
              <a:gd name="T1" fmla="*/ 0 h 5"/>
              <a:gd name="T2" fmla="*/ 2 w 10"/>
              <a:gd name="T3" fmla="*/ 0 h 5"/>
              <a:gd name="T4" fmla="*/ 0 w 10"/>
              <a:gd name="T5" fmla="*/ 2 h 5"/>
              <a:gd name="T6" fmla="*/ 2 w 10"/>
              <a:gd name="T7" fmla="*/ 5 h 5"/>
              <a:gd name="T8" fmla="*/ 8 w 10"/>
              <a:gd name="T9" fmla="*/ 5 h 5"/>
              <a:gd name="T10" fmla="*/ 10 w 10"/>
              <a:gd name="T11" fmla="*/ 2 h 5"/>
              <a:gd name="T12" fmla="*/ 8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8" y="0"/>
                </a:moveTo>
                <a:cubicBezTo>
                  <a:pt x="2" y="0"/>
                  <a:pt x="2" y="0"/>
                  <a:pt x="2" y="0"/>
                </a:cubicBezTo>
                <a:cubicBezTo>
                  <a:pt x="1" y="0"/>
                  <a:pt x="0" y="1"/>
                  <a:pt x="0" y="2"/>
                </a:cubicBezTo>
                <a:cubicBezTo>
                  <a:pt x="0" y="4"/>
                  <a:pt x="1" y="5"/>
                  <a:pt x="2" y="5"/>
                </a:cubicBezTo>
                <a:cubicBezTo>
                  <a:pt x="8" y="5"/>
                  <a:pt x="8" y="5"/>
                  <a:pt x="8" y="5"/>
                </a:cubicBezTo>
                <a:cubicBezTo>
                  <a:pt x="9" y="5"/>
                  <a:pt x="10" y="4"/>
                  <a:pt x="10" y="2"/>
                </a:cubicBezTo>
                <a:cubicBezTo>
                  <a:pt x="10" y="1"/>
                  <a:pt x="9" y="0"/>
                  <a:pt x="8" y="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1131">
            <a:extLst>
              <a:ext uri="{FF2B5EF4-FFF2-40B4-BE49-F238E27FC236}">
                <a16:creationId xmlns:a16="http://schemas.microsoft.com/office/drawing/2014/main" id="{59049295-19BF-5947-A2F1-E229A2450370}"/>
              </a:ext>
            </a:extLst>
          </p:cNvPr>
          <p:cNvSpPr>
            <a:spLocks noEditPoints="1"/>
          </p:cNvSpPr>
          <p:nvPr/>
        </p:nvSpPr>
        <p:spPr bwMode="auto">
          <a:xfrm>
            <a:off x="7265870" y="1011238"/>
            <a:ext cx="546100" cy="495300"/>
          </a:xfrm>
          <a:custGeom>
            <a:avLst/>
            <a:gdLst>
              <a:gd name="T0" fmla="*/ 13 w 160"/>
              <a:gd name="T1" fmla="*/ 3 h 144"/>
              <a:gd name="T2" fmla="*/ 0 w 160"/>
              <a:gd name="T3" fmla="*/ 133 h 144"/>
              <a:gd name="T4" fmla="*/ 16 w 160"/>
              <a:gd name="T5" fmla="*/ 144 h 144"/>
              <a:gd name="T6" fmla="*/ 32 w 160"/>
              <a:gd name="T7" fmla="*/ 133 h 144"/>
              <a:gd name="T8" fmla="*/ 19 w 160"/>
              <a:gd name="T9" fmla="*/ 3 h 144"/>
              <a:gd name="T10" fmla="*/ 5 w 160"/>
              <a:gd name="T11" fmla="*/ 101 h 144"/>
              <a:gd name="T12" fmla="*/ 61 w 160"/>
              <a:gd name="T13" fmla="*/ 3 h 144"/>
              <a:gd name="T14" fmla="*/ 56 w 160"/>
              <a:gd name="T15" fmla="*/ 69 h 144"/>
              <a:gd name="T16" fmla="*/ 56 w 160"/>
              <a:gd name="T17" fmla="*/ 107 h 144"/>
              <a:gd name="T18" fmla="*/ 61 w 160"/>
              <a:gd name="T19" fmla="*/ 141 h 144"/>
              <a:gd name="T20" fmla="*/ 75 w 160"/>
              <a:gd name="T21" fmla="*/ 69 h 144"/>
              <a:gd name="T22" fmla="*/ 69 w 160"/>
              <a:gd name="T23" fmla="*/ 101 h 144"/>
              <a:gd name="T24" fmla="*/ 69 w 160"/>
              <a:gd name="T25" fmla="*/ 75 h 144"/>
              <a:gd name="T26" fmla="*/ 101 w 160"/>
              <a:gd name="T27" fmla="*/ 0 h 144"/>
              <a:gd name="T28" fmla="*/ 85 w 160"/>
              <a:gd name="T29" fmla="*/ 43 h 144"/>
              <a:gd name="T30" fmla="*/ 99 w 160"/>
              <a:gd name="T31" fmla="*/ 141 h 144"/>
              <a:gd name="T32" fmla="*/ 104 w 160"/>
              <a:gd name="T33" fmla="*/ 80 h 144"/>
              <a:gd name="T34" fmla="*/ 104 w 160"/>
              <a:gd name="T35" fmla="*/ 43 h 144"/>
              <a:gd name="T36" fmla="*/ 91 w 160"/>
              <a:gd name="T37" fmla="*/ 75 h 144"/>
              <a:gd name="T38" fmla="*/ 112 w 160"/>
              <a:gd name="T39" fmla="*/ 75 h 144"/>
              <a:gd name="T40" fmla="*/ 147 w 160"/>
              <a:gd name="T41" fmla="*/ 3 h 144"/>
              <a:gd name="T42" fmla="*/ 141 w 160"/>
              <a:gd name="T43" fmla="*/ 11 h 144"/>
              <a:gd name="T44" fmla="*/ 141 w 160"/>
              <a:gd name="T45" fmla="*/ 48 h 144"/>
              <a:gd name="T46" fmla="*/ 147 w 160"/>
              <a:gd name="T47" fmla="*/ 141 h 144"/>
              <a:gd name="T48" fmla="*/ 160 w 160"/>
              <a:gd name="T49" fmla="*/ 11 h 144"/>
              <a:gd name="T50" fmla="*/ 133 w 160"/>
              <a:gd name="T51" fmla="*/ 16 h 144"/>
              <a:gd name="T52" fmla="*/ 56 w 160"/>
              <a:gd name="T53" fmla="*/ 80 h 144"/>
              <a:gd name="T54" fmla="*/ 61 w 160"/>
              <a:gd name="T55" fmla="*/ 85 h 144"/>
              <a:gd name="T56" fmla="*/ 56 w 160"/>
              <a:gd name="T57" fmla="*/ 80 h 144"/>
              <a:gd name="T58" fmla="*/ 99 w 160"/>
              <a:gd name="T59" fmla="*/ 69 h 144"/>
              <a:gd name="T60" fmla="*/ 104 w 160"/>
              <a:gd name="T61" fmla="*/ 64 h 144"/>
              <a:gd name="T62" fmla="*/ 104 w 160"/>
              <a:gd name="T63" fmla="*/ 53 h 144"/>
              <a:gd name="T64" fmla="*/ 99 w 160"/>
              <a:gd name="T65" fmla="*/ 59 h 144"/>
              <a:gd name="T66" fmla="*/ 149 w 160"/>
              <a:gd name="T67" fmla="*/ 35 h 144"/>
              <a:gd name="T68" fmla="*/ 139 w 160"/>
              <a:gd name="T69" fmla="*/ 35 h 144"/>
              <a:gd name="T70" fmla="*/ 149 w 160"/>
              <a:gd name="T71" fmla="*/ 35 h 144"/>
              <a:gd name="T72" fmla="*/ 149 w 160"/>
              <a:gd name="T73" fmla="*/ 24 h 144"/>
              <a:gd name="T74" fmla="*/ 139 w 160"/>
              <a:gd name="T75" fmla="*/ 24 h 144"/>
              <a:gd name="T76" fmla="*/ 61 w 160"/>
              <a:gd name="T77" fmla="*/ 96 h 144"/>
              <a:gd name="T78" fmla="*/ 56 w 160"/>
              <a:gd name="T79" fmla="*/ 91 h 144"/>
              <a:gd name="T80" fmla="*/ 13 w 160"/>
              <a:gd name="T81" fmla="*/ 107 h 144"/>
              <a:gd name="T82" fmla="*/ 19 w 160"/>
              <a:gd name="T83" fmla="*/ 112 h 144"/>
              <a:gd name="T84" fmla="*/ 13 w 160"/>
              <a:gd name="T85" fmla="*/ 107 h 144"/>
              <a:gd name="T86" fmla="*/ 13 w 160"/>
              <a:gd name="T87" fmla="*/ 123 h 144"/>
              <a:gd name="T88" fmla="*/ 19 w 160"/>
              <a:gd name="T89" fmla="*/ 11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144">
                <a:moveTo>
                  <a:pt x="19" y="3"/>
                </a:moveTo>
                <a:cubicBezTo>
                  <a:pt x="19" y="1"/>
                  <a:pt x="17" y="0"/>
                  <a:pt x="16" y="0"/>
                </a:cubicBezTo>
                <a:cubicBezTo>
                  <a:pt x="15" y="0"/>
                  <a:pt x="13" y="1"/>
                  <a:pt x="13" y="3"/>
                </a:cubicBezTo>
                <a:cubicBezTo>
                  <a:pt x="13" y="96"/>
                  <a:pt x="13" y="96"/>
                  <a:pt x="13" y="96"/>
                </a:cubicBezTo>
                <a:cubicBezTo>
                  <a:pt x="0" y="96"/>
                  <a:pt x="0" y="96"/>
                  <a:pt x="0" y="96"/>
                </a:cubicBezTo>
                <a:cubicBezTo>
                  <a:pt x="0" y="133"/>
                  <a:pt x="0" y="133"/>
                  <a:pt x="0" y="133"/>
                </a:cubicBezTo>
                <a:cubicBezTo>
                  <a:pt x="13" y="133"/>
                  <a:pt x="13" y="133"/>
                  <a:pt x="13" y="133"/>
                </a:cubicBezTo>
                <a:cubicBezTo>
                  <a:pt x="13" y="141"/>
                  <a:pt x="13" y="141"/>
                  <a:pt x="13" y="141"/>
                </a:cubicBezTo>
                <a:cubicBezTo>
                  <a:pt x="13" y="143"/>
                  <a:pt x="15" y="144"/>
                  <a:pt x="16" y="144"/>
                </a:cubicBezTo>
                <a:cubicBezTo>
                  <a:pt x="17" y="144"/>
                  <a:pt x="19" y="143"/>
                  <a:pt x="19" y="141"/>
                </a:cubicBezTo>
                <a:cubicBezTo>
                  <a:pt x="19" y="133"/>
                  <a:pt x="19" y="133"/>
                  <a:pt x="19" y="133"/>
                </a:cubicBezTo>
                <a:cubicBezTo>
                  <a:pt x="32" y="133"/>
                  <a:pt x="32" y="133"/>
                  <a:pt x="32" y="133"/>
                </a:cubicBezTo>
                <a:cubicBezTo>
                  <a:pt x="32" y="96"/>
                  <a:pt x="32" y="96"/>
                  <a:pt x="32" y="96"/>
                </a:cubicBezTo>
                <a:cubicBezTo>
                  <a:pt x="19" y="96"/>
                  <a:pt x="19" y="96"/>
                  <a:pt x="19" y="96"/>
                </a:cubicBezTo>
                <a:lnTo>
                  <a:pt x="19" y="3"/>
                </a:lnTo>
                <a:close/>
                <a:moveTo>
                  <a:pt x="27" y="128"/>
                </a:moveTo>
                <a:cubicBezTo>
                  <a:pt x="5" y="128"/>
                  <a:pt x="5" y="128"/>
                  <a:pt x="5" y="128"/>
                </a:cubicBezTo>
                <a:cubicBezTo>
                  <a:pt x="5" y="101"/>
                  <a:pt x="5" y="101"/>
                  <a:pt x="5" y="101"/>
                </a:cubicBezTo>
                <a:cubicBezTo>
                  <a:pt x="27" y="101"/>
                  <a:pt x="27" y="101"/>
                  <a:pt x="27" y="101"/>
                </a:cubicBezTo>
                <a:lnTo>
                  <a:pt x="27" y="128"/>
                </a:lnTo>
                <a:close/>
                <a:moveTo>
                  <a:pt x="61" y="3"/>
                </a:moveTo>
                <a:cubicBezTo>
                  <a:pt x="61" y="1"/>
                  <a:pt x="60" y="0"/>
                  <a:pt x="59" y="0"/>
                </a:cubicBezTo>
                <a:cubicBezTo>
                  <a:pt x="57" y="0"/>
                  <a:pt x="56" y="1"/>
                  <a:pt x="56" y="3"/>
                </a:cubicBezTo>
                <a:cubicBezTo>
                  <a:pt x="56" y="69"/>
                  <a:pt x="56" y="69"/>
                  <a:pt x="56" y="69"/>
                </a:cubicBezTo>
                <a:cubicBezTo>
                  <a:pt x="43" y="69"/>
                  <a:pt x="43" y="69"/>
                  <a:pt x="43" y="69"/>
                </a:cubicBezTo>
                <a:cubicBezTo>
                  <a:pt x="43" y="107"/>
                  <a:pt x="43" y="107"/>
                  <a:pt x="43" y="107"/>
                </a:cubicBezTo>
                <a:cubicBezTo>
                  <a:pt x="56" y="107"/>
                  <a:pt x="56" y="107"/>
                  <a:pt x="56" y="107"/>
                </a:cubicBezTo>
                <a:cubicBezTo>
                  <a:pt x="56" y="141"/>
                  <a:pt x="56" y="141"/>
                  <a:pt x="56" y="141"/>
                </a:cubicBezTo>
                <a:cubicBezTo>
                  <a:pt x="56" y="143"/>
                  <a:pt x="57" y="144"/>
                  <a:pt x="59" y="144"/>
                </a:cubicBezTo>
                <a:cubicBezTo>
                  <a:pt x="60" y="144"/>
                  <a:pt x="61" y="143"/>
                  <a:pt x="61" y="141"/>
                </a:cubicBezTo>
                <a:cubicBezTo>
                  <a:pt x="61" y="107"/>
                  <a:pt x="61" y="107"/>
                  <a:pt x="61" y="107"/>
                </a:cubicBezTo>
                <a:cubicBezTo>
                  <a:pt x="75" y="107"/>
                  <a:pt x="75" y="107"/>
                  <a:pt x="75" y="107"/>
                </a:cubicBezTo>
                <a:cubicBezTo>
                  <a:pt x="75" y="69"/>
                  <a:pt x="75" y="69"/>
                  <a:pt x="75" y="69"/>
                </a:cubicBezTo>
                <a:cubicBezTo>
                  <a:pt x="61" y="69"/>
                  <a:pt x="61" y="69"/>
                  <a:pt x="61" y="69"/>
                </a:cubicBezTo>
                <a:lnTo>
                  <a:pt x="61" y="3"/>
                </a:lnTo>
                <a:close/>
                <a:moveTo>
                  <a:pt x="69" y="101"/>
                </a:moveTo>
                <a:cubicBezTo>
                  <a:pt x="48" y="101"/>
                  <a:pt x="48" y="101"/>
                  <a:pt x="48" y="101"/>
                </a:cubicBezTo>
                <a:cubicBezTo>
                  <a:pt x="48" y="75"/>
                  <a:pt x="48" y="75"/>
                  <a:pt x="48" y="75"/>
                </a:cubicBezTo>
                <a:cubicBezTo>
                  <a:pt x="69" y="75"/>
                  <a:pt x="69" y="75"/>
                  <a:pt x="69" y="75"/>
                </a:cubicBezTo>
                <a:lnTo>
                  <a:pt x="69" y="101"/>
                </a:lnTo>
                <a:close/>
                <a:moveTo>
                  <a:pt x="104" y="3"/>
                </a:moveTo>
                <a:cubicBezTo>
                  <a:pt x="104" y="1"/>
                  <a:pt x="103" y="0"/>
                  <a:pt x="101" y="0"/>
                </a:cubicBezTo>
                <a:cubicBezTo>
                  <a:pt x="100" y="0"/>
                  <a:pt x="99" y="1"/>
                  <a:pt x="99" y="3"/>
                </a:cubicBezTo>
                <a:cubicBezTo>
                  <a:pt x="99" y="43"/>
                  <a:pt x="99" y="43"/>
                  <a:pt x="99" y="43"/>
                </a:cubicBezTo>
                <a:cubicBezTo>
                  <a:pt x="85" y="43"/>
                  <a:pt x="85" y="43"/>
                  <a:pt x="85" y="43"/>
                </a:cubicBezTo>
                <a:cubicBezTo>
                  <a:pt x="85" y="80"/>
                  <a:pt x="85" y="80"/>
                  <a:pt x="85" y="80"/>
                </a:cubicBezTo>
                <a:cubicBezTo>
                  <a:pt x="99" y="80"/>
                  <a:pt x="99" y="80"/>
                  <a:pt x="99" y="80"/>
                </a:cubicBezTo>
                <a:cubicBezTo>
                  <a:pt x="99" y="141"/>
                  <a:pt x="99" y="141"/>
                  <a:pt x="99" y="141"/>
                </a:cubicBezTo>
                <a:cubicBezTo>
                  <a:pt x="99" y="143"/>
                  <a:pt x="100" y="144"/>
                  <a:pt x="101" y="144"/>
                </a:cubicBezTo>
                <a:cubicBezTo>
                  <a:pt x="103" y="144"/>
                  <a:pt x="104" y="143"/>
                  <a:pt x="104" y="141"/>
                </a:cubicBezTo>
                <a:cubicBezTo>
                  <a:pt x="104" y="80"/>
                  <a:pt x="104" y="80"/>
                  <a:pt x="104" y="80"/>
                </a:cubicBezTo>
                <a:cubicBezTo>
                  <a:pt x="117" y="80"/>
                  <a:pt x="117" y="80"/>
                  <a:pt x="117" y="80"/>
                </a:cubicBezTo>
                <a:cubicBezTo>
                  <a:pt x="117" y="43"/>
                  <a:pt x="117" y="43"/>
                  <a:pt x="117" y="43"/>
                </a:cubicBezTo>
                <a:cubicBezTo>
                  <a:pt x="104" y="43"/>
                  <a:pt x="104" y="43"/>
                  <a:pt x="104" y="43"/>
                </a:cubicBezTo>
                <a:lnTo>
                  <a:pt x="104" y="3"/>
                </a:lnTo>
                <a:close/>
                <a:moveTo>
                  <a:pt x="112" y="75"/>
                </a:moveTo>
                <a:cubicBezTo>
                  <a:pt x="91" y="75"/>
                  <a:pt x="91" y="75"/>
                  <a:pt x="91" y="75"/>
                </a:cubicBezTo>
                <a:cubicBezTo>
                  <a:pt x="91" y="48"/>
                  <a:pt x="91" y="48"/>
                  <a:pt x="91" y="48"/>
                </a:cubicBezTo>
                <a:cubicBezTo>
                  <a:pt x="112" y="48"/>
                  <a:pt x="112" y="48"/>
                  <a:pt x="112" y="48"/>
                </a:cubicBezTo>
                <a:lnTo>
                  <a:pt x="112" y="75"/>
                </a:lnTo>
                <a:close/>
                <a:moveTo>
                  <a:pt x="160" y="11"/>
                </a:moveTo>
                <a:cubicBezTo>
                  <a:pt x="147" y="11"/>
                  <a:pt x="147" y="11"/>
                  <a:pt x="147" y="11"/>
                </a:cubicBezTo>
                <a:cubicBezTo>
                  <a:pt x="147" y="3"/>
                  <a:pt x="147" y="3"/>
                  <a:pt x="147" y="3"/>
                </a:cubicBezTo>
                <a:cubicBezTo>
                  <a:pt x="147" y="1"/>
                  <a:pt x="145" y="0"/>
                  <a:pt x="144" y="0"/>
                </a:cubicBezTo>
                <a:cubicBezTo>
                  <a:pt x="143" y="0"/>
                  <a:pt x="141" y="1"/>
                  <a:pt x="141" y="3"/>
                </a:cubicBezTo>
                <a:cubicBezTo>
                  <a:pt x="141" y="11"/>
                  <a:pt x="141" y="11"/>
                  <a:pt x="141" y="11"/>
                </a:cubicBezTo>
                <a:cubicBezTo>
                  <a:pt x="128" y="11"/>
                  <a:pt x="128" y="11"/>
                  <a:pt x="128" y="11"/>
                </a:cubicBezTo>
                <a:cubicBezTo>
                  <a:pt x="128" y="48"/>
                  <a:pt x="128" y="48"/>
                  <a:pt x="128" y="48"/>
                </a:cubicBezTo>
                <a:cubicBezTo>
                  <a:pt x="141" y="48"/>
                  <a:pt x="141" y="48"/>
                  <a:pt x="141" y="48"/>
                </a:cubicBezTo>
                <a:cubicBezTo>
                  <a:pt x="141" y="141"/>
                  <a:pt x="141" y="141"/>
                  <a:pt x="141" y="141"/>
                </a:cubicBezTo>
                <a:cubicBezTo>
                  <a:pt x="141" y="143"/>
                  <a:pt x="143" y="144"/>
                  <a:pt x="144" y="144"/>
                </a:cubicBezTo>
                <a:cubicBezTo>
                  <a:pt x="145" y="144"/>
                  <a:pt x="147" y="143"/>
                  <a:pt x="147" y="141"/>
                </a:cubicBezTo>
                <a:cubicBezTo>
                  <a:pt x="147" y="48"/>
                  <a:pt x="147" y="48"/>
                  <a:pt x="147" y="48"/>
                </a:cubicBezTo>
                <a:cubicBezTo>
                  <a:pt x="160" y="48"/>
                  <a:pt x="160" y="48"/>
                  <a:pt x="160" y="48"/>
                </a:cubicBezTo>
                <a:lnTo>
                  <a:pt x="160" y="11"/>
                </a:lnTo>
                <a:close/>
                <a:moveTo>
                  <a:pt x="155" y="43"/>
                </a:moveTo>
                <a:cubicBezTo>
                  <a:pt x="133" y="43"/>
                  <a:pt x="133" y="43"/>
                  <a:pt x="133" y="43"/>
                </a:cubicBezTo>
                <a:cubicBezTo>
                  <a:pt x="133" y="16"/>
                  <a:pt x="133" y="16"/>
                  <a:pt x="133" y="16"/>
                </a:cubicBezTo>
                <a:cubicBezTo>
                  <a:pt x="155" y="16"/>
                  <a:pt x="155" y="16"/>
                  <a:pt x="155" y="16"/>
                </a:cubicBezTo>
                <a:lnTo>
                  <a:pt x="155" y="43"/>
                </a:lnTo>
                <a:close/>
                <a:moveTo>
                  <a:pt x="56" y="80"/>
                </a:moveTo>
                <a:cubicBezTo>
                  <a:pt x="61" y="80"/>
                  <a:pt x="61" y="80"/>
                  <a:pt x="61" y="80"/>
                </a:cubicBezTo>
                <a:cubicBezTo>
                  <a:pt x="63" y="80"/>
                  <a:pt x="64" y="81"/>
                  <a:pt x="64" y="83"/>
                </a:cubicBezTo>
                <a:cubicBezTo>
                  <a:pt x="64" y="84"/>
                  <a:pt x="63" y="85"/>
                  <a:pt x="61" y="85"/>
                </a:cubicBezTo>
                <a:cubicBezTo>
                  <a:pt x="56" y="85"/>
                  <a:pt x="56" y="85"/>
                  <a:pt x="56" y="85"/>
                </a:cubicBezTo>
                <a:cubicBezTo>
                  <a:pt x="55" y="85"/>
                  <a:pt x="53" y="84"/>
                  <a:pt x="53" y="83"/>
                </a:cubicBezTo>
                <a:cubicBezTo>
                  <a:pt x="53" y="81"/>
                  <a:pt x="55" y="80"/>
                  <a:pt x="56" y="80"/>
                </a:cubicBezTo>
                <a:close/>
                <a:moveTo>
                  <a:pt x="107" y="67"/>
                </a:moveTo>
                <a:cubicBezTo>
                  <a:pt x="107" y="68"/>
                  <a:pt x="105" y="69"/>
                  <a:pt x="104" y="69"/>
                </a:cubicBezTo>
                <a:cubicBezTo>
                  <a:pt x="99" y="69"/>
                  <a:pt x="99" y="69"/>
                  <a:pt x="99" y="69"/>
                </a:cubicBezTo>
                <a:cubicBezTo>
                  <a:pt x="97" y="69"/>
                  <a:pt x="96" y="68"/>
                  <a:pt x="96" y="67"/>
                </a:cubicBezTo>
                <a:cubicBezTo>
                  <a:pt x="96" y="65"/>
                  <a:pt x="97" y="64"/>
                  <a:pt x="99" y="64"/>
                </a:cubicBezTo>
                <a:cubicBezTo>
                  <a:pt x="104" y="64"/>
                  <a:pt x="104" y="64"/>
                  <a:pt x="104" y="64"/>
                </a:cubicBezTo>
                <a:cubicBezTo>
                  <a:pt x="105" y="64"/>
                  <a:pt x="107" y="65"/>
                  <a:pt x="107" y="67"/>
                </a:cubicBezTo>
                <a:close/>
                <a:moveTo>
                  <a:pt x="99" y="53"/>
                </a:moveTo>
                <a:cubicBezTo>
                  <a:pt x="104" y="53"/>
                  <a:pt x="104" y="53"/>
                  <a:pt x="104" y="53"/>
                </a:cubicBezTo>
                <a:cubicBezTo>
                  <a:pt x="105" y="53"/>
                  <a:pt x="107" y="55"/>
                  <a:pt x="107" y="56"/>
                </a:cubicBezTo>
                <a:cubicBezTo>
                  <a:pt x="107" y="57"/>
                  <a:pt x="105" y="59"/>
                  <a:pt x="104" y="59"/>
                </a:cubicBezTo>
                <a:cubicBezTo>
                  <a:pt x="99" y="59"/>
                  <a:pt x="99" y="59"/>
                  <a:pt x="99" y="59"/>
                </a:cubicBezTo>
                <a:cubicBezTo>
                  <a:pt x="97" y="59"/>
                  <a:pt x="96" y="57"/>
                  <a:pt x="96" y="56"/>
                </a:cubicBezTo>
                <a:cubicBezTo>
                  <a:pt x="96" y="55"/>
                  <a:pt x="97" y="53"/>
                  <a:pt x="99" y="53"/>
                </a:cubicBezTo>
                <a:close/>
                <a:moveTo>
                  <a:pt x="149" y="35"/>
                </a:moveTo>
                <a:cubicBezTo>
                  <a:pt x="149" y="36"/>
                  <a:pt x="148" y="37"/>
                  <a:pt x="147" y="37"/>
                </a:cubicBezTo>
                <a:cubicBezTo>
                  <a:pt x="141" y="37"/>
                  <a:pt x="141" y="37"/>
                  <a:pt x="141" y="37"/>
                </a:cubicBezTo>
                <a:cubicBezTo>
                  <a:pt x="140" y="37"/>
                  <a:pt x="139" y="36"/>
                  <a:pt x="139" y="35"/>
                </a:cubicBezTo>
                <a:cubicBezTo>
                  <a:pt x="139" y="33"/>
                  <a:pt x="140" y="32"/>
                  <a:pt x="141" y="32"/>
                </a:cubicBezTo>
                <a:cubicBezTo>
                  <a:pt x="147" y="32"/>
                  <a:pt x="147" y="32"/>
                  <a:pt x="147" y="32"/>
                </a:cubicBezTo>
                <a:cubicBezTo>
                  <a:pt x="148" y="32"/>
                  <a:pt x="149" y="33"/>
                  <a:pt x="149" y="35"/>
                </a:cubicBezTo>
                <a:close/>
                <a:moveTo>
                  <a:pt x="141" y="21"/>
                </a:moveTo>
                <a:cubicBezTo>
                  <a:pt x="147" y="21"/>
                  <a:pt x="147" y="21"/>
                  <a:pt x="147" y="21"/>
                </a:cubicBezTo>
                <a:cubicBezTo>
                  <a:pt x="148" y="21"/>
                  <a:pt x="149" y="23"/>
                  <a:pt x="149" y="24"/>
                </a:cubicBezTo>
                <a:cubicBezTo>
                  <a:pt x="149" y="25"/>
                  <a:pt x="148" y="27"/>
                  <a:pt x="147" y="27"/>
                </a:cubicBezTo>
                <a:cubicBezTo>
                  <a:pt x="141" y="27"/>
                  <a:pt x="141" y="27"/>
                  <a:pt x="141" y="27"/>
                </a:cubicBezTo>
                <a:cubicBezTo>
                  <a:pt x="140" y="27"/>
                  <a:pt x="139" y="25"/>
                  <a:pt x="139" y="24"/>
                </a:cubicBezTo>
                <a:cubicBezTo>
                  <a:pt x="139" y="23"/>
                  <a:pt x="140" y="21"/>
                  <a:pt x="141" y="21"/>
                </a:cubicBezTo>
                <a:close/>
                <a:moveTo>
                  <a:pt x="64" y="93"/>
                </a:moveTo>
                <a:cubicBezTo>
                  <a:pt x="64" y="95"/>
                  <a:pt x="63" y="96"/>
                  <a:pt x="61" y="96"/>
                </a:cubicBezTo>
                <a:cubicBezTo>
                  <a:pt x="56" y="96"/>
                  <a:pt x="56" y="96"/>
                  <a:pt x="56" y="96"/>
                </a:cubicBezTo>
                <a:cubicBezTo>
                  <a:pt x="55" y="96"/>
                  <a:pt x="53" y="95"/>
                  <a:pt x="53" y="93"/>
                </a:cubicBezTo>
                <a:cubicBezTo>
                  <a:pt x="53" y="92"/>
                  <a:pt x="55" y="91"/>
                  <a:pt x="56" y="91"/>
                </a:cubicBezTo>
                <a:cubicBezTo>
                  <a:pt x="61" y="91"/>
                  <a:pt x="61" y="91"/>
                  <a:pt x="61" y="91"/>
                </a:cubicBezTo>
                <a:cubicBezTo>
                  <a:pt x="63" y="91"/>
                  <a:pt x="64" y="92"/>
                  <a:pt x="64" y="93"/>
                </a:cubicBezTo>
                <a:close/>
                <a:moveTo>
                  <a:pt x="13" y="107"/>
                </a:moveTo>
                <a:cubicBezTo>
                  <a:pt x="19" y="107"/>
                  <a:pt x="19" y="107"/>
                  <a:pt x="19" y="107"/>
                </a:cubicBezTo>
                <a:cubicBezTo>
                  <a:pt x="20" y="107"/>
                  <a:pt x="21" y="108"/>
                  <a:pt x="21" y="109"/>
                </a:cubicBezTo>
                <a:cubicBezTo>
                  <a:pt x="21" y="111"/>
                  <a:pt x="20" y="112"/>
                  <a:pt x="19" y="112"/>
                </a:cubicBezTo>
                <a:cubicBezTo>
                  <a:pt x="13" y="112"/>
                  <a:pt x="13" y="112"/>
                  <a:pt x="13" y="112"/>
                </a:cubicBezTo>
                <a:cubicBezTo>
                  <a:pt x="12" y="112"/>
                  <a:pt x="11" y="111"/>
                  <a:pt x="11" y="109"/>
                </a:cubicBezTo>
                <a:cubicBezTo>
                  <a:pt x="11" y="108"/>
                  <a:pt x="12" y="107"/>
                  <a:pt x="13" y="107"/>
                </a:cubicBezTo>
                <a:close/>
                <a:moveTo>
                  <a:pt x="21" y="120"/>
                </a:moveTo>
                <a:cubicBezTo>
                  <a:pt x="21" y="121"/>
                  <a:pt x="20" y="123"/>
                  <a:pt x="19" y="123"/>
                </a:cubicBezTo>
                <a:cubicBezTo>
                  <a:pt x="13" y="123"/>
                  <a:pt x="13" y="123"/>
                  <a:pt x="13" y="123"/>
                </a:cubicBezTo>
                <a:cubicBezTo>
                  <a:pt x="12" y="123"/>
                  <a:pt x="11" y="121"/>
                  <a:pt x="11" y="120"/>
                </a:cubicBezTo>
                <a:cubicBezTo>
                  <a:pt x="11" y="119"/>
                  <a:pt x="12" y="117"/>
                  <a:pt x="13" y="117"/>
                </a:cubicBezTo>
                <a:cubicBezTo>
                  <a:pt x="19" y="117"/>
                  <a:pt x="19" y="117"/>
                  <a:pt x="19" y="117"/>
                </a:cubicBezTo>
                <a:cubicBezTo>
                  <a:pt x="20" y="117"/>
                  <a:pt x="21" y="119"/>
                  <a:pt x="21" y="12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1132">
            <a:extLst>
              <a:ext uri="{FF2B5EF4-FFF2-40B4-BE49-F238E27FC236}">
                <a16:creationId xmlns:a16="http://schemas.microsoft.com/office/drawing/2014/main" id="{9FA5C7E0-4F9E-D04B-8274-B0EE88C77F2B}"/>
              </a:ext>
            </a:extLst>
          </p:cNvPr>
          <p:cNvSpPr>
            <a:spLocks noEditPoints="1"/>
          </p:cNvSpPr>
          <p:nvPr/>
        </p:nvSpPr>
        <p:spPr bwMode="auto">
          <a:xfrm>
            <a:off x="7265870" y="1603375"/>
            <a:ext cx="546100" cy="530225"/>
          </a:xfrm>
          <a:custGeom>
            <a:avLst/>
            <a:gdLst>
              <a:gd name="T0" fmla="*/ 23 w 160"/>
              <a:gd name="T1" fmla="*/ 115 h 154"/>
              <a:gd name="T2" fmla="*/ 23 w 160"/>
              <a:gd name="T3" fmla="*/ 3 h 154"/>
              <a:gd name="T4" fmla="*/ 20 w 160"/>
              <a:gd name="T5" fmla="*/ 0 h 154"/>
              <a:gd name="T6" fmla="*/ 17 w 160"/>
              <a:gd name="T7" fmla="*/ 3 h 154"/>
              <a:gd name="T8" fmla="*/ 17 w 160"/>
              <a:gd name="T9" fmla="*/ 115 h 154"/>
              <a:gd name="T10" fmla="*/ 0 w 160"/>
              <a:gd name="T11" fmla="*/ 134 h 154"/>
              <a:gd name="T12" fmla="*/ 20 w 160"/>
              <a:gd name="T13" fmla="*/ 154 h 154"/>
              <a:gd name="T14" fmla="*/ 40 w 160"/>
              <a:gd name="T15" fmla="*/ 134 h 154"/>
              <a:gd name="T16" fmla="*/ 23 w 160"/>
              <a:gd name="T17" fmla="*/ 115 h 154"/>
              <a:gd name="T18" fmla="*/ 20 w 160"/>
              <a:gd name="T19" fmla="*/ 149 h 154"/>
              <a:gd name="T20" fmla="*/ 6 w 160"/>
              <a:gd name="T21" fmla="*/ 134 h 154"/>
              <a:gd name="T22" fmla="*/ 20 w 160"/>
              <a:gd name="T23" fmla="*/ 120 h 154"/>
              <a:gd name="T24" fmla="*/ 34 w 160"/>
              <a:gd name="T25" fmla="*/ 134 h 154"/>
              <a:gd name="T26" fmla="*/ 20 w 160"/>
              <a:gd name="T27" fmla="*/ 149 h 154"/>
              <a:gd name="T28" fmla="*/ 83 w 160"/>
              <a:gd name="T29" fmla="*/ 56 h 154"/>
              <a:gd name="T30" fmla="*/ 83 w 160"/>
              <a:gd name="T31" fmla="*/ 3 h 154"/>
              <a:gd name="T32" fmla="*/ 80 w 160"/>
              <a:gd name="T33" fmla="*/ 0 h 154"/>
              <a:gd name="T34" fmla="*/ 77 w 160"/>
              <a:gd name="T35" fmla="*/ 3 h 154"/>
              <a:gd name="T36" fmla="*/ 77 w 160"/>
              <a:gd name="T37" fmla="*/ 56 h 154"/>
              <a:gd name="T38" fmla="*/ 59 w 160"/>
              <a:gd name="T39" fmla="*/ 77 h 154"/>
              <a:gd name="T40" fmla="*/ 77 w 160"/>
              <a:gd name="T41" fmla="*/ 97 h 154"/>
              <a:gd name="T42" fmla="*/ 77 w 160"/>
              <a:gd name="T43" fmla="*/ 151 h 154"/>
              <a:gd name="T44" fmla="*/ 80 w 160"/>
              <a:gd name="T45" fmla="*/ 154 h 154"/>
              <a:gd name="T46" fmla="*/ 83 w 160"/>
              <a:gd name="T47" fmla="*/ 151 h 154"/>
              <a:gd name="T48" fmla="*/ 83 w 160"/>
              <a:gd name="T49" fmla="*/ 97 h 154"/>
              <a:gd name="T50" fmla="*/ 100 w 160"/>
              <a:gd name="T51" fmla="*/ 77 h 154"/>
              <a:gd name="T52" fmla="*/ 83 w 160"/>
              <a:gd name="T53" fmla="*/ 56 h 154"/>
              <a:gd name="T54" fmla="*/ 79 w 160"/>
              <a:gd name="T55" fmla="*/ 91 h 154"/>
              <a:gd name="T56" fmla="*/ 65 w 160"/>
              <a:gd name="T57" fmla="*/ 77 h 154"/>
              <a:gd name="T58" fmla="*/ 79 w 160"/>
              <a:gd name="T59" fmla="*/ 62 h 154"/>
              <a:gd name="T60" fmla="*/ 94 w 160"/>
              <a:gd name="T61" fmla="*/ 77 h 154"/>
              <a:gd name="T62" fmla="*/ 79 w 160"/>
              <a:gd name="T63" fmla="*/ 91 h 154"/>
              <a:gd name="T64" fmla="*/ 160 w 160"/>
              <a:gd name="T65" fmla="*/ 20 h 154"/>
              <a:gd name="T66" fmla="*/ 140 w 160"/>
              <a:gd name="T67" fmla="*/ 0 h 154"/>
              <a:gd name="T68" fmla="*/ 120 w 160"/>
              <a:gd name="T69" fmla="*/ 20 h 154"/>
              <a:gd name="T70" fmla="*/ 137 w 160"/>
              <a:gd name="T71" fmla="*/ 40 h 154"/>
              <a:gd name="T72" fmla="*/ 137 w 160"/>
              <a:gd name="T73" fmla="*/ 151 h 154"/>
              <a:gd name="T74" fmla="*/ 140 w 160"/>
              <a:gd name="T75" fmla="*/ 154 h 154"/>
              <a:gd name="T76" fmla="*/ 143 w 160"/>
              <a:gd name="T77" fmla="*/ 151 h 154"/>
              <a:gd name="T78" fmla="*/ 143 w 160"/>
              <a:gd name="T79" fmla="*/ 40 h 154"/>
              <a:gd name="T80" fmla="*/ 160 w 160"/>
              <a:gd name="T81" fmla="*/ 20 h 154"/>
              <a:gd name="T82" fmla="*/ 140 w 160"/>
              <a:gd name="T83" fmla="*/ 34 h 154"/>
              <a:gd name="T84" fmla="*/ 126 w 160"/>
              <a:gd name="T85" fmla="*/ 20 h 154"/>
              <a:gd name="T86" fmla="*/ 140 w 160"/>
              <a:gd name="T87" fmla="*/ 6 h 154"/>
              <a:gd name="T88" fmla="*/ 154 w 160"/>
              <a:gd name="T89" fmla="*/ 20 h 154"/>
              <a:gd name="T90" fmla="*/ 140 w 160"/>
              <a:gd name="T91"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54">
                <a:moveTo>
                  <a:pt x="23" y="115"/>
                </a:moveTo>
                <a:cubicBezTo>
                  <a:pt x="23" y="3"/>
                  <a:pt x="23" y="3"/>
                  <a:pt x="23" y="3"/>
                </a:cubicBezTo>
                <a:cubicBezTo>
                  <a:pt x="23" y="1"/>
                  <a:pt x="22" y="0"/>
                  <a:pt x="20" y="0"/>
                </a:cubicBezTo>
                <a:cubicBezTo>
                  <a:pt x="18" y="0"/>
                  <a:pt x="17" y="1"/>
                  <a:pt x="17" y="3"/>
                </a:cubicBezTo>
                <a:cubicBezTo>
                  <a:pt x="17" y="115"/>
                  <a:pt x="17" y="115"/>
                  <a:pt x="17" y="115"/>
                </a:cubicBezTo>
                <a:cubicBezTo>
                  <a:pt x="7" y="116"/>
                  <a:pt x="0" y="124"/>
                  <a:pt x="0" y="134"/>
                </a:cubicBezTo>
                <a:cubicBezTo>
                  <a:pt x="0" y="145"/>
                  <a:pt x="9" y="154"/>
                  <a:pt x="20" y="154"/>
                </a:cubicBezTo>
                <a:cubicBezTo>
                  <a:pt x="31" y="154"/>
                  <a:pt x="40" y="145"/>
                  <a:pt x="40" y="134"/>
                </a:cubicBezTo>
                <a:cubicBezTo>
                  <a:pt x="40" y="124"/>
                  <a:pt x="33" y="116"/>
                  <a:pt x="23" y="115"/>
                </a:cubicBezTo>
                <a:close/>
                <a:moveTo>
                  <a:pt x="20" y="149"/>
                </a:moveTo>
                <a:cubicBezTo>
                  <a:pt x="12" y="149"/>
                  <a:pt x="6" y="142"/>
                  <a:pt x="6" y="134"/>
                </a:cubicBezTo>
                <a:cubicBezTo>
                  <a:pt x="6" y="126"/>
                  <a:pt x="12" y="120"/>
                  <a:pt x="20" y="120"/>
                </a:cubicBezTo>
                <a:cubicBezTo>
                  <a:pt x="28" y="120"/>
                  <a:pt x="34" y="126"/>
                  <a:pt x="34" y="134"/>
                </a:cubicBezTo>
                <a:cubicBezTo>
                  <a:pt x="34" y="142"/>
                  <a:pt x="28" y="149"/>
                  <a:pt x="20" y="149"/>
                </a:cubicBezTo>
                <a:close/>
                <a:moveTo>
                  <a:pt x="83" y="56"/>
                </a:moveTo>
                <a:cubicBezTo>
                  <a:pt x="83" y="3"/>
                  <a:pt x="83" y="3"/>
                  <a:pt x="83" y="3"/>
                </a:cubicBezTo>
                <a:cubicBezTo>
                  <a:pt x="83" y="1"/>
                  <a:pt x="82" y="0"/>
                  <a:pt x="80" y="0"/>
                </a:cubicBezTo>
                <a:cubicBezTo>
                  <a:pt x="78" y="0"/>
                  <a:pt x="77" y="1"/>
                  <a:pt x="77" y="3"/>
                </a:cubicBezTo>
                <a:cubicBezTo>
                  <a:pt x="77" y="56"/>
                  <a:pt x="77" y="56"/>
                  <a:pt x="77" y="56"/>
                </a:cubicBezTo>
                <a:cubicBezTo>
                  <a:pt x="67" y="57"/>
                  <a:pt x="59" y="66"/>
                  <a:pt x="59" y="77"/>
                </a:cubicBezTo>
                <a:cubicBezTo>
                  <a:pt x="59" y="87"/>
                  <a:pt x="67" y="96"/>
                  <a:pt x="77" y="97"/>
                </a:cubicBezTo>
                <a:cubicBezTo>
                  <a:pt x="77" y="151"/>
                  <a:pt x="77" y="151"/>
                  <a:pt x="77" y="151"/>
                </a:cubicBezTo>
                <a:cubicBezTo>
                  <a:pt x="77" y="153"/>
                  <a:pt x="78" y="154"/>
                  <a:pt x="80" y="154"/>
                </a:cubicBezTo>
                <a:cubicBezTo>
                  <a:pt x="82" y="154"/>
                  <a:pt x="83" y="153"/>
                  <a:pt x="83" y="151"/>
                </a:cubicBezTo>
                <a:cubicBezTo>
                  <a:pt x="83" y="97"/>
                  <a:pt x="83" y="97"/>
                  <a:pt x="83" y="97"/>
                </a:cubicBezTo>
                <a:cubicBezTo>
                  <a:pt x="93" y="95"/>
                  <a:pt x="100" y="87"/>
                  <a:pt x="100" y="77"/>
                </a:cubicBezTo>
                <a:cubicBezTo>
                  <a:pt x="100" y="66"/>
                  <a:pt x="93" y="58"/>
                  <a:pt x="83" y="56"/>
                </a:cubicBezTo>
                <a:close/>
                <a:moveTo>
                  <a:pt x="79" y="91"/>
                </a:moveTo>
                <a:cubicBezTo>
                  <a:pt x="71" y="91"/>
                  <a:pt x="65" y="85"/>
                  <a:pt x="65" y="77"/>
                </a:cubicBezTo>
                <a:cubicBezTo>
                  <a:pt x="65" y="68"/>
                  <a:pt x="71" y="62"/>
                  <a:pt x="79" y="62"/>
                </a:cubicBezTo>
                <a:cubicBezTo>
                  <a:pt x="88" y="62"/>
                  <a:pt x="94" y="68"/>
                  <a:pt x="94" y="77"/>
                </a:cubicBezTo>
                <a:cubicBezTo>
                  <a:pt x="94" y="85"/>
                  <a:pt x="88" y="91"/>
                  <a:pt x="79" y="91"/>
                </a:cubicBezTo>
                <a:close/>
                <a:moveTo>
                  <a:pt x="160" y="20"/>
                </a:moveTo>
                <a:cubicBezTo>
                  <a:pt x="160" y="9"/>
                  <a:pt x="151" y="0"/>
                  <a:pt x="140" y="0"/>
                </a:cubicBezTo>
                <a:cubicBezTo>
                  <a:pt x="129" y="0"/>
                  <a:pt x="120" y="9"/>
                  <a:pt x="120" y="20"/>
                </a:cubicBezTo>
                <a:cubicBezTo>
                  <a:pt x="120" y="30"/>
                  <a:pt x="127" y="38"/>
                  <a:pt x="137" y="40"/>
                </a:cubicBezTo>
                <a:cubicBezTo>
                  <a:pt x="137" y="151"/>
                  <a:pt x="137" y="151"/>
                  <a:pt x="137" y="151"/>
                </a:cubicBezTo>
                <a:cubicBezTo>
                  <a:pt x="137" y="153"/>
                  <a:pt x="138" y="154"/>
                  <a:pt x="140" y="154"/>
                </a:cubicBezTo>
                <a:cubicBezTo>
                  <a:pt x="142" y="154"/>
                  <a:pt x="143" y="153"/>
                  <a:pt x="143" y="151"/>
                </a:cubicBezTo>
                <a:cubicBezTo>
                  <a:pt x="143" y="40"/>
                  <a:pt x="143" y="40"/>
                  <a:pt x="143" y="40"/>
                </a:cubicBezTo>
                <a:cubicBezTo>
                  <a:pt x="153" y="38"/>
                  <a:pt x="160" y="30"/>
                  <a:pt x="160" y="20"/>
                </a:cubicBezTo>
                <a:close/>
                <a:moveTo>
                  <a:pt x="140" y="34"/>
                </a:moveTo>
                <a:cubicBezTo>
                  <a:pt x="132" y="34"/>
                  <a:pt x="126" y="28"/>
                  <a:pt x="126" y="20"/>
                </a:cubicBezTo>
                <a:cubicBezTo>
                  <a:pt x="126" y="12"/>
                  <a:pt x="132" y="6"/>
                  <a:pt x="140" y="6"/>
                </a:cubicBezTo>
                <a:cubicBezTo>
                  <a:pt x="148" y="6"/>
                  <a:pt x="154" y="12"/>
                  <a:pt x="154" y="20"/>
                </a:cubicBezTo>
                <a:cubicBezTo>
                  <a:pt x="154" y="28"/>
                  <a:pt x="148" y="34"/>
                  <a:pt x="140" y="34"/>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1133">
            <a:extLst>
              <a:ext uri="{FF2B5EF4-FFF2-40B4-BE49-F238E27FC236}">
                <a16:creationId xmlns:a16="http://schemas.microsoft.com/office/drawing/2014/main" id="{C5F1574B-0FB2-E042-BD8F-35E395EB79E9}"/>
              </a:ext>
            </a:extLst>
          </p:cNvPr>
          <p:cNvSpPr>
            <a:spLocks noEditPoints="1"/>
          </p:cNvSpPr>
          <p:nvPr/>
        </p:nvSpPr>
        <p:spPr bwMode="auto">
          <a:xfrm>
            <a:off x="7292858" y="2222500"/>
            <a:ext cx="495300" cy="550863"/>
          </a:xfrm>
          <a:custGeom>
            <a:avLst/>
            <a:gdLst>
              <a:gd name="T0" fmla="*/ 0 w 145"/>
              <a:gd name="T1" fmla="*/ 26 h 160"/>
              <a:gd name="T2" fmla="*/ 0 w 145"/>
              <a:gd name="T3" fmla="*/ 64 h 160"/>
              <a:gd name="T4" fmla="*/ 0 w 145"/>
              <a:gd name="T5" fmla="*/ 134 h 160"/>
              <a:gd name="T6" fmla="*/ 145 w 145"/>
              <a:gd name="T7" fmla="*/ 134 h 160"/>
              <a:gd name="T8" fmla="*/ 145 w 145"/>
              <a:gd name="T9" fmla="*/ 64 h 160"/>
              <a:gd name="T10" fmla="*/ 145 w 145"/>
              <a:gd name="T11" fmla="*/ 26 h 160"/>
              <a:gd name="T12" fmla="*/ 139 w 145"/>
              <a:gd name="T13" fmla="*/ 101 h 160"/>
              <a:gd name="T14" fmla="*/ 136 w 145"/>
              <a:gd name="T15" fmla="*/ 104 h 160"/>
              <a:gd name="T16" fmla="*/ 131 w 145"/>
              <a:gd name="T17" fmla="*/ 108 h 160"/>
              <a:gd name="T18" fmla="*/ 124 w 145"/>
              <a:gd name="T19" fmla="*/ 111 h 160"/>
              <a:gd name="T20" fmla="*/ 92 w 145"/>
              <a:gd name="T21" fmla="*/ 118 h 160"/>
              <a:gd name="T22" fmla="*/ 73 w 145"/>
              <a:gd name="T23" fmla="*/ 119 h 160"/>
              <a:gd name="T24" fmla="*/ 54 w 145"/>
              <a:gd name="T25" fmla="*/ 118 h 160"/>
              <a:gd name="T26" fmla="*/ 22 w 145"/>
              <a:gd name="T27" fmla="*/ 111 h 160"/>
              <a:gd name="T28" fmla="*/ 15 w 145"/>
              <a:gd name="T29" fmla="*/ 108 h 160"/>
              <a:gd name="T30" fmla="*/ 10 w 145"/>
              <a:gd name="T31" fmla="*/ 104 h 160"/>
              <a:gd name="T32" fmla="*/ 7 w 145"/>
              <a:gd name="T33" fmla="*/ 101 h 160"/>
              <a:gd name="T34" fmla="*/ 6 w 145"/>
              <a:gd name="T35" fmla="*/ 96 h 160"/>
              <a:gd name="T36" fmla="*/ 8 w 145"/>
              <a:gd name="T37" fmla="*/ 75 h 160"/>
              <a:gd name="T38" fmla="*/ 140 w 145"/>
              <a:gd name="T39" fmla="*/ 74 h 160"/>
              <a:gd name="T40" fmla="*/ 139 w 145"/>
              <a:gd name="T41" fmla="*/ 99 h 160"/>
              <a:gd name="T42" fmla="*/ 140 w 145"/>
              <a:gd name="T43" fmla="*/ 63 h 160"/>
              <a:gd name="T44" fmla="*/ 138 w 145"/>
              <a:gd name="T45" fmla="*/ 67 h 160"/>
              <a:gd name="T46" fmla="*/ 134 w 145"/>
              <a:gd name="T47" fmla="*/ 71 h 160"/>
              <a:gd name="T48" fmla="*/ 128 w 145"/>
              <a:gd name="T49" fmla="*/ 74 h 160"/>
              <a:gd name="T50" fmla="*/ 99 w 145"/>
              <a:gd name="T51" fmla="*/ 83 h 160"/>
              <a:gd name="T52" fmla="*/ 87 w 145"/>
              <a:gd name="T53" fmla="*/ 84 h 160"/>
              <a:gd name="T54" fmla="*/ 66 w 145"/>
              <a:gd name="T55" fmla="*/ 84 h 160"/>
              <a:gd name="T56" fmla="*/ 53 w 145"/>
              <a:gd name="T57" fmla="*/ 83 h 160"/>
              <a:gd name="T58" fmla="*/ 21 w 145"/>
              <a:gd name="T59" fmla="*/ 76 h 160"/>
              <a:gd name="T60" fmla="*/ 14 w 145"/>
              <a:gd name="T61" fmla="*/ 73 h 160"/>
              <a:gd name="T62" fmla="*/ 9 w 145"/>
              <a:gd name="T63" fmla="*/ 69 h 160"/>
              <a:gd name="T64" fmla="*/ 6 w 145"/>
              <a:gd name="T65" fmla="*/ 65 h 160"/>
              <a:gd name="T66" fmla="*/ 6 w 145"/>
              <a:gd name="T67" fmla="*/ 60 h 160"/>
              <a:gd name="T68" fmla="*/ 10 w 145"/>
              <a:gd name="T69" fmla="*/ 42 h 160"/>
              <a:gd name="T70" fmla="*/ 18 w 145"/>
              <a:gd name="T71" fmla="*/ 46 h 160"/>
              <a:gd name="T72" fmla="*/ 28 w 145"/>
              <a:gd name="T73" fmla="*/ 50 h 160"/>
              <a:gd name="T74" fmla="*/ 41 w 145"/>
              <a:gd name="T75" fmla="*/ 53 h 160"/>
              <a:gd name="T76" fmla="*/ 56 w 145"/>
              <a:gd name="T77" fmla="*/ 55 h 160"/>
              <a:gd name="T78" fmla="*/ 73 w 145"/>
              <a:gd name="T79" fmla="*/ 55 h 160"/>
              <a:gd name="T80" fmla="*/ 90 w 145"/>
              <a:gd name="T81" fmla="*/ 55 h 160"/>
              <a:gd name="T82" fmla="*/ 105 w 145"/>
              <a:gd name="T83" fmla="*/ 53 h 160"/>
              <a:gd name="T84" fmla="*/ 117 w 145"/>
              <a:gd name="T85" fmla="*/ 50 h 160"/>
              <a:gd name="T86" fmla="*/ 127 w 145"/>
              <a:gd name="T87" fmla="*/ 46 h 160"/>
              <a:gd name="T88" fmla="*/ 135 w 145"/>
              <a:gd name="T89" fmla="*/ 42 h 160"/>
              <a:gd name="T90" fmla="*/ 73 w 145"/>
              <a:gd name="T91" fmla="*/ 6 h 160"/>
              <a:gd name="T92" fmla="*/ 73 w 145"/>
              <a:gd name="T93" fmla="*/ 6 h 160"/>
              <a:gd name="T94" fmla="*/ 6 w 145"/>
              <a:gd name="T95" fmla="*/ 133 h 160"/>
              <a:gd name="T96" fmla="*/ 8 w 145"/>
              <a:gd name="T97" fmla="*/ 110 h 160"/>
              <a:gd name="T98" fmla="*/ 140 w 145"/>
              <a:gd name="T99" fmla="*/ 10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 h="160">
                <a:moveTo>
                  <a:pt x="145" y="25"/>
                </a:moveTo>
                <a:cubicBezTo>
                  <a:pt x="142" y="12"/>
                  <a:pt x="117" y="0"/>
                  <a:pt x="73" y="0"/>
                </a:cubicBezTo>
                <a:cubicBezTo>
                  <a:pt x="29" y="0"/>
                  <a:pt x="4" y="12"/>
                  <a:pt x="0" y="25"/>
                </a:cubicBezTo>
                <a:cubicBezTo>
                  <a:pt x="0" y="25"/>
                  <a:pt x="0" y="26"/>
                  <a:pt x="0" y="26"/>
                </a:cubicBezTo>
                <a:cubicBezTo>
                  <a:pt x="0" y="28"/>
                  <a:pt x="0" y="28"/>
                  <a:pt x="0" y="28"/>
                </a:cubicBezTo>
                <a:cubicBezTo>
                  <a:pt x="0" y="61"/>
                  <a:pt x="0" y="61"/>
                  <a:pt x="0" y="61"/>
                </a:cubicBezTo>
                <a:cubicBezTo>
                  <a:pt x="0" y="63"/>
                  <a:pt x="0" y="63"/>
                  <a:pt x="0" y="63"/>
                </a:cubicBezTo>
                <a:cubicBezTo>
                  <a:pt x="0" y="64"/>
                  <a:pt x="0" y="64"/>
                  <a:pt x="0" y="64"/>
                </a:cubicBezTo>
                <a:cubicBezTo>
                  <a:pt x="0" y="96"/>
                  <a:pt x="0" y="96"/>
                  <a:pt x="0" y="96"/>
                </a:cubicBezTo>
                <a:cubicBezTo>
                  <a:pt x="0" y="97"/>
                  <a:pt x="0" y="97"/>
                  <a:pt x="0" y="97"/>
                </a:cubicBezTo>
                <a:cubicBezTo>
                  <a:pt x="0" y="99"/>
                  <a:pt x="0" y="99"/>
                  <a:pt x="0" y="99"/>
                </a:cubicBezTo>
                <a:cubicBezTo>
                  <a:pt x="0" y="134"/>
                  <a:pt x="0" y="134"/>
                  <a:pt x="0" y="134"/>
                </a:cubicBezTo>
                <a:cubicBezTo>
                  <a:pt x="0" y="134"/>
                  <a:pt x="0" y="135"/>
                  <a:pt x="0" y="135"/>
                </a:cubicBezTo>
                <a:cubicBezTo>
                  <a:pt x="4" y="149"/>
                  <a:pt x="35" y="160"/>
                  <a:pt x="73" y="160"/>
                </a:cubicBezTo>
                <a:cubicBezTo>
                  <a:pt x="111" y="160"/>
                  <a:pt x="142" y="149"/>
                  <a:pt x="145" y="135"/>
                </a:cubicBezTo>
                <a:cubicBezTo>
                  <a:pt x="145" y="135"/>
                  <a:pt x="145" y="134"/>
                  <a:pt x="145" y="134"/>
                </a:cubicBezTo>
                <a:cubicBezTo>
                  <a:pt x="145" y="99"/>
                  <a:pt x="145" y="99"/>
                  <a:pt x="145" y="99"/>
                </a:cubicBezTo>
                <a:cubicBezTo>
                  <a:pt x="145" y="97"/>
                  <a:pt x="145" y="97"/>
                  <a:pt x="145" y="97"/>
                </a:cubicBezTo>
                <a:cubicBezTo>
                  <a:pt x="145" y="96"/>
                  <a:pt x="145" y="96"/>
                  <a:pt x="145" y="96"/>
                </a:cubicBezTo>
                <a:cubicBezTo>
                  <a:pt x="145" y="64"/>
                  <a:pt x="145" y="64"/>
                  <a:pt x="145" y="64"/>
                </a:cubicBezTo>
                <a:cubicBezTo>
                  <a:pt x="145" y="63"/>
                  <a:pt x="145" y="63"/>
                  <a:pt x="145" y="63"/>
                </a:cubicBezTo>
                <a:cubicBezTo>
                  <a:pt x="145" y="61"/>
                  <a:pt x="145" y="61"/>
                  <a:pt x="145" y="61"/>
                </a:cubicBezTo>
                <a:cubicBezTo>
                  <a:pt x="145" y="28"/>
                  <a:pt x="145" y="28"/>
                  <a:pt x="145" y="28"/>
                </a:cubicBezTo>
                <a:cubicBezTo>
                  <a:pt x="145" y="26"/>
                  <a:pt x="145" y="26"/>
                  <a:pt x="145" y="26"/>
                </a:cubicBezTo>
                <a:cubicBezTo>
                  <a:pt x="145" y="26"/>
                  <a:pt x="145" y="25"/>
                  <a:pt x="145" y="25"/>
                </a:cubicBezTo>
                <a:close/>
                <a:moveTo>
                  <a:pt x="139" y="99"/>
                </a:moveTo>
                <a:cubicBezTo>
                  <a:pt x="139" y="99"/>
                  <a:pt x="139" y="100"/>
                  <a:pt x="139" y="100"/>
                </a:cubicBezTo>
                <a:cubicBezTo>
                  <a:pt x="139" y="100"/>
                  <a:pt x="139" y="101"/>
                  <a:pt x="139" y="101"/>
                </a:cubicBezTo>
                <a:cubicBezTo>
                  <a:pt x="138" y="101"/>
                  <a:pt x="138" y="102"/>
                  <a:pt x="138" y="102"/>
                </a:cubicBezTo>
                <a:cubicBezTo>
                  <a:pt x="138" y="102"/>
                  <a:pt x="138" y="102"/>
                  <a:pt x="137" y="103"/>
                </a:cubicBezTo>
                <a:cubicBezTo>
                  <a:pt x="137" y="103"/>
                  <a:pt x="137" y="103"/>
                  <a:pt x="136" y="104"/>
                </a:cubicBezTo>
                <a:cubicBezTo>
                  <a:pt x="136" y="104"/>
                  <a:pt x="136" y="104"/>
                  <a:pt x="136" y="104"/>
                </a:cubicBezTo>
                <a:cubicBezTo>
                  <a:pt x="135" y="105"/>
                  <a:pt x="135" y="105"/>
                  <a:pt x="134" y="106"/>
                </a:cubicBezTo>
                <a:cubicBezTo>
                  <a:pt x="134" y="106"/>
                  <a:pt x="134" y="106"/>
                  <a:pt x="133" y="106"/>
                </a:cubicBezTo>
                <a:cubicBezTo>
                  <a:pt x="133" y="107"/>
                  <a:pt x="132" y="107"/>
                  <a:pt x="131" y="108"/>
                </a:cubicBezTo>
                <a:cubicBezTo>
                  <a:pt x="131" y="108"/>
                  <a:pt x="131" y="108"/>
                  <a:pt x="131" y="108"/>
                </a:cubicBezTo>
                <a:cubicBezTo>
                  <a:pt x="130" y="108"/>
                  <a:pt x="129" y="109"/>
                  <a:pt x="128" y="109"/>
                </a:cubicBezTo>
                <a:cubicBezTo>
                  <a:pt x="128" y="109"/>
                  <a:pt x="128" y="110"/>
                  <a:pt x="127" y="110"/>
                </a:cubicBezTo>
                <a:cubicBezTo>
                  <a:pt x="126" y="110"/>
                  <a:pt x="125" y="111"/>
                  <a:pt x="124" y="111"/>
                </a:cubicBezTo>
                <a:cubicBezTo>
                  <a:pt x="124" y="111"/>
                  <a:pt x="124" y="111"/>
                  <a:pt x="124" y="111"/>
                </a:cubicBezTo>
                <a:cubicBezTo>
                  <a:pt x="117" y="114"/>
                  <a:pt x="109" y="116"/>
                  <a:pt x="99" y="117"/>
                </a:cubicBezTo>
                <a:cubicBezTo>
                  <a:pt x="99" y="117"/>
                  <a:pt x="99" y="117"/>
                  <a:pt x="99" y="117"/>
                </a:cubicBezTo>
                <a:cubicBezTo>
                  <a:pt x="97" y="118"/>
                  <a:pt x="95" y="118"/>
                  <a:pt x="93" y="118"/>
                </a:cubicBezTo>
                <a:cubicBezTo>
                  <a:pt x="93" y="118"/>
                  <a:pt x="92" y="118"/>
                  <a:pt x="92" y="118"/>
                </a:cubicBezTo>
                <a:cubicBezTo>
                  <a:pt x="90" y="118"/>
                  <a:pt x="88" y="119"/>
                  <a:pt x="87" y="119"/>
                </a:cubicBezTo>
                <a:cubicBezTo>
                  <a:pt x="86" y="119"/>
                  <a:pt x="85" y="119"/>
                  <a:pt x="84" y="119"/>
                </a:cubicBezTo>
                <a:cubicBezTo>
                  <a:pt x="83" y="119"/>
                  <a:pt x="81" y="119"/>
                  <a:pt x="80" y="119"/>
                </a:cubicBezTo>
                <a:cubicBezTo>
                  <a:pt x="77" y="119"/>
                  <a:pt x="75" y="119"/>
                  <a:pt x="73" y="119"/>
                </a:cubicBezTo>
                <a:cubicBezTo>
                  <a:pt x="70" y="119"/>
                  <a:pt x="68" y="119"/>
                  <a:pt x="66" y="119"/>
                </a:cubicBezTo>
                <a:cubicBezTo>
                  <a:pt x="64" y="119"/>
                  <a:pt x="63" y="119"/>
                  <a:pt x="61" y="119"/>
                </a:cubicBezTo>
                <a:cubicBezTo>
                  <a:pt x="61" y="119"/>
                  <a:pt x="60" y="119"/>
                  <a:pt x="59" y="119"/>
                </a:cubicBezTo>
                <a:cubicBezTo>
                  <a:pt x="57" y="119"/>
                  <a:pt x="55" y="118"/>
                  <a:pt x="54" y="118"/>
                </a:cubicBezTo>
                <a:cubicBezTo>
                  <a:pt x="53" y="118"/>
                  <a:pt x="53" y="118"/>
                  <a:pt x="53" y="118"/>
                </a:cubicBezTo>
                <a:cubicBezTo>
                  <a:pt x="51" y="118"/>
                  <a:pt x="49" y="118"/>
                  <a:pt x="47" y="117"/>
                </a:cubicBezTo>
                <a:cubicBezTo>
                  <a:pt x="47" y="117"/>
                  <a:pt x="47" y="117"/>
                  <a:pt x="47" y="117"/>
                </a:cubicBezTo>
                <a:cubicBezTo>
                  <a:pt x="37" y="116"/>
                  <a:pt x="28" y="114"/>
                  <a:pt x="22" y="111"/>
                </a:cubicBezTo>
                <a:cubicBezTo>
                  <a:pt x="22" y="111"/>
                  <a:pt x="22" y="111"/>
                  <a:pt x="21" y="111"/>
                </a:cubicBezTo>
                <a:cubicBezTo>
                  <a:pt x="20" y="111"/>
                  <a:pt x="19" y="110"/>
                  <a:pt x="18" y="110"/>
                </a:cubicBezTo>
                <a:cubicBezTo>
                  <a:pt x="18" y="110"/>
                  <a:pt x="18" y="109"/>
                  <a:pt x="18" y="109"/>
                </a:cubicBezTo>
                <a:cubicBezTo>
                  <a:pt x="17" y="109"/>
                  <a:pt x="16" y="108"/>
                  <a:pt x="15" y="108"/>
                </a:cubicBezTo>
                <a:cubicBezTo>
                  <a:pt x="15" y="108"/>
                  <a:pt x="14" y="108"/>
                  <a:pt x="14" y="108"/>
                </a:cubicBezTo>
                <a:cubicBezTo>
                  <a:pt x="14" y="107"/>
                  <a:pt x="13" y="107"/>
                  <a:pt x="12" y="106"/>
                </a:cubicBezTo>
                <a:cubicBezTo>
                  <a:pt x="12" y="106"/>
                  <a:pt x="12" y="106"/>
                  <a:pt x="11" y="106"/>
                </a:cubicBezTo>
                <a:cubicBezTo>
                  <a:pt x="11" y="105"/>
                  <a:pt x="10" y="105"/>
                  <a:pt x="10" y="104"/>
                </a:cubicBezTo>
                <a:cubicBezTo>
                  <a:pt x="10" y="104"/>
                  <a:pt x="9" y="104"/>
                  <a:pt x="9" y="104"/>
                </a:cubicBezTo>
                <a:cubicBezTo>
                  <a:pt x="9" y="103"/>
                  <a:pt x="8" y="103"/>
                  <a:pt x="8" y="103"/>
                </a:cubicBezTo>
                <a:cubicBezTo>
                  <a:pt x="8" y="102"/>
                  <a:pt x="8" y="102"/>
                  <a:pt x="7" y="102"/>
                </a:cubicBezTo>
                <a:cubicBezTo>
                  <a:pt x="7" y="101"/>
                  <a:pt x="7" y="101"/>
                  <a:pt x="7" y="101"/>
                </a:cubicBezTo>
                <a:cubicBezTo>
                  <a:pt x="7" y="100"/>
                  <a:pt x="7" y="100"/>
                  <a:pt x="6" y="100"/>
                </a:cubicBezTo>
                <a:cubicBezTo>
                  <a:pt x="6" y="100"/>
                  <a:pt x="6" y="99"/>
                  <a:pt x="6" y="99"/>
                </a:cubicBezTo>
                <a:cubicBezTo>
                  <a:pt x="6" y="98"/>
                  <a:pt x="6" y="98"/>
                  <a:pt x="6" y="97"/>
                </a:cubicBezTo>
                <a:cubicBezTo>
                  <a:pt x="6" y="97"/>
                  <a:pt x="6" y="97"/>
                  <a:pt x="6" y="96"/>
                </a:cubicBezTo>
                <a:cubicBezTo>
                  <a:pt x="6" y="96"/>
                  <a:pt x="6" y="96"/>
                  <a:pt x="6" y="95"/>
                </a:cubicBezTo>
                <a:cubicBezTo>
                  <a:pt x="6" y="74"/>
                  <a:pt x="6" y="74"/>
                  <a:pt x="6" y="74"/>
                </a:cubicBezTo>
                <a:cubicBezTo>
                  <a:pt x="6" y="74"/>
                  <a:pt x="6" y="74"/>
                  <a:pt x="6" y="74"/>
                </a:cubicBezTo>
                <a:cubicBezTo>
                  <a:pt x="7" y="74"/>
                  <a:pt x="7" y="75"/>
                  <a:pt x="8" y="75"/>
                </a:cubicBezTo>
                <a:cubicBezTo>
                  <a:pt x="19" y="84"/>
                  <a:pt x="41" y="90"/>
                  <a:pt x="73" y="90"/>
                </a:cubicBezTo>
                <a:cubicBezTo>
                  <a:pt x="104" y="90"/>
                  <a:pt x="126" y="84"/>
                  <a:pt x="137" y="76"/>
                </a:cubicBezTo>
                <a:cubicBezTo>
                  <a:pt x="138" y="75"/>
                  <a:pt x="139" y="74"/>
                  <a:pt x="140" y="74"/>
                </a:cubicBezTo>
                <a:cubicBezTo>
                  <a:pt x="140" y="74"/>
                  <a:pt x="140" y="74"/>
                  <a:pt x="140" y="74"/>
                </a:cubicBezTo>
                <a:cubicBezTo>
                  <a:pt x="140" y="95"/>
                  <a:pt x="140" y="95"/>
                  <a:pt x="140" y="95"/>
                </a:cubicBezTo>
                <a:cubicBezTo>
                  <a:pt x="140" y="96"/>
                  <a:pt x="139" y="96"/>
                  <a:pt x="140" y="96"/>
                </a:cubicBezTo>
                <a:cubicBezTo>
                  <a:pt x="140" y="97"/>
                  <a:pt x="140" y="97"/>
                  <a:pt x="140" y="97"/>
                </a:cubicBezTo>
                <a:cubicBezTo>
                  <a:pt x="140" y="98"/>
                  <a:pt x="140" y="98"/>
                  <a:pt x="139" y="99"/>
                </a:cubicBezTo>
                <a:close/>
                <a:moveTo>
                  <a:pt x="140" y="39"/>
                </a:moveTo>
                <a:cubicBezTo>
                  <a:pt x="140" y="60"/>
                  <a:pt x="140" y="60"/>
                  <a:pt x="140" y="60"/>
                </a:cubicBezTo>
                <a:cubicBezTo>
                  <a:pt x="140" y="61"/>
                  <a:pt x="139" y="61"/>
                  <a:pt x="140" y="62"/>
                </a:cubicBezTo>
                <a:cubicBezTo>
                  <a:pt x="140" y="62"/>
                  <a:pt x="140" y="62"/>
                  <a:pt x="140" y="63"/>
                </a:cubicBezTo>
                <a:cubicBezTo>
                  <a:pt x="140" y="63"/>
                  <a:pt x="140" y="63"/>
                  <a:pt x="139" y="64"/>
                </a:cubicBezTo>
                <a:cubicBezTo>
                  <a:pt x="139" y="64"/>
                  <a:pt x="139" y="65"/>
                  <a:pt x="139" y="65"/>
                </a:cubicBezTo>
                <a:cubicBezTo>
                  <a:pt x="139" y="65"/>
                  <a:pt x="139" y="66"/>
                  <a:pt x="139" y="66"/>
                </a:cubicBezTo>
                <a:cubicBezTo>
                  <a:pt x="138" y="66"/>
                  <a:pt x="138" y="67"/>
                  <a:pt x="138" y="67"/>
                </a:cubicBezTo>
                <a:cubicBezTo>
                  <a:pt x="138" y="67"/>
                  <a:pt x="138" y="67"/>
                  <a:pt x="137" y="68"/>
                </a:cubicBezTo>
                <a:cubicBezTo>
                  <a:pt x="137" y="68"/>
                  <a:pt x="137" y="69"/>
                  <a:pt x="136" y="69"/>
                </a:cubicBezTo>
                <a:cubicBezTo>
                  <a:pt x="136" y="69"/>
                  <a:pt x="136" y="69"/>
                  <a:pt x="136" y="70"/>
                </a:cubicBezTo>
                <a:cubicBezTo>
                  <a:pt x="135" y="70"/>
                  <a:pt x="135" y="70"/>
                  <a:pt x="134" y="71"/>
                </a:cubicBezTo>
                <a:cubicBezTo>
                  <a:pt x="134" y="71"/>
                  <a:pt x="134" y="71"/>
                  <a:pt x="133" y="71"/>
                </a:cubicBezTo>
                <a:cubicBezTo>
                  <a:pt x="133" y="72"/>
                  <a:pt x="132" y="72"/>
                  <a:pt x="131" y="73"/>
                </a:cubicBezTo>
                <a:cubicBezTo>
                  <a:pt x="131" y="73"/>
                  <a:pt x="131" y="73"/>
                  <a:pt x="131" y="73"/>
                </a:cubicBezTo>
                <a:cubicBezTo>
                  <a:pt x="130" y="74"/>
                  <a:pt x="129" y="74"/>
                  <a:pt x="128" y="74"/>
                </a:cubicBezTo>
                <a:cubicBezTo>
                  <a:pt x="128" y="75"/>
                  <a:pt x="128" y="75"/>
                  <a:pt x="127" y="75"/>
                </a:cubicBezTo>
                <a:cubicBezTo>
                  <a:pt x="126" y="75"/>
                  <a:pt x="125" y="76"/>
                  <a:pt x="124" y="76"/>
                </a:cubicBezTo>
                <a:cubicBezTo>
                  <a:pt x="124" y="76"/>
                  <a:pt x="124" y="76"/>
                  <a:pt x="124" y="76"/>
                </a:cubicBezTo>
                <a:cubicBezTo>
                  <a:pt x="117" y="79"/>
                  <a:pt x="109" y="81"/>
                  <a:pt x="99" y="83"/>
                </a:cubicBezTo>
                <a:cubicBezTo>
                  <a:pt x="99" y="83"/>
                  <a:pt x="99" y="83"/>
                  <a:pt x="99" y="83"/>
                </a:cubicBezTo>
                <a:cubicBezTo>
                  <a:pt x="97" y="83"/>
                  <a:pt x="95" y="83"/>
                  <a:pt x="93" y="83"/>
                </a:cubicBezTo>
                <a:cubicBezTo>
                  <a:pt x="93" y="83"/>
                  <a:pt x="92" y="83"/>
                  <a:pt x="92" y="83"/>
                </a:cubicBezTo>
                <a:cubicBezTo>
                  <a:pt x="90" y="84"/>
                  <a:pt x="88" y="84"/>
                  <a:pt x="87" y="84"/>
                </a:cubicBezTo>
                <a:cubicBezTo>
                  <a:pt x="86" y="84"/>
                  <a:pt x="85" y="84"/>
                  <a:pt x="84" y="84"/>
                </a:cubicBezTo>
                <a:cubicBezTo>
                  <a:pt x="83" y="84"/>
                  <a:pt x="81" y="84"/>
                  <a:pt x="80" y="84"/>
                </a:cubicBezTo>
                <a:cubicBezTo>
                  <a:pt x="77" y="84"/>
                  <a:pt x="75" y="84"/>
                  <a:pt x="73" y="84"/>
                </a:cubicBezTo>
                <a:cubicBezTo>
                  <a:pt x="70" y="84"/>
                  <a:pt x="68" y="84"/>
                  <a:pt x="66" y="84"/>
                </a:cubicBezTo>
                <a:cubicBezTo>
                  <a:pt x="64" y="84"/>
                  <a:pt x="63" y="84"/>
                  <a:pt x="61" y="84"/>
                </a:cubicBezTo>
                <a:cubicBezTo>
                  <a:pt x="61" y="84"/>
                  <a:pt x="60" y="84"/>
                  <a:pt x="59" y="84"/>
                </a:cubicBezTo>
                <a:cubicBezTo>
                  <a:pt x="57" y="84"/>
                  <a:pt x="55" y="84"/>
                  <a:pt x="54" y="83"/>
                </a:cubicBezTo>
                <a:cubicBezTo>
                  <a:pt x="53" y="83"/>
                  <a:pt x="53" y="83"/>
                  <a:pt x="53" y="83"/>
                </a:cubicBezTo>
                <a:cubicBezTo>
                  <a:pt x="51" y="83"/>
                  <a:pt x="49" y="83"/>
                  <a:pt x="47" y="83"/>
                </a:cubicBezTo>
                <a:cubicBezTo>
                  <a:pt x="47" y="83"/>
                  <a:pt x="47" y="83"/>
                  <a:pt x="47" y="83"/>
                </a:cubicBezTo>
                <a:cubicBezTo>
                  <a:pt x="37" y="81"/>
                  <a:pt x="28" y="79"/>
                  <a:pt x="22" y="76"/>
                </a:cubicBezTo>
                <a:cubicBezTo>
                  <a:pt x="22" y="76"/>
                  <a:pt x="22" y="76"/>
                  <a:pt x="21" y="76"/>
                </a:cubicBezTo>
                <a:cubicBezTo>
                  <a:pt x="20" y="76"/>
                  <a:pt x="19" y="75"/>
                  <a:pt x="18" y="75"/>
                </a:cubicBezTo>
                <a:cubicBezTo>
                  <a:pt x="18" y="75"/>
                  <a:pt x="18" y="75"/>
                  <a:pt x="18" y="74"/>
                </a:cubicBezTo>
                <a:cubicBezTo>
                  <a:pt x="17" y="74"/>
                  <a:pt x="16" y="74"/>
                  <a:pt x="15" y="73"/>
                </a:cubicBezTo>
                <a:cubicBezTo>
                  <a:pt x="15" y="73"/>
                  <a:pt x="14" y="73"/>
                  <a:pt x="14" y="73"/>
                </a:cubicBezTo>
                <a:cubicBezTo>
                  <a:pt x="14" y="72"/>
                  <a:pt x="13" y="72"/>
                  <a:pt x="12" y="71"/>
                </a:cubicBezTo>
                <a:cubicBezTo>
                  <a:pt x="12" y="71"/>
                  <a:pt x="12" y="71"/>
                  <a:pt x="11" y="71"/>
                </a:cubicBezTo>
                <a:cubicBezTo>
                  <a:pt x="11" y="70"/>
                  <a:pt x="10" y="70"/>
                  <a:pt x="10" y="70"/>
                </a:cubicBezTo>
                <a:cubicBezTo>
                  <a:pt x="10" y="69"/>
                  <a:pt x="9" y="69"/>
                  <a:pt x="9" y="69"/>
                </a:cubicBezTo>
                <a:cubicBezTo>
                  <a:pt x="9" y="69"/>
                  <a:pt x="8" y="68"/>
                  <a:pt x="8" y="68"/>
                </a:cubicBezTo>
                <a:cubicBezTo>
                  <a:pt x="8" y="67"/>
                  <a:pt x="8" y="67"/>
                  <a:pt x="7" y="67"/>
                </a:cubicBezTo>
                <a:cubicBezTo>
                  <a:pt x="7" y="67"/>
                  <a:pt x="7" y="66"/>
                  <a:pt x="7" y="66"/>
                </a:cubicBezTo>
                <a:cubicBezTo>
                  <a:pt x="7" y="66"/>
                  <a:pt x="7" y="65"/>
                  <a:pt x="6" y="65"/>
                </a:cubicBezTo>
                <a:cubicBezTo>
                  <a:pt x="6" y="65"/>
                  <a:pt x="6" y="64"/>
                  <a:pt x="6" y="64"/>
                </a:cubicBezTo>
                <a:cubicBezTo>
                  <a:pt x="6" y="63"/>
                  <a:pt x="6" y="63"/>
                  <a:pt x="6" y="63"/>
                </a:cubicBezTo>
                <a:cubicBezTo>
                  <a:pt x="6" y="62"/>
                  <a:pt x="6" y="62"/>
                  <a:pt x="6" y="62"/>
                </a:cubicBezTo>
                <a:cubicBezTo>
                  <a:pt x="6" y="61"/>
                  <a:pt x="6" y="61"/>
                  <a:pt x="6" y="60"/>
                </a:cubicBezTo>
                <a:cubicBezTo>
                  <a:pt x="6" y="39"/>
                  <a:pt x="6" y="39"/>
                  <a:pt x="6" y="39"/>
                </a:cubicBezTo>
                <a:cubicBezTo>
                  <a:pt x="6" y="39"/>
                  <a:pt x="7" y="39"/>
                  <a:pt x="7" y="40"/>
                </a:cubicBezTo>
                <a:cubicBezTo>
                  <a:pt x="7" y="40"/>
                  <a:pt x="7" y="40"/>
                  <a:pt x="8" y="40"/>
                </a:cubicBezTo>
                <a:cubicBezTo>
                  <a:pt x="8" y="41"/>
                  <a:pt x="9" y="42"/>
                  <a:pt x="10" y="42"/>
                </a:cubicBezTo>
                <a:cubicBezTo>
                  <a:pt x="11" y="42"/>
                  <a:pt x="11" y="42"/>
                  <a:pt x="11" y="43"/>
                </a:cubicBezTo>
                <a:cubicBezTo>
                  <a:pt x="12" y="43"/>
                  <a:pt x="13" y="44"/>
                  <a:pt x="14" y="44"/>
                </a:cubicBezTo>
                <a:cubicBezTo>
                  <a:pt x="14" y="44"/>
                  <a:pt x="14" y="45"/>
                  <a:pt x="15" y="45"/>
                </a:cubicBezTo>
                <a:cubicBezTo>
                  <a:pt x="16" y="45"/>
                  <a:pt x="17" y="46"/>
                  <a:pt x="18" y="46"/>
                </a:cubicBezTo>
                <a:cubicBezTo>
                  <a:pt x="18" y="46"/>
                  <a:pt x="19" y="46"/>
                  <a:pt x="19" y="47"/>
                </a:cubicBezTo>
                <a:cubicBezTo>
                  <a:pt x="20" y="47"/>
                  <a:pt x="22" y="48"/>
                  <a:pt x="23" y="48"/>
                </a:cubicBezTo>
                <a:cubicBezTo>
                  <a:pt x="24" y="48"/>
                  <a:pt x="24" y="48"/>
                  <a:pt x="24" y="49"/>
                </a:cubicBezTo>
                <a:cubicBezTo>
                  <a:pt x="26" y="49"/>
                  <a:pt x="27" y="49"/>
                  <a:pt x="28" y="50"/>
                </a:cubicBezTo>
                <a:cubicBezTo>
                  <a:pt x="29" y="50"/>
                  <a:pt x="29" y="50"/>
                  <a:pt x="29" y="50"/>
                </a:cubicBezTo>
                <a:cubicBezTo>
                  <a:pt x="31" y="51"/>
                  <a:pt x="33" y="51"/>
                  <a:pt x="35" y="52"/>
                </a:cubicBezTo>
                <a:cubicBezTo>
                  <a:pt x="35" y="52"/>
                  <a:pt x="35" y="52"/>
                  <a:pt x="36" y="52"/>
                </a:cubicBezTo>
                <a:cubicBezTo>
                  <a:pt x="37" y="52"/>
                  <a:pt x="39" y="52"/>
                  <a:pt x="41" y="53"/>
                </a:cubicBezTo>
                <a:cubicBezTo>
                  <a:pt x="41" y="53"/>
                  <a:pt x="42" y="53"/>
                  <a:pt x="42" y="53"/>
                </a:cubicBezTo>
                <a:cubicBezTo>
                  <a:pt x="44" y="53"/>
                  <a:pt x="46" y="53"/>
                  <a:pt x="47" y="54"/>
                </a:cubicBezTo>
                <a:cubicBezTo>
                  <a:pt x="48" y="54"/>
                  <a:pt x="48" y="54"/>
                  <a:pt x="49" y="54"/>
                </a:cubicBezTo>
                <a:cubicBezTo>
                  <a:pt x="51" y="54"/>
                  <a:pt x="53" y="54"/>
                  <a:pt x="56" y="55"/>
                </a:cubicBezTo>
                <a:cubicBezTo>
                  <a:pt x="56" y="55"/>
                  <a:pt x="57" y="55"/>
                  <a:pt x="57" y="55"/>
                </a:cubicBezTo>
                <a:cubicBezTo>
                  <a:pt x="59" y="55"/>
                  <a:pt x="61" y="55"/>
                  <a:pt x="63" y="55"/>
                </a:cubicBezTo>
                <a:cubicBezTo>
                  <a:pt x="64" y="55"/>
                  <a:pt x="64" y="55"/>
                  <a:pt x="65" y="55"/>
                </a:cubicBezTo>
                <a:cubicBezTo>
                  <a:pt x="68" y="55"/>
                  <a:pt x="70" y="55"/>
                  <a:pt x="73" y="55"/>
                </a:cubicBezTo>
                <a:cubicBezTo>
                  <a:pt x="75" y="55"/>
                  <a:pt x="78" y="55"/>
                  <a:pt x="80" y="55"/>
                </a:cubicBezTo>
                <a:cubicBezTo>
                  <a:pt x="81" y="55"/>
                  <a:pt x="82" y="55"/>
                  <a:pt x="83" y="55"/>
                </a:cubicBezTo>
                <a:cubicBezTo>
                  <a:pt x="84" y="55"/>
                  <a:pt x="86" y="55"/>
                  <a:pt x="88" y="55"/>
                </a:cubicBezTo>
                <a:cubicBezTo>
                  <a:pt x="89" y="55"/>
                  <a:pt x="89" y="55"/>
                  <a:pt x="90" y="55"/>
                </a:cubicBezTo>
                <a:cubicBezTo>
                  <a:pt x="92" y="54"/>
                  <a:pt x="94" y="54"/>
                  <a:pt x="97" y="54"/>
                </a:cubicBezTo>
                <a:cubicBezTo>
                  <a:pt x="97" y="54"/>
                  <a:pt x="98" y="54"/>
                  <a:pt x="98" y="54"/>
                </a:cubicBezTo>
                <a:cubicBezTo>
                  <a:pt x="100" y="53"/>
                  <a:pt x="101" y="53"/>
                  <a:pt x="103" y="53"/>
                </a:cubicBezTo>
                <a:cubicBezTo>
                  <a:pt x="104" y="53"/>
                  <a:pt x="104" y="53"/>
                  <a:pt x="105" y="53"/>
                </a:cubicBezTo>
                <a:cubicBezTo>
                  <a:pt x="107" y="52"/>
                  <a:pt x="108" y="52"/>
                  <a:pt x="110" y="52"/>
                </a:cubicBezTo>
                <a:cubicBezTo>
                  <a:pt x="110" y="52"/>
                  <a:pt x="110" y="52"/>
                  <a:pt x="111" y="52"/>
                </a:cubicBezTo>
                <a:cubicBezTo>
                  <a:pt x="113" y="51"/>
                  <a:pt x="114" y="51"/>
                  <a:pt x="116" y="50"/>
                </a:cubicBezTo>
                <a:cubicBezTo>
                  <a:pt x="116" y="50"/>
                  <a:pt x="117" y="50"/>
                  <a:pt x="117" y="50"/>
                </a:cubicBezTo>
                <a:cubicBezTo>
                  <a:pt x="119" y="49"/>
                  <a:pt x="120" y="49"/>
                  <a:pt x="121" y="49"/>
                </a:cubicBezTo>
                <a:cubicBezTo>
                  <a:pt x="122" y="48"/>
                  <a:pt x="122" y="48"/>
                  <a:pt x="122" y="48"/>
                </a:cubicBezTo>
                <a:cubicBezTo>
                  <a:pt x="124" y="48"/>
                  <a:pt x="125" y="47"/>
                  <a:pt x="127" y="47"/>
                </a:cubicBezTo>
                <a:cubicBezTo>
                  <a:pt x="127" y="46"/>
                  <a:pt x="127" y="46"/>
                  <a:pt x="127" y="46"/>
                </a:cubicBezTo>
                <a:cubicBezTo>
                  <a:pt x="128" y="46"/>
                  <a:pt x="130" y="45"/>
                  <a:pt x="131" y="45"/>
                </a:cubicBezTo>
                <a:cubicBezTo>
                  <a:pt x="131" y="45"/>
                  <a:pt x="131" y="44"/>
                  <a:pt x="132" y="44"/>
                </a:cubicBezTo>
                <a:cubicBezTo>
                  <a:pt x="133" y="44"/>
                  <a:pt x="134" y="43"/>
                  <a:pt x="134" y="43"/>
                </a:cubicBezTo>
                <a:cubicBezTo>
                  <a:pt x="135" y="42"/>
                  <a:pt x="135" y="42"/>
                  <a:pt x="135" y="42"/>
                </a:cubicBezTo>
                <a:cubicBezTo>
                  <a:pt x="136" y="42"/>
                  <a:pt x="137" y="41"/>
                  <a:pt x="138" y="40"/>
                </a:cubicBezTo>
                <a:cubicBezTo>
                  <a:pt x="138" y="40"/>
                  <a:pt x="138" y="40"/>
                  <a:pt x="139" y="40"/>
                </a:cubicBezTo>
                <a:cubicBezTo>
                  <a:pt x="139" y="39"/>
                  <a:pt x="139" y="39"/>
                  <a:pt x="140" y="39"/>
                </a:cubicBezTo>
                <a:close/>
                <a:moveTo>
                  <a:pt x="73" y="6"/>
                </a:moveTo>
                <a:cubicBezTo>
                  <a:pt x="112" y="6"/>
                  <a:pt x="140" y="17"/>
                  <a:pt x="140" y="28"/>
                </a:cubicBezTo>
                <a:cubicBezTo>
                  <a:pt x="140" y="38"/>
                  <a:pt x="112" y="49"/>
                  <a:pt x="73" y="49"/>
                </a:cubicBezTo>
                <a:cubicBezTo>
                  <a:pt x="33" y="49"/>
                  <a:pt x="6" y="38"/>
                  <a:pt x="6" y="28"/>
                </a:cubicBezTo>
                <a:cubicBezTo>
                  <a:pt x="6" y="17"/>
                  <a:pt x="33" y="6"/>
                  <a:pt x="73" y="6"/>
                </a:cubicBezTo>
                <a:close/>
                <a:moveTo>
                  <a:pt x="140" y="133"/>
                </a:moveTo>
                <a:cubicBezTo>
                  <a:pt x="140" y="133"/>
                  <a:pt x="140" y="133"/>
                  <a:pt x="140" y="133"/>
                </a:cubicBezTo>
                <a:cubicBezTo>
                  <a:pt x="138" y="143"/>
                  <a:pt x="111" y="154"/>
                  <a:pt x="73" y="154"/>
                </a:cubicBezTo>
                <a:cubicBezTo>
                  <a:pt x="35" y="154"/>
                  <a:pt x="8" y="143"/>
                  <a:pt x="6" y="133"/>
                </a:cubicBezTo>
                <a:cubicBezTo>
                  <a:pt x="6" y="133"/>
                  <a:pt x="6" y="133"/>
                  <a:pt x="6" y="133"/>
                </a:cubicBezTo>
                <a:cubicBezTo>
                  <a:pt x="6" y="108"/>
                  <a:pt x="6" y="108"/>
                  <a:pt x="6" y="108"/>
                </a:cubicBezTo>
                <a:cubicBezTo>
                  <a:pt x="6" y="109"/>
                  <a:pt x="6" y="109"/>
                  <a:pt x="6" y="109"/>
                </a:cubicBezTo>
                <a:cubicBezTo>
                  <a:pt x="7" y="109"/>
                  <a:pt x="7" y="110"/>
                  <a:pt x="8" y="110"/>
                </a:cubicBezTo>
                <a:cubicBezTo>
                  <a:pt x="19" y="119"/>
                  <a:pt x="41" y="125"/>
                  <a:pt x="73" y="125"/>
                </a:cubicBezTo>
                <a:cubicBezTo>
                  <a:pt x="104" y="125"/>
                  <a:pt x="126" y="119"/>
                  <a:pt x="137" y="110"/>
                </a:cubicBezTo>
                <a:cubicBezTo>
                  <a:pt x="138" y="110"/>
                  <a:pt x="139" y="109"/>
                  <a:pt x="140" y="108"/>
                </a:cubicBezTo>
                <a:cubicBezTo>
                  <a:pt x="140" y="108"/>
                  <a:pt x="140" y="108"/>
                  <a:pt x="140" y="108"/>
                </a:cubicBezTo>
                <a:lnTo>
                  <a:pt x="140" y="133"/>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7" name="Freeform 1134">
            <a:extLst>
              <a:ext uri="{FF2B5EF4-FFF2-40B4-BE49-F238E27FC236}">
                <a16:creationId xmlns:a16="http://schemas.microsoft.com/office/drawing/2014/main" id="{2F8451DD-B55D-A64A-87C1-83555711C7BB}"/>
              </a:ext>
            </a:extLst>
          </p:cNvPr>
          <p:cNvSpPr>
            <a:spLocks noEditPoints="1"/>
          </p:cNvSpPr>
          <p:nvPr/>
        </p:nvSpPr>
        <p:spPr bwMode="auto">
          <a:xfrm>
            <a:off x="7292858" y="2841625"/>
            <a:ext cx="495300" cy="550863"/>
          </a:xfrm>
          <a:custGeom>
            <a:avLst/>
            <a:gdLst>
              <a:gd name="T0" fmla="*/ 12 w 145"/>
              <a:gd name="T1" fmla="*/ 84 h 160"/>
              <a:gd name="T2" fmla="*/ 17 w 145"/>
              <a:gd name="T3" fmla="*/ 102 h 160"/>
              <a:gd name="T4" fmla="*/ 23 w 145"/>
              <a:gd name="T5" fmla="*/ 96 h 160"/>
              <a:gd name="T6" fmla="*/ 38 w 145"/>
              <a:gd name="T7" fmla="*/ 93 h 160"/>
              <a:gd name="T8" fmla="*/ 38 w 145"/>
              <a:gd name="T9" fmla="*/ 93 h 160"/>
              <a:gd name="T10" fmla="*/ 32 w 145"/>
              <a:gd name="T11" fmla="*/ 99 h 160"/>
              <a:gd name="T12" fmla="*/ 52 w 145"/>
              <a:gd name="T13" fmla="*/ 102 h 160"/>
              <a:gd name="T14" fmla="*/ 58 w 145"/>
              <a:gd name="T15" fmla="*/ 96 h 160"/>
              <a:gd name="T16" fmla="*/ 73 w 145"/>
              <a:gd name="T17" fmla="*/ 93 h 160"/>
              <a:gd name="T18" fmla="*/ 73 w 145"/>
              <a:gd name="T19" fmla="*/ 93 h 160"/>
              <a:gd name="T20" fmla="*/ 67 w 145"/>
              <a:gd name="T21" fmla="*/ 99 h 160"/>
              <a:gd name="T22" fmla="*/ 87 w 145"/>
              <a:gd name="T23" fmla="*/ 102 h 160"/>
              <a:gd name="T24" fmla="*/ 93 w 145"/>
              <a:gd name="T25" fmla="*/ 96 h 160"/>
              <a:gd name="T26" fmla="*/ 108 w 145"/>
              <a:gd name="T27" fmla="*/ 93 h 160"/>
              <a:gd name="T28" fmla="*/ 108 w 145"/>
              <a:gd name="T29" fmla="*/ 93 h 160"/>
              <a:gd name="T30" fmla="*/ 102 w 145"/>
              <a:gd name="T31" fmla="*/ 99 h 160"/>
              <a:gd name="T32" fmla="*/ 122 w 145"/>
              <a:gd name="T33" fmla="*/ 102 h 160"/>
              <a:gd name="T34" fmla="*/ 128 w 145"/>
              <a:gd name="T35" fmla="*/ 96 h 160"/>
              <a:gd name="T36" fmla="*/ 134 w 145"/>
              <a:gd name="T37" fmla="*/ 84 h 160"/>
              <a:gd name="T38" fmla="*/ 134 w 145"/>
              <a:gd name="T39" fmla="*/ 84 h 160"/>
              <a:gd name="T40" fmla="*/ 41 w 145"/>
              <a:gd name="T41" fmla="*/ 108 h 160"/>
              <a:gd name="T42" fmla="*/ 61 w 145"/>
              <a:gd name="T43" fmla="*/ 111 h 160"/>
              <a:gd name="T44" fmla="*/ 76 w 145"/>
              <a:gd name="T45" fmla="*/ 113 h 160"/>
              <a:gd name="T46" fmla="*/ 90 w 145"/>
              <a:gd name="T47" fmla="*/ 111 h 160"/>
              <a:gd name="T48" fmla="*/ 90 w 145"/>
              <a:gd name="T49" fmla="*/ 111 h 160"/>
              <a:gd name="T50" fmla="*/ 111 w 145"/>
              <a:gd name="T51" fmla="*/ 108 h 160"/>
              <a:gd name="T52" fmla="*/ 145 w 145"/>
              <a:gd name="T53" fmla="*/ 96 h 160"/>
              <a:gd name="T54" fmla="*/ 73 w 145"/>
              <a:gd name="T55" fmla="*/ 160 h 160"/>
              <a:gd name="T56" fmla="*/ 0 w 145"/>
              <a:gd name="T57" fmla="*/ 96 h 160"/>
              <a:gd name="T58" fmla="*/ 0 w 145"/>
              <a:gd name="T59" fmla="*/ 25 h 160"/>
              <a:gd name="T60" fmla="*/ 145 w 145"/>
              <a:gd name="T61" fmla="*/ 25 h 160"/>
              <a:gd name="T62" fmla="*/ 134 w 145"/>
              <a:gd name="T63" fmla="*/ 102 h 160"/>
              <a:gd name="T64" fmla="*/ 140 w 145"/>
              <a:gd name="T65" fmla="*/ 96 h 160"/>
              <a:gd name="T66" fmla="*/ 122 w 145"/>
              <a:gd name="T67" fmla="*/ 83 h 160"/>
              <a:gd name="T68" fmla="*/ 73 w 145"/>
              <a:gd name="T69" fmla="*/ 90 h 160"/>
              <a:gd name="T70" fmla="*/ 9 w 145"/>
              <a:gd name="T71" fmla="*/ 76 h 160"/>
              <a:gd name="T72" fmla="*/ 6 w 145"/>
              <a:gd name="T73" fmla="*/ 96 h 160"/>
              <a:gd name="T74" fmla="*/ 20 w 145"/>
              <a:gd name="T75" fmla="*/ 111 h 160"/>
              <a:gd name="T76" fmla="*/ 47 w 145"/>
              <a:gd name="T77" fmla="*/ 118 h 160"/>
              <a:gd name="T78" fmla="*/ 67 w 145"/>
              <a:gd name="T79" fmla="*/ 116 h 160"/>
              <a:gd name="T80" fmla="*/ 84 w 145"/>
              <a:gd name="T81" fmla="*/ 116 h 160"/>
              <a:gd name="T82" fmla="*/ 103 w 145"/>
              <a:gd name="T83" fmla="*/ 117 h 160"/>
              <a:gd name="T84" fmla="*/ 130 w 145"/>
              <a:gd name="T85" fmla="*/ 108 h 160"/>
              <a:gd name="T86" fmla="*/ 6 w 145"/>
              <a:gd name="T87" fmla="*/ 39 h 160"/>
              <a:gd name="T88" fmla="*/ 140 w 145"/>
              <a:gd name="T89" fmla="*/ 64 h 160"/>
              <a:gd name="T90" fmla="*/ 6 w 145"/>
              <a:gd name="T91" fmla="*/ 27 h 160"/>
              <a:gd name="T92" fmla="*/ 140 w 145"/>
              <a:gd name="T93" fmla="*/ 27 h 160"/>
              <a:gd name="T94" fmla="*/ 140 w 145"/>
              <a:gd name="T95" fmla="*/ 133 h 160"/>
              <a:gd name="T96" fmla="*/ 6 w 145"/>
              <a:gd name="T97" fmla="*/ 133 h 160"/>
              <a:gd name="T98" fmla="*/ 140 w 145"/>
              <a:gd name="T99" fmla="*/ 13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 h="160">
                <a:moveTo>
                  <a:pt x="15" y="81"/>
                </a:moveTo>
                <a:cubicBezTo>
                  <a:pt x="16" y="81"/>
                  <a:pt x="17" y="83"/>
                  <a:pt x="17" y="84"/>
                </a:cubicBezTo>
                <a:cubicBezTo>
                  <a:pt x="17" y="86"/>
                  <a:pt x="16" y="87"/>
                  <a:pt x="15" y="87"/>
                </a:cubicBezTo>
                <a:cubicBezTo>
                  <a:pt x="13" y="87"/>
                  <a:pt x="12" y="86"/>
                  <a:pt x="12" y="84"/>
                </a:cubicBezTo>
                <a:cubicBezTo>
                  <a:pt x="12" y="83"/>
                  <a:pt x="13" y="81"/>
                  <a:pt x="15" y="81"/>
                </a:cubicBezTo>
                <a:close/>
                <a:moveTo>
                  <a:pt x="12" y="102"/>
                </a:moveTo>
                <a:cubicBezTo>
                  <a:pt x="12" y="103"/>
                  <a:pt x="13" y="105"/>
                  <a:pt x="15" y="105"/>
                </a:cubicBezTo>
                <a:cubicBezTo>
                  <a:pt x="16" y="105"/>
                  <a:pt x="17" y="103"/>
                  <a:pt x="17" y="102"/>
                </a:cubicBezTo>
                <a:cubicBezTo>
                  <a:pt x="17" y="100"/>
                  <a:pt x="16" y="99"/>
                  <a:pt x="15" y="99"/>
                </a:cubicBezTo>
                <a:cubicBezTo>
                  <a:pt x="13" y="99"/>
                  <a:pt x="12" y="100"/>
                  <a:pt x="12" y="102"/>
                </a:cubicBezTo>
                <a:close/>
                <a:moveTo>
                  <a:pt x="20" y="93"/>
                </a:moveTo>
                <a:cubicBezTo>
                  <a:pt x="20" y="95"/>
                  <a:pt x="22" y="96"/>
                  <a:pt x="23" y="96"/>
                </a:cubicBezTo>
                <a:cubicBezTo>
                  <a:pt x="25" y="96"/>
                  <a:pt x="26" y="95"/>
                  <a:pt x="26" y="93"/>
                </a:cubicBezTo>
                <a:cubicBezTo>
                  <a:pt x="26" y="91"/>
                  <a:pt x="25" y="90"/>
                  <a:pt x="23" y="90"/>
                </a:cubicBezTo>
                <a:cubicBezTo>
                  <a:pt x="22" y="90"/>
                  <a:pt x="20" y="91"/>
                  <a:pt x="20" y="93"/>
                </a:cubicBezTo>
                <a:close/>
                <a:moveTo>
                  <a:pt x="38" y="93"/>
                </a:moveTo>
                <a:cubicBezTo>
                  <a:pt x="38" y="95"/>
                  <a:pt x="39" y="96"/>
                  <a:pt x="41" y="96"/>
                </a:cubicBezTo>
                <a:cubicBezTo>
                  <a:pt x="42" y="96"/>
                  <a:pt x="44" y="95"/>
                  <a:pt x="44" y="93"/>
                </a:cubicBezTo>
                <a:cubicBezTo>
                  <a:pt x="44" y="91"/>
                  <a:pt x="42" y="90"/>
                  <a:pt x="41" y="90"/>
                </a:cubicBezTo>
                <a:cubicBezTo>
                  <a:pt x="39" y="90"/>
                  <a:pt x="38" y="91"/>
                  <a:pt x="38" y="93"/>
                </a:cubicBezTo>
                <a:close/>
                <a:moveTo>
                  <a:pt x="29" y="102"/>
                </a:moveTo>
                <a:cubicBezTo>
                  <a:pt x="29" y="103"/>
                  <a:pt x="30" y="105"/>
                  <a:pt x="32" y="105"/>
                </a:cubicBezTo>
                <a:cubicBezTo>
                  <a:pt x="34" y="105"/>
                  <a:pt x="35" y="103"/>
                  <a:pt x="35" y="102"/>
                </a:cubicBezTo>
                <a:cubicBezTo>
                  <a:pt x="35" y="100"/>
                  <a:pt x="34" y="99"/>
                  <a:pt x="32" y="99"/>
                </a:cubicBezTo>
                <a:cubicBezTo>
                  <a:pt x="30" y="99"/>
                  <a:pt x="29" y="100"/>
                  <a:pt x="29" y="102"/>
                </a:cubicBezTo>
                <a:close/>
                <a:moveTo>
                  <a:pt x="47" y="102"/>
                </a:moveTo>
                <a:cubicBezTo>
                  <a:pt x="47" y="103"/>
                  <a:pt x="48" y="105"/>
                  <a:pt x="49" y="105"/>
                </a:cubicBezTo>
                <a:cubicBezTo>
                  <a:pt x="51" y="105"/>
                  <a:pt x="52" y="103"/>
                  <a:pt x="52" y="102"/>
                </a:cubicBezTo>
                <a:cubicBezTo>
                  <a:pt x="52" y="100"/>
                  <a:pt x="51" y="99"/>
                  <a:pt x="49" y="99"/>
                </a:cubicBezTo>
                <a:cubicBezTo>
                  <a:pt x="48" y="99"/>
                  <a:pt x="47" y="100"/>
                  <a:pt x="47" y="102"/>
                </a:cubicBezTo>
                <a:close/>
                <a:moveTo>
                  <a:pt x="55" y="93"/>
                </a:moveTo>
                <a:cubicBezTo>
                  <a:pt x="55" y="95"/>
                  <a:pt x="57" y="96"/>
                  <a:pt x="58" y="96"/>
                </a:cubicBezTo>
                <a:cubicBezTo>
                  <a:pt x="60" y="96"/>
                  <a:pt x="61" y="95"/>
                  <a:pt x="61" y="93"/>
                </a:cubicBezTo>
                <a:cubicBezTo>
                  <a:pt x="61" y="91"/>
                  <a:pt x="60" y="90"/>
                  <a:pt x="58" y="90"/>
                </a:cubicBezTo>
                <a:cubicBezTo>
                  <a:pt x="57" y="90"/>
                  <a:pt x="55" y="91"/>
                  <a:pt x="55" y="93"/>
                </a:cubicBezTo>
                <a:close/>
                <a:moveTo>
                  <a:pt x="73" y="93"/>
                </a:moveTo>
                <a:cubicBezTo>
                  <a:pt x="73" y="95"/>
                  <a:pt x="74" y="96"/>
                  <a:pt x="76" y="96"/>
                </a:cubicBezTo>
                <a:cubicBezTo>
                  <a:pt x="77" y="96"/>
                  <a:pt x="79" y="95"/>
                  <a:pt x="79" y="93"/>
                </a:cubicBezTo>
                <a:cubicBezTo>
                  <a:pt x="79" y="91"/>
                  <a:pt x="77" y="90"/>
                  <a:pt x="76" y="90"/>
                </a:cubicBezTo>
                <a:cubicBezTo>
                  <a:pt x="74" y="90"/>
                  <a:pt x="73" y="91"/>
                  <a:pt x="73" y="93"/>
                </a:cubicBezTo>
                <a:close/>
                <a:moveTo>
                  <a:pt x="64" y="102"/>
                </a:moveTo>
                <a:cubicBezTo>
                  <a:pt x="64" y="103"/>
                  <a:pt x="65" y="105"/>
                  <a:pt x="67" y="105"/>
                </a:cubicBezTo>
                <a:cubicBezTo>
                  <a:pt x="69" y="105"/>
                  <a:pt x="70" y="103"/>
                  <a:pt x="70" y="102"/>
                </a:cubicBezTo>
                <a:cubicBezTo>
                  <a:pt x="70" y="100"/>
                  <a:pt x="69" y="99"/>
                  <a:pt x="67" y="99"/>
                </a:cubicBezTo>
                <a:cubicBezTo>
                  <a:pt x="65" y="99"/>
                  <a:pt x="64" y="100"/>
                  <a:pt x="64" y="102"/>
                </a:cubicBezTo>
                <a:close/>
                <a:moveTo>
                  <a:pt x="81" y="102"/>
                </a:moveTo>
                <a:cubicBezTo>
                  <a:pt x="81" y="103"/>
                  <a:pt x="83" y="105"/>
                  <a:pt x="84" y="105"/>
                </a:cubicBezTo>
                <a:cubicBezTo>
                  <a:pt x="86" y="105"/>
                  <a:pt x="87" y="103"/>
                  <a:pt x="87" y="102"/>
                </a:cubicBezTo>
                <a:cubicBezTo>
                  <a:pt x="87" y="100"/>
                  <a:pt x="86" y="99"/>
                  <a:pt x="84" y="99"/>
                </a:cubicBezTo>
                <a:cubicBezTo>
                  <a:pt x="83" y="99"/>
                  <a:pt x="81" y="100"/>
                  <a:pt x="81" y="102"/>
                </a:cubicBezTo>
                <a:close/>
                <a:moveTo>
                  <a:pt x="90" y="93"/>
                </a:moveTo>
                <a:cubicBezTo>
                  <a:pt x="90" y="95"/>
                  <a:pt x="91" y="96"/>
                  <a:pt x="93" y="96"/>
                </a:cubicBezTo>
                <a:cubicBezTo>
                  <a:pt x="95" y="96"/>
                  <a:pt x="96" y="95"/>
                  <a:pt x="96" y="93"/>
                </a:cubicBezTo>
                <a:cubicBezTo>
                  <a:pt x="96" y="91"/>
                  <a:pt x="95" y="90"/>
                  <a:pt x="93" y="90"/>
                </a:cubicBezTo>
                <a:cubicBezTo>
                  <a:pt x="91" y="90"/>
                  <a:pt x="90" y="91"/>
                  <a:pt x="90" y="93"/>
                </a:cubicBezTo>
                <a:close/>
                <a:moveTo>
                  <a:pt x="108" y="93"/>
                </a:moveTo>
                <a:cubicBezTo>
                  <a:pt x="108" y="95"/>
                  <a:pt x="109" y="96"/>
                  <a:pt x="111" y="96"/>
                </a:cubicBezTo>
                <a:cubicBezTo>
                  <a:pt x="112" y="96"/>
                  <a:pt x="113" y="95"/>
                  <a:pt x="113" y="93"/>
                </a:cubicBezTo>
                <a:cubicBezTo>
                  <a:pt x="113" y="91"/>
                  <a:pt x="112" y="90"/>
                  <a:pt x="111" y="90"/>
                </a:cubicBezTo>
                <a:cubicBezTo>
                  <a:pt x="109" y="90"/>
                  <a:pt x="108" y="91"/>
                  <a:pt x="108" y="93"/>
                </a:cubicBezTo>
                <a:close/>
                <a:moveTo>
                  <a:pt x="99" y="102"/>
                </a:moveTo>
                <a:cubicBezTo>
                  <a:pt x="99" y="103"/>
                  <a:pt x="100" y="105"/>
                  <a:pt x="102" y="105"/>
                </a:cubicBezTo>
                <a:cubicBezTo>
                  <a:pt x="103" y="105"/>
                  <a:pt x="105" y="103"/>
                  <a:pt x="105" y="102"/>
                </a:cubicBezTo>
                <a:cubicBezTo>
                  <a:pt x="105" y="100"/>
                  <a:pt x="103" y="99"/>
                  <a:pt x="102" y="99"/>
                </a:cubicBezTo>
                <a:cubicBezTo>
                  <a:pt x="100" y="99"/>
                  <a:pt x="99" y="100"/>
                  <a:pt x="99" y="102"/>
                </a:cubicBezTo>
                <a:close/>
                <a:moveTo>
                  <a:pt x="116" y="102"/>
                </a:moveTo>
                <a:cubicBezTo>
                  <a:pt x="116" y="103"/>
                  <a:pt x="118" y="105"/>
                  <a:pt x="119" y="105"/>
                </a:cubicBezTo>
                <a:cubicBezTo>
                  <a:pt x="121" y="105"/>
                  <a:pt x="122" y="103"/>
                  <a:pt x="122" y="102"/>
                </a:cubicBezTo>
                <a:cubicBezTo>
                  <a:pt x="122" y="100"/>
                  <a:pt x="121" y="99"/>
                  <a:pt x="119" y="99"/>
                </a:cubicBezTo>
                <a:cubicBezTo>
                  <a:pt x="118" y="99"/>
                  <a:pt x="116" y="100"/>
                  <a:pt x="116" y="102"/>
                </a:cubicBezTo>
                <a:close/>
                <a:moveTo>
                  <a:pt x="125" y="93"/>
                </a:moveTo>
                <a:cubicBezTo>
                  <a:pt x="125" y="95"/>
                  <a:pt x="126" y="96"/>
                  <a:pt x="128" y="96"/>
                </a:cubicBezTo>
                <a:cubicBezTo>
                  <a:pt x="130" y="96"/>
                  <a:pt x="131" y="95"/>
                  <a:pt x="131" y="93"/>
                </a:cubicBezTo>
                <a:cubicBezTo>
                  <a:pt x="131" y="91"/>
                  <a:pt x="130" y="90"/>
                  <a:pt x="128" y="90"/>
                </a:cubicBezTo>
                <a:cubicBezTo>
                  <a:pt x="126" y="90"/>
                  <a:pt x="125" y="91"/>
                  <a:pt x="125" y="93"/>
                </a:cubicBezTo>
                <a:close/>
                <a:moveTo>
                  <a:pt x="134" y="84"/>
                </a:moveTo>
                <a:cubicBezTo>
                  <a:pt x="134" y="86"/>
                  <a:pt x="135" y="87"/>
                  <a:pt x="137" y="87"/>
                </a:cubicBezTo>
                <a:cubicBezTo>
                  <a:pt x="138" y="87"/>
                  <a:pt x="140" y="86"/>
                  <a:pt x="140" y="84"/>
                </a:cubicBezTo>
                <a:cubicBezTo>
                  <a:pt x="140" y="83"/>
                  <a:pt x="138" y="81"/>
                  <a:pt x="137" y="81"/>
                </a:cubicBezTo>
                <a:cubicBezTo>
                  <a:pt x="135" y="81"/>
                  <a:pt x="134" y="83"/>
                  <a:pt x="134" y="84"/>
                </a:cubicBezTo>
                <a:close/>
                <a:moveTo>
                  <a:pt x="38" y="111"/>
                </a:moveTo>
                <a:cubicBezTo>
                  <a:pt x="38" y="112"/>
                  <a:pt x="39" y="113"/>
                  <a:pt x="41" y="113"/>
                </a:cubicBezTo>
                <a:cubicBezTo>
                  <a:pt x="42" y="113"/>
                  <a:pt x="44" y="112"/>
                  <a:pt x="44" y="111"/>
                </a:cubicBezTo>
                <a:cubicBezTo>
                  <a:pt x="44" y="109"/>
                  <a:pt x="42" y="108"/>
                  <a:pt x="41" y="108"/>
                </a:cubicBezTo>
                <a:cubicBezTo>
                  <a:pt x="39" y="108"/>
                  <a:pt x="38" y="109"/>
                  <a:pt x="38" y="111"/>
                </a:cubicBezTo>
                <a:close/>
                <a:moveTo>
                  <a:pt x="55" y="111"/>
                </a:moveTo>
                <a:cubicBezTo>
                  <a:pt x="55" y="112"/>
                  <a:pt x="57" y="113"/>
                  <a:pt x="58" y="113"/>
                </a:cubicBezTo>
                <a:cubicBezTo>
                  <a:pt x="60" y="113"/>
                  <a:pt x="61" y="112"/>
                  <a:pt x="61" y="111"/>
                </a:cubicBezTo>
                <a:cubicBezTo>
                  <a:pt x="61" y="109"/>
                  <a:pt x="60" y="108"/>
                  <a:pt x="58" y="108"/>
                </a:cubicBezTo>
                <a:cubicBezTo>
                  <a:pt x="57" y="108"/>
                  <a:pt x="55" y="109"/>
                  <a:pt x="55" y="111"/>
                </a:cubicBezTo>
                <a:close/>
                <a:moveTo>
                  <a:pt x="73" y="111"/>
                </a:moveTo>
                <a:cubicBezTo>
                  <a:pt x="73" y="112"/>
                  <a:pt x="74" y="113"/>
                  <a:pt x="76" y="113"/>
                </a:cubicBezTo>
                <a:cubicBezTo>
                  <a:pt x="77" y="113"/>
                  <a:pt x="79" y="112"/>
                  <a:pt x="79" y="111"/>
                </a:cubicBezTo>
                <a:cubicBezTo>
                  <a:pt x="79" y="109"/>
                  <a:pt x="77" y="108"/>
                  <a:pt x="76" y="108"/>
                </a:cubicBezTo>
                <a:cubicBezTo>
                  <a:pt x="74" y="108"/>
                  <a:pt x="73" y="109"/>
                  <a:pt x="73" y="111"/>
                </a:cubicBezTo>
                <a:close/>
                <a:moveTo>
                  <a:pt x="90" y="111"/>
                </a:moveTo>
                <a:cubicBezTo>
                  <a:pt x="90" y="112"/>
                  <a:pt x="91" y="113"/>
                  <a:pt x="93" y="113"/>
                </a:cubicBezTo>
                <a:cubicBezTo>
                  <a:pt x="95" y="113"/>
                  <a:pt x="96" y="112"/>
                  <a:pt x="96" y="111"/>
                </a:cubicBezTo>
                <a:cubicBezTo>
                  <a:pt x="96" y="109"/>
                  <a:pt x="95" y="108"/>
                  <a:pt x="93" y="108"/>
                </a:cubicBezTo>
                <a:cubicBezTo>
                  <a:pt x="91" y="108"/>
                  <a:pt x="90" y="109"/>
                  <a:pt x="90" y="111"/>
                </a:cubicBezTo>
                <a:close/>
                <a:moveTo>
                  <a:pt x="108" y="111"/>
                </a:moveTo>
                <a:cubicBezTo>
                  <a:pt x="108" y="112"/>
                  <a:pt x="109" y="113"/>
                  <a:pt x="111" y="113"/>
                </a:cubicBezTo>
                <a:cubicBezTo>
                  <a:pt x="112" y="113"/>
                  <a:pt x="113" y="112"/>
                  <a:pt x="113" y="111"/>
                </a:cubicBezTo>
                <a:cubicBezTo>
                  <a:pt x="113" y="109"/>
                  <a:pt x="112" y="108"/>
                  <a:pt x="111" y="108"/>
                </a:cubicBezTo>
                <a:cubicBezTo>
                  <a:pt x="109" y="108"/>
                  <a:pt x="108" y="109"/>
                  <a:pt x="108" y="111"/>
                </a:cubicBezTo>
                <a:close/>
                <a:moveTo>
                  <a:pt x="145" y="26"/>
                </a:moveTo>
                <a:cubicBezTo>
                  <a:pt x="145" y="28"/>
                  <a:pt x="145" y="28"/>
                  <a:pt x="145" y="28"/>
                </a:cubicBezTo>
                <a:cubicBezTo>
                  <a:pt x="145" y="96"/>
                  <a:pt x="145" y="96"/>
                  <a:pt x="145" y="96"/>
                </a:cubicBezTo>
                <a:cubicBezTo>
                  <a:pt x="145" y="97"/>
                  <a:pt x="145" y="97"/>
                  <a:pt x="145" y="97"/>
                </a:cubicBezTo>
                <a:cubicBezTo>
                  <a:pt x="145" y="134"/>
                  <a:pt x="145" y="134"/>
                  <a:pt x="145" y="134"/>
                </a:cubicBezTo>
                <a:cubicBezTo>
                  <a:pt x="145" y="134"/>
                  <a:pt x="145" y="135"/>
                  <a:pt x="145" y="135"/>
                </a:cubicBezTo>
                <a:cubicBezTo>
                  <a:pt x="142" y="149"/>
                  <a:pt x="111" y="160"/>
                  <a:pt x="73" y="160"/>
                </a:cubicBezTo>
                <a:cubicBezTo>
                  <a:pt x="35" y="160"/>
                  <a:pt x="4" y="149"/>
                  <a:pt x="0" y="135"/>
                </a:cubicBezTo>
                <a:cubicBezTo>
                  <a:pt x="0" y="135"/>
                  <a:pt x="0" y="134"/>
                  <a:pt x="0" y="134"/>
                </a:cubicBezTo>
                <a:cubicBezTo>
                  <a:pt x="0" y="97"/>
                  <a:pt x="0" y="97"/>
                  <a:pt x="0" y="97"/>
                </a:cubicBezTo>
                <a:cubicBezTo>
                  <a:pt x="0" y="96"/>
                  <a:pt x="0" y="96"/>
                  <a:pt x="0" y="96"/>
                </a:cubicBezTo>
                <a:cubicBezTo>
                  <a:pt x="0" y="28"/>
                  <a:pt x="0" y="28"/>
                  <a:pt x="0" y="28"/>
                </a:cubicBezTo>
                <a:cubicBezTo>
                  <a:pt x="0" y="26"/>
                  <a:pt x="0" y="26"/>
                  <a:pt x="0" y="26"/>
                </a:cubicBezTo>
                <a:cubicBezTo>
                  <a:pt x="0" y="26"/>
                  <a:pt x="0" y="25"/>
                  <a:pt x="0" y="25"/>
                </a:cubicBezTo>
                <a:cubicBezTo>
                  <a:pt x="0" y="25"/>
                  <a:pt x="0" y="25"/>
                  <a:pt x="0" y="25"/>
                </a:cubicBezTo>
                <a:cubicBezTo>
                  <a:pt x="0" y="25"/>
                  <a:pt x="0" y="25"/>
                  <a:pt x="0" y="25"/>
                </a:cubicBezTo>
                <a:cubicBezTo>
                  <a:pt x="4" y="11"/>
                  <a:pt x="35" y="0"/>
                  <a:pt x="73" y="0"/>
                </a:cubicBezTo>
                <a:cubicBezTo>
                  <a:pt x="111" y="0"/>
                  <a:pt x="142" y="11"/>
                  <a:pt x="145" y="25"/>
                </a:cubicBezTo>
                <a:cubicBezTo>
                  <a:pt x="145" y="25"/>
                  <a:pt x="145" y="25"/>
                  <a:pt x="145" y="25"/>
                </a:cubicBezTo>
                <a:cubicBezTo>
                  <a:pt x="145" y="25"/>
                  <a:pt x="145" y="25"/>
                  <a:pt x="145" y="25"/>
                </a:cubicBezTo>
                <a:cubicBezTo>
                  <a:pt x="145" y="25"/>
                  <a:pt x="145" y="26"/>
                  <a:pt x="145" y="26"/>
                </a:cubicBezTo>
                <a:close/>
                <a:moveTo>
                  <a:pt x="136" y="104"/>
                </a:moveTo>
                <a:cubicBezTo>
                  <a:pt x="135" y="104"/>
                  <a:pt x="134" y="103"/>
                  <a:pt x="134" y="102"/>
                </a:cubicBezTo>
                <a:cubicBezTo>
                  <a:pt x="134" y="100"/>
                  <a:pt x="135" y="99"/>
                  <a:pt x="137" y="99"/>
                </a:cubicBezTo>
                <a:cubicBezTo>
                  <a:pt x="138" y="99"/>
                  <a:pt x="138" y="99"/>
                  <a:pt x="139" y="100"/>
                </a:cubicBezTo>
                <a:cubicBezTo>
                  <a:pt x="139" y="99"/>
                  <a:pt x="140" y="98"/>
                  <a:pt x="140" y="97"/>
                </a:cubicBezTo>
                <a:cubicBezTo>
                  <a:pt x="140" y="97"/>
                  <a:pt x="140" y="97"/>
                  <a:pt x="140" y="96"/>
                </a:cubicBezTo>
                <a:cubicBezTo>
                  <a:pt x="139" y="96"/>
                  <a:pt x="140" y="96"/>
                  <a:pt x="140" y="95"/>
                </a:cubicBezTo>
                <a:cubicBezTo>
                  <a:pt x="140" y="84"/>
                  <a:pt x="140" y="84"/>
                  <a:pt x="140" y="84"/>
                </a:cubicBezTo>
                <a:cubicBezTo>
                  <a:pt x="140" y="74"/>
                  <a:pt x="140" y="74"/>
                  <a:pt x="140" y="74"/>
                </a:cubicBezTo>
                <a:cubicBezTo>
                  <a:pt x="136" y="77"/>
                  <a:pt x="129" y="80"/>
                  <a:pt x="122" y="83"/>
                </a:cubicBezTo>
                <a:cubicBezTo>
                  <a:pt x="122" y="83"/>
                  <a:pt x="122" y="84"/>
                  <a:pt x="122" y="84"/>
                </a:cubicBezTo>
                <a:cubicBezTo>
                  <a:pt x="122" y="86"/>
                  <a:pt x="121" y="87"/>
                  <a:pt x="119" y="87"/>
                </a:cubicBezTo>
                <a:cubicBezTo>
                  <a:pt x="118" y="87"/>
                  <a:pt x="117" y="86"/>
                  <a:pt x="116" y="85"/>
                </a:cubicBezTo>
                <a:cubicBezTo>
                  <a:pt x="104" y="88"/>
                  <a:pt x="89" y="90"/>
                  <a:pt x="73" y="90"/>
                </a:cubicBezTo>
                <a:cubicBezTo>
                  <a:pt x="59" y="90"/>
                  <a:pt x="45" y="89"/>
                  <a:pt x="34" y="86"/>
                </a:cubicBezTo>
                <a:cubicBezTo>
                  <a:pt x="34" y="87"/>
                  <a:pt x="33" y="87"/>
                  <a:pt x="32" y="87"/>
                </a:cubicBezTo>
                <a:cubicBezTo>
                  <a:pt x="31" y="87"/>
                  <a:pt x="29" y="86"/>
                  <a:pt x="29" y="85"/>
                </a:cubicBezTo>
                <a:cubicBezTo>
                  <a:pt x="21" y="82"/>
                  <a:pt x="14" y="79"/>
                  <a:pt x="9" y="76"/>
                </a:cubicBezTo>
                <a:cubicBezTo>
                  <a:pt x="9" y="77"/>
                  <a:pt x="7" y="79"/>
                  <a:pt x="6" y="79"/>
                </a:cubicBezTo>
                <a:cubicBezTo>
                  <a:pt x="6" y="90"/>
                  <a:pt x="6" y="90"/>
                  <a:pt x="6" y="90"/>
                </a:cubicBezTo>
                <a:cubicBezTo>
                  <a:pt x="7" y="90"/>
                  <a:pt x="9" y="91"/>
                  <a:pt x="9" y="93"/>
                </a:cubicBezTo>
                <a:cubicBezTo>
                  <a:pt x="9" y="95"/>
                  <a:pt x="7" y="96"/>
                  <a:pt x="6" y="96"/>
                </a:cubicBezTo>
                <a:cubicBezTo>
                  <a:pt x="6" y="96"/>
                  <a:pt x="6" y="96"/>
                  <a:pt x="6" y="96"/>
                </a:cubicBezTo>
                <a:cubicBezTo>
                  <a:pt x="6" y="97"/>
                  <a:pt x="6" y="97"/>
                  <a:pt x="6" y="97"/>
                </a:cubicBezTo>
                <a:cubicBezTo>
                  <a:pt x="6" y="102"/>
                  <a:pt x="11" y="107"/>
                  <a:pt x="20" y="111"/>
                </a:cubicBezTo>
                <a:cubicBezTo>
                  <a:pt x="20" y="111"/>
                  <a:pt x="20" y="111"/>
                  <a:pt x="20" y="111"/>
                </a:cubicBezTo>
                <a:cubicBezTo>
                  <a:pt x="20" y="109"/>
                  <a:pt x="22" y="108"/>
                  <a:pt x="23" y="108"/>
                </a:cubicBezTo>
                <a:cubicBezTo>
                  <a:pt x="25" y="108"/>
                  <a:pt x="26" y="109"/>
                  <a:pt x="26" y="111"/>
                </a:cubicBezTo>
                <a:cubicBezTo>
                  <a:pt x="26" y="111"/>
                  <a:pt x="26" y="112"/>
                  <a:pt x="25" y="113"/>
                </a:cubicBezTo>
                <a:cubicBezTo>
                  <a:pt x="31" y="115"/>
                  <a:pt x="39" y="116"/>
                  <a:pt x="47" y="118"/>
                </a:cubicBezTo>
                <a:cubicBezTo>
                  <a:pt x="48" y="117"/>
                  <a:pt x="49" y="116"/>
                  <a:pt x="49" y="116"/>
                </a:cubicBezTo>
                <a:cubicBezTo>
                  <a:pt x="51" y="116"/>
                  <a:pt x="52" y="117"/>
                  <a:pt x="52" y="118"/>
                </a:cubicBezTo>
                <a:cubicBezTo>
                  <a:pt x="56" y="119"/>
                  <a:pt x="60" y="119"/>
                  <a:pt x="64" y="119"/>
                </a:cubicBezTo>
                <a:cubicBezTo>
                  <a:pt x="64" y="118"/>
                  <a:pt x="65" y="116"/>
                  <a:pt x="67" y="116"/>
                </a:cubicBezTo>
                <a:cubicBezTo>
                  <a:pt x="68" y="116"/>
                  <a:pt x="70" y="118"/>
                  <a:pt x="70" y="119"/>
                </a:cubicBezTo>
                <a:cubicBezTo>
                  <a:pt x="71" y="119"/>
                  <a:pt x="72" y="119"/>
                  <a:pt x="73" y="119"/>
                </a:cubicBezTo>
                <a:cubicBezTo>
                  <a:pt x="76" y="119"/>
                  <a:pt x="79" y="119"/>
                  <a:pt x="81" y="119"/>
                </a:cubicBezTo>
                <a:cubicBezTo>
                  <a:pt x="82" y="118"/>
                  <a:pt x="83" y="116"/>
                  <a:pt x="84" y="116"/>
                </a:cubicBezTo>
                <a:cubicBezTo>
                  <a:pt x="86" y="116"/>
                  <a:pt x="87" y="117"/>
                  <a:pt x="87" y="119"/>
                </a:cubicBezTo>
                <a:cubicBezTo>
                  <a:pt x="92" y="118"/>
                  <a:pt x="96" y="118"/>
                  <a:pt x="100" y="117"/>
                </a:cubicBezTo>
                <a:cubicBezTo>
                  <a:pt x="100" y="117"/>
                  <a:pt x="101" y="116"/>
                  <a:pt x="102" y="116"/>
                </a:cubicBezTo>
                <a:cubicBezTo>
                  <a:pt x="102" y="116"/>
                  <a:pt x="103" y="117"/>
                  <a:pt x="103" y="117"/>
                </a:cubicBezTo>
                <a:cubicBezTo>
                  <a:pt x="112" y="115"/>
                  <a:pt x="119" y="113"/>
                  <a:pt x="125" y="111"/>
                </a:cubicBezTo>
                <a:cubicBezTo>
                  <a:pt x="125" y="111"/>
                  <a:pt x="125" y="111"/>
                  <a:pt x="125" y="111"/>
                </a:cubicBezTo>
                <a:cubicBezTo>
                  <a:pt x="125" y="109"/>
                  <a:pt x="126" y="108"/>
                  <a:pt x="128" y="108"/>
                </a:cubicBezTo>
                <a:cubicBezTo>
                  <a:pt x="129" y="108"/>
                  <a:pt x="129" y="108"/>
                  <a:pt x="130" y="108"/>
                </a:cubicBezTo>
                <a:cubicBezTo>
                  <a:pt x="132" y="107"/>
                  <a:pt x="134" y="106"/>
                  <a:pt x="136" y="104"/>
                </a:cubicBezTo>
                <a:close/>
                <a:moveTo>
                  <a:pt x="140" y="39"/>
                </a:moveTo>
                <a:cubicBezTo>
                  <a:pt x="130" y="48"/>
                  <a:pt x="107" y="55"/>
                  <a:pt x="73" y="55"/>
                </a:cubicBezTo>
                <a:cubicBezTo>
                  <a:pt x="39" y="55"/>
                  <a:pt x="16" y="48"/>
                  <a:pt x="6" y="39"/>
                </a:cubicBezTo>
                <a:cubicBezTo>
                  <a:pt x="6" y="63"/>
                  <a:pt x="6" y="63"/>
                  <a:pt x="6" y="63"/>
                </a:cubicBezTo>
                <a:cubicBezTo>
                  <a:pt x="6" y="63"/>
                  <a:pt x="6" y="63"/>
                  <a:pt x="6" y="64"/>
                </a:cubicBezTo>
                <a:cubicBezTo>
                  <a:pt x="8" y="74"/>
                  <a:pt x="35" y="84"/>
                  <a:pt x="73" y="84"/>
                </a:cubicBezTo>
                <a:cubicBezTo>
                  <a:pt x="111" y="84"/>
                  <a:pt x="138" y="74"/>
                  <a:pt x="140" y="64"/>
                </a:cubicBezTo>
                <a:cubicBezTo>
                  <a:pt x="140" y="63"/>
                  <a:pt x="140" y="63"/>
                  <a:pt x="140" y="63"/>
                </a:cubicBezTo>
                <a:lnTo>
                  <a:pt x="140" y="39"/>
                </a:lnTo>
                <a:close/>
                <a:moveTo>
                  <a:pt x="6" y="27"/>
                </a:moveTo>
                <a:cubicBezTo>
                  <a:pt x="6" y="27"/>
                  <a:pt x="6" y="27"/>
                  <a:pt x="6" y="27"/>
                </a:cubicBezTo>
                <a:cubicBezTo>
                  <a:pt x="6" y="27"/>
                  <a:pt x="6" y="27"/>
                  <a:pt x="6" y="28"/>
                </a:cubicBezTo>
                <a:cubicBezTo>
                  <a:pt x="6" y="38"/>
                  <a:pt x="33" y="49"/>
                  <a:pt x="73" y="49"/>
                </a:cubicBezTo>
                <a:cubicBezTo>
                  <a:pt x="112" y="49"/>
                  <a:pt x="140" y="38"/>
                  <a:pt x="140" y="28"/>
                </a:cubicBezTo>
                <a:cubicBezTo>
                  <a:pt x="140" y="27"/>
                  <a:pt x="140" y="27"/>
                  <a:pt x="140" y="27"/>
                </a:cubicBezTo>
                <a:cubicBezTo>
                  <a:pt x="140" y="27"/>
                  <a:pt x="140" y="27"/>
                  <a:pt x="140" y="27"/>
                </a:cubicBezTo>
                <a:cubicBezTo>
                  <a:pt x="138" y="17"/>
                  <a:pt x="111" y="6"/>
                  <a:pt x="73" y="6"/>
                </a:cubicBezTo>
                <a:cubicBezTo>
                  <a:pt x="35" y="6"/>
                  <a:pt x="8" y="17"/>
                  <a:pt x="6" y="27"/>
                </a:cubicBezTo>
                <a:close/>
                <a:moveTo>
                  <a:pt x="140" y="133"/>
                </a:moveTo>
                <a:cubicBezTo>
                  <a:pt x="140" y="108"/>
                  <a:pt x="140" y="108"/>
                  <a:pt x="140" y="108"/>
                </a:cubicBezTo>
                <a:cubicBezTo>
                  <a:pt x="130" y="118"/>
                  <a:pt x="107" y="125"/>
                  <a:pt x="73" y="125"/>
                </a:cubicBezTo>
                <a:cubicBezTo>
                  <a:pt x="39" y="125"/>
                  <a:pt x="16" y="118"/>
                  <a:pt x="6" y="108"/>
                </a:cubicBezTo>
                <a:cubicBezTo>
                  <a:pt x="6" y="133"/>
                  <a:pt x="6" y="133"/>
                  <a:pt x="6" y="133"/>
                </a:cubicBezTo>
                <a:cubicBezTo>
                  <a:pt x="6" y="133"/>
                  <a:pt x="6" y="133"/>
                  <a:pt x="6" y="133"/>
                </a:cubicBezTo>
                <a:cubicBezTo>
                  <a:pt x="8" y="143"/>
                  <a:pt x="35" y="154"/>
                  <a:pt x="73" y="154"/>
                </a:cubicBezTo>
                <a:cubicBezTo>
                  <a:pt x="111" y="154"/>
                  <a:pt x="138" y="143"/>
                  <a:pt x="140" y="133"/>
                </a:cubicBezTo>
                <a:cubicBezTo>
                  <a:pt x="140" y="133"/>
                  <a:pt x="140" y="133"/>
                  <a:pt x="140" y="133"/>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Freeform 1135">
            <a:extLst>
              <a:ext uri="{FF2B5EF4-FFF2-40B4-BE49-F238E27FC236}">
                <a16:creationId xmlns:a16="http://schemas.microsoft.com/office/drawing/2014/main" id="{193269F6-C693-CD4C-A6A9-671A884C2F2C}"/>
              </a:ext>
            </a:extLst>
          </p:cNvPr>
          <p:cNvSpPr>
            <a:spLocks noEditPoints="1"/>
          </p:cNvSpPr>
          <p:nvPr/>
        </p:nvSpPr>
        <p:spPr bwMode="auto">
          <a:xfrm>
            <a:off x="7265870" y="3462338"/>
            <a:ext cx="546100" cy="549275"/>
          </a:xfrm>
          <a:custGeom>
            <a:avLst/>
            <a:gdLst>
              <a:gd name="T0" fmla="*/ 0 w 160"/>
              <a:gd name="T1" fmla="*/ 69 h 160"/>
              <a:gd name="T2" fmla="*/ 0 w 160"/>
              <a:gd name="T3" fmla="*/ 136 h 160"/>
              <a:gd name="T4" fmla="*/ 160 w 160"/>
              <a:gd name="T5" fmla="*/ 91 h 160"/>
              <a:gd name="T6" fmla="*/ 127 w 160"/>
              <a:gd name="T7" fmla="*/ 105 h 160"/>
              <a:gd name="T8" fmla="*/ 123 w 160"/>
              <a:gd name="T9" fmla="*/ 110 h 160"/>
              <a:gd name="T10" fmla="*/ 114 w 160"/>
              <a:gd name="T11" fmla="*/ 115 h 160"/>
              <a:gd name="T12" fmla="*/ 79 w 160"/>
              <a:gd name="T13" fmla="*/ 122 h 160"/>
              <a:gd name="T14" fmla="*/ 54 w 160"/>
              <a:gd name="T15" fmla="*/ 122 h 160"/>
              <a:gd name="T16" fmla="*/ 20 w 160"/>
              <a:gd name="T17" fmla="*/ 115 h 160"/>
              <a:gd name="T18" fmla="*/ 10 w 160"/>
              <a:gd name="T19" fmla="*/ 110 h 160"/>
              <a:gd name="T20" fmla="*/ 6 w 160"/>
              <a:gd name="T21" fmla="*/ 105 h 160"/>
              <a:gd name="T22" fmla="*/ 6 w 160"/>
              <a:gd name="T23" fmla="*/ 81 h 160"/>
              <a:gd name="T24" fmla="*/ 128 w 160"/>
              <a:gd name="T25" fmla="*/ 101 h 160"/>
              <a:gd name="T26" fmla="*/ 10 w 160"/>
              <a:gd name="T27" fmla="*/ 52 h 160"/>
              <a:gd name="T28" fmla="*/ 21 w 160"/>
              <a:gd name="T29" fmla="*/ 58 h 160"/>
              <a:gd name="T30" fmla="*/ 37 w 160"/>
              <a:gd name="T31" fmla="*/ 62 h 160"/>
              <a:gd name="T32" fmla="*/ 58 w 160"/>
              <a:gd name="T33" fmla="*/ 64 h 160"/>
              <a:gd name="T34" fmla="*/ 82 w 160"/>
              <a:gd name="T35" fmla="*/ 63 h 160"/>
              <a:gd name="T36" fmla="*/ 101 w 160"/>
              <a:gd name="T37" fmla="*/ 61 h 160"/>
              <a:gd name="T38" fmla="*/ 117 w 160"/>
              <a:gd name="T39" fmla="*/ 56 h 160"/>
              <a:gd name="T40" fmla="*/ 127 w 160"/>
              <a:gd name="T41" fmla="*/ 50 h 160"/>
              <a:gd name="T42" fmla="*/ 127 w 160"/>
              <a:gd name="T43" fmla="*/ 73 h 160"/>
              <a:gd name="T44" fmla="*/ 123 w 160"/>
              <a:gd name="T45" fmla="*/ 78 h 160"/>
              <a:gd name="T46" fmla="*/ 114 w 160"/>
              <a:gd name="T47" fmla="*/ 83 h 160"/>
              <a:gd name="T48" fmla="*/ 79 w 160"/>
              <a:gd name="T49" fmla="*/ 90 h 160"/>
              <a:gd name="T50" fmla="*/ 54 w 160"/>
              <a:gd name="T51" fmla="*/ 90 h 160"/>
              <a:gd name="T52" fmla="*/ 20 w 160"/>
              <a:gd name="T53" fmla="*/ 83 h 160"/>
              <a:gd name="T54" fmla="*/ 10 w 160"/>
              <a:gd name="T55" fmla="*/ 78 h 160"/>
              <a:gd name="T56" fmla="*/ 6 w 160"/>
              <a:gd name="T57" fmla="*/ 73 h 160"/>
              <a:gd name="T58" fmla="*/ 6 w 160"/>
              <a:gd name="T59" fmla="*/ 50 h 160"/>
              <a:gd name="T60" fmla="*/ 133 w 160"/>
              <a:gd name="T61" fmla="*/ 78 h 160"/>
              <a:gd name="T62" fmla="*/ 155 w 160"/>
              <a:gd name="T63" fmla="*/ 90 h 160"/>
              <a:gd name="T64" fmla="*/ 133 w 160"/>
              <a:gd name="T65" fmla="*/ 104 h 160"/>
              <a:gd name="T66" fmla="*/ 154 w 160"/>
              <a:gd name="T67" fmla="*/ 60 h 160"/>
              <a:gd name="T68" fmla="*/ 133 w 160"/>
              <a:gd name="T69" fmla="*/ 69 h 160"/>
              <a:gd name="T70" fmla="*/ 140 w 160"/>
              <a:gd name="T71" fmla="*/ 44 h 160"/>
              <a:gd name="T72" fmla="*/ 149 w 160"/>
              <a:gd name="T73" fmla="*/ 40 h 160"/>
              <a:gd name="T74" fmla="*/ 155 w 160"/>
              <a:gd name="T75" fmla="*/ 36 h 160"/>
              <a:gd name="T76" fmla="*/ 154 w 160"/>
              <a:gd name="T77" fmla="*/ 28 h 160"/>
              <a:gd name="T78" fmla="*/ 152 w 160"/>
              <a:gd name="T79" fmla="*/ 31 h 160"/>
              <a:gd name="T80" fmla="*/ 148 w 160"/>
              <a:gd name="T81" fmla="*/ 34 h 160"/>
              <a:gd name="T82" fmla="*/ 142 w 160"/>
              <a:gd name="T83" fmla="*/ 37 h 160"/>
              <a:gd name="T84" fmla="*/ 135 w 160"/>
              <a:gd name="T85" fmla="*/ 40 h 160"/>
              <a:gd name="T86" fmla="*/ 133 w 160"/>
              <a:gd name="T87" fmla="*/ 36 h 160"/>
              <a:gd name="T88" fmla="*/ 60 w 160"/>
              <a:gd name="T89" fmla="*/ 13 h 160"/>
              <a:gd name="T90" fmla="*/ 43 w 160"/>
              <a:gd name="T91" fmla="*/ 20 h 160"/>
              <a:gd name="T92" fmla="*/ 61 w 160"/>
              <a:gd name="T93" fmla="*/ 19 h 160"/>
              <a:gd name="T94" fmla="*/ 85 w 160"/>
              <a:gd name="T95" fmla="*/ 20 h 160"/>
              <a:gd name="T96" fmla="*/ 117 w 160"/>
              <a:gd name="T97" fmla="*/ 28 h 160"/>
              <a:gd name="T98" fmla="*/ 125 w 160"/>
              <a:gd name="T99" fmla="*/ 33 h 160"/>
              <a:gd name="T100" fmla="*/ 128 w 160"/>
              <a:gd name="T101" fmla="*/ 39 h 160"/>
              <a:gd name="T102" fmla="*/ 5 w 160"/>
              <a:gd name="T103" fmla="*/ 135 h 160"/>
              <a:gd name="T104" fmla="*/ 128 w 160"/>
              <a:gd name="T105" fmla="*/ 113 h 160"/>
              <a:gd name="T106" fmla="*/ 67 w 160"/>
              <a:gd name="T107" fmla="*/ 155 h 160"/>
              <a:gd name="T108" fmla="*/ 137 w 160"/>
              <a:gd name="T109"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60">
                <a:moveTo>
                  <a:pt x="93" y="0"/>
                </a:moveTo>
                <a:cubicBezTo>
                  <a:pt x="64" y="0"/>
                  <a:pt x="38" y="7"/>
                  <a:pt x="30" y="17"/>
                </a:cubicBezTo>
                <a:cubicBezTo>
                  <a:pt x="12" y="22"/>
                  <a:pt x="2" y="29"/>
                  <a:pt x="0" y="36"/>
                </a:cubicBezTo>
                <a:cubicBezTo>
                  <a:pt x="0" y="36"/>
                  <a:pt x="0" y="37"/>
                  <a:pt x="0" y="37"/>
                </a:cubicBezTo>
                <a:cubicBezTo>
                  <a:pt x="0" y="39"/>
                  <a:pt x="0" y="39"/>
                  <a:pt x="0" y="39"/>
                </a:cubicBezTo>
                <a:cubicBezTo>
                  <a:pt x="0" y="69"/>
                  <a:pt x="0" y="69"/>
                  <a:pt x="0" y="69"/>
                </a:cubicBezTo>
                <a:cubicBezTo>
                  <a:pt x="0" y="71"/>
                  <a:pt x="0" y="71"/>
                  <a:pt x="0" y="71"/>
                </a:cubicBezTo>
                <a:cubicBezTo>
                  <a:pt x="0" y="72"/>
                  <a:pt x="0" y="72"/>
                  <a:pt x="0" y="72"/>
                </a:cubicBezTo>
                <a:cubicBezTo>
                  <a:pt x="0" y="101"/>
                  <a:pt x="0" y="101"/>
                  <a:pt x="0" y="101"/>
                </a:cubicBezTo>
                <a:cubicBezTo>
                  <a:pt x="0" y="103"/>
                  <a:pt x="0" y="103"/>
                  <a:pt x="0" y="103"/>
                </a:cubicBezTo>
                <a:cubicBezTo>
                  <a:pt x="0" y="104"/>
                  <a:pt x="0" y="104"/>
                  <a:pt x="0" y="104"/>
                </a:cubicBezTo>
                <a:cubicBezTo>
                  <a:pt x="0" y="136"/>
                  <a:pt x="0" y="136"/>
                  <a:pt x="0" y="136"/>
                </a:cubicBezTo>
                <a:cubicBezTo>
                  <a:pt x="0" y="136"/>
                  <a:pt x="0" y="137"/>
                  <a:pt x="0" y="137"/>
                </a:cubicBezTo>
                <a:cubicBezTo>
                  <a:pt x="3" y="150"/>
                  <a:pt x="32" y="160"/>
                  <a:pt x="67" y="160"/>
                </a:cubicBezTo>
                <a:cubicBezTo>
                  <a:pt x="97" y="160"/>
                  <a:pt x="122" y="153"/>
                  <a:pt x="130" y="143"/>
                </a:cubicBezTo>
                <a:cubicBezTo>
                  <a:pt x="147" y="138"/>
                  <a:pt x="158" y="132"/>
                  <a:pt x="160" y="124"/>
                </a:cubicBezTo>
                <a:cubicBezTo>
                  <a:pt x="160" y="124"/>
                  <a:pt x="160" y="123"/>
                  <a:pt x="160" y="123"/>
                </a:cubicBezTo>
                <a:cubicBezTo>
                  <a:pt x="160" y="91"/>
                  <a:pt x="160" y="91"/>
                  <a:pt x="160" y="91"/>
                </a:cubicBezTo>
                <a:cubicBezTo>
                  <a:pt x="160" y="89"/>
                  <a:pt x="160" y="89"/>
                  <a:pt x="160" y="89"/>
                </a:cubicBezTo>
                <a:cubicBezTo>
                  <a:pt x="160" y="59"/>
                  <a:pt x="160" y="59"/>
                  <a:pt x="160" y="59"/>
                </a:cubicBezTo>
                <a:cubicBezTo>
                  <a:pt x="160" y="57"/>
                  <a:pt x="160" y="57"/>
                  <a:pt x="160" y="57"/>
                </a:cubicBezTo>
                <a:cubicBezTo>
                  <a:pt x="160" y="25"/>
                  <a:pt x="160" y="25"/>
                  <a:pt x="160" y="25"/>
                </a:cubicBezTo>
                <a:cubicBezTo>
                  <a:pt x="160" y="13"/>
                  <a:pt x="137" y="0"/>
                  <a:pt x="93" y="0"/>
                </a:cubicBezTo>
                <a:close/>
                <a:moveTo>
                  <a:pt x="127" y="105"/>
                </a:moveTo>
                <a:cubicBezTo>
                  <a:pt x="127" y="105"/>
                  <a:pt x="127" y="105"/>
                  <a:pt x="127" y="106"/>
                </a:cubicBezTo>
                <a:cubicBezTo>
                  <a:pt x="127" y="106"/>
                  <a:pt x="127" y="106"/>
                  <a:pt x="126" y="107"/>
                </a:cubicBezTo>
                <a:cubicBezTo>
                  <a:pt x="126" y="107"/>
                  <a:pt x="126" y="107"/>
                  <a:pt x="126" y="107"/>
                </a:cubicBezTo>
                <a:cubicBezTo>
                  <a:pt x="126" y="108"/>
                  <a:pt x="125" y="108"/>
                  <a:pt x="125" y="108"/>
                </a:cubicBezTo>
                <a:cubicBezTo>
                  <a:pt x="125" y="109"/>
                  <a:pt x="124" y="109"/>
                  <a:pt x="124" y="109"/>
                </a:cubicBezTo>
                <a:cubicBezTo>
                  <a:pt x="124" y="110"/>
                  <a:pt x="123" y="110"/>
                  <a:pt x="123" y="110"/>
                </a:cubicBezTo>
                <a:cubicBezTo>
                  <a:pt x="123" y="110"/>
                  <a:pt x="122" y="111"/>
                  <a:pt x="122" y="111"/>
                </a:cubicBezTo>
                <a:cubicBezTo>
                  <a:pt x="122" y="111"/>
                  <a:pt x="121" y="112"/>
                  <a:pt x="120" y="112"/>
                </a:cubicBezTo>
                <a:cubicBezTo>
                  <a:pt x="120" y="112"/>
                  <a:pt x="120" y="112"/>
                  <a:pt x="120" y="112"/>
                </a:cubicBezTo>
                <a:cubicBezTo>
                  <a:pt x="119" y="113"/>
                  <a:pt x="118" y="113"/>
                  <a:pt x="117" y="114"/>
                </a:cubicBezTo>
                <a:cubicBezTo>
                  <a:pt x="117" y="114"/>
                  <a:pt x="117" y="114"/>
                  <a:pt x="117" y="114"/>
                </a:cubicBezTo>
                <a:cubicBezTo>
                  <a:pt x="116" y="114"/>
                  <a:pt x="115" y="115"/>
                  <a:pt x="114" y="115"/>
                </a:cubicBezTo>
                <a:cubicBezTo>
                  <a:pt x="114" y="115"/>
                  <a:pt x="114" y="115"/>
                  <a:pt x="114" y="115"/>
                </a:cubicBezTo>
                <a:cubicBezTo>
                  <a:pt x="107" y="118"/>
                  <a:pt x="100" y="120"/>
                  <a:pt x="91" y="121"/>
                </a:cubicBezTo>
                <a:cubicBezTo>
                  <a:pt x="91" y="121"/>
                  <a:pt x="91" y="121"/>
                  <a:pt x="91" y="121"/>
                </a:cubicBezTo>
                <a:cubicBezTo>
                  <a:pt x="89" y="121"/>
                  <a:pt x="87" y="121"/>
                  <a:pt x="85" y="122"/>
                </a:cubicBezTo>
                <a:cubicBezTo>
                  <a:pt x="85" y="122"/>
                  <a:pt x="85" y="122"/>
                  <a:pt x="84" y="122"/>
                </a:cubicBezTo>
                <a:cubicBezTo>
                  <a:pt x="83" y="122"/>
                  <a:pt x="81" y="122"/>
                  <a:pt x="79" y="122"/>
                </a:cubicBezTo>
                <a:cubicBezTo>
                  <a:pt x="79" y="122"/>
                  <a:pt x="78" y="122"/>
                  <a:pt x="77" y="122"/>
                </a:cubicBezTo>
                <a:cubicBezTo>
                  <a:pt x="76" y="122"/>
                  <a:pt x="74" y="123"/>
                  <a:pt x="73" y="123"/>
                </a:cubicBezTo>
                <a:cubicBezTo>
                  <a:pt x="71" y="123"/>
                  <a:pt x="69" y="123"/>
                  <a:pt x="67" y="123"/>
                </a:cubicBezTo>
                <a:cubicBezTo>
                  <a:pt x="64" y="123"/>
                  <a:pt x="62" y="123"/>
                  <a:pt x="60" y="123"/>
                </a:cubicBezTo>
                <a:cubicBezTo>
                  <a:pt x="59" y="123"/>
                  <a:pt x="58" y="122"/>
                  <a:pt x="56" y="122"/>
                </a:cubicBezTo>
                <a:cubicBezTo>
                  <a:pt x="56" y="122"/>
                  <a:pt x="55" y="122"/>
                  <a:pt x="54" y="122"/>
                </a:cubicBezTo>
                <a:cubicBezTo>
                  <a:pt x="52" y="122"/>
                  <a:pt x="51" y="122"/>
                  <a:pt x="49" y="122"/>
                </a:cubicBezTo>
                <a:cubicBezTo>
                  <a:pt x="49" y="122"/>
                  <a:pt x="48" y="122"/>
                  <a:pt x="48" y="122"/>
                </a:cubicBezTo>
                <a:cubicBezTo>
                  <a:pt x="46" y="121"/>
                  <a:pt x="45" y="121"/>
                  <a:pt x="43" y="121"/>
                </a:cubicBezTo>
                <a:cubicBezTo>
                  <a:pt x="43" y="121"/>
                  <a:pt x="43" y="121"/>
                  <a:pt x="43" y="121"/>
                </a:cubicBezTo>
                <a:cubicBezTo>
                  <a:pt x="34" y="120"/>
                  <a:pt x="26" y="118"/>
                  <a:pt x="20" y="115"/>
                </a:cubicBezTo>
                <a:cubicBezTo>
                  <a:pt x="20" y="115"/>
                  <a:pt x="20" y="115"/>
                  <a:pt x="20" y="115"/>
                </a:cubicBezTo>
                <a:cubicBezTo>
                  <a:pt x="19" y="115"/>
                  <a:pt x="18" y="114"/>
                  <a:pt x="17" y="114"/>
                </a:cubicBezTo>
                <a:cubicBezTo>
                  <a:pt x="16" y="114"/>
                  <a:pt x="16" y="114"/>
                  <a:pt x="16" y="114"/>
                </a:cubicBezTo>
                <a:cubicBezTo>
                  <a:pt x="15" y="113"/>
                  <a:pt x="14" y="113"/>
                  <a:pt x="14" y="112"/>
                </a:cubicBezTo>
                <a:cubicBezTo>
                  <a:pt x="13" y="112"/>
                  <a:pt x="13" y="112"/>
                  <a:pt x="13" y="112"/>
                </a:cubicBezTo>
                <a:cubicBezTo>
                  <a:pt x="12" y="112"/>
                  <a:pt x="12" y="111"/>
                  <a:pt x="11" y="111"/>
                </a:cubicBezTo>
                <a:cubicBezTo>
                  <a:pt x="11" y="111"/>
                  <a:pt x="11" y="110"/>
                  <a:pt x="10" y="110"/>
                </a:cubicBezTo>
                <a:cubicBezTo>
                  <a:pt x="10" y="110"/>
                  <a:pt x="10" y="109"/>
                  <a:pt x="9" y="109"/>
                </a:cubicBezTo>
                <a:cubicBezTo>
                  <a:pt x="9" y="109"/>
                  <a:pt x="9" y="109"/>
                  <a:pt x="8" y="108"/>
                </a:cubicBezTo>
                <a:cubicBezTo>
                  <a:pt x="8" y="108"/>
                  <a:pt x="8" y="108"/>
                  <a:pt x="7" y="107"/>
                </a:cubicBezTo>
                <a:cubicBezTo>
                  <a:pt x="7" y="107"/>
                  <a:pt x="7" y="107"/>
                  <a:pt x="7" y="107"/>
                </a:cubicBezTo>
                <a:cubicBezTo>
                  <a:pt x="7" y="106"/>
                  <a:pt x="6" y="106"/>
                  <a:pt x="6" y="106"/>
                </a:cubicBezTo>
                <a:cubicBezTo>
                  <a:pt x="6" y="105"/>
                  <a:pt x="6" y="105"/>
                  <a:pt x="6" y="105"/>
                </a:cubicBezTo>
                <a:cubicBezTo>
                  <a:pt x="6" y="105"/>
                  <a:pt x="6" y="104"/>
                  <a:pt x="6" y="104"/>
                </a:cubicBezTo>
                <a:cubicBezTo>
                  <a:pt x="5" y="104"/>
                  <a:pt x="5" y="103"/>
                  <a:pt x="5" y="103"/>
                </a:cubicBezTo>
                <a:cubicBezTo>
                  <a:pt x="5" y="102"/>
                  <a:pt x="5" y="102"/>
                  <a:pt x="5" y="102"/>
                </a:cubicBezTo>
                <a:cubicBezTo>
                  <a:pt x="5" y="101"/>
                  <a:pt x="5" y="101"/>
                  <a:pt x="5" y="101"/>
                </a:cubicBezTo>
                <a:cubicBezTo>
                  <a:pt x="5" y="81"/>
                  <a:pt x="5" y="81"/>
                  <a:pt x="5" y="81"/>
                </a:cubicBezTo>
                <a:cubicBezTo>
                  <a:pt x="5" y="81"/>
                  <a:pt x="6" y="81"/>
                  <a:pt x="6" y="81"/>
                </a:cubicBezTo>
                <a:cubicBezTo>
                  <a:pt x="6" y="82"/>
                  <a:pt x="7" y="82"/>
                  <a:pt x="7" y="83"/>
                </a:cubicBezTo>
                <a:cubicBezTo>
                  <a:pt x="17" y="90"/>
                  <a:pt x="38" y="96"/>
                  <a:pt x="67" y="96"/>
                </a:cubicBezTo>
                <a:cubicBezTo>
                  <a:pt x="96" y="96"/>
                  <a:pt x="116" y="90"/>
                  <a:pt x="126" y="83"/>
                </a:cubicBezTo>
                <a:cubicBezTo>
                  <a:pt x="127" y="82"/>
                  <a:pt x="127" y="81"/>
                  <a:pt x="128" y="81"/>
                </a:cubicBezTo>
                <a:cubicBezTo>
                  <a:pt x="128" y="81"/>
                  <a:pt x="128" y="81"/>
                  <a:pt x="128" y="81"/>
                </a:cubicBezTo>
                <a:cubicBezTo>
                  <a:pt x="128" y="101"/>
                  <a:pt x="128" y="101"/>
                  <a:pt x="128" y="101"/>
                </a:cubicBezTo>
                <a:cubicBezTo>
                  <a:pt x="128" y="101"/>
                  <a:pt x="128" y="101"/>
                  <a:pt x="128" y="102"/>
                </a:cubicBezTo>
                <a:cubicBezTo>
                  <a:pt x="128" y="102"/>
                  <a:pt x="128" y="102"/>
                  <a:pt x="128" y="103"/>
                </a:cubicBezTo>
                <a:cubicBezTo>
                  <a:pt x="128" y="103"/>
                  <a:pt x="128" y="104"/>
                  <a:pt x="128" y="104"/>
                </a:cubicBezTo>
                <a:cubicBezTo>
                  <a:pt x="128" y="104"/>
                  <a:pt x="128" y="105"/>
                  <a:pt x="127" y="105"/>
                </a:cubicBezTo>
                <a:close/>
                <a:moveTo>
                  <a:pt x="7" y="50"/>
                </a:moveTo>
                <a:cubicBezTo>
                  <a:pt x="8" y="51"/>
                  <a:pt x="9" y="51"/>
                  <a:pt x="10" y="52"/>
                </a:cubicBezTo>
                <a:cubicBezTo>
                  <a:pt x="10" y="52"/>
                  <a:pt x="10" y="52"/>
                  <a:pt x="10" y="52"/>
                </a:cubicBezTo>
                <a:cubicBezTo>
                  <a:pt x="11" y="53"/>
                  <a:pt x="12" y="53"/>
                  <a:pt x="13" y="54"/>
                </a:cubicBezTo>
                <a:cubicBezTo>
                  <a:pt x="13" y="54"/>
                  <a:pt x="13" y="54"/>
                  <a:pt x="14" y="54"/>
                </a:cubicBezTo>
                <a:cubicBezTo>
                  <a:pt x="15" y="55"/>
                  <a:pt x="16" y="55"/>
                  <a:pt x="17" y="56"/>
                </a:cubicBezTo>
                <a:cubicBezTo>
                  <a:pt x="17" y="56"/>
                  <a:pt x="17" y="56"/>
                  <a:pt x="17" y="56"/>
                </a:cubicBezTo>
                <a:cubicBezTo>
                  <a:pt x="18" y="57"/>
                  <a:pt x="20" y="57"/>
                  <a:pt x="21" y="58"/>
                </a:cubicBezTo>
                <a:cubicBezTo>
                  <a:pt x="22" y="58"/>
                  <a:pt x="22" y="58"/>
                  <a:pt x="22" y="58"/>
                </a:cubicBezTo>
                <a:cubicBezTo>
                  <a:pt x="23" y="58"/>
                  <a:pt x="25" y="59"/>
                  <a:pt x="26" y="59"/>
                </a:cubicBezTo>
                <a:cubicBezTo>
                  <a:pt x="26" y="59"/>
                  <a:pt x="27" y="59"/>
                  <a:pt x="27" y="59"/>
                </a:cubicBezTo>
                <a:cubicBezTo>
                  <a:pt x="29" y="60"/>
                  <a:pt x="30" y="60"/>
                  <a:pt x="32" y="61"/>
                </a:cubicBezTo>
                <a:cubicBezTo>
                  <a:pt x="32" y="61"/>
                  <a:pt x="32" y="61"/>
                  <a:pt x="33" y="61"/>
                </a:cubicBezTo>
                <a:cubicBezTo>
                  <a:pt x="34" y="61"/>
                  <a:pt x="36" y="61"/>
                  <a:pt x="37" y="62"/>
                </a:cubicBezTo>
                <a:cubicBezTo>
                  <a:pt x="38" y="62"/>
                  <a:pt x="38" y="62"/>
                  <a:pt x="39" y="62"/>
                </a:cubicBezTo>
                <a:cubicBezTo>
                  <a:pt x="40" y="62"/>
                  <a:pt x="42" y="62"/>
                  <a:pt x="44" y="63"/>
                </a:cubicBezTo>
                <a:cubicBezTo>
                  <a:pt x="44" y="63"/>
                  <a:pt x="44" y="63"/>
                  <a:pt x="45" y="63"/>
                </a:cubicBezTo>
                <a:cubicBezTo>
                  <a:pt x="47" y="63"/>
                  <a:pt x="49" y="63"/>
                  <a:pt x="51" y="63"/>
                </a:cubicBezTo>
                <a:cubicBezTo>
                  <a:pt x="51" y="63"/>
                  <a:pt x="52" y="63"/>
                  <a:pt x="52" y="63"/>
                </a:cubicBezTo>
                <a:cubicBezTo>
                  <a:pt x="54" y="64"/>
                  <a:pt x="56" y="64"/>
                  <a:pt x="58" y="64"/>
                </a:cubicBezTo>
                <a:cubicBezTo>
                  <a:pt x="58" y="64"/>
                  <a:pt x="59" y="64"/>
                  <a:pt x="60" y="64"/>
                </a:cubicBezTo>
                <a:cubicBezTo>
                  <a:pt x="62" y="64"/>
                  <a:pt x="64" y="64"/>
                  <a:pt x="67" y="64"/>
                </a:cubicBezTo>
                <a:cubicBezTo>
                  <a:pt x="69" y="64"/>
                  <a:pt x="71" y="64"/>
                  <a:pt x="74" y="64"/>
                </a:cubicBezTo>
                <a:cubicBezTo>
                  <a:pt x="74" y="64"/>
                  <a:pt x="75" y="64"/>
                  <a:pt x="76" y="64"/>
                </a:cubicBezTo>
                <a:cubicBezTo>
                  <a:pt x="77" y="64"/>
                  <a:pt x="79" y="64"/>
                  <a:pt x="81" y="63"/>
                </a:cubicBezTo>
                <a:cubicBezTo>
                  <a:pt x="81" y="63"/>
                  <a:pt x="82" y="63"/>
                  <a:pt x="82" y="63"/>
                </a:cubicBezTo>
                <a:cubicBezTo>
                  <a:pt x="85" y="63"/>
                  <a:pt x="87" y="63"/>
                  <a:pt x="89" y="63"/>
                </a:cubicBezTo>
                <a:cubicBezTo>
                  <a:pt x="89" y="63"/>
                  <a:pt x="89" y="63"/>
                  <a:pt x="90" y="63"/>
                </a:cubicBezTo>
                <a:cubicBezTo>
                  <a:pt x="91" y="62"/>
                  <a:pt x="93" y="62"/>
                  <a:pt x="94" y="62"/>
                </a:cubicBezTo>
                <a:cubicBezTo>
                  <a:pt x="95" y="62"/>
                  <a:pt x="96" y="62"/>
                  <a:pt x="96" y="62"/>
                </a:cubicBezTo>
                <a:cubicBezTo>
                  <a:pt x="98" y="61"/>
                  <a:pt x="99" y="61"/>
                  <a:pt x="101" y="61"/>
                </a:cubicBezTo>
                <a:cubicBezTo>
                  <a:pt x="101" y="61"/>
                  <a:pt x="101" y="61"/>
                  <a:pt x="101" y="61"/>
                </a:cubicBezTo>
                <a:cubicBezTo>
                  <a:pt x="103" y="60"/>
                  <a:pt x="105" y="60"/>
                  <a:pt x="106" y="59"/>
                </a:cubicBezTo>
                <a:cubicBezTo>
                  <a:pt x="107" y="59"/>
                  <a:pt x="107" y="59"/>
                  <a:pt x="108" y="59"/>
                </a:cubicBezTo>
                <a:cubicBezTo>
                  <a:pt x="109" y="59"/>
                  <a:pt x="110" y="58"/>
                  <a:pt x="111" y="58"/>
                </a:cubicBezTo>
                <a:cubicBezTo>
                  <a:pt x="111" y="58"/>
                  <a:pt x="112" y="58"/>
                  <a:pt x="112" y="58"/>
                </a:cubicBezTo>
                <a:cubicBezTo>
                  <a:pt x="114" y="57"/>
                  <a:pt x="115" y="57"/>
                  <a:pt x="116" y="56"/>
                </a:cubicBezTo>
                <a:cubicBezTo>
                  <a:pt x="116" y="56"/>
                  <a:pt x="116" y="56"/>
                  <a:pt x="117" y="56"/>
                </a:cubicBezTo>
                <a:cubicBezTo>
                  <a:pt x="118" y="55"/>
                  <a:pt x="119" y="55"/>
                  <a:pt x="120" y="54"/>
                </a:cubicBezTo>
                <a:cubicBezTo>
                  <a:pt x="120" y="54"/>
                  <a:pt x="120" y="54"/>
                  <a:pt x="121" y="54"/>
                </a:cubicBezTo>
                <a:cubicBezTo>
                  <a:pt x="122" y="53"/>
                  <a:pt x="122" y="53"/>
                  <a:pt x="123" y="52"/>
                </a:cubicBezTo>
                <a:cubicBezTo>
                  <a:pt x="123" y="52"/>
                  <a:pt x="124" y="52"/>
                  <a:pt x="124" y="52"/>
                </a:cubicBezTo>
                <a:cubicBezTo>
                  <a:pt x="125" y="51"/>
                  <a:pt x="126" y="51"/>
                  <a:pt x="126" y="50"/>
                </a:cubicBezTo>
                <a:cubicBezTo>
                  <a:pt x="127" y="50"/>
                  <a:pt x="127" y="50"/>
                  <a:pt x="127" y="50"/>
                </a:cubicBezTo>
                <a:cubicBezTo>
                  <a:pt x="127" y="49"/>
                  <a:pt x="128" y="49"/>
                  <a:pt x="128" y="49"/>
                </a:cubicBezTo>
                <a:cubicBezTo>
                  <a:pt x="128" y="69"/>
                  <a:pt x="128" y="69"/>
                  <a:pt x="128" y="69"/>
                </a:cubicBezTo>
                <a:cubicBezTo>
                  <a:pt x="128" y="69"/>
                  <a:pt x="128" y="69"/>
                  <a:pt x="128" y="70"/>
                </a:cubicBezTo>
                <a:cubicBezTo>
                  <a:pt x="128" y="70"/>
                  <a:pt x="128" y="70"/>
                  <a:pt x="128" y="71"/>
                </a:cubicBezTo>
                <a:cubicBezTo>
                  <a:pt x="128" y="71"/>
                  <a:pt x="128" y="72"/>
                  <a:pt x="128" y="72"/>
                </a:cubicBezTo>
                <a:cubicBezTo>
                  <a:pt x="128" y="72"/>
                  <a:pt x="128" y="73"/>
                  <a:pt x="127" y="73"/>
                </a:cubicBezTo>
                <a:cubicBezTo>
                  <a:pt x="127" y="73"/>
                  <a:pt x="127" y="73"/>
                  <a:pt x="127" y="74"/>
                </a:cubicBezTo>
                <a:cubicBezTo>
                  <a:pt x="127" y="74"/>
                  <a:pt x="127" y="74"/>
                  <a:pt x="126" y="75"/>
                </a:cubicBezTo>
                <a:cubicBezTo>
                  <a:pt x="126" y="75"/>
                  <a:pt x="126" y="75"/>
                  <a:pt x="126" y="75"/>
                </a:cubicBezTo>
                <a:cubicBezTo>
                  <a:pt x="126" y="76"/>
                  <a:pt x="125" y="76"/>
                  <a:pt x="125" y="76"/>
                </a:cubicBezTo>
                <a:cubicBezTo>
                  <a:pt x="125" y="77"/>
                  <a:pt x="124" y="77"/>
                  <a:pt x="124" y="77"/>
                </a:cubicBezTo>
                <a:cubicBezTo>
                  <a:pt x="124" y="78"/>
                  <a:pt x="123" y="78"/>
                  <a:pt x="123" y="78"/>
                </a:cubicBezTo>
                <a:cubicBezTo>
                  <a:pt x="123" y="78"/>
                  <a:pt x="122" y="79"/>
                  <a:pt x="122" y="79"/>
                </a:cubicBezTo>
                <a:cubicBezTo>
                  <a:pt x="122" y="79"/>
                  <a:pt x="121" y="80"/>
                  <a:pt x="120" y="80"/>
                </a:cubicBezTo>
                <a:cubicBezTo>
                  <a:pt x="120" y="80"/>
                  <a:pt x="120" y="80"/>
                  <a:pt x="120" y="80"/>
                </a:cubicBezTo>
                <a:cubicBezTo>
                  <a:pt x="119" y="81"/>
                  <a:pt x="118" y="81"/>
                  <a:pt x="117" y="82"/>
                </a:cubicBezTo>
                <a:cubicBezTo>
                  <a:pt x="117" y="82"/>
                  <a:pt x="117" y="82"/>
                  <a:pt x="117" y="82"/>
                </a:cubicBezTo>
                <a:cubicBezTo>
                  <a:pt x="116" y="82"/>
                  <a:pt x="115" y="83"/>
                  <a:pt x="114" y="83"/>
                </a:cubicBezTo>
                <a:cubicBezTo>
                  <a:pt x="114" y="83"/>
                  <a:pt x="114" y="83"/>
                  <a:pt x="114" y="83"/>
                </a:cubicBezTo>
                <a:cubicBezTo>
                  <a:pt x="107" y="86"/>
                  <a:pt x="100" y="88"/>
                  <a:pt x="91" y="89"/>
                </a:cubicBezTo>
                <a:cubicBezTo>
                  <a:pt x="91" y="89"/>
                  <a:pt x="91" y="89"/>
                  <a:pt x="91" y="89"/>
                </a:cubicBezTo>
                <a:cubicBezTo>
                  <a:pt x="89" y="89"/>
                  <a:pt x="87" y="89"/>
                  <a:pt x="85" y="90"/>
                </a:cubicBezTo>
                <a:cubicBezTo>
                  <a:pt x="85" y="90"/>
                  <a:pt x="85" y="90"/>
                  <a:pt x="84" y="90"/>
                </a:cubicBezTo>
                <a:cubicBezTo>
                  <a:pt x="83" y="90"/>
                  <a:pt x="81" y="90"/>
                  <a:pt x="79" y="90"/>
                </a:cubicBezTo>
                <a:cubicBezTo>
                  <a:pt x="79" y="90"/>
                  <a:pt x="78" y="90"/>
                  <a:pt x="77" y="90"/>
                </a:cubicBezTo>
                <a:cubicBezTo>
                  <a:pt x="76" y="90"/>
                  <a:pt x="74" y="91"/>
                  <a:pt x="73" y="91"/>
                </a:cubicBezTo>
                <a:cubicBezTo>
                  <a:pt x="71" y="91"/>
                  <a:pt x="69" y="91"/>
                  <a:pt x="67" y="91"/>
                </a:cubicBezTo>
                <a:cubicBezTo>
                  <a:pt x="64" y="91"/>
                  <a:pt x="62" y="91"/>
                  <a:pt x="60" y="91"/>
                </a:cubicBezTo>
                <a:cubicBezTo>
                  <a:pt x="59" y="91"/>
                  <a:pt x="58" y="90"/>
                  <a:pt x="56" y="90"/>
                </a:cubicBezTo>
                <a:cubicBezTo>
                  <a:pt x="56" y="90"/>
                  <a:pt x="55" y="90"/>
                  <a:pt x="54" y="90"/>
                </a:cubicBezTo>
                <a:cubicBezTo>
                  <a:pt x="52" y="90"/>
                  <a:pt x="51" y="90"/>
                  <a:pt x="49" y="90"/>
                </a:cubicBezTo>
                <a:cubicBezTo>
                  <a:pt x="49" y="90"/>
                  <a:pt x="48" y="90"/>
                  <a:pt x="48" y="90"/>
                </a:cubicBezTo>
                <a:cubicBezTo>
                  <a:pt x="46" y="89"/>
                  <a:pt x="45" y="89"/>
                  <a:pt x="43" y="89"/>
                </a:cubicBezTo>
                <a:cubicBezTo>
                  <a:pt x="43" y="89"/>
                  <a:pt x="43" y="89"/>
                  <a:pt x="43" y="89"/>
                </a:cubicBezTo>
                <a:cubicBezTo>
                  <a:pt x="34" y="88"/>
                  <a:pt x="26" y="86"/>
                  <a:pt x="20" y="83"/>
                </a:cubicBezTo>
                <a:cubicBezTo>
                  <a:pt x="20" y="83"/>
                  <a:pt x="20" y="83"/>
                  <a:pt x="20" y="83"/>
                </a:cubicBezTo>
                <a:cubicBezTo>
                  <a:pt x="19" y="83"/>
                  <a:pt x="18" y="82"/>
                  <a:pt x="17" y="82"/>
                </a:cubicBezTo>
                <a:cubicBezTo>
                  <a:pt x="16" y="82"/>
                  <a:pt x="16" y="82"/>
                  <a:pt x="16" y="82"/>
                </a:cubicBezTo>
                <a:cubicBezTo>
                  <a:pt x="15" y="81"/>
                  <a:pt x="14" y="81"/>
                  <a:pt x="14" y="80"/>
                </a:cubicBezTo>
                <a:cubicBezTo>
                  <a:pt x="13" y="80"/>
                  <a:pt x="13" y="80"/>
                  <a:pt x="13" y="80"/>
                </a:cubicBezTo>
                <a:cubicBezTo>
                  <a:pt x="12" y="80"/>
                  <a:pt x="12" y="79"/>
                  <a:pt x="11" y="79"/>
                </a:cubicBezTo>
                <a:cubicBezTo>
                  <a:pt x="11" y="79"/>
                  <a:pt x="11" y="78"/>
                  <a:pt x="10" y="78"/>
                </a:cubicBezTo>
                <a:cubicBezTo>
                  <a:pt x="10" y="78"/>
                  <a:pt x="10" y="77"/>
                  <a:pt x="9" y="77"/>
                </a:cubicBezTo>
                <a:cubicBezTo>
                  <a:pt x="9" y="77"/>
                  <a:pt x="9" y="77"/>
                  <a:pt x="8" y="76"/>
                </a:cubicBezTo>
                <a:cubicBezTo>
                  <a:pt x="8" y="76"/>
                  <a:pt x="8" y="76"/>
                  <a:pt x="7" y="75"/>
                </a:cubicBezTo>
                <a:cubicBezTo>
                  <a:pt x="7" y="75"/>
                  <a:pt x="7" y="75"/>
                  <a:pt x="7" y="75"/>
                </a:cubicBezTo>
                <a:cubicBezTo>
                  <a:pt x="7" y="74"/>
                  <a:pt x="6" y="74"/>
                  <a:pt x="6" y="74"/>
                </a:cubicBezTo>
                <a:cubicBezTo>
                  <a:pt x="6" y="73"/>
                  <a:pt x="6" y="73"/>
                  <a:pt x="6" y="73"/>
                </a:cubicBezTo>
                <a:cubicBezTo>
                  <a:pt x="6" y="73"/>
                  <a:pt x="6" y="72"/>
                  <a:pt x="6" y="72"/>
                </a:cubicBezTo>
                <a:cubicBezTo>
                  <a:pt x="5" y="72"/>
                  <a:pt x="5" y="71"/>
                  <a:pt x="5" y="71"/>
                </a:cubicBezTo>
                <a:cubicBezTo>
                  <a:pt x="5" y="70"/>
                  <a:pt x="5" y="70"/>
                  <a:pt x="5" y="70"/>
                </a:cubicBezTo>
                <a:cubicBezTo>
                  <a:pt x="5" y="69"/>
                  <a:pt x="5" y="69"/>
                  <a:pt x="5" y="69"/>
                </a:cubicBezTo>
                <a:cubicBezTo>
                  <a:pt x="5" y="49"/>
                  <a:pt x="5" y="49"/>
                  <a:pt x="5" y="49"/>
                </a:cubicBezTo>
                <a:cubicBezTo>
                  <a:pt x="6" y="49"/>
                  <a:pt x="6" y="49"/>
                  <a:pt x="6" y="50"/>
                </a:cubicBezTo>
                <a:cubicBezTo>
                  <a:pt x="7" y="50"/>
                  <a:pt x="7" y="50"/>
                  <a:pt x="7" y="50"/>
                </a:cubicBezTo>
                <a:close/>
                <a:moveTo>
                  <a:pt x="133" y="104"/>
                </a:moveTo>
                <a:cubicBezTo>
                  <a:pt x="133" y="104"/>
                  <a:pt x="133" y="104"/>
                  <a:pt x="133" y="104"/>
                </a:cubicBezTo>
                <a:cubicBezTo>
                  <a:pt x="133" y="103"/>
                  <a:pt x="133" y="103"/>
                  <a:pt x="133" y="103"/>
                </a:cubicBezTo>
                <a:cubicBezTo>
                  <a:pt x="133" y="101"/>
                  <a:pt x="133" y="101"/>
                  <a:pt x="133" y="101"/>
                </a:cubicBezTo>
                <a:cubicBezTo>
                  <a:pt x="133" y="78"/>
                  <a:pt x="133" y="78"/>
                  <a:pt x="133" y="78"/>
                </a:cubicBezTo>
                <a:cubicBezTo>
                  <a:pt x="133" y="78"/>
                  <a:pt x="134" y="78"/>
                  <a:pt x="134" y="78"/>
                </a:cubicBezTo>
                <a:cubicBezTo>
                  <a:pt x="135" y="77"/>
                  <a:pt x="136" y="77"/>
                  <a:pt x="137" y="77"/>
                </a:cubicBezTo>
                <a:cubicBezTo>
                  <a:pt x="137" y="77"/>
                  <a:pt x="137" y="77"/>
                  <a:pt x="137" y="77"/>
                </a:cubicBezTo>
                <a:cubicBezTo>
                  <a:pt x="145" y="74"/>
                  <a:pt x="151" y="71"/>
                  <a:pt x="155" y="68"/>
                </a:cubicBezTo>
                <a:cubicBezTo>
                  <a:pt x="155" y="89"/>
                  <a:pt x="155" y="89"/>
                  <a:pt x="155" y="89"/>
                </a:cubicBezTo>
                <a:cubicBezTo>
                  <a:pt x="155" y="90"/>
                  <a:pt x="155" y="90"/>
                  <a:pt x="155" y="90"/>
                </a:cubicBezTo>
                <a:cubicBezTo>
                  <a:pt x="155" y="91"/>
                  <a:pt x="154" y="91"/>
                  <a:pt x="154" y="91"/>
                </a:cubicBezTo>
                <a:cubicBezTo>
                  <a:pt x="154" y="91"/>
                  <a:pt x="154" y="91"/>
                  <a:pt x="154" y="91"/>
                </a:cubicBezTo>
                <a:cubicBezTo>
                  <a:pt x="154" y="92"/>
                  <a:pt x="154" y="92"/>
                  <a:pt x="154" y="92"/>
                </a:cubicBezTo>
                <a:cubicBezTo>
                  <a:pt x="154" y="92"/>
                  <a:pt x="154" y="92"/>
                  <a:pt x="154" y="92"/>
                </a:cubicBezTo>
                <a:cubicBezTo>
                  <a:pt x="152" y="97"/>
                  <a:pt x="145" y="101"/>
                  <a:pt x="135" y="104"/>
                </a:cubicBezTo>
                <a:cubicBezTo>
                  <a:pt x="134" y="104"/>
                  <a:pt x="134" y="104"/>
                  <a:pt x="133" y="104"/>
                </a:cubicBezTo>
                <a:close/>
                <a:moveTo>
                  <a:pt x="155" y="36"/>
                </a:moveTo>
                <a:cubicBezTo>
                  <a:pt x="155" y="57"/>
                  <a:pt x="155" y="57"/>
                  <a:pt x="155" y="57"/>
                </a:cubicBezTo>
                <a:cubicBezTo>
                  <a:pt x="155" y="58"/>
                  <a:pt x="155" y="58"/>
                  <a:pt x="155" y="58"/>
                </a:cubicBezTo>
                <a:cubicBezTo>
                  <a:pt x="155" y="59"/>
                  <a:pt x="154" y="59"/>
                  <a:pt x="154" y="59"/>
                </a:cubicBezTo>
                <a:cubicBezTo>
                  <a:pt x="154" y="59"/>
                  <a:pt x="154" y="59"/>
                  <a:pt x="154" y="59"/>
                </a:cubicBezTo>
                <a:cubicBezTo>
                  <a:pt x="154" y="60"/>
                  <a:pt x="154" y="60"/>
                  <a:pt x="154" y="60"/>
                </a:cubicBezTo>
                <a:cubicBezTo>
                  <a:pt x="154" y="60"/>
                  <a:pt x="154" y="60"/>
                  <a:pt x="154" y="60"/>
                </a:cubicBezTo>
                <a:cubicBezTo>
                  <a:pt x="152" y="65"/>
                  <a:pt x="145" y="69"/>
                  <a:pt x="135" y="72"/>
                </a:cubicBezTo>
                <a:cubicBezTo>
                  <a:pt x="134" y="72"/>
                  <a:pt x="134" y="72"/>
                  <a:pt x="133" y="72"/>
                </a:cubicBezTo>
                <a:cubicBezTo>
                  <a:pt x="133" y="72"/>
                  <a:pt x="133" y="72"/>
                  <a:pt x="133" y="72"/>
                </a:cubicBezTo>
                <a:cubicBezTo>
                  <a:pt x="133" y="71"/>
                  <a:pt x="133" y="71"/>
                  <a:pt x="133" y="71"/>
                </a:cubicBezTo>
                <a:cubicBezTo>
                  <a:pt x="133" y="69"/>
                  <a:pt x="133" y="69"/>
                  <a:pt x="133" y="69"/>
                </a:cubicBezTo>
                <a:cubicBezTo>
                  <a:pt x="133" y="46"/>
                  <a:pt x="133" y="46"/>
                  <a:pt x="133" y="46"/>
                </a:cubicBezTo>
                <a:cubicBezTo>
                  <a:pt x="134" y="46"/>
                  <a:pt x="134" y="46"/>
                  <a:pt x="134" y="46"/>
                </a:cubicBezTo>
                <a:cubicBezTo>
                  <a:pt x="135" y="45"/>
                  <a:pt x="135" y="45"/>
                  <a:pt x="136" y="45"/>
                </a:cubicBezTo>
                <a:cubicBezTo>
                  <a:pt x="136" y="45"/>
                  <a:pt x="137" y="45"/>
                  <a:pt x="137" y="45"/>
                </a:cubicBezTo>
                <a:cubicBezTo>
                  <a:pt x="138" y="44"/>
                  <a:pt x="138" y="44"/>
                  <a:pt x="139" y="44"/>
                </a:cubicBezTo>
                <a:cubicBezTo>
                  <a:pt x="140" y="44"/>
                  <a:pt x="140" y="44"/>
                  <a:pt x="140" y="44"/>
                </a:cubicBezTo>
                <a:cubicBezTo>
                  <a:pt x="141" y="43"/>
                  <a:pt x="142" y="43"/>
                  <a:pt x="142" y="43"/>
                </a:cubicBezTo>
                <a:cubicBezTo>
                  <a:pt x="143" y="43"/>
                  <a:pt x="143" y="43"/>
                  <a:pt x="143" y="42"/>
                </a:cubicBezTo>
                <a:cubicBezTo>
                  <a:pt x="144" y="42"/>
                  <a:pt x="145" y="42"/>
                  <a:pt x="145" y="42"/>
                </a:cubicBezTo>
                <a:cubicBezTo>
                  <a:pt x="145" y="41"/>
                  <a:pt x="146" y="41"/>
                  <a:pt x="146" y="41"/>
                </a:cubicBezTo>
                <a:cubicBezTo>
                  <a:pt x="147" y="41"/>
                  <a:pt x="148" y="40"/>
                  <a:pt x="148" y="40"/>
                </a:cubicBezTo>
                <a:cubicBezTo>
                  <a:pt x="149" y="40"/>
                  <a:pt x="149" y="40"/>
                  <a:pt x="149" y="40"/>
                </a:cubicBezTo>
                <a:cubicBezTo>
                  <a:pt x="149" y="39"/>
                  <a:pt x="150" y="39"/>
                  <a:pt x="151" y="39"/>
                </a:cubicBezTo>
                <a:cubicBezTo>
                  <a:pt x="151" y="38"/>
                  <a:pt x="151" y="38"/>
                  <a:pt x="151" y="38"/>
                </a:cubicBezTo>
                <a:cubicBezTo>
                  <a:pt x="152" y="38"/>
                  <a:pt x="152" y="38"/>
                  <a:pt x="153" y="37"/>
                </a:cubicBezTo>
                <a:cubicBezTo>
                  <a:pt x="153" y="37"/>
                  <a:pt x="153" y="37"/>
                  <a:pt x="153" y="37"/>
                </a:cubicBezTo>
                <a:cubicBezTo>
                  <a:pt x="154" y="36"/>
                  <a:pt x="154" y="36"/>
                  <a:pt x="154" y="36"/>
                </a:cubicBezTo>
                <a:cubicBezTo>
                  <a:pt x="155" y="36"/>
                  <a:pt x="155" y="36"/>
                  <a:pt x="155" y="36"/>
                </a:cubicBezTo>
                <a:close/>
                <a:moveTo>
                  <a:pt x="93" y="5"/>
                </a:moveTo>
                <a:cubicBezTo>
                  <a:pt x="129" y="5"/>
                  <a:pt x="155" y="16"/>
                  <a:pt x="155" y="25"/>
                </a:cubicBezTo>
                <a:cubicBezTo>
                  <a:pt x="155" y="26"/>
                  <a:pt x="155" y="26"/>
                  <a:pt x="155" y="26"/>
                </a:cubicBezTo>
                <a:cubicBezTo>
                  <a:pt x="155" y="27"/>
                  <a:pt x="154" y="27"/>
                  <a:pt x="154" y="27"/>
                </a:cubicBezTo>
                <a:cubicBezTo>
                  <a:pt x="154" y="27"/>
                  <a:pt x="154" y="27"/>
                  <a:pt x="154" y="27"/>
                </a:cubicBezTo>
                <a:cubicBezTo>
                  <a:pt x="154" y="28"/>
                  <a:pt x="154" y="28"/>
                  <a:pt x="154" y="28"/>
                </a:cubicBezTo>
                <a:cubicBezTo>
                  <a:pt x="154" y="28"/>
                  <a:pt x="154" y="28"/>
                  <a:pt x="154" y="29"/>
                </a:cubicBezTo>
                <a:cubicBezTo>
                  <a:pt x="154" y="29"/>
                  <a:pt x="154" y="29"/>
                  <a:pt x="153" y="29"/>
                </a:cubicBezTo>
                <a:cubicBezTo>
                  <a:pt x="153" y="29"/>
                  <a:pt x="153" y="29"/>
                  <a:pt x="153" y="30"/>
                </a:cubicBezTo>
                <a:cubicBezTo>
                  <a:pt x="153" y="30"/>
                  <a:pt x="153" y="30"/>
                  <a:pt x="153" y="30"/>
                </a:cubicBezTo>
                <a:cubicBezTo>
                  <a:pt x="153" y="30"/>
                  <a:pt x="152" y="30"/>
                  <a:pt x="152" y="31"/>
                </a:cubicBezTo>
                <a:cubicBezTo>
                  <a:pt x="152" y="31"/>
                  <a:pt x="152" y="31"/>
                  <a:pt x="152" y="31"/>
                </a:cubicBezTo>
                <a:cubicBezTo>
                  <a:pt x="152" y="31"/>
                  <a:pt x="151" y="31"/>
                  <a:pt x="151" y="32"/>
                </a:cubicBezTo>
                <a:cubicBezTo>
                  <a:pt x="151" y="32"/>
                  <a:pt x="151" y="32"/>
                  <a:pt x="151" y="32"/>
                </a:cubicBezTo>
                <a:cubicBezTo>
                  <a:pt x="150" y="32"/>
                  <a:pt x="150" y="33"/>
                  <a:pt x="150" y="33"/>
                </a:cubicBezTo>
                <a:cubicBezTo>
                  <a:pt x="150" y="33"/>
                  <a:pt x="149" y="33"/>
                  <a:pt x="149" y="33"/>
                </a:cubicBezTo>
                <a:cubicBezTo>
                  <a:pt x="149" y="33"/>
                  <a:pt x="149" y="34"/>
                  <a:pt x="148" y="34"/>
                </a:cubicBezTo>
                <a:cubicBezTo>
                  <a:pt x="148" y="34"/>
                  <a:pt x="148" y="34"/>
                  <a:pt x="148" y="34"/>
                </a:cubicBezTo>
                <a:cubicBezTo>
                  <a:pt x="147" y="34"/>
                  <a:pt x="147" y="35"/>
                  <a:pt x="147" y="35"/>
                </a:cubicBezTo>
                <a:cubicBezTo>
                  <a:pt x="147" y="35"/>
                  <a:pt x="146" y="35"/>
                  <a:pt x="146" y="35"/>
                </a:cubicBezTo>
                <a:cubicBezTo>
                  <a:pt x="146" y="35"/>
                  <a:pt x="145" y="36"/>
                  <a:pt x="145" y="36"/>
                </a:cubicBezTo>
                <a:cubicBezTo>
                  <a:pt x="145" y="36"/>
                  <a:pt x="145" y="36"/>
                  <a:pt x="144" y="36"/>
                </a:cubicBezTo>
                <a:cubicBezTo>
                  <a:pt x="144" y="36"/>
                  <a:pt x="143" y="36"/>
                  <a:pt x="143" y="37"/>
                </a:cubicBezTo>
                <a:cubicBezTo>
                  <a:pt x="143" y="37"/>
                  <a:pt x="143" y="37"/>
                  <a:pt x="142" y="37"/>
                </a:cubicBezTo>
                <a:cubicBezTo>
                  <a:pt x="142" y="37"/>
                  <a:pt x="141" y="37"/>
                  <a:pt x="141" y="38"/>
                </a:cubicBezTo>
                <a:cubicBezTo>
                  <a:pt x="140" y="38"/>
                  <a:pt x="140" y="38"/>
                  <a:pt x="140" y="38"/>
                </a:cubicBezTo>
                <a:cubicBezTo>
                  <a:pt x="140" y="38"/>
                  <a:pt x="139" y="38"/>
                  <a:pt x="138" y="39"/>
                </a:cubicBezTo>
                <a:cubicBezTo>
                  <a:pt x="138" y="39"/>
                  <a:pt x="138" y="39"/>
                  <a:pt x="137" y="39"/>
                </a:cubicBezTo>
                <a:cubicBezTo>
                  <a:pt x="137" y="39"/>
                  <a:pt x="136" y="39"/>
                  <a:pt x="136" y="40"/>
                </a:cubicBezTo>
                <a:cubicBezTo>
                  <a:pt x="135" y="40"/>
                  <a:pt x="135" y="40"/>
                  <a:pt x="135" y="40"/>
                </a:cubicBezTo>
                <a:cubicBezTo>
                  <a:pt x="134" y="40"/>
                  <a:pt x="134" y="40"/>
                  <a:pt x="133" y="40"/>
                </a:cubicBezTo>
                <a:cubicBezTo>
                  <a:pt x="133" y="39"/>
                  <a:pt x="133" y="39"/>
                  <a:pt x="133" y="39"/>
                </a:cubicBezTo>
                <a:cubicBezTo>
                  <a:pt x="133" y="37"/>
                  <a:pt x="133" y="37"/>
                  <a:pt x="133" y="37"/>
                </a:cubicBezTo>
                <a:cubicBezTo>
                  <a:pt x="133" y="37"/>
                  <a:pt x="133" y="37"/>
                  <a:pt x="133" y="36"/>
                </a:cubicBezTo>
                <a:cubicBezTo>
                  <a:pt x="133" y="36"/>
                  <a:pt x="133" y="36"/>
                  <a:pt x="133" y="36"/>
                </a:cubicBezTo>
                <a:cubicBezTo>
                  <a:pt x="133" y="36"/>
                  <a:pt x="133" y="36"/>
                  <a:pt x="133" y="36"/>
                </a:cubicBezTo>
                <a:cubicBezTo>
                  <a:pt x="132" y="33"/>
                  <a:pt x="130" y="30"/>
                  <a:pt x="127" y="27"/>
                </a:cubicBezTo>
                <a:cubicBezTo>
                  <a:pt x="127" y="27"/>
                  <a:pt x="127" y="27"/>
                  <a:pt x="127" y="27"/>
                </a:cubicBezTo>
                <a:cubicBezTo>
                  <a:pt x="126" y="27"/>
                  <a:pt x="126" y="27"/>
                  <a:pt x="125" y="26"/>
                </a:cubicBezTo>
                <a:cubicBezTo>
                  <a:pt x="116" y="20"/>
                  <a:pt x="98" y="14"/>
                  <a:pt x="73" y="13"/>
                </a:cubicBezTo>
                <a:cubicBezTo>
                  <a:pt x="71" y="13"/>
                  <a:pt x="69" y="13"/>
                  <a:pt x="67" y="13"/>
                </a:cubicBezTo>
                <a:cubicBezTo>
                  <a:pt x="64" y="13"/>
                  <a:pt x="62" y="13"/>
                  <a:pt x="60" y="13"/>
                </a:cubicBezTo>
                <a:cubicBezTo>
                  <a:pt x="53" y="14"/>
                  <a:pt x="47" y="14"/>
                  <a:pt x="42" y="15"/>
                </a:cubicBezTo>
                <a:cubicBezTo>
                  <a:pt x="52" y="10"/>
                  <a:pt x="70" y="5"/>
                  <a:pt x="93" y="5"/>
                </a:cubicBezTo>
                <a:close/>
                <a:moveTo>
                  <a:pt x="36" y="21"/>
                </a:moveTo>
                <a:cubicBezTo>
                  <a:pt x="37" y="21"/>
                  <a:pt x="37" y="21"/>
                  <a:pt x="38" y="21"/>
                </a:cubicBezTo>
                <a:cubicBezTo>
                  <a:pt x="39" y="21"/>
                  <a:pt x="40" y="21"/>
                  <a:pt x="41" y="21"/>
                </a:cubicBezTo>
                <a:cubicBezTo>
                  <a:pt x="42" y="21"/>
                  <a:pt x="42" y="20"/>
                  <a:pt x="43" y="20"/>
                </a:cubicBezTo>
                <a:cubicBezTo>
                  <a:pt x="44" y="20"/>
                  <a:pt x="45" y="20"/>
                  <a:pt x="46" y="20"/>
                </a:cubicBezTo>
                <a:cubicBezTo>
                  <a:pt x="47" y="20"/>
                  <a:pt x="47" y="20"/>
                  <a:pt x="48" y="20"/>
                </a:cubicBezTo>
                <a:cubicBezTo>
                  <a:pt x="50" y="19"/>
                  <a:pt x="51" y="19"/>
                  <a:pt x="53" y="19"/>
                </a:cubicBezTo>
                <a:cubicBezTo>
                  <a:pt x="54" y="19"/>
                  <a:pt x="54" y="19"/>
                  <a:pt x="55" y="19"/>
                </a:cubicBezTo>
                <a:cubicBezTo>
                  <a:pt x="56" y="19"/>
                  <a:pt x="58" y="19"/>
                  <a:pt x="59" y="19"/>
                </a:cubicBezTo>
                <a:cubicBezTo>
                  <a:pt x="60" y="19"/>
                  <a:pt x="60" y="19"/>
                  <a:pt x="61" y="19"/>
                </a:cubicBezTo>
                <a:cubicBezTo>
                  <a:pt x="63" y="19"/>
                  <a:pt x="65" y="19"/>
                  <a:pt x="67" y="19"/>
                </a:cubicBezTo>
                <a:cubicBezTo>
                  <a:pt x="69" y="19"/>
                  <a:pt x="71" y="19"/>
                  <a:pt x="73" y="19"/>
                </a:cubicBezTo>
                <a:cubicBezTo>
                  <a:pt x="74" y="19"/>
                  <a:pt x="76" y="19"/>
                  <a:pt x="77" y="19"/>
                </a:cubicBezTo>
                <a:cubicBezTo>
                  <a:pt x="78" y="19"/>
                  <a:pt x="79" y="19"/>
                  <a:pt x="79" y="19"/>
                </a:cubicBezTo>
                <a:cubicBezTo>
                  <a:pt x="81" y="19"/>
                  <a:pt x="83" y="19"/>
                  <a:pt x="84" y="20"/>
                </a:cubicBezTo>
                <a:cubicBezTo>
                  <a:pt x="85" y="20"/>
                  <a:pt x="85" y="20"/>
                  <a:pt x="85" y="20"/>
                </a:cubicBezTo>
                <a:cubicBezTo>
                  <a:pt x="87" y="20"/>
                  <a:pt x="89" y="20"/>
                  <a:pt x="90" y="20"/>
                </a:cubicBezTo>
                <a:cubicBezTo>
                  <a:pt x="91" y="20"/>
                  <a:pt x="91" y="20"/>
                  <a:pt x="91" y="20"/>
                </a:cubicBezTo>
                <a:cubicBezTo>
                  <a:pt x="100" y="22"/>
                  <a:pt x="107" y="24"/>
                  <a:pt x="113" y="26"/>
                </a:cubicBezTo>
                <a:cubicBezTo>
                  <a:pt x="114" y="26"/>
                  <a:pt x="114" y="26"/>
                  <a:pt x="114" y="26"/>
                </a:cubicBezTo>
                <a:cubicBezTo>
                  <a:pt x="115" y="27"/>
                  <a:pt x="116" y="27"/>
                  <a:pt x="117" y="28"/>
                </a:cubicBezTo>
                <a:cubicBezTo>
                  <a:pt x="117" y="28"/>
                  <a:pt x="117" y="28"/>
                  <a:pt x="117" y="28"/>
                </a:cubicBezTo>
                <a:cubicBezTo>
                  <a:pt x="118" y="28"/>
                  <a:pt x="119" y="29"/>
                  <a:pt x="120" y="29"/>
                </a:cubicBezTo>
                <a:cubicBezTo>
                  <a:pt x="120" y="29"/>
                  <a:pt x="120" y="29"/>
                  <a:pt x="120" y="29"/>
                </a:cubicBezTo>
                <a:cubicBezTo>
                  <a:pt x="121" y="30"/>
                  <a:pt x="122" y="30"/>
                  <a:pt x="122" y="31"/>
                </a:cubicBezTo>
                <a:cubicBezTo>
                  <a:pt x="122" y="31"/>
                  <a:pt x="123" y="31"/>
                  <a:pt x="123" y="31"/>
                </a:cubicBezTo>
                <a:cubicBezTo>
                  <a:pt x="123" y="31"/>
                  <a:pt x="124" y="32"/>
                  <a:pt x="124" y="32"/>
                </a:cubicBezTo>
                <a:cubicBezTo>
                  <a:pt x="124" y="32"/>
                  <a:pt x="125" y="33"/>
                  <a:pt x="125" y="33"/>
                </a:cubicBezTo>
                <a:cubicBezTo>
                  <a:pt x="125" y="33"/>
                  <a:pt x="126" y="34"/>
                  <a:pt x="126" y="34"/>
                </a:cubicBezTo>
                <a:cubicBezTo>
                  <a:pt x="126" y="34"/>
                  <a:pt x="126" y="34"/>
                  <a:pt x="126" y="35"/>
                </a:cubicBezTo>
                <a:cubicBezTo>
                  <a:pt x="127" y="35"/>
                  <a:pt x="127" y="35"/>
                  <a:pt x="127" y="36"/>
                </a:cubicBezTo>
                <a:cubicBezTo>
                  <a:pt x="127" y="36"/>
                  <a:pt x="127" y="36"/>
                  <a:pt x="127" y="36"/>
                </a:cubicBezTo>
                <a:cubicBezTo>
                  <a:pt x="128" y="37"/>
                  <a:pt x="128" y="37"/>
                  <a:pt x="128" y="37"/>
                </a:cubicBezTo>
                <a:cubicBezTo>
                  <a:pt x="128" y="38"/>
                  <a:pt x="128" y="38"/>
                  <a:pt x="128" y="39"/>
                </a:cubicBezTo>
                <a:cubicBezTo>
                  <a:pt x="128" y="48"/>
                  <a:pt x="103" y="59"/>
                  <a:pt x="67" y="59"/>
                </a:cubicBezTo>
                <a:cubicBezTo>
                  <a:pt x="31" y="59"/>
                  <a:pt x="5" y="48"/>
                  <a:pt x="5" y="39"/>
                </a:cubicBezTo>
                <a:cubicBezTo>
                  <a:pt x="5" y="32"/>
                  <a:pt x="17" y="25"/>
                  <a:pt x="36" y="21"/>
                </a:cubicBezTo>
                <a:close/>
                <a:moveTo>
                  <a:pt x="67" y="155"/>
                </a:moveTo>
                <a:cubicBezTo>
                  <a:pt x="32" y="155"/>
                  <a:pt x="7" y="145"/>
                  <a:pt x="5" y="136"/>
                </a:cubicBezTo>
                <a:cubicBezTo>
                  <a:pt x="5" y="135"/>
                  <a:pt x="5" y="135"/>
                  <a:pt x="5" y="135"/>
                </a:cubicBezTo>
                <a:cubicBezTo>
                  <a:pt x="5" y="113"/>
                  <a:pt x="5" y="113"/>
                  <a:pt x="5" y="113"/>
                </a:cubicBezTo>
                <a:cubicBezTo>
                  <a:pt x="5" y="113"/>
                  <a:pt x="6" y="113"/>
                  <a:pt x="6" y="113"/>
                </a:cubicBezTo>
                <a:cubicBezTo>
                  <a:pt x="6" y="114"/>
                  <a:pt x="7" y="114"/>
                  <a:pt x="7" y="115"/>
                </a:cubicBezTo>
                <a:cubicBezTo>
                  <a:pt x="17" y="122"/>
                  <a:pt x="38" y="128"/>
                  <a:pt x="67" y="128"/>
                </a:cubicBezTo>
                <a:cubicBezTo>
                  <a:pt x="96" y="128"/>
                  <a:pt x="116" y="122"/>
                  <a:pt x="126" y="115"/>
                </a:cubicBezTo>
                <a:cubicBezTo>
                  <a:pt x="127" y="114"/>
                  <a:pt x="127" y="113"/>
                  <a:pt x="128" y="113"/>
                </a:cubicBezTo>
                <a:cubicBezTo>
                  <a:pt x="128" y="113"/>
                  <a:pt x="128" y="113"/>
                  <a:pt x="128" y="113"/>
                </a:cubicBezTo>
                <a:cubicBezTo>
                  <a:pt x="128" y="135"/>
                  <a:pt x="128" y="135"/>
                  <a:pt x="128" y="135"/>
                </a:cubicBezTo>
                <a:cubicBezTo>
                  <a:pt x="128" y="135"/>
                  <a:pt x="128" y="135"/>
                  <a:pt x="128" y="136"/>
                </a:cubicBezTo>
                <a:cubicBezTo>
                  <a:pt x="128" y="136"/>
                  <a:pt x="128" y="137"/>
                  <a:pt x="127" y="137"/>
                </a:cubicBezTo>
                <a:cubicBezTo>
                  <a:pt x="127" y="137"/>
                  <a:pt x="127" y="138"/>
                  <a:pt x="127" y="138"/>
                </a:cubicBezTo>
                <a:cubicBezTo>
                  <a:pt x="122" y="146"/>
                  <a:pt x="99" y="155"/>
                  <a:pt x="67" y="155"/>
                </a:cubicBezTo>
                <a:close/>
                <a:moveTo>
                  <a:pt x="155" y="122"/>
                </a:moveTo>
                <a:cubicBezTo>
                  <a:pt x="154" y="127"/>
                  <a:pt x="146" y="133"/>
                  <a:pt x="133" y="136"/>
                </a:cubicBezTo>
                <a:cubicBezTo>
                  <a:pt x="133" y="136"/>
                  <a:pt x="133" y="136"/>
                  <a:pt x="133" y="136"/>
                </a:cubicBezTo>
                <a:cubicBezTo>
                  <a:pt x="133" y="110"/>
                  <a:pt x="133" y="110"/>
                  <a:pt x="133" y="110"/>
                </a:cubicBezTo>
                <a:cubicBezTo>
                  <a:pt x="133" y="110"/>
                  <a:pt x="134" y="110"/>
                  <a:pt x="134" y="110"/>
                </a:cubicBezTo>
                <a:cubicBezTo>
                  <a:pt x="135" y="109"/>
                  <a:pt x="136" y="109"/>
                  <a:pt x="137" y="109"/>
                </a:cubicBezTo>
                <a:cubicBezTo>
                  <a:pt x="137" y="109"/>
                  <a:pt x="137" y="109"/>
                  <a:pt x="137" y="109"/>
                </a:cubicBezTo>
                <a:cubicBezTo>
                  <a:pt x="145" y="106"/>
                  <a:pt x="151" y="103"/>
                  <a:pt x="155" y="100"/>
                </a:cubicBezTo>
                <a:cubicBezTo>
                  <a:pt x="155" y="122"/>
                  <a:pt x="155" y="122"/>
                  <a:pt x="155" y="122"/>
                </a:cubicBezTo>
                <a:cubicBezTo>
                  <a:pt x="155" y="122"/>
                  <a:pt x="155" y="122"/>
                  <a:pt x="155" y="122"/>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9" name="Freeform 1136">
            <a:extLst>
              <a:ext uri="{FF2B5EF4-FFF2-40B4-BE49-F238E27FC236}">
                <a16:creationId xmlns:a16="http://schemas.microsoft.com/office/drawing/2014/main" id="{8302B118-A2BE-2F48-B46F-911FA107FB17}"/>
              </a:ext>
            </a:extLst>
          </p:cNvPr>
          <p:cNvSpPr>
            <a:spLocks noEditPoints="1"/>
          </p:cNvSpPr>
          <p:nvPr/>
        </p:nvSpPr>
        <p:spPr bwMode="auto">
          <a:xfrm>
            <a:off x="7265870" y="4081463"/>
            <a:ext cx="546100" cy="546100"/>
          </a:xfrm>
          <a:custGeom>
            <a:avLst/>
            <a:gdLst>
              <a:gd name="T0" fmla="*/ 28 w 160"/>
              <a:gd name="T1" fmla="*/ 35 h 159"/>
              <a:gd name="T2" fmla="*/ 136 w 160"/>
              <a:gd name="T3" fmla="*/ 24 h 159"/>
              <a:gd name="T4" fmla="*/ 123 w 160"/>
              <a:gd name="T5" fmla="*/ 27 h 159"/>
              <a:gd name="T6" fmla="*/ 136 w 160"/>
              <a:gd name="T7" fmla="*/ 32 h 159"/>
              <a:gd name="T8" fmla="*/ 128 w 160"/>
              <a:gd name="T9" fmla="*/ 29 h 159"/>
              <a:gd name="T10" fmla="*/ 117 w 160"/>
              <a:gd name="T11" fmla="*/ 29 h 159"/>
              <a:gd name="T12" fmla="*/ 104 w 160"/>
              <a:gd name="T13" fmla="*/ 24 h 159"/>
              <a:gd name="T14" fmla="*/ 107 w 160"/>
              <a:gd name="T15" fmla="*/ 35 h 159"/>
              <a:gd name="T16" fmla="*/ 88 w 160"/>
              <a:gd name="T17" fmla="*/ 24 h 159"/>
              <a:gd name="T18" fmla="*/ 96 w 160"/>
              <a:gd name="T19" fmla="*/ 29 h 159"/>
              <a:gd name="T20" fmla="*/ 28 w 160"/>
              <a:gd name="T21" fmla="*/ 85 h 159"/>
              <a:gd name="T22" fmla="*/ 16 w 160"/>
              <a:gd name="T23" fmla="*/ 129 h 159"/>
              <a:gd name="T24" fmla="*/ 28 w 160"/>
              <a:gd name="T25" fmla="*/ 123 h 159"/>
              <a:gd name="T26" fmla="*/ 12 w 160"/>
              <a:gd name="T27" fmla="*/ 0 h 159"/>
              <a:gd name="T28" fmla="*/ 5 w 160"/>
              <a:gd name="T29" fmla="*/ 104 h 159"/>
              <a:gd name="T30" fmla="*/ 160 w 160"/>
              <a:gd name="T31" fmla="*/ 142 h 159"/>
              <a:gd name="T32" fmla="*/ 160 w 160"/>
              <a:gd name="T33" fmla="*/ 92 h 159"/>
              <a:gd name="T34" fmla="*/ 160 w 160"/>
              <a:gd name="T35" fmla="*/ 44 h 159"/>
              <a:gd name="T36" fmla="*/ 59 w 160"/>
              <a:gd name="T37" fmla="*/ 67 h 159"/>
              <a:gd name="T38" fmla="*/ 12 w 160"/>
              <a:gd name="T39" fmla="*/ 101 h 159"/>
              <a:gd name="T40" fmla="*/ 70 w 160"/>
              <a:gd name="T41" fmla="*/ 80 h 159"/>
              <a:gd name="T42" fmla="*/ 77 w 160"/>
              <a:gd name="T43" fmla="*/ 83 h 159"/>
              <a:gd name="T44" fmla="*/ 86 w 160"/>
              <a:gd name="T45" fmla="*/ 85 h 159"/>
              <a:gd name="T46" fmla="*/ 96 w 160"/>
              <a:gd name="T47" fmla="*/ 87 h 159"/>
              <a:gd name="T48" fmla="*/ 106 w 160"/>
              <a:gd name="T49" fmla="*/ 87 h 159"/>
              <a:gd name="T50" fmla="*/ 116 w 160"/>
              <a:gd name="T51" fmla="*/ 87 h 159"/>
              <a:gd name="T52" fmla="*/ 126 w 160"/>
              <a:gd name="T53" fmla="*/ 86 h 159"/>
              <a:gd name="T54" fmla="*/ 136 w 160"/>
              <a:gd name="T55" fmla="*/ 85 h 159"/>
              <a:gd name="T56" fmla="*/ 144 w 160"/>
              <a:gd name="T57" fmla="*/ 82 h 159"/>
              <a:gd name="T58" fmla="*/ 151 w 160"/>
              <a:gd name="T59" fmla="*/ 79 h 159"/>
              <a:gd name="T60" fmla="*/ 155 w 160"/>
              <a:gd name="T61" fmla="*/ 91 h 159"/>
              <a:gd name="T62" fmla="*/ 153 w 160"/>
              <a:gd name="T63" fmla="*/ 95 h 159"/>
              <a:gd name="T64" fmla="*/ 65 w 160"/>
              <a:gd name="T65" fmla="*/ 94 h 159"/>
              <a:gd name="T66" fmla="*/ 64 w 160"/>
              <a:gd name="T67" fmla="*/ 77 h 159"/>
              <a:gd name="T68" fmla="*/ 153 w 160"/>
              <a:gd name="T69" fmla="*/ 119 h 159"/>
              <a:gd name="T70" fmla="*/ 65 w 160"/>
              <a:gd name="T71" fmla="*/ 118 h 159"/>
              <a:gd name="T72" fmla="*/ 64 w 160"/>
              <a:gd name="T73" fmla="*/ 114 h 159"/>
              <a:gd name="T74" fmla="*/ 68 w 160"/>
              <a:gd name="T75" fmla="*/ 103 h 159"/>
              <a:gd name="T76" fmla="*/ 102 w 160"/>
              <a:gd name="T77" fmla="*/ 111 h 159"/>
              <a:gd name="T78" fmla="*/ 117 w 160"/>
              <a:gd name="T79" fmla="*/ 111 h 159"/>
              <a:gd name="T80" fmla="*/ 153 w 160"/>
              <a:gd name="T81" fmla="*/ 102 h 159"/>
              <a:gd name="T82" fmla="*/ 155 w 160"/>
              <a:gd name="T83" fmla="*/ 117 h 159"/>
              <a:gd name="T84" fmla="*/ 59 w 160"/>
              <a:gd name="T85" fmla="*/ 107 h 159"/>
              <a:gd name="T86" fmla="*/ 59 w 160"/>
              <a:gd name="T87" fmla="*/ 143 h 159"/>
              <a:gd name="T88" fmla="*/ 66 w 160"/>
              <a:gd name="T89" fmla="*/ 150 h 159"/>
              <a:gd name="T90" fmla="*/ 109 w 160"/>
              <a:gd name="T91" fmla="*/ 154 h 159"/>
              <a:gd name="T92" fmla="*/ 64 w 160"/>
              <a:gd name="T93" fmla="*/ 140 h 159"/>
              <a:gd name="T94" fmla="*/ 68 w 160"/>
              <a:gd name="T95" fmla="*/ 127 h 159"/>
              <a:gd name="T96" fmla="*/ 104 w 160"/>
              <a:gd name="T97" fmla="*/ 135 h 159"/>
              <a:gd name="T98" fmla="*/ 119 w 160"/>
              <a:gd name="T99" fmla="*/ 135 h 159"/>
              <a:gd name="T100" fmla="*/ 154 w 160"/>
              <a:gd name="T101" fmla="*/ 125 h 159"/>
              <a:gd name="T102" fmla="*/ 64 w 160"/>
              <a:gd name="T103" fmla="*/ 67 h 159"/>
              <a:gd name="T104" fmla="*/ 74 w 160"/>
              <a:gd name="T105" fmla="*/ 59 h 159"/>
              <a:gd name="T106" fmla="*/ 129 w 160"/>
              <a:gd name="T107" fmla="*/ 55 h 159"/>
              <a:gd name="T108" fmla="*/ 135 w 160"/>
              <a:gd name="T109" fmla="*/ 51 h 159"/>
              <a:gd name="T110" fmla="*/ 84 w 160"/>
              <a:gd name="T111" fmla="*/ 51 h 159"/>
              <a:gd name="T112" fmla="*/ 148 w 160"/>
              <a:gd name="T113" fmla="*/ 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9">
                <a:moveTo>
                  <a:pt x="28" y="16"/>
                </a:moveTo>
                <a:cubicBezTo>
                  <a:pt x="21" y="16"/>
                  <a:pt x="16" y="21"/>
                  <a:pt x="16" y="28"/>
                </a:cubicBezTo>
                <a:cubicBezTo>
                  <a:pt x="16" y="35"/>
                  <a:pt x="21" y="40"/>
                  <a:pt x="28" y="40"/>
                </a:cubicBezTo>
                <a:cubicBezTo>
                  <a:pt x="35" y="40"/>
                  <a:pt x="40" y="35"/>
                  <a:pt x="40" y="28"/>
                </a:cubicBezTo>
                <a:cubicBezTo>
                  <a:pt x="40" y="21"/>
                  <a:pt x="35" y="16"/>
                  <a:pt x="28" y="16"/>
                </a:cubicBezTo>
                <a:close/>
                <a:moveTo>
                  <a:pt x="28" y="35"/>
                </a:moveTo>
                <a:cubicBezTo>
                  <a:pt x="24" y="35"/>
                  <a:pt x="21" y="32"/>
                  <a:pt x="21" y="28"/>
                </a:cubicBezTo>
                <a:cubicBezTo>
                  <a:pt x="21" y="24"/>
                  <a:pt x="24" y="21"/>
                  <a:pt x="28" y="21"/>
                </a:cubicBezTo>
                <a:cubicBezTo>
                  <a:pt x="32" y="21"/>
                  <a:pt x="35" y="24"/>
                  <a:pt x="35" y="28"/>
                </a:cubicBezTo>
                <a:cubicBezTo>
                  <a:pt x="35" y="32"/>
                  <a:pt x="32" y="35"/>
                  <a:pt x="28" y="35"/>
                </a:cubicBezTo>
                <a:close/>
                <a:moveTo>
                  <a:pt x="133" y="21"/>
                </a:moveTo>
                <a:cubicBezTo>
                  <a:pt x="135" y="21"/>
                  <a:pt x="136" y="23"/>
                  <a:pt x="136" y="24"/>
                </a:cubicBezTo>
                <a:cubicBezTo>
                  <a:pt x="136" y="25"/>
                  <a:pt x="135" y="27"/>
                  <a:pt x="133" y="27"/>
                </a:cubicBezTo>
                <a:cubicBezTo>
                  <a:pt x="132" y="27"/>
                  <a:pt x="131" y="25"/>
                  <a:pt x="131" y="24"/>
                </a:cubicBezTo>
                <a:cubicBezTo>
                  <a:pt x="131" y="23"/>
                  <a:pt x="132" y="21"/>
                  <a:pt x="133" y="21"/>
                </a:cubicBezTo>
                <a:close/>
                <a:moveTo>
                  <a:pt x="123" y="21"/>
                </a:moveTo>
                <a:cubicBezTo>
                  <a:pt x="124" y="21"/>
                  <a:pt x="125" y="23"/>
                  <a:pt x="125" y="24"/>
                </a:cubicBezTo>
                <a:cubicBezTo>
                  <a:pt x="125" y="25"/>
                  <a:pt x="124" y="27"/>
                  <a:pt x="123" y="27"/>
                </a:cubicBezTo>
                <a:cubicBezTo>
                  <a:pt x="121" y="27"/>
                  <a:pt x="120" y="25"/>
                  <a:pt x="120" y="24"/>
                </a:cubicBezTo>
                <a:cubicBezTo>
                  <a:pt x="120" y="23"/>
                  <a:pt x="121" y="21"/>
                  <a:pt x="123" y="21"/>
                </a:cubicBezTo>
                <a:close/>
                <a:moveTo>
                  <a:pt x="139" y="29"/>
                </a:moveTo>
                <a:cubicBezTo>
                  <a:pt x="140" y="29"/>
                  <a:pt x="141" y="31"/>
                  <a:pt x="141" y="32"/>
                </a:cubicBezTo>
                <a:cubicBezTo>
                  <a:pt x="141" y="33"/>
                  <a:pt x="140" y="35"/>
                  <a:pt x="139" y="35"/>
                </a:cubicBezTo>
                <a:cubicBezTo>
                  <a:pt x="137" y="35"/>
                  <a:pt x="136" y="33"/>
                  <a:pt x="136" y="32"/>
                </a:cubicBezTo>
                <a:cubicBezTo>
                  <a:pt x="136" y="31"/>
                  <a:pt x="137" y="29"/>
                  <a:pt x="139" y="29"/>
                </a:cubicBezTo>
                <a:close/>
                <a:moveTo>
                  <a:pt x="128" y="29"/>
                </a:moveTo>
                <a:cubicBezTo>
                  <a:pt x="129" y="29"/>
                  <a:pt x="131" y="31"/>
                  <a:pt x="131" y="32"/>
                </a:cubicBezTo>
                <a:cubicBezTo>
                  <a:pt x="131" y="33"/>
                  <a:pt x="129" y="35"/>
                  <a:pt x="128" y="35"/>
                </a:cubicBezTo>
                <a:cubicBezTo>
                  <a:pt x="127" y="35"/>
                  <a:pt x="125" y="33"/>
                  <a:pt x="125" y="32"/>
                </a:cubicBezTo>
                <a:cubicBezTo>
                  <a:pt x="125" y="31"/>
                  <a:pt x="127" y="29"/>
                  <a:pt x="128" y="29"/>
                </a:cubicBezTo>
                <a:close/>
                <a:moveTo>
                  <a:pt x="112" y="21"/>
                </a:moveTo>
                <a:cubicBezTo>
                  <a:pt x="113" y="21"/>
                  <a:pt x="115" y="23"/>
                  <a:pt x="115" y="24"/>
                </a:cubicBezTo>
                <a:cubicBezTo>
                  <a:pt x="115" y="25"/>
                  <a:pt x="113" y="27"/>
                  <a:pt x="112" y="27"/>
                </a:cubicBezTo>
                <a:cubicBezTo>
                  <a:pt x="111" y="27"/>
                  <a:pt x="109" y="25"/>
                  <a:pt x="109" y="24"/>
                </a:cubicBezTo>
                <a:cubicBezTo>
                  <a:pt x="109" y="23"/>
                  <a:pt x="111" y="21"/>
                  <a:pt x="112" y="21"/>
                </a:cubicBezTo>
                <a:close/>
                <a:moveTo>
                  <a:pt x="117" y="29"/>
                </a:moveTo>
                <a:cubicBezTo>
                  <a:pt x="119" y="29"/>
                  <a:pt x="120" y="31"/>
                  <a:pt x="120" y="32"/>
                </a:cubicBezTo>
                <a:cubicBezTo>
                  <a:pt x="120" y="33"/>
                  <a:pt x="119" y="35"/>
                  <a:pt x="117" y="35"/>
                </a:cubicBezTo>
                <a:cubicBezTo>
                  <a:pt x="116" y="35"/>
                  <a:pt x="115" y="33"/>
                  <a:pt x="115" y="32"/>
                </a:cubicBezTo>
                <a:cubicBezTo>
                  <a:pt x="115" y="31"/>
                  <a:pt x="116" y="29"/>
                  <a:pt x="117" y="29"/>
                </a:cubicBezTo>
                <a:close/>
                <a:moveTo>
                  <a:pt x="101" y="21"/>
                </a:moveTo>
                <a:cubicBezTo>
                  <a:pt x="103" y="21"/>
                  <a:pt x="104" y="23"/>
                  <a:pt x="104" y="24"/>
                </a:cubicBezTo>
                <a:cubicBezTo>
                  <a:pt x="104" y="25"/>
                  <a:pt x="103" y="27"/>
                  <a:pt x="101" y="27"/>
                </a:cubicBezTo>
                <a:cubicBezTo>
                  <a:pt x="100" y="27"/>
                  <a:pt x="99" y="25"/>
                  <a:pt x="99" y="24"/>
                </a:cubicBezTo>
                <a:cubicBezTo>
                  <a:pt x="99" y="23"/>
                  <a:pt x="100" y="21"/>
                  <a:pt x="101" y="21"/>
                </a:cubicBezTo>
                <a:close/>
                <a:moveTo>
                  <a:pt x="107" y="29"/>
                </a:moveTo>
                <a:cubicBezTo>
                  <a:pt x="108" y="29"/>
                  <a:pt x="109" y="31"/>
                  <a:pt x="109" y="32"/>
                </a:cubicBezTo>
                <a:cubicBezTo>
                  <a:pt x="109" y="33"/>
                  <a:pt x="108" y="35"/>
                  <a:pt x="107" y="35"/>
                </a:cubicBezTo>
                <a:cubicBezTo>
                  <a:pt x="105" y="35"/>
                  <a:pt x="104" y="33"/>
                  <a:pt x="104" y="32"/>
                </a:cubicBezTo>
                <a:cubicBezTo>
                  <a:pt x="104" y="31"/>
                  <a:pt x="105" y="29"/>
                  <a:pt x="107" y="29"/>
                </a:cubicBezTo>
                <a:close/>
                <a:moveTo>
                  <a:pt x="91" y="21"/>
                </a:moveTo>
                <a:cubicBezTo>
                  <a:pt x="92" y="21"/>
                  <a:pt x="93" y="23"/>
                  <a:pt x="93" y="24"/>
                </a:cubicBezTo>
                <a:cubicBezTo>
                  <a:pt x="93" y="25"/>
                  <a:pt x="92" y="27"/>
                  <a:pt x="91" y="27"/>
                </a:cubicBezTo>
                <a:cubicBezTo>
                  <a:pt x="89" y="27"/>
                  <a:pt x="88" y="25"/>
                  <a:pt x="88" y="24"/>
                </a:cubicBezTo>
                <a:cubicBezTo>
                  <a:pt x="88" y="23"/>
                  <a:pt x="89" y="21"/>
                  <a:pt x="91" y="21"/>
                </a:cubicBezTo>
                <a:close/>
                <a:moveTo>
                  <a:pt x="96" y="29"/>
                </a:moveTo>
                <a:cubicBezTo>
                  <a:pt x="97" y="29"/>
                  <a:pt x="99" y="31"/>
                  <a:pt x="99" y="32"/>
                </a:cubicBezTo>
                <a:cubicBezTo>
                  <a:pt x="99" y="33"/>
                  <a:pt x="97" y="35"/>
                  <a:pt x="96" y="35"/>
                </a:cubicBezTo>
                <a:cubicBezTo>
                  <a:pt x="95" y="35"/>
                  <a:pt x="93" y="33"/>
                  <a:pt x="93" y="32"/>
                </a:cubicBezTo>
                <a:cubicBezTo>
                  <a:pt x="93" y="31"/>
                  <a:pt x="95" y="29"/>
                  <a:pt x="96" y="29"/>
                </a:cubicBezTo>
                <a:close/>
                <a:moveTo>
                  <a:pt x="28" y="67"/>
                </a:moveTo>
                <a:cubicBezTo>
                  <a:pt x="21" y="67"/>
                  <a:pt x="16" y="72"/>
                  <a:pt x="16" y="79"/>
                </a:cubicBezTo>
                <a:cubicBezTo>
                  <a:pt x="16" y="85"/>
                  <a:pt x="21" y="91"/>
                  <a:pt x="28" y="91"/>
                </a:cubicBezTo>
                <a:cubicBezTo>
                  <a:pt x="35" y="91"/>
                  <a:pt x="40" y="85"/>
                  <a:pt x="40" y="79"/>
                </a:cubicBezTo>
                <a:cubicBezTo>
                  <a:pt x="40" y="72"/>
                  <a:pt x="35" y="67"/>
                  <a:pt x="28" y="67"/>
                </a:cubicBezTo>
                <a:close/>
                <a:moveTo>
                  <a:pt x="28" y="85"/>
                </a:moveTo>
                <a:cubicBezTo>
                  <a:pt x="24" y="85"/>
                  <a:pt x="21" y="82"/>
                  <a:pt x="21" y="79"/>
                </a:cubicBezTo>
                <a:cubicBezTo>
                  <a:pt x="21" y="75"/>
                  <a:pt x="24" y="72"/>
                  <a:pt x="28" y="72"/>
                </a:cubicBezTo>
                <a:cubicBezTo>
                  <a:pt x="32" y="72"/>
                  <a:pt x="35" y="75"/>
                  <a:pt x="35" y="79"/>
                </a:cubicBezTo>
                <a:cubicBezTo>
                  <a:pt x="35" y="82"/>
                  <a:pt x="32" y="85"/>
                  <a:pt x="28" y="85"/>
                </a:cubicBezTo>
                <a:close/>
                <a:moveTo>
                  <a:pt x="28" y="117"/>
                </a:moveTo>
                <a:cubicBezTo>
                  <a:pt x="21" y="117"/>
                  <a:pt x="16" y="123"/>
                  <a:pt x="16" y="129"/>
                </a:cubicBezTo>
                <a:cubicBezTo>
                  <a:pt x="16" y="136"/>
                  <a:pt x="21" y="141"/>
                  <a:pt x="28" y="141"/>
                </a:cubicBezTo>
                <a:cubicBezTo>
                  <a:pt x="35" y="141"/>
                  <a:pt x="40" y="136"/>
                  <a:pt x="40" y="129"/>
                </a:cubicBezTo>
                <a:cubicBezTo>
                  <a:pt x="40" y="123"/>
                  <a:pt x="35" y="117"/>
                  <a:pt x="28" y="117"/>
                </a:cubicBezTo>
                <a:close/>
                <a:moveTo>
                  <a:pt x="28" y="136"/>
                </a:moveTo>
                <a:cubicBezTo>
                  <a:pt x="24" y="136"/>
                  <a:pt x="21" y="133"/>
                  <a:pt x="21" y="129"/>
                </a:cubicBezTo>
                <a:cubicBezTo>
                  <a:pt x="21" y="126"/>
                  <a:pt x="24" y="123"/>
                  <a:pt x="28" y="123"/>
                </a:cubicBezTo>
                <a:cubicBezTo>
                  <a:pt x="32" y="123"/>
                  <a:pt x="35" y="126"/>
                  <a:pt x="35" y="129"/>
                </a:cubicBezTo>
                <a:cubicBezTo>
                  <a:pt x="35" y="133"/>
                  <a:pt x="32" y="136"/>
                  <a:pt x="28" y="136"/>
                </a:cubicBezTo>
                <a:close/>
                <a:moveTo>
                  <a:pt x="160" y="44"/>
                </a:moveTo>
                <a:cubicBezTo>
                  <a:pt x="160" y="12"/>
                  <a:pt x="160" y="12"/>
                  <a:pt x="160" y="12"/>
                </a:cubicBezTo>
                <a:cubicBezTo>
                  <a:pt x="160" y="6"/>
                  <a:pt x="154" y="0"/>
                  <a:pt x="148" y="0"/>
                </a:cubicBezTo>
                <a:cubicBezTo>
                  <a:pt x="12" y="0"/>
                  <a:pt x="12" y="0"/>
                  <a:pt x="12" y="0"/>
                </a:cubicBezTo>
                <a:cubicBezTo>
                  <a:pt x="6" y="0"/>
                  <a:pt x="0" y="6"/>
                  <a:pt x="0" y="12"/>
                </a:cubicBezTo>
                <a:cubicBezTo>
                  <a:pt x="0" y="44"/>
                  <a:pt x="0" y="44"/>
                  <a:pt x="0" y="44"/>
                </a:cubicBezTo>
                <a:cubicBezTo>
                  <a:pt x="0" y="48"/>
                  <a:pt x="2" y="51"/>
                  <a:pt x="5" y="53"/>
                </a:cubicBezTo>
                <a:cubicBezTo>
                  <a:pt x="2" y="56"/>
                  <a:pt x="0" y="59"/>
                  <a:pt x="0" y="63"/>
                </a:cubicBezTo>
                <a:cubicBezTo>
                  <a:pt x="0" y="94"/>
                  <a:pt x="0" y="94"/>
                  <a:pt x="0" y="94"/>
                </a:cubicBezTo>
                <a:cubicBezTo>
                  <a:pt x="0" y="98"/>
                  <a:pt x="2" y="102"/>
                  <a:pt x="5" y="104"/>
                </a:cubicBezTo>
                <a:cubicBezTo>
                  <a:pt x="2" y="106"/>
                  <a:pt x="0" y="110"/>
                  <a:pt x="0" y="114"/>
                </a:cubicBezTo>
                <a:cubicBezTo>
                  <a:pt x="0" y="145"/>
                  <a:pt x="0" y="145"/>
                  <a:pt x="0" y="145"/>
                </a:cubicBezTo>
                <a:cubicBezTo>
                  <a:pt x="0" y="152"/>
                  <a:pt x="6" y="157"/>
                  <a:pt x="12" y="157"/>
                </a:cubicBezTo>
                <a:cubicBezTo>
                  <a:pt x="87" y="157"/>
                  <a:pt x="87" y="157"/>
                  <a:pt x="87" y="157"/>
                </a:cubicBezTo>
                <a:cubicBezTo>
                  <a:pt x="94" y="159"/>
                  <a:pt x="102" y="159"/>
                  <a:pt x="109" y="159"/>
                </a:cubicBezTo>
                <a:cubicBezTo>
                  <a:pt x="132" y="159"/>
                  <a:pt x="157" y="153"/>
                  <a:pt x="160" y="142"/>
                </a:cubicBezTo>
                <a:cubicBezTo>
                  <a:pt x="160" y="142"/>
                  <a:pt x="160" y="141"/>
                  <a:pt x="160" y="141"/>
                </a:cubicBezTo>
                <a:cubicBezTo>
                  <a:pt x="160" y="117"/>
                  <a:pt x="160" y="117"/>
                  <a:pt x="160" y="117"/>
                </a:cubicBezTo>
                <a:cubicBezTo>
                  <a:pt x="160" y="116"/>
                  <a:pt x="160" y="116"/>
                  <a:pt x="160" y="116"/>
                </a:cubicBezTo>
                <a:cubicBezTo>
                  <a:pt x="160" y="115"/>
                  <a:pt x="160" y="115"/>
                  <a:pt x="160" y="115"/>
                </a:cubicBezTo>
                <a:cubicBezTo>
                  <a:pt x="160" y="93"/>
                  <a:pt x="160" y="93"/>
                  <a:pt x="160" y="93"/>
                </a:cubicBezTo>
                <a:cubicBezTo>
                  <a:pt x="160" y="92"/>
                  <a:pt x="160" y="92"/>
                  <a:pt x="160" y="92"/>
                </a:cubicBezTo>
                <a:cubicBezTo>
                  <a:pt x="160" y="91"/>
                  <a:pt x="160" y="91"/>
                  <a:pt x="160" y="91"/>
                </a:cubicBezTo>
                <a:cubicBezTo>
                  <a:pt x="160" y="68"/>
                  <a:pt x="160" y="68"/>
                  <a:pt x="160" y="68"/>
                </a:cubicBezTo>
                <a:cubicBezTo>
                  <a:pt x="160" y="67"/>
                  <a:pt x="160" y="67"/>
                  <a:pt x="160" y="67"/>
                </a:cubicBezTo>
                <a:cubicBezTo>
                  <a:pt x="160" y="66"/>
                  <a:pt x="160" y="66"/>
                  <a:pt x="160" y="66"/>
                </a:cubicBezTo>
                <a:cubicBezTo>
                  <a:pt x="159" y="62"/>
                  <a:pt x="155" y="58"/>
                  <a:pt x="150" y="56"/>
                </a:cubicBezTo>
                <a:cubicBezTo>
                  <a:pt x="156" y="55"/>
                  <a:pt x="160" y="50"/>
                  <a:pt x="160" y="44"/>
                </a:cubicBezTo>
                <a:close/>
                <a:moveTo>
                  <a:pt x="5" y="94"/>
                </a:moveTo>
                <a:cubicBezTo>
                  <a:pt x="5" y="63"/>
                  <a:pt x="5" y="63"/>
                  <a:pt x="5" y="63"/>
                </a:cubicBezTo>
                <a:cubicBezTo>
                  <a:pt x="5" y="59"/>
                  <a:pt x="8" y="56"/>
                  <a:pt x="12" y="56"/>
                </a:cubicBezTo>
                <a:cubicBezTo>
                  <a:pt x="68" y="56"/>
                  <a:pt x="68" y="56"/>
                  <a:pt x="68" y="56"/>
                </a:cubicBezTo>
                <a:cubicBezTo>
                  <a:pt x="63" y="59"/>
                  <a:pt x="60" y="62"/>
                  <a:pt x="59" y="66"/>
                </a:cubicBezTo>
                <a:cubicBezTo>
                  <a:pt x="59" y="66"/>
                  <a:pt x="59" y="66"/>
                  <a:pt x="59" y="67"/>
                </a:cubicBezTo>
                <a:cubicBezTo>
                  <a:pt x="59" y="68"/>
                  <a:pt x="59" y="68"/>
                  <a:pt x="59" y="68"/>
                </a:cubicBezTo>
                <a:cubicBezTo>
                  <a:pt x="59" y="91"/>
                  <a:pt x="59" y="91"/>
                  <a:pt x="59" y="91"/>
                </a:cubicBezTo>
                <a:cubicBezTo>
                  <a:pt x="59" y="92"/>
                  <a:pt x="59" y="92"/>
                  <a:pt x="59" y="92"/>
                </a:cubicBezTo>
                <a:cubicBezTo>
                  <a:pt x="59" y="93"/>
                  <a:pt x="59" y="93"/>
                  <a:pt x="59" y="93"/>
                </a:cubicBezTo>
                <a:cubicBezTo>
                  <a:pt x="59" y="101"/>
                  <a:pt x="59" y="101"/>
                  <a:pt x="59" y="101"/>
                </a:cubicBezTo>
                <a:cubicBezTo>
                  <a:pt x="12" y="101"/>
                  <a:pt x="12" y="101"/>
                  <a:pt x="12" y="101"/>
                </a:cubicBezTo>
                <a:cubicBezTo>
                  <a:pt x="8" y="101"/>
                  <a:pt x="5" y="98"/>
                  <a:pt x="5" y="94"/>
                </a:cubicBezTo>
                <a:close/>
                <a:moveTo>
                  <a:pt x="66" y="78"/>
                </a:moveTo>
                <a:cubicBezTo>
                  <a:pt x="66" y="78"/>
                  <a:pt x="66" y="78"/>
                  <a:pt x="66" y="78"/>
                </a:cubicBezTo>
                <a:cubicBezTo>
                  <a:pt x="67" y="79"/>
                  <a:pt x="67" y="79"/>
                  <a:pt x="68" y="79"/>
                </a:cubicBezTo>
                <a:cubicBezTo>
                  <a:pt x="68" y="79"/>
                  <a:pt x="68" y="79"/>
                  <a:pt x="68" y="79"/>
                </a:cubicBezTo>
                <a:cubicBezTo>
                  <a:pt x="69" y="80"/>
                  <a:pt x="69" y="80"/>
                  <a:pt x="70" y="80"/>
                </a:cubicBezTo>
                <a:cubicBezTo>
                  <a:pt x="70" y="80"/>
                  <a:pt x="70" y="80"/>
                  <a:pt x="70" y="80"/>
                </a:cubicBezTo>
                <a:cubicBezTo>
                  <a:pt x="71" y="81"/>
                  <a:pt x="71" y="81"/>
                  <a:pt x="72" y="81"/>
                </a:cubicBezTo>
                <a:cubicBezTo>
                  <a:pt x="72" y="81"/>
                  <a:pt x="72" y="81"/>
                  <a:pt x="73" y="81"/>
                </a:cubicBezTo>
                <a:cubicBezTo>
                  <a:pt x="73" y="82"/>
                  <a:pt x="74" y="82"/>
                  <a:pt x="75" y="82"/>
                </a:cubicBezTo>
                <a:cubicBezTo>
                  <a:pt x="75" y="82"/>
                  <a:pt x="75" y="82"/>
                  <a:pt x="75" y="82"/>
                </a:cubicBezTo>
                <a:cubicBezTo>
                  <a:pt x="76" y="83"/>
                  <a:pt x="76" y="83"/>
                  <a:pt x="77" y="83"/>
                </a:cubicBezTo>
                <a:cubicBezTo>
                  <a:pt x="77" y="83"/>
                  <a:pt x="78" y="83"/>
                  <a:pt x="78" y="83"/>
                </a:cubicBezTo>
                <a:cubicBezTo>
                  <a:pt x="79" y="83"/>
                  <a:pt x="79" y="84"/>
                  <a:pt x="80" y="84"/>
                </a:cubicBezTo>
                <a:cubicBezTo>
                  <a:pt x="80" y="84"/>
                  <a:pt x="80" y="84"/>
                  <a:pt x="80" y="84"/>
                </a:cubicBezTo>
                <a:cubicBezTo>
                  <a:pt x="81" y="84"/>
                  <a:pt x="82" y="84"/>
                  <a:pt x="83" y="85"/>
                </a:cubicBezTo>
                <a:cubicBezTo>
                  <a:pt x="83" y="85"/>
                  <a:pt x="83" y="85"/>
                  <a:pt x="84" y="85"/>
                </a:cubicBezTo>
                <a:cubicBezTo>
                  <a:pt x="84" y="85"/>
                  <a:pt x="85" y="85"/>
                  <a:pt x="86" y="85"/>
                </a:cubicBezTo>
                <a:cubicBezTo>
                  <a:pt x="86" y="85"/>
                  <a:pt x="86" y="85"/>
                  <a:pt x="86" y="85"/>
                </a:cubicBezTo>
                <a:cubicBezTo>
                  <a:pt x="87" y="85"/>
                  <a:pt x="88" y="86"/>
                  <a:pt x="89" y="86"/>
                </a:cubicBezTo>
                <a:cubicBezTo>
                  <a:pt x="89" y="86"/>
                  <a:pt x="90" y="86"/>
                  <a:pt x="90" y="86"/>
                </a:cubicBezTo>
                <a:cubicBezTo>
                  <a:pt x="91" y="86"/>
                  <a:pt x="91" y="86"/>
                  <a:pt x="92" y="86"/>
                </a:cubicBezTo>
                <a:cubicBezTo>
                  <a:pt x="92" y="86"/>
                  <a:pt x="93" y="86"/>
                  <a:pt x="93" y="86"/>
                </a:cubicBezTo>
                <a:cubicBezTo>
                  <a:pt x="94" y="86"/>
                  <a:pt x="95" y="87"/>
                  <a:pt x="96" y="87"/>
                </a:cubicBezTo>
                <a:cubicBezTo>
                  <a:pt x="96" y="87"/>
                  <a:pt x="96" y="87"/>
                  <a:pt x="96" y="87"/>
                </a:cubicBezTo>
                <a:cubicBezTo>
                  <a:pt x="97" y="87"/>
                  <a:pt x="98" y="87"/>
                  <a:pt x="99" y="87"/>
                </a:cubicBezTo>
                <a:cubicBezTo>
                  <a:pt x="99" y="87"/>
                  <a:pt x="99" y="87"/>
                  <a:pt x="100" y="87"/>
                </a:cubicBezTo>
                <a:cubicBezTo>
                  <a:pt x="101" y="87"/>
                  <a:pt x="102" y="87"/>
                  <a:pt x="103" y="87"/>
                </a:cubicBezTo>
                <a:cubicBezTo>
                  <a:pt x="103" y="87"/>
                  <a:pt x="103" y="87"/>
                  <a:pt x="103" y="87"/>
                </a:cubicBezTo>
                <a:cubicBezTo>
                  <a:pt x="104" y="87"/>
                  <a:pt x="105" y="87"/>
                  <a:pt x="106" y="87"/>
                </a:cubicBezTo>
                <a:cubicBezTo>
                  <a:pt x="106" y="87"/>
                  <a:pt x="106" y="87"/>
                  <a:pt x="106" y="87"/>
                </a:cubicBezTo>
                <a:cubicBezTo>
                  <a:pt x="107" y="87"/>
                  <a:pt x="108" y="87"/>
                  <a:pt x="109" y="87"/>
                </a:cubicBezTo>
                <a:cubicBezTo>
                  <a:pt x="110" y="87"/>
                  <a:pt x="111" y="87"/>
                  <a:pt x="112" y="87"/>
                </a:cubicBezTo>
                <a:cubicBezTo>
                  <a:pt x="113" y="87"/>
                  <a:pt x="113" y="87"/>
                  <a:pt x="113" y="87"/>
                </a:cubicBezTo>
                <a:cubicBezTo>
                  <a:pt x="114" y="87"/>
                  <a:pt x="115" y="87"/>
                  <a:pt x="116" y="87"/>
                </a:cubicBezTo>
                <a:cubicBezTo>
                  <a:pt x="116" y="87"/>
                  <a:pt x="116" y="87"/>
                  <a:pt x="116" y="87"/>
                </a:cubicBezTo>
                <a:cubicBezTo>
                  <a:pt x="117" y="87"/>
                  <a:pt x="118" y="87"/>
                  <a:pt x="119" y="87"/>
                </a:cubicBezTo>
                <a:cubicBezTo>
                  <a:pt x="119" y="87"/>
                  <a:pt x="120" y="87"/>
                  <a:pt x="120" y="87"/>
                </a:cubicBezTo>
                <a:cubicBezTo>
                  <a:pt x="121" y="87"/>
                  <a:pt x="121" y="87"/>
                  <a:pt x="122" y="87"/>
                </a:cubicBezTo>
                <a:cubicBezTo>
                  <a:pt x="122" y="87"/>
                  <a:pt x="123" y="87"/>
                  <a:pt x="123" y="87"/>
                </a:cubicBezTo>
                <a:cubicBezTo>
                  <a:pt x="124" y="87"/>
                  <a:pt x="125" y="86"/>
                  <a:pt x="126" y="86"/>
                </a:cubicBezTo>
                <a:cubicBezTo>
                  <a:pt x="126" y="86"/>
                  <a:pt x="126" y="86"/>
                  <a:pt x="126" y="86"/>
                </a:cubicBezTo>
                <a:cubicBezTo>
                  <a:pt x="127" y="86"/>
                  <a:pt x="128" y="86"/>
                  <a:pt x="129" y="86"/>
                </a:cubicBezTo>
                <a:cubicBezTo>
                  <a:pt x="129" y="86"/>
                  <a:pt x="129" y="86"/>
                  <a:pt x="129" y="86"/>
                </a:cubicBezTo>
                <a:cubicBezTo>
                  <a:pt x="130" y="86"/>
                  <a:pt x="131" y="85"/>
                  <a:pt x="132" y="85"/>
                </a:cubicBezTo>
                <a:cubicBezTo>
                  <a:pt x="132" y="85"/>
                  <a:pt x="132" y="85"/>
                  <a:pt x="133" y="85"/>
                </a:cubicBezTo>
                <a:cubicBezTo>
                  <a:pt x="133" y="85"/>
                  <a:pt x="134" y="85"/>
                  <a:pt x="135" y="85"/>
                </a:cubicBezTo>
                <a:cubicBezTo>
                  <a:pt x="135" y="85"/>
                  <a:pt x="135" y="85"/>
                  <a:pt x="136" y="85"/>
                </a:cubicBezTo>
                <a:cubicBezTo>
                  <a:pt x="137" y="84"/>
                  <a:pt x="137" y="84"/>
                  <a:pt x="138" y="84"/>
                </a:cubicBezTo>
                <a:cubicBezTo>
                  <a:pt x="138" y="84"/>
                  <a:pt x="138" y="84"/>
                  <a:pt x="138" y="84"/>
                </a:cubicBezTo>
                <a:cubicBezTo>
                  <a:pt x="139" y="84"/>
                  <a:pt x="140" y="83"/>
                  <a:pt x="141" y="83"/>
                </a:cubicBezTo>
                <a:cubicBezTo>
                  <a:pt x="141" y="83"/>
                  <a:pt x="141" y="83"/>
                  <a:pt x="141" y="83"/>
                </a:cubicBezTo>
                <a:cubicBezTo>
                  <a:pt x="142" y="83"/>
                  <a:pt x="143" y="83"/>
                  <a:pt x="144" y="82"/>
                </a:cubicBezTo>
                <a:cubicBezTo>
                  <a:pt x="144" y="82"/>
                  <a:pt x="144" y="82"/>
                  <a:pt x="144" y="82"/>
                </a:cubicBezTo>
                <a:cubicBezTo>
                  <a:pt x="145" y="82"/>
                  <a:pt x="145" y="82"/>
                  <a:pt x="146" y="81"/>
                </a:cubicBezTo>
                <a:cubicBezTo>
                  <a:pt x="146" y="81"/>
                  <a:pt x="146" y="81"/>
                  <a:pt x="147" y="81"/>
                </a:cubicBezTo>
                <a:cubicBezTo>
                  <a:pt x="147" y="81"/>
                  <a:pt x="148" y="81"/>
                  <a:pt x="148" y="80"/>
                </a:cubicBezTo>
                <a:cubicBezTo>
                  <a:pt x="149" y="80"/>
                  <a:pt x="149" y="80"/>
                  <a:pt x="149" y="80"/>
                </a:cubicBezTo>
                <a:cubicBezTo>
                  <a:pt x="149" y="80"/>
                  <a:pt x="150" y="80"/>
                  <a:pt x="151" y="79"/>
                </a:cubicBezTo>
                <a:cubicBezTo>
                  <a:pt x="151" y="79"/>
                  <a:pt x="151" y="79"/>
                  <a:pt x="151" y="79"/>
                </a:cubicBezTo>
                <a:cubicBezTo>
                  <a:pt x="152" y="79"/>
                  <a:pt x="152" y="79"/>
                  <a:pt x="153" y="78"/>
                </a:cubicBezTo>
                <a:cubicBezTo>
                  <a:pt x="153" y="78"/>
                  <a:pt x="153" y="78"/>
                  <a:pt x="153" y="78"/>
                </a:cubicBezTo>
                <a:cubicBezTo>
                  <a:pt x="154" y="78"/>
                  <a:pt x="154" y="77"/>
                  <a:pt x="155" y="77"/>
                </a:cubicBezTo>
                <a:cubicBezTo>
                  <a:pt x="155" y="77"/>
                  <a:pt x="155" y="77"/>
                  <a:pt x="155" y="77"/>
                </a:cubicBezTo>
                <a:cubicBezTo>
                  <a:pt x="155" y="90"/>
                  <a:pt x="155" y="90"/>
                  <a:pt x="155" y="90"/>
                </a:cubicBezTo>
                <a:cubicBezTo>
                  <a:pt x="155" y="90"/>
                  <a:pt x="155" y="91"/>
                  <a:pt x="155" y="91"/>
                </a:cubicBezTo>
                <a:cubicBezTo>
                  <a:pt x="155" y="91"/>
                  <a:pt x="155" y="91"/>
                  <a:pt x="155" y="92"/>
                </a:cubicBezTo>
                <a:cubicBezTo>
                  <a:pt x="155" y="92"/>
                  <a:pt x="155" y="92"/>
                  <a:pt x="155" y="93"/>
                </a:cubicBezTo>
                <a:cubicBezTo>
                  <a:pt x="154" y="93"/>
                  <a:pt x="154" y="93"/>
                  <a:pt x="154" y="93"/>
                </a:cubicBezTo>
                <a:cubicBezTo>
                  <a:pt x="154" y="93"/>
                  <a:pt x="154" y="94"/>
                  <a:pt x="154" y="94"/>
                </a:cubicBezTo>
                <a:cubicBezTo>
                  <a:pt x="154" y="94"/>
                  <a:pt x="154" y="94"/>
                  <a:pt x="154" y="94"/>
                </a:cubicBezTo>
                <a:cubicBezTo>
                  <a:pt x="153" y="95"/>
                  <a:pt x="153" y="95"/>
                  <a:pt x="153" y="95"/>
                </a:cubicBezTo>
                <a:cubicBezTo>
                  <a:pt x="153" y="95"/>
                  <a:pt x="153" y="95"/>
                  <a:pt x="153" y="96"/>
                </a:cubicBezTo>
                <a:cubicBezTo>
                  <a:pt x="147" y="101"/>
                  <a:pt x="130" y="106"/>
                  <a:pt x="109" y="106"/>
                </a:cubicBezTo>
                <a:cubicBezTo>
                  <a:pt x="88" y="106"/>
                  <a:pt x="72" y="101"/>
                  <a:pt x="66" y="96"/>
                </a:cubicBezTo>
                <a:cubicBezTo>
                  <a:pt x="66" y="95"/>
                  <a:pt x="66" y="95"/>
                  <a:pt x="66" y="95"/>
                </a:cubicBezTo>
                <a:cubicBezTo>
                  <a:pt x="66" y="95"/>
                  <a:pt x="65" y="95"/>
                  <a:pt x="65" y="94"/>
                </a:cubicBezTo>
                <a:cubicBezTo>
                  <a:pt x="65" y="94"/>
                  <a:pt x="65" y="94"/>
                  <a:pt x="65" y="94"/>
                </a:cubicBezTo>
                <a:cubicBezTo>
                  <a:pt x="65" y="94"/>
                  <a:pt x="64" y="93"/>
                  <a:pt x="64" y="93"/>
                </a:cubicBezTo>
                <a:cubicBezTo>
                  <a:pt x="64" y="93"/>
                  <a:pt x="64" y="93"/>
                  <a:pt x="64" y="93"/>
                </a:cubicBezTo>
                <a:cubicBezTo>
                  <a:pt x="64" y="92"/>
                  <a:pt x="64" y="92"/>
                  <a:pt x="64" y="92"/>
                </a:cubicBezTo>
                <a:cubicBezTo>
                  <a:pt x="64" y="91"/>
                  <a:pt x="64" y="91"/>
                  <a:pt x="64" y="91"/>
                </a:cubicBezTo>
                <a:cubicBezTo>
                  <a:pt x="64" y="91"/>
                  <a:pt x="64" y="90"/>
                  <a:pt x="64" y="90"/>
                </a:cubicBezTo>
                <a:cubicBezTo>
                  <a:pt x="64" y="77"/>
                  <a:pt x="64" y="77"/>
                  <a:pt x="64" y="77"/>
                </a:cubicBezTo>
                <a:cubicBezTo>
                  <a:pt x="64" y="77"/>
                  <a:pt x="64" y="77"/>
                  <a:pt x="64" y="77"/>
                </a:cubicBezTo>
                <a:cubicBezTo>
                  <a:pt x="65" y="77"/>
                  <a:pt x="65" y="78"/>
                  <a:pt x="66" y="78"/>
                </a:cubicBezTo>
                <a:close/>
                <a:moveTo>
                  <a:pt x="154" y="117"/>
                </a:moveTo>
                <a:cubicBezTo>
                  <a:pt x="154" y="117"/>
                  <a:pt x="154" y="118"/>
                  <a:pt x="154" y="118"/>
                </a:cubicBezTo>
                <a:cubicBezTo>
                  <a:pt x="154" y="118"/>
                  <a:pt x="154" y="118"/>
                  <a:pt x="154" y="118"/>
                </a:cubicBezTo>
                <a:cubicBezTo>
                  <a:pt x="153" y="119"/>
                  <a:pt x="153" y="119"/>
                  <a:pt x="153" y="119"/>
                </a:cubicBezTo>
                <a:cubicBezTo>
                  <a:pt x="153" y="119"/>
                  <a:pt x="153" y="119"/>
                  <a:pt x="153" y="120"/>
                </a:cubicBezTo>
                <a:cubicBezTo>
                  <a:pt x="147" y="125"/>
                  <a:pt x="130" y="130"/>
                  <a:pt x="109" y="130"/>
                </a:cubicBezTo>
                <a:cubicBezTo>
                  <a:pt x="88" y="130"/>
                  <a:pt x="72" y="125"/>
                  <a:pt x="66" y="120"/>
                </a:cubicBezTo>
                <a:cubicBezTo>
                  <a:pt x="66" y="119"/>
                  <a:pt x="66" y="119"/>
                  <a:pt x="66" y="119"/>
                </a:cubicBezTo>
                <a:cubicBezTo>
                  <a:pt x="66" y="119"/>
                  <a:pt x="65" y="119"/>
                  <a:pt x="65" y="118"/>
                </a:cubicBezTo>
                <a:cubicBezTo>
                  <a:pt x="65" y="118"/>
                  <a:pt x="65" y="118"/>
                  <a:pt x="65" y="118"/>
                </a:cubicBezTo>
                <a:cubicBezTo>
                  <a:pt x="65" y="118"/>
                  <a:pt x="64" y="117"/>
                  <a:pt x="64" y="117"/>
                </a:cubicBezTo>
                <a:cubicBezTo>
                  <a:pt x="64" y="117"/>
                  <a:pt x="64" y="117"/>
                  <a:pt x="64" y="117"/>
                </a:cubicBezTo>
                <a:cubicBezTo>
                  <a:pt x="64" y="116"/>
                  <a:pt x="64" y="116"/>
                  <a:pt x="64" y="116"/>
                </a:cubicBezTo>
                <a:cubicBezTo>
                  <a:pt x="64" y="115"/>
                  <a:pt x="64" y="115"/>
                  <a:pt x="64" y="115"/>
                </a:cubicBezTo>
                <a:cubicBezTo>
                  <a:pt x="64" y="115"/>
                  <a:pt x="64" y="115"/>
                  <a:pt x="64" y="115"/>
                </a:cubicBezTo>
                <a:cubicBezTo>
                  <a:pt x="64" y="115"/>
                  <a:pt x="64" y="115"/>
                  <a:pt x="64" y="114"/>
                </a:cubicBezTo>
                <a:cubicBezTo>
                  <a:pt x="64" y="101"/>
                  <a:pt x="64" y="101"/>
                  <a:pt x="64" y="101"/>
                </a:cubicBezTo>
                <a:cubicBezTo>
                  <a:pt x="64" y="101"/>
                  <a:pt x="64" y="101"/>
                  <a:pt x="64" y="101"/>
                </a:cubicBezTo>
                <a:cubicBezTo>
                  <a:pt x="64" y="101"/>
                  <a:pt x="64" y="101"/>
                  <a:pt x="64" y="101"/>
                </a:cubicBezTo>
                <a:cubicBezTo>
                  <a:pt x="65" y="101"/>
                  <a:pt x="65" y="102"/>
                  <a:pt x="65" y="102"/>
                </a:cubicBezTo>
                <a:cubicBezTo>
                  <a:pt x="66" y="102"/>
                  <a:pt x="66" y="102"/>
                  <a:pt x="66" y="102"/>
                </a:cubicBezTo>
                <a:cubicBezTo>
                  <a:pt x="67" y="103"/>
                  <a:pt x="67" y="103"/>
                  <a:pt x="68" y="103"/>
                </a:cubicBezTo>
                <a:cubicBezTo>
                  <a:pt x="68" y="103"/>
                  <a:pt x="68" y="103"/>
                  <a:pt x="68" y="103"/>
                </a:cubicBezTo>
                <a:cubicBezTo>
                  <a:pt x="73" y="106"/>
                  <a:pt x="81" y="108"/>
                  <a:pt x="89" y="110"/>
                </a:cubicBezTo>
                <a:cubicBezTo>
                  <a:pt x="90" y="110"/>
                  <a:pt x="90" y="110"/>
                  <a:pt x="90" y="110"/>
                </a:cubicBezTo>
                <a:cubicBezTo>
                  <a:pt x="92" y="110"/>
                  <a:pt x="95" y="111"/>
                  <a:pt x="98" y="111"/>
                </a:cubicBezTo>
                <a:cubicBezTo>
                  <a:pt x="99" y="111"/>
                  <a:pt x="99" y="111"/>
                  <a:pt x="100" y="111"/>
                </a:cubicBezTo>
                <a:cubicBezTo>
                  <a:pt x="100" y="111"/>
                  <a:pt x="101" y="111"/>
                  <a:pt x="102" y="111"/>
                </a:cubicBezTo>
                <a:cubicBezTo>
                  <a:pt x="102" y="111"/>
                  <a:pt x="103" y="111"/>
                  <a:pt x="104" y="111"/>
                </a:cubicBezTo>
                <a:cubicBezTo>
                  <a:pt x="105" y="111"/>
                  <a:pt x="105" y="111"/>
                  <a:pt x="105" y="111"/>
                </a:cubicBezTo>
                <a:cubicBezTo>
                  <a:pt x="107" y="111"/>
                  <a:pt x="108" y="111"/>
                  <a:pt x="109" y="111"/>
                </a:cubicBezTo>
                <a:cubicBezTo>
                  <a:pt x="111" y="111"/>
                  <a:pt x="112" y="111"/>
                  <a:pt x="113" y="111"/>
                </a:cubicBezTo>
                <a:cubicBezTo>
                  <a:pt x="114" y="111"/>
                  <a:pt x="114" y="111"/>
                  <a:pt x="115" y="111"/>
                </a:cubicBezTo>
                <a:cubicBezTo>
                  <a:pt x="115" y="111"/>
                  <a:pt x="116" y="111"/>
                  <a:pt x="117" y="111"/>
                </a:cubicBezTo>
                <a:cubicBezTo>
                  <a:pt x="118" y="111"/>
                  <a:pt x="118" y="111"/>
                  <a:pt x="119" y="111"/>
                </a:cubicBezTo>
                <a:cubicBezTo>
                  <a:pt x="119" y="111"/>
                  <a:pt x="120" y="111"/>
                  <a:pt x="121" y="111"/>
                </a:cubicBezTo>
                <a:cubicBezTo>
                  <a:pt x="124" y="111"/>
                  <a:pt x="126" y="110"/>
                  <a:pt x="129" y="110"/>
                </a:cubicBezTo>
                <a:cubicBezTo>
                  <a:pt x="129" y="110"/>
                  <a:pt x="129" y="110"/>
                  <a:pt x="129" y="110"/>
                </a:cubicBezTo>
                <a:cubicBezTo>
                  <a:pt x="138" y="108"/>
                  <a:pt x="147" y="106"/>
                  <a:pt x="152" y="102"/>
                </a:cubicBezTo>
                <a:cubicBezTo>
                  <a:pt x="153" y="102"/>
                  <a:pt x="153" y="102"/>
                  <a:pt x="153" y="102"/>
                </a:cubicBezTo>
                <a:cubicBezTo>
                  <a:pt x="154" y="102"/>
                  <a:pt x="154" y="101"/>
                  <a:pt x="154" y="101"/>
                </a:cubicBezTo>
                <a:cubicBezTo>
                  <a:pt x="154" y="101"/>
                  <a:pt x="155" y="101"/>
                  <a:pt x="155" y="101"/>
                </a:cubicBezTo>
                <a:cubicBezTo>
                  <a:pt x="155" y="114"/>
                  <a:pt x="155" y="114"/>
                  <a:pt x="155" y="114"/>
                </a:cubicBezTo>
                <a:cubicBezTo>
                  <a:pt x="155" y="114"/>
                  <a:pt x="155" y="115"/>
                  <a:pt x="155" y="115"/>
                </a:cubicBezTo>
                <a:cubicBezTo>
                  <a:pt x="155" y="115"/>
                  <a:pt x="155" y="115"/>
                  <a:pt x="155" y="116"/>
                </a:cubicBezTo>
                <a:cubicBezTo>
                  <a:pt x="155" y="116"/>
                  <a:pt x="155" y="116"/>
                  <a:pt x="155" y="117"/>
                </a:cubicBezTo>
                <a:cubicBezTo>
                  <a:pt x="154" y="117"/>
                  <a:pt x="154" y="117"/>
                  <a:pt x="154" y="117"/>
                </a:cubicBezTo>
                <a:close/>
                <a:moveTo>
                  <a:pt x="12" y="152"/>
                </a:moveTo>
                <a:cubicBezTo>
                  <a:pt x="8" y="152"/>
                  <a:pt x="5" y="149"/>
                  <a:pt x="5" y="145"/>
                </a:cubicBezTo>
                <a:cubicBezTo>
                  <a:pt x="5" y="114"/>
                  <a:pt x="5" y="114"/>
                  <a:pt x="5" y="114"/>
                </a:cubicBezTo>
                <a:cubicBezTo>
                  <a:pt x="5" y="110"/>
                  <a:pt x="8" y="107"/>
                  <a:pt x="12" y="107"/>
                </a:cubicBezTo>
                <a:cubicBezTo>
                  <a:pt x="59" y="107"/>
                  <a:pt x="59" y="107"/>
                  <a:pt x="59" y="107"/>
                </a:cubicBezTo>
                <a:cubicBezTo>
                  <a:pt x="59" y="115"/>
                  <a:pt x="59" y="115"/>
                  <a:pt x="59" y="115"/>
                </a:cubicBezTo>
                <a:cubicBezTo>
                  <a:pt x="59" y="116"/>
                  <a:pt x="59" y="116"/>
                  <a:pt x="59" y="116"/>
                </a:cubicBezTo>
                <a:cubicBezTo>
                  <a:pt x="59" y="117"/>
                  <a:pt x="59" y="117"/>
                  <a:pt x="59" y="117"/>
                </a:cubicBezTo>
                <a:cubicBezTo>
                  <a:pt x="59" y="141"/>
                  <a:pt x="59" y="141"/>
                  <a:pt x="59" y="141"/>
                </a:cubicBezTo>
                <a:cubicBezTo>
                  <a:pt x="59" y="143"/>
                  <a:pt x="59" y="143"/>
                  <a:pt x="59" y="143"/>
                </a:cubicBezTo>
                <a:cubicBezTo>
                  <a:pt x="59" y="143"/>
                  <a:pt x="59" y="143"/>
                  <a:pt x="59" y="143"/>
                </a:cubicBezTo>
                <a:cubicBezTo>
                  <a:pt x="60" y="143"/>
                  <a:pt x="60" y="144"/>
                  <a:pt x="60" y="144"/>
                </a:cubicBezTo>
                <a:cubicBezTo>
                  <a:pt x="60" y="144"/>
                  <a:pt x="60" y="144"/>
                  <a:pt x="60" y="144"/>
                </a:cubicBezTo>
                <a:cubicBezTo>
                  <a:pt x="60" y="145"/>
                  <a:pt x="60" y="145"/>
                  <a:pt x="61" y="145"/>
                </a:cubicBezTo>
                <a:cubicBezTo>
                  <a:pt x="61" y="146"/>
                  <a:pt x="61" y="146"/>
                  <a:pt x="62" y="147"/>
                </a:cubicBezTo>
                <a:cubicBezTo>
                  <a:pt x="62" y="147"/>
                  <a:pt x="62" y="147"/>
                  <a:pt x="62" y="147"/>
                </a:cubicBezTo>
                <a:cubicBezTo>
                  <a:pt x="63" y="148"/>
                  <a:pt x="64" y="149"/>
                  <a:pt x="66" y="150"/>
                </a:cubicBezTo>
                <a:cubicBezTo>
                  <a:pt x="66" y="150"/>
                  <a:pt x="66" y="150"/>
                  <a:pt x="66" y="150"/>
                </a:cubicBezTo>
                <a:cubicBezTo>
                  <a:pt x="67" y="151"/>
                  <a:pt x="68" y="151"/>
                  <a:pt x="69" y="152"/>
                </a:cubicBezTo>
                <a:cubicBezTo>
                  <a:pt x="12" y="152"/>
                  <a:pt x="12" y="152"/>
                  <a:pt x="12" y="152"/>
                </a:cubicBezTo>
                <a:close/>
                <a:moveTo>
                  <a:pt x="155" y="140"/>
                </a:moveTo>
                <a:cubicBezTo>
                  <a:pt x="155" y="140"/>
                  <a:pt x="155" y="140"/>
                  <a:pt x="155" y="140"/>
                </a:cubicBezTo>
                <a:cubicBezTo>
                  <a:pt x="154" y="147"/>
                  <a:pt x="135" y="154"/>
                  <a:pt x="109" y="154"/>
                </a:cubicBezTo>
                <a:cubicBezTo>
                  <a:pt x="101" y="154"/>
                  <a:pt x="94" y="153"/>
                  <a:pt x="87" y="152"/>
                </a:cubicBezTo>
                <a:cubicBezTo>
                  <a:pt x="87" y="152"/>
                  <a:pt x="87" y="152"/>
                  <a:pt x="87" y="152"/>
                </a:cubicBezTo>
                <a:cubicBezTo>
                  <a:pt x="74" y="150"/>
                  <a:pt x="67" y="145"/>
                  <a:pt x="65" y="142"/>
                </a:cubicBezTo>
                <a:cubicBezTo>
                  <a:pt x="65" y="142"/>
                  <a:pt x="65" y="142"/>
                  <a:pt x="65" y="142"/>
                </a:cubicBezTo>
                <a:cubicBezTo>
                  <a:pt x="65" y="142"/>
                  <a:pt x="64" y="141"/>
                  <a:pt x="64" y="141"/>
                </a:cubicBezTo>
                <a:cubicBezTo>
                  <a:pt x="64" y="141"/>
                  <a:pt x="64" y="141"/>
                  <a:pt x="64" y="140"/>
                </a:cubicBezTo>
                <a:cubicBezTo>
                  <a:pt x="64" y="125"/>
                  <a:pt x="64" y="125"/>
                  <a:pt x="64" y="125"/>
                </a:cubicBezTo>
                <a:cubicBezTo>
                  <a:pt x="64" y="125"/>
                  <a:pt x="64" y="125"/>
                  <a:pt x="64" y="125"/>
                </a:cubicBezTo>
                <a:cubicBezTo>
                  <a:pt x="65" y="125"/>
                  <a:pt x="65" y="126"/>
                  <a:pt x="65" y="126"/>
                </a:cubicBezTo>
                <a:cubicBezTo>
                  <a:pt x="66" y="126"/>
                  <a:pt x="66" y="126"/>
                  <a:pt x="66" y="126"/>
                </a:cubicBezTo>
                <a:cubicBezTo>
                  <a:pt x="67" y="127"/>
                  <a:pt x="67" y="127"/>
                  <a:pt x="68" y="127"/>
                </a:cubicBezTo>
                <a:cubicBezTo>
                  <a:pt x="68" y="127"/>
                  <a:pt x="68" y="127"/>
                  <a:pt x="68" y="127"/>
                </a:cubicBezTo>
                <a:cubicBezTo>
                  <a:pt x="73" y="130"/>
                  <a:pt x="81" y="132"/>
                  <a:pt x="89" y="134"/>
                </a:cubicBezTo>
                <a:cubicBezTo>
                  <a:pt x="90" y="134"/>
                  <a:pt x="90" y="134"/>
                  <a:pt x="90" y="134"/>
                </a:cubicBezTo>
                <a:cubicBezTo>
                  <a:pt x="92" y="134"/>
                  <a:pt x="95" y="135"/>
                  <a:pt x="98" y="135"/>
                </a:cubicBezTo>
                <a:cubicBezTo>
                  <a:pt x="99" y="135"/>
                  <a:pt x="99" y="135"/>
                  <a:pt x="100" y="135"/>
                </a:cubicBezTo>
                <a:cubicBezTo>
                  <a:pt x="100" y="135"/>
                  <a:pt x="101" y="135"/>
                  <a:pt x="102" y="135"/>
                </a:cubicBezTo>
                <a:cubicBezTo>
                  <a:pt x="102" y="135"/>
                  <a:pt x="103" y="135"/>
                  <a:pt x="104" y="135"/>
                </a:cubicBezTo>
                <a:cubicBezTo>
                  <a:pt x="105" y="135"/>
                  <a:pt x="105" y="135"/>
                  <a:pt x="105" y="135"/>
                </a:cubicBezTo>
                <a:cubicBezTo>
                  <a:pt x="107" y="135"/>
                  <a:pt x="108" y="135"/>
                  <a:pt x="109" y="135"/>
                </a:cubicBezTo>
                <a:cubicBezTo>
                  <a:pt x="111" y="135"/>
                  <a:pt x="112" y="135"/>
                  <a:pt x="113" y="135"/>
                </a:cubicBezTo>
                <a:cubicBezTo>
                  <a:pt x="114" y="135"/>
                  <a:pt x="114" y="135"/>
                  <a:pt x="115" y="135"/>
                </a:cubicBezTo>
                <a:cubicBezTo>
                  <a:pt x="115" y="135"/>
                  <a:pt x="116" y="135"/>
                  <a:pt x="117" y="135"/>
                </a:cubicBezTo>
                <a:cubicBezTo>
                  <a:pt x="118" y="135"/>
                  <a:pt x="118" y="135"/>
                  <a:pt x="119" y="135"/>
                </a:cubicBezTo>
                <a:cubicBezTo>
                  <a:pt x="119" y="135"/>
                  <a:pt x="120" y="135"/>
                  <a:pt x="121" y="135"/>
                </a:cubicBezTo>
                <a:cubicBezTo>
                  <a:pt x="123" y="135"/>
                  <a:pt x="126" y="134"/>
                  <a:pt x="129" y="134"/>
                </a:cubicBezTo>
                <a:cubicBezTo>
                  <a:pt x="129" y="134"/>
                  <a:pt x="129" y="134"/>
                  <a:pt x="129" y="134"/>
                </a:cubicBezTo>
                <a:cubicBezTo>
                  <a:pt x="138" y="132"/>
                  <a:pt x="147" y="130"/>
                  <a:pt x="152" y="126"/>
                </a:cubicBezTo>
                <a:cubicBezTo>
                  <a:pt x="153" y="126"/>
                  <a:pt x="153" y="126"/>
                  <a:pt x="153" y="126"/>
                </a:cubicBezTo>
                <a:cubicBezTo>
                  <a:pt x="154" y="126"/>
                  <a:pt x="154" y="125"/>
                  <a:pt x="154" y="125"/>
                </a:cubicBezTo>
                <a:cubicBezTo>
                  <a:pt x="154" y="125"/>
                  <a:pt x="155" y="125"/>
                  <a:pt x="155" y="125"/>
                </a:cubicBezTo>
                <a:cubicBezTo>
                  <a:pt x="155" y="140"/>
                  <a:pt x="155" y="140"/>
                  <a:pt x="155" y="140"/>
                </a:cubicBezTo>
                <a:close/>
                <a:moveTo>
                  <a:pt x="155" y="68"/>
                </a:moveTo>
                <a:cubicBezTo>
                  <a:pt x="155" y="74"/>
                  <a:pt x="135" y="82"/>
                  <a:pt x="109" y="82"/>
                </a:cubicBezTo>
                <a:cubicBezTo>
                  <a:pt x="83" y="82"/>
                  <a:pt x="64" y="74"/>
                  <a:pt x="64" y="68"/>
                </a:cubicBezTo>
                <a:cubicBezTo>
                  <a:pt x="64" y="67"/>
                  <a:pt x="64" y="67"/>
                  <a:pt x="64" y="67"/>
                </a:cubicBezTo>
                <a:cubicBezTo>
                  <a:pt x="64" y="66"/>
                  <a:pt x="64" y="66"/>
                  <a:pt x="65" y="66"/>
                </a:cubicBezTo>
                <a:cubicBezTo>
                  <a:pt x="65" y="66"/>
                  <a:pt x="65" y="66"/>
                  <a:pt x="65" y="66"/>
                </a:cubicBezTo>
                <a:cubicBezTo>
                  <a:pt x="66" y="64"/>
                  <a:pt x="67" y="62"/>
                  <a:pt x="70" y="61"/>
                </a:cubicBezTo>
                <a:cubicBezTo>
                  <a:pt x="70" y="61"/>
                  <a:pt x="70" y="61"/>
                  <a:pt x="70" y="61"/>
                </a:cubicBezTo>
                <a:cubicBezTo>
                  <a:pt x="71" y="60"/>
                  <a:pt x="71" y="60"/>
                  <a:pt x="72" y="60"/>
                </a:cubicBezTo>
                <a:cubicBezTo>
                  <a:pt x="73" y="60"/>
                  <a:pt x="73" y="59"/>
                  <a:pt x="74" y="59"/>
                </a:cubicBezTo>
                <a:cubicBezTo>
                  <a:pt x="74" y="59"/>
                  <a:pt x="74" y="59"/>
                  <a:pt x="74" y="59"/>
                </a:cubicBezTo>
                <a:cubicBezTo>
                  <a:pt x="77" y="58"/>
                  <a:pt x="81" y="57"/>
                  <a:pt x="85" y="56"/>
                </a:cubicBezTo>
                <a:cubicBezTo>
                  <a:pt x="87" y="55"/>
                  <a:pt x="88" y="55"/>
                  <a:pt x="89" y="55"/>
                </a:cubicBezTo>
                <a:cubicBezTo>
                  <a:pt x="90" y="55"/>
                  <a:pt x="90" y="55"/>
                  <a:pt x="90" y="55"/>
                </a:cubicBezTo>
                <a:cubicBezTo>
                  <a:pt x="102" y="53"/>
                  <a:pt x="116" y="53"/>
                  <a:pt x="128" y="55"/>
                </a:cubicBezTo>
                <a:cubicBezTo>
                  <a:pt x="129" y="55"/>
                  <a:pt x="129" y="55"/>
                  <a:pt x="129" y="55"/>
                </a:cubicBezTo>
                <a:cubicBezTo>
                  <a:pt x="131" y="55"/>
                  <a:pt x="132" y="55"/>
                  <a:pt x="133" y="56"/>
                </a:cubicBezTo>
                <a:cubicBezTo>
                  <a:pt x="146" y="58"/>
                  <a:pt x="155" y="63"/>
                  <a:pt x="155" y="68"/>
                </a:cubicBezTo>
                <a:close/>
                <a:moveTo>
                  <a:pt x="155" y="44"/>
                </a:moveTo>
                <a:cubicBezTo>
                  <a:pt x="155" y="48"/>
                  <a:pt x="152" y="51"/>
                  <a:pt x="148" y="51"/>
                </a:cubicBezTo>
                <a:cubicBezTo>
                  <a:pt x="135" y="51"/>
                  <a:pt x="135" y="51"/>
                  <a:pt x="135" y="51"/>
                </a:cubicBezTo>
                <a:cubicBezTo>
                  <a:pt x="135" y="51"/>
                  <a:pt x="135" y="51"/>
                  <a:pt x="135" y="51"/>
                </a:cubicBezTo>
                <a:cubicBezTo>
                  <a:pt x="133" y="50"/>
                  <a:pt x="131" y="50"/>
                  <a:pt x="129" y="50"/>
                </a:cubicBezTo>
                <a:cubicBezTo>
                  <a:pt x="129" y="50"/>
                  <a:pt x="129" y="50"/>
                  <a:pt x="129" y="49"/>
                </a:cubicBezTo>
                <a:cubicBezTo>
                  <a:pt x="123" y="49"/>
                  <a:pt x="116" y="48"/>
                  <a:pt x="109" y="48"/>
                </a:cubicBezTo>
                <a:cubicBezTo>
                  <a:pt x="103" y="48"/>
                  <a:pt x="96" y="49"/>
                  <a:pt x="90" y="49"/>
                </a:cubicBezTo>
                <a:cubicBezTo>
                  <a:pt x="90" y="50"/>
                  <a:pt x="89" y="50"/>
                  <a:pt x="89" y="50"/>
                </a:cubicBezTo>
                <a:cubicBezTo>
                  <a:pt x="87" y="50"/>
                  <a:pt x="86" y="50"/>
                  <a:pt x="84" y="51"/>
                </a:cubicBezTo>
                <a:cubicBezTo>
                  <a:pt x="84" y="51"/>
                  <a:pt x="83" y="51"/>
                  <a:pt x="83" y="51"/>
                </a:cubicBezTo>
                <a:cubicBezTo>
                  <a:pt x="12" y="51"/>
                  <a:pt x="12" y="51"/>
                  <a:pt x="12" y="51"/>
                </a:cubicBezTo>
                <a:cubicBezTo>
                  <a:pt x="8" y="51"/>
                  <a:pt x="5" y="48"/>
                  <a:pt x="5" y="44"/>
                </a:cubicBezTo>
                <a:cubicBezTo>
                  <a:pt x="5" y="12"/>
                  <a:pt x="5" y="12"/>
                  <a:pt x="5" y="12"/>
                </a:cubicBezTo>
                <a:cubicBezTo>
                  <a:pt x="5" y="8"/>
                  <a:pt x="8" y="5"/>
                  <a:pt x="12" y="5"/>
                </a:cubicBezTo>
                <a:cubicBezTo>
                  <a:pt x="148" y="5"/>
                  <a:pt x="148" y="5"/>
                  <a:pt x="148" y="5"/>
                </a:cubicBezTo>
                <a:cubicBezTo>
                  <a:pt x="152" y="5"/>
                  <a:pt x="155" y="8"/>
                  <a:pt x="155" y="12"/>
                </a:cubicBezTo>
                <a:lnTo>
                  <a:pt x="155" y="44"/>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0" name="Freeform 1137">
            <a:extLst>
              <a:ext uri="{FF2B5EF4-FFF2-40B4-BE49-F238E27FC236}">
                <a16:creationId xmlns:a16="http://schemas.microsoft.com/office/drawing/2014/main" id="{9C70385C-CB02-9D45-B96F-0FB0059CBEE5}"/>
              </a:ext>
            </a:extLst>
          </p:cNvPr>
          <p:cNvSpPr>
            <a:spLocks noEditPoints="1"/>
          </p:cNvSpPr>
          <p:nvPr/>
        </p:nvSpPr>
        <p:spPr bwMode="auto">
          <a:xfrm>
            <a:off x="7265870" y="4714875"/>
            <a:ext cx="546100" cy="495300"/>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1138">
            <a:extLst>
              <a:ext uri="{FF2B5EF4-FFF2-40B4-BE49-F238E27FC236}">
                <a16:creationId xmlns:a16="http://schemas.microsoft.com/office/drawing/2014/main" id="{0A472831-2E4D-AF45-8108-CD56C54AFAF1}"/>
              </a:ext>
            </a:extLst>
          </p:cNvPr>
          <p:cNvSpPr>
            <a:spLocks noEditPoints="1"/>
          </p:cNvSpPr>
          <p:nvPr/>
        </p:nvSpPr>
        <p:spPr bwMode="auto">
          <a:xfrm>
            <a:off x="7321433" y="5319713"/>
            <a:ext cx="425450" cy="550863"/>
          </a:xfrm>
          <a:custGeom>
            <a:avLst/>
            <a:gdLst>
              <a:gd name="T0" fmla="*/ 0 w 125"/>
              <a:gd name="T1" fmla="*/ 160 h 160"/>
              <a:gd name="T2" fmla="*/ 86 w 125"/>
              <a:gd name="T3" fmla="*/ 0 h 160"/>
              <a:gd name="T4" fmla="*/ 88 w 125"/>
              <a:gd name="T5" fmla="*/ 37 h 160"/>
              <a:gd name="T6" fmla="*/ 5 w 125"/>
              <a:gd name="T7" fmla="*/ 5 h 160"/>
              <a:gd name="T8" fmla="*/ 120 w 125"/>
              <a:gd name="T9" fmla="*/ 43 h 160"/>
              <a:gd name="T10" fmla="*/ 24 w 125"/>
              <a:gd name="T11" fmla="*/ 43 h 160"/>
              <a:gd name="T12" fmla="*/ 53 w 125"/>
              <a:gd name="T13" fmla="*/ 43 h 160"/>
              <a:gd name="T14" fmla="*/ 24 w 125"/>
              <a:gd name="T15" fmla="*/ 43 h 160"/>
              <a:gd name="T16" fmla="*/ 40 w 125"/>
              <a:gd name="T17" fmla="*/ 61 h 160"/>
              <a:gd name="T18" fmla="*/ 27 w 125"/>
              <a:gd name="T19" fmla="*/ 67 h 160"/>
              <a:gd name="T20" fmla="*/ 67 w 125"/>
              <a:gd name="T21" fmla="*/ 61 h 160"/>
              <a:gd name="T22" fmla="*/ 85 w 125"/>
              <a:gd name="T23" fmla="*/ 67 h 160"/>
              <a:gd name="T24" fmla="*/ 55 w 125"/>
              <a:gd name="T25" fmla="*/ 62 h 160"/>
              <a:gd name="T26" fmla="*/ 53 w 125"/>
              <a:gd name="T27" fmla="*/ 67 h 160"/>
              <a:gd name="T28" fmla="*/ 51 w 125"/>
              <a:gd name="T29" fmla="*/ 62 h 160"/>
              <a:gd name="T30" fmla="*/ 96 w 125"/>
              <a:gd name="T31" fmla="*/ 64 h 160"/>
              <a:gd name="T32" fmla="*/ 101 w 125"/>
              <a:gd name="T33" fmla="*/ 64 h 160"/>
              <a:gd name="T34" fmla="*/ 97 w 125"/>
              <a:gd name="T35" fmla="*/ 66 h 160"/>
              <a:gd name="T36" fmla="*/ 40 w 125"/>
              <a:gd name="T37" fmla="*/ 88 h 160"/>
              <a:gd name="T38" fmla="*/ 59 w 125"/>
              <a:gd name="T39" fmla="*/ 83 h 160"/>
              <a:gd name="T40" fmla="*/ 24 w 125"/>
              <a:gd name="T41" fmla="*/ 85 h 160"/>
              <a:gd name="T42" fmla="*/ 29 w 125"/>
              <a:gd name="T43" fmla="*/ 85 h 160"/>
              <a:gd name="T44" fmla="*/ 25 w 125"/>
              <a:gd name="T45" fmla="*/ 87 h 160"/>
              <a:gd name="T46" fmla="*/ 27 w 125"/>
              <a:gd name="T47" fmla="*/ 129 h 160"/>
              <a:gd name="T48" fmla="*/ 27 w 125"/>
              <a:gd name="T49" fmla="*/ 122 h 160"/>
              <a:gd name="T50" fmla="*/ 60 w 125"/>
              <a:gd name="T51" fmla="*/ 121 h 160"/>
              <a:gd name="T52" fmla="*/ 45 w 125"/>
              <a:gd name="T53" fmla="*/ 126 h 160"/>
              <a:gd name="T54" fmla="*/ 53 w 125"/>
              <a:gd name="T55" fmla="*/ 118 h 160"/>
              <a:gd name="T56" fmla="*/ 106 w 125"/>
              <a:gd name="T57" fmla="*/ 91 h 160"/>
              <a:gd name="T58" fmla="*/ 97 w 125"/>
              <a:gd name="T59" fmla="*/ 80 h 160"/>
              <a:gd name="T60" fmla="*/ 88 w 125"/>
              <a:gd name="T61" fmla="*/ 75 h 160"/>
              <a:gd name="T62" fmla="*/ 79 w 125"/>
              <a:gd name="T63" fmla="*/ 80 h 160"/>
              <a:gd name="T64" fmla="*/ 70 w 125"/>
              <a:gd name="T65" fmla="*/ 91 h 160"/>
              <a:gd name="T66" fmla="*/ 69 w 125"/>
              <a:gd name="T67" fmla="*/ 105 h 160"/>
              <a:gd name="T68" fmla="*/ 71 w 125"/>
              <a:gd name="T69" fmla="*/ 116 h 160"/>
              <a:gd name="T70" fmla="*/ 88 w 125"/>
              <a:gd name="T71" fmla="*/ 137 h 160"/>
              <a:gd name="T72" fmla="*/ 105 w 125"/>
              <a:gd name="T73" fmla="*/ 116 h 160"/>
              <a:gd name="T74" fmla="*/ 107 w 125"/>
              <a:gd name="T75" fmla="*/ 105 h 160"/>
              <a:gd name="T76" fmla="*/ 88 w 125"/>
              <a:gd name="T77" fmla="*/ 130 h 160"/>
              <a:gd name="T78" fmla="*/ 80 w 125"/>
              <a:gd name="T79" fmla="*/ 117 h 160"/>
              <a:gd name="T80" fmla="*/ 81 w 125"/>
              <a:gd name="T81" fmla="*/ 118 h 160"/>
              <a:gd name="T82" fmla="*/ 95 w 125"/>
              <a:gd name="T83" fmla="*/ 117 h 160"/>
              <a:gd name="T84" fmla="*/ 96 w 125"/>
              <a:gd name="T85" fmla="*/ 117 h 160"/>
              <a:gd name="T86" fmla="*/ 106 w 125"/>
              <a:gd name="T87" fmla="*/ 100 h 160"/>
              <a:gd name="T88" fmla="*/ 101 w 125"/>
              <a:gd name="T89" fmla="*/ 112 h 160"/>
              <a:gd name="T90" fmla="*/ 98 w 125"/>
              <a:gd name="T91" fmla="*/ 112 h 160"/>
              <a:gd name="T92" fmla="*/ 96 w 125"/>
              <a:gd name="T93" fmla="*/ 112 h 160"/>
              <a:gd name="T94" fmla="*/ 94 w 125"/>
              <a:gd name="T95" fmla="*/ 112 h 160"/>
              <a:gd name="T96" fmla="*/ 93 w 125"/>
              <a:gd name="T97" fmla="*/ 112 h 160"/>
              <a:gd name="T98" fmla="*/ 91 w 125"/>
              <a:gd name="T99" fmla="*/ 114 h 160"/>
              <a:gd name="T100" fmla="*/ 86 w 125"/>
              <a:gd name="T101" fmla="*/ 116 h 160"/>
              <a:gd name="T102" fmla="*/ 84 w 125"/>
              <a:gd name="T103" fmla="*/ 113 h 160"/>
              <a:gd name="T104" fmla="*/ 82 w 125"/>
              <a:gd name="T105" fmla="*/ 112 h 160"/>
              <a:gd name="T106" fmla="*/ 81 w 125"/>
              <a:gd name="T107" fmla="*/ 112 h 160"/>
              <a:gd name="T108" fmla="*/ 80 w 125"/>
              <a:gd name="T109" fmla="*/ 112 h 160"/>
              <a:gd name="T110" fmla="*/ 75 w 125"/>
              <a:gd name="T111" fmla="*/ 112 h 160"/>
              <a:gd name="T112" fmla="*/ 70 w 125"/>
              <a:gd name="T113" fmla="*/ 100 h 160"/>
              <a:gd name="T114" fmla="*/ 75 w 125"/>
              <a:gd name="T115" fmla="*/ 93 h 160"/>
              <a:gd name="T116" fmla="*/ 77 w 125"/>
              <a:gd name="T117" fmla="*/ 85 h 160"/>
              <a:gd name="T118" fmla="*/ 88 w 125"/>
              <a:gd name="T119" fmla="*/ 80 h 160"/>
              <a:gd name="T120" fmla="*/ 99 w 125"/>
              <a:gd name="T121" fmla="*/ 85 h 160"/>
              <a:gd name="T122" fmla="*/ 101 w 125"/>
              <a:gd name="T123" fmla="*/ 93 h 160"/>
              <a:gd name="T124" fmla="*/ 106 w 125"/>
              <a:gd name="T125" fmla="*/ 10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 h="160">
                <a:moveTo>
                  <a:pt x="86" y="0"/>
                </a:moveTo>
                <a:cubicBezTo>
                  <a:pt x="0" y="0"/>
                  <a:pt x="0" y="0"/>
                  <a:pt x="0" y="0"/>
                </a:cubicBezTo>
                <a:cubicBezTo>
                  <a:pt x="0" y="160"/>
                  <a:pt x="0" y="160"/>
                  <a:pt x="0" y="160"/>
                </a:cubicBezTo>
                <a:cubicBezTo>
                  <a:pt x="125" y="160"/>
                  <a:pt x="125" y="160"/>
                  <a:pt x="125" y="160"/>
                </a:cubicBezTo>
                <a:cubicBezTo>
                  <a:pt x="125" y="39"/>
                  <a:pt x="125" y="39"/>
                  <a:pt x="125" y="39"/>
                </a:cubicBezTo>
                <a:lnTo>
                  <a:pt x="86" y="0"/>
                </a:lnTo>
                <a:close/>
                <a:moveTo>
                  <a:pt x="88" y="9"/>
                </a:moveTo>
                <a:cubicBezTo>
                  <a:pt x="116" y="37"/>
                  <a:pt x="116" y="37"/>
                  <a:pt x="116" y="37"/>
                </a:cubicBezTo>
                <a:cubicBezTo>
                  <a:pt x="88" y="37"/>
                  <a:pt x="88" y="37"/>
                  <a:pt x="88" y="37"/>
                </a:cubicBezTo>
                <a:lnTo>
                  <a:pt x="88" y="9"/>
                </a:lnTo>
                <a:close/>
                <a:moveTo>
                  <a:pt x="5" y="155"/>
                </a:moveTo>
                <a:cubicBezTo>
                  <a:pt x="5" y="5"/>
                  <a:pt x="5" y="5"/>
                  <a:pt x="5" y="5"/>
                </a:cubicBezTo>
                <a:cubicBezTo>
                  <a:pt x="83" y="5"/>
                  <a:pt x="83" y="5"/>
                  <a:pt x="83" y="5"/>
                </a:cubicBezTo>
                <a:cubicBezTo>
                  <a:pt x="83" y="43"/>
                  <a:pt x="83" y="43"/>
                  <a:pt x="83" y="43"/>
                </a:cubicBezTo>
                <a:cubicBezTo>
                  <a:pt x="120" y="43"/>
                  <a:pt x="120" y="43"/>
                  <a:pt x="120" y="43"/>
                </a:cubicBezTo>
                <a:cubicBezTo>
                  <a:pt x="120" y="155"/>
                  <a:pt x="120" y="155"/>
                  <a:pt x="120" y="155"/>
                </a:cubicBezTo>
                <a:lnTo>
                  <a:pt x="5" y="155"/>
                </a:lnTo>
                <a:close/>
                <a:moveTo>
                  <a:pt x="24" y="43"/>
                </a:moveTo>
                <a:cubicBezTo>
                  <a:pt x="24" y="41"/>
                  <a:pt x="25" y="40"/>
                  <a:pt x="27" y="40"/>
                </a:cubicBezTo>
                <a:cubicBezTo>
                  <a:pt x="51" y="40"/>
                  <a:pt x="51" y="40"/>
                  <a:pt x="51" y="40"/>
                </a:cubicBezTo>
                <a:cubicBezTo>
                  <a:pt x="52" y="40"/>
                  <a:pt x="53" y="41"/>
                  <a:pt x="53" y="43"/>
                </a:cubicBezTo>
                <a:cubicBezTo>
                  <a:pt x="53" y="44"/>
                  <a:pt x="52" y="45"/>
                  <a:pt x="51" y="45"/>
                </a:cubicBezTo>
                <a:cubicBezTo>
                  <a:pt x="27" y="45"/>
                  <a:pt x="27" y="45"/>
                  <a:pt x="27" y="45"/>
                </a:cubicBezTo>
                <a:cubicBezTo>
                  <a:pt x="25" y="45"/>
                  <a:pt x="24" y="44"/>
                  <a:pt x="24" y="43"/>
                </a:cubicBezTo>
                <a:close/>
                <a:moveTo>
                  <a:pt x="24" y="64"/>
                </a:moveTo>
                <a:cubicBezTo>
                  <a:pt x="24" y="63"/>
                  <a:pt x="25" y="61"/>
                  <a:pt x="27" y="61"/>
                </a:cubicBezTo>
                <a:cubicBezTo>
                  <a:pt x="40" y="61"/>
                  <a:pt x="40" y="61"/>
                  <a:pt x="40" y="61"/>
                </a:cubicBezTo>
                <a:cubicBezTo>
                  <a:pt x="41" y="61"/>
                  <a:pt x="43" y="63"/>
                  <a:pt x="43" y="64"/>
                </a:cubicBezTo>
                <a:cubicBezTo>
                  <a:pt x="43" y="65"/>
                  <a:pt x="41" y="67"/>
                  <a:pt x="40" y="67"/>
                </a:cubicBezTo>
                <a:cubicBezTo>
                  <a:pt x="27" y="67"/>
                  <a:pt x="27" y="67"/>
                  <a:pt x="27" y="67"/>
                </a:cubicBezTo>
                <a:cubicBezTo>
                  <a:pt x="25" y="67"/>
                  <a:pt x="24" y="65"/>
                  <a:pt x="24" y="64"/>
                </a:cubicBezTo>
                <a:close/>
                <a:moveTo>
                  <a:pt x="64" y="64"/>
                </a:moveTo>
                <a:cubicBezTo>
                  <a:pt x="64" y="63"/>
                  <a:pt x="65" y="61"/>
                  <a:pt x="67" y="61"/>
                </a:cubicBezTo>
                <a:cubicBezTo>
                  <a:pt x="85" y="61"/>
                  <a:pt x="85" y="61"/>
                  <a:pt x="85" y="61"/>
                </a:cubicBezTo>
                <a:cubicBezTo>
                  <a:pt x="87" y="61"/>
                  <a:pt x="88" y="63"/>
                  <a:pt x="88" y="64"/>
                </a:cubicBezTo>
                <a:cubicBezTo>
                  <a:pt x="88" y="65"/>
                  <a:pt x="87" y="67"/>
                  <a:pt x="85" y="67"/>
                </a:cubicBezTo>
                <a:cubicBezTo>
                  <a:pt x="67" y="67"/>
                  <a:pt x="67" y="67"/>
                  <a:pt x="67" y="67"/>
                </a:cubicBezTo>
                <a:cubicBezTo>
                  <a:pt x="65" y="67"/>
                  <a:pt x="64" y="65"/>
                  <a:pt x="64" y="64"/>
                </a:cubicBezTo>
                <a:close/>
                <a:moveTo>
                  <a:pt x="55" y="62"/>
                </a:moveTo>
                <a:cubicBezTo>
                  <a:pt x="56" y="63"/>
                  <a:pt x="56" y="63"/>
                  <a:pt x="56" y="64"/>
                </a:cubicBezTo>
                <a:cubicBezTo>
                  <a:pt x="56" y="65"/>
                  <a:pt x="56" y="65"/>
                  <a:pt x="55" y="66"/>
                </a:cubicBezTo>
                <a:cubicBezTo>
                  <a:pt x="55" y="66"/>
                  <a:pt x="54" y="67"/>
                  <a:pt x="53" y="67"/>
                </a:cubicBezTo>
                <a:cubicBezTo>
                  <a:pt x="53" y="67"/>
                  <a:pt x="52" y="66"/>
                  <a:pt x="51" y="66"/>
                </a:cubicBezTo>
                <a:cubicBezTo>
                  <a:pt x="51" y="65"/>
                  <a:pt x="51" y="65"/>
                  <a:pt x="51" y="64"/>
                </a:cubicBezTo>
                <a:cubicBezTo>
                  <a:pt x="51" y="63"/>
                  <a:pt x="51" y="63"/>
                  <a:pt x="51" y="62"/>
                </a:cubicBezTo>
                <a:cubicBezTo>
                  <a:pt x="52" y="61"/>
                  <a:pt x="54" y="61"/>
                  <a:pt x="55" y="62"/>
                </a:cubicBezTo>
                <a:close/>
                <a:moveTo>
                  <a:pt x="97" y="66"/>
                </a:moveTo>
                <a:cubicBezTo>
                  <a:pt x="96" y="65"/>
                  <a:pt x="96" y="65"/>
                  <a:pt x="96" y="64"/>
                </a:cubicBezTo>
                <a:cubicBezTo>
                  <a:pt x="96" y="63"/>
                  <a:pt x="96" y="63"/>
                  <a:pt x="97" y="62"/>
                </a:cubicBezTo>
                <a:cubicBezTo>
                  <a:pt x="98" y="61"/>
                  <a:pt x="100" y="61"/>
                  <a:pt x="101" y="62"/>
                </a:cubicBezTo>
                <a:cubicBezTo>
                  <a:pt x="101" y="63"/>
                  <a:pt x="101" y="63"/>
                  <a:pt x="101" y="64"/>
                </a:cubicBezTo>
                <a:cubicBezTo>
                  <a:pt x="101" y="65"/>
                  <a:pt x="101" y="65"/>
                  <a:pt x="101" y="66"/>
                </a:cubicBezTo>
                <a:cubicBezTo>
                  <a:pt x="100" y="66"/>
                  <a:pt x="99" y="67"/>
                  <a:pt x="99" y="67"/>
                </a:cubicBezTo>
                <a:cubicBezTo>
                  <a:pt x="98" y="67"/>
                  <a:pt x="97" y="66"/>
                  <a:pt x="97" y="66"/>
                </a:cubicBezTo>
                <a:close/>
                <a:moveTo>
                  <a:pt x="61" y="85"/>
                </a:moveTo>
                <a:cubicBezTo>
                  <a:pt x="61" y="87"/>
                  <a:pt x="60" y="88"/>
                  <a:pt x="59" y="88"/>
                </a:cubicBezTo>
                <a:cubicBezTo>
                  <a:pt x="40" y="88"/>
                  <a:pt x="40" y="88"/>
                  <a:pt x="40" y="88"/>
                </a:cubicBezTo>
                <a:cubicBezTo>
                  <a:pt x="39" y="88"/>
                  <a:pt x="37" y="87"/>
                  <a:pt x="37" y="85"/>
                </a:cubicBezTo>
                <a:cubicBezTo>
                  <a:pt x="37" y="84"/>
                  <a:pt x="39" y="83"/>
                  <a:pt x="40" y="83"/>
                </a:cubicBezTo>
                <a:cubicBezTo>
                  <a:pt x="59" y="83"/>
                  <a:pt x="59" y="83"/>
                  <a:pt x="59" y="83"/>
                </a:cubicBezTo>
                <a:cubicBezTo>
                  <a:pt x="60" y="83"/>
                  <a:pt x="61" y="84"/>
                  <a:pt x="61" y="85"/>
                </a:cubicBezTo>
                <a:close/>
                <a:moveTo>
                  <a:pt x="25" y="87"/>
                </a:moveTo>
                <a:cubicBezTo>
                  <a:pt x="24" y="87"/>
                  <a:pt x="24" y="86"/>
                  <a:pt x="24" y="85"/>
                </a:cubicBezTo>
                <a:cubicBezTo>
                  <a:pt x="24" y="85"/>
                  <a:pt x="24" y="84"/>
                  <a:pt x="25" y="83"/>
                </a:cubicBezTo>
                <a:cubicBezTo>
                  <a:pt x="26" y="82"/>
                  <a:pt x="28" y="82"/>
                  <a:pt x="29" y="83"/>
                </a:cubicBezTo>
                <a:cubicBezTo>
                  <a:pt x="29" y="84"/>
                  <a:pt x="29" y="85"/>
                  <a:pt x="29" y="85"/>
                </a:cubicBezTo>
                <a:cubicBezTo>
                  <a:pt x="29" y="86"/>
                  <a:pt x="29" y="87"/>
                  <a:pt x="29" y="87"/>
                </a:cubicBezTo>
                <a:cubicBezTo>
                  <a:pt x="28" y="88"/>
                  <a:pt x="27" y="88"/>
                  <a:pt x="27" y="88"/>
                </a:cubicBezTo>
                <a:cubicBezTo>
                  <a:pt x="26" y="88"/>
                  <a:pt x="25" y="88"/>
                  <a:pt x="25" y="87"/>
                </a:cubicBezTo>
                <a:close/>
                <a:moveTo>
                  <a:pt x="38" y="112"/>
                </a:moveTo>
                <a:cubicBezTo>
                  <a:pt x="32" y="115"/>
                  <a:pt x="32" y="122"/>
                  <a:pt x="31" y="127"/>
                </a:cubicBezTo>
                <a:cubicBezTo>
                  <a:pt x="31" y="130"/>
                  <a:pt x="29" y="131"/>
                  <a:pt x="27" y="129"/>
                </a:cubicBezTo>
                <a:cubicBezTo>
                  <a:pt x="24" y="127"/>
                  <a:pt x="22" y="125"/>
                  <a:pt x="19" y="123"/>
                </a:cubicBezTo>
                <a:cubicBezTo>
                  <a:pt x="17" y="121"/>
                  <a:pt x="21" y="117"/>
                  <a:pt x="23" y="119"/>
                </a:cubicBezTo>
                <a:cubicBezTo>
                  <a:pt x="24" y="120"/>
                  <a:pt x="25" y="121"/>
                  <a:pt x="27" y="122"/>
                </a:cubicBezTo>
                <a:cubicBezTo>
                  <a:pt x="27" y="116"/>
                  <a:pt x="29" y="110"/>
                  <a:pt x="35" y="107"/>
                </a:cubicBezTo>
                <a:cubicBezTo>
                  <a:pt x="38" y="106"/>
                  <a:pt x="41" y="110"/>
                  <a:pt x="38" y="112"/>
                </a:cubicBezTo>
                <a:close/>
                <a:moveTo>
                  <a:pt x="60" y="121"/>
                </a:moveTo>
                <a:cubicBezTo>
                  <a:pt x="62" y="124"/>
                  <a:pt x="57" y="126"/>
                  <a:pt x="55" y="123"/>
                </a:cubicBezTo>
                <a:cubicBezTo>
                  <a:pt x="54" y="122"/>
                  <a:pt x="50" y="125"/>
                  <a:pt x="49" y="125"/>
                </a:cubicBezTo>
                <a:cubicBezTo>
                  <a:pt x="48" y="126"/>
                  <a:pt x="46" y="126"/>
                  <a:pt x="45" y="126"/>
                </a:cubicBezTo>
                <a:cubicBezTo>
                  <a:pt x="42" y="125"/>
                  <a:pt x="39" y="124"/>
                  <a:pt x="38" y="121"/>
                </a:cubicBezTo>
                <a:cubicBezTo>
                  <a:pt x="36" y="118"/>
                  <a:pt x="41" y="115"/>
                  <a:pt x="42" y="118"/>
                </a:cubicBezTo>
                <a:cubicBezTo>
                  <a:pt x="45" y="123"/>
                  <a:pt x="49" y="119"/>
                  <a:pt x="53" y="118"/>
                </a:cubicBezTo>
                <a:cubicBezTo>
                  <a:pt x="56" y="117"/>
                  <a:pt x="59" y="118"/>
                  <a:pt x="60" y="121"/>
                </a:cubicBezTo>
                <a:close/>
                <a:moveTo>
                  <a:pt x="107" y="92"/>
                </a:moveTo>
                <a:cubicBezTo>
                  <a:pt x="107" y="92"/>
                  <a:pt x="106" y="91"/>
                  <a:pt x="106" y="91"/>
                </a:cubicBezTo>
                <a:cubicBezTo>
                  <a:pt x="106" y="91"/>
                  <a:pt x="106" y="90"/>
                  <a:pt x="106" y="90"/>
                </a:cubicBezTo>
                <a:cubicBezTo>
                  <a:pt x="108" y="87"/>
                  <a:pt x="107" y="84"/>
                  <a:pt x="105" y="82"/>
                </a:cubicBezTo>
                <a:cubicBezTo>
                  <a:pt x="103" y="80"/>
                  <a:pt x="100" y="79"/>
                  <a:pt x="97" y="80"/>
                </a:cubicBezTo>
                <a:cubicBezTo>
                  <a:pt x="96" y="81"/>
                  <a:pt x="96" y="80"/>
                  <a:pt x="96" y="80"/>
                </a:cubicBezTo>
                <a:cubicBezTo>
                  <a:pt x="95" y="80"/>
                  <a:pt x="95" y="80"/>
                  <a:pt x="95" y="79"/>
                </a:cubicBezTo>
                <a:cubicBezTo>
                  <a:pt x="94" y="77"/>
                  <a:pt x="91" y="75"/>
                  <a:pt x="88" y="75"/>
                </a:cubicBezTo>
                <a:cubicBezTo>
                  <a:pt x="85" y="75"/>
                  <a:pt x="82" y="77"/>
                  <a:pt x="81" y="79"/>
                </a:cubicBezTo>
                <a:cubicBezTo>
                  <a:pt x="81" y="80"/>
                  <a:pt x="81" y="80"/>
                  <a:pt x="80" y="80"/>
                </a:cubicBezTo>
                <a:cubicBezTo>
                  <a:pt x="80" y="80"/>
                  <a:pt x="80" y="81"/>
                  <a:pt x="79" y="80"/>
                </a:cubicBezTo>
                <a:cubicBezTo>
                  <a:pt x="76" y="79"/>
                  <a:pt x="73" y="80"/>
                  <a:pt x="71" y="82"/>
                </a:cubicBezTo>
                <a:cubicBezTo>
                  <a:pt x="69" y="84"/>
                  <a:pt x="68" y="87"/>
                  <a:pt x="70" y="90"/>
                </a:cubicBezTo>
                <a:cubicBezTo>
                  <a:pt x="70" y="90"/>
                  <a:pt x="70" y="91"/>
                  <a:pt x="70" y="91"/>
                </a:cubicBezTo>
                <a:cubicBezTo>
                  <a:pt x="70" y="91"/>
                  <a:pt x="69" y="92"/>
                  <a:pt x="69" y="92"/>
                </a:cubicBezTo>
                <a:cubicBezTo>
                  <a:pt x="66" y="93"/>
                  <a:pt x="64" y="96"/>
                  <a:pt x="64" y="99"/>
                </a:cubicBezTo>
                <a:cubicBezTo>
                  <a:pt x="64" y="102"/>
                  <a:pt x="66" y="104"/>
                  <a:pt x="69" y="105"/>
                </a:cubicBezTo>
                <a:cubicBezTo>
                  <a:pt x="69" y="106"/>
                  <a:pt x="70" y="106"/>
                  <a:pt x="70" y="106"/>
                </a:cubicBezTo>
                <a:cubicBezTo>
                  <a:pt x="70" y="107"/>
                  <a:pt x="70" y="107"/>
                  <a:pt x="70" y="108"/>
                </a:cubicBezTo>
                <a:cubicBezTo>
                  <a:pt x="68" y="110"/>
                  <a:pt x="69" y="114"/>
                  <a:pt x="71" y="116"/>
                </a:cubicBezTo>
                <a:cubicBezTo>
                  <a:pt x="72" y="117"/>
                  <a:pt x="73" y="117"/>
                  <a:pt x="75" y="118"/>
                </a:cubicBezTo>
                <a:cubicBezTo>
                  <a:pt x="75" y="150"/>
                  <a:pt x="75" y="150"/>
                  <a:pt x="75" y="150"/>
                </a:cubicBezTo>
                <a:cubicBezTo>
                  <a:pt x="88" y="137"/>
                  <a:pt x="88" y="137"/>
                  <a:pt x="88" y="137"/>
                </a:cubicBezTo>
                <a:cubicBezTo>
                  <a:pt x="101" y="150"/>
                  <a:pt x="101" y="150"/>
                  <a:pt x="101" y="150"/>
                </a:cubicBezTo>
                <a:cubicBezTo>
                  <a:pt x="101" y="118"/>
                  <a:pt x="101" y="118"/>
                  <a:pt x="101" y="118"/>
                </a:cubicBezTo>
                <a:cubicBezTo>
                  <a:pt x="103" y="117"/>
                  <a:pt x="104" y="117"/>
                  <a:pt x="105" y="116"/>
                </a:cubicBezTo>
                <a:cubicBezTo>
                  <a:pt x="107" y="114"/>
                  <a:pt x="108" y="110"/>
                  <a:pt x="106" y="108"/>
                </a:cubicBezTo>
                <a:cubicBezTo>
                  <a:pt x="106" y="107"/>
                  <a:pt x="106" y="107"/>
                  <a:pt x="106" y="106"/>
                </a:cubicBezTo>
                <a:cubicBezTo>
                  <a:pt x="106" y="106"/>
                  <a:pt x="107" y="106"/>
                  <a:pt x="107" y="105"/>
                </a:cubicBezTo>
                <a:cubicBezTo>
                  <a:pt x="110" y="104"/>
                  <a:pt x="112" y="102"/>
                  <a:pt x="112" y="99"/>
                </a:cubicBezTo>
                <a:cubicBezTo>
                  <a:pt x="112" y="96"/>
                  <a:pt x="110" y="93"/>
                  <a:pt x="107" y="92"/>
                </a:cubicBezTo>
                <a:close/>
                <a:moveTo>
                  <a:pt x="88" y="130"/>
                </a:moveTo>
                <a:cubicBezTo>
                  <a:pt x="80" y="138"/>
                  <a:pt x="80" y="138"/>
                  <a:pt x="80" y="138"/>
                </a:cubicBezTo>
                <a:cubicBezTo>
                  <a:pt x="80" y="117"/>
                  <a:pt x="80" y="117"/>
                  <a:pt x="80" y="117"/>
                </a:cubicBezTo>
                <a:cubicBezTo>
                  <a:pt x="80" y="117"/>
                  <a:pt x="80" y="117"/>
                  <a:pt x="80" y="117"/>
                </a:cubicBezTo>
                <a:cubicBezTo>
                  <a:pt x="80" y="117"/>
                  <a:pt x="80" y="117"/>
                  <a:pt x="80" y="117"/>
                </a:cubicBezTo>
                <a:cubicBezTo>
                  <a:pt x="81" y="117"/>
                  <a:pt x="81" y="117"/>
                  <a:pt x="81" y="117"/>
                </a:cubicBezTo>
                <a:cubicBezTo>
                  <a:pt x="81" y="117"/>
                  <a:pt x="81" y="118"/>
                  <a:pt x="81" y="118"/>
                </a:cubicBezTo>
                <a:cubicBezTo>
                  <a:pt x="82" y="121"/>
                  <a:pt x="85" y="123"/>
                  <a:pt x="88" y="123"/>
                </a:cubicBezTo>
                <a:cubicBezTo>
                  <a:pt x="91" y="123"/>
                  <a:pt x="94" y="121"/>
                  <a:pt x="95" y="118"/>
                </a:cubicBezTo>
                <a:cubicBezTo>
                  <a:pt x="95" y="118"/>
                  <a:pt x="95" y="117"/>
                  <a:pt x="95" y="117"/>
                </a:cubicBezTo>
                <a:cubicBezTo>
                  <a:pt x="95" y="117"/>
                  <a:pt x="95" y="117"/>
                  <a:pt x="96" y="117"/>
                </a:cubicBezTo>
                <a:cubicBezTo>
                  <a:pt x="96" y="117"/>
                  <a:pt x="96" y="117"/>
                  <a:pt x="96" y="117"/>
                </a:cubicBezTo>
                <a:cubicBezTo>
                  <a:pt x="96" y="117"/>
                  <a:pt x="96" y="117"/>
                  <a:pt x="96" y="117"/>
                </a:cubicBezTo>
                <a:cubicBezTo>
                  <a:pt x="96" y="138"/>
                  <a:pt x="96" y="138"/>
                  <a:pt x="96" y="138"/>
                </a:cubicBezTo>
                <a:lnTo>
                  <a:pt x="88" y="130"/>
                </a:lnTo>
                <a:close/>
                <a:moveTo>
                  <a:pt x="106" y="100"/>
                </a:moveTo>
                <a:cubicBezTo>
                  <a:pt x="104" y="101"/>
                  <a:pt x="102" y="102"/>
                  <a:pt x="101" y="104"/>
                </a:cubicBezTo>
                <a:cubicBezTo>
                  <a:pt x="101" y="106"/>
                  <a:pt x="101" y="108"/>
                  <a:pt x="102" y="110"/>
                </a:cubicBezTo>
                <a:cubicBezTo>
                  <a:pt x="102" y="111"/>
                  <a:pt x="101" y="112"/>
                  <a:pt x="101" y="112"/>
                </a:cubicBezTo>
                <a:cubicBezTo>
                  <a:pt x="101" y="112"/>
                  <a:pt x="100" y="112"/>
                  <a:pt x="100" y="112"/>
                </a:cubicBezTo>
                <a:cubicBezTo>
                  <a:pt x="99" y="112"/>
                  <a:pt x="99" y="112"/>
                  <a:pt x="99" y="112"/>
                </a:cubicBezTo>
                <a:cubicBezTo>
                  <a:pt x="99" y="112"/>
                  <a:pt x="99" y="112"/>
                  <a:pt x="98" y="112"/>
                </a:cubicBezTo>
                <a:cubicBezTo>
                  <a:pt x="98" y="112"/>
                  <a:pt x="98" y="112"/>
                  <a:pt x="98" y="112"/>
                </a:cubicBezTo>
                <a:cubicBezTo>
                  <a:pt x="98" y="112"/>
                  <a:pt x="97" y="112"/>
                  <a:pt x="97" y="112"/>
                </a:cubicBezTo>
                <a:cubicBezTo>
                  <a:pt x="97" y="112"/>
                  <a:pt x="97" y="112"/>
                  <a:pt x="96" y="112"/>
                </a:cubicBezTo>
                <a:cubicBezTo>
                  <a:pt x="96" y="112"/>
                  <a:pt x="96" y="112"/>
                  <a:pt x="96" y="112"/>
                </a:cubicBezTo>
                <a:cubicBezTo>
                  <a:pt x="95" y="112"/>
                  <a:pt x="95" y="112"/>
                  <a:pt x="95" y="112"/>
                </a:cubicBezTo>
                <a:cubicBezTo>
                  <a:pt x="94" y="112"/>
                  <a:pt x="94" y="112"/>
                  <a:pt x="94" y="112"/>
                </a:cubicBezTo>
                <a:cubicBezTo>
                  <a:pt x="94" y="112"/>
                  <a:pt x="94" y="112"/>
                  <a:pt x="94" y="112"/>
                </a:cubicBezTo>
                <a:cubicBezTo>
                  <a:pt x="94" y="112"/>
                  <a:pt x="94" y="112"/>
                  <a:pt x="94" y="112"/>
                </a:cubicBezTo>
                <a:cubicBezTo>
                  <a:pt x="93" y="112"/>
                  <a:pt x="93" y="112"/>
                  <a:pt x="93" y="112"/>
                </a:cubicBezTo>
                <a:cubicBezTo>
                  <a:pt x="93" y="112"/>
                  <a:pt x="93" y="113"/>
                  <a:pt x="92" y="113"/>
                </a:cubicBezTo>
                <a:cubicBezTo>
                  <a:pt x="92" y="113"/>
                  <a:pt x="92" y="113"/>
                  <a:pt x="91" y="114"/>
                </a:cubicBezTo>
                <a:cubicBezTo>
                  <a:pt x="91" y="114"/>
                  <a:pt x="91" y="114"/>
                  <a:pt x="91" y="114"/>
                </a:cubicBezTo>
                <a:cubicBezTo>
                  <a:pt x="90" y="114"/>
                  <a:pt x="90" y="115"/>
                  <a:pt x="90" y="116"/>
                </a:cubicBezTo>
                <a:cubicBezTo>
                  <a:pt x="89" y="117"/>
                  <a:pt x="88" y="117"/>
                  <a:pt x="88" y="117"/>
                </a:cubicBezTo>
                <a:cubicBezTo>
                  <a:pt x="88" y="117"/>
                  <a:pt x="87" y="117"/>
                  <a:pt x="86" y="116"/>
                </a:cubicBezTo>
                <a:cubicBezTo>
                  <a:pt x="86" y="115"/>
                  <a:pt x="86" y="114"/>
                  <a:pt x="85" y="114"/>
                </a:cubicBezTo>
                <a:cubicBezTo>
                  <a:pt x="85" y="114"/>
                  <a:pt x="85" y="114"/>
                  <a:pt x="85" y="114"/>
                </a:cubicBezTo>
                <a:cubicBezTo>
                  <a:pt x="84" y="113"/>
                  <a:pt x="84" y="113"/>
                  <a:pt x="84" y="113"/>
                </a:cubicBezTo>
                <a:cubicBezTo>
                  <a:pt x="83" y="113"/>
                  <a:pt x="83" y="112"/>
                  <a:pt x="83" y="112"/>
                </a:cubicBezTo>
                <a:cubicBezTo>
                  <a:pt x="83" y="112"/>
                  <a:pt x="83" y="112"/>
                  <a:pt x="82" y="112"/>
                </a:cubicBezTo>
                <a:cubicBezTo>
                  <a:pt x="82" y="112"/>
                  <a:pt x="82" y="112"/>
                  <a:pt x="82" y="112"/>
                </a:cubicBezTo>
                <a:cubicBezTo>
                  <a:pt x="82" y="112"/>
                  <a:pt x="82" y="112"/>
                  <a:pt x="82" y="112"/>
                </a:cubicBezTo>
                <a:cubicBezTo>
                  <a:pt x="82" y="112"/>
                  <a:pt x="82" y="112"/>
                  <a:pt x="82" y="112"/>
                </a:cubicBezTo>
                <a:cubicBezTo>
                  <a:pt x="82" y="112"/>
                  <a:pt x="81" y="112"/>
                  <a:pt x="81" y="112"/>
                </a:cubicBezTo>
                <a:cubicBezTo>
                  <a:pt x="81" y="112"/>
                  <a:pt x="80" y="112"/>
                  <a:pt x="80" y="112"/>
                </a:cubicBezTo>
                <a:cubicBezTo>
                  <a:pt x="80" y="112"/>
                  <a:pt x="80" y="112"/>
                  <a:pt x="80" y="112"/>
                </a:cubicBezTo>
                <a:cubicBezTo>
                  <a:pt x="80" y="112"/>
                  <a:pt x="80" y="112"/>
                  <a:pt x="80" y="112"/>
                </a:cubicBezTo>
                <a:cubicBezTo>
                  <a:pt x="79" y="112"/>
                  <a:pt x="78" y="112"/>
                  <a:pt x="77" y="112"/>
                </a:cubicBezTo>
                <a:cubicBezTo>
                  <a:pt x="76" y="112"/>
                  <a:pt x="76" y="112"/>
                  <a:pt x="76" y="112"/>
                </a:cubicBezTo>
                <a:cubicBezTo>
                  <a:pt x="76" y="112"/>
                  <a:pt x="75" y="112"/>
                  <a:pt x="75" y="112"/>
                </a:cubicBezTo>
                <a:cubicBezTo>
                  <a:pt x="75" y="112"/>
                  <a:pt x="74" y="111"/>
                  <a:pt x="74" y="110"/>
                </a:cubicBezTo>
                <a:cubicBezTo>
                  <a:pt x="75" y="108"/>
                  <a:pt x="75" y="106"/>
                  <a:pt x="75" y="104"/>
                </a:cubicBezTo>
                <a:cubicBezTo>
                  <a:pt x="74" y="102"/>
                  <a:pt x="72" y="101"/>
                  <a:pt x="70" y="100"/>
                </a:cubicBezTo>
                <a:cubicBezTo>
                  <a:pt x="69" y="100"/>
                  <a:pt x="69" y="99"/>
                  <a:pt x="69" y="99"/>
                </a:cubicBezTo>
                <a:cubicBezTo>
                  <a:pt x="69" y="98"/>
                  <a:pt x="69" y="97"/>
                  <a:pt x="70" y="97"/>
                </a:cubicBezTo>
                <a:cubicBezTo>
                  <a:pt x="72" y="96"/>
                  <a:pt x="74" y="95"/>
                  <a:pt x="75" y="93"/>
                </a:cubicBezTo>
                <a:cubicBezTo>
                  <a:pt x="75" y="91"/>
                  <a:pt x="75" y="89"/>
                  <a:pt x="74" y="87"/>
                </a:cubicBezTo>
                <a:cubicBezTo>
                  <a:pt x="74" y="86"/>
                  <a:pt x="75" y="86"/>
                  <a:pt x="75" y="85"/>
                </a:cubicBezTo>
                <a:cubicBezTo>
                  <a:pt x="75" y="85"/>
                  <a:pt x="76" y="85"/>
                  <a:pt x="77" y="85"/>
                </a:cubicBezTo>
                <a:cubicBezTo>
                  <a:pt x="79" y="86"/>
                  <a:pt x="81" y="86"/>
                  <a:pt x="82" y="85"/>
                </a:cubicBezTo>
                <a:cubicBezTo>
                  <a:pt x="84" y="85"/>
                  <a:pt x="86" y="83"/>
                  <a:pt x="86" y="81"/>
                </a:cubicBezTo>
                <a:cubicBezTo>
                  <a:pt x="87" y="80"/>
                  <a:pt x="88" y="80"/>
                  <a:pt x="88" y="80"/>
                </a:cubicBezTo>
                <a:cubicBezTo>
                  <a:pt x="88" y="80"/>
                  <a:pt x="89" y="80"/>
                  <a:pt x="90" y="81"/>
                </a:cubicBezTo>
                <a:cubicBezTo>
                  <a:pt x="90" y="83"/>
                  <a:pt x="92" y="85"/>
                  <a:pt x="94" y="85"/>
                </a:cubicBezTo>
                <a:cubicBezTo>
                  <a:pt x="95" y="86"/>
                  <a:pt x="97" y="86"/>
                  <a:pt x="99" y="85"/>
                </a:cubicBezTo>
                <a:cubicBezTo>
                  <a:pt x="100" y="85"/>
                  <a:pt x="101" y="85"/>
                  <a:pt x="101" y="85"/>
                </a:cubicBezTo>
                <a:cubicBezTo>
                  <a:pt x="101" y="86"/>
                  <a:pt x="102" y="86"/>
                  <a:pt x="102" y="87"/>
                </a:cubicBezTo>
                <a:cubicBezTo>
                  <a:pt x="101" y="89"/>
                  <a:pt x="101" y="91"/>
                  <a:pt x="101" y="93"/>
                </a:cubicBezTo>
                <a:cubicBezTo>
                  <a:pt x="102" y="95"/>
                  <a:pt x="104" y="96"/>
                  <a:pt x="106" y="97"/>
                </a:cubicBezTo>
                <a:cubicBezTo>
                  <a:pt x="107" y="97"/>
                  <a:pt x="107" y="98"/>
                  <a:pt x="107" y="99"/>
                </a:cubicBezTo>
                <a:cubicBezTo>
                  <a:pt x="107" y="99"/>
                  <a:pt x="107" y="100"/>
                  <a:pt x="106" y="10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2" name="Freeform 1139">
            <a:extLst>
              <a:ext uri="{FF2B5EF4-FFF2-40B4-BE49-F238E27FC236}">
                <a16:creationId xmlns:a16="http://schemas.microsoft.com/office/drawing/2014/main" id="{B5052E39-CDA6-7243-8EE6-E5C4103DE057}"/>
              </a:ext>
            </a:extLst>
          </p:cNvPr>
          <p:cNvSpPr>
            <a:spLocks noEditPoints="1"/>
          </p:cNvSpPr>
          <p:nvPr/>
        </p:nvSpPr>
        <p:spPr bwMode="auto">
          <a:xfrm>
            <a:off x="7262695" y="5953125"/>
            <a:ext cx="552450" cy="512763"/>
          </a:xfrm>
          <a:custGeom>
            <a:avLst/>
            <a:gdLst>
              <a:gd name="T0" fmla="*/ 161 w 162"/>
              <a:gd name="T1" fmla="*/ 44 h 149"/>
              <a:gd name="T2" fmla="*/ 117 w 162"/>
              <a:gd name="T3" fmla="*/ 0 h 149"/>
              <a:gd name="T4" fmla="*/ 81 w 162"/>
              <a:gd name="T5" fmla="*/ 21 h 149"/>
              <a:gd name="T6" fmla="*/ 45 w 162"/>
              <a:gd name="T7" fmla="*/ 0 h 149"/>
              <a:gd name="T8" fmla="*/ 1 w 162"/>
              <a:gd name="T9" fmla="*/ 44 h 149"/>
              <a:gd name="T10" fmla="*/ 3 w 162"/>
              <a:gd name="T11" fmla="*/ 61 h 149"/>
              <a:gd name="T12" fmla="*/ 25 w 162"/>
              <a:gd name="T13" fmla="*/ 98 h 149"/>
              <a:gd name="T14" fmla="*/ 81 w 162"/>
              <a:gd name="T15" fmla="*/ 149 h 149"/>
              <a:gd name="T16" fmla="*/ 84 w 162"/>
              <a:gd name="T17" fmla="*/ 146 h 149"/>
              <a:gd name="T18" fmla="*/ 84 w 162"/>
              <a:gd name="T19" fmla="*/ 146 h 149"/>
              <a:gd name="T20" fmla="*/ 84 w 162"/>
              <a:gd name="T21" fmla="*/ 146 h 149"/>
              <a:gd name="T22" fmla="*/ 137 w 162"/>
              <a:gd name="T23" fmla="*/ 98 h 149"/>
              <a:gd name="T24" fmla="*/ 159 w 162"/>
              <a:gd name="T25" fmla="*/ 61 h 149"/>
              <a:gd name="T26" fmla="*/ 161 w 162"/>
              <a:gd name="T27" fmla="*/ 44 h 149"/>
              <a:gd name="T28" fmla="*/ 80 w 162"/>
              <a:gd name="T29" fmla="*/ 140 h 149"/>
              <a:gd name="T30" fmla="*/ 29 w 162"/>
              <a:gd name="T31" fmla="*/ 94 h 149"/>
              <a:gd name="T32" fmla="*/ 9 w 162"/>
              <a:gd name="T33" fmla="*/ 60 h 149"/>
              <a:gd name="T34" fmla="*/ 7 w 162"/>
              <a:gd name="T35" fmla="*/ 45 h 149"/>
              <a:gd name="T36" fmla="*/ 7 w 162"/>
              <a:gd name="T37" fmla="*/ 45 h 149"/>
              <a:gd name="T38" fmla="*/ 45 w 162"/>
              <a:gd name="T39" fmla="*/ 6 h 149"/>
              <a:gd name="T40" fmla="*/ 78 w 162"/>
              <a:gd name="T41" fmla="*/ 29 h 149"/>
              <a:gd name="T42" fmla="*/ 78 w 162"/>
              <a:gd name="T43" fmla="*/ 30 h 149"/>
              <a:gd name="T44" fmla="*/ 53 w 162"/>
              <a:gd name="T45" fmla="*/ 55 h 149"/>
              <a:gd name="T46" fmla="*/ 99 w 162"/>
              <a:gd name="T47" fmla="*/ 61 h 149"/>
              <a:gd name="T48" fmla="*/ 64 w 162"/>
              <a:gd name="T49" fmla="*/ 93 h 149"/>
              <a:gd name="T50" fmla="*/ 90 w 162"/>
              <a:gd name="T51" fmla="*/ 109 h 149"/>
              <a:gd name="T52" fmla="*/ 80 w 162"/>
              <a:gd name="T53" fmla="*/ 140 h 149"/>
              <a:gd name="T54" fmla="*/ 153 w 162"/>
              <a:gd name="T55" fmla="*/ 60 h 149"/>
              <a:gd name="T56" fmla="*/ 133 w 162"/>
              <a:gd name="T57" fmla="*/ 94 h 149"/>
              <a:gd name="T58" fmla="*/ 88 w 162"/>
              <a:gd name="T59" fmla="*/ 134 h 149"/>
              <a:gd name="T60" fmla="*/ 97 w 162"/>
              <a:gd name="T61" fmla="*/ 107 h 149"/>
              <a:gd name="T62" fmla="*/ 74 w 162"/>
              <a:gd name="T63" fmla="*/ 92 h 149"/>
              <a:gd name="T64" fmla="*/ 113 w 162"/>
              <a:gd name="T65" fmla="*/ 57 h 149"/>
              <a:gd name="T66" fmla="*/ 66 w 162"/>
              <a:gd name="T67" fmla="*/ 50 h 149"/>
              <a:gd name="T68" fmla="*/ 80 w 162"/>
              <a:gd name="T69" fmla="*/ 36 h 149"/>
              <a:gd name="T70" fmla="*/ 81 w 162"/>
              <a:gd name="T71" fmla="*/ 36 h 149"/>
              <a:gd name="T72" fmla="*/ 81 w 162"/>
              <a:gd name="T73" fmla="*/ 36 h 149"/>
              <a:gd name="T74" fmla="*/ 83 w 162"/>
              <a:gd name="T75" fmla="*/ 33 h 149"/>
              <a:gd name="T76" fmla="*/ 82 w 162"/>
              <a:gd name="T77" fmla="*/ 32 h 149"/>
              <a:gd name="T78" fmla="*/ 83 w 162"/>
              <a:gd name="T79" fmla="*/ 29 h 149"/>
              <a:gd name="T80" fmla="*/ 117 w 162"/>
              <a:gd name="T81" fmla="*/ 6 h 149"/>
              <a:gd name="T82" fmla="*/ 155 w 162"/>
              <a:gd name="T83" fmla="*/ 45 h 149"/>
              <a:gd name="T84" fmla="*/ 153 w 162"/>
              <a:gd name="T85" fmla="*/ 6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149">
                <a:moveTo>
                  <a:pt x="161" y="44"/>
                </a:moveTo>
                <a:cubicBezTo>
                  <a:pt x="158" y="19"/>
                  <a:pt x="140" y="0"/>
                  <a:pt x="117" y="0"/>
                </a:cubicBezTo>
                <a:cubicBezTo>
                  <a:pt x="102" y="0"/>
                  <a:pt x="88" y="8"/>
                  <a:pt x="81" y="21"/>
                </a:cubicBezTo>
                <a:cubicBezTo>
                  <a:pt x="73" y="8"/>
                  <a:pt x="59" y="0"/>
                  <a:pt x="45" y="0"/>
                </a:cubicBezTo>
                <a:cubicBezTo>
                  <a:pt x="22" y="0"/>
                  <a:pt x="4" y="19"/>
                  <a:pt x="1" y="44"/>
                </a:cubicBezTo>
                <a:cubicBezTo>
                  <a:pt x="1" y="45"/>
                  <a:pt x="0" y="51"/>
                  <a:pt x="3" y="61"/>
                </a:cubicBezTo>
                <a:cubicBezTo>
                  <a:pt x="6" y="75"/>
                  <a:pt x="14" y="88"/>
                  <a:pt x="25" y="98"/>
                </a:cubicBezTo>
                <a:cubicBezTo>
                  <a:pt x="81" y="149"/>
                  <a:pt x="81" y="149"/>
                  <a:pt x="81" y="149"/>
                </a:cubicBezTo>
                <a:cubicBezTo>
                  <a:pt x="84" y="146"/>
                  <a:pt x="84" y="146"/>
                  <a:pt x="84" y="146"/>
                </a:cubicBezTo>
                <a:cubicBezTo>
                  <a:pt x="84" y="146"/>
                  <a:pt x="84" y="146"/>
                  <a:pt x="84" y="146"/>
                </a:cubicBezTo>
                <a:cubicBezTo>
                  <a:pt x="84" y="146"/>
                  <a:pt x="84" y="146"/>
                  <a:pt x="84" y="146"/>
                </a:cubicBezTo>
                <a:cubicBezTo>
                  <a:pt x="137" y="98"/>
                  <a:pt x="137" y="98"/>
                  <a:pt x="137" y="98"/>
                </a:cubicBezTo>
                <a:cubicBezTo>
                  <a:pt x="148" y="88"/>
                  <a:pt x="156" y="75"/>
                  <a:pt x="159" y="61"/>
                </a:cubicBezTo>
                <a:cubicBezTo>
                  <a:pt x="162" y="51"/>
                  <a:pt x="161" y="45"/>
                  <a:pt x="161" y="44"/>
                </a:cubicBezTo>
                <a:close/>
                <a:moveTo>
                  <a:pt x="80" y="140"/>
                </a:moveTo>
                <a:cubicBezTo>
                  <a:pt x="29" y="94"/>
                  <a:pt x="29" y="94"/>
                  <a:pt x="29" y="94"/>
                </a:cubicBezTo>
                <a:cubicBezTo>
                  <a:pt x="19" y="84"/>
                  <a:pt x="12" y="73"/>
                  <a:pt x="9" y="60"/>
                </a:cubicBezTo>
                <a:cubicBezTo>
                  <a:pt x="6" y="51"/>
                  <a:pt x="7" y="45"/>
                  <a:pt x="7" y="45"/>
                </a:cubicBezTo>
                <a:cubicBezTo>
                  <a:pt x="7" y="45"/>
                  <a:pt x="7" y="45"/>
                  <a:pt x="7" y="45"/>
                </a:cubicBezTo>
                <a:cubicBezTo>
                  <a:pt x="9" y="23"/>
                  <a:pt x="25" y="6"/>
                  <a:pt x="45" y="6"/>
                </a:cubicBezTo>
                <a:cubicBezTo>
                  <a:pt x="59" y="6"/>
                  <a:pt x="72" y="15"/>
                  <a:pt x="78" y="29"/>
                </a:cubicBezTo>
                <a:cubicBezTo>
                  <a:pt x="78" y="30"/>
                  <a:pt x="78" y="30"/>
                  <a:pt x="78" y="30"/>
                </a:cubicBezTo>
                <a:cubicBezTo>
                  <a:pt x="53" y="55"/>
                  <a:pt x="53" y="55"/>
                  <a:pt x="53" y="55"/>
                </a:cubicBezTo>
                <a:cubicBezTo>
                  <a:pt x="99" y="61"/>
                  <a:pt x="99" y="61"/>
                  <a:pt x="99" y="61"/>
                </a:cubicBezTo>
                <a:cubicBezTo>
                  <a:pt x="64" y="93"/>
                  <a:pt x="64" y="93"/>
                  <a:pt x="64" y="93"/>
                </a:cubicBezTo>
                <a:cubicBezTo>
                  <a:pt x="90" y="109"/>
                  <a:pt x="90" y="109"/>
                  <a:pt x="90" y="109"/>
                </a:cubicBezTo>
                <a:lnTo>
                  <a:pt x="80" y="140"/>
                </a:lnTo>
                <a:close/>
                <a:moveTo>
                  <a:pt x="153" y="60"/>
                </a:moveTo>
                <a:cubicBezTo>
                  <a:pt x="150" y="73"/>
                  <a:pt x="143" y="84"/>
                  <a:pt x="133" y="94"/>
                </a:cubicBezTo>
                <a:cubicBezTo>
                  <a:pt x="88" y="134"/>
                  <a:pt x="88" y="134"/>
                  <a:pt x="88" y="134"/>
                </a:cubicBezTo>
                <a:cubicBezTo>
                  <a:pt x="97" y="107"/>
                  <a:pt x="97" y="107"/>
                  <a:pt x="97" y="107"/>
                </a:cubicBezTo>
                <a:cubicBezTo>
                  <a:pt x="74" y="92"/>
                  <a:pt x="74" y="92"/>
                  <a:pt x="74" y="92"/>
                </a:cubicBezTo>
                <a:cubicBezTo>
                  <a:pt x="113" y="57"/>
                  <a:pt x="113" y="57"/>
                  <a:pt x="113" y="57"/>
                </a:cubicBezTo>
                <a:cubicBezTo>
                  <a:pt x="66" y="50"/>
                  <a:pt x="66" y="50"/>
                  <a:pt x="66" y="50"/>
                </a:cubicBezTo>
                <a:cubicBezTo>
                  <a:pt x="80" y="36"/>
                  <a:pt x="80" y="36"/>
                  <a:pt x="80" y="36"/>
                </a:cubicBezTo>
                <a:cubicBezTo>
                  <a:pt x="81" y="36"/>
                  <a:pt x="81" y="36"/>
                  <a:pt x="81" y="36"/>
                </a:cubicBezTo>
                <a:cubicBezTo>
                  <a:pt x="81" y="36"/>
                  <a:pt x="81" y="36"/>
                  <a:pt x="81" y="36"/>
                </a:cubicBezTo>
                <a:cubicBezTo>
                  <a:pt x="83" y="33"/>
                  <a:pt x="83" y="33"/>
                  <a:pt x="83" y="33"/>
                </a:cubicBezTo>
                <a:cubicBezTo>
                  <a:pt x="82" y="32"/>
                  <a:pt x="82" y="32"/>
                  <a:pt x="82" y="32"/>
                </a:cubicBezTo>
                <a:cubicBezTo>
                  <a:pt x="83" y="29"/>
                  <a:pt x="83" y="29"/>
                  <a:pt x="83" y="29"/>
                </a:cubicBezTo>
                <a:cubicBezTo>
                  <a:pt x="89" y="15"/>
                  <a:pt x="103" y="6"/>
                  <a:pt x="117" y="6"/>
                </a:cubicBezTo>
                <a:cubicBezTo>
                  <a:pt x="137" y="6"/>
                  <a:pt x="153" y="23"/>
                  <a:pt x="155" y="45"/>
                </a:cubicBezTo>
                <a:cubicBezTo>
                  <a:pt x="155" y="45"/>
                  <a:pt x="156" y="51"/>
                  <a:pt x="153" y="60"/>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3" name="Freeform 1140">
            <a:extLst>
              <a:ext uri="{FF2B5EF4-FFF2-40B4-BE49-F238E27FC236}">
                <a16:creationId xmlns:a16="http://schemas.microsoft.com/office/drawing/2014/main" id="{3BB14B15-68D8-9C4F-A824-630F56976097}"/>
              </a:ext>
            </a:extLst>
          </p:cNvPr>
          <p:cNvSpPr>
            <a:spLocks noEditPoints="1"/>
          </p:cNvSpPr>
          <p:nvPr/>
        </p:nvSpPr>
        <p:spPr bwMode="auto">
          <a:xfrm>
            <a:off x="10045389" y="3435350"/>
            <a:ext cx="519113" cy="550863"/>
          </a:xfrm>
          <a:custGeom>
            <a:avLst/>
            <a:gdLst>
              <a:gd name="T0" fmla="*/ 108 w 152"/>
              <a:gd name="T1" fmla="*/ 6 h 160"/>
              <a:gd name="T2" fmla="*/ 17 w 152"/>
              <a:gd name="T3" fmla="*/ 19 h 160"/>
              <a:gd name="T4" fmla="*/ 8 w 152"/>
              <a:gd name="T5" fmla="*/ 41 h 160"/>
              <a:gd name="T6" fmla="*/ 0 w 152"/>
              <a:gd name="T7" fmla="*/ 63 h 160"/>
              <a:gd name="T8" fmla="*/ 3 w 152"/>
              <a:gd name="T9" fmla="*/ 86 h 160"/>
              <a:gd name="T10" fmla="*/ 56 w 152"/>
              <a:gd name="T11" fmla="*/ 99 h 160"/>
              <a:gd name="T12" fmla="*/ 54 w 152"/>
              <a:gd name="T13" fmla="*/ 140 h 160"/>
              <a:gd name="T14" fmla="*/ 74 w 152"/>
              <a:gd name="T15" fmla="*/ 160 h 160"/>
              <a:gd name="T16" fmla="*/ 96 w 152"/>
              <a:gd name="T17" fmla="*/ 104 h 160"/>
              <a:gd name="T18" fmla="*/ 108 w 152"/>
              <a:gd name="T19" fmla="*/ 99 h 160"/>
              <a:gd name="T20" fmla="*/ 152 w 152"/>
              <a:gd name="T21" fmla="*/ 105 h 160"/>
              <a:gd name="T22" fmla="*/ 108 w 152"/>
              <a:gd name="T23" fmla="*/ 0 h 160"/>
              <a:gd name="T24" fmla="*/ 92 w 152"/>
              <a:gd name="T25" fmla="*/ 100 h 160"/>
              <a:gd name="T26" fmla="*/ 74 w 152"/>
              <a:gd name="T27" fmla="*/ 154 h 160"/>
              <a:gd name="T28" fmla="*/ 59 w 152"/>
              <a:gd name="T29" fmla="*/ 139 h 160"/>
              <a:gd name="T30" fmla="*/ 63 w 152"/>
              <a:gd name="T31" fmla="*/ 94 h 160"/>
              <a:gd name="T32" fmla="*/ 8 w 152"/>
              <a:gd name="T33" fmla="*/ 86 h 160"/>
              <a:gd name="T34" fmla="*/ 22 w 152"/>
              <a:gd name="T35" fmla="*/ 77 h 160"/>
              <a:gd name="T36" fmla="*/ 44 w 152"/>
              <a:gd name="T37" fmla="*/ 77 h 160"/>
              <a:gd name="T38" fmla="*/ 44 w 152"/>
              <a:gd name="T39" fmla="*/ 72 h 160"/>
              <a:gd name="T40" fmla="*/ 14 w 152"/>
              <a:gd name="T41" fmla="*/ 71 h 160"/>
              <a:gd name="T42" fmla="*/ 14 w 152"/>
              <a:gd name="T43" fmla="*/ 55 h 160"/>
              <a:gd name="T44" fmla="*/ 44 w 152"/>
              <a:gd name="T45" fmla="*/ 55 h 160"/>
              <a:gd name="T46" fmla="*/ 44 w 152"/>
              <a:gd name="T47" fmla="*/ 50 h 160"/>
              <a:gd name="T48" fmla="*/ 14 w 152"/>
              <a:gd name="T49" fmla="*/ 41 h 160"/>
              <a:gd name="T50" fmla="*/ 28 w 152"/>
              <a:gd name="T51" fmla="*/ 33 h 160"/>
              <a:gd name="T52" fmla="*/ 50 w 152"/>
              <a:gd name="T53" fmla="*/ 33 h 160"/>
              <a:gd name="T54" fmla="*/ 50 w 152"/>
              <a:gd name="T55" fmla="*/ 28 h 160"/>
              <a:gd name="T56" fmla="*/ 22 w 152"/>
              <a:gd name="T57" fmla="*/ 19 h 160"/>
              <a:gd name="T58" fmla="*/ 108 w 152"/>
              <a:gd name="T59" fmla="*/ 11 h 160"/>
              <a:gd name="T60" fmla="*/ 105 w 152"/>
              <a:gd name="T61" fmla="*/ 94 h 160"/>
              <a:gd name="T62" fmla="*/ 113 w 152"/>
              <a:gd name="T63" fmla="*/ 99 h 160"/>
              <a:gd name="T64" fmla="*/ 146 w 152"/>
              <a:gd name="T65" fmla="*/ 6 h 160"/>
              <a:gd name="T66" fmla="*/ 130 w 152"/>
              <a:gd name="T67" fmla="*/ 41 h 160"/>
              <a:gd name="T68" fmla="*/ 130 w 152"/>
              <a:gd name="T69" fmla="*/ 14 h 160"/>
              <a:gd name="T70" fmla="*/ 130 w 152"/>
              <a:gd name="T71" fmla="*/ 41 h 160"/>
              <a:gd name="T72" fmla="*/ 138 w 152"/>
              <a:gd name="T73" fmla="*/ 28 h 160"/>
              <a:gd name="T74" fmla="*/ 121 w 152"/>
              <a:gd name="T75" fmla="*/ 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60">
                <a:moveTo>
                  <a:pt x="108" y="0"/>
                </a:moveTo>
                <a:cubicBezTo>
                  <a:pt x="108" y="6"/>
                  <a:pt x="108" y="6"/>
                  <a:pt x="108" y="6"/>
                </a:cubicBezTo>
                <a:cubicBezTo>
                  <a:pt x="30" y="6"/>
                  <a:pt x="30" y="6"/>
                  <a:pt x="30" y="6"/>
                </a:cubicBezTo>
                <a:cubicBezTo>
                  <a:pt x="23" y="6"/>
                  <a:pt x="17" y="12"/>
                  <a:pt x="17" y="19"/>
                </a:cubicBezTo>
                <a:cubicBezTo>
                  <a:pt x="17" y="23"/>
                  <a:pt x="18" y="25"/>
                  <a:pt x="20" y="28"/>
                </a:cubicBezTo>
                <a:cubicBezTo>
                  <a:pt x="13" y="29"/>
                  <a:pt x="8" y="35"/>
                  <a:pt x="8" y="41"/>
                </a:cubicBezTo>
                <a:cubicBezTo>
                  <a:pt x="8" y="45"/>
                  <a:pt x="9" y="48"/>
                  <a:pt x="11" y="50"/>
                </a:cubicBezTo>
                <a:cubicBezTo>
                  <a:pt x="5" y="51"/>
                  <a:pt x="0" y="57"/>
                  <a:pt x="0" y="63"/>
                </a:cubicBezTo>
                <a:cubicBezTo>
                  <a:pt x="0" y="70"/>
                  <a:pt x="4" y="74"/>
                  <a:pt x="7" y="75"/>
                </a:cubicBezTo>
                <a:cubicBezTo>
                  <a:pt x="5" y="78"/>
                  <a:pt x="3" y="81"/>
                  <a:pt x="3" y="86"/>
                </a:cubicBezTo>
                <a:cubicBezTo>
                  <a:pt x="3" y="93"/>
                  <a:pt x="9" y="99"/>
                  <a:pt x="17" y="99"/>
                </a:cubicBezTo>
                <a:cubicBezTo>
                  <a:pt x="56" y="99"/>
                  <a:pt x="56" y="99"/>
                  <a:pt x="56" y="99"/>
                </a:cubicBezTo>
                <a:cubicBezTo>
                  <a:pt x="54" y="109"/>
                  <a:pt x="54" y="109"/>
                  <a:pt x="54" y="109"/>
                </a:cubicBezTo>
                <a:cubicBezTo>
                  <a:pt x="51" y="121"/>
                  <a:pt x="53" y="136"/>
                  <a:pt x="54" y="140"/>
                </a:cubicBezTo>
                <a:cubicBezTo>
                  <a:pt x="55" y="149"/>
                  <a:pt x="64" y="160"/>
                  <a:pt x="73" y="160"/>
                </a:cubicBezTo>
                <a:cubicBezTo>
                  <a:pt x="74" y="160"/>
                  <a:pt x="74" y="160"/>
                  <a:pt x="74" y="160"/>
                </a:cubicBezTo>
                <a:cubicBezTo>
                  <a:pt x="78" y="160"/>
                  <a:pt x="86" y="157"/>
                  <a:pt x="86" y="141"/>
                </a:cubicBezTo>
                <a:cubicBezTo>
                  <a:pt x="86" y="119"/>
                  <a:pt x="91" y="108"/>
                  <a:pt x="96" y="104"/>
                </a:cubicBezTo>
                <a:cubicBezTo>
                  <a:pt x="100" y="99"/>
                  <a:pt x="105" y="99"/>
                  <a:pt x="105" y="99"/>
                </a:cubicBezTo>
                <a:cubicBezTo>
                  <a:pt x="108" y="99"/>
                  <a:pt x="108" y="99"/>
                  <a:pt x="108" y="99"/>
                </a:cubicBezTo>
                <a:cubicBezTo>
                  <a:pt x="108" y="105"/>
                  <a:pt x="108" y="105"/>
                  <a:pt x="108" y="105"/>
                </a:cubicBezTo>
                <a:cubicBezTo>
                  <a:pt x="152" y="105"/>
                  <a:pt x="152" y="105"/>
                  <a:pt x="152" y="105"/>
                </a:cubicBezTo>
                <a:cubicBezTo>
                  <a:pt x="152" y="0"/>
                  <a:pt x="152" y="0"/>
                  <a:pt x="152" y="0"/>
                </a:cubicBezTo>
                <a:lnTo>
                  <a:pt x="108" y="0"/>
                </a:lnTo>
                <a:close/>
                <a:moveTo>
                  <a:pt x="105" y="94"/>
                </a:moveTo>
                <a:cubicBezTo>
                  <a:pt x="105" y="94"/>
                  <a:pt x="98" y="94"/>
                  <a:pt x="92" y="100"/>
                </a:cubicBezTo>
                <a:cubicBezTo>
                  <a:pt x="84" y="107"/>
                  <a:pt x="80" y="121"/>
                  <a:pt x="80" y="141"/>
                </a:cubicBezTo>
                <a:cubicBezTo>
                  <a:pt x="80" y="146"/>
                  <a:pt x="79" y="154"/>
                  <a:pt x="74" y="154"/>
                </a:cubicBezTo>
                <a:cubicBezTo>
                  <a:pt x="73" y="154"/>
                  <a:pt x="73" y="154"/>
                  <a:pt x="73" y="154"/>
                </a:cubicBezTo>
                <a:cubicBezTo>
                  <a:pt x="67" y="154"/>
                  <a:pt x="60" y="146"/>
                  <a:pt x="59" y="139"/>
                </a:cubicBezTo>
                <a:cubicBezTo>
                  <a:pt x="59" y="135"/>
                  <a:pt x="57" y="122"/>
                  <a:pt x="60" y="110"/>
                </a:cubicBezTo>
                <a:cubicBezTo>
                  <a:pt x="63" y="94"/>
                  <a:pt x="63" y="94"/>
                  <a:pt x="63" y="94"/>
                </a:cubicBezTo>
                <a:cubicBezTo>
                  <a:pt x="17" y="94"/>
                  <a:pt x="17" y="94"/>
                  <a:pt x="17" y="94"/>
                </a:cubicBezTo>
                <a:cubicBezTo>
                  <a:pt x="12" y="94"/>
                  <a:pt x="8" y="90"/>
                  <a:pt x="8" y="86"/>
                </a:cubicBezTo>
                <a:cubicBezTo>
                  <a:pt x="8" y="81"/>
                  <a:pt x="12" y="77"/>
                  <a:pt x="17" y="77"/>
                </a:cubicBezTo>
                <a:cubicBezTo>
                  <a:pt x="22" y="77"/>
                  <a:pt x="22" y="77"/>
                  <a:pt x="22" y="77"/>
                </a:cubicBezTo>
                <a:cubicBezTo>
                  <a:pt x="25" y="77"/>
                  <a:pt x="25" y="77"/>
                  <a:pt x="25" y="77"/>
                </a:cubicBezTo>
                <a:cubicBezTo>
                  <a:pt x="44" y="77"/>
                  <a:pt x="44" y="77"/>
                  <a:pt x="44" y="77"/>
                </a:cubicBezTo>
                <a:cubicBezTo>
                  <a:pt x="46" y="77"/>
                  <a:pt x="47" y="76"/>
                  <a:pt x="47" y="74"/>
                </a:cubicBezTo>
                <a:cubicBezTo>
                  <a:pt x="47" y="73"/>
                  <a:pt x="46" y="72"/>
                  <a:pt x="44" y="72"/>
                </a:cubicBezTo>
                <a:cubicBezTo>
                  <a:pt x="25" y="72"/>
                  <a:pt x="25" y="72"/>
                  <a:pt x="25" y="72"/>
                </a:cubicBezTo>
                <a:cubicBezTo>
                  <a:pt x="22" y="72"/>
                  <a:pt x="17" y="72"/>
                  <a:pt x="14" y="71"/>
                </a:cubicBezTo>
                <a:cubicBezTo>
                  <a:pt x="7" y="70"/>
                  <a:pt x="6" y="67"/>
                  <a:pt x="6" y="63"/>
                </a:cubicBezTo>
                <a:cubicBezTo>
                  <a:pt x="6" y="59"/>
                  <a:pt x="9" y="55"/>
                  <a:pt x="14" y="55"/>
                </a:cubicBezTo>
                <a:cubicBezTo>
                  <a:pt x="22" y="55"/>
                  <a:pt x="22" y="55"/>
                  <a:pt x="22" y="55"/>
                </a:cubicBezTo>
                <a:cubicBezTo>
                  <a:pt x="44" y="55"/>
                  <a:pt x="44" y="55"/>
                  <a:pt x="44" y="55"/>
                </a:cubicBezTo>
                <a:cubicBezTo>
                  <a:pt x="46" y="55"/>
                  <a:pt x="47" y="54"/>
                  <a:pt x="47" y="52"/>
                </a:cubicBezTo>
                <a:cubicBezTo>
                  <a:pt x="47" y="51"/>
                  <a:pt x="46" y="50"/>
                  <a:pt x="44" y="50"/>
                </a:cubicBezTo>
                <a:cubicBezTo>
                  <a:pt x="22" y="50"/>
                  <a:pt x="22" y="50"/>
                  <a:pt x="22" y="50"/>
                </a:cubicBezTo>
                <a:cubicBezTo>
                  <a:pt x="18" y="50"/>
                  <a:pt x="14" y="46"/>
                  <a:pt x="14" y="41"/>
                </a:cubicBezTo>
                <a:cubicBezTo>
                  <a:pt x="14" y="37"/>
                  <a:pt x="18" y="33"/>
                  <a:pt x="22" y="33"/>
                </a:cubicBezTo>
                <a:cubicBezTo>
                  <a:pt x="28" y="33"/>
                  <a:pt x="28" y="33"/>
                  <a:pt x="28" y="33"/>
                </a:cubicBezTo>
                <a:cubicBezTo>
                  <a:pt x="30" y="33"/>
                  <a:pt x="30" y="33"/>
                  <a:pt x="30" y="33"/>
                </a:cubicBezTo>
                <a:cubicBezTo>
                  <a:pt x="50" y="33"/>
                  <a:pt x="50" y="33"/>
                  <a:pt x="50" y="33"/>
                </a:cubicBezTo>
                <a:cubicBezTo>
                  <a:pt x="51" y="33"/>
                  <a:pt x="52" y="32"/>
                  <a:pt x="52" y="30"/>
                </a:cubicBezTo>
                <a:cubicBezTo>
                  <a:pt x="52" y="29"/>
                  <a:pt x="51" y="28"/>
                  <a:pt x="50" y="28"/>
                </a:cubicBezTo>
                <a:cubicBezTo>
                  <a:pt x="30" y="28"/>
                  <a:pt x="30" y="28"/>
                  <a:pt x="30" y="28"/>
                </a:cubicBezTo>
                <a:cubicBezTo>
                  <a:pt x="26" y="28"/>
                  <a:pt x="22" y="24"/>
                  <a:pt x="22" y="19"/>
                </a:cubicBezTo>
                <a:cubicBezTo>
                  <a:pt x="22" y="15"/>
                  <a:pt x="26" y="11"/>
                  <a:pt x="30" y="11"/>
                </a:cubicBezTo>
                <a:cubicBezTo>
                  <a:pt x="108" y="11"/>
                  <a:pt x="108" y="11"/>
                  <a:pt x="108" y="11"/>
                </a:cubicBezTo>
                <a:cubicBezTo>
                  <a:pt x="108" y="94"/>
                  <a:pt x="108" y="94"/>
                  <a:pt x="108" y="94"/>
                </a:cubicBezTo>
                <a:lnTo>
                  <a:pt x="105" y="94"/>
                </a:lnTo>
                <a:close/>
                <a:moveTo>
                  <a:pt x="146" y="99"/>
                </a:moveTo>
                <a:cubicBezTo>
                  <a:pt x="113" y="99"/>
                  <a:pt x="113" y="99"/>
                  <a:pt x="113" y="99"/>
                </a:cubicBezTo>
                <a:cubicBezTo>
                  <a:pt x="113" y="6"/>
                  <a:pt x="113" y="6"/>
                  <a:pt x="113" y="6"/>
                </a:cubicBezTo>
                <a:cubicBezTo>
                  <a:pt x="146" y="6"/>
                  <a:pt x="146" y="6"/>
                  <a:pt x="146" y="6"/>
                </a:cubicBezTo>
                <a:lnTo>
                  <a:pt x="146" y="99"/>
                </a:lnTo>
                <a:close/>
                <a:moveTo>
                  <a:pt x="130" y="41"/>
                </a:moveTo>
                <a:cubicBezTo>
                  <a:pt x="137" y="41"/>
                  <a:pt x="143" y="35"/>
                  <a:pt x="143" y="28"/>
                </a:cubicBezTo>
                <a:cubicBezTo>
                  <a:pt x="143" y="20"/>
                  <a:pt x="137" y="14"/>
                  <a:pt x="130" y="14"/>
                </a:cubicBezTo>
                <a:cubicBezTo>
                  <a:pt x="122" y="14"/>
                  <a:pt x="116" y="20"/>
                  <a:pt x="116" y="28"/>
                </a:cubicBezTo>
                <a:cubicBezTo>
                  <a:pt x="116" y="35"/>
                  <a:pt x="122" y="41"/>
                  <a:pt x="130" y="41"/>
                </a:cubicBezTo>
                <a:close/>
                <a:moveTo>
                  <a:pt x="130" y="19"/>
                </a:moveTo>
                <a:cubicBezTo>
                  <a:pt x="134" y="19"/>
                  <a:pt x="138" y="23"/>
                  <a:pt x="138" y="28"/>
                </a:cubicBezTo>
                <a:cubicBezTo>
                  <a:pt x="138" y="32"/>
                  <a:pt x="134" y="36"/>
                  <a:pt x="130" y="36"/>
                </a:cubicBezTo>
                <a:cubicBezTo>
                  <a:pt x="125" y="36"/>
                  <a:pt x="121" y="32"/>
                  <a:pt x="121" y="28"/>
                </a:cubicBezTo>
                <a:cubicBezTo>
                  <a:pt x="121" y="23"/>
                  <a:pt x="125" y="19"/>
                  <a:pt x="130" y="19"/>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4" name="Freeform 1141">
            <a:extLst>
              <a:ext uri="{FF2B5EF4-FFF2-40B4-BE49-F238E27FC236}">
                <a16:creationId xmlns:a16="http://schemas.microsoft.com/office/drawing/2014/main" id="{54E27D98-7BFA-D641-AAAA-AC6AF9D76DE1}"/>
              </a:ext>
            </a:extLst>
          </p:cNvPr>
          <p:cNvSpPr>
            <a:spLocks noEditPoints="1"/>
          </p:cNvSpPr>
          <p:nvPr/>
        </p:nvSpPr>
        <p:spPr bwMode="auto">
          <a:xfrm>
            <a:off x="10031101" y="4054475"/>
            <a:ext cx="546100" cy="550863"/>
          </a:xfrm>
          <a:custGeom>
            <a:avLst/>
            <a:gdLst>
              <a:gd name="T0" fmla="*/ 0 w 160"/>
              <a:gd name="T1" fmla="*/ 0 h 160"/>
              <a:gd name="T2" fmla="*/ 0 w 160"/>
              <a:gd name="T3" fmla="*/ 160 h 160"/>
              <a:gd name="T4" fmla="*/ 160 w 160"/>
              <a:gd name="T5" fmla="*/ 160 h 160"/>
              <a:gd name="T6" fmla="*/ 160 w 160"/>
              <a:gd name="T7" fmla="*/ 0 h 160"/>
              <a:gd name="T8" fmla="*/ 0 w 160"/>
              <a:gd name="T9" fmla="*/ 0 h 160"/>
              <a:gd name="T10" fmla="*/ 155 w 160"/>
              <a:gd name="T11" fmla="*/ 155 h 160"/>
              <a:gd name="T12" fmla="*/ 5 w 160"/>
              <a:gd name="T13" fmla="*/ 155 h 160"/>
              <a:gd name="T14" fmla="*/ 5 w 160"/>
              <a:gd name="T15" fmla="*/ 5 h 160"/>
              <a:gd name="T16" fmla="*/ 155 w 160"/>
              <a:gd name="T17" fmla="*/ 5 h 160"/>
              <a:gd name="T18" fmla="*/ 155 w 160"/>
              <a:gd name="T19" fmla="*/ 155 h 160"/>
              <a:gd name="T20" fmla="*/ 24 w 160"/>
              <a:gd name="T21" fmla="*/ 77 h 160"/>
              <a:gd name="T22" fmla="*/ 136 w 160"/>
              <a:gd name="T23" fmla="*/ 77 h 160"/>
              <a:gd name="T24" fmla="*/ 136 w 160"/>
              <a:gd name="T25" fmla="*/ 83 h 160"/>
              <a:gd name="T26" fmla="*/ 24 w 160"/>
              <a:gd name="T27" fmla="*/ 83 h 160"/>
              <a:gd name="T28" fmla="*/ 24 w 160"/>
              <a:gd name="T29" fmla="*/ 77 h 160"/>
              <a:gd name="T30" fmla="*/ 80 w 160"/>
              <a:gd name="T31" fmla="*/ 59 h 160"/>
              <a:gd name="T32" fmla="*/ 93 w 160"/>
              <a:gd name="T33" fmla="*/ 45 h 160"/>
              <a:gd name="T34" fmla="*/ 80 w 160"/>
              <a:gd name="T35" fmla="*/ 32 h 160"/>
              <a:gd name="T36" fmla="*/ 67 w 160"/>
              <a:gd name="T37" fmla="*/ 45 h 160"/>
              <a:gd name="T38" fmla="*/ 80 w 160"/>
              <a:gd name="T39" fmla="*/ 59 h 160"/>
              <a:gd name="T40" fmla="*/ 80 w 160"/>
              <a:gd name="T41" fmla="*/ 37 h 160"/>
              <a:gd name="T42" fmla="*/ 88 w 160"/>
              <a:gd name="T43" fmla="*/ 45 h 160"/>
              <a:gd name="T44" fmla="*/ 80 w 160"/>
              <a:gd name="T45" fmla="*/ 53 h 160"/>
              <a:gd name="T46" fmla="*/ 72 w 160"/>
              <a:gd name="T47" fmla="*/ 45 h 160"/>
              <a:gd name="T48" fmla="*/ 80 w 160"/>
              <a:gd name="T49" fmla="*/ 37 h 160"/>
              <a:gd name="T50" fmla="*/ 80 w 160"/>
              <a:gd name="T51" fmla="*/ 101 h 160"/>
              <a:gd name="T52" fmla="*/ 67 w 160"/>
              <a:gd name="T53" fmla="*/ 115 h 160"/>
              <a:gd name="T54" fmla="*/ 80 w 160"/>
              <a:gd name="T55" fmla="*/ 128 h 160"/>
              <a:gd name="T56" fmla="*/ 93 w 160"/>
              <a:gd name="T57" fmla="*/ 115 h 160"/>
              <a:gd name="T58" fmla="*/ 80 w 160"/>
              <a:gd name="T59" fmla="*/ 101 h 160"/>
              <a:gd name="T60" fmla="*/ 80 w 160"/>
              <a:gd name="T61" fmla="*/ 123 h 160"/>
              <a:gd name="T62" fmla="*/ 72 w 160"/>
              <a:gd name="T63" fmla="*/ 115 h 160"/>
              <a:gd name="T64" fmla="*/ 80 w 160"/>
              <a:gd name="T65" fmla="*/ 107 h 160"/>
              <a:gd name="T66" fmla="*/ 88 w 160"/>
              <a:gd name="T67" fmla="*/ 115 h 160"/>
              <a:gd name="T68" fmla="*/ 80 w 160"/>
              <a:gd name="T69"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0" y="0"/>
                </a:moveTo>
                <a:cubicBezTo>
                  <a:pt x="0" y="160"/>
                  <a:pt x="0" y="160"/>
                  <a:pt x="0" y="160"/>
                </a:cubicBezTo>
                <a:cubicBezTo>
                  <a:pt x="160" y="160"/>
                  <a:pt x="160" y="160"/>
                  <a:pt x="160" y="160"/>
                </a:cubicBezTo>
                <a:cubicBezTo>
                  <a:pt x="160" y="0"/>
                  <a:pt x="160" y="0"/>
                  <a:pt x="160" y="0"/>
                </a:cubicBezTo>
                <a:lnTo>
                  <a:pt x="0" y="0"/>
                </a:lnTo>
                <a:close/>
                <a:moveTo>
                  <a:pt x="155" y="155"/>
                </a:moveTo>
                <a:cubicBezTo>
                  <a:pt x="5" y="155"/>
                  <a:pt x="5" y="155"/>
                  <a:pt x="5" y="155"/>
                </a:cubicBezTo>
                <a:cubicBezTo>
                  <a:pt x="5" y="5"/>
                  <a:pt x="5" y="5"/>
                  <a:pt x="5" y="5"/>
                </a:cubicBezTo>
                <a:cubicBezTo>
                  <a:pt x="155" y="5"/>
                  <a:pt x="155" y="5"/>
                  <a:pt x="155" y="5"/>
                </a:cubicBezTo>
                <a:lnTo>
                  <a:pt x="155" y="155"/>
                </a:lnTo>
                <a:close/>
                <a:moveTo>
                  <a:pt x="24" y="77"/>
                </a:moveTo>
                <a:cubicBezTo>
                  <a:pt x="136" y="77"/>
                  <a:pt x="136" y="77"/>
                  <a:pt x="136" y="77"/>
                </a:cubicBezTo>
                <a:cubicBezTo>
                  <a:pt x="136" y="83"/>
                  <a:pt x="136" y="83"/>
                  <a:pt x="136" y="83"/>
                </a:cubicBezTo>
                <a:cubicBezTo>
                  <a:pt x="24" y="83"/>
                  <a:pt x="24" y="83"/>
                  <a:pt x="24" y="83"/>
                </a:cubicBezTo>
                <a:lnTo>
                  <a:pt x="24" y="77"/>
                </a:lnTo>
                <a:close/>
                <a:moveTo>
                  <a:pt x="80" y="59"/>
                </a:moveTo>
                <a:cubicBezTo>
                  <a:pt x="87" y="59"/>
                  <a:pt x="93" y="53"/>
                  <a:pt x="93" y="45"/>
                </a:cubicBezTo>
                <a:cubicBezTo>
                  <a:pt x="93" y="38"/>
                  <a:pt x="87" y="32"/>
                  <a:pt x="80" y="32"/>
                </a:cubicBezTo>
                <a:cubicBezTo>
                  <a:pt x="73" y="32"/>
                  <a:pt x="67" y="38"/>
                  <a:pt x="67" y="45"/>
                </a:cubicBezTo>
                <a:cubicBezTo>
                  <a:pt x="67" y="53"/>
                  <a:pt x="73" y="59"/>
                  <a:pt x="80" y="59"/>
                </a:cubicBezTo>
                <a:close/>
                <a:moveTo>
                  <a:pt x="80" y="37"/>
                </a:moveTo>
                <a:cubicBezTo>
                  <a:pt x="84" y="37"/>
                  <a:pt x="88" y="41"/>
                  <a:pt x="88" y="45"/>
                </a:cubicBezTo>
                <a:cubicBezTo>
                  <a:pt x="88" y="50"/>
                  <a:pt x="84" y="53"/>
                  <a:pt x="80" y="53"/>
                </a:cubicBezTo>
                <a:cubicBezTo>
                  <a:pt x="76" y="53"/>
                  <a:pt x="72" y="50"/>
                  <a:pt x="72" y="45"/>
                </a:cubicBezTo>
                <a:cubicBezTo>
                  <a:pt x="72" y="41"/>
                  <a:pt x="76" y="37"/>
                  <a:pt x="80" y="37"/>
                </a:cubicBezTo>
                <a:close/>
                <a:moveTo>
                  <a:pt x="80" y="101"/>
                </a:moveTo>
                <a:cubicBezTo>
                  <a:pt x="73" y="101"/>
                  <a:pt x="67" y="107"/>
                  <a:pt x="67" y="115"/>
                </a:cubicBezTo>
                <a:cubicBezTo>
                  <a:pt x="67" y="122"/>
                  <a:pt x="73" y="128"/>
                  <a:pt x="80" y="128"/>
                </a:cubicBezTo>
                <a:cubicBezTo>
                  <a:pt x="87" y="128"/>
                  <a:pt x="93" y="122"/>
                  <a:pt x="93" y="115"/>
                </a:cubicBezTo>
                <a:cubicBezTo>
                  <a:pt x="93" y="107"/>
                  <a:pt x="87" y="101"/>
                  <a:pt x="80" y="101"/>
                </a:cubicBezTo>
                <a:close/>
                <a:moveTo>
                  <a:pt x="80" y="123"/>
                </a:moveTo>
                <a:cubicBezTo>
                  <a:pt x="76" y="123"/>
                  <a:pt x="72" y="119"/>
                  <a:pt x="72" y="115"/>
                </a:cubicBezTo>
                <a:cubicBezTo>
                  <a:pt x="72" y="110"/>
                  <a:pt x="76" y="107"/>
                  <a:pt x="80" y="107"/>
                </a:cubicBezTo>
                <a:cubicBezTo>
                  <a:pt x="84" y="107"/>
                  <a:pt x="88" y="110"/>
                  <a:pt x="88" y="115"/>
                </a:cubicBezTo>
                <a:cubicBezTo>
                  <a:pt x="88" y="119"/>
                  <a:pt x="84" y="123"/>
                  <a:pt x="80" y="123"/>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5" name="Freeform 1142">
            <a:extLst>
              <a:ext uri="{FF2B5EF4-FFF2-40B4-BE49-F238E27FC236}">
                <a16:creationId xmlns:a16="http://schemas.microsoft.com/office/drawing/2014/main" id="{E0FB13AA-BD13-AD40-B92B-65E31DB5D87A}"/>
              </a:ext>
            </a:extLst>
          </p:cNvPr>
          <p:cNvSpPr>
            <a:spLocks noEditPoints="1"/>
          </p:cNvSpPr>
          <p:nvPr/>
        </p:nvSpPr>
        <p:spPr bwMode="auto">
          <a:xfrm>
            <a:off x="10031101" y="4700588"/>
            <a:ext cx="546100" cy="471488"/>
          </a:xfrm>
          <a:custGeom>
            <a:avLst/>
            <a:gdLst>
              <a:gd name="T0" fmla="*/ 0 w 160"/>
              <a:gd name="T1" fmla="*/ 65 h 137"/>
              <a:gd name="T2" fmla="*/ 160 w 160"/>
              <a:gd name="T3" fmla="*/ 65 h 137"/>
              <a:gd name="T4" fmla="*/ 160 w 160"/>
              <a:gd name="T5" fmla="*/ 72 h 137"/>
              <a:gd name="T6" fmla="*/ 0 w 160"/>
              <a:gd name="T7" fmla="*/ 72 h 137"/>
              <a:gd name="T8" fmla="*/ 0 w 160"/>
              <a:gd name="T9" fmla="*/ 65 h 137"/>
              <a:gd name="T10" fmla="*/ 61 w 160"/>
              <a:gd name="T11" fmla="*/ 19 h 137"/>
              <a:gd name="T12" fmla="*/ 80 w 160"/>
              <a:gd name="T13" fmla="*/ 0 h 137"/>
              <a:gd name="T14" fmla="*/ 99 w 160"/>
              <a:gd name="T15" fmla="*/ 19 h 137"/>
              <a:gd name="T16" fmla="*/ 80 w 160"/>
              <a:gd name="T17" fmla="*/ 38 h 137"/>
              <a:gd name="T18" fmla="*/ 61 w 160"/>
              <a:gd name="T19" fmla="*/ 19 h 137"/>
              <a:gd name="T20" fmla="*/ 69 w 160"/>
              <a:gd name="T21" fmla="*/ 19 h 137"/>
              <a:gd name="T22" fmla="*/ 80 w 160"/>
              <a:gd name="T23" fmla="*/ 30 h 137"/>
              <a:gd name="T24" fmla="*/ 91 w 160"/>
              <a:gd name="T25" fmla="*/ 19 h 137"/>
              <a:gd name="T26" fmla="*/ 80 w 160"/>
              <a:gd name="T27" fmla="*/ 8 h 137"/>
              <a:gd name="T28" fmla="*/ 69 w 160"/>
              <a:gd name="T29" fmla="*/ 19 h 137"/>
              <a:gd name="T30" fmla="*/ 99 w 160"/>
              <a:gd name="T31" fmla="*/ 118 h 137"/>
              <a:gd name="T32" fmla="*/ 80 w 160"/>
              <a:gd name="T33" fmla="*/ 137 h 137"/>
              <a:gd name="T34" fmla="*/ 61 w 160"/>
              <a:gd name="T35" fmla="*/ 118 h 137"/>
              <a:gd name="T36" fmla="*/ 80 w 160"/>
              <a:gd name="T37" fmla="*/ 99 h 137"/>
              <a:gd name="T38" fmla="*/ 99 w 160"/>
              <a:gd name="T39" fmla="*/ 118 h 137"/>
              <a:gd name="T40" fmla="*/ 91 w 160"/>
              <a:gd name="T41" fmla="*/ 118 h 137"/>
              <a:gd name="T42" fmla="*/ 80 w 160"/>
              <a:gd name="T43" fmla="*/ 107 h 137"/>
              <a:gd name="T44" fmla="*/ 69 w 160"/>
              <a:gd name="T45" fmla="*/ 118 h 137"/>
              <a:gd name="T46" fmla="*/ 80 w 160"/>
              <a:gd name="T47" fmla="*/ 130 h 137"/>
              <a:gd name="T48" fmla="*/ 91 w 160"/>
              <a:gd name="T49" fmla="*/ 11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 h="137">
                <a:moveTo>
                  <a:pt x="0" y="65"/>
                </a:moveTo>
                <a:cubicBezTo>
                  <a:pt x="160" y="65"/>
                  <a:pt x="160" y="65"/>
                  <a:pt x="160" y="65"/>
                </a:cubicBezTo>
                <a:cubicBezTo>
                  <a:pt x="160" y="72"/>
                  <a:pt x="160" y="72"/>
                  <a:pt x="160" y="72"/>
                </a:cubicBezTo>
                <a:cubicBezTo>
                  <a:pt x="0" y="72"/>
                  <a:pt x="0" y="72"/>
                  <a:pt x="0" y="72"/>
                </a:cubicBezTo>
                <a:lnTo>
                  <a:pt x="0" y="65"/>
                </a:lnTo>
                <a:close/>
                <a:moveTo>
                  <a:pt x="61" y="19"/>
                </a:moveTo>
                <a:cubicBezTo>
                  <a:pt x="61" y="9"/>
                  <a:pt x="69" y="0"/>
                  <a:pt x="80" y="0"/>
                </a:cubicBezTo>
                <a:cubicBezTo>
                  <a:pt x="91" y="0"/>
                  <a:pt x="99" y="9"/>
                  <a:pt x="99" y="19"/>
                </a:cubicBezTo>
                <a:cubicBezTo>
                  <a:pt x="99" y="30"/>
                  <a:pt x="91" y="38"/>
                  <a:pt x="80" y="38"/>
                </a:cubicBezTo>
                <a:cubicBezTo>
                  <a:pt x="69" y="38"/>
                  <a:pt x="61" y="30"/>
                  <a:pt x="61" y="19"/>
                </a:cubicBezTo>
                <a:close/>
                <a:moveTo>
                  <a:pt x="69" y="19"/>
                </a:moveTo>
                <a:cubicBezTo>
                  <a:pt x="69" y="25"/>
                  <a:pt x="74" y="30"/>
                  <a:pt x="80" y="30"/>
                </a:cubicBezTo>
                <a:cubicBezTo>
                  <a:pt x="86" y="30"/>
                  <a:pt x="91" y="25"/>
                  <a:pt x="91" y="19"/>
                </a:cubicBezTo>
                <a:cubicBezTo>
                  <a:pt x="91" y="13"/>
                  <a:pt x="86" y="8"/>
                  <a:pt x="80" y="8"/>
                </a:cubicBezTo>
                <a:cubicBezTo>
                  <a:pt x="74" y="8"/>
                  <a:pt x="69" y="13"/>
                  <a:pt x="69" y="19"/>
                </a:cubicBezTo>
                <a:close/>
                <a:moveTo>
                  <a:pt x="99" y="118"/>
                </a:moveTo>
                <a:cubicBezTo>
                  <a:pt x="99" y="129"/>
                  <a:pt x="91" y="137"/>
                  <a:pt x="80" y="137"/>
                </a:cubicBezTo>
                <a:cubicBezTo>
                  <a:pt x="69" y="137"/>
                  <a:pt x="61" y="129"/>
                  <a:pt x="61" y="118"/>
                </a:cubicBezTo>
                <a:cubicBezTo>
                  <a:pt x="61" y="108"/>
                  <a:pt x="69" y="99"/>
                  <a:pt x="80" y="99"/>
                </a:cubicBezTo>
                <a:cubicBezTo>
                  <a:pt x="91" y="99"/>
                  <a:pt x="99" y="108"/>
                  <a:pt x="99" y="118"/>
                </a:cubicBezTo>
                <a:close/>
                <a:moveTo>
                  <a:pt x="91" y="118"/>
                </a:moveTo>
                <a:cubicBezTo>
                  <a:pt x="91" y="112"/>
                  <a:pt x="86" y="107"/>
                  <a:pt x="80" y="107"/>
                </a:cubicBezTo>
                <a:cubicBezTo>
                  <a:pt x="74" y="107"/>
                  <a:pt x="69" y="112"/>
                  <a:pt x="69" y="118"/>
                </a:cubicBezTo>
                <a:cubicBezTo>
                  <a:pt x="69" y="124"/>
                  <a:pt x="74" y="130"/>
                  <a:pt x="80" y="130"/>
                </a:cubicBezTo>
                <a:cubicBezTo>
                  <a:pt x="86" y="130"/>
                  <a:pt x="91" y="124"/>
                  <a:pt x="91" y="118"/>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6" name="Freeform 1143">
            <a:extLst>
              <a:ext uri="{FF2B5EF4-FFF2-40B4-BE49-F238E27FC236}">
                <a16:creationId xmlns:a16="http://schemas.microsoft.com/office/drawing/2014/main" id="{6E41FC28-6E5C-9841-83F3-62623B843D4F}"/>
              </a:ext>
            </a:extLst>
          </p:cNvPr>
          <p:cNvSpPr>
            <a:spLocks noEditPoints="1"/>
          </p:cNvSpPr>
          <p:nvPr/>
        </p:nvSpPr>
        <p:spPr bwMode="auto">
          <a:xfrm>
            <a:off x="10031101" y="5292725"/>
            <a:ext cx="546100" cy="527050"/>
          </a:xfrm>
          <a:custGeom>
            <a:avLst/>
            <a:gdLst>
              <a:gd name="T0" fmla="*/ 138 w 160"/>
              <a:gd name="T1" fmla="*/ 55 h 153"/>
              <a:gd name="T2" fmla="*/ 22 w 160"/>
              <a:gd name="T3" fmla="*/ 55 h 153"/>
              <a:gd name="T4" fmla="*/ 0 w 160"/>
              <a:gd name="T5" fmla="*/ 76 h 153"/>
              <a:gd name="T6" fmla="*/ 22 w 160"/>
              <a:gd name="T7" fmla="*/ 98 h 153"/>
              <a:gd name="T8" fmla="*/ 138 w 160"/>
              <a:gd name="T9" fmla="*/ 98 h 153"/>
              <a:gd name="T10" fmla="*/ 160 w 160"/>
              <a:gd name="T11" fmla="*/ 76 h 153"/>
              <a:gd name="T12" fmla="*/ 138 w 160"/>
              <a:gd name="T13" fmla="*/ 55 h 153"/>
              <a:gd name="T14" fmla="*/ 138 w 160"/>
              <a:gd name="T15" fmla="*/ 91 h 153"/>
              <a:gd name="T16" fmla="*/ 22 w 160"/>
              <a:gd name="T17" fmla="*/ 91 h 153"/>
              <a:gd name="T18" fmla="*/ 7 w 160"/>
              <a:gd name="T19" fmla="*/ 76 h 153"/>
              <a:gd name="T20" fmla="*/ 22 w 160"/>
              <a:gd name="T21" fmla="*/ 62 h 153"/>
              <a:gd name="T22" fmla="*/ 138 w 160"/>
              <a:gd name="T23" fmla="*/ 62 h 153"/>
              <a:gd name="T24" fmla="*/ 153 w 160"/>
              <a:gd name="T25" fmla="*/ 76 h 153"/>
              <a:gd name="T26" fmla="*/ 138 w 160"/>
              <a:gd name="T27" fmla="*/ 91 h 153"/>
              <a:gd name="T28" fmla="*/ 80 w 160"/>
              <a:gd name="T29" fmla="*/ 44 h 153"/>
              <a:gd name="T30" fmla="*/ 102 w 160"/>
              <a:gd name="T31" fmla="*/ 22 h 153"/>
              <a:gd name="T32" fmla="*/ 80 w 160"/>
              <a:gd name="T33" fmla="*/ 0 h 153"/>
              <a:gd name="T34" fmla="*/ 58 w 160"/>
              <a:gd name="T35" fmla="*/ 22 h 153"/>
              <a:gd name="T36" fmla="*/ 80 w 160"/>
              <a:gd name="T37" fmla="*/ 44 h 153"/>
              <a:gd name="T38" fmla="*/ 80 w 160"/>
              <a:gd name="T39" fmla="*/ 7 h 153"/>
              <a:gd name="T40" fmla="*/ 95 w 160"/>
              <a:gd name="T41" fmla="*/ 22 h 153"/>
              <a:gd name="T42" fmla="*/ 80 w 160"/>
              <a:gd name="T43" fmla="*/ 36 h 153"/>
              <a:gd name="T44" fmla="*/ 65 w 160"/>
              <a:gd name="T45" fmla="*/ 22 h 153"/>
              <a:gd name="T46" fmla="*/ 80 w 160"/>
              <a:gd name="T47" fmla="*/ 7 h 153"/>
              <a:gd name="T48" fmla="*/ 80 w 160"/>
              <a:gd name="T49" fmla="*/ 109 h 153"/>
              <a:gd name="T50" fmla="*/ 58 w 160"/>
              <a:gd name="T51" fmla="*/ 131 h 153"/>
              <a:gd name="T52" fmla="*/ 80 w 160"/>
              <a:gd name="T53" fmla="*/ 153 h 153"/>
              <a:gd name="T54" fmla="*/ 102 w 160"/>
              <a:gd name="T55" fmla="*/ 131 h 153"/>
              <a:gd name="T56" fmla="*/ 80 w 160"/>
              <a:gd name="T57" fmla="*/ 109 h 153"/>
              <a:gd name="T58" fmla="*/ 80 w 160"/>
              <a:gd name="T59" fmla="*/ 145 h 153"/>
              <a:gd name="T60" fmla="*/ 65 w 160"/>
              <a:gd name="T61" fmla="*/ 131 h 153"/>
              <a:gd name="T62" fmla="*/ 80 w 160"/>
              <a:gd name="T63" fmla="*/ 116 h 153"/>
              <a:gd name="T64" fmla="*/ 95 w 160"/>
              <a:gd name="T65" fmla="*/ 131 h 153"/>
              <a:gd name="T66" fmla="*/ 80 w 160"/>
              <a:gd name="T67" fmla="*/ 14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53">
                <a:moveTo>
                  <a:pt x="138" y="55"/>
                </a:moveTo>
                <a:cubicBezTo>
                  <a:pt x="22" y="55"/>
                  <a:pt x="22" y="55"/>
                  <a:pt x="22" y="55"/>
                </a:cubicBezTo>
                <a:cubicBezTo>
                  <a:pt x="10" y="55"/>
                  <a:pt x="0" y="64"/>
                  <a:pt x="0" y="76"/>
                </a:cubicBezTo>
                <a:cubicBezTo>
                  <a:pt x="0" y="88"/>
                  <a:pt x="10" y="98"/>
                  <a:pt x="22" y="98"/>
                </a:cubicBezTo>
                <a:cubicBezTo>
                  <a:pt x="138" y="98"/>
                  <a:pt x="138" y="98"/>
                  <a:pt x="138" y="98"/>
                </a:cubicBezTo>
                <a:cubicBezTo>
                  <a:pt x="150" y="98"/>
                  <a:pt x="160" y="88"/>
                  <a:pt x="160" y="76"/>
                </a:cubicBezTo>
                <a:cubicBezTo>
                  <a:pt x="160" y="64"/>
                  <a:pt x="150" y="55"/>
                  <a:pt x="138" y="55"/>
                </a:cubicBezTo>
                <a:close/>
                <a:moveTo>
                  <a:pt x="138" y="91"/>
                </a:moveTo>
                <a:cubicBezTo>
                  <a:pt x="22" y="91"/>
                  <a:pt x="22" y="91"/>
                  <a:pt x="22" y="91"/>
                </a:cubicBezTo>
                <a:cubicBezTo>
                  <a:pt x="14" y="91"/>
                  <a:pt x="7" y="84"/>
                  <a:pt x="7" y="76"/>
                </a:cubicBezTo>
                <a:cubicBezTo>
                  <a:pt x="7" y="68"/>
                  <a:pt x="14" y="62"/>
                  <a:pt x="22" y="62"/>
                </a:cubicBezTo>
                <a:cubicBezTo>
                  <a:pt x="138" y="62"/>
                  <a:pt x="138" y="62"/>
                  <a:pt x="138" y="62"/>
                </a:cubicBezTo>
                <a:cubicBezTo>
                  <a:pt x="146" y="62"/>
                  <a:pt x="153" y="68"/>
                  <a:pt x="153" y="76"/>
                </a:cubicBezTo>
                <a:cubicBezTo>
                  <a:pt x="153" y="84"/>
                  <a:pt x="146" y="91"/>
                  <a:pt x="138" y="91"/>
                </a:cubicBezTo>
                <a:close/>
                <a:moveTo>
                  <a:pt x="80" y="44"/>
                </a:moveTo>
                <a:cubicBezTo>
                  <a:pt x="92" y="44"/>
                  <a:pt x="102" y="34"/>
                  <a:pt x="102" y="22"/>
                </a:cubicBezTo>
                <a:cubicBezTo>
                  <a:pt x="102" y="10"/>
                  <a:pt x="92" y="0"/>
                  <a:pt x="80" y="0"/>
                </a:cubicBezTo>
                <a:cubicBezTo>
                  <a:pt x="68" y="0"/>
                  <a:pt x="58" y="10"/>
                  <a:pt x="58" y="22"/>
                </a:cubicBezTo>
                <a:cubicBezTo>
                  <a:pt x="58" y="34"/>
                  <a:pt x="68" y="44"/>
                  <a:pt x="80" y="44"/>
                </a:cubicBezTo>
                <a:close/>
                <a:moveTo>
                  <a:pt x="80" y="7"/>
                </a:moveTo>
                <a:cubicBezTo>
                  <a:pt x="88" y="7"/>
                  <a:pt x="95" y="14"/>
                  <a:pt x="95" y="22"/>
                </a:cubicBezTo>
                <a:cubicBezTo>
                  <a:pt x="95" y="30"/>
                  <a:pt x="88" y="36"/>
                  <a:pt x="80" y="36"/>
                </a:cubicBezTo>
                <a:cubicBezTo>
                  <a:pt x="72" y="36"/>
                  <a:pt x="65" y="30"/>
                  <a:pt x="65" y="22"/>
                </a:cubicBezTo>
                <a:cubicBezTo>
                  <a:pt x="65" y="14"/>
                  <a:pt x="72" y="7"/>
                  <a:pt x="80" y="7"/>
                </a:cubicBezTo>
                <a:close/>
                <a:moveTo>
                  <a:pt x="80" y="109"/>
                </a:moveTo>
                <a:cubicBezTo>
                  <a:pt x="68" y="109"/>
                  <a:pt x="58" y="119"/>
                  <a:pt x="58" y="131"/>
                </a:cubicBezTo>
                <a:cubicBezTo>
                  <a:pt x="58" y="143"/>
                  <a:pt x="68" y="153"/>
                  <a:pt x="80" y="153"/>
                </a:cubicBezTo>
                <a:cubicBezTo>
                  <a:pt x="92" y="153"/>
                  <a:pt x="102" y="143"/>
                  <a:pt x="102" y="131"/>
                </a:cubicBezTo>
                <a:cubicBezTo>
                  <a:pt x="102" y="119"/>
                  <a:pt x="92" y="109"/>
                  <a:pt x="80" y="109"/>
                </a:cubicBezTo>
                <a:close/>
                <a:moveTo>
                  <a:pt x="80" y="145"/>
                </a:moveTo>
                <a:cubicBezTo>
                  <a:pt x="72" y="145"/>
                  <a:pt x="65" y="139"/>
                  <a:pt x="65" y="131"/>
                </a:cubicBezTo>
                <a:cubicBezTo>
                  <a:pt x="65" y="123"/>
                  <a:pt x="72" y="116"/>
                  <a:pt x="80" y="116"/>
                </a:cubicBezTo>
                <a:cubicBezTo>
                  <a:pt x="88" y="116"/>
                  <a:pt x="95" y="123"/>
                  <a:pt x="95" y="131"/>
                </a:cubicBezTo>
                <a:cubicBezTo>
                  <a:pt x="95" y="139"/>
                  <a:pt x="88" y="145"/>
                  <a:pt x="80" y="14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7" name="Freeform 1144">
            <a:extLst>
              <a:ext uri="{FF2B5EF4-FFF2-40B4-BE49-F238E27FC236}">
                <a16:creationId xmlns:a16="http://schemas.microsoft.com/office/drawing/2014/main" id="{3FE4CBCA-AD2D-394B-82E0-FF8E2BE60ED6}"/>
              </a:ext>
            </a:extLst>
          </p:cNvPr>
          <p:cNvSpPr>
            <a:spLocks noEditPoints="1"/>
          </p:cNvSpPr>
          <p:nvPr/>
        </p:nvSpPr>
        <p:spPr bwMode="auto">
          <a:xfrm>
            <a:off x="10086664" y="5911850"/>
            <a:ext cx="425450" cy="550863"/>
          </a:xfrm>
          <a:custGeom>
            <a:avLst/>
            <a:gdLst>
              <a:gd name="T0" fmla="*/ 0 w 125"/>
              <a:gd name="T1" fmla="*/ 0 h 160"/>
              <a:gd name="T2" fmla="*/ 125 w 125"/>
              <a:gd name="T3" fmla="*/ 160 h 160"/>
              <a:gd name="T4" fmla="*/ 86 w 125"/>
              <a:gd name="T5" fmla="*/ 0 h 160"/>
              <a:gd name="T6" fmla="*/ 116 w 125"/>
              <a:gd name="T7" fmla="*/ 37 h 160"/>
              <a:gd name="T8" fmla="*/ 88 w 125"/>
              <a:gd name="T9" fmla="*/ 9 h 160"/>
              <a:gd name="T10" fmla="*/ 5 w 125"/>
              <a:gd name="T11" fmla="*/ 5 h 160"/>
              <a:gd name="T12" fmla="*/ 83 w 125"/>
              <a:gd name="T13" fmla="*/ 43 h 160"/>
              <a:gd name="T14" fmla="*/ 120 w 125"/>
              <a:gd name="T15" fmla="*/ 155 h 160"/>
              <a:gd name="T16" fmla="*/ 24 w 125"/>
              <a:gd name="T17" fmla="*/ 43 h 160"/>
              <a:gd name="T18" fmla="*/ 51 w 125"/>
              <a:gd name="T19" fmla="*/ 40 h 160"/>
              <a:gd name="T20" fmla="*/ 51 w 125"/>
              <a:gd name="T21" fmla="*/ 45 h 160"/>
              <a:gd name="T22" fmla="*/ 24 w 125"/>
              <a:gd name="T23" fmla="*/ 43 h 160"/>
              <a:gd name="T24" fmla="*/ 72 w 125"/>
              <a:gd name="T25" fmla="*/ 104 h 160"/>
              <a:gd name="T26" fmla="*/ 24 w 125"/>
              <a:gd name="T27" fmla="*/ 101 h 160"/>
              <a:gd name="T28" fmla="*/ 72 w 125"/>
              <a:gd name="T29" fmla="*/ 99 h 160"/>
              <a:gd name="T30" fmla="*/ 101 w 125"/>
              <a:gd name="T31" fmla="*/ 83 h 160"/>
              <a:gd name="T32" fmla="*/ 80 w 125"/>
              <a:gd name="T33" fmla="*/ 85 h 160"/>
              <a:gd name="T34" fmla="*/ 80 w 125"/>
              <a:gd name="T35" fmla="*/ 80 h 160"/>
              <a:gd name="T36" fmla="*/ 101 w 125"/>
              <a:gd name="T37" fmla="*/ 83 h 160"/>
              <a:gd name="T38" fmla="*/ 27 w 125"/>
              <a:gd name="T39" fmla="*/ 61 h 160"/>
              <a:gd name="T40" fmla="*/ 43 w 125"/>
              <a:gd name="T41" fmla="*/ 64 h 160"/>
              <a:gd name="T42" fmla="*/ 27 w 125"/>
              <a:gd name="T43" fmla="*/ 67 h 160"/>
              <a:gd name="T44" fmla="*/ 64 w 125"/>
              <a:gd name="T45" fmla="*/ 64 h 160"/>
              <a:gd name="T46" fmla="*/ 85 w 125"/>
              <a:gd name="T47" fmla="*/ 61 h 160"/>
              <a:gd name="T48" fmla="*/ 85 w 125"/>
              <a:gd name="T49" fmla="*/ 67 h 160"/>
              <a:gd name="T50" fmla="*/ 64 w 125"/>
              <a:gd name="T51" fmla="*/ 64 h 160"/>
              <a:gd name="T52" fmla="*/ 55 w 125"/>
              <a:gd name="T53" fmla="*/ 62 h 160"/>
              <a:gd name="T54" fmla="*/ 55 w 125"/>
              <a:gd name="T55" fmla="*/ 66 h 160"/>
              <a:gd name="T56" fmla="*/ 51 w 125"/>
              <a:gd name="T57" fmla="*/ 66 h 160"/>
              <a:gd name="T58" fmla="*/ 51 w 125"/>
              <a:gd name="T59" fmla="*/ 62 h 160"/>
              <a:gd name="T60" fmla="*/ 69 w 125"/>
              <a:gd name="T61" fmla="*/ 83 h 160"/>
              <a:gd name="T62" fmla="*/ 40 w 125"/>
              <a:gd name="T63" fmla="*/ 85 h 160"/>
              <a:gd name="T64" fmla="*/ 40 w 125"/>
              <a:gd name="T65" fmla="*/ 80 h 160"/>
              <a:gd name="T66" fmla="*/ 25 w 125"/>
              <a:gd name="T67" fmla="*/ 85 h 160"/>
              <a:gd name="T68" fmla="*/ 25 w 125"/>
              <a:gd name="T69" fmla="*/ 81 h 160"/>
              <a:gd name="T70" fmla="*/ 29 w 125"/>
              <a:gd name="T71" fmla="*/ 83 h 160"/>
              <a:gd name="T72" fmla="*/ 27 w 125"/>
              <a:gd name="T73" fmla="*/ 85 h 160"/>
              <a:gd name="T74" fmla="*/ 101 w 125"/>
              <a:gd name="T75" fmla="*/ 120 h 160"/>
              <a:gd name="T76" fmla="*/ 80 w 125"/>
              <a:gd name="T77" fmla="*/ 123 h 160"/>
              <a:gd name="T78" fmla="*/ 80 w 125"/>
              <a:gd name="T79" fmla="*/ 117 h 160"/>
              <a:gd name="T80" fmla="*/ 101 w 125"/>
              <a:gd name="T81" fmla="*/ 120 h 160"/>
              <a:gd name="T82" fmla="*/ 67 w 125"/>
              <a:gd name="T83" fmla="*/ 123 h 160"/>
              <a:gd name="T84" fmla="*/ 37 w 125"/>
              <a:gd name="T85" fmla="*/ 120 h 160"/>
              <a:gd name="T86" fmla="*/ 67 w 125"/>
              <a:gd name="T87" fmla="*/ 117 h 160"/>
              <a:gd name="T88" fmla="*/ 29 w 125"/>
              <a:gd name="T89" fmla="*/ 118 h 160"/>
              <a:gd name="T90" fmla="*/ 29 w 125"/>
              <a:gd name="T91" fmla="*/ 122 h 160"/>
              <a:gd name="T92" fmla="*/ 25 w 125"/>
              <a:gd name="T93" fmla="*/ 122 h 160"/>
              <a:gd name="T94" fmla="*/ 25 w 125"/>
              <a:gd name="T95" fmla="*/ 118 h 160"/>
              <a:gd name="T96" fmla="*/ 101 w 125"/>
              <a:gd name="T97" fmla="*/ 62 h 160"/>
              <a:gd name="T98" fmla="*/ 101 w 125"/>
              <a:gd name="T99" fmla="*/ 66 h 160"/>
              <a:gd name="T100" fmla="*/ 97 w 125"/>
              <a:gd name="T101" fmla="*/ 66 h 160"/>
              <a:gd name="T102" fmla="*/ 97 w 125"/>
              <a:gd name="T103" fmla="*/ 62 h 160"/>
              <a:gd name="T104" fmla="*/ 85 w 125"/>
              <a:gd name="T105" fmla="*/ 104 h 160"/>
              <a:gd name="T106" fmla="*/ 83 w 125"/>
              <a:gd name="T107" fmla="*/ 101 h 160"/>
              <a:gd name="T108" fmla="*/ 87 w 125"/>
              <a:gd name="T109" fmla="*/ 99 h 160"/>
              <a:gd name="T110" fmla="*/ 87 w 125"/>
              <a:gd name="T111" fmla="*/ 103 h 160"/>
              <a:gd name="T112" fmla="*/ 101 w 125"/>
              <a:gd name="T113" fmla="*/ 99 h 160"/>
              <a:gd name="T114" fmla="*/ 101 w 125"/>
              <a:gd name="T115" fmla="*/ 103 h 160"/>
              <a:gd name="T116" fmla="*/ 97 w 125"/>
              <a:gd name="T117" fmla="*/ 103 h 160"/>
              <a:gd name="T118" fmla="*/ 97 w 125"/>
              <a:gd name="T119" fmla="*/ 9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60">
                <a:moveTo>
                  <a:pt x="86" y="0"/>
                </a:moveTo>
                <a:cubicBezTo>
                  <a:pt x="0" y="0"/>
                  <a:pt x="0" y="0"/>
                  <a:pt x="0" y="0"/>
                </a:cubicBezTo>
                <a:cubicBezTo>
                  <a:pt x="0" y="160"/>
                  <a:pt x="0" y="160"/>
                  <a:pt x="0" y="160"/>
                </a:cubicBezTo>
                <a:cubicBezTo>
                  <a:pt x="125" y="160"/>
                  <a:pt x="125" y="160"/>
                  <a:pt x="125" y="160"/>
                </a:cubicBezTo>
                <a:cubicBezTo>
                  <a:pt x="125" y="39"/>
                  <a:pt x="125" y="39"/>
                  <a:pt x="125" y="39"/>
                </a:cubicBezTo>
                <a:lnTo>
                  <a:pt x="86" y="0"/>
                </a:lnTo>
                <a:close/>
                <a:moveTo>
                  <a:pt x="88" y="9"/>
                </a:moveTo>
                <a:cubicBezTo>
                  <a:pt x="116" y="37"/>
                  <a:pt x="116" y="37"/>
                  <a:pt x="116" y="37"/>
                </a:cubicBezTo>
                <a:cubicBezTo>
                  <a:pt x="88" y="37"/>
                  <a:pt x="88" y="37"/>
                  <a:pt x="88" y="37"/>
                </a:cubicBezTo>
                <a:lnTo>
                  <a:pt x="88" y="9"/>
                </a:lnTo>
                <a:close/>
                <a:moveTo>
                  <a:pt x="5" y="155"/>
                </a:moveTo>
                <a:cubicBezTo>
                  <a:pt x="5" y="5"/>
                  <a:pt x="5" y="5"/>
                  <a:pt x="5" y="5"/>
                </a:cubicBezTo>
                <a:cubicBezTo>
                  <a:pt x="83" y="5"/>
                  <a:pt x="83" y="5"/>
                  <a:pt x="83" y="5"/>
                </a:cubicBezTo>
                <a:cubicBezTo>
                  <a:pt x="83" y="43"/>
                  <a:pt x="83" y="43"/>
                  <a:pt x="83" y="43"/>
                </a:cubicBezTo>
                <a:cubicBezTo>
                  <a:pt x="120" y="43"/>
                  <a:pt x="120" y="43"/>
                  <a:pt x="120" y="43"/>
                </a:cubicBezTo>
                <a:cubicBezTo>
                  <a:pt x="120" y="155"/>
                  <a:pt x="120" y="155"/>
                  <a:pt x="120" y="155"/>
                </a:cubicBezTo>
                <a:lnTo>
                  <a:pt x="5" y="155"/>
                </a:lnTo>
                <a:close/>
                <a:moveTo>
                  <a:pt x="24" y="43"/>
                </a:moveTo>
                <a:cubicBezTo>
                  <a:pt x="24" y="41"/>
                  <a:pt x="25" y="40"/>
                  <a:pt x="27" y="40"/>
                </a:cubicBezTo>
                <a:cubicBezTo>
                  <a:pt x="51" y="40"/>
                  <a:pt x="51" y="40"/>
                  <a:pt x="51" y="40"/>
                </a:cubicBezTo>
                <a:cubicBezTo>
                  <a:pt x="52" y="40"/>
                  <a:pt x="53" y="41"/>
                  <a:pt x="53" y="43"/>
                </a:cubicBezTo>
                <a:cubicBezTo>
                  <a:pt x="53" y="44"/>
                  <a:pt x="52" y="45"/>
                  <a:pt x="51" y="45"/>
                </a:cubicBezTo>
                <a:cubicBezTo>
                  <a:pt x="27" y="45"/>
                  <a:pt x="27" y="45"/>
                  <a:pt x="27" y="45"/>
                </a:cubicBezTo>
                <a:cubicBezTo>
                  <a:pt x="25" y="45"/>
                  <a:pt x="24" y="44"/>
                  <a:pt x="24" y="43"/>
                </a:cubicBezTo>
                <a:close/>
                <a:moveTo>
                  <a:pt x="75" y="101"/>
                </a:moveTo>
                <a:cubicBezTo>
                  <a:pt x="75" y="103"/>
                  <a:pt x="73" y="104"/>
                  <a:pt x="72" y="104"/>
                </a:cubicBezTo>
                <a:cubicBezTo>
                  <a:pt x="27" y="104"/>
                  <a:pt x="27" y="104"/>
                  <a:pt x="27" y="104"/>
                </a:cubicBezTo>
                <a:cubicBezTo>
                  <a:pt x="25" y="104"/>
                  <a:pt x="24" y="103"/>
                  <a:pt x="24" y="101"/>
                </a:cubicBezTo>
                <a:cubicBezTo>
                  <a:pt x="24" y="100"/>
                  <a:pt x="25" y="99"/>
                  <a:pt x="27" y="99"/>
                </a:cubicBezTo>
                <a:cubicBezTo>
                  <a:pt x="72" y="99"/>
                  <a:pt x="72" y="99"/>
                  <a:pt x="72" y="99"/>
                </a:cubicBezTo>
                <a:cubicBezTo>
                  <a:pt x="73" y="99"/>
                  <a:pt x="75" y="100"/>
                  <a:pt x="75" y="101"/>
                </a:cubicBezTo>
                <a:close/>
                <a:moveTo>
                  <a:pt x="101" y="83"/>
                </a:moveTo>
                <a:cubicBezTo>
                  <a:pt x="101" y="84"/>
                  <a:pt x="100" y="85"/>
                  <a:pt x="99" y="85"/>
                </a:cubicBezTo>
                <a:cubicBezTo>
                  <a:pt x="80" y="85"/>
                  <a:pt x="80" y="85"/>
                  <a:pt x="80" y="85"/>
                </a:cubicBezTo>
                <a:cubicBezTo>
                  <a:pt x="79" y="85"/>
                  <a:pt x="77" y="84"/>
                  <a:pt x="77" y="83"/>
                </a:cubicBezTo>
                <a:cubicBezTo>
                  <a:pt x="77" y="81"/>
                  <a:pt x="79" y="80"/>
                  <a:pt x="80" y="80"/>
                </a:cubicBezTo>
                <a:cubicBezTo>
                  <a:pt x="99" y="80"/>
                  <a:pt x="99" y="80"/>
                  <a:pt x="99" y="80"/>
                </a:cubicBezTo>
                <a:cubicBezTo>
                  <a:pt x="100" y="80"/>
                  <a:pt x="101" y="81"/>
                  <a:pt x="101" y="83"/>
                </a:cubicBezTo>
                <a:close/>
                <a:moveTo>
                  <a:pt x="24" y="64"/>
                </a:moveTo>
                <a:cubicBezTo>
                  <a:pt x="24" y="63"/>
                  <a:pt x="25" y="61"/>
                  <a:pt x="27" y="61"/>
                </a:cubicBezTo>
                <a:cubicBezTo>
                  <a:pt x="40" y="61"/>
                  <a:pt x="40" y="61"/>
                  <a:pt x="40" y="61"/>
                </a:cubicBezTo>
                <a:cubicBezTo>
                  <a:pt x="41" y="61"/>
                  <a:pt x="43" y="63"/>
                  <a:pt x="43" y="64"/>
                </a:cubicBezTo>
                <a:cubicBezTo>
                  <a:pt x="43" y="65"/>
                  <a:pt x="41" y="67"/>
                  <a:pt x="40" y="67"/>
                </a:cubicBezTo>
                <a:cubicBezTo>
                  <a:pt x="27" y="67"/>
                  <a:pt x="27" y="67"/>
                  <a:pt x="27" y="67"/>
                </a:cubicBezTo>
                <a:cubicBezTo>
                  <a:pt x="25" y="67"/>
                  <a:pt x="24" y="65"/>
                  <a:pt x="24" y="64"/>
                </a:cubicBezTo>
                <a:close/>
                <a:moveTo>
                  <a:pt x="64" y="64"/>
                </a:moveTo>
                <a:cubicBezTo>
                  <a:pt x="64" y="63"/>
                  <a:pt x="65" y="61"/>
                  <a:pt x="67" y="61"/>
                </a:cubicBezTo>
                <a:cubicBezTo>
                  <a:pt x="85" y="61"/>
                  <a:pt x="85" y="61"/>
                  <a:pt x="85" y="61"/>
                </a:cubicBezTo>
                <a:cubicBezTo>
                  <a:pt x="87" y="61"/>
                  <a:pt x="88" y="63"/>
                  <a:pt x="88" y="64"/>
                </a:cubicBezTo>
                <a:cubicBezTo>
                  <a:pt x="88" y="65"/>
                  <a:pt x="87" y="67"/>
                  <a:pt x="85" y="67"/>
                </a:cubicBezTo>
                <a:cubicBezTo>
                  <a:pt x="67" y="67"/>
                  <a:pt x="67" y="67"/>
                  <a:pt x="67" y="67"/>
                </a:cubicBezTo>
                <a:cubicBezTo>
                  <a:pt x="65" y="67"/>
                  <a:pt x="64" y="65"/>
                  <a:pt x="64" y="64"/>
                </a:cubicBezTo>
                <a:close/>
                <a:moveTo>
                  <a:pt x="51" y="62"/>
                </a:moveTo>
                <a:cubicBezTo>
                  <a:pt x="52" y="61"/>
                  <a:pt x="54" y="61"/>
                  <a:pt x="55" y="62"/>
                </a:cubicBezTo>
                <a:cubicBezTo>
                  <a:pt x="56" y="63"/>
                  <a:pt x="56" y="63"/>
                  <a:pt x="56" y="64"/>
                </a:cubicBezTo>
                <a:cubicBezTo>
                  <a:pt x="56" y="65"/>
                  <a:pt x="56" y="65"/>
                  <a:pt x="55" y="66"/>
                </a:cubicBezTo>
                <a:cubicBezTo>
                  <a:pt x="55" y="66"/>
                  <a:pt x="54" y="67"/>
                  <a:pt x="53" y="67"/>
                </a:cubicBezTo>
                <a:cubicBezTo>
                  <a:pt x="53" y="67"/>
                  <a:pt x="52" y="66"/>
                  <a:pt x="51" y="66"/>
                </a:cubicBezTo>
                <a:cubicBezTo>
                  <a:pt x="51" y="65"/>
                  <a:pt x="51" y="65"/>
                  <a:pt x="51" y="64"/>
                </a:cubicBezTo>
                <a:cubicBezTo>
                  <a:pt x="51" y="63"/>
                  <a:pt x="51" y="63"/>
                  <a:pt x="51" y="62"/>
                </a:cubicBezTo>
                <a:close/>
                <a:moveTo>
                  <a:pt x="67" y="80"/>
                </a:moveTo>
                <a:cubicBezTo>
                  <a:pt x="68" y="80"/>
                  <a:pt x="69" y="81"/>
                  <a:pt x="69" y="83"/>
                </a:cubicBezTo>
                <a:cubicBezTo>
                  <a:pt x="69" y="84"/>
                  <a:pt x="68" y="85"/>
                  <a:pt x="67" y="85"/>
                </a:cubicBezTo>
                <a:cubicBezTo>
                  <a:pt x="40" y="85"/>
                  <a:pt x="40" y="85"/>
                  <a:pt x="40" y="85"/>
                </a:cubicBezTo>
                <a:cubicBezTo>
                  <a:pt x="39" y="85"/>
                  <a:pt x="37" y="84"/>
                  <a:pt x="37" y="83"/>
                </a:cubicBezTo>
                <a:cubicBezTo>
                  <a:pt x="37" y="81"/>
                  <a:pt x="39" y="80"/>
                  <a:pt x="40" y="80"/>
                </a:cubicBezTo>
                <a:lnTo>
                  <a:pt x="67" y="80"/>
                </a:lnTo>
                <a:close/>
                <a:moveTo>
                  <a:pt x="25" y="85"/>
                </a:moveTo>
                <a:cubicBezTo>
                  <a:pt x="24" y="84"/>
                  <a:pt x="24" y="83"/>
                  <a:pt x="24" y="83"/>
                </a:cubicBezTo>
                <a:cubicBezTo>
                  <a:pt x="24" y="82"/>
                  <a:pt x="24" y="81"/>
                  <a:pt x="25" y="81"/>
                </a:cubicBezTo>
                <a:cubicBezTo>
                  <a:pt x="26" y="80"/>
                  <a:pt x="28" y="80"/>
                  <a:pt x="29" y="81"/>
                </a:cubicBezTo>
                <a:cubicBezTo>
                  <a:pt x="29" y="81"/>
                  <a:pt x="29" y="82"/>
                  <a:pt x="29" y="83"/>
                </a:cubicBezTo>
                <a:cubicBezTo>
                  <a:pt x="29" y="83"/>
                  <a:pt x="29" y="84"/>
                  <a:pt x="29" y="85"/>
                </a:cubicBezTo>
                <a:cubicBezTo>
                  <a:pt x="28" y="85"/>
                  <a:pt x="27" y="85"/>
                  <a:pt x="27" y="85"/>
                </a:cubicBezTo>
                <a:cubicBezTo>
                  <a:pt x="26" y="85"/>
                  <a:pt x="25" y="85"/>
                  <a:pt x="25" y="85"/>
                </a:cubicBezTo>
                <a:close/>
                <a:moveTo>
                  <a:pt x="101" y="120"/>
                </a:moveTo>
                <a:cubicBezTo>
                  <a:pt x="101" y="121"/>
                  <a:pt x="100" y="123"/>
                  <a:pt x="99" y="123"/>
                </a:cubicBezTo>
                <a:cubicBezTo>
                  <a:pt x="80" y="123"/>
                  <a:pt x="80" y="123"/>
                  <a:pt x="80" y="123"/>
                </a:cubicBezTo>
                <a:cubicBezTo>
                  <a:pt x="79" y="123"/>
                  <a:pt x="77" y="121"/>
                  <a:pt x="77" y="120"/>
                </a:cubicBezTo>
                <a:cubicBezTo>
                  <a:pt x="77" y="119"/>
                  <a:pt x="79" y="117"/>
                  <a:pt x="80" y="117"/>
                </a:cubicBezTo>
                <a:cubicBezTo>
                  <a:pt x="99" y="117"/>
                  <a:pt x="99" y="117"/>
                  <a:pt x="99" y="117"/>
                </a:cubicBezTo>
                <a:cubicBezTo>
                  <a:pt x="100" y="117"/>
                  <a:pt x="101" y="119"/>
                  <a:pt x="101" y="120"/>
                </a:cubicBezTo>
                <a:close/>
                <a:moveTo>
                  <a:pt x="69" y="120"/>
                </a:moveTo>
                <a:cubicBezTo>
                  <a:pt x="69" y="121"/>
                  <a:pt x="68" y="123"/>
                  <a:pt x="67" y="123"/>
                </a:cubicBezTo>
                <a:cubicBezTo>
                  <a:pt x="40" y="123"/>
                  <a:pt x="40" y="123"/>
                  <a:pt x="40" y="123"/>
                </a:cubicBezTo>
                <a:cubicBezTo>
                  <a:pt x="39" y="123"/>
                  <a:pt x="37" y="121"/>
                  <a:pt x="37" y="120"/>
                </a:cubicBezTo>
                <a:cubicBezTo>
                  <a:pt x="37" y="119"/>
                  <a:pt x="39" y="117"/>
                  <a:pt x="40" y="117"/>
                </a:cubicBezTo>
                <a:cubicBezTo>
                  <a:pt x="67" y="117"/>
                  <a:pt x="67" y="117"/>
                  <a:pt x="67" y="117"/>
                </a:cubicBezTo>
                <a:cubicBezTo>
                  <a:pt x="68" y="117"/>
                  <a:pt x="69" y="119"/>
                  <a:pt x="69" y="120"/>
                </a:cubicBezTo>
                <a:close/>
                <a:moveTo>
                  <a:pt x="29" y="118"/>
                </a:moveTo>
                <a:cubicBezTo>
                  <a:pt x="29" y="119"/>
                  <a:pt x="29" y="119"/>
                  <a:pt x="29" y="120"/>
                </a:cubicBezTo>
                <a:cubicBezTo>
                  <a:pt x="29" y="121"/>
                  <a:pt x="29" y="121"/>
                  <a:pt x="29" y="122"/>
                </a:cubicBezTo>
                <a:cubicBezTo>
                  <a:pt x="28" y="122"/>
                  <a:pt x="27" y="123"/>
                  <a:pt x="27" y="123"/>
                </a:cubicBezTo>
                <a:cubicBezTo>
                  <a:pt x="26" y="123"/>
                  <a:pt x="25" y="122"/>
                  <a:pt x="25" y="122"/>
                </a:cubicBezTo>
                <a:cubicBezTo>
                  <a:pt x="24" y="121"/>
                  <a:pt x="24" y="121"/>
                  <a:pt x="24" y="120"/>
                </a:cubicBezTo>
                <a:cubicBezTo>
                  <a:pt x="24" y="119"/>
                  <a:pt x="24" y="119"/>
                  <a:pt x="25" y="118"/>
                </a:cubicBezTo>
                <a:cubicBezTo>
                  <a:pt x="26" y="117"/>
                  <a:pt x="28" y="117"/>
                  <a:pt x="29" y="118"/>
                </a:cubicBezTo>
                <a:close/>
                <a:moveTo>
                  <a:pt x="101" y="62"/>
                </a:moveTo>
                <a:cubicBezTo>
                  <a:pt x="101" y="63"/>
                  <a:pt x="101" y="63"/>
                  <a:pt x="101" y="64"/>
                </a:cubicBezTo>
                <a:cubicBezTo>
                  <a:pt x="101" y="65"/>
                  <a:pt x="101" y="65"/>
                  <a:pt x="101" y="66"/>
                </a:cubicBezTo>
                <a:cubicBezTo>
                  <a:pt x="100" y="66"/>
                  <a:pt x="99" y="67"/>
                  <a:pt x="99" y="67"/>
                </a:cubicBezTo>
                <a:cubicBezTo>
                  <a:pt x="98" y="67"/>
                  <a:pt x="97" y="66"/>
                  <a:pt x="97" y="66"/>
                </a:cubicBezTo>
                <a:cubicBezTo>
                  <a:pt x="96" y="65"/>
                  <a:pt x="96" y="65"/>
                  <a:pt x="96" y="64"/>
                </a:cubicBezTo>
                <a:cubicBezTo>
                  <a:pt x="96" y="63"/>
                  <a:pt x="96" y="63"/>
                  <a:pt x="97" y="62"/>
                </a:cubicBezTo>
                <a:cubicBezTo>
                  <a:pt x="98" y="61"/>
                  <a:pt x="100" y="61"/>
                  <a:pt x="101" y="62"/>
                </a:cubicBezTo>
                <a:close/>
                <a:moveTo>
                  <a:pt x="85" y="104"/>
                </a:moveTo>
                <a:cubicBezTo>
                  <a:pt x="85" y="104"/>
                  <a:pt x="84" y="104"/>
                  <a:pt x="83" y="103"/>
                </a:cubicBezTo>
                <a:cubicBezTo>
                  <a:pt x="83" y="103"/>
                  <a:pt x="83" y="102"/>
                  <a:pt x="83" y="101"/>
                </a:cubicBezTo>
                <a:cubicBezTo>
                  <a:pt x="83" y="101"/>
                  <a:pt x="83" y="100"/>
                  <a:pt x="83" y="99"/>
                </a:cubicBezTo>
                <a:cubicBezTo>
                  <a:pt x="84" y="98"/>
                  <a:pt x="86" y="98"/>
                  <a:pt x="87" y="99"/>
                </a:cubicBezTo>
                <a:cubicBezTo>
                  <a:pt x="88" y="100"/>
                  <a:pt x="88" y="101"/>
                  <a:pt x="88" y="101"/>
                </a:cubicBezTo>
                <a:cubicBezTo>
                  <a:pt x="88" y="102"/>
                  <a:pt x="88" y="103"/>
                  <a:pt x="87" y="103"/>
                </a:cubicBezTo>
                <a:cubicBezTo>
                  <a:pt x="87" y="104"/>
                  <a:pt x="86" y="104"/>
                  <a:pt x="85" y="104"/>
                </a:cubicBezTo>
                <a:close/>
                <a:moveTo>
                  <a:pt x="101" y="99"/>
                </a:moveTo>
                <a:cubicBezTo>
                  <a:pt x="101" y="100"/>
                  <a:pt x="101" y="101"/>
                  <a:pt x="101" y="101"/>
                </a:cubicBezTo>
                <a:cubicBezTo>
                  <a:pt x="101" y="102"/>
                  <a:pt x="101" y="103"/>
                  <a:pt x="101" y="103"/>
                </a:cubicBezTo>
                <a:cubicBezTo>
                  <a:pt x="100" y="104"/>
                  <a:pt x="99" y="104"/>
                  <a:pt x="99" y="104"/>
                </a:cubicBezTo>
                <a:cubicBezTo>
                  <a:pt x="98" y="104"/>
                  <a:pt x="97" y="104"/>
                  <a:pt x="97" y="103"/>
                </a:cubicBezTo>
                <a:cubicBezTo>
                  <a:pt x="96" y="103"/>
                  <a:pt x="96" y="102"/>
                  <a:pt x="96" y="101"/>
                </a:cubicBezTo>
                <a:cubicBezTo>
                  <a:pt x="96" y="101"/>
                  <a:pt x="96" y="100"/>
                  <a:pt x="97" y="99"/>
                </a:cubicBezTo>
                <a:cubicBezTo>
                  <a:pt x="98" y="98"/>
                  <a:pt x="100" y="98"/>
                  <a:pt x="101" y="99"/>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8" name="Freeform 1145">
            <a:extLst>
              <a:ext uri="{FF2B5EF4-FFF2-40B4-BE49-F238E27FC236}">
                <a16:creationId xmlns:a16="http://schemas.microsoft.com/office/drawing/2014/main" id="{9928C7BE-AD86-E84D-A6F9-9C58D3F52343}"/>
              </a:ext>
            </a:extLst>
          </p:cNvPr>
          <p:cNvSpPr>
            <a:spLocks noEditPoints="1"/>
          </p:cNvSpPr>
          <p:nvPr/>
        </p:nvSpPr>
        <p:spPr bwMode="auto">
          <a:xfrm>
            <a:off x="8289808" y="3462338"/>
            <a:ext cx="406400" cy="549275"/>
          </a:xfrm>
          <a:custGeom>
            <a:avLst/>
            <a:gdLst>
              <a:gd name="T0" fmla="*/ 57 w 119"/>
              <a:gd name="T1" fmla="*/ 99 h 160"/>
              <a:gd name="T2" fmla="*/ 57 w 119"/>
              <a:gd name="T3" fmla="*/ 3 h 160"/>
              <a:gd name="T4" fmla="*/ 60 w 119"/>
              <a:gd name="T5" fmla="*/ 0 h 160"/>
              <a:gd name="T6" fmla="*/ 62 w 119"/>
              <a:gd name="T7" fmla="*/ 3 h 160"/>
              <a:gd name="T8" fmla="*/ 62 w 119"/>
              <a:gd name="T9" fmla="*/ 99 h 160"/>
              <a:gd name="T10" fmla="*/ 85 w 119"/>
              <a:gd name="T11" fmla="*/ 77 h 160"/>
              <a:gd name="T12" fmla="*/ 89 w 119"/>
              <a:gd name="T13" fmla="*/ 77 h 160"/>
              <a:gd name="T14" fmla="*/ 89 w 119"/>
              <a:gd name="T15" fmla="*/ 81 h 160"/>
              <a:gd name="T16" fmla="*/ 62 w 119"/>
              <a:gd name="T17" fmla="*/ 107 h 160"/>
              <a:gd name="T18" fmla="*/ 60 w 119"/>
              <a:gd name="T19" fmla="*/ 108 h 160"/>
              <a:gd name="T20" fmla="*/ 60 w 119"/>
              <a:gd name="T21" fmla="*/ 108 h 160"/>
              <a:gd name="T22" fmla="*/ 60 w 119"/>
              <a:gd name="T23" fmla="*/ 108 h 160"/>
              <a:gd name="T24" fmla="*/ 58 w 119"/>
              <a:gd name="T25" fmla="*/ 108 h 160"/>
              <a:gd name="T26" fmla="*/ 31 w 119"/>
              <a:gd name="T27" fmla="*/ 81 h 160"/>
              <a:gd name="T28" fmla="*/ 31 w 119"/>
              <a:gd name="T29" fmla="*/ 77 h 160"/>
              <a:gd name="T30" fmla="*/ 34 w 119"/>
              <a:gd name="T31" fmla="*/ 77 h 160"/>
              <a:gd name="T32" fmla="*/ 57 w 119"/>
              <a:gd name="T33" fmla="*/ 99 h 160"/>
              <a:gd name="T34" fmla="*/ 79 w 119"/>
              <a:gd name="T35" fmla="*/ 43 h 160"/>
              <a:gd name="T36" fmla="*/ 76 w 119"/>
              <a:gd name="T37" fmla="*/ 46 h 160"/>
              <a:gd name="T38" fmla="*/ 79 w 119"/>
              <a:gd name="T39" fmla="*/ 49 h 160"/>
              <a:gd name="T40" fmla="*/ 114 w 119"/>
              <a:gd name="T41" fmla="*/ 49 h 160"/>
              <a:gd name="T42" fmla="*/ 114 w 119"/>
              <a:gd name="T43" fmla="*/ 155 h 160"/>
              <a:gd name="T44" fmla="*/ 5 w 119"/>
              <a:gd name="T45" fmla="*/ 155 h 160"/>
              <a:gd name="T46" fmla="*/ 5 w 119"/>
              <a:gd name="T47" fmla="*/ 49 h 160"/>
              <a:gd name="T48" fmla="*/ 41 w 119"/>
              <a:gd name="T49" fmla="*/ 49 h 160"/>
              <a:gd name="T50" fmla="*/ 43 w 119"/>
              <a:gd name="T51" fmla="*/ 46 h 160"/>
              <a:gd name="T52" fmla="*/ 41 w 119"/>
              <a:gd name="T53" fmla="*/ 43 h 160"/>
              <a:gd name="T54" fmla="*/ 0 w 119"/>
              <a:gd name="T55" fmla="*/ 43 h 160"/>
              <a:gd name="T56" fmla="*/ 0 w 119"/>
              <a:gd name="T57" fmla="*/ 160 h 160"/>
              <a:gd name="T58" fmla="*/ 119 w 119"/>
              <a:gd name="T59" fmla="*/ 160 h 160"/>
              <a:gd name="T60" fmla="*/ 119 w 119"/>
              <a:gd name="T61" fmla="*/ 43 h 160"/>
              <a:gd name="T62" fmla="*/ 79 w 119"/>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60">
                <a:moveTo>
                  <a:pt x="57" y="99"/>
                </a:moveTo>
                <a:cubicBezTo>
                  <a:pt x="57" y="3"/>
                  <a:pt x="57" y="3"/>
                  <a:pt x="57" y="3"/>
                </a:cubicBezTo>
                <a:cubicBezTo>
                  <a:pt x="57" y="1"/>
                  <a:pt x="58" y="0"/>
                  <a:pt x="60" y="0"/>
                </a:cubicBezTo>
                <a:cubicBezTo>
                  <a:pt x="61" y="0"/>
                  <a:pt x="62" y="1"/>
                  <a:pt x="62" y="3"/>
                </a:cubicBezTo>
                <a:cubicBezTo>
                  <a:pt x="62" y="99"/>
                  <a:pt x="62" y="99"/>
                  <a:pt x="62" y="99"/>
                </a:cubicBezTo>
                <a:cubicBezTo>
                  <a:pt x="85" y="77"/>
                  <a:pt x="85" y="77"/>
                  <a:pt x="85" y="77"/>
                </a:cubicBezTo>
                <a:cubicBezTo>
                  <a:pt x="86" y="76"/>
                  <a:pt x="88" y="76"/>
                  <a:pt x="89" y="77"/>
                </a:cubicBezTo>
                <a:cubicBezTo>
                  <a:pt x="90" y="78"/>
                  <a:pt x="90" y="79"/>
                  <a:pt x="89" y="81"/>
                </a:cubicBezTo>
                <a:cubicBezTo>
                  <a:pt x="62" y="107"/>
                  <a:pt x="62" y="107"/>
                  <a:pt x="62" y="107"/>
                </a:cubicBezTo>
                <a:cubicBezTo>
                  <a:pt x="61" y="108"/>
                  <a:pt x="61" y="108"/>
                  <a:pt x="60" y="108"/>
                </a:cubicBezTo>
                <a:cubicBezTo>
                  <a:pt x="60" y="108"/>
                  <a:pt x="60" y="108"/>
                  <a:pt x="60" y="108"/>
                </a:cubicBezTo>
                <a:cubicBezTo>
                  <a:pt x="60" y="108"/>
                  <a:pt x="60" y="108"/>
                  <a:pt x="60" y="108"/>
                </a:cubicBezTo>
                <a:cubicBezTo>
                  <a:pt x="59" y="108"/>
                  <a:pt x="58" y="108"/>
                  <a:pt x="58" y="108"/>
                </a:cubicBezTo>
                <a:cubicBezTo>
                  <a:pt x="31" y="81"/>
                  <a:pt x="31" y="81"/>
                  <a:pt x="31" y="81"/>
                </a:cubicBezTo>
                <a:cubicBezTo>
                  <a:pt x="30" y="80"/>
                  <a:pt x="30" y="78"/>
                  <a:pt x="31" y="77"/>
                </a:cubicBezTo>
                <a:cubicBezTo>
                  <a:pt x="32" y="76"/>
                  <a:pt x="33" y="76"/>
                  <a:pt x="34" y="77"/>
                </a:cubicBezTo>
                <a:lnTo>
                  <a:pt x="57" y="99"/>
                </a:lnTo>
                <a:close/>
                <a:moveTo>
                  <a:pt x="79" y="43"/>
                </a:moveTo>
                <a:cubicBezTo>
                  <a:pt x="77" y="43"/>
                  <a:pt x="76" y="45"/>
                  <a:pt x="76" y="46"/>
                </a:cubicBezTo>
                <a:cubicBezTo>
                  <a:pt x="76" y="48"/>
                  <a:pt x="77" y="49"/>
                  <a:pt x="79" y="49"/>
                </a:cubicBezTo>
                <a:cubicBezTo>
                  <a:pt x="114" y="49"/>
                  <a:pt x="114" y="49"/>
                  <a:pt x="114" y="49"/>
                </a:cubicBezTo>
                <a:cubicBezTo>
                  <a:pt x="114" y="155"/>
                  <a:pt x="114" y="155"/>
                  <a:pt x="114" y="155"/>
                </a:cubicBezTo>
                <a:cubicBezTo>
                  <a:pt x="5" y="155"/>
                  <a:pt x="5" y="155"/>
                  <a:pt x="5" y="155"/>
                </a:cubicBezTo>
                <a:cubicBezTo>
                  <a:pt x="5" y="49"/>
                  <a:pt x="5" y="49"/>
                  <a:pt x="5" y="49"/>
                </a:cubicBezTo>
                <a:cubicBezTo>
                  <a:pt x="41" y="49"/>
                  <a:pt x="41" y="49"/>
                  <a:pt x="41" y="49"/>
                </a:cubicBezTo>
                <a:cubicBezTo>
                  <a:pt x="42" y="49"/>
                  <a:pt x="43" y="48"/>
                  <a:pt x="43" y="46"/>
                </a:cubicBezTo>
                <a:cubicBezTo>
                  <a:pt x="43" y="45"/>
                  <a:pt x="42" y="43"/>
                  <a:pt x="41" y="43"/>
                </a:cubicBezTo>
                <a:cubicBezTo>
                  <a:pt x="0" y="43"/>
                  <a:pt x="0" y="43"/>
                  <a:pt x="0" y="43"/>
                </a:cubicBezTo>
                <a:cubicBezTo>
                  <a:pt x="0" y="160"/>
                  <a:pt x="0" y="160"/>
                  <a:pt x="0" y="160"/>
                </a:cubicBezTo>
                <a:cubicBezTo>
                  <a:pt x="119" y="160"/>
                  <a:pt x="119" y="160"/>
                  <a:pt x="119" y="160"/>
                </a:cubicBezTo>
                <a:cubicBezTo>
                  <a:pt x="119" y="43"/>
                  <a:pt x="119" y="43"/>
                  <a:pt x="119" y="43"/>
                </a:cubicBezTo>
                <a:lnTo>
                  <a:pt x="79" y="43"/>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9" name="Freeform 1146">
            <a:extLst>
              <a:ext uri="{FF2B5EF4-FFF2-40B4-BE49-F238E27FC236}">
                <a16:creationId xmlns:a16="http://schemas.microsoft.com/office/drawing/2014/main" id="{D0074BE7-24BF-4D45-AB0B-CE2B5635BCE3}"/>
              </a:ext>
            </a:extLst>
          </p:cNvPr>
          <p:cNvSpPr>
            <a:spLocks noEditPoints="1"/>
          </p:cNvSpPr>
          <p:nvPr/>
        </p:nvSpPr>
        <p:spPr bwMode="auto">
          <a:xfrm>
            <a:off x="8221545" y="4078288"/>
            <a:ext cx="549275" cy="554038"/>
          </a:xfrm>
          <a:custGeom>
            <a:avLst/>
            <a:gdLst>
              <a:gd name="T0" fmla="*/ 158 w 161"/>
              <a:gd name="T1" fmla="*/ 11 h 161"/>
              <a:gd name="T2" fmla="*/ 150 w 161"/>
              <a:gd name="T3" fmla="*/ 3 h 161"/>
              <a:gd name="T4" fmla="*/ 139 w 161"/>
              <a:gd name="T5" fmla="*/ 3 h 161"/>
              <a:gd name="T6" fmla="*/ 130 w 161"/>
              <a:gd name="T7" fmla="*/ 12 h 161"/>
              <a:gd name="T8" fmla="*/ 0 w 161"/>
              <a:gd name="T9" fmla="*/ 12 h 161"/>
              <a:gd name="T10" fmla="*/ 0 w 161"/>
              <a:gd name="T11" fmla="*/ 161 h 161"/>
              <a:gd name="T12" fmla="*/ 149 w 161"/>
              <a:gd name="T13" fmla="*/ 161 h 161"/>
              <a:gd name="T14" fmla="*/ 149 w 161"/>
              <a:gd name="T15" fmla="*/ 31 h 161"/>
              <a:gd name="T16" fmla="*/ 150 w 161"/>
              <a:gd name="T17" fmla="*/ 30 h 161"/>
              <a:gd name="T18" fmla="*/ 150 w 161"/>
              <a:gd name="T19" fmla="*/ 30 h 161"/>
              <a:gd name="T20" fmla="*/ 158 w 161"/>
              <a:gd name="T21" fmla="*/ 22 h 161"/>
              <a:gd name="T22" fmla="*/ 158 w 161"/>
              <a:gd name="T23" fmla="*/ 11 h 161"/>
              <a:gd name="T24" fmla="*/ 53 w 161"/>
              <a:gd name="T25" fmla="*/ 99 h 161"/>
              <a:gd name="T26" fmla="*/ 62 w 161"/>
              <a:gd name="T27" fmla="*/ 108 h 161"/>
              <a:gd name="T28" fmla="*/ 50 w 161"/>
              <a:gd name="T29" fmla="*/ 111 h 161"/>
              <a:gd name="T30" fmla="*/ 53 w 161"/>
              <a:gd name="T31" fmla="*/ 99 h 161"/>
              <a:gd name="T32" fmla="*/ 139 w 161"/>
              <a:gd name="T33" fmla="*/ 34 h 161"/>
              <a:gd name="T34" fmla="*/ 127 w 161"/>
              <a:gd name="T35" fmla="*/ 22 h 161"/>
              <a:gd name="T36" fmla="*/ 131 w 161"/>
              <a:gd name="T37" fmla="*/ 18 h 161"/>
              <a:gd name="T38" fmla="*/ 143 w 161"/>
              <a:gd name="T39" fmla="*/ 30 h 161"/>
              <a:gd name="T40" fmla="*/ 139 w 161"/>
              <a:gd name="T41" fmla="*/ 34 h 161"/>
              <a:gd name="T42" fmla="*/ 135 w 161"/>
              <a:gd name="T43" fmla="*/ 37 h 161"/>
              <a:gd name="T44" fmla="*/ 67 w 161"/>
              <a:gd name="T45" fmla="*/ 105 h 161"/>
              <a:gd name="T46" fmla="*/ 56 w 161"/>
              <a:gd name="T47" fmla="*/ 94 h 161"/>
              <a:gd name="T48" fmla="*/ 124 w 161"/>
              <a:gd name="T49" fmla="*/ 26 h 161"/>
              <a:gd name="T50" fmla="*/ 135 w 161"/>
              <a:gd name="T51" fmla="*/ 37 h 161"/>
              <a:gd name="T52" fmla="*/ 144 w 161"/>
              <a:gd name="T53" fmla="*/ 36 h 161"/>
              <a:gd name="T54" fmla="*/ 144 w 161"/>
              <a:gd name="T55" fmla="*/ 156 h 161"/>
              <a:gd name="T56" fmla="*/ 5 w 161"/>
              <a:gd name="T57" fmla="*/ 156 h 161"/>
              <a:gd name="T58" fmla="*/ 5 w 161"/>
              <a:gd name="T59" fmla="*/ 17 h 161"/>
              <a:gd name="T60" fmla="*/ 125 w 161"/>
              <a:gd name="T61" fmla="*/ 17 h 161"/>
              <a:gd name="T62" fmla="*/ 50 w 161"/>
              <a:gd name="T63" fmla="*/ 92 h 161"/>
              <a:gd name="T64" fmla="*/ 50 w 161"/>
              <a:gd name="T65" fmla="*/ 92 h 161"/>
              <a:gd name="T66" fmla="*/ 44 w 161"/>
              <a:gd name="T67" fmla="*/ 113 h 161"/>
              <a:gd name="T68" fmla="*/ 41 w 161"/>
              <a:gd name="T69" fmla="*/ 116 h 161"/>
              <a:gd name="T70" fmla="*/ 41 w 161"/>
              <a:gd name="T71" fmla="*/ 120 h 161"/>
              <a:gd name="T72" fmla="*/ 43 w 161"/>
              <a:gd name="T73" fmla="*/ 121 h 161"/>
              <a:gd name="T74" fmla="*/ 45 w 161"/>
              <a:gd name="T75" fmla="*/ 120 h 161"/>
              <a:gd name="T76" fmla="*/ 48 w 161"/>
              <a:gd name="T77" fmla="*/ 117 h 161"/>
              <a:gd name="T78" fmla="*/ 69 w 161"/>
              <a:gd name="T79" fmla="*/ 111 h 161"/>
              <a:gd name="T80" fmla="*/ 139 w 161"/>
              <a:gd name="T81" fmla="*/ 41 h 161"/>
              <a:gd name="T82" fmla="*/ 139 w 161"/>
              <a:gd name="T83" fmla="*/ 41 h 161"/>
              <a:gd name="T84" fmla="*/ 140 w 161"/>
              <a:gd name="T85" fmla="*/ 40 h 161"/>
              <a:gd name="T86" fmla="*/ 144 w 161"/>
              <a:gd name="T87" fmla="*/ 36 h 161"/>
              <a:gd name="T88" fmla="*/ 154 w 161"/>
              <a:gd name="T89" fmla="*/ 18 h 161"/>
              <a:gd name="T90" fmla="*/ 146 w 161"/>
              <a:gd name="T91" fmla="*/ 26 h 161"/>
              <a:gd name="T92" fmla="*/ 135 w 161"/>
              <a:gd name="T93" fmla="*/ 15 h 161"/>
              <a:gd name="T94" fmla="*/ 143 w 161"/>
              <a:gd name="T95" fmla="*/ 7 h 161"/>
              <a:gd name="T96" fmla="*/ 146 w 161"/>
              <a:gd name="T97" fmla="*/ 7 h 161"/>
              <a:gd name="T98" fmla="*/ 154 w 161"/>
              <a:gd name="T99" fmla="*/ 15 h 161"/>
              <a:gd name="T100" fmla="*/ 154 w 161"/>
              <a:gd name="T101" fmla="*/ 1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1" h="161">
                <a:moveTo>
                  <a:pt x="158" y="11"/>
                </a:moveTo>
                <a:cubicBezTo>
                  <a:pt x="150" y="3"/>
                  <a:pt x="150" y="3"/>
                  <a:pt x="150" y="3"/>
                </a:cubicBezTo>
                <a:cubicBezTo>
                  <a:pt x="147" y="0"/>
                  <a:pt x="142" y="0"/>
                  <a:pt x="139" y="3"/>
                </a:cubicBezTo>
                <a:cubicBezTo>
                  <a:pt x="130" y="12"/>
                  <a:pt x="130" y="12"/>
                  <a:pt x="130" y="12"/>
                </a:cubicBezTo>
                <a:cubicBezTo>
                  <a:pt x="0" y="12"/>
                  <a:pt x="0" y="12"/>
                  <a:pt x="0" y="12"/>
                </a:cubicBezTo>
                <a:cubicBezTo>
                  <a:pt x="0" y="161"/>
                  <a:pt x="0" y="161"/>
                  <a:pt x="0" y="161"/>
                </a:cubicBezTo>
                <a:cubicBezTo>
                  <a:pt x="149" y="161"/>
                  <a:pt x="149" y="161"/>
                  <a:pt x="149" y="161"/>
                </a:cubicBezTo>
                <a:cubicBezTo>
                  <a:pt x="149" y="31"/>
                  <a:pt x="149" y="31"/>
                  <a:pt x="149" y="31"/>
                </a:cubicBezTo>
                <a:cubicBezTo>
                  <a:pt x="150" y="30"/>
                  <a:pt x="150" y="30"/>
                  <a:pt x="150" y="30"/>
                </a:cubicBezTo>
                <a:cubicBezTo>
                  <a:pt x="150" y="30"/>
                  <a:pt x="150" y="30"/>
                  <a:pt x="150" y="30"/>
                </a:cubicBezTo>
                <a:cubicBezTo>
                  <a:pt x="158" y="22"/>
                  <a:pt x="158" y="22"/>
                  <a:pt x="158" y="22"/>
                </a:cubicBezTo>
                <a:cubicBezTo>
                  <a:pt x="161" y="19"/>
                  <a:pt x="161" y="14"/>
                  <a:pt x="158" y="11"/>
                </a:cubicBezTo>
                <a:close/>
                <a:moveTo>
                  <a:pt x="53" y="99"/>
                </a:moveTo>
                <a:cubicBezTo>
                  <a:pt x="62" y="108"/>
                  <a:pt x="62" y="108"/>
                  <a:pt x="62" y="108"/>
                </a:cubicBezTo>
                <a:cubicBezTo>
                  <a:pt x="50" y="111"/>
                  <a:pt x="50" y="111"/>
                  <a:pt x="50" y="111"/>
                </a:cubicBezTo>
                <a:lnTo>
                  <a:pt x="53" y="99"/>
                </a:lnTo>
                <a:close/>
                <a:moveTo>
                  <a:pt x="139" y="34"/>
                </a:moveTo>
                <a:cubicBezTo>
                  <a:pt x="127" y="22"/>
                  <a:pt x="127" y="22"/>
                  <a:pt x="127" y="22"/>
                </a:cubicBezTo>
                <a:cubicBezTo>
                  <a:pt x="131" y="18"/>
                  <a:pt x="131" y="18"/>
                  <a:pt x="131" y="18"/>
                </a:cubicBezTo>
                <a:cubicBezTo>
                  <a:pt x="143" y="30"/>
                  <a:pt x="143" y="30"/>
                  <a:pt x="143" y="30"/>
                </a:cubicBezTo>
                <a:lnTo>
                  <a:pt x="139" y="34"/>
                </a:lnTo>
                <a:close/>
                <a:moveTo>
                  <a:pt x="135" y="37"/>
                </a:moveTo>
                <a:cubicBezTo>
                  <a:pt x="67" y="105"/>
                  <a:pt x="67" y="105"/>
                  <a:pt x="67" y="105"/>
                </a:cubicBezTo>
                <a:cubicBezTo>
                  <a:pt x="56" y="94"/>
                  <a:pt x="56" y="94"/>
                  <a:pt x="56" y="94"/>
                </a:cubicBezTo>
                <a:cubicBezTo>
                  <a:pt x="124" y="26"/>
                  <a:pt x="124" y="26"/>
                  <a:pt x="124" y="26"/>
                </a:cubicBezTo>
                <a:lnTo>
                  <a:pt x="135" y="37"/>
                </a:lnTo>
                <a:close/>
                <a:moveTo>
                  <a:pt x="144" y="36"/>
                </a:moveTo>
                <a:cubicBezTo>
                  <a:pt x="144" y="156"/>
                  <a:pt x="144" y="156"/>
                  <a:pt x="144" y="156"/>
                </a:cubicBezTo>
                <a:cubicBezTo>
                  <a:pt x="5" y="156"/>
                  <a:pt x="5" y="156"/>
                  <a:pt x="5" y="156"/>
                </a:cubicBezTo>
                <a:cubicBezTo>
                  <a:pt x="5" y="17"/>
                  <a:pt x="5" y="17"/>
                  <a:pt x="5" y="17"/>
                </a:cubicBezTo>
                <a:cubicBezTo>
                  <a:pt x="125" y="17"/>
                  <a:pt x="125" y="17"/>
                  <a:pt x="125" y="17"/>
                </a:cubicBezTo>
                <a:cubicBezTo>
                  <a:pt x="50" y="92"/>
                  <a:pt x="50" y="92"/>
                  <a:pt x="50" y="92"/>
                </a:cubicBezTo>
                <a:cubicBezTo>
                  <a:pt x="50" y="92"/>
                  <a:pt x="50" y="92"/>
                  <a:pt x="50" y="92"/>
                </a:cubicBezTo>
                <a:cubicBezTo>
                  <a:pt x="44" y="113"/>
                  <a:pt x="44" y="113"/>
                  <a:pt x="44" y="113"/>
                </a:cubicBezTo>
                <a:cubicBezTo>
                  <a:pt x="41" y="116"/>
                  <a:pt x="41" y="116"/>
                  <a:pt x="41" y="116"/>
                </a:cubicBezTo>
                <a:cubicBezTo>
                  <a:pt x="40" y="118"/>
                  <a:pt x="40" y="119"/>
                  <a:pt x="41" y="120"/>
                </a:cubicBezTo>
                <a:cubicBezTo>
                  <a:pt x="41" y="121"/>
                  <a:pt x="42" y="121"/>
                  <a:pt x="43" y="121"/>
                </a:cubicBezTo>
                <a:cubicBezTo>
                  <a:pt x="43" y="121"/>
                  <a:pt x="44" y="121"/>
                  <a:pt x="45" y="120"/>
                </a:cubicBezTo>
                <a:cubicBezTo>
                  <a:pt x="48" y="117"/>
                  <a:pt x="48" y="117"/>
                  <a:pt x="48" y="117"/>
                </a:cubicBezTo>
                <a:cubicBezTo>
                  <a:pt x="69" y="111"/>
                  <a:pt x="69" y="111"/>
                  <a:pt x="69" y="111"/>
                </a:cubicBezTo>
                <a:cubicBezTo>
                  <a:pt x="139" y="41"/>
                  <a:pt x="139" y="41"/>
                  <a:pt x="139" y="41"/>
                </a:cubicBezTo>
                <a:cubicBezTo>
                  <a:pt x="139" y="41"/>
                  <a:pt x="139" y="41"/>
                  <a:pt x="139" y="41"/>
                </a:cubicBezTo>
                <a:cubicBezTo>
                  <a:pt x="140" y="40"/>
                  <a:pt x="140" y="40"/>
                  <a:pt x="140" y="40"/>
                </a:cubicBezTo>
                <a:lnTo>
                  <a:pt x="144" y="36"/>
                </a:lnTo>
                <a:close/>
                <a:moveTo>
                  <a:pt x="154" y="18"/>
                </a:moveTo>
                <a:cubicBezTo>
                  <a:pt x="146" y="26"/>
                  <a:pt x="146" y="26"/>
                  <a:pt x="146" y="26"/>
                </a:cubicBezTo>
                <a:cubicBezTo>
                  <a:pt x="135" y="15"/>
                  <a:pt x="135" y="15"/>
                  <a:pt x="135" y="15"/>
                </a:cubicBezTo>
                <a:cubicBezTo>
                  <a:pt x="143" y="7"/>
                  <a:pt x="143" y="7"/>
                  <a:pt x="143" y="7"/>
                </a:cubicBezTo>
                <a:cubicBezTo>
                  <a:pt x="144" y="6"/>
                  <a:pt x="145" y="6"/>
                  <a:pt x="146" y="7"/>
                </a:cubicBezTo>
                <a:cubicBezTo>
                  <a:pt x="154" y="15"/>
                  <a:pt x="154" y="15"/>
                  <a:pt x="154" y="15"/>
                </a:cubicBezTo>
                <a:cubicBezTo>
                  <a:pt x="155" y="16"/>
                  <a:pt x="155" y="17"/>
                  <a:pt x="154" y="18"/>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0" name="Freeform 1147">
            <a:extLst>
              <a:ext uri="{FF2B5EF4-FFF2-40B4-BE49-F238E27FC236}">
                <a16:creationId xmlns:a16="http://schemas.microsoft.com/office/drawing/2014/main" id="{7DE8BBB7-ADFB-CA4E-8C02-82FD907579B3}"/>
              </a:ext>
            </a:extLst>
          </p:cNvPr>
          <p:cNvSpPr>
            <a:spLocks noEditPoints="1"/>
          </p:cNvSpPr>
          <p:nvPr/>
        </p:nvSpPr>
        <p:spPr bwMode="auto">
          <a:xfrm>
            <a:off x="8221545" y="4676775"/>
            <a:ext cx="557213" cy="560388"/>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1148">
            <a:extLst>
              <a:ext uri="{FF2B5EF4-FFF2-40B4-BE49-F238E27FC236}">
                <a16:creationId xmlns:a16="http://schemas.microsoft.com/office/drawing/2014/main" id="{DDBF1A28-CC34-E348-B9EA-0D61CA260B3F}"/>
              </a:ext>
            </a:extLst>
          </p:cNvPr>
          <p:cNvSpPr>
            <a:spLocks noEditPoints="1"/>
          </p:cNvSpPr>
          <p:nvPr/>
        </p:nvSpPr>
        <p:spPr bwMode="auto">
          <a:xfrm>
            <a:off x="8221545" y="5319713"/>
            <a:ext cx="546100" cy="550863"/>
          </a:xfrm>
          <a:custGeom>
            <a:avLst/>
            <a:gdLst>
              <a:gd name="T0" fmla="*/ 40 w 160"/>
              <a:gd name="T1" fmla="*/ 93 h 160"/>
              <a:gd name="T2" fmla="*/ 120 w 160"/>
              <a:gd name="T3" fmla="*/ 93 h 160"/>
              <a:gd name="T4" fmla="*/ 122 w 160"/>
              <a:gd name="T5" fmla="*/ 92 h 160"/>
              <a:gd name="T6" fmla="*/ 122 w 160"/>
              <a:gd name="T7" fmla="*/ 89 h 160"/>
              <a:gd name="T8" fmla="*/ 82 w 160"/>
              <a:gd name="T9" fmla="*/ 31 h 160"/>
              <a:gd name="T10" fmla="*/ 78 w 160"/>
              <a:gd name="T11" fmla="*/ 31 h 160"/>
              <a:gd name="T12" fmla="*/ 38 w 160"/>
              <a:gd name="T13" fmla="*/ 89 h 160"/>
              <a:gd name="T14" fmla="*/ 38 w 160"/>
              <a:gd name="T15" fmla="*/ 92 h 160"/>
              <a:gd name="T16" fmla="*/ 40 w 160"/>
              <a:gd name="T17" fmla="*/ 93 h 160"/>
              <a:gd name="T18" fmla="*/ 80 w 160"/>
              <a:gd name="T19" fmla="*/ 37 h 160"/>
              <a:gd name="T20" fmla="*/ 115 w 160"/>
              <a:gd name="T21" fmla="*/ 88 h 160"/>
              <a:gd name="T22" fmla="*/ 45 w 160"/>
              <a:gd name="T23" fmla="*/ 88 h 160"/>
              <a:gd name="T24" fmla="*/ 80 w 160"/>
              <a:gd name="T25" fmla="*/ 37 h 160"/>
              <a:gd name="T26" fmla="*/ 80 w 160"/>
              <a:gd name="T27" fmla="*/ 0 h 160"/>
              <a:gd name="T28" fmla="*/ 0 w 160"/>
              <a:gd name="T29" fmla="*/ 80 h 160"/>
              <a:gd name="T30" fmla="*/ 80 w 160"/>
              <a:gd name="T31" fmla="*/ 160 h 160"/>
              <a:gd name="T32" fmla="*/ 160 w 160"/>
              <a:gd name="T33" fmla="*/ 80 h 160"/>
              <a:gd name="T34" fmla="*/ 80 w 160"/>
              <a:gd name="T35" fmla="*/ 0 h 160"/>
              <a:gd name="T36" fmla="*/ 80 w 160"/>
              <a:gd name="T37" fmla="*/ 155 h 160"/>
              <a:gd name="T38" fmla="*/ 5 w 160"/>
              <a:gd name="T39" fmla="*/ 80 h 160"/>
              <a:gd name="T40" fmla="*/ 80 w 160"/>
              <a:gd name="T41" fmla="*/ 5 h 160"/>
              <a:gd name="T42" fmla="*/ 155 w 160"/>
              <a:gd name="T43" fmla="*/ 80 h 160"/>
              <a:gd name="T44" fmla="*/ 80 w 160"/>
              <a:gd name="T45" fmla="*/ 155 h 160"/>
              <a:gd name="T46" fmla="*/ 37 w 160"/>
              <a:gd name="T47" fmla="*/ 120 h 160"/>
              <a:gd name="T48" fmla="*/ 123 w 160"/>
              <a:gd name="T49" fmla="*/ 120 h 160"/>
              <a:gd name="T50" fmla="*/ 123 w 160"/>
              <a:gd name="T51" fmla="*/ 101 h 160"/>
              <a:gd name="T52" fmla="*/ 37 w 160"/>
              <a:gd name="T53" fmla="*/ 101 h 160"/>
              <a:gd name="T54" fmla="*/ 37 w 160"/>
              <a:gd name="T55" fmla="*/ 120 h 160"/>
              <a:gd name="T56" fmla="*/ 43 w 160"/>
              <a:gd name="T57" fmla="*/ 107 h 160"/>
              <a:gd name="T58" fmla="*/ 117 w 160"/>
              <a:gd name="T59" fmla="*/ 107 h 160"/>
              <a:gd name="T60" fmla="*/ 117 w 160"/>
              <a:gd name="T61" fmla="*/ 115 h 160"/>
              <a:gd name="T62" fmla="*/ 43 w 160"/>
              <a:gd name="T63" fmla="*/ 115 h 160"/>
              <a:gd name="T64" fmla="*/ 43 w 160"/>
              <a:gd name="T65" fmla="*/ 10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40" y="93"/>
                </a:moveTo>
                <a:cubicBezTo>
                  <a:pt x="120" y="93"/>
                  <a:pt x="120" y="93"/>
                  <a:pt x="120" y="93"/>
                </a:cubicBezTo>
                <a:cubicBezTo>
                  <a:pt x="121" y="93"/>
                  <a:pt x="122" y="93"/>
                  <a:pt x="122" y="92"/>
                </a:cubicBezTo>
                <a:cubicBezTo>
                  <a:pt x="123" y="91"/>
                  <a:pt x="123" y="90"/>
                  <a:pt x="122" y="89"/>
                </a:cubicBezTo>
                <a:cubicBezTo>
                  <a:pt x="82" y="31"/>
                  <a:pt x="82" y="31"/>
                  <a:pt x="82" y="31"/>
                </a:cubicBezTo>
                <a:cubicBezTo>
                  <a:pt x="81" y="29"/>
                  <a:pt x="79" y="29"/>
                  <a:pt x="78" y="31"/>
                </a:cubicBezTo>
                <a:cubicBezTo>
                  <a:pt x="38" y="89"/>
                  <a:pt x="38" y="89"/>
                  <a:pt x="38" y="89"/>
                </a:cubicBezTo>
                <a:cubicBezTo>
                  <a:pt x="37" y="90"/>
                  <a:pt x="37" y="91"/>
                  <a:pt x="38" y="92"/>
                </a:cubicBezTo>
                <a:cubicBezTo>
                  <a:pt x="38" y="93"/>
                  <a:pt x="39" y="93"/>
                  <a:pt x="40" y="93"/>
                </a:cubicBezTo>
                <a:close/>
                <a:moveTo>
                  <a:pt x="80" y="37"/>
                </a:moveTo>
                <a:cubicBezTo>
                  <a:pt x="115" y="88"/>
                  <a:pt x="115" y="88"/>
                  <a:pt x="115" y="88"/>
                </a:cubicBezTo>
                <a:cubicBezTo>
                  <a:pt x="45" y="88"/>
                  <a:pt x="45" y="88"/>
                  <a:pt x="45" y="88"/>
                </a:cubicBezTo>
                <a:lnTo>
                  <a:pt x="80" y="37"/>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37" y="120"/>
                </a:moveTo>
                <a:cubicBezTo>
                  <a:pt x="123" y="120"/>
                  <a:pt x="123" y="120"/>
                  <a:pt x="123" y="120"/>
                </a:cubicBezTo>
                <a:cubicBezTo>
                  <a:pt x="123" y="101"/>
                  <a:pt x="123" y="101"/>
                  <a:pt x="123" y="101"/>
                </a:cubicBezTo>
                <a:cubicBezTo>
                  <a:pt x="37" y="101"/>
                  <a:pt x="37" y="101"/>
                  <a:pt x="37" y="101"/>
                </a:cubicBezTo>
                <a:lnTo>
                  <a:pt x="37" y="120"/>
                </a:lnTo>
                <a:close/>
                <a:moveTo>
                  <a:pt x="43" y="107"/>
                </a:moveTo>
                <a:cubicBezTo>
                  <a:pt x="117" y="107"/>
                  <a:pt x="117" y="107"/>
                  <a:pt x="117" y="107"/>
                </a:cubicBezTo>
                <a:cubicBezTo>
                  <a:pt x="117" y="115"/>
                  <a:pt x="117" y="115"/>
                  <a:pt x="117" y="115"/>
                </a:cubicBezTo>
                <a:cubicBezTo>
                  <a:pt x="43" y="115"/>
                  <a:pt x="43" y="115"/>
                  <a:pt x="43" y="115"/>
                </a:cubicBezTo>
                <a:lnTo>
                  <a:pt x="43" y="107"/>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2" name="Freeform 1149">
            <a:extLst>
              <a:ext uri="{FF2B5EF4-FFF2-40B4-BE49-F238E27FC236}">
                <a16:creationId xmlns:a16="http://schemas.microsoft.com/office/drawing/2014/main" id="{12AECCFC-4AFD-944E-B462-7636ECC6F5B5}"/>
              </a:ext>
            </a:extLst>
          </p:cNvPr>
          <p:cNvSpPr>
            <a:spLocks noEditPoints="1"/>
          </p:cNvSpPr>
          <p:nvPr/>
        </p:nvSpPr>
        <p:spPr bwMode="auto">
          <a:xfrm>
            <a:off x="8221545" y="5949950"/>
            <a:ext cx="546100" cy="512763"/>
          </a:xfrm>
          <a:custGeom>
            <a:avLst/>
            <a:gdLst>
              <a:gd name="T0" fmla="*/ 4 w 160"/>
              <a:gd name="T1" fmla="*/ 119 h 149"/>
              <a:gd name="T2" fmla="*/ 156 w 160"/>
              <a:gd name="T3" fmla="*/ 119 h 149"/>
              <a:gd name="T4" fmla="*/ 160 w 160"/>
              <a:gd name="T5" fmla="*/ 117 h 149"/>
              <a:gd name="T6" fmla="*/ 159 w 160"/>
              <a:gd name="T7" fmla="*/ 113 h 149"/>
              <a:gd name="T8" fmla="*/ 83 w 160"/>
              <a:gd name="T9" fmla="*/ 3 h 149"/>
              <a:gd name="T10" fmla="*/ 77 w 160"/>
              <a:gd name="T11" fmla="*/ 3 h 149"/>
              <a:gd name="T12" fmla="*/ 1 w 160"/>
              <a:gd name="T13" fmla="*/ 113 h 149"/>
              <a:gd name="T14" fmla="*/ 0 w 160"/>
              <a:gd name="T15" fmla="*/ 117 h 149"/>
              <a:gd name="T16" fmla="*/ 4 w 160"/>
              <a:gd name="T17" fmla="*/ 119 h 149"/>
              <a:gd name="T18" fmla="*/ 80 w 160"/>
              <a:gd name="T19" fmla="*/ 11 h 149"/>
              <a:gd name="T20" fmla="*/ 149 w 160"/>
              <a:gd name="T21" fmla="*/ 111 h 149"/>
              <a:gd name="T22" fmla="*/ 11 w 160"/>
              <a:gd name="T23" fmla="*/ 111 h 149"/>
              <a:gd name="T24" fmla="*/ 80 w 160"/>
              <a:gd name="T25" fmla="*/ 11 h 149"/>
              <a:gd name="T26" fmla="*/ 160 w 160"/>
              <a:gd name="T27" fmla="*/ 146 h 149"/>
              <a:gd name="T28" fmla="*/ 156 w 160"/>
              <a:gd name="T29" fmla="*/ 149 h 149"/>
              <a:gd name="T30" fmla="*/ 4 w 160"/>
              <a:gd name="T31" fmla="*/ 149 h 149"/>
              <a:gd name="T32" fmla="*/ 0 w 160"/>
              <a:gd name="T33" fmla="*/ 146 h 149"/>
              <a:gd name="T34" fmla="*/ 4 w 160"/>
              <a:gd name="T35" fmla="*/ 142 h 149"/>
              <a:gd name="T36" fmla="*/ 156 w 160"/>
              <a:gd name="T37" fmla="*/ 142 h 149"/>
              <a:gd name="T38" fmla="*/ 160 w 160"/>
              <a:gd name="T39" fmla="*/ 14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49">
                <a:moveTo>
                  <a:pt x="4" y="119"/>
                </a:moveTo>
                <a:cubicBezTo>
                  <a:pt x="156" y="119"/>
                  <a:pt x="156" y="119"/>
                  <a:pt x="156" y="119"/>
                </a:cubicBezTo>
                <a:cubicBezTo>
                  <a:pt x="158" y="119"/>
                  <a:pt x="159" y="118"/>
                  <a:pt x="160" y="117"/>
                </a:cubicBezTo>
                <a:cubicBezTo>
                  <a:pt x="160" y="116"/>
                  <a:pt x="160" y="114"/>
                  <a:pt x="159" y="113"/>
                </a:cubicBezTo>
                <a:cubicBezTo>
                  <a:pt x="83" y="3"/>
                  <a:pt x="83" y="3"/>
                  <a:pt x="83" y="3"/>
                </a:cubicBezTo>
                <a:cubicBezTo>
                  <a:pt x="82" y="0"/>
                  <a:pt x="78" y="0"/>
                  <a:pt x="77" y="3"/>
                </a:cubicBezTo>
                <a:cubicBezTo>
                  <a:pt x="1" y="113"/>
                  <a:pt x="1" y="113"/>
                  <a:pt x="1" y="113"/>
                </a:cubicBezTo>
                <a:cubicBezTo>
                  <a:pt x="0" y="114"/>
                  <a:pt x="0" y="116"/>
                  <a:pt x="0" y="117"/>
                </a:cubicBezTo>
                <a:cubicBezTo>
                  <a:pt x="1" y="118"/>
                  <a:pt x="2" y="119"/>
                  <a:pt x="4" y="119"/>
                </a:cubicBezTo>
                <a:close/>
                <a:moveTo>
                  <a:pt x="80" y="11"/>
                </a:moveTo>
                <a:cubicBezTo>
                  <a:pt x="149" y="111"/>
                  <a:pt x="149" y="111"/>
                  <a:pt x="149" y="111"/>
                </a:cubicBezTo>
                <a:cubicBezTo>
                  <a:pt x="11" y="111"/>
                  <a:pt x="11" y="111"/>
                  <a:pt x="11" y="111"/>
                </a:cubicBezTo>
                <a:lnTo>
                  <a:pt x="80" y="11"/>
                </a:lnTo>
                <a:close/>
                <a:moveTo>
                  <a:pt x="160" y="146"/>
                </a:moveTo>
                <a:cubicBezTo>
                  <a:pt x="160" y="148"/>
                  <a:pt x="158" y="149"/>
                  <a:pt x="156" y="149"/>
                </a:cubicBezTo>
                <a:cubicBezTo>
                  <a:pt x="4" y="149"/>
                  <a:pt x="4" y="149"/>
                  <a:pt x="4" y="149"/>
                </a:cubicBezTo>
                <a:cubicBezTo>
                  <a:pt x="2" y="149"/>
                  <a:pt x="0" y="148"/>
                  <a:pt x="0" y="146"/>
                </a:cubicBezTo>
                <a:cubicBezTo>
                  <a:pt x="0" y="144"/>
                  <a:pt x="2" y="142"/>
                  <a:pt x="4" y="142"/>
                </a:cubicBezTo>
                <a:cubicBezTo>
                  <a:pt x="156" y="142"/>
                  <a:pt x="156" y="142"/>
                  <a:pt x="156" y="142"/>
                </a:cubicBezTo>
                <a:cubicBezTo>
                  <a:pt x="158" y="142"/>
                  <a:pt x="160" y="144"/>
                  <a:pt x="160" y="146"/>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3" name="Freeform 1150">
            <a:extLst>
              <a:ext uri="{FF2B5EF4-FFF2-40B4-BE49-F238E27FC236}">
                <a16:creationId xmlns:a16="http://schemas.microsoft.com/office/drawing/2014/main" id="{D3E30AF6-F0C1-9748-A2FC-231C8EA6E06E}"/>
              </a:ext>
            </a:extLst>
          </p:cNvPr>
          <p:cNvSpPr>
            <a:spLocks noEditPoints="1"/>
          </p:cNvSpPr>
          <p:nvPr/>
        </p:nvSpPr>
        <p:spPr bwMode="auto">
          <a:xfrm>
            <a:off x="10986776" y="3532188"/>
            <a:ext cx="546100" cy="350838"/>
          </a:xfrm>
          <a:custGeom>
            <a:avLst/>
            <a:gdLst>
              <a:gd name="T0" fmla="*/ 22 w 160"/>
              <a:gd name="T1" fmla="*/ 44 h 102"/>
              <a:gd name="T2" fmla="*/ 138 w 160"/>
              <a:gd name="T3" fmla="*/ 44 h 102"/>
              <a:gd name="T4" fmla="*/ 160 w 160"/>
              <a:gd name="T5" fmla="*/ 22 h 102"/>
              <a:gd name="T6" fmla="*/ 138 w 160"/>
              <a:gd name="T7" fmla="*/ 0 h 102"/>
              <a:gd name="T8" fmla="*/ 22 w 160"/>
              <a:gd name="T9" fmla="*/ 0 h 102"/>
              <a:gd name="T10" fmla="*/ 0 w 160"/>
              <a:gd name="T11" fmla="*/ 22 h 102"/>
              <a:gd name="T12" fmla="*/ 22 w 160"/>
              <a:gd name="T13" fmla="*/ 44 h 102"/>
              <a:gd name="T14" fmla="*/ 22 w 160"/>
              <a:gd name="T15" fmla="*/ 7 h 102"/>
              <a:gd name="T16" fmla="*/ 138 w 160"/>
              <a:gd name="T17" fmla="*/ 7 h 102"/>
              <a:gd name="T18" fmla="*/ 153 w 160"/>
              <a:gd name="T19" fmla="*/ 22 h 102"/>
              <a:gd name="T20" fmla="*/ 138 w 160"/>
              <a:gd name="T21" fmla="*/ 36 h 102"/>
              <a:gd name="T22" fmla="*/ 22 w 160"/>
              <a:gd name="T23" fmla="*/ 36 h 102"/>
              <a:gd name="T24" fmla="*/ 7 w 160"/>
              <a:gd name="T25" fmla="*/ 22 h 102"/>
              <a:gd name="T26" fmla="*/ 22 w 160"/>
              <a:gd name="T27" fmla="*/ 7 h 102"/>
              <a:gd name="T28" fmla="*/ 138 w 160"/>
              <a:gd name="T29" fmla="*/ 58 h 102"/>
              <a:gd name="T30" fmla="*/ 22 w 160"/>
              <a:gd name="T31" fmla="*/ 58 h 102"/>
              <a:gd name="T32" fmla="*/ 0 w 160"/>
              <a:gd name="T33" fmla="*/ 80 h 102"/>
              <a:gd name="T34" fmla="*/ 22 w 160"/>
              <a:gd name="T35" fmla="*/ 102 h 102"/>
              <a:gd name="T36" fmla="*/ 138 w 160"/>
              <a:gd name="T37" fmla="*/ 102 h 102"/>
              <a:gd name="T38" fmla="*/ 160 w 160"/>
              <a:gd name="T39" fmla="*/ 80 h 102"/>
              <a:gd name="T40" fmla="*/ 138 w 160"/>
              <a:gd name="T41" fmla="*/ 58 h 102"/>
              <a:gd name="T42" fmla="*/ 138 w 160"/>
              <a:gd name="T43" fmla="*/ 95 h 102"/>
              <a:gd name="T44" fmla="*/ 22 w 160"/>
              <a:gd name="T45" fmla="*/ 95 h 102"/>
              <a:gd name="T46" fmla="*/ 7 w 160"/>
              <a:gd name="T47" fmla="*/ 80 h 102"/>
              <a:gd name="T48" fmla="*/ 22 w 160"/>
              <a:gd name="T49" fmla="*/ 65 h 102"/>
              <a:gd name="T50" fmla="*/ 138 w 160"/>
              <a:gd name="T51" fmla="*/ 65 h 102"/>
              <a:gd name="T52" fmla="*/ 153 w 160"/>
              <a:gd name="T53" fmla="*/ 80 h 102"/>
              <a:gd name="T54" fmla="*/ 138 w 160"/>
              <a:gd name="T55" fmla="*/ 9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02">
                <a:moveTo>
                  <a:pt x="22" y="44"/>
                </a:moveTo>
                <a:cubicBezTo>
                  <a:pt x="138" y="44"/>
                  <a:pt x="138" y="44"/>
                  <a:pt x="138" y="44"/>
                </a:cubicBezTo>
                <a:cubicBezTo>
                  <a:pt x="150" y="44"/>
                  <a:pt x="160" y="34"/>
                  <a:pt x="160" y="22"/>
                </a:cubicBezTo>
                <a:cubicBezTo>
                  <a:pt x="160" y="10"/>
                  <a:pt x="150" y="0"/>
                  <a:pt x="138" y="0"/>
                </a:cubicBezTo>
                <a:cubicBezTo>
                  <a:pt x="22" y="0"/>
                  <a:pt x="22" y="0"/>
                  <a:pt x="22" y="0"/>
                </a:cubicBezTo>
                <a:cubicBezTo>
                  <a:pt x="10" y="0"/>
                  <a:pt x="0" y="10"/>
                  <a:pt x="0" y="22"/>
                </a:cubicBezTo>
                <a:cubicBezTo>
                  <a:pt x="0" y="34"/>
                  <a:pt x="10" y="44"/>
                  <a:pt x="22" y="44"/>
                </a:cubicBezTo>
                <a:close/>
                <a:moveTo>
                  <a:pt x="22" y="7"/>
                </a:moveTo>
                <a:cubicBezTo>
                  <a:pt x="138" y="7"/>
                  <a:pt x="138" y="7"/>
                  <a:pt x="138" y="7"/>
                </a:cubicBezTo>
                <a:cubicBezTo>
                  <a:pt x="146" y="7"/>
                  <a:pt x="153" y="14"/>
                  <a:pt x="153" y="22"/>
                </a:cubicBezTo>
                <a:cubicBezTo>
                  <a:pt x="153" y="30"/>
                  <a:pt x="146" y="36"/>
                  <a:pt x="138" y="36"/>
                </a:cubicBezTo>
                <a:cubicBezTo>
                  <a:pt x="22" y="36"/>
                  <a:pt x="22" y="36"/>
                  <a:pt x="22" y="36"/>
                </a:cubicBezTo>
                <a:cubicBezTo>
                  <a:pt x="14" y="36"/>
                  <a:pt x="7" y="30"/>
                  <a:pt x="7" y="22"/>
                </a:cubicBezTo>
                <a:cubicBezTo>
                  <a:pt x="7" y="14"/>
                  <a:pt x="14" y="7"/>
                  <a:pt x="22" y="7"/>
                </a:cubicBezTo>
                <a:close/>
                <a:moveTo>
                  <a:pt x="138" y="58"/>
                </a:moveTo>
                <a:cubicBezTo>
                  <a:pt x="22" y="58"/>
                  <a:pt x="22" y="58"/>
                  <a:pt x="22" y="58"/>
                </a:cubicBezTo>
                <a:cubicBezTo>
                  <a:pt x="10" y="58"/>
                  <a:pt x="0" y="68"/>
                  <a:pt x="0" y="80"/>
                </a:cubicBezTo>
                <a:cubicBezTo>
                  <a:pt x="0" y="92"/>
                  <a:pt x="10" y="102"/>
                  <a:pt x="22" y="102"/>
                </a:cubicBezTo>
                <a:cubicBezTo>
                  <a:pt x="138" y="102"/>
                  <a:pt x="138" y="102"/>
                  <a:pt x="138" y="102"/>
                </a:cubicBezTo>
                <a:cubicBezTo>
                  <a:pt x="150" y="102"/>
                  <a:pt x="160" y="92"/>
                  <a:pt x="160" y="80"/>
                </a:cubicBezTo>
                <a:cubicBezTo>
                  <a:pt x="160" y="68"/>
                  <a:pt x="150" y="58"/>
                  <a:pt x="138" y="58"/>
                </a:cubicBezTo>
                <a:close/>
                <a:moveTo>
                  <a:pt x="138" y="95"/>
                </a:moveTo>
                <a:cubicBezTo>
                  <a:pt x="22" y="95"/>
                  <a:pt x="22" y="95"/>
                  <a:pt x="22" y="95"/>
                </a:cubicBezTo>
                <a:cubicBezTo>
                  <a:pt x="14" y="95"/>
                  <a:pt x="7" y="88"/>
                  <a:pt x="7" y="80"/>
                </a:cubicBezTo>
                <a:cubicBezTo>
                  <a:pt x="7" y="72"/>
                  <a:pt x="14" y="65"/>
                  <a:pt x="22" y="65"/>
                </a:cubicBezTo>
                <a:cubicBezTo>
                  <a:pt x="138" y="65"/>
                  <a:pt x="138" y="65"/>
                  <a:pt x="138" y="65"/>
                </a:cubicBezTo>
                <a:cubicBezTo>
                  <a:pt x="146" y="65"/>
                  <a:pt x="153" y="72"/>
                  <a:pt x="153" y="80"/>
                </a:cubicBezTo>
                <a:cubicBezTo>
                  <a:pt x="153" y="88"/>
                  <a:pt x="146" y="95"/>
                  <a:pt x="138" y="9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4" name="Freeform 1151">
            <a:extLst>
              <a:ext uri="{FF2B5EF4-FFF2-40B4-BE49-F238E27FC236}">
                <a16:creationId xmlns:a16="http://schemas.microsoft.com/office/drawing/2014/main" id="{43FB6DD7-1759-AA40-8AB4-122EB4E2BE37}"/>
              </a:ext>
            </a:extLst>
          </p:cNvPr>
          <p:cNvSpPr>
            <a:spLocks noEditPoints="1"/>
          </p:cNvSpPr>
          <p:nvPr/>
        </p:nvSpPr>
        <p:spPr bwMode="auto">
          <a:xfrm>
            <a:off x="10986776" y="4054475"/>
            <a:ext cx="546100" cy="550863"/>
          </a:xfrm>
          <a:custGeom>
            <a:avLst/>
            <a:gdLst>
              <a:gd name="T0" fmla="*/ 0 w 344"/>
              <a:gd name="T1" fmla="*/ 0 h 347"/>
              <a:gd name="T2" fmla="*/ 0 w 344"/>
              <a:gd name="T3" fmla="*/ 347 h 347"/>
              <a:gd name="T4" fmla="*/ 344 w 344"/>
              <a:gd name="T5" fmla="*/ 347 h 347"/>
              <a:gd name="T6" fmla="*/ 344 w 344"/>
              <a:gd name="T7" fmla="*/ 0 h 347"/>
              <a:gd name="T8" fmla="*/ 0 w 344"/>
              <a:gd name="T9" fmla="*/ 0 h 347"/>
              <a:gd name="T10" fmla="*/ 333 w 344"/>
              <a:gd name="T11" fmla="*/ 336 h 347"/>
              <a:gd name="T12" fmla="*/ 11 w 344"/>
              <a:gd name="T13" fmla="*/ 336 h 347"/>
              <a:gd name="T14" fmla="*/ 11 w 344"/>
              <a:gd name="T15" fmla="*/ 11 h 347"/>
              <a:gd name="T16" fmla="*/ 333 w 344"/>
              <a:gd name="T17" fmla="*/ 11 h 347"/>
              <a:gd name="T18" fmla="*/ 333 w 344"/>
              <a:gd name="T19" fmla="*/ 336 h 347"/>
              <a:gd name="T20" fmla="*/ 69 w 344"/>
              <a:gd name="T21" fmla="*/ 139 h 347"/>
              <a:gd name="T22" fmla="*/ 275 w 344"/>
              <a:gd name="T23" fmla="*/ 139 h 347"/>
              <a:gd name="T24" fmla="*/ 275 w 344"/>
              <a:gd name="T25" fmla="*/ 149 h 347"/>
              <a:gd name="T26" fmla="*/ 69 w 344"/>
              <a:gd name="T27" fmla="*/ 149 h 347"/>
              <a:gd name="T28" fmla="*/ 69 w 344"/>
              <a:gd name="T29" fmla="*/ 139 h 347"/>
              <a:gd name="T30" fmla="*/ 69 w 344"/>
              <a:gd name="T31" fmla="*/ 197 h 347"/>
              <a:gd name="T32" fmla="*/ 275 w 344"/>
              <a:gd name="T33" fmla="*/ 197 h 347"/>
              <a:gd name="T34" fmla="*/ 275 w 344"/>
              <a:gd name="T35" fmla="*/ 208 h 347"/>
              <a:gd name="T36" fmla="*/ 69 w 344"/>
              <a:gd name="T37" fmla="*/ 208 h 347"/>
              <a:gd name="T38" fmla="*/ 69 w 344"/>
              <a:gd name="T39" fmla="*/ 19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4" h="347">
                <a:moveTo>
                  <a:pt x="0" y="0"/>
                </a:moveTo>
                <a:lnTo>
                  <a:pt x="0" y="347"/>
                </a:lnTo>
                <a:lnTo>
                  <a:pt x="344" y="347"/>
                </a:lnTo>
                <a:lnTo>
                  <a:pt x="344" y="0"/>
                </a:lnTo>
                <a:lnTo>
                  <a:pt x="0" y="0"/>
                </a:lnTo>
                <a:close/>
                <a:moveTo>
                  <a:pt x="333" y="336"/>
                </a:moveTo>
                <a:lnTo>
                  <a:pt x="11" y="336"/>
                </a:lnTo>
                <a:lnTo>
                  <a:pt x="11" y="11"/>
                </a:lnTo>
                <a:lnTo>
                  <a:pt x="333" y="11"/>
                </a:lnTo>
                <a:lnTo>
                  <a:pt x="333" y="336"/>
                </a:lnTo>
                <a:close/>
                <a:moveTo>
                  <a:pt x="69" y="139"/>
                </a:moveTo>
                <a:lnTo>
                  <a:pt x="275" y="139"/>
                </a:lnTo>
                <a:lnTo>
                  <a:pt x="275" y="149"/>
                </a:lnTo>
                <a:lnTo>
                  <a:pt x="69" y="149"/>
                </a:lnTo>
                <a:lnTo>
                  <a:pt x="69" y="139"/>
                </a:lnTo>
                <a:close/>
                <a:moveTo>
                  <a:pt x="69" y="197"/>
                </a:moveTo>
                <a:lnTo>
                  <a:pt x="275" y="197"/>
                </a:lnTo>
                <a:lnTo>
                  <a:pt x="275" y="208"/>
                </a:lnTo>
                <a:lnTo>
                  <a:pt x="69" y="208"/>
                </a:lnTo>
                <a:lnTo>
                  <a:pt x="69" y="197"/>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5" name="Freeform 1152">
            <a:extLst>
              <a:ext uri="{FF2B5EF4-FFF2-40B4-BE49-F238E27FC236}">
                <a16:creationId xmlns:a16="http://schemas.microsoft.com/office/drawing/2014/main" id="{A5B99D26-DF17-8B49-8EA2-4FCDA740BBF5}"/>
              </a:ext>
            </a:extLst>
          </p:cNvPr>
          <p:cNvSpPr>
            <a:spLocks noEditPoints="1"/>
          </p:cNvSpPr>
          <p:nvPr/>
        </p:nvSpPr>
        <p:spPr bwMode="auto">
          <a:xfrm>
            <a:off x="10986776" y="4852988"/>
            <a:ext cx="546100" cy="182563"/>
          </a:xfrm>
          <a:custGeom>
            <a:avLst/>
            <a:gdLst>
              <a:gd name="T0" fmla="*/ 0 w 344"/>
              <a:gd name="T1" fmla="*/ 0 h 115"/>
              <a:gd name="T2" fmla="*/ 344 w 344"/>
              <a:gd name="T3" fmla="*/ 0 h 115"/>
              <a:gd name="T4" fmla="*/ 344 w 344"/>
              <a:gd name="T5" fmla="*/ 19 h 115"/>
              <a:gd name="T6" fmla="*/ 0 w 344"/>
              <a:gd name="T7" fmla="*/ 19 h 115"/>
              <a:gd name="T8" fmla="*/ 0 w 344"/>
              <a:gd name="T9" fmla="*/ 0 h 115"/>
              <a:gd name="T10" fmla="*/ 0 w 344"/>
              <a:gd name="T11" fmla="*/ 115 h 115"/>
              <a:gd name="T12" fmla="*/ 344 w 344"/>
              <a:gd name="T13" fmla="*/ 115 h 115"/>
              <a:gd name="T14" fmla="*/ 344 w 344"/>
              <a:gd name="T15" fmla="*/ 95 h 115"/>
              <a:gd name="T16" fmla="*/ 0 w 344"/>
              <a:gd name="T17" fmla="*/ 95 h 115"/>
              <a:gd name="T18" fmla="*/ 0 w 344"/>
              <a:gd name="T19"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115">
                <a:moveTo>
                  <a:pt x="0" y="0"/>
                </a:moveTo>
                <a:lnTo>
                  <a:pt x="344" y="0"/>
                </a:lnTo>
                <a:lnTo>
                  <a:pt x="344" y="19"/>
                </a:lnTo>
                <a:lnTo>
                  <a:pt x="0" y="19"/>
                </a:lnTo>
                <a:lnTo>
                  <a:pt x="0" y="0"/>
                </a:lnTo>
                <a:close/>
                <a:moveTo>
                  <a:pt x="0" y="115"/>
                </a:moveTo>
                <a:lnTo>
                  <a:pt x="344" y="115"/>
                </a:lnTo>
                <a:lnTo>
                  <a:pt x="344" y="95"/>
                </a:lnTo>
                <a:lnTo>
                  <a:pt x="0" y="95"/>
                </a:lnTo>
                <a:lnTo>
                  <a:pt x="0" y="115"/>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1153">
            <a:extLst>
              <a:ext uri="{FF2B5EF4-FFF2-40B4-BE49-F238E27FC236}">
                <a16:creationId xmlns:a16="http://schemas.microsoft.com/office/drawing/2014/main" id="{A5B2D7A2-F3B4-2E47-AFFE-DB6132428656}"/>
              </a:ext>
            </a:extLst>
          </p:cNvPr>
          <p:cNvSpPr>
            <a:spLocks noEditPoints="1"/>
          </p:cNvSpPr>
          <p:nvPr/>
        </p:nvSpPr>
        <p:spPr bwMode="auto">
          <a:xfrm>
            <a:off x="10986776" y="5292725"/>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110 w 160"/>
              <a:gd name="T21" fmla="*/ 54 h 160"/>
              <a:gd name="T22" fmla="*/ 84 w 160"/>
              <a:gd name="T23" fmla="*/ 80 h 160"/>
              <a:gd name="T24" fmla="*/ 110 w 160"/>
              <a:gd name="T25" fmla="*/ 106 h 160"/>
              <a:gd name="T26" fmla="*/ 110 w 160"/>
              <a:gd name="T27" fmla="*/ 110 h 160"/>
              <a:gd name="T28" fmla="*/ 108 w 160"/>
              <a:gd name="T29" fmla="*/ 111 h 160"/>
              <a:gd name="T30" fmla="*/ 106 w 160"/>
              <a:gd name="T31" fmla="*/ 110 h 160"/>
              <a:gd name="T32" fmla="*/ 80 w 160"/>
              <a:gd name="T33" fmla="*/ 84 h 160"/>
              <a:gd name="T34" fmla="*/ 54 w 160"/>
              <a:gd name="T35" fmla="*/ 110 h 160"/>
              <a:gd name="T36" fmla="*/ 52 w 160"/>
              <a:gd name="T37" fmla="*/ 111 h 160"/>
              <a:gd name="T38" fmla="*/ 50 w 160"/>
              <a:gd name="T39" fmla="*/ 110 h 160"/>
              <a:gd name="T40" fmla="*/ 50 w 160"/>
              <a:gd name="T41" fmla="*/ 106 h 160"/>
              <a:gd name="T42" fmla="*/ 76 w 160"/>
              <a:gd name="T43" fmla="*/ 80 h 160"/>
              <a:gd name="T44" fmla="*/ 50 w 160"/>
              <a:gd name="T45" fmla="*/ 54 h 160"/>
              <a:gd name="T46" fmla="*/ 50 w 160"/>
              <a:gd name="T47" fmla="*/ 50 h 160"/>
              <a:gd name="T48" fmla="*/ 54 w 160"/>
              <a:gd name="T49" fmla="*/ 50 h 160"/>
              <a:gd name="T50" fmla="*/ 80 w 160"/>
              <a:gd name="T51" fmla="*/ 76 h 160"/>
              <a:gd name="T52" fmla="*/ 106 w 160"/>
              <a:gd name="T53" fmla="*/ 50 h 160"/>
              <a:gd name="T54" fmla="*/ 110 w 160"/>
              <a:gd name="T55" fmla="*/ 50 h 160"/>
              <a:gd name="T56" fmla="*/ 110 w 160"/>
              <a:gd name="T57" fmla="*/ 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110" y="54"/>
                </a:moveTo>
                <a:cubicBezTo>
                  <a:pt x="84" y="80"/>
                  <a:pt x="84" y="80"/>
                  <a:pt x="84" y="80"/>
                </a:cubicBezTo>
                <a:cubicBezTo>
                  <a:pt x="110" y="106"/>
                  <a:pt x="110" y="106"/>
                  <a:pt x="110" y="106"/>
                </a:cubicBezTo>
                <a:cubicBezTo>
                  <a:pt x="111" y="107"/>
                  <a:pt x="111" y="109"/>
                  <a:pt x="110" y="110"/>
                </a:cubicBezTo>
                <a:cubicBezTo>
                  <a:pt x="109" y="110"/>
                  <a:pt x="108" y="111"/>
                  <a:pt x="108" y="111"/>
                </a:cubicBezTo>
                <a:cubicBezTo>
                  <a:pt x="107" y="111"/>
                  <a:pt x="106" y="110"/>
                  <a:pt x="106" y="110"/>
                </a:cubicBezTo>
                <a:cubicBezTo>
                  <a:pt x="80" y="84"/>
                  <a:pt x="80" y="84"/>
                  <a:pt x="80" y="84"/>
                </a:cubicBezTo>
                <a:cubicBezTo>
                  <a:pt x="54" y="110"/>
                  <a:pt x="54" y="110"/>
                  <a:pt x="54" y="110"/>
                </a:cubicBezTo>
                <a:cubicBezTo>
                  <a:pt x="54" y="110"/>
                  <a:pt x="53" y="111"/>
                  <a:pt x="52" y="111"/>
                </a:cubicBezTo>
                <a:cubicBezTo>
                  <a:pt x="52" y="111"/>
                  <a:pt x="51" y="110"/>
                  <a:pt x="50" y="110"/>
                </a:cubicBezTo>
                <a:cubicBezTo>
                  <a:pt x="49" y="109"/>
                  <a:pt x="49" y="107"/>
                  <a:pt x="50" y="106"/>
                </a:cubicBezTo>
                <a:cubicBezTo>
                  <a:pt x="76" y="80"/>
                  <a:pt x="76" y="80"/>
                  <a:pt x="76" y="80"/>
                </a:cubicBezTo>
                <a:cubicBezTo>
                  <a:pt x="50" y="54"/>
                  <a:pt x="50" y="54"/>
                  <a:pt x="50" y="54"/>
                </a:cubicBezTo>
                <a:cubicBezTo>
                  <a:pt x="49" y="53"/>
                  <a:pt x="49" y="51"/>
                  <a:pt x="50" y="50"/>
                </a:cubicBezTo>
                <a:cubicBezTo>
                  <a:pt x="51" y="49"/>
                  <a:pt x="53" y="49"/>
                  <a:pt x="54" y="50"/>
                </a:cubicBezTo>
                <a:cubicBezTo>
                  <a:pt x="80" y="76"/>
                  <a:pt x="80" y="76"/>
                  <a:pt x="80" y="76"/>
                </a:cubicBezTo>
                <a:cubicBezTo>
                  <a:pt x="106" y="50"/>
                  <a:pt x="106" y="50"/>
                  <a:pt x="106" y="50"/>
                </a:cubicBezTo>
                <a:cubicBezTo>
                  <a:pt x="107" y="49"/>
                  <a:pt x="109" y="49"/>
                  <a:pt x="110" y="50"/>
                </a:cubicBezTo>
                <a:cubicBezTo>
                  <a:pt x="111" y="51"/>
                  <a:pt x="111" y="53"/>
                  <a:pt x="110" y="54"/>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Freeform 1154">
            <a:extLst>
              <a:ext uri="{FF2B5EF4-FFF2-40B4-BE49-F238E27FC236}">
                <a16:creationId xmlns:a16="http://schemas.microsoft.com/office/drawing/2014/main" id="{EA64E1AD-CFC0-2D48-8886-8764F3E73448}"/>
              </a:ext>
            </a:extLst>
          </p:cNvPr>
          <p:cNvSpPr>
            <a:spLocks noEditPoints="1"/>
          </p:cNvSpPr>
          <p:nvPr/>
        </p:nvSpPr>
        <p:spPr bwMode="auto">
          <a:xfrm>
            <a:off x="11001064" y="5911850"/>
            <a:ext cx="525463" cy="550863"/>
          </a:xfrm>
          <a:custGeom>
            <a:avLst/>
            <a:gdLst>
              <a:gd name="T0" fmla="*/ 153 w 154"/>
              <a:gd name="T1" fmla="*/ 72 h 160"/>
              <a:gd name="T2" fmla="*/ 118 w 154"/>
              <a:gd name="T3" fmla="*/ 107 h 160"/>
              <a:gd name="T4" fmla="*/ 116 w 154"/>
              <a:gd name="T5" fmla="*/ 108 h 160"/>
              <a:gd name="T6" fmla="*/ 114 w 154"/>
              <a:gd name="T7" fmla="*/ 107 h 160"/>
              <a:gd name="T8" fmla="*/ 114 w 154"/>
              <a:gd name="T9" fmla="*/ 103 h 160"/>
              <a:gd name="T10" fmla="*/ 144 w 154"/>
              <a:gd name="T11" fmla="*/ 73 h 160"/>
              <a:gd name="T12" fmla="*/ 81 w 154"/>
              <a:gd name="T13" fmla="*/ 73 h 160"/>
              <a:gd name="T14" fmla="*/ 79 w 154"/>
              <a:gd name="T15" fmla="*/ 70 h 160"/>
              <a:gd name="T16" fmla="*/ 81 w 154"/>
              <a:gd name="T17" fmla="*/ 67 h 160"/>
              <a:gd name="T18" fmla="*/ 144 w 154"/>
              <a:gd name="T19" fmla="*/ 67 h 160"/>
              <a:gd name="T20" fmla="*/ 114 w 154"/>
              <a:gd name="T21" fmla="*/ 37 h 160"/>
              <a:gd name="T22" fmla="*/ 114 w 154"/>
              <a:gd name="T23" fmla="*/ 33 h 160"/>
              <a:gd name="T24" fmla="*/ 118 w 154"/>
              <a:gd name="T25" fmla="*/ 33 h 160"/>
              <a:gd name="T26" fmla="*/ 153 w 154"/>
              <a:gd name="T27" fmla="*/ 68 h 160"/>
              <a:gd name="T28" fmla="*/ 154 w 154"/>
              <a:gd name="T29" fmla="*/ 69 h 160"/>
              <a:gd name="T30" fmla="*/ 154 w 154"/>
              <a:gd name="T31" fmla="*/ 71 h 160"/>
              <a:gd name="T32" fmla="*/ 153 w 154"/>
              <a:gd name="T33" fmla="*/ 72 h 160"/>
              <a:gd name="T34" fmla="*/ 105 w 154"/>
              <a:gd name="T35" fmla="*/ 87 h 160"/>
              <a:gd name="T36" fmla="*/ 105 w 154"/>
              <a:gd name="T37" fmla="*/ 137 h 160"/>
              <a:gd name="T38" fmla="*/ 102 w 154"/>
              <a:gd name="T39" fmla="*/ 140 h 160"/>
              <a:gd name="T40" fmla="*/ 70 w 154"/>
              <a:gd name="T41" fmla="*/ 140 h 160"/>
              <a:gd name="T42" fmla="*/ 70 w 154"/>
              <a:gd name="T43" fmla="*/ 157 h 160"/>
              <a:gd name="T44" fmla="*/ 69 w 154"/>
              <a:gd name="T45" fmla="*/ 159 h 160"/>
              <a:gd name="T46" fmla="*/ 67 w 154"/>
              <a:gd name="T47" fmla="*/ 160 h 160"/>
              <a:gd name="T48" fmla="*/ 66 w 154"/>
              <a:gd name="T49" fmla="*/ 160 h 160"/>
              <a:gd name="T50" fmla="*/ 2 w 154"/>
              <a:gd name="T51" fmla="*/ 140 h 160"/>
              <a:gd name="T52" fmla="*/ 2 w 154"/>
              <a:gd name="T53" fmla="*/ 139 h 160"/>
              <a:gd name="T54" fmla="*/ 2 w 154"/>
              <a:gd name="T55" fmla="*/ 139 h 160"/>
              <a:gd name="T56" fmla="*/ 1 w 154"/>
              <a:gd name="T57" fmla="*/ 139 h 160"/>
              <a:gd name="T58" fmla="*/ 1 w 154"/>
              <a:gd name="T59" fmla="*/ 139 h 160"/>
              <a:gd name="T60" fmla="*/ 0 w 154"/>
              <a:gd name="T61" fmla="*/ 138 h 160"/>
              <a:gd name="T62" fmla="*/ 0 w 154"/>
              <a:gd name="T63" fmla="*/ 138 h 160"/>
              <a:gd name="T64" fmla="*/ 0 w 154"/>
              <a:gd name="T65" fmla="*/ 137 h 160"/>
              <a:gd name="T66" fmla="*/ 0 w 154"/>
              <a:gd name="T67" fmla="*/ 3 h 160"/>
              <a:gd name="T68" fmla="*/ 0 w 154"/>
              <a:gd name="T69" fmla="*/ 2 h 160"/>
              <a:gd name="T70" fmla="*/ 0 w 154"/>
              <a:gd name="T71" fmla="*/ 2 h 160"/>
              <a:gd name="T72" fmla="*/ 1 w 154"/>
              <a:gd name="T73" fmla="*/ 1 h 160"/>
              <a:gd name="T74" fmla="*/ 1 w 154"/>
              <a:gd name="T75" fmla="*/ 1 h 160"/>
              <a:gd name="T76" fmla="*/ 1 w 154"/>
              <a:gd name="T77" fmla="*/ 1 h 160"/>
              <a:gd name="T78" fmla="*/ 1 w 154"/>
              <a:gd name="T79" fmla="*/ 0 h 160"/>
              <a:gd name="T80" fmla="*/ 2 w 154"/>
              <a:gd name="T81" fmla="*/ 0 h 160"/>
              <a:gd name="T82" fmla="*/ 3 w 154"/>
              <a:gd name="T83" fmla="*/ 0 h 160"/>
              <a:gd name="T84" fmla="*/ 3 w 154"/>
              <a:gd name="T85" fmla="*/ 0 h 160"/>
              <a:gd name="T86" fmla="*/ 102 w 154"/>
              <a:gd name="T87" fmla="*/ 0 h 160"/>
              <a:gd name="T88" fmla="*/ 105 w 154"/>
              <a:gd name="T89" fmla="*/ 3 h 160"/>
              <a:gd name="T90" fmla="*/ 105 w 154"/>
              <a:gd name="T91" fmla="*/ 52 h 160"/>
              <a:gd name="T92" fmla="*/ 102 w 154"/>
              <a:gd name="T93" fmla="*/ 55 h 160"/>
              <a:gd name="T94" fmla="*/ 99 w 154"/>
              <a:gd name="T95" fmla="*/ 52 h 160"/>
              <a:gd name="T96" fmla="*/ 99 w 154"/>
              <a:gd name="T97" fmla="*/ 6 h 160"/>
              <a:gd name="T98" fmla="*/ 22 w 154"/>
              <a:gd name="T99" fmla="*/ 6 h 160"/>
              <a:gd name="T100" fmla="*/ 68 w 154"/>
              <a:gd name="T101" fmla="*/ 21 h 160"/>
              <a:gd name="T102" fmla="*/ 70 w 154"/>
              <a:gd name="T103" fmla="*/ 23 h 160"/>
              <a:gd name="T104" fmla="*/ 70 w 154"/>
              <a:gd name="T105" fmla="*/ 134 h 160"/>
              <a:gd name="T106" fmla="*/ 99 w 154"/>
              <a:gd name="T107" fmla="*/ 134 h 160"/>
              <a:gd name="T108" fmla="*/ 99 w 154"/>
              <a:gd name="T109" fmla="*/ 87 h 160"/>
              <a:gd name="T110" fmla="*/ 102 w 154"/>
              <a:gd name="T111" fmla="*/ 84 h 160"/>
              <a:gd name="T112" fmla="*/ 105 w 154"/>
              <a:gd name="T113" fmla="*/ 87 h 160"/>
              <a:gd name="T114" fmla="*/ 64 w 154"/>
              <a:gd name="T115" fmla="*/ 25 h 160"/>
              <a:gd name="T116" fmla="*/ 6 w 154"/>
              <a:gd name="T117" fmla="*/ 7 h 160"/>
              <a:gd name="T118" fmla="*/ 6 w 154"/>
              <a:gd name="T119" fmla="*/ 135 h 160"/>
              <a:gd name="T120" fmla="*/ 64 w 154"/>
              <a:gd name="T121" fmla="*/ 153 h 160"/>
              <a:gd name="T122" fmla="*/ 64 w 154"/>
              <a:gd name="T123" fmla="*/ 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 h="160">
                <a:moveTo>
                  <a:pt x="153" y="72"/>
                </a:moveTo>
                <a:cubicBezTo>
                  <a:pt x="118" y="107"/>
                  <a:pt x="118" y="107"/>
                  <a:pt x="118" y="107"/>
                </a:cubicBezTo>
                <a:cubicBezTo>
                  <a:pt x="118" y="107"/>
                  <a:pt x="117" y="108"/>
                  <a:pt x="116" y="108"/>
                </a:cubicBezTo>
                <a:cubicBezTo>
                  <a:pt x="116" y="108"/>
                  <a:pt x="115" y="107"/>
                  <a:pt x="114" y="107"/>
                </a:cubicBezTo>
                <a:cubicBezTo>
                  <a:pt x="113" y="106"/>
                  <a:pt x="113" y="104"/>
                  <a:pt x="114" y="103"/>
                </a:cubicBezTo>
                <a:cubicBezTo>
                  <a:pt x="144" y="73"/>
                  <a:pt x="144" y="73"/>
                  <a:pt x="144" y="73"/>
                </a:cubicBezTo>
                <a:cubicBezTo>
                  <a:pt x="81" y="73"/>
                  <a:pt x="81" y="73"/>
                  <a:pt x="81" y="73"/>
                </a:cubicBezTo>
                <a:cubicBezTo>
                  <a:pt x="80" y="73"/>
                  <a:pt x="79" y="71"/>
                  <a:pt x="79" y="70"/>
                </a:cubicBezTo>
                <a:cubicBezTo>
                  <a:pt x="79" y="68"/>
                  <a:pt x="80" y="67"/>
                  <a:pt x="81" y="67"/>
                </a:cubicBezTo>
                <a:cubicBezTo>
                  <a:pt x="144" y="67"/>
                  <a:pt x="144" y="67"/>
                  <a:pt x="144" y="67"/>
                </a:cubicBezTo>
                <a:cubicBezTo>
                  <a:pt x="114" y="37"/>
                  <a:pt x="114" y="37"/>
                  <a:pt x="114" y="37"/>
                </a:cubicBezTo>
                <a:cubicBezTo>
                  <a:pt x="113" y="36"/>
                  <a:pt x="113" y="34"/>
                  <a:pt x="114" y="33"/>
                </a:cubicBezTo>
                <a:cubicBezTo>
                  <a:pt x="115" y="32"/>
                  <a:pt x="117" y="32"/>
                  <a:pt x="118" y="33"/>
                </a:cubicBezTo>
                <a:cubicBezTo>
                  <a:pt x="153" y="68"/>
                  <a:pt x="153" y="68"/>
                  <a:pt x="153" y="68"/>
                </a:cubicBezTo>
                <a:cubicBezTo>
                  <a:pt x="154" y="68"/>
                  <a:pt x="154" y="68"/>
                  <a:pt x="154" y="69"/>
                </a:cubicBezTo>
                <a:cubicBezTo>
                  <a:pt x="154" y="69"/>
                  <a:pt x="154" y="70"/>
                  <a:pt x="154" y="71"/>
                </a:cubicBezTo>
                <a:cubicBezTo>
                  <a:pt x="154" y="71"/>
                  <a:pt x="154" y="72"/>
                  <a:pt x="153" y="72"/>
                </a:cubicBezTo>
                <a:close/>
                <a:moveTo>
                  <a:pt x="105" y="87"/>
                </a:moveTo>
                <a:cubicBezTo>
                  <a:pt x="105" y="137"/>
                  <a:pt x="105" y="137"/>
                  <a:pt x="105" y="137"/>
                </a:cubicBezTo>
                <a:cubicBezTo>
                  <a:pt x="105" y="138"/>
                  <a:pt x="103" y="140"/>
                  <a:pt x="102" y="140"/>
                </a:cubicBezTo>
                <a:cubicBezTo>
                  <a:pt x="70" y="140"/>
                  <a:pt x="70" y="140"/>
                  <a:pt x="70" y="140"/>
                </a:cubicBezTo>
                <a:cubicBezTo>
                  <a:pt x="70" y="157"/>
                  <a:pt x="70" y="157"/>
                  <a:pt x="70" y="157"/>
                </a:cubicBezTo>
                <a:cubicBezTo>
                  <a:pt x="70" y="158"/>
                  <a:pt x="69" y="159"/>
                  <a:pt x="69" y="159"/>
                </a:cubicBezTo>
                <a:cubicBezTo>
                  <a:pt x="68" y="160"/>
                  <a:pt x="68" y="160"/>
                  <a:pt x="67" y="160"/>
                </a:cubicBezTo>
                <a:cubicBezTo>
                  <a:pt x="67" y="160"/>
                  <a:pt x="66" y="160"/>
                  <a:pt x="66" y="160"/>
                </a:cubicBezTo>
                <a:cubicBezTo>
                  <a:pt x="2" y="140"/>
                  <a:pt x="2" y="140"/>
                  <a:pt x="2" y="140"/>
                </a:cubicBezTo>
                <a:cubicBezTo>
                  <a:pt x="2" y="139"/>
                  <a:pt x="2" y="139"/>
                  <a:pt x="2" y="139"/>
                </a:cubicBezTo>
                <a:cubicBezTo>
                  <a:pt x="2" y="139"/>
                  <a:pt x="2" y="139"/>
                  <a:pt x="2" y="139"/>
                </a:cubicBezTo>
                <a:cubicBezTo>
                  <a:pt x="1" y="139"/>
                  <a:pt x="1" y="139"/>
                  <a:pt x="1" y="139"/>
                </a:cubicBezTo>
                <a:cubicBezTo>
                  <a:pt x="1" y="139"/>
                  <a:pt x="1" y="139"/>
                  <a:pt x="1" y="139"/>
                </a:cubicBezTo>
                <a:cubicBezTo>
                  <a:pt x="1" y="138"/>
                  <a:pt x="0" y="138"/>
                  <a:pt x="0" y="138"/>
                </a:cubicBezTo>
                <a:cubicBezTo>
                  <a:pt x="0" y="138"/>
                  <a:pt x="0" y="138"/>
                  <a:pt x="0" y="138"/>
                </a:cubicBezTo>
                <a:cubicBezTo>
                  <a:pt x="0" y="137"/>
                  <a:pt x="0" y="137"/>
                  <a:pt x="0" y="137"/>
                </a:cubicBezTo>
                <a:cubicBezTo>
                  <a:pt x="0" y="3"/>
                  <a:pt x="0" y="3"/>
                  <a:pt x="0" y="3"/>
                </a:cubicBezTo>
                <a:cubicBezTo>
                  <a:pt x="0" y="3"/>
                  <a:pt x="0" y="2"/>
                  <a:pt x="0" y="2"/>
                </a:cubicBezTo>
                <a:cubicBezTo>
                  <a:pt x="0" y="2"/>
                  <a:pt x="0" y="2"/>
                  <a:pt x="0" y="2"/>
                </a:cubicBezTo>
                <a:cubicBezTo>
                  <a:pt x="0" y="1"/>
                  <a:pt x="1" y="1"/>
                  <a:pt x="1" y="1"/>
                </a:cubicBezTo>
                <a:cubicBezTo>
                  <a:pt x="1" y="1"/>
                  <a:pt x="1" y="1"/>
                  <a:pt x="1" y="1"/>
                </a:cubicBezTo>
                <a:cubicBezTo>
                  <a:pt x="1" y="1"/>
                  <a:pt x="1" y="1"/>
                  <a:pt x="1" y="1"/>
                </a:cubicBezTo>
                <a:cubicBezTo>
                  <a:pt x="1" y="1"/>
                  <a:pt x="1" y="1"/>
                  <a:pt x="1" y="0"/>
                </a:cubicBezTo>
                <a:cubicBezTo>
                  <a:pt x="2" y="0"/>
                  <a:pt x="2" y="0"/>
                  <a:pt x="2" y="0"/>
                </a:cubicBezTo>
                <a:cubicBezTo>
                  <a:pt x="2" y="0"/>
                  <a:pt x="2" y="0"/>
                  <a:pt x="3" y="0"/>
                </a:cubicBezTo>
                <a:cubicBezTo>
                  <a:pt x="3" y="0"/>
                  <a:pt x="3" y="0"/>
                  <a:pt x="3" y="0"/>
                </a:cubicBezTo>
                <a:cubicBezTo>
                  <a:pt x="102" y="0"/>
                  <a:pt x="102" y="0"/>
                  <a:pt x="102" y="0"/>
                </a:cubicBezTo>
                <a:cubicBezTo>
                  <a:pt x="103" y="0"/>
                  <a:pt x="105" y="1"/>
                  <a:pt x="105" y="3"/>
                </a:cubicBezTo>
                <a:cubicBezTo>
                  <a:pt x="105" y="52"/>
                  <a:pt x="105" y="52"/>
                  <a:pt x="105" y="52"/>
                </a:cubicBezTo>
                <a:cubicBezTo>
                  <a:pt x="105" y="54"/>
                  <a:pt x="103" y="55"/>
                  <a:pt x="102" y="55"/>
                </a:cubicBezTo>
                <a:cubicBezTo>
                  <a:pt x="100" y="55"/>
                  <a:pt x="99" y="54"/>
                  <a:pt x="99" y="52"/>
                </a:cubicBezTo>
                <a:cubicBezTo>
                  <a:pt x="99" y="6"/>
                  <a:pt x="99" y="6"/>
                  <a:pt x="99" y="6"/>
                </a:cubicBezTo>
                <a:cubicBezTo>
                  <a:pt x="22" y="6"/>
                  <a:pt x="22" y="6"/>
                  <a:pt x="22" y="6"/>
                </a:cubicBezTo>
                <a:cubicBezTo>
                  <a:pt x="68" y="21"/>
                  <a:pt x="68" y="21"/>
                  <a:pt x="68" y="21"/>
                </a:cubicBezTo>
                <a:cubicBezTo>
                  <a:pt x="69" y="21"/>
                  <a:pt x="70" y="22"/>
                  <a:pt x="70" y="23"/>
                </a:cubicBezTo>
                <a:cubicBezTo>
                  <a:pt x="70" y="134"/>
                  <a:pt x="70" y="134"/>
                  <a:pt x="70" y="134"/>
                </a:cubicBezTo>
                <a:cubicBezTo>
                  <a:pt x="99" y="134"/>
                  <a:pt x="99" y="134"/>
                  <a:pt x="99" y="134"/>
                </a:cubicBezTo>
                <a:cubicBezTo>
                  <a:pt x="99" y="87"/>
                  <a:pt x="99" y="87"/>
                  <a:pt x="99" y="87"/>
                </a:cubicBezTo>
                <a:cubicBezTo>
                  <a:pt x="99" y="86"/>
                  <a:pt x="100" y="84"/>
                  <a:pt x="102" y="84"/>
                </a:cubicBezTo>
                <a:cubicBezTo>
                  <a:pt x="103" y="84"/>
                  <a:pt x="105" y="86"/>
                  <a:pt x="105" y="87"/>
                </a:cubicBezTo>
                <a:close/>
                <a:moveTo>
                  <a:pt x="64" y="25"/>
                </a:moveTo>
                <a:cubicBezTo>
                  <a:pt x="6" y="7"/>
                  <a:pt x="6" y="7"/>
                  <a:pt x="6" y="7"/>
                </a:cubicBezTo>
                <a:cubicBezTo>
                  <a:pt x="6" y="135"/>
                  <a:pt x="6" y="135"/>
                  <a:pt x="6" y="135"/>
                </a:cubicBezTo>
                <a:cubicBezTo>
                  <a:pt x="64" y="153"/>
                  <a:pt x="64" y="153"/>
                  <a:pt x="64" y="153"/>
                </a:cubicBezTo>
                <a:lnTo>
                  <a:pt x="64" y="25"/>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8" name="Freeform 1155">
            <a:extLst>
              <a:ext uri="{FF2B5EF4-FFF2-40B4-BE49-F238E27FC236}">
                <a16:creationId xmlns:a16="http://schemas.microsoft.com/office/drawing/2014/main" id="{D64AE699-CCD4-BE44-9DB9-0A4D45991773}"/>
              </a:ext>
            </a:extLst>
          </p:cNvPr>
          <p:cNvSpPr>
            <a:spLocks noEditPoints="1"/>
          </p:cNvSpPr>
          <p:nvPr/>
        </p:nvSpPr>
        <p:spPr bwMode="auto">
          <a:xfrm>
            <a:off x="9177220" y="3462338"/>
            <a:ext cx="546100" cy="549275"/>
          </a:xfrm>
          <a:custGeom>
            <a:avLst/>
            <a:gdLst>
              <a:gd name="T0" fmla="*/ 160 w 160"/>
              <a:gd name="T1" fmla="*/ 71 h 160"/>
              <a:gd name="T2" fmla="*/ 160 w 160"/>
              <a:gd name="T3" fmla="*/ 69 h 160"/>
              <a:gd name="T4" fmla="*/ 159 w 160"/>
              <a:gd name="T5" fmla="*/ 68 h 160"/>
              <a:gd name="T6" fmla="*/ 124 w 160"/>
              <a:gd name="T7" fmla="*/ 33 h 160"/>
              <a:gd name="T8" fmla="*/ 120 w 160"/>
              <a:gd name="T9" fmla="*/ 33 h 160"/>
              <a:gd name="T10" fmla="*/ 120 w 160"/>
              <a:gd name="T11" fmla="*/ 37 h 160"/>
              <a:gd name="T12" fmla="*/ 150 w 160"/>
              <a:gd name="T13" fmla="*/ 67 h 160"/>
              <a:gd name="T14" fmla="*/ 105 w 160"/>
              <a:gd name="T15" fmla="*/ 67 h 160"/>
              <a:gd name="T16" fmla="*/ 105 w 160"/>
              <a:gd name="T17" fmla="*/ 3 h 160"/>
              <a:gd name="T18" fmla="*/ 102 w 160"/>
              <a:gd name="T19" fmla="*/ 0 h 160"/>
              <a:gd name="T20" fmla="*/ 3 w 160"/>
              <a:gd name="T21" fmla="*/ 0 h 160"/>
              <a:gd name="T22" fmla="*/ 3 w 160"/>
              <a:gd name="T23" fmla="*/ 0 h 160"/>
              <a:gd name="T24" fmla="*/ 2 w 160"/>
              <a:gd name="T25" fmla="*/ 0 h 160"/>
              <a:gd name="T26" fmla="*/ 1 w 160"/>
              <a:gd name="T27" fmla="*/ 0 h 160"/>
              <a:gd name="T28" fmla="*/ 1 w 160"/>
              <a:gd name="T29" fmla="*/ 1 h 160"/>
              <a:gd name="T30" fmla="*/ 1 w 160"/>
              <a:gd name="T31" fmla="*/ 1 h 160"/>
              <a:gd name="T32" fmla="*/ 1 w 160"/>
              <a:gd name="T33" fmla="*/ 1 h 160"/>
              <a:gd name="T34" fmla="*/ 0 w 160"/>
              <a:gd name="T35" fmla="*/ 2 h 160"/>
              <a:gd name="T36" fmla="*/ 0 w 160"/>
              <a:gd name="T37" fmla="*/ 2 h 160"/>
              <a:gd name="T38" fmla="*/ 0 w 160"/>
              <a:gd name="T39" fmla="*/ 3 h 160"/>
              <a:gd name="T40" fmla="*/ 0 w 160"/>
              <a:gd name="T41" fmla="*/ 137 h 160"/>
              <a:gd name="T42" fmla="*/ 0 w 160"/>
              <a:gd name="T43" fmla="*/ 138 h 160"/>
              <a:gd name="T44" fmla="*/ 0 w 160"/>
              <a:gd name="T45" fmla="*/ 138 h 160"/>
              <a:gd name="T46" fmla="*/ 1 w 160"/>
              <a:gd name="T47" fmla="*/ 139 h 160"/>
              <a:gd name="T48" fmla="*/ 1 w 160"/>
              <a:gd name="T49" fmla="*/ 139 h 160"/>
              <a:gd name="T50" fmla="*/ 2 w 160"/>
              <a:gd name="T51" fmla="*/ 139 h 160"/>
              <a:gd name="T52" fmla="*/ 2 w 160"/>
              <a:gd name="T53" fmla="*/ 139 h 160"/>
              <a:gd name="T54" fmla="*/ 2 w 160"/>
              <a:gd name="T55" fmla="*/ 140 h 160"/>
              <a:gd name="T56" fmla="*/ 66 w 160"/>
              <a:gd name="T57" fmla="*/ 160 h 160"/>
              <a:gd name="T58" fmla="*/ 67 w 160"/>
              <a:gd name="T59" fmla="*/ 160 h 160"/>
              <a:gd name="T60" fmla="*/ 69 w 160"/>
              <a:gd name="T61" fmla="*/ 159 h 160"/>
              <a:gd name="T62" fmla="*/ 70 w 160"/>
              <a:gd name="T63" fmla="*/ 157 h 160"/>
              <a:gd name="T64" fmla="*/ 70 w 160"/>
              <a:gd name="T65" fmla="*/ 140 h 160"/>
              <a:gd name="T66" fmla="*/ 102 w 160"/>
              <a:gd name="T67" fmla="*/ 140 h 160"/>
              <a:gd name="T68" fmla="*/ 105 w 160"/>
              <a:gd name="T69" fmla="*/ 137 h 160"/>
              <a:gd name="T70" fmla="*/ 105 w 160"/>
              <a:gd name="T71" fmla="*/ 73 h 160"/>
              <a:gd name="T72" fmla="*/ 150 w 160"/>
              <a:gd name="T73" fmla="*/ 73 h 160"/>
              <a:gd name="T74" fmla="*/ 120 w 160"/>
              <a:gd name="T75" fmla="*/ 103 h 160"/>
              <a:gd name="T76" fmla="*/ 120 w 160"/>
              <a:gd name="T77" fmla="*/ 107 h 160"/>
              <a:gd name="T78" fmla="*/ 122 w 160"/>
              <a:gd name="T79" fmla="*/ 108 h 160"/>
              <a:gd name="T80" fmla="*/ 124 w 160"/>
              <a:gd name="T81" fmla="*/ 107 h 160"/>
              <a:gd name="T82" fmla="*/ 159 w 160"/>
              <a:gd name="T83" fmla="*/ 72 h 160"/>
              <a:gd name="T84" fmla="*/ 160 w 160"/>
              <a:gd name="T85" fmla="*/ 71 h 160"/>
              <a:gd name="T86" fmla="*/ 64 w 160"/>
              <a:gd name="T87" fmla="*/ 153 h 160"/>
              <a:gd name="T88" fmla="*/ 6 w 160"/>
              <a:gd name="T89" fmla="*/ 135 h 160"/>
              <a:gd name="T90" fmla="*/ 6 w 160"/>
              <a:gd name="T91" fmla="*/ 7 h 160"/>
              <a:gd name="T92" fmla="*/ 64 w 160"/>
              <a:gd name="T93" fmla="*/ 25 h 160"/>
              <a:gd name="T94" fmla="*/ 64 w 160"/>
              <a:gd name="T95" fmla="*/ 153 h 160"/>
              <a:gd name="T96" fmla="*/ 99 w 160"/>
              <a:gd name="T97" fmla="*/ 134 h 160"/>
              <a:gd name="T98" fmla="*/ 70 w 160"/>
              <a:gd name="T99" fmla="*/ 134 h 160"/>
              <a:gd name="T100" fmla="*/ 70 w 160"/>
              <a:gd name="T101" fmla="*/ 23 h 160"/>
              <a:gd name="T102" fmla="*/ 68 w 160"/>
              <a:gd name="T103" fmla="*/ 21 h 160"/>
              <a:gd name="T104" fmla="*/ 22 w 160"/>
              <a:gd name="T105" fmla="*/ 6 h 160"/>
              <a:gd name="T106" fmla="*/ 99 w 160"/>
              <a:gd name="T107" fmla="*/ 6 h 160"/>
              <a:gd name="T108" fmla="*/ 99 w 160"/>
              <a:gd name="T109" fmla="*/ 134 h 160"/>
              <a:gd name="T110" fmla="*/ 61 w 160"/>
              <a:gd name="T111" fmla="*/ 94 h 160"/>
              <a:gd name="T112" fmla="*/ 58 w 160"/>
              <a:gd name="T113" fmla="*/ 96 h 160"/>
              <a:gd name="T114" fmla="*/ 57 w 160"/>
              <a:gd name="T115" fmla="*/ 96 h 160"/>
              <a:gd name="T116" fmla="*/ 43 w 160"/>
              <a:gd name="T117" fmla="*/ 90 h 160"/>
              <a:gd name="T118" fmla="*/ 41 w 160"/>
              <a:gd name="T119" fmla="*/ 86 h 160"/>
              <a:gd name="T120" fmla="*/ 45 w 160"/>
              <a:gd name="T121" fmla="*/ 85 h 160"/>
              <a:gd name="T122" fmla="*/ 59 w 160"/>
              <a:gd name="T123" fmla="*/ 90 h 160"/>
              <a:gd name="T124" fmla="*/ 61 w 160"/>
              <a:gd name="T125" fmla="*/ 9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160">
                <a:moveTo>
                  <a:pt x="160" y="71"/>
                </a:moveTo>
                <a:cubicBezTo>
                  <a:pt x="160" y="70"/>
                  <a:pt x="160" y="69"/>
                  <a:pt x="160" y="69"/>
                </a:cubicBezTo>
                <a:cubicBezTo>
                  <a:pt x="160" y="68"/>
                  <a:pt x="159" y="68"/>
                  <a:pt x="159" y="68"/>
                </a:cubicBezTo>
                <a:cubicBezTo>
                  <a:pt x="124" y="33"/>
                  <a:pt x="124" y="33"/>
                  <a:pt x="124" y="33"/>
                </a:cubicBezTo>
                <a:cubicBezTo>
                  <a:pt x="123" y="32"/>
                  <a:pt x="121" y="32"/>
                  <a:pt x="120" y="33"/>
                </a:cubicBezTo>
                <a:cubicBezTo>
                  <a:pt x="119" y="34"/>
                  <a:pt x="119" y="36"/>
                  <a:pt x="120" y="37"/>
                </a:cubicBezTo>
                <a:cubicBezTo>
                  <a:pt x="150" y="67"/>
                  <a:pt x="150" y="67"/>
                  <a:pt x="150" y="67"/>
                </a:cubicBezTo>
                <a:cubicBezTo>
                  <a:pt x="105" y="67"/>
                  <a:pt x="105" y="67"/>
                  <a:pt x="105" y="67"/>
                </a:cubicBezTo>
                <a:cubicBezTo>
                  <a:pt x="105" y="3"/>
                  <a:pt x="105" y="3"/>
                  <a:pt x="105" y="3"/>
                </a:cubicBezTo>
                <a:cubicBezTo>
                  <a:pt x="105" y="1"/>
                  <a:pt x="103" y="0"/>
                  <a:pt x="102" y="0"/>
                </a:cubicBezTo>
                <a:cubicBezTo>
                  <a:pt x="3" y="0"/>
                  <a:pt x="3" y="0"/>
                  <a:pt x="3" y="0"/>
                </a:cubicBezTo>
                <a:cubicBezTo>
                  <a:pt x="3" y="0"/>
                  <a:pt x="3" y="0"/>
                  <a:pt x="3" y="0"/>
                </a:cubicBezTo>
                <a:cubicBezTo>
                  <a:pt x="2" y="0"/>
                  <a:pt x="2" y="0"/>
                  <a:pt x="2" y="0"/>
                </a:cubicBezTo>
                <a:cubicBezTo>
                  <a:pt x="2" y="0"/>
                  <a:pt x="2" y="0"/>
                  <a:pt x="1" y="0"/>
                </a:cubicBezTo>
                <a:cubicBezTo>
                  <a:pt x="1" y="1"/>
                  <a:pt x="1" y="1"/>
                  <a:pt x="1" y="1"/>
                </a:cubicBezTo>
                <a:cubicBezTo>
                  <a:pt x="1" y="1"/>
                  <a:pt x="1" y="1"/>
                  <a:pt x="1" y="1"/>
                </a:cubicBezTo>
                <a:cubicBezTo>
                  <a:pt x="1" y="1"/>
                  <a:pt x="1" y="1"/>
                  <a:pt x="1" y="1"/>
                </a:cubicBezTo>
                <a:cubicBezTo>
                  <a:pt x="1" y="1"/>
                  <a:pt x="0" y="1"/>
                  <a:pt x="0" y="2"/>
                </a:cubicBezTo>
                <a:cubicBezTo>
                  <a:pt x="0" y="2"/>
                  <a:pt x="0" y="2"/>
                  <a:pt x="0" y="2"/>
                </a:cubicBezTo>
                <a:cubicBezTo>
                  <a:pt x="0" y="2"/>
                  <a:pt x="0" y="3"/>
                  <a:pt x="0" y="3"/>
                </a:cubicBezTo>
                <a:cubicBezTo>
                  <a:pt x="0" y="137"/>
                  <a:pt x="0" y="137"/>
                  <a:pt x="0" y="137"/>
                </a:cubicBezTo>
                <a:cubicBezTo>
                  <a:pt x="0" y="137"/>
                  <a:pt x="0" y="137"/>
                  <a:pt x="0" y="138"/>
                </a:cubicBezTo>
                <a:cubicBezTo>
                  <a:pt x="0" y="138"/>
                  <a:pt x="0" y="138"/>
                  <a:pt x="0" y="138"/>
                </a:cubicBezTo>
                <a:cubicBezTo>
                  <a:pt x="0" y="138"/>
                  <a:pt x="1" y="138"/>
                  <a:pt x="1" y="139"/>
                </a:cubicBezTo>
                <a:cubicBezTo>
                  <a:pt x="1" y="139"/>
                  <a:pt x="1" y="139"/>
                  <a:pt x="1" y="139"/>
                </a:cubicBezTo>
                <a:cubicBezTo>
                  <a:pt x="1" y="139"/>
                  <a:pt x="1" y="139"/>
                  <a:pt x="2" y="139"/>
                </a:cubicBezTo>
                <a:cubicBezTo>
                  <a:pt x="2" y="139"/>
                  <a:pt x="2" y="139"/>
                  <a:pt x="2" y="139"/>
                </a:cubicBezTo>
                <a:cubicBezTo>
                  <a:pt x="2" y="139"/>
                  <a:pt x="2" y="139"/>
                  <a:pt x="2" y="140"/>
                </a:cubicBezTo>
                <a:cubicBezTo>
                  <a:pt x="66" y="160"/>
                  <a:pt x="66" y="160"/>
                  <a:pt x="66" y="160"/>
                </a:cubicBezTo>
                <a:cubicBezTo>
                  <a:pt x="66" y="160"/>
                  <a:pt x="67" y="160"/>
                  <a:pt x="67" y="160"/>
                </a:cubicBezTo>
                <a:cubicBezTo>
                  <a:pt x="68" y="160"/>
                  <a:pt x="68" y="160"/>
                  <a:pt x="69" y="159"/>
                </a:cubicBezTo>
                <a:cubicBezTo>
                  <a:pt x="69" y="159"/>
                  <a:pt x="70" y="158"/>
                  <a:pt x="70" y="157"/>
                </a:cubicBezTo>
                <a:cubicBezTo>
                  <a:pt x="70" y="140"/>
                  <a:pt x="70" y="140"/>
                  <a:pt x="70" y="140"/>
                </a:cubicBezTo>
                <a:cubicBezTo>
                  <a:pt x="102" y="140"/>
                  <a:pt x="102" y="140"/>
                  <a:pt x="102" y="140"/>
                </a:cubicBezTo>
                <a:cubicBezTo>
                  <a:pt x="103" y="140"/>
                  <a:pt x="105" y="138"/>
                  <a:pt x="105" y="137"/>
                </a:cubicBezTo>
                <a:cubicBezTo>
                  <a:pt x="105" y="73"/>
                  <a:pt x="105" y="73"/>
                  <a:pt x="105" y="73"/>
                </a:cubicBezTo>
                <a:cubicBezTo>
                  <a:pt x="150" y="73"/>
                  <a:pt x="150" y="73"/>
                  <a:pt x="150" y="73"/>
                </a:cubicBezTo>
                <a:cubicBezTo>
                  <a:pt x="120" y="103"/>
                  <a:pt x="120" y="103"/>
                  <a:pt x="120" y="103"/>
                </a:cubicBezTo>
                <a:cubicBezTo>
                  <a:pt x="119" y="104"/>
                  <a:pt x="119" y="106"/>
                  <a:pt x="120" y="107"/>
                </a:cubicBezTo>
                <a:cubicBezTo>
                  <a:pt x="121" y="107"/>
                  <a:pt x="121" y="108"/>
                  <a:pt x="122" y="108"/>
                </a:cubicBezTo>
                <a:cubicBezTo>
                  <a:pt x="123" y="108"/>
                  <a:pt x="124" y="107"/>
                  <a:pt x="124" y="107"/>
                </a:cubicBezTo>
                <a:cubicBezTo>
                  <a:pt x="159" y="72"/>
                  <a:pt x="159" y="72"/>
                  <a:pt x="159" y="72"/>
                </a:cubicBezTo>
                <a:cubicBezTo>
                  <a:pt x="159" y="72"/>
                  <a:pt x="160" y="71"/>
                  <a:pt x="160" y="71"/>
                </a:cubicBezTo>
                <a:close/>
                <a:moveTo>
                  <a:pt x="64" y="153"/>
                </a:moveTo>
                <a:cubicBezTo>
                  <a:pt x="6" y="135"/>
                  <a:pt x="6" y="135"/>
                  <a:pt x="6" y="135"/>
                </a:cubicBezTo>
                <a:cubicBezTo>
                  <a:pt x="6" y="7"/>
                  <a:pt x="6" y="7"/>
                  <a:pt x="6" y="7"/>
                </a:cubicBezTo>
                <a:cubicBezTo>
                  <a:pt x="64" y="25"/>
                  <a:pt x="64" y="25"/>
                  <a:pt x="64" y="25"/>
                </a:cubicBezTo>
                <a:lnTo>
                  <a:pt x="64" y="153"/>
                </a:lnTo>
                <a:close/>
                <a:moveTo>
                  <a:pt x="99" y="134"/>
                </a:moveTo>
                <a:cubicBezTo>
                  <a:pt x="70" y="134"/>
                  <a:pt x="70" y="134"/>
                  <a:pt x="70" y="134"/>
                </a:cubicBezTo>
                <a:cubicBezTo>
                  <a:pt x="70" y="23"/>
                  <a:pt x="70" y="23"/>
                  <a:pt x="70" y="23"/>
                </a:cubicBezTo>
                <a:cubicBezTo>
                  <a:pt x="70" y="22"/>
                  <a:pt x="69" y="21"/>
                  <a:pt x="68" y="21"/>
                </a:cubicBezTo>
                <a:cubicBezTo>
                  <a:pt x="22" y="6"/>
                  <a:pt x="22" y="6"/>
                  <a:pt x="22" y="6"/>
                </a:cubicBezTo>
                <a:cubicBezTo>
                  <a:pt x="99" y="6"/>
                  <a:pt x="99" y="6"/>
                  <a:pt x="99" y="6"/>
                </a:cubicBezTo>
                <a:lnTo>
                  <a:pt x="99" y="134"/>
                </a:lnTo>
                <a:close/>
                <a:moveTo>
                  <a:pt x="61" y="94"/>
                </a:moveTo>
                <a:cubicBezTo>
                  <a:pt x="60" y="95"/>
                  <a:pt x="59" y="96"/>
                  <a:pt x="58" y="96"/>
                </a:cubicBezTo>
                <a:cubicBezTo>
                  <a:pt x="58" y="96"/>
                  <a:pt x="57" y="96"/>
                  <a:pt x="57" y="96"/>
                </a:cubicBezTo>
                <a:cubicBezTo>
                  <a:pt x="43" y="90"/>
                  <a:pt x="43" y="90"/>
                  <a:pt x="43" y="90"/>
                </a:cubicBezTo>
                <a:cubicBezTo>
                  <a:pt x="41" y="89"/>
                  <a:pt x="40" y="88"/>
                  <a:pt x="41" y="86"/>
                </a:cubicBezTo>
                <a:cubicBezTo>
                  <a:pt x="42" y="85"/>
                  <a:pt x="43" y="84"/>
                  <a:pt x="45" y="85"/>
                </a:cubicBezTo>
                <a:cubicBezTo>
                  <a:pt x="59" y="90"/>
                  <a:pt x="59" y="90"/>
                  <a:pt x="59" y="90"/>
                </a:cubicBezTo>
                <a:cubicBezTo>
                  <a:pt x="61" y="91"/>
                  <a:pt x="61" y="93"/>
                  <a:pt x="61" y="94"/>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9" name="Freeform 1156">
            <a:extLst>
              <a:ext uri="{FF2B5EF4-FFF2-40B4-BE49-F238E27FC236}">
                <a16:creationId xmlns:a16="http://schemas.microsoft.com/office/drawing/2014/main" id="{3C3BECAE-5766-BA4D-AC78-E5C3C4EFD8C2}"/>
              </a:ext>
            </a:extLst>
          </p:cNvPr>
          <p:cNvSpPr>
            <a:spLocks noEditPoints="1"/>
          </p:cNvSpPr>
          <p:nvPr/>
        </p:nvSpPr>
        <p:spPr bwMode="auto">
          <a:xfrm>
            <a:off x="9191508" y="4081463"/>
            <a:ext cx="514350" cy="550863"/>
          </a:xfrm>
          <a:custGeom>
            <a:avLst/>
            <a:gdLst>
              <a:gd name="T0" fmla="*/ 151 w 151"/>
              <a:gd name="T1" fmla="*/ 82 h 160"/>
              <a:gd name="T2" fmla="*/ 116 w 151"/>
              <a:gd name="T3" fmla="*/ 116 h 160"/>
              <a:gd name="T4" fmla="*/ 114 w 151"/>
              <a:gd name="T5" fmla="*/ 117 h 160"/>
              <a:gd name="T6" fmla="*/ 112 w 151"/>
              <a:gd name="T7" fmla="*/ 116 h 160"/>
              <a:gd name="T8" fmla="*/ 112 w 151"/>
              <a:gd name="T9" fmla="*/ 112 h 160"/>
              <a:gd name="T10" fmla="*/ 142 w 151"/>
              <a:gd name="T11" fmla="*/ 83 h 160"/>
              <a:gd name="T12" fmla="*/ 54 w 151"/>
              <a:gd name="T13" fmla="*/ 83 h 160"/>
              <a:gd name="T14" fmla="*/ 51 w 151"/>
              <a:gd name="T15" fmla="*/ 80 h 160"/>
              <a:gd name="T16" fmla="*/ 54 w 151"/>
              <a:gd name="T17" fmla="*/ 77 h 160"/>
              <a:gd name="T18" fmla="*/ 142 w 151"/>
              <a:gd name="T19" fmla="*/ 77 h 160"/>
              <a:gd name="T20" fmla="*/ 112 w 151"/>
              <a:gd name="T21" fmla="*/ 48 h 160"/>
              <a:gd name="T22" fmla="*/ 112 w 151"/>
              <a:gd name="T23" fmla="*/ 44 h 160"/>
              <a:gd name="T24" fmla="*/ 116 w 151"/>
              <a:gd name="T25" fmla="*/ 44 h 160"/>
              <a:gd name="T26" fmla="*/ 151 w 151"/>
              <a:gd name="T27" fmla="*/ 78 h 160"/>
              <a:gd name="T28" fmla="*/ 151 w 151"/>
              <a:gd name="T29" fmla="*/ 79 h 160"/>
              <a:gd name="T30" fmla="*/ 151 w 151"/>
              <a:gd name="T31" fmla="*/ 81 h 160"/>
              <a:gd name="T32" fmla="*/ 151 w 151"/>
              <a:gd name="T33" fmla="*/ 82 h 160"/>
              <a:gd name="T34" fmla="*/ 100 w 151"/>
              <a:gd name="T35" fmla="*/ 94 h 160"/>
              <a:gd name="T36" fmla="*/ 97 w 151"/>
              <a:gd name="T37" fmla="*/ 97 h 160"/>
              <a:gd name="T38" fmla="*/ 97 w 151"/>
              <a:gd name="T39" fmla="*/ 154 h 160"/>
              <a:gd name="T40" fmla="*/ 6 w 151"/>
              <a:gd name="T41" fmla="*/ 154 h 160"/>
              <a:gd name="T42" fmla="*/ 6 w 151"/>
              <a:gd name="T43" fmla="*/ 6 h 160"/>
              <a:gd name="T44" fmla="*/ 97 w 151"/>
              <a:gd name="T45" fmla="*/ 6 h 160"/>
              <a:gd name="T46" fmla="*/ 97 w 151"/>
              <a:gd name="T47" fmla="*/ 63 h 160"/>
              <a:gd name="T48" fmla="*/ 100 w 151"/>
              <a:gd name="T49" fmla="*/ 66 h 160"/>
              <a:gd name="T50" fmla="*/ 103 w 151"/>
              <a:gd name="T51" fmla="*/ 63 h 160"/>
              <a:gd name="T52" fmla="*/ 103 w 151"/>
              <a:gd name="T53" fmla="*/ 3 h 160"/>
              <a:gd name="T54" fmla="*/ 100 w 151"/>
              <a:gd name="T55" fmla="*/ 0 h 160"/>
              <a:gd name="T56" fmla="*/ 3 w 151"/>
              <a:gd name="T57" fmla="*/ 0 h 160"/>
              <a:gd name="T58" fmla="*/ 0 w 151"/>
              <a:gd name="T59" fmla="*/ 3 h 160"/>
              <a:gd name="T60" fmla="*/ 0 w 151"/>
              <a:gd name="T61" fmla="*/ 157 h 160"/>
              <a:gd name="T62" fmla="*/ 3 w 151"/>
              <a:gd name="T63" fmla="*/ 160 h 160"/>
              <a:gd name="T64" fmla="*/ 100 w 151"/>
              <a:gd name="T65" fmla="*/ 160 h 160"/>
              <a:gd name="T66" fmla="*/ 103 w 151"/>
              <a:gd name="T67" fmla="*/ 157 h 160"/>
              <a:gd name="T68" fmla="*/ 103 w 151"/>
              <a:gd name="T69" fmla="*/ 97 h 160"/>
              <a:gd name="T70" fmla="*/ 100 w 151"/>
              <a:gd name="T71" fmla="*/ 9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1" h="160">
                <a:moveTo>
                  <a:pt x="151" y="82"/>
                </a:moveTo>
                <a:cubicBezTo>
                  <a:pt x="116" y="116"/>
                  <a:pt x="116" y="116"/>
                  <a:pt x="116" y="116"/>
                </a:cubicBezTo>
                <a:cubicBezTo>
                  <a:pt x="116" y="117"/>
                  <a:pt x="115" y="117"/>
                  <a:pt x="114" y="117"/>
                </a:cubicBezTo>
                <a:cubicBezTo>
                  <a:pt x="114" y="117"/>
                  <a:pt x="113" y="117"/>
                  <a:pt x="112" y="116"/>
                </a:cubicBezTo>
                <a:cubicBezTo>
                  <a:pt x="111" y="115"/>
                  <a:pt x="111" y="113"/>
                  <a:pt x="112" y="112"/>
                </a:cubicBezTo>
                <a:cubicBezTo>
                  <a:pt x="142" y="83"/>
                  <a:pt x="142" y="83"/>
                  <a:pt x="142" y="83"/>
                </a:cubicBezTo>
                <a:cubicBezTo>
                  <a:pt x="54" y="83"/>
                  <a:pt x="54" y="83"/>
                  <a:pt x="54" y="83"/>
                </a:cubicBezTo>
                <a:cubicBezTo>
                  <a:pt x="53" y="83"/>
                  <a:pt x="51" y="82"/>
                  <a:pt x="51" y="80"/>
                </a:cubicBezTo>
                <a:cubicBezTo>
                  <a:pt x="51" y="78"/>
                  <a:pt x="53" y="77"/>
                  <a:pt x="54" y="77"/>
                </a:cubicBezTo>
                <a:cubicBezTo>
                  <a:pt x="142" y="77"/>
                  <a:pt x="142" y="77"/>
                  <a:pt x="142" y="77"/>
                </a:cubicBezTo>
                <a:cubicBezTo>
                  <a:pt x="112" y="48"/>
                  <a:pt x="112" y="48"/>
                  <a:pt x="112" y="48"/>
                </a:cubicBezTo>
                <a:cubicBezTo>
                  <a:pt x="111" y="47"/>
                  <a:pt x="111" y="45"/>
                  <a:pt x="112" y="44"/>
                </a:cubicBezTo>
                <a:cubicBezTo>
                  <a:pt x="113" y="43"/>
                  <a:pt x="115" y="43"/>
                  <a:pt x="116" y="44"/>
                </a:cubicBezTo>
                <a:cubicBezTo>
                  <a:pt x="151" y="78"/>
                  <a:pt x="151" y="78"/>
                  <a:pt x="151" y="78"/>
                </a:cubicBezTo>
                <a:cubicBezTo>
                  <a:pt x="151" y="78"/>
                  <a:pt x="151" y="79"/>
                  <a:pt x="151" y="79"/>
                </a:cubicBezTo>
                <a:cubicBezTo>
                  <a:pt x="151" y="80"/>
                  <a:pt x="151" y="80"/>
                  <a:pt x="151" y="81"/>
                </a:cubicBezTo>
                <a:cubicBezTo>
                  <a:pt x="151" y="81"/>
                  <a:pt x="151" y="82"/>
                  <a:pt x="151" y="82"/>
                </a:cubicBezTo>
                <a:close/>
                <a:moveTo>
                  <a:pt x="100" y="94"/>
                </a:moveTo>
                <a:cubicBezTo>
                  <a:pt x="98" y="94"/>
                  <a:pt x="97" y="96"/>
                  <a:pt x="97" y="97"/>
                </a:cubicBezTo>
                <a:cubicBezTo>
                  <a:pt x="97" y="154"/>
                  <a:pt x="97" y="154"/>
                  <a:pt x="97" y="154"/>
                </a:cubicBezTo>
                <a:cubicBezTo>
                  <a:pt x="6" y="154"/>
                  <a:pt x="6" y="154"/>
                  <a:pt x="6" y="154"/>
                </a:cubicBezTo>
                <a:cubicBezTo>
                  <a:pt x="6" y="6"/>
                  <a:pt x="6" y="6"/>
                  <a:pt x="6" y="6"/>
                </a:cubicBezTo>
                <a:cubicBezTo>
                  <a:pt x="97" y="6"/>
                  <a:pt x="97" y="6"/>
                  <a:pt x="97" y="6"/>
                </a:cubicBezTo>
                <a:cubicBezTo>
                  <a:pt x="97" y="63"/>
                  <a:pt x="97" y="63"/>
                  <a:pt x="97" y="63"/>
                </a:cubicBezTo>
                <a:cubicBezTo>
                  <a:pt x="97" y="64"/>
                  <a:pt x="98" y="66"/>
                  <a:pt x="100" y="66"/>
                </a:cubicBezTo>
                <a:cubicBezTo>
                  <a:pt x="102" y="66"/>
                  <a:pt x="103" y="64"/>
                  <a:pt x="103" y="63"/>
                </a:cubicBezTo>
                <a:cubicBezTo>
                  <a:pt x="103" y="3"/>
                  <a:pt x="103" y="3"/>
                  <a:pt x="103" y="3"/>
                </a:cubicBezTo>
                <a:cubicBezTo>
                  <a:pt x="103" y="1"/>
                  <a:pt x="102" y="0"/>
                  <a:pt x="100" y="0"/>
                </a:cubicBezTo>
                <a:cubicBezTo>
                  <a:pt x="3" y="0"/>
                  <a:pt x="3" y="0"/>
                  <a:pt x="3" y="0"/>
                </a:cubicBezTo>
                <a:cubicBezTo>
                  <a:pt x="1" y="0"/>
                  <a:pt x="0" y="1"/>
                  <a:pt x="0" y="3"/>
                </a:cubicBezTo>
                <a:cubicBezTo>
                  <a:pt x="0" y="157"/>
                  <a:pt x="0" y="157"/>
                  <a:pt x="0" y="157"/>
                </a:cubicBezTo>
                <a:cubicBezTo>
                  <a:pt x="0" y="159"/>
                  <a:pt x="1" y="160"/>
                  <a:pt x="3" y="160"/>
                </a:cubicBezTo>
                <a:cubicBezTo>
                  <a:pt x="100" y="160"/>
                  <a:pt x="100" y="160"/>
                  <a:pt x="100" y="160"/>
                </a:cubicBezTo>
                <a:cubicBezTo>
                  <a:pt x="102" y="160"/>
                  <a:pt x="103" y="159"/>
                  <a:pt x="103" y="157"/>
                </a:cubicBezTo>
                <a:cubicBezTo>
                  <a:pt x="103" y="97"/>
                  <a:pt x="103" y="97"/>
                  <a:pt x="103" y="97"/>
                </a:cubicBezTo>
                <a:cubicBezTo>
                  <a:pt x="103" y="96"/>
                  <a:pt x="102" y="94"/>
                  <a:pt x="100" y="94"/>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1157">
            <a:extLst>
              <a:ext uri="{FF2B5EF4-FFF2-40B4-BE49-F238E27FC236}">
                <a16:creationId xmlns:a16="http://schemas.microsoft.com/office/drawing/2014/main" id="{3D38F6C6-BF5A-F342-BA39-25F8E2D4F292}"/>
              </a:ext>
            </a:extLst>
          </p:cNvPr>
          <p:cNvSpPr>
            <a:spLocks noEditPoints="1"/>
          </p:cNvSpPr>
          <p:nvPr/>
        </p:nvSpPr>
        <p:spPr bwMode="auto">
          <a:xfrm>
            <a:off x="9177220" y="4865688"/>
            <a:ext cx="546100" cy="220663"/>
          </a:xfrm>
          <a:custGeom>
            <a:avLst/>
            <a:gdLst>
              <a:gd name="T0" fmla="*/ 157 w 160"/>
              <a:gd name="T1" fmla="*/ 27 h 64"/>
              <a:gd name="T2" fmla="*/ 152 w 160"/>
              <a:gd name="T3" fmla="*/ 27 h 64"/>
              <a:gd name="T4" fmla="*/ 120 w 160"/>
              <a:gd name="T5" fmla="*/ 0 h 64"/>
              <a:gd name="T6" fmla="*/ 89 w 160"/>
              <a:gd name="T7" fmla="*/ 26 h 64"/>
              <a:gd name="T8" fmla="*/ 80 w 160"/>
              <a:gd name="T9" fmla="*/ 22 h 64"/>
              <a:gd name="T10" fmla="*/ 71 w 160"/>
              <a:gd name="T11" fmla="*/ 26 h 64"/>
              <a:gd name="T12" fmla="*/ 40 w 160"/>
              <a:gd name="T13" fmla="*/ 0 h 64"/>
              <a:gd name="T14" fmla="*/ 8 w 160"/>
              <a:gd name="T15" fmla="*/ 29 h 64"/>
              <a:gd name="T16" fmla="*/ 3 w 160"/>
              <a:gd name="T17" fmla="*/ 29 h 64"/>
              <a:gd name="T18" fmla="*/ 0 w 160"/>
              <a:gd name="T19" fmla="*/ 32 h 64"/>
              <a:gd name="T20" fmla="*/ 3 w 160"/>
              <a:gd name="T21" fmla="*/ 35 h 64"/>
              <a:gd name="T22" fmla="*/ 8 w 160"/>
              <a:gd name="T23" fmla="*/ 35 h 64"/>
              <a:gd name="T24" fmla="*/ 40 w 160"/>
              <a:gd name="T25" fmla="*/ 64 h 64"/>
              <a:gd name="T26" fmla="*/ 72 w 160"/>
              <a:gd name="T27" fmla="*/ 33 h 64"/>
              <a:gd name="T28" fmla="*/ 80 w 160"/>
              <a:gd name="T29" fmla="*/ 28 h 64"/>
              <a:gd name="T30" fmla="*/ 88 w 160"/>
              <a:gd name="T31" fmla="*/ 33 h 64"/>
              <a:gd name="T32" fmla="*/ 120 w 160"/>
              <a:gd name="T33" fmla="*/ 64 h 64"/>
              <a:gd name="T34" fmla="*/ 152 w 160"/>
              <a:gd name="T35" fmla="*/ 32 h 64"/>
              <a:gd name="T36" fmla="*/ 157 w 160"/>
              <a:gd name="T37" fmla="*/ 32 h 64"/>
              <a:gd name="T38" fmla="*/ 160 w 160"/>
              <a:gd name="T39" fmla="*/ 29 h 64"/>
              <a:gd name="T40" fmla="*/ 157 w 160"/>
              <a:gd name="T41" fmla="*/ 27 h 64"/>
              <a:gd name="T42" fmla="*/ 40 w 160"/>
              <a:gd name="T43" fmla="*/ 59 h 64"/>
              <a:gd name="T44" fmla="*/ 13 w 160"/>
              <a:gd name="T45" fmla="*/ 32 h 64"/>
              <a:gd name="T46" fmla="*/ 40 w 160"/>
              <a:gd name="T47" fmla="*/ 5 h 64"/>
              <a:gd name="T48" fmla="*/ 67 w 160"/>
              <a:gd name="T49" fmla="*/ 32 h 64"/>
              <a:gd name="T50" fmla="*/ 40 w 160"/>
              <a:gd name="T51" fmla="*/ 59 h 64"/>
              <a:gd name="T52" fmla="*/ 120 w 160"/>
              <a:gd name="T53" fmla="*/ 59 h 64"/>
              <a:gd name="T54" fmla="*/ 93 w 160"/>
              <a:gd name="T55" fmla="*/ 32 h 64"/>
              <a:gd name="T56" fmla="*/ 120 w 160"/>
              <a:gd name="T57" fmla="*/ 5 h 64"/>
              <a:gd name="T58" fmla="*/ 147 w 160"/>
              <a:gd name="T59" fmla="*/ 32 h 64"/>
              <a:gd name="T60" fmla="*/ 120 w 160"/>
              <a:gd name="T61" fmla="*/ 5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64">
                <a:moveTo>
                  <a:pt x="157" y="27"/>
                </a:moveTo>
                <a:cubicBezTo>
                  <a:pt x="152" y="27"/>
                  <a:pt x="152" y="27"/>
                  <a:pt x="152" y="27"/>
                </a:cubicBezTo>
                <a:cubicBezTo>
                  <a:pt x="149" y="12"/>
                  <a:pt x="136" y="0"/>
                  <a:pt x="120" y="0"/>
                </a:cubicBezTo>
                <a:cubicBezTo>
                  <a:pt x="105" y="0"/>
                  <a:pt x="92" y="11"/>
                  <a:pt x="89" y="26"/>
                </a:cubicBezTo>
                <a:cubicBezTo>
                  <a:pt x="86" y="23"/>
                  <a:pt x="83" y="22"/>
                  <a:pt x="80" y="22"/>
                </a:cubicBezTo>
                <a:cubicBezTo>
                  <a:pt x="77" y="22"/>
                  <a:pt x="74" y="23"/>
                  <a:pt x="71" y="26"/>
                </a:cubicBezTo>
                <a:cubicBezTo>
                  <a:pt x="68" y="11"/>
                  <a:pt x="56" y="0"/>
                  <a:pt x="40" y="0"/>
                </a:cubicBezTo>
                <a:cubicBezTo>
                  <a:pt x="23" y="0"/>
                  <a:pt x="10" y="13"/>
                  <a:pt x="8" y="29"/>
                </a:cubicBezTo>
                <a:cubicBezTo>
                  <a:pt x="3" y="29"/>
                  <a:pt x="3" y="29"/>
                  <a:pt x="3" y="29"/>
                </a:cubicBezTo>
                <a:cubicBezTo>
                  <a:pt x="1" y="29"/>
                  <a:pt x="0" y="31"/>
                  <a:pt x="0" y="32"/>
                </a:cubicBezTo>
                <a:cubicBezTo>
                  <a:pt x="0" y="33"/>
                  <a:pt x="1" y="35"/>
                  <a:pt x="3" y="35"/>
                </a:cubicBezTo>
                <a:cubicBezTo>
                  <a:pt x="8" y="35"/>
                  <a:pt x="8" y="35"/>
                  <a:pt x="8" y="35"/>
                </a:cubicBezTo>
                <a:cubicBezTo>
                  <a:pt x="10" y="51"/>
                  <a:pt x="23" y="64"/>
                  <a:pt x="40" y="64"/>
                </a:cubicBezTo>
                <a:cubicBezTo>
                  <a:pt x="57" y="64"/>
                  <a:pt x="71" y="50"/>
                  <a:pt x="72" y="33"/>
                </a:cubicBezTo>
                <a:cubicBezTo>
                  <a:pt x="74" y="29"/>
                  <a:pt x="77" y="28"/>
                  <a:pt x="80" y="28"/>
                </a:cubicBezTo>
                <a:cubicBezTo>
                  <a:pt x="83" y="28"/>
                  <a:pt x="86" y="29"/>
                  <a:pt x="88" y="33"/>
                </a:cubicBezTo>
                <a:cubicBezTo>
                  <a:pt x="89" y="50"/>
                  <a:pt x="103" y="64"/>
                  <a:pt x="120" y="64"/>
                </a:cubicBezTo>
                <a:cubicBezTo>
                  <a:pt x="138" y="64"/>
                  <a:pt x="152" y="50"/>
                  <a:pt x="152" y="32"/>
                </a:cubicBezTo>
                <a:cubicBezTo>
                  <a:pt x="157" y="32"/>
                  <a:pt x="157" y="32"/>
                  <a:pt x="157" y="32"/>
                </a:cubicBezTo>
                <a:cubicBezTo>
                  <a:pt x="159" y="32"/>
                  <a:pt x="160" y="31"/>
                  <a:pt x="160" y="29"/>
                </a:cubicBezTo>
                <a:cubicBezTo>
                  <a:pt x="160" y="28"/>
                  <a:pt x="159" y="27"/>
                  <a:pt x="157" y="27"/>
                </a:cubicBezTo>
                <a:close/>
                <a:moveTo>
                  <a:pt x="40" y="59"/>
                </a:moveTo>
                <a:cubicBezTo>
                  <a:pt x="25" y="59"/>
                  <a:pt x="13" y="47"/>
                  <a:pt x="13" y="32"/>
                </a:cubicBezTo>
                <a:cubicBezTo>
                  <a:pt x="13" y="17"/>
                  <a:pt x="25" y="5"/>
                  <a:pt x="40" y="5"/>
                </a:cubicBezTo>
                <a:cubicBezTo>
                  <a:pt x="55" y="5"/>
                  <a:pt x="67" y="17"/>
                  <a:pt x="67" y="32"/>
                </a:cubicBezTo>
                <a:cubicBezTo>
                  <a:pt x="67" y="47"/>
                  <a:pt x="55" y="59"/>
                  <a:pt x="40" y="59"/>
                </a:cubicBezTo>
                <a:close/>
                <a:moveTo>
                  <a:pt x="120" y="59"/>
                </a:moveTo>
                <a:cubicBezTo>
                  <a:pt x="105" y="59"/>
                  <a:pt x="93" y="47"/>
                  <a:pt x="93" y="32"/>
                </a:cubicBezTo>
                <a:cubicBezTo>
                  <a:pt x="93" y="17"/>
                  <a:pt x="105" y="5"/>
                  <a:pt x="120" y="5"/>
                </a:cubicBezTo>
                <a:cubicBezTo>
                  <a:pt x="135" y="5"/>
                  <a:pt x="147" y="17"/>
                  <a:pt x="147" y="32"/>
                </a:cubicBezTo>
                <a:cubicBezTo>
                  <a:pt x="147" y="47"/>
                  <a:pt x="135" y="59"/>
                  <a:pt x="120" y="59"/>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1" name="Freeform 1158">
            <a:extLst>
              <a:ext uri="{FF2B5EF4-FFF2-40B4-BE49-F238E27FC236}">
                <a16:creationId xmlns:a16="http://schemas.microsoft.com/office/drawing/2014/main" id="{09A062A7-A945-624D-A2C1-F2E67274EDE8}"/>
              </a:ext>
            </a:extLst>
          </p:cNvPr>
          <p:cNvSpPr>
            <a:spLocks noEditPoints="1"/>
          </p:cNvSpPr>
          <p:nvPr/>
        </p:nvSpPr>
        <p:spPr bwMode="auto">
          <a:xfrm>
            <a:off x="9177220" y="5319713"/>
            <a:ext cx="546100" cy="550863"/>
          </a:xfrm>
          <a:custGeom>
            <a:avLst/>
            <a:gdLst>
              <a:gd name="T0" fmla="*/ 148 w 160"/>
              <a:gd name="T1" fmla="*/ 78 h 160"/>
              <a:gd name="T2" fmla="*/ 90 w 160"/>
              <a:gd name="T3" fmla="*/ 38 h 160"/>
              <a:gd name="T4" fmla="*/ 87 w 160"/>
              <a:gd name="T5" fmla="*/ 38 h 160"/>
              <a:gd name="T6" fmla="*/ 85 w 160"/>
              <a:gd name="T7" fmla="*/ 40 h 160"/>
              <a:gd name="T8" fmla="*/ 85 w 160"/>
              <a:gd name="T9" fmla="*/ 75 h 160"/>
              <a:gd name="T10" fmla="*/ 31 w 160"/>
              <a:gd name="T11" fmla="*/ 38 h 160"/>
              <a:gd name="T12" fmla="*/ 28 w 160"/>
              <a:gd name="T13" fmla="*/ 38 h 160"/>
              <a:gd name="T14" fmla="*/ 27 w 160"/>
              <a:gd name="T15" fmla="*/ 40 h 160"/>
              <a:gd name="T16" fmla="*/ 27 w 160"/>
              <a:gd name="T17" fmla="*/ 120 h 160"/>
              <a:gd name="T18" fmla="*/ 28 w 160"/>
              <a:gd name="T19" fmla="*/ 122 h 160"/>
              <a:gd name="T20" fmla="*/ 29 w 160"/>
              <a:gd name="T21" fmla="*/ 123 h 160"/>
              <a:gd name="T22" fmla="*/ 31 w 160"/>
              <a:gd name="T23" fmla="*/ 122 h 160"/>
              <a:gd name="T24" fmla="*/ 85 w 160"/>
              <a:gd name="T25" fmla="*/ 85 h 160"/>
              <a:gd name="T26" fmla="*/ 85 w 160"/>
              <a:gd name="T27" fmla="*/ 120 h 160"/>
              <a:gd name="T28" fmla="*/ 87 w 160"/>
              <a:gd name="T29" fmla="*/ 122 h 160"/>
              <a:gd name="T30" fmla="*/ 88 w 160"/>
              <a:gd name="T31" fmla="*/ 123 h 160"/>
              <a:gd name="T32" fmla="*/ 90 w 160"/>
              <a:gd name="T33" fmla="*/ 122 h 160"/>
              <a:gd name="T34" fmla="*/ 148 w 160"/>
              <a:gd name="T35" fmla="*/ 82 h 160"/>
              <a:gd name="T36" fmla="*/ 149 w 160"/>
              <a:gd name="T37" fmla="*/ 80 h 160"/>
              <a:gd name="T38" fmla="*/ 148 w 160"/>
              <a:gd name="T39" fmla="*/ 78 h 160"/>
              <a:gd name="T40" fmla="*/ 32 w 160"/>
              <a:gd name="T41" fmla="*/ 115 h 160"/>
              <a:gd name="T42" fmla="*/ 32 w 160"/>
              <a:gd name="T43" fmla="*/ 45 h 160"/>
              <a:gd name="T44" fmla="*/ 83 w 160"/>
              <a:gd name="T45" fmla="*/ 80 h 160"/>
              <a:gd name="T46" fmla="*/ 32 w 160"/>
              <a:gd name="T47" fmla="*/ 115 h 160"/>
              <a:gd name="T48" fmla="*/ 91 w 160"/>
              <a:gd name="T49" fmla="*/ 115 h 160"/>
              <a:gd name="T50" fmla="*/ 91 w 160"/>
              <a:gd name="T51" fmla="*/ 45 h 160"/>
              <a:gd name="T52" fmla="*/ 142 w 160"/>
              <a:gd name="T53" fmla="*/ 80 h 160"/>
              <a:gd name="T54" fmla="*/ 91 w 160"/>
              <a:gd name="T55" fmla="*/ 115 h 160"/>
              <a:gd name="T56" fmla="*/ 80 w 160"/>
              <a:gd name="T57" fmla="*/ 0 h 160"/>
              <a:gd name="T58" fmla="*/ 0 w 160"/>
              <a:gd name="T59" fmla="*/ 80 h 160"/>
              <a:gd name="T60" fmla="*/ 80 w 160"/>
              <a:gd name="T61" fmla="*/ 160 h 160"/>
              <a:gd name="T62" fmla="*/ 160 w 160"/>
              <a:gd name="T63" fmla="*/ 80 h 160"/>
              <a:gd name="T64" fmla="*/ 80 w 160"/>
              <a:gd name="T65" fmla="*/ 0 h 160"/>
              <a:gd name="T66" fmla="*/ 80 w 160"/>
              <a:gd name="T67" fmla="*/ 155 h 160"/>
              <a:gd name="T68" fmla="*/ 5 w 160"/>
              <a:gd name="T69" fmla="*/ 80 h 160"/>
              <a:gd name="T70" fmla="*/ 80 w 160"/>
              <a:gd name="T71" fmla="*/ 5 h 160"/>
              <a:gd name="T72" fmla="*/ 155 w 160"/>
              <a:gd name="T73" fmla="*/ 80 h 160"/>
              <a:gd name="T74" fmla="*/ 80 w 160"/>
              <a:gd name="T7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148" y="78"/>
                </a:moveTo>
                <a:cubicBezTo>
                  <a:pt x="90" y="38"/>
                  <a:pt x="90" y="38"/>
                  <a:pt x="90" y="38"/>
                </a:cubicBezTo>
                <a:cubicBezTo>
                  <a:pt x="89" y="37"/>
                  <a:pt x="88" y="37"/>
                  <a:pt x="87" y="38"/>
                </a:cubicBezTo>
                <a:cubicBezTo>
                  <a:pt x="86" y="38"/>
                  <a:pt x="85" y="39"/>
                  <a:pt x="85" y="40"/>
                </a:cubicBezTo>
                <a:cubicBezTo>
                  <a:pt x="85" y="75"/>
                  <a:pt x="85" y="75"/>
                  <a:pt x="85" y="75"/>
                </a:cubicBezTo>
                <a:cubicBezTo>
                  <a:pt x="31" y="38"/>
                  <a:pt x="31" y="38"/>
                  <a:pt x="31" y="38"/>
                </a:cubicBezTo>
                <a:cubicBezTo>
                  <a:pt x="30" y="37"/>
                  <a:pt x="29" y="37"/>
                  <a:pt x="28" y="38"/>
                </a:cubicBezTo>
                <a:cubicBezTo>
                  <a:pt x="27" y="38"/>
                  <a:pt x="27" y="39"/>
                  <a:pt x="27" y="40"/>
                </a:cubicBezTo>
                <a:cubicBezTo>
                  <a:pt x="27" y="120"/>
                  <a:pt x="27" y="120"/>
                  <a:pt x="27" y="120"/>
                </a:cubicBezTo>
                <a:cubicBezTo>
                  <a:pt x="27" y="121"/>
                  <a:pt x="27" y="122"/>
                  <a:pt x="28" y="122"/>
                </a:cubicBezTo>
                <a:cubicBezTo>
                  <a:pt x="28" y="123"/>
                  <a:pt x="29" y="123"/>
                  <a:pt x="29" y="123"/>
                </a:cubicBezTo>
                <a:cubicBezTo>
                  <a:pt x="30" y="123"/>
                  <a:pt x="30" y="123"/>
                  <a:pt x="31" y="122"/>
                </a:cubicBezTo>
                <a:cubicBezTo>
                  <a:pt x="85" y="85"/>
                  <a:pt x="85" y="85"/>
                  <a:pt x="85" y="85"/>
                </a:cubicBezTo>
                <a:cubicBezTo>
                  <a:pt x="85" y="120"/>
                  <a:pt x="85" y="120"/>
                  <a:pt x="85" y="120"/>
                </a:cubicBezTo>
                <a:cubicBezTo>
                  <a:pt x="85" y="121"/>
                  <a:pt x="86" y="122"/>
                  <a:pt x="87" y="122"/>
                </a:cubicBezTo>
                <a:cubicBezTo>
                  <a:pt x="87" y="123"/>
                  <a:pt x="88" y="123"/>
                  <a:pt x="88" y="123"/>
                </a:cubicBezTo>
                <a:cubicBezTo>
                  <a:pt x="89" y="123"/>
                  <a:pt x="89" y="123"/>
                  <a:pt x="90" y="122"/>
                </a:cubicBezTo>
                <a:cubicBezTo>
                  <a:pt x="148" y="82"/>
                  <a:pt x="148" y="82"/>
                  <a:pt x="148" y="82"/>
                </a:cubicBezTo>
                <a:cubicBezTo>
                  <a:pt x="149" y="82"/>
                  <a:pt x="149" y="81"/>
                  <a:pt x="149" y="80"/>
                </a:cubicBezTo>
                <a:cubicBezTo>
                  <a:pt x="149" y="79"/>
                  <a:pt x="149" y="78"/>
                  <a:pt x="148" y="78"/>
                </a:cubicBezTo>
                <a:close/>
                <a:moveTo>
                  <a:pt x="32" y="115"/>
                </a:moveTo>
                <a:cubicBezTo>
                  <a:pt x="32" y="45"/>
                  <a:pt x="32" y="45"/>
                  <a:pt x="32" y="45"/>
                </a:cubicBezTo>
                <a:cubicBezTo>
                  <a:pt x="83" y="80"/>
                  <a:pt x="83" y="80"/>
                  <a:pt x="83" y="80"/>
                </a:cubicBezTo>
                <a:lnTo>
                  <a:pt x="32" y="115"/>
                </a:lnTo>
                <a:close/>
                <a:moveTo>
                  <a:pt x="91" y="115"/>
                </a:moveTo>
                <a:cubicBezTo>
                  <a:pt x="91" y="45"/>
                  <a:pt x="91" y="45"/>
                  <a:pt x="91" y="45"/>
                </a:cubicBezTo>
                <a:cubicBezTo>
                  <a:pt x="142" y="80"/>
                  <a:pt x="142" y="80"/>
                  <a:pt x="142" y="80"/>
                </a:cubicBezTo>
                <a:lnTo>
                  <a:pt x="91" y="115"/>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2" name="Freeform 1159">
            <a:extLst>
              <a:ext uri="{FF2B5EF4-FFF2-40B4-BE49-F238E27FC236}">
                <a16:creationId xmlns:a16="http://schemas.microsoft.com/office/drawing/2014/main" id="{B9747FE2-A0B0-9D42-8EC0-2B87CDDA1468}"/>
              </a:ext>
            </a:extLst>
          </p:cNvPr>
          <p:cNvSpPr>
            <a:spLocks noEditPoints="1"/>
          </p:cNvSpPr>
          <p:nvPr/>
        </p:nvSpPr>
        <p:spPr bwMode="auto">
          <a:xfrm>
            <a:off x="9177220" y="6008688"/>
            <a:ext cx="546100" cy="384175"/>
          </a:xfrm>
          <a:custGeom>
            <a:avLst/>
            <a:gdLst>
              <a:gd name="T0" fmla="*/ 159 w 160"/>
              <a:gd name="T1" fmla="*/ 54 h 112"/>
              <a:gd name="T2" fmla="*/ 83 w 160"/>
              <a:gd name="T3" fmla="*/ 1 h 112"/>
              <a:gd name="T4" fmla="*/ 80 w 160"/>
              <a:gd name="T5" fmla="*/ 0 h 112"/>
              <a:gd name="T6" fmla="*/ 79 w 160"/>
              <a:gd name="T7" fmla="*/ 3 h 112"/>
              <a:gd name="T8" fmla="*/ 79 w 160"/>
              <a:gd name="T9" fmla="*/ 53 h 112"/>
              <a:gd name="T10" fmla="*/ 4 w 160"/>
              <a:gd name="T11" fmla="*/ 1 h 112"/>
              <a:gd name="T12" fmla="*/ 2 w 160"/>
              <a:gd name="T13" fmla="*/ 0 h 112"/>
              <a:gd name="T14" fmla="*/ 0 w 160"/>
              <a:gd name="T15" fmla="*/ 3 h 112"/>
              <a:gd name="T16" fmla="*/ 0 w 160"/>
              <a:gd name="T17" fmla="*/ 109 h 112"/>
              <a:gd name="T18" fmla="*/ 2 w 160"/>
              <a:gd name="T19" fmla="*/ 112 h 112"/>
              <a:gd name="T20" fmla="*/ 3 w 160"/>
              <a:gd name="T21" fmla="*/ 112 h 112"/>
              <a:gd name="T22" fmla="*/ 4 w 160"/>
              <a:gd name="T23" fmla="*/ 112 h 112"/>
              <a:gd name="T24" fmla="*/ 79 w 160"/>
              <a:gd name="T25" fmla="*/ 60 h 112"/>
              <a:gd name="T26" fmla="*/ 79 w 160"/>
              <a:gd name="T27" fmla="*/ 109 h 112"/>
              <a:gd name="T28" fmla="*/ 80 w 160"/>
              <a:gd name="T29" fmla="*/ 112 h 112"/>
              <a:gd name="T30" fmla="*/ 81 w 160"/>
              <a:gd name="T31" fmla="*/ 112 h 112"/>
              <a:gd name="T32" fmla="*/ 83 w 160"/>
              <a:gd name="T33" fmla="*/ 112 h 112"/>
              <a:gd name="T34" fmla="*/ 159 w 160"/>
              <a:gd name="T35" fmla="*/ 58 h 112"/>
              <a:gd name="T36" fmla="*/ 160 w 160"/>
              <a:gd name="T37" fmla="*/ 56 h 112"/>
              <a:gd name="T38" fmla="*/ 159 w 160"/>
              <a:gd name="T39" fmla="*/ 54 h 112"/>
              <a:gd name="T40" fmla="*/ 6 w 160"/>
              <a:gd name="T41" fmla="*/ 104 h 112"/>
              <a:gd name="T42" fmla="*/ 6 w 160"/>
              <a:gd name="T43" fmla="*/ 8 h 112"/>
              <a:gd name="T44" fmla="*/ 74 w 160"/>
              <a:gd name="T45" fmla="*/ 56 h 112"/>
              <a:gd name="T46" fmla="*/ 6 w 160"/>
              <a:gd name="T47" fmla="*/ 104 h 112"/>
              <a:gd name="T48" fmla="*/ 84 w 160"/>
              <a:gd name="T49" fmla="*/ 104 h 112"/>
              <a:gd name="T50" fmla="*/ 84 w 160"/>
              <a:gd name="T51" fmla="*/ 8 h 112"/>
              <a:gd name="T52" fmla="*/ 152 w 160"/>
              <a:gd name="T53" fmla="*/ 56 h 112"/>
              <a:gd name="T54" fmla="*/ 84 w 160"/>
              <a:gd name="T55"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12">
                <a:moveTo>
                  <a:pt x="159" y="54"/>
                </a:moveTo>
                <a:cubicBezTo>
                  <a:pt x="83" y="1"/>
                  <a:pt x="83" y="1"/>
                  <a:pt x="83" y="1"/>
                </a:cubicBezTo>
                <a:cubicBezTo>
                  <a:pt x="82" y="0"/>
                  <a:pt x="81" y="0"/>
                  <a:pt x="80" y="0"/>
                </a:cubicBezTo>
                <a:cubicBezTo>
                  <a:pt x="79" y="1"/>
                  <a:pt x="79" y="2"/>
                  <a:pt x="79" y="3"/>
                </a:cubicBezTo>
                <a:cubicBezTo>
                  <a:pt x="79" y="53"/>
                  <a:pt x="79" y="53"/>
                  <a:pt x="79" y="53"/>
                </a:cubicBezTo>
                <a:cubicBezTo>
                  <a:pt x="4" y="1"/>
                  <a:pt x="4" y="1"/>
                  <a:pt x="4" y="1"/>
                </a:cubicBezTo>
                <a:cubicBezTo>
                  <a:pt x="4" y="0"/>
                  <a:pt x="2" y="0"/>
                  <a:pt x="2" y="0"/>
                </a:cubicBezTo>
                <a:cubicBezTo>
                  <a:pt x="1" y="1"/>
                  <a:pt x="0" y="2"/>
                  <a:pt x="0" y="3"/>
                </a:cubicBezTo>
                <a:cubicBezTo>
                  <a:pt x="0" y="109"/>
                  <a:pt x="0" y="109"/>
                  <a:pt x="0" y="109"/>
                </a:cubicBezTo>
                <a:cubicBezTo>
                  <a:pt x="0" y="110"/>
                  <a:pt x="1" y="111"/>
                  <a:pt x="2" y="112"/>
                </a:cubicBezTo>
                <a:cubicBezTo>
                  <a:pt x="2" y="112"/>
                  <a:pt x="2" y="112"/>
                  <a:pt x="3" y="112"/>
                </a:cubicBezTo>
                <a:cubicBezTo>
                  <a:pt x="3" y="112"/>
                  <a:pt x="4" y="112"/>
                  <a:pt x="4" y="112"/>
                </a:cubicBezTo>
                <a:cubicBezTo>
                  <a:pt x="79" y="60"/>
                  <a:pt x="79" y="60"/>
                  <a:pt x="79" y="60"/>
                </a:cubicBezTo>
                <a:cubicBezTo>
                  <a:pt x="79" y="109"/>
                  <a:pt x="79" y="109"/>
                  <a:pt x="79" y="109"/>
                </a:cubicBezTo>
                <a:cubicBezTo>
                  <a:pt x="79" y="111"/>
                  <a:pt x="79" y="111"/>
                  <a:pt x="80" y="112"/>
                </a:cubicBezTo>
                <a:cubicBezTo>
                  <a:pt x="81" y="112"/>
                  <a:pt x="81" y="112"/>
                  <a:pt x="81" y="112"/>
                </a:cubicBezTo>
                <a:cubicBezTo>
                  <a:pt x="82" y="112"/>
                  <a:pt x="83" y="112"/>
                  <a:pt x="83" y="112"/>
                </a:cubicBezTo>
                <a:cubicBezTo>
                  <a:pt x="159" y="58"/>
                  <a:pt x="159" y="58"/>
                  <a:pt x="159" y="58"/>
                </a:cubicBezTo>
                <a:cubicBezTo>
                  <a:pt x="160" y="58"/>
                  <a:pt x="160" y="57"/>
                  <a:pt x="160" y="56"/>
                </a:cubicBezTo>
                <a:cubicBezTo>
                  <a:pt x="160" y="55"/>
                  <a:pt x="160" y="54"/>
                  <a:pt x="159" y="54"/>
                </a:cubicBezTo>
                <a:close/>
                <a:moveTo>
                  <a:pt x="6" y="104"/>
                </a:moveTo>
                <a:cubicBezTo>
                  <a:pt x="6" y="8"/>
                  <a:pt x="6" y="8"/>
                  <a:pt x="6" y="8"/>
                </a:cubicBezTo>
                <a:cubicBezTo>
                  <a:pt x="74" y="56"/>
                  <a:pt x="74" y="56"/>
                  <a:pt x="74" y="56"/>
                </a:cubicBezTo>
                <a:lnTo>
                  <a:pt x="6" y="104"/>
                </a:lnTo>
                <a:close/>
                <a:moveTo>
                  <a:pt x="84" y="104"/>
                </a:moveTo>
                <a:cubicBezTo>
                  <a:pt x="84" y="8"/>
                  <a:pt x="84" y="8"/>
                  <a:pt x="84" y="8"/>
                </a:cubicBezTo>
                <a:cubicBezTo>
                  <a:pt x="152" y="56"/>
                  <a:pt x="152" y="56"/>
                  <a:pt x="152" y="56"/>
                </a:cubicBezTo>
                <a:lnTo>
                  <a:pt x="84" y="104"/>
                </a:lnTo>
                <a:close/>
              </a:path>
            </a:pathLst>
          </a:custGeom>
          <a:solidFill>
            <a:srgbClr val="242524">
              <a:alpha val="70000"/>
            </a:srgbClr>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805741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285">
            <a:extLst>
              <a:ext uri="{FF2B5EF4-FFF2-40B4-BE49-F238E27FC236}">
                <a16:creationId xmlns:a16="http://schemas.microsoft.com/office/drawing/2014/main" id="{F9D861C5-4E46-9D4D-A583-021EB5A19ADF}"/>
              </a:ext>
            </a:extLst>
          </p:cNvPr>
          <p:cNvSpPr>
            <a:spLocks noEditPoints="1"/>
          </p:cNvSpPr>
          <p:nvPr/>
        </p:nvSpPr>
        <p:spPr bwMode="auto">
          <a:xfrm>
            <a:off x="691725" y="365125"/>
            <a:ext cx="146050" cy="550863"/>
          </a:xfrm>
          <a:custGeom>
            <a:avLst/>
            <a:gdLst>
              <a:gd name="T0" fmla="*/ 21 w 43"/>
              <a:gd name="T1" fmla="*/ 43 h 160"/>
              <a:gd name="T2" fmla="*/ 43 w 43"/>
              <a:gd name="T3" fmla="*/ 21 h 160"/>
              <a:gd name="T4" fmla="*/ 21 w 43"/>
              <a:gd name="T5" fmla="*/ 0 h 160"/>
              <a:gd name="T6" fmla="*/ 0 w 43"/>
              <a:gd name="T7" fmla="*/ 21 h 160"/>
              <a:gd name="T8" fmla="*/ 21 w 43"/>
              <a:gd name="T9" fmla="*/ 43 h 160"/>
              <a:gd name="T10" fmla="*/ 21 w 43"/>
              <a:gd name="T11" fmla="*/ 5 h 160"/>
              <a:gd name="T12" fmla="*/ 37 w 43"/>
              <a:gd name="T13" fmla="*/ 21 h 160"/>
              <a:gd name="T14" fmla="*/ 21 w 43"/>
              <a:gd name="T15" fmla="*/ 37 h 160"/>
              <a:gd name="T16" fmla="*/ 5 w 43"/>
              <a:gd name="T17" fmla="*/ 21 h 160"/>
              <a:gd name="T18" fmla="*/ 21 w 43"/>
              <a:gd name="T19" fmla="*/ 5 h 160"/>
              <a:gd name="T20" fmla="*/ 21 w 43"/>
              <a:gd name="T21" fmla="*/ 117 h 160"/>
              <a:gd name="T22" fmla="*/ 0 w 43"/>
              <a:gd name="T23" fmla="*/ 139 h 160"/>
              <a:gd name="T24" fmla="*/ 21 w 43"/>
              <a:gd name="T25" fmla="*/ 160 h 160"/>
              <a:gd name="T26" fmla="*/ 43 w 43"/>
              <a:gd name="T27" fmla="*/ 139 h 160"/>
              <a:gd name="T28" fmla="*/ 21 w 43"/>
              <a:gd name="T29" fmla="*/ 117 h 160"/>
              <a:gd name="T30" fmla="*/ 21 w 43"/>
              <a:gd name="T31" fmla="*/ 155 h 160"/>
              <a:gd name="T32" fmla="*/ 5 w 43"/>
              <a:gd name="T33" fmla="*/ 139 h 160"/>
              <a:gd name="T34" fmla="*/ 21 w 43"/>
              <a:gd name="T35" fmla="*/ 123 h 160"/>
              <a:gd name="T36" fmla="*/ 37 w 43"/>
              <a:gd name="T37" fmla="*/ 139 h 160"/>
              <a:gd name="T38" fmla="*/ 21 w 43"/>
              <a:gd name="T39" fmla="*/ 155 h 160"/>
              <a:gd name="T40" fmla="*/ 21 w 43"/>
              <a:gd name="T41" fmla="*/ 59 h 160"/>
              <a:gd name="T42" fmla="*/ 0 w 43"/>
              <a:gd name="T43" fmla="*/ 80 h 160"/>
              <a:gd name="T44" fmla="*/ 21 w 43"/>
              <a:gd name="T45" fmla="*/ 101 h 160"/>
              <a:gd name="T46" fmla="*/ 43 w 43"/>
              <a:gd name="T47" fmla="*/ 80 h 160"/>
              <a:gd name="T48" fmla="*/ 21 w 43"/>
              <a:gd name="T49" fmla="*/ 59 h 160"/>
              <a:gd name="T50" fmla="*/ 21 w 43"/>
              <a:gd name="T51" fmla="*/ 96 h 160"/>
              <a:gd name="T52" fmla="*/ 5 w 43"/>
              <a:gd name="T53" fmla="*/ 80 h 160"/>
              <a:gd name="T54" fmla="*/ 21 w 43"/>
              <a:gd name="T55" fmla="*/ 64 h 160"/>
              <a:gd name="T56" fmla="*/ 37 w 43"/>
              <a:gd name="T57" fmla="*/ 80 h 160"/>
              <a:gd name="T58" fmla="*/ 21 w 43"/>
              <a:gd name="T59" fmla="*/ 9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160">
                <a:moveTo>
                  <a:pt x="21" y="43"/>
                </a:moveTo>
                <a:cubicBezTo>
                  <a:pt x="33" y="43"/>
                  <a:pt x="43" y="33"/>
                  <a:pt x="43" y="21"/>
                </a:cubicBezTo>
                <a:cubicBezTo>
                  <a:pt x="43" y="10"/>
                  <a:pt x="33" y="0"/>
                  <a:pt x="21" y="0"/>
                </a:cubicBezTo>
                <a:cubicBezTo>
                  <a:pt x="10" y="0"/>
                  <a:pt x="0" y="10"/>
                  <a:pt x="0" y="21"/>
                </a:cubicBezTo>
                <a:cubicBezTo>
                  <a:pt x="0" y="33"/>
                  <a:pt x="10" y="43"/>
                  <a:pt x="21" y="43"/>
                </a:cubicBezTo>
                <a:close/>
                <a:moveTo>
                  <a:pt x="21" y="5"/>
                </a:moveTo>
                <a:cubicBezTo>
                  <a:pt x="30" y="5"/>
                  <a:pt x="37" y="13"/>
                  <a:pt x="37" y="21"/>
                </a:cubicBezTo>
                <a:cubicBezTo>
                  <a:pt x="37" y="30"/>
                  <a:pt x="30" y="37"/>
                  <a:pt x="21" y="37"/>
                </a:cubicBezTo>
                <a:cubicBezTo>
                  <a:pt x="13" y="37"/>
                  <a:pt x="5" y="30"/>
                  <a:pt x="5" y="21"/>
                </a:cubicBezTo>
                <a:cubicBezTo>
                  <a:pt x="5" y="13"/>
                  <a:pt x="13" y="5"/>
                  <a:pt x="21" y="5"/>
                </a:cubicBezTo>
                <a:close/>
                <a:moveTo>
                  <a:pt x="21" y="117"/>
                </a:moveTo>
                <a:cubicBezTo>
                  <a:pt x="10" y="117"/>
                  <a:pt x="0" y="127"/>
                  <a:pt x="0" y="139"/>
                </a:cubicBezTo>
                <a:cubicBezTo>
                  <a:pt x="0" y="150"/>
                  <a:pt x="10" y="160"/>
                  <a:pt x="21" y="160"/>
                </a:cubicBezTo>
                <a:cubicBezTo>
                  <a:pt x="33" y="160"/>
                  <a:pt x="43" y="150"/>
                  <a:pt x="43" y="139"/>
                </a:cubicBezTo>
                <a:cubicBezTo>
                  <a:pt x="43" y="127"/>
                  <a:pt x="33" y="117"/>
                  <a:pt x="21" y="117"/>
                </a:cubicBezTo>
                <a:close/>
                <a:moveTo>
                  <a:pt x="21" y="155"/>
                </a:moveTo>
                <a:cubicBezTo>
                  <a:pt x="13" y="155"/>
                  <a:pt x="5" y="147"/>
                  <a:pt x="5" y="139"/>
                </a:cubicBezTo>
                <a:cubicBezTo>
                  <a:pt x="5" y="130"/>
                  <a:pt x="13" y="123"/>
                  <a:pt x="21" y="123"/>
                </a:cubicBezTo>
                <a:cubicBezTo>
                  <a:pt x="30" y="123"/>
                  <a:pt x="37" y="130"/>
                  <a:pt x="37" y="139"/>
                </a:cubicBezTo>
                <a:cubicBezTo>
                  <a:pt x="37" y="147"/>
                  <a:pt x="30" y="155"/>
                  <a:pt x="21" y="155"/>
                </a:cubicBezTo>
                <a:close/>
                <a:moveTo>
                  <a:pt x="21" y="59"/>
                </a:moveTo>
                <a:cubicBezTo>
                  <a:pt x="10" y="59"/>
                  <a:pt x="0" y="68"/>
                  <a:pt x="0" y="80"/>
                </a:cubicBezTo>
                <a:cubicBezTo>
                  <a:pt x="0" y="92"/>
                  <a:pt x="10" y="101"/>
                  <a:pt x="21" y="101"/>
                </a:cubicBezTo>
                <a:cubicBezTo>
                  <a:pt x="33" y="101"/>
                  <a:pt x="43" y="92"/>
                  <a:pt x="43" y="80"/>
                </a:cubicBezTo>
                <a:cubicBezTo>
                  <a:pt x="43" y="68"/>
                  <a:pt x="33" y="59"/>
                  <a:pt x="21" y="59"/>
                </a:cubicBezTo>
                <a:close/>
                <a:moveTo>
                  <a:pt x="21" y="96"/>
                </a:moveTo>
                <a:cubicBezTo>
                  <a:pt x="13" y="96"/>
                  <a:pt x="5" y="89"/>
                  <a:pt x="5" y="80"/>
                </a:cubicBezTo>
                <a:cubicBezTo>
                  <a:pt x="5" y="71"/>
                  <a:pt x="13" y="64"/>
                  <a:pt x="21" y="64"/>
                </a:cubicBezTo>
                <a:cubicBezTo>
                  <a:pt x="30" y="64"/>
                  <a:pt x="37" y="71"/>
                  <a:pt x="37" y="80"/>
                </a:cubicBezTo>
                <a:cubicBezTo>
                  <a:pt x="37" y="89"/>
                  <a:pt x="30" y="96"/>
                  <a:pt x="21" y="96"/>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Freeform 1286">
            <a:extLst>
              <a:ext uri="{FF2B5EF4-FFF2-40B4-BE49-F238E27FC236}">
                <a16:creationId xmlns:a16="http://schemas.microsoft.com/office/drawing/2014/main" id="{2DA999EE-6ABE-994C-BB48-FE6D3C23284C}"/>
              </a:ext>
            </a:extLst>
          </p:cNvPr>
          <p:cNvSpPr>
            <a:spLocks noEditPoints="1"/>
          </p:cNvSpPr>
          <p:nvPr/>
        </p:nvSpPr>
        <p:spPr bwMode="auto">
          <a:xfrm>
            <a:off x="486937" y="1122363"/>
            <a:ext cx="546100" cy="274638"/>
          </a:xfrm>
          <a:custGeom>
            <a:avLst/>
            <a:gdLst>
              <a:gd name="T0" fmla="*/ 48 w 160"/>
              <a:gd name="T1" fmla="*/ 29 h 80"/>
              <a:gd name="T2" fmla="*/ 37 w 160"/>
              <a:gd name="T3" fmla="*/ 40 h 80"/>
              <a:gd name="T4" fmla="*/ 48 w 160"/>
              <a:gd name="T5" fmla="*/ 51 h 80"/>
              <a:gd name="T6" fmla="*/ 59 w 160"/>
              <a:gd name="T7" fmla="*/ 40 h 80"/>
              <a:gd name="T8" fmla="*/ 48 w 160"/>
              <a:gd name="T9" fmla="*/ 29 h 80"/>
              <a:gd name="T10" fmla="*/ 48 w 160"/>
              <a:gd name="T11" fmla="*/ 45 h 80"/>
              <a:gd name="T12" fmla="*/ 43 w 160"/>
              <a:gd name="T13" fmla="*/ 40 h 80"/>
              <a:gd name="T14" fmla="*/ 48 w 160"/>
              <a:gd name="T15" fmla="*/ 35 h 80"/>
              <a:gd name="T16" fmla="*/ 53 w 160"/>
              <a:gd name="T17" fmla="*/ 40 h 80"/>
              <a:gd name="T18" fmla="*/ 48 w 160"/>
              <a:gd name="T19" fmla="*/ 45 h 80"/>
              <a:gd name="T20" fmla="*/ 80 w 160"/>
              <a:gd name="T21" fmla="*/ 29 h 80"/>
              <a:gd name="T22" fmla="*/ 69 w 160"/>
              <a:gd name="T23" fmla="*/ 40 h 80"/>
              <a:gd name="T24" fmla="*/ 80 w 160"/>
              <a:gd name="T25" fmla="*/ 51 h 80"/>
              <a:gd name="T26" fmla="*/ 91 w 160"/>
              <a:gd name="T27" fmla="*/ 40 h 80"/>
              <a:gd name="T28" fmla="*/ 80 w 160"/>
              <a:gd name="T29" fmla="*/ 29 h 80"/>
              <a:gd name="T30" fmla="*/ 80 w 160"/>
              <a:gd name="T31" fmla="*/ 45 h 80"/>
              <a:gd name="T32" fmla="*/ 75 w 160"/>
              <a:gd name="T33" fmla="*/ 40 h 80"/>
              <a:gd name="T34" fmla="*/ 80 w 160"/>
              <a:gd name="T35" fmla="*/ 35 h 80"/>
              <a:gd name="T36" fmla="*/ 85 w 160"/>
              <a:gd name="T37" fmla="*/ 40 h 80"/>
              <a:gd name="T38" fmla="*/ 80 w 160"/>
              <a:gd name="T39" fmla="*/ 45 h 80"/>
              <a:gd name="T40" fmla="*/ 123 w 160"/>
              <a:gd name="T41" fmla="*/ 40 h 80"/>
              <a:gd name="T42" fmla="*/ 112 w 160"/>
              <a:gd name="T43" fmla="*/ 29 h 80"/>
              <a:gd name="T44" fmla="*/ 101 w 160"/>
              <a:gd name="T45" fmla="*/ 40 h 80"/>
              <a:gd name="T46" fmla="*/ 112 w 160"/>
              <a:gd name="T47" fmla="*/ 51 h 80"/>
              <a:gd name="T48" fmla="*/ 123 w 160"/>
              <a:gd name="T49" fmla="*/ 40 h 80"/>
              <a:gd name="T50" fmla="*/ 112 w 160"/>
              <a:gd name="T51" fmla="*/ 45 h 80"/>
              <a:gd name="T52" fmla="*/ 107 w 160"/>
              <a:gd name="T53" fmla="*/ 40 h 80"/>
              <a:gd name="T54" fmla="*/ 112 w 160"/>
              <a:gd name="T55" fmla="*/ 35 h 80"/>
              <a:gd name="T56" fmla="*/ 117 w 160"/>
              <a:gd name="T57" fmla="*/ 40 h 80"/>
              <a:gd name="T58" fmla="*/ 112 w 160"/>
              <a:gd name="T59" fmla="*/ 45 h 80"/>
              <a:gd name="T60" fmla="*/ 42 w 160"/>
              <a:gd name="T61" fmla="*/ 75 h 80"/>
              <a:gd name="T62" fmla="*/ 42 w 160"/>
              <a:gd name="T63" fmla="*/ 79 h 80"/>
              <a:gd name="T64" fmla="*/ 40 w 160"/>
              <a:gd name="T65" fmla="*/ 80 h 80"/>
              <a:gd name="T66" fmla="*/ 38 w 160"/>
              <a:gd name="T67" fmla="*/ 79 h 80"/>
              <a:gd name="T68" fmla="*/ 1 w 160"/>
              <a:gd name="T69" fmla="*/ 42 h 80"/>
              <a:gd name="T70" fmla="*/ 1 w 160"/>
              <a:gd name="T71" fmla="*/ 38 h 80"/>
              <a:gd name="T72" fmla="*/ 38 w 160"/>
              <a:gd name="T73" fmla="*/ 1 h 80"/>
              <a:gd name="T74" fmla="*/ 42 w 160"/>
              <a:gd name="T75" fmla="*/ 1 h 80"/>
              <a:gd name="T76" fmla="*/ 42 w 160"/>
              <a:gd name="T77" fmla="*/ 5 h 80"/>
              <a:gd name="T78" fmla="*/ 6 w 160"/>
              <a:gd name="T79" fmla="*/ 40 h 80"/>
              <a:gd name="T80" fmla="*/ 42 w 160"/>
              <a:gd name="T81" fmla="*/ 75 h 80"/>
              <a:gd name="T82" fmla="*/ 159 w 160"/>
              <a:gd name="T83" fmla="*/ 42 h 80"/>
              <a:gd name="T84" fmla="*/ 122 w 160"/>
              <a:gd name="T85" fmla="*/ 79 h 80"/>
              <a:gd name="T86" fmla="*/ 120 w 160"/>
              <a:gd name="T87" fmla="*/ 80 h 80"/>
              <a:gd name="T88" fmla="*/ 118 w 160"/>
              <a:gd name="T89" fmla="*/ 79 h 80"/>
              <a:gd name="T90" fmla="*/ 118 w 160"/>
              <a:gd name="T91" fmla="*/ 75 h 80"/>
              <a:gd name="T92" fmla="*/ 154 w 160"/>
              <a:gd name="T93" fmla="*/ 40 h 80"/>
              <a:gd name="T94" fmla="*/ 118 w 160"/>
              <a:gd name="T95" fmla="*/ 5 h 80"/>
              <a:gd name="T96" fmla="*/ 118 w 160"/>
              <a:gd name="T97" fmla="*/ 1 h 80"/>
              <a:gd name="T98" fmla="*/ 122 w 160"/>
              <a:gd name="T99" fmla="*/ 1 h 80"/>
              <a:gd name="T100" fmla="*/ 159 w 160"/>
              <a:gd name="T101" fmla="*/ 38 h 80"/>
              <a:gd name="T102" fmla="*/ 159 w 160"/>
              <a:gd name="T103" fmla="*/ 4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 h="80">
                <a:moveTo>
                  <a:pt x="48" y="29"/>
                </a:moveTo>
                <a:cubicBezTo>
                  <a:pt x="42" y="29"/>
                  <a:pt x="37" y="34"/>
                  <a:pt x="37" y="40"/>
                </a:cubicBezTo>
                <a:cubicBezTo>
                  <a:pt x="37" y="46"/>
                  <a:pt x="42" y="51"/>
                  <a:pt x="48" y="51"/>
                </a:cubicBezTo>
                <a:cubicBezTo>
                  <a:pt x="54" y="51"/>
                  <a:pt x="59" y="46"/>
                  <a:pt x="59" y="40"/>
                </a:cubicBezTo>
                <a:cubicBezTo>
                  <a:pt x="59" y="34"/>
                  <a:pt x="54" y="29"/>
                  <a:pt x="48" y="29"/>
                </a:cubicBezTo>
                <a:close/>
                <a:moveTo>
                  <a:pt x="48" y="45"/>
                </a:moveTo>
                <a:cubicBezTo>
                  <a:pt x="45" y="45"/>
                  <a:pt x="43" y="43"/>
                  <a:pt x="43" y="40"/>
                </a:cubicBezTo>
                <a:cubicBezTo>
                  <a:pt x="43" y="37"/>
                  <a:pt x="45" y="35"/>
                  <a:pt x="48" y="35"/>
                </a:cubicBezTo>
                <a:cubicBezTo>
                  <a:pt x="51" y="35"/>
                  <a:pt x="53" y="37"/>
                  <a:pt x="53" y="40"/>
                </a:cubicBezTo>
                <a:cubicBezTo>
                  <a:pt x="53" y="43"/>
                  <a:pt x="51" y="45"/>
                  <a:pt x="48" y="45"/>
                </a:cubicBezTo>
                <a:close/>
                <a:moveTo>
                  <a:pt x="80" y="29"/>
                </a:moveTo>
                <a:cubicBezTo>
                  <a:pt x="74" y="29"/>
                  <a:pt x="69" y="34"/>
                  <a:pt x="69" y="40"/>
                </a:cubicBezTo>
                <a:cubicBezTo>
                  <a:pt x="69" y="46"/>
                  <a:pt x="74" y="51"/>
                  <a:pt x="80" y="51"/>
                </a:cubicBezTo>
                <a:cubicBezTo>
                  <a:pt x="86" y="51"/>
                  <a:pt x="91" y="46"/>
                  <a:pt x="91" y="40"/>
                </a:cubicBezTo>
                <a:cubicBezTo>
                  <a:pt x="91" y="34"/>
                  <a:pt x="86" y="29"/>
                  <a:pt x="80" y="29"/>
                </a:cubicBezTo>
                <a:close/>
                <a:moveTo>
                  <a:pt x="80" y="45"/>
                </a:moveTo>
                <a:cubicBezTo>
                  <a:pt x="77" y="45"/>
                  <a:pt x="75" y="43"/>
                  <a:pt x="75" y="40"/>
                </a:cubicBezTo>
                <a:cubicBezTo>
                  <a:pt x="75" y="37"/>
                  <a:pt x="77" y="35"/>
                  <a:pt x="80" y="35"/>
                </a:cubicBezTo>
                <a:cubicBezTo>
                  <a:pt x="83" y="35"/>
                  <a:pt x="85" y="37"/>
                  <a:pt x="85" y="40"/>
                </a:cubicBezTo>
                <a:cubicBezTo>
                  <a:pt x="85" y="43"/>
                  <a:pt x="83" y="45"/>
                  <a:pt x="80" y="45"/>
                </a:cubicBezTo>
                <a:close/>
                <a:moveTo>
                  <a:pt x="123" y="40"/>
                </a:moveTo>
                <a:cubicBezTo>
                  <a:pt x="123" y="34"/>
                  <a:pt x="118" y="29"/>
                  <a:pt x="112" y="29"/>
                </a:cubicBezTo>
                <a:cubicBezTo>
                  <a:pt x="106" y="29"/>
                  <a:pt x="101" y="34"/>
                  <a:pt x="101" y="40"/>
                </a:cubicBezTo>
                <a:cubicBezTo>
                  <a:pt x="101" y="46"/>
                  <a:pt x="106" y="51"/>
                  <a:pt x="112" y="51"/>
                </a:cubicBezTo>
                <a:cubicBezTo>
                  <a:pt x="118" y="51"/>
                  <a:pt x="123" y="46"/>
                  <a:pt x="123" y="40"/>
                </a:cubicBezTo>
                <a:close/>
                <a:moveTo>
                  <a:pt x="112" y="45"/>
                </a:moveTo>
                <a:cubicBezTo>
                  <a:pt x="109" y="45"/>
                  <a:pt x="107" y="43"/>
                  <a:pt x="107" y="40"/>
                </a:cubicBezTo>
                <a:cubicBezTo>
                  <a:pt x="107" y="37"/>
                  <a:pt x="109" y="35"/>
                  <a:pt x="112" y="35"/>
                </a:cubicBezTo>
                <a:cubicBezTo>
                  <a:pt x="115" y="35"/>
                  <a:pt x="117" y="37"/>
                  <a:pt x="117" y="40"/>
                </a:cubicBezTo>
                <a:cubicBezTo>
                  <a:pt x="117" y="43"/>
                  <a:pt x="115" y="45"/>
                  <a:pt x="112" y="45"/>
                </a:cubicBezTo>
                <a:close/>
                <a:moveTo>
                  <a:pt x="42" y="75"/>
                </a:moveTo>
                <a:cubicBezTo>
                  <a:pt x="43" y="76"/>
                  <a:pt x="43" y="78"/>
                  <a:pt x="42" y="79"/>
                </a:cubicBezTo>
                <a:cubicBezTo>
                  <a:pt x="41" y="80"/>
                  <a:pt x="41" y="80"/>
                  <a:pt x="40" y="80"/>
                </a:cubicBezTo>
                <a:cubicBezTo>
                  <a:pt x="39" y="80"/>
                  <a:pt x="39" y="80"/>
                  <a:pt x="38" y="79"/>
                </a:cubicBezTo>
                <a:cubicBezTo>
                  <a:pt x="1" y="42"/>
                  <a:pt x="1" y="42"/>
                  <a:pt x="1" y="42"/>
                </a:cubicBezTo>
                <a:cubicBezTo>
                  <a:pt x="0" y="41"/>
                  <a:pt x="0" y="39"/>
                  <a:pt x="1" y="38"/>
                </a:cubicBezTo>
                <a:cubicBezTo>
                  <a:pt x="38" y="1"/>
                  <a:pt x="38" y="1"/>
                  <a:pt x="38" y="1"/>
                </a:cubicBezTo>
                <a:cubicBezTo>
                  <a:pt x="39" y="0"/>
                  <a:pt x="41" y="0"/>
                  <a:pt x="42" y="1"/>
                </a:cubicBezTo>
                <a:cubicBezTo>
                  <a:pt x="43" y="2"/>
                  <a:pt x="43" y="4"/>
                  <a:pt x="42" y="5"/>
                </a:cubicBezTo>
                <a:cubicBezTo>
                  <a:pt x="6" y="40"/>
                  <a:pt x="6" y="40"/>
                  <a:pt x="6" y="40"/>
                </a:cubicBezTo>
                <a:lnTo>
                  <a:pt x="42" y="75"/>
                </a:lnTo>
                <a:close/>
                <a:moveTo>
                  <a:pt x="159" y="42"/>
                </a:moveTo>
                <a:cubicBezTo>
                  <a:pt x="122" y="79"/>
                  <a:pt x="122" y="79"/>
                  <a:pt x="122" y="79"/>
                </a:cubicBezTo>
                <a:cubicBezTo>
                  <a:pt x="121" y="80"/>
                  <a:pt x="121" y="80"/>
                  <a:pt x="120" y="80"/>
                </a:cubicBezTo>
                <a:cubicBezTo>
                  <a:pt x="119" y="80"/>
                  <a:pt x="119" y="80"/>
                  <a:pt x="118" y="79"/>
                </a:cubicBezTo>
                <a:cubicBezTo>
                  <a:pt x="117" y="78"/>
                  <a:pt x="117" y="76"/>
                  <a:pt x="118" y="75"/>
                </a:cubicBezTo>
                <a:cubicBezTo>
                  <a:pt x="154" y="40"/>
                  <a:pt x="154" y="40"/>
                  <a:pt x="154" y="40"/>
                </a:cubicBezTo>
                <a:cubicBezTo>
                  <a:pt x="118" y="5"/>
                  <a:pt x="118" y="5"/>
                  <a:pt x="118" y="5"/>
                </a:cubicBezTo>
                <a:cubicBezTo>
                  <a:pt x="117" y="4"/>
                  <a:pt x="117" y="2"/>
                  <a:pt x="118" y="1"/>
                </a:cubicBezTo>
                <a:cubicBezTo>
                  <a:pt x="119" y="0"/>
                  <a:pt x="121" y="0"/>
                  <a:pt x="122" y="1"/>
                </a:cubicBezTo>
                <a:cubicBezTo>
                  <a:pt x="159" y="38"/>
                  <a:pt x="159" y="38"/>
                  <a:pt x="159" y="38"/>
                </a:cubicBezTo>
                <a:cubicBezTo>
                  <a:pt x="160" y="39"/>
                  <a:pt x="160" y="41"/>
                  <a:pt x="159" y="42"/>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1287">
            <a:extLst>
              <a:ext uri="{FF2B5EF4-FFF2-40B4-BE49-F238E27FC236}">
                <a16:creationId xmlns:a16="http://schemas.microsoft.com/office/drawing/2014/main" id="{9DA36374-D7E1-3040-89A6-85FC664C3325}"/>
              </a:ext>
            </a:extLst>
          </p:cNvPr>
          <p:cNvSpPr>
            <a:spLocks noEditPoints="1"/>
          </p:cNvSpPr>
          <p:nvPr/>
        </p:nvSpPr>
        <p:spPr bwMode="auto">
          <a:xfrm>
            <a:off x="486937" y="1603375"/>
            <a:ext cx="546100" cy="550863"/>
          </a:xfrm>
          <a:custGeom>
            <a:avLst/>
            <a:gdLst>
              <a:gd name="T0" fmla="*/ 0 w 344"/>
              <a:gd name="T1" fmla="*/ 0 h 347"/>
              <a:gd name="T2" fmla="*/ 0 w 344"/>
              <a:gd name="T3" fmla="*/ 347 h 347"/>
              <a:gd name="T4" fmla="*/ 344 w 344"/>
              <a:gd name="T5" fmla="*/ 347 h 347"/>
              <a:gd name="T6" fmla="*/ 344 w 344"/>
              <a:gd name="T7" fmla="*/ 0 h 347"/>
              <a:gd name="T8" fmla="*/ 0 w 344"/>
              <a:gd name="T9" fmla="*/ 0 h 347"/>
              <a:gd name="T10" fmla="*/ 333 w 344"/>
              <a:gd name="T11" fmla="*/ 336 h 347"/>
              <a:gd name="T12" fmla="*/ 11 w 344"/>
              <a:gd name="T13" fmla="*/ 336 h 347"/>
              <a:gd name="T14" fmla="*/ 11 w 344"/>
              <a:gd name="T15" fmla="*/ 11 h 347"/>
              <a:gd name="T16" fmla="*/ 333 w 344"/>
              <a:gd name="T17" fmla="*/ 11 h 347"/>
              <a:gd name="T18" fmla="*/ 333 w 344"/>
              <a:gd name="T19" fmla="*/ 336 h 347"/>
              <a:gd name="T20" fmla="*/ 84 w 344"/>
              <a:gd name="T21" fmla="*/ 254 h 347"/>
              <a:gd name="T22" fmla="*/ 166 w 344"/>
              <a:gd name="T23" fmla="*/ 173 h 347"/>
              <a:gd name="T24" fmla="*/ 84 w 344"/>
              <a:gd name="T25" fmla="*/ 91 h 347"/>
              <a:gd name="T26" fmla="*/ 92 w 344"/>
              <a:gd name="T27" fmla="*/ 82 h 347"/>
              <a:gd name="T28" fmla="*/ 172 w 344"/>
              <a:gd name="T29" fmla="*/ 165 h 347"/>
              <a:gd name="T30" fmla="*/ 254 w 344"/>
              <a:gd name="T31" fmla="*/ 82 h 347"/>
              <a:gd name="T32" fmla="*/ 262 w 344"/>
              <a:gd name="T33" fmla="*/ 91 h 347"/>
              <a:gd name="T34" fmla="*/ 181 w 344"/>
              <a:gd name="T35" fmla="*/ 173 h 347"/>
              <a:gd name="T36" fmla="*/ 262 w 344"/>
              <a:gd name="T37" fmla="*/ 254 h 347"/>
              <a:gd name="T38" fmla="*/ 254 w 344"/>
              <a:gd name="T39" fmla="*/ 262 h 347"/>
              <a:gd name="T40" fmla="*/ 172 w 344"/>
              <a:gd name="T41" fmla="*/ 180 h 347"/>
              <a:gd name="T42" fmla="*/ 92 w 344"/>
              <a:gd name="T43" fmla="*/ 262 h 347"/>
              <a:gd name="T44" fmla="*/ 84 w 344"/>
              <a:gd name="T45" fmla="*/ 25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347">
                <a:moveTo>
                  <a:pt x="0" y="0"/>
                </a:moveTo>
                <a:lnTo>
                  <a:pt x="0" y="347"/>
                </a:lnTo>
                <a:lnTo>
                  <a:pt x="344" y="347"/>
                </a:lnTo>
                <a:lnTo>
                  <a:pt x="344" y="0"/>
                </a:lnTo>
                <a:lnTo>
                  <a:pt x="0" y="0"/>
                </a:lnTo>
                <a:close/>
                <a:moveTo>
                  <a:pt x="333" y="336"/>
                </a:moveTo>
                <a:lnTo>
                  <a:pt x="11" y="336"/>
                </a:lnTo>
                <a:lnTo>
                  <a:pt x="11" y="11"/>
                </a:lnTo>
                <a:lnTo>
                  <a:pt x="333" y="11"/>
                </a:lnTo>
                <a:lnTo>
                  <a:pt x="333" y="336"/>
                </a:lnTo>
                <a:close/>
                <a:moveTo>
                  <a:pt x="84" y="254"/>
                </a:moveTo>
                <a:lnTo>
                  <a:pt x="166" y="173"/>
                </a:lnTo>
                <a:lnTo>
                  <a:pt x="84" y="91"/>
                </a:lnTo>
                <a:lnTo>
                  <a:pt x="92" y="82"/>
                </a:lnTo>
                <a:lnTo>
                  <a:pt x="172" y="165"/>
                </a:lnTo>
                <a:lnTo>
                  <a:pt x="254" y="82"/>
                </a:lnTo>
                <a:lnTo>
                  <a:pt x="262" y="91"/>
                </a:lnTo>
                <a:lnTo>
                  <a:pt x="181" y="173"/>
                </a:lnTo>
                <a:lnTo>
                  <a:pt x="262" y="254"/>
                </a:lnTo>
                <a:lnTo>
                  <a:pt x="254" y="262"/>
                </a:lnTo>
                <a:lnTo>
                  <a:pt x="172" y="180"/>
                </a:lnTo>
                <a:lnTo>
                  <a:pt x="92" y="262"/>
                </a:lnTo>
                <a:lnTo>
                  <a:pt x="84" y="254"/>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1288">
            <a:extLst>
              <a:ext uri="{FF2B5EF4-FFF2-40B4-BE49-F238E27FC236}">
                <a16:creationId xmlns:a16="http://schemas.microsoft.com/office/drawing/2014/main" id="{A378CDB3-9274-E14C-BDD7-89750F07D0BF}"/>
              </a:ext>
            </a:extLst>
          </p:cNvPr>
          <p:cNvSpPr>
            <a:spLocks/>
          </p:cNvSpPr>
          <p:nvPr/>
        </p:nvSpPr>
        <p:spPr bwMode="auto">
          <a:xfrm>
            <a:off x="486937" y="2222500"/>
            <a:ext cx="546100" cy="550863"/>
          </a:xfrm>
          <a:custGeom>
            <a:avLst/>
            <a:gdLst>
              <a:gd name="T0" fmla="*/ 187 w 344"/>
              <a:gd name="T1" fmla="*/ 174 h 347"/>
              <a:gd name="T2" fmla="*/ 344 w 344"/>
              <a:gd name="T3" fmla="*/ 332 h 347"/>
              <a:gd name="T4" fmla="*/ 329 w 344"/>
              <a:gd name="T5" fmla="*/ 347 h 347"/>
              <a:gd name="T6" fmla="*/ 172 w 344"/>
              <a:gd name="T7" fmla="*/ 189 h 347"/>
              <a:gd name="T8" fmla="*/ 15 w 344"/>
              <a:gd name="T9" fmla="*/ 347 h 347"/>
              <a:gd name="T10" fmla="*/ 0 w 344"/>
              <a:gd name="T11" fmla="*/ 332 h 347"/>
              <a:gd name="T12" fmla="*/ 157 w 344"/>
              <a:gd name="T13" fmla="*/ 174 h 347"/>
              <a:gd name="T14" fmla="*/ 0 w 344"/>
              <a:gd name="T15" fmla="*/ 15 h 347"/>
              <a:gd name="T16" fmla="*/ 15 w 344"/>
              <a:gd name="T17" fmla="*/ 0 h 347"/>
              <a:gd name="T18" fmla="*/ 172 w 344"/>
              <a:gd name="T19" fmla="*/ 158 h 347"/>
              <a:gd name="T20" fmla="*/ 329 w 344"/>
              <a:gd name="T21" fmla="*/ 0 h 347"/>
              <a:gd name="T22" fmla="*/ 344 w 344"/>
              <a:gd name="T23" fmla="*/ 15 h 347"/>
              <a:gd name="T24" fmla="*/ 187 w 344"/>
              <a:gd name="T25" fmla="*/ 17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347">
                <a:moveTo>
                  <a:pt x="187" y="174"/>
                </a:moveTo>
                <a:lnTo>
                  <a:pt x="344" y="332"/>
                </a:lnTo>
                <a:lnTo>
                  <a:pt x="329" y="347"/>
                </a:lnTo>
                <a:lnTo>
                  <a:pt x="172" y="189"/>
                </a:lnTo>
                <a:lnTo>
                  <a:pt x="15" y="347"/>
                </a:lnTo>
                <a:lnTo>
                  <a:pt x="0" y="332"/>
                </a:lnTo>
                <a:lnTo>
                  <a:pt x="157" y="174"/>
                </a:lnTo>
                <a:lnTo>
                  <a:pt x="0" y="15"/>
                </a:lnTo>
                <a:lnTo>
                  <a:pt x="15" y="0"/>
                </a:lnTo>
                <a:lnTo>
                  <a:pt x="172" y="158"/>
                </a:lnTo>
                <a:lnTo>
                  <a:pt x="329" y="0"/>
                </a:lnTo>
                <a:lnTo>
                  <a:pt x="344" y="15"/>
                </a:lnTo>
                <a:lnTo>
                  <a:pt x="187" y="174"/>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1289">
            <a:extLst>
              <a:ext uri="{FF2B5EF4-FFF2-40B4-BE49-F238E27FC236}">
                <a16:creationId xmlns:a16="http://schemas.microsoft.com/office/drawing/2014/main" id="{90C05364-4E4E-234B-BB25-B73BA95DBA29}"/>
              </a:ext>
            </a:extLst>
          </p:cNvPr>
          <p:cNvSpPr>
            <a:spLocks noEditPoints="1"/>
          </p:cNvSpPr>
          <p:nvPr/>
        </p:nvSpPr>
        <p:spPr bwMode="auto">
          <a:xfrm>
            <a:off x="501225" y="2841625"/>
            <a:ext cx="504825" cy="550863"/>
          </a:xfrm>
          <a:custGeom>
            <a:avLst/>
            <a:gdLst>
              <a:gd name="T0" fmla="*/ 147 w 148"/>
              <a:gd name="T1" fmla="*/ 1 h 160"/>
              <a:gd name="T2" fmla="*/ 145 w 148"/>
              <a:gd name="T3" fmla="*/ 0 h 160"/>
              <a:gd name="T4" fmla="*/ 55 w 148"/>
              <a:gd name="T5" fmla="*/ 12 h 160"/>
              <a:gd name="T6" fmla="*/ 52 w 148"/>
              <a:gd name="T7" fmla="*/ 15 h 160"/>
              <a:gd name="T8" fmla="*/ 52 w 148"/>
              <a:gd name="T9" fmla="*/ 32 h 160"/>
              <a:gd name="T10" fmla="*/ 52 w 148"/>
              <a:gd name="T11" fmla="*/ 44 h 160"/>
              <a:gd name="T12" fmla="*/ 52 w 148"/>
              <a:gd name="T13" fmla="*/ 118 h 160"/>
              <a:gd name="T14" fmla="*/ 29 w 148"/>
              <a:gd name="T15" fmla="*/ 108 h 160"/>
              <a:gd name="T16" fmla="*/ 0 w 148"/>
              <a:gd name="T17" fmla="*/ 134 h 160"/>
              <a:gd name="T18" fmla="*/ 29 w 148"/>
              <a:gd name="T19" fmla="*/ 160 h 160"/>
              <a:gd name="T20" fmla="*/ 58 w 148"/>
              <a:gd name="T21" fmla="*/ 134 h 160"/>
              <a:gd name="T22" fmla="*/ 58 w 148"/>
              <a:gd name="T23" fmla="*/ 132 h 160"/>
              <a:gd name="T24" fmla="*/ 58 w 148"/>
              <a:gd name="T25" fmla="*/ 131 h 160"/>
              <a:gd name="T26" fmla="*/ 58 w 148"/>
              <a:gd name="T27" fmla="*/ 47 h 160"/>
              <a:gd name="T28" fmla="*/ 143 w 148"/>
              <a:gd name="T29" fmla="*/ 36 h 160"/>
              <a:gd name="T30" fmla="*/ 143 w 148"/>
              <a:gd name="T31" fmla="*/ 89 h 160"/>
              <a:gd name="T32" fmla="*/ 119 w 148"/>
              <a:gd name="T33" fmla="*/ 79 h 160"/>
              <a:gd name="T34" fmla="*/ 90 w 148"/>
              <a:gd name="T35" fmla="*/ 105 h 160"/>
              <a:gd name="T36" fmla="*/ 119 w 148"/>
              <a:gd name="T37" fmla="*/ 131 h 160"/>
              <a:gd name="T38" fmla="*/ 148 w 148"/>
              <a:gd name="T39" fmla="*/ 105 h 160"/>
              <a:gd name="T40" fmla="*/ 148 w 148"/>
              <a:gd name="T41" fmla="*/ 105 h 160"/>
              <a:gd name="T42" fmla="*/ 148 w 148"/>
              <a:gd name="T43" fmla="*/ 33 h 160"/>
              <a:gd name="T44" fmla="*/ 148 w 148"/>
              <a:gd name="T45" fmla="*/ 20 h 160"/>
              <a:gd name="T46" fmla="*/ 148 w 148"/>
              <a:gd name="T47" fmla="*/ 3 h 160"/>
              <a:gd name="T48" fmla="*/ 147 w 148"/>
              <a:gd name="T49" fmla="*/ 1 h 160"/>
              <a:gd name="T50" fmla="*/ 29 w 148"/>
              <a:gd name="T51" fmla="*/ 154 h 160"/>
              <a:gd name="T52" fmla="*/ 6 w 148"/>
              <a:gd name="T53" fmla="*/ 134 h 160"/>
              <a:gd name="T54" fmla="*/ 29 w 148"/>
              <a:gd name="T55" fmla="*/ 113 h 160"/>
              <a:gd name="T56" fmla="*/ 52 w 148"/>
              <a:gd name="T57" fmla="*/ 134 h 160"/>
              <a:gd name="T58" fmla="*/ 29 w 148"/>
              <a:gd name="T59" fmla="*/ 154 h 160"/>
              <a:gd name="T60" fmla="*/ 119 w 148"/>
              <a:gd name="T61" fmla="*/ 125 h 160"/>
              <a:gd name="T62" fmla="*/ 96 w 148"/>
              <a:gd name="T63" fmla="*/ 105 h 160"/>
              <a:gd name="T64" fmla="*/ 119 w 148"/>
              <a:gd name="T65" fmla="*/ 84 h 160"/>
              <a:gd name="T66" fmla="*/ 143 w 148"/>
              <a:gd name="T67" fmla="*/ 105 h 160"/>
              <a:gd name="T68" fmla="*/ 119 w 148"/>
              <a:gd name="T69" fmla="*/ 125 h 160"/>
              <a:gd name="T70" fmla="*/ 58 w 148"/>
              <a:gd name="T71" fmla="*/ 41 h 160"/>
              <a:gd name="T72" fmla="*/ 58 w 148"/>
              <a:gd name="T73" fmla="*/ 32 h 160"/>
              <a:gd name="T74" fmla="*/ 58 w 148"/>
              <a:gd name="T75" fmla="*/ 17 h 160"/>
              <a:gd name="T76" fmla="*/ 143 w 148"/>
              <a:gd name="T77" fmla="*/ 6 h 160"/>
              <a:gd name="T78" fmla="*/ 143 w 148"/>
              <a:gd name="T79" fmla="*/ 20 h 160"/>
              <a:gd name="T80" fmla="*/ 143 w 148"/>
              <a:gd name="T81" fmla="*/ 30 h 160"/>
              <a:gd name="T82" fmla="*/ 58 w 148"/>
              <a:gd name="T83" fmla="*/ 4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8" h="160">
                <a:moveTo>
                  <a:pt x="147" y="1"/>
                </a:moveTo>
                <a:cubicBezTo>
                  <a:pt x="147" y="0"/>
                  <a:pt x="146" y="0"/>
                  <a:pt x="145" y="0"/>
                </a:cubicBezTo>
                <a:cubicBezTo>
                  <a:pt x="55" y="12"/>
                  <a:pt x="55" y="12"/>
                  <a:pt x="55" y="12"/>
                </a:cubicBezTo>
                <a:cubicBezTo>
                  <a:pt x="53" y="12"/>
                  <a:pt x="52" y="13"/>
                  <a:pt x="52" y="15"/>
                </a:cubicBezTo>
                <a:cubicBezTo>
                  <a:pt x="52" y="32"/>
                  <a:pt x="52" y="32"/>
                  <a:pt x="52" y="32"/>
                </a:cubicBezTo>
                <a:cubicBezTo>
                  <a:pt x="52" y="44"/>
                  <a:pt x="52" y="44"/>
                  <a:pt x="52" y="44"/>
                </a:cubicBezTo>
                <a:cubicBezTo>
                  <a:pt x="52" y="118"/>
                  <a:pt x="52" y="118"/>
                  <a:pt x="52" y="118"/>
                </a:cubicBezTo>
                <a:cubicBezTo>
                  <a:pt x="47" y="112"/>
                  <a:pt x="39" y="108"/>
                  <a:pt x="29" y="108"/>
                </a:cubicBezTo>
                <a:cubicBezTo>
                  <a:pt x="13" y="108"/>
                  <a:pt x="0" y="119"/>
                  <a:pt x="0" y="134"/>
                </a:cubicBezTo>
                <a:cubicBezTo>
                  <a:pt x="0" y="148"/>
                  <a:pt x="13" y="160"/>
                  <a:pt x="29" y="160"/>
                </a:cubicBezTo>
                <a:cubicBezTo>
                  <a:pt x="45" y="160"/>
                  <a:pt x="58" y="148"/>
                  <a:pt x="58" y="134"/>
                </a:cubicBezTo>
                <a:cubicBezTo>
                  <a:pt x="58" y="133"/>
                  <a:pt x="58" y="132"/>
                  <a:pt x="58" y="132"/>
                </a:cubicBezTo>
                <a:cubicBezTo>
                  <a:pt x="58" y="132"/>
                  <a:pt x="58" y="131"/>
                  <a:pt x="58" y="131"/>
                </a:cubicBezTo>
                <a:cubicBezTo>
                  <a:pt x="58" y="47"/>
                  <a:pt x="58" y="47"/>
                  <a:pt x="58" y="47"/>
                </a:cubicBezTo>
                <a:cubicBezTo>
                  <a:pt x="143" y="36"/>
                  <a:pt x="143" y="36"/>
                  <a:pt x="143" y="36"/>
                </a:cubicBezTo>
                <a:cubicBezTo>
                  <a:pt x="143" y="89"/>
                  <a:pt x="143" y="89"/>
                  <a:pt x="143" y="89"/>
                </a:cubicBezTo>
                <a:cubicBezTo>
                  <a:pt x="137" y="83"/>
                  <a:pt x="129" y="79"/>
                  <a:pt x="119" y="79"/>
                </a:cubicBezTo>
                <a:cubicBezTo>
                  <a:pt x="103" y="79"/>
                  <a:pt x="90" y="90"/>
                  <a:pt x="90" y="105"/>
                </a:cubicBezTo>
                <a:cubicBezTo>
                  <a:pt x="90" y="119"/>
                  <a:pt x="103" y="131"/>
                  <a:pt x="119" y="131"/>
                </a:cubicBezTo>
                <a:cubicBezTo>
                  <a:pt x="135" y="131"/>
                  <a:pt x="148" y="119"/>
                  <a:pt x="148" y="105"/>
                </a:cubicBezTo>
                <a:cubicBezTo>
                  <a:pt x="148" y="105"/>
                  <a:pt x="148" y="105"/>
                  <a:pt x="148" y="105"/>
                </a:cubicBezTo>
                <a:cubicBezTo>
                  <a:pt x="148" y="33"/>
                  <a:pt x="148" y="33"/>
                  <a:pt x="148" y="33"/>
                </a:cubicBezTo>
                <a:cubicBezTo>
                  <a:pt x="148" y="20"/>
                  <a:pt x="148" y="20"/>
                  <a:pt x="148" y="20"/>
                </a:cubicBezTo>
                <a:cubicBezTo>
                  <a:pt x="148" y="3"/>
                  <a:pt x="148" y="3"/>
                  <a:pt x="148" y="3"/>
                </a:cubicBezTo>
                <a:cubicBezTo>
                  <a:pt x="148" y="2"/>
                  <a:pt x="148" y="1"/>
                  <a:pt x="147" y="1"/>
                </a:cubicBezTo>
                <a:close/>
                <a:moveTo>
                  <a:pt x="29" y="154"/>
                </a:moveTo>
                <a:cubicBezTo>
                  <a:pt x="16" y="154"/>
                  <a:pt x="6" y="145"/>
                  <a:pt x="6" y="134"/>
                </a:cubicBezTo>
                <a:cubicBezTo>
                  <a:pt x="6" y="123"/>
                  <a:pt x="16" y="113"/>
                  <a:pt x="29" y="113"/>
                </a:cubicBezTo>
                <a:cubicBezTo>
                  <a:pt x="42" y="113"/>
                  <a:pt x="52" y="123"/>
                  <a:pt x="52" y="134"/>
                </a:cubicBezTo>
                <a:cubicBezTo>
                  <a:pt x="52" y="145"/>
                  <a:pt x="42" y="154"/>
                  <a:pt x="29" y="154"/>
                </a:cubicBezTo>
                <a:close/>
                <a:moveTo>
                  <a:pt x="119" y="125"/>
                </a:moveTo>
                <a:cubicBezTo>
                  <a:pt x="106" y="125"/>
                  <a:pt x="96" y="116"/>
                  <a:pt x="96" y="105"/>
                </a:cubicBezTo>
                <a:cubicBezTo>
                  <a:pt x="96" y="94"/>
                  <a:pt x="106" y="84"/>
                  <a:pt x="119" y="84"/>
                </a:cubicBezTo>
                <a:cubicBezTo>
                  <a:pt x="132" y="84"/>
                  <a:pt x="143" y="94"/>
                  <a:pt x="143" y="105"/>
                </a:cubicBezTo>
                <a:cubicBezTo>
                  <a:pt x="143" y="116"/>
                  <a:pt x="132" y="125"/>
                  <a:pt x="119" y="125"/>
                </a:cubicBezTo>
                <a:close/>
                <a:moveTo>
                  <a:pt x="58" y="41"/>
                </a:moveTo>
                <a:cubicBezTo>
                  <a:pt x="58" y="32"/>
                  <a:pt x="58" y="32"/>
                  <a:pt x="58" y="32"/>
                </a:cubicBezTo>
                <a:cubicBezTo>
                  <a:pt x="58" y="17"/>
                  <a:pt x="58" y="17"/>
                  <a:pt x="58" y="17"/>
                </a:cubicBezTo>
                <a:cubicBezTo>
                  <a:pt x="143" y="6"/>
                  <a:pt x="143" y="6"/>
                  <a:pt x="143" y="6"/>
                </a:cubicBezTo>
                <a:cubicBezTo>
                  <a:pt x="143" y="20"/>
                  <a:pt x="143" y="20"/>
                  <a:pt x="143" y="20"/>
                </a:cubicBezTo>
                <a:cubicBezTo>
                  <a:pt x="143" y="30"/>
                  <a:pt x="143" y="30"/>
                  <a:pt x="143" y="30"/>
                </a:cubicBezTo>
                <a:lnTo>
                  <a:pt x="58" y="41"/>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1290">
            <a:extLst>
              <a:ext uri="{FF2B5EF4-FFF2-40B4-BE49-F238E27FC236}">
                <a16:creationId xmlns:a16="http://schemas.microsoft.com/office/drawing/2014/main" id="{B491B281-6405-CA42-BCCC-2CEAD2C961B1}"/>
              </a:ext>
            </a:extLst>
          </p:cNvPr>
          <p:cNvSpPr>
            <a:spLocks noEditPoints="1"/>
          </p:cNvSpPr>
          <p:nvPr/>
        </p:nvSpPr>
        <p:spPr bwMode="auto">
          <a:xfrm>
            <a:off x="486937" y="3516313"/>
            <a:ext cx="546100" cy="441325"/>
          </a:xfrm>
          <a:custGeom>
            <a:avLst/>
            <a:gdLst>
              <a:gd name="T0" fmla="*/ 66 w 160"/>
              <a:gd name="T1" fmla="*/ 27 h 128"/>
              <a:gd name="T2" fmla="*/ 64 w 160"/>
              <a:gd name="T3" fmla="*/ 38 h 128"/>
              <a:gd name="T4" fmla="*/ 64 w 160"/>
              <a:gd name="T5" fmla="*/ 82 h 128"/>
              <a:gd name="T6" fmla="*/ 35 w 160"/>
              <a:gd name="T7" fmla="*/ 93 h 128"/>
              <a:gd name="T8" fmla="*/ 69 w 160"/>
              <a:gd name="T9" fmla="*/ 94 h 128"/>
              <a:gd name="T10" fmla="*/ 69 w 160"/>
              <a:gd name="T11" fmla="*/ 48 h 128"/>
              <a:gd name="T12" fmla="*/ 115 w 160"/>
              <a:gd name="T13" fmla="*/ 66 h 128"/>
              <a:gd name="T14" fmla="*/ 85 w 160"/>
              <a:gd name="T15" fmla="*/ 77 h 128"/>
              <a:gd name="T16" fmla="*/ 120 w 160"/>
              <a:gd name="T17" fmla="*/ 77 h 128"/>
              <a:gd name="T18" fmla="*/ 120 w 160"/>
              <a:gd name="T19" fmla="*/ 24 h 128"/>
              <a:gd name="T20" fmla="*/ 119 w 160"/>
              <a:gd name="T21" fmla="*/ 19 h 128"/>
              <a:gd name="T22" fmla="*/ 52 w 160"/>
              <a:gd name="T23" fmla="*/ 104 h 128"/>
              <a:gd name="T24" fmla="*/ 52 w 160"/>
              <a:gd name="T25" fmla="*/ 83 h 128"/>
              <a:gd name="T26" fmla="*/ 52 w 160"/>
              <a:gd name="T27" fmla="*/ 104 h 128"/>
              <a:gd name="T28" fmla="*/ 69 w 160"/>
              <a:gd name="T29" fmla="*/ 38 h 128"/>
              <a:gd name="T30" fmla="*/ 115 w 160"/>
              <a:gd name="T31" fmla="*/ 24 h 128"/>
              <a:gd name="T32" fmla="*/ 69 w 160"/>
              <a:gd name="T33" fmla="*/ 42 h 128"/>
              <a:gd name="T34" fmla="*/ 91 w 160"/>
              <a:gd name="T35" fmla="*/ 77 h 128"/>
              <a:gd name="T36" fmla="*/ 115 w 160"/>
              <a:gd name="T37" fmla="*/ 77 h 128"/>
              <a:gd name="T38" fmla="*/ 160 w 160"/>
              <a:gd name="T39" fmla="*/ 21 h 128"/>
              <a:gd name="T40" fmla="*/ 149 w 160"/>
              <a:gd name="T41" fmla="*/ 11 h 128"/>
              <a:gd name="T42" fmla="*/ 139 w 160"/>
              <a:gd name="T43" fmla="*/ 0 h 128"/>
              <a:gd name="T44" fmla="*/ 21 w 160"/>
              <a:gd name="T45" fmla="*/ 11 h 128"/>
              <a:gd name="T46" fmla="*/ 11 w 160"/>
              <a:gd name="T47" fmla="*/ 21 h 128"/>
              <a:gd name="T48" fmla="*/ 0 w 160"/>
              <a:gd name="T49" fmla="*/ 107 h 128"/>
              <a:gd name="T50" fmla="*/ 11 w 160"/>
              <a:gd name="T51" fmla="*/ 117 h 128"/>
              <a:gd name="T52" fmla="*/ 21 w 160"/>
              <a:gd name="T53" fmla="*/ 128 h 128"/>
              <a:gd name="T54" fmla="*/ 139 w 160"/>
              <a:gd name="T55" fmla="*/ 117 h 128"/>
              <a:gd name="T56" fmla="*/ 149 w 160"/>
              <a:gd name="T57" fmla="*/ 107 h 128"/>
              <a:gd name="T58" fmla="*/ 160 w 160"/>
              <a:gd name="T59" fmla="*/ 21 h 128"/>
              <a:gd name="T60" fmla="*/ 5 w 160"/>
              <a:gd name="T61" fmla="*/ 27 h 128"/>
              <a:gd name="T62" fmla="*/ 11 w 160"/>
              <a:gd name="T63" fmla="*/ 101 h 128"/>
              <a:gd name="T64" fmla="*/ 16 w 160"/>
              <a:gd name="T65" fmla="*/ 112 h 128"/>
              <a:gd name="T66" fmla="*/ 16 w 160"/>
              <a:gd name="T67" fmla="*/ 21 h 128"/>
              <a:gd name="T68" fmla="*/ 21 w 160"/>
              <a:gd name="T69" fmla="*/ 16 h 128"/>
              <a:gd name="T70" fmla="*/ 16 w 160"/>
              <a:gd name="T71" fmla="*/ 112 h 128"/>
              <a:gd name="T72" fmla="*/ 27 w 160"/>
              <a:gd name="T73" fmla="*/ 123 h 128"/>
              <a:gd name="T74" fmla="*/ 27 w 160"/>
              <a:gd name="T75" fmla="*/ 11 h 128"/>
              <a:gd name="T76" fmla="*/ 133 w 160"/>
              <a:gd name="T77" fmla="*/ 5 h 128"/>
              <a:gd name="T78" fmla="*/ 133 w 160"/>
              <a:gd name="T79" fmla="*/ 117 h 128"/>
              <a:gd name="T80" fmla="*/ 144 w 160"/>
              <a:gd name="T81" fmla="*/ 112 h 128"/>
              <a:gd name="T82" fmla="*/ 139 w 160"/>
              <a:gd name="T83" fmla="*/ 16 h 128"/>
              <a:gd name="T84" fmla="*/ 144 w 160"/>
              <a:gd name="T85" fmla="*/ 21 h 128"/>
              <a:gd name="T86" fmla="*/ 144 w 160"/>
              <a:gd name="T87" fmla="*/ 112 h 128"/>
              <a:gd name="T88" fmla="*/ 149 w 160"/>
              <a:gd name="T89" fmla="*/ 101 h 128"/>
              <a:gd name="T90" fmla="*/ 155 w 160"/>
              <a:gd name="T91" fmla="*/ 2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28">
                <a:moveTo>
                  <a:pt x="117" y="19"/>
                </a:moveTo>
                <a:cubicBezTo>
                  <a:pt x="66" y="27"/>
                  <a:pt x="66" y="27"/>
                  <a:pt x="66" y="27"/>
                </a:cubicBezTo>
                <a:cubicBezTo>
                  <a:pt x="65" y="27"/>
                  <a:pt x="64" y="28"/>
                  <a:pt x="64" y="29"/>
                </a:cubicBezTo>
                <a:cubicBezTo>
                  <a:pt x="64" y="38"/>
                  <a:pt x="64" y="38"/>
                  <a:pt x="64" y="38"/>
                </a:cubicBezTo>
                <a:cubicBezTo>
                  <a:pt x="64" y="45"/>
                  <a:pt x="64" y="45"/>
                  <a:pt x="64" y="45"/>
                </a:cubicBezTo>
                <a:cubicBezTo>
                  <a:pt x="64" y="82"/>
                  <a:pt x="64" y="82"/>
                  <a:pt x="64" y="82"/>
                </a:cubicBezTo>
                <a:cubicBezTo>
                  <a:pt x="61" y="79"/>
                  <a:pt x="57" y="77"/>
                  <a:pt x="52" y="77"/>
                </a:cubicBezTo>
                <a:cubicBezTo>
                  <a:pt x="42" y="77"/>
                  <a:pt x="35" y="85"/>
                  <a:pt x="35" y="93"/>
                </a:cubicBezTo>
                <a:cubicBezTo>
                  <a:pt x="35" y="102"/>
                  <a:pt x="42" y="109"/>
                  <a:pt x="52" y="109"/>
                </a:cubicBezTo>
                <a:cubicBezTo>
                  <a:pt x="61" y="109"/>
                  <a:pt x="69" y="102"/>
                  <a:pt x="69" y="94"/>
                </a:cubicBezTo>
                <a:cubicBezTo>
                  <a:pt x="69" y="94"/>
                  <a:pt x="69" y="94"/>
                  <a:pt x="69" y="94"/>
                </a:cubicBezTo>
                <a:cubicBezTo>
                  <a:pt x="69" y="48"/>
                  <a:pt x="69" y="48"/>
                  <a:pt x="69" y="48"/>
                </a:cubicBezTo>
                <a:cubicBezTo>
                  <a:pt x="115" y="40"/>
                  <a:pt x="115" y="40"/>
                  <a:pt x="115" y="40"/>
                </a:cubicBezTo>
                <a:cubicBezTo>
                  <a:pt x="115" y="66"/>
                  <a:pt x="115" y="66"/>
                  <a:pt x="115" y="66"/>
                </a:cubicBezTo>
                <a:cubicBezTo>
                  <a:pt x="112" y="63"/>
                  <a:pt x="107" y="61"/>
                  <a:pt x="103" y="61"/>
                </a:cubicBezTo>
                <a:cubicBezTo>
                  <a:pt x="93" y="61"/>
                  <a:pt x="85" y="69"/>
                  <a:pt x="85" y="77"/>
                </a:cubicBezTo>
                <a:cubicBezTo>
                  <a:pt x="85" y="86"/>
                  <a:pt x="93" y="93"/>
                  <a:pt x="103" y="93"/>
                </a:cubicBezTo>
                <a:cubicBezTo>
                  <a:pt x="112" y="93"/>
                  <a:pt x="120" y="86"/>
                  <a:pt x="120" y="77"/>
                </a:cubicBezTo>
                <a:cubicBezTo>
                  <a:pt x="120" y="37"/>
                  <a:pt x="120" y="37"/>
                  <a:pt x="120" y="37"/>
                </a:cubicBezTo>
                <a:cubicBezTo>
                  <a:pt x="120" y="24"/>
                  <a:pt x="120" y="24"/>
                  <a:pt x="120" y="24"/>
                </a:cubicBezTo>
                <a:cubicBezTo>
                  <a:pt x="120" y="21"/>
                  <a:pt x="120" y="21"/>
                  <a:pt x="120" y="21"/>
                </a:cubicBezTo>
                <a:cubicBezTo>
                  <a:pt x="120" y="21"/>
                  <a:pt x="120" y="20"/>
                  <a:pt x="119" y="19"/>
                </a:cubicBezTo>
                <a:cubicBezTo>
                  <a:pt x="118" y="19"/>
                  <a:pt x="118" y="19"/>
                  <a:pt x="117" y="19"/>
                </a:cubicBezTo>
                <a:close/>
                <a:moveTo>
                  <a:pt x="52" y="104"/>
                </a:moveTo>
                <a:cubicBezTo>
                  <a:pt x="45" y="104"/>
                  <a:pt x="40" y="99"/>
                  <a:pt x="40" y="93"/>
                </a:cubicBezTo>
                <a:cubicBezTo>
                  <a:pt x="40" y="87"/>
                  <a:pt x="45" y="83"/>
                  <a:pt x="52" y="83"/>
                </a:cubicBezTo>
                <a:cubicBezTo>
                  <a:pt x="59" y="83"/>
                  <a:pt x="64" y="87"/>
                  <a:pt x="64" y="93"/>
                </a:cubicBezTo>
                <a:cubicBezTo>
                  <a:pt x="64" y="99"/>
                  <a:pt x="59" y="104"/>
                  <a:pt x="52" y="104"/>
                </a:cubicBezTo>
                <a:close/>
                <a:moveTo>
                  <a:pt x="69" y="42"/>
                </a:moveTo>
                <a:cubicBezTo>
                  <a:pt x="69" y="38"/>
                  <a:pt x="69" y="38"/>
                  <a:pt x="69" y="38"/>
                </a:cubicBezTo>
                <a:cubicBezTo>
                  <a:pt x="69" y="32"/>
                  <a:pt x="69" y="32"/>
                  <a:pt x="69" y="32"/>
                </a:cubicBezTo>
                <a:cubicBezTo>
                  <a:pt x="115" y="24"/>
                  <a:pt x="115" y="24"/>
                  <a:pt x="115" y="24"/>
                </a:cubicBezTo>
                <a:cubicBezTo>
                  <a:pt x="115" y="35"/>
                  <a:pt x="115" y="35"/>
                  <a:pt x="115" y="35"/>
                </a:cubicBezTo>
                <a:lnTo>
                  <a:pt x="69" y="42"/>
                </a:lnTo>
                <a:close/>
                <a:moveTo>
                  <a:pt x="103" y="88"/>
                </a:moveTo>
                <a:cubicBezTo>
                  <a:pt x="96" y="88"/>
                  <a:pt x="91" y="83"/>
                  <a:pt x="91" y="77"/>
                </a:cubicBezTo>
                <a:cubicBezTo>
                  <a:pt x="91" y="71"/>
                  <a:pt x="96" y="67"/>
                  <a:pt x="103" y="67"/>
                </a:cubicBezTo>
                <a:cubicBezTo>
                  <a:pt x="109" y="67"/>
                  <a:pt x="115" y="71"/>
                  <a:pt x="115" y="77"/>
                </a:cubicBezTo>
                <a:cubicBezTo>
                  <a:pt x="115" y="83"/>
                  <a:pt x="109" y="88"/>
                  <a:pt x="103" y="88"/>
                </a:cubicBezTo>
                <a:close/>
                <a:moveTo>
                  <a:pt x="160" y="21"/>
                </a:moveTo>
                <a:cubicBezTo>
                  <a:pt x="149" y="21"/>
                  <a:pt x="149" y="21"/>
                  <a:pt x="149" y="21"/>
                </a:cubicBezTo>
                <a:cubicBezTo>
                  <a:pt x="149" y="11"/>
                  <a:pt x="149" y="11"/>
                  <a:pt x="149" y="11"/>
                </a:cubicBezTo>
                <a:cubicBezTo>
                  <a:pt x="139" y="11"/>
                  <a:pt x="139" y="11"/>
                  <a:pt x="139" y="11"/>
                </a:cubicBezTo>
                <a:cubicBezTo>
                  <a:pt x="139" y="0"/>
                  <a:pt x="139" y="0"/>
                  <a:pt x="139" y="0"/>
                </a:cubicBezTo>
                <a:cubicBezTo>
                  <a:pt x="21" y="0"/>
                  <a:pt x="21" y="0"/>
                  <a:pt x="21" y="0"/>
                </a:cubicBezTo>
                <a:cubicBezTo>
                  <a:pt x="21" y="11"/>
                  <a:pt x="21" y="11"/>
                  <a:pt x="21" y="11"/>
                </a:cubicBezTo>
                <a:cubicBezTo>
                  <a:pt x="11" y="11"/>
                  <a:pt x="11" y="11"/>
                  <a:pt x="11" y="11"/>
                </a:cubicBezTo>
                <a:cubicBezTo>
                  <a:pt x="11" y="21"/>
                  <a:pt x="11" y="21"/>
                  <a:pt x="11" y="21"/>
                </a:cubicBezTo>
                <a:cubicBezTo>
                  <a:pt x="0" y="21"/>
                  <a:pt x="0" y="21"/>
                  <a:pt x="0" y="21"/>
                </a:cubicBezTo>
                <a:cubicBezTo>
                  <a:pt x="0" y="107"/>
                  <a:pt x="0" y="107"/>
                  <a:pt x="0" y="107"/>
                </a:cubicBezTo>
                <a:cubicBezTo>
                  <a:pt x="11" y="107"/>
                  <a:pt x="11" y="107"/>
                  <a:pt x="11" y="107"/>
                </a:cubicBezTo>
                <a:cubicBezTo>
                  <a:pt x="11" y="117"/>
                  <a:pt x="11" y="117"/>
                  <a:pt x="11" y="117"/>
                </a:cubicBezTo>
                <a:cubicBezTo>
                  <a:pt x="21" y="117"/>
                  <a:pt x="21" y="117"/>
                  <a:pt x="21" y="117"/>
                </a:cubicBezTo>
                <a:cubicBezTo>
                  <a:pt x="21" y="128"/>
                  <a:pt x="21" y="128"/>
                  <a:pt x="21" y="128"/>
                </a:cubicBezTo>
                <a:cubicBezTo>
                  <a:pt x="139" y="128"/>
                  <a:pt x="139" y="128"/>
                  <a:pt x="139" y="128"/>
                </a:cubicBezTo>
                <a:cubicBezTo>
                  <a:pt x="139" y="117"/>
                  <a:pt x="139" y="117"/>
                  <a:pt x="139" y="117"/>
                </a:cubicBezTo>
                <a:cubicBezTo>
                  <a:pt x="149" y="117"/>
                  <a:pt x="149" y="117"/>
                  <a:pt x="149" y="117"/>
                </a:cubicBezTo>
                <a:cubicBezTo>
                  <a:pt x="149" y="107"/>
                  <a:pt x="149" y="107"/>
                  <a:pt x="149" y="107"/>
                </a:cubicBezTo>
                <a:cubicBezTo>
                  <a:pt x="160" y="107"/>
                  <a:pt x="160" y="107"/>
                  <a:pt x="160" y="107"/>
                </a:cubicBezTo>
                <a:lnTo>
                  <a:pt x="160" y="21"/>
                </a:lnTo>
                <a:close/>
                <a:moveTo>
                  <a:pt x="5" y="101"/>
                </a:moveTo>
                <a:cubicBezTo>
                  <a:pt x="5" y="27"/>
                  <a:pt x="5" y="27"/>
                  <a:pt x="5" y="27"/>
                </a:cubicBezTo>
                <a:cubicBezTo>
                  <a:pt x="11" y="27"/>
                  <a:pt x="11" y="27"/>
                  <a:pt x="11" y="27"/>
                </a:cubicBezTo>
                <a:cubicBezTo>
                  <a:pt x="11" y="101"/>
                  <a:pt x="11" y="101"/>
                  <a:pt x="11" y="101"/>
                </a:cubicBezTo>
                <a:lnTo>
                  <a:pt x="5" y="101"/>
                </a:lnTo>
                <a:close/>
                <a:moveTo>
                  <a:pt x="16" y="112"/>
                </a:moveTo>
                <a:cubicBezTo>
                  <a:pt x="16" y="107"/>
                  <a:pt x="16" y="107"/>
                  <a:pt x="16" y="107"/>
                </a:cubicBezTo>
                <a:cubicBezTo>
                  <a:pt x="16" y="21"/>
                  <a:pt x="16" y="21"/>
                  <a:pt x="16" y="21"/>
                </a:cubicBezTo>
                <a:cubicBezTo>
                  <a:pt x="16" y="16"/>
                  <a:pt x="16" y="16"/>
                  <a:pt x="16" y="16"/>
                </a:cubicBezTo>
                <a:cubicBezTo>
                  <a:pt x="21" y="16"/>
                  <a:pt x="21" y="16"/>
                  <a:pt x="21" y="16"/>
                </a:cubicBezTo>
                <a:cubicBezTo>
                  <a:pt x="21" y="112"/>
                  <a:pt x="21" y="112"/>
                  <a:pt x="21" y="112"/>
                </a:cubicBezTo>
                <a:lnTo>
                  <a:pt x="16" y="112"/>
                </a:lnTo>
                <a:close/>
                <a:moveTo>
                  <a:pt x="133" y="123"/>
                </a:moveTo>
                <a:cubicBezTo>
                  <a:pt x="27" y="123"/>
                  <a:pt x="27" y="123"/>
                  <a:pt x="27" y="123"/>
                </a:cubicBezTo>
                <a:cubicBezTo>
                  <a:pt x="27" y="117"/>
                  <a:pt x="27" y="117"/>
                  <a:pt x="27" y="117"/>
                </a:cubicBezTo>
                <a:cubicBezTo>
                  <a:pt x="27" y="11"/>
                  <a:pt x="27" y="11"/>
                  <a:pt x="27" y="11"/>
                </a:cubicBezTo>
                <a:cubicBezTo>
                  <a:pt x="27" y="5"/>
                  <a:pt x="27" y="5"/>
                  <a:pt x="27" y="5"/>
                </a:cubicBezTo>
                <a:cubicBezTo>
                  <a:pt x="133" y="5"/>
                  <a:pt x="133" y="5"/>
                  <a:pt x="133" y="5"/>
                </a:cubicBezTo>
                <a:cubicBezTo>
                  <a:pt x="133" y="11"/>
                  <a:pt x="133" y="11"/>
                  <a:pt x="133" y="11"/>
                </a:cubicBezTo>
                <a:cubicBezTo>
                  <a:pt x="133" y="117"/>
                  <a:pt x="133" y="117"/>
                  <a:pt x="133" y="117"/>
                </a:cubicBezTo>
                <a:lnTo>
                  <a:pt x="133" y="123"/>
                </a:lnTo>
                <a:close/>
                <a:moveTo>
                  <a:pt x="144" y="112"/>
                </a:moveTo>
                <a:cubicBezTo>
                  <a:pt x="139" y="112"/>
                  <a:pt x="139" y="112"/>
                  <a:pt x="139" y="112"/>
                </a:cubicBezTo>
                <a:cubicBezTo>
                  <a:pt x="139" y="16"/>
                  <a:pt x="139" y="16"/>
                  <a:pt x="139" y="16"/>
                </a:cubicBezTo>
                <a:cubicBezTo>
                  <a:pt x="144" y="16"/>
                  <a:pt x="144" y="16"/>
                  <a:pt x="144" y="16"/>
                </a:cubicBezTo>
                <a:cubicBezTo>
                  <a:pt x="144" y="21"/>
                  <a:pt x="144" y="21"/>
                  <a:pt x="144" y="21"/>
                </a:cubicBezTo>
                <a:cubicBezTo>
                  <a:pt x="144" y="107"/>
                  <a:pt x="144" y="107"/>
                  <a:pt x="144" y="107"/>
                </a:cubicBezTo>
                <a:lnTo>
                  <a:pt x="144" y="112"/>
                </a:lnTo>
                <a:close/>
                <a:moveTo>
                  <a:pt x="155" y="101"/>
                </a:moveTo>
                <a:cubicBezTo>
                  <a:pt x="149" y="101"/>
                  <a:pt x="149" y="101"/>
                  <a:pt x="149" y="101"/>
                </a:cubicBezTo>
                <a:cubicBezTo>
                  <a:pt x="149" y="27"/>
                  <a:pt x="149" y="27"/>
                  <a:pt x="149" y="27"/>
                </a:cubicBezTo>
                <a:cubicBezTo>
                  <a:pt x="155" y="27"/>
                  <a:pt x="155" y="27"/>
                  <a:pt x="155" y="27"/>
                </a:cubicBezTo>
                <a:lnTo>
                  <a:pt x="155" y="101"/>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1291">
            <a:extLst>
              <a:ext uri="{FF2B5EF4-FFF2-40B4-BE49-F238E27FC236}">
                <a16:creationId xmlns:a16="http://schemas.microsoft.com/office/drawing/2014/main" id="{62CB37A2-C0E1-AF4D-9BE4-6FF74C967421}"/>
              </a:ext>
            </a:extLst>
          </p:cNvPr>
          <p:cNvSpPr>
            <a:spLocks noEditPoints="1"/>
          </p:cNvSpPr>
          <p:nvPr/>
        </p:nvSpPr>
        <p:spPr bwMode="auto">
          <a:xfrm>
            <a:off x="486937" y="4108450"/>
            <a:ext cx="546100" cy="477838"/>
          </a:xfrm>
          <a:custGeom>
            <a:avLst/>
            <a:gdLst>
              <a:gd name="T0" fmla="*/ 27 w 160"/>
              <a:gd name="T1" fmla="*/ 0 h 139"/>
              <a:gd name="T2" fmla="*/ 21 w 160"/>
              <a:gd name="T3" fmla="*/ 0 h 139"/>
              <a:gd name="T4" fmla="*/ 0 w 160"/>
              <a:gd name="T5" fmla="*/ 0 h 139"/>
              <a:gd name="T6" fmla="*/ 0 w 160"/>
              <a:gd name="T7" fmla="*/ 139 h 139"/>
              <a:gd name="T8" fmla="*/ 21 w 160"/>
              <a:gd name="T9" fmla="*/ 139 h 139"/>
              <a:gd name="T10" fmla="*/ 27 w 160"/>
              <a:gd name="T11" fmla="*/ 139 h 139"/>
              <a:gd name="T12" fmla="*/ 160 w 160"/>
              <a:gd name="T13" fmla="*/ 139 h 139"/>
              <a:gd name="T14" fmla="*/ 160 w 160"/>
              <a:gd name="T15" fmla="*/ 0 h 139"/>
              <a:gd name="T16" fmla="*/ 27 w 160"/>
              <a:gd name="T17" fmla="*/ 0 h 139"/>
              <a:gd name="T18" fmla="*/ 21 w 160"/>
              <a:gd name="T19" fmla="*/ 133 h 139"/>
              <a:gd name="T20" fmla="*/ 5 w 160"/>
              <a:gd name="T21" fmla="*/ 133 h 139"/>
              <a:gd name="T22" fmla="*/ 5 w 160"/>
              <a:gd name="T23" fmla="*/ 5 h 139"/>
              <a:gd name="T24" fmla="*/ 21 w 160"/>
              <a:gd name="T25" fmla="*/ 5 h 139"/>
              <a:gd name="T26" fmla="*/ 21 w 160"/>
              <a:gd name="T27" fmla="*/ 133 h 139"/>
              <a:gd name="T28" fmla="*/ 155 w 160"/>
              <a:gd name="T29" fmla="*/ 133 h 139"/>
              <a:gd name="T30" fmla="*/ 27 w 160"/>
              <a:gd name="T31" fmla="*/ 133 h 139"/>
              <a:gd name="T32" fmla="*/ 27 w 160"/>
              <a:gd name="T33" fmla="*/ 5 h 139"/>
              <a:gd name="T34" fmla="*/ 155 w 160"/>
              <a:gd name="T35" fmla="*/ 5 h 139"/>
              <a:gd name="T36" fmla="*/ 155 w 160"/>
              <a:gd name="T37" fmla="*/ 133 h 139"/>
              <a:gd name="T38" fmla="*/ 57 w 160"/>
              <a:gd name="T39" fmla="*/ 115 h 139"/>
              <a:gd name="T40" fmla="*/ 75 w 160"/>
              <a:gd name="T41" fmla="*/ 99 h 139"/>
              <a:gd name="T42" fmla="*/ 75 w 160"/>
              <a:gd name="T43" fmla="*/ 99 h 139"/>
              <a:gd name="T44" fmla="*/ 75 w 160"/>
              <a:gd name="T45" fmla="*/ 53 h 139"/>
              <a:gd name="T46" fmla="*/ 120 w 160"/>
              <a:gd name="T47" fmla="*/ 46 h 139"/>
              <a:gd name="T48" fmla="*/ 120 w 160"/>
              <a:gd name="T49" fmla="*/ 71 h 139"/>
              <a:gd name="T50" fmla="*/ 108 w 160"/>
              <a:gd name="T51" fmla="*/ 67 h 139"/>
              <a:gd name="T52" fmla="*/ 91 w 160"/>
              <a:gd name="T53" fmla="*/ 83 h 139"/>
              <a:gd name="T54" fmla="*/ 108 w 160"/>
              <a:gd name="T55" fmla="*/ 99 h 139"/>
              <a:gd name="T56" fmla="*/ 125 w 160"/>
              <a:gd name="T57" fmla="*/ 83 h 139"/>
              <a:gd name="T58" fmla="*/ 125 w 160"/>
              <a:gd name="T59" fmla="*/ 43 h 139"/>
              <a:gd name="T60" fmla="*/ 125 w 160"/>
              <a:gd name="T61" fmla="*/ 29 h 139"/>
              <a:gd name="T62" fmla="*/ 125 w 160"/>
              <a:gd name="T63" fmla="*/ 27 h 139"/>
              <a:gd name="T64" fmla="*/ 124 w 160"/>
              <a:gd name="T65" fmla="*/ 25 h 139"/>
              <a:gd name="T66" fmla="*/ 122 w 160"/>
              <a:gd name="T67" fmla="*/ 24 h 139"/>
              <a:gd name="T68" fmla="*/ 72 w 160"/>
              <a:gd name="T69" fmla="*/ 32 h 139"/>
              <a:gd name="T70" fmla="*/ 69 w 160"/>
              <a:gd name="T71" fmla="*/ 35 h 139"/>
              <a:gd name="T72" fmla="*/ 69 w 160"/>
              <a:gd name="T73" fmla="*/ 43 h 139"/>
              <a:gd name="T74" fmla="*/ 69 w 160"/>
              <a:gd name="T75" fmla="*/ 51 h 139"/>
              <a:gd name="T76" fmla="*/ 69 w 160"/>
              <a:gd name="T77" fmla="*/ 87 h 139"/>
              <a:gd name="T78" fmla="*/ 57 w 160"/>
              <a:gd name="T79" fmla="*/ 83 h 139"/>
              <a:gd name="T80" fmla="*/ 40 w 160"/>
              <a:gd name="T81" fmla="*/ 99 h 139"/>
              <a:gd name="T82" fmla="*/ 57 w 160"/>
              <a:gd name="T83" fmla="*/ 115 h 139"/>
              <a:gd name="T84" fmla="*/ 108 w 160"/>
              <a:gd name="T85" fmla="*/ 93 h 139"/>
              <a:gd name="T86" fmla="*/ 96 w 160"/>
              <a:gd name="T87" fmla="*/ 83 h 139"/>
              <a:gd name="T88" fmla="*/ 108 w 160"/>
              <a:gd name="T89" fmla="*/ 72 h 139"/>
              <a:gd name="T90" fmla="*/ 120 w 160"/>
              <a:gd name="T91" fmla="*/ 83 h 139"/>
              <a:gd name="T92" fmla="*/ 108 w 160"/>
              <a:gd name="T93" fmla="*/ 93 h 139"/>
              <a:gd name="T94" fmla="*/ 75 w 160"/>
              <a:gd name="T95" fmla="*/ 37 h 139"/>
              <a:gd name="T96" fmla="*/ 120 w 160"/>
              <a:gd name="T97" fmla="*/ 30 h 139"/>
              <a:gd name="T98" fmla="*/ 120 w 160"/>
              <a:gd name="T99" fmla="*/ 40 h 139"/>
              <a:gd name="T100" fmla="*/ 75 w 160"/>
              <a:gd name="T101" fmla="*/ 48 h 139"/>
              <a:gd name="T102" fmla="*/ 75 w 160"/>
              <a:gd name="T103" fmla="*/ 43 h 139"/>
              <a:gd name="T104" fmla="*/ 75 w 160"/>
              <a:gd name="T105" fmla="*/ 37 h 139"/>
              <a:gd name="T106" fmla="*/ 57 w 160"/>
              <a:gd name="T107" fmla="*/ 88 h 139"/>
              <a:gd name="T108" fmla="*/ 69 w 160"/>
              <a:gd name="T109" fmla="*/ 99 h 139"/>
              <a:gd name="T110" fmla="*/ 57 w 160"/>
              <a:gd name="T111" fmla="*/ 109 h 139"/>
              <a:gd name="T112" fmla="*/ 45 w 160"/>
              <a:gd name="T113" fmla="*/ 99 h 139"/>
              <a:gd name="T114" fmla="*/ 57 w 160"/>
              <a:gd name="T115" fmla="*/ 8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39">
                <a:moveTo>
                  <a:pt x="27" y="0"/>
                </a:moveTo>
                <a:cubicBezTo>
                  <a:pt x="21" y="0"/>
                  <a:pt x="21" y="0"/>
                  <a:pt x="21" y="0"/>
                </a:cubicBezTo>
                <a:cubicBezTo>
                  <a:pt x="0" y="0"/>
                  <a:pt x="0" y="0"/>
                  <a:pt x="0" y="0"/>
                </a:cubicBezTo>
                <a:cubicBezTo>
                  <a:pt x="0" y="139"/>
                  <a:pt x="0" y="139"/>
                  <a:pt x="0" y="139"/>
                </a:cubicBezTo>
                <a:cubicBezTo>
                  <a:pt x="21" y="139"/>
                  <a:pt x="21" y="139"/>
                  <a:pt x="21" y="139"/>
                </a:cubicBezTo>
                <a:cubicBezTo>
                  <a:pt x="27" y="139"/>
                  <a:pt x="27" y="139"/>
                  <a:pt x="27" y="139"/>
                </a:cubicBezTo>
                <a:cubicBezTo>
                  <a:pt x="160" y="139"/>
                  <a:pt x="160" y="139"/>
                  <a:pt x="160" y="139"/>
                </a:cubicBezTo>
                <a:cubicBezTo>
                  <a:pt x="160" y="0"/>
                  <a:pt x="160" y="0"/>
                  <a:pt x="160" y="0"/>
                </a:cubicBezTo>
                <a:lnTo>
                  <a:pt x="27" y="0"/>
                </a:lnTo>
                <a:close/>
                <a:moveTo>
                  <a:pt x="21" y="133"/>
                </a:moveTo>
                <a:cubicBezTo>
                  <a:pt x="5" y="133"/>
                  <a:pt x="5" y="133"/>
                  <a:pt x="5" y="133"/>
                </a:cubicBezTo>
                <a:cubicBezTo>
                  <a:pt x="5" y="5"/>
                  <a:pt x="5" y="5"/>
                  <a:pt x="5" y="5"/>
                </a:cubicBezTo>
                <a:cubicBezTo>
                  <a:pt x="21" y="5"/>
                  <a:pt x="21" y="5"/>
                  <a:pt x="21" y="5"/>
                </a:cubicBezTo>
                <a:lnTo>
                  <a:pt x="21" y="133"/>
                </a:lnTo>
                <a:close/>
                <a:moveTo>
                  <a:pt x="155" y="133"/>
                </a:moveTo>
                <a:cubicBezTo>
                  <a:pt x="27" y="133"/>
                  <a:pt x="27" y="133"/>
                  <a:pt x="27" y="133"/>
                </a:cubicBezTo>
                <a:cubicBezTo>
                  <a:pt x="27" y="5"/>
                  <a:pt x="27" y="5"/>
                  <a:pt x="27" y="5"/>
                </a:cubicBezTo>
                <a:cubicBezTo>
                  <a:pt x="155" y="5"/>
                  <a:pt x="155" y="5"/>
                  <a:pt x="155" y="5"/>
                </a:cubicBezTo>
                <a:lnTo>
                  <a:pt x="155" y="133"/>
                </a:lnTo>
                <a:close/>
                <a:moveTo>
                  <a:pt x="57" y="115"/>
                </a:moveTo>
                <a:cubicBezTo>
                  <a:pt x="67" y="115"/>
                  <a:pt x="74" y="108"/>
                  <a:pt x="75" y="99"/>
                </a:cubicBezTo>
                <a:cubicBezTo>
                  <a:pt x="75" y="99"/>
                  <a:pt x="75" y="99"/>
                  <a:pt x="75" y="99"/>
                </a:cubicBezTo>
                <a:cubicBezTo>
                  <a:pt x="75" y="53"/>
                  <a:pt x="75" y="53"/>
                  <a:pt x="75" y="53"/>
                </a:cubicBezTo>
                <a:cubicBezTo>
                  <a:pt x="120" y="46"/>
                  <a:pt x="120" y="46"/>
                  <a:pt x="120" y="46"/>
                </a:cubicBezTo>
                <a:cubicBezTo>
                  <a:pt x="120" y="71"/>
                  <a:pt x="120" y="71"/>
                  <a:pt x="120" y="71"/>
                </a:cubicBezTo>
                <a:cubicBezTo>
                  <a:pt x="117" y="68"/>
                  <a:pt x="113" y="67"/>
                  <a:pt x="108" y="67"/>
                </a:cubicBezTo>
                <a:cubicBezTo>
                  <a:pt x="98" y="67"/>
                  <a:pt x="91" y="74"/>
                  <a:pt x="91" y="83"/>
                </a:cubicBezTo>
                <a:cubicBezTo>
                  <a:pt x="91" y="91"/>
                  <a:pt x="98" y="99"/>
                  <a:pt x="108" y="99"/>
                </a:cubicBezTo>
                <a:cubicBezTo>
                  <a:pt x="118" y="99"/>
                  <a:pt x="125" y="91"/>
                  <a:pt x="125" y="83"/>
                </a:cubicBezTo>
                <a:cubicBezTo>
                  <a:pt x="125" y="43"/>
                  <a:pt x="125" y="43"/>
                  <a:pt x="125" y="43"/>
                </a:cubicBezTo>
                <a:cubicBezTo>
                  <a:pt x="125" y="29"/>
                  <a:pt x="125" y="29"/>
                  <a:pt x="125" y="29"/>
                </a:cubicBezTo>
                <a:cubicBezTo>
                  <a:pt x="125" y="27"/>
                  <a:pt x="125" y="27"/>
                  <a:pt x="125" y="27"/>
                </a:cubicBezTo>
                <a:cubicBezTo>
                  <a:pt x="125" y="26"/>
                  <a:pt x="125" y="25"/>
                  <a:pt x="124" y="25"/>
                </a:cubicBezTo>
                <a:cubicBezTo>
                  <a:pt x="124" y="24"/>
                  <a:pt x="123" y="24"/>
                  <a:pt x="122" y="24"/>
                </a:cubicBezTo>
                <a:cubicBezTo>
                  <a:pt x="72" y="32"/>
                  <a:pt x="72" y="32"/>
                  <a:pt x="72" y="32"/>
                </a:cubicBezTo>
                <a:cubicBezTo>
                  <a:pt x="70" y="32"/>
                  <a:pt x="69" y="33"/>
                  <a:pt x="69" y="35"/>
                </a:cubicBezTo>
                <a:cubicBezTo>
                  <a:pt x="69" y="43"/>
                  <a:pt x="69" y="43"/>
                  <a:pt x="69" y="43"/>
                </a:cubicBezTo>
                <a:cubicBezTo>
                  <a:pt x="69" y="51"/>
                  <a:pt x="69" y="51"/>
                  <a:pt x="69" y="51"/>
                </a:cubicBezTo>
                <a:cubicBezTo>
                  <a:pt x="69" y="87"/>
                  <a:pt x="69" y="87"/>
                  <a:pt x="69" y="87"/>
                </a:cubicBezTo>
                <a:cubicBezTo>
                  <a:pt x="66" y="84"/>
                  <a:pt x="62" y="83"/>
                  <a:pt x="57" y="83"/>
                </a:cubicBezTo>
                <a:cubicBezTo>
                  <a:pt x="48" y="83"/>
                  <a:pt x="40" y="90"/>
                  <a:pt x="40" y="99"/>
                </a:cubicBezTo>
                <a:cubicBezTo>
                  <a:pt x="40" y="107"/>
                  <a:pt x="48" y="115"/>
                  <a:pt x="57" y="115"/>
                </a:cubicBezTo>
                <a:close/>
                <a:moveTo>
                  <a:pt x="108" y="93"/>
                </a:moveTo>
                <a:cubicBezTo>
                  <a:pt x="101" y="93"/>
                  <a:pt x="96" y="89"/>
                  <a:pt x="96" y="83"/>
                </a:cubicBezTo>
                <a:cubicBezTo>
                  <a:pt x="96" y="77"/>
                  <a:pt x="101" y="72"/>
                  <a:pt x="108" y="72"/>
                </a:cubicBezTo>
                <a:cubicBezTo>
                  <a:pt x="115" y="72"/>
                  <a:pt x="120" y="77"/>
                  <a:pt x="120" y="83"/>
                </a:cubicBezTo>
                <a:cubicBezTo>
                  <a:pt x="120" y="89"/>
                  <a:pt x="115" y="93"/>
                  <a:pt x="108" y="93"/>
                </a:cubicBezTo>
                <a:close/>
                <a:moveTo>
                  <a:pt x="75" y="37"/>
                </a:moveTo>
                <a:cubicBezTo>
                  <a:pt x="120" y="30"/>
                  <a:pt x="120" y="30"/>
                  <a:pt x="120" y="30"/>
                </a:cubicBezTo>
                <a:cubicBezTo>
                  <a:pt x="120" y="40"/>
                  <a:pt x="120" y="40"/>
                  <a:pt x="120" y="40"/>
                </a:cubicBezTo>
                <a:cubicBezTo>
                  <a:pt x="75" y="48"/>
                  <a:pt x="75" y="48"/>
                  <a:pt x="75" y="48"/>
                </a:cubicBezTo>
                <a:cubicBezTo>
                  <a:pt x="75" y="43"/>
                  <a:pt x="75" y="43"/>
                  <a:pt x="75" y="43"/>
                </a:cubicBezTo>
                <a:lnTo>
                  <a:pt x="75" y="37"/>
                </a:lnTo>
                <a:close/>
                <a:moveTo>
                  <a:pt x="57" y="88"/>
                </a:moveTo>
                <a:cubicBezTo>
                  <a:pt x="64" y="88"/>
                  <a:pt x="69" y="93"/>
                  <a:pt x="69" y="99"/>
                </a:cubicBezTo>
                <a:cubicBezTo>
                  <a:pt x="69" y="105"/>
                  <a:pt x="64" y="109"/>
                  <a:pt x="57" y="109"/>
                </a:cubicBezTo>
                <a:cubicBezTo>
                  <a:pt x="51" y="109"/>
                  <a:pt x="45" y="105"/>
                  <a:pt x="45" y="99"/>
                </a:cubicBezTo>
                <a:cubicBezTo>
                  <a:pt x="45" y="93"/>
                  <a:pt x="51" y="88"/>
                  <a:pt x="57" y="88"/>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292">
            <a:extLst>
              <a:ext uri="{FF2B5EF4-FFF2-40B4-BE49-F238E27FC236}">
                <a16:creationId xmlns:a16="http://schemas.microsoft.com/office/drawing/2014/main" id="{A673FA70-A62B-D04C-B8DD-8D34C9D9A26E}"/>
              </a:ext>
            </a:extLst>
          </p:cNvPr>
          <p:cNvSpPr>
            <a:spLocks noEditPoints="1"/>
          </p:cNvSpPr>
          <p:nvPr/>
        </p:nvSpPr>
        <p:spPr bwMode="auto">
          <a:xfrm>
            <a:off x="486937" y="4700588"/>
            <a:ext cx="546100" cy="550863"/>
          </a:xfrm>
          <a:custGeom>
            <a:avLst/>
            <a:gdLst>
              <a:gd name="T0" fmla="*/ 124 w 160"/>
              <a:gd name="T1" fmla="*/ 0 h 160"/>
              <a:gd name="T2" fmla="*/ 36 w 160"/>
              <a:gd name="T3" fmla="*/ 0 h 160"/>
              <a:gd name="T4" fmla="*/ 0 w 160"/>
              <a:gd name="T5" fmla="*/ 36 h 160"/>
              <a:gd name="T6" fmla="*/ 0 w 160"/>
              <a:gd name="T7" fmla="*/ 124 h 160"/>
              <a:gd name="T8" fmla="*/ 36 w 160"/>
              <a:gd name="T9" fmla="*/ 160 h 160"/>
              <a:gd name="T10" fmla="*/ 124 w 160"/>
              <a:gd name="T11" fmla="*/ 160 h 160"/>
              <a:gd name="T12" fmla="*/ 160 w 160"/>
              <a:gd name="T13" fmla="*/ 124 h 160"/>
              <a:gd name="T14" fmla="*/ 160 w 160"/>
              <a:gd name="T15" fmla="*/ 36 h 160"/>
              <a:gd name="T16" fmla="*/ 124 w 160"/>
              <a:gd name="T17" fmla="*/ 0 h 160"/>
              <a:gd name="T18" fmla="*/ 154 w 160"/>
              <a:gd name="T19" fmla="*/ 124 h 160"/>
              <a:gd name="T20" fmla="*/ 124 w 160"/>
              <a:gd name="T21" fmla="*/ 154 h 160"/>
              <a:gd name="T22" fmla="*/ 36 w 160"/>
              <a:gd name="T23" fmla="*/ 154 h 160"/>
              <a:gd name="T24" fmla="*/ 6 w 160"/>
              <a:gd name="T25" fmla="*/ 124 h 160"/>
              <a:gd name="T26" fmla="*/ 6 w 160"/>
              <a:gd name="T27" fmla="*/ 36 h 160"/>
              <a:gd name="T28" fmla="*/ 36 w 160"/>
              <a:gd name="T29" fmla="*/ 6 h 160"/>
              <a:gd name="T30" fmla="*/ 124 w 160"/>
              <a:gd name="T31" fmla="*/ 6 h 160"/>
              <a:gd name="T32" fmla="*/ 154 w 160"/>
              <a:gd name="T33" fmla="*/ 36 h 160"/>
              <a:gd name="T34" fmla="*/ 154 w 160"/>
              <a:gd name="T35" fmla="*/ 124 h 160"/>
              <a:gd name="T36" fmla="*/ 127 w 160"/>
              <a:gd name="T37" fmla="*/ 26 h 160"/>
              <a:gd name="T38" fmla="*/ 62 w 160"/>
              <a:gd name="T39" fmla="*/ 35 h 160"/>
              <a:gd name="T40" fmla="*/ 59 w 160"/>
              <a:gd name="T41" fmla="*/ 38 h 160"/>
              <a:gd name="T42" fmla="*/ 59 w 160"/>
              <a:gd name="T43" fmla="*/ 50 h 160"/>
              <a:gd name="T44" fmla="*/ 59 w 160"/>
              <a:gd name="T45" fmla="*/ 59 h 160"/>
              <a:gd name="T46" fmla="*/ 59 w 160"/>
              <a:gd name="T47" fmla="*/ 109 h 160"/>
              <a:gd name="T48" fmla="*/ 43 w 160"/>
              <a:gd name="T49" fmla="*/ 102 h 160"/>
              <a:gd name="T50" fmla="*/ 21 w 160"/>
              <a:gd name="T51" fmla="*/ 122 h 160"/>
              <a:gd name="T52" fmla="*/ 43 w 160"/>
              <a:gd name="T53" fmla="*/ 142 h 160"/>
              <a:gd name="T54" fmla="*/ 65 w 160"/>
              <a:gd name="T55" fmla="*/ 122 h 160"/>
              <a:gd name="T56" fmla="*/ 65 w 160"/>
              <a:gd name="T57" fmla="*/ 62 h 160"/>
              <a:gd name="T58" fmla="*/ 124 w 160"/>
              <a:gd name="T59" fmla="*/ 54 h 160"/>
              <a:gd name="T60" fmla="*/ 124 w 160"/>
              <a:gd name="T61" fmla="*/ 90 h 160"/>
              <a:gd name="T62" fmla="*/ 108 w 160"/>
              <a:gd name="T63" fmla="*/ 83 h 160"/>
              <a:gd name="T64" fmla="*/ 86 w 160"/>
              <a:gd name="T65" fmla="*/ 103 h 160"/>
              <a:gd name="T66" fmla="*/ 108 w 160"/>
              <a:gd name="T67" fmla="*/ 123 h 160"/>
              <a:gd name="T68" fmla="*/ 130 w 160"/>
              <a:gd name="T69" fmla="*/ 103 h 160"/>
              <a:gd name="T70" fmla="*/ 130 w 160"/>
              <a:gd name="T71" fmla="*/ 51 h 160"/>
              <a:gd name="T72" fmla="*/ 130 w 160"/>
              <a:gd name="T73" fmla="*/ 42 h 160"/>
              <a:gd name="T74" fmla="*/ 130 w 160"/>
              <a:gd name="T75" fmla="*/ 29 h 160"/>
              <a:gd name="T76" fmla="*/ 129 w 160"/>
              <a:gd name="T77" fmla="*/ 27 h 160"/>
              <a:gd name="T78" fmla="*/ 127 w 160"/>
              <a:gd name="T79" fmla="*/ 26 h 160"/>
              <a:gd name="T80" fmla="*/ 43 w 160"/>
              <a:gd name="T81" fmla="*/ 136 h 160"/>
              <a:gd name="T82" fmla="*/ 27 w 160"/>
              <a:gd name="T83" fmla="*/ 122 h 160"/>
              <a:gd name="T84" fmla="*/ 43 w 160"/>
              <a:gd name="T85" fmla="*/ 108 h 160"/>
              <a:gd name="T86" fmla="*/ 59 w 160"/>
              <a:gd name="T87" fmla="*/ 122 h 160"/>
              <a:gd name="T88" fmla="*/ 43 w 160"/>
              <a:gd name="T89" fmla="*/ 136 h 160"/>
              <a:gd name="T90" fmla="*/ 65 w 160"/>
              <a:gd name="T91" fmla="*/ 56 h 160"/>
              <a:gd name="T92" fmla="*/ 65 w 160"/>
              <a:gd name="T93" fmla="*/ 50 h 160"/>
              <a:gd name="T94" fmla="*/ 65 w 160"/>
              <a:gd name="T95" fmla="*/ 40 h 160"/>
              <a:gd name="T96" fmla="*/ 124 w 160"/>
              <a:gd name="T97" fmla="*/ 33 h 160"/>
              <a:gd name="T98" fmla="*/ 124 w 160"/>
              <a:gd name="T99" fmla="*/ 42 h 160"/>
              <a:gd name="T100" fmla="*/ 124 w 160"/>
              <a:gd name="T101" fmla="*/ 48 h 160"/>
              <a:gd name="T102" fmla="*/ 65 w 160"/>
              <a:gd name="T103" fmla="*/ 56 h 160"/>
              <a:gd name="T104" fmla="*/ 108 w 160"/>
              <a:gd name="T105" fmla="*/ 117 h 160"/>
              <a:gd name="T106" fmla="*/ 92 w 160"/>
              <a:gd name="T107" fmla="*/ 103 h 160"/>
              <a:gd name="T108" fmla="*/ 108 w 160"/>
              <a:gd name="T109" fmla="*/ 89 h 160"/>
              <a:gd name="T110" fmla="*/ 124 w 160"/>
              <a:gd name="T111" fmla="*/ 103 h 160"/>
              <a:gd name="T112" fmla="*/ 108 w 160"/>
              <a:gd name="T113"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60">
                <a:moveTo>
                  <a:pt x="124" y="0"/>
                </a:moveTo>
                <a:cubicBezTo>
                  <a:pt x="36" y="0"/>
                  <a:pt x="36" y="0"/>
                  <a:pt x="36" y="0"/>
                </a:cubicBezTo>
                <a:cubicBezTo>
                  <a:pt x="16" y="0"/>
                  <a:pt x="0" y="16"/>
                  <a:pt x="0" y="36"/>
                </a:cubicBezTo>
                <a:cubicBezTo>
                  <a:pt x="0" y="124"/>
                  <a:pt x="0" y="124"/>
                  <a:pt x="0" y="124"/>
                </a:cubicBezTo>
                <a:cubicBezTo>
                  <a:pt x="0" y="144"/>
                  <a:pt x="16" y="160"/>
                  <a:pt x="36" y="160"/>
                </a:cubicBezTo>
                <a:cubicBezTo>
                  <a:pt x="124" y="160"/>
                  <a:pt x="124" y="160"/>
                  <a:pt x="124" y="160"/>
                </a:cubicBezTo>
                <a:cubicBezTo>
                  <a:pt x="144" y="160"/>
                  <a:pt x="160" y="144"/>
                  <a:pt x="160" y="124"/>
                </a:cubicBezTo>
                <a:cubicBezTo>
                  <a:pt x="160" y="36"/>
                  <a:pt x="160" y="36"/>
                  <a:pt x="160" y="36"/>
                </a:cubicBezTo>
                <a:cubicBezTo>
                  <a:pt x="160" y="16"/>
                  <a:pt x="144" y="0"/>
                  <a:pt x="124" y="0"/>
                </a:cubicBezTo>
                <a:close/>
                <a:moveTo>
                  <a:pt x="154" y="124"/>
                </a:moveTo>
                <a:cubicBezTo>
                  <a:pt x="154" y="141"/>
                  <a:pt x="141" y="154"/>
                  <a:pt x="124" y="154"/>
                </a:cubicBezTo>
                <a:cubicBezTo>
                  <a:pt x="36" y="154"/>
                  <a:pt x="36" y="154"/>
                  <a:pt x="36" y="154"/>
                </a:cubicBezTo>
                <a:cubicBezTo>
                  <a:pt x="19" y="154"/>
                  <a:pt x="6" y="141"/>
                  <a:pt x="6" y="124"/>
                </a:cubicBezTo>
                <a:cubicBezTo>
                  <a:pt x="6" y="36"/>
                  <a:pt x="6" y="36"/>
                  <a:pt x="6" y="36"/>
                </a:cubicBezTo>
                <a:cubicBezTo>
                  <a:pt x="6" y="19"/>
                  <a:pt x="19" y="6"/>
                  <a:pt x="36" y="6"/>
                </a:cubicBezTo>
                <a:cubicBezTo>
                  <a:pt x="124" y="6"/>
                  <a:pt x="124" y="6"/>
                  <a:pt x="124" y="6"/>
                </a:cubicBezTo>
                <a:cubicBezTo>
                  <a:pt x="141" y="6"/>
                  <a:pt x="154" y="19"/>
                  <a:pt x="154" y="36"/>
                </a:cubicBezTo>
                <a:lnTo>
                  <a:pt x="154" y="124"/>
                </a:lnTo>
                <a:close/>
                <a:moveTo>
                  <a:pt x="127" y="26"/>
                </a:moveTo>
                <a:cubicBezTo>
                  <a:pt x="62" y="35"/>
                  <a:pt x="62" y="35"/>
                  <a:pt x="62" y="35"/>
                </a:cubicBezTo>
                <a:cubicBezTo>
                  <a:pt x="60" y="35"/>
                  <a:pt x="59" y="36"/>
                  <a:pt x="59" y="38"/>
                </a:cubicBezTo>
                <a:cubicBezTo>
                  <a:pt x="59" y="50"/>
                  <a:pt x="59" y="50"/>
                  <a:pt x="59" y="50"/>
                </a:cubicBezTo>
                <a:cubicBezTo>
                  <a:pt x="59" y="59"/>
                  <a:pt x="59" y="59"/>
                  <a:pt x="59" y="59"/>
                </a:cubicBezTo>
                <a:cubicBezTo>
                  <a:pt x="59" y="109"/>
                  <a:pt x="59" y="109"/>
                  <a:pt x="59" y="109"/>
                </a:cubicBezTo>
                <a:cubicBezTo>
                  <a:pt x="55" y="105"/>
                  <a:pt x="49" y="102"/>
                  <a:pt x="43" y="102"/>
                </a:cubicBezTo>
                <a:cubicBezTo>
                  <a:pt x="31" y="102"/>
                  <a:pt x="21" y="111"/>
                  <a:pt x="21" y="122"/>
                </a:cubicBezTo>
                <a:cubicBezTo>
                  <a:pt x="21" y="133"/>
                  <a:pt x="31" y="142"/>
                  <a:pt x="43" y="142"/>
                </a:cubicBezTo>
                <a:cubicBezTo>
                  <a:pt x="55" y="142"/>
                  <a:pt x="65" y="133"/>
                  <a:pt x="65" y="122"/>
                </a:cubicBezTo>
                <a:cubicBezTo>
                  <a:pt x="65" y="62"/>
                  <a:pt x="65" y="62"/>
                  <a:pt x="65" y="62"/>
                </a:cubicBezTo>
                <a:cubicBezTo>
                  <a:pt x="124" y="54"/>
                  <a:pt x="124" y="54"/>
                  <a:pt x="124" y="54"/>
                </a:cubicBezTo>
                <a:cubicBezTo>
                  <a:pt x="124" y="90"/>
                  <a:pt x="124" y="90"/>
                  <a:pt x="124" y="90"/>
                </a:cubicBezTo>
                <a:cubicBezTo>
                  <a:pt x="120" y="86"/>
                  <a:pt x="115" y="83"/>
                  <a:pt x="108" y="83"/>
                </a:cubicBezTo>
                <a:cubicBezTo>
                  <a:pt x="96" y="83"/>
                  <a:pt x="86" y="92"/>
                  <a:pt x="86" y="103"/>
                </a:cubicBezTo>
                <a:cubicBezTo>
                  <a:pt x="86" y="114"/>
                  <a:pt x="96" y="123"/>
                  <a:pt x="108" y="123"/>
                </a:cubicBezTo>
                <a:cubicBezTo>
                  <a:pt x="120" y="123"/>
                  <a:pt x="130" y="114"/>
                  <a:pt x="130" y="103"/>
                </a:cubicBezTo>
                <a:cubicBezTo>
                  <a:pt x="130" y="51"/>
                  <a:pt x="130" y="51"/>
                  <a:pt x="130" y="51"/>
                </a:cubicBezTo>
                <a:cubicBezTo>
                  <a:pt x="130" y="42"/>
                  <a:pt x="130" y="42"/>
                  <a:pt x="130" y="42"/>
                </a:cubicBezTo>
                <a:cubicBezTo>
                  <a:pt x="130" y="29"/>
                  <a:pt x="130" y="29"/>
                  <a:pt x="130" y="29"/>
                </a:cubicBezTo>
                <a:cubicBezTo>
                  <a:pt x="130" y="28"/>
                  <a:pt x="130" y="28"/>
                  <a:pt x="129" y="27"/>
                </a:cubicBezTo>
                <a:cubicBezTo>
                  <a:pt x="129" y="26"/>
                  <a:pt x="128" y="26"/>
                  <a:pt x="127" y="26"/>
                </a:cubicBezTo>
                <a:close/>
                <a:moveTo>
                  <a:pt x="43" y="136"/>
                </a:moveTo>
                <a:cubicBezTo>
                  <a:pt x="34" y="136"/>
                  <a:pt x="27" y="130"/>
                  <a:pt x="27" y="122"/>
                </a:cubicBezTo>
                <a:cubicBezTo>
                  <a:pt x="27" y="115"/>
                  <a:pt x="34" y="108"/>
                  <a:pt x="43" y="108"/>
                </a:cubicBezTo>
                <a:cubicBezTo>
                  <a:pt x="52" y="108"/>
                  <a:pt x="59" y="115"/>
                  <a:pt x="59" y="122"/>
                </a:cubicBezTo>
                <a:cubicBezTo>
                  <a:pt x="59" y="130"/>
                  <a:pt x="52" y="136"/>
                  <a:pt x="43" y="136"/>
                </a:cubicBezTo>
                <a:close/>
                <a:moveTo>
                  <a:pt x="65" y="56"/>
                </a:moveTo>
                <a:cubicBezTo>
                  <a:pt x="65" y="50"/>
                  <a:pt x="65" y="50"/>
                  <a:pt x="65" y="50"/>
                </a:cubicBezTo>
                <a:cubicBezTo>
                  <a:pt x="65" y="40"/>
                  <a:pt x="65" y="40"/>
                  <a:pt x="65" y="40"/>
                </a:cubicBezTo>
                <a:cubicBezTo>
                  <a:pt x="124" y="33"/>
                  <a:pt x="124" y="33"/>
                  <a:pt x="124" y="33"/>
                </a:cubicBezTo>
                <a:cubicBezTo>
                  <a:pt x="124" y="42"/>
                  <a:pt x="124" y="42"/>
                  <a:pt x="124" y="42"/>
                </a:cubicBezTo>
                <a:cubicBezTo>
                  <a:pt x="124" y="48"/>
                  <a:pt x="124" y="48"/>
                  <a:pt x="124" y="48"/>
                </a:cubicBezTo>
                <a:lnTo>
                  <a:pt x="65" y="56"/>
                </a:lnTo>
                <a:close/>
                <a:moveTo>
                  <a:pt x="108" y="117"/>
                </a:moveTo>
                <a:cubicBezTo>
                  <a:pt x="99" y="117"/>
                  <a:pt x="92" y="111"/>
                  <a:pt x="92" y="103"/>
                </a:cubicBezTo>
                <a:cubicBezTo>
                  <a:pt x="92" y="96"/>
                  <a:pt x="99" y="89"/>
                  <a:pt x="108" y="89"/>
                </a:cubicBezTo>
                <a:cubicBezTo>
                  <a:pt x="117" y="89"/>
                  <a:pt x="124" y="96"/>
                  <a:pt x="124" y="103"/>
                </a:cubicBezTo>
                <a:cubicBezTo>
                  <a:pt x="124" y="111"/>
                  <a:pt x="117" y="117"/>
                  <a:pt x="108" y="117"/>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293">
            <a:extLst>
              <a:ext uri="{FF2B5EF4-FFF2-40B4-BE49-F238E27FC236}">
                <a16:creationId xmlns:a16="http://schemas.microsoft.com/office/drawing/2014/main" id="{1F15945D-E3BA-1D45-B7AE-4A0E1077BA53}"/>
              </a:ext>
            </a:extLst>
          </p:cNvPr>
          <p:cNvSpPr>
            <a:spLocks noEditPoints="1"/>
          </p:cNvSpPr>
          <p:nvPr/>
        </p:nvSpPr>
        <p:spPr bwMode="auto">
          <a:xfrm>
            <a:off x="486937" y="5292725"/>
            <a:ext cx="573088" cy="584200"/>
          </a:xfrm>
          <a:custGeom>
            <a:avLst/>
            <a:gdLst>
              <a:gd name="T0" fmla="*/ 137 w 168"/>
              <a:gd name="T1" fmla="*/ 31 h 170"/>
              <a:gd name="T2" fmla="*/ 23 w 168"/>
              <a:gd name="T3" fmla="*/ 31 h 170"/>
              <a:gd name="T4" fmla="*/ 0 w 168"/>
              <a:gd name="T5" fmla="*/ 88 h 170"/>
              <a:gd name="T6" fmla="*/ 23 w 168"/>
              <a:gd name="T7" fmla="*/ 145 h 170"/>
              <a:gd name="T8" fmla="*/ 80 w 168"/>
              <a:gd name="T9" fmla="*/ 168 h 170"/>
              <a:gd name="T10" fmla="*/ 137 w 168"/>
              <a:gd name="T11" fmla="*/ 145 h 170"/>
              <a:gd name="T12" fmla="*/ 137 w 168"/>
              <a:gd name="T13" fmla="*/ 31 h 170"/>
              <a:gd name="T14" fmla="*/ 27 w 168"/>
              <a:gd name="T15" fmla="*/ 35 h 170"/>
              <a:gd name="T16" fmla="*/ 80 w 168"/>
              <a:gd name="T17" fmla="*/ 13 h 170"/>
              <a:gd name="T18" fmla="*/ 131 w 168"/>
              <a:gd name="T19" fmla="*/ 33 h 170"/>
              <a:gd name="T20" fmla="*/ 112 w 168"/>
              <a:gd name="T21" fmla="*/ 52 h 170"/>
              <a:gd name="T22" fmla="*/ 112 w 168"/>
              <a:gd name="T23" fmla="*/ 35 h 170"/>
              <a:gd name="T24" fmla="*/ 108 w 168"/>
              <a:gd name="T25" fmla="*/ 28 h 170"/>
              <a:gd name="T26" fmla="*/ 100 w 168"/>
              <a:gd name="T27" fmla="*/ 28 h 170"/>
              <a:gd name="T28" fmla="*/ 99 w 168"/>
              <a:gd name="T29" fmla="*/ 28 h 170"/>
              <a:gd name="T30" fmla="*/ 64 w 168"/>
              <a:gd name="T31" fmla="*/ 61 h 170"/>
              <a:gd name="T32" fmla="*/ 62 w 168"/>
              <a:gd name="T33" fmla="*/ 61 h 170"/>
              <a:gd name="T34" fmla="*/ 40 w 168"/>
              <a:gd name="T35" fmla="*/ 61 h 170"/>
              <a:gd name="T36" fmla="*/ 32 w 168"/>
              <a:gd name="T37" fmla="*/ 70 h 170"/>
              <a:gd name="T38" fmla="*/ 32 w 168"/>
              <a:gd name="T39" fmla="*/ 104 h 170"/>
              <a:gd name="T40" fmla="*/ 40 w 168"/>
              <a:gd name="T41" fmla="*/ 112 h 170"/>
              <a:gd name="T42" fmla="*/ 52 w 168"/>
              <a:gd name="T43" fmla="*/ 112 h 170"/>
              <a:gd name="T44" fmla="*/ 25 w 168"/>
              <a:gd name="T45" fmla="*/ 139 h 170"/>
              <a:gd name="T46" fmla="*/ 5 w 168"/>
              <a:gd name="T47" fmla="*/ 88 h 170"/>
              <a:gd name="T48" fmla="*/ 27 w 168"/>
              <a:gd name="T49" fmla="*/ 35 h 170"/>
              <a:gd name="T50" fmla="*/ 58 w 168"/>
              <a:gd name="T51" fmla="*/ 107 h 170"/>
              <a:gd name="T52" fmla="*/ 40 w 168"/>
              <a:gd name="T53" fmla="*/ 107 h 170"/>
              <a:gd name="T54" fmla="*/ 37 w 168"/>
              <a:gd name="T55" fmla="*/ 104 h 170"/>
              <a:gd name="T56" fmla="*/ 37 w 168"/>
              <a:gd name="T57" fmla="*/ 70 h 170"/>
              <a:gd name="T58" fmla="*/ 40 w 168"/>
              <a:gd name="T59" fmla="*/ 67 h 170"/>
              <a:gd name="T60" fmla="*/ 62 w 168"/>
              <a:gd name="T61" fmla="*/ 67 h 170"/>
              <a:gd name="T62" fmla="*/ 67 w 168"/>
              <a:gd name="T63" fmla="*/ 65 h 170"/>
              <a:gd name="T64" fmla="*/ 67 w 168"/>
              <a:gd name="T65" fmla="*/ 65 h 170"/>
              <a:gd name="T66" fmla="*/ 102 w 168"/>
              <a:gd name="T67" fmla="*/ 32 h 170"/>
              <a:gd name="T68" fmla="*/ 105 w 168"/>
              <a:gd name="T69" fmla="*/ 32 h 170"/>
              <a:gd name="T70" fmla="*/ 107 w 168"/>
              <a:gd name="T71" fmla="*/ 35 h 170"/>
              <a:gd name="T72" fmla="*/ 107 w 168"/>
              <a:gd name="T73" fmla="*/ 58 h 170"/>
              <a:gd name="T74" fmla="*/ 58 w 168"/>
              <a:gd name="T75" fmla="*/ 107 h 170"/>
              <a:gd name="T76" fmla="*/ 107 w 168"/>
              <a:gd name="T77" fmla="*/ 65 h 170"/>
              <a:gd name="T78" fmla="*/ 107 w 168"/>
              <a:gd name="T79" fmla="*/ 138 h 170"/>
              <a:gd name="T80" fmla="*/ 105 w 168"/>
              <a:gd name="T81" fmla="*/ 141 h 170"/>
              <a:gd name="T82" fmla="*/ 102 w 168"/>
              <a:gd name="T83" fmla="*/ 141 h 170"/>
              <a:gd name="T84" fmla="*/ 67 w 168"/>
              <a:gd name="T85" fmla="*/ 108 h 170"/>
              <a:gd name="T86" fmla="*/ 67 w 168"/>
              <a:gd name="T87" fmla="*/ 108 h 170"/>
              <a:gd name="T88" fmla="*/ 65 w 168"/>
              <a:gd name="T89" fmla="*/ 107 h 170"/>
              <a:gd name="T90" fmla="*/ 107 w 168"/>
              <a:gd name="T91" fmla="*/ 65 h 170"/>
              <a:gd name="T92" fmla="*/ 133 w 168"/>
              <a:gd name="T93" fmla="*/ 141 h 170"/>
              <a:gd name="T94" fmla="*/ 29 w 168"/>
              <a:gd name="T95" fmla="*/ 143 h 170"/>
              <a:gd name="T96" fmla="*/ 60 w 168"/>
              <a:gd name="T97" fmla="*/ 112 h 170"/>
              <a:gd name="T98" fmla="*/ 62 w 168"/>
              <a:gd name="T99" fmla="*/ 112 h 170"/>
              <a:gd name="T100" fmla="*/ 64 w 168"/>
              <a:gd name="T101" fmla="*/ 112 h 170"/>
              <a:gd name="T102" fmla="*/ 99 w 168"/>
              <a:gd name="T103" fmla="*/ 145 h 170"/>
              <a:gd name="T104" fmla="*/ 100 w 168"/>
              <a:gd name="T105" fmla="*/ 146 h 170"/>
              <a:gd name="T106" fmla="*/ 104 w 168"/>
              <a:gd name="T107" fmla="*/ 147 h 170"/>
              <a:gd name="T108" fmla="*/ 108 w 168"/>
              <a:gd name="T109" fmla="*/ 146 h 170"/>
              <a:gd name="T110" fmla="*/ 112 w 168"/>
              <a:gd name="T111" fmla="*/ 138 h 170"/>
              <a:gd name="T112" fmla="*/ 112 w 168"/>
              <a:gd name="T113" fmla="*/ 60 h 170"/>
              <a:gd name="T114" fmla="*/ 135 w 168"/>
              <a:gd name="T115" fmla="*/ 37 h 170"/>
              <a:gd name="T116" fmla="*/ 133 w 168"/>
              <a:gd name="T117" fmla="*/ 14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 h="170">
                <a:moveTo>
                  <a:pt x="137" y="31"/>
                </a:moveTo>
                <a:cubicBezTo>
                  <a:pt x="105" y="0"/>
                  <a:pt x="55" y="0"/>
                  <a:pt x="23" y="31"/>
                </a:cubicBezTo>
                <a:cubicBezTo>
                  <a:pt x="8" y="47"/>
                  <a:pt x="0" y="67"/>
                  <a:pt x="0" y="88"/>
                </a:cubicBezTo>
                <a:cubicBezTo>
                  <a:pt x="0" y="109"/>
                  <a:pt x="8" y="129"/>
                  <a:pt x="23" y="145"/>
                </a:cubicBezTo>
                <a:cubicBezTo>
                  <a:pt x="39" y="160"/>
                  <a:pt x="60" y="168"/>
                  <a:pt x="80" y="168"/>
                </a:cubicBezTo>
                <a:cubicBezTo>
                  <a:pt x="101" y="168"/>
                  <a:pt x="121" y="160"/>
                  <a:pt x="137" y="145"/>
                </a:cubicBezTo>
                <a:cubicBezTo>
                  <a:pt x="168" y="113"/>
                  <a:pt x="168" y="63"/>
                  <a:pt x="137" y="31"/>
                </a:cubicBezTo>
                <a:close/>
                <a:moveTo>
                  <a:pt x="27" y="35"/>
                </a:moveTo>
                <a:cubicBezTo>
                  <a:pt x="42" y="21"/>
                  <a:pt x="61" y="13"/>
                  <a:pt x="80" y="13"/>
                </a:cubicBezTo>
                <a:cubicBezTo>
                  <a:pt x="98" y="13"/>
                  <a:pt x="117" y="20"/>
                  <a:pt x="131" y="33"/>
                </a:cubicBezTo>
                <a:cubicBezTo>
                  <a:pt x="112" y="52"/>
                  <a:pt x="112" y="52"/>
                  <a:pt x="112" y="52"/>
                </a:cubicBezTo>
                <a:cubicBezTo>
                  <a:pt x="112" y="35"/>
                  <a:pt x="112" y="35"/>
                  <a:pt x="112" y="35"/>
                </a:cubicBezTo>
                <a:cubicBezTo>
                  <a:pt x="112" y="32"/>
                  <a:pt x="110" y="29"/>
                  <a:pt x="108" y="28"/>
                </a:cubicBezTo>
                <a:cubicBezTo>
                  <a:pt x="105" y="26"/>
                  <a:pt x="102" y="26"/>
                  <a:pt x="100" y="28"/>
                </a:cubicBezTo>
                <a:cubicBezTo>
                  <a:pt x="99" y="28"/>
                  <a:pt x="99" y="28"/>
                  <a:pt x="99" y="28"/>
                </a:cubicBezTo>
                <a:cubicBezTo>
                  <a:pt x="64" y="61"/>
                  <a:pt x="64" y="61"/>
                  <a:pt x="64" y="61"/>
                </a:cubicBezTo>
                <a:cubicBezTo>
                  <a:pt x="63" y="61"/>
                  <a:pt x="63" y="61"/>
                  <a:pt x="62" y="61"/>
                </a:cubicBezTo>
                <a:cubicBezTo>
                  <a:pt x="40" y="61"/>
                  <a:pt x="40" y="61"/>
                  <a:pt x="40" y="61"/>
                </a:cubicBezTo>
                <a:cubicBezTo>
                  <a:pt x="36" y="61"/>
                  <a:pt x="32" y="65"/>
                  <a:pt x="32" y="70"/>
                </a:cubicBezTo>
                <a:cubicBezTo>
                  <a:pt x="32" y="104"/>
                  <a:pt x="32" y="104"/>
                  <a:pt x="32" y="104"/>
                </a:cubicBezTo>
                <a:cubicBezTo>
                  <a:pt x="32" y="108"/>
                  <a:pt x="36" y="112"/>
                  <a:pt x="40" y="112"/>
                </a:cubicBezTo>
                <a:cubicBezTo>
                  <a:pt x="52" y="112"/>
                  <a:pt x="52" y="112"/>
                  <a:pt x="52" y="112"/>
                </a:cubicBezTo>
                <a:cubicBezTo>
                  <a:pt x="25" y="139"/>
                  <a:pt x="25" y="139"/>
                  <a:pt x="25" y="139"/>
                </a:cubicBezTo>
                <a:cubicBezTo>
                  <a:pt x="12" y="125"/>
                  <a:pt x="5" y="107"/>
                  <a:pt x="5" y="88"/>
                </a:cubicBezTo>
                <a:cubicBezTo>
                  <a:pt x="5" y="68"/>
                  <a:pt x="13" y="49"/>
                  <a:pt x="27" y="35"/>
                </a:cubicBezTo>
                <a:close/>
                <a:moveTo>
                  <a:pt x="58" y="107"/>
                </a:moveTo>
                <a:cubicBezTo>
                  <a:pt x="40" y="107"/>
                  <a:pt x="40" y="107"/>
                  <a:pt x="40" y="107"/>
                </a:cubicBezTo>
                <a:cubicBezTo>
                  <a:pt x="39" y="107"/>
                  <a:pt x="37" y="105"/>
                  <a:pt x="37" y="104"/>
                </a:cubicBezTo>
                <a:cubicBezTo>
                  <a:pt x="37" y="70"/>
                  <a:pt x="37" y="70"/>
                  <a:pt x="37" y="70"/>
                </a:cubicBezTo>
                <a:cubicBezTo>
                  <a:pt x="37" y="68"/>
                  <a:pt x="39" y="67"/>
                  <a:pt x="40" y="67"/>
                </a:cubicBezTo>
                <a:cubicBezTo>
                  <a:pt x="62" y="67"/>
                  <a:pt x="62" y="67"/>
                  <a:pt x="62" y="67"/>
                </a:cubicBezTo>
                <a:cubicBezTo>
                  <a:pt x="64" y="67"/>
                  <a:pt x="65" y="66"/>
                  <a:pt x="67" y="65"/>
                </a:cubicBezTo>
                <a:cubicBezTo>
                  <a:pt x="67" y="65"/>
                  <a:pt x="67" y="65"/>
                  <a:pt x="67" y="65"/>
                </a:cubicBezTo>
                <a:cubicBezTo>
                  <a:pt x="102" y="32"/>
                  <a:pt x="102" y="32"/>
                  <a:pt x="102" y="32"/>
                </a:cubicBezTo>
                <a:cubicBezTo>
                  <a:pt x="104" y="32"/>
                  <a:pt x="105" y="32"/>
                  <a:pt x="105" y="32"/>
                </a:cubicBezTo>
                <a:cubicBezTo>
                  <a:pt x="106" y="33"/>
                  <a:pt x="107" y="33"/>
                  <a:pt x="107" y="35"/>
                </a:cubicBezTo>
                <a:cubicBezTo>
                  <a:pt x="107" y="58"/>
                  <a:pt x="107" y="58"/>
                  <a:pt x="107" y="58"/>
                </a:cubicBezTo>
                <a:lnTo>
                  <a:pt x="58" y="107"/>
                </a:lnTo>
                <a:close/>
                <a:moveTo>
                  <a:pt x="107" y="65"/>
                </a:moveTo>
                <a:cubicBezTo>
                  <a:pt x="107" y="138"/>
                  <a:pt x="107" y="138"/>
                  <a:pt x="107" y="138"/>
                </a:cubicBezTo>
                <a:cubicBezTo>
                  <a:pt x="107" y="140"/>
                  <a:pt x="106" y="141"/>
                  <a:pt x="105" y="141"/>
                </a:cubicBezTo>
                <a:cubicBezTo>
                  <a:pt x="105" y="141"/>
                  <a:pt x="104" y="142"/>
                  <a:pt x="102" y="141"/>
                </a:cubicBezTo>
                <a:cubicBezTo>
                  <a:pt x="67" y="108"/>
                  <a:pt x="67" y="108"/>
                  <a:pt x="67" y="108"/>
                </a:cubicBezTo>
                <a:cubicBezTo>
                  <a:pt x="67" y="108"/>
                  <a:pt x="67" y="108"/>
                  <a:pt x="67" y="108"/>
                </a:cubicBezTo>
                <a:cubicBezTo>
                  <a:pt x="66" y="107"/>
                  <a:pt x="65" y="107"/>
                  <a:pt x="65" y="107"/>
                </a:cubicBezTo>
                <a:lnTo>
                  <a:pt x="107" y="65"/>
                </a:lnTo>
                <a:close/>
                <a:moveTo>
                  <a:pt x="133" y="141"/>
                </a:moveTo>
                <a:cubicBezTo>
                  <a:pt x="104" y="169"/>
                  <a:pt x="58" y="170"/>
                  <a:pt x="29" y="143"/>
                </a:cubicBezTo>
                <a:cubicBezTo>
                  <a:pt x="60" y="112"/>
                  <a:pt x="60" y="112"/>
                  <a:pt x="60" y="112"/>
                </a:cubicBezTo>
                <a:cubicBezTo>
                  <a:pt x="62" y="112"/>
                  <a:pt x="62" y="112"/>
                  <a:pt x="62" y="112"/>
                </a:cubicBezTo>
                <a:cubicBezTo>
                  <a:pt x="63" y="112"/>
                  <a:pt x="63" y="112"/>
                  <a:pt x="64" y="112"/>
                </a:cubicBezTo>
                <a:cubicBezTo>
                  <a:pt x="99" y="145"/>
                  <a:pt x="99" y="145"/>
                  <a:pt x="99" y="145"/>
                </a:cubicBezTo>
                <a:cubicBezTo>
                  <a:pt x="99" y="145"/>
                  <a:pt x="99" y="145"/>
                  <a:pt x="100" y="146"/>
                </a:cubicBezTo>
                <a:cubicBezTo>
                  <a:pt x="101" y="146"/>
                  <a:pt x="102" y="147"/>
                  <a:pt x="104" y="147"/>
                </a:cubicBezTo>
                <a:cubicBezTo>
                  <a:pt x="105" y="147"/>
                  <a:pt x="107" y="146"/>
                  <a:pt x="108" y="146"/>
                </a:cubicBezTo>
                <a:cubicBezTo>
                  <a:pt x="110" y="144"/>
                  <a:pt x="112" y="141"/>
                  <a:pt x="112" y="138"/>
                </a:cubicBezTo>
                <a:cubicBezTo>
                  <a:pt x="112" y="60"/>
                  <a:pt x="112" y="60"/>
                  <a:pt x="112" y="60"/>
                </a:cubicBezTo>
                <a:cubicBezTo>
                  <a:pt x="135" y="37"/>
                  <a:pt x="135" y="37"/>
                  <a:pt x="135" y="37"/>
                </a:cubicBezTo>
                <a:cubicBezTo>
                  <a:pt x="162" y="66"/>
                  <a:pt x="161" y="112"/>
                  <a:pt x="133" y="141"/>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294">
            <a:extLst>
              <a:ext uri="{FF2B5EF4-FFF2-40B4-BE49-F238E27FC236}">
                <a16:creationId xmlns:a16="http://schemas.microsoft.com/office/drawing/2014/main" id="{0D0F774D-7E01-2345-9FC1-9D53141CDE04}"/>
              </a:ext>
            </a:extLst>
          </p:cNvPr>
          <p:cNvSpPr>
            <a:spLocks noEditPoints="1"/>
          </p:cNvSpPr>
          <p:nvPr/>
        </p:nvSpPr>
        <p:spPr bwMode="auto">
          <a:xfrm>
            <a:off x="540912" y="5938838"/>
            <a:ext cx="444500" cy="550863"/>
          </a:xfrm>
          <a:custGeom>
            <a:avLst/>
            <a:gdLst>
              <a:gd name="T0" fmla="*/ 110 w 130"/>
              <a:gd name="T1" fmla="*/ 80 h 160"/>
              <a:gd name="T2" fmla="*/ 110 w 130"/>
              <a:gd name="T3" fmla="*/ 97 h 160"/>
              <a:gd name="T4" fmla="*/ 69 w 130"/>
              <a:gd name="T5" fmla="*/ 141 h 160"/>
              <a:gd name="T6" fmla="*/ 69 w 130"/>
              <a:gd name="T7" fmla="*/ 154 h 160"/>
              <a:gd name="T8" fmla="*/ 83 w 130"/>
              <a:gd name="T9" fmla="*/ 154 h 160"/>
              <a:gd name="T10" fmla="*/ 86 w 130"/>
              <a:gd name="T11" fmla="*/ 157 h 160"/>
              <a:gd name="T12" fmla="*/ 83 w 130"/>
              <a:gd name="T13" fmla="*/ 160 h 160"/>
              <a:gd name="T14" fmla="*/ 50 w 130"/>
              <a:gd name="T15" fmla="*/ 160 h 160"/>
              <a:gd name="T16" fmla="*/ 47 w 130"/>
              <a:gd name="T17" fmla="*/ 157 h 160"/>
              <a:gd name="T18" fmla="*/ 50 w 130"/>
              <a:gd name="T19" fmla="*/ 154 h 160"/>
              <a:gd name="T20" fmla="*/ 63 w 130"/>
              <a:gd name="T21" fmla="*/ 154 h 160"/>
              <a:gd name="T22" fmla="*/ 63 w 130"/>
              <a:gd name="T23" fmla="*/ 141 h 160"/>
              <a:gd name="T24" fmla="*/ 22 w 130"/>
              <a:gd name="T25" fmla="*/ 97 h 160"/>
              <a:gd name="T26" fmla="*/ 22 w 130"/>
              <a:gd name="T27" fmla="*/ 80 h 160"/>
              <a:gd name="T28" fmla="*/ 25 w 130"/>
              <a:gd name="T29" fmla="*/ 77 h 160"/>
              <a:gd name="T30" fmla="*/ 28 w 130"/>
              <a:gd name="T31" fmla="*/ 80 h 160"/>
              <a:gd name="T32" fmla="*/ 28 w 130"/>
              <a:gd name="T33" fmla="*/ 97 h 160"/>
              <a:gd name="T34" fmla="*/ 66 w 130"/>
              <a:gd name="T35" fmla="*/ 135 h 160"/>
              <a:gd name="T36" fmla="*/ 105 w 130"/>
              <a:gd name="T37" fmla="*/ 97 h 160"/>
              <a:gd name="T38" fmla="*/ 105 w 130"/>
              <a:gd name="T39" fmla="*/ 80 h 160"/>
              <a:gd name="T40" fmla="*/ 108 w 130"/>
              <a:gd name="T41" fmla="*/ 77 h 160"/>
              <a:gd name="T42" fmla="*/ 110 w 130"/>
              <a:gd name="T43" fmla="*/ 80 h 160"/>
              <a:gd name="T44" fmla="*/ 36 w 130"/>
              <a:gd name="T45" fmla="*/ 97 h 160"/>
              <a:gd name="T46" fmla="*/ 36 w 130"/>
              <a:gd name="T47" fmla="*/ 30 h 160"/>
              <a:gd name="T48" fmla="*/ 66 w 130"/>
              <a:gd name="T49" fmla="*/ 0 h 160"/>
              <a:gd name="T50" fmla="*/ 97 w 130"/>
              <a:gd name="T51" fmla="*/ 30 h 160"/>
              <a:gd name="T52" fmla="*/ 97 w 130"/>
              <a:gd name="T53" fmla="*/ 97 h 160"/>
              <a:gd name="T54" fmla="*/ 66 w 130"/>
              <a:gd name="T55" fmla="*/ 127 h 160"/>
              <a:gd name="T56" fmla="*/ 36 w 130"/>
              <a:gd name="T57" fmla="*/ 97 h 160"/>
              <a:gd name="T58" fmla="*/ 41 w 130"/>
              <a:gd name="T59" fmla="*/ 97 h 160"/>
              <a:gd name="T60" fmla="*/ 66 w 130"/>
              <a:gd name="T61" fmla="*/ 121 h 160"/>
              <a:gd name="T62" fmla="*/ 91 w 130"/>
              <a:gd name="T63" fmla="*/ 97 h 160"/>
              <a:gd name="T64" fmla="*/ 91 w 130"/>
              <a:gd name="T65" fmla="*/ 30 h 160"/>
              <a:gd name="T66" fmla="*/ 66 w 130"/>
              <a:gd name="T67" fmla="*/ 6 h 160"/>
              <a:gd name="T68" fmla="*/ 41 w 130"/>
              <a:gd name="T69" fmla="*/ 30 h 160"/>
              <a:gd name="T70" fmla="*/ 41 w 130"/>
              <a:gd name="T71" fmla="*/ 97 h 160"/>
              <a:gd name="T72" fmla="*/ 129 w 130"/>
              <a:gd name="T73" fmla="*/ 12 h 160"/>
              <a:gd name="T74" fmla="*/ 125 w 130"/>
              <a:gd name="T75" fmla="*/ 12 h 160"/>
              <a:gd name="T76" fmla="*/ 100 w 130"/>
              <a:gd name="T77" fmla="*/ 37 h 160"/>
              <a:gd name="T78" fmla="*/ 100 w 130"/>
              <a:gd name="T79" fmla="*/ 41 h 160"/>
              <a:gd name="T80" fmla="*/ 102 w 130"/>
              <a:gd name="T81" fmla="*/ 41 h 160"/>
              <a:gd name="T82" fmla="*/ 104 w 130"/>
              <a:gd name="T83" fmla="*/ 41 h 160"/>
              <a:gd name="T84" fmla="*/ 129 w 130"/>
              <a:gd name="T85" fmla="*/ 16 h 160"/>
              <a:gd name="T86" fmla="*/ 129 w 130"/>
              <a:gd name="T87" fmla="*/ 12 h 160"/>
              <a:gd name="T88" fmla="*/ 87 w 130"/>
              <a:gd name="T89" fmla="*/ 57 h 160"/>
              <a:gd name="T90" fmla="*/ 87 w 130"/>
              <a:gd name="T91" fmla="*/ 53 h 160"/>
              <a:gd name="T92" fmla="*/ 84 w 130"/>
              <a:gd name="T93" fmla="*/ 53 h 160"/>
              <a:gd name="T94" fmla="*/ 45 w 130"/>
              <a:gd name="T95" fmla="*/ 92 h 160"/>
              <a:gd name="T96" fmla="*/ 45 w 130"/>
              <a:gd name="T97" fmla="*/ 96 h 160"/>
              <a:gd name="T98" fmla="*/ 47 w 130"/>
              <a:gd name="T99" fmla="*/ 97 h 160"/>
              <a:gd name="T100" fmla="*/ 49 w 130"/>
              <a:gd name="T101" fmla="*/ 96 h 160"/>
              <a:gd name="T102" fmla="*/ 87 w 130"/>
              <a:gd name="T103" fmla="*/ 57 h 160"/>
              <a:gd name="T104" fmla="*/ 20 w 130"/>
              <a:gd name="T105" fmla="*/ 117 h 160"/>
              <a:gd name="T106" fmla="*/ 1 w 130"/>
              <a:gd name="T107" fmla="*/ 136 h 160"/>
              <a:gd name="T108" fmla="*/ 1 w 130"/>
              <a:gd name="T109" fmla="*/ 140 h 160"/>
              <a:gd name="T110" fmla="*/ 3 w 130"/>
              <a:gd name="T111" fmla="*/ 141 h 160"/>
              <a:gd name="T112" fmla="*/ 5 w 130"/>
              <a:gd name="T113" fmla="*/ 140 h 160"/>
              <a:gd name="T114" fmla="*/ 24 w 130"/>
              <a:gd name="T115" fmla="*/ 121 h 160"/>
              <a:gd name="T116" fmla="*/ 24 w 130"/>
              <a:gd name="T117" fmla="*/ 117 h 160"/>
              <a:gd name="T118" fmla="*/ 20 w 130"/>
              <a:gd name="T119"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0" h="160">
                <a:moveTo>
                  <a:pt x="110" y="80"/>
                </a:moveTo>
                <a:cubicBezTo>
                  <a:pt x="110" y="97"/>
                  <a:pt x="110" y="97"/>
                  <a:pt x="110" y="97"/>
                </a:cubicBezTo>
                <a:cubicBezTo>
                  <a:pt x="110" y="120"/>
                  <a:pt x="92" y="139"/>
                  <a:pt x="69" y="141"/>
                </a:cubicBezTo>
                <a:cubicBezTo>
                  <a:pt x="69" y="154"/>
                  <a:pt x="69" y="154"/>
                  <a:pt x="69" y="154"/>
                </a:cubicBezTo>
                <a:cubicBezTo>
                  <a:pt x="83" y="154"/>
                  <a:pt x="83" y="154"/>
                  <a:pt x="83" y="154"/>
                </a:cubicBezTo>
                <a:cubicBezTo>
                  <a:pt x="84" y="154"/>
                  <a:pt x="86" y="156"/>
                  <a:pt x="86" y="157"/>
                </a:cubicBezTo>
                <a:cubicBezTo>
                  <a:pt x="86" y="159"/>
                  <a:pt x="84" y="160"/>
                  <a:pt x="83" y="160"/>
                </a:cubicBezTo>
                <a:cubicBezTo>
                  <a:pt x="50" y="160"/>
                  <a:pt x="50" y="160"/>
                  <a:pt x="50" y="160"/>
                </a:cubicBezTo>
                <a:cubicBezTo>
                  <a:pt x="48" y="160"/>
                  <a:pt x="47" y="159"/>
                  <a:pt x="47" y="157"/>
                </a:cubicBezTo>
                <a:cubicBezTo>
                  <a:pt x="47" y="156"/>
                  <a:pt x="48" y="154"/>
                  <a:pt x="50" y="154"/>
                </a:cubicBezTo>
                <a:cubicBezTo>
                  <a:pt x="63" y="154"/>
                  <a:pt x="63" y="154"/>
                  <a:pt x="63" y="154"/>
                </a:cubicBezTo>
                <a:cubicBezTo>
                  <a:pt x="63" y="141"/>
                  <a:pt x="63" y="141"/>
                  <a:pt x="63" y="141"/>
                </a:cubicBezTo>
                <a:cubicBezTo>
                  <a:pt x="40" y="139"/>
                  <a:pt x="22" y="120"/>
                  <a:pt x="22" y="97"/>
                </a:cubicBezTo>
                <a:cubicBezTo>
                  <a:pt x="22" y="80"/>
                  <a:pt x="22" y="80"/>
                  <a:pt x="22" y="80"/>
                </a:cubicBezTo>
                <a:cubicBezTo>
                  <a:pt x="22" y="78"/>
                  <a:pt x="23" y="77"/>
                  <a:pt x="25" y="77"/>
                </a:cubicBezTo>
                <a:cubicBezTo>
                  <a:pt x="26" y="77"/>
                  <a:pt x="28" y="78"/>
                  <a:pt x="28" y="80"/>
                </a:cubicBezTo>
                <a:cubicBezTo>
                  <a:pt x="28" y="97"/>
                  <a:pt x="28" y="97"/>
                  <a:pt x="28" y="97"/>
                </a:cubicBezTo>
                <a:cubicBezTo>
                  <a:pt x="28" y="118"/>
                  <a:pt x="45" y="135"/>
                  <a:pt x="66" y="135"/>
                </a:cubicBezTo>
                <a:cubicBezTo>
                  <a:pt x="88" y="135"/>
                  <a:pt x="105" y="118"/>
                  <a:pt x="105" y="97"/>
                </a:cubicBezTo>
                <a:cubicBezTo>
                  <a:pt x="105" y="80"/>
                  <a:pt x="105" y="80"/>
                  <a:pt x="105" y="80"/>
                </a:cubicBezTo>
                <a:cubicBezTo>
                  <a:pt x="105" y="78"/>
                  <a:pt x="106" y="77"/>
                  <a:pt x="108" y="77"/>
                </a:cubicBezTo>
                <a:cubicBezTo>
                  <a:pt x="109" y="77"/>
                  <a:pt x="110" y="78"/>
                  <a:pt x="110" y="80"/>
                </a:cubicBezTo>
                <a:close/>
                <a:moveTo>
                  <a:pt x="36" y="97"/>
                </a:moveTo>
                <a:cubicBezTo>
                  <a:pt x="36" y="30"/>
                  <a:pt x="36" y="30"/>
                  <a:pt x="36" y="30"/>
                </a:cubicBezTo>
                <a:cubicBezTo>
                  <a:pt x="36" y="14"/>
                  <a:pt x="49" y="0"/>
                  <a:pt x="66" y="0"/>
                </a:cubicBezTo>
                <a:cubicBezTo>
                  <a:pt x="83" y="0"/>
                  <a:pt x="97" y="14"/>
                  <a:pt x="97" y="30"/>
                </a:cubicBezTo>
                <a:cubicBezTo>
                  <a:pt x="97" y="97"/>
                  <a:pt x="97" y="97"/>
                  <a:pt x="97" y="97"/>
                </a:cubicBezTo>
                <a:cubicBezTo>
                  <a:pt x="97" y="113"/>
                  <a:pt x="83" y="127"/>
                  <a:pt x="66" y="127"/>
                </a:cubicBezTo>
                <a:cubicBezTo>
                  <a:pt x="49" y="127"/>
                  <a:pt x="36" y="113"/>
                  <a:pt x="36" y="97"/>
                </a:cubicBezTo>
                <a:close/>
                <a:moveTo>
                  <a:pt x="41" y="97"/>
                </a:moveTo>
                <a:cubicBezTo>
                  <a:pt x="41" y="110"/>
                  <a:pt x="53" y="121"/>
                  <a:pt x="66" y="121"/>
                </a:cubicBezTo>
                <a:cubicBezTo>
                  <a:pt x="80" y="121"/>
                  <a:pt x="91" y="110"/>
                  <a:pt x="91" y="97"/>
                </a:cubicBezTo>
                <a:cubicBezTo>
                  <a:pt x="91" y="30"/>
                  <a:pt x="91" y="30"/>
                  <a:pt x="91" y="30"/>
                </a:cubicBezTo>
                <a:cubicBezTo>
                  <a:pt x="91" y="17"/>
                  <a:pt x="80" y="6"/>
                  <a:pt x="66" y="6"/>
                </a:cubicBezTo>
                <a:cubicBezTo>
                  <a:pt x="53" y="6"/>
                  <a:pt x="41" y="17"/>
                  <a:pt x="41" y="30"/>
                </a:cubicBezTo>
                <a:lnTo>
                  <a:pt x="41" y="97"/>
                </a:lnTo>
                <a:close/>
                <a:moveTo>
                  <a:pt x="129" y="12"/>
                </a:moveTo>
                <a:cubicBezTo>
                  <a:pt x="128" y="11"/>
                  <a:pt x="126" y="11"/>
                  <a:pt x="125" y="12"/>
                </a:cubicBezTo>
                <a:cubicBezTo>
                  <a:pt x="100" y="37"/>
                  <a:pt x="100" y="37"/>
                  <a:pt x="100" y="37"/>
                </a:cubicBezTo>
                <a:cubicBezTo>
                  <a:pt x="99" y="38"/>
                  <a:pt x="99" y="39"/>
                  <a:pt x="100" y="41"/>
                </a:cubicBezTo>
                <a:cubicBezTo>
                  <a:pt x="101" y="41"/>
                  <a:pt x="101" y="41"/>
                  <a:pt x="102" y="41"/>
                </a:cubicBezTo>
                <a:cubicBezTo>
                  <a:pt x="103" y="41"/>
                  <a:pt x="103" y="41"/>
                  <a:pt x="104" y="41"/>
                </a:cubicBezTo>
                <a:cubicBezTo>
                  <a:pt x="129" y="16"/>
                  <a:pt x="129" y="16"/>
                  <a:pt x="129" y="16"/>
                </a:cubicBezTo>
                <a:cubicBezTo>
                  <a:pt x="130" y="15"/>
                  <a:pt x="130" y="13"/>
                  <a:pt x="129" y="12"/>
                </a:cubicBezTo>
                <a:close/>
                <a:moveTo>
                  <a:pt x="87" y="57"/>
                </a:moveTo>
                <a:cubicBezTo>
                  <a:pt x="89" y="56"/>
                  <a:pt x="89" y="54"/>
                  <a:pt x="87" y="53"/>
                </a:cubicBezTo>
                <a:cubicBezTo>
                  <a:pt x="86" y="52"/>
                  <a:pt x="85" y="52"/>
                  <a:pt x="84" y="53"/>
                </a:cubicBezTo>
                <a:cubicBezTo>
                  <a:pt x="45" y="92"/>
                  <a:pt x="45" y="92"/>
                  <a:pt x="45" y="92"/>
                </a:cubicBezTo>
                <a:cubicBezTo>
                  <a:pt x="44" y="93"/>
                  <a:pt x="44" y="95"/>
                  <a:pt x="45" y="96"/>
                </a:cubicBezTo>
                <a:cubicBezTo>
                  <a:pt x="45" y="96"/>
                  <a:pt x="46" y="97"/>
                  <a:pt x="47" y="97"/>
                </a:cubicBezTo>
                <a:cubicBezTo>
                  <a:pt x="48" y="97"/>
                  <a:pt x="48" y="96"/>
                  <a:pt x="49" y="96"/>
                </a:cubicBezTo>
                <a:lnTo>
                  <a:pt x="87" y="57"/>
                </a:lnTo>
                <a:close/>
                <a:moveTo>
                  <a:pt x="20" y="117"/>
                </a:moveTo>
                <a:cubicBezTo>
                  <a:pt x="1" y="136"/>
                  <a:pt x="1" y="136"/>
                  <a:pt x="1" y="136"/>
                </a:cubicBezTo>
                <a:cubicBezTo>
                  <a:pt x="0" y="137"/>
                  <a:pt x="0" y="139"/>
                  <a:pt x="1" y="140"/>
                </a:cubicBezTo>
                <a:cubicBezTo>
                  <a:pt x="1" y="140"/>
                  <a:pt x="2" y="141"/>
                  <a:pt x="3" y="141"/>
                </a:cubicBezTo>
                <a:cubicBezTo>
                  <a:pt x="3" y="141"/>
                  <a:pt x="4" y="140"/>
                  <a:pt x="5" y="140"/>
                </a:cubicBezTo>
                <a:cubicBezTo>
                  <a:pt x="24" y="121"/>
                  <a:pt x="24" y="121"/>
                  <a:pt x="24" y="121"/>
                </a:cubicBezTo>
                <a:cubicBezTo>
                  <a:pt x="25" y="119"/>
                  <a:pt x="25" y="118"/>
                  <a:pt x="24" y="117"/>
                </a:cubicBezTo>
                <a:cubicBezTo>
                  <a:pt x="23" y="116"/>
                  <a:pt x="21" y="116"/>
                  <a:pt x="20" y="117"/>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295">
            <a:extLst>
              <a:ext uri="{FF2B5EF4-FFF2-40B4-BE49-F238E27FC236}">
                <a16:creationId xmlns:a16="http://schemas.microsoft.com/office/drawing/2014/main" id="{BA9801B7-D3B4-6F4A-A7D0-D03400C2AEFC}"/>
              </a:ext>
            </a:extLst>
          </p:cNvPr>
          <p:cNvSpPr>
            <a:spLocks noEditPoints="1"/>
          </p:cNvSpPr>
          <p:nvPr/>
        </p:nvSpPr>
        <p:spPr bwMode="auto">
          <a:xfrm>
            <a:off x="1442612" y="365125"/>
            <a:ext cx="546100" cy="550863"/>
          </a:xfrm>
          <a:custGeom>
            <a:avLst/>
            <a:gdLst>
              <a:gd name="T0" fmla="*/ 118 w 160"/>
              <a:gd name="T1" fmla="*/ 35 h 160"/>
              <a:gd name="T2" fmla="*/ 23 w 160"/>
              <a:gd name="T3" fmla="*/ 79 h 160"/>
              <a:gd name="T4" fmla="*/ 21 w 160"/>
              <a:gd name="T5" fmla="*/ 81 h 160"/>
              <a:gd name="T6" fmla="*/ 24 w 160"/>
              <a:gd name="T7" fmla="*/ 84 h 160"/>
              <a:gd name="T8" fmla="*/ 66 w 160"/>
              <a:gd name="T9" fmla="*/ 91 h 160"/>
              <a:gd name="T10" fmla="*/ 71 w 160"/>
              <a:gd name="T11" fmla="*/ 131 h 160"/>
              <a:gd name="T12" fmla="*/ 73 w 160"/>
              <a:gd name="T13" fmla="*/ 133 h 160"/>
              <a:gd name="T14" fmla="*/ 73 w 160"/>
              <a:gd name="T15" fmla="*/ 133 h 160"/>
              <a:gd name="T16" fmla="*/ 76 w 160"/>
              <a:gd name="T17" fmla="*/ 132 h 160"/>
              <a:gd name="T18" fmla="*/ 122 w 160"/>
              <a:gd name="T19" fmla="*/ 39 h 160"/>
              <a:gd name="T20" fmla="*/ 121 w 160"/>
              <a:gd name="T21" fmla="*/ 35 h 160"/>
              <a:gd name="T22" fmla="*/ 118 w 160"/>
              <a:gd name="T23" fmla="*/ 35 h 160"/>
              <a:gd name="T24" fmla="*/ 75 w 160"/>
              <a:gd name="T25" fmla="*/ 121 h 160"/>
              <a:gd name="T26" fmla="*/ 71 w 160"/>
              <a:gd name="T27" fmla="*/ 88 h 160"/>
              <a:gd name="T28" fmla="*/ 69 w 160"/>
              <a:gd name="T29" fmla="*/ 86 h 160"/>
              <a:gd name="T30" fmla="*/ 33 w 160"/>
              <a:gd name="T31" fmla="*/ 80 h 160"/>
              <a:gd name="T32" fmla="*/ 114 w 160"/>
              <a:gd name="T33" fmla="*/ 43 h 160"/>
              <a:gd name="T34" fmla="*/ 75 w 160"/>
              <a:gd name="T35" fmla="*/ 121 h 160"/>
              <a:gd name="T36" fmla="*/ 80 w 160"/>
              <a:gd name="T37" fmla="*/ 0 h 160"/>
              <a:gd name="T38" fmla="*/ 0 w 160"/>
              <a:gd name="T39" fmla="*/ 80 h 160"/>
              <a:gd name="T40" fmla="*/ 80 w 160"/>
              <a:gd name="T41" fmla="*/ 160 h 160"/>
              <a:gd name="T42" fmla="*/ 160 w 160"/>
              <a:gd name="T43" fmla="*/ 80 h 160"/>
              <a:gd name="T44" fmla="*/ 80 w 160"/>
              <a:gd name="T45" fmla="*/ 0 h 160"/>
              <a:gd name="T46" fmla="*/ 80 w 160"/>
              <a:gd name="T47" fmla="*/ 155 h 160"/>
              <a:gd name="T48" fmla="*/ 5 w 160"/>
              <a:gd name="T49" fmla="*/ 80 h 160"/>
              <a:gd name="T50" fmla="*/ 80 w 160"/>
              <a:gd name="T51" fmla="*/ 5 h 160"/>
              <a:gd name="T52" fmla="*/ 155 w 160"/>
              <a:gd name="T53" fmla="*/ 80 h 160"/>
              <a:gd name="T54" fmla="*/ 80 w 160"/>
              <a:gd name="T5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60">
                <a:moveTo>
                  <a:pt x="118" y="35"/>
                </a:moveTo>
                <a:cubicBezTo>
                  <a:pt x="23" y="79"/>
                  <a:pt x="23" y="79"/>
                  <a:pt x="23" y="79"/>
                </a:cubicBezTo>
                <a:cubicBezTo>
                  <a:pt x="22" y="79"/>
                  <a:pt x="21" y="80"/>
                  <a:pt x="21" y="81"/>
                </a:cubicBezTo>
                <a:cubicBezTo>
                  <a:pt x="22" y="83"/>
                  <a:pt x="23" y="84"/>
                  <a:pt x="24" y="84"/>
                </a:cubicBezTo>
                <a:cubicBezTo>
                  <a:pt x="66" y="91"/>
                  <a:pt x="66" y="91"/>
                  <a:pt x="66" y="91"/>
                </a:cubicBezTo>
                <a:cubicBezTo>
                  <a:pt x="71" y="131"/>
                  <a:pt x="71" y="131"/>
                  <a:pt x="71" y="131"/>
                </a:cubicBezTo>
                <a:cubicBezTo>
                  <a:pt x="71" y="132"/>
                  <a:pt x="72" y="133"/>
                  <a:pt x="73" y="133"/>
                </a:cubicBezTo>
                <a:cubicBezTo>
                  <a:pt x="73" y="133"/>
                  <a:pt x="73" y="133"/>
                  <a:pt x="73" y="133"/>
                </a:cubicBezTo>
                <a:cubicBezTo>
                  <a:pt x="74" y="133"/>
                  <a:pt x="75" y="132"/>
                  <a:pt x="76" y="132"/>
                </a:cubicBezTo>
                <a:cubicBezTo>
                  <a:pt x="122" y="39"/>
                  <a:pt x="122" y="39"/>
                  <a:pt x="122" y="39"/>
                </a:cubicBezTo>
                <a:cubicBezTo>
                  <a:pt x="122" y="38"/>
                  <a:pt x="122" y="36"/>
                  <a:pt x="121" y="35"/>
                </a:cubicBezTo>
                <a:cubicBezTo>
                  <a:pt x="121" y="35"/>
                  <a:pt x="119" y="34"/>
                  <a:pt x="118" y="35"/>
                </a:cubicBezTo>
                <a:close/>
                <a:moveTo>
                  <a:pt x="75" y="121"/>
                </a:moveTo>
                <a:cubicBezTo>
                  <a:pt x="71" y="88"/>
                  <a:pt x="71" y="88"/>
                  <a:pt x="71" y="88"/>
                </a:cubicBezTo>
                <a:cubicBezTo>
                  <a:pt x="71" y="87"/>
                  <a:pt x="70" y="86"/>
                  <a:pt x="69" y="86"/>
                </a:cubicBezTo>
                <a:cubicBezTo>
                  <a:pt x="33" y="80"/>
                  <a:pt x="33" y="80"/>
                  <a:pt x="33" y="80"/>
                </a:cubicBezTo>
                <a:cubicBezTo>
                  <a:pt x="114" y="43"/>
                  <a:pt x="114" y="43"/>
                  <a:pt x="114" y="43"/>
                </a:cubicBezTo>
                <a:lnTo>
                  <a:pt x="75" y="121"/>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296">
            <a:extLst>
              <a:ext uri="{FF2B5EF4-FFF2-40B4-BE49-F238E27FC236}">
                <a16:creationId xmlns:a16="http://schemas.microsoft.com/office/drawing/2014/main" id="{F33F3003-48C4-6B42-B4CA-7409373E2C5C}"/>
              </a:ext>
            </a:extLst>
          </p:cNvPr>
          <p:cNvSpPr>
            <a:spLocks noEditPoints="1"/>
          </p:cNvSpPr>
          <p:nvPr/>
        </p:nvSpPr>
        <p:spPr bwMode="auto">
          <a:xfrm>
            <a:off x="1442612" y="984250"/>
            <a:ext cx="546100" cy="536575"/>
          </a:xfrm>
          <a:custGeom>
            <a:avLst/>
            <a:gdLst>
              <a:gd name="T0" fmla="*/ 159 w 160"/>
              <a:gd name="T1" fmla="*/ 1 h 156"/>
              <a:gd name="T2" fmla="*/ 156 w 160"/>
              <a:gd name="T3" fmla="*/ 0 h 156"/>
              <a:gd name="T4" fmla="*/ 2 w 160"/>
              <a:gd name="T5" fmla="*/ 71 h 156"/>
              <a:gd name="T6" fmla="*/ 0 w 160"/>
              <a:gd name="T7" fmla="*/ 74 h 156"/>
              <a:gd name="T8" fmla="*/ 3 w 160"/>
              <a:gd name="T9" fmla="*/ 77 h 156"/>
              <a:gd name="T10" fmla="*/ 72 w 160"/>
              <a:gd name="T11" fmla="*/ 88 h 156"/>
              <a:gd name="T12" fmla="*/ 79 w 160"/>
              <a:gd name="T13" fmla="*/ 153 h 156"/>
              <a:gd name="T14" fmla="*/ 82 w 160"/>
              <a:gd name="T15" fmla="*/ 156 h 156"/>
              <a:gd name="T16" fmla="*/ 83 w 160"/>
              <a:gd name="T17" fmla="*/ 156 h 156"/>
              <a:gd name="T18" fmla="*/ 85 w 160"/>
              <a:gd name="T19" fmla="*/ 154 h 156"/>
              <a:gd name="T20" fmla="*/ 160 w 160"/>
              <a:gd name="T21" fmla="*/ 4 h 156"/>
              <a:gd name="T22" fmla="*/ 159 w 160"/>
              <a:gd name="T23" fmla="*/ 1 h 156"/>
              <a:gd name="T24" fmla="*/ 84 w 160"/>
              <a:gd name="T25" fmla="*/ 142 h 156"/>
              <a:gd name="T26" fmla="*/ 77 w 160"/>
              <a:gd name="T27" fmla="*/ 85 h 156"/>
              <a:gd name="T28" fmla="*/ 75 w 160"/>
              <a:gd name="T29" fmla="*/ 83 h 156"/>
              <a:gd name="T30" fmla="*/ 14 w 160"/>
              <a:gd name="T31" fmla="*/ 72 h 156"/>
              <a:gd name="T32" fmla="*/ 150 w 160"/>
              <a:gd name="T33" fmla="*/ 10 h 156"/>
              <a:gd name="T34" fmla="*/ 84 w 160"/>
              <a:gd name="T35" fmla="*/ 14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56">
                <a:moveTo>
                  <a:pt x="159" y="1"/>
                </a:moveTo>
                <a:cubicBezTo>
                  <a:pt x="158" y="0"/>
                  <a:pt x="157" y="0"/>
                  <a:pt x="156" y="0"/>
                </a:cubicBezTo>
                <a:cubicBezTo>
                  <a:pt x="2" y="71"/>
                  <a:pt x="2" y="71"/>
                  <a:pt x="2" y="71"/>
                </a:cubicBezTo>
                <a:cubicBezTo>
                  <a:pt x="1" y="71"/>
                  <a:pt x="0" y="73"/>
                  <a:pt x="0" y="74"/>
                </a:cubicBezTo>
                <a:cubicBezTo>
                  <a:pt x="0" y="75"/>
                  <a:pt x="1" y="77"/>
                  <a:pt x="3" y="77"/>
                </a:cubicBezTo>
                <a:cubicBezTo>
                  <a:pt x="72" y="88"/>
                  <a:pt x="72" y="88"/>
                  <a:pt x="72" y="88"/>
                </a:cubicBezTo>
                <a:cubicBezTo>
                  <a:pt x="79" y="153"/>
                  <a:pt x="79" y="153"/>
                  <a:pt x="79" y="153"/>
                </a:cubicBezTo>
                <a:cubicBezTo>
                  <a:pt x="80" y="155"/>
                  <a:pt x="81" y="156"/>
                  <a:pt x="82" y="156"/>
                </a:cubicBezTo>
                <a:cubicBezTo>
                  <a:pt x="82" y="156"/>
                  <a:pt x="82" y="156"/>
                  <a:pt x="83" y="156"/>
                </a:cubicBezTo>
                <a:cubicBezTo>
                  <a:pt x="84" y="156"/>
                  <a:pt x="85" y="156"/>
                  <a:pt x="85" y="154"/>
                </a:cubicBezTo>
                <a:cubicBezTo>
                  <a:pt x="160" y="4"/>
                  <a:pt x="160" y="4"/>
                  <a:pt x="160" y="4"/>
                </a:cubicBezTo>
                <a:cubicBezTo>
                  <a:pt x="160" y="3"/>
                  <a:pt x="160" y="2"/>
                  <a:pt x="159" y="1"/>
                </a:cubicBezTo>
                <a:close/>
                <a:moveTo>
                  <a:pt x="84" y="142"/>
                </a:moveTo>
                <a:cubicBezTo>
                  <a:pt x="77" y="85"/>
                  <a:pt x="77" y="85"/>
                  <a:pt x="77" y="85"/>
                </a:cubicBezTo>
                <a:cubicBezTo>
                  <a:pt x="77" y="84"/>
                  <a:pt x="76" y="83"/>
                  <a:pt x="75" y="83"/>
                </a:cubicBezTo>
                <a:cubicBezTo>
                  <a:pt x="14" y="72"/>
                  <a:pt x="14" y="72"/>
                  <a:pt x="14" y="72"/>
                </a:cubicBezTo>
                <a:cubicBezTo>
                  <a:pt x="150" y="10"/>
                  <a:pt x="150" y="10"/>
                  <a:pt x="150" y="10"/>
                </a:cubicBezTo>
                <a:lnTo>
                  <a:pt x="84" y="142"/>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297">
            <a:extLst>
              <a:ext uri="{FF2B5EF4-FFF2-40B4-BE49-F238E27FC236}">
                <a16:creationId xmlns:a16="http://schemas.microsoft.com/office/drawing/2014/main" id="{40F92BDF-D2C2-1E4A-9D6D-0912A495FA36}"/>
              </a:ext>
            </a:extLst>
          </p:cNvPr>
          <p:cNvSpPr>
            <a:spLocks noEditPoints="1"/>
          </p:cNvSpPr>
          <p:nvPr/>
        </p:nvSpPr>
        <p:spPr bwMode="auto">
          <a:xfrm>
            <a:off x="1442612" y="1603375"/>
            <a:ext cx="546100" cy="550863"/>
          </a:xfrm>
          <a:custGeom>
            <a:avLst/>
            <a:gdLst>
              <a:gd name="T0" fmla="*/ 125 w 160"/>
              <a:gd name="T1" fmla="*/ 17 h 160"/>
              <a:gd name="T2" fmla="*/ 99 w 160"/>
              <a:gd name="T3" fmla="*/ 54 h 160"/>
              <a:gd name="T4" fmla="*/ 70 w 160"/>
              <a:gd name="T5" fmla="*/ 54 h 160"/>
              <a:gd name="T6" fmla="*/ 49 w 160"/>
              <a:gd name="T7" fmla="*/ 26 h 160"/>
              <a:gd name="T8" fmla="*/ 26 w 160"/>
              <a:gd name="T9" fmla="*/ 26 h 160"/>
              <a:gd name="T10" fmla="*/ 44 w 160"/>
              <a:gd name="T11" fmla="*/ 36 h 160"/>
              <a:gd name="T12" fmla="*/ 61 w 160"/>
              <a:gd name="T13" fmla="*/ 73 h 160"/>
              <a:gd name="T14" fmla="*/ 29 w 160"/>
              <a:gd name="T15" fmla="*/ 124 h 160"/>
              <a:gd name="T16" fmla="*/ 0 w 160"/>
              <a:gd name="T17" fmla="*/ 137 h 160"/>
              <a:gd name="T18" fmla="*/ 35 w 160"/>
              <a:gd name="T19" fmla="*/ 137 h 160"/>
              <a:gd name="T20" fmla="*/ 70 w 160"/>
              <a:gd name="T21" fmla="*/ 91 h 160"/>
              <a:gd name="T22" fmla="*/ 81 w 160"/>
              <a:gd name="T23" fmla="*/ 125 h 160"/>
              <a:gd name="T24" fmla="*/ 84 w 160"/>
              <a:gd name="T25" fmla="*/ 160 h 160"/>
              <a:gd name="T26" fmla="*/ 87 w 160"/>
              <a:gd name="T27" fmla="*/ 125 h 160"/>
              <a:gd name="T28" fmla="*/ 99 w 160"/>
              <a:gd name="T29" fmla="*/ 91 h 160"/>
              <a:gd name="T30" fmla="*/ 119 w 160"/>
              <a:gd name="T31" fmla="*/ 119 h 160"/>
              <a:gd name="T32" fmla="*/ 143 w 160"/>
              <a:gd name="T33" fmla="*/ 119 h 160"/>
              <a:gd name="T34" fmla="*/ 125 w 160"/>
              <a:gd name="T35" fmla="*/ 109 h 160"/>
              <a:gd name="T36" fmla="*/ 108 w 160"/>
              <a:gd name="T37" fmla="*/ 73 h 160"/>
              <a:gd name="T38" fmla="*/ 131 w 160"/>
              <a:gd name="T39" fmla="*/ 30 h 160"/>
              <a:gd name="T40" fmla="*/ 160 w 160"/>
              <a:gd name="T41" fmla="*/ 17 h 160"/>
              <a:gd name="T42" fmla="*/ 32 w 160"/>
              <a:gd name="T43" fmla="*/ 26 h 160"/>
              <a:gd name="T44" fmla="*/ 44 w 160"/>
              <a:gd name="T45" fmla="*/ 26 h 160"/>
              <a:gd name="T46" fmla="*/ 32 w 160"/>
              <a:gd name="T47" fmla="*/ 26 h 160"/>
              <a:gd name="T48" fmla="*/ 6 w 160"/>
              <a:gd name="T49" fmla="*/ 137 h 160"/>
              <a:gd name="T50" fmla="*/ 29 w 160"/>
              <a:gd name="T51" fmla="*/ 137 h 160"/>
              <a:gd name="T52" fmla="*/ 96 w 160"/>
              <a:gd name="T53" fmla="*/ 143 h 160"/>
              <a:gd name="T54" fmla="*/ 73 w 160"/>
              <a:gd name="T55" fmla="*/ 143 h 160"/>
              <a:gd name="T56" fmla="*/ 96 w 160"/>
              <a:gd name="T57" fmla="*/ 143 h 160"/>
              <a:gd name="T58" fmla="*/ 67 w 160"/>
              <a:gd name="T59" fmla="*/ 73 h 160"/>
              <a:gd name="T60" fmla="*/ 102 w 160"/>
              <a:gd name="T61" fmla="*/ 73 h 160"/>
              <a:gd name="T62" fmla="*/ 137 w 160"/>
              <a:gd name="T63" fmla="*/ 119 h 160"/>
              <a:gd name="T64" fmla="*/ 125 w 160"/>
              <a:gd name="T65" fmla="*/ 119 h 160"/>
              <a:gd name="T66" fmla="*/ 137 w 160"/>
              <a:gd name="T67" fmla="*/ 119 h 160"/>
              <a:gd name="T68" fmla="*/ 131 w 160"/>
              <a:gd name="T69" fmla="*/ 17 h 160"/>
              <a:gd name="T70" fmla="*/ 154 w 160"/>
              <a:gd name="T71" fmla="*/ 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60">
                <a:moveTo>
                  <a:pt x="143" y="0"/>
                </a:moveTo>
                <a:cubicBezTo>
                  <a:pt x="133" y="0"/>
                  <a:pt x="125" y="8"/>
                  <a:pt x="125" y="17"/>
                </a:cubicBezTo>
                <a:cubicBezTo>
                  <a:pt x="125" y="20"/>
                  <a:pt x="126" y="23"/>
                  <a:pt x="127" y="26"/>
                </a:cubicBezTo>
                <a:cubicBezTo>
                  <a:pt x="99" y="54"/>
                  <a:pt x="99" y="54"/>
                  <a:pt x="99" y="54"/>
                </a:cubicBezTo>
                <a:cubicBezTo>
                  <a:pt x="95" y="51"/>
                  <a:pt x="90" y="49"/>
                  <a:pt x="84" y="49"/>
                </a:cubicBezTo>
                <a:cubicBezTo>
                  <a:pt x="79" y="49"/>
                  <a:pt x="74" y="51"/>
                  <a:pt x="70" y="54"/>
                </a:cubicBezTo>
                <a:cubicBezTo>
                  <a:pt x="48" y="32"/>
                  <a:pt x="48" y="32"/>
                  <a:pt x="48" y="32"/>
                </a:cubicBezTo>
                <a:cubicBezTo>
                  <a:pt x="49" y="30"/>
                  <a:pt x="49" y="28"/>
                  <a:pt x="49" y="26"/>
                </a:cubicBezTo>
                <a:cubicBezTo>
                  <a:pt x="49" y="20"/>
                  <a:pt x="44" y="15"/>
                  <a:pt x="38" y="15"/>
                </a:cubicBezTo>
                <a:cubicBezTo>
                  <a:pt x="31" y="15"/>
                  <a:pt x="26" y="20"/>
                  <a:pt x="26" y="26"/>
                </a:cubicBezTo>
                <a:cubicBezTo>
                  <a:pt x="26" y="33"/>
                  <a:pt x="31" y="38"/>
                  <a:pt x="38" y="38"/>
                </a:cubicBezTo>
                <a:cubicBezTo>
                  <a:pt x="40" y="38"/>
                  <a:pt x="42" y="37"/>
                  <a:pt x="44" y="36"/>
                </a:cubicBezTo>
                <a:cubicBezTo>
                  <a:pt x="66" y="58"/>
                  <a:pt x="66" y="58"/>
                  <a:pt x="66" y="58"/>
                </a:cubicBezTo>
                <a:cubicBezTo>
                  <a:pt x="63" y="62"/>
                  <a:pt x="61" y="67"/>
                  <a:pt x="61" y="73"/>
                </a:cubicBezTo>
                <a:cubicBezTo>
                  <a:pt x="61" y="78"/>
                  <a:pt x="63" y="83"/>
                  <a:pt x="66" y="87"/>
                </a:cubicBezTo>
                <a:cubicBezTo>
                  <a:pt x="29" y="124"/>
                  <a:pt x="29" y="124"/>
                  <a:pt x="29" y="124"/>
                </a:cubicBezTo>
                <a:cubicBezTo>
                  <a:pt x="26" y="121"/>
                  <a:pt x="22" y="119"/>
                  <a:pt x="17" y="119"/>
                </a:cubicBezTo>
                <a:cubicBezTo>
                  <a:pt x="8" y="119"/>
                  <a:pt x="0" y="127"/>
                  <a:pt x="0" y="137"/>
                </a:cubicBezTo>
                <a:cubicBezTo>
                  <a:pt x="0" y="146"/>
                  <a:pt x="8" y="154"/>
                  <a:pt x="17" y="154"/>
                </a:cubicBezTo>
                <a:cubicBezTo>
                  <a:pt x="27" y="154"/>
                  <a:pt x="35" y="146"/>
                  <a:pt x="35" y="137"/>
                </a:cubicBezTo>
                <a:cubicBezTo>
                  <a:pt x="35" y="134"/>
                  <a:pt x="34" y="131"/>
                  <a:pt x="33" y="128"/>
                </a:cubicBezTo>
                <a:cubicBezTo>
                  <a:pt x="70" y="91"/>
                  <a:pt x="70" y="91"/>
                  <a:pt x="70" y="91"/>
                </a:cubicBezTo>
                <a:cubicBezTo>
                  <a:pt x="73" y="94"/>
                  <a:pt x="77" y="95"/>
                  <a:pt x="81" y="96"/>
                </a:cubicBezTo>
                <a:cubicBezTo>
                  <a:pt x="81" y="125"/>
                  <a:pt x="81" y="125"/>
                  <a:pt x="81" y="125"/>
                </a:cubicBezTo>
                <a:cubicBezTo>
                  <a:pt x="73" y="127"/>
                  <a:pt x="67" y="134"/>
                  <a:pt x="67" y="143"/>
                </a:cubicBezTo>
                <a:cubicBezTo>
                  <a:pt x="67" y="152"/>
                  <a:pt x="75" y="160"/>
                  <a:pt x="84" y="160"/>
                </a:cubicBezTo>
                <a:cubicBezTo>
                  <a:pt x="94" y="160"/>
                  <a:pt x="102" y="152"/>
                  <a:pt x="102" y="143"/>
                </a:cubicBezTo>
                <a:cubicBezTo>
                  <a:pt x="102" y="134"/>
                  <a:pt x="96" y="127"/>
                  <a:pt x="87" y="125"/>
                </a:cubicBezTo>
                <a:cubicBezTo>
                  <a:pt x="87" y="96"/>
                  <a:pt x="87" y="96"/>
                  <a:pt x="87" y="96"/>
                </a:cubicBezTo>
                <a:cubicBezTo>
                  <a:pt x="92" y="95"/>
                  <a:pt x="95" y="94"/>
                  <a:pt x="99" y="91"/>
                </a:cubicBezTo>
                <a:cubicBezTo>
                  <a:pt x="121" y="113"/>
                  <a:pt x="121" y="113"/>
                  <a:pt x="121" y="113"/>
                </a:cubicBezTo>
                <a:cubicBezTo>
                  <a:pt x="120" y="115"/>
                  <a:pt x="119" y="117"/>
                  <a:pt x="119" y="119"/>
                </a:cubicBezTo>
                <a:cubicBezTo>
                  <a:pt x="119" y="126"/>
                  <a:pt x="124" y="131"/>
                  <a:pt x="131" y="131"/>
                </a:cubicBezTo>
                <a:cubicBezTo>
                  <a:pt x="137" y="131"/>
                  <a:pt x="143" y="126"/>
                  <a:pt x="143" y="119"/>
                </a:cubicBezTo>
                <a:cubicBezTo>
                  <a:pt x="143" y="113"/>
                  <a:pt x="137" y="108"/>
                  <a:pt x="131" y="108"/>
                </a:cubicBezTo>
                <a:cubicBezTo>
                  <a:pt x="129" y="108"/>
                  <a:pt x="127" y="108"/>
                  <a:pt x="125" y="109"/>
                </a:cubicBezTo>
                <a:cubicBezTo>
                  <a:pt x="103" y="87"/>
                  <a:pt x="103" y="87"/>
                  <a:pt x="103" y="87"/>
                </a:cubicBezTo>
                <a:cubicBezTo>
                  <a:pt x="106" y="83"/>
                  <a:pt x="108" y="78"/>
                  <a:pt x="108" y="73"/>
                </a:cubicBezTo>
                <a:cubicBezTo>
                  <a:pt x="108" y="67"/>
                  <a:pt x="106" y="62"/>
                  <a:pt x="103" y="58"/>
                </a:cubicBezTo>
                <a:cubicBezTo>
                  <a:pt x="131" y="30"/>
                  <a:pt x="131" y="30"/>
                  <a:pt x="131" y="30"/>
                </a:cubicBezTo>
                <a:cubicBezTo>
                  <a:pt x="134" y="33"/>
                  <a:pt x="138" y="35"/>
                  <a:pt x="143" y="35"/>
                </a:cubicBezTo>
                <a:cubicBezTo>
                  <a:pt x="152" y="35"/>
                  <a:pt x="160" y="27"/>
                  <a:pt x="160" y="17"/>
                </a:cubicBezTo>
                <a:cubicBezTo>
                  <a:pt x="160" y="8"/>
                  <a:pt x="152" y="0"/>
                  <a:pt x="143" y="0"/>
                </a:cubicBezTo>
                <a:close/>
                <a:moveTo>
                  <a:pt x="32" y="26"/>
                </a:moveTo>
                <a:cubicBezTo>
                  <a:pt x="32" y="23"/>
                  <a:pt x="35" y="20"/>
                  <a:pt x="38" y="20"/>
                </a:cubicBezTo>
                <a:cubicBezTo>
                  <a:pt x="41" y="20"/>
                  <a:pt x="44" y="23"/>
                  <a:pt x="44" y="26"/>
                </a:cubicBezTo>
                <a:cubicBezTo>
                  <a:pt x="44" y="29"/>
                  <a:pt x="41" y="32"/>
                  <a:pt x="38" y="32"/>
                </a:cubicBezTo>
                <a:cubicBezTo>
                  <a:pt x="35" y="32"/>
                  <a:pt x="32" y="29"/>
                  <a:pt x="32" y="26"/>
                </a:cubicBezTo>
                <a:close/>
                <a:moveTo>
                  <a:pt x="17" y="148"/>
                </a:moveTo>
                <a:cubicBezTo>
                  <a:pt x="11" y="148"/>
                  <a:pt x="6" y="143"/>
                  <a:pt x="6" y="137"/>
                </a:cubicBezTo>
                <a:cubicBezTo>
                  <a:pt x="6" y="130"/>
                  <a:pt x="11" y="125"/>
                  <a:pt x="17" y="125"/>
                </a:cubicBezTo>
                <a:cubicBezTo>
                  <a:pt x="24" y="125"/>
                  <a:pt x="29" y="130"/>
                  <a:pt x="29" y="137"/>
                </a:cubicBezTo>
                <a:cubicBezTo>
                  <a:pt x="29" y="143"/>
                  <a:pt x="24" y="148"/>
                  <a:pt x="17" y="148"/>
                </a:cubicBezTo>
                <a:close/>
                <a:moveTo>
                  <a:pt x="96" y="143"/>
                </a:moveTo>
                <a:cubicBezTo>
                  <a:pt x="96" y="149"/>
                  <a:pt x="91" y="154"/>
                  <a:pt x="84" y="154"/>
                </a:cubicBezTo>
                <a:cubicBezTo>
                  <a:pt x="78" y="154"/>
                  <a:pt x="73" y="149"/>
                  <a:pt x="73" y="143"/>
                </a:cubicBezTo>
                <a:cubicBezTo>
                  <a:pt x="73" y="136"/>
                  <a:pt x="78" y="131"/>
                  <a:pt x="84" y="131"/>
                </a:cubicBezTo>
                <a:cubicBezTo>
                  <a:pt x="91" y="131"/>
                  <a:pt x="96" y="136"/>
                  <a:pt x="96" y="143"/>
                </a:cubicBezTo>
                <a:close/>
                <a:moveTo>
                  <a:pt x="84" y="90"/>
                </a:moveTo>
                <a:cubicBezTo>
                  <a:pt x="75" y="90"/>
                  <a:pt x="67" y="82"/>
                  <a:pt x="67" y="73"/>
                </a:cubicBezTo>
                <a:cubicBezTo>
                  <a:pt x="67" y="63"/>
                  <a:pt x="75" y="55"/>
                  <a:pt x="84" y="55"/>
                </a:cubicBezTo>
                <a:cubicBezTo>
                  <a:pt x="94" y="55"/>
                  <a:pt x="102" y="63"/>
                  <a:pt x="102" y="73"/>
                </a:cubicBezTo>
                <a:cubicBezTo>
                  <a:pt x="102" y="82"/>
                  <a:pt x="94" y="90"/>
                  <a:pt x="84" y="90"/>
                </a:cubicBezTo>
                <a:close/>
                <a:moveTo>
                  <a:pt x="137" y="119"/>
                </a:moveTo>
                <a:cubicBezTo>
                  <a:pt x="137" y="122"/>
                  <a:pt x="134" y="125"/>
                  <a:pt x="131" y="125"/>
                </a:cubicBezTo>
                <a:cubicBezTo>
                  <a:pt x="128" y="125"/>
                  <a:pt x="125" y="122"/>
                  <a:pt x="125" y="119"/>
                </a:cubicBezTo>
                <a:cubicBezTo>
                  <a:pt x="125" y="116"/>
                  <a:pt x="128" y="113"/>
                  <a:pt x="131" y="113"/>
                </a:cubicBezTo>
                <a:cubicBezTo>
                  <a:pt x="134" y="113"/>
                  <a:pt x="137" y="116"/>
                  <a:pt x="137" y="119"/>
                </a:cubicBezTo>
                <a:close/>
                <a:moveTo>
                  <a:pt x="143" y="29"/>
                </a:moveTo>
                <a:cubicBezTo>
                  <a:pt x="136" y="29"/>
                  <a:pt x="131" y="24"/>
                  <a:pt x="131" y="17"/>
                </a:cubicBezTo>
                <a:cubicBezTo>
                  <a:pt x="131" y="11"/>
                  <a:pt x="136" y="6"/>
                  <a:pt x="143" y="6"/>
                </a:cubicBezTo>
                <a:cubicBezTo>
                  <a:pt x="149" y="6"/>
                  <a:pt x="154" y="11"/>
                  <a:pt x="154" y="17"/>
                </a:cubicBezTo>
                <a:cubicBezTo>
                  <a:pt x="154" y="24"/>
                  <a:pt x="149" y="29"/>
                  <a:pt x="143" y="29"/>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298">
            <a:extLst>
              <a:ext uri="{FF2B5EF4-FFF2-40B4-BE49-F238E27FC236}">
                <a16:creationId xmlns:a16="http://schemas.microsoft.com/office/drawing/2014/main" id="{F83AF940-E69C-914C-AF2A-8BD693E830C7}"/>
              </a:ext>
            </a:extLst>
          </p:cNvPr>
          <p:cNvSpPr>
            <a:spLocks noEditPoints="1"/>
          </p:cNvSpPr>
          <p:nvPr/>
        </p:nvSpPr>
        <p:spPr bwMode="auto">
          <a:xfrm>
            <a:off x="1456900" y="2222500"/>
            <a:ext cx="528638" cy="550863"/>
          </a:xfrm>
          <a:custGeom>
            <a:avLst/>
            <a:gdLst>
              <a:gd name="T0" fmla="*/ 43 w 155"/>
              <a:gd name="T1" fmla="*/ 43 h 160"/>
              <a:gd name="T2" fmla="*/ 80 w 155"/>
              <a:gd name="T3" fmla="*/ 80 h 160"/>
              <a:gd name="T4" fmla="*/ 75 w 155"/>
              <a:gd name="T5" fmla="*/ 75 h 160"/>
              <a:gd name="T6" fmla="*/ 48 w 155"/>
              <a:gd name="T7" fmla="*/ 48 h 160"/>
              <a:gd name="T8" fmla="*/ 75 w 155"/>
              <a:gd name="T9" fmla="*/ 75 h 160"/>
              <a:gd name="T10" fmla="*/ 136 w 155"/>
              <a:gd name="T11" fmla="*/ 48 h 160"/>
              <a:gd name="T12" fmla="*/ 91 w 155"/>
              <a:gd name="T13" fmla="*/ 45 h 160"/>
              <a:gd name="T14" fmla="*/ 136 w 155"/>
              <a:gd name="T15" fmla="*/ 43 h 160"/>
              <a:gd name="T16" fmla="*/ 139 w 155"/>
              <a:gd name="T17" fmla="*/ 61 h 160"/>
              <a:gd name="T18" fmla="*/ 93 w 155"/>
              <a:gd name="T19" fmla="*/ 64 h 160"/>
              <a:gd name="T20" fmla="*/ 93 w 155"/>
              <a:gd name="T21" fmla="*/ 59 h 160"/>
              <a:gd name="T22" fmla="*/ 139 w 155"/>
              <a:gd name="T23" fmla="*/ 61 h 160"/>
              <a:gd name="T24" fmla="*/ 136 w 155"/>
              <a:gd name="T25" fmla="*/ 80 h 160"/>
              <a:gd name="T26" fmla="*/ 91 w 155"/>
              <a:gd name="T27" fmla="*/ 77 h 160"/>
              <a:gd name="T28" fmla="*/ 136 w 155"/>
              <a:gd name="T29" fmla="*/ 75 h 160"/>
              <a:gd name="T30" fmla="*/ 139 w 155"/>
              <a:gd name="T31" fmla="*/ 93 h 160"/>
              <a:gd name="T32" fmla="*/ 48 w 155"/>
              <a:gd name="T33" fmla="*/ 96 h 160"/>
              <a:gd name="T34" fmla="*/ 48 w 155"/>
              <a:gd name="T35" fmla="*/ 91 h 160"/>
              <a:gd name="T36" fmla="*/ 139 w 155"/>
              <a:gd name="T37" fmla="*/ 93 h 160"/>
              <a:gd name="T38" fmla="*/ 88 w 155"/>
              <a:gd name="T39" fmla="*/ 112 h 160"/>
              <a:gd name="T40" fmla="*/ 45 w 155"/>
              <a:gd name="T41" fmla="*/ 109 h 160"/>
              <a:gd name="T42" fmla="*/ 88 w 155"/>
              <a:gd name="T43" fmla="*/ 107 h 160"/>
              <a:gd name="T44" fmla="*/ 91 w 155"/>
              <a:gd name="T45" fmla="*/ 125 h 160"/>
              <a:gd name="T46" fmla="*/ 48 w 155"/>
              <a:gd name="T47" fmla="*/ 128 h 160"/>
              <a:gd name="T48" fmla="*/ 48 w 155"/>
              <a:gd name="T49" fmla="*/ 123 h 160"/>
              <a:gd name="T50" fmla="*/ 91 w 155"/>
              <a:gd name="T51" fmla="*/ 125 h 160"/>
              <a:gd name="T52" fmla="*/ 88 w 155"/>
              <a:gd name="T53" fmla="*/ 144 h 160"/>
              <a:gd name="T54" fmla="*/ 45 w 155"/>
              <a:gd name="T55" fmla="*/ 141 h 160"/>
              <a:gd name="T56" fmla="*/ 88 w 155"/>
              <a:gd name="T57" fmla="*/ 139 h 160"/>
              <a:gd name="T58" fmla="*/ 101 w 155"/>
              <a:gd name="T59" fmla="*/ 144 h 160"/>
              <a:gd name="T60" fmla="*/ 139 w 155"/>
              <a:gd name="T61" fmla="*/ 107 h 160"/>
              <a:gd name="T62" fmla="*/ 101 w 155"/>
              <a:gd name="T63" fmla="*/ 144 h 160"/>
              <a:gd name="T64" fmla="*/ 133 w 155"/>
              <a:gd name="T65" fmla="*/ 112 h 160"/>
              <a:gd name="T66" fmla="*/ 107 w 155"/>
              <a:gd name="T67" fmla="*/ 139 h 160"/>
              <a:gd name="T68" fmla="*/ 155 w 155"/>
              <a:gd name="T69" fmla="*/ 35 h 160"/>
              <a:gd name="T70" fmla="*/ 155 w 155"/>
              <a:gd name="T71" fmla="*/ 0 h 160"/>
              <a:gd name="T72" fmla="*/ 27 w 155"/>
              <a:gd name="T73" fmla="*/ 80 h 160"/>
              <a:gd name="T74" fmla="*/ 0 w 155"/>
              <a:gd name="T75" fmla="*/ 144 h 160"/>
              <a:gd name="T76" fmla="*/ 139 w 155"/>
              <a:gd name="T77" fmla="*/ 160 h 160"/>
              <a:gd name="T78" fmla="*/ 155 w 155"/>
              <a:gd name="T79" fmla="*/ 35 h 160"/>
              <a:gd name="T80" fmla="*/ 149 w 155"/>
              <a:gd name="T81" fmla="*/ 5 h 160"/>
              <a:gd name="T82" fmla="*/ 32 w 155"/>
              <a:gd name="T83" fmla="*/ 32 h 160"/>
              <a:gd name="T84" fmla="*/ 149 w 155"/>
              <a:gd name="T85" fmla="*/ 5 h 160"/>
              <a:gd name="T86" fmla="*/ 5 w 155"/>
              <a:gd name="T87" fmla="*/ 85 h 160"/>
              <a:gd name="T88" fmla="*/ 27 w 155"/>
              <a:gd name="T89" fmla="*/ 144 h 160"/>
              <a:gd name="T90" fmla="*/ 5 w 155"/>
              <a:gd name="T91" fmla="*/ 144 h 160"/>
              <a:gd name="T92" fmla="*/ 28 w 155"/>
              <a:gd name="T93" fmla="*/ 155 h 160"/>
              <a:gd name="T94" fmla="*/ 30 w 155"/>
              <a:gd name="T95" fmla="*/ 153 h 160"/>
              <a:gd name="T96" fmla="*/ 31 w 155"/>
              <a:gd name="T97" fmla="*/ 150 h 160"/>
              <a:gd name="T98" fmla="*/ 32 w 155"/>
              <a:gd name="T99" fmla="*/ 147 h 160"/>
              <a:gd name="T100" fmla="*/ 32 w 155"/>
              <a:gd name="T101" fmla="*/ 144 h 160"/>
              <a:gd name="T102" fmla="*/ 32 w 155"/>
              <a:gd name="T103" fmla="*/ 37 h 160"/>
              <a:gd name="T104" fmla="*/ 149 w 155"/>
              <a:gd name="T105" fmla="*/ 144 h 160"/>
              <a:gd name="T106" fmla="*/ 123 w 155"/>
              <a:gd name="T107" fmla="*/ 11 h 160"/>
              <a:gd name="T108" fmla="*/ 59 w 155"/>
              <a:gd name="T109" fmla="*/ 27 h 160"/>
              <a:gd name="T110" fmla="*/ 123 w 155"/>
              <a:gd name="T111" fmla="*/ 11 h 160"/>
              <a:gd name="T112" fmla="*/ 64 w 155"/>
              <a:gd name="T113" fmla="*/ 21 h 160"/>
              <a:gd name="T114" fmla="*/ 117 w 155"/>
              <a:gd name="T115"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5" h="160">
                <a:moveTo>
                  <a:pt x="80" y="43"/>
                </a:moveTo>
                <a:cubicBezTo>
                  <a:pt x="43" y="43"/>
                  <a:pt x="43" y="43"/>
                  <a:pt x="43" y="43"/>
                </a:cubicBezTo>
                <a:cubicBezTo>
                  <a:pt x="43" y="80"/>
                  <a:pt x="43" y="80"/>
                  <a:pt x="43" y="80"/>
                </a:cubicBezTo>
                <a:cubicBezTo>
                  <a:pt x="80" y="80"/>
                  <a:pt x="80" y="80"/>
                  <a:pt x="80" y="80"/>
                </a:cubicBezTo>
                <a:lnTo>
                  <a:pt x="80" y="43"/>
                </a:lnTo>
                <a:close/>
                <a:moveTo>
                  <a:pt x="75" y="75"/>
                </a:moveTo>
                <a:cubicBezTo>
                  <a:pt x="48" y="75"/>
                  <a:pt x="48" y="75"/>
                  <a:pt x="48" y="75"/>
                </a:cubicBezTo>
                <a:cubicBezTo>
                  <a:pt x="48" y="48"/>
                  <a:pt x="48" y="48"/>
                  <a:pt x="48" y="48"/>
                </a:cubicBezTo>
                <a:cubicBezTo>
                  <a:pt x="75" y="48"/>
                  <a:pt x="75" y="48"/>
                  <a:pt x="75" y="48"/>
                </a:cubicBezTo>
                <a:lnTo>
                  <a:pt x="75" y="75"/>
                </a:lnTo>
                <a:close/>
                <a:moveTo>
                  <a:pt x="139" y="45"/>
                </a:moveTo>
                <a:cubicBezTo>
                  <a:pt x="139" y="47"/>
                  <a:pt x="137" y="48"/>
                  <a:pt x="136" y="48"/>
                </a:cubicBezTo>
                <a:cubicBezTo>
                  <a:pt x="93" y="48"/>
                  <a:pt x="93" y="48"/>
                  <a:pt x="93" y="48"/>
                </a:cubicBezTo>
                <a:cubicBezTo>
                  <a:pt x="92" y="48"/>
                  <a:pt x="91" y="47"/>
                  <a:pt x="91" y="45"/>
                </a:cubicBezTo>
                <a:cubicBezTo>
                  <a:pt x="91" y="44"/>
                  <a:pt x="92" y="43"/>
                  <a:pt x="93" y="43"/>
                </a:cubicBezTo>
                <a:cubicBezTo>
                  <a:pt x="136" y="43"/>
                  <a:pt x="136" y="43"/>
                  <a:pt x="136" y="43"/>
                </a:cubicBezTo>
                <a:cubicBezTo>
                  <a:pt x="137" y="43"/>
                  <a:pt x="139" y="44"/>
                  <a:pt x="139" y="45"/>
                </a:cubicBezTo>
                <a:close/>
                <a:moveTo>
                  <a:pt x="139" y="61"/>
                </a:moveTo>
                <a:cubicBezTo>
                  <a:pt x="139" y="63"/>
                  <a:pt x="137" y="64"/>
                  <a:pt x="136" y="64"/>
                </a:cubicBezTo>
                <a:cubicBezTo>
                  <a:pt x="93" y="64"/>
                  <a:pt x="93" y="64"/>
                  <a:pt x="93" y="64"/>
                </a:cubicBezTo>
                <a:cubicBezTo>
                  <a:pt x="92" y="64"/>
                  <a:pt x="91" y="63"/>
                  <a:pt x="91" y="61"/>
                </a:cubicBezTo>
                <a:cubicBezTo>
                  <a:pt x="91" y="60"/>
                  <a:pt x="92" y="59"/>
                  <a:pt x="93" y="59"/>
                </a:cubicBezTo>
                <a:cubicBezTo>
                  <a:pt x="136" y="59"/>
                  <a:pt x="136" y="59"/>
                  <a:pt x="136" y="59"/>
                </a:cubicBezTo>
                <a:cubicBezTo>
                  <a:pt x="137" y="59"/>
                  <a:pt x="139" y="60"/>
                  <a:pt x="139" y="61"/>
                </a:cubicBezTo>
                <a:close/>
                <a:moveTo>
                  <a:pt x="139" y="77"/>
                </a:moveTo>
                <a:cubicBezTo>
                  <a:pt x="139" y="79"/>
                  <a:pt x="137" y="80"/>
                  <a:pt x="136" y="80"/>
                </a:cubicBezTo>
                <a:cubicBezTo>
                  <a:pt x="93" y="80"/>
                  <a:pt x="93" y="80"/>
                  <a:pt x="93" y="80"/>
                </a:cubicBezTo>
                <a:cubicBezTo>
                  <a:pt x="92" y="80"/>
                  <a:pt x="91" y="79"/>
                  <a:pt x="91" y="77"/>
                </a:cubicBezTo>
                <a:cubicBezTo>
                  <a:pt x="91" y="76"/>
                  <a:pt x="92" y="75"/>
                  <a:pt x="93" y="75"/>
                </a:cubicBezTo>
                <a:cubicBezTo>
                  <a:pt x="136" y="75"/>
                  <a:pt x="136" y="75"/>
                  <a:pt x="136" y="75"/>
                </a:cubicBezTo>
                <a:cubicBezTo>
                  <a:pt x="137" y="75"/>
                  <a:pt x="139" y="76"/>
                  <a:pt x="139" y="77"/>
                </a:cubicBezTo>
                <a:close/>
                <a:moveTo>
                  <a:pt x="139" y="93"/>
                </a:moveTo>
                <a:cubicBezTo>
                  <a:pt x="139" y="95"/>
                  <a:pt x="137" y="96"/>
                  <a:pt x="136" y="96"/>
                </a:cubicBezTo>
                <a:cubicBezTo>
                  <a:pt x="48" y="96"/>
                  <a:pt x="48" y="96"/>
                  <a:pt x="48" y="96"/>
                </a:cubicBezTo>
                <a:cubicBezTo>
                  <a:pt x="47" y="96"/>
                  <a:pt x="45" y="95"/>
                  <a:pt x="45" y="93"/>
                </a:cubicBezTo>
                <a:cubicBezTo>
                  <a:pt x="45" y="92"/>
                  <a:pt x="47" y="91"/>
                  <a:pt x="48" y="91"/>
                </a:cubicBezTo>
                <a:cubicBezTo>
                  <a:pt x="136" y="91"/>
                  <a:pt x="136" y="91"/>
                  <a:pt x="136" y="91"/>
                </a:cubicBezTo>
                <a:cubicBezTo>
                  <a:pt x="137" y="91"/>
                  <a:pt x="139" y="92"/>
                  <a:pt x="139" y="93"/>
                </a:cubicBezTo>
                <a:close/>
                <a:moveTo>
                  <a:pt x="91" y="109"/>
                </a:moveTo>
                <a:cubicBezTo>
                  <a:pt x="91" y="111"/>
                  <a:pt x="89" y="112"/>
                  <a:pt x="88" y="112"/>
                </a:cubicBezTo>
                <a:cubicBezTo>
                  <a:pt x="48" y="112"/>
                  <a:pt x="48" y="112"/>
                  <a:pt x="48" y="112"/>
                </a:cubicBezTo>
                <a:cubicBezTo>
                  <a:pt x="47" y="112"/>
                  <a:pt x="45" y="111"/>
                  <a:pt x="45" y="109"/>
                </a:cubicBezTo>
                <a:cubicBezTo>
                  <a:pt x="45" y="108"/>
                  <a:pt x="47" y="107"/>
                  <a:pt x="48" y="107"/>
                </a:cubicBezTo>
                <a:cubicBezTo>
                  <a:pt x="88" y="107"/>
                  <a:pt x="88" y="107"/>
                  <a:pt x="88" y="107"/>
                </a:cubicBezTo>
                <a:cubicBezTo>
                  <a:pt x="89" y="107"/>
                  <a:pt x="91" y="108"/>
                  <a:pt x="91" y="109"/>
                </a:cubicBezTo>
                <a:close/>
                <a:moveTo>
                  <a:pt x="91" y="125"/>
                </a:moveTo>
                <a:cubicBezTo>
                  <a:pt x="91" y="127"/>
                  <a:pt x="89" y="128"/>
                  <a:pt x="88" y="128"/>
                </a:cubicBezTo>
                <a:cubicBezTo>
                  <a:pt x="48" y="128"/>
                  <a:pt x="48" y="128"/>
                  <a:pt x="48" y="128"/>
                </a:cubicBezTo>
                <a:cubicBezTo>
                  <a:pt x="47" y="128"/>
                  <a:pt x="45" y="127"/>
                  <a:pt x="45" y="125"/>
                </a:cubicBezTo>
                <a:cubicBezTo>
                  <a:pt x="45" y="124"/>
                  <a:pt x="47" y="123"/>
                  <a:pt x="48" y="123"/>
                </a:cubicBezTo>
                <a:cubicBezTo>
                  <a:pt x="88" y="123"/>
                  <a:pt x="88" y="123"/>
                  <a:pt x="88" y="123"/>
                </a:cubicBezTo>
                <a:cubicBezTo>
                  <a:pt x="89" y="123"/>
                  <a:pt x="91" y="124"/>
                  <a:pt x="91" y="125"/>
                </a:cubicBezTo>
                <a:close/>
                <a:moveTo>
                  <a:pt x="91" y="141"/>
                </a:moveTo>
                <a:cubicBezTo>
                  <a:pt x="91" y="143"/>
                  <a:pt x="89" y="144"/>
                  <a:pt x="88" y="144"/>
                </a:cubicBezTo>
                <a:cubicBezTo>
                  <a:pt x="48" y="144"/>
                  <a:pt x="48" y="144"/>
                  <a:pt x="48" y="144"/>
                </a:cubicBezTo>
                <a:cubicBezTo>
                  <a:pt x="47" y="144"/>
                  <a:pt x="45" y="143"/>
                  <a:pt x="45" y="141"/>
                </a:cubicBezTo>
                <a:cubicBezTo>
                  <a:pt x="45" y="140"/>
                  <a:pt x="47" y="139"/>
                  <a:pt x="48" y="139"/>
                </a:cubicBezTo>
                <a:cubicBezTo>
                  <a:pt x="88" y="139"/>
                  <a:pt x="88" y="139"/>
                  <a:pt x="88" y="139"/>
                </a:cubicBezTo>
                <a:cubicBezTo>
                  <a:pt x="89" y="139"/>
                  <a:pt x="91" y="140"/>
                  <a:pt x="91" y="141"/>
                </a:cubicBezTo>
                <a:close/>
                <a:moveTo>
                  <a:pt x="101" y="144"/>
                </a:moveTo>
                <a:cubicBezTo>
                  <a:pt x="139" y="144"/>
                  <a:pt x="139" y="144"/>
                  <a:pt x="139" y="144"/>
                </a:cubicBezTo>
                <a:cubicBezTo>
                  <a:pt x="139" y="107"/>
                  <a:pt x="139" y="107"/>
                  <a:pt x="139" y="107"/>
                </a:cubicBezTo>
                <a:cubicBezTo>
                  <a:pt x="101" y="107"/>
                  <a:pt x="101" y="107"/>
                  <a:pt x="101" y="107"/>
                </a:cubicBezTo>
                <a:lnTo>
                  <a:pt x="101" y="144"/>
                </a:lnTo>
                <a:close/>
                <a:moveTo>
                  <a:pt x="107" y="112"/>
                </a:moveTo>
                <a:cubicBezTo>
                  <a:pt x="133" y="112"/>
                  <a:pt x="133" y="112"/>
                  <a:pt x="133" y="112"/>
                </a:cubicBezTo>
                <a:cubicBezTo>
                  <a:pt x="133" y="139"/>
                  <a:pt x="133" y="139"/>
                  <a:pt x="133" y="139"/>
                </a:cubicBezTo>
                <a:cubicBezTo>
                  <a:pt x="107" y="139"/>
                  <a:pt x="107" y="139"/>
                  <a:pt x="107" y="139"/>
                </a:cubicBezTo>
                <a:lnTo>
                  <a:pt x="107" y="112"/>
                </a:lnTo>
                <a:close/>
                <a:moveTo>
                  <a:pt x="155" y="35"/>
                </a:moveTo>
                <a:cubicBezTo>
                  <a:pt x="155" y="35"/>
                  <a:pt x="155" y="35"/>
                  <a:pt x="155" y="35"/>
                </a:cubicBezTo>
                <a:cubicBezTo>
                  <a:pt x="155" y="0"/>
                  <a:pt x="155" y="0"/>
                  <a:pt x="155" y="0"/>
                </a:cubicBezTo>
                <a:cubicBezTo>
                  <a:pt x="27" y="0"/>
                  <a:pt x="27" y="0"/>
                  <a:pt x="27" y="0"/>
                </a:cubicBezTo>
                <a:cubicBezTo>
                  <a:pt x="27" y="80"/>
                  <a:pt x="27" y="80"/>
                  <a:pt x="27" y="80"/>
                </a:cubicBezTo>
                <a:cubicBezTo>
                  <a:pt x="0" y="80"/>
                  <a:pt x="0" y="80"/>
                  <a:pt x="0" y="80"/>
                </a:cubicBezTo>
                <a:cubicBezTo>
                  <a:pt x="0" y="144"/>
                  <a:pt x="0" y="144"/>
                  <a:pt x="0" y="144"/>
                </a:cubicBezTo>
                <a:cubicBezTo>
                  <a:pt x="0" y="153"/>
                  <a:pt x="7" y="160"/>
                  <a:pt x="16" y="160"/>
                </a:cubicBezTo>
                <a:cubicBezTo>
                  <a:pt x="139" y="160"/>
                  <a:pt x="139" y="160"/>
                  <a:pt x="139" y="160"/>
                </a:cubicBezTo>
                <a:cubicBezTo>
                  <a:pt x="147" y="160"/>
                  <a:pt x="155" y="153"/>
                  <a:pt x="155" y="144"/>
                </a:cubicBezTo>
                <a:cubicBezTo>
                  <a:pt x="155" y="35"/>
                  <a:pt x="155" y="35"/>
                  <a:pt x="155" y="35"/>
                </a:cubicBezTo>
                <a:cubicBezTo>
                  <a:pt x="155" y="35"/>
                  <a:pt x="155" y="35"/>
                  <a:pt x="155" y="35"/>
                </a:cubicBezTo>
                <a:close/>
                <a:moveTo>
                  <a:pt x="149" y="5"/>
                </a:moveTo>
                <a:cubicBezTo>
                  <a:pt x="149" y="32"/>
                  <a:pt x="149" y="32"/>
                  <a:pt x="149" y="32"/>
                </a:cubicBezTo>
                <a:cubicBezTo>
                  <a:pt x="32" y="32"/>
                  <a:pt x="32" y="32"/>
                  <a:pt x="32" y="32"/>
                </a:cubicBezTo>
                <a:cubicBezTo>
                  <a:pt x="32" y="5"/>
                  <a:pt x="32" y="5"/>
                  <a:pt x="32" y="5"/>
                </a:cubicBezTo>
                <a:lnTo>
                  <a:pt x="149" y="5"/>
                </a:lnTo>
                <a:close/>
                <a:moveTo>
                  <a:pt x="5" y="144"/>
                </a:moveTo>
                <a:cubicBezTo>
                  <a:pt x="5" y="85"/>
                  <a:pt x="5" y="85"/>
                  <a:pt x="5" y="85"/>
                </a:cubicBezTo>
                <a:cubicBezTo>
                  <a:pt x="27" y="85"/>
                  <a:pt x="27" y="85"/>
                  <a:pt x="27" y="85"/>
                </a:cubicBezTo>
                <a:cubicBezTo>
                  <a:pt x="27" y="144"/>
                  <a:pt x="27" y="144"/>
                  <a:pt x="27" y="144"/>
                </a:cubicBezTo>
                <a:cubicBezTo>
                  <a:pt x="27" y="150"/>
                  <a:pt x="22" y="155"/>
                  <a:pt x="16" y="155"/>
                </a:cubicBezTo>
                <a:cubicBezTo>
                  <a:pt x="10" y="155"/>
                  <a:pt x="5" y="150"/>
                  <a:pt x="5" y="144"/>
                </a:cubicBezTo>
                <a:close/>
                <a:moveTo>
                  <a:pt x="139" y="155"/>
                </a:moveTo>
                <a:cubicBezTo>
                  <a:pt x="28" y="155"/>
                  <a:pt x="28" y="155"/>
                  <a:pt x="28" y="155"/>
                </a:cubicBezTo>
                <a:cubicBezTo>
                  <a:pt x="28" y="155"/>
                  <a:pt x="28" y="155"/>
                  <a:pt x="28" y="155"/>
                </a:cubicBezTo>
                <a:cubicBezTo>
                  <a:pt x="29" y="154"/>
                  <a:pt x="29" y="153"/>
                  <a:pt x="30" y="153"/>
                </a:cubicBezTo>
                <a:cubicBezTo>
                  <a:pt x="30" y="152"/>
                  <a:pt x="30" y="152"/>
                  <a:pt x="30" y="152"/>
                </a:cubicBezTo>
                <a:cubicBezTo>
                  <a:pt x="30" y="151"/>
                  <a:pt x="31" y="151"/>
                  <a:pt x="31" y="150"/>
                </a:cubicBezTo>
                <a:cubicBezTo>
                  <a:pt x="31" y="150"/>
                  <a:pt x="31" y="150"/>
                  <a:pt x="31" y="150"/>
                </a:cubicBezTo>
                <a:cubicBezTo>
                  <a:pt x="31" y="149"/>
                  <a:pt x="32" y="148"/>
                  <a:pt x="32" y="147"/>
                </a:cubicBezTo>
                <a:cubicBezTo>
                  <a:pt x="32" y="147"/>
                  <a:pt x="32" y="147"/>
                  <a:pt x="32" y="147"/>
                </a:cubicBezTo>
                <a:cubicBezTo>
                  <a:pt x="32" y="146"/>
                  <a:pt x="32" y="145"/>
                  <a:pt x="32" y="144"/>
                </a:cubicBezTo>
                <a:cubicBezTo>
                  <a:pt x="32" y="80"/>
                  <a:pt x="32" y="80"/>
                  <a:pt x="32" y="80"/>
                </a:cubicBezTo>
                <a:cubicBezTo>
                  <a:pt x="32" y="37"/>
                  <a:pt x="32" y="37"/>
                  <a:pt x="32" y="37"/>
                </a:cubicBezTo>
                <a:cubicBezTo>
                  <a:pt x="149" y="37"/>
                  <a:pt x="149" y="37"/>
                  <a:pt x="149" y="37"/>
                </a:cubicBezTo>
                <a:cubicBezTo>
                  <a:pt x="149" y="144"/>
                  <a:pt x="149" y="144"/>
                  <a:pt x="149" y="144"/>
                </a:cubicBezTo>
                <a:cubicBezTo>
                  <a:pt x="149" y="150"/>
                  <a:pt x="145" y="155"/>
                  <a:pt x="139" y="155"/>
                </a:cubicBezTo>
                <a:close/>
                <a:moveTo>
                  <a:pt x="123" y="11"/>
                </a:moveTo>
                <a:cubicBezTo>
                  <a:pt x="59" y="11"/>
                  <a:pt x="59" y="11"/>
                  <a:pt x="59" y="11"/>
                </a:cubicBezTo>
                <a:cubicBezTo>
                  <a:pt x="59" y="27"/>
                  <a:pt x="59" y="27"/>
                  <a:pt x="59" y="27"/>
                </a:cubicBezTo>
                <a:cubicBezTo>
                  <a:pt x="123" y="27"/>
                  <a:pt x="123" y="27"/>
                  <a:pt x="123" y="27"/>
                </a:cubicBezTo>
                <a:lnTo>
                  <a:pt x="123" y="11"/>
                </a:lnTo>
                <a:close/>
                <a:moveTo>
                  <a:pt x="117" y="21"/>
                </a:moveTo>
                <a:cubicBezTo>
                  <a:pt x="64" y="21"/>
                  <a:pt x="64" y="21"/>
                  <a:pt x="64" y="21"/>
                </a:cubicBezTo>
                <a:cubicBezTo>
                  <a:pt x="64" y="16"/>
                  <a:pt x="64" y="16"/>
                  <a:pt x="64" y="16"/>
                </a:cubicBezTo>
                <a:cubicBezTo>
                  <a:pt x="117" y="16"/>
                  <a:pt x="117" y="16"/>
                  <a:pt x="117" y="16"/>
                </a:cubicBezTo>
                <a:lnTo>
                  <a:pt x="117" y="21"/>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299">
            <a:extLst>
              <a:ext uri="{FF2B5EF4-FFF2-40B4-BE49-F238E27FC236}">
                <a16:creationId xmlns:a16="http://schemas.microsoft.com/office/drawing/2014/main" id="{459120A2-1968-EB4F-B460-CB8746AEA7B1}"/>
              </a:ext>
            </a:extLst>
          </p:cNvPr>
          <p:cNvSpPr>
            <a:spLocks noEditPoints="1"/>
          </p:cNvSpPr>
          <p:nvPr/>
        </p:nvSpPr>
        <p:spPr bwMode="auto">
          <a:xfrm>
            <a:off x="1510875" y="2841625"/>
            <a:ext cx="403225" cy="550863"/>
          </a:xfrm>
          <a:custGeom>
            <a:avLst/>
            <a:gdLst>
              <a:gd name="T0" fmla="*/ 114 w 118"/>
              <a:gd name="T1" fmla="*/ 0 h 160"/>
              <a:gd name="T2" fmla="*/ 110 w 118"/>
              <a:gd name="T3" fmla="*/ 4 h 160"/>
              <a:gd name="T4" fmla="*/ 110 w 118"/>
              <a:gd name="T5" fmla="*/ 73 h 160"/>
              <a:gd name="T6" fmla="*/ 6 w 118"/>
              <a:gd name="T7" fmla="*/ 1 h 160"/>
              <a:gd name="T8" fmla="*/ 2 w 118"/>
              <a:gd name="T9" fmla="*/ 0 h 160"/>
              <a:gd name="T10" fmla="*/ 0 w 118"/>
              <a:gd name="T11" fmla="*/ 4 h 160"/>
              <a:gd name="T12" fmla="*/ 0 w 118"/>
              <a:gd name="T13" fmla="*/ 156 h 160"/>
              <a:gd name="T14" fmla="*/ 2 w 118"/>
              <a:gd name="T15" fmla="*/ 160 h 160"/>
              <a:gd name="T16" fmla="*/ 4 w 118"/>
              <a:gd name="T17" fmla="*/ 160 h 160"/>
              <a:gd name="T18" fmla="*/ 6 w 118"/>
              <a:gd name="T19" fmla="*/ 159 h 160"/>
              <a:gd name="T20" fmla="*/ 110 w 118"/>
              <a:gd name="T21" fmla="*/ 87 h 160"/>
              <a:gd name="T22" fmla="*/ 110 w 118"/>
              <a:gd name="T23" fmla="*/ 156 h 160"/>
              <a:gd name="T24" fmla="*/ 114 w 118"/>
              <a:gd name="T25" fmla="*/ 160 h 160"/>
              <a:gd name="T26" fmla="*/ 118 w 118"/>
              <a:gd name="T27" fmla="*/ 156 h 160"/>
              <a:gd name="T28" fmla="*/ 118 w 118"/>
              <a:gd name="T29" fmla="*/ 4 h 160"/>
              <a:gd name="T30" fmla="*/ 114 w 118"/>
              <a:gd name="T31" fmla="*/ 0 h 160"/>
              <a:gd name="T32" fmla="*/ 8 w 118"/>
              <a:gd name="T33" fmla="*/ 149 h 160"/>
              <a:gd name="T34" fmla="*/ 8 w 118"/>
              <a:gd name="T35" fmla="*/ 11 h 160"/>
              <a:gd name="T36" fmla="*/ 108 w 118"/>
              <a:gd name="T37" fmla="*/ 80 h 160"/>
              <a:gd name="T38" fmla="*/ 8 w 118"/>
              <a:gd name="T39"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60">
                <a:moveTo>
                  <a:pt x="114" y="0"/>
                </a:moveTo>
                <a:cubicBezTo>
                  <a:pt x="112" y="0"/>
                  <a:pt x="110" y="2"/>
                  <a:pt x="110" y="4"/>
                </a:cubicBezTo>
                <a:cubicBezTo>
                  <a:pt x="110" y="73"/>
                  <a:pt x="110" y="73"/>
                  <a:pt x="110" y="73"/>
                </a:cubicBezTo>
                <a:cubicBezTo>
                  <a:pt x="6" y="1"/>
                  <a:pt x="6" y="1"/>
                  <a:pt x="6" y="1"/>
                </a:cubicBezTo>
                <a:cubicBezTo>
                  <a:pt x="5" y="0"/>
                  <a:pt x="3" y="0"/>
                  <a:pt x="2" y="0"/>
                </a:cubicBezTo>
                <a:cubicBezTo>
                  <a:pt x="1" y="1"/>
                  <a:pt x="0" y="2"/>
                  <a:pt x="0" y="4"/>
                </a:cubicBezTo>
                <a:cubicBezTo>
                  <a:pt x="0" y="156"/>
                  <a:pt x="0" y="156"/>
                  <a:pt x="0" y="156"/>
                </a:cubicBezTo>
                <a:cubicBezTo>
                  <a:pt x="0" y="158"/>
                  <a:pt x="1" y="159"/>
                  <a:pt x="2" y="160"/>
                </a:cubicBezTo>
                <a:cubicBezTo>
                  <a:pt x="3" y="160"/>
                  <a:pt x="3" y="160"/>
                  <a:pt x="4" y="160"/>
                </a:cubicBezTo>
                <a:cubicBezTo>
                  <a:pt x="5" y="160"/>
                  <a:pt x="5" y="160"/>
                  <a:pt x="6" y="159"/>
                </a:cubicBezTo>
                <a:cubicBezTo>
                  <a:pt x="110" y="87"/>
                  <a:pt x="110" y="87"/>
                  <a:pt x="110" y="87"/>
                </a:cubicBezTo>
                <a:cubicBezTo>
                  <a:pt x="110" y="156"/>
                  <a:pt x="110" y="156"/>
                  <a:pt x="110" y="156"/>
                </a:cubicBezTo>
                <a:cubicBezTo>
                  <a:pt x="110" y="158"/>
                  <a:pt x="112" y="160"/>
                  <a:pt x="114" y="160"/>
                </a:cubicBezTo>
                <a:cubicBezTo>
                  <a:pt x="116" y="160"/>
                  <a:pt x="118" y="158"/>
                  <a:pt x="118" y="156"/>
                </a:cubicBezTo>
                <a:cubicBezTo>
                  <a:pt x="118" y="4"/>
                  <a:pt x="118" y="4"/>
                  <a:pt x="118" y="4"/>
                </a:cubicBezTo>
                <a:cubicBezTo>
                  <a:pt x="118" y="2"/>
                  <a:pt x="116" y="0"/>
                  <a:pt x="114" y="0"/>
                </a:cubicBezTo>
                <a:close/>
                <a:moveTo>
                  <a:pt x="8" y="149"/>
                </a:moveTo>
                <a:cubicBezTo>
                  <a:pt x="8" y="11"/>
                  <a:pt x="8" y="11"/>
                  <a:pt x="8" y="11"/>
                </a:cubicBezTo>
                <a:cubicBezTo>
                  <a:pt x="108" y="80"/>
                  <a:pt x="108" y="80"/>
                  <a:pt x="108" y="80"/>
                </a:cubicBezTo>
                <a:lnTo>
                  <a:pt x="8" y="149"/>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300">
            <a:extLst>
              <a:ext uri="{FF2B5EF4-FFF2-40B4-BE49-F238E27FC236}">
                <a16:creationId xmlns:a16="http://schemas.microsoft.com/office/drawing/2014/main" id="{6BB5A55F-A9CC-F14E-9993-69620D150005}"/>
              </a:ext>
            </a:extLst>
          </p:cNvPr>
          <p:cNvSpPr>
            <a:spLocks noEditPoints="1"/>
          </p:cNvSpPr>
          <p:nvPr/>
        </p:nvSpPr>
        <p:spPr bwMode="auto">
          <a:xfrm>
            <a:off x="1469600" y="3462338"/>
            <a:ext cx="481013" cy="549275"/>
          </a:xfrm>
          <a:custGeom>
            <a:avLst/>
            <a:gdLst>
              <a:gd name="T0" fmla="*/ 60 w 141"/>
              <a:gd name="T1" fmla="*/ 24 h 160"/>
              <a:gd name="T2" fmla="*/ 79 w 141"/>
              <a:gd name="T3" fmla="*/ 5 h 160"/>
              <a:gd name="T4" fmla="*/ 92 w 141"/>
              <a:gd name="T5" fmla="*/ 14 h 160"/>
              <a:gd name="T6" fmla="*/ 141 w 141"/>
              <a:gd name="T7" fmla="*/ 122 h 160"/>
              <a:gd name="T8" fmla="*/ 0 w 141"/>
              <a:gd name="T9" fmla="*/ 160 h 160"/>
              <a:gd name="T10" fmla="*/ 46 w 141"/>
              <a:gd name="T11" fmla="*/ 27 h 160"/>
              <a:gd name="T12" fmla="*/ 38 w 141"/>
              <a:gd name="T13" fmla="*/ 11 h 160"/>
              <a:gd name="T14" fmla="*/ 5 w 141"/>
              <a:gd name="T15" fmla="*/ 16 h 160"/>
              <a:gd name="T16" fmla="*/ 5 w 141"/>
              <a:gd name="T17" fmla="*/ 49 h 160"/>
              <a:gd name="T18" fmla="*/ 5 w 141"/>
              <a:gd name="T19" fmla="*/ 76 h 160"/>
              <a:gd name="T20" fmla="*/ 5 w 141"/>
              <a:gd name="T21" fmla="*/ 103 h 160"/>
              <a:gd name="T22" fmla="*/ 5 w 141"/>
              <a:gd name="T23" fmla="*/ 130 h 160"/>
              <a:gd name="T24" fmla="*/ 136 w 141"/>
              <a:gd name="T25" fmla="*/ 103 h 160"/>
              <a:gd name="T26" fmla="*/ 136 w 141"/>
              <a:gd name="T27" fmla="*/ 76 h 160"/>
              <a:gd name="T28" fmla="*/ 136 w 141"/>
              <a:gd name="T29" fmla="*/ 49 h 160"/>
              <a:gd name="T30" fmla="*/ 136 w 141"/>
              <a:gd name="T31" fmla="*/ 16 h 160"/>
              <a:gd name="T32" fmla="*/ 103 w 141"/>
              <a:gd name="T33" fmla="*/ 14 h 160"/>
              <a:gd name="T34" fmla="*/ 141 w 141"/>
              <a:gd name="T35" fmla="*/ 11 h 160"/>
              <a:gd name="T36" fmla="*/ 136 w 141"/>
              <a:gd name="T37" fmla="*/ 155 h 160"/>
              <a:gd name="T38" fmla="*/ 68 w 141"/>
              <a:gd name="T39" fmla="*/ 43 h 160"/>
              <a:gd name="T40" fmla="*/ 73 w 141"/>
              <a:gd name="T41" fmla="*/ 43 h 160"/>
              <a:gd name="T42" fmla="*/ 57 w 141"/>
              <a:gd name="T43" fmla="*/ 49 h 160"/>
              <a:gd name="T44" fmla="*/ 33 w 141"/>
              <a:gd name="T45" fmla="*/ 46 h 160"/>
              <a:gd name="T46" fmla="*/ 100 w 141"/>
              <a:gd name="T47" fmla="*/ 49 h 160"/>
              <a:gd name="T48" fmla="*/ 98 w 141"/>
              <a:gd name="T49" fmla="*/ 46 h 160"/>
              <a:gd name="T50" fmla="*/ 122 w 141"/>
              <a:gd name="T51" fmla="*/ 43 h 160"/>
              <a:gd name="T52" fmla="*/ 84 w 141"/>
              <a:gd name="T53" fmla="*/ 43 h 160"/>
              <a:gd name="T54" fmla="*/ 89 w 141"/>
              <a:gd name="T55" fmla="*/ 43 h 160"/>
              <a:gd name="T56" fmla="*/ 19 w 141"/>
              <a:gd name="T57" fmla="*/ 33 h 160"/>
              <a:gd name="T58" fmla="*/ 16 w 141"/>
              <a:gd name="T59" fmla="*/ 73 h 160"/>
              <a:gd name="T60" fmla="*/ 19 w 141"/>
              <a:gd name="T61" fmla="*/ 125 h 160"/>
              <a:gd name="T62" fmla="*/ 24 w 141"/>
              <a:gd name="T63" fmla="*/ 144 h 160"/>
              <a:gd name="T64" fmla="*/ 27 w 141"/>
              <a:gd name="T65" fmla="*/ 100 h 160"/>
              <a:gd name="T66" fmla="*/ 24 w 141"/>
              <a:gd name="T67" fmla="*/ 49 h 160"/>
              <a:gd name="T68" fmla="*/ 84 w 141"/>
              <a:gd name="T69" fmla="*/ 76 h 160"/>
              <a:gd name="T70" fmla="*/ 68 w 141"/>
              <a:gd name="T71" fmla="*/ 71 h 160"/>
              <a:gd name="T72" fmla="*/ 73 w 141"/>
              <a:gd name="T73" fmla="*/ 71 h 160"/>
              <a:gd name="T74" fmla="*/ 41 w 141"/>
              <a:gd name="T75" fmla="*/ 76 h 160"/>
              <a:gd name="T76" fmla="*/ 49 w 141"/>
              <a:gd name="T77" fmla="*/ 73 h 160"/>
              <a:gd name="T78" fmla="*/ 117 w 141"/>
              <a:gd name="T79" fmla="*/ 76 h 160"/>
              <a:gd name="T80" fmla="*/ 114 w 141"/>
              <a:gd name="T81" fmla="*/ 73 h 160"/>
              <a:gd name="T82" fmla="*/ 106 w 141"/>
              <a:gd name="T83" fmla="*/ 71 h 160"/>
              <a:gd name="T84" fmla="*/ 106 w 141"/>
              <a:gd name="T85" fmla="*/ 103 h 160"/>
              <a:gd name="T86" fmla="*/ 100 w 141"/>
              <a:gd name="T87" fmla="*/ 103 h 160"/>
              <a:gd name="T88" fmla="*/ 117 w 141"/>
              <a:gd name="T89" fmla="*/ 98 h 160"/>
              <a:gd name="T90" fmla="*/ 81 w 141"/>
              <a:gd name="T91" fmla="*/ 100 h 160"/>
              <a:gd name="T92" fmla="*/ 73 w 141"/>
              <a:gd name="T93" fmla="*/ 98 h 160"/>
              <a:gd name="T94" fmla="*/ 76 w 141"/>
              <a:gd name="T95" fmla="*/ 100 h 160"/>
              <a:gd name="T96" fmla="*/ 35 w 141"/>
              <a:gd name="T97" fmla="*/ 103 h 160"/>
              <a:gd name="T98" fmla="*/ 52 w 141"/>
              <a:gd name="T99" fmla="*/ 98 h 160"/>
              <a:gd name="T100" fmla="*/ 57 w 141"/>
              <a:gd name="T101" fmla="*/ 98 h 160"/>
              <a:gd name="T102" fmla="*/ 57 w 141"/>
              <a:gd name="T103" fmla="*/ 130 h 160"/>
              <a:gd name="T104" fmla="*/ 81 w 141"/>
              <a:gd name="T105" fmla="*/ 127 h 160"/>
              <a:gd name="T106" fmla="*/ 73 w 141"/>
              <a:gd name="T107" fmla="*/ 125 h 160"/>
              <a:gd name="T108" fmla="*/ 76 w 141"/>
              <a:gd name="T109" fmla="*/ 127 h 160"/>
              <a:gd name="T110" fmla="*/ 35 w 141"/>
              <a:gd name="T111" fmla="*/ 13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1" h="160">
                <a:moveTo>
                  <a:pt x="60" y="3"/>
                </a:moveTo>
                <a:cubicBezTo>
                  <a:pt x="60" y="1"/>
                  <a:pt x="61" y="0"/>
                  <a:pt x="62" y="0"/>
                </a:cubicBezTo>
                <a:cubicBezTo>
                  <a:pt x="70" y="0"/>
                  <a:pt x="76" y="6"/>
                  <a:pt x="76" y="14"/>
                </a:cubicBezTo>
                <a:cubicBezTo>
                  <a:pt x="76" y="21"/>
                  <a:pt x="70" y="27"/>
                  <a:pt x="62" y="27"/>
                </a:cubicBezTo>
                <a:cubicBezTo>
                  <a:pt x="61" y="27"/>
                  <a:pt x="60" y="26"/>
                  <a:pt x="60" y="24"/>
                </a:cubicBezTo>
                <a:cubicBezTo>
                  <a:pt x="60" y="23"/>
                  <a:pt x="61" y="22"/>
                  <a:pt x="62" y="22"/>
                </a:cubicBezTo>
                <a:cubicBezTo>
                  <a:pt x="67" y="22"/>
                  <a:pt x="71" y="18"/>
                  <a:pt x="71" y="14"/>
                </a:cubicBezTo>
                <a:cubicBezTo>
                  <a:pt x="71" y="9"/>
                  <a:pt x="67" y="5"/>
                  <a:pt x="62" y="5"/>
                </a:cubicBezTo>
                <a:cubicBezTo>
                  <a:pt x="61" y="5"/>
                  <a:pt x="60" y="4"/>
                  <a:pt x="60" y="3"/>
                </a:cubicBezTo>
                <a:close/>
                <a:moveTo>
                  <a:pt x="79" y="5"/>
                </a:moveTo>
                <a:cubicBezTo>
                  <a:pt x="83" y="5"/>
                  <a:pt x="87" y="9"/>
                  <a:pt x="87" y="14"/>
                </a:cubicBezTo>
                <a:cubicBezTo>
                  <a:pt x="87" y="18"/>
                  <a:pt x="83" y="22"/>
                  <a:pt x="79" y="22"/>
                </a:cubicBezTo>
                <a:cubicBezTo>
                  <a:pt x="77" y="22"/>
                  <a:pt x="76" y="23"/>
                  <a:pt x="76" y="24"/>
                </a:cubicBezTo>
                <a:cubicBezTo>
                  <a:pt x="76" y="26"/>
                  <a:pt x="77" y="27"/>
                  <a:pt x="79" y="27"/>
                </a:cubicBezTo>
                <a:cubicBezTo>
                  <a:pt x="86" y="27"/>
                  <a:pt x="92" y="21"/>
                  <a:pt x="92" y="14"/>
                </a:cubicBezTo>
                <a:cubicBezTo>
                  <a:pt x="92" y="6"/>
                  <a:pt x="86" y="0"/>
                  <a:pt x="79" y="0"/>
                </a:cubicBezTo>
                <a:cubicBezTo>
                  <a:pt x="77" y="0"/>
                  <a:pt x="76" y="1"/>
                  <a:pt x="76" y="3"/>
                </a:cubicBezTo>
                <a:cubicBezTo>
                  <a:pt x="76" y="4"/>
                  <a:pt x="77" y="5"/>
                  <a:pt x="79" y="5"/>
                </a:cubicBezTo>
                <a:close/>
                <a:moveTo>
                  <a:pt x="141" y="11"/>
                </a:moveTo>
                <a:cubicBezTo>
                  <a:pt x="141" y="122"/>
                  <a:pt x="141" y="122"/>
                  <a:pt x="141" y="122"/>
                </a:cubicBezTo>
                <a:cubicBezTo>
                  <a:pt x="141" y="126"/>
                  <a:pt x="141" y="126"/>
                  <a:pt x="141" y="126"/>
                </a:cubicBezTo>
                <a:cubicBezTo>
                  <a:pt x="141" y="160"/>
                  <a:pt x="141" y="160"/>
                  <a:pt x="141" y="160"/>
                </a:cubicBezTo>
                <a:cubicBezTo>
                  <a:pt x="107" y="160"/>
                  <a:pt x="107" y="160"/>
                  <a:pt x="107" y="160"/>
                </a:cubicBezTo>
                <a:cubicBezTo>
                  <a:pt x="103" y="160"/>
                  <a:pt x="103" y="160"/>
                  <a:pt x="103" y="160"/>
                </a:cubicBezTo>
                <a:cubicBezTo>
                  <a:pt x="0" y="160"/>
                  <a:pt x="0" y="160"/>
                  <a:pt x="0" y="160"/>
                </a:cubicBezTo>
                <a:cubicBezTo>
                  <a:pt x="0" y="11"/>
                  <a:pt x="0" y="11"/>
                  <a:pt x="0" y="11"/>
                </a:cubicBezTo>
                <a:cubicBezTo>
                  <a:pt x="33" y="11"/>
                  <a:pt x="33" y="11"/>
                  <a:pt x="33" y="11"/>
                </a:cubicBezTo>
                <a:cubicBezTo>
                  <a:pt x="34" y="5"/>
                  <a:pt x="40" y="0"/>
                  <a:pt x="46" y="0"/>
                </a:cubicBezTo>
                <a:cubicBezTo>
                  <a:pt x="54" y="0"/>
                  <a:pt x="60" y="6"/>
                  <a:pt x="60" y="14"/>
                </a:cubicBezTo>
                <a:cubicBezTo>
                  <a:pt x="60" y="21"/>
                  <a:pt x="54" y="27"/>
                  <a:pt x="46" y="27"/>
                </a:cubicBezTo>
                <a:cubicBezTo>
                  <a:pt x="45" y="27"/>
                  <a:pt x="43" y="26"/>
                  <a:pt x="43" y="24"/>
                </a:cubicBezTo>
                <a:cubicBezTo>
                  <a:pt x="43" y="23"/>
                  <a:pt x="45" y="22"/>
                  <a:pt x="46" y="22"/>
                </a:cubicBezTo>
                <a:cubicBezTo>
                  <a:pt x="51" y="22"/>
                  <a:pt x="54" y="18"/>
                  <a:pt x="54" y="14"/>
                </a:cubicBezTo>
                <a:cubicBezTo>
                  <a:pt x="54" y="9"/>
                  <a:pt x="51" y="5"/>
                  <a:pt x="46" y="5"/>
                </a:cubicBezTo>
                <a:cubicBezTo>
                  <a:pt x="43" y="5"/>
                  <a:pt x="40" y="8"/>
                  <a:pt x="38" y="11"/>
                </a:cubicBezTo>
                <a:cubicBezTo>
                  <a:pt x="43" y="11"/>
                  <a:pt x="43" y="11"/>
                  <a:pt x="43" y="11"/>
                </a:cubicBezTo>
                <a:cubicBezTo>
                  <a:pt x="45" y="11"/>
                  <a:pt x="46" y="12"/>
                  <a:pt x="46" y="14"/>
                </a:cubicBezTo>
                <a:cubicBezTo>
                  <a:pt x="46" y="15"/>
                  <a:pt x="45" y="16"/>
                  <a:pt x="43" y="16"/>
                </a:cubicBezTo>
                <a:cubicBezTo>
                  <a:pt x="35" y="16"/>
                  <a:pt x="35" y="16"/>
                  <a:pt x="35" y="16"/>
                </a:cubicBezTo>
                <a:cubicBezTo>
                  <a:pt x="5" y="16"/>
                  <a:pt x="5" y="16"/>
                  <a:pt x="5" y="16"/>
                </a:cubicBezTo>
                <a:cubicBezTo>
                  <a:pt x="5" y="43"/>
                  <a:pt x="5" y="43"/>
                  <a:pt x="5" y="43"/>
                </a:cubicBezTo>
                <a:cubicBezTo>
                  <a:pt x="8" y="43"/>
                  <a:pt x="8" y="43"/>
                  <a:pt x="8" y="43"/>
                </a:cubicBezTo>
                <a:cubicBezTo>
                  <a:pt x="10" y="43"/>
                  <a:pt x="11" y="45"/>
                  <a:pt x="11" y="46"/>
                </a:cubicBezTo>
                <a:cubicBezTo>
                  <a:pt x="11" y="48"/>
                  <a:pt x="10" y="49"/>
                  <a:pt x="8" y="49"/>
                </a:cubicBezTo>
                <a:cubicBezTo>
                  <a:pt x="5" y="49"/>
                  <a:pt x="5" y="49"/>
                  <a:pt x="5" y="49"/>
                </a:cubicBezTo>
                <a:cubicBezTo>
                  <a:pt x="5" y="71"/>
                  <a:pt x="5" y="71"/>
                  <a:pt x="5" y="71"/>
                </a:cubicBezTo>
                <a:cubicBezTo>
                  <a:pt x="8" y="71"/>
                  <a:pt x="8" y="71"/>
                  <a:pt x="8" y="71"/>
                </a:cubicBezTo>
                <a:cubicBezTo>
                  <a:pt x="10" y="71"/>
                  <a:pt x="11" y="72"/>
                  <a:pt x="11" y="73"/>
                </a:cubicBezTo>
                <a:cubicBezTo>
                  <a:pt x="11" y="75"/>
                  <a:pt x="10" y="76"/>
                  <a:pt x="8" y="76"/>
                </a:cubicBezTo>
                <a:cubicBezTo>
                  <a:pt x="5" y="76"/>
                  <a:pt x="5" y="76"/>
                  <a:pt x="5" y="76"/>
                </a:cubicBezTo>
                <a:cubicBezTo>
                  <a:pt x="5" y="98"/>
                  <a:pt x="5" y="98"/>
                  <a:pt x="5" y="98"/>
                </a:cubicBezTo>
                <a:cubicBezTo>
                  <a:pt x="8" y="98"/>
                  <a:pt x="8" y="98"/>
                  <a:pt x="8" y="98"/>
                </a:cubicBezTo>
                <a:cubicBezTo>
                  <a:pt x="10" y="98"/>
                  <a:pt x="11" y="99"/>
                  <a:pt x="11" y="100"/>
                </a:cubicBezTo>
                <a:cubicBezTo>
                  <a:pt x="11" y="102"/>
                  <a:pt x="10" y="103"/>
                  <a:pt x="8" y="103"/>
                </a:cubicBezTo>
                <a:cubicBezTo>
                  <a:pt x="5" y="103"/>
                  <a:pt x="5" y="103"/>
                  <a:pt x="5" y="103"/>
                </a:cubicBezTo>
                <a:cubicBezTo>
                  <a:pt x="5" y="125"/>
                  <a:pt x="5" y="125"/>
                  <a:pt x="5" y="125"/>
                </a:cubicBezTo>
                <a:cubicBezTo>
                  <a:pt x="8" y="125"/>
                  <a:pt x="8" y="125"/>
                  <a:pt x="8" y="125"/>
                </a:cubicBezTo>
                <a:cubicBezTo>
                  <a:pt x="10" y="125"/>
                  <a:pt x="11" y="126"/>
                  <a:pt x="11" y="127"/>
                </a:cubicBezTo>
                <a:cubicBezTo>
                  <a:pt x="11" y="129"/>
                  <a:pt x="10" y="130"/>
                  <a:pt x="8" y="130"/>
                </a:cubicBezTo>
                <a:cubicBezTo>
                  <a:pt x="5" y="130"/>
                  <a:pt x="5" y="130"/>
                  <a:pt x="5" y="130"/>
                </a:cubicBezTo>
                <a:cubicBezTo>
                  <a:pt x="5" y="155"/>
                  <a:pt x="5" y="155"/>
                  <a:pt x="5" y="155"/>
                </a:cubicBezTo>
                <a:cubicBezTo>
                  <a:pt x="103" y="155"/>
                  <a:pt x="103" y="155"/>
                  <a:pt x="103" y="155"/>
                </a:cubicBezTo>
                <a:cubicBezTo>
                  <a:pt x="103" y="122"/>
                  <a:pt x="103" y="122"/>
                  <a:pt x="103" y="122"/>
                </a:cubicBezTo>
                <a:cubicBezTo>
                  <a:pt x="136" y="122"/>
                  <a:pt x="136" y="122"/>
                  <a:pt x="136" y="122"/>
                </a:cubicBezTo>
                <a:cubicBezTo>
                  <a:pt x="136" y="103"/>
                  <a:pt x="136" y="103"/>
                  <a:pt x="136" y="103"/>
                </a:cubicBezTo>
                <a:cubicBezTo>
                  <a:pt x="133" y="103"/>
                  <a:pt x="133" y="103"/>
                  <a:pt x="133" y="103"/>
                </a:cubicBezTo>
                <a:cubicBezTo>
                  <a:pt x="131" y="103"/>
                  <a:pt x="130" y="102"/>
                  <a:pt x="130" y="100"/>
                </a:cubicBezTo>
                <a:cubicBezTo>
                  <a:pt x="130" y="99"/>
                  <a:pt x="131" y="98"/>
                  <a:pt x="133" y="98"/>
                </a:cubicBezTo>
                <a:cubicBezTo>
                  <a:pt x="136" y="98"/>
                  <a:pt x="136" y="98"/>
                  <a:pt x="136" y="98"/>
                </a:cubicBezTo>
                <a:cubicBezTo>
                  <a:pt x="136" y="76"/>
                  <a:pt x="136" y="76"/>
                  <a:pt x="136" y="76"/>
                </a:cubicBezTo>
                <a:cubicBezTo>
                  <a:pt x="133" y="76"/>
                  <a:pt x="133" y="76"/>
                  <a:pt x="133" y="76"/>
                </a:cubicBezTo>
                <a:cubicBezTo>
                  <a:pt x="131" y="76"/>
                  <a:pt x="130" y="75"/>
                  <a:pt x="130" y="73"/>
                </a:cubicBezTo>
                <a:cubicBezTo>
                  <a:pt x="130" y="72"/>
                  <a:pt x="131" y="71"/>
                  <a:pt x="133" y="71"/>
                </a:cubicBezTo>
                <a:cubicBezTo>
                  <a:pt x="136" y="71"/>
                  <a:pt x="136" y="71"/>
                  <a:pt x="136" y="71"/>
                </a:cubicBezTo>
                <a:cubicBezTo>
                  <a:pt x="136" y="49"/>
                  <a:pt x="136" y="49"/>
                  <a:pt x="136" y="49"/>
                </a:cubicBezTo>
                <a:cubicBezTo>
                  <a:pt x="133" y="49"/>
                  <a:pt x="133" y="49"/>
                  <a:pt x="133" y="49"/>
                </a:cubicBezTo>
                <a:cubicBezTo>
                  <a:pt x="131" y="49"/>
                  <a:pt x="130" y="48"/>
                  <a:pt x="130" y="46"/>
                </a:cubicBezTo>
                <a:cubicBezTo>
                  <a:pt x="130" y="45"/>
                  <a:pt x="131" y="43"/>
                  <a:pt x="133" y="43"/>
                </a:cubicBezTo>
                <a:cubicBezTo>
                  <a:pt x="136" y="43"/>
                  <a:pt x="136" y="43"/>
                  <a:pt x="136" y="43"/>
                </a:cubicBezTo>
                <a:cubicBezTo>
                  <a:pt x="136" y="16"/>
                  <a:pt x="136" y="16"/>
                  <a:pt x="136" y="16"/>
                </a:cubicBezTo>
                <a:cubicBezTo>
                  <a:pt x="108" y="16"/>
                  <a:pt x="108" y="16"/>
                  <a:pt x="108" y="16"/>
                </a:cubicBezTo>
                <a:cubicBezTo>
                  <a:pt x="107" y="22"/>
                  <a:pt x="101" y="27"/>
                  <a:pt x="95" y="27"/>
                </a:cubicBezTo>
                <a:cubicBezTo>
                  <a:pt x="93" y="27"/>
                  <a:pt x="92" y="26"/>
                  <a:pt x="92" y="24"/>
                </a:cubicBezTo>
                <a:cubicBezTo>
                  <a:pt x="92" y="23"/>
                  <a:pt x="93" y="22"/>
                  <a:pt x="95" y="22"/>
                </a:cubicBezTo>
                <a:cubicBezTo>
                  <a:pt x="99" y="22"/>
                  <a:pt x="103" y="18"/>
                  <a:pt x="103" y="14"/>
                </a:cubicBezTo>
                <a:cubicBezTo>
                  <a:pt x="103" y="9"/>
                  <a:pt x="99" y="5"/>
                  <a:pt x="95" y="5"/>
                </a:cubicBezTo>
                <a:cubicBezTo>
                  <a:pt x="93" y="5"/>
                  <a:pt x="92" y="4"/>
                  <a:pt x="92" y="3"/>
                </a:cubicBezTo>
                <a:cubicBezTo>
                  <a:pt x="92" y="1"/>
                  <a:pt x="93" y="0"/>
                  <a:pt x="95" y="0"/>
                </a:cubicBezTo>
                <a:cubicBezTo>
                  <a:pt x="101" y="0"/>
                  <a:pt x="107" y="5"/>
                  <a:pt x="108" y="11"/>
                </a:cubicBezTo>
                <a:lnTo>
                  <a:pt x="141" y="11"/>
                </a:lnTo>
                <a:close/>
                <a:moveTo>
                  <a:pt x="108" y="151"/>
                </a:moveTo>
                <a:cubicBezTo>
                  <a:pt x="132" y="127"/>
                  <a:pt x="132" y="127"/>
                  <a:pt x="132" y="127"/>
                </a:cubicBezTo>
                <a:cubicBezTo>
                  <a:pt x="108" y="127"/>
                  <a:pt x="108" y="127"/>
                  <a:pt x="108" y="127"/>
                </a:cubicBezTo>
                <a:lnTo>
                  <a:pt x="108" y="151"/>
                </a:lnTo>
                <a:close/>
                <a:moveTo>
                  <a:pt x="136" y="155"/>
                </a:moveTo>
                <a:cubicBezTo>
                  <a:pt x="136" y="131"/>
                  <a:pt x="136" y="131"/>
                  <a:pt x="136" y="131"/>
                </a:cubicBezTo>
                <a:cubicBezTo>
                  <a:pt x="112" y="155"/>
                  <a:pt x="112" y="155"/>
                  <a:pt x="112" y="155"/>
                </a:cubicBezTo>
                <a:lnTo>
                  <a:pt x="136" y="155"/>
                </a:lnTo>
                <a:close/>
                <a:moveTo>
                  <a:pt x="73" y="43"/>
                </a:moveTo>
                <a:cubicBezTo>
                  <a:pt x="68" y="43"/>
                  <a:pt x="68" y="43"/>
                  <a:pt x="68" y="43"/>
                </a:cubicBezTo>
                <a:cubicBezTo>
                  <a:pt x="66" y="43"/>
                  <a:pt x="65" y="45"/>
                  <a:pt x="65" y="46"/>
                </a:cubicBezTo>
                <a:cubicBezTo>
                  <a:pt x="65" y="48"/>
                  <a:pt x="66" y="49"/>
                  <a:pt x="68" y="49"/>
                </a:cubicBezTo>
                <a:cubicBezTo>
                  <a:pt x="73" y="49"/>
                  <a:pt x="73" y="49"/>
                  <a:pt x="73" y="49"/>
                </a:cubicBezTo>
                <a:cubicBezTo>
                  <a:pt x="75" y="49"/>
                  <a:pt x="76" y="48"/>
                  <a:pt x="76" y="46"/>
                </a:cubicBezTo>
                <a:cubicBezTo>
                  <a:pt x="76" y="45"/>
                  <a:pt x="75" y="43"/>
                  <a:pt x="73" y="43"/>
                </a:cubicBezTo>
                <a:close/>
                <a:moveTo>
                  <a:pt x="57" y="43"/>
                </a:moveTo>
                <a:cubicBezTo>
                  <a:pt x="52" y="43"/>
                  <a:pt x="52" y="43"/>
                  <a:pt x="52" y="43"/>
                </a:cubicBezTo>
                <a:cubicBezTo>
                  <a:pt x="50" y="43"/>
                  <a:pt x="49" y="45"/>
                  <a:pt x="49" y="46"/>
                </a:cubicBezTo>
                <a:cubicBezTo>
                  <a:pt x="49" y="48"/>
                  <a:pt x="50" y="49"/>
                  <a:pt x="52" y="49"/>
                </a:cubicBezTo>
                <a:cubicBezTo>
                  <a:pt x="57" y="49"/>
                  <a:pt x="57" y="49"/>
                  <a:pt x="57" y="49"/>
                </a:cubicBezTo>
                <a:cubicBezTo>
                  <a:pt x="58" y="49"/>
                  <a:pt x="60" y="48"/>
                  <a:pt x="60" y="46"/>
                </a:cubicBezTo>
                <a:cubicBezTo>
                  <a:pt x="60" y="45"/>
                  <a:pt x="58" y="43"/>
                  <a:pt x="57" y="43"/>
                </a:cubicBezTo>
                <a:close/>
                <a:moveTo>
                  <a:pt x="41" y="43"/>
                </a:moveTo>
                <a:cubicBezTo>
                  <a:pt x="35" y="43"/>
                  <a:pt x="35" y="43"/>
                  <a:pt x="35" y="43"/>
                </a:cubicBezTo>
                <a:cubicBezTo>
                  <a:pt x="34" y="43"/>
                  <a:pt x="33" y="45"/>
                  <a:pt x="33" y="46"/>
                </a:cubicBezTo>
                <a:cubicBezTo>
                  <a:pt x="33" y="48"/>
                  <a:pt x="34" y="49"/>
                  <a:pt x="35" y="49"/>
                </a:cubicBezTo>
                <a:cubicBezTo>
                  <a:pt x="41" y="49"/>
                  <a:pt x="41" y="49"/>
                  <a:pt x="41" y="49"/>
                </a:cubicBezTo>
                <a:cubicBezTo>
                  <a:pt x="42" y="49"/>
                  <a:pt x="43" y="48"/>
                  <a:pt x="43" y="46"/>
                </a:cubicBezTo>
                <a:cubicBezTo>
                  <a:pt x="43" y="45"/>
                  <a:pt x="42" y="43"/>
                  <a:pt x="41" y="43"/>
                </a:cubicBezTo>
                <a:close/>
                <a:moveTo>
                  <a:pt x="100" y="49"/>
                </a:moveTo>
                <a:cubicBezTo>
                  <a:pt x="106" y="49"/>
                  <a:pt x="106" y="49"/>
                  <a:pt x="106" y="49"/>
                </a:cubicBezTo>
                <a:cubicBezTo>
                  <a:pt x="107" y="49"/>
                  <a:pt x="108" y="48"/>
                  <a:pt x="108" y="46"/>
                </a:cubicBezTo>
                <a:cubicBezTo>
                  <a:pt x="108" y="45"/>
                  <a:pt x="107" y="43"/>
                  <a:pt x="106" y="43"/>
                </a:cubicBezTo>
                <a:cubicBezTo>
                  <a:pt x="100" y="43"/>
                  <a:pt x="100" y="43"/>
                  <a:pt x="100" y="43"/>
                </a:cubicBezTo>
                <a:cubicBezTo>
                  <a:pt x="99" y="43"/>
                  <a:pt x="98" y="45"/>
                  <a:pt x="98" y="46"/>
                </a:cubicBezTo>
                <a:cubicBezTo>
                  <a:pt x="98" y="48"/>
                  <a:pt x="99" y="49"/>
                  <a:pt x="100" y="49"/>
                </a:cubicBezTo>
                <a:close/>
                <a:moveTo>
                  <a:pt x="117" y="49"/>
                </a:moveTo>
                <a:cubicBezTo>
                  <a:pt x="122" y="49"/>
                  <a:pt x="122" y="49"/>
                  <a:pt x="122" y="49"/>
                </a:cubicBezTo>
                <a:cubicBezTo>
                  <a:pt x="124" y="49"/>
                  <a:pt x="125" y="48"/>
                  <a:pt x="125" y="46"/>
                </a:cubicBezTo>
                <a:cubicBezTo>
                  <a:pt x="125" y="45"/>
                  <a:pt x="124" y="43"/>
                  <a:pt x="122" y="43"/>
                </a:cubicBezTo>
                <a:cubicBezTo>
                  <a:pt x="117" y="43"/>
                  <a:pt x="117" y="43"/>
                  <a:pt x="117" y="43"/>
                </a:cubicBezTo>
                <a:cubicBezTo>
                  <a:pt x="115" y="43"/>
                  <a:pt x="114" y="45"/>
                  <a:pt x="114" y="46"/>
                </a:cubicBezTo>
                <a:cubicBezTo>
                  <a:pt x="114" y="48"/>
                  <a:pt x="115" y="49"/>
                  <a:pt x="117" y="49"/>
                </a:cubicBezTo>
                <a:close/>
                <a:moveTo>
                  <a:pt x="89" y="43"/>
                </a:moveTo>
                <a:cubicBezTo>
                  <a:pt x="84" y="43"/>
                  <a:pt x="84" y="43"/>
                  <a:pt x="84" y="43"/>
                </a:cubicBezTo>
                <a:cubicBezTo>
                  <a:pt x="83" y="43"/>
                  <a:pt x="81" y="45"/>
                  <a:pt x="81" y="46"/>
                </a:cubicBezTo>
                <a:cubicBezTo>
                  <a:pt x="81" y="48"/>
                  <a:pt x="83" y="49"/>
                  <a:pt x="84" y="49"/>
                </a:cubicBezTo>
                <a:cubicBezTo>
                  <a:pt x="89" y="49"/>
                  <a:pt x="89" y="49"/>
                  <a:pt x="89" y="49"/>
                </a:cubicBezTo>
                <a:cubicBezTo>
                  <a:pt x="91" y="49"/>
                  <a:pt x="92" y="48"/>
                  <a:pt x="92" y="46"/>
                </a:cubicBezTo>
                <a:cubicBezTo>
                  <a:pt x="92" y="45"/>
                  <a:pt x="91" y="43"/>
                  <a:pt x="89" y="43"/>
                </a:cubicBezTo>
                <a:close/>
                <a:moveTo>
                  <a:pt x="27" y="46"/>
                </a:moveTo>
                <a:cubicBezTo>
                  <a:pt x="27" y="45"/>
                  <a:pt x="26" y="43"/>
                  <a:pt x="24" y="43"/>
                </a:cubicBezTo>
                <a:cubicBezTo>
                  <a:pt x="24" y="33"/>
                  <a:pt x="24" y="33"/>
                  <a:pt x="24" y="33"/>
                </a:cubicBezTo>
                <a:cubicBezTo>
                  <a:pt x="24" y="31"/>
                  <a:pt x="23" y="30"/>
                  <a:pt x="22" y="30"/>
                </a:cubicBezTo>
                <a:cubicBezTo>
                  <a:pt x="20" y="30"/>
                  <a:pt x="19" y="31"/>
                  <a:pt x="19" y="33"/>
                </a:cubicBezTo>
                <a:cubicBezTo>
                  <a:pt x="19" y="43"/>
                  <a:pt x="19" y="43"/>
                  <a:pt x="19" y="43"/>
                </a:cubicBezTo>
                <a:cubicBezTo>
                  <a:pt x="17" y="43"/>
                  <a:pt x="16" y="45"/>
                  <a:pt x="16" y="46"/>
                </a:cubicBezTo>
                <a:cubicBezTo>
                  <a:pt x="16" y="48"/>
                  <a:pt x="17" y="49"/>
                  <a:pt x="19" y="49"/>
                </a:cubicBezTo>
                <a:cubicBezTo>
                  <a:pt x="19" y="71"/>
                  <a:pt x="19" y="71"/>
                  <a:pt x="19" y="71"/>
                </a:cubicBezTo>
                <a:cubicBezTo>
                  <a:pt x="17" y="71"/>
                  <a:pt x="16" y="72"/>
                  <a:pt x="16" y="73"/>
                </a:cubicBezTo>
                <a:cubicBezTo>
                  <a:pt x="16" y="75"/>
                  <a:pt x="17" y="76"/>
                  <a:pt x="19" y="76"/>
                </a:cubicBezTo>
                <a:cubicBezTo>
                  <a:pt x="19" y="98"/>
                  <a:pt x="19" y="98"/>
                  <a:pt x="19" y="98"/>
                </a:cubicBezTo>
                <a:cubicBezTo>
                  <a:pt x="17" y="98"/>
                  <a:pt x="16" y="99"/>
                  <a:pt x="16" y="100"/>
                </a:cubicBezTo>
                <a:cubicBezTo>
                  <a:pt x="16" y="102"/>
                  <a:pt x="17" y="103"/>
                  <a:pt x="19" y="103"/>
                </a:cubicBezTo>
                <a:cubicBezTo>
                  <a:pt x="19" y="125"/>
                  <a:pt x="19" y="125"/>
                  <a:pt x="19" y="125"/>
                </a:cubicBezTo>
                <a:cubicBezTo>
                  <a:pt x="17" y="125"/>
                  <a:pt x="16" y="126"/>
                  <a:pt x="16" y="127"/>
                </a:cubicBezTo>
                <a:cubicBezTo>
                  <a:pt x="16" y="129"/>
                  <a:pt x="17" y="130"/>
                  <a:pt x="19" y="130"/>
                </a:cubicBezTo>
                <a:cubicBezTo>
                  <a:pt x="19" y="144"/>
                  <a:pt x="19" y="144"/>
                  <a:pt x="19" y="144"/>
                </a:cubicBezTo>
                <a:cubicBezTo>
                  <a:pt x="19" y="145"/>
                  <a:pt x="20" y="146"/>
                  <a:pt x="22" y="146"/>
                </a:cubicBezTo>
                <a:cubicBezTo>
                  <a:pt x="23" y="146"/>
                  <a:pt x="24" y="145"/>
                  <a:pt x="24" y="144"/>
                </a:cubicBezTo>
                <a:cubicBezTo>
                  <a:pt x="24" y="130"/>
                  <a:pt x="24" y="130"/>
                  <a:pt x="24" y="130"/>
                </a:cubicBezTo>
                <a:cubicBezTo>
                  <a:pt x="26" y="130"/>
                  <a:pt x="27" y="129"/>
                  <a:pt x="27" y="127"/>
                </a:cubicBezTo>
                <a:cubicBezTo>
                  <a:pt x="27" y="126"/>
                  <a:pt x="26" y="125"/>
                  <a:pt x="24" y="125"/>
                </a:cubicBezTo>
                <a:cubicBezTo>
                  <a:pt x="24" y="103"/>
                  <a:pt x="24" y="103"/>
                  <a:pt x="24" y="103"/>
                </a:cubicBezTo>
                <a:cubicBezTo>
                  <a:pt x="26" y="103"/>
                  <a:pt x="27" y="102"/>
                  <a:pt x="27" y="100"/>
                </a:cubicBezTo>
                <a:cubicBezTo>
                  <a:pt x="27" y="99"/>
                  <a:pt x="26" y="98"/>
                  <a:pt x="24" y="98"/>
                </a:cubicBezTo>
                <a:cubicBezTo>
                  <a:pt x="24" y="76"/>
                  <a:pt x="24" y="76"/>
                  <a:pt x="24" y="76"/>
                </a:cubicBezTo>
                <a:cubicBezTo>
                  <a:pt x="26" y="76"/>
                  <a:pt x="27" y="75"/>
                  <a:pt x="27" y="73"/>
                </a:cubicBezTo>
                <a:cubicBezTo>
                  <a:pt x="27" y="72"/>
                  <a:pt x="26" y="71"/>
                  <a:pt x="24" y="71"/>
                </a:cubicBezTo>
                <a:cubicBezTo>
                  <a:pt x="24" y="49"/>
                  <a:pt x="24" y="49"/>
                  <a:pt x="24" y="49"/>
                </a:cubicBezTo>
                <a:cubicBezTo>
                  <a:pt x="26" y="49"/>
                  <a:pt x="27" y="48"/>
                  <a:pt x="27" y="46"/>
                </a:cubicBezTo>
                <a:close/>
                <a:moveTo>
                  <a:pt x="89" y="71"/>
                </a:moveTo>
                <a:cubicBezTo>
                  <a:pt x="84" y="71"/>
                  <a:pt x="84" y="71"/>
                  <a:pt x="84" y="71"/>
                </a:cubicBezTo>
                <a:cubicBezTo>
                  <a:pt x="83" y="71"/>
                  <a:pt x="81" y="72"/>
                  <a:pt x="81" y="73"/>
                </a:cubicBezTo>
                <a:cubicBezTo>
                  <a:pt x="81" y="75"/>
                  <a:pt x="83" y="76"/>
                  <a:pt x="84" y="76"/>
                </a:cubicBezTo>
                <a:cubicBezTo>
                  <a:pt x="89" y="76"/>
                  <a:pt x="89" y="76"/>
                  <a:pt x="89" y="76"/>
                </a:cubicBezTo>
                <a:cubicBezTo>
                  <a:pt x="91" y="76"/>
                  <a:pt x="92" y="75"/>
                  <a:pt x="92" y="73"/>
                </a:cubicBezTo>
                <a:cubicBezTo>
                  <a:pt x="92" y="72"/>
                  <a:pt x="91" y="71"/>
                  <a:pt x="89" y="71"/>
                </a:cubicBezTo>
                <a:close/>
                <a:moveTo>
                  <a:pt x="73" y="71"/>
                </a:moveTo>
                <a:cubicBezTo>
                  <a:pt x="68" y="71"/>
                  <a:pt x="68" y="71"/>
                  <a:pt x="68" y="71"/>
                </a:cubicBezTo>
                <a:cubicBezTo>
                  <a:pt x="66" y="71"/>
                  <a:pt x="65" y="72"/>
                  <a:pt x="65" y="73"/>
                </a:cubicBezTo>
                <a:cubicBezTo>
                  <a:pt x="65" y="75"/>
                  <a:pt x="66" y="76"/>
                  <a:pt x="68" y="76"/>
                </a:cubicBezTo>
                <a:cubicBezTo>
                  <a:pt x="73" y="76"/>
                  <a:pt x="73" y="76"/>
                  <a:pt x="73" y="76"/>
                </a:cubicBezTo>
                <a:cubicBezTo>
                  <a:pt x="75" y="76"/>
                  <a:pt x="76" y="75"/>
                  <a:pt x="76" y="73"/>
                </a:cubicBezTo>
                <a:cubicBezTo>
                  <a:pt x="76" y="72"/>
                  <a:pt x="75" y="71"/>
                  <a:pt x="73" y="71"/>
                </a:cubicBezTo>
                <a:close/>
                <a:moveTo>
                  <a:pt x="41" y="71"/>
                </a:moveTo>
                <a:cubicBezTo>
                  <a:pt x="35" y="71"/>
                  <a:pt x="35" y="71"/>
                  <a:pt x="35" y="71"/>
                </a:cubicBezTo>
                <a:cubicBezTo>
                  <a:pt x="34" y="71"/>
                  <a:pt x="33" y="72"/>
                  <a:pt x="33" y="73"/>
                </a:cubicBezTo>
                <a:cubicBezTo>
                  <a:pt x="33" y="75"/>
                  <a:pt x="34" y="76"/>
                  <a:pt x="35" y="76"/>
                </a:cubicBezTo>
                <a:cubicBezTo>
                  <a:pt x="41" y="76"/>
                  <a:pt x="41" y="76"/>
                  <a:pt x="41" y="76"/>
                </a:cubicBezTo>
                <a:cubicBezTo>
                  <a:pt x="42" y="76"/>
                  <a:pt x="43" y="75"/>
                  <a:pt x="43" y="73"/>
                </a:cubicBezTo>
                <a:cubicBezTo>
                  <a:pt x="43" y="72"/>
                  <a:pt x="42" y="71"/>
                  <a:pt x="41" y="71"/>
                </a:cubicBezTo>
                <a:close/>
                <a:moveTo>
                  <a:pt x="57" y="71"/>
                </a:moveTo>
                <a:cubicBezTo>
                  <a:pt x="52" y="71"/>
                  <a:pt x="52" y="71"/>
                  <a:pt x="52" y="71"/>
                </a:cubicBezTo>
                <a:cubicBezTo>
                  <a:pt x="50" y="71"/>
                  <a:pt x="49" y="72"/>
                  <a:pt x="49" y="73"/>
                </a:cubicBezTo>
                <a:cubicBezTo>
                  <a:pt x="49" y="75"/>
                  <a:pt x="50" y="76"/>
                  <a:pt x="52" y="76"/>
                </a:cubicBezTo>
                <a:cubicBezTo>
                  <a:pt x="57" y="76"/>
                  <a:pt x="57" y="76"/>
                  <a:pt x="57" y="76"/>
                </a:cubicBezTo>
                <a:cubicBezTo>
                  <a:pt x="58" y="76"/>
                  <a:pt x="60" y="75"/>
                  <a:pt x="60" y="73"/>
                </a:cubicBezTo>
                <a:cubicBezTo>
                  <a:pt x="60" y="72"/>
                  <a:pt x="58" y="71"/>
                  <a:pt x="57" y="71"/>
                </a:cubicBezTo>
                <a:close/>
                <a:moveTo>
                  <a:pt x="117" y="76"/>
                </a:moveTo>
                <a:cubicBezTo>
                  <a:pt x="122" y="76"/>
                  <a:pt x="122" y="76"/>
                  <a:pt x="122" y="76"/>
                </a:cubicBezTo>
                <a:cubicBezTo>
                  <a:pt x="124" y="76"/>
                  <a:pt x="125" y="75"/>
                  <a:pt x="125" y="73"/>
                </a:cubicBezTo>
                <a:cubicBezTo>
                  <a:pt x="125" y="72"/>
                  <a:pt x="124" y="71"/>
                  <a:pt x="122" y="71"/>
                </a:cubicBezTo>
                <a:cubicBezTo>
                  <a:pt x="117" y="71"/>
                  <a:pt x="117" y="71"/>
                  <a:pt x="117" y="71"/>
                </a:cubicBezTo>
                <a:cubicBezTo>
                  <a:pt x="115" y="71"/>
                  <a:pt x="114" y="72"/>
                  <a:pt x="114" y="73"/>
                </a:cubicBezTo>
                <a:cubicBezTo>
                  <a:pt x="114" y="75"/>
                  <a:pt x="115" y="76"/>
                  <a:pt x="117" y="76"/>
                </a:cubicBezTo>
                <a:close/>
                <a:moveTo>
                  <a:pt x="100" y="76"/>
                </a:moveTo>
                <a:cubicBezTo>
                  <a:pt x="106" y="76"/>
                  <a:pt x="106" y="76"/>
                  <a:pt x="106" y="76"/>
                </a:cubicBezTo>
                <a:cubicBezTo>
                  <a:pt x="107" y="76"/>
                  <a:pt x="108" y="75"/>
                  <a:pt x="108" y="73"/>
                </a:cubicBezTo>
                <a:cubicBezTo>
                  <a:pt x="108" y="72"/>
                  <a:pt x="107" y="71"/>
                  <a:pt x="106" y="71"/>
                </a:cubicBezTo>
                <a:cubicBezTo>
                  <a:pt x="100" y="71"/>
                  <a:pt x="100" y="71"/>
                  <a:pt x="100" y="71"/>
                </a:cubicBezTo>
                <a:cubicBezTo>
                  <a:pt x="99" y="71"/>
                  <a:pt x="98" y="72"/>
                  <a:pt x="98" y="73"/>
                </a:cubicBezTo>
                <a:cubicBezTo>
                  <a:pt x="98" y="75"/>
                  <a:pt x="99" y="76"/>
                  <a:pt x="100" y="76"/>
                </a:cubicBezTo>
                <a:close/>
                <a:moveTo>
                  <a:pt x="100" y="103"/>
                </a:moveTo>
                <a:cubicBezTo>
                  <a:pt x="106" y="103"/>
                  <a:pt x="106" y="103"/>
                  <a:pt x="106" y="103"/>
                </a:cubicBezTo>
                <a:cubicBezTo>
                  <a:pt x="107" y="103"/>
                  <a:pt x="108" y="102"/>
                  <a:pt x="108" y="100"/>
                </a:cubicBezTo>
                <a:cubicBezTo>
                  <a:pt x="108" y="99"/>
                  <a:pt x="107" y="98"/>
                  <a:pt x="106" y="98"/>
                </a:cubicBezTo>
                <a:cubicBezTo>
                  <a:pt x="100" y="98"/>
                  <a:pt x="100" y="98"/>
                  <a:pt x="100" y="98"/>
                </a:cubicBezTo>
                <a:cubicBezTo>
                  <a:pt x="99" y="98"/>
                  <a:pt x="98" y="99"/>
                  <a:pt x="98" y="100"/>
                </a:cubicBezTo>
                <a:cubicBezTo>
                  <a:pt x="98" y="102"/>
                  <a:pt x="99" y="103"/>
                  <a:pt x="100" y="103"/>
                </a:cubicBezTo>
                <a:close/>
                <a:moveTo>
                  <a:pt x="117" y="103"/>
                </a:moveTo>
                <a:cubicBezTo>
                  <a:pt x="122" y="103"/>
                  <a:pt x="122" y="103"/>
                  <a:pt x="122" y="103"/>
                </a:cubicBezTo>
                <a:cubicBezTo>
                  <a:pt x="124" y="103"/>
                  <a:pt x="125" y="102"/>
                  <a:pt x="125" y="100"/>
                </a:cubicBezTo>
                <a:cubicBezTo>
                  <a:pt x="125" y="99"/>
                  <a:pt x="124" y="98"/>
                  <a:pt x="122" y="98"/>
                </a:cubicBezTo>
                <a:cubicBezTo>
                  <a:pt x="117" y="98"/>
                  <a:pt x="117" y="98"/>
                  <a:pt x="117" y="98"/>
                </a:cubicBezTo>
                <a:cubicBezTo>
                  <a:pt x="115" y="98"/>
                  <a:pt x="114" y="99"/>
                  <a:pt x="114" y="100"/>
                </a:cubicBezTo>
                <a:cubicBezTo>
                  <a:pt x="114" y="102"/>
                  <a:pt x="115" y="103"/>
                  <a:pt x="117" y="103"/>
                </a:cubicBezTo>
                <a:close/>
                <a:moveTo>
                  <a:pt x="89" y="98"/>
                </a:moveTo>
                <a:cubicBezTo>
                  <a:pt x="84" y="98"/>
                  <a:pt x="84" y="98"/>
                  <a:pt x="84" y="98"/>
                </a:cubicBezTo>
                <a:cubicBezTo>
                  <a:pt x="83" y="98"/>
                  <a:pt x="81" y="99"/>
                  <a:pt x="81" y="100"/>
                </a:cubicBezTo>
                <a:cubicBezTo>
                  <a:pt x="81" y="102"/>
                  <a:pt x="83" y="103"/>
                  <a:pt x="84" y="103"/>
                </a:cubicBezTo>
                <a:cubicBezTo>
                  <a:pt x="89" y="103"/>
                  <a:pt x="89" y="103"/>
                  <a:pt x="89" y="103"/>
                </a:cubicBezTo>
                <a:cubicBezTo>
                  <a:pt x="91" y="103"/>
                  <a:pt x="92" y="102"/>
                  <a:pt x="92" y="100"/>
                </a:cubicBezTo>
                <a:cubicBezTo>
                  <a:pt x="92" y="99"/>
                  <a:pt x="91" y="98"/>
                  <a:pt x="89" y="98"/>
                </a:cubicBezTo>
                <a:close/>
                <a:moveTo>
                  <a:pt x="73" y="98"/>
                </a:moveTo>
                <a:cubicBezTo>
                  <a:pt x="68" y="98"/>
                  <a:pt x="68" y="98"/>
                  <a:pt x="68" y="98"/>
                </a:cubicBezTo>
                <a:cubicBezTo>
                  <a:pt x="66" y="98"/>
                  <a:pt x="65" y="99"/>
                  <a:pt x="65" y="100"/>
                </a:cubicBezTo>
                <a:cubicBezTo>
                  <a:pt x="65" y="102"/>
                  <a:pt x="66" y="103"/>
                  <a:pt x="68" y="103"/>
                </a:cubicBezTo>
                <a:cubicBezTo>
                  <a:pt x="73" y="103"/>
                  <a:pt x="73" y="103"/>
                  <a:pt x="73" y="103"/>
                </a:cubicBezTo>
                <a:cubicBezTo>
                  <a:pt x="75" y="103"/>
                  <a:pt x="76" y="102"/>
                  <a:pt x="76" y="100"/>
                </a:cubicBezTo>
                <a:cubicBezTo>
                  <a:pt x="76" y="99"/>
                  <a:pt x="75" y="98"/>
                  <a:pt x="73" y="98"/>
                </a:cubicBezTo>
                <a:close/>
                <a:moveTo>
                  <a:pt x="41" y="98"/>
                </a:moveTo>
                <a:cubicBezTo>
                  <a:pt x="35" y="98"/>
                  <a:pt x="35" y="98"/>
                  <a:pt x="35" y="98"/>
                </a:cubicBezTo>
                <a:cubicBezTo>
                  <a:pt x="34" y="98"/>
                  <a:pt x="33" y="99"/>
                  <a:pt x="33" y="100"/>
                </a:cubicBezTo>
                <a:cubicBezTo>
                  <a:pt x="33" y="102"/>
                  <a:pt x="34" y="103"/>
                  <a:pt x="35" y="103"/>
                </a:cubicBezTo>
                <a:cubicBezTo>
                  <a:pt x="41" y="103"/>
                  <a:pt x="41" y="103"/>
                  <a:pt x="41" y="103"/>
                </a:cubicBezTo>
                <a:cubicBezTo>
                  <a:pt x="42" y="103"/>
                  <a:pt x="43" y="102"/>
                  <a:pt x="43" y="100"/>
                </a:cubicBezTo>
                <a:cubicBezTo>
                  <a:pt x="43" y="99"/>
                  <a:pt x="42" y="98"/>
                  <a:pt x="41" y="98"/>
                </a:cubicBezTo>
                <a:close/>
                <a:moveTo>
                  <a:pt x="57" y="98"/>
                </a:moveTo>
                <a:cubicBezTo>
                  <a:pt x="52" y="98"/>
                  <a:pt x="52" y="98"/>
                  <a:pt x="52" y="98"/>
                </a:cubicBezTo>
                <a:cubicBezTo>
                  <a:pt x="50" y="98"/>
                  <a:pt x="49" y="99"/>
                  <a:pt x="49" y="100"/>
                </a:cubicBezTo>
                <a:cubicBezTo>
                  <a:pt x="49" y="102"/>
                  <a:pt x="50" y="103"/>
                  <a:pt x="52" y="103"/>
                </a:cubicBezTo>
                <a:cubicBezTo>
                  <a:pt x="57" y="103"/>
                  <a:pt x="57" y="103"/>
                  <a:pt x="57" y="103"/>
                </a:cubicBezTo>
                <a:cubicBezTo>
                  <a:pt x="58" y="103"/>
                  <a:pt x="60" y="102"/>
                  <a:pt x="60" y="100"/>
                </a:cubicBezTo>
                <a:cubicBezTo>
                  <a:pt x="60" y="99"/>
                  <a:pt x="58" y="98"/>
                  <a:pt x="57" y="98"/>
                </a:cubicBezTo>
                <a:close/>
                <a:moveTo>
                  <a:pt x="57" y="125"/>
                </a:moveTo>
                <a:cubicBezTo>
                  <a:pt x="52" y="125"/>
                  <a:pt x="52" y="125"/>
                  <a:pt x="52" y="125"/>
                </a:cubicBezTo>
                <a:cubicBezTo>
                  <a:pt x="50" y="125"/>
                  <a:pt x="49" y="126"/>
                  <a:pt x="49" y="127"/>
                </a:cubicBezTo>
                <a:cubicBezTo>
                  <a:pt x="49" y="129"/>
                  <a:pt x="50" y="130"/>
                  <a:pt x="52" y="130"/>
                </a:cubicBezTo>
                <a:cubicBezTo>
                  <a:pt x="57" y="130"/>
                  <a:pt x="57" y="130"/>
                  <a:pt x="57" y="130"/>
                </a:cubicBezTo>
                <a:cubicBezTo>
                  <a:pt x="58" y="130"/>
                  <a:pt x="60" y="129"/>
                  <a:pt x="60" y="127"/>
                </a:cubicBezTo>
                <a:cubicBezTo>
                  <a:pt x="60" y="126"/>
                  <a:pt x="58" y="125"/>
                  <a:pt x="57" y="125"/>
                </a:cubicBezTo>
                <a:close/>
                <a:moveTo>
                  <a:pt x="89" y="125"/>
                </a:moveTo>
                <a:cubicBezTo>
                  <a:pt x="84" y="125"/>
                  <a:pt x="84" y="125"/>
                  <a:pt x="84" y="125"/>
                </a:cubicBezTo>
                <a:cubicBezTo>
                  <a:pt x="83" y="125"/>
                  <a:pt x="81" y="126"/>
                  <a:pt x="81" y="127"/>
                </a:cubicBezTo>
                <a:cubicBezTo>
                  <a:pt x="81" y="129"/>
                  <a:pt x="83" y="130"/>
                  <a:pt x="84" y="130"/>
                </a:cubicBezTo>
                <a:cubicBezTo>
                  <a:pt x="89" y="130"/>
                  <a:pt x="89" y="130"/>
                  <a:pt x="89" y="130"/>
                </a:cubicBezTo>
                <a:cubicBezTo>
                  <a:pt x="91" y="130"/>
                  <a:pt x="92" y="129"/>
                  <a:pt x="92" y="127"/>
                </a:cubicBezTo>
                <a:cubicBezTo>
                  <a:pt x="92" y="126"/>
                  <a:pt x="91" y="125"/>
                  <a:pt x="89" y="125"/>
                </a:cubicBezTo>
                <a:close/>
                <a:moveTo>
                  <a:pt x="73" y="125"/>
                </a:moveTo>
                <a:cubicBezTo>
                  <a:pt x="68" y="125"/>
                  <a:pt x="68" y="125"/>
                  <a:pt x="68" y="125"/>
                </a:cubicBezTo>
                <a:cubicBezTo>
                  <a:pt x="66" y="125"/>
                  <a:pt x="65" y="126"/>
                  <a:pt x="65" y="127"/>
                </a:cubicBezTo>
                <a:cubicBezTo>
                  <a:pt x="65" y="129"/>
                  <a:pt x="66" y="130"/>
                  <a:pt x="68" y="130"/>
                </a:cubicBezTo>
                <a:cubicBezTo>
                  <a:pt x="73" y="130"/>
                  <a:pt x="73" y="130"/>
                  <a:pt x="73" y="130"/>
                </a:cubicBezTo>
                <a:cubicBezTo>
                  <a:pt x="75" y="130"/>
                  <a:pt x="76" y="129"/>
                  <a:pt x="76" y="127"/>
                </a:cubicBezTo>
                <a:cubicBezTo>
                  <a:pt x="76" y="126"/>
                  <a:pt x="75" y="125"/>
                  <a:pt x="73" y="125"/>
                </a:cubicBezTo>
                <a:close/>
                <a:moveTo>
                  <a:pt x="41" y="125"/>
                </a:moveTo>
                <a:cubicBezTo>
                  <a:pt x="35" y="125"/>
                  <a:pt x="35" y="125"/>
                  <a:pt x="35" y="125"/>
                </a:cubicBezTo>
                <a:cubicBezTo>
                  <a:pt x="34" y="125"/>
                  <a:pt x="33" y="126"/>
                  <a:pt x="33" y="127"/>
                </a:cubicBezTo>
                <a:cubicBezTo>
                  <a:pt x="33" y="129"/>
                  <a:pt x="34" y="130"/>
                  <a:pt x="35" y="130"/>
                </a:cubicBezTo>
                <a:cubicBezTo>
                  <a:pt x="41" y="130"/>
                  <a:pt x="41" y="130"/>
                  <a:pt x="41" y="130"/>
                </a:cubicBezTo>
                <a:cubicBezTo>
                  <a:pt x="42" y="130"/>
                  <a:pt x="43" y="129"/>
                  <a:pt x="43" y="127"/>
                </a:cubicBezTo>
                <a:cubicBezTo>
                  <a:pt x="43" y="126"/>
                  <a:pt x="42" y="125"/>
                  <a:pt x="41" y="12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301">
            <a:extLst>
              <a:ext uri="{FF2B5EF4-FFF2-40B4-BE49-F238E27FC236}">
                <a16:creationId xmlns:a16="http://schemas.microsoft.com/office/drawing/2014/main" id="{EFBEBAFA-0D91-4542-A9BF-C22D09756D5E}"/>
              </a:ext>
            </a:extLst>
          </p:cNvPr>
          <p:cNvSpPr>
            <a:spLocks noEditPoints="1"/>
          </p:cNvSpPr>
          <p:nvPr/>
        </p:nvSpPr>
        <p:spPr bwMode="auto">
          <a:xfrm>
            <a:off x="1525162" y="4081463"/>
            <a:ext cx="392113" cy="550863"/>
          </a:xfrm>
          <a:custGeom>
            <a:avLst/>
            <a:gdLst>
              <a:gd name="T0" fmla="*/ 0 w 115"/>
              <a:gd name="T1" fmla="*/ 0 h 160"/>
              <a:gd name="T2" fmla="*/ 11 w 115"/>
              <a:gd name="T3" fmla="*/ 144 h 160"/>
              <a:gd name="T4" fmla="*/ 32 w 115"/>
              <a:gd name="T5" fmla="*/ 144 h 160"/>
              <a:gd name="T6" fmla="*/ 115 w 115"/>
              <a:gd name="T7" fmla="*/ 134 h 160"/>
              <a:gd name="T8" fmla="*/ 104 w 115"/>
              <a:gd name="T9" fmla="*/ 0 h 160"/>
              <a:gd name="T10" fmla="*/ 5 w 115"/>
              <a:gd name="T11" fmla="*/ 45 h 160"/>
              <a:gd name="T12" fmla="*/ 61 w 115"/>
              <a:gd name="T13" fmla="*/ 94 h 160"/>
              <a:gd name="T14" fmla="*/ 45 w 115"/>
              <a:gd name="T15" fmla="*/ 94 h 160"/>
              <a:gd name="T16" fmla="*/ 32 w 115"/>
              <a:gd name="T17" fmla="*/ 91 h 160"/>
              <a:gd name="T18" fmla="*/ 19 w 115"/>
              <a:gd name="T19" fmla="*/ 94 h 160"/>
              <a:gd name="T20" fmla="*/ 5 w 115"/>
              <a:gd name="T21" fmla="*/ 94 h 160"/>
              <a:gd name="T22" fmla="*/ 5 w 115"/>
              <a:gd name="T23" fmla="*/ 51 h 160"/>
              <a:gd name="T24" fmla="*/ 11 w 115"/>
              <a:gd name="T25" fmla="*/ 53 h 160"/>
              <a:gd name="T26" fmla="*/ 24 w 115"/>
              <a:gd name="T27" fmla="*/ 56 h 160"/>
              <a:gd name="T28" fmla="*/ 37 w 115"/>
              <a:gd name="T29" fmla="*/ 53 h 160"/>
              <a:gd name="T30" fmla="*/ 56 w 115"/>
              <a:gd name="T31" fmla="*/ 51 h 160"/>
              <a:gd name="T32" fmla="*/ 56 w 115"/>
              <a:gd name="T33" fmla="*/ 51 h 160"/>
              <a:gd name="T34" fmla="*/ 75 w 115"/>
              <a:gd name="T35" fmla="*/ 53 h 160"/>
              <a:gd name="T36" fmla="*/ 78 w 115"/>
              <a:gd name="T37" fmla="*/ 61 h 160"/>
              <a:gd name="T38" fmla="*/ 80 w 115"/>
              <a:gd name="T39" fmla="*/ 80 h 160"/>
              <a:gd name="T40" fmla="*/ 67 w 115"/>
              <a:gd name="T41" fmla="*/ 94 h 160"/>
              <a:gd name="T42" fmla="*/ 21 w 115"/>
              <a:gd name="T43" fmla="*/ 146 h 160"/>
              <a:gd name="T44" fmla="*/ 27 w 115"/>
              <a:gd name="T45" fmla="*/ 150 h 160"/>
              <a:gd name="T46" fmla="*/ 5 w 115"/>
              <a:gd name="T47" fmla="*/ 99 h 160"/>
              <a:gd name="T48" fmla="*/ 86 w 115"/>
              <a:gd name="T49" fmla="*/ 139 h 160"/>
              <a:gd name="T50" fmla="*/ 94 w 115"/>
              <a:gd name="T51" fmla="*/ 5 h 160"/>
              <a:gd name="T52" fmla="*/ 86 w 115"/>
              <a:gd name="T53" fmla="*/ 139 h 160"/>
              <a:gd name="T54" fmla="*/ 110 w 115"/>
              <a:gd name="T55" fmla="*/ 51 h 160"/>
              <a:gd name="T56" fmla="*/ 104 w 115"/>
              <a:gd name="T57" fmla="*/ 51 h 160"/>
              <a:gd name="T58" fmla="*/ 104 w 115"/>
              <a:gd name="T59" fmla="*/ 139 h 160"/>
              <a:gd name="T60" fmla="*/ 110 w 115"/>
              <a:gd name="T61" fmla="*/ 134 h 160"/>
              <a:gd name="T62" fmla="*/ 110 w 115"/>
              <a:gd name="T63" fmla="*/ 11 h 160"/>
              <a:gd name="T64" fmla="*/ 19 w 115"/>
              <a:gd name="T65" fmla="*/ 61 h 160"/>
              <a:gd name="T66" fmla="*/ 32 w 115"/>
              <a:gd name="T67" fmla="*/ 59 h 160"/>
              <a:gd name="T68" fmla="*/ 32 w 115"/>
              <a:gd name="T69" fmla="*/ 59 h 160"/>
              <a:gd name="T70" fmla="*/ 45 w 115"/>
              <a:gd name="T71" fmla="*/ 61 h 160"/>
              <a:gd name="T72" fmla="*/ 64 w 115"/>
              <a:gd name="T73" fmla="*/ 64 h 160"/>
              <a:gd name="T74" fmla="*/ 11 w 115"/>
              <a:gd name="T75" fmla="*/ 69 h 160"/>
              <a:gd name="T76" fmla="*/ 24 w 115"/>
              <a:gd name="T77" fmla="*/ 67 h 160"/>
              <a:gd name="T78" fmla="*/ 24 w 115"/>
              <a:gd name="T79" fmla="*/ 67 h 160"/>
              <a:gd name="T80" fmla="*/ 5 w 115"/>
              <a:gd name="T81" fmla="*/ 86 h 160"/>
              <a:gd name="T82" fmla="*/ 24 w 115"/>
              <a:gd name="T83" fmla="*/ 88 h 160"/>
              <a:gd name="T84" fmla="*/ 19 w 115"/>
              <a:gd name="T85" fmla="*/ 78 h 160"/>
              <a:gd name="T86" fmla="*/ 32 w 115"/>
              <a:gd name="T87" fmla="*/ 75 h 160"/>
              <a:gd name="T88" fmla="*/ 32 w 115"/>
              <a:gd name="T89" fmla="*/ 75 h 160"/>
              <a:gd name="T90" fmla="*/ 37 w 115"/>
              <a:gd name="T91" fmla="*/ 69 h 160"/>
              <a:gd name="T92" fmla="*/ 56 w 115"/>
              <a:gd name="T93" fmla="*/ 72 h 160"/>
              <a:gd name="T94" fmla="*/ 43 w 115"/>
              <a:gd name="T95" fmla="*/ 86 h 160"/>
              <a:gd name="T96" fmla="*/ 56 w 115"/>
              <a:gd name="T97" fmla="*/ 83 h 160"/>
              <a:gd name="T98" fmla="*/ 56 w 115"/>
              <a:gd name="T99" fmla="*/ 83 h 160"/>
              <a:gd name="T100" fmla="*/ 45 w 115"/>
              <a:gd name="T101" fmla="*/ 78 h 160"/>
              <a:gd name="T102" fmla="*/ 64 w 115"/>
              <a:gd name="T103" fmla="*/ 80 h 160"/>
              <a:gd name="T104" fmla="*/ 75 w 115"/>
              <a:gd name="T105" fmla="*/ 69 h 160"/>
              <a:gd name="T106" fmla="*/ 72 w 115"/>
              <a:gd name="T107" fmla="*/ 83 h 160"/>
              <a:gd name="T108" fmla="*/ 72 w 115"/>
              <a:gd name="T109" fmla="*/ 83 h 160"/>
              <a:gd name="T110" fmla="*/ 102 w 115"/>
              <a:gd name="T111" fmla="*/ 69 h 160"/>
              <a:gd name="T112" fmla="*/ 104 w 115"/>
              <a:gd name="T113" fmla="*/ 8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 h="160">
                <a:moveTo>
                  <a:pt x="104" y="0"/>
                </a:moveTo>
                <a:cubicBezTo>
                  <a:pt x="99" y="0"/>
                  <a:pt x="99" y="0"/>
                  <a:pt x="99" y="0"/>
                </a:cubicBezTo>
                <a:cubicBezTo>
                  <a:pt x="80" y="0"/>
                  <a:pt x="80" y="0"/>
                  <a:pt x="80" y="0"/>
                </a:cubicBezTo>
                <a:cubicBezTo>
                  <a:pt x="0" y="0"/>
                  <a:pt x="0" y="0"/>
                  <a:pt x="0" y="0"/>
                </a:cubicBezTo>
                <a:cubicBezTo>
                  <a:pt x="0" y="45"/>
                  <a:pt x="0" y="45"/>
                  <a:pt x="0" y="45"/>
                </a:cubicBezTo>
                <a:cubicBezTo>
                  <a:pt x="0" y="99"/>
                  <a:pt x="0" y="99"/>
                  <a:pt x="0" y="99"/>
                </a:cubicBezTo>
                <a:cubicBezTo>
                  <a:pt x="0" y="144"/>
                  <a:pt x="0" y="144"/>
                  <a:pt x="0" y="144"/>
                </a:cubicBezTo>
                <a:cubicBezTo>
                  <a:pt x="11" y="144"/>
                  <a:pt x="11" y="144"/>
                  <a:pt x="11" y="144"/>
                </a:cubicBezTo>
                <a:cubicBezTo>
                  <a:pt x="11" y="160"/>
                  <a:pt x="11" y="160"/>
                  <a:pt x="11" y="160"/>
                </a:cubicBezTo>
                <a:cubicBezTo>
                  <a:pt x="21" y="153"/>
                  <a:pt x="21" y="153"/>
                  <a:pt x="21" y="153"/>
                </a:cubicBezTo>
                <a:cubicBezTo>
                  <a:pt x="32" y="160"/>
                  <a:pt x="32" y="160"/>
                  <a:pt x="32" y="160"/>
                </a:cubicBezTo>
                <a:cubicBezTo>
                  <a:pt x="32" y="144"/>
                  <a:pt x="32" y="144"/>
                  <a:pt x="32" y="144"/>
                </a:cubicBezTo>
                <a:cubicBezTo>
                  <a:pt x="80" y="144"/>
                  <a:pt x="80" y="144"/>
                  <a:pt x="80" y="144"/>
                </a:cubicBezTo>
                <a:cubicBezTo>
                  <a:pt x="99" y="144"/>
                  <a:pt x="99" y="144"/>
                  <a:pt x="99" y="144"/>
                </a:cubicBezTo>
                <a:cubicBezTo>
                  <a:pt x="104" y="144"/>
                  <a:pt x="104" y="144"/>
                  <a:pt x="104" y="144"/>
                </a:cubicBezTo>
                <a:cubicBezTo>
                  <a:pt x="110" y="144"/>
                  <a:pt x="115" y="140"/>
                  <a:pt x="115" y="134"/>
                </a:cubicBezTo>
                <a:cubicBezTo>
                  <a:pt x="115" y="99"/>
                  <a:pt x="115" y="99"/>
                  <a:pt x="115" y="99"/>
                </a:cubicBezTo>
                <a:cubicBezTo>
                  <a:pt x="115" y="45"/>
                  <a:pt x="115" y="45"/>
                  <a:pt x="115" y="45"/>
                </a:cubicBezTo>
                <a:cubicBezTo>
                  <a:pt x="115" y="11"/>
                  <a:pt x="115" y="11"/>
                  <a:pt x="115" y="11"/>
                </a:cubicBezTo>
                <a:cubicBezTo>
                  <a:pt x="115" y="5"/>
                  <a:pt x="110" y="0"/>
                  <a:pt x="104" y="0"/>
                </a:cubicBezTo>
                <a:close/>
                <a:moveTo>
                  <a:pt x="5" y="5"/>
                </a:moveTo>
                <a:cubicBezTo>
                  <a:pt x="80" y="5"/>
                  <a:pt x="80" y="5"/>
                  <a:pt x="80" y="5"/>
                </a:cubicBezTo>
                <a:cubicBezTo>
                  <a:pt x="80" y="45"/>
                  <a:pt x="80" y="45"/>
                  <a:pt x="80" y="45"/>
                </a:cubicBezTo>
                <a:cubicBezTo>
                  <a:pt x="5" y="45"/>
                  <a:pt x="5" y="45"/>
                  <a:pt x="5" y="45"/>
                </a:cubicBezTo>
                <a:lnTo>
                  <a:pt x="5" y="5"/>
                </a:lnTo>
                <a:close/>
                <a:moveTo>
                  <a:pt x="64" y="91"/>
                </a:moveTo>
                <a:cubicBezTo>
                  <a:pt x="63" y="91"/>
                  <a:pt x="61" y="92"/>
                  <a:pt x="61" y="94"/>
                </a:cubicBezTo>
                <a:cubicBezTo>
                  <a:pt x="61" y="94"/>
                  <a:pt x="61" y="94"/>
                  <a:pt x="61" y="94"/>
                </a:cubicBezTo>
                <a:cubicBezTo>
                  <a:pt x="51" y="94"/>
                  <a:pt x="51" y="94"/>
                  <a:pt x="51" y="94"/>
                </a:cubicBezTo>
                <a:cubicBezTo>
                  <a:pt x="51" y="94"/>
                  <a:pt x="51" y="94"/>
                  <a:pt x="51" y="94"/>
                </a:cubicBezTo>
                <a:cubicBezTo>
                  <a:pt x="51" y="92"/>
                  <a:pt x="50" y="91"/>
                  <a:pt x="48" y="91"/>
                </a:cubicBezTo>
                <a:cubicBezTo>
                  <a:pt x="47" y="91"/>
                  <a:pt x="45" y="92"/>
                  <a:pt x="45" y="94"/>
                </a:cubicBezTo>
                <a:cubicBezTo>
                  <a:pt x="45" y="94"/>
                  <a:pt x="45" y="94"/>
                  <a:pt x="45" y="94"/>
                </a:cubicBezTo>
                <a:cubicBezTo>
                  <a:pt x="35" y="94"/>
                  <a:pt x="35" y="94"/>
                  <a:pt x="35" y="94"/>
                </a:cubicBezTo>
                <a:cubicBezTo>
                  <a:pt x="35" y="94"/>
                  <a:pt x="35" y="94"/>
                  <a:pt x="35" y="94"/>
                </a:cubicBezTo>
                <a:cubicBezTo>
                  <a:pt x="35" y="92"/>
                  <a:pt x="34" y="91"/>
                  <a:pt x="32" y="91"/>
                </a:cubicBezTo>
                <a:cubicBezTo>
                  <a:pt x="31" y="91"/>
                  <a:pt x="29" y="92"/>
                  <a:pt x="29" y="94"/>
                </a:cubicBezTo>
                <a:cubicBezTo>
                  <a:pt x="29" y="94"/>
                  <a:pt x="29" y="94"/>
                  <a:pt x="29" y="94"/>
                </a:cubicBezTo>
                <a:cubicBezTo>
                  <a:pt x="19" y="94"/>
                  <a:pt x="19" y="94"/>
                  <a:pt x="19" y="94"/>
                </a:cubicBezTo>
                <a:cubicBezTo>
                  <a:pt x="19" y="94"/>
                  <a:pt x="19" y="94"/>
                  <a:pt x="19" y="94"/>
                </a:cubicBezTo>
                <a:cubicBezTo>
                  <a:pt x="19" y="92"/>
                  <a:pt x="18" y="91"/>
                  <a:pt x="16" y="91"/>
                </a:cubicBezTo>
                <a:cubicBezTo>
                  <a:pt x="15" y="91"/>
                  <a:pt x="13" y="92"/>
                  <a:pt x="13" y="94"/>
                </a:cubicBezTo>
                <a:cubicBezTo>
                  <a:pt x="13" y="94"/>
                  <a:pt x="13" y="94"/>
                  <a:pt x="13" y="94"/>
                </a:cubicBezTo>
                <a:cubicBezTo>
                  <a:pt x="5" y="94"/>
                  <a:pt x="5" y="94"/>
                  <a:pt x="5" y="94"/>
                </a:cubicBezTo>
                <a:cubicBezTo>
                  <a:pt x="5" y="86"/>
                  <a:pt x="5" y="86"/>
                  <a:pt x="5" y="86"/>
                </a:cubicBezTo>
                <a:cubicBezTo>
                  <a:pt x="5" y="69"/>
                  <a:pt x="5" y="69"/>
                  <a:pt x="5" y="69"/>
                </a:cubicBezTo>
                <a:cubicBezTo>
                  <a:pt x="5" y="53"/>
                  <a:pt x="5" y="53"/>
                  <a:pt x="5" y="53"/>
                </a:cubicBezTo>
                <a:cubicBezTo>
                  <a:pt x="5" y="51"/>
                  <a:pt x="5" y="51"/>
                  <a:pt x="5" y="51"/>
                </a:cubicBezTo>
                <a:cubicBezTo>
                  <a:pt x="8" y="51"/>
                  <a:pt x="8" y="51"/>
                  <a:pt x="8" y="51"/>
                </a:cubicBezTo>
                <a:cubicBezTo>
                  <a:pt x="6" y="51"/>
                  <a:pt x="5" y="52"/>
                  <a:pt x="5" y="53"/>
                </a:cubicBezTo>
                <a:cubicBezTo>
                  <a:pt x="5" y="55"/>
                  <a:pt x="7" y="56"/>
                  <a:pt x="8" y="56"/>
                </a:cubicBezTo>
                <a:cubicBezTo>
                  <a:pt x="9" y="56"/>
                  <a:pt x="11" y="55"/>
                  <a:pt x="11" y="53"/>
                </a:cubicBezTo>
                <a:cubicBezTo>
                  <a:pt x="11" y="52"/>
                  <a:pt x="10" y="51"/>
                  <a:pt x="8" y="51"/>
                </a:cubicBezTo>
                <a:cubicBezTo>
                  <a:pt x="24" y="51"/>
                  <a:pt x="24" y="51"/>
                  <a:pt x="24" y="51"/>
                </a:cubicBezTo>
                <a:cubicBezTo>
                  <a:pt x="23" y="51"/>
                  <a:pt x="21" y="52"/>
                  <a:pt x="21" y="53"/>
                </a:cubicBezTo>
                <a:cubicBezTo>
                  <a:pt x="21" y="55"/>
                  <a:pt x="23" y="56"/>
                  <a:pt x="24" y="56"/>
                </a:cubicBezTo>
                <a:cubicBezTo>
                  <a:pt x="26" y="56"/>
                  <a:pt x="27" y="55"/>
                  <a:pt x="27" y="53"/>
                </a:cubicBezTo>
                <a:cubicBezTo>
                  <a:pt x="27" y="52"/>
                  <a:pt x="26" y="51"/>
                  <a:pt x="24" y="51"/>
                </a:cubicBezTo>
                <a:cubicBezTo>
                  <a:pt x="40" y="51"/>
                  <a:pt x="40" y="51"/>
                  <a:pt x="40" y="51"/>
                </a:cubicBezTo>
                <a:cubicBezTo>
                  <a:pt x="39" y="51"/>
                  <a:pt x="37" y="52"/>
                  <a:pt x="37" y="53"/>
                </a:cubicBezTo>
                <a:cubicBezTo>
                  <a:pt x="37" y="55"/>
                  <a:pt x="39" y="56"/>
                  <a:pt x="40" y="56"/>
                </a:cubicBezTo>
                <a:cubicBezTo>
                  <a:pt x="42" y="56"/>
                  <a:pt x="43" y="55"/>
                  <a:pt x="43" y="53"/>
                </a:cubicBezTo>
                <a:cubicBezTo>
                  <a:pt x="43" y="52"/>
                  <a:pt x="42" y="51"/>
                  <a:pt x="40" y="51"/>
                </a:cubicBezTo>
                <a:cubicBezTo>
                  <a:pt x="56" y="51"/>
                  <a:pt x="56" y="51"/>
                  <a:pt x="56" y="51"/>
                </a:cubicBezTo>
                <a:cubicBezTo>
                  <a:pt x="55" y="51"/>
                  <a:pt x="53" y="52"/>
                  <a:pt x="53" y="53"/>
                </a:cubicBezTo>
                <a:cubicBezTo>
                  <a:pt x="53" y="55"/>
                  <a:pt x="55" y="56"/>
                  <a:pt x="56" y="56"/>
                </a:cubicBezTo>
                <a:cubicBezTo>
                  <a:pt x="58" y="56"/>
                  <a:pt x="59" y="55"/>
                  <a:pt x="59" y="53"/>
                </a:cubicBezTo>
                <a:cubicBezTo>
                  <a:pt x="59" y="52"/>
                  <a:pt x="58" y="51"/>
                  <a:pt x="56" y="51"/>
                </a:cubicBezTo>
                <a:cubicBezTo>
                  <a:pt x="72" y="51"/>
                  <a:pt x="72" y="51"/>
                  <a:pt x="72" y="51"/>
                </a:cubicBezTo>
                <a:cubicBezTo>
                  <a:pt x="71" y="51"/>
                  <a:pt x="69" y="52"/>
                  <a:pt x="69" y="53"/>
                </a:cubicBezTo>
                <a:cubicBezTo>
                  <a:pt x="69" y="55"/>
                  <a:pt x="71" y="56"/>
                  <a:pt x="72" y="56"/>
                </a:cubicBezTo>
                <a:cubicBezTo>
                  <a:pt x="74" y="56"/>
                  <a:pt x="75" y="55"/>
                  <a:pt x="75" y="53"/>
                </a:cubicBezTo>
                <a:cubicBezTo>
                  <a:pt x="75" y="52"/>
                  <a:pt x="74" y="51"/>
                  <a:pt x="72" y="51"/>
                </a:cubicBezTo>
                <a:cubicBezTo>
                  <a:pt x="80" y="51"/>
                  <a:pt x="80" y="51"/>
                  <a:pt x="80" y="51"/>
                </a:cubicBezTo>
                <a:cubicBezTo>
                  <a:pt x="80" y="59"/>
                  <a:pt x="80" y="59"/>
                  <a:pt x="80" y="59"/>
                </a:cubicBezTo>
                <a:cubicBezTo>
                  <a:pt x="79" y="59"/>
                  <a:pt x="78" y="60"/>
                  <a:pt x="78" y="61"/>
                </a:cubicBezTo>
                <a:cubicBezTo>
                  <a:pt x="78" y="63"/>
                  <a:pt x="79" y="64"/>
                  <a:pt x="80" y="64"/>
                </a:cubicBezTo>
                <a:cubicBezTo>
                  <a:pt x="80" y="75"/>
                  <a:pt x="80" y="75"/>
                  <a:pt x="80" y="75"/>
                </a:cubicBezTo>
                <a:cubicBezTo>
                  <a:pt x="79" y="75"/>
                  <a:pt x="78" y="76"/>
                  <a:pt x="78" y="78"/>
                </a:cubicBezTo>
                <a:cubicBezTo>
                  <a:pt x="78" y="79"/>
                  <a:pt x="79" y="80"/>
                  <a:pt x="80" y="80"/>
                </a:cubicBezTo>
                <a:cubicBezTo>
                  <a:pt x="80" y="91"/>
                  <a:pt x="80" y="91"/>
                  <a:pt x="80" y="91"/>
                </a:cubicBezTo>
                <a:cubicBezTo>
                  <a:pt x="79" y="91"/>
                  <a:pt x="78" y="92"/>
                  <a:pt x="78" y="94"/>
                </a:cubicBezTo>
                <a:cubicBezTo>
                  <a:pt x="78" y="94"/>
                  <a:pt x="78" y="94"/>
                  <a:pt x="78" y="94"/>
                </a:cubicBezTo>
                <a:cubicBezTo>
                  <a:pt x="67" y="94"/>
                  <a:pt x="67" y="94"/>
                  <a:pt x="67" y="94"/>
                </a:cubicBezTo>
                <a:cubicBezTo>
                  <a:pt x="67" y="94"/>
                  <a:pt x="67" y="94"/>
                  <a:pt x="67" y="94"/>
                </a:cubicBezTo>
                <a:cubicBezTo>
                  <a:pt x="67" y="92"/>
                  <a:pt x="66" y="91"/>
                  <a:pt x="64" y="91"/>
                </a:cubicBezTo>
                <a:close/>
                <a:moveTo>
                  <a:pt x="27" y="150"/>
                </a:moveTo>
                <a:cubicBezTo>
                  <a:pt x="21" y="146"/>
                  <a:pt x="21" y="146"/>
                  <a:pt x="21" y="146"/>
                </a:cubicBezTo>
                <a:cubicBezTo>
                  <a:pt x="16" y="150"/>
                  <a:pt x="16" y="150"/>
                  <a:pt x="16" y="150"/>
                </a:cubicBezTo>
                <a:cubicBezTo>
                  <a:pt x="16" y="144"/>
                  <a:pt x="16" y="144"/>
                  <a:pt x="16" y="144"/>
                </a:cubicBezTo>
                <a:cubicBezTo>
                  <a:pt x="27" y="144"/>
                  <a:pt x="27" y="144"/>
                  <a:pt x="27" y="144"/>
                </a:cubicBezTo>
                <a:lnTo>
                  <a:pt x="27" y="150"/>
                </a:lnTo>
                <a:close/>
                <a:moveTo>
                  <a:pt x="32" y="139"/>
                </a:moveTo>
                <a:cubicBezTo>
                  <a:pt x="11" y="139"/>
                  <a:pt x="11" y="139"/>
                  <a:pt x="11" y="139"/>
                </a:cubicBezTo>
                <a:cubicBezTo>
                  <a:pt x="5" y="139"/>
                  <a:pt x="5" y="139"/>
                  <a:pt x="5" y="139"/>
                </a:cubicBezTo>
                <a:cubicBezTo>
                  <a:pt x="5" y="99"/>
                  <a:pt x="5" y="99"/>
                  <a:pt x="5" y="99"/>
                </a:cubicBezTo>
                <a:cubicBezTo>
                  <a:pt x="80" y="99"/>
                  <a:pt x="80" y="99"/>
                  <a:pt x="80" y="99"/>
                </a:cubicBezTo>
                <a:cubicBezTo>
                  <a:pt x="80" y="139"/>
                  <a:pt x="80" y="139"/>
                  <a:pt x="80" y="139"/>
                </a:cubicBezTo>
                <a:lnTo>
                  <a:pt x="32" y="139"/>
                </a:lnTo>
                <a:close/>
                <a:moveTo>
                  <a:pt x="86" y="139"/>
                </a:moveTo>
                <a:cubicBezTo>
                  <a:pt x="86" y="99"/>
                  <a:pt x="86" y="99"/>
                  <a:pt x="86" y="99"/>
                </a:cubicBezTo>
                <a:cubicBezTo>
                  <a:pt x="86" y="45"/>
                  <a:pt x="86" y="45"/>
                  <a:pt x="86" y="45"/>
                </a:cubicBezTo>
                <a:cubicBezTo>
                  <a:pt x="86" y="5"/>
                  <a:pt x="86" y="5"/>
                  <a:pt x="86" y="5"/>
                </a:cubicBezTo>
                <a:cubicBezTo>
                  <a:pt x="94" y="5"/>
                  <a:pt x="94" y="5"/>
                  <a:pt x="94" y="5"/>
                </a:cubicBezTo>
                <a:cubicBezTo>
                  <a:pt x="94" y="45"/>
                  <a:pt x="94" y="45"/>
                  <a:pt x="94" y="45"/>
                </a:cubicBezTo>
                <a:cubicBezTo>
                  <a:pt x="94" y="99"/>
                  <a:pt x="94" y="99"/>
                  <a:pt x="94" y="99"/>
                </a:cubicBezTo>
                <a:cubicBezTo>
                  <a:pt x="94" y="139"/>
                  <a:pt x="94" y="139"/>
                  <a:pt x="94" y="139"/>
                </a:cubicBezTo>
                <a:lnTo>
                  <a:pt x="86" y="139"/>
                </a:lnTo>
                <a:close/>
                <a:moveTo>
                  <a:pt x="104" y="56"/>
                </a:moveTo>
                <a:cubicBezTo>
                  <a:pt x="106" y="56"/>
                  <a:pt x="107" y="55"/>
                  <a:pt x="107" y="53"/>
                </a:cubicBezTo>
                <a:cubicBezTo>
                  <a:pt x="107" y="52"/>
                  <a:pt x="106" y="51"/>
                  <a:pt x="104" y="51"/>
                </a:cubicBezTo>
                <a:cubicBezTo>
                  <a:pt x="110" y="51"/>
                  <a:pt x="110" y="51"/>
                  <a:pt x="110" y="51"/>
                </a:cubicBezTo>
                <a:cubicBezTo>
                  <a:pt x="110" y="94"/>
                  <a:pt x="110" y="94"/>
                  <a:pt x="110" y="94"/>
                </a:cubicBezTo>
                <a:cubicBezTo>
                  <a:pt x="99" y="94"/>
                  <a:pt x="99" y="94"/>
                  <a:pt x="99" y="94"/>
                </a:cubicBezTo>
                <a:cubicBezTo>
                  <a:pt x="99" y="51"/>
                  <a:pt x="99" y="51"/>
                  <a:pt x="99" y="51"/>
                </a:cubicBezTo>
                <a:cubicBezTo>
                  <a:pt x="104" y="51"/>
                  <a:pt x="104" y="51"/>
                  <a:pt x="104" y="51"/>
                </a:cubicBezTo>
                <a:cubicBezTo>
                  <a:pt x="103" y="51"/>
                  <a:pt x="102" y="52"/>
                  <a:pt x="102" y="53"/>
                </a:cubicBezTo>
                <a:cubicBezTo>
                  <a:pt x="102" y="55"/>
                  <a:pt x="103" y="56"/>
                  <a:pt x="104" y="56"/>
                </a:cubicBezTo>
                <a:close/>
                <a:moveTo>
                  <a:pt x="110" y="134"/>
                </a:moveTo>
                <a:cubicBezTo>
                  <a:pt x="110" y="137"/>
                  <a:pt x="107" y="139"/>
                  <a:pt x="104" y="139"/>
                </a:cubicBezTo>
                <a:cubicBezTo>
                  <a:pt x="99" y="139"/>
                  <a:pt x="99" y="139"/>
                  <a:pt x="99" y="139"/>
                </a:cubicBezTo>
                <a:cubicBezTo>
                  <a:pt x="99" y="99"/>
                  <a:pt x="99" y="99"/>
                  <a:pt x="99" y="99"/>
                </a:cubicBezTo>
                <a:cubicBezTo>
                  <a:pt x="110" y="99"/>
                  <a:pt x="110" y="99"/>
                  <a:pt x="110" y="99"/>
                </a:cubicBezTo>
                <a:lnTo>
                  <a:pt x="110" y="134"/>
                </a:lnTo>
                <a:close/>
                <a:moveTo>
                  <a:pt x="99" y="45"/>
                </a:moveTo>
                <a:cubicBezTo>
                  <a:pt x="99" y="5"/>
                  <a:pt x="99" y="5"/>
                  <a:pt x="99" y="5"/>
                </a:cubicBezTo>
                <a:cubicBezTo>
                  <a:pt x="104" y="5"/>
                  <a:pt x="104" y="5"/>
                  <a:pt x="104" y="5"/>
                </a:cubicBezTo>
                <a:cubicBezTo>
                  <a:pt x="107" y="5"/>
                  <a:pt x="110" y="8"/>
                  <a:pt x="110" y="11"/>
                </a:cubicBezTo>
                <a:cubicBezTo>
                  <a:pt x="110" y="45"/>
                  <a:pt x="110" y="45"/>
                  <a:pt x="110" y="45"/>
                </a:cubicBezTo>
                <a:lnTo>
                  <a:pt x="99" y="45"/>
                </a:lnTo>
                <a:close/>
                <a:moveTo>
                  <a:pt x="16" y="59"/>
                </a:moveTo>
                <a:cubicBezTo>
                  <a:pt x="18" y="59"/>
                  <a:pt x="19" y="60"/>
                  <a:pt x="19" y="61"/>
                </a:cubicBezTo>
                <a:cubicBezTo>
                  <a:pt x="19" y="63"/>
                  <a:pt x="18" y="64"/>
                  <a:pt x="16" y="64"/>
                </a:cubicBezTo>
                <a:cubicBezTo>
                  <a:pt x="15" y="64"/>
                  <a:pt x="13" y="63"/>
                  <a:pt x="13" y="61"/>
                </a:cubicBezTo>
                <a:cubicBezTo>
                  <a:pt x="13" y="60"/>
                  <a:pt x="15" y="59"/>
                  <a:pt x="16" y="59"/>
                </a:cubicBezTo>
                <a:close/>
                <a:moveTo>
                  <a:pt x="32" y="59"/>
                </a:moveTo>
                <a:cubicBezTo>
                  <a:pt x="34" y="59"/>
                  <a:pt x="35" y="60"/>
                  <a:pt x="35" y="61"/>
                </a:cubicBezTo>
                <a:cubicBezTo>
                  <a:pt x="35" y="63"/>
                  <a:pt x="34" y="64"/>
                  <a:pt x="32" y="64"/>
                </a:cubicBezTo>
                <a:cubicBezTo>
                  <a:pt x="31" y="64"/>
                  <a:pt x="29" y="63"/>
                  <a:pt x="29" y="61"/>
                </a:cubicBezTo>
                <a:cubicBezTo>
                  <a:pt x="29" y="60"/>
                  <a:pt x="31" y="59"/>
                  <a:pt x="32" y="59"/>
                </a:cubicBezTo>
                <a:close/>
                <a:moveTo>
                  <a:pt x="48" y="59"/>
                </a:moveTo>
                <a:cubicBezTo>
                  <a:pt x="50" y="59"/>
                  <a:pt x="51" y="60"/>
                  <a:pt x="51" y="61"/>
                </a:cubicBezTo>
                <a:cubicBezTo>
                  <a:pt x="51" y="63"/>
                  <a:pt x="50" y="64"/>
                  <a:pt x="48" y="64"/>
                </a:cubicBezTo>
                <a:cubicBezTo>
                  <a:pt x="47" y="64"/>
                  <a:pt x="45" y="63"/>
                  <a:pt x="45" y="61"/>
                </a:cubicBezTo>
                <a:cubicBezTo>
                  <a:pt x="45" y="60"/>
                  <a:pt x="47" y="59"/>
                  <a:pt x="48" y="59"/>
                </a:cubicBezTo>
                <a:close/>
                <a:moveTo>
                  <a:pt x="64" y="59"/>
                </a:moveTo>
                <a:cubicBezTo>
                  <a:pt x="66" y="59"/>
                  <a:pt x="67" y="60"/>
                  <a:pt x="67" y="61"/>
                </a:cubicBezTo>
                <a:cubicBezTo>
                  <a:pt x="67" y="63"/>
                  <a:pt x="66" y="64"/>
                  <a:pt x="64" y="64"/>
                </a:cubicBezTo>
                <a:cubicBezTo>
                  <a:pt x="63" y="64"/>
                  <a:pt x="61" y="63"/>
                  <a:pt x="61" y="61"/>
                </a:cubicBezTo>
                <a:cubicBezTo>
                  <a:pt x="61" y="60"/>
                  <a:pt x="63" y="59"/>
                  <a:pt x="64" y="59"/>
                </a:cubicBezTo>
                <a:close/>
                <a:moveTo>
                  <a:pt x="8" y="67"/>
                </a:moveTo>
                <a:cubicBezTo>
                  <a:pt x="9" y="67"/>
                  <a:pt x="11" y="68"/>
                  <a:pt x="11" y="69"/>
                </a:cubicBezTo>
                <a:cubicBezTo>
                  <a:pt x="11" y="71"/>
                  <a:pt x="9" y="72"/>
                  <a:pt x="8" y="72"/>
                </a:cubicBezTo>
                <a:cubicBezTo>
                  <a:pt x="7" y="72"/>
                  <a:pt x="5" y="71"/>
                  <a:pt x="5" y="69"/>
                </a:cubicBezTo>
                <a:cubicBezTo>
                  <a:pt x="5" y="68"/>
                  <a:pt x="7" y="67"/>
                  <a:pt x="8" y="67"/>
                </a:cubicBezTo>
                <a:close/>
                <a:moveTo>
                  <a:pt x="24" y="67"/>
                </a:moveTo>
                <a:cubicBezTo>
                  <a:pt x="26" y="67"/>
                  <a:pt x="27" y="68"/>
                  <a:pt x="27" y="69"/>
                </a:cubicBezTo>
                <a:cubicBezTo>
                  <a:pt x="27" y="71"/>
                  <a:pt x="26" y="72"/>
                  <a:pt x="24" y="72"/>
                </a:cubicBezTo>
                <a:cubicBezTo>
                  <a:pt x="23" y="72"/>
                  <a:pt x="21" y="71"/>
                  <a:pt x="21" y="69"/>
                </a:cubicBezTo>
                <a:cubicBezTo>
                  <a:pt x="21" y="68"/>
                  <a:pt x="23" y="67"/>
                  <a:pt x="24" y="67"/>
                </a:cubicBezTo>
                <a:close/>
                <a:moveTo>
                  <a:pt x="8" y="83"/>
                </a:moveTo>
                <a:cubicBezTo>
                  <a:pt x="9" y="83"/>
                  <a:pt x="11" y="84"/>
                  <a:pt x="11" y="86"/>
                </a:cubicBezTo>
                <a:cubicBezTo>
                  <a:pt x="11" y="87"/>
                  <a:pt x="9" y="88"/>
                  <a:pt x="8" y="88"/>
                </a:cubicBezTo>
                <a:cubicBezTo>
                  <a:pt x="7" y="88"/>
                  <a:pt x="5" y="87"/>
                  <a:pt x="5" y="86"/>
                </a:cubicBezTo>
                <a:cubicBezTo>
                  <a:pt x="5" y="84"/>
                  <a:pt x="7" y="83"/>
                  <a:pt x="8" y="83"/>
                </a:cubicBezTo>
                <a:close/>
                <a:moveTo>
                  <a:pt x="24" y="83"/>
                </a:moveTo>
                <a:cubicBezTo>
                  <a:pt x="26" y="83"/>
                  <a:pt x="27" y="84"/>
                  <a:pt x="27" y="86"/>
                </a:cubicBezTo>
                <a:cubicBezTo>
                  <a:pt x="27" y="87"/>
                  <a:pt x="26" y="88"/>
                  <a:pt x="24" y="88"/>
                </a:cubicBezTo>
                <a:cubicBezTo>
                  <a:pt x="23" y="88"/>
                  <a:pt x="21" y="87"/>
                  <a:pt x="21" y="86"/>
                </a:cubicBezTo>
                <a:cubicBezTo>
                  <a:pt x="21" y="84"/>
                  <a:pt x="23" y="83"/>
                  <a:pt x="24" y="83"/>
                </a:cubicBezTo>
                <a:close/>
                <a:moveTo>
                  <a:pt x="16" y="75"/>
                </a:moveTo>
                <a:cubicBezTo>
                  <a:pt x="18" y="75"/>
                  <a:pt x="19" y="76"/>
                  <a:pt x="19" y="78"/>
                </a:cubicBezTo>
                <a:cubicBezTo>
                  <a:pt x="19" y="79"/>
                  <a:pt x="18" y="80"/>
                  <a:pt x="16" y="80"/>
                </a:cubicBezTo>
                <a:cubicBezTo>
                  <a:pt x="15" y="80"/>
                  <a:pt x="13" y="79"/>
                  <a:pt x="13" y="78"/>
                </a:cubicBezTo>
                <a:cubicBezTo>
                  <a:pt x="13" y="76"/>
                  <a:pt x="15" y="75"/>
                  <a:pt x="16" y="75"/>
                </a:cubicBezTo>
                <a:close/>
                <a:moveTo>
                  <a:pt x="32" y="75"/>
                </a:moveTo>
                <a:cubicBezTo>
                  <a:pt x="34" y="75"/>
                  <a:pt x="35" y="76"/>
                  <a:pt x="35" y="78"/>
                </a:cubicBezTo>
                <a:cubicBezTo>
                  <a:pt x="35" y="79"/>
                  <a:pt x="34" y="80"/>
                  <a:pt x="32" y="80"/>
                </a:cubicBezTo>
                <a:cubicBezTo>
                  <a:pt x="31" y="80"/>
                  <a:pt x="29" y="79"/>
                  <a:pt x="29" y="78"/>
                </a:cubicBezTo>
                <a:cubicBezTo>
                  <a:pt x="29" y="76"/>
                  <a:pt x="31" y="75"/>
                  <a:pt x="32" y="75"/>
                </a:cubicBezTo>
                <a:close/>
                <a:moveTo>
                  <a:pt x="40" y="67"/>
                </a:moveTo>
                <a:cubicBezTo>
                  <a:pt x="42" y="67"/>
                  <a:pt x="43" y="68"/>
                  <a:pt x="43" y="69"/>
                </a:cubicBezTo>
                <a:cubicBezTo>
                  <a:pt x="43" y="71"/>
                  <a:pt x="42" y="72"/>
                  <a:pt x="40" y="72"/>
                </a:cubicBezTo>
                <a:cubicBezTo>
                  <a:pt x="39" y="72"/>
                  <a:pt x="37" y="71"/>
                  <a:pt x="37" y="69"/>
                </a:cubicBezTo>
                <a:cubicBezTo>
                  <a:pt x="37" y="68"/>
                  <a:pt x="39" y="67"/>
                  <a:pt x="40" y="67"/>
                </a:cubicBezTo>
                <a:close/>
                <a:moveTo>
                  <a:pt x="56" y="67"/>
                </a:moveTo>
                <a:cubicBezTo>
                  <a:pt x="58" y="67"/>
                  <a:pt x="59" y="68"/>
                  <a:pt x="59" y="69"/>
                </a:cubicBezTo>
                <a:cubicBezTo>
                  <a:pt x="59" y="71"/>
                  <a:pt x="58" y="72"/>
                  <a:pt x="56" y="72"/>
                </a:cubicBezTo>
                <a:cubicBezTo>
                  <a:pt x="55" y="72"/>
                  <a:pt x="53" y="71"/>
                  <a:pt x="53" y="69"/>
                </a:cubicBezTo>
                <a:cubicBezTo>
                  <a:pt x="53" y="68"/>
                  <a:pt x="55" y="67"/>
                  <a:pt x="56" y="67"/>
                </a:cubicBezTo>
                <a:close/>
                <a:moveTo>
                  <a:pt x="40" y="83"/>
                </a:moveTo>
                <a:cubicBezTo>
                  <a:pt x="42" y="83"/>
                  <a:pt x="43" y="84"/>
                  <a:pt x="43" y="86"/>
                </a:cubicBezTo>
                <a:cubicBezTo>
                  <a:pt x="43" y="87"/>
                  <a:pt x="42" y="88"/>
                  <a:pt x="40" y="88"/>
                </a:cubicBezTo>
                <a:cubicBezTo>
                  <a:pt x="39" y="88"/>
                  <a:pt x="37" y="87"/>
                  <a:pt x="37" y="86"/>
                </a:cubicBezTo>
                <a:cubicBezTo>
                  <a:pt x="37" y="84"/>
                  <a:pt x="39" y="83"/>
                  <a:pt x="40" y="83"/>
                </a:cubicBezTo>
                <a:close/>
                <a:moveTo>
                  <a:pt x="56" y="83"/>
                </a:moveTo>
                <a:cubicBezTo>
                  <a:pt x="58" y="83"/>
                  <a:pt x="59" y="84"/>
                  <a:pt x="59" y="86"/>
                </a:cubicBezTo>
                <a:cubicBezTo>
                  <a:pt x="59" y="87"/>
                  <a:pt x="58" y="88"/>
                  <a:pt x="56" y="88"/>
                </a:cubicBezTo>
                <a:cubicBezTo>
                  <a:pt x="55" y="88"/>
                  <a:pt x="53" y="87"/>
                  <a:pt x="53" y="86"/>
                </a:cubicBezTo>
                <a:cubicBezTo>
                  <a:pt x="53" y="84"/>
                  <a:pt x="55" y="83"/>
                  <a:pt x="56" y="83"/>
                </a:cubicBezTo>
                <a:close/>
                <a:moveTo>
                  <a:pt x="48" y="75"/>
                </a:moveTo>
                <a:cubicBezTo>
                  <a:pt x="50" y="75"/>
                  <a:pt x="51" y="76"/>
                  <a:pt x="51" y="78"/>
                </a:cubicBezTo>
                <a:cubicBezTo>
                  <a:pt x="51" y="79"/>
                  <a:pt x="50" y="80"/>
                  <a:pt x="48" y="80"/>
                </a:cubicBezTo>
                <a:cubicBezTo>
                  <a:pt x="47" y="80"/>
                  <a:pt x="45" y="79"/>
                  <a:pt x="45" y="78"/>
                </a:cubicBezTo>
                <a:cubicBezTo>
                  <a:pt x="45" y="76"/>
                  <a:pt x="47" y="75"/>
                  <a:pt x="48" y="75"/>
                </a:cubicBezTo>
                <a:close/>
                <a:moveTo>
                  <a:pt x="64" y="75"/>
                </a:moveTo>
                <a:cubicBezTo>
                  <a:pt x="66" y="75"/>
                  <a:pt x="67" y="76"/>
                  <a:pt x="67" y="78"/>
                </a:cubicBezTo>
                <a:cubicBezTo>
                  <a:pt x="67" y="79"/>
                  <a:pt x="66" y="80"/>
                  <a:pt x="64" y="80"/>
                </a:cubicBezTo>
                <a:cubicBezTo>
                  <a:pt x="63" y="80"/>
                  <a:pt x="61" y="79"/>
                  <a:pt x="61" y="78"/>
                </a:cubicBezTo>
                <a:cubicBezTo>
                  <a:pt x="61" y="76"/>
                  <a:pt x="63" y="75"/>
                  <a:pt x="64" y="75"/>
                </a:cubicBezTo>
                <a:close/>
                <a:moveTo>
                  <a:pt x="72" y="67"/>
                </a:moveTo>
                <a:cubicBezTo>
                  <a:pt x="74" y="67"/>
                  <a:pt x="75" y="68"/>
                  <a:pt x="75" y="69"/>
                </a:cubicBezTo>
                <a:cubicBezTo>
                  <a:pt x="75" y="71"/>
                  <a:pt x="74" y="72"/>
                  <a:pt x="72" y="72"/>
                </a:cubicBezTo>
                <a:cubicBezTo>
                  <a:pt x="71" y="72"/>
                  <a:pt x="69" y="71"/>
                  <a:pt x="69" y="69"/>
                </a:cubicBezTo>
                <a:cubicBezTo>
                  <a:pt x="69" y="68"/>
                  <a:pt x="71" y="67"/>
                  <a:pt x="72" y="67"/>
                </a:cubicBezTo>
                <a:close/>
                <a:moveTo>
                  <a:pt x="72" y="83"/>
                </a:moveTo>
                <a:cubicBezTo>
                  <a:pt x="74" y="83"/>
                  <a:pt x="75" y="84"/>
                  <a:pt x="75" y="86"/>
                </a:cubicBezTo>
                <a:cubicBezTo>
                  <a:pt x="75" y="87"/>
                  <a:pt x="74" y="88"/>
                  <a:pt x="72" y="88"/>
                </a:cubicBezTo>
                <a:cubicBezTo>
                  <a:pt x="71" y="88"/>
                  <a:pt x="69" y="87"/>
                  <a:pt x="69" y="86"/>
                </a:cubicBezTo>
                <a:cubicBezTo>
                  <a:pt x="69" y="84"/>
                  <a:pt x="71" y="83"/>
                  <a:pt x="72" y="83"/>
                </a:cubicBezTo>
                <a:close/>
                <a:moveTo>
                  <a:pt x="104" y="67"/>
                </a:moveTo>
                <a:cubicBezTo>
                  <a:pt x="106" y="67"/>
                  <a:pt x="107" y="68"/>
                  <a:pt x="107" y="69"/>
                </a:cubicBezTo>
                <a:cubicBezTo>
                  <a:pt x="107" y="71"/>
                  <a:pt x="106" y="72"/>
                  <a:pt x="104" y="72"/>
                </a:cubicBezTo>
                <a:cubicBezTo>
                  <a:pt x="103" y="72"/>
                  <a:pt x="102" y="71"/>
                  <a:pt x="102" y="69"/>
                </a:cubicBezTo>
                <a:cubicBezTo>
                  <a:pt x="102" y="68"/>
                  <a:pt x="103" y="67"/>
                  <a:pt x="104" y="67"/>
                </a:cubicBezTo>
                <a:close/>
                <a:moveTo>
                  <a:pt x="104" y="83"/>
                </a:moveTo>
                <a:cubicBezTo>
                  <a:pt x="106" y="83"/>
                  <a:pt x="107" y="84"/>
                  <a:pt x="107" y="86"/>
                </a:cubicBezTo>
                <a:cubicBezTo>
                  <a:pt x="107" y="87"/>
                  <a:pt x="106" y="88"/>
                  <a:pt x="104" y="88"/>
                </a:cubicBezTo>
                <a:cubicBezTo>
                  <a:pt x="103" y="88"/>
                  <a:pt x="102" y="87"/>
                  <a:pt x="102" y="86"/>
                </a:cubicBezTo>
                <a:cubicBezTo>
                  <a:pt x="102" y="84"/>
                  <a:pt x="103" y="83"/>
                  <a:pt x="104" y="83"/>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302">
            <a:extLst>
              <a:ext uri="{FF2B5EF4-FFF2-40B4-BE49-F238E27FC236}">
                <a16:creationId xmlns:a16="http://schemas.microsoft.com/office/drawing/2014/main" id="{02E9BE5E-FBCB-5D4E-BFB4-8E3F0B6A0AFA}"/>
              </a:ext>
            </a:extLst>
          </p:cNvPr>
          <p:cNvSpPr>
            <a:spLocks noEditPoints="1"/>
          </p:cNvSpPr>
          <p:nvPr/>
        </p:nvSpPr>
        <p:spPr bwMode="auto">
          <a:xfrm>
            <a:off x="1525162" y="4700588"/>
            <a:ext cx="392113" cy="550863"/>
          </a:xfrm>
          <a:custGeom>
            <a:avLst/>
            <a:gdLst>
              <a:gd name="T0" fmla="*/ 99 w 115"/>
              <a:gd name="T1" fmla="*/ 0 h 160"/>
              <a:gd name="T2" fmla="*/ 0 w 115"/>
              <a:gd name="T3" fmla="*/ 0 h 160"/>
              <a:gd name="T4" fmla="*/ 0 w 115"/>
              <a:gd name="T5" fmla="*/ 99 h 160"/>
              <a:gd name="T6" fmla="*/ 11 w 115"/>
              <a:gd name="T7" fmla="*/ 144 h 160"/>
              <a:gd name="T8" fmla="*/ 21 w 115"/>
              <a:gd name="T9" fmla="*/ 153 h 160"/>
              <a:gd name="T10" fmla="*/ 32 w 115"/>
              <a:gd name="T11" fmla="*/ 144 h 160"/>
              <a:gd name="T12" fmla="*/ 99 w 115"/>
              <a:gd name="T13" fmla="*/ 144 h 160"/>
              <a:gd name="T14" fmla="*/ 115 w 115"/>
              <a:gd name="T15" fmla="*/ 134 h 160"/>
              <a:gd name="T16" fmla="*/ 115 w 115"/>
              <a:gd name="T17" fmla="*/ 45 h 160"/>
              <a:gd name="T18" fmla="*/ 104 w 115"/>
              <a:gd name="T19" fmla="*/ 0 h 160"/>
              <a:gd name="T20" fmla="*/ 80 w 115"/>
              <a:gd name="T21" fmla="*/ 5 h 160"/>
              <a:gd name="T22" fmla="*/ 5 w 115"/>
              <a:gd name="T23" fmla="*/ 45 h 160"/>
              <a:gd name="T24" fmla="*/ 80 w 115"/>
              <a:gd name="T25" fmla="*/ 94 h 160"/>
              <a:gd name="T26" fmla="*/ 5 w 115"/>
              <a:gd name="T27" fmla="*/ 51 h 160"/>
              <a:gd name="T28" fmla="*/ 80 w 115"/>
              <a:gd name="T29" fmla="*/ 94 h 160"/>
              <a:gd name="T30" fmla="*/ 21 w 115"/>
              <a:gd name="T31" fmla="*/ 146 h 160"/>
              <a:gd name="T32" fmla="*/ 16 w 115"/>
              <a:gd name="T33" fmla="*/ 144 h 160"/>
              <a:gd name="T34" fmla="*/ 27 w 115"/>
              <a:gd name="T35" fmla="*/ 150 h 160"/>
              <a:gd name="T36" fmla="*/ 11 w 115"/>
              <a:gd name="T37" fmla="*/ 139 h 160"/>
              <a:gd name="T38" fmla="*/ 5 w 115"/>
              <a:gd name="T39" fmla="*/ 99 h 160"/>
              <a:gd name="T40" fmla="*/ 80 w 115"/>
              <a:gd name="T41" fmla="*/ 139 h 160"/>
              <a:gd name="T42" fmla="*/ 86 w 115"/>
              <a:gd name="T43" fmla="*/ 139 h 160"/>
              <a:gd name="T44" fmla="*/ 86 w 115"/>
              <a:gd name="T45" fmla="*/ 45 h 160"/>
              <a:gd name="T46" fmla="*/ 94 w 115"/>
              <a:gd name="T47" fmla="*/ 5 h 160"/>
              <a:gd name="T48" fmla="*/ 94 w 115"/>
              <a:gd name="T49" fmla="*/ 99 h 160"/>
              <a:gd name="T50" fmla="*/ 86 w 115"/>
              <a:gd name="T51" fmla="*/ 139 h 160"/>
              <a:gd name="T52" fmla="*/ 110 w 115"/>
              <a:gd name="T53" fmla="*/ 51 h 160"/>
              <a:gd name="T54" fmla="*/ 99 w 115"/>
              <a:gd name="T55" fmla="*/ 94 h 160"/>
              <a:gd name="T56" fmla="*/ 110 w 115"/>
              <a:gd name="T57" fmla="*/ 134 h 160"/>
              <a:gd name="T58" fmla="*/ 99 w 115"/>
              <a:gd name="T59" fmla="*/ 139 h 160"/>
              <a:gd name="T60" fmla="*/ 110 w 115"/>
              <a:gd name="T61" fmla="*/ 99 h 160"/>
              <a:gd name="T62" fmla="*/ 99 w 115"/>
              <a:gd name="T63" fmla="*/ 45 h 160"/>
              <a:gd name="T64" fmla="*/ 104 w 115"/>
              <a:gd name="T65" fmla="*/ 5 h 160"/>
              <a:gd name="T66" fmla="*/ 110 w 115"/>
              <a:gd name="T67" fmla="*/ 4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60">
                <a:moveTo>
                  <a:pt x="104" y="0"/>
                </a:moveTo>
                <a:cubicBezTo>
                  <a:pt x="99" y="0"/>
                  <a:pt x="99" y="0"/>
                  <a:pt x="99" y="0"/>
                </a:cubicBezTo>
                <a:cubicBezTo>
                  <a:pt x="80" y="0"/>
                  <a:pt x="80" y="0"/>
                  <a:pt x="80" y="0"/>
                </a:cubicBezTo>
                <a:cubicBezTo>
                  <a:pt x="0" y="0"/>
                  <a:pt x="0" y="0"/>
                  <a:pt x="0" y="0"/>
                </a:cubicBezTo>
                <a:cubicBezTo>
                  <a:pt x="0" y="45"/>
                  <a:pt x="0" y="45"/>
                  <a:pt x="0" y="45"/>
                </a:cubicBezTo>
                <a:cubicBezTo>
                  <a:pt x="0" y="99"/>
                  <a:pt x="0" y="99"/>
                  <a:pt x="0" y="99"/>
                </a:cubicBezTo>
                <a:cubicBezTo>
                  <a:pt x="0" y="144"/>
                  <a:pt x="0" y="144"/>
                  <a:pt x="0" y="144"/>
                </a:cubicBezTo>
                <a:cubicBezTo>
                  <a:pt x="11" y="144"/>
                  <a:pt x="11" y="144"/>
                  <a:pt x="11" y="144"/>
                </a:cubicBezTo>
                <a:cubicBezTo>
                  <a:pt x="11" y="160"/>
                  <a:pt x="11" y="160"/>
                  <a:pt x="11" y="160"/>
                </a:cubicBezTo>
                <a:cubicBezTo>
                  <a:pt x="21" y="153"/>
                  <a:pt x="21" y="153"/>
                  <a:pt x="21" y="153"/>
                </a:cubicBezTo>
                <a:cubicBezTo>
                  <a:pt x="32" y="160"/>
                  <a:pt x="32" y="160"/>
                  <a:pt x="32" y="160"/>
                </a:cubicBezTo>
                <a:cubicBezTo>
                  <a:pt x="32" y="144"/>
                  <a:pt x="32" y="144"/>
                  <a:pt x="32" y="144"/>
                </a:cubicBezTo>
                <a:cubicBezTo>
                  <a:pt x="80" y="144"/>
                  <a:pt x="80" y="144"/>
                  <a:pt x="80" y="144"/>
                </a:cubicBezTo>
                <a:cubicBezTo>
                  <a:pt x="99" y="144"/>
                  <a:pt x="99" y="144"/>
                  <a:pt x="99" y="144"/>
                </a:cubicBezTo>
                <a:cubicBezTo>
                  <a:pt x="104" y="144"/>
                  <a:pt x="104" y="144"/>
                  <a:pt x="104" y="144"/>
                </a:cubicBezTo>
                <a:cubicBezTo>
                  <a:pt x="110" y="144"/>
                  <a:pt x="115" y="140"/>
                  <a:pt x="115" y="134"/>
                </a:cubicBezTo>
                <a:cubicBezTo>
                  <a:pt x="115" y="99"/>
                  <a:pt x="115" y="99"/>
                  <a:pt x="115" y="99"/>
                </a:cubicBezTo>
                <a:cubicBezTo>
                  <a:pt x="115" y="45"/>
                  <a:pt x="115" y="45"/>
                  <a:pt x="115" y="45"/>
                </a:cubicBezTo>
                <a:cubicBezTo>
                  <a:pt x="115" y="11"/>
                  <a:pt x="115" y="11"/>
                  <a:pt x="115" y="11"/>
                </a:cubicBezTo>
                <a:cubicBezTo>
                  <a:pt x="115" y="5"/>
                  <a:pt x="110" y="0"/>
                  <a:pt x="104" y="0"/>
                </a:cubicBezTo>
                <a:close/>
                <a:moveTo>
                  <a:pt x="5" y="5"/>
                </a:moveTo>
                <a:cubicBezTo>
                  <a:pt x="80" y="5"/>
                  <a:pt x="80" y="5"/>
                  <a:pt x="80" y="5"/>
                </a:cubicBezTo>
                <a:cubicBezTo>
                  <a:pt x="80" y="45"/>
                  <a:pt x="80" y="45"/>
                  <a:pt x="80" y="45"/>
                </a:cubicBezTo>
                <a:cubicBezTo>
                  <a:pt x="5" y="45"/>
                  <a:pt x="5" y="45"/>
                  <a:pt x="5" y="45"/>
                </a:cubicBezTo>
                <a:lnTo>
                  <a:pt x="5" y="5"/>
                </a:lnTo>
                <a:close/>
                <a:moveTo>
                  <a:pt x="80" y="94"/>
                </a:moveTo>
                <a:cubicBezTo>
                  <a:pt x="5" y="94"/>
                  <a:pt x="5" y="94"/>
                  <a:pt x="5" y="94"/>
                </a:cubicBezTo>
                <a:cubicBezTo>
                  <a:pt x="5" y="51"/>
                  <a:pt x="5" y="51"/>
                  <a:pt x="5" y="51"/>
                </a:cubicBezTo>
                <a:cubicBezTo>
                  <a:pt x="80" y="51"/>
                  <a:pt x="80" y="51"/>
                  <a:pt x="80" y="51"/>
                </a:cubicBezTo>
                <a:lnTo>
                  <a:pt x="80" y="94"/>
                </a:lnTo>
                <a:close/>
                <a:moveTo>
                  <a:pt x="27" y="150"/>
                </a:moveTo>
                <a:cubicBezTo>
                  <a:pt x="21" y="146"/>
                  <a:pt x="21" y="146"/>
                  <a:pt x="21" y="146"/>
                </a:cubicBezTo>
                <a:cubicBezTo>
                  <a:pt x="16" y="150"/>
                  <a:pt x="16" y="150"/>
                  <a:pt x="16" y="150"/>
                </a:cubicBezTo>
                <a:cubicBezTo>
                  <a:pt x="16" y="144"/>
                  <a:pt x="16" y="144"/>
                  <a:pt x="16" y="144"/>
                </a:cubicBezTo>
                <a:cubicBezTo>
                  <a:pt x="27" y="144"/>
                  <a:pt x="27" y="144"/>
                  <a:pt x="27" y="144"/>
                </a:cubicBezTo>
                <a:lnTo>
                  <a:pt x="27" y="150"/>
                </a:lnTo>
                <a:close/>
                <a:moveTo>
                  <a:pt x="32" y="139"/>
                </a:moveTo>
                <a:cubicBezTo>
                  <a:pt x="11" y="139"/>
                  <a:pt x="11" y="139"/>
                  <a:pt x="11" y="139"/>
                </a:cubicBezTo>
                <a:cubicBezTo>
                  <a:pt x="5" y="139"/>
                  <a:pt x="5" y="139"/>
                  <a:pt x="5" y="139"/>
                </a:cubicBezTo>
                <a:cubicBezTo>
                  <a:pt x="5" y="99"/>
                  <a:pt x="5" y="99"/>
                  <a:pt x="5" y="99"/>
                </a:cubicBezTo>
                <a:cubicBezTo>
                  <a:pt x="80" y="99"/>
                  <a:pt x="80" y="99"/>
                  <a:pt x="80" y="99"/>
                </a:cubicBezTo>
                <a:cubicBezTo>
                  <a:pt x="80" y="139"/>
                  <a:pt x="80" y="139"/>
                  <a:pt x="80" y="139"/>
                </a:cubicBezTo>
                <a:lnTo>
                  <a:pt x="32" y="139"/>
                </a:lnTo>
                <a:close/>
                <a:moveTo>
                  <a:pt x="86" y="139"/>
                </a:moveTo>
                <a:cubicBezTo>
                  <a:pt x="86" y="99"/>
                  <a:pt x="86" y="99"/>
                  <a:pt x="86" y="99"/>
                </a:cubicBezTo>
                <a:cubicBezTo>
                  <a:pt x="86" y="45"/>
                  <a:pt x="86" y="45"/>
                  <a:pt x="86" y="45"/>
                </a:cubicBezTo>
                <a:cubicBezTo>
                  <a:pt x="86" y="5"/>
                  <a:pt x="86" y="5"/>
                  <a:pt x="86" y="5"/>
                </a:cubicBezTo>
                <a:cubicBezTo>
                  <a:pt x="94" y="5"/>
                  <a:pt x="94" y="5"/>
                  <a:pt x="94" y="5"/>
                </a:cubicBezTo>
                <a:cubicBezTo>
                  <a:pt x="94" y="45"/>
                  <a:pt x="94" y="45"/>
                  <a:pt x="94" y="45"/>
                </a:cubicBezTo>
                <a:cubicBezTo>
                  <a:pt x="94" y="99"/>
                  <a:pt x="94" y="99"/>
                  <a:pt x="94" y="99"/>
                </a:cubicBezTo>
                <a:cubicBezTo>
                  <a:pt x="94" y="139"/>
                  <a:pt x="94" y="139"/>
                  <a:pt x="94" y="139"/>
                </a:cubicBezTo>
                <a:lnTo>
                  <a:pt x="86" y="139"/>
                </a:lnTo>
                <a:close/>
                <a:moveTo>
                  <a:pt x="99" y="51"/>
                </a:moveTo>
                <a:cubicBezTo>
                  <a:pt x="110" y="51"/>
                  <a:pt x="110" y="51"/>
                  <a:pt x="110" y="51"/>
                </a:cubicBezTo>
                <a:cubicBezTo>
                  <a:pt x="110" y="94"/>
                  <a:pt x="110" y="94"/>
                  <a:pt x="110" y="94"/>
                </a:cubicBezTo>
                <a:cubicBezTo>
                  <a:pt x="99" y="94"/>
                  <a:pt x="99" y="94"/>
                  <a:pt x="99" y="94"/>
                </a:cubicBezTo>
                <a:lnTo>
                  <a:pt x="99" y="51"/>
                </a:lnTo>
                <a:close/>
                <a:moveTo>
                  <a:pt x="110" y="134"/>
                </a:moveTo>
                <a:cubicBezTo>
                  <a:pt x="110" y="137"/>
                  <a:pt x="107" y="139"/>
                  <a:pt x="104" y="139"/>
                </a:cubicBezTo>
                <a:cubicBezTo>
                  <a:pt x="99" y="139"/>
                  <a:pt x="99" y="139"/>
                  <a:pt x="99" y="139"/>
                </a:cubicBezTo>
                <a:cubicBezTo>
                  <a:pt x="99" y="99"/>
                  <a:pt x="99" y="99"/>
                  <a:pt x="99" y="99"/>
                </a:cubicBezTo>
                <a:cubicBezTo>
                  <a:pt x="110" y="99"/>
                  <a:pt x="110" y="99"/>
                  <a:pt x="110" y="99"/>
                </a:cubicBezTo>
                <a:lnTo>
                  <a:pt x="110" y="134"/>
                </a:lnTo>
                <a:close/>
                <a:moveTo>
                  <a:pt x="99" y="45"/>
                </a:moveTo>
                <a:cubicBezTo>
                  <a:pt x="99" y="5"/>
                  <a:pt x="99" y="5"/>
                  <a:pt x="99" y="5"/>
                </a:cubicBezTo>
                <a:cubicBezTo>
                  <a:pt x="104" y="5"/>
                  <a:pt x="104" y="5"/>
                  <a:pt x="104" y="5"/>
                </a:cubicBezTo>
                <a:cubicBezTo>
                  <a:pt x="107" y="5"/>
                  <a:pt x="110" y="8"/>
                  <a:pt x="110" y="11"/>
                </a:cubicBezTo>
                <a:cubicBezTo>
                  <a:pt x="110" y="45"/>
                  <a:pt x="110" y="45"/>
                  <a:pt x="110" y="45"/>
                </a:cubicBezTo>
                <a:lnTo>
                  <a:pt x="99" y="45"/>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1303">
            <a:extLst>
              <a:ext uri="{FF2B5EF4-FFF2-40B4-BE49-F238E27FC236}">
                <a16:creationId xmlns:a16="http://schemas.microsoft.com/office/drawing/2014/main" id="{66FA80A2-5A3D-9040-BF41-22F4263C5A9C}"/>
              </a:ext>
            </a:extLst>
          </p:cNvPr>
          <p:cNvSpPr>
            <a:spLocks noEditPoints="1"/>
          </p:cNvSpPr>
          <p:nvPr/>
        </p:nvSpPr>
        <p:spPr bwMode="auto">
          <a:xfrm>
            <a:off x="1456900" y="5319713"/>
            <a:ext cx="528638" cy="550863"/>
          </a:xfrm>
          <a:custGeom>
            <a:avLst/>
            <a:gdLst>
              <a:gd name="T0" fmla="*/ 99 w 155"/>
              <a:gd name="T1" fmla="*/ 0 h 160"/>
              <a:gd name="T2" fmla="*/ 0 w 155"/>
              <a:gd name="T3" fmla="*/ 0 h 160"/>
              <a:gd name="T4" fmla="*/ 0 w 155"/>
              <a:gd name="T5" fmla="*/ 99 h 160"/>
              <a:gd name="T6" fmla="*/ 11 w 155"/>
              <a:gd name="T7" fmla="*/ 144 h 160"/>
              <a:gd name="T8" fmla="*/ 21 w 155"/>
              <a:gd name="T9" fmla="*/ 153 h 160"/>
              <a:gd name="T10" fmla="*/ 32 w 155"/>
              <a:gd name="T11" fmla="*/ 144 h 160"/>
              <a:gd name="T12" fmla="*/ 99 w 155"/>
              <a:gd name="T13" fmla="*/ 144 h 160"/>
              <a:gd name="T14" fmla="*/ 115 w 155"/>
              <a:gd name="T15" fmla="*/ 133 h 160"/>
              <a:gd name="T16" fmla="*/ 115 w 155"/>
              <a:gd name="T17" fmla="*/ 45 h 160"/>
              <a:gd name="T18" fmla="*/ 104 w 155"/>
              <a:gd name="T19" fmla="*/ 0 h 160"/>
              <a:gd name="T20" fmla="*/ 80 w 155"/>
              <a:gd name="T21" fmla="*/ 5 h 160"/>
              <a:gd name="T22" fmla="*/ 5 w 155"/>
              <a:gd name="T23" fmla="*/ 45 h 160"/>
              <a:gd name="T24" fmla="*/ 80 w 155"/>
              <a:gd name="T25" fmla="*/ 93 h 160"/>
              <a:gd name="T26" fmla="*/ 5 w 155"/>
              <a:gd name="T27" fmla="*/ 51 h 160"/>
              <a:gd name="T28" fmla="*/ 80 w 155"/>
              <a:gd name="T29" fmla="*/ 93 h 160"/>
              <a:gd name="T30" fmla="*/ 21 w 155"/>
              <a:gd name="T31" fmla="*/ 146 h 160"/>
              <a:gd name="T32" fmla="*/ 16 w 155"/>
              <a:gd name="T33" fmla="*/ 144 h 160"/>
              <a:gd name="T34" fmla="*/ 27 w 155"/>
              <a:gd name="T35" fmla="*/ 150 h 160"/>
              <a:gd name="T36" fmla="*/ 11 w 155"/>
              <a:gd name="T37" fmla="*/ 139 h 160"/>
              <a:gd name="T38" fmla="*/ 5 w 155"/>
              <a:gd name="T39" fmla="*/ 99 h 160"/>
              <a:gd name="T40" fmla="*/ 80 w 155"/>
              <a:gd name="T41" fmla="*/ 139 h 160"/>
              <a:gd name="T42" fmla="*/ 85 w 155"/>
              <a:gd name="T43" fmla="*/ 139 h 160"/>
              <a:gd name="T44" fmla="*/ 85 w 155"/>
              <a:gd name="T45" fmla="*/ 45 h 160"/>
              <a:gd name="T46" fmla="*/ 93 w 155"/>
              <a:gd name="T47" fmla="*/ 5 h 160"/>
              <a:gd name="T48" fmla="*/ 93 w 155"/>
              <a:gd name="T49" fmla="*/ 99 h 160"/>
              <a:gd name="T50" fmla="*/ 85 w 155"/>
              <a:gd name="T51" fmla="*/ 139 h 160"/>
              <a:gd name="T52" fmla="*/ 109 w 155"/>
              <a:gd name="T53" fmla="*/ 51 h 160"/>
              <a:gd name="T54" fmla="*/ 99 w 155"/>
              <a:gd name="T55" fmla="*/ 93 h 160"/>
              <a:gd name="T56" fmla="*/ 109 w 155"/>
              <a:gd name="T57" fmla="*/ 133 h 160"/>
              <a:gd name="T58" fmla="*/ 99 w 155"/>
              <a:gd name="T59" fmla="*/ 139 h 160"/>
              <a:gd name="T60" fmla="*/ 109 w 155"/>
              <a:gd name="T61" fmla="*/ 99 h 160"/>
              <a:gd name="T62" fmla="*/ 99 w 155"/>
              <a:gd name="T63" fmla="*/ 45 h 160"/>
              <a:gd name="T64" fmla="*/ 104 w 155"/>
              <a:gd name="T65" fmla="*/ 5 h 160"/>
              <a:gd name="T66" fmla="*/ 109 w 155"/>
              <a:gd name="T67" fmla="*/ 45 h 160"/>
              <a:gd name="T68" fmla="*/ 147 w 155"/>
              <a:gd name="T69" fmla="*/ 0 h 160"/>
              <a:gd name="T70" fmla="*/ 128 w 155"/>
              <a:gd name="T71" fmla="*/ 8 h 160"/>
              <a:gd name="T72" fmla="*/ 128 w 155"/>
              <a:gd name="T73" fmla="*/ 35 h 160"/>
              <a:gd name="T74" fmla="*/ 139 w 155"/>
              <a:gd name="T75" fmla="*/ 153 h 160"/>
              <a:gd name="T76" fmla="*/ 141 w 155"/>
              <a:gd name="T77" fmla="*/ 160 h 160"/>
              <a:gd name="T78" fmla="*/ 144 w 155"/>
              <a:gd name="T79" fmla="*/ 153 h 160"/>
              <a:gd name="T80" fmla="*/ 155 w 155"/>
              <a:gd name="T81" fmla="*/ 35 h 160"/>
              <a:gd name="T82" fmla="*/ 155 w 155"/>
              <a:gd name="T83" fmla="*/ 8 h 160"/>
              <a:gd name="T84" fmla="*/ 133 w 155"/>
              <a:gd name="T85" fmla="*/ 24 h 160"/>
              <a:gd name="T86" fmla="*/ 149 w 155"/>
              <a:gd name="T87" fmla="*/ 29 h 160"/>
              <a:gd name="T88" fmla="*/ 133 w 155"/>
              <a:gd name="T89" fmla="*/ 24 h 160"/>
              <a:gd name="T90" fmla="*/ 135 w 155"/>
              <a:gd name="T91" fmla="*/ 136 h 160"/>
              <a:gd name="T92" fmla="*/ 141 w 155"/>
              <a:gd name="T93" fmla="*/ 147 h 160"/>
              <a:gd name="T94" fmla="*/ 133 w 155"/>
              <a:gd name="T95" fmla="*/ 131 h 160"/>
              <a:gd name="T96" fmla="*/ 149 w 155"/>
              <a:gd name="T97" fmla="*/ 35 h 160"/>
              <a:gd name="T98" fmla="*/ 133 w 155"/>
              <a:gd name="T99" fmla="*/ 19 h 160"/>
              <a:gd name="T100" fmla="*/ 136 w 155"/>
              <a:gd name="T101" fmla="*/ 5 h 160"/>
              <a:gd name="T102" fmla="*/ 149 w 155"/>
              <a:gd name="T103" fmla="*/ 8 h 160"/>
              <a:gd name="T104" fmla="*/ 133 w 155"/>
              <a:gd name="T105" fmla="*/ 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160">
                <a:moveTo>
                  <a:pt x="104" y="0"/>
                </a:moveTo>
                <a:cubicBezTo>
                  <a:pt x="99" y="0"/>
                  <a:pt x="99" y="0"/>
                  <a:pt x="99" y="0"/>
                </a:cubicBezTo>
                <a:cubicBezTo>
                  <a:pt x="80" y="0"/>
                  <a:pt x="80" y="0"/>
                  <a:pt x="80" y="0"/>
                </a:cubicBezTo>
                <a:cubicBezTo>
                  <a:pt x="0" y="0"/>
                  <a:pt x="0" y="0"/>
                  <a:pt x="0" y="0"/>
                </a:cubicBezTo>
                <a:cubicBezTo>
                  <a:pt x="0" y="45"/>
                  <a:pt x="0" y="45"/>
                  <a:pt x="0" y="45"/>
                </a:cubicBezTo>
                <a:cubicBezTo>
                  <a:pt x="0" y="99"/>
                  <a:pt x="0" y="99"/>
                  <a:pt x="0" y="99"/>
                </a:cubicBezTo>
                <a:cubicBezTo>
                  <a:pt x="0" y="144"/>
                  <a:pt x="0" y="144"/>
                  <a:pt x="0" y="144"/>
                </a:cubicBezTo>
                <a:cubicBezTo>
                  <a:pt x="11" y="144"/>
                  <a:pt x="11" y="144"/>
                  <a:pt x="11" y="144"/>
                </a:cubicBezTo>
                <a:cubicBezTo>
                  <a:pt x="11" y="160"/>
                  <a:pt x="11" y="160"/>
                  <a:pt x="11" y="160"/>
                </a:cubicBezTo>
                <a:cubicBezTo>
                  <a:pt x="21" y="153"/>
                  <a:pt x="21" y="153"/>
                  <a:pt x="21" y="153"/>
                </a:cubicBezTo>
                <a:cubicBezTo>
                  <a:pt x="32" y="160"/>
                  <a:pt x="32" y="160"/>
                  <a:pt x="32" y="160"/>
                </a:cubicBezTo>
                <a:cubicBezTo>
                  <a:pt x="32" y="144"/>
                  <a:pt x="32" y="144"/>
                  <a:pt x="32" y="144"/>
                </a:cubicBezTo>
                <a:cubicBezTo>
                  <a:pt x="80" y="144"/>
                  <a:pt x="80" y="144"/>
                  <a:pt x="80" y="144"/>
                </a:cubicBezTo>
                <a:cubicBezTo>
                  <a:pt x="99" y="144"/>
                  <a:pt x="99" y="144"/>
                  <a:pt x="99" y="144"/>
                </a:cubicBezTo>
                <a:cubicBezTo>
                  <a:pt x="104" y="144"/>
                  <a:pt x="104" y="144"/>
                  <a:pt x="104" y="144"/>
                </a:cubicBezTo>
                <a:cubicBezTo>
                  <a:pt x="110" y="144"/>
                  <a:pt x="115" y="139"/>
                  <a:pt x="115" y="133"/>
                </a:cubicBezTo>
                <a:cubicBezTo>
                  <a:pt x="115" y="99"/>
                  <a:pt x="115" y="99"/>
                  <a:pt x="115" y="99"/>
                </a:cubicBezTo>
                <a:cubicBezTo>
                  <a:pt x="115" y="45"/>
                  <a:pt x="115" y="45"/>
                  <a:pt x="115" y="45"/>
                </a:cubicBezTo>
                <a:cubicBezTo>
                  <a:pt x="115" y="11"/>
                  <a:pt x="115" y="11"/>
                  <a:pt x="115" y="11"/>
                </a:cubicBezTo>
                <a:cubicBezTo>
                  <a:pt x="115" y="5"/>
                  <a:pt x="110" y="0"/>
                  <a:pt x="104" y="0"/>
                </a:cubicBezTo>
                <a:close/>
                <a:moveTo>
                  <a:pt x="5" y="5"/>
                </a:moveTo>
                <a:cubicBezTo>
                  <a:pt x="80" y="5"/>
                  <a:pt x="80" y="5"/>
                  <a:pt x="80" y="5"/>
                </a:cubicBezTo>
                <a:cubicBezTo>
                  <a:pt x="80" y="45"/>
                  <a:pt x="80" y="45"/>
                  <a:pt x="80" y="45"/>
                </a:cubicBezTo>
                <a:cubicBezTo>
                  <a:pt x="5" y="45"/>
                  <a:pt x="5" y="45"/>
                  <a:pt x="5" y="45"/>
                </a:cubicBezTo>
                <a:lnTo>
                  <a:pt x="5" y="5"/>
                </a:lnTo>
                <a:close/>
                <a:moveTo>
                  <a:pt x="80" y="93"/>
                </a:moveTo>
                <a:cubicBezTo>
                  <a:pt x="5" y="93"/>
                  <a:pt x="5" y="93"/>
                  <a:pt x="5" y="93"/>
                </a:cubicBezTo>
                <a:cubicBezTo>
                  <a:pt x="5" y="51"/>
                  <a:pt x="5" y="51"/>
                  <a:pt x="5" y="51"/>
                </a:cubicBezTo>
                <a:cubicBezTo>
                  <a:pt x="80" y="51"/>
                  <a:pt x="80" y="51"/>
                  <a:pt x="80" y="51"/>
                </a:cubicBezTo>
                <a:lnTo>
                  <a:pt x="80" y="93"/>
                </a:lnTo>
                <a:close/>
                <a:moveTo>
                  <a:pt x="27" y="150"/>
                </a:moveTo>
                <a:cubicBezTo>
                  <a:pt x="21" y="146"/>
                  <a:pt x="21" y="146"/>
                  <a:pt x="21" y="146"/>
                </a:cubicBezTo>
                <a:cubicBezTo>
                  <a:pt x="16" y="150"/>
                  <a:pt x="16" y="150"/>
                  <a:pt x="16" y="150"/>
                </a:cubicBezTo>
                <a:cubicBezTo>
                  <a:pt x="16" y="144"/>
                  <a:pt x="16" y="144"/>
                  <a:pt x="16" y="144"/>
                </a:cubicBezTo>
                <a:cubicBezTo>
                  <a:pt x="27" y="144"/>
                  <a:pt x="27" y="144"/>
                  <a:pt x="27" y="144"/>
                </a:cubicBezTo>
                <a:lnTo>
                  <a:pt x="27" y="150"/>
                </a:lnTo>
                <a:close/>
                <a:moveTo>
                  <a:pt x="32" y="139"/>
                </a:moveTo>
                <a:cubicBezTo>
                  <a:pt x="11" y="139"/>
                  <a:pt x="11" y="139"/>
                  <a:pt x="11" y="139"/>
                </a:cubicBezTo>
                <a:cubicBezTo>
                  <a:pt x="5" y="139"/>
                  <a:pt x="5" y="139"/>
                  <a:pt x="5" y="139"/>
                </a:cubicBezTo>
                <a:cubicBezTo>
                  <a:pt x="5" y="99"/>
                  <a:pt x="5" y="99"/>
                  <a:pt x="5" y="99"/>
                </a:cubicBezTo>
                <a:cubicBezTo>
                  <a:pt x="80" y="99"/>
                  <a:pt x="80" y="99"/>
                  <a:pt x="80" y="99"/>
                </a:cubicBezTo>
                <a:cubicBezTo>
                  <a:pt x="80" y="139"/>
                  <a:pt x="80" y="139"/>
                  <a:pt x="80" y="139"/>
                </a:cubicBezTo>
                <a:lnTo>
                  <a:pt x="32" y="139"/>
                </a:lnTo>
                <a:close/>
                <a:moveTo>
                  <a:pt x="85" y="139"/>
                </a:moveTo>
                <a:cubicBezTo>
                  <a:pt x="85" y="99"/>
                  <a:pt x="85" y="99"/>
                  <a:pt x="85" y="99"/>
                </a:cubicBezTo>
                <a:cubicBezTo>
                  <a:pt x="85" y="45"/>
                  <a:pt x="85" y="45"/>
                  <a:pt x="85" y="45"/>
                </a:cubicBezTo>
                <a:cubicBezTo>
                  <a:pt x="85" y="5"/>
                  <a:pt x="85" y="5"/>
                  <a:pt x="85" y="5"/>
                </a:cubicBezTo>
                <a:cubicBezTo>
                  <a:pt x="93" y="5"/>
                  <a:pt x="93" y="5"/>
                  <a:pt x="93" y="5"/>
                </a:cubicBezTo>
                <a:cubicBezTo>
                  <a:pt x="93" y="45"/>
                  <a:pt x="93" y="45"/>
                  <a:pt x="93" y="45"/>
                </a:cubicBezTo>
                <a:cubicBezTo>
                  <a:pt x="93" y="99"/>
                  <a:pt x="93" y="99"/>
                  <a:pt x="93" y="99"/>
                </a:cubicBezTo>
                <a:cubicBezTo>
                  <a:pt x="93" y="139"/>
                  <a:pt x="93" y="139"/>
                  <a:pt x="93" y="139"/>
                </a:cubicBezTo>
                <a:lnTo>
                  <a:pt x="85" y="139"/>
                </a:lnTo>
                <a:close/>
                <a:moveTo>
                  <a:pt x="99" y="51"/>
                </a:moveTo>
                <a:cubicBezTo>
                  <a:pt x="109" y="51"/>
                  <a:pt x="109" y="51"/>
                  <a:pt x="109" y="51"/>
                </a:cubicBezTo>
                <a:cubicBezTo>
                  <a:pt x="109" y="93"/>
                  <a:pt x="109" y="93"/>
                  <a:pt x="109" y="93"/>
                </a:cubicBezTo>
                <a:cubicBezTo>
                  <a:pt x="99" y="93"/>
                  <a:pt x="99" y="93"/>
                  <a:pt x="99" y="93"/>
                </a:cubicBezTo>
                <a:lnTo>
                  <a:pt x="99" y="51"/>
                </a:lnTo>
                <a:close/>
                <a:moveTo>
                  <a:pt x="109" y="133"/>
                </a:moveTo>
                <a:cubicBezTo>
                  <a:pt x="109" y="136"/>
                  <a:pt x="107" y="139"/>
                  <a:pt x="104" y="139"/>
                </a:cubicBezTo>
                <a:cubicBezTo>
                  <a:pt x="99" y="139"/>
                  <a:pt x="99" y="139"/>
                  <a:pt x="99" y="139"/>
                </a:cubicBezTo>
                <a:cubicBezTo>
                  <a:pt x="99" y="99"/>
                  <a:pt x="99" y="99"/>
                  <a:pt x="99" y="99"/>
                </a:cubicBezTo>
                <a:cubicBezTo>
                  <a:pt x="109" y="99"/>
                  <a:pt x="109" y="99"/>
                  <a:pt x="109" y="99"/>
                </a:cubicBezTo>
                <a:lnTo>
                  <a:pt x="109" y="133"/>
                </a:lnTo>
                <a:close/>
                <a:moveTo>
                  <a:pt x="99" y="45"/>
                </a:moveTo>
                <a:cubicBezTo>
                  <a:pt x="99" y="5"/>
                  <a:pt x="99" y="5"/>
                  <a:pt x="99" y="5"/>
                </a:cubicBezTo>
                <a:cubicBezTo>
                  <a:pt x="104" y="5"/>
                  <a:pt x="104" y="5"/>
                  <a:pt x="104" y="5"/>
                </a:cubicBezTo>
                <a:cubicBezTo>
                  <a:pt x="107" y="5"/>
                  <a:pt x="109" y="8"/>
                  <a:pt x="109" y="11"/>
                </a:cubicBezTo>
                <a:cubicBezTo>
                  <a:pt x="109" y="45"/>
                  <a:pt x="109" y="45"/>
                  <a:pt x="109" y="45"/>
                </a:cubicBezTo>
                <a:lnTo>
                  <a:pt x="99" y="45"/>
                </a:lnTo>
                <a:close/>
                <a:moveTo>
                  <a:pt x="147" y="0"/>
                </a:moveTo>
                <a:cubicBezTo>
                  <a:pt x="136" y="0"/>
                  <a:pt x="136" y="0"/>
                  <a:pt x="136" y="0"/>
                </a:cubicBezTo>
                <a:cubicBezTo>
                  <a:pt x="132" y="0"/>
                  <a:pt x="128" y="4"/>
                  <a:pt x="128" y="8"/>
                </a:cubicBezTo>
                <a:cubicBezTo>
                  <a:pt x="128" y="19"/>
                  <a:pt x="128" y="19"/>
                  <a:pt x="128" y="19"/>
                </a:cubicBezTo>
                <a:cubicBezTo>
                  <a:pt x="128" y="35"/>
                  <a:pt x="128" y="35"/>
                  <a:pt x="128" y="35"/>
                </a:cubicBezTo>
                <a:cubicBezTo>
                  <a:pt x="128" y="134"/>
                  <a:pt x="128" y="134"/>
                  <a:pt x="128" y="134"/>
                </a:cubicBezTo>
                <a:cubicBezTo>
                  <a:pt x="139" y="153"/>
                  <a:pt x="139" y="153"/>
                  <a:pt x="139" y="153"/>
                </a:cubicBezTo>
                <a:cubicBezTo>
                  <a:pt x="139" y="157"/>
                  <a:pt x="139" y="157"/>
                  <a:pt x="139" y="157"/>
                </a:cubicBezTo>
                <a:cubicBezTo>
                  <a:pt x="139" y="159"/>
                  <a:pt x="140" y="160"/>
                  <a:pt x="141" y="160"/>
                </a:cubicBezTo>
                <a:cubicBezTo>
                  <a:pt x="143" y="160"/>
                  <a:pt x="144" y="159"/>
                  <a:pt x="144" y="157"/>
                </a:cubicBezTo>
                <a:cubicBezTo>
                  <a:pt x="144" y="153"/>
                  <a:pt x="144" y="153"/>
                  <a:pt x="144" y="153"/>
                </a:cubicBezTo>
                <a:cubicBezTo>
                  <a:pt x="155" y="134"/>
                  <a:pt x="155" y="134"/>
                  <a:pt x="155" y="134"/>
                </a:cubicBezTo>
                <a:cubicBezTo>
                  <a:pt x="155" y="35"/>
                  <a:pt x="155" y="35"/>
                  <a:pt x="155" y="35"/>
                </a:cubicBezTo>
                <a:cubicBezTo>
                  <a:pt x="155" y="19"/>
                  <a:pt x="155" y="19"/>
                  <a:pt x="155" y="19"/>
                </a:cubicBezTo>
                <a:cubicBezTo>
                  <a:pt x="155" y="8"/>
                  <a:pt x="155" y="8"/>
                  <a:pt x="155" y="8"/>
                </a:cubicBezTo>
                <a:cubicBezTo>
                  <a:pt x="155" y="4"/>
                  <a:pt x="151" y="0"/>
                  <a:pt x="147" y="0"/>
                </a:cubicBezTo>
                <a:close/>
                <a:moveTo>
                  <a:pt x="133" y="24"/>
                </a:moveTo>
                <a:cubicBezTo>
                  <a:pt x="149" y="24"/>
                  <a:pt x="149" y="24"/>
                  <a:pt x="149" y="24"/>
                </a:cubicBezTo>
                <a:cubicBezTo>
                  <a:pt x="149" y="29"/>
                  <a:pt x="149" y="29"/>
                  <a:pt x="149" y="29"/>
                </a:cubicBezTo>
                <a:cubicBezTo>
                  <a:pt x="133" y="29"/>
                  <a:pt x="133" y="29"/>
                  <a:pt x="133" y="29"/>
                </a:cubicBezTo>
                <a:lnTo>
                  <a:pt x="133" y="24"/>
                </a:lnTo>
                <a:close/>
                <a:moveTo>
                  <a:pt x="141" y="147"/>
                </a:moveTo>
                <a:cubicBezTo>
                  <a:pt x="135" y="136"/>
                  <a:pt x="135" y="136"/>
                  <a:pt x="135" y="136"/>
                </a:cubicBezTo>
                <a:cubicBezTo>
                  <a:pt x="147" y="136"/>
                  <a:pt x="147" y="136"/>
                  <a:pt x="147" y="136"/>
                </a:cubicBezTo>
                <a:lnTo>
                  <a:pt x="141" y="147"/>
                </a:lnTo>
                <a:close/>
                <a:moveTo>
                  <a:pt x="149" y="131"/>
                </a:moveTo>
                <a:cubicBezTo>
                  <a:pt x="133" y="131"/>
                  <a:pt x="133" y="131"/>
                  <a:pt x="133" y="131"/>
                </a:cubicBezTo>
                <a:cubicBezTo>
                  <a:pt x="133" y="35"/>
                  <a:pt x="133" y="35"/>
                  <a:pt x="133" y="35"/>
                </a:cubicBezTo>
                <a:cubicBezTo>
                  <a:pt x="149" y="35"/>
                  <a:pt x="149" y="35"/>
                  <a:pt x="149" y="35"/>
                </a:cubicBezTo>
                <a:lnTo>
                  <a:pt x="149" y="131"/>
                </a:lnTo>
                <a:close/>
                <a:moveTo>
                  <a:pt x="133" y="19"/>
                </a:moveTo>
                <a:cubicBezTo>
                  <a:pt x="133" y="8"/>
                  <a:pt x="133" y="8"/>
                  <a:pt x="133" y="8"/>
                </a:cubicBezTo>
                <a:cubicBezTo>
                  <a:pt x="133" y="7"/>
                  <a:pt x="135" y="5"/>
                  <a:pt x="136" y="5"/>
                </a:cubicBezTo>
                <a:cubicBezTo>
                  <a:pt x="147" y="5"/>
                  <a:pt x="147" y="5"/>
                  <a:pt x="147" y="5"/>
                </a:cubicBezTo>
                <a:cubicBezTo>
                  <a:pt x="148" y="5"/>
                  <a:pt x="149" y="7"/>
                  <a:pt x="149" y="8"/>
                </a:cubicBezTo>
                <a:cubicBezTo>
                  <a:pt x="149" y="19"/>
                  <a:pt x="149" y="19"/>
                  <a:pt x="149" y="19"/>
                </a:cubicBezTo>
                <a:lnTo>
                  <a:pt x="133" y="19"/>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1304">
            <a:extLst>
              <a:ext uri="{FF2B5EF4-FFF2-40B4-BE49-F238E27FC236}">
                <a16:creationId xmlns:a16="http://schemas.microsoft.com/office/drawing/2014/main" id="{0B56505F-200D-7441-92D7-856FD536BA5A}"/>
              </a:ext>
            </a:extLst>
          </p:cNvPr>
          <p:cNvSpPr>
            <a:spLocks noEditPoints="1"/>
          </p:cNvSpPr>
          <p:nvPr/>
        </p:nvSpPr>
        <p:spPr bwMode="auto">
          <a:xfrm>
            <a:off x="1442612" y="5938838"/>
            <a:ext cx="546100" cy="550863"/>
          </a:xfrm>
          <a:custGeom>
            <a:avLst/>
            <a:gdLst>
              <a:gd name="T0" fmla="*/ 141 w 160"/>
              <a:gd name="T1" fmla="*/ 0 h 160"/>
              <a:gd name="T2" fmla="*/ 133 w 160"/>
              <a:gd name="T3" fmla="*/ 19 h 160"/>
              <a:gd name="T4" fmla="*/ 133 w 160"/>
              <a:gd name="T5" fmla="*/ 134 h 160"/>
              <a:gd name="T6" fmla="*/ 144 w 160"/>
              <a:gd name="T7" fmla="*/ 157 h 160"/>
              <a:gd name="T8" fmla="*/ 149 w 160"/>
              <a:gd name="T9" fmla="*/ 157 h 160"/>
              <a:gd name="T10" fmla="*/ 160 w 160"/>
              <a:gd name="T11" fmla="*/ 134 h 160"/>
              <a:gd name="T12" fmla="*/ 160 w 160"/>
              <a:gd name="T13" fmla="*/ 19 h 160"/>
              <a:gd name="T14" fmla="*/ 152 w 160"/>
              <a:gd name="T15" fmla="*/ 0 h 160"/>
              <a:gd name="T16" fmla="*/ 155 w 160"/>
              <a:gd name="T17" fmla="*/ 24 h 160"/>
              <a:gd name="T18" fmla="*/ 139 w 160"/>
              <a:gd name="T19" fmla="*/ 29 h 160"/>
              <a:gd name="T20" fmla="*/ 147 w 160"/>
              <a:gd name="T21" fmla="*/ 147 h 160"/>
              <a:gd name="T22" fmla="*/ 153 w 160"/>
              <a:gd name="T23" fmla="*/ 136 h 160"/>
              <a:gd name="T24" fmla="*/ 155 w 160"/>
              <a:gd name="T25" fmla="*/ 131 h 160"/>
              <a:gd name="T26" fmla="*/ 139 w 160"/>
              <a:gd name="T27" fmla="*/ 35 h 160"/>
              <a:gd name="T28" fmla="*/ 155 w 160"/>
              <a:gd name="T29" fmla="*/ 131 h 160"/>
              <a:gd name="T30" fmla="*/ 139 w 160"/>
              <a:gd name="T31" fmla="*/ 8 h 160"/>
              <a:gd name="T32" fmla="*/ 152 w 160"/>
              <a:gd name="T33" fmla="*/ 5 h 160"/>
              <a:gd name="T34" fmla="*/ 155 w 160"/>
              <a:gd name="T35" fmla="*/ 19 h 160"/>
              <a:gd name="T36" fmla="*/ 0 w 160"/>
              <a:gd name="T37" fmla="*/ 0 h 160"/>
              <a:gd name="T38" fmla="*/ 27 w 160"/>
              <a:gd name="T39" fmla="*/ 160 h 160"/>
              <a:gd name="T40" fmla="*/ 123 w 160"/>
              <a:gd name="T41" fmla="*/ 0 h 160"/>
              <a:gd name="T42" fmla="*/ 0 w 160"/>
              <a:gd name="T43" fmla="*/ 0 h 160"/>
              <a:gd name="T44" fmla="*/ 5 w 160"/>
              <a:gd name="T45" fmla="*/ 5 h 160"/>
              <a:gd name="T46" fmla="*/ 21 w 160"/>
              <a:gd name="T47" fmla="*/ 155 h 160"/>
              <a:gd name="T48" fmla="*/ 117 w 160"/>
              <a:gd name="T49" fmla="*/ 5 h 160"/>
              <a:gd name="T50" fmla="*/ 27 w 160"/>
              <a:gd name="T51" fmla="*/ 155 h 160"/>
              <a:gd name="T52" fmla="*/ 117 w 160"/>
              <a:gd name="T53" fmla="*/ 5 h 160"/>
              <a:gd name="T54" fmla="*/ 104 w 160"/>
              <a:gd name="T55" fmla="*/ 27 h 160"/>
              <a:gd name="T56" fmla="*/ 40 w 160"/>
              <a:gd name="T57" fmla="*/ 64 h 160"/>
              <a:gd name="T58" fmla="*/ 45 w 160"/>
              <a:gd name="T59" fmla="*/ 32 h 160"/>
              <a:gd name="T60" fmla="*/ 99 w 160"/>
              <a:gd name="T61" fmla="*/ 59 h 160"/>
              <a:gd name="T62" fmla="*/ 45 w 160"/>
              <a:gd name="T63" fmla="*/ 32 h 160"/>
              <a:gd name="T64" fmla="*/ 91 w 160"/>
              <a:gd name="T65" fmla="*/ 37 h 160"/>
              <a:gd name="T66" fmla="*/ 53 w 160"/>
              <a:gd name="T67" fmla="*/ 43 h 160"/>
              <a:gd name="T68" fmla="*/ 53 w 160"/>
              <a:gd name="T69" fmla="*/ 48 h 160"/>
              <a:gd name="T70" fmla="*/ 91 w 160"/>
              <a:gd name="T71" fmla="*/ 53 h 160"/>
              <a:gd name="T72" fmla="*/ 53 w 160"/>
              <a:gd name="T73" fmla="*/ 4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60">
                <a:moveTo>
                  <a:pt x="152" y="0"/>
                </a:moveTo>
                <a:cubicBezTo>
                  <a:pt x="141" y="0"/>
                  <a:pt x="141" y="0"/>
                  <a:pt x="141" y="0"/>
                </a:cubicBezTo>
                <a:cubicBezTo>
                  <a:pt x="137" y="0"/>
                  <a:pt x="133" y="4"/>
                  <a:pt x="133" y="8"/>
                </a:cubicBezTo>
                <a:cubicBezTo>
                  <a:pt x="133" y="19"/>
                  <a:pt x="133" y="19"/>
                  <a:pt x="133" y="19"/>
                </a:cubicBezTo>
                <a:cubicBezTo>
                  <a:pt x="133" y="35"/>
                  <a:pt x="133" y="35"/>
                  <a:pt x="133" y="35"/>
                </a:cubicBezTo>
                <a:cubicBezTo>
                  <a:pt x="133" y="134"/>
                  <a:pt x="133" y="134"/>
                  <a:pt x="133" y="134"/>
                </a:cubicBezTo>
                <a:cubicBezTo>
                  <a:pt x="144" y="153"/>
                  <a:pt x="144" y="153"/>
                  <a:pt x="144" y="153"/>
                </a:cubicBezTo>
                <a:cubicBezTo>
                  <a:pt x="144" y="157"/>
                  <a:pt x="144" y="157"/>
                  <a:pt x="144" y="157"/>
                </a:cubicBezTo>
                <a:cubicBezTo>
                  <a:pt x="144" y="159"/>
                  <a:pt x="145" y="160"/>
                  <a:pt x="147" y="160"/>
                </a:cubicBezTo>
                <a:cubicBezTo>
                  <a:pt x="148" y="160"/>
                  <a:pt x="149" y="159"/>
                  <a:pt x="149" y="157"/>
                </a:cubicBezTo>
                <a:cubicBezTo>
                  <a:pt x="149" y="153"/>
                  <a:pt x="149" y="153"/>
                  <a:pt x="149" y="153"/>
                </a:cubicBezTo>
                <a:cubicBezTo>
                  <a:pt x="160" y="134"/>
                  <a:pt x="160" y="134"/>
                  <a:pt x="160" y="134"/>
                </a:cubicBezTo>
                <a:cubicBezTo>
                  <a:pt x="160" y="35"/>
                  <a:pt x="160" y="35"/>
                  <a:pt x="160" y="35"/>
                </a:cubicBezTo>
                <a:cubicBezTo>
                  <a:pt x="160" y="19"/>
                  <a:pt x="160" y="19"/>
                  <a:pt x="160" y="19"/>
                </a:cubicBezTo>
                <a:cubicBezTo>
                  <a:pt x="160" y="8"/>
                  <a:pt x="160" y="8"/>
                  <a:pt x="160" y="8"/>
                </a:cubicBezTo>
                <a:cubicBezTo>
                  <a:pt x="160" y="4"/>
                  <a:pt x="156" y="0"/>
                  <a:pt x="152" y="0"/>
                </a:cubicBezTo>
                <a:close/>
                <a:moveTo>
                  <a:pt x="139" y="24"/>
                </a:moveTo>
                <a:cubicBezTo>
                  <a:pt x="155" y="24"/>
                  <a:pt x="155" y="24"/>
                  <a:pt x="155" y="24"/>
                </a:cubicBezTo>
                <a:cubicBezTo>
                  <a:pt x="155" y="29"/>
                  <a:pt x="155" y="29"/>
                  <a:pt x="155" y="29"/>
                </a:cubicBezTo>
                <a:cubicBezTo>
                  <a:pt x="139" y="29"/>
                  <a:pt x="139" y="29"/>
                  <a:pt x="139" y="29"/>
                </a:cubicBezTo>
                <a:lnTo>
                  <a:pt x="139" y="24"/>
                </a:lnTo>
                <a:close/>
                <a:moveTo>
                  <a:pt x="147" y="147"/>
                </a:moveTo>
                <a:cubicBezTo>
                  <a:pt x="141" y="136"/>
                  <a:pt x="141" y="136"/>
                  <a:pt x="141" y="136"/>
                </a:cubicBezTo>
                <a:cubicBezTo>
                  <a:pt x="153" y="136"/>
                  <a:pt x="153" y="136"/>
                  <a:pt x="153" y="136"/>
                </a:cubicBezTo>
                <a:lnTo>
                  <a:pt x="147" y="147"/>
                </a:lnTo>
                <a:close/>
                <a:moveTo>
                  <a:pt x="155" y="131"/>
                </a:moveTo>
                <a:cubicBezTo>
                  <a:pt x="139" y="131"/>
                  <a:pt x="139" y="131"/>
                  <a:pt x="139" y="131"/>
                </a:cubicBezTo>
                <a:cubicBezTo>
                  <a:pt x="139" y="35"/>
                  <a:pt x="139" y="35"/>
                  <a:pt x="139" y="35"/>
                </a:cubicBezTo>
                <a:cubicBezTo>
                  <a:pt x="155" y="35"/>
                  <a:pt x="155" y="35"/>
                  <a:pt x="155" y="35"/>
                </a:cubicBezTo>
                <a:lnTo>
                  <a:pt x="155" y="131"/>
                </a:lnTo>
                <a:close/>
                <a:moveTo>
                  <a:pt x="139" y="19"/>
                </a:moveTo>
                <a:cubicBezTo>
                  <a:pt x="139" y="8"/>
                  <a:pt x="139" y="8"/>
                  <a:pt x="139" y="8"/>
                </a:cubicBezTo>
                <a:cubicBezTo>
                  <a:pt x="139" y="7"/>
                  <a:pt x="140" y="5"/>
                  <a:pt x="141" y="5"/>
                </a:cubicBezTo>
                <a:cubicBezTo>
                  <a:pt x="152" y="5"/>
                  <a:pt x="152" y="5"/>
                  <a:pt x="152" y="5"/>
                </a:cubicBezTo>
                <a:cubicBezTo>
                  <a:pt x="153" y="5"/>
                  <a:pt x="155" y="7"/>
                  <a:pt x="155" y="8"/>
                </a:cubicBezTo>
                <a:cubicBezTo>
                  <a:pt x="155" y="19"/>
                  <a:pt x="155" y="19"/>
                  <a:pt x="155" y="19"/>
                </a:cubicBezTo>
                <a:lnTo>
                  <a:pt x="139" y="19"/>
                </a:lnTo>
                <a:close/>
                <a:moveTo>
                  <a:pt x="0" y="0"/>
                </a:moveTo>
                <a:cubicBezTo>
                  <a:pt x="0" y="160"/>
                  <a:pt x="0" y="160"/>
                  <a:pt x="0" y="160"/>
                </a:cubicBezTo>
                <a:cubicBezTo>
                  <a:pt x="27" y="160"/>
                  <a:pt x="27" y="160"/>
                  <a:pt x="27" y="160"/>
                </a:cubicBezTo>
                <a:cubicBezTo>
                  <a:pt x="123" y="160"/>
                  <a:pt x="123" y="160"/>
                  <a:pt x="123" y="160"/>
                </a:cubicBezTo>
                <a:cubicBezTo>
                  <a:pt x="123" y="0"/>
                  <a:pt x="123" y="0"/>
                  <a:pt x="123" y="0"/>
                </a:cubicBezTo>
                <a:cubicBezTo>
                  <a:pt x="27" y="0"/>
                  <a:pt x="27" y="0"/>
                  <a:pt x="27" y="0"/>
                </a:cubicBezTo>
                <a:lnTo>
                  <a:pt x="0" y="0"/>
                </a:lnTo>
                <a:close/>
                <a:moveTo>
                  <a:pt x="5" y="155"/>
                </a:moveTo>
                <a:cubicBezTo>
                  <a:pt x="5" y="5"/>
                  <a:pt x="5" y="5"/>
                  <a:pt x="5" y="5"/>
                </a:cubicBezTo>
                <a:cubicBezTo>
                  <a:pt x="21" y="5"/>
                  <a:pt x="21" y="5"/>
                  <a:pt x="21" y="5"/>
                </a:cubicBezTo>
                <a:cubicBezTo>
                  <a:pt x="21" y="155"/>
                  <a:pt x="21" y="155"/>
                  <a:pt x="21" y="155"/>
                </a:cubicBezTo>
                <a:lnTo>
                  <a:pt x="5" y="155"/>
                </a:lnTo>
                <a:close/>
                <a:moveTo>
                  <a:pt x="117" y="5"/>
                </a:moveTo>
                <a:cubicBezTo>
                  <a:pt x="117" y="155"/>
                  <a:pt x="117" y="155"/>
                  <a:pt x="117" y="155"/>
                </a:cubicBezTo>
                <a:cubicBezTo>
                  <a:pt x="27" y="155"/>
                  <a:pt x="27" y="155"/>
                  <a:pt x="27" y="155"/>
                </a:cubicBezTo>
                <a:cubicBezTo>
                  <a:pt x="27" y="5"/>
                  <a:pt x="27" y="5"/>
                  <a:pt x="27" y="5"/>
                </a:cubicBezTo>
                <a:lnTo>
                  <a:pt x="117" y="5"/>
                </a:lnTo>
                <a:close/>
                <a:moveTo>
                  <a:pt x="104" y="64"/>
                </a:moveTo>
                <a:cubicBezTo>
                  <a:pt x="104" y="27"/>
                  <a:pt x="104" y="27"/>
                  <a:pt x="104" y="27"/>
                </a:cubicBezTo>
                <a:cubicBezTo>
                  <a:pt x="40" y="27"/>
                  <a:pt x="40" y="27"/>
                  <a:pt x="40" y="27"/>
                </a:cubicBezTo>
                <a:cubicBezTo>
                  <a:pt x="40" y="64"/>
                  <a:pt x="40" y="64"/>
                  <a:pt x="40" y="64"/>
                </a:cubicBezTo>
                <a:lnTo>
                  <a:pt x="104" y="64"/>
                </a:lnTo>
                <a:close/>
                <a:moveTo>
                  <a:pt x="45" y="32"/>
                </a:moveTo>
                <a:cubicBezTo>
                  <a:pt x="99" y="32"/>
                  <a:pt x="99" y="32"/>
                  <a:pt x="99" y="32"/>
                </a:cubicBezTo>
                <a:cubicBezTo>
                  <a:pt x="99" y="59"/>
                  <a:pt x="99" y="59"/>
                  <a:pt x="99" y="59"/>
                </a:cubicBezTo>
                <a:cubicBezTo>
                  <a:pt x="45" y="59"/>
                  <a:pt x="45" y="59"/>
                  <a:pt x="45" y="59"/>
                </a:cubicBezTo>
                <a:lnTo>
                  <a:pt x="45" y="32"/>
                </a:lnTo>
                <a:close/>
                <a:moveTo>
                  <a:pt x="53" y="37"/>
                </a:moveTo>
                <a:cubicBezTo>
                  <a:pt x="91" y="37"/>
                  <a:pt x="91" y="37"/>
                  <a:pt x="91" y="37"/>
                </a:cubicBezTo>
                <a:cubicBezTo>
                  <a:pt x="91" y="43"/>
                  <a:pt x="91" y="43"/>
                  <a:pt x="91" y="43"/>
                </a:cubicBezTo>
                <a:cubicBezTo>
                  <a:pt x="53" y="43"/>
                  <a:pt x="53" y="43"/>
                  <a:pt x="53" y="43"/>
                </a:cubicBezTo>
                <a:lnTo>
                  <a:pt x="53" y="37"/>
                </a:lnTo>
                <a:close/>
                <a:moveTo>
                  <a:pt x="53" y="48"/>
                </a:moveTo>
                <a:cubicBezTo>
                  <a:pt x="91" y="48"/>
                  <a:pt x="91" y="48"/>
                  <a:pt x="91" y="48"/>
                </a:cubicBezTo>
                <a:cubicBezTo>
                  <a:pt x="91" y="53"/>
                  <a:pt x="91" y="53"/>
                  <a:pt x="91" y="53"/>
                </a:cubicBezTo>
                <a:cubicBezTo>
                  <a:pt x="53" y="53"/>
                  <a:pt x="53" y="53"/>
                  <a:pt x="53" y="53"/>
                </a:cubicBezTo>
                <a:lnTo>
                  <a:pt x="53" y="48"/>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1305">
            <a:extLst>
              <a:ext uri="{FF2B5EF4-FFF2-40B4-BE49-F238E27FC236}">
                <a16:creationId xmlns:a16="http://schemas.microsoft.com/office/drawing/2014/main" id="{D4918AE2-8818-FA43-A127-C53CF349B75F}"/>
              </a:ext>
            </a:extLst>
          </p:cNvPr>
          <p:cNvSpPr>
            <a:spLocks noEditPoints="1"/>
          </p:cNvSpPr>
          <p:nvPr/>
        </p:nvSpPr>
        <p:spPr bwMode="auto">
          <a:xfrm>
            <a:off x="2466550" y="365125"/>
            <a:ext cx="420688" cy="550863"/>
          </a:xfrm>
          <a:custGeom>
            <a:avLst/>
            <a:gdLst>
              <a:gd name="T0" fmla="*/ 58 w 265"/>
              <a:gd name="T1" fmla="*/ 0 h 347"/>
              <a:gd name="T2" fmla="*/ 0 w 265"/>
              <a:gd name="T3" fmla="*/ 0 h 347"/>
              <a:gd name="T4" fmla="*/ 0 w 265"/>
              <a:gd name="T5" fmla="*/ 347 h 347"/>
              <a:gd name="T6" fmla="*/ 58 w 265"/>
              <a:gd name="T7" fmla="*/ 347 h 347"/>
              <a:gd name="T8" fmla="*/ 265 w 265"/>
              <a:gd name="T9" fmla="*/ 347 h 347"/>
              <a:gd name="T10" fmla="*/ 265 w 265"/>
              <a:gd name="T11" fmla="*/ 0 h 347"/>
              <a:gd name="T12" fmla="*/ 58 w 265"/>
              <a:gd name="T13" fmla="*/ 0 h 347"/>
              <a:gd name="T14" fmla="*/ 11 w 265"/>
              <a:gd name="T15" fmla="*/ 336 h 347"/>
              <a:gd name="T16" fmla="*/ 11 w 265"/>
              <a:gd name="T17" fmla="*/ 11 h 347"/>
              <a:gd name="T18" fmla="*/ 45 w 265"/>
              <a:gd name="T19" fmla="*/ 11 h 347"/>
              <a:gd name="T20" fmla="*/ 45 w 265"/>
              <a:gd name="T21" fmla="*/ 336 h 347"/>
              <a:gd name="T22" fmla="*/ 11 w 265"/>
              <a:gd name="T23" fmla="*/ 336 h 347"/>
              <a:gd name="T24" fmla="*/ 252 w 265"/>
              <a:gd name="T25" fmla="*/ 336 h 347"/>
              <a:gd name="T26" fmla="*/ 58 w 265"/>
              <a:gd name="T27" fmla="*/ 336 h 347"/>
              <a:gd name="T28" fmla="*/ 58 w 265"/>
              <a:gd name="T29" fmla="*/ 11 h 347"/>
              <a:gd name="T30" fmla="*/ 252 w 265"/>
              <a:gd name="T31" fmla="*/ 11 h 347"/>
              <a:gd name="T32" fmla="*/ 252 w 265"/>
              <a:gd name="T33" fmla="*/ 336 h 347"/>
              <a:gd name="T34" fmla="*/ 224 w 265"/>
              <a:gd name="T35" fmla="*/ 139 h 347"/>
              <a:gd name="T36" fmla="*/ 224 w 265"/>
              <a:gd name="T37" fmla="*/ 58 h 347"/>
              <a:gd name="T38" fmla="*/ 86 w 265"/>
              <a:gd name="T39" fmla="*/ 58 h 347"/>
              <a:gd name="T40" fmla="*/ 86 w 265"/>
              <a:gd name="T41" fmla="*/ 139 h 347"/>
              <a:gd name="T42" fmla="*/ 224 w 265"/>
              <a:gd name="T43" fmla="*/ 139 h 347"/>
              <a:gd name="T44" fmla="*/ 97 w 265"/>
              <a:gd name="T45" fmla="*/ 69 h 347"/>
              <a:gd name="T46" fmla="*/ 213 w 265"/>
              <a:gd name="T47" fmla="*/ 69 h 347"/>
              <a:gd name="T48" fmla="*/ 213 w 265"/>
              <a:gd name="T49" fmla="*/ 128 h 347"/>
              <a:gd name="T50" fmla="*/ 97 w 265"/>
              <a:gd name="T51" fmla="*/ 128 h 347"/>
              <a:gd name="T52" fmla="*/ 97 w 265"/>
              <a:gd name="T53" fmla="*/ 69 h 347"/>
              <a:gd name="T54" fmla="*/ 114 w 265"/>
              <a:gd name="T55" fmla="*/ 80 h 347"/>
              <a:gd name="T56" fmla="*/ 196 w 265"/>
              <a:gd name="T57" fmla="*/ 80 h 347"/>
              <a:gd name="T58" fmla="*/ 196 w 265"/>
              <a:gd name="T59" fmla="*/ 93 h 347"/>
              <a:gd name="T60" fmla="*/ 114 w 265"/>
              <a:gd name="T61" fmla="*/ 93 h 347"/>
              <a:gd name="T62" fmla="*/ 114 w 265"/>
              <a:gd name="T63" fmla="*/ 80 h 347"/>
              <a:gd name="T64" fmla="*/ 114 w 265"/>
              <a:gd name="T65" fmla="*/ 104 h 347"/>
              <a:gd name="T66" fmla="*/ 196 w 265"/>
              <a:gd name="T67" fmla="*/ 104 h 347"/>
              <a:gd name="T68" fmla="*/ 196 w 265"/>
              <a:gd name="T69" fmla="*/ 115 h 347"/>
              <a:gd name="T70" fmla="*/ 114 w 265"/>
              <a:gd name="T71" fmla="*/ 115 h 347"/>
              <a:gd name="T72" fmla="*/ 114 w 265"/>
              <a:gd name="T73"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47">
                <a:moveTo>
                  <a:pt x="58" y="0"/>
                </a:moveTo>
                <a:lnTo>
                  <a:pt x="0" y="0"/>
                </a:lnTo>
                <a:lnTo>
                  <a:pt x="0" y="347"/>
                </a:lnTo>
                <a:lnTo>
                  <a:pt x="58" y="347"/>
                </a:lnTo>
                <a:lnTo>
                  <a:pt x="265" y="347"/>
                </a:lnTo>
                <a:lnTo>
                  <a:pt x="265" y="0"/>
                </a:lnTo>
                <a:lnTo>
                  <a:pt x="58" y="0"/>
                </a:lnTo>
                <a:close/>
                <a:moveTo>
                  <a:pt x="11" y="336"/>
                </a:moveTo>
                <a:lnTo>
                  <a:pt x="11" y="11"/>
                </a:lnTo>
                <a:lnTo>
                  <a:pt x="45" y="11"/>
                </a:lnTo>
                <a:lnTo>
                  <a:pt x="45" y="336"/>
                </a:lnTo>
                <a:lnTo>
                  <a:pt x="11" y="336"/>
                </a:lnTo>
                <a:close/>
                <a:moveTo>
                  <a:pt x="252" y="336"/>
                </a:moveTo>
                <a:lnTo>
                  <a:pt x="58" y="336"/>
                </a:lnTo>
                <a:lnTo>
                  <a:pt x="58" y="11"/>
                </a:lnTo>
                <a:lnTo>
                  <a:pt x="252" y="11"/>
                </a:lnTo>
                <a:lnTo>
                  <a:pt x="252" y="336"/>
                </a:lnTo>
                <a:close/>
                <a:moveTo>
                  <a:pt x="224" y="139"/>
                </a:moveTo>
                <a:lnTo>
                  <a:pt x="224" y="58"/>
                </a:lnTo>
                <a:lnTo>
                  <a:pt x="86" y="58"/>
                </a:lnTo>
                <a:lnTo>
                  <a:pt x="86" y="139"/>
                </a:lnTo>
                <a:lnTo>
                  <a:pt x="224" y="139"/>
                </a:lnTo>
                <a:close/>
                <a:moveTo>
                  <a:pt x="97" y="69"/>
                </a:moveTo>
                <a:lnTo>
                  <a:pt x="213" y="69"/>
                </a:lnTo>
                <a:lnTo>
                  <a:pt x="213" y="128"/>
                </a:lnTo>
                <a:lnTo>
                  <a:pt x="97" y="128"/>
                </a:lnTo>
                <a:lnTo>
                  <a:pt x="97" y="69"/>
                </a:lnTo>
                <a:close/>
                <a:moveTo>
                  <a:pt x="114" y="80"/>
                </a:moveTo>
                <a:lnTo>
                  <a:pt x="196" y="80"/>
                </a:lnTo>
                <a:lnTo>
                  <a:pt x="196" y="93"/>
                </a:lnTo>
                <a:lnTo>
                  <a:pt x="114" y="93"/>
                </a:lnTo>
                <a:lnTo>
                  <a:pt x="114" y="80"/>
                </a:lnTo>
                <a:close/>
                <a:moveTo>
                  <a:pt x="114" y="104"/>
                </a:moveTo>
                <a:lnTo>
                  <a:pt x="196" y="104"/>
                </a:lnTo>
                <a:lnTo>
                  <a:pt x="196" y="115"/>
                </a:lnTo>
                <a:lnTo>
                  <a:pt x="114" y="115"/>
                </a:lnTo>
                <a:lnTo>
                  <a:pt x="114" y="104"/>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1306">
            <a:extLst>
              <a:ext uri="{FF2B5EF4-FFF2-40B4-BE49-F238E27FC236}">
                <a16:creationId xmlns:a16="http://schemas.microsoft.com/office/drawing/2014/main" id="{5F376B26-21B4-B944-A5C5-472637B32845}"/>
              </a:ext>
            </a:extLst>
          </p:cNvPr>
          <p:cNvSpPr>
            <a:spLocks noEditPoints="1"/>
          </p:cNvSpPr>
          <p:nvPr/>
        </p:nvSpPr>
        <p:spPr bwMode="auto">
          <a:xfrm>
            <a:off x="2412575" y="984250"/>
            <a:ext cx="508000" cy="550863"/>
          </a:xfrm>
          <a:custGeom>
            <a:avLst/>
            <a:gdLst>
              <a:gd name="T0" fmla="*/ 14 w 149"/>
              <a:gd name="T1" fmla="*/ 102 h 160"/>
              <a:gd name="T2" fmla="*/ 25 w 149"/>
              <a:gd name="T3" fmla="*/ 119 h 160"/>
              <a:gd name="T4" fmla="*/ 14 w 149"/>
              <a:gd name="T5" fmla="*/ 108 h 160"/>
              <a:gd name="T6" fmla="*/ 3 w 149"/>
              <a:gd name="T7" fmla="*/ 119 h 160"/>
              <a:gd name="T8" fmla="*/ 3 w 149"/>
              <a:gd name="T9" fmla="*/ 102 h 160"/>
              <a:gd name="T10" fmla="*/ 14 w 149"/>
              <a:gd name="T11" fmla="*/ 91 h 160"/>
              <a:gd name="T12" fmla="*/ 25 w 149"/>
              <a:gd name="T13" fmla="*/ 102 h 160"/>
              <a:gd name="T14" fmla="*/ 14 w 149"/>
              <a:gd name="T15" fmla="*/ 86 h 160"/>
              <a:gd name="T16" fmla="*/ 3 w 149"/>
              <a:gd name="T17" fmla="*/ 102 h 160"/>
              <a:gd name="T18" fmla="*/ 6 w 149"/>
              <a:gd name="T19" fmla="*/ 83 h 160"/>
              <a:gd name="T20" fmla="*/ 22 w 149"/>
              <a:gd name="T21" fmla="*/ 83 h 160"/>
              <a:gd name="T22" fmla="*/ 28 w 149"/>
              <a:gd name="T23" fmla="*/ 83 h 160"/>
              <a:gd name="T24" fmla="*/ 0 w 149"/>
              <a:gd name="T25" fmla="*/ 83 h 160"/>
              <a:gd name="T26" fmla="*/ 3 w 149"/>
              <a:gd name="T27" fmla="*/ 69 h 160"/>
              <a:gd name="T28" fmla="*/ 14 w 149"/>
              <a:gd name="T29" fmla="*/ 58 h 160"/>
              <a:gd name="T30" fmla="*/ 25 w 149"/>
              <a:gd name="T31" fmla="*/ 69 h 160"/>
              <a:gd name="T32" fmla="*/ 14 w 149"/>
              <a:gd name="T33" fmla="*/ 52 h 160"/>
              <a:gd name="T34" fmla="*/ 3 w 149"/>
              <a:gd name="T35" fmla="*/ 69 h 160"/>
              <a:gd name="T36" fmla="*/ 14 w 149"/>
              <a:gd name="T37" fmla="*/ 41 h 160"/>
              <a:gd name="T38" fmla="*/ 25 w 149"/>
              <a:gd name="T39" fmla="*/ 52 h 160"/>
              <a:gd name="T40" fmla="*/ 14 w 149"/>
              <a:gd name="T41" fmla="*/ 36 h 160"/>
              <a:gd name="T42" fmla="*/ 3 w 149"/>
              <a:gd name="T43" fmla="*/ 52 h 160"/>
              <a:gd name="T44" fmla="*/ 149 w 149"/>
              <a:gd name="T45" fmla="*/ 11 h 160"/>
              <a:gd name="T46" fmla="*/ 138 w 149"/>
              <a:gd name="T47" fmla="*/ 160 h 160"/>
              <a:gd name="T48" fmla="*/ 113 w 149"/>
              <a:gd name="T49" fmla="*/ 160 h 160"/>
              <a:gd name="T50" fmla="*/ 41 w 149"/>
              <a:gd name="T51" fmla="*/ 160 h 160"/>
              <a:gd name="T52" fmla="*/ 11 w 149"/>
              <a:gd name="T53" fmla="*/ 146 h 160"/>
              <a:gd name="T54" fmla="*/ 14 w 149"/>
              <a:gd name="T55" fmla="*/ 119 h 160"/>
              <a:gd name="T56" fmla="*/ 25 w 149"/>
              <a:gd name="T57" fmla="*/ 135 h 160"/>
              <a:gd name="T58" fmla="*/ 14 w 149"/>
              <a:gd name="T59" fmla="*/ 124 h 160"/>
              <a:gd name="T60" fmla="*/ 11 w 149"/>
              <a:gd name="T61" fmla="*/ 140 h 160"/>
              <a:gd name="T62" fmla="*/ 14 w 149"/>
              <a:gd name="T63" fmla="*/ 132 h 160"/>
              <a:gd name="T64" fmla="*/ 17 w 149"/>
              <a:gd name="T65" fmla="*/ 143 h 160"/>
              <a:gd name="T66" fmla="*/ 41 w 149"/>
              <a:gd name="T67" fmla="*/ 154 h 160"/>
              <a:gd name="T68" fmla="*/ 17 w 149"/>
              <a:gd name="T69" fmla="*/ 6 h 160"/>
              <a:gd name="T70" fmla="*/ 28 w 149"/>
              <a:gd name="T71" fmla="*/ 33 h 160"/>
              <a:gd name="T72" fmla="*/ 22 w 149"/>
              <a:gd name="T73" fmla="*/ 33 h 160"/>
              <a:gd name="T74" fmla="*/ 6 w 149"/>
              <a:gd name="T75" fmla="*/ 33 h 160"/>
              <a:gd name="T76" fmla="*/ 0 w 149"/>
              <a:gd name="T77" fmla="*/ 33 h 160"/>
              <a:gd name="T78" fmla="*/ 11 w 149"/>
              <a:gd name="T79" fmla="*/ 0 h 160"/>
              <a:gd name="T80" fmla="*/ 47 w 149"/>
              <a:gd name="T81" fmla="*/ 0 h 160"/>
              <a:gd name="T82" fmla="*/ 132 w 149"/>
              <a:gd name="T83" fmla="*/ 0 h 160"/>
              <a:gd name="T84" fmla="*/ 149 w 149"/>
              <a:gd name="T85" fmla="*/ 11 h 160"/>
              <a:gd name="T86" fmla="*/ 113 w 149"/>
              <a:gd name="T87" fmla="*/ 6 h 160"/>
              <a:gd name="T88" fmla="*/ 47 w 149"/>
              <a:gd name="T89" fmla="*/ 154 h 160"/>
              <a:gd name="T90" fmla="*/ 127 w 149"/>
              <a:gd name="T91" fmla="*/ 154 h 160"/>
              <a:gd name="T92" fmla="*/ 119 w 149"/>
              <a:gd name="T93" fmla="*/ 6 h 160"/>
              <a:gd name="T94" fmla="*/ 127 w 149"/>
              <a:gd name="T95" fmla="*/ 154 h 160"/>
              <a:gd name="T96" fmla="*/ 138 w 149"/>
              <a:gd name="T97" fmla="*/ 6 h 160"/>
              <a:gd name="T98" fmla="*/ 132 w 149"/>
              <a:gd name="T99" fmla="*/ 154 h 160"/>
              <a:gd name="T100" fmla="*/ 143 w 149"/>
              <a:gd name="T101"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 h="160">
                <a:moveTo>
                  <a:pt x="0" y="116"/>
                </a:moveTo>
                <a:cubicBezTo>
                  <a:pt x="0" y="108"/>
                  <a:pt x="6" y="102"/>
                  <a:pt x="14" y="102"/>
                </a:cubicBezTo>
                <a:cubicBezTo>
                  <a:pt x="21" y="102"/>
                  <a:pt x="28" y="108"/>
                  <a:pt x="28" y="116"/>
                </a:cubicBezTo>
                <a:cubicBezTo>
                  <a:pt x="28" y="117"/>
                  <a:pt x="26" y="119"/>
                  <a:pt x="25" y="119"/>
                </a:cubicBezTo>
                <a:cubicBezTo>
                  <a:pt x="23" y="119"/>
                  <a:pt x="22" y="117"/>
                  <a:pt x="22" y="116"/>
                </a:cubicBezTo>
                <a:cubicBezTo>
                  <a:pt x="22" y="111"/>
                  <a:pt x="18" y="108"/>
                  <a:pt x="14" y="108"/>
                </a:cubicBezTo>
                <a:cubicBezTo>
                  <a:pt x="9" y="108"/>
                  <a:pt x="6" y="111"/>
                  <a:pt x="6" y="116"/>
                </a:cubicBezTo>
                <a:cubicBezTo>
                  <a:pt x="6" y="117"/>
                  <a:pt x="4" y="119"/>
                  <a:pt x="3" y="119"/>
                </a:cubicBezTo>
                <a:cubicBezTo>
                  <a:pt x="1" y="119"/>
                  <a:pt x="0" y="117"/>
                  <a:pt x="0" y="116"/>
                </a:cubicBezTo>
                <a:close/>
                <a:moveTo>
                  <a:pt x="3" y="102"/>
                </a:moveTo>
                <a:cubicBezTo>
                  <a:pt x="4" y="102"/>
                  <a:pt x="6" y="101"/>
                  <a:pt x="6" y="99"/>
                </a:cubicBezTo>
                <a:cubicBezTo>
                  <a:pt x="6" y="95"/>
                  <a:pt x="9" y="91"/>
                  <a:pt x="14" y="91"/>
                </a:cubicBezTo>
                <a:cubicBezTo>
                  <a:pt x="18" y="91"/>
                  <a:pt x="22" y="95"/>
                  <a:pt x="22" y="99"/>
                </a:cubicBezTo>
                <a:cubicBezTo>
                  <a:pt x="22" y="101"/>
                  <a:pt x="23" y="102"/>
                  <a:pt x="25" y="102"/>
                </a:cubicBezTo>
                <a:cubicBezTo>
                  <a:pt x="26" y="102"/>
                  <a:pt x="28" y="101"/>
                  <a:pt x="28" y="99"/>
                </a:cubicBezTo>
                <a:cubicBezTo>
                  <a:pt x="28" y="92"/>
                  <a:pt x="21" y="86"/>
                  <a:pt x="14" y="86"/>
                </a:cubicBezTo>
                <a:cubicBezTo>
                  <a:pt x="6" y="86"/>
                  <a:pt x="0" y="92"/>
                  <a:pt x="0" y="99"/>
                </a:cubicBezTo>
                <a:cubicBezTo>
                  <a:pt x="0" y="101"/>
                  <a:pt x="1" y="102"/>
                  <a:pt x="3" y="102"/>
                </a:cubicBezTo>
                <a:close/>
                <a:moveTo>
                  <a:pt x="3" y="86"/>
                </a:moveTo>
                <a:cubicBezTo>
                  <a:pt x="4" y="86"/>
                  <a:pt x="6" y="84"/>
                  <a:pt x="6" y="83"/>
                </a:cubicBezTo>
                <a:cubicBezTo>
                  <a:pt x="6" y="78"/>
                  <a:pt x="9" y="74"/>
                  <a:pt x="14" y="74"/>
                </a:cubicBezTo>
                <a:cubicBezTo>
                  <a:pt x="18" y="74"/>
                  <a:pt x="22" y="78"/>
                  <a:pt x="22" y="83"/>
                </a:cubicBezTo>
                <a:cubicBezTo>
                  <a:pt x="22" y="84"/>
                  <a:pt x="23" y="86"/>
                  <a:pt x="25" y="86"/>
                </a:cubicBezTo>
                <a:cubicBezTo>
                  <a:pt x="26" y="86"/>
                  <a:pt x="28" y="84"/>
                  <a:pt x="28" y="83"/>
                </a:cubicBezTo>
                <a:cubicBezTo>
                  <a:pt x="28" y="75"/>
                  <a:pt x="21" y="69"/>
                  <a:pt x="14" y="69"/>
                </a:cubicBezTo>
                <a:cubicBezTo>
                  <a:pt x="6" y="69"/>
                  <a:pt x="0" y="75"/>
                  <a:pt x="0" y="83"/>
                </a:cubicBezTo>
                <a:cubicBezTo>
                  <a:pt x="0" y="84"/>
                  <a:pt x="1" y="86"/>
                  <a:pt x="3" y="86"/>
                </a:cubicBezTo>
                <a:close/>
                <a:moveTo>
                  <a:pt x="3" y="69"/>
                </a:moveTo>
                <a:cubicBezTo>
                  <a:pt x="4" y="69"/>
                  <a:pt x="6" y="68"/>
                  <a:pt x="6" y="66"/>
                </a:cubicBezTo>
                <a:cubicBezTo>
                  <a:pt x="6" y="62"/>
                  <a:pt x="9" y="58"/>
                  <a:pt x="14" y="58"/>
                </a:cubicBezTo>
                <a:cubicBezTo>
                  <a:pt x="18" y="58"/>
                  <a:pt x="22" y="62"/>
                  <a:pt x="22" y="66"/>
                </a:cubicBezTo>
                <a:cubicBezTo>
                  <a:pt x="22" y="68"/>
                  <a:pt x="23" y="69"/>
                  <a:pt x="25" y="69"/>
                </a:cubicBezTo>
                <a:cubicBezTo>
                  <a:pt x="26" y="69"/>
                  <a:pt x="28" y="68"/>
                  <a:pt x="28" y="66"/>
                </a:cubicBezTo>
                <a:cubicBezTo>
                  <a:pt x="28" y="59"/>
                  <a:pt x="21" y="52"/>
                  <a:pt x="14" y="52"/>
                </a:cubicBezTo>
                <a:cubicBezTo>
                  <a:pt x="6" y="52"/>
                  <a:pt x="0" y="59"/>
                  <a:pt x="0" y="66"/>
                </a:cubicBezTo>
                <a:cubicBezTo>
                  <a:pt x="0" y="68"/>
                  <a:pt x="1" y="69"/>
                  <a:pt x="3" y="69"/>
                </a:cubicBezTo>
                <a:close/>
                <a:moveTo>
                  <a:pt x="6" y="50"/>
                </a:moveTo>
                <a:cubicBezTo>
                  <a:pt x="6" y="45"/>
                  <a:pt x="9" y="41"/>
                  <a:pt x="14" y="41"/>
                </a:cubicBezTo>
                <a:cubicBezTo>
                  <a:pt x="18" y="41"/>
                  <a:pt x="22" y="45"/>
                  <a:pt x="22" y="50"/>
                </a:cubicBezTo>
                <a:cubicBezTo>
                  <a:pt x="22" y="51"/>
                  <a:pt x="23" y="52"/>
                  <a:pt x="25" y="52"/>
                </a:cubicBezTo>
                <a:cubicBezTo>
                  <a:pt x="26" y="52"/>
                  <a:pt x="28" y="51"/>
                  <a:pt x="28" y="50"/>
                </a:cubicBezTo>
                <a:cubicBezTo>
                  <a:pt x="28" y="42"/>
                  <a:pt x="21" y="36"/>
                  <a:pt x="14" y="36"/>
                </a:cubicBezTo>
                <a:cubicBezTo>
                  <a:pt x="6" y="36"/>
                  <a:pt x="0" y="42"/>
                  <a:pt x="0" y="50"/>
                </a:cubicBezTo>
                <a:cubicBezTo>
                  <a:pt x="0" y="51"/>
                  <a:pt x="1" y="52"/>
                  <a:pt x="3" y="52"/>
                </a:cubicBezTo>
                <a:cubicBezTo>
                  <a:pt x="4" y="52"/>
                  <a:pt x="6" y="51"/>
                  <a:pt x="6" y="50"/>
                </a:cubicBezTo>
                <a:close/>
                <a:moveTo>
                  <a:pt x="149" y="11"/>
                </a:moveTo>
                <a:cubicBezTo>
                  <a:pt x="149" y="149"/>
                  <a:pt x="149" y="149"/>
                  <a:pt x="149" y="149"/>
                </a:cubicBezTo>
                <a:cubicBezTo>
                  <a:pt x="149" y="155"/>
                  <a:pt x="144" y="160"/>
                  <a:pt x="138" y="160"/>
                </a:cubicBezTo>
                <a:cubicBezTo>
                  <a:pt x="132" y="160"/>
                  <a:pt x="132" y="160"/>
                  <a:pt x="132" y="160"/>
                </a:cubicBezTo>
                <a:cubicBezTo>
                  <a:pt x="113" y="160"/>
                  <a:pt x="113" y="160"/>
                  <a:pt x="113" y="160"/>
                </a:cubicBezTo>
                <a:cubicBezTo>
                  <a:pt x="47" y="160"/>
                  <a:pt x="47" y="160"/>
                  <a:pt x="47" y="160"/>
                </a:cubicBezTo>
                <a:cubicBezTo>
                  <a:pt x="41" y="160"/>
                  <a:pt x="41" y="160"/>
                  <a:pt x="41" y="160"/>
                </a:cubicBezTo>
                <a:cubicBezTo>
                  <a:pt x="11" y="160"/>
                  <a:pt x="11" y="160"/>
                  <a:pt x="11" y="160"/>
                </a:cubicBezTo>
                <a:cubicBezTo>
                  <a:pt x="11" y="146"/>
                  <a:pt x="11" y="146"/>
                  <a:pt x="11" y="146"/>
                </a:cubicBezTo>
                <a:cubicBezTo>
                  <a:pt x="5" y="145"/>
                  <a:pt x="0" y="139"/>
                  <a:pt x="0" y="132"/>
                </a:cubicBezTo>
                <a:cubicBezTo>
                  <a:pt x="0" y="125"/>
                  <a:pt x="6" y="119"/>
                  <a:pt x="14" y="119"/>
                </a:cubicBezTo>
                <a:cubicBezTo>
                  <a:pt x="21" y="119"/>
                  <a:pt x="28" y="125"/>
                  <a:pt x="28" y="132"/>
                </a:cubicBezTo>
                <a:cubicBezTo>
                  <a:pt x="28" y="134"/>
                  <a:pt x="26" y="135"/>
                  <a:pt x="25" y="135"/>
                </a:cubicBezTo>
                <a:cubicBezTo>
                  <a:pt x="23" y="135"/>
                  <a:pt x="22" y="134"/>
                  <a:pt x="22" y="132"/>
                </a:cubicBezTo>
                <a:cubicBezTo>
                  <a:pt x="22" y="128"/>
                  <a:pt x="18" y="124"/>
                  <a:pt x="14" y="124"/>
                </a:cubicBezTo>
                <a:cubicBezTo>
                  <a:pt x="9" y="124"/>
                  <a:pt x="6" y="128"/>
                  <a:pt x="6" y="132"/>
                </a:cubicBezTo>
                <a:cubicBezTo>
                  <a:pt x="6" y="136"/>
                  <a:pt x="8" y="139"/>
                  <a:pt x="11" y="140"/>
                </a:cubicBezTo>
                <a:cubicBezTo>
                  <a:pt x="11" y="135"/>
                  <a:pt x="11" y="135"/>
                  <a:pt x="11" y="135"/>
                </a:cubicBezTo>
                <a:cubicBezTo>
                  <a:pt x="11" y="134"/>
                  <a:pt x="12" y="132"/>
                  <a:pt x="14" y="132"/>
                </a:cubicBezTo>
                <a:cubicBezTo>
                  <a:pt x="15" y="132"/>
                  <a:pt x="17" y="134"/>
                  <a:pt x="17" y="135"/>
                </a:cubicBezTo>
                <a:cubicBezTo>
                  <a:pt x="17" y="143"/>
                  <a:pt x="17" y="143"/>
                  <a:pt x="17" y="143"/>
                </a:cubicBezTo>
                <a:cubicBezTo>
                  <a:pt x="17" y="154"/>
                  <a:pt x="17" y="154"/>
                  <a:pt x="17" y="154"/>
                </a:cubicBezTo>
                <a:cubicBezTo>
                  <a:pt x="41" y="154"/>
                  <a:pt x="41" y="154"/>
                  <a:pt x="41" y="154"/>
                </a:cubicBezTo>
                <a:cubicBezTo>
                  <a:pt x="41" y="6"/>
                  <a:pt x="41" y="6"/>
                  <a:pt x="41" y="6"/>
                </a:cubicBezTo>
                <a:cubicBezTo>
                  <a:pt x="17" y="6"/>
                  <a:pt x="17" y="6"/>
                  <a:pt x="17" y="6"/>
                </a:cubicBezTo>
                <a:cubicBezTo>
                  <a:pt x="17" y="20"/>
                  <a:pt x="17" y="20"/>
                  <a:pt x="17" y="20"/>
                </a:cubicBezTo>
                <a:cubicBezTo>
                  <a:pt x="23" y="21"/>
                  <a:pt x="28" y="26"/>
                  <a:pt x="28" y="33"/>
                </a:cubicBezTo>
                <a:cubicBezTo>
                  <a:pt x="28" y="35"/>
                  <a:pt x="26" y="36"/>
                  <a:pt x="25" y="36"/>
                </a:cubicBezTo>
                <a:cubicBezTo>
                  <a:pt x="23" y="36"/>
                  <a:pt x="22" y="35"/>
                  <a:pt x="22" y="33"/>
                </a:cubicBezTo>
                <a:cubicBezTo>
                  <a:pt x="22" y="29"/>
                  <a:pt x="18" y="25"/>
                  <a:pt x="14" y="25"/>
                </a:cubicBezTo>
                <a:cubicBezTo>
                  <a:pt x="9" y="25"/>
                  <a:pt x="6" y="29"/>
                  <a:pt x="6" y="33"/>
                </a:cubicBezTo>
                <a:cubicBezTo>
                  <a:pt x="6" y="35"/>
                  <a:pt x="4" y="36"/>
                  <a:pt x="3" y="36"/>
                </a:cubicBezTo>
                <a:cubicBezTo>
                  <a:pt x="1" y="36"/>
                  <a:pt x="0" y="35"/>
                  <a:pt x="0" y="33"/>
                </a:cubicBezTo>
                <a:cubicBezTo>
                  <a:pt x="0" y="26"/>
                  <a:pt x="5" y="21"/>
                  <a:pt x="11" y="20"/>
                </a:cubicBezTo>
                <a:cubicBezTo>
                  <a:pt x="11" y="0"/>
                  <a:pt x="11" y="0"/>
                  <a:pt x="11" y="0"/>
                </a:cubicBezTo>
                <a:cubicBezTo>
                  <a:pt x="47" y="0"/>
                  <a:pt x="47" y="0"/>
                  <a:pt x="47" y="0"/>
                </a:cubicBezTo>
                <a:cubicBezTo>
                  <a:pt x="47" y="0"/>
                  <a:pt x="47" y="0"/>
                  <a:pt x="47" y="0"/>
                </a:cubicBezTo>
                <a:cubicBezTo>
                  <a:pt x="113" y="0"/>
                  <a:pt x="113" y="0"/>
                  <a:pt x="113" y="0"/>
                </a:cubicBezTo>
                <a:cubicBezTo>
                  <a:pt x="132" y="0"/>
                  <a:pt x="132" y="0"/>
                  <a:pt x="132" y="0"/>
                </a:cubicBezTo>
                <a:cubicBezTo>
                  <a:pt x="138" y="0"/>
                  <a:pt x="138" y="0"/>
                  <a:pt x="138" y="0"/>
                </a:cubicBezTo>
                <a:cubicBezTo>
                  <a:pt x="144" y="0"/>
                  <a:pt x="149" y="5"/>
                  <a:pt x="149" y="11"/>
                </a:cubicBezTo>
                <a:close/>
                <a:moveTo>
                  <a:pt x="113" y="154"/>
                </a:moveTo>
                <a:cubicBezTo>
                  <a:pt x="113" y="6"/>
                  <a:pt x="113" y="6"/>
                  <a:pt x="113" y="6"/>
                </a:cubicBezTo>
                <a:cubicBezTo>
                  <a:pt x="47" y="6"/>
                  <a:pt x="47" y="6"/>
                  <a:pt x="47" y="6"/>
                </a:cubicBezTo>
                <a:cubicBezTo>
                  <a:pt x="47" y="154"/>
                  <a:pt x="47" y="154"/>
                  <a:pt x="47" y="154"/>
                </a:cubicBezTo>
                <a:lnTo>
                  <a:pt x="113" y="154"/>
                </a:lnTo>
                <a:close/>
                <a:moveTo>
                  <a:pt x="127" y="154"/>
                </a:moveTo>
                <a:cubicBezTo>
                  <a:pt x="127" y="6"/>
                  <a:pt x="127" y="6"/>
                  <a:pt x="127" y="6"/>
                </a:cubicBezTo>
                <a:cubicBezTo>
                  <a:pt x="119" y="6"/>
                  <a:pt x="119" y="6"/>
                  <a:pt x="119" y="6"/>
                </a:cubicBezTo>
                <a:cubicBezTo>
                  <a:pt x="119" y="154"/>
                  <a:pt x="119" y="154"/>
                  <a:pt x="119" y="154"/>
                </a:cubicBezTo>
                <a:lnTo>
                  <a:pt x="127" y="154"/>
                </a:lnTo>
                <a:close/>
                <a:moveTo>
                  <a:pt x="143" y="11"/>
                </a:moveTo>
                <a:cubicBezTo>
                  <a:pt x="143" y="8"/>
                  <a:pt x="141" y="6"/>
                  <a:pt x="138" y="6"/>
                </a:cubicBezTo>
                <a:cubicBezTo>
                  <a:pt x="132" y="6"/>
                  <a:pt x="132" y="6"/>
                  <a:pt x="132" y="6"/>
                </a:cubicBezTo>
                <a:cubicBezTo>
                  <a:pt x="132" y="154"/>
                  <a:pt x="132" y="154"/>
                  <a:pt x="132" y="154"/>
                </a:cubicBezTo>
                <a:cubicBezTo>
                  <a:pt x="138" y="154"/>
                  <a:pt x="138" y="154"/>
                  <a:pt x="138" y="154"/>
                </a:cubicBezTo>
                <a:cubicBezTo>
                  <a:pt x="141" y="154"/>
                  <a:pt x="143" y="152"/>
                  <a:pt x="143" y="149"/>
                </a:cubicBezTo>
                <a:lnTo>
                  <a:pt x="143" y="11"/>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307">
            <a:extLst>
              <a:ext uri="{FF2B5EF4-FFF2-40B4-BE49-F238E27FC236}">
                <a16:creationId xmlns:a16="http://schemas.microsoft.com/office/drawing/2014/main" id="{B2ADBB69-6FF5-3B42-ACE5-D434F0D21891}"/>
              </a:ext>
            </a:extLst>
          </p:cNvPr>
          <p:cNvSpPr>
            <a:spLocks noEditPoints="1"/>
          </p:cNvSpPr>
          <p:nvPr/>
        </p:nvSpPr>
        <p:spPr bwMode="auto">
          <a:xfrm>
            <a:off x="2452262" y="1603375"/>
            <a:ext cx="447675" cy="550863"/>
          </a:xfrm>
          <a:custGeom>
            <a:avLst/>
            <a:gdLst>
              <a:gd name="T0" fmla="*/ 80 w 131"/>
              <a:gd name="T1" fmla="*/ 3 h 160"/>
              <a:gd name="T2" fmla="*/ 51 w 131"/>
              <a:gd name="T3" fmla="*/ 3 h 160"/>
              <a:gd name="T4" fmla="*/ 0 w 131"/>
              <a:gd name="T5" fmla="*/ 5 h 160"/>
              <a:gd name="T6" fmla="*/ 131 w 131"/>
              <a:gd name="T7" fmla="*/ 5 h 160"/>
              <a:gd name="T8" fmla="*/ 123 w 131"/>
              <a:gd name="T9" fmla="*/ 106 h 160"/>
              <a:gd name="T10" fmla="*/ 99 w 131"/>
              <a:gd name="T11" fmla="*/ 11 h 160"/>
              <a:gd name="T12" fmla="*/ 82 w 131"/>
              <a:gd name="T13" fmla="*/ 147 h 160"/>
              <a:gd name="T14" fmla="*/ 32 w 131"/>
              <a:gd name="T15" fmla="*/ 19 h 160"/>
              <a:gd name="T16" fmla="*/ 35 w 131"/>
              <a:gd name="T17" fmla="*/ 27 h 160"/>
              <a:gd name="T18" fmla="*/ 99 w 131"/>
              <a:gd name="T19" fmla="*/ 24 h 160"/>
              <a:gd name="T20" fmla="*/ 117 w 131"/>
              <a:gd name="T21" fmla="*/ 111 h 160"/>
              <a:gd name="T22" fmla="*/ 117 w 131"/>
              <a:gd name="T23" fmla="*/ 147 h 160"/>
              <a:gd name="T24" fmla="*/ 75 w 131"/>
              <a:gd name="T25" fmla="*/ 5 h 160"/>
              <a:gd name="T26" fmla="*/ 56 w 131"/>
              <a:gd name="T27" fmla="*/ 13 h 160"/>
              <a:gd name="T28" fmla="*/ 75 w 131"/>
              <a:gd name="T29" fmla="*/ 5 h 160"/>
              <a:gd name="T30" fmla="*/ 51 w 131"/>
              <a:gd name="T31" fmla="*/ 19 h 160"/>
              <a:gd name="T32" fmla="*/ 80 w 131"/>
              <a:gd name="T33" fmla="*/ 19 h 160"/>
              <a:gd name="T34" fmla="*/ 93 w 131"/>
              <a:gd name="T35" fmla="*/ 11 h 160"/>
              <a:gd name="T36" fmla="*/ 37 w 131"/>
              <a:gd name="T37" fmla="*/ 21 h 160"/>
              <a:gd name="T38" fmla="*/ 51 w 131"/>
              <a:gd name="T39" fmla="*/ 11 h 160"/>
              <a:gd name="T40" fmla="*/ 32 w 131"/>
              <a:gd name="T41" fmla="*/ 13 h 160"/>
              <a:gd name="T42" fmla="*/ 76 w 131"/>
              <a:gd name="T43" fmla="*/ 152 h 160"/>
              <a:gd name="T44" fmla="*/ 5 w 131"/>
              <a:gd name="T45" fmla="*/ 11 h 160"/>
              <a:gd name="T46" fmla="*/ 123 w 131"/>
              <a:gd name="T47" fmla="*/ 152 h 160"/>
              <a:gd name="T48" fmla="*/ 125 w 131"/>
              <a:gd name="T49" fmla="*/ 155 h 160"/>
              <a:gd name="T50" fmla="*/ 29 w 131"/>
              <a:gd name="T51" fmla="*/ 43 h 160"/>
              <a:gd name="T52" fmla="*/ 53 w 131"/>
              <a:gd name="T53" fmla="*/ 48 h 160"/>
              <a:gd name="T54" fmla="*/ 27 w 131"/>
              <a:gd name="T55" fmla="*/ 67 h 160"/>
              <a:gd name="T56" fmla="*/ 45 w 131"/>
              <a:gd name="T57" fmla="*/ 67 h 160"/>
              <a:gd name="T58" fmla="*/ 27 w 131"/>
              <a:gd name="T59" fmla="*/ 67 h 160"/>
              <a:gd name="T60" fmla="*/ 69 w 131"/>
              <a:gd name="T61" fmla="*/ 69 h 160"/>
              <a:gd name="T62" fmla="*/ 88 w 131"/>
              <a:gd name="T63" fmla="*/ 64 h 160"/>
              <a:gd name="T64" fmla="*/ 59 w 131"/>
              <a:gd name="T65" fmla="*/ 67 h 160"/>
              <a:gd name="T66" fmla="*/ 54 w 131"/>
              <a:gd name="T67" fmla="*/ 69 h 160"/>
              <a:gd name="T68" fmla="*/ 58 w 131"/>
              <a:gd name="T69" fmla="*/ 65 h 160"/>
              <a:gd name="T70" fmla="*/ 101 w 131"/>
              <a:gd name="T71" fmla="*/ 69 h 160"/>
              <a:gd name="T72" fmla="*/ 99 w 131"/>
              <a:gd name="T73" fmla="*/ 65 h 160"/>
              <a:gd name="T74" fmla="*/ 64 w 131"/>
              <a:gd name="T75" fmla="*/ 88 h 160"/>
              <a:gd name="T76" fmla="*/ 40 w 131"/>
              <a:gd name="T77" fmla="*/ 88 h 160"/>
              <a:gd name="T78" fmla="*/ 64 w 131"/>
              <a:gd name="T79" fmla="*/ 88 h 160"/>
              <a:gd name="T80" fmla="*/ 27 w 131"/>
              <a:gd name="T81" fmla="*/ 86 h 160"/>
              <a:gd name="T82" fmla="*/ 31 w 131"/>
              <a:gd name="T83" fmla="*/ 90 h 160"/>
              <a:gd name="T84" fmla="*/ 40 w 131"/>
              <a:gd name="T85" fmla="*/ 114 h 160"/>
              <a:gd name="T86" fmla="*/ 22 w 131"/>
              <a:gd name="T87" fmla="*/ 126 h 160"/>
              <a:gd name="T88" fmla="*/ 38 w 131"/>
              <a:gd name="T89" fmla="*/ 110 h 160"/>
              <a:gd name="T90" fmla="*/ 58 w 131"/>
              <a:gd name="T91" fmla="*/ 126 h 160"/>
              <a:gd name="T92" fmla="*/ 40 w 131"/>
              <a:gd name="T93" fmla="*/ 123 h 160"/>
              <a:gd name="T94" fmla="*/ 63 w 131"/>
              <a:gd name="T95"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1" h="160">
                <a:moveTo>
                  <a:pt x="96" y="5"/>
                </a:moveTo>
                <a:cubicBezTo>
                  <a:pt x="80" y="5"/>
                  <a:pt x="80" y="5"/>
                  <a:pt x="80" y="5"/>
                </a:cubicBezTo>
                <a:cubicBezTo>
                  <a:pt x="80" y="3"/>
                  <a:pt x="80" y="3"/>
                  <a:pt x="80" y="3"/>
                </a:cubicBezTo>
                <a:cubicBezTo>
                  <a:pt x="80" y="1"/>
                  <a:pt x="79" y="0"/>
                  <a:pt x="77" y="0"/>
                </a:cubicBezTo>
                <a:cubicBezTo>
                  <a:pt x="53" y="0"/>
                  <a:pt x="53" y="0"/>
                  <a:pt x="53" y="0"/>
                </a:cubicBezTo>
                <a:cubicBezTo>
                  <a:pt x="52" y="0"/>
                  <a:pt x="51" y="1"/>
                  <a:pt x="51" y="3"/>
                </a:cubicBezTo>
                <a:cubicBezTo>
                  <a:pt x="51" y="5"/>
                  <a:pt x="51" y="5"/>
                  <a:pt x="51" y="5"/>
                </a:cubicBezTo>
                <a:cubicBezTo>
                  <a:pt x="35" y="5"/>
                  <a:pt x="35" y="5"/>
                  <a:pt x="35" y="5"/>
                </a:cubicBezTo>
                <a:cubicBezTo>
                  <a:pt x="0" y="5"/>
                  <a:pt x="0" y="5"/>
                  <a:pt x="0" y="5"/>
                </a:cubicBezTo>
                <a:cubicBezTo>
                  <a:pt x="0" y="160"/>
                  <a:pt x="0" y="160"/>
                  <a:pt x="0" y="160"/>
                </a:cubicBezTo>
                <a:cubicBezTo>
                  <a:pt x="131" y="160"/>
                  <a:pt x="131" y="160"/>
                  <a:pt x="131" y="160"/>
                </a:cubicBezTo>
                <a:cubicBezTo>
                  <a:pt x="131" y="5"/>
                  <a:pt x="131" y="5"/>
                  <a:pt x="131" y="5"/>
                </a:cubicBezTo>
                <a:lnTo>
                  <a:pt x="96" y="5"/>
                </a:lnTo>
                <a:close/>
                <a:moveTo>
                  <a:pt x="125" y="103"/>
                </a:moveTo>
                <a:cubicBezTo>
                  <a:pt x="123" y="106"/>
                  <a:pt x="123" y="106"/>
                  <a:pt x="123" y="106"/>
                </a:cubicBezTo>
                <a:cubicBezTo>
                  <a:pt x="123" y="13"/>
                  <a:pt x="123" y="13"/>
                  <a:pt x="123" y="13"/>
                </a:cubicBezTo>
                <a:cubicBezTo>
                  <a:pt x="99" y="13"/>
                  <a:pt x="99" y="13"/>
                  <a:pt x="99" y="13"/>
                </a:cubicBezTo>
                <a:cubicBezTo>
                  <a:pt x="99" y="11"/>
                  <a:pt x="99" y="11"/>
                  <a:pt x="99" y="11"/>
                </a:cubicBezTo>
                <a:cubicBezTo>
                  <a:pt x="125" y="11"/>
                  <a:pt x="125" y="11"/>
                  <a:pt x="125" y="11"/>
                </a:cubicBezTo>
                <a:lnTo>
                  <a:pt x="125" y="103"/>
                </a:lnTo>
                <a:close/>
                <a:moveTo>
                  <a:pt x="82" y="147"/>
                </a:moveTo>
                <a:cubicBezTo>
                  <a:pt x="13" y="147"/>
                  <a:pt x="13" y="147"/>
                  <a:pt x="13" y="147"/>
                </a:cubicBezTo>
                <a:cubicBezTo>
                  <a:pt x="13" y="19"/>
                  <a:pt x="13" y="19"/>
                  <a:pt x="13" y="19"/>
                </a:cubicBezTo>
                <a:cubicBezTo>
                  <a:pt x="32" y="19"/>
                  <a:pt x="32" y="19"/>
                  <a:pt x="32" y="19"/>
                </a:cubicBezTo>
                <a:cubicBezTo>
                  <a:pt x="32" y="24"/>
                  <a:pt x="32" y="24"/>
                  <a:pt x="32" y="24"/>
                </a:cubicBezTo>
                <a:cubicBezTo>
                  <a:pt x="32" y="27"/>
                  <a:pt x="32" y="27"/>
                  <a:pt x="32" y="27"/>
                </a:cubicBezTo>
                <a:cubicBezTo>
                  <a:pt x="35" y="27"/>
                  <a:pt x="35" y="27"/>
                  <a:pt x="35" y="27"/>
                </a:cubicBezTo>
                <a:cubicBezTo>
                  <a:pt x="96" y="27"/>
                  <a:pt x="96" y="27"/>
                  <a:pt x="96" y="27"/>
                </a:cubicBezTo>
                <a:cubicBezTo>
                  <a:pt x="99" y="27"/>
                  <a:pt x="99" y="27"/>
                  <a:pt x="99" y="27"/>
                </a:cubicBezTo>
                <a:cubicBezTo>
                  <a:pt x="99" y="24"/>
                  <a:pt x="99" y="24"/>
                  <a:pt x="99" y="24"/>
                </a:cubicBezTo>
                <a:cubicBezTo>
                  <a:pt x="99" y="19"/>
                  <a:pt x="99" y="19"/>
                  <a:pt x="99" y="19"/>
                </a:cubicBezTo>
                <a:cubicBezTo>
                  <a:pt x="117" y="19"/>
                  <a:pt x="117" y="19"/>
                  <a:pt x="117" y="19"/>
                </a:cubicBezTo>
                <a:cubicBezTo>
                  <a:pt x="117" y="111"/>
                  <a:pt x="117" y="111"/>
                  <a:pt x="117" y="111"/>
                </a:cubicBezTo>
                <a:lnTo>
                  <a:pt x="82" y="147"/>
                </a:lnTo>
                <a:close/>
                <a:moveTo>
                  <a:pt x="117" y="118"/>
                </a:moveTo>
                <a:cubicBezTo>
                  <a:pt x="117" y="147"/>
                  <a:pt x="117" y="147"/>
                  <a:pt x="117" y="147"/>
                </a:cubicBezTo>
                <a:cubicBezTo>
                  <a:pt x="89" y="147"/>
                  <a:pt x="89" y="147"/>
                  <a:pt x="89" y="147"/>
                </a:cubicBezTo>
                <a:lnTo>
                  <a:pt x="117" y="118"/>
                </a:lnTo>
                <a:close/>
                <a:moveTo>
                  <a:pt x="75" y="5"/>
                </a:moveTo>
                <a:cubicBezTo>
                  <a:pt x="75" y="8"/>
                  <a:pt x="75" y="8"/>
                  <a:pt x="75" y="8"/>
                </a:cubicBezTo>
                <a:cubicBezTo>
                  <a:pt x="75" y="13"/>
                  <a:pt x="75" y="13"/>
                  <a:pt x="75" y="13"/>
                </a:cubicBezTo>
                <a:cubicBezTo>
                  <a:pt x="56" y="13"/>
                  <a:pt x="56" y="13"/>
                  <a:pt x="56" y="13"/>
                </a:cubicBezTo>
                <a:cubicBezTo>
                  <a:pt x="56" y="8"/>
                  <a:pt x="56" y="8"/>
                  <a:pt x="56" y="8"/>
                </a:cubicBezTo>
                <a:cubicBezTo>
                  <a:pt x="56" y="5"/>
                  <a:pt x="56" y="5"/>
                  <a:pt x="56" y="5"/>
                </a:cubicBezTo>
                <a:lnTo>
                  <a:pt x="75" y="5"/>
                </a:lnTo>
                <a:close/>
                <a:moveTo>
                  <a:pt x="51" y="11"/>
                </a:moveTo>
                <a:cubicBezTo>
                  <a:pt x="51" y="16"/>
                  <a:pt x="51" y="16"/>
                  <a:pt x="51" y="16"/>
                </a:cubicBezTo>
                <a:cubicBezTo>
                  <a:pt x="51" y="19"/>
                  <a:pt x="51" y="19"/>
                  <a:pt x="51" y="19"/>
                </a:cubicBezTo>
                <a:cubicBezTo>
                  <a:pt x="53" y="19"/>
                  <a:pt x="53" y="19"/>
                  <a:pt x="53" y="19"/>
                </a:cubicBezTo>
                <a:cubicBezTo>
                  <a:pt x="77" y="19"/>
                  <a:pt x="77" y="19"/>
                  <a:pt x="77" y="19"/>
                </a:cubicBezTo>
                <a:cubicBezTo>
                  <a:pt x="80" y="19"/>
                  <a:pt x="80" y="19"/>
                  <a:pt x="80" y="19"/>
                </a:cubicBezTo>
                <a:cubicBezTo>
                  <a:pt x="80" y="16"/>
                  <a:pt x="80" y="16"/>
                  <a:pt x="80" y="16"/>
                </a:cubicBezTo>
                <a:cubicBezTo>
                  <a:pt x="80" y="11"/>
                  <a:pt x="80" y="11"/>
                  <a:pt x="80" y="11"/>
                </a:cubicBezTo>
                <a:cubicBezTo>
                  <a:pt x="93" y="11"/>
                  <a:pt x="93" y="11"/>
                  <a:pt x="93" y="11"/>
                </a:cubicBezTo>
                <a:cubicBezTo>
                  <a:pt x="93" y="13"/>
                  <a:pt x="93" y="13"/>
                  <a:pt x="93" y="13"/>
                </a:cubicBezTo>
                <a:cubicBezTo>
                  <a:pt x="93" y="21"/>
                  <a:pt x="93" y="21"/>
                  <a:pt x="93" y="21"/>
                </a:cubicBezTo>
                <a:cubicBezTo>
                  <a:pt x="37" y="21"/>
                  <a:pt x="37" y="21"/>
                  <a:pt x="37" y="21"/>
                </a:cubicBezTo>
                <a:cubicBezTo>
                  <a:pt x="37" y="13"/>
                  <a:pt x="37" y="13"/>
                  <a:pt x="37" y="13"/>
                </a:cubicBezTo>
                <a:cubicBezTo>
                  <a:pt x="37" y="11"/>
                  <a:pt x="37" y="11"/>
                  <a:pt x="37" y="11"/>
                </a:cubicBezTo>
                <a:lnTo>
                  <a:pt x="51" y="11"/>
                </a:lnTo>
                <a:close/>
                <a:moveTo>
                  <a:pt x="5" y="11"/>
                </a:moveTo>
                <a:cubicBezTo>
                  <a:pt x="32" y="11"/>
                  <a:pt x="32" y="11"/>
                  <a:pt x="32" y="11"/>
                </a:cubicBezTo>
                <a:cubicBezTo>
                  <a:pt x="32" y="13"/>
                  <a:pt x="32" y="13"/>
                  <a:pt x="32" y="13"/>
                </a:cubicBezTo>
                <a:cubicBezTo>
                  <a:pt x="8" y="13"/>
                  <a:pt x="8" y="13"/>
                  <a:pt x="8" y="13"/>
                </a:cubicBezTo>
                <a:cubicBezTo>
                  <a:pt x="8" y="152"/>
                  <a:pt x="8" y="152"/>
                  <a:pt x="8" y="152"/>
                </a:cubicBezTo>
                <a:cubicBezTo>
                  <a:pt x="76" y="152"/>
                  <a:pt x="76" y="152"/>
                  <a:pt x="76" y="152"/>
                </a:cubicBezTo>
                <a:cubicBezTo>
                  <a:pt x="74" y="155"/>
                  <a:pt x="74" y="155"/>
                  <a:pt x="74" y="155"/>
                </a:cubicBezTo>
                <a:cubicBezTo>
                  <a:pt x="5" y="155"/>
                  <a:pt x="5" y="155"/>
                  <a:pt x="5" y="155"/>
                </a:cubicBezTo>
                <a:lnTo>
                  <a:pt x="5" y="11"/>
                </a:lnTo>
                <a:close/>
                <a:moveTo>
                  <a:pt x="81" y="155"/>
                </a:moveTo>
                <a:cubicBezTo>
                  <a:pt x="84" y="152"/>
                  <a:pt x="84" y="152"/>
                  <a:pt x="84" y="152"/>
                </a:cubicBezTo>
                <a:cubicBezTo>
                  <a:pt x="123" y="152"/>
                  <a:pt x="123" y="152"/>
                  <a:pt x="123" y="152"/>
                </a:cubicBezTo>
                <a:cubicBezTo>
                  <a:pt x="123" y="113"/>
                  <a:pt x="123" y="113"/>
                  <a:pt x="123" y="113"/>
                </a:cubicBezTo>
                <a:cubicBezTo>
                  <a:pt x="125" y="110"/>
                  <a:pt x="125" y="110"/>
                  <a:pt x="125" y="110"/>
                </a:cubicBezTo>
                <a:cubicBezTo>
                  <a:pt x="125" y="155"/>
                  <a:pt x="125" y="155"/>
                  <a:pt x="125" y="155"/>
                </a:cubicBezTo>
                <a:lnTo>
                  <a:pt x="81" y="155"/>
                </a:lnTo>
                <a:close/>
                <a:moveTo>
                  <a:pt x="27" y="45"/>
                </a:moveTo>
                <a:cubicBezTo>
                  <a:pt x="27" y="44"/>
                  <a:pt x="28" y="43"/>
                  <a:pt x="29" y="43"/>
                </a:cubicBezTo>
                <a:cubicBezTo>
                  <a:pt x="53" y="43"/>
                  <a:pt x="53" y="43"/>
                  <a:pt x="53" y="43"/>
                </a:cubicBezTo>
                <a:cubicBezTo>
                  <a:pt x="55" y="43"/>
                  <a:pt x="56" y="44"/>
                  <a:pt x="56" y="45"/>
                </a:cubicBezTo>
                <a:cubicBezTo>
                  <a:pt x="56" y="47"/>
                  <a:pt x="55" y="48"/>
                  <a:pt x="53" y="48"/>
                </a:cubicBezTo>
                <a:cubicBezTo>
                  <a:pt x="29" y="48"/>
                  <a:pt x="29" y="48"/>
                  <a:pt x="29" y="48"/>
                </a:cubicBezTo>
                <a:cubicBezTo>
                  <a:pt x="28" y="48"/>
                  <a:pt x="27" y="47"/>
                  <a:pt x="27" y="45"/>
                </a:cubicBezTo>
                <a:close/>
                <a:moveTo>
                  <a:pt x="27" y="67"/>
                </a:moveTo>
                <a:cubicBezTo>
                  <a:pt x="27" y="65"/>
                  <a:pt x="28" y="64"/>
                  <a:pt x="29" y="64"/>
                </a:cubicBezTo>
                <a:cubicBezTo>
                  <a:pt x="43" y="64"/>
                  <a:pt x="43" y="64"/>
                  <a:pt x="43" y="64"/>
                </a:cubicBezTo>
                <a:cubicBezTo>
                  <a:pt x="44" y="64"/>
                  <a:pt x="45" y="65"/>
                  <a:pt x="45" y="67"/>
                </a:cubicBezTo>
                <a:cubicBezTo>
                  <a:pt x="45" y="68"/>
                  <a:pt x="44" y="69"/>
                  <a:pt x="43" y="69"/>
                </a:cubicBezTo>
                <a:cubicBezTo>
                  <a:pt x="29" y="69"/>
                  <a:pt x="29" y="69"/>
                  <a:pt x="29" y="69"/>
                </a:cubicBezTo>
                <a:cubicBezTo>
                  <a:pt x="28" y="69"/>
                  <a:pt x="27" y="68"/>
                  <a:pt x="27" y="67"/>
                </a:cubicBezTo>
                <a:close/>
                <a:moveTo>
                  <a:pt x="91" y="67"/>
                </a:moveTo>
                <a:cubicBezTo>
                  <a:pt x="91" y="68"/>
                  <a:pt x="89" y="69"/>
                  <a:pt x="88" y="69"/>
                </a:cubicBezTo>
                <a:cubicBezTo>
                  <a:pt x="69" y="69"/>
                  <a:pt x="69" y="69"/>
                  <a:pt x="69" y="69"/>
                </a:cubicBezTo>
                <a:cubicBezTo>
                  <a:pt x="68" y="69"/>
                  <a:pt x="67" y="68"/>
                  <a:pt x="67" y="67"/>
                </a:cubicBezTo>
                <a:cubicBezTo>
                  <a:pt x="67" y="65"/>
                  <a:pt x="68" y="64"/>
                  <a:pt x="69" y="64"/>
                </a:cubicBezTo>
                <a:cubicBezTo>
                  <a:pt x="88" y="64"/>
                  <a:pt x="88" y="64"/>
                  <a:pt x="88" y="64"/>
                </a:cubicBezTo>
                <a:cubicBezTo>
                  <a:pt x="89" y="64"/>
                  <a:pt x="91" y="65"/>
                  <a:pt x="91" y="67"/>
                </a:cubicBezTo>
                <a:close/>
                <a:moveTo>
                  <a:pt x="58" y="65"/>
                </a:moveTo>
                <a:cubicBezTo>
                  <a:pt x="58" y="65"/>
                  <a:pt x="59" y="66"/>
                  <a:pt x="59" y="67"/>
                </a:cubicBezTo>
                <a:cubicBezTo>
                  <a:pt x="59" y="67"/>
                  <a:pt x="58" y="68"/>
                  <a:pt x="58" y="69"/>
                </a:cubicBezTo>
                <a:cubicBezTo>
                  <a:pt x="57" y="69"/>
                  <a:pt x="57" y="69"/>
                  <a:pt x="56" y="69"/>
                </a:cubicBezTo>
                <a:cubicBezTo>
                  <a:pt x="55" y="69"/>
                  <a:pt x="55" y="69"/>
                  <a:pt x="54" y="69"/>
                </a:cubicBezTo>
                <a:cubicBezTo>
                  <a:pt x="54" y="68"/>
                  <a:pt x="53" y="67"/>
                  <a:pt x="53" y="67"/>
                </a:cubicBezTo>
                <a:cubicBezTo>
                  <a:pt x="53" y="66"/>
                  <a:pt x="54" y="65"/>
                  <a:pt x="54" y="65"/>
                </a:cubicBezTo>
                <a:cubicBezTo>
                  <a:pt x="55" y="64"/>
                  <a:pt x="57" y="64"/>
                  <a:pt x="58" y="65"/>
                </a:cubicBezTo>
                <a:close/>
                <a:moveTo>
                  <a:pt x="104" y="67"/>
                </a:moveTo>
                <a:cubicBezTo>
                  <a:pt x="104" y="67"/>
                  <a:pt x="104" y="68"/>
                  <a:pt x="103" y="69"/>
                </a:cubicBezTo>
                <a:cubicBezTo>
                  <a:pt x="103" y="69"/>
                  <a:pt x="102" y="69"/>
                  <a:pt x="101" y="69"/>
                </a:cubicBezTo>
                <a:cubicBezTo>
                  <a:pt x="101" y="69"/>
                  <a:pt x="100" y="69"/>
                  <a:pt x="99" y="69"/>
                </a:cubicBezTo>
                <a:cubicBezTo>
                  <a:pt x="99" y="68"/>
                  <a:pt x="99" y="67"/>
                  <a:pt x="99" y="67"/>
                </a:cubicBezTo>
                <a:cubicBezTo>
                  <a:pt x="99" y="66"/>
                  <a:pt x="99" y="65"/>
                  <a:pt x="99" y="65"/>
                </a:cubicBezTo>
                <a:cubicBezTo>
                  <a:pt x="100" y="64"/>
                  <a:pt x="102" y="64"/>
                  <a:pt x="103" y="65"/>
                </a:cubicBezTo>
                <a:cubicBezTo>
                  <a:pt x="104" y="65"/>
                  <a:pt x="104" y="66"/>
                  <a:pt x="104" y="67"/>
                </a:cubicBezTo>
                <a:close/>
                <a:moveTo>
                  <a:pt x="64" y="88"/>
                </a:moveTo>
                <a:cubicBezTo>
                  <a:pt x="64" y="89"/>
                  <a:pt x="63" y="91"/>
                  <a:pt x="61" y="91"/>
                </a:cubicBezTo>
                <a:cubicBezTo>
                  <a:pt x="43" y="91"/>
                  <a:pt x="43" y="91"/>
                  <a:pt x="43" y="91"/>
                </a:cubicBezTo>
                <a:cubicBezTo>
                  <a:pt x="41" y="91"/>
                  <a:pt x="40" y="89"/>
                  <a:pt x="40" y="88"/>
                </a:cubicBezTo>
                <a:cubicBezTo>
                  <a:pt x="40" y="87"/>
                  <a:pt x="41" y="85"/>
                  <a:pt x="43" y="85"/>
                </a:cubicBezTo>
                <a:cubicBezTo>
                  <a:pt x="61" y="85"/>
                  <a:pt x="61" y="85"/>
                  <a:pt x="61" y="85"/>
                </a:cubicBezTo>
                <a:cubicBezTo>
                  <a:pt x="63" y="85"/>
                  <a:pt x="64" y="87"/>
                  <a:pt x="64" y="88"/>
                </a:cubicBezTo>
                <a:close/>
                <a:moveTo>
                  <a:pt x="27" y="90"/>
                </a:moveTo>
                <a:cubicBezTo>
                  <a:pt x="27" y="89"/>
                  <a:pt x="27" y="89"/>
                  <a:pt x="27" y="88"/>
                </a:cubicBezTo>
                <a:cubicBezTo>
                  <a:pt x="27" y="87"/>
                  <a:pt x="27" y="87"/>
                  <a:pt x="27" y="86"/>
                </a:cubicBezTo>
                <a:cubicBezTo>
                  <a:pt x="28" y="85"/>
                  <a:pt x="30" y="85"/>
                  <a:pt x="31" y="86"/>
                </a:cubicBezTo>
                <a:cubicBezTo>
                  <a:pt x="32" y="87"/>
                  <a:pt x="32" y="87"/>
                  <a:pt x="32" y="88"/>
                </a:cubicBezTo>
                <a:cubicBezTo>
                  <a:pt x="32" y="89"/>
                  <a:pt x="32" y="89"/>
                  <a:pt x="31" y="90"/>
                </a:cubicBezTo>
                <a:cubicBezTo>
                  <a:pt x="31" y="90"/>
                  <a:pt x="30" y="91"/>
                  <a:pt x="29" y="91"/>
                </a:cubicBezTo>
                <a:cubicBezTo>
                  <a:pt x="29" y="91"/>
                  <a:pt x="28" y="90"/>
                  <a:pt x="27" y="90"/>
                </a:cubicBezTo>
                <a:close/>
                <a:moveTo>
                  <a:pt x="40" y="114"/>
                </a:moveTo>
                <a:cubicBezTo>
                  <a:pt x="35" y="117"/>
                  <a:pt x="34" y="124"/>
                  <a:pt x="34" y="130"/>
                </a:cubicBezTo>
                <a:cubicBezTo>
                  <a:pt x="34" y="132"/>
                  <a:pt x="31" y="133"/>
                  <a:pt x="30" y="132"/>
                </a:cubicBezTo>
                <a:cubicBezTo>
                  <a:pt x="27" y="130"/>
                  <a:pt x="25" y="128"/>
                  <a:pt x="22" y="126"/>
                </a:cubicBezTo>
                <a:cubicBezTo>
                  <a:pt x="19" y="123"/>
                  <a:pt x="23" y="120"/>
                  <a:pt x="26" y="122"/>
                </a:cubicBezTo>
                <a:cubicBezTo>
                  <a:pt x="27" y="123"/>
                  <a:pt x="28" y="124"/>
                  <a:pt x="29" y="125"/>
                </a:cubicBezTo>
                <a:cubicBezTo>
                  <a:pt x="30" y="119"/>
                  <a:pt x="32" y="113"/>
                  <a:pt x="38" y="110"/>
                </a:cubicBezTo>
                <a:cubicBezTo>
                  <a:pt x="41" y="108"/>
                  <a:pt x="43" y="113"/>
                  <a:pt x="40" y="114"/>
                </a:cubicBezTo>
                <a:close/>
                <a:moveTo>
                  <a:pt x="63" y="123"/>
                </a:moveTo>
                <a:cubicBezTo>
                  <a:pt x="64" y="126"/>
                  <a:pt x="60" y="129"/>
                  <a:pt x="58" y="126"/>
                </a:cubicBezTo>
                <a:cubicBezTo>
                  <a:pt x="57" y="124"/>
                  <a:pt x="53" y="128"/>
                  <a:pt x="52" y="128"/>
                </a:cubicBezTo>
                <a:cubicBezTo>
                  <a:pt x="50" y="129"/>
                  <a:pt x="49" y="129"/>
                  <a:pt x="47" y="129"/>
                </a:cubicBezTo>
                <a:cubicBezTo>
                  <a:pt x="44" y="128"/>
                  <a:pt x="42" y="126"/>
                  <a:pt x="40" y="123"/>
                </a:cubicBezTo>
                <a:cubicBezTo>
                  <a:pt x="39" y="120"/>
                  <a:pt x="43" y="118"/>
                  <a:pt x="45" y="121"/>
                </a:cubicBezTo>
                <a:cubicBezTo>
                  <a:pt x="48" y="126"/>
                  <a:pt x="52" y="121"/>
                  <a:pt x="55" y="120"/>
                </a:cubicBezTo>
                <a:cubicBezTo>
                  <a:pt x="58" y="120"/>
                  <a:pt x="61" y="121"/>
                  <a:pt x="63" y="123"/>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1308">
            <a:extLst>
              <a:ext uri="{FF2B5EF4-FFF2-40B4-BE49-F238E27FC236}">
                <a16:creationId xmlns:a16="http://schemas.microsoft.com/office/drawing/2014/main" id="{4BB6DBD4-30B7-1E42-A060-466D738DB5C8}"/>
              </a:ext>
            </a:extLst>
          </p:cNvPr>
          <p:cNvSpPr>
            <a:spLocks noEditPoints="1"/>
          </p:cNvSpPr>
          <p:nvPr/>
        </p:nvSpPr>
        <p:spPr bwMode="auto">
          <a:xfrm>
            <a:off x="2412575" y="2222500"/>
            <a:ext cx="508000" cy="550863"/>
          </a:xfrm>
          <a:custGeom>
            <a:avLst/>
            <a:gdLst>
              <a:gd name="T0" fmla="*/ 59 w 149"/>
              <a:gd name="T1" fmla="*/ 45 h 160"/>
              <a:gd name="T2" fmla="*/ 35 w 149"/>
              <a:gd name="T3" fmla="*/ 51 h 160"/>
              <a:gd name="T4" fmla="*/ 48 w 149"/>
              <a:gd name="T5" fmla="*/ 69 h 160"/>
              <a:gd name="T6" fmla="*/ 35 w 149"/>
              <a:gd name="T7" fmla="*/ 64 h 160"/>
              <a:gd name="T8" fmla="*/ 69 w 149"/>
              <a:gd name="T9" fmla="*/ 69 h 160"/>
              <a:gd name="T10" fmla="*/ 88 w 149"/>
              <a:gd name="T11" fmla="*/ 64 h 160"/>
              <a:gd name="T12" fmla="*/ 69 w 149"/>
              <a:gd name="T13" fmla="*/ 69 h 160"/>
              <a:gd name="T14" fmla="*/ 61 w 149"/>
              <a:gd name="T15" fmla="*/ 65 h 160"/>
              <a:gd name="T16" fmla="*/ 57 w 149"/>
              <a:gd name="T17" fmla="*/ 69 h 160"/>
              <a:gd name="T18" fmla="*/ 99 w 149"/>
              <a:gd name="T19" fmla="*/ 69 h 160"/>
              <a:gd name="T20" fmla="*/ 101 w 149"/>
              <a:gd name="T21" fmla="*/ 65 h 160"/>
              <a:gd name="T22" fmla="*/ 97 w 149"/>
              <a:gd name="T23" fmla="*/ 69 h 160"/>
              <a:gd name="T24" fmla="*/ 45 w 149"/>
              <a:gd name="T25" fmla="*/ 88 h 160"/>
              <a:gd name="T26" fmla="*/ 64 w 149"/>
              <a:gd name="T27" fmla="*/ 83 h 160"/>
              <a:gd name="T28" fmla="*/ 37 w 149"/>
              <a:gd name="T29" fmla="*/ 87 h 160"/>
              <a:gd name="T30" fmla="*/ 33 w 149"/>
              <a:gd name="T31" fmla="*/ 83 h 160"/>
              <a:gd name="T32" fmla="*/ 35 w 149"/>
              <a:gd name="T33" fmla="*/ 88 h 160"/>
              <a:gd name="T34" fmla="*/ 41 w 149"/>
              <a:gd name="T35" fmla="*/ 114 h 160"/>
              <a:gd name="T36" fmla="*/ 41 w 149"/>
              <a:gd name="T37" fmla="*/ 121 h 160"/>
              <a:gd name="T38" fmla="*/ 49 w 149"/>
              <a:gd name="T39" fmla="*/ 99 h 160"/>
              <a:gd name="T40" fmla="*/ 52 w 149"/>
              <a:gd name="T41" fmla="*/ 113 h 160"/>
              <a:gd name="T42" fmla="*/ 70 w 149"/>
              <a:gd name="T43" fmla="*/ 115 h 160"/>
              <a:gd name="T44" fmla="*/ 149 w 149"/>
              <a:gd name="T45" fmla="*/ 8 h 160"/>
              <a:gd name="T46" fmla="*/ 149 w 149"/>
              <a:gd name="T47" fmla="*/ 134 h 160"/>
              <a:gd name="T48" fmla="*/ 136 w 149"/>
              <a:gd name="T49" fmla="*/ 160 h 160"/>
              <a:gd name="T50" fmla="*/ 131 w 149"/>
              <a:gd name="T51" fmla="*/ 148 h 160"/>
              <a:gd name="T52" fmla="*/ 0 w 149"/>
              <a:gd name="T53" fmla="*/ 5 h 160"/>
              <a:gd name="T54" fmla="*/ 51 w 149"/>
              <a:gd name="T55" fmla="*/ 3 h 160"/>
              <a:gd name="T56" fmla="*/ 80 w 149"/>
              <a:gd name="T57" fmla="*/ 3 h 160"/>
              <a:gd name="T58" fmla="*/ 123 w 149"/>
              <a:gd name="T59" fmla="*/ 5 h 160"/>
              <a:gd name="T60" fmla="*/ 149 w 149"/>
              <a:gd name="T61" fmla="*/ 8 h 160"/>
              <a:gd name="T62" fmla="*/ 144 w 149"/>
              <a:gd name="T63" fmla="*/ 24 h 160"/>
              <a:gd name="T64" fmla="*/ 56 w 149"/>
              <a:gd name="T65" fmla="*/ 5 h 160"/>
              <a:gd name="T66" fmla="*/ 75 w 149"/>
              <a:gd name="T67" fmla="*/ 13 h 160"/>
              <a:gd name="T68" fmla="*/ 56 w 149"/>
              <a:gd name="T69" fmla="*/ 5 h 160"/>
              <a:gd name="T70" fmla="*/ 37 w 149"/>
              <a:gd name="T71" fmla="*/ 21 h 160"/>
              <a:gd name="T72" fmla="*/ 93 w 149"/>
              <a:gd name="T73" fmla="*/ 11 h 160"/>
              <a:gd name="T74" fmla="*/ 80 w 149"/>
              <a:gd name="T75" fmla="*/ 19 h 160"/>
              <a:gd name="T76" fmla="*/ 51 w 149"/>
              <a:gd name="T77" fmla="*/ 19 h 160"/>
              <a:gd name="T78" fmla="*/ 37 w 149"/>
              <a:gd name="T79" fmla="*/ 11 h 160"/>
              <a:gd name="T80" fmla="*/ 19 w 149"/>
              <a:gd name="T81" fmla="*/ 24 h 160"/>
              <a:gd name="T82" fmla="*/ 112 w 149"/>
              <a:gd name="T83" fmla="*/ 24 h 160"/>
              <a:gd name="T84" fmla="*/ 96 w 149"/>
              <a:gd name="T85" fmla="*/ 27 h 160"/>
              <a:gd name="T86" fmla="*/ 125 w 149"/>
              <a:gd name="T87" fmla="*/ 139 h 160"/>
              <a:gd name="T88" fmla="*/ 123 w 149"/>
              <a:gd name="T89" fmla="*/ 19 h 160"/>
              <a:gd name="T90" fmla="*/ 99 w 149"/>
              <a:gd name="T91" fmla="*/ 19 h 160"/>
              <a:gd name="T92" fmla="*/ 13 w 149"/>
              <a:gd name="T93" fmla="*/ 147 h 160"/>
              <a:gd name="T94" fmla="*/ 32 w 149"/>
              <a:gd name="T95" fmla="*/ 11 h 160"/>
              <a:gd name="T96" fmla="*/ 125 w 149"/>
              <a:gd name="T97" fmla="*/ 155 h 160"/>
              <a:gd name="T98" fmla="*/ 136 w 149"/>
              <a:gd name="T99" fmla="*/ 147 h 160"/>
              <a:gd name="T100" fmla="*/ 131 w 149"/>
              <a:gd name="T101" fmla="*/ 137 h 160"/>
              <a:gd name="T102" fmla="*/ 128 w 149"/>
              <a:gd name="T103" fmla="*/ 131 h 160"/>
              <a:gd name="T104" fmla="*/ 144 w 149"/>
              <a:gd name="T105" fmla="*/ 19 h 160"/>
              <a:gd name="T106" fmla="*/ 131 w 149"/>
              <a:gd name="T107" fmla="*/ 5 h 160"/>
              <a:gd name="T108" fmla="*/ 144 w 149"/>
              <a:gd name="T109" fmla="*/ 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160">
                <a:moveTo>
                  <a:pt x="32" y="48"/>
                </a:moveTo>
                <a:cubicBezTo>
                  <a:pt x="32" y="47"/>
                  <a:pt x="33" y="45"/>
                  <a:pt x="35" y="45"/>
                </a:cubicBezTo>
                <a:cubicBezTo>
                  <a:pt x="59" y="45"/>
                  <a:pt x="59" y="45"/>
                  <a:pt x="59" y="45"/>
                </a:cubicBezTo>
                <a:cubicBezTo>
                  <a:pt x="60" y="45"/>
                  <a:pt x="61" y="47"/>
                  <a:pt x="61" y="48"/>
                </a:cubicBezTo>
                <a:cubicBezTo>
                  <a:pt x="61" y="49"/>
                  <a:pt x="60" y="51"/>
                  <a:pt x="59" y="51"/>
                </a:cubicBezTo>
                <a:cubicBezTo>
                  <a:pt x="35" y="51"/>
                  <a:pt x="35" y="51"/>
                  <a:pt x="35" y="51"/>
                </a:cubicBezTo>
                <a:cubicBezTo>
                  <a:pt x="33" y="51"/>
                  <a:pt x="32" y="49"/>
                  <a:pt x="32" y="48"/>
                </a:cubicBezTo>
                <a:close/>
                <a:moveTo>
                  <a:pt x="35" y="69"/>
                </a:moveTo>
                <a:cubicBezTo>
                  <a:pt x="48" y="69"/>
                  <a:pt x="48" y="69"/>
                  <a:pt x="48" y="69"/>
                </a:cubicBezTo>
                <a:cubicBezTo>
                  <a:pt x="49" y="69"/>
                  <a:pt x="51" y="68"/>
                  <a:pt x="51" y="67"/>
                </a:cubicBezTo>
                <a:cubicBezTo>
                  <a:pt x="51" y="65"/>
                  <a:pt x="49" y="64"/>
                  <a:pt x="48" y="64"/>
                </a:cubicBezTo>
                <a:cubicBezTo>
                  <a:pt x="35" y="64"/>
                  <a:pt x="35" y="64"/>
                  <a:pt x="35" y="64"/>
                </a:cubicBezTo>
                <a:cubicBezTo>
                  <a:pt x="33" y="64"/>
                  <a:pt x="32" y="65"/>
                  <a:pt x="32" y="67"/>
                </a:cubicBezTo>
                <a:cubicBezTo>
                  <a:pt x="32" y="68"/>
                  <a:pt x="33" y="69"/>
                  <a:pt x="35" y="69"/>
                </a:cubicBezTo>
                <a:close/>
                <a:moveTo>
                  <a:pt x="69" y="69"/>
                </a:moveTo>
                <a:cubicBezTo>
                  <a:pt x="88" y="69"/>
                  <a:pt x="88" y="69"/>
                  <a:pt x="88" y="69"/>
                </a:cubicBezTo>
                <a:cubicBezTo>
                  <a:pt x="89" y="69"/>
                  <a:pt x="91" y="68"/>
                  <a:pt x="91" y="67"/>
                </a:cubicBezTo>
                <a:cubicBezTo>
                  <a:pt x="91" y="65"/>
                  <a:pt x="89" y="64"/>
                  <a:pt x="88" y="64"/>
                </a:cubicBezTo>
                <a:cubicBezTo>
                  <a:pt x="69" y="64"/>
                  <a:pt x="69" y="64"/>
                  <a:pt x="69" y="64"/>
                </a:cubicBezTo>
                <a:cubicBezTo>
                  <a:pt x="68" y="64"/>
                  <a:pt x="67" y="65"/>
                  <a:pt x="67" y="67"/>
                </a:cubicBezTo>
                <a:cubicBezTo>
                  <a:pt x="67" y="68"/>
                  <a:pt x="68" y="69"/>
                  <a:pt x="69" y="69"/>
                </a:cubicBezTo>
                <a:close/>
                <a:moveTo>
                  <a:pt x="61" y="69"/>
                </a:moveTo>
                <a:cubicBezTo>
                  <a:pt x="61" y="68"/>
                  <a:pt x="61" y="67"/>
                  <a:pt x="61" y="67"/>
                </a:cubicBezTo>
                <a:cubicBezTo>
                  <a:pt x="61" y="66"/>
                  <a:pt x="61" y="65"/>
                  <a:pt x="61" y="65"/>
                </a:cubicBezTo>
                <a:cubicBezTo>
                  <a:pt x="60" y="64"/>
                  <a:pt x="58" y="64"/>
                  <a:pt x="57" y="65"/>
                </a:cubicBezTo>
                <a:cubicBezTo>
                  <a:pt x="56" y="65"/>
                  <a:pt x="56" y="66"/>
                  <a:pt x="56" y="67"/>
                </a:cubicBezTo>
                <a:cubicBezTo>
                  <a:pt x="56" y="67"/>
                  <a:pt x="56" y="68"/>
                  <a:pt x="57" y="69"/>
                </a:cubicBezTo>
                <a:cubicBezTo>
                  <a:pt x="57" y="69"/>
                  <a:pt x="58" y="69"/>
                  <a:pt x="59" y="69"/>
                </a:cubicBezTo>
                <a:cubicBezTo>
                  <a:pt x="59" y="69"/>
                  <a:pt x="60" y="69"/>
                  <a:pt x="61" y="69"/>
                </a:cubicBezTo>
                <a:close/>
                <a:moveTo>
                  <a:pt x="99" y="69"/>
                </a:moveTo>
                <a:cubicBezTo>
                  <a:pt x="99" y="69"/>
                  <a:pt x="100" y="69"/>
                  <a:pt x="101" y="69"/>
                </a:cubicBezTo>
                <a:cubicBezTo>
                  <a:pt x="101" y="68"/>
                  <a:pt x="101" y="67"/>
                  <a:pt x="101" y="67"/>
                </a:cubicBezTo>
                <a:cubicBezTo>
                  <a:pt x="101" y="66"/>
                  <a:pt x="101" y="65"/>
                  <a:pt x="101" y="65"/>
                </a:cubicBezTo>
                <a:cubicBezTo>
                  <a:pt x="100" y="64"/>
                  <a:pt x="98" y="64"/>
                  <a:pt x="97" y="65"/>
                </a:cubicBezTo>
                <a:cubicBezTo>
                  <a:pt x="96" y="65"/>
                  <a:pt x="96" y="66"/>
                  <a:pt x="96" y="67"/>
                </a:cubicBezTo>
                <a:cubicBezTo>
                  <a:pt x="96" y="67"/>
                  <a:pt x="96" y="68"/>
                  <a:pt x="97" y="69"/>
                </a:cubicBezTo>
                <a:cubicBezTo>
                  <a:pt x="97" y="69"/>
                  <a:pt x="98" y="69"/>
                  <a:pt x="99" y="69"/>
                </a:cubicBezTo>
                <a:close/>
                <a:moveTo>
                  <a:pt x="43" y="85"/>
                </a:moveTo>
                <a:cubicBezTo>
                  <a:pt x="43" y="87"/>
                  <a:pt x="44" y="88"/>
                  <a:pt x="45" y="88"/>
                </a:cubicBezTo>
                <a:cubicBezTo>
                  <a:pt x="64" y="88"/>
                  <a:pt x="64" y="88"/>
                  <a:pt x="64" y="88"/>
                </a:cubicBezTo>
                <a:cubicBezTo>
                  <a:pt x="65" y="88"/>
                  <a:pt x="67" y="87"/>
                  <a:pt x="67" y="85"/>
                </a:cubicBezTo>
                <a:cubicBezTo>
                  <a:pt x="67" y="84"/>
                  <a:pt x="65" y="83"/>
                  <a:pt x="64" y="83"/>
                </a:cubicBezTo>
                <a:cubicBezTo>
                  <a:pt x="45" y="83"/>
                  <a:pt x="45" y="83"/>
                  <a:pt x="45" y="83"/>
                </a:cubicBezTo>
                <a:cubicBezTo>
                  <a:pt x="44" y="83"/>
                  <a:pt x="43" y="84"/>
                  <a:pt x="43" y="85"/>
                </a:cubicBezTo>
                <a:close/>
                <a:moveTo>
                  <a:pt x="37" y="87"/>
                </a:moveTo>
                <a:cubicBezTo>
                  <a:pt x="37" y="87"/>
                  <a:pt x="37" y="86"/>
                  <a:pt x="37" y="85"/>
                </a:cubicBezTo>
                <a:cubicBezTo>
                  <a:pt x="37" y="85"/>
                  <a:pt x="37" y="84"/>
                  <a:pt x="37" y="83"/>
                </a:cubicBezTo>
                <a:cubicBezTo>
                  <a:pt x="36" y="82"/>
                  <a:pt x="34" y="82"/>
                  <a:pt x="33" y="83"/>
                </a:cubicBezTo>
                <a:cubicBezTo>
                  <a:pt x="32" y="84"/>
                  <a:pt x="32" y="85"/>
                  <a:pt x="32" y="85"/>
                </a:cubicBezTo>
                <a:cubicBezTo>
                  <a:pt x="32" y="86"/>
                  <a:pt x="32" y="87"/>
                  <a:pt x="33" y="87"/>
                </a:cubicBezTo>
                <a:cubicBezTo>
                  <a:pt x="33" y="88"/>
                  <a:pt x="34" y="88"/>
                  <a:pt x="35" y="88"/>
                </a:cubicBezTo>
                <a:cubicBezTo>
                  <a:pt x="35" y="88"/>
                  <a:pt x="36" y="88"/>
                  <a:pt x="37" y="87"/>
                </a:cubicBezTo>
                <a:close/>
                <a:moveTo>
                  <a:pt x="49" y="99"/>
                </a:moveTo>
                <a:cubicBezTo>
                  <a:pt x="44" y="102"/>
                  <a:pt x="42" y="108"/>
                  <a:pt x="41" y="114"/>
                </a:cubicBezTo>
                <a:cubicBezTo>
                  <a:pt x="40" y="113"/>
                  <a:pt x="39" y="112"/>
                  <a:pt x="38" y="111"/>
                </a:cubicBezTo>
                <a:cubicBezTo>
                  <a:pt x="35" y="109"/>
                  <a:pt x="31" y="113"/>
                  <a:pt x="34" y="115"/>
                </a:cubicBezTo>
                <a:cubicBezTo>
                  <a:pt x="36" y="117"/>
                  <a:pt x="39" y="119"/>
                  <a:pt x="41" y="121"/>
                </a:cubicBezTo>
                <a:cubicBezTo>
                  <a:pt x="43" y="123"/>
                  <a:pt x="46" y="122"/>
                  <a:pt x="46" y="119"/>
                </a:cubicBezTo>
                <a:cubicBezTo>
                  <a:pt x="46" y="114"/>
                  <a:pt x="46" y="107"/>
                  <a:pt x="52" y="104"/>
                </a:cubicBezTo>
                <a:cubicBezTo>
                  <a:pt x="55" y="102"/>
                  <a:pt x="52" y="97"/>
                  <a:pt x="49" y="99"/>
                </a:cubicBezTo>
                <a:close/>
                <a:moveTo>
                  <a:pt x="67" y="110"/>
                </a:moveTo>
                <a:cubicBezTo>
                  <a:pt x="63" y="111"/>
                  <a:pt x="59" y="115"/>
                  <a:pt x="57" y="110"/>
                </a:cubicBezTo>
                <a:cubicBezTo>
                  <a:pt x="55" y="107"/>
                  <a:pt x="51" y="110"/>
                  <a:pt x="52" y="113"/>
                </a:cubicBezTo>
                <a:cubicBezTo>
                  <a:pt x="53" y="115"/>
                  <a:pt x="56" y="117"/>
                  <a:pt x="59" y="118"/>
                </a:cubicBezTo>
                <a:cubicBezTo>
                  <a:pt x="61" y="118"/>
                  <a:pt x="62" y="118"/>
                  <a:pt x="64" y="117"/>
                </a:cubicBezTo>
                <a:cubicBezTo>
                  <a:pt x="65" y="117"/>
                  <a:pt x="69" y="114"/>
                  <a:pt x="70" y="115"/>
                </a:cubicBezTo>
                <a:cubicBezTo>
                  <a:pt x="71" y="118"/>
                  <a:pt x="76" y="116"/>
                  <a:pt x="74" y="113"/>
                </a:cubicBezTo>
                <a:cubicBezTo>
                  <a:pt x="73" y="110"/>
                  <a:pt x="70" y="109"/>
                  <a:pt x="67" y="110"/>
                </a:cubicBezTo>
                <a:close/>
                <a:moveTo>
                  <a:pt x="149" y="8"/>
                </a:moveTo>
                <a:cubicBezTo>
                  <a:pt x="149" y="19"/>
                  <a:pt x="149" y="19"/>
                  <a:pt x="149" y="19"/>
                </a:cubicBezTo>
                <a:cubicBezTo>
                  <a:pt x="149" y="35"/>
                  <a:pt x="149" y="35"/>
                  <a:pt x="149" y="35"/>
                </a:cubicBezTo>
                <a:cubicBezTo>
                  <a:pt x="149" y="134"/>
                  <a:pt x="149" y="134"/>
                  <a:pt x="149" y="134"/>
                </a:cubicBezTo>
                <a:cubicBezTo>
                  <a:pt x="139" y="153"/>
                  <a:pt x="139" y="153"/>
                  <a:pt x="139" y="153"/>
                </a:cubicBezTo>
                <a:cubicBezTo>
                  <a:pt x="139" y="157"/>
                  <a:pt x="139" y="157"/>
                  <a:pt x="139" y="157"/>
                </a:cubicBezTo>
                <a:cubicBezTo>
                  <a:pt x="139" y="159"/>
                  <a:pt x="137" y="160"/>
                  <a:pt x="136" y="160"/>
                </a:cubicBezTo>
                <a:cubicBezTo>
                  <a:pt x="135" y="160"/>
                  <a:pt x="133" y="159"/>
                  <a:pt x="133" y="157"/>
                </a:cubicBezTo>
                <a:cubicBezTo>
                  <a:pt x="133" y="153"/>
                  <a:pt x="133" y="153"/>
                  <a:pt x="133" y="153"/>
                </a:cubicBezTo>
                <a:cubicBezTo>
                  <a:pt x="131" y="148"/>
                  <a:pt x="131" y="148"/>
                  <a:pt x="131" y="148"/>
                </a:cubicBezTo>
                <a:cubicBezTo>
                  <a:pt x="131" y="160"/>
                  <a:pt x="131" y="160"/>
                  <a:pt x="131" y="160"/>
                </a:cubicBezTo>
                <a:cubicBezTo>
                  <a:pt x="0" y="160"/>
                  <a:pt x="0" y="160"/>
                  <a:pt x="0" y="160"/>
                </a:cubicBezTo>
                <a:cubicBezTo>
                  <a:pt x="0" y="5"/>
                  <a:pt x="0" y="5"/>
                  <a:pt x="0" y="5"/>
                </a:cubicBezTo>
                <a:cubicBezTo>
                  <a:pt x="35" y="5"/>
                  <a:pt x="35" y="5"/>
                  <a:pt x="35" y="5"/>
                </a:cubicBezTo>
                <a:cubicBezTo>
                  <a:pt x="51" y="5"/>
                  <a:pt x="51" y="5"/>
                  <a:pt x="51" y="5"/>
                </a:cubicBezTo>
                <a:cubicBezTo>
                  <a:pt x="51" y="3"/>
                  <a:pt x="51" y="3"/>
                  <a:pt x="51" y="3"/>
                </a:cubicBezTo>
                <a:cubicBezTo>
                  <a:pt x="51" y="1"/>
                  <a:pt x="52" y="0"/>
                  <a:pt x="53" y="0"/>
                </a:cubicBezTo>
                <a:cubicBezTo>
                  <a:pt x="77" y="0"/>
                  <a:pt x="77" y="0"/>
                  <a:pt x="77" y="0"/>
                </a:cubicBezTo>
                <a:cubicBezTo>
                  <a:pt x="79" y="0"/>
                  <a:pt x="80" y="1"/>
                  <a:pt x="80" y="3"/>
                </a:cubicBezTo>
                <a:cubicBezTo>
                  <a:pt x="80" y="5"/>
                  <a:pt x="80" y="5"/>
                  <a:pt x="80" y="5"/>
                </a:cubicBezTo>
                <a:cubicBezTo>
                  <a:pt x="96" y="5"/>
                  <a:pt x="96" y="5"/>
                  <a:pt x="96" y="5"/>
                </a:cubicBezTo>
                <a:cubicBezTo>
                  <a:pt x="123" y="5"/>
                  <a:pt x="123" y="5"/>
                  <a:pt x="123" y="5"/>
                </a:cubicBezTo>
                <a:cubicBezTo>
                  <a:pt x="124" y="2"/>
                  <a:pt x="127" y="0"/>
                  <a:pt x="131" y="0"/>
                </a:cubicBezTo>
                <a:cubicBezTo>
                  <a:pt x="141" y="0"/>
                  <a:pt x="141" y="0"/>
                  <a:pt x="141" y="0"/>
                </a:cubicBezTo>
                <a:cubicBezTo>
                  <a:pt x="146" y="0"/>
                  <a:pt x="149" y="4"/>
                  <a:pt x="149" y="8"/>
                </a:cubicBezTo>
                <a:close/>
                <a:moveTo>
                  <a:pt x="128" y="29"/>
                </a:moveTo>
                <a:cubicBezTo>
                  <a:pt x="144" y="29"/>
                  <a:pt x="144" y="29"/>
                  <a:pt x="144" y="29"/>
                </a:cubicBezTo>
                <a:cubicBezTo>
                  <a:pt x="144" y="24"/>
                  <a:pt x="144" y="24"/>
                  <a:pt x="144" y="24"/>
                </a:cubicBezTo>
                <a:cubicBezTo>
                  <a:pt x="128" y="24"/>
                  <a:pt x="128" y="24"/>
                  <a:pt x="128" y="24"/>
                </a:cubicBezTo>
                <a:lnTo>
                  <a:pt x="128" y="29"/>
                </a:lnTo>
                <a:close/>
                <a:moveTo>
                  <a:pt x="56" y="5"/>
                </a:moveTo>
                <a:cubicBezTo>
                  <a:pt x="56" y="8"/>
                  <a:pt x="56" y="8"/>
                  <a:pt x="56" y="8"/>
                </a:cubicBezTo>
                <a:cubicBezTo>
                  <a:pt x="56" y="13"/>
                  <a:pt x="56" y="13"/>
                  <a:pt x="56" y="13"/>
                </a:cubicBezTo>
                <a:cubicBezTo>
                  <a:pt x="75" y="13"/>
                  <a:pt x="75" y="13"/>
                  <a:pt x="75" y="13"/>
                </a:cubicBezTo>
                <a:cubicBezTo>
                  <a:pt x="75" y="8"/>
                  <a:pt x="75" y="8"/>
                  <a:pt x="75" y="8"/>
                </a:cubicBezTo>
                <a:cubicBezTo>
                  <a:pt x="75" y="5"/>
                  <a:pt x="75" y="5"/>
                  <a:pt x="75" y="5"/>
                </a:cubicBezTo>
                <a:lnTo>
                  <a:pt x="56" y="5"/>
                </a:lnTo>
                <a:close/>
                <a:moveTo>
                  <a:pt x="37" y="11"/>
                </a:moveTo>
                <a:cubicBezTo>
                  <a:pt x="37" y="19"/>
                  <a:pt x="37" y="19"/>
                  <a:pt x="37" y="19"/>
                </a:cubicBezTo>
                <a:cubicBezTo>
                  <a:pt x="37" y="21"/>
                  <a:pt x="37" y="21"/>
                  <a:pt x="37" y="21"/>
                </a:cubicBezTo>
                <a:cubicBezTo>
                  <a:pt x="93" y="21"/>
                  <a:pt x="93" y="21"/>
                  <a:pt x="93" y="21"/>
                </a:cubicBezTo>
                <a:cubicBezTo>
                  <a:pt x="93" y="19"/>
                  <a:pt x="93" y="19"/>
                  <a:pt x="93" y="19"/>
                </a:cubicBezTo>
                <a:cubicBezTo>
                  <a:pt x="93" y="11"/>
                  <a:pt x="93" y="11"/>
                  <a:pt x="93" y="11"/>
                </a:cubicBezTo>
                <a:cubicBezTo>
                  <a:pt x="80" y="11"/>
                  <a:pt x="80" y="11"/>
                  <a:pt x="80" y="11"/>
                </a:cubicBezTo>
                <a:cubicBezTo>
                  <a:pt x="80" y="16"/>
                  <a:pt x="80" y="16"/>
                  <a:pt x="80" y="16"/>
                </a:cubicBezTo>
                <a:cubicBezTo>
                  <a:pt x="80" y="19"/>
                  <a:pt x="80" y="19"/>
                  <a:pt x="80" y="19"/>
                </a:cubicBezTo>
                <a:cubicBezTo>
                  <a:pt x="77" y="19"/>
                  <a:pt x="77" y="19"/>
                  <a:pt x="77" y="19"/>
                </a:cubicBezTo>
                <a:cubicBezTo>
                  <a:pt x="53" y="19"/>
                  <a:pt x="53" y="19"/>
                  <a:pt x="53" y="19"/>
                </a:cubicBezTo>
                <a:cubicBezTo>
                  <a:pt x="51" y="19"/>
                  <a:pt x="51" y="19"/>
                  <a:pt x="51" y="19"/>
                </a:cubicBezTo>
                <a:cubicBezTo>
                  <a:pt x="51" y="16"/>
                  <a:pt x="51" y="16"/>
                  <a:pt x="51" y="16"/>
                </a:cubicBezTo>
                <a:cubicBezTo>
                  <a:pt x="51" y="11"/>
                  <a:pt x="51" y="11"/>
                  <a:pt x="51" y="11"/>
                </a:cubicBezTo>
                <a:lnTo>
                  <a:pt x="37" y="11"/>
                </a:lnTo>
                <a:close/>
                <a:moveTo>
                  <a:pt x="32" y="27"/>
                </a:moveTo>
                <a:cubicBezTo>
                  <a:pt x="32" y="24"/>
                  <a:pt x="32" y="24"/>
                  <a:pt x="32" y="24"/>
                </a:cubicBezTo>
                <a:cubicBezTo>
                  <a:pt x="19" y="24"/>
                  <a:pt x="19" y="24"/>
                  <a:pt x="19" y="24"/>
                </a:cubicBezTo>
                <a:cubicBezTo>
                  <a:pt x="19" y="141"/>
                  <a:pt x="19" y="141"/>
                  <a:pt x="19" y="141"/>
                </a:cubicBezTo>
                <a:cubicBezTo>
                  <a:pt x="112" y="141"/>
                  <a:pt x="112" y="141"/>
                  <a:pt x="112" y="141"/>
                </a:cubicBezTo>
                <a:cubicBezTo>
                  <a:pt x="112" y="24"/>
                  <a:pt x="112" y="24"/>
                  <a:pt x="112" y="24"/>
                </a:cubicBezTo>
                <a:cubicBezTo>
                  <a:pt x="99" y="24"/>
                  <a:pt x="99" y="24"/>
                  <a:pt x="99" y="24"/>
                </a:cubicBezTo>
                <a:cubicBezTo>
                  <a:pt x="99" y="27"/>
                  <a:pt x="99" y="27"/>
                  <a:pt x="99" y="27"/>
                </a:cubicBezTo>
                <a:cubicBezTo>
                  <a:pt x="96" y="27"/>
                  <a:pt x="96" y="27"/>
                  <a:pt x="96" y="27"/>
                </a:cubicBezTo>
                <a:cubicBezTo>
                  <a:pt x="35" y="27"/>
                  <a:pt x="35" y="27"/>
                  <a:pt x="35" y="27"/>
                </a:cubicBezTo>
                <a:lnTo>
                  <a:pt x="32" y="27"/>
                </a:lnTo>
                <a:close/>
                <a:moveTo>
                  <a:pt x="125" y="139"/>
                </a:moveTo>
                <a:cubicBezTo>
                  <a:pt x="123" y="134"/>
                  <a:pt x="123" y="134"/>
                  <a:pt x="123" y="134"/>
                </a:cubicBezTo>
                <a:cubicBezTo>
                  <a:pt x="123" y="35"/>
                  <a:pt x="123" y="35"/>
                  <a:pt x="123" y="35"/>
                </a:cubicBezTo>
                <a:cubicBezTo>
                  <a:pt x="123" y="19"/>
                  <a:pt x="123" y="19"/>
                  <a:pt x="123" y="19"/>
                </a:cubicBezTo>
                <a:cubicBezTo>
                  <a:pt x="123" y="11"/>
                  <a:pt x="123" y="11"/>
                  <a:pt x="123" y="11"/>
                </a:cubicBezTo>
                <a:cubicBezTo>
                  <a:pt x="99" y="11"/>
                  <a:pt x="99" y="11"/>
                  <a:pt x="99" y="11"/>
                </a:cubicBezTo>
                <a:cubicBezTo>
                  <a:pt x="99" y="19"/>
                  <a:pt x="99" y="19"/>
                  <a:pt x="99" y="19"/>
                </a:cubicBezTo>
                <a:cubicBezTo>
                  <a:pt x="117" y="19"/>
                  <a:pt x="117" y="19"/>
                  <a:pt x="117" y="19"/>
                </a:cubicBezTo>
                <a:cubicBezTo>
                  <a:pt x="117" y="147"/>
                  <a:pt x="117" y="147"/>
                  <a:pt x="117" y="147"/>
                </a:cubicBezTo>
                <a:cubicBezTo>
                  <a:pt x="13" y="147"/>
                  <a:pt x="13" y="147"/>
                  <a:pt x="13" y="147"/>
                </a:cubicBezTo>
                <a:cubicBezTo>
                  <a:pt x="13" y="19"/>
                  <a:pt x="13" y="19"/>
                  <a:pt x="13" y="19"/>
                </a:cubicBezTo>
                <a:cubicBezTo>
                  <a:pt x="32" y="19"/>
                  <a:pt x="32" y="19"/>
                  <a:pt x="32" y="19"/>
                </a:cubicBezTo>
                <a:cubicBezTo>
                  <a:pt x="32" y="11"/>
                  <a:pt x="32" y="11"/>
                  <a:pt x="32" y="11"/>
                </a:cubicBezTo>
                <a:cubicBezTo>
                  <a:pt x="5" y="11"/>
                  <a:pt x="5" y="11"/>
                  <a:pt x="5" y="11"/>
                </a:cubicBezTo>
                <a:cubicBezTo>
                  <a:pt x="5" y="155"/>
                  <a:pt x="5" y="155"/>
                  <a:pt x="5" y="155"/>
                </a:cubicBezTo>
                <a:cubicBezTo>
                  <a:pt x="125" y="155"/>
                  <a:pt x="125" y="155"/>
                  <a:pt x="125" y="155"/>
                </a:cubicBezTo>
                <a:lnTo>
                  <a:pt x="125" y="139"/>
                </a:lnTo>
                <a:close/>
                <a:moveTo>
                  <a:pt x="131" y="137"/>
                </a:moveTo>
                <a:cubicBezTo>
                  <a:pt x="136" y="147"/>
                  <a:pt x="136" y="147"/>
                  <a:pt x="136" y="147"/>
                </a:cubicBezTo>
                <a:cubicBezTo>
                  <a:pt x="142" y="136"/>
                  <a:pt x="142" y="136"/>
                  <a:pt x="142" y="136"/>
                </a:cubicBezTo>
                <a:cubicBezTo>
                  <a:pt x="130" y="136"/>
                  <a:pt x="130" y="136"/>
                  <a:pt x="130" y="136"/>
                </a:cubicBezTo>
                <a:lnTo>
                  <a:pt x="131" y="137"/>
                </a:lnTo>
                <a:close/>
                <a:moveTo>
                  <a:pt x="144" y="35"/>
                </a:moveTo>
                <a:cubicBezTo>
                  <a:pt x="128" y="35"/>
                  <a:pt x="128" y="35"/>
                  <a:pt x="128" y="35"/>
                </a:cubicBezTo>
                <a:cubicBezTo>
                  <a:pt x="128" y="131"/>
                  <a:pt x="128" y="131"/>
                  <a:pt x="128" y="131"/>
                </a:cubicBezTo>
                <a:cubicBezTo>
                  <a:pt x="144" y="131"/>
                  <a:pt x="144" y="131"/>
                  <a:pt x="144" y="131"/>
                </a:cubicBezTo>
                <a:lnTo>
                  <a:pt x="144" y="35"/>
                </a:lnTo>
                <a:close/>
                <a:moveTo>
                  <a:pt x="144" y="19"/>
                </a:moveTo>
                <a:cubicBezTo>
                  <a:pt x="144" y="8"/>
                  <a:pt x="144" y="8"/>
                  <a:pt x="144" y="8"/>
                </a:cubicBezTo>
                <a:cubicBezTo>
                  <a:pt x="144" y="7"/>
                  <a:pt x="143" y="5"/>
                  <a:pt x="141" y="5"/>
                </a:cubicBezTo>
                <a:cubicBezTo>
                  <a:pt x="131" y="5"/>
                  <a:pt x="131" y="5"/>
                  <a:pt x="131" y="5"/>
                </a:cubicBezTo>
                <a:cubicBezTo>
                  <a:pt x="129" y="5"/>
                  <a:pt x="128" y="7"/>
                  <a:pt x="128" y="8"/>
                </a:cubicBezTo>
                <a:cubicBezTo>
                  <a:pt x="128" y="19"/>
                  <a:pt x="128" y="19"/>
                  <a:pt x="128" y="19"/>
                </a:cubicBezTo>
                <a:lnTo>
                  <a:pt x="144" y="19"/>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1309">
            <a:extLst>
              <a:ext uri="{FF2B5EF4-FFF2-40B4-BE49-F238E27FC236}">
                <a16:creationId xmlns:a16="http://schemas.microsoft.com/office/drawing/2014/main" id="{BD7820CC-CDA0-8B42-BD3F-C3A9BEC8B45D}"/>
              </a:ext>
            </a:extLst>
          </p:cNvPr>
          <p:cNvSpPr>
            <a:spLocks noEditPoints="1"/>
          </p:cNvSpPr>
          <p:nvPr/>
        </p:nvSpPr>
        <p:spPr bwMode="auto">
          <a:xfrm>
            <a:off x="2452262" y="2841625"/>
            <a:ext cx="447675" cy="550863"/>
          </a:xfrm>
          <a:custGeom>
            <a:avLst/>
            <a:gdLst>
              <a:gd name="T0" fmla="*/ 27 w 131"/>
              <a:gd name="T1" fmla="*/ 40 h 160"/>
              <a:gd name="T2" fmla="*/ 64 w 131"/>
              <a:gd name="T3" fmla="*/ 43 h 160"/>
              <a:gd name="T4" fmla="*/ 27 w 131"/>
              <a:gd name="T5" fmla="*/ 45 h 160"/>
              <a:gd name="T6" fmla="*/ 27 w 131"/>
              <a:gd name="T7" fmla="*/ 128 h 160"/>
              <a:gd name="T8" fmla="*/ 64 w 131"/>
              <a:gd name="T9" fmla="*/ 125 h 160"/>
              <a:gd name="T10" fmla="*/ 27 w 131"/>
              <a:gd name="T11" fmla="*/ 123 h 160"/>
              <a:gd name="T12" fmla="*/ 27 w 131"/>
              <a:gd name="T13" fmla="*/ 128 h 160"/>
              <a:gd name="T14" fmla="*/ 104 w 131"/>
              <a:gd name="T15" fmla="*/ 61 h 160"/>
              <a:gd name="T16" fmla="*/ 104 w 131"/>
              <a:gd name="T17" fmla="*/ 56 h 160"/>
              <a:gd name="T18" fmla="*/ 24 w 131"/>
              <a:gd name="T19" fmla="*/ 59 h 160"/>
              <a:gd name="T20" fmla="*/ 27 w 131"/>
              <a:gd name="T21" fmla="*/ 93 h 160"/>
              <a:gd name="T22" fmla="*/ 107 w 131"/>
              <a:gd name="T23" fmla="*/ 91 h 160"/>
              <a:gd name="T24" fmla="*/ 27 w 131"/>
              <a:gd name="T25" fmla="*/ 88 h 160"/>
              <a:gd name="T26" fmla="*/ 27 w 131"/>
              <a:gd name="T27" fmla="*/ 93 h 160"/>
              <a:gd name="T28" fmla="*/ 104 w 131"/>
              <a:gd name="T29" fmla="*/ 112 h 160"/>
              <a:gd name="T30" fmla="*/ 104 w 131"/>
              <a:gd name="T31" fmla="*/ 107 h 160"/>
              <a:gd name="T32" fmla="*/ 24 w 131"/>
              <a:gd name="T33" fmla="*/ 109 h 160"/>
              <a:gd name="T34" fmla="*/ 27 w 131"/>
              <a:gd name="T35" fmla="*/ 77 h 160"/>
              <a:gd name="T36" fmla="*/ 67 w 131"/>
              <a:gd name="T37" fmla="*/ 75 h 160"/>
              <a:gd name="T38" fmla="*/ 27 w 131"/>
              <a:gd name="T39" fmla="*/ 72 h 160"/>
              <a:gd name="T40" fmla="*/ 27 w 131"/>
              <a:gd name="T41" fmla="*/ 77 h 160"/>
              <a:gd name="T42" fmla="*/ 85 w 131"/>
              <a:gd name="T43" fmla="*/ 72 h 160"/>
              <a:gd name="T44" fmla="*/ 85 w 131"/>
              <a:gd name="T45" fmla="*/ 77 h 160"/>
              <a:gd name="T46" fmla="*/ 107 w 131"/>
              <a:gd name="T47" fmla="*/ 75 h 160"/>
              <a:gd name="T48" fmla="*/ 73 w 131"/>
              <a:gd name="T49" fmla="*/ 73 h 160"/>
              <a:gd name="T50" fmla="*/ 73 w 131"/>
              <a:gd name="T51" fmla="*/ 77 h 160"/>
              <a:gd name="T52" fmla="*/ 77 w 131"/>
              <a:gd name="T53" fmla="*/ 77 h 160"/>
              <a:gd name="T54" fmla="*/ 77 w 131"/>
              <a:gd name="T55" fmla="*/ 73 h 160"/>
              <a:gd name="T56" fmla="*/ 131 w 131"/>
              <a:gd name="T57" fmla="*/ 5 h 160"/>
              <a:gd name="T58" fmla="*/ 0 w 131"/>
              <a:gd name="T59" fmla="*/ 160 h 160"/>
              <a:gd name="T60" fmla="*/ 35 w 131"/>
              <a:gd name="T61" fmla="*/ 5 h 160"/>
              <a:gd name="T62" fmla="*/ 51 w 131"/>
              <a:gd name="T63" fmla="*/ 3 h 160"/>
              <a:gd name="T64" fmla="*/ 77 w 131"/>
              <a:gd name="T65" fmla="*/ 0 h 160"/>
              <a:gd name="T66" fmla="*/ 80 w 131"/>
              <a:gd name="T67" fmla="*/ 5 h 160"/>
              <a:gd name="T68" fmla="*/ 131 w 131"/>
              <a:gd name="T69" fmla="*/ 5 h 160"/>
              <a:gd name="T70" fmla="*/ 56 w 131"/>
              <a:gd name="T71" fmla="*/ 8 h 160"/>
              <a:gd name="T72" fmla="*/ 75 w 131"/>
              <a:gd name="T73" fmla="*/ 13 h 160"/>
              <a:gd name="T74" fmla="*/ 75 w 131"/>
              <a:gd name="T75" fmla="*/ 5 h 160"/>
              <a:gd name="T76" fmla="*/ 37 w 131"/>
              <a:gd name="T77" fmla="*/ 11 h 160"/>
              <a:gd name="T78" fmla="*/ 37 w 131"/>
              <a:gd name="T79" fmla="*/ 21 h 160"/>
              <a:gd name="T80" fmla="*/ 93 w 131"/>
              <a:gd name="T81" fmla="*/ 13 h 160"/>
              <a:gd name="T82" fmla="*/ 80 w 131"/>
              <a:gd name="T83" fmla="*/ 11 h 160"/>
              <a:gd name="T84" fmla="*/ 80 w 131"/>
              <a:gd name="T85" fmla="*/ 19 h 160"/>
              <a:gd name="T86" fmla="*/ 53 w 131"/>
              <a:gd name="T87" fmla="*/ 19 h 160"/>
              <a:gd name="T88" fmla="*/ 51 w 131"/>
              <a:gd name="T89" fmla="*/ 16 h 160"/>
              <a:gd name="T90" fmla="*/ 37 w 131"/>
              <a:gd name="T91" fmla="*/ 11 h 160"/>
              <a:gd name="T92" fmla="*/ 13 w 131"/>
              <a:gd name="T93" fmla="*/ 19 h 160"/>
              <a:gd name="T94" fmla="*/ 117 w 131"/>
              <a:gd name="T95" fmla="*/ 147 h 160"/>
              <a:gd name="T96" fmla="*/ 99 w 131"/>
              <a:gd name="T97" fmla="*/ 19 h 160"/>
              <a:gd name="T98" fmla="*/ 99 w 131"/>
              <a:gd name="T99" fmla="*/ 27 h 160"/>
              <a:gd name="T100" fmla="*/ 35 w 131"/>
              <a:gd name="T101" fmla="*/ 27 h 160"/>
              <a:gd name="T102" fmla="*/ 32 w 131"/>
              <a:gd name="T103" fmla="*/ 24 h 160"/>
              <a:gd name="T104" fmla="*/ 125 w 131"/>
              <a:gd name="T105" fmla="*/ 11 h 160"/>
              <a:gd name="T106" fmla="*/ 99 w 131"/>
              <a:gd name="T107" fmla="*/ 13 h 160"/>
              <a:gd name="T108" fmla="*/ 123 w 131"/>
              <a:gd name="T109" fmla="*/ 152 h 160"/>
              <a:gd name="T110" fmla="*/ 8 w 131"/>
              <a:gd name="T111" fmla="*/ 13 h 160"/>
              <a:gd name="T112" fmla="*/ 32 w 131"/>
              <a:gd name="T113" fmla="*/ 11 h 160"/>
              <a:gd name="T114" fmla="*/ 5 w 131"/>
              <a:gd name="T115" fmla="*/ 155 h 160"/>
              <a:gd name="T116" fmla="*/ 125 w 131"/>
              <a:gd name="T117" fmla="*/ 1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1" h="160">
                <a:moveTo>
                  <a:pt x="24" y="43"/>
                </a:moveTo>
                <a:cubicBezTo>
                  <a:pt x="24" y="41"/>
                  <a:pt x="25" y="40"/>
                  <a:pt x="27" y="40"/>
                </a:cubicBezTo>
                <a:cubicBezTo>
                  <a:pt x="61" y="40"/>
                  <a:pt x="61" y="40"/>
                  <a:pt x="61" y="40"/>
                </a:cubicBezTo>
                <a:cubicBezTo>
                  <a:pt x="63" y="40"/>
                  <a:pt x="64" y="41"/>
                  <a:pt x="64" y="43"/>
                </a:cubicBezTo>
                <a:cubicBezTo>
                  <a:pt x="64" y="44"/>
                  <a:pt x="63" y="45"/>
                  <a:pt x="61" y="45"/>
                </a:cubicBezTo>
                <a:cubicBezTo>
                  <a:pt x="27" y="45"/>
                  <a:pt x="27" y="45"/>
                  <a:pt x="27" y="45"/>
                </a:cubicBezTo>
                <a:cubicBezTo>
                  <a:pt x="25" y="45"/>
                  <a:pt x="24" y="44"/>
                  <a:pt x="24" y="43"/>
                </a:cubicBezTo>
                <a:close/>
                <a:moveTo>
                  <a:pt x="27" y="128"/>
                </a:moveTo>
                <a:cubicBezTo>
                  <a:pt x="61" y="128"/>
                  <a:pt x="61" y="128"/>
                  <a:pt x="61" y="128"/>
                </a:cubicBezTo>
                <a:cubicBezTo>
                  <a:pt x="63" y="128"/>
                  <a:pt x="64" y="127"/>
                  <a:pt x="64" y="125"/>
                </a:cubicBezTo>
                <a:cubicBezTo>
                  <a:pt x="64" y="124"/>
                  <a:pt x="63" y="123"/>
                  <a:pt x="61" y="123"/>
                </a:cubicBezTo>
                <a:cubicBezTo>
                  <a:pt x="27" y="123"/>
                  <a:pt x="27" y="123"/>
                  <a:pt x="27" y="123"/>
                </a:cubicBezTo>
                <a:cubicBezTo>
                  <a:pt x="25" y="123"/>
                  <a:pt x="24" y="124"/>
                  <a:pt x="24" y="125"/>
                </a:cubicBezTo>
                <a:cubicBezTo>
                  <a:pt x="24" y="127"/>
                  <a:pt x="25" y="128"/>
                  <a:pt x="27" y="128"/>
                </a:cubicBezTo>
                <a:close/>
                <a:moveTo>
                  <a:pt x="27" y="61"/>
                </a:moveTo>
                <a:cubicBezTo>
                  <a:pt x="104" y="61"/>
                  <a:pt x="104" y="61"/>
                  <a:pt x="104" y="61"/>
                </a:cubicBezTo>
                <a:cubicBezTo>
                  <a:pt x="105" y="61"/>
                  <a:pt x="107" y="60"/>
                  <a:pt x="107" y="59"/>
                </a:cubicBezTo>
                <a:cubicBezTo>
                  <a:pt x="107" y="57"/>
                  <a:pt x="105" y="56"/>
                  <a:pt x="104" y="56"/>
                </a:cubicBezTo>
                <a:cubicBezTo>
                  <a:pt x="27" y="56"/>
                  <a:pt x="27" y="56"/>
                  <a:pt x="27" y="56"/>
                </a:cubicBezTo>
                <a:cubicBezTo>
                  <a:pt x="25" y="56"/>
                  <a:pt x="24" y="57"/>
                  <a:pt x="24" y="59"/>
                </a:cubicBezTo>
                <a:cubicBezTo>
                  <a:pt x="24" y="60"/>
                  <a:pt x="25" y="61"/>
                  <a:pt x="27" y="61"/>
                </a:cubicBezTo>
                <a:close/>
                <a:moveTo>
                  <a:pt x="27" y="93"/>
                </a:moveTo>
                <a:cubicBezTo>
                  <a:pt x="104" y="93"/>
                  <a:pt x="104" y="93"/>
                  <a:pt x="104" y="93"/>
                </a:cubicBezTo>
                <a:cubicBezTo>
                  <a:pt x="105" y="93"/>
                  <a:pt x="107" y="92"/>
                  <a:pt x="107" y="91"/>
                </a:cubicBezTo>
                <a:cubicBezTo>
                  <a:pt x="107" y="89"/>
                  <a:pt x="105" y="88"/>
                  <a:pt x="104" y="88"/>
                </a:cubicBezTo>
                <a:cubicBezTo>
                  <a:pt x="27" y="88"/>
                  <a:pt x="27" y="88"/>
                  <a:pt x="27" y="88"/>
                </a:cubicBezTo>
                <a:cubicBezTo>
                  <a:pt x="25" y="88"/>
                  <a:pt x="24" y="89"/>
                  <a:pt x="24" y="91"/>
                </a:cubicBezTo>
                <a:cubicBezTo>
                  <a:pt x="24" y="92"/>
                  <a:pt x="25" y="93"/>
                  <a:pt x="27" y="93"/>
                </a:cubicBezTo>
                <a:close/>
                <a:moveTo>
                  <a:pt x="27" y="112"/>
                </a:moveTo>
                <a:cubicBezTo>
                  <a:pt x="104" y="112"/>
                  <a:pt x="104" y="112"/>
                  <a:pt x="104" y="112"/>
                </a:cubicBezTo>
                <a:cubicBezTo>
                  <a:pt x="105" y="112"/>
                  <a:pt x="107" y="111"/>
                  <a:pt x="107" y="109"/>
                </a:cubicBezTo>
                <a:cubicBezTo>
                  <a:pt x="107" y="108"/>
                  <a:pt x="105" y="107"/>
                  <a:pt x="104" y="107"/>
                </a:cubicBezTo>
                <a:cubicBezTo>
                  <a:pt x="27" y="107"/>
                  <a:pt x="27" y="107"/>
                  <a:pt x="27" y="107"/>
                </a:cubicBezTo>
                <a:cubicBezTo>
                  <a:pt x="25" y="107"/>
                  <a:pt x="24" y="108"/>
                  <a:pt x="24" y="109"/>
                </a:cubicBezTo>
                <a:cubicBezTo>
                  <a:pt x="24" y="111"/>
                  <a:pt x="25" y="112"/>
                  <a:pt x="27" y="112"/>
                </a:cubicBezTo>
                <a:close/>
                <a:moveTo>
                  <a:pt x="27" y="77"/>
                </a:moveTo>
                <a:cubicBezTo>
                  <a:pt x="64" y="77"/>
                  <a:pt x="64" y="77"/>
                  <a:pt x="64" y="77"/>
                </a:cubicBezTo>
                <a:cubicBezTo>
                  <a:pt x="65" y="77"/>
                  <a:pt x="67" y="76"/>
                  <a:pt x="67" y="75"/>
                </a:cubicBezTo>
                <a:cubicBezTo>
                  <a:pt x="67" y="73"/>
                  <a:pt x="65" y="72"/>
                  <a:pt x="64" y="72"/>
                </a:cubicBezTo>
                <a:cubicBezTo>
                  <a:pt x="27" y="72"/>
                  <a:pt x="27" y="72"/>
                  <a:pt x="27" y="72"/>
                </a:cubicBezTo>
                <a:cubicBezTo>
                  <a:pt x="25" y="72"/>
                  <a:pt x="24" y="73"/>
                  <a:pt x="24" y="75"/>
                </a:cubicBezTo>
                <a:cubicBezTo>
                  <a:pt x="24" y="76"/>
                  <a:pt x="25" y="77"/>
                  <a:pt x="27" y="77"/>
                </a:cubicBezTo>
                <a:close/>
                <a:moveTo>
                  <a:pt x="104" y="72"/>
                </a:moveTo>
                <a:cubicBezTo>
                  <a:pt x="85" y="72"/>
                  <a:pt x="85" y="72"/>
                  <a:pt x="85" y="72"/>
                </a:cubicBezTo>
                <a:cubicBezTo>
                  <a:pt x="84" y="72"/>
                  <a:pt x="83" y="73"/>
                  <a:pt x="83" y="75"/>
                </a:cubicBezTo>
                <a:cubicBezTo>
                  <a:pt x="83" y="76"/>
                  <a:pt x="84" y="77"/>
                  <a:pt x="85" y="77"/>
                </a:cubicBezTo>
                <a:cubicBezTo>
                  <a:pt x="104" y="77"/>
                  <a:pt x="104" y="77"/>
                  <a:pt x="104" y="77"/>
                </a:cubicBezTo>
                <a:cubicBezTo>
                  <a:pt x="105" y="77"/>
                  <a:pt x="107" y="76"/>
                  <a:pt x="107" y="75"/>
                </a:cubicBezTo>
                <a:cubicBezTo>
                  <a:pt x="107" y="73"/>
                  <a:pt x="105" y="72"/>
                  <a:pt x="104" y="72"/>
                </a:cubicBezTo>
                <a:close/>
                <a:moveTo>
                  <a:pt x="73" y="73"/>
                </a:moveTo>
                <a:cubicBezTo>
                  <a:pt x="72" y="73"/>
                  <a:pt x="72" y="74"/>
                  <a:pt x="72" y="75"/>
                </a:cubicBezTo>
                <a:cubicBezTo>
                  <a:pt x="72" y="75"/>
                  <a:pt x="72" y="76"/>
                  <a:pt x="73" y="77"/>
                </a:cubicBezTo>
                <a:cubicBezTo>
                  <a:pt x="73" y="77"/>
                  <a:pt x="74" y="77"/>
                  <a:pt x="75" y="77"/>
                </a:cubicBezTo>
                <a:cubicBezTo>
                  <a:pt x="75" y="77"/>
                  <a:pt x="76" y="77"/>
                  <a:pt x="77" y="77"/>
                </a:cubicBezTo>
                <a:cubicBezTo>
                  <a:pt x="77" y="76"/>
                  <a:pt x="77" y="75"/>
                  <a:pt x="77" y="75"/>
                </a:cubicBezTo>
                <a:cubicBezTo>
                  <a:pt x="77" y="74"/>
                  <a:pt x="77" y="73"/>
                  <a:pt x="77" y="73"/>
                </a:cubicBezTo>
                <a:cubicBezTo>
                  <a:pt x="76" y="72"/>
                  <a:pt x="74" y="72"/>
                  <a:pt x="73" y="73"/>
                </a:cubicBezTo>
                <a:close/>
                <a:moveTo>
                  <a:pt x="131" y="5"/>
                </a:moveTo>
                <a:cubicBezTo>
                  <a:pt x="131" y="160"/>
                  <a:pt x="131" y="160"/>
                  <a:pt x="131" y="160"/>
                </a:cubicBezTo>
                <a:cubicBezTo>
                  <a:pt x="0" y="160"/>
                  <a:pt x="0" y="160"/>
                  <a:pt x="0" y="160"/>
                </a:cubicBezTo>
                <a:cubicBezTo>
                  <a:pt x="0" y="5"/>
                  <a:pt x="0" y="5"/>
                  <a:pt x="0" y="5"/>
                </a:cubicBezTo>
                <a:cubicBezTo>
                  <a:pt x="35" y="5"/>
                  <a:pt x="35" y="5"/>
                  <a:pt x="35" y="5"/>
                </a:cubicBezTo>
                <a:cubicBezTo>
                  <a:pt x="51" y="5"/>
                  <a:pt x="51" y="5"/>
                  <a:pt x="51" y="5"/>
                </a:cubicBezTo>
                <a:cubicBezTo>
                  <a:pt x="51" y="3"/>
                  <a:pt x="51" y="3"/>
                  <a:pt x="51" y="3"/>
                </a:cubicBezTo>
                <a:cubicBezTo>
                  <a:pt x="51" y="1"/>
                  <a:pt x="52" y="0"/>
                  <a:pt x="53" y="0"/>
                </a:cubicBezTo>
                <a:cubicBezTo>
                  <a:pt x="77" y="0"/>
                  <a:pt x="77" y="0"/>
                  <a:pt x="77" y="0"/>
                </a:cubicBezTo>
                <a:cubicBezTo>
                  <a:pt x="79" y="0"/>
                  <a:pt x="80" y="1"/>
                  <a:pt x="80" y="3"/>
                </a:cubicBezTo>
                <a:cubicBezTo>
                  <a:pt x="80" y="5"/>
                  <a:pt x="80" y="5"/>
                  <a:pt x="80" y="5"/>
                </a:cubicBezTo>
                <a:cubicBezTo>
                  <a:pt x="96" y="5"/>
                  <a:pt x="96" y="5"/>
                  <a:pt x="96" y="5"/>
                </a:cubicBezTo>
                <a:lnTo>
                  <a:pt x="131" y="5"/>
                </a:lnTo>
                <a:close/>
                <a:moveTo>
                  <a:pt x="56" y="5"/>
                </a:moveTo>
                <a:cubicBezTo>
                  <a:pt x="56" y="8"/>
                  <a:pt x="56" y="8"/>
                  <a:pt x="56" y="8"/>
                </a:cubicBezTo>
                <a:cubicBezTo>
                  <a:pt x="56" y="13"/>
                  <a:pt x="56" y="13"/>
                  <a:pt x="56" y="13"/>
                </a:cubicBezTo>
                <a:cubicBezTo>
                  <a:pt x="75" y="13"/>
                  <a:pt x="75" y="13"/>
                  <a:pt x="75" y="13"/>
                </a:cubicBezTo>
                <a:cubicBezTo>
                  <a:pt x="75" y="8"/>
                  <a:pt x="75" y="8"/>
                  <a:pt x="75" y="8"/>
                </a:cubicBezTo>
                <a:cubicBezTo>
                  <a:pt x="75" y="5"/>
                  <a:pt x="75" y="5"/>
                  <a:pt x="75" y="5"/>
                </a:cubicBezTo>
                <a:lnTo>
                  <a:pt x="56" y="5"/>
                </a:lnTo>
                <a:close/>
                <a:moveTo>
                  <a:pt x="37" y="11"/>
                </a:moveTo>
                <a:cubicBezTo>
                  <a:pt x="37" y="13"/>
                  <a:pt x="37" y="13"/>
                  <a:pt x="37" y="13"/>
                </a:cubicBezTo>
                <a:cubicBezTo>
                  <a:pt x="37" y="21"/>
                  <a:pt x="37" y="21"/>
                  <a:pt x="37" y="21"/>
                </a:cubicBezTo>
                <a:cubicBezTo>
                  <a:pt x="93" y="21"/>
                  <a:pt x="93" y="21"/>
                  <a:pt x="93" y="21"/>
                </a:cubicBezTo>
                <a:cubicBezTo>
                  <a:pt x="93" y="13"/>
                  <a:pt x="93" y="13"/>
                  <a:pt x="93" y="13"/>
                </a:cubicBezTo>
                <a:cubicBezTo>
                  <a:pt x="93" y="11"/>
                  <a:pt x="93" y="11"/>
                  <a:pt x="93" y="11"/>
                </a:cubicBezTo>
                <a:cubicBezTo>
                  <a:pt x="80" y="11"/>
                  <a:pt x="80" y="11"/>
                  <a:pt x="80" y="11"/>
                </a:cubicBezTo>
                <a:cubicBezTo>
                  <a:pt x="80" y="16"/>
                  <a:pt x="80" y="16"/>
                  <a:pt x="80" y="16"/>
                </a:cubicBezTo>
                <a:cubicBezTo>
                  <a:pt x="80" y="19"/>
                  <a:pt x="80" y="19"/>
                  <a:pt x="80" y="19"/>
                </a:cubicBezTo>
                <a:cubicBezTo>
                  <a:pt x="77" y="19"/>
                  <a:pt x="77" y="19"/>
                  <a:pt x="77" y="19"/>
                </a:cubicBezTo>
                <a:cubicBezTo>
                  <a:pt x="53" y="19"/>
                  <a:pt x="53" y="19"/>
                  <a:pt x="53" y="19"/>
                </a:cubicBezTo>
                <a:cubicBezTo>
                  <a:pt x="51" y="19"/>
                  <a:pt x="51" y="19"/>
                  <a:pt x="51" y="19"/>
                </a:cubicBezTo>
                <a:cubicBezTo>
                  <a:pt x="51" y="16"/>
                  <a:pt x="51" y="16"/>
                  <a:pt x="51" y="16"/>
                </a:cubicBezTo>
                <a:cubicBezTo>
                  <a:pt x="51" y="11"/>
                  <a:pt x="51" y="11"/>
                  <a:pt x="51" y="11"/>
                </a:cubicBezTo>
                <a:lnTo>
                  <a:pt x="37" y="11"/>
                </a:lnTo>
                <a:close/>
                <a:moveTo>
                  <a:pt x="32" y="19"/>
                </a:moveTo>
                <a:cubicBezTo>
                  <a:pt x="13" y="19"/>
                  <a:pt x="13" y="19"/>
                  <a:pt x="13" y="19"/>
                </a:cubicBezTo>
                <a:cubicBezTo>
                  <a:pt x="13" y="147"/>
                  <a:pt x="13" y="147"/>
                  <a:pt x="13" y="147"/>
                </a:cubicBezTo>
                <a:cubicBezTo>
                  <a:pt x="117" y="147"/>
                  <a:pt x="117" y="147"/>
                  <a:pt x="117" y="147"/>
                </a:cubicBezTo>
                <a:cubicBezTo>
                  <a:pt x="117" y="19"/>
                  <a:pt x="117" y="19"/>
                  <a:pt x="117" y="19"/>
                </a:cubicBezTo>
                <a:cubicBezTo>
                  <a:pt x="99" y="19"/>
                  <a:pt x="99" y="19"/>
                  <a:pt x="99" y="19"/>
                </a:cubicBezTo>
                <a:cubicBezTo>
                  <a:pt x="99" y="24"/>
                  <a:pt x="99" y="24"/>
                  <a:pt x="99" y="24"/>
                </a:cubicBezTo>
                <a:cubicBezTo>
                  <a:pt x="99" y="27"/>
                  <a:pt x="99" y="27"/>
                  <a:pt x="99" y="27"/>
                </a:cubicBezTo>
                <a:cubicBezTo>
                  <a:pt x="96" y="27"/>
                  <a:pt x="96" y="27"/>
                  <a:pt x="96" y="27"/>
                </a:cubicBezTo>
                <a:cubicBezTo>
                  <a:pt x="35" y="27"/>
                  <a:pt x="35" y="27"/>
                  <a:pt x="35" y="27"/>
                </a:cubicBezTo>
                <a:cubicBezTo>
                  <a:pt x="32" y="27"/>
                  <a:pt x="32" y="27"/>
                  <a:pt x="32" y="27"/>
                </a:cubicBezTo>
                <a:cubicBezTo>
                  <a:pt x="32" y="24"/>
                  <a:pt x="32" y="24"/>
                  <a:pt x="32" y="24"/>
                </a:cubicBezTo>
                <a:lnTo>
                  <a:pt x="32" y="19"/>
                </a:lnTo>
                <a:close/>
                <a:moveTo>
                  <a:pt x="125" y="11"/>
                </a:moveTo>
                <a:cubicBezTo>
                  <a:pt x="99" y="11"/>
                  <a:pt x="99" y="11"/>
                  <a:pt x="99" y="11"/>
                </a:cubicBezTo>
                <a:cubicBezTo>
                  <a:pt x="99" y="13"/>
                  <a:pt x="99" y="13"/>
                  <a:pt x="99" y="13"/>
                </a:cubicBezTo>
                <a:cubicBezTo>
                  <a:pt x="123" y="13"/>
                  <a:pt x="123" y="13"/>
                  <a:pt x="123" y="13"/>
                </a:cubicBezTo>
                <a:cubicBezTo>
                  <a:pt x="123" y="152"/>
                  <a:pt x="123" y="152"/>
                  <a:pt x="123" y="152"/>
                </a:cubicBezTo>
                <a:cubicBezTo>
                  <a:pt x="8" y="152"/>
                  <a:pt x="8" y="152"/>
                  <a:pt x="8" y="152"/>
                </a:cubicBezTo>
                <a:cubicBezTo>
                  <a:pt x="8" y="13"/>
                  <a:pt x="8" y="13"/>
                  <a:pt x="8" y="13"/>
                </a:cubicBezTo>
                <a:cubicBezTo>
                  <a:pt x="32" y="13"/>
                  <a:pt x="32" y="13"/>
                  <a:pt x="32" y="13"/>
                </a:cubicBezTo>
                <a:cubicBezTo>
                  <a:pt x="32" y="11"/>
                  <a:pt x="32" y="11"/>
                  <a:pt x="32" y="11"/>
                </a:cubicBezTo>
                <a:cubicBezTo>
                  <a:pt x="5" y="11"/>
                  <a:pt x="5" y="11"/>
                  <a:pt x="5" y="11"/>
                </a:cubicBezTo>
                <a:cubicBezTo>
                  <a:pt x="5" y="155"/>
                  <a:pt x="5" y="155"/>
                  <a:pt x="5" y="155"/>
                </a:cubicBezTo>
                <a:cubicBezTo>
                  <a:pt x="125" y="155"/>
                  <a:pt x="125" y="155"/>
                  <a:pt x="125" y="155"/>
                </a:cubicBezTo>
                <a:lnTo>
                  <a:pt x="125" y="11"/>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310">
            <a:extLst>
              <a:ext uri="{FF2B5EF4-FFF2-40B4-BE49-F238E27FC236}">
                <a16:creationId xmlns:a16="http://schemas.microsoft.com/office/drawing/2014/main" id="{DFCBD0C3-0D14-AE43-AE82-1CB77CE2A833}"/>
              </a:ext>
            </a:extLst>
          </p:cNvPr>
          <p:cNvSpPr>
            <a:spLocks noEditPoints="1"/>
          </p:cNvSpPr>
          <p:nvPr/>
        </p:nvSpPr>
        <p:spPr bwMode="auto">
          <a:xfrm>
            <a:off x="2398287" y="3462338"/>
            <a:ext cx="536575" cy="549275"/>
          </a:xfrm>
          <a:custGeom>
            <a:avLst/>
            <a:gdLst>
              <a:gd name="T0" fmla="*/ 157 w 157"/>
              <a:gd name="T1" fmla="*/ 29 h 160"/>
              <a:gd name="T2" fmla="*/ 128 w 157"/>
              <a:gd name="T3" fmla="*/ 0 h 160"/>
              <a:gd name="T4" fmla="*/ 100 w 157"/>
              <a:gd name="T5" fmla="*/ 20 h 160"/>
              <a:gd name="T6" fmla="*/ 15 w 157"/>
              <a:gd name="T7" fmla="*/ 20 h 160"/>
              <a:gd name="T8" fmla="*/ 0 w 157"/>
              <a:gd name="T9" fmla="*/ 36 h 160"/>
              <a:gd name="T10" fmla="*/ 0 w 157"/>
              <a:gd name="T11" fmla="*/ 145 h 160"/>
              <a:gd name="T12" fmla="*/ 15 w 157"/>
              <a:gd name="T13" fmla="*/ 160 h 160"/>
              <a:gd name="T14" fmla="*/ 124 w 157"/>
              <a:gd name="T15" fmla="*/ 160 h 160"/>
              <a:gd name="T16" fmla="*/ 140 w 157"/>
              <a:gd name="T17" fmla="*/ 145 h 160"/>
              <a:gd name="T18" fmla="*/ 140 w 157"/>
              <a:gd name="T19" fmla="*/ 56 h 160"/>
              <a:gd name="T20" fmla="*/ 157 w 157"/>
              <a:gd name="T21" fmla="*/ 29 h 160"/>
              <a:gd name="T22" fmla="*/ 134 w 157"/>
              <a:gd name="T23" fmla="*/ 145 h 160"/>
              <a:gd name="T24" fmla="*/ 124 w 157"/>
              <a:gd name="T25" fmla="*/ 154 h 160"/>
              <a:gd name="T26" fmla="*/ 15 w 157"/>
              <a:gd name="T27" fmla="*/ 154 h 160"/>
              <a:gd name="T28" fmla="*/ 6 w 157"/>
              <a:gd name="T29" fmla="*/ 145 h 160"/>
              <a:gd name="T30" fmla="*/ 6 w 157"/>
              <a:gd name="T31" fmla="*/ 36 h 160"/>
              <a:gd name="T32" fmla="*/ 15 w 157"/>
              <a:gd name="T33" fmla="*/ 26 h 160"/>
              <a:gd name="T34" fmla="*/ 99 w 157"/>
              <a:gd name="T35" fmla="*/ 26 h 160"/>
              <a:gd name="T36" fmla="*/ 99 w 157"/>
              <a:gd name="T37" fmla="*/ 29 h 160"/>
              <a:gd name="T38" fmla="*/ 128 w 157"/>
              <a:gd name="T39" fmla="*/ 58 h 160"/>
              <a:gd name="T40" fmla="*/ 134 w 157"/>
              <a:gd name="T41" fmla="*/ 58 h 160"/>
              <a:gd name="T42" fmla="*/ 134 w 157"/>
              <a:gd name="T43" fmla="*/ 145 h 160"/>
              <a:gd name="T44" fmla="*/ 136 w 157"/>
              <a:gd name="T45" fmla="*/ 51 h 160"/>
              <a:gd name="T46" fmla="*/ 134 w 157"/>
              <a:gd name="T47" fmla="*/ 52 h 160"/>
              <a:gd name="T48" fmla="*/ 134 w 157"/>
              <a:gd name="T49" fmla="*/ 52 h 160"/>
              <a:gd name="T50" fmla="*/ 132 w 157"/>
              <a:gd name="T51" fmla="*/ 52 h 160"/>
              <a:gd name="T52" fmla="*/ 131 w 157"/>
              <a:gd name="T53" fmla="*/ 52 h 160"/>
              <a:gd name="T54" fmla="*/ 130 w 157"/>
              <a:gd name="T55" fmla="*/ 52 h 160"/>
              <a:gd name="T56" fmla="*/ 128 w 157"/>
              <a:gd name="T57" fmla="*/ 52 h 160"/>
              <a:gd name="T58" fmla="*/ 105 w 157"/>
              <a:gd name="T59" fmla="*/ 29 h 160"/>
              <a:gd name="T60" fmla="*/ 105 w 157"/>
              <a:gd name="T61" fmla="*/ 24 h 160"/>
              <a:gd name="T62" fmla="*/ 128 w 157"/>
              <a:gd name="T63" fmla="*/ 6 h 160"/>
              <a:gd name="T64" fmla="*/ 151 w 157"/>
              <a:gd name="T65" fmla="*/ 29 h 160"/>
              <a:gd name="T66" fmla="*/ 136 w 157"/>
              <a:gd name="T67" fmla="*/ 5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160">
                <a:moveTo>
                  <a:pt x="157" y="29"/>
                </a:moveTo>
                <a:cubicBezTo>
                  <a:pt x="157" y="13"/>
                  <a:pt x="144" y="0"/>
                  <a:pt x="128" y="0"/>
                </a:cubicBezTo>
                <a:cubicBezTo>
                  <a:pt x="115" y="0"/>
                  <a:pt x="104" y="9"/>
                  <a:pt x="100" y="20"/>
                </a:cubicBezTo>
                <a:cubicBezTo>
                  <a:pt x="15" y="20"/>
                  <a:pt x="15" y="20"/>
                  <a:pt x="15" y="20"/>
                </a:cubicBezTo>
                <a:cubicBezTo>
                  <a:pt x="7" y="20"/>
                  <a:pt x="0" y="27"/>
                  <a:pt x="0" y="36"/>
                </a:cubicBezTo>
                <a:cubicBezTo>
                  <a:pt x="0" y="145"/>
                  <a:pt x="0" y="145"/>
                  <a:pt x="0" y="145"/>
                </a:cubicBezTo>
                <a:cubicBezTo>
                  <a:pt x="0" y="153"/>
                  <a:pt x="7" y="160"/>
                  <a:pt x="15" y="160"/>
                </a:cubicBezTo>
                <a:cubicBezTo>
                  <a:pt x="124" y="160"/>
                  <a:pt x="124" y="160"/>
                  <a:pt x="124" y="160"/>
                </a:cubicBezTo>
                <a:cubicBezTo>
                  <a:pt x="133" y="160"/>
                  <a:pt x="140" y="153"/>
                  <a:pt x="140" y="145"/>
                </a:cubicBezTo>
                <a:cubicBezTo>
                  <a:pt x="140" y="56"/>
                  <a:pt x="140" y="56"/>
                  <a:pt x="140" y="56"/>
                </a:cubicBezTo>
                <a:cubicBezTo>
                  <a:pt x="150" y="51"/>
                  <a:pt x="157" y="41"/>
                  <a:pt x="157" y="29"/>
                </a:cubicBezTo>
                <a:close/>
                <a:moveTo>
                  <a:pt x="134" y="145"/>
                </a:moveTo>
                <a:cubicBezTo>
                  <a:pt x="134" y="150"/>
                  <a:pt x="130" y="154"/>
                  <a:pt x="124" y="154"/>
                </a:cubicBezTo>
                <a:cubicBezTo>
                  <a:pt x="15" y="154"/>
                  <a:pt x="15" y="154"/>
                  <a:pt x="15" y="154"/>
                </a:cubicBezTo>
                <a:cubicBezTo>
                  <a:pt x="10" y="154"/>
                  <a:pt x="6" y="150"/>
                  <a:pt x="6" y="145"/>
                </a:cubicBezTo>
                <a:cubicBezTo>
                  <a:pt x="6" y="36"/>
                  <a:pt x="6" y="36"/>
                  <a:pt x="6" y="36"/>
                </a:cubicBezTo>
                <a:cubicBezTo>
                  <a:pt x="6" y="30"/>
                  <a:pt x="10" y="26"/>
                  <a:pt x="15" y="26"/>
                </a:cubicBezTo>
                <a:cubicBezTo>
                  <a:pt x="99" y="26"/>
                  <a:pt x="99" y="26"/>
                  <a:pt x="99" y="26"/>
                </a:cubicBezTo>
                <a:cubicBezTo>
                  <a:pt x="99" y="27"/>
                  <a:pt x="99" y="28"/>
                  <a:pt x="99" y="29"/>
                </a:cubicBezTo>
                <a:cubicBezTo>
                  <a:pt x="99" y="45"/>
                  <a:pt x="112" y="58"/>
                  <a:pt x="128" y="58"/>
                </a:cubicBezTo>
                <a:cubicBezTo>
                  <a:pt x="130" y="58"/>
                  <a:pt x="132" y="58"/>
                  <a:pt x="134" y="58"/>
                </a:cubicBezTo>
                <a:lnTo>
                  <a:pt x="134" y="145"/>
                </a:lnTo>
                <a:close/>
                <a:moveTo>
                  <a:pt x="136" y="51"/>
                </a:moveTo>
                <a:cubicBezTo>
                  <a:pt x="135" y="51"/>
                  <a:pt x="135" y="51"/>
                  <a:pt x="134" y="52"/>
                </a:cubicBezTo>
                <a:cubicBezTo>
                  <a:pt x="134" y="52"/>
                  <a:pt x="134" y="52"/>
                  <a:pt x="134" y="52"/>
                </a:cubicBezTo>
                <a:cubicBezTo>
                  <a:pt x="133" y="52"/>
                  <a:pt x="133" y="52"/>
                  <a:pt x="132" y="52"/>
                </a:cubicBezTo>
                <a:cubicBezTo>
                  <a:pt x="132" y="52"/>
                  <a:pt x="132" y="52"/>
                  <a:pt x="131" y="52"/>
                </a:cubicBezTo>
                <a:cubicBezTo>
                  <a:pt x="131" y="52"/>
                  <a:pt x="131" y="52"/>
                  <a:pt x="130" y="52"/>
                </a:cubicBezTo>
                <a:cubicBezTo>
                  <a:pt x="129" y="52"/>
                  <a:pt x="129" y="52"/>
                  <a:pt x="128" y="52"/>
                </a:cubicBezTo>
                <a:cubicBezTo>
                  <a:pt x="115" y="52"/>
                  <a:pt x="105" y="42"/>
                  <a:pt x="105" y="29"/>
                </a:cubicBezTo>
                <a:cubicBezTo>
                  <a:pt x="105" y="27"/>
                  <a:pt x="105" y="26"/>
                  <a:pt x="105" y="24"/>
                </a:cubicBezTo>
                <a:cubicBezTo>
                  <a:pt x="108" y="14"/>
                  <a:pt x="117" y="6"/>
                  <a:pt x="128" y="6"/>
                </a:cubicBezTo>
                <a:cubicBezTo>
                  <a:pt x="141" y="6"/>
                  <a:pt x="151" y="16"/>
                  <a:pt x="151" y="29"/>
                </a:cubicBezTo>
                <a:cubicBezTo>
                  <a:pt x="151" y="39"/>
                  <a:pt x="145" y="48"/>
                  <a:pt x="136" y="51"/>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311">
            <a:extLst>
              <a:ext uri="{FF2B5EF4-FFF2-40B4-BE49-F238E27FC236}">
                <a16:creationId xmlns:a16="http://schemas.microsoft.com/office/drawing/2014/main" id="{70DC17E2-CE15-F344-A36E-28331D820BC5}"/>
              </a:ext>
            </a:extLst>
          </p:cNvPr>
          <p:cNvSpPr>
            <a:spLocks noEditPoints="1"/>
          </p:cNvSpPr>
          <p:nvPr/>
        </p:nvSpPr>
        <p:spPr bwMode="auto">
          <a:xfrm>
            <a:off x="2398287" y="4164013"/>
            <a:ext cx="546100" cy="368300"/>
          </a:xfrm>
          <a:custGeom>
            <a:avLst/>
            <a:gdLst>
              <a:gd name="T0" fmla="*/ 160 w 160"/>
              <a:gd name="T1" fmla="*/ 3 h 107"/>
              <a:gd name="T2" fmla="*/ 160 w 160"/>
              <a:gd name="T3" fmla="*/ 2 h 107"/>
              <a:gd name="T4" fmla="*/ 160 w 160"/>
              <a:gd name="T5" fmla="*/ 1 h 107"/>
              <a:gd name="T6" fmla="*/ 160 w 160"/>
              <a:gd name="T7" fmla="*/ 1 h 107"/>
              <a:gd name="T8" fmla="*/ 159 w 160"/>
              <a:gd name="T9" fmla="*/ 1 h 107"/>
              <a:gd name="T10" fmla="*/ 158 w 160"/>
              <a:gd name="T11" fmla="*/ 0 h 107"/>
              <a:gd name="T12" fmla="*/ 157 w 160"/>
              <a:gd name="T13" fmla="*/ 0 h 107"/>
              <a:gd name="T14" fmla="*/ 157 w 160"/>
              <a:gd name="T15" fmla="*/ 0 h 107"/>
              <a:gd name="T16" fmla="*/ 0 w 160"/>
              <a:gd name="T17" fmla="*/ 34 h 107"/>
              <a:gd name="T18" fmla="*/ 46 w 160"/>
              <a:gd name="T19" fmla="*/ 60 h 107"/>
              <a:gd name="T20" fmla="*/ 53 w 160"/>
              <a:gd name="T21" fmla="*/ 104 h 107"/>
              <a:gd name="T22" fmla="*/ 54 w 160"/>
              <a:gd name="T23" fmla="*/ 104 h 107"/>
              <a:gd name="T24" fmla="*/ 54 w 160"/>
              <a:gd name="T25" fmla="*/ 105 h 107"/>
              <a:gd name="T26" fmla="*/ 54 w 160"/>
              <a:gd name="T27" fmla="*/ 106 h 107"/>
              <a:gd name="T28" fmla="*/ 55 w 160"/>
              <a:gd name="T29" fmla="*/ 106 h 107"/>
              <a:gd name="T30" fmla="*/ 55 w 160"/>
              <a:gd name="T31" fmla="*/ 106 h 107"/>
              <a:gd name="T32" fmla="*/ 56 w 160"/>
              <a:gd name="T33" fmla="*/ 107 h 107"/>
              <a:gd name="T34" fmla="*/ 56 w 160"/>
              <a:gd name="T35" fmla="*/ 107 h 107"/>
              <a:gd name="T36" fmla="*/ 56 w 160"/>
              <a:gd name="T37" fmla="*/ 107 h 107"/>
              <a:gd name="T38" fmla="*/ 58 w 160"/>
              <a:gd name="T39" fmla="*/ 106 h 107"/>
              <a:gd name="T40" fmla="*/ 119 w 160"/>
              <a:gd name="T41" fmla="*/ 106 h 107"/>
              <a:gd name="T42" fmla="*/ 121 w 160"/>
              <a:gd name="T43" fmla="*/ 106 h 107"/>
              <a:gd name="T44" fmla="*/ 160 w 160"/>
              <a:gd name="T45" fmla="*/ 4 h 107"/>
              <a:gd name="T46" fmla="*/ 160 w 160"/>
              <a:gd name="T47" fmla="*/ 3 h 107"/>
              <a:gd name="T48" fmla="*/ 129 w 160"/>
              <a:gd name="T49" fmla="*/ 20 h 107"/>
              <a:gd name="T50" fmla="*/ 65 w 160"/>
              <a:gd name="T51" fmla="*/ 67 h 107"/>
              <a:gd name="T52" fmla="*/ 65 w 160"/>
              <a:gd name="T53" fmla="*/ 68 h 107"/>
              <a:gd name="T54" fmla="*/ 64 w 160"/>
              <a:gd name="T55" fmla="*/ 68 h 107"/>
              <a:gd name="T56" fmla="*/ 64 w 160"/>
              <a:gd name="T57" fmla="*/ 68 h 107"/>
              <a:gd name="T58" fmla="*/ 51 w 160"/>
              <a:gd name="T59" fmla="*/ 60 h 107"/>
              <a:gd name="T60" fmla="*/ 61 w 160"/>
              <a:gd name="T61" fmla="*/ 97 h 107"/>
              <a:gd name="T62" fmla="*/ 80 w 160"/>
              <a:gd name="T63" fmla="*/ 81 h 107"/>
              <a:gd name="T64" fmla="*/ 72 w 160"/>
              <a:gd name="T65" fmla="*/ 90 h 107"/>
              <a:gd name="T66" fmla="*/ 139 w 160"/>
              <a:gd name="T67" fmla="*/ 9 h 107"/>
              <a:gd name="T68" fmla="*/ 10 w 160"/>
              <a:gd name="T69" fmla="*/ 36 h 107"/>
              <a:gd name="T70" fmla="*/ 119 w 160"/>
              <a:gd name="T71" fmla="*/ 100 h 107"/>
              <a:gd name="T72" fmla="*/ 71 w 160"/>
              <a:gd name="T73" fmla="*/ 69 h 107"/>
              <a:gd name="T74" fmla="*/ 119 w 160"/>
              <a:gd name="T75" fmla="*/ 10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07">
                <a:moveTo>
                  <a:pt x="160" y="3"/>
                </a:moveTo>
                <a:cubicBezTo>
                  <a:pt x="160" y="3"/>
                  <a:pt x="160" y="3"/>
                  <a:pt x="160" y="3"/>
                </a:cubicBezTo>
                <a:cubicBezTo>
                  <a:pt x="160" y="3"/>
                  <a:pt x="160" y="3"/>
                  <a:pt x="160" y="2"/>
                </a:cubicBezTo>
                <a:cubicBezTo>
                  <a:pt x="160" y="2"/>
                  <a:pt x="160" y="2"/>
                  <a:pt x="160" y="2"/>
                </a:cubicBezTo>
                <a:cubicBezTo>
                  <a:pt x="160" y="2"/>
                  <a:pt x="160" y="2"/>
                  <a:pt x="160" y="1"/>
                </a:cubicBezTo>
                <a:cubicBezTo>
                  <a:pt x="160" y="1"/>
                  <a:pt x="160" y="1"/>
                  <a:pt x="160" y="1"/>
                </a:cubicBezTo>
                <a:cubicBezTo>
                  <a:pt x="160" y="1"/>
                  <a:pt x="160" y="1"/>
                  <a:pt x="160" y="1"/>
                </a:cubicBezTo>
                <a:cubicBezTo>
                  <a:pt x="160" y="1"/>
                  <a:pt x="160" y="1"/>
                  <a:pt x="160" y="1"/>
                </a:cubicBezTo>
                <a:cubicBezTo>
                  <a:pt x="160" y="1"/>
                  <a:pt x="160" y="1"/>
                  <a:pt x="160" y="1"/>
                </a:cubicBezTo>
                <a:cubicBezTo>
                  <a:pt x="159" y="1"/>
                  <a:pt x="159" y="1"/>
                  <a:pt x="159" y="1"/>
                </a:cubicBezTo>
                <a:cubicBezTo>
                  <a:pt x="159" y="0"/>
                  <a:pt x="159" y="0"/>
                  <a:pt x="159" y="0"/>
                </a:cubicBezTo>
                <a:cubicBezTo>
                  <a:pt x="159" y="0"/>
                  <a:pt x="158" y="0"/>
                  <a:pt x="158" y="0"/>
                </a:cubicBezTo>
                <a:cubicBezTo>
                  <a:pt x="158" y="0"/>
                  <a:pt x="158" y="0"/>
                  <a:pt x="158" y="0"/>
                </a:cubicBezTo>
                <a:cubicBezTo>
                  <a:pt x="158" y="0"/>
                  <a:pt x="157" y="0"/>
                  <a:pt x="157" y="0"/>
                </a:cubicBezTo>
                <a:cubicBezTo>
                  <a:pt x="157" y="0"/>
                  <a:pt x="157" y="0"/>
                  <a:pt x="157" y="0"/>
                </a:cubicBezTo>
                <a:cubicBezTo>
                  <a:pt x="157" y="0"/>
                  <a:pt x="157" y="0"/>
                  <a:pt x="157" y="0"/>
                </a:cubicBezTo>
                <a:cubicBezTo>
                  <a:pt x="2" y="32"/>
                  <a:pt x="2" y="32"/>
                  <a:pt x="2" y="32"/>
                </a:cubicBezTo>
                <a:cubicBezTo>
                  <a:pt x="1" y="32"/>
                  <a:pt x="0" y="33"/>
                  <a:pt x="0" y="34"/>
                </a:cubicBezTo>
                <a:cubicBezTo>
                  <a:pt x="0" y="35"/>
                  <a:pt x="0" y="36"/>
                  <a:pt x="1" y="37"/>
                </a:cubicBezTo>
                <a:cubicBezTo>
                  <a:pt x="46" y="60"/>
                  <a:pt x="46" y="60"/>
                  <a:pt x="46" y="60"/>
                </a:cubicBezTo>
                <a:cubicBezTo>
                  <a:pt x="53" y="103"/>
                  <a:pt x="53" y="103"/>
                  <a:pt x="53" y="103"/>
                </a:cubicBezTo>
                <a:cubicBezTo>
                  <a:pt x="53" y="103"/>
                  <a:pt x="54" y="104"/>
                  <a:pt x="53" y="104"/>
                </a:cubicBezTo>
                <a:cubicBezTo>
                  <a:pt x="53" y="104"/>
                  <a:pt x="53" y="104"/>
                  <a:pt x="53" y="104"/>
                </a:cubicBezTo>
                <a:cubicBezTo>
                  <a:pt x="54" y="104"/>
                  <a:pt x="54" y="104"/>
                  <a:pt x="54" y="104"/>
                </a:cubicBezTo>
                <a:cubicBezTo>
                  <a:pt x="54" y="105"/>
                  <a:pt x="54" y="105"/>
                  <a:pt x="54" y="105"/>
                </a:cubicBezTo>
                <a:cubicBezTo>
                  <a:pt x="54" y="105"/>
                  <a:pt x="54" y="105"/>
                  <a:pt x="54" y="105"/>
                </a:cubicBezTo>
                <a:cubicBezTo>
                  <a:pt x="54" y="105"/>
                  <a:pt x="54" y="105"/>
                  <a:pt x="54" y="105"/>
                </a:cubicBezTo>
                <a:cubicBezTo>
                  <a:pt x="54" y="105"/>
                  <a:pt x="54" y="105"/>
                  <a:pt x="54" y="106"/>
                </a:cubicBezTo>
                <a:cubicBezTo>
                  <a:pt x="54" y="106"/>
                  <a:pt x="54" y="106"/>
                  <a:pt x="54" y="106"/>
                </a:cubicBezTo>
                <a:cubicBezTo>
                  <a:pt x="54" y="106"/>
                  <a:pt x="54" y="106"/>
                  <a:pt x="55" y="106"/>
                </a:cubicBezTo>
                <a:cubicBezTo>
                  <a:pt x="55" y="106"/>
                  <a:pt x="55" y="106"/>
                  <a:pt x="55" y="106"/>
                </a:cubicBezTo>
                <a:cubicBezTo>
                  <a:pt x="55" y="106"/>
                  <a:pt x="55" y="106"/>
                  <a:pt x="55" y="106"/>
                </a:cubicBezTo>
                <a:cubicBezTo>
                  <a:pt x="55" y="106"/>
                  <a:pt x="55" y="106"/>
                  <a:pt x="55" y="106"/>
                </a:cubicBezTo>
                <a:cubicBezTo>
                  <a:pt x="56" y="106"/>
                  <a:pt x="56" y="107"/>
                  <a:pt x="56" y="107"/>
                </a:cubicBezTo>
                <a:cubicBezTo>
                  <a:pt x="56" y="107"/>
                  <a:pt x="56" y="107"/>
                  <a:pt x="56" y="107"/>
                </a:cubicBezTo>
                <a:cubicBezTo>
                  <a:pt x="56" y="107"/>
                  <a:pt x="56" y="107"/>
                  <a:pt x="56" y="107"/>
                </a:cubicBezTo>
                <a:cubicBezTo>
                  <a:pt x="56" y="107"/>
                  <a:pt x="56" y="107"/>
                  <a:pt x="56" y="107"/>
                </a:cubicBezTo>
                <a:cubicBezTo>
                  <a:pt x="56" y="107"/>
                  <a:pt x="56" y="107"/>
                  <a:pt x="56" y="107"/>
                </a:cubicBezTo>
                <a:cubicBezTo>
                  <a:pt x="56" y="107"/>
                  <a:pt x="56" y="107"/>
                  <a:pt x="56" y="107"/>
                </a:cubicBezTo>
                <a:cubicBezTo>
                  <a:pt x="57" y="107"/>
                  <a:pt x="58" y="106"/>
                  <a:pt x="58" y="106"/>
                </a:cubicBezTo>
                <a:cubicBezTo>
                  <a:pt x="88" y="86"/>
                  <a:pt x="88" y="86"/>
                  <a:pt x="88" y="86"/>
                </a:cubicBezTo>
                <a:cubicBezTo>
                  <a:pt x="119" y="106"/>
                  <a:pt x="119" y="106"/>
                  <a:pt x="119" y="106"/>
                </a:cubicBezTo>
                <a:cubicBezTo>
                  <a:pt x="119" y="106"/>
                  <a:pt x="120" y="107"/>
                  <a:pt x="120" y="107"/>
                </a:cubicBezTo>
                <a:cubicBezTo>
                  <a:pt x="120" y="107"/>
                  <a:pt x="121" y="106"/>
                  <a:pt x="121" y="106"/>
                </a:cubicBezTo>
                <a:cubicBezTo>
                  <a:pt x="122" y="106"/>
                  <a:pt x="122" y="106"/>
                  <a:pt x="123" y="105"/>
                </a:cubicBezTo>
                <a:cubicBezTo>
                  <a:pt x="160" y="4"/>
                  <a:pt x="160" y="4"/>
                  <a:pt x="160" y="4"/>
                </a:cubicBezTo>
                <a:cubicBezTo>
                  <a:pt x="160" y="3"/>
                  <a:pt x="160" y="3"/>
                  <a:pt x="160" y="3"/>
                </a:cubicBezTo>
                <a:cubicBezTo>
                  <a:pt x="160" y="3"/>
                  <a:pt x="160" y="3"/>
                  <a:pt x="160" y="3"/>
                </a:cubicBezTo>
                <a:cubicBezTo>
                  <a:pt x="160" y="3"/>
                  <a:pt x="160" y="3"/>
                  <a:pt x="160" y="3"/>
                </a:cubicBezTo>
                <a:close/>
                <a:moveTo>
                  <a:pt x="129" y="20"/>
                </a:moveTo>
                <a:cubicBezTo>
                  <a:pt x="65" y="67"/>
                  <a:pt x="65" y="67"/>
                  <a:pt x="65" y="67"/>
                </a:cubicBezTo>
                <a:cubicBezTo>
                  <a:pt x="65" y="67"/>
                  <a:pt x="65" y="67"/>
                  <a:pt x="65" y="67"/>
                </a:cubicBezTo>
                <a:cubicBezTo>
                  <a:pt x="65" y="67"/>
                  <a:pt x="65" y="67"/>
                  <a:pt x="65" y="67"/>
                </a:cubicBezTo>
                <a:cubicBezTo>
                  <a:pt x="65" y="68"/>
                  <a:pt x="65" y="68"/>
                  <a:pt x="65" y="68"/>
                </a:cubicBezTo>
                <a:cubicBezTo>
                  <a:pt x="65" y="68"/>
                  <a:pt x="65" y="68"/>
                  <a:pt x="65" y="68"/>
                </a:cubicBezTo>
                <a:cubicBezTo>
                  <a:pt x="64" y="68"/>
                  <a:pt x="64" y="68"/>
                  <a:pt x="64" y="68"/>
                </a:cubicBezTo>
                <a:cubicBezTo>
                  <a:pt x="64" y="68"/>
                  <a:pt x="64" y="68"/>
                  <a:pt x="64" y="68"/>
                </a:cubicBezTo>
                <a:cubicBezTo>
                  <a:pt x="64" y="68"/>
                  <a:pt x="64" y="68"/>
                  <a:pt x="64" y="68"/>
                </a:cubicBezTo>
                <a:cubicBezTo>
                  <a:pt x="57" y="92"/>
                  <a:pt x="57" y="92"/>
                  <a:pt x="57" y="92"/>
                </a:cubicBezTo>
                <a:cubicBezTo>
                  <a:pt x="51" y="60"/>
                  <a:pt x="51" y="60"/>
                  <a:pt x="51" y="60"/>
                </a:cubicBezTo>
                <a:lnTo>
                  <a:pt x="129" y="20"/>
                </a:lnTo>
                <a:close/>
                <a:moveTo>
                  <a:pt x="61" y="97"/>
                </a:moveTo>
                <a:cubicBezTo>
                  <a:pt x="68" y="73"/>
                  <a:pt x="68" y="73"/>
                  <a:pt x="68" y="73"/>
                </a:cubicBezTo>
                <a:cubicBezTo>
                  <a:pt x="80" y="81"/>
                  <a:pt x="80" y="81"/>
                  <a:pt x="80" y="81"/>
                </a:cubicBezTo>
                <a:cubicBezTo>
                  <a:pt x="83" y="83"/>
                  <a:pt x="83" y="83"/>
                  <a:pt x="83" y="83"/>
                </a:cubicBezTo>
                <a:cubicBezTo>
                  <a:pt x="72" y="90"/>
                  <a:pt x="72" y="90"/>
                  <a:pt x="72" y="90"/>
                </a:cubicBezTo>
                <a:lnTo>
                  <a:pt x="61" y="97"/>
                </a:lnTo>
                <a:close/>
                <a:moveTo>
                  <a:pt x="139" y="9"/>
                </a:moveTo>
                <a:cubicBezTo>
                  <a:pt x="48" y="56"/>
                  <a:pt x="48" y="56"/>
                  <a:pt x="48" y="56"/>
                </a:cubicBezTo>
                <a:cubicBezTo>
                  <a:pt x="10" y="36"/>
                  <a:pt x="10" y="36"/>
                  <a:pt x="10" y="36"/>
                </a:cubicBezTo>
                <a:lnTo>
                  <a:pt x="139" y="9"/>
                </a:lnTo>
                <a:close/>
                <a:moveTo>
                  <a:pt x="119" y="100"/>
                </a:moveTo>
                <a:cubicBezTo>
                  <a:pt x="78" y="73"/>
                  <a:pt x="78" y="73"/>
                  <a:pt x="78" y="73"/>
                </a:cubicBezTo>
                <a:cubicBezTo>
                  <a:pt x="71" y="69"/>
                  <a:pt x="71" y="69"/>
                  <a:pt x="71" y="69"/>
                </a:cubicBezTo>
                <a:cubicBezTo>
                  <a:pt x="152" y="10"/>
                  <a:pt x="152" y="10"/>
                  <a:pt x="152" y="10"/>
                </a:cubicBezTo>
                <a:lnTo>
                  <a:pt x="119" y="100"/>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312">
            <a:extLst>
              <a:ext uri="{FF2B5EF4-FFF2-40B4-BE49-F238E27FC236}">
                <a16:creationId xmlns:a16="http://schemas.microsoft.com/office/drawing/2014/main" id="{B8F237C4-A7A5-9342-92C3-E2321ADE4C80}"/>
              </a:ext>
            </a:extLst>
          </p:cNvPr>
          <p:cNvSpPr>
            <a:spLocks noEditPoints="1"/>
          </p:cNvSpPr>
          <p:nvPr/>
        </p:nvSpPr>
        <p:spPr bwMode="auto">
          <a:xfrm>
            <a:off x="2398287" y="4768850"/>
            <a:ext cx="546100" cy="412750"/>
          </a:xfrm>
          <a:custGeom>
            <a:avLst/>
            <a:gdLst>
              <a:gd name="T0" fmla="*/ 159 w 160"/>
              <a:gd name="T1" fmla="*/ 1 h 120"/>
              <a:gd name="T2" fmla="*/ 157 w 160"/>
              <a:gd name="T3" fmla="*/ 0 h 120"/>
              <a:gd name="T4" fmla="*/ 156 w 160"/>
              <a:gd name="T5" fmla="*/ 0 h 120"/>
              <a:gd name="T6" fmla="*/ 2 w 160"/>
              <a:gd name="T7" fmla="*/ 42 h 120"/>
              <a:gd name="T8" fmla="*/ 0 w 160"/>
              <a:gd name="T9" fmla="*/ 45 h 120"/>
              <a:gd name="T10" fmla="*/ 2 w 160"/>
              <a:gd name="T11" fmla="*/ 47 h 120"/>
              <a:gd name="T12" fmla="*/ 58 w 160"/>
              <a:gd name="T13" fmla="*/ 66 h 120"/>
              <a:gd name="T14" fmla="*/ 53 w 160"/>
              <a:gd name="T15" fmla="*/ 106 h 120"/>
              <a:gd name="T16" fmla="*/ 55 w 160"/>
              <a:gd name="T17" fmla="*/ 109 h 120"/>
              <a:gd name="T18" fmla="*/ 56 w 160"/>
              <a:gd name="T19" fmla="*/ 109 h 120"/>
              <a:gd name="T20" fmla="*/ 58 w 160"/>
              <a:gd name="T21" fmla="*/ 109 h 120"/>
              <a:gd name="T22" fmla="*/ 78 w 160"/>
              <a:gd name="T23" fmla="*/ 93 h 120"/>
              <a:gd name="T24" fmla="*/ 96 w 160"/>
              <a:gd name="T25" fmla="*/ 119 h 120"/>
              <a:gd name="T26" fmla="*/ 99 w 160"/>
              <a:gd name="T27" fmla="*/ 120 h 120"/>
              <a:gd name="T28" fmla="*/ 99 w 160"/>
              <a:gd name="T29" fmla="*/ 120 h 120"/>
              <a:gd name="T30" fmla="*/ 101 w 160"/>
              <a:gd name="T31" fmla="*/ 118 h 120"/>
              <a:gd name="T32" fmla="*/ 160 w 160"/>
              <a:gd name="T33" fmla="*/ 4 h 120"/>
              <a:gd name="T34" fmla="*/ 159 w 160"/>
              <a:gd name="T35" fmla="*/ 1 h 120"/>
              <a:gd name="T36" fmla="*/ 141 w 160"/>
              <a:gd name="T37" fmla="*/ 10 h 120"/>
              <a:gd name="T38" fmla="*/ 61 w 160"/>
              <a:gd name="T39" fmla="*/ 61 h 120"/>
              <a:gd name="T40" fmla="*/ 12 w 160"/>
              <a:gd name="T41" fmla="*/ 45 h 120"/>
              <a:gd name="T42" fmla="*/ 141 w 160"/>
              <a:gd name="T43" fmla="*/ 10 h 120"/>
              <a:gd name="T44" fmla="*/ 59 w 160"/>
              <a:gd name="T45" fmla="*/ 101 h 120"/>
              <a:gd name="T46" fmla="*/ 63 w 160"/>
              <a:gd name="T47" fmla="*/ 71 h 120"/>
              <a:gd name="T48" fmla="*/ 75 w 160"/>
              <a:gd name="T49" fmla="*/ 88 h 120"/>
              <a:gd name="T50" fmla="*/ 59 w 160"/>
              <a:gd name="T51" fmla="*/ 101 h 120"/>
              <a:gd name="T52" fmla="*/ 98 w 160"/>
              <a:gd name="T53" fmla="*/ 112 h 120"/>
              <a:gd name="T54" fmla="*/ 65 w 160"/>
              <a:gd name="T55" fmla="*/ 65 h 120"/>
              <a:gd name="T56" fmla="*/ 151 w 160"/>
              <a:gd name="T57" fmla="*/ 10 h 120"/>
              <a:gd name="T58" fmla="*/ 98 w 160"/>
              <a:gd name="T59"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120">
                <a:moveTo>
                  <a:pt x="159" y="1"/>
                </a:moveTo>
                <a:cubicBezTo>
                  <a:pt x="159" y="0"/>
                  <a:pt x="158" y="0"/>
                  <a:pt x="157" y="0"/>
                </a:cubicBezTo>
                <a:cubicBezTo>
                  <a:pt x="157" y="0"/>
                  <a:pt x="157" y="0"/>
                  <a:pt x="156" y="0"/>
                </a:cubicBezTo>
                <a:cubicBezTo>
                  <a:pt x="2" y="42"/>
                  <a:pt x="2" y="42"/>
                  <a:pt x="2" y="42"/>
                </a:cubicBezTo>
                <a:cubicBezTo>
                  <a:pt x="1" y="42"/>
                  <a:pt x="0" y="43"/>
                  <a:pt x="0" y="45"/>
                </a:cubicBezTo>
                <a:cubicBezTo>
                  <a:pt x="0" y="46"/>
                  <a:pt x="1" y="47"/>
                  <a:pt x="2" y="47"/>
                </a:cubicBezTo>
                <a:cubicBezTo>
                  <a:pt x="58" y="66"/>
                  <a:pt x="58" y="66"/>
                  <a:pt x="58" y="66"/>
                </a:cubicBezTo>
                <a:cubicBezTo>
                  <a:pt x="53" y="106"/>
                  <a:pt x="53" y="106"/>
                  <a:pt x="53" y="106"/>
                </a:cubicBezTo>
                <a:cubicBezTo>
                  <a:pt x="53" y="107"/>
                  <a:pt x="54" y="108"/>
                  <a:pt x="55" y="109"/>
                </a:cubicBezTo>
                <a:cubicBezTo>
                  <a:pt x="55" y="109"/>
                  <a:pt x="55" y="109"/>
                  <a:pt x="56" y="109"/>
                </a:cubicBezTo>
                <a:cubicBezTo>
                  <a:pt x="57" y="109"/>
                  <a:pt x="57" y="109"/>
                  <a:pt x="58" y="109"/>
                </a:cubicBezTo>
                <a:cubicBezTo>
                  <a:pt x="78" y="93"/>
                  <a:pt x="78" y="93"/>
                  <a:pt x="78" y="93"/>
                </a:cubicBezTo>
                <a:cubicBezTo>
                  <a:pt x="96" y="119"/>
                  <a:pt x="96" y="119"/>
                  <a:pt x="96" y="119"/>
                </a:cubicBezTo>
                <a:cubicBezTo>
                  <a:pt x="97" y="119"/>
                  <a:pt x="98" y="120"/>
                  <a:pt x="99" y="120"/>
                </a:cubicBezTo>
                <a:cubicBezTo>
                  <a:pt x="99" y="120"/>
                  <a:pt x="99" y="120"/>
                  <a:pt x="99" y="120"/>
                </a:cubicBezTo>
                <a:cubicBezTo>
                  <a:pt x="100" y="120"/>
                  <a:pt x="101" y="119"/>
                  <a:pt x="101" y="118"/>
                </a:cubicBezTo>
                <a:cubicBezTo>
                  <a:pt x="160" y="4"/>
                  <a:pt x="160" y="4"/>
                  <a:pt x="160" y="4"/>
                </a:cubicBezTo>
                <a:cubicBezTo>
                  <a:pt x="160" y="3"/>
                  <a:pt x="160" y="2"/>
                  <a:pt x="159" y="1"/>
                </a:cubicBezTo>
                <a:close/>
                <a:moveTo>
                  <a:pt x="141" y="10"/>
                </a:moveTo>
                <a:cubicBezTo>
                  <a:pt x="61" y="61"/>
                  <a:pt x="61" y="61"/>
                  <a:pt x="61" y="61"/>
                </a:cubicBezTo>
                <a:cubicBezTo>
                  <a:pt x="12" y="45"/>
                  <a:pt x="12" y="45"/>
                  <a:pt x="12" y="45"/>
                </a:cubicBezTo>
                <a:lnTo>
                  <a:pt x="141" y="10"/>
                </a:lnTo>
                <a:close/>
                <a:moveTo>
                  <a:pt x="59" y="101"/>
                </a:moveTo>
                <a:cubicBezTo>
                  <a:pt x="63" y="71"/>
                  <a:pt x="63" y="71"/>
                  <a:pt x="63" y="71"/>
                </a:cubicBezTo>
                <a:cubicBezTo>
                  <a:pt x="75" y="88"/>
                  <a:pt x="75" y="88"/>
                  <a:pt x="75" y="88"/>
                </a:cubicBezTo>
                <a:lnTo>
                  <a:pt x="59" y="101"/>
                </a:lnTo>
                <a:close/>
                <a:moveTo>
                  <a:pt x="98" y="112"/>
                </a:moveTo>
                <a:cubicBezTo>
                  <a:pt x="65" y="65"/>
                  <a:pt x="65" y="65"/>
                  <a:pt x="65" y="65"/>
                </a:cubicBezTo>
                <a:cubicBezTo>
                  <a:pt x="151" y="10"/>
                  <a:pt x="151" y="10"/>
                  <a:pt x="151" y="10"/>
                </a:cubicBezTo>
                <a:lnTo>
                  <a:pt x="98" y="112"/>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313">
            <a:extLst>
              <a:ext uri="{FF2B5EF4-FFF2-40B4-BE49-F238E27FC236}">
                <a16:creationId xmlns:a16="http://schemas.microsoft.com/office/drawing/2014/main" id="{1C08E883-15F8-3E4F-95F2-5FF0364A1078}"/>
              </a:ext>
            </a:extLst>
          </p:cNvPr>
          <p:cNvSpPr>
            <a:spLocks noEditPoints="1"/>
          </p:cNvSpPr>
          <p:nvPr/>
        </p:nvSpPr>
        <p:spPr bwMode="auto">
          <a:xfrm>
            <a:off x="2398287" y="5319713"/>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5 h 160"/>
              <a:gd name="T12" fmla="*/ 5 w 160"/>
              <a:gd name="T13" fmla="*/ 80 h 160"/>
              <a:gd name="T14" fmla="*/ 80 w 160"/>
              <a:gd name="T15" fmla="*/ 5 h 160"/>
              <a:gd name="T16" fmla="*/ 155 w 160"/>
              <a:gd name="T17" fmla="*/ 80 h 160"/>
              <a:gd name="T18" fmla="*/ 80 w 160"/>
              <a:gd name="T19" fmla="*/ 155 h 160"/>
              <a:gd name="T20" fmla="*/ 88 w 160"/>
              <a:gd name="T21" fmla="*/ 123 h 160"/>
              <a:gd name="T22" fmla="*/ 109 w 160"/>
              <a:gd name="T23" fmla="*/ 123 h 160"/>
              <a:gd name="T24" fmla="*/ 109 w 160"/>
              <a:gd name="T25" fmla="*/ 37 h 160"/>
              <a:gd name="T26" fmla="*/ 88 w 160"/>
              <a:gd name="T27" fmla="*/ 37 h 160"/>
              <a:gd name="T28" fmla="*/ 88 w 160"/>
              <a:gd name="T29" fmla="*/ 123 h 160"/>
              <a:gd name="T30" fmla="*/ 93 w 160"/>
              <a:gd name="T31" fmla="*/ 43 h 160"/>
              <a:gd name="T32" fmla="*/ 104 w 160"/>
              <a:gd name="T33" fmla="*/ 43 h 160"/>
              <a:gd name="T34" fmla="*/ 104 w 160"/>
              <a:gd name="T35" fmla="*/ 117 h 160"/>
              <a:gd name="T36" fmla="*/ 93 w 160"/>
              <a:gd name="T37" fmla="*/ 117 h 160"/>
              <a:gd name="T38" fmla="*/ 93 w 160"/>
              <a:gd name="T39" fmla="*/ 43 h 160"/>
              <a:gd name="T40" fmla="*/ 51 w 160"/>
              <a:gd name="T41" fmla="*/ 123 h 160"/>
              <a:gd name="T42" fmla="*/ 72 w 160"/>
              <a:gd name="T43" fmla="*/ 123 h 160"/>
              <a:gd name="T44" fmla="*/ 72 w 160"/>
              <a:gd name="T45" fmla="*/ 37 h 160"/>
              <a:gd name="T46" fmla="*/ 51 w 160"/>
              <a:gd name="T47" fmla="*/ 37 h 160"/>
              <a:gd name="T48" fmla="*/ 51 w 160"/>
              <a:gd name="T49" fmla="*/ 123 h 160"/>
              <a:gd name="T50" fmla="*/ 56 w 160"/>
              <a:gd name="T51" fmla="*/ 43 h 160"/>
              <a:gd name="T52" fmla="*/ 67 w 160"/>
              <a:gd name="T53" fmla="*/ 43 h 160"/>
              <a:gd name="T54" fmla="*/ 67 w 160"/>
              <a:gd name="T55" fmla="*/ 117 h 160"/>
              <a:gd name="T56" fmla="*/ 56 w 160"/>
              <a:gd name="T57" fmla="*/ 117 h 160"/>
              <a:gd name="T58" fmla="*/ 56 w 160"/>
              <a:gd name="T59"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88" y="123"/>
                </a:moveTo>
                <a:cubicBezTo>
                  <a:pt x="109" y="123"/>
                  <a:pt x="109" y="123"/>
                  <a:pt x="109" y="123"/>
                </a:cubicBezTo>
                <a:cubicBezTo>
                  <a:pt x="109" y="37"/>
                  <a:pt x="109" y="37"/>
                  <a:pt x="109" y="37"/>
                </a:cubicBezTo>
                <a:cubicBezTo>
                  <a:pt x="88" y="37"/>
                  <a:pt x="88" y="37"/>
                  <a:pt x="88" y="37"/>
                </a:cubicBezTo>
                <a:lnTo>
                  <a:pt x="88" y="123"/>
                </a:lnTo>
                <a:close/>
                <a:moveTo>
                  <a:pt x="93" y="43"/>
                </a:moveTo>
                <a:cubicBezTo>
                  <a:pt x="104" y="43"/>
                  <a:pt x="104" y="43"/>
                  <a:pt x="104" y="43"/>
                </a:cubicBezTo>
                <a:cubicBezTo>
                  <a:pt x="104" y="117"/>
                  <a:pt x="104" y="117"/>
                  <a:pt x="104" y="117"/>
                </a:cubicBezTo>
                <a:cubicBezTo>
                  <a:pt x="93" y="117"/>
                  <a:pt x="93" y="117"/>
                  <a:pt x="93" y="117"/>
                </a:cubicBezTo>
                <a:lnTo>
                  <a:pt x="93" y="43"/>
                </a:lnTo>
                <a:close/>
                <a:moveTo>
                  <a:pt x="51" y="123"/>
                </a:moveTo>
                <a:cubicBezTo>
                  <a:pt x="72" y="123"/>
                  <a:pt x="72" y="123"/>
                  <a:pt x="72" y="123"/>
                </a:cubicBezTo>
                <a:cubicBezTo>
                  <a:pt x="72" y="37"/>
                  <a:pt x="72" y="37"/>
                  <a:pt x="72" y="37"/>
                </a:cubicBezTo>
                <a:cubicBezTo>
                  <a:pt x="51" y="37"/>
                  <a:pt x="51" y="37"/>
                  <a:pt x="51" y="37"/>
                </a:cubicBezTo>
                <a:lnTo>
                  <a:pt x="51" y="123"/>
                </a:lnTo>
                <a:close/>
                <a:moveTo>
                  <a:pt x="56" y="43"/>
                </a:moveTo>
                <a:cubicBezTo>
                  <a:pt x="67" y="43"/>
                  <a:pt x="67" y="43"/>
                  <a:pt x="67" y="43"/>
                </a:cubicBezTo>
                <a:cubicBezTo>
                  <a:pt x="67" y="117"/>
                  <a:pt x="67" y="117"/>
                  <a:pt x="67" y="117"/>
                </a:cubicBezTo>
                <a:cubicBezTo>
                  <a:pt x="56" y="117"/>
                  <a:pt x="56" y="117"/>
                  <a:pt x="56" y="117"/>
                </a:cubicBezTo>
                <a:lnTo>
                  <a:pt x="56" y="43"/>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1314">
            <a:extLst>
              <a:ext uri="{FF2B5EF4-FFF2-40B4-BE49-F238E27FC236}">
                <a16:creationId xmlns:a16="http://schemas.microsoft.com/office/drawing/2014/main" id="{3B178D1C-6DD6-814C-B33C-74F24971914D}"/>
              </a:ext>
            </a:extLst>
          </p:cNvPr>
          <p:cNvSpPr>
            <a:spLocks noEditPoints="1"/>
          </p:cNvSpPr>
          <p:nvPr/>
        </p:nvSpPr>
        <p:spPr bwMode="auto">
          <a:xfrm>
            <a:off x="2576087" y="5938838"/>
            <a:ext cx="193675" cy="550863"/>
          </a:xfrm>
          <a:custGeom>
            <a:avLst/>
            <a:gdLst>
              <a:gd name="T0" fmla="*/ 8 w 57"/>
              <a:gd name="T1" fmla="*/ 4 h 160"/>
              <a:gd name="T2" fmla="*/ 8 w 57"/>
              <a:gd name="T3" fmla="*/ 156 h 160"/>
              <a:gd name="T4" fmla="*/ 4 w 57"/>
              <a:gd name="T5" fmla="*/ 160 h 160"/>
              <a:gd name="T6" fmla="*/ 0 w 57"/>
              <a:gd name="T7" fmla="*/ 156 h 160"/>
              <a:gd name="T8" fmla="*/ 0 w 57"/>
              <a:gd name="T9" fmla="*/ 4 h 160"/>
              <a:gd name="T10" fmla="*/ 4 w 57"/>
              <a:gd name="T11" fmla="*/ 0 h 160"/>
              <a:gd name="T12" fmla="*/ 8 w 57"/>
              <a:gd name="T13" fmla="*/ 4 h 160"/>
              <a:gd name="T14" fmla="*/ 53 w 57"/>
              <a:gd name="T15" fmla="*/ 0 h 160"/>
              <a:gd name="T16" fmla="*/ 50 w 57"/>
              <a:gd name="T17" fmla="*/ 4 h 160"/>
              <a:gd name="T18" fmla="*/ 50 w 57"/>
              <a:gd name="T19" fmla="*/ 156 h 160"/>
              <a:gd name="T20" fmla="*/ 53 w 57"/>
              <a:gd name="T21" fmla="*/ 160 h 160"/>
              <a:gd name="T22" fmla="*/ 57 w 57"/>
              <a:gd name="T23" fmla="*/ 156 h 160"/>
              <a:gd name="T24" fmla="*/ 57 w 57"/>
              <a:gd name="T25" fmla="*/ 4 h 160"/>
              <a:gd name="T26" fmla="*/ 53 w 57"/>
              <a:gd name="T2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60">
                <a:moveTo>
                  <a:pt x="8" y="4"/>
                </a:moveTo>
                <a:cubicBezTo>
                  <a:pt x="8" y="156"/>
                  <a:pt x="8" y="156"/>
                  <a:pt x="8" y="156"/>
                </a:cubicBezTo>
                <a:cubicBezTo>
                  <a:pt x="8" y="158"/>
                  <a:pt x="6" y="160"/>
                  <a:pt x="4" y="160"/>
                </a:cubicBezTo>
                <a:cubicBezTo>
                  <a:pt x="2" y="160"/>
                  <a:pt x="0" y="158"/>
                  <a:pt x="0" y="156"/>
                </a:cubicBezTo>
                <a:cubicBezTo>
                  <a:pt x="0" y="4"/>
                  <a:pt x="0" y="4"/>
                  <a:pt x="0" y="4"/>
                </a:cubicBezTo>
                <a:cubicBezTo>
                  <a:pt x="0" y="2"/>
                  <a:pt x="2" y="0"/>
                  <a:pt x="4" y="0"/>
                </a:cubicBezTo>
                <a:cubicBezTo>
                  <a:pt x="6" y="0"/>
                  <a:pt x="8" y="2"/>
                  <a:pt x="8" y="4"/>
                </a:cubicBezTo>
                <a:close/>
                <a:moveTo>
                  <a:pt x="53" y="0"/>
                </a:moveTo>
                <a:cubicBezTo>
                  <a:pt x="51" y="0"/>
                  <a:pt x="50" y="2"/>
                  <a:pt x="50" y="4"/>
                </a:cubicBezTo>
                <a:cubicBezTo>
                  <a:pt x="50" y="156"/>
                  <a:pt x="50" y="156"/>
                  <a:pt x="50" y="156"/>
                </a:cubicBezTo>
                <a:cubicBezTo>
                  <a:pt x="50" y="158"/>
                  <a:pt x="51" y="160"/>
                  <a:pt x="53" y="160"/>
                </a:cubicBezTo>
                <a:cubicBezTo>
                  <a:pt x="55" y="160"/>
                  <a:pt x="57" y="158"/>
                  <a:pt x="57" y="156"/>
                </a:cubicBezTo>
                <a:cubicBezTo>
                  <a:pt x="57" y="4"/>
                  <a:pt x="57" y="4"/>
                  <a:pt x="57" y="4"/>
                </a:cubicBezTo>
                <a:cubicBezTo>
                  <a:pt x="57" y="2"/>
                  <a:pt x="55" y="0"/>
                  <a:pt x="53" y="0"/>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1315">
            <a:extLst>
              <a:ext uri="{FF2B5EF4-FFF2-40B4-BE49-F238E27FC236}">
                <a16:creationId xmlns:a16="http://schemas.microsoft.com/office/drawing/2014/main" id="{4E09198F-8F42-C245-B907-FB3BCF1B5C25}"/>
              </a:ext>
            </a:extLst>
          </p:cNvPr>
          <p:cNvSpPr>
            <a:spLocks noEditPoints="1"/>
          </p:cNvSpPr>
          <p:nvPr/>
        </p:nvSpPr>
        <p:spPr bwMode="auto">
          <a:xfrm>
            <a:off x="3353962" y="365125"/>
            <a:ext cx="546100" cy="550863"/>
          </a:xfrm>
          <a:custGeom>
            <a:avLst/>
            <a:gdLst>
              <a:gd name="T0" fmla="*/ 0 w 160"/>
              <a:gd name="T1" fmla="*/ 0 h 160"/>
              <a:gd name="T2" fmla="*/ 0 w 160"/>
              <a:gd name="T3" fmla="*/ 160 h 160"/>
              <a:gd name="T4" fmla="*/ 160 w 160"/>
              <a:gd name="T5" fmla="*/ 160 h 160"/>
              <a:gd name="T6" fmla="*/ 160 w 160"/>
              <a:gd name="T7" fmla="*/ 0 h 160"/>
              <a:gd name="T8" fmla="*/ 0 w 160"/>
              <a:gd name="T9" fmla="*/ 0 h 160"/>
              <a:gd name="T10" fmla="*/ 155 w 160"/>
              <a:gd name="T11" fmla="*/ 155 h 160"/>
              <a:gd name="T12" fmla="*/ 5 w 160"/>
              <a:gd name="T13" fmla="*/ 155 h 160"/>
              <a:gd name="T14" fmla="*/ 5 w 160"/>
              <a:gd name="T15" fmla="*/ 5 h 160"/>
              <a:gd name="T16" fmla="*/ 155 w 160"/>
              <a:gd name="T17" fmla="*/ 5 h 160"/>
              <a:gd name="T18" fmla="*/ 155 w 160"/>
              <a:gd name="T19" fmla="*/ 155 h 160"/>
              <a:gd name="T20" fmla="*/ 130 w 160"/>
              <a:gd name="T21" fmla="*/ 34 h 160"/>
              <a:gd name="T22" fmla="*/ 34 w 160"/>
              <a:gd name="T23" fmla="*/ 130 h 160"/>
              <a:gd name="T24" fmla="*/ 30 w 160"/>
              <a:gd name="T25" fmla="*/ 126 h 160"/>
              <a:gd name="T26" fmla="*/ 126 w 160"/>
              <a:gd name="T27" fmla="*/ 30 h 160"/>
              <a:gd name="T28" fmla="*/ 130 w 160"/>
              <a:gd name="T29" fmla="*/ 34 h 160"/>
              <a:gd name="T30" fmla="*/ 45 w 160"/>
              <a:gd name="T31" fmla="*/ 61 h 160"/>
              <a:gd name="T32" fmla="*/ 61 w 160"/>
              <a:gd name="T33" fmla="*/ 45 h 160"/>
              <a:gd name="T34" fmla="*/ 45 w 160"/>
              <a:gd name="T35" fmla="*/ 29 h 160"/>
              <a:gd name="T36" fmla="*/ 29 w 160"/>
              <a:gd name="T37" fmla="*/ 45 h 160"/>
              <a:gd name="T38" fmla="*/ 45 w 160"/>
              <a:gd name="T39" fmla="*/ 61 h 160"/>
              <a:gd name="T40" fmla="*/ 45 w 160"/>
              <a:gd name="T41" fmla="*/ 35 h 160"/>
              <a:gd name="T42" fmla="*/ 56 w 160"/>
              <a:gd name="T43" fmla="*/ 45 h 160"/>
              <a:gd name="T44" fmla="*/ 45 w 160"/>
              <a:gd name="T45" fmla="*/ 56 h 160"/>
              <a:gd name="T46" fmla="*/ 35 w 160"/>
              <a:gd name="T47" fmla="*/ 45 h 160"/>
              <a:gd name="T48" fmla="*/ 45 w 160"/>
              <a:gd name="T49" fmla="*/ 35 h 160"/>
              <a:gd name="T50" fmla="*/ 115 w 160"/>
              <a:gd name="T51" fmla="*/ 99 h 160"/>
              <a:gd name="T52" fmla="*/ 99 w 160"/>
              <a:gd name="T53" fmla="*/ 115 h 160"/>
              <a:gd name="T54" fmla="*/ 115 w 160"/>
              <a:gd name="T55" fmla="*/ 131 h 160"/>
              <a:gd name="T56" fmla="*/ 131 w 160"/>
              <a:gd name="T57" fmla="*/ 115 h 160"/>
              <a:gd name="T58" fmla="*/ 115 w 160"/>
              <a:gd name="T59" fmla="*/ 99 h 160"/>
              <a:gd name="T60" fmla="*/ 115 w 160"/>
              <a:gd name="T61" fmla="*/ 125 h 160"/>
              <a:gd name="T62" fmla="*/ 104 w 160"/>
              <a:gd name="T63" fmla="*/ 115 h 160"/>
              <a:gd name="T64" fmla="*/ 115 w 160"/>
              <a:gd name="T65" fmla="*/ 104 h 160"/>
              <a:gd name="T66" fmla="*/ 125 w 160"/>
              <a:gd name="T67" fmla="*/ 115 h 160"/>
              <a:gd name="T68" fmla="*/ 115 w 160"/>
              <a:gd name="T69" fmla="*/ 1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0" y="0"/>
                </a:moveTo>
                <a:cubicBezTo>
                  <a:pt x="0" y="160"/>
                  <a:pt x="0" y="160"/>
                  <a:pt x="0" y="160"/>
                </a:cubicBezTo>
                <a:cubicBezTo>
                  <a:pt x="160" y="160"/>
                  <a:pt x="160" y="160"/>
                  <a:pt x="160" y="160"/>
                </a:cubicBezTo>
                <a:cubicBezTo>
                  <a:pt x="160" y="0"/>
                  <a:pt x="160" y="0"/>
                  <a:pt x="160" y="0"/>
                </a:cubicBezTo>
                <a:lnTo>
                  <a:pt x="0" y="0"/>
                </a:lnTo>
                <a:close/>
                <a:moveTo>
                  <a:pt x="155" y="155"/>
                </a:moveTo>
                <a:cubicBezTo>
                  <a:pt x="5" y="155"/>
                  <a:pt x="5" y="155"/>
                  <a:pt x="5" y="155"/>
                </a:cubicBezTo>
                <a:cubicBezTo>
                  <a:pt x="5" y="5"/>
                  <a:pt x="5" y="5"/>
                  <a:pt x="5" y="5"/>
                </a:cubicBezTo>
                <a:cubicBezTo>
                  <a:pt x="155" y="5"/>
                  <a:pt x="155" y="5"/>
                  <a:pt x="155" y="5"/>
                </a:cubicBezTo>
                <a:lnTo>
                  <a:pt x="155" y="155"/>
                </a:lnTo>
                <a:close/>
                <a:moveTo>
                  <a:pt x="130" y="34"/>
                </a:moveTo>
                <a:cubicBezTo>
                  <a:pt x="34" y="130"/>
                  <a:pt x="34" y="130"/>
                  <a:pt x="34" y="130"/>
                </a:cubicBezTo>
                <a:cubicBezTo>
                  <a:pt x="30" y="126"/>
                  <a:pt x="30" y="126"/>
                  <a:pt x="30" y="126"/>
                </a:cubicBezTo>
                <a:cubicBezTo>
                  <a:pt x="126" y="30"/>
                  <a:pt x="126" y="30"/>
                  <a:pt x="126" y="30"/>
                </a:cubicBezTo>
                <a:lnTo>
                  <a:pt x="130" y="34"/>
                </a:lnTo>
                <a:close/>
                <a:moveTo>
                  <a:pt x="45" y="61"/>
                </a:moveTo>
                <a:cubicBezTo>
                  <a:pt x="54" y="61"/>
                  <a:pt x="61" y="54"/>
                  <a:pt x="61" y="45"/>
                </a:cubicBezTo>
                <a:cubicBezTo>
                  <a:pt x="61" y="37"/>
                  <a:pt x="54" y="29"/>
                  <a:pt x="45" y="29"/>
                </a:cubicBezTo>
                <a:cubicBezTo>
                  <a:pt x="37" y="29"/>
                  <a:pt x="29" y="37"/>
                  <a:pt x="29" y="45"/>
                </a:cubicBezTo>
                <a:cubicBezTo>
                  <a:pt x="29" y="54"/>
                  <a:pt x="37" y="61"/>
                  <a:pt x="45" y="61"/>
                </a:cubicBezTo>
                <a:close/>
                <a:moveTo>
                  <a:pt x="45" y="35"/>
                </a:moveTo>
                <a:cubicBezTo>
                  <a:pt x="51" y="35"/>
                  <a:pt x="56" y="39"/>
                  <a:pt x="56" y="45"/>
                </a:cubicBezTo>
                <a:cubicBezTo>
                  <a:pt x="56" y="51"/>
                  <a:pt x="51" y="56"/>
                  <a:pt x="45" y="56"/>
                </a:cubicBezTo>
                <a:cubicBezTo>
                  <a:pt x="39" y="56"/>
                  <a:pt x="35" y="51"/>
                  <a:pt x="35" y="45"/>
                </a:cubicBezTo>
                <a:cubicBezTo>
                  <a:pt x="35" y="39"/>
                  <a:pt x="39" y="35"/>
                  <a:pt x="45" y="35"/>
                </a:cubicBezTo>
                <a:close/>
                <a:moveTo>
                  <a:pt x="115" y="99"/>
                </a:moveTo>
                <a:cubicBezTo>
                  <a:pt x="106" y="99"/>
                  <a:pt x="99" y="106"/>
                  <a:pt x="99" y="115"/>
                </a:cubicBezTo>
                <a:cubicBezTo>
                  <a:pt x="99" y="123"/>
                  <a:pt x="106" y="131"/>
                  <a:pt x="115" y="131"/>
                </a:cubicBezTo>
                <a:cubicBezTo>
                  <a:pt x="123" y="131"/>
                  <a:pt x="131" y="123"/>
                  <a:pt x="131" y="115"/>
                </a:cubicBezTo>
                <a:cubicBezTo>
                  <a:pt x="131" y="106"/>
                  <a:pt x="123" y="99"/>
                  <a:pt x="115" y="99"/>
                </a:cubicBezTo>
                <a:close/>
                <a:moveTo>
                  <a:pt x="115" y="125"/>
                </a:moveTo>
                <a:cubicBezTo>
                  <a:pt x="109" y="125"/>
                  <a:pt x="104" y="121"/>
                  <a:pt x="104" y="115"/>
                </a:cubicBezTo>
                <a:cubicBezTo>
                  <a:pt x="104" y="109"/>
                  <a:pt x="109" y="104"/>
                  <a:pt x="115" y="104"/>
                </a:cubicBezTo>
                <a:cubicBezTo>
                  <a:pt x="121" y="104"/>
                  <a:pt x="125" y="109"/>
                  <a:pt x="125" y="115"/>
                </a:cubicBezTo>
                <a:cubicBezTo>
                  <a:pt x="125" y="121"/>
                  <a:pt x="121" y="125"/>
                  <a:pt x="115" y="12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1316">
            <a:extLst>
              <a:ext uri="{FF2B5EF4-FFF2-40B4-BE49-F238E27FC236}">
                <a16:creationId xmlns:a16="http://schemas.microsoft.com/office/drawing/2014/main" id="{D2C36010-3478-4347-85C5-8AC03019D3B6}"/>
              </a:ext>
            </a:extLst>
          </p:cNvPr>
          <p:cNvSpPr>
            <a:spLocks noEditPoints="1"/>
          </p:cNvSpPr>
          <p:nvPr/>
        </p:nvSpPr>
        <p:spPr bwMode="auto">
          <a:xfrm>
            <a:off x="3353962" y="984250"/>
            <a:ext cx="546100" cy="550863"/>
          </a:xfrm>
          <a:custGeom>
            <a:avLst/>
            <a:gdLst>
              <a:gd name="T0" fmla="*/ 1 w 160"/>
              <a:gd name="T1" fmla="*/ 153 h 160"/>
              <a:gd name="T2" fmla="*/ 153 w 160"/>
              <a:gd name="T3" fmla="*/ 1 h 160"/>
              <a:gd name="T4" fmla="*/ 159 w 160"/>
              <a:gd name="T5" fmla="*/ 7 h 160"/>
              <a:gd name="T6" fmla="*/ 7 w 160"/>
              <a:gd name="T7" fmla="*/ 159 h 160"/>
              <a:gd name="T8" fmla="*/ 1 w 160"/>
              <a:gd name="T9" fmla="*/ 153 h 160"/>
              <a:gd name="T10" fmla="*/ 0 w 160"/>
              <a:gd name="T11" fmla="*/ 25 h 160"/>
              <a:gd name="T12" fmla="*/ 25 w 160"/>
              <a:gd name="T13" fmla="*/ 0 h 160"/>
              <a:gd name="T14" fmla="*/ 51 w 160"/>
              <a:gd name="T15" fmla="*/ 25 h 160"/>
              <a:gd name="T16" fmla="*/ 25 w 160"/>
              <a:gd name="T17" fmla="*/ 51 h 160"/>
              <a:gd name="T18" fmla="*/ 0 w 160"/>
              <a:gd name="T19" fmla="*/ 25 h 160"/>
              <a:gd name="T20" fmla="*/ 8 w 160"/>
              <a:gd name="T21" fmla="*/ 25 h 160"/>
              <a:gd name="T22" fmla="*/ 25 w 160"/>
              <a:gd name="T23" fmla="*/ 42 h 160"/>
              <a:gd name="T24" fmla="*/ 42 w 160"/>
              <a:gd name="T25" fmla="*/ 25 h 160"/>
              <a:gd name="T26" fmla="*/ 25 w 160"/>
              <a:gd name="T27" fmla="*/ 8 h 160"/>
              <a:gd name="T28" fmla="*/ 8 w 160"/>
              <a:gd name="T29" fmla="*/ 25 h 160"/>
              <a:gd name="T30" fmla="*/ 160 w 160"/>
              <a:gd name="T31" fmla="*/ 135 h 160"/>
              <a:gd name="T32" fmla="*/ 135 w 160"/>
              <a:gd name="T33" fmla="*/ 160 h 160"/>
              <a:gd name="T34" fmla="*/ 109 w 160"/>
              <a:gd name="T35" fmla="*/ 135 h 160"/>
              <a:gd name="T36" fmla="*/ 135 w 160"/>
              <a:gd name="T37" fmla="*/ 109 h 160"/>
              <a:gd name="T38" fmla="*/ 160 w 160"/>
              <a:gd name="T39" fmla="*/ 135 h 160"/>
              <a:gd name="T40" fmla="*/ 152 w 160"/>
              <a:gd name="T41" fmla="*/ 135 h 160"/>
              <a:gd name="T42" fmla="*/ 135 w 160"/>
              <a:gd name="T43" fmla="*/ 118 h 160"/>
              <a:gd name="T44" fmla="*/ 118 w 160"/>
              <a:gd name="T45" fmla="*/ 135 h 160"/>
              <a:gd name="T46" fmla="*/ 135 w 160"/>
              <a:gd name="T47" fmla="*/ 152 h 160"/>
              <a:gd name="T48" fmla="*/ 152 w 160"/>
              <a:gd name="T49" fmla="*/ 13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 h="160">
                <a:moveTo>
                  <a:pt x="1" y="153"/>
                </a:moveTo>
                <a:cubicBezTo>
                  <a:pt x="153" y="1"/>
                  <a:pt x="153" y="1"/>
                  <a:pt x="153" y="1"/>
                </a:cubicBezTo>
                <a:cubicBezTo>
                  <a:pt x="159" y="7"/>
                  <a:pt x="159" y="7"/>
                  <a:pt x="159" y="7"/>
                </a:cubicBezTo>
                <a:cubicBezTo>
                  <a:pt x="7" y="159"/>
                  <a:pt x="7" y="159"/>
                  <a:pt x="7" y="159"/>
                </a:cubicBezTo>
                <a:lnTo>
                  <a:pt x="1" y="153"/>
                </a:lnTo>
                <a:close/>
                <a:moveTo>
                  <a:pt x="0" y="25"/>
                </a:moveTo>
                <a:cubicBezTo>
                  <a:pt x="0" y="11"/>
                  <a:pt x="11" y="0"/>
                  <a:pt x="25" y="0"/>
                </a:cubicBezTo>
                <a:cubicBezTo>
                  <a:pt x="39" y="0"/>
                  <a:pt x="51" y="11"/>
                  <a:pt x="51" y="25"/>
                </a:cubicBezTo>
                <a:cubicBezTo>
                  <a:pt x="51" y="39"/>
                  <a:pt x="39" y="51"/>
                  <a:pt x="25" y="51"/>
                </a:cubicBezTo>
                <a:cubicBezTo>
                  <a:pt x="11" y="51"/>
                  <a:pt x="0" y="39"/>
                  <a:pt x="0" y="25"/>
                </a:cubicBezTo>
                <a:close/>
                <a:moveTo>
                  <a:pt x="8" y="25"/>
                </a:moveTo>
                <a:cubicBezTo>
                  <a:pt x="8" y="35"/>
                  <a:pt x="16" y="42"/>
                  <a:pt x="25" y="42"/>
                </a:cubicBezTo>
                <a:cubicBezTo>
                  <a:pt x="35" y="42"/>
                  <a:pt x="42" y="35"/>
                  <a:pt x="42" y="25"/>
                </a:cubicBezTo>
                <a:cubicBezTo>
                  <a:pt x="42" y="16"/>
                  <a:pt x="35" y="8"/>
                  <a:pt x="25" y="8"/>
                </a:cubicBezTo>
                <a:cubicBezTo>
                  <a:pt x="16" y="8"/>
                  <a:pt x="8" y="16"/>
                  <a:pt x="8" y="25"/>
                </a:cubicBezTo>
                <a:close/>
                <a:moveTo>
                  <a:pt x="160" y="135"/>
                </a:moveTo>
                <a:cubicBezTo>
                  <a:pt x="160" y="149"/>
                  <a:pt x="149" y="160"/>
                  <a:pt x="135" y="160"/>
                </a:cubicBezTo>
                <a:cubicBezTo>
                  <a:pt x="121" y="160"/>
                  <a:pt x="109" y="149"/>
                  <a:pt x="109" y="135"/>
                </a:cubicBezTo>
                <a:cubicBezTo>
                  <a:pt x="109" y="121"/>
                  <a:pt x="121" y="109"/>
                  <a:pt x="135" y="109"/>
                </a:cubicBezTo>
                <a:cubicBezTo>
                  <a:pt x="149" y="109"/>
                  <a:pt x="160" y="121"/>
                  <a:pt x="160" y="135"/>
                </a:cubicBezTo>
                <a:close/>
                <a:moveTo>
                  <a:pt x="152" y="135"/>
                </a:moveTo>
                <a:cubicBezTo>
                  <a:pt x="152" y="125"/>
                  <a:pt x="144" y="118"/>
                  <a:pt x="135" y="118"/>
                </a:cubicBezTo>
                <a:cubicBezTo>
                  <a:pt x="125" y="118"/>
                  <a:pt x="118" y="125"/>
                  <a:pt x="118" y="135"/>
                </a:cubicBezTo>
                <a:cubicBezTo>
                  <a:pt x="118" y="144"/>
                  <a:pt x="125" y="152"/>
                  <a:pt x="135" y="152"/>
                </a:cubicBezTo>
                <a:cubicBezTo>
                  <a:pt x="144" y="152"/>
                  <a:pt x="152" y="144"/>
                  <a:pt x="152" y="13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1317">
            <a:extLst>
              <a:ext uri="{FF2B5EF4-FFF2-40B4-BE49-F238E27FC236}">
                <a16:creationId xmlns:a16="http://schemas.microsoft.com/office/drawing/2014/main" id="{E4424C34-553F-2246-9B54-F520B839D26F}"/>
              </a:ext>
            </a:extLst>
          </p:cNvPr>
          <p:cNvSpPr>
            <a:spLocks noEditPoints="1"/>
          </p:cNvSpPr>
          <p:nvPr/>
        </p:nvSpPr>
        <p:spPr bwMode="auto">
          <a:xfrm>
            <a:off x="3353962" y="1603375"/>
            <a:ext cx="536575" cy="550863"/>
          </a:xfrm>
          <a:custGeom>
            <a:avLst/>
            <a:gdLst>
              <a:gd name="T0" fmla="*/ 136 w 157"/>
              <a:gd name="T1" fmla="*/ 58 h 160"/>
              <a:gd name="T2" fmla="*/ 21 w 157"/>
              <a:gd name="T3" fmla="*/ 58 h 160"/>
              <a:gd name="T4" fmla="*/ 0 w 157"/>
              <a:gd name="T5" fmla="*/ 80 h 160"/>
              <a:gd name="T6" fmla="*/ 21 w 157"/>
              <a:gd name="T7" fmla="*/ 100 h 160"/>
              <a:gd name="T8" fmla="*/ 78 w 157"/>
              <a:gd name="T9" fmla="*/ 124 h 160"/>
              <a:gd name="T10" fmla="*/ 136 w 157"/>
              <a:gd name="T11" fmla="*/ 100 h 160"/>
              <a:gd name="T12" fmla="*/ 157 w 157"/>
              <a:gd name="T13" fmla="*/ 79 h 160"/>
              <a:gd name="T14" fmla="*/ 136 w 157"/>
              <a:gd name="T15" fmla="*/ 58 h 160"/>
              <a:gd name="T16" fmla="*/ 132 w 157"/>
              <a:gd name="T17" fmla="*/ 96 h 160"/>
              <a:gd name="T18" fmla="*/ 78 w 157"/>
              <a:gd name="T19" fmla="*/ 119 h 160"/>
              <a:gd name="T20" fmla="*/ 24 w 157"/>
              <a:gd name="T21" fmla="*/ 96 h 160"/>
              <a:gd name="T22" fmla="*/ 8 w 157"/>
              <a:gd name="T23" fmla="*/ 80 h 160"/>
              <a:gd name="T24" fmla="*/ 25 w 157"/>
              <a:gd name="T25" fmla="*/ 62 h 160"/>
              <a:gd name="T26" fmla="*/ 132 w 157"/>
              <a:gd name="T27" fmla="*/ 62 h 160"/>
              <a:gd name="T28" fmla="*/ 149 w 157"/>
              <a:gd name="T29" fmla="*/ 79 h 160"/>
              <a:gd name="T30" fmla="*/ 132 w 157"/>
              <a:gd name="T31" fmla="*/ 96 h 160"/>
              <a:gd name="T32" fmla="*/ 77 w 157"/>
              <a:gd name="T33" fmla="*/ 45 h 160"/>
              <a:gd name="T34" fmla="*/ 43 w 157"/>
              <a:gd name="T35" fmla="*/ 79 h 160"/>
              <a:gd name="T36" fmla="*/ 77 w 157"/>
              <a:gd name="T37" fmla="*/ 114 h 160"/>
              <a:gd name="T38" fmla="*/ 112 w 157"/>
              <a:gd name="T39" fmla="*/ 79 h 160"/>
              <a:gd name="T40" fmla="*/ 77 w 157"/>
              <a:gd name="T41" fmla="*/ 45 h 160"/>
              <a:gd name="T42" fmla="*/ 77 w 157"/>
              <a:gd name="T43" fmla="*/ 108 h 160"/>
              <a:gd name="T44" fmla="*/ 49 w 157"/>
              <a:gd name="T45" fmla="*/ 79 h 160"/>
              <a:gd name="T46" fmla="*/ 77 w 157"/>
              <a:gd name="T47" fmla="*/ 51 h 160"/>
              <a:gd name="T48" fmla="*/ 106 w 157"/>
              <a:gd name="T49" fmla="*/ 79 h 160"/>
              <a:gd name="T50" fmla="*/ 77 w 157"/>
              <a:gd name="T51" fmla="*/ 108 h 160"/>
              <a:gd name="T52" fmla="*/ 65 w 157"/>
              <a:gd name="T53" fmla="*/ 15 h 160"/>
              <a:gd name="T54" fmla="*/ 65 w 157"/>
              <a:gd name="T55" fmla="*/ 11 h 160"/>
              <a:gd name="T56" fmla="*/ 76 w 157"/>
              <a:gd name="T57" fmla="*/ 1 h 160"/>
              <a:gd name="T58" fmla="*/ 77 w 157"/>
              <a:gd name="T59" fmla="*/ 0 h 160"/>
              <a:gd name="T60" fmla="*/ 79 w 157"/>
              <a:gd name="T61" fmla="*/ 0 h 160"/>
              <a:gd name="T62" fmla="*/ 80 w 157"/>
              <a:gd name="T63" fmla="*/ 1 h 160"/>
              <a:gd name="T64" fmla="*/ 91 w 157"/>
              <a:gd name="T65" fmla="*/ 11 h 160"/>
              <a:gd name="T66" fmla="*/ 91 w 157"/>
              <a:gd name="T67" fmla="*/ 15 h 160"/>
              <a:gd name="T68" fmla="*/ 89 w 157"/>
              <a:gd name="T69" fmla="*/ 16 h 160"/>
              <a:gd name="T70" fmla="*/ 87 w 157"/>
              <a:gd name="T71" fmla="*/ 15 h 160"/>
              <a:gd name="T72" fmla="*/ 81 w 157"/>
              <a:gd name="T73" fmla="*/ 9 h 160"/>
              <a:gd name="T74" fmla="*/ 81 w 157"/>
              <a:gd name="T75" fmla="*/ 29 h 160"/>
              <a:gd name="T76" fmla="*/ 78 w 157"/>
              <a:gd name="T77" fmla="*/ 32 h 160"/>
              <a:gd name="T78" fmla="*/ 75 w 157"/>
              <a:gd name="T79" fmla="*/ 29 h 160"/>
              <a:gd name="T80" fmla="*/ 75 w 157"/>
              <a:gd name="T81" fmla="*/ 9 h 160"/>
              <a:gd name="T82" fmla="*/ 69 w 157"/>
              <a:gd name="T83" fmla="*/ 15 h 160"/>
              <a:gd name="T84" fmla="*/ 67 w 157"/>
              <a:gd name="T85" fmla="*/ 16 h 160"/>
              <a:gd name="T86" fmla="*/ 65 w 157"/>
              <a:gd name="T87" fmla="*/ 15 h 160"/>
              <a:gd name="T88" fmla="*/ 91 w 157"/>
              <a:gd name="T89" fmla="*/ 145 h 160"/>
              <a:gd name="T90" fmla="*/ 91 w 157"/>
              <a:gd name="T91" fmla="*/ 149 h 160"/>
              <a:gd name="T92" fmla="*/ 80 w 157"/>
              <a:gd name="T93" fmla="*/ 159 h 160"/>
              <a:gd name="T94" fmla="*/ 79 w 157"/>
              <a:gd name="T95" fmla="*/ 160 h 160"/>
              <a:gd name="T96" fmla="*/ 78 w 157"/>
              <a:gd name="T97" fmla="*/ 160 h 160"/>
              <a:gd name="T98" fmla="*/ 77 w 157"/>
              <a:gd name="T99" fmla="*/ 160 h 160"/>
              <a:gd name="T100" fmla="*/ 76 w 157"/>
              <a:gd name="T101" fmla="*/ 159 h 160"/>
              <a:gd name="T102" fmla="*/ 65 w 157"/>
              <a:gd name="T103" fmla="*/ 149 h 160"/>
              <a:gd name="T104" fmla="*/ 65 w 157"/>
              <a:gd name="T105" fmla="*/ 145 h 160"/>
              <a:gd name="T106" fmla="*/ 69 w 157"/>
              <a:gd name="T107" fmla="*/ 145 h 160"/>
              <a:gd name="T108" fmla="*/ 75 w 157"/>
              <a:gd name="T109" fmla="*/ 151 h 160"/>
              <a:gd name="T110" fmla="*/ 75 w 157"/>
              <a:gd name="T111" fmla="*/ 131 h 160"/>
              <a:gd name="T112" fmla="*/ 78 w 157"/>
              <a:gd name="T113" fmla="*/ 128 h 160"/>
              <a:gd name="T114" fmla="*/ 81 w 157"/>
              <a:gd name="T115" fmla="*/ 131 h 160"/>
              <a:gd name="T116" fmla="*/ 81 w 157"/>
              <a:gd name="T117" fmla="*/ 151 h 160"/>
              <a:gd name="T118" fmla="*/ 87 w 157"/>
              <a:gd name="T119" fmla="*/ 145 h 160"/>
              <a:gd name="T120" fmla="*/ 91 w 157"/>
              <a:gd name="T121" fmla="*/ 14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7" h="160">
                <a:moveTo>
                  <a:pt x="136" y="58"/>
                </a:moveTo>
                <a:cubicBezTo>
                  <a:pt x="104" y="27"/>
                  <a:pt x="53" y="27"/>
                  <a:pt x="21" y="58"/>
                </a:cubicBezTo>
                <a:cubicBezTo>
                  <a:pt x="0" y="80"/>
                  <a:pt x="0" y="80"/>
                  <a:pt x="0" y="80"/>
                </a:cubicBezTo>
                <a:cubicBezTo>
                  <a:pt x="21" y="100"/>
                  <a:pt x="21" y="100"/>
                  <a:pt x="21" y="100"/>
                </a:cubicBezTo>
                <a:cubicBezTo>
                  <a:pt x="36" y="116"/>
                  <a:pt x="56" y="124"/>
                  <a:pt x="78" y="124"/>
                </a:cubicBezTo>
                <a:cubicBezTo>
                  <a:pt x="100" y="124"/>
                  <a:pt x="120" y="116"/>
                  <a:pt x="136" y="100"/>
                </a:cubicBezTo>
                <a:cubicBezTo>
                  <a:pt x="157" y="79"/>
                  <a:pt x="157" y="79"/>
                  <a:pt x="157" y="79"/>
                </a:cubicBezTo>
                <a:lnTo>
                  <a:pt x="136" y="58"/>
                </a:lnTo>
                <a:close/>
                <a:moveTo>
                  <a:pt x="132" y="96"/>
                </a:moveTo>
                <a:cubicBezTo>
                  <a:pt x="117" y="111"/>
                  <a:pt x="98" y="119"/>
                  <a:pt x="78" y="119"/>
                </a:cubicBezTo>
                <a:cubicBezTo>
                  <a:pt x="58" y="119"/>
                  <a:pt x="39" y="111"/>
                  <a:pt x="24" y="96"/>
                </a:cubicBezTo>
                <a:cubicBezTo>
                  <a:pt x="8" y="80"/>
                  <a:pt x="8" y="80"/>
                  <a:pt x="8" y="80"/>
                </a:cubicBezTo>
                <a:cubicBezTo>
                  <a:pt x="25" y="62"/>
                  <a:pt x="25" y="62"/>
                  <a:pt x="25" y="62"/>
                </a:cubicBezTo>
                <a:cubicBezTo>
                  <a:pt x="55" y="33"/>
                  <a:pt x="103" y="33"/>
                  <a:pt x="132" y="62"/>
                </a:cubicBezTo>
                <a:cubicBezTo>
                  <a:pt x="149" y="79"/>
                  <a:pt x="149" y="79"/>
                  <a:pt x="149" y="79"/>
                </a:cubicBezTo>
                <a:lnTo>
                  <a:pt x="132" y="96"/>
                </a:lnTo>
                <a:close/>
                <a:moveTo>
                  <a:pt x="77" y="45"/>
                </a:moveTo>
                <a:cubicBezTo>
                  <a:pt x="59" y="45"/>
                  <a:pt x="43" y="61"/>
                  <a:pt x="43" y="79"/>
                </a:cubicBezTo>
                <a:cubicBezTo>
                  <a:pt x="43" y="98"/>
                  <a:pt x="59" y="114"/>
                  <a:pt x="77" y="114"/>
                </a:cubicBezTo>
                <a:cubicBezTo>
                  <a:pt x="96" y="114"/>
                  <a:pt x="112" y="98"/>
                  <a:pt x="112" y="79"/>
                </a:cubicBezTo>
                <a:cubicBezTo>
                  <a:pt x="112" y="61"/>
                  <a:pt x="96" y="45"/>
                  <a:pt x="77" y="45"/>
                </a:cubicBezTo>
                <a:close/>
                <a:moveTo>
                  <a:pt x="77" y="108"/>
                </a:moveTo>
                <a:cubicBezTo>
                  <a:pt x="62" y="108"/>
                  <a:pt x="49" y="95"/>
                  <a:pt x="49" y="79"/>
                </a:cubicBezTo>
                <a:cubicBezTo>
                  <a:pt x="49" y="64"/>
                  <a:pt x="62" y="51"/>
                  <a:pt x="77" y="51"/>
                </a:cubicBezTo>
                <a:cubicBezTo>
                  <a:pt x="93" y="51"/>
                  <a:pt x="106" y="64"/>
                  <a:pt x="106" y="79"/>
                </a:cubicBezTo>
                <a:cubicBezTo>
                  <a:pt x="106" y="95"/>
                  <a:pt x="93" y="108"/>
                  <a:pt x="77" y="108"/>
                </a:cubicBezTo>
                <a:close/>
                <a:moveTo>
                  <a:pt x="65" y="15"/>
                </a:moveTo>
                <a:cubicBezTo>
                  <a:pt x="64" y="14"/>
                  <a:pt x="64" y="12"/>
                  <a:pt x="65" y="11"/>
                </a:cubicBezTo>
                <a:cubicBezTo>
                  <a:pt x="76" y="1"/>
                  <a:pt x="76" y="1"/>
                  <a:pt x="76" y="1"/>
                </a:cubicBezTo>
                <a:cubicBezTo>
                  <a:pt x="76" y="1"/>
                  <a:pt x="77" y="0"/>
                  <a:pt x="77" y="0"/>
                </a:cubicBezTo>
                <a:cubicBezTo>
                  <a:pt x="78" y="0"/>
                  <a:pt x="78" y="0"/>
                  <a:pt x="79" y="0"/>
                </a:cubicBezTo>
                <a:cubicBezTo>
                  <a:pt x="79" y="0"/>
                  <a:pt x="80" y="1"/>
                  <a:pt x="80" y="1"/>
                </a:cubicBezTo>
                <a:cubicBezTo>
                  <a:pt x="91" y="11"/>
                  <a:pt x="91" y="11"/>
                  <a:pt x="91" y="11"/>
                </a:cubicBezTo>
                <a:cubicBezTo>
                  <a:pt x="92" y="12"/>
                  <a:pt x="92" y="14"/>
                  <a:pt x="91" y="15"/>
                </a:cubicBezTo>
                <a:cubicBezTo>
                  <a:pt x="90" y="16"/>
                  <a:pt x="89" y="16"/>
                  <a:pt x="89" y="16"/>
                </a:cubicBezTo>
                <a:cubicBezTo>
                  <a:pt x="88" y="16"/>
                  <a:pt x="87" y="16"/>
                  <a:pt x="87" y="15"/>
                </a:cubicBezTo>
                <a:cubicBezTo>
                  <a:pt x="81" y="9"/>
                  <a:pt x="81" y="9"/>
                  <a:pt x="81" y="9"/>
                </a:cubicBezTo>
                <a:cubicBezTo>
                  <a:pt x="81" y="29"/>
                  <a:pt x="81" y="29"/>
                  <a:pt x="81" y="29"/>
                </a:cubicBezTo>
                <a:cubicBezTo>
                  <a:pt x="81" y="31"/>
                  <a:pt x="79" y="32"/>
                  <a:pt x="78" y="32"/>
                </a:cubicBezTo>
                <a:cubicBezTo>
                  <a:pt x="77" y="32"/>
                  <a:pt x="75" y="31"/>
                  <a:pt x="75" y="29"/>
                </a:cubicBezTo>
                <a:cubicBezTo>
                  <a:pt x="75" y="9"/>
                  <a:pt x="75" y="9"/>
                  <a:pt x="75" y="9"/>
                </a:cubicBezTo>
                <a:cubicBezTo>
                  <a:pt x="69" y="15"/>
                  <a:pt x="69" y="15"/>
                  <a:pt x="69" y="15"/>
                </a:cubicBezTo>
                <a:cubicBezTo>
                  <a:pt x="69" y="16"/>
                  <a:pt x="68" y="16"/>
                  <a:pt x="67" y="16"/>
                </a:cubicBezTo>
                <a:cubicBezTo>
                  <a:pt x="67" y="16"/>
                  <a:pt x="66" y="16"/>
                  <a:pt x="65" y="15"/>
                </a:cubicBezTo>
                <a:close/>
                <a:moveTo>
                  <a:pt x="91" y="145"/>
                </a:moveTo>
                <a:cubicBezTo>
                  <a:pt x="92" y="146"/>
                  <a:pt x="92" y="148"/>
                  <a:pt x="91" y="149"/>
                </a:cubicBezTo>
                <a:cubicBezTo>
                  <a:pt x="80" y="159"/>
                  <a:pt x="80" y="159"/>
                  <a:pt x="80" y="159"/>
                </a:cubicBezTo>
                <a:cubicBezTo>
                  <a:pt x="80" y="159"/>
                  <a:pt x="79" y="160"/>
                  <a:pt x="79" y="160"/>
                </a:cubicBezTo>
                <a:cubicBezTo>
                  <a:pt x="79" y="160"/>
                  <a:pt x="78" y="160"/>
                  <a:pt x="78" y="160"/>
                </a:cubicBezTo>
                <a:cubicBezTo>
                  <a:pt x="78" y="160"/>
                  <a:pt x="77" y="160"/>
                  <a:pt x="77" y="160"/>
                </a:cubicBezTo>
                <a:cubicBezTo>
                  <a:pt x="77" y="160"/>
                  <a:pt x="76" y="159"/>
                  <a:pt x="76" y="159"/>
                </a:cubicBezTo>
                <a:cubicBezTo>
                  <a:pt x="65" y="149"/>
                  <a:pt x="65" y="149"/>
                  <a:pt x="65" y="149"/>
                </a:cubicBezTo>
                <a:cubicBezTo>
                  <a:pt x="64" y="148"/>
                  <a:pt x="64" y="146"/>
                  <a:pt x="65" y="145"/>
                </a:cubicBezTo>
                <a:cubicBezTo>
                  <a:pt x="66" y="144"/>
                  <a:pt x="68" y="144"/>
                  <a:pt x="69" y="145"/>
                </a:cubicBezTo>
                <a:cubicBezTo>
                  <a:pt x="75" y="151"/>
                  <a:pt x="75" y="151"/>
                  <a:pt x="75" y="151"/>
                </a:cubicBezTo>
                <a:cubicBezTo>
                  <a:pt x="75" y="131"/>
                  <a:pt x="75" y="131"/>
                  <a:pt x="75" y="131"/>
                </a:cubicBezTo>
                <a:cubicBezTo>
                  <a:pt x="75" y="129"/>
                  <a:pt x="77" y="128"/>
                  <a:pt x="78" y="128"/>
                </a:cubicBezTo>
                <a:cubicBezTo>
                  <a:pt x="79" y="128"/>
                  <a:pt x="81" y="129"/>
                  <a:pt x="81" y="131"/>
                </a:cubicBezTo>
                <a:cubicBezTo>
                  <a:pt x="81" y="151"/>
                  <a:pt x="81" y="151"/>
                  <a:pt x="81" y="151"/>
                </a:cubicBezTo>
                <a:cubicBezTo>
                  <a:pt x="87" y="145"/>
                  <a:pt x="87" y="145"/>
                  <a:pt x="87" y="145"/>
                </a:cubicBezTo>
                <a:cubicBezTo>
                  <a:pt x="88" y="144"/>
                  <a:pt x="89" y="144"/>
                  <a:pt x="91" y="14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1318">
            <a:extLst>
              <a:ext uri="{FF2B5EF4-FFF2-40B4-BE49-F238E27FC236}">
                <a16:creationId xmlns:a16="http://schemas.microsoft.com/office/drawing/2014/main" id="{D8830234-97C8-5449-8ED5-B29195A13ADA}"/>
              </a:ext>
            </a:extLst>
          </p:cNvPr>
          <p:cNvSpPr>
            <a:spLocks noEditPoints="1"/>
          </p:cNvSpPr>
          <p:nvPr/>
        </p:nvSpPr>
        <p:spPr bwMode="auto">
          <a:xfrm>
            <a:off x="3353962" y="2278063"/>
            <a:ext cx="546100" cy="436563"/>
          </a:xfrm>
          <a:custGeom>
            <a:avLst/>
            <a:gdLst>
              <a:gd name="T0" fmla="*/ 151 w 160"/>
              <a:gd name="T1" fmla="*/ 11 h 127"/>
              <a:gd name="T2" fmla="*/ 9 w 160"/>
              <a:gd name="T3" fmla="*/ 11 h 127"/>
              <a:gd name="T4" fmla="*/ 0 w 160"/>
              <a:gd name="T5" fmla="*/ 20 h 127"/>
              <a:gd name="T6" fmla="*/ 0 w 160"/>
              <a:gd name="T7" fmla="*/ 118 h 127"/>
              <a:gd name="T8" fmla="*/ 9 w 160"/>
              <a:gd name="T9" fmla="*/ 127 h 127"/>
              <a:gd name="T10" fmla="*/ 151 w 160"/>
              <a:gd name="T11" fmla="*/ 127 h 127"/>
              <a:gd name="T12" fmla="*/ 160 w 160"/>
              <a:gd name="T13" fmla="*/ 118 h 127"/>
              <a:gd name="T14" fmla="*/ 160 w 160"/>
              <a:gd name="T15" fmla="*/ 20 h 127"/>
              <a:gd name="T16" fmla="*/ 151 w 160"/>
              <a:gd name="T17" fmla="*/ 11 h 127"/>
              <a:gd name="T18" fmla="*/ 154 w 160"/>
              <a:gd name="T19" fmla="*/ 118 h 127"/>
              <a:gd name="T20" fmla="*/ 151 w 160"/>
              <a:gd name="T21" fmla="*/ 121 h 127"/>
              <a:gd name="T22" fmla="*/ 9 w 160"/>
              <a:gd name="T23" fmla="*/ 121 h 127"/>
              <a:gd name="T24" fmla="*/ 6 w 160"/>
              <a:gd name="T25" fmla="*/ 118 h 127"/>
              <a:gd name="T26" fmla="*/ 6 w 160"/>
              <a:gd name="T27" fmla="*/ 20 h 127"/>
              <a:gd name="T28" fmla="*/ 9 w 160"/>
              <a:gd name="T29" fmla="*/ 17 h 127"/>
              <a:gd name="T30" fmla="*/ 151 w 160"/>
              <a:gd name="T31" fmla="*/ 17 h 127"/>
              <a:gd name="T32" fmla="*/ 154 w 160"/>
              <a:gd name="T33" fmla="*/ 20 h 127"/>
              <a:gd name="T34" fmla="*/ 154 w 160"/>
              <a:gd name="T35" fmla="*/ 118 h 127"/>
              <a:gd name="T36" fmla="*/ 83 w 160"/>
              <a:gd name="T37" fmla="*/ 22 h 127"/>
              <a:gd name="T38" fmla="*/ 36 w 160"/>
              <a:gd name="T39" fmla="*/ 69 h 127"/>
              <a:gd name="T40" fmla="*/ 83 w 160"/>
              <a:gd name="T41" fmla="*/ 116 h 127"/>
              <a:gd name="T42" fmla="*/ 130 w 160"/>
              <a:gd name="T43" fmla="*/ 69 h 127"/>
              <a:gd name="T44" fmla="*/ 83 w 160"/>
              <a:gd name="T45" fmla="*/ 22 h 127"/>
              <a:gd name="T46" fmla="*/ 83 w 160"/>
              <a:gd name="T47" fmla="*/ 110 h 127"/>
              <a:gd name="T48" fmla="*/ 41 w 160"/>
              <a:gd name="T49" fmla="*/ 69 h 127"/>
              <a:gd name="T50" fmla="*/ 83 w 160"/>
              <a:gd name="T51" fmla="*/ 28 h 127"/>
              <a:gd name="T52" fmla="*/ 124 w 160"/>
              <a:gd name="T53" fmla="*/ 69 h 127"/>
              <a:gd name="T54" fmla="*/ 83 w 160"/>
              <a:gd name="T55" fmla="*/ 110 h 127"/>
              <a:gd name="T56" fmla="*/ 52 w 160"/>
              <a:gd name="T57" fmla="*/ 3 h 127"/>
              <a:gd name="T58" fmla="*/ 55 w 160"/>
              <a:gd name="T59" fmla="*/ 0 h 127"/>
              <a:gd name="T60" fmla="*/ 108 w 160"/>
              <a:gd name="T61" fmla="*/ 0 h 127"/>
              <a:gd name="T62" fmla="*/ 110 w 160"/>
              <a:gd name="T63" fmla="*/ 3 h 127"/>
              <a:gd name="T64" fmla="*/ 108 w 160"/>
              <a:gd name="T65" fmla="*/ 6 h 127"/>
              <a:gd name="T66" fmla="*/ 55 w 160"/>
              <a:gd name="T67" fmla="*/ 6 h 127"/>
              <a:gd name="T68" fmla="*/ 52 w 160"/>
              <a:gd name="T69"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27">
                <a:moveTo>
                  <a:pt x="151" y="11"/>
                </a:moveTo>
                <a:cubicBezTo>
                  <a:pt x="9" y="11"/>
                  <a:pt x="9" y="11"/>
                  <a:pt x="9" y="11"/>
                </a:cubicBezTo>
                <a:cubicBezTo>
                  <a:pt x="4" y="11"/>
                  <a:pt x="0" y="15"/>
                  <a:pt x="0" y="20"/>
                </a:cubicBezTo>
                <a:cubicBezTo>
                  <a:pt x="0" y="118"/>
                  <a:pt x="0" y="118"/>
                  <a:pt x="0" y="118"/>
                </a:cubicBezTo>
                <a:cubicBezTo>
                  <a:pt x="0" y="123"/>
                  <a:pt x="4" y="127"/>
                  <a:pt x="9" y="127"/>
                </a:cubicBezTo>
                <a:cubicBezTo>
                  <a:pt x="151" y="127"/>
                  <a:pt x="151" y="127"/>
                  <a:pt x="151" y="127"/>
                </a:cubicBezTo>
                <a:cubicBezTo>
                  <a:pt x="156" y="127"/>
                  <a:pt x="160" y="123"/>
                  <a:pt x="160" y="118"/>
                </a:cubicBezTo>
                <a:cubicBezTo>
                  <a:pt x="160" y="20"/>
                  <a:pt x="160" y="20"/>
                  <a:pt x="160" y="20"/>
                </a:cubicBezTo>
                <a:cubicBezTo>
                  <a:pt x="160" y="15"/>
                  <a:pt x="156" y="11"/>
                  <a:pt x="151" y="11"/>
                </a:cubicBezTo>
                <a:close/>
                <a:moveTo>
                  <a:pt x="154" y="118"/>
                </a:moveTo>
                <a:cubicBezTo>
                  <a:pt x="154" y="120"/>
                  <a:pt x="153" y="121"/>
                  <a:pt x="151" y="121"/>
                </a:cubicBezTo>
                <a:cubicBezTo>
                  <a:pt x="9" y="121"/>
                  <a:pt x="9" y="121"/>
                  <a:pt x="9" y="121"/>
                </a:cubicBezTo>
                <a:cubicBezTo>
                  <a:pt x="7" y="121"/>
                  <a:pt x="6" y="120"/>
                  <a:pt x="6" y="118"/>
                </a:cubicBezTo>
                <a:cubicBezTo>
                  <a:pt x="6" y="20"/>
                  <a:pt x="6" y="20"/>
                  <a:pt x="6" y="20"/>
                </a:cubicBezTo>
                <a:cubicBezTo>
                  <a:pt x="6" y="18"/>
                  <a:pt x="7" y="17"/>
                  <a:pt x="9" y="17"/>
                </a:cubicBezTo>
                <a:cubicBezTo>
                  <a:pt x="151" y="17"/>
                  <a:pt x="151" y="17"/>
                  <a:pt x="151" y="17"/>
                </a:cubicBezTo>
                <a:cubicBezTo>
                  <a:pt x="153" y="17"/>
                  <a:pt x="154" y="18"/>
                  <a:pt x="154" y="20"/>
                </a:cubicBezTo>
                <a:lnTo>
                  <a:pt x="154" y="118"/>
                </a:lnTo>
                <a:close/>
                <a:moveTo>
                  <a:pt x="83" y="22"/>
                </a:moveTo>
                <a:cubicBezTo>
                  <a:pt x="57" y="22"/>
                  <a:pt x="36" y="43"/>
                  <a:pt x="36" y="69"/>
                </a:cubicBezTo>
                <a:cubicBezTo>
                  <a:pt x="36" y="95"/>
                  <a:pt x="57" y="116"/>
                  <a:pt x="83" y="116"/>
                </a:cubicBezTo>
                <a:cubicBezTo>
                  <a:pt x="109" y="116"/>
                  <a:pt x="130" y="95"/>
                  <a:pt x="130" y="69"/>
                </a:cubicBezTo>
                <a:cubicBezTo>
                  <a:pt x="130" y="43"/>
                  <a:pt x="109" y="22"/>
                  <a:pt x="83" y="22"/>
                </a:cubicBezTo>
                <a:close/>
                <a:moveTo>
                  <a:pt x="83" y="110"/>
                </a:moveTo>
                <a:cubicBezTo>
                  <a:pt x="60" y="110"/>
                  <a:pt x="41" y="92"/>
                  <a:pt x="41" y="69"/>
                </a:cubicBezTo>
                <a:cubicBezTo>
                  <a:pt x="41" y="46"/>
                  <a:pt x="60" y="28"/>
                  <a:pt x="83" y="28"/>
                </a:cubicBezTo>
                <a:cubicBezTo>
                  <a:pt x="106" y="28"/>
                  <a:pt x="124" y="46"/>
                  <a:pt x="124" y="69"/>
                </a:cubicBezTo>
                <a:cubicBezTo>
                  <a:pt x="124" y="92"/>
                  <a:pt x="106" y="110"/>
                  <a:pt x="83" y="110"/>
                </a:cubicBezTo>
                <a:close/>
                <a:moveTo>
                  <a:pt x="52" y="3"/>
                </a:moveTo>
                <a:cubicBezTo>
                  <a:pt x="52" y="1"/>
                  <a:pt x="54" y="0"/>
                  <a:pt x="55" y="0"/>
                </a:cubicBezTo>
                <a:cubicBezTo>
                  <a:pt x="108" y="0"/>
                  <a:pt x="108" y="0"/>
                  <a:pt x="108" y="0"/>
                </a:cubicBezTo>
                <a:cubicBezTo>
                  <a:pt x="109" y="0"/>
                  <a:pt x="110" y="1"/>
                  <a:pt x="110" y="3"/>
                </a:cubicBezTo>
                <a:cubicBezTo>
                  <a:pt x="110" y="4"/>
                  <a:pt x="109" y="6"/>
                  <a:pt x="108" y="6"/>
                </a:cubicBezTo>
                <a:cubicBezTo>
                  <a:pt x="55" y="6"/>
                  <a:pt x="55" y="6"/>
                  <a:pt x="55" y="6"/>
                </a:cubicBezTo>
                <a:cubicBezTo>
                  <a:pt x="54" y="6"/>
                  <a:pt x="52" y="4"/>
                  <a:pt x="52" y="3"/>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319">
            <a:extLst>
              <a:ext uri="{FF2B5EF4-FFF2-40B4-BE49-F238E27FC236}">
                <a16:creationId xmlns:a16="http://schemas.microsoft.com/office/drawing/2014/main" id="{794535D3-61AC-6A4C-87B0-522BE1A74111}"/>
              </a:ext>
            </a:extLst>
          </p:cNvPr>
          <p:cNvSpPr>
            <a:spLocks noEditPoints="1"/>
          </p:cNvSpPr>
          <p:nvPr/>
        </p:nvSpPr>
        <p:spPr bwMode="auto">
          <a:xfrm>
            <a:off x="3353962" y="2882900"/>
            <a:ext cx="546100" cy="450850"/>
          </a:xfrm>
          <a:custGeom>
            <a:avLst/>
            <a:gdLst>
              <a:gd name="T0" fmla="*/ 124 w 160"/>
              <a:gd name="T1" fmla="*/ 27 h 131"/>
              <a:gd name="T2" fmla="*/ 46 w 160"/>
              <a:gd name="T3" fmla="*/ 0 h 131"/>
              <a:gd name="T4" fmla="*/ 32 w 160"/>
              <a:gd name="T5" fmla="*/ 27 h 131"/>
              <a:gd name="T6" fmla="*/ 16 w 160"/>
              <a:gd name="T7" fmla="*/ 13 h 131"/>
              <a:gd name="T8" fmla="*/ 13 w 160"/>
              <a:gd name="T9" fmla="*/ 27 h 131"/>
              <a:gd name="T10" fmla="*/ 0 w 160"/>
              <a:gd name="T11" fmla="*/ 118 h 131"/>
              <a:gd name="T12" fmla="*/ 147 w 160"/>
              <a:gd name="T13" fmla="*/ 131 h 131"/>
              <a:gd name="T14" fmla="*/ 160 w 160"/>
              <a:gd name="T15" fmla="*/ 39 h 131"/>
              <a:gd name="T16" fmla="*/ 21 w 160"/>
              <a:gd name="T17" fmla="*/ 19 h 131"/>
              <a:gd name="T18" fmla="*/ 27 w 160"/>
              <a:gd name="T19" fmla="*/ 27 h 131"/>
              <a:gd name="T20" fmla="*/ 21 w 160"/>
              <a:gd name="T21" fmla="*/ 19 h 131"/>
              <a:gd name="T22" fmla="*/ 147 w 160"/>
              <a:gd name="T23" fmla="*/ 125 h 131"/>
              <a:gd name="T24" fmla="*/ 5 w 160"/>
              <a:gd name="T25" fmla="*/ 118 h 131"/>
              <a:gd name="T26" fmla="*/ 13 w 160"/>
              <a:gd name="T27" fmla="*/ 32 h 131"/>
              <a:gd name="T28" fmla="*/ 32 w 160"/>
              <a:gd name="T29" fmla="*/ 32 h 131"/>
              <a:gd name="T30" fmla="*/ 50 w 160"/>
              <a:gd name="T31" fmla="*/ 5 h 131"/>
              <a:gd name="T32" fmla="*/ 121 w 160"/>
              <a:gd name="T33" fmla="*/ 32 h 131"/>
              <a:gd name="T34" fmla="*/ 155 w 160"/>
              <a:gd name="T35" fmla="*/ 39 h 131"/>
              <a:gd name="T36" fmla="*/ 80 w 160"/>
              <a:gd name="T37" fmla="*/ 24 h 131"/>
              <a:gd name="T38" fmla="*/ 80 w 160"/>
              <a:gd name="T39" fmla="*/ 120 h 131"/>
              <a:gd name="T40" fmla="*/ 80 w 160"/>
              <a:gd name="T41" fmla="*/ 24 h 131"/>
              <a:gd name="T42" fmla="*/ 37 w 160"/>
              <a:gd name="T43" fmla="*/ 72 h 131"/>
              <a:gd name="T44" fmla="*/ 123 w 160"/>
              <a:gd name="T45" fmla="*/ 72 h 131"/>
              <a:gd name="T46" fmla="*/ 80 w 160"/>
              <a:gd name="T47" fmla="*/ 40 h 131"/>
              <a:gd name="T48" fmla="*/ 80 w 160"/>
              <a:gd name="T49" fmla="*/ 104 h 131"/>
              <a:gd name="T50" fmla="*/ 80 w 160"/>
              <a:gd name="T51" fmla="*/ 40 h 131"/>
              <a:gd name="T52" fmla="*/ 53 w 160"/>
              <a:gd name="T53" fmla="*/ 72 h 131"/>
              <a:gd name="T54" fmla="*/ 107 w 160"/>
              <a:gd name="T55" fmla="*/ 72 h 131"/>
              <a:gd name="T56" fmla="*/ 139 w 160"/>
              <a:gd name="T57" fmla="*/ 37 h 131"/>
              <a:gd name="T58" fmla="*/ 139 w 160"/>
              <a:gd name="T59" fmla="*/ 59 h 131"/>
              <a:gd name="T60" fmla="*/ 139 w 160"/>
              <a:gd name="T61" fmla="*/ 37 h 131"/>
              <a:gd name="T62" fmla="*/ 133 w 160"/>
              <a:gd name="T63" fmla="*/ 48 h 131"/>
              <a:gd name="T64" fmla="*/ 144 w 160"/>
              <a:gd name="T65" fmla="*/ 4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31">
                <a:moveTo>
                  <a:pt x="147" y="27"/>
                </a:moveTo>
                <a:cubicBezTo>
                  <a:pt x="124" y="27"/>
                  <a:pt x="124" y="27"/>
                  <a:pt x="124" y="27"/>
                </a:cubicBezTo>
                <a:cubicBezTo>
                  <a:pt x="114" y="0"/>
                  <a:pt x="114" y="0"/>
                  <a:pt x="114" y="0"/>
                </a:cubicBezTo>
                <a:cubicBezTo>
                  <a:pt x="46" y="0"/>
                  <a:pt x="46" y="0"/>
                  <a:pt x="46" y="0"/>
                </a:cubicBezTo>
                <a:cubicBezTo>
                  <a:pt x="36" y="27"/>
                  <a:pt x="36" y="27"/>
                  <a:pt x="36" y="27"/>
                </a:cubicBezTo>
                <a:cubicBezTo>
                  <a:pt x="32" y="27"/>
                  <a:pt x="32" y="27"/>
                  <a:pt x="32" y="27"/>
                </a:cubicBezTo>
                <a:cubicBezTo>
                  <a:pt x="32" y="13"/>
                  <a:pt x="32" y="13"/>
                  <a:pt x="32" y="13"/>
                </a:cubicBezTo>
                <a:cubicBezTo>
                  <a:pt x="16" y="13"/>
                  <a:pt x="16" y="13"/>
                  <a:pt x="16" y="13"/>
                </a:cubicBezTo>
                <a:cubicBezTo>
                  <a:pt x="16" y="27"/>
                  <a:pt x="16" y="27"/>
                  <a:pt x="16" y="27"/>
                </a:cubicBezTo>
                <a:cubicBezTo>
                  <a:pt x="13" y="27"/>
                  <a:pt x="13" y="27"/>
                  <a:pt x="13" y="27"/>
                </a:cubicBezTo>
                <a:cubicBezTo>
                  <a:pt x="6" y="27"/>
                  <a:pt x="0" y="32"/>
                  <a:pt x="0" y="39"/>
                </a:cubicBezTo>
                <a:cubicBezTo>
                  <a:pt x="0" y="118"/>
                  <a:pt x="0" y="118"/>
                  <a:pt x="0" y="118"/>
                </a:cubicBezTo>
                <a:cubicBezTo>
                  <a:pt x="0" y="125"/>
                  <a:pt x="6" y="131"/>
                  <a:pt x="13" y="131"/>
                </a:cubicBezTo>
                <a:cubicBezTo>
                  <a:pt x="147" y="131"/>
                  <a:pt x="147" y="131"/>
                  <a:pt x="147" y="131"/>
                </a:cubicBezTo>
                <a:cubicBezTo>
                  <a:pt x="154" y="131"/>
                  <a:pt x="160" y="125"/>
                  <a:pt x="160" y="118"/>
                </a:cubicBezTo>
                <a:cubicBezTo>
                  <a:pt x="160" y="39"/>
                  <a:pt x="160" y="39"/>
                  <a:pt x="160" y="39"/>
                </a:cubicBezTo>
                <a:cubicBezTo>
                  <a:pt x="160" y="32"/>
                  <a:pt x="154" y="27"/>
                  <a:pt x="147" y="27"/>
                </a:cubicBezTo>
                <a:close/>
                <a:moveTo>
                  <a:pt x="21" y="19"/>
                </a:moveTo>
                <a:cubicBezTo>
                  <a:pt x="27" y="19"/>
                  <a:pt x="27" y="19"/>
                  <a:pt x="27" y="19"/>
                </a:cubicBezTo>
                <a:cubicBezTo>
                  <a:pt x="27" y="27"/>
                  <a:pt x="27" y="27"/>
                  <a:pt x="27" y="27"/>
                </a:cubicBezTo>
                <a:cubicBezTo>
                  <a:pt x="21" y="27"/>
                  <a:pt x="21" y="27"/>
                  <a:pt x="21" y="27"/>
                </a:cubicBezTo>
                <a:lnTo>
                  <a:pt x="21" y="19"/>
                </a:lnTo>
                <a:close/>
                <a:moveTo>
                  <a:pt x="155" y="118"/>
                </a:moveTo>
                <a:cubicBezTo>
                  <a:pt x="155" y="122"/>
                  <a:pt x="151" y="125"/>
                  <a:pt x="147" y="125"/>
                </a:cubicBezTo>
                <a:cubicBezTo>
                  <a:pt x="13" y="125"/>
                  <a:pt x="13" y="125"/>
                  <a:pt x="13" y="125"/>
                </a:cubicBezTo>
                <a:cubicBezTo>
                  <a:pt x="9" y="125"/>
                  <a:pt x="5" y="122"/>
                  <a:pt x="5" y="118"/>
                </a:cubicBezTo>
                <a:cubicBezTo>
                  <a:pt x="5" y="39"/>
                  <a:pt x="5" y="39"/>
                  <a:pt x="5" y="39"/>
                </a:cubicBezTo>
                <a:cubicBezTo>
                  <a:pt x="5" y="35"/>
                  <a:pt x="9" y="32"/>
                  <a:pt x="13" y="32"/>
                </a:cubicBezTo>
                <a:cubicBezTo>
                  <a:pt x="16" y="32"/>
                  <a:pt x="16" y="32"/>
                  <a:pt x="16" y="32"/>
                </a:cubicBezTo>
                <a:cubicBezTo>
                  <a:pt x="32" y="32"/>
                  <a:pt x="32" y="32"/>
                  <a:pt x="32" y="32"/>
                </a:cubicBezTo>
                <a:cubicBezTo>
                  <a:pt x="39" y="32"/>
                  <a:pt x="39" y="32"/>
                  <a:pt x="39" y="32"/>
                </a:cubicBezTo>
                <a:cubicBezTo>
                  <a:pt x="50" y="5"/>
                  <a:pt x="50" y="5"/>
                  <a:pt x="50" y="5"/>
                </a:cubicBezTo>
                <a:cubicBezTo>
                  <a:pt x="110" y="5"/>
                  <a:pt x="110" y="5"/>
                  <a:pt x="110" y="5"/>
                </a:cubicBezTo>
                <a:cubicBezTo>
                  <a:pt x="121" y="32"/>
                  <a:pt x="121" y="32"/>
                  <a:pt x="121" y="32"/>
                </a:cubicBezTo>
                <a:cubicBezTo>
                  <a:pt x="147" y="32"/>
                  <a:pt x="147" y="32"/>
                  <a:pt x="147" y="32"/>
                </a:cubicBezTo>
                <a:cubicBezTo>
                  <a:pt x="151" y="32"/>
                  <a:pt x="155" y="35"/>
                  <a:pt x="155" y="39"/>
                </a:cubicBezTo>
                <a:lnTo>
                  <a:pt x="155" y="118"/>
                </a:lnTo>
                <a:close/>
                <a:moveTo>
                  <a:pt x="80" y="24"/>
                </a:moveTo>
                <a:cubicBezTo>
                  <a:pt x="54" y="24"/>
                  <a:pt x="32" y="46"/>
                  <a:pt x="32" y="72"/>
                </a:cubicBezTo>
                <a:cubicBezTo>
                  <a:pt x="32" y="98"/>
                  <a:pt x="54" y="120"/>
                  <a:pt x="80" y="120"/>
                </a:cubicBezTo>
                <a:cubicBezTo>
                  <a:pt x="106" y="120"/>
                  <a:pt x="128" y="98"/>
                  <a:pt x="128" y="72"/>
                </a:cubicBezTo>
                <a:cubicBezTo>
                  <a:pt x="128" y="46"/>
                  <a:pt x="106" y="24"/>
                  <a:pt x="80" y="24"/>
                </a:cubicBezTo>
                <a:close/>
                <a:moveTo>
                  <a:pt x="80" y="115"/>
                </a:moveTo>
                <a:cubicBezTo>
                  <a:pt x="56" y="115"/>
                  <a:pt x="37" y="96"/>
                  <a:pt x="37" y="72"/>
                </a:cubicBezTo>
                <a:cubicBezTo>
                  <a:pt x="37" y="48"/>
                  <a:pt x="56" y="29"/>
                  <a:pt x="80" y="29"/>
                </a:cubicBezTo>
                <a:cubicBezTo>
                  <a:pt x="104" y="29"/>
                  <a:pt x="123" y="48"/>
                  <a:pt x="123" y="72"/>
                </a:cubicBezTo>
                <a:cubicBezTo>
                  <a:pt x="123" y="96"/>
                  <a:pt x="104" y="115"/>
                  <a:pt x="80" y="115"/>
                </a:cubicBezTo>
                <a:close/>
                <a:moveTo>
                  <a:pt x="80" y="40"/>
                </a:moveTo>
                <a:cubicBezTo>
                  <a:pt x="62" y="40"/>
                  <a:pt x="48" y="54"/>
                  <a:pt x="48" y="72"/>
                </a:cubicBezTo>
                <a:cubicBezTo>
                  <a:pt x="48" y="90"/>
                  <a:pt x="62" y="104"/>
                  <a:pt x="80" y="104"/>
                </a:cubicBezTo>
                <a:cubicBezTo>
                  <a:pt x="98" y="104"/>
                  <a:pt x="112" y="90"/>
                  <a:pt x="112" y="72"/>
                </a:cubicBezTo>
                <a:cubicBezTo>
                  <a:pt x="112" y="54"/>
                  <a:pt x="98" y="40"/>
                  <a:pt x="80" y="40"/>
                </a:cubicBezTo>
                <a:close/>
                <a:moveTo>
                  <a:pt x="80" y="99"/>
                </a:moveTo>
                <a:cubicBezTo>
                  <a:pt x="65" y="99"/>
                  <a:pt x="53" y="87"/>
                  <a:pt x="53" y="72"/>
                </a:cubicBezTo>
                <a:cubicBezTo>
                  <a:pt x="53" y="57"/>
                  <a:pt x="65" y="45"/>
                  <a:pt x="80" y="45"/>
                </a:cubicBezTo>
                <a:cubicBezTo>
                  <a:pt x="95" y="45"/>
                  <a:pt x="107" y="57"/>
                  <a:pt x="107" y="72"/>
                </a:cubicBezTo>
                <a:cubicBezTo>
                  <a:pt x="107" y="87"/>
                  <a:pt x="95" y="99"/>
                  <a:pt x="80" y="99"/>
                </a:cubicBezTo>
                <a:close/>
                <a:moveTo>
                  <a:pt x="139" y="37"/>
                </a:moveTo>
                <a:cubicBezTo>
                  <a:pt x="133" y="37"/>
                  <a:pt x="128" y="42"/>
                  <a:pt x="128" y="48"/>
                </a:cubicBezTo>
                <a:cubicBezTo>
                  <a:pt x="128" y="54"/>
                  <a:pt x="133" y="59"/>
                  <a:pt x="139" y="59"/>
                </a:cubicBezTo>
                <a:cubicBezTo>
                  <a:pt x="145" y="59"/>
                  <a:pt x="149" y="54"/>
                  <a:pt x="149" y="48"/>
                </a:cubicBezTo>
                <a:cubicBezTo>
                  <a:pt x="149" y="42"/>
                  <a:pt x="145" y="37"/>
                  <a:pt x="139" y="37"/>
                </a:cubicBezTo>
                <a:close/>
                <a:moveTo>
                  <a:pt x="139" y="53"/>
                </a:moveTo>
                <a:cubicBezTo>
                  <a:pt x="136" y="53"/>
                  <a:pt x="133" y="51"/>
                  <a:pt x="133" y="48"/>
                </a:cubicBezTo>
                <a:cubicBezTo>
                  <a:pt x="133" y="45"/>
                  <a:pt x="136" y="43"/>
                  <a:pt x="139" y="43"/>
                </a:cubicBezTo>
                <a:cubicBezTo>
                  <a:pt x="142" y="43"/>
                  <a:pt x="144" y="45"/>
                  <a:pt x="144" y="48"/>
                </a:cubicBezTo>
                <a:cubicBezTo>
                  <a:pt x="144" y="51"/>
                  <a:pt x="142" y="53"/>
                  <a:pt x="139" y="53"/>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1320">
            <a:extLst>
              <a:ext uri="{FF2B5EF4-FFF2-40B4-BE49-F238E27FC236}">
                <a16:creationId xmlns:a16="http://schemas.microsoft.com/office/drawing/2014/main" id="{E54B0354-D93A-CE4B-9379-26793BEF2794}"/>
              </a:ext>
            </a:extLst>
          </p:cNvPr>
          <p:cNvSpPr>
            <a:spLocks noEditPoints="1"/>
          </p:cNvSpPr>
          <p:nvPr/>
        </p:nvSpPr>
        <p:spPr bwMode="auto">
          <a:xfrm>
            <a:off x="3353962" y="3462338"/>
            <a:ext cx="546100" cy="549275"/>
          </a:xfrm>
          <a:custGeom>
            <a:avLst/>
            <a:gdLst>
              <a:gd name="T0" fmla="*/ 137 w 160"/>
              <a:gd name="T1" fmla="*/ 23 h 160"/>
              <a:gd name="T2" fmla="*/ 55 w 160"/>
              <a:gd name="T3" fmla="*/ 19 h 160"/>
              <a:gd name="T4" fmla="*/ 0 w 160"/>
              <a:gd name="T5" fmla="*/ 80 h 160"/>
              <a:gd name="T6" fmla="*/ 42 w 160"/>
              <a:gd name="T7" fmla="*/ 144 h 160"/>
              <a:gd name="T8" fmla="*/ 105 w 160"/>
              <a:gd name="T9" fmla="*/ 141 h 160"/>
              <a:gd name="T10" fmla="*/ 141 w 160"/>
              <a:gd name="T11" fmla="*/ 105 h 160"/>
              <a:gd name="T12" fmla="*/ 22 w 160"/>
              <a:gd name="T13" fmla="*/ 59 h 160"/>
              <a:gd name="T14" fmla="*/ 23 w 160"/>
              <a:gd name="T15" fmla="*/ 99 h 160"/>
              <a:gd name="T16" fmla="*/ 50 w 160"/>
              <a:gd name="T17" fmla="*/ 80 h 160"/>
              <a:gd name="T18" fmla="*/ 50 w 160"/>
              <a:gd name="T19" fmla="*/ 80 h 160"/>
              <a:gd name="T20" fmla="*/ 28 w 160"/>
              <a:gd name="T21" fmla="*/ 101 h 160"/>
              <a:gd name="T22" fmla="*/ 46 w 160"/>
              <a:gd name="T23" fmla="*/ 76 h 160"/>
              <a:gd name="T24" fmla="*/ 53 w 160"/>
              <a:gd name="T25" fmla="*/ 69 h 160"/>
              <a:gd name="T26" fmla="*/ 24 w 160"/>
              <a:gd name="T27" fmla="*/ 107 h 160"/>
              <a:gd name="T28" fmla="*/ 53 w 160"/>
              <a:gd name="T29" fmla="*/ 133 h 160"/>
              <a:gd name="T30" fmla="*/ 53 w 160"/>
              <a:gd name="T31" fmla="*/ 27 h 160"/>
              <a:gd name="T32" fmla="*/ 24 w 160"/>
              <a:gd name="T33" fmla="*/ 53 h 160"/>
              <a:gd name="T34" fmla="*/ 53 w 160"/>
              <a:gd name="T35" fmla="*/ 24 h 160"/>
              <a:gd name="T36" fmla="*/ 101 w 160"/>
              <a:gd name="T37" fmla="*/ 22 h 160"/>
              <a:gd name="T38" fmla="*/ 61 w 160"/>
              <a:gd name="T39" fmla="*/ 23 h 160"/>
              <a:gd name="T40" fmla="*/ 84 w 160"/>
              <a:gd name="T41" fmla="*/ 53 h 160"/>
              <a:gd name="T42" fmla="*/ 84 w 160"/>
              <a:gd name="T43" fmla="*/ 53 h 160"/>
              <a:gd name="T44" fmla="*/ 69 w 160"/>
              <a:gd name="T45" fmla="*/ 53 h 160"/>
              <a:gd name="T46" fmla="*/ 59 w 160"/>
              <a:gd name="T47" fmla="*/ 59 h 160"/>
              <a:gd name="T48" fmla="*/ 59 w 160"/>
              <a:gd name="T49" fmla="*/ 59 h 160"/>
              <a:gd name="T50" fmla="*/ 59 w 160"/>
              <a:gd name="T51" fmla="*/ 101 h 160"/>
              <a:gd name="T52" fmla="*/ 69 w 160"/>
              <a:gd name="T53" fmla="*/ 107 h 160"/>
              <a:gd name="T54" fmla="*/ 59 w 160"/>
              <a:gd name="T55" fmla="*/ 107 h 160"/>
              <a:gd name="T56" fmla="*/ 61 w 160"/>
              <a:gd name="T57" fmla="*/ 137 h 160"/>
              <a:gd name="T58" fmla="*/ 101 w 160"/>
              <a:gd name="T59" fmla="*/ 138 h 160"/>
              <a:gd name="T60" fmla="*/ 84 w 160"/>
              <a:gd name="T61" fmla="*/ 107 h 160"/>
              <a:gd name="T62" fmla="*/ 101 w 160"/>
              <a:gd name="T63" fmla="*/ 132 h 160"/>
              <a:gd name="T64" fmla="*/ 101 w 160"/>
              <a:gd name="T65" fmla="*/ 107 h 160"/>
              <a:gd name="T66" fmla="*/ 96 w 160"/>
              <a:gd name="T67" fmla="*/ 101 h 160"/>
              <a:gd name="T68" fmla="*/ 101 w 160"/>
              <a:gd name="T69" fmla="*/ 89 h 160"/>
              <a:gd name="T70" fmla="*/ 59 w 160"/>
              <a:gd name="T71" fmla="*/ 89 h 160"/>
              <a:gd name="T72" fmla="*/ 89 w 160"/>
              <a:gd name="T73" fmla="*/ 59 h 160"/>
              <a:gd name="T74" fmla="*/ 101 w 160"/>
              <a:gd name="T75" fmla="*/ 64 h 160"/>
              <a:gd name="T76" fmla="*/ 101 w 160"/>
              <a:gd name="T77" fmla="*/ 64 h 160"/>
              <a:gd name="T78" fmla="*/ 84 w 160"/>
              <a:gd name="T79" fmla="*/ 46 h 160"/>
              <a:gd name="T80" fmla="*/ 118 w 160"/>
              <a:gd name="T81" fmla="*/ 21 h 160"/>
              <a:gd name="T82" fmla="*/ 133 w 160"/>
              <a:gd name="T83" fmla="*/ 53 h 160"/>
              <a:gd name="T84" fmla="*/ 107 w 160"/>
              <a:gd name="T85" fmla="*/ 24 h 160"/>
              <a:gd name="T86" fmla="*/ 132 w 160"/>
              <a:gd name="T87" fmla="*/ 101 h 160"/>
              <a:gd name="T88" fmla="*/ 114 w 160"/>
              <a:gd name="T89" fmla="*/ 84 h 160"/>
              <a:gd name="T90" fmla="*/ 110 w 160"/>
              <a:gd name="T91" fmla="*/ 80 h 160"/>
              <a:gd name="T92" fmla="*/ 107 w 160"/>
              <a:gd name="T93" fmla="*/ 59 h 160"/>
              <a:gd name="T94" fmla="*/ 107 w 160"/>
              <a:gd name="T95" fmla="*/ 69 h 160"/>
              <a:gd name="T96" fmla="*/ 107 w 160"/>
              <a:gd name="T97" fmla="*/ 133 h 160"/>
              <a:gd name="T98" fmla="*/ 136 w 160"/>
              <a:gd name="T99" fmla="*/ 107 h 160"/>
              <a:gd name="T100" fmla="*/ 137 w 160"/>
              <a:gd name="T101" fmla="*/ 99 h 160"/>
              <a:gd name="T102" fmla="*/ 138 w 160"/>
              <a:gd name="T103" fmla="*/ 5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 h="160">
                <a:moveTo>
                  <a:pt x="160" y="80"/>
                </a:moveTo>
                <a:cubicBezTo>
                  <a:pt x="160" y="68"/>
                  <a:pt x="152" y="58"/>
                  <a:pt x="141" y="55"/>
                </a:cubicBezTo>
                <a:cubicBezTo>
                  <a:pt x="147" y="45"/>
                  <a:pt x="145" y="32"/>
                  <a:pt x="137" y="23"/>
                </a:cubicBezTo>
                <a:cubicBezTo>
                  <a:pt x="128" y="15"/>
                  <a:pt x="115" y="13"/>
                  <a:pt x="105" y="19"/>
                </a:cubicBezTo>
                <a:cubicBezTo>
                  <a:pt x="102" y="8"/>
                  <a:pt x="92" y="0"/>
                  <a:pt x="80" y="0"/>
                </a:cubicBezTo>
                <a:cubicBezTo>
                  <a:pt x="68" y="0"/>
                  <a:pt x="58" y="8"/>
                  <a:pt x="55" y="19"/>
                </a:cubicBezTo>
                <a:cubicBezTo>
                  <a:pt x="45" y="13"/>
                  <a:pt x="32" y="15"/>
                  <a:pt x="23" y="23"/>
                </a:cubicBezTo>
                <a:cubicBezTo>
                  <a:pt x="15" y="32"/>
                  <a:pt x="13" y="45"/>
                  <a:pt x="19" y="55"/>
                </a:cubicBezTo>
                <a:cubicBezTo>
                  <a:pt x="8" y="58"/>
                  <a:pt x="0" y="68"/>
                  <a:pt x="0" y="80"/>
                </a:cubicBezTo>
                <a:cubicBezTo>
                  <a:pt x="0" y="92"/>
                  <a:pt x="8" y="102"/>
                  <a:pt x="19" y="105"/>
                </a:cubicBezTo>
                <a:cubicBezTo>
                  <a:pt x="13" y="115"/>
                  <a:pt x="15" y="128"/>
                  <a:pt x="23" y="137"/>
                </a:cubicBezTo>
                <a:cubicBezTo>
                  <a:pt x="29" y="142"/>
                  <a:pt x="35" y="144"/>
                  <a:pt x="42" y="144"/>
                </a:cubicBezTo>
                <a:cubicBezTo>
                  <a:pt x="47" y="144"/>
                  <a:pt x="51" y="143"/>
                  <a:pt x="55" y="141"/>
                </a:cubicBezTo>
                <a:cubicBezTo>
                  <a:pt x="58" y="152"/>
                  <a:pt x="68" y="160"/>
                  <a:pt x="80" y="160"/>
                </a:cubicBezTo>
                <a:cubicBezTo>
                  <a:pt x="92" y="160"/>
                  <a:pt x="102" y="152"/>
                  <a:pt x="105" y="141"/>
                </a:cubicBezTo>
                <a:cubicBezTo>
                  <a:pt x="109" y="143"/>
                  <a:pt x="113" y="144"/>
                  <a:pt x="118" y="144"/>
                </a:cubicBezTo>
                <a:cubicBezTo>
                  <a:pt x="125" y="144"/>
                  <a:pt x="131" y="142"/>
                  <a:pt x="137" y="137"/>
                </a:cubicBezTo>
                <a:cubicBezTo>
                  <a:pt x="145" y="128"/>
                  <a:pt x="147" y="115"/>
                  <a:pt x="141" y="105"/>
                </a:cubicBezTo>
                <a:cubicBezTo>
                  <a:pt x="152" y="102"/>
                  <a:pt x="160" y="92"/>
                  <a:pt x="160" y="80"/>
                </a:cubicBezTo>
                <a:close/>
                <a:moveTo>
                  <a:pt x="5" y="80"/>
                </a:moveTo>
                <a:cubicBezTo>
                  <a:pt x="5" y="70"/>
                  <a:pt x="12" y="62"/>
                  <a:pt x="22" y="59"/>
                </a:cubicBezTo>
                <a:cubicBezTo>
                  <a:pt x="22" y="60"/>
                  <a:pt x="23" y="61"/>
                  <a:pt x="23" y="61"/>
                </a:cubicBezTo>
                <a:cubicBezTo>
                  <a:pt x="42" y="80"/>
                  <a:pt x="42" y="80"/>
                  <a:pt x="42" y="80"/>
                </a:cubicBezTo>
                <a:cubicBezTo>
                  <a:pt x="23" y="99"/>
                  <a:pt x="23" y="99"/>
                  <a:pt x="23" y="99"/>
                </a:cubicBezTo>
                <a:cubicBezTo>
                  <a:pt x="23" y="99"/>
                  <a:pt x="22" y="100"/>
                  <a:pt x="22" y="101"/>
                </a:cubicBezTo>
                <a:cubicBezTo>
                  <a:pt x="12" y="99"/>
                  <a:pt x="5" y="90"/>
                  <a:pt x="5" y="80"/>
                </a:cubicBezTo>
                <a:close/>
                <a:moveTo>
                  <a:pt x="50" y="80"/>
                </a:moveTo>
                <a:cubicBezTo>
                  <a:pt x="53" y="77"/>
                  <a:pt x="53" y="77"/>
                  <a:pt x="53" y="77"/>
                </a:cubicBezTo>
                <a:cubicBezTo>
                  <a:pt x="53" y="84"/>
                  <a:pt x="53" y="84"/>
                  <a:pt x="53" y="84"/>
                </a:cubicBezTo>
                <a:lnTo>
                  <a:pt x="50" y="80"/>
                </a:lnTo>
                <a:close/>
                <a:moveTo>
                  <a:pt x="53" y="91"/>
                </a:moveTo>
                <a:cubicBezTo>
                  <a:pt x="53" y="101"/>
                  <a:pt x="53" y="101"/>
                  <a:pt x="53" y="101"/>
                </a:cubicBezTo>
                <a:cubicBezTo>
                  <a:pt x="28" y="101"/>
                  <a:pt x="28" y="101"/>
                  <a:pt x="28" y="101"/>
                </a:cubicBezTo>
                <a:cubicBezTo>
                  <a:pt x="46" y="84"/>
                  <a:pt x="46" y="84"/>
                  <a:pt x="46" y="84"/>
                </a:cubicBezTo>
                <a:lnTo>
                  <a:pt x="53" y="91"/>
                </a:lnTo>
                <a:close/>
                <a:moveTo>
                  <a:pt x="46" y="76"/>
                </a:moveTo>
                <a:cubicBezTo>
                  <a:pt x="28" y="59"/>
                  <a:pt x="28" y="59"/>
                  <a:pt x="28" y="59"/>
                </a:cubicBezTo>
                <a:cubicBezTo>
                  <a:pt x="53" y="59"/>
                  <a:pt x="53" y="59"/>
                  <a:pt x="53" y="59"/>
                </a:cubicBezTo>
                <a:cubicBezTo>
                  <a:pt x="53" y="69"/>
                  <a:pt x="53" y="69"/>
                  <a:pt x="53" y="69"/>
                </a:cubicBezTo>
                <a:lnTo>
                  <a:pt x="46" y="76"/>
                </a:lnTo>
                <a:close/>
                <a:moveTo>
                  <a:pt x="27" y="133"/>
                </a:moveTo>
                <a:cubicBezTo>
                  <a:pt x="20" y="126"/>
                  <a:pt x="19" y="115"/>
                  <a:pt x="24" y="107"/>
                </a:cubicBezTo>
                <a:cubicBezTo>
                  <a:pt x="25" y="107"/>
                  <a:pt x="26" y="107"/>
                  <a:pt x="27" y="107"/>
                </a:cubicBezTo>
                <a:cubicBezTo>
                  <a:pt x="53" y="107"/>
                  <a:pt x="53" y="107"/>
                  <a:pt x="53" y="107"/>
                </a:cubicBezTo>
                <a:cubicBezTo>
                  <a:pt x="53" y="133"/>
                  <a:pt x="53" y="133"/>
                  <a:pt x="53" y="133"/>
                </a:cubicBezTo>
                <a:cubicBezTo>
                  <a:pt x="53" y="134"/>
                  <a:pt x="53" y="135"/>
                  <a:pt x="53" y="136"/>
                </a:cubicBezTo>
                <a:cubicBezTo>
                  <a:pt x="45" y="141"/>
                  <a:pt x="34" y="140"/>
                  <a:pt x="27" y="133"/>
                </a:cubicBezTo>
                <a:close/>
                <a:moveTo>
                  <a:pt x="53" y="27"/>
                </a:moveTo>
                <a:cubicBezTo>
                  <a:pt x="53" y="53"/>
                  <a:pt x="53" y="53"/>
                  <a:pt x="53" y="53"/>
                </a:cubicBezTo>
                <a:cubicBezTo>
                  <a:pt x="27" y="53"/>
                  <a:pt x="27" y="53"/>
                  <a:pt x="27" y="53"/>
                </a:cubicBezTo>
                <a:cubicBezTo>
                  <a:pt x="26" y="53"/>
                  <a:pt x="25" y="53"/>
                  <a:pt x="24" y="53"/>
                </a:cubicBezTo>
                <a:cubicBezTo>
                  <a:pt x="19" y="45"/>
                  <a:pt x="20" y="34"/>
                  <a:pt x="27" y="27"/>
                </a:cubicBezTo>
                <a:cubicBezTo>
                  <a:pt x="31" y="23"/>
                  <a:pt x="37" y="21"/>
                  <a:pt x="42" y="21"/>
                </a:cubicBezTo>
                <a:cubicBezTo>
                  <a:pt x="46" y="21"/>
                  <a:pt x="50" y="22"/>
                  <a:pt x="53" y="24"/>
                </a:cubicBezTo>
                <a:cubicBezTo>
                  <a:pt x="53" y="25"/>
                  <a:pt x="53" y="26"/>
                  <a:pt x="53" y="27"/>
                </a:cubicBezTo>
                <a:close/>
                <a:moveTo>
                  <a:pt x="80" y="5"/>
                </a:moveTo>
                <a:cubicBezTo>
                  <a:pt x="90" y="5"/>
                  <a:pt x="99" y="12"/>
                  <a:pt x="101" y="22"/>
                </a:cubicBezTo>
                <a:cubicBezTo>
                  <a:pt x="100" y="22"/>
                  <a:pt x="99" y="23"/>
                  <a:pt x="99" y="23"/>
                </a:cubicBezTo>
                <a:cubicBezTo>
                  <a:pt x="80" y="42"/>
                  <a:pt x="80" y="42"/>
                  <a:pt x="80" y="42"/>
                </a:cubicBezTo>
                <a:cubicBezTo>
                  <a:pt x="61" y="23"/>
                  <a:pt x="61" y="23"/>
                  <a:pt x="61" y="23"/>
                </a:cubicBezTo>
                <a:cubicBezTo>
                  <a:pt x="61" y="23"/>
                  <a:pt x="60" y="22"/>
                  <a:pt x="59" y="22"/>
                </a:cubicBezTo>
                <a:cubicBezTo>
                  <a:pt x="61" y="12"/>
                  <a:pt x="70" y="5"/>
                  <a:pt x="80" y="5"/>
                </a:cubicBezTo>
                <a:close/>
                <a:moveTo>
                  <a:pt x="84" y="53"/>
                </a:moveTo>
                <a:cubicBezTo>
                  <a:pt x="76" y="53"/>
                  <a:pt x="76" y="53"/>
                  <a:pt x="76" y="53"/>
                </a:cubicBezTo>
                <a:cubicBezTo>
                  <a:pt x="80" y="50"/>
                  <a:pt x="80" y="50"/>
                  <a:pt x="80" y="50"/>
                </a:cubicBezTo>
                <a:lnTo>
                  <a:pt x="84" y="53"/>
                </a:lnTo>
                <a:close/>
                <a:moveTo>
                  <a:pt x="59" y="29"/>
                </a:moveTo>
                <a:cubicBezTo>
                  <a:pt x="76" y="46"/>
                  <a:pt x="76" y="46"/>
                  <a:pt x="76" y="46"/>
                </a:cubicBezTo>
                <a:cubicBezTo>
                  <a:pt x="69" y="53"/>
                  <a:pt x="69" y="53"/>
                  <a:pt x="69" y="53"/>
                </a:cubicBezTo>
                <a:cubicBezTo>
                  <a:pt x="59" y="53"/>
                  <a:pt x="59" y="53"/>
                  <a:pt x="59" y="53"/>
                </a:cubicBezTo>
                <a:lnTo>
                  <a:pt x="59" y="29"/>
                </a:lnTo>
                <a:close/>
                <a:moveTo>
                  <a:pt x="59" y="59"/>
                </a:moveTo>
                <a:cubicBezTo>
                  <a:pt x="64" y="59"/>
                  <a:pt x="64" y="59"/>
                  <a:pt x="64" y="59"/>
                </a:cubicBezTo>
                <a:cubicBezTo>
                  <a:pt x="59" y="64"/>
                  <a:pt x="59" y="64"/>
                  <a:pt x="59" y="64"/>
                </a:cubicBezTo>
                <a:lnTo>
                  <a:pt x="59" y="59"/>
                </a:lnTo>
                <a:close/>
                <a:moveTo>
                  <a:pt x="59" y="96"/>
                </a:moveTo>
                <a:cubicBezTo>
                  <a:pt x="64" y="101"/>
                  <a:pt x="64" y="101"/>
                  <a:pt x="64" y="101"/>
                </a:cubicBezTo>
                <a:cubicBezTo>
                  <a:pt x="59" y="101"/>
                  <a:pt x="59" y="101"/>
                  <a:pt x="59" y="101"/>
                </a:cubicBezTo>
                <a:lnTo>
                  <a:pt x="59" y="96"/>
                </a:lnTo>
                <a:close/>
                <a:moveTo>
                  <a:pt x="59" y="107"/>
                </a:moveTo>
                <a:cubicBezTo>
                  <a:pt x="69" y="107"/>
                  <a:pt x="69" y="107"/>
                  <a:pt x="69" y="107"/>
                </a:cubicBezTo>
                <a:cubicBezTo>
                  <a:pt x="76" y="114"/>
                  <a:pt x="76" y="114"/>
                  <a:pt x="76" y="114"/>
                </a:cubicBezTo>
                <a:cubicBezTo>
                  <a:pt x="59" y="132"/>
                  <a:pt x="59" y="132"/>
                  <a:pt x="59" y="132"/>
                </a:cubicBezTo>
                <a:lnTo>
                  <a:pt x="59" y="107"/>
                </a:lnTo>
                <a:close/>
                <a:moveTo>
                  <a:pt x="80" y="155"/>
                </a:moveTo>
                <a:cubicBezTo>
                  <a:pt x="70" y="155"/>
                  <a:pt x="61" y="148"/>
                  <a:pt x="59" y="138"/>
                </a:cubicBezTo>
                <a:cubicBezTo>
                  <a:pt x="60" y="138"/>
                  <a:pt x="61" y="137"/>
                  <a:pt x="61" y="137"/>
                </a:cubicBezTo>
                <a:cubicBezTo>
                  <a:pt x="80" y="118"/>
                  <a:pt x="80" y="118"/>
                  <a:pt x="80" y="118"/>
                </a:cubicBezTo>
                <a:cubicBezTo>
                  <a:pt x="99" y="137"/>
                  <a:pt x="99" y="137"/>
                  <a:pt x="99" y="137"/>
                </a:cubicBezTo>
                <a:cubicBezTo>
                  <a:pt x="99" y="137"/>
                  <a:pt x="100" y="138"/>
                  <a:pt x="101" y="138"/>
                </a:cubicBezTo>
                <a:cubicBezTo>
                  <a:pt x="99" y="148"/>
                  <a:pt x="90" y="155"/>
                  <a:pt x="80" y="155"/>
                </a:cubicBezTo>
                <a:close/>
                <a:moveTo>
                  <a:pt x="76" y="107"/>
                </a:moveTo>
                <a:cubicBezTo>
                  <a:pt x="84" y="107"/>
                  <a:pt x="84" y="107"/>
                  <a:pt x="84" y="107"/>
                </a:cubicBezTo>
                <a:cubicBezTo>
                  <a:pt x="80" y="110"/>
                  <a:pt x="80" y="110"/>
                  <a:pt x="80" y="110"/>
                </a:cubicBezTo>
                <a:lnTo>
                  <a:pt x="76" y="107"/>
                </a:lnTo>
                <a:close/>
                <a:moveTo>
                  <a:pt x="101" y="132"/>
                </a:moveTo>
                <a:cubicBezTo>
                  <a:pt x="84" y="114"/>
                  <a:pt x="84" y="114"/>
                  <a:pt x="84" y="114"/>
                </a:cubicBezTo>
                <a:cubicBezTo>
                  <a:pt x="91" y="107"/>
                  <a:pt x="91" y="107"/>
                  <a:pt x="91" y="107"/>
                </a:cubicBezTo>
                <a:cubicBezTo>
                  <a:pt x="101" y="107"/>
                  <a:pt x="101" y="107"/>
                  <a:pt x="101" y="107"/>
                </a:cubicBezTo>
                <a:lnTo>
                  <a:pt x="101" y="132"/>
                </a:lnTo>
                <a:close/>
                <a:moveTo>
                  <a:pt x="101" y="101"/>
                </a:moveTo>
                <a:cubicBezTo>
                  <a:pt x="96" y="101"/>
                  <a:pt x="96" y="101"/>
                  <a:pt x="96" y="101"/>
                </a:cubicBezTo>
                <a:cubicBezTo>
                  <a:pt x="101" y="96"/>
                  <a:pt x="101" y="96"/>
                  <a:pt x="101" y="96"/>
                </a:cubicBezTo>
                <a:lnTo>
                  <a:pt x="101" y="101"/>
                </a:lnTo>
                <a:close/>
                <a:moveTo>
                  <a:pt x="101" y="89"/>
                </a:moveTo>
                <a:cubicBezTo>
                  <a:pt x="89" y="101"/>
                  <a:pt x="89" y="101"/>
                  <a:pt x="89" y="101"/>
                </a:cubicBezTo>
                <a:cubicBezTo>
                  <a:pt x="71" y="101"/>
                  <a:pt x="71" y="101"/>
                  <a:pt x="71" y="101"/>
                </a:cubicBezTo>
                <a:cubicBezTo>
                  <a:pt x="59" y="89"/>
                  <a:pt x="59" y="89"/>
                  <a:pt x="59" y="89"/>
                </a:cubicBezTo>
                <a:cubicBezTo>
                  <a:pt x="59" y="71"/>
                  <a:pt x="59" y="71"/>
                  <a:pt x="59" y="71"/>
                </a:cubicBezTo>
                <a:cubicBezTo>
                  <a:pt x="71" y="59"/>
                  <a:pt x="71" y="59"/>
                  <a:pt x="71" y="59"/>
                </a:cubicBezTo>
                <a:cubicBezTo>
                  <a:pt x="89" y="59"/>
                  <a:pt x="89" y="59"/>
                  <a:pt x="89" y="59"/>
                </a:cubicBezTo>
                <a:cubicBezTo>
                  <a:pt x="101" y="71"/>
                  <a:pt x="101" y="71"/>
                  <a:pt x="101" y="71"/>
                </a:cubicBezTo>
                <a:lnTo>
                  <a:pt x="101" y="89"/>
                </a:lnTo>
                <a:close/>
                <a:moveTo>
                  <a:pt x="101" y="64"/>
                </a:moveTo>
                <a:cubicBezTo>
                  <a:pt x="96" y="59"/>
                  <a:pt x="96" y="59"/>
                  <a:pt x="96" y="59"/>
                </a:cubicBezTo>
                <a:cubicBezTo>
                  <a:pt x="101" y="59"/>
                  <a:pt x="101" y="59"/>
                  <a:pt x="101" y="59"/>
                </a:cubicBezTo>
                <a:lnTo>
                  <a:pt x="101" y="64"/>
                </a:lnTo>
                <a:close/>
                <a:moveTo>
                  <a:pt x="101" y="53"/>
                </a:moveTo>
                <a:cubicBezTo>
                  <a:pt x="91" y="53"/>
                  <a:pt x="91" y="53"/>
                  <a:pt x="91" y="53"/>
                </a:cubicBezTo>
                <a:cubicBezTo>
                  <a:pt x="84" y="46"/>
                  <a:pt x="84" y="46"/>
                  <a:pt x="84" y="46"/>
                </a:cubicBezTo>
                <a:cubicBezTo>
                  <a:pt x="101" y="29"/>
                  <a:pt x="101" y="29"/>
                  <a:pt x="101" y="29"/>
                </a:cubicBezTo>
                <a:lnTo>
                  <a:pt x="101" y="53"/>
                </a:lnTo>
                <a:close/>
                <a:moveTo>
                  <a:pt x="118" y="21"/>
                </a:moveTo>
                <a:cubicBezTo>
                  <a:pt x="123" y="21"/>
                  <a:pt x="129" y="23"/>
                  <a:pt x="133" y="27"/>
                </a:cubicBezTo>
                <a:cubicBezTo>
                  <a:pt x="140" y="34"/>
                  <a:pt x="141" y="45"/>
                  <a:pt x="136" y="53"/>
                </a:cubicBezTo>
                <a:cubicBezTo>
                  <a:pt x="135" y="53"/>
                  <a:pt x="134" y="53"/>
                  <a:pt x="133" y="53"/>
                </a:cubicBezTo>
                <a:cubicBezTo>
                  <a:pt x="107" y="53"/>
                  <a:pt x="107" y="53"/>
                  <a:pt x="107" y="53"/>
                </a:cubicBezTo>
                <a:cubicBezTo>
                  <a:pt x="107" y="27"/>
                  <a:pt x="107" y="27"/>
                  <a:pt x="107" y="27"/>
                </a:cubicBezTo>
                <a:cubicBezTo>
                  <a:pt x="107" y="26"/>
                  <a:pt x="107" y="25"/>
                  <a:pt x="107" y="24"/>
                </a:cubicBezTo>
                <a:cubicBezTo>
                  <a:pt x="110" y="22"/>
                  <a:pt x="114" y="21"/>
                  <a:pt x="118" y="21"/>
                </a:cubicBezTo>
                <a:close/>
                <a:moveTo>
                  <a:pt x="114" y="84"/>
                </a:moveTo>
                <a:cubicBezTo>
                  <a:pt x="132" y="101"/>
                  <a:pt x="132" y="101"/>
                  <a:pt x="132" y="101"/>
                </a:cubicBezTo>
                <a:cubicBezTo>
                  <a:pt x="107" y="101"/>
                  <a:pt x="107" y="101"/>
                  <a:pt x="107" y="101"/>
                </a:cubicBezTo>
                <a:cubicBezTo>
                  <a:pt x="107" y="91"/>
                  <a:pt x="107" y="91"/>
                  <a:pt x="107" y="91"/>
                </a:cubicBezTo>
                <a:lnTo>
                  <a:pt x="114" y="84"/>
                </a:lnTo>
                <a:close/>
                <a:moveTo>
                  <a:pt x="107" y="84"/>
                </a:moveTo>
                <a:cubicBezTo>
                  <a:pt x="107" y="76"/>
                  <a:pt x="107" y="76"/>
                  <a:pt x="107" y="76"/>
                </a:cubicBezTo>
                <a:cubicBezTo>
                  <a:pt x="110" y="80"/>
                  <a:pt x="110" y="80"/>
                  <a:pt x="110" y="80"/>
                </a:cubicBezTo>
                <a:lnTo>
                  <a:pt x="107" y="84"/>
                </a:lnTo>
                <a:close/>
                <a:moveTo>
                  <a:pt x="107" y="69"/>
                </a:moveTo>
                <a:cubicBezTo>
                  <a:pt x="107" y="59"/>
                  <a:pt x="107" y="59"/>
                  <a:pt x="107" y="59"/>
                </a:cubicBezTo>
                <a:cubicBezTo>
                  <a:pt x="132" y="59"/>
                  <a:pt x="132" y="59"/>
                  <a:pt x="132" y="59"/>
                </a:cubicBezTo>
                <a:cubicBezTo>
                  <a:pt x="114" y="76"/>
                  <a:pt x="114" y="76"/>
                  <a:pt x="114" y="76"/>
                </a:cubicBezTo>
                <a:lnTo>
                  <a:pt x="107" y="69"/>
                </a:lnTo>
                <a:close/>
                <a:moveTo>
                  <a:pt x="133" y="133"/>
                </a:moveTo>
                <a:cubicBezTo>
                  <a:pt x="126" y="140"/>
                  <a:pt x="115" y="141"/>
                  <a:pt x="107" y="136"/>
                </a:cubicBezTo>
                <a:cubicBezTo>
                  <a:pt x="107" y="135"/>
                  <a:pt x="107" y="134"/>
                  <a:pt x="107" y="133"/>
                </a:cubicBezTo>
                <a:cubicBezTo>
                  <a:pt x="107" y="107"/>
                  <a:pt x="107" y="107"/>
                  <a:pt x="107" y="107"/>
                </a:cubicBezTo>
                <a:cubicBezTo>
                  <a:pt x="133" y="107"/>
                  <a:pt x="133" y="107"/>
                  <a:pt x="133" y="107"/>
                </a:cubicBezTo>
                <a:cubicBezTo>
                  <a:pt x="134" y="107"/>
                  <a:pt x="135" y="107"/>
                  <a:pt x="136" y="107"/>
                </a:cubicBezTo>
                <a:cubicBezTo>
                  <a:pt x="141" y="115"/>
                  <a:pt x="140" y="126"/>
                  <a:pt x="133" y="133"/>
                </a:cubicBezTo>
                <a:close/>
                <a:moveTo>
                  <a:pt x="138" y="101"/>
                </a:moveTo>
                <a:cubicBezTo>
                  <a:pt x="138" y="100"/>
                  <a:pt x="137" y="99"/>
                  <a:pt x="137" y="99"/>
                </a:cubicBezTo>
                <a:cubicBezTo>
                  <a:pt x="118" y="80"/>
                  <a:pt x="118" y="80"/>
                  <a:pt x="118" y="80"/>
                </a:cubicBezTo>
                <a:cubicBezTo>
                  <a:pt x="137" y="61"/>
                  <a:pt x="137" y="61"/>
                  <a:pt x="137" y="61"/>
                </a:cubicBezTo>
                <a:cubicBezTo>
                  <a:pt x="137" y="61"/>
                  <a:pt x="138" y="60"/>
                  <a:pt x="138" y="59"/>
                </a:cubicBezTo>
                <a:cubicBezTo>
                  <a:pt x="148" y="62"/>
                  <a:pt x="155" y="70"/>
                  <a:pt x="155" y="80"/>
                </a:cubicBezTo>
                <a:cubicBezTo>
                  <a:pt x="155" y="90"/>
                  <a:pt x="148" y="99"/>
                  <a:pt x="138" y="101"/>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1321">
            <a:extLst>
              <a:ext uri="{FF2B5EF4-FFF2-40B4-BE49-F238E27FC236}">
                <a16:creationId xmlns:a16="http://schemas.microsoft.com/office/drawing/2014/main" id="{5206F174-25AB-4947-B718-085142E0E373}"/>
              </a:ext>
            </a:extLst>
          </p:cNvPr>
          <p:cNvSpPr>
            <a:spLocks noEditPoints="1"/>
          </p:cNvSpPr>
          <p:nvPr/>
        </p:nvSpPr>
        <p:spPr bwMode="auto">
          <a:xfrm>
            <a:off x="3368250" y="4081463"/>
            <a:ext cx="525463" cy="550863"/>
          </a:xfrm>
          <a:custGeom>
            <a:avLst/>
            <a:gdLst>
              <a:gd name="T0" fmla="*/ 143 w 154"/>
              <a:gd name="T1" fmla="*/ 149 h 160"/>
              <a:gd name="T2" fmla="*/ 11 w 154"/>
              <a:gd name="T3" fmla="*/ 53 h 160"/>
              <a:gd name="T4" fmla="*/ 138 w 154"/>
              <a:gd name="T5" fmla="*/ 143 h 160"/>
              <a:gd name="T6" fmla="*/ 62 w 154"/>
              <a:gd name="T7" fmla="*/ 108 h 160"/>
              <a:gd name="T8" fmla="*/ 95 w 154"/>
              <a:gd name="T9" fmla="*/ 137 h 160"/>
              <a:gd name="T10" fmla="*/ 81 w 154"/>
              <a:gd name="T11" fmla="*/ 119 h 160"/>
              <a:gd name="T12" fmla="*/ 138 w 154"/>
              <a:gd name="T13" fmla="*/ 119 h 160"/>
              <a:gd name="T14" fmla="*/ 17 w 154"/>
              <a:gd name="T15" fmla="*/ 59 h 160"/>
              <a:gd name="T16" fmla="*/ 138 w 154"/>
              <a:gd name="T17" fmla="*/ 112 h 160"/>
              <a:gd name="T18" fmla="*/ 107 w 154"/>
              <a:gd name="T19" fmla="*/ 84 h 160"/>
              <a:gd name="T20" fmla="*/ 77 w 154"/>
              <a:gd name="T21" fmla="*/ 115 h 160"/>
              <a:gd name="T22" fmla="*/ 60 w 154"/>
              <a:gd name="T23" fmla="*/ 102 h 160"/>
              <a:gd name="T24" fmla="*/ 17 w 154"/>
              <a:gd name="T25" fmla="*/ 59 h 160"/>
              <a:gd name="T26" fmla="*/ 24 w 154"/>
              <a:gd name="T27" fmla="*/ 83 h 160"/>
              <a:gd name="T28" fmla="*/ 55 w 154"/>
              <a:gd name="T29" fmla="*/ 83 h 160"/>
              <a:gd name="T30" fmla="*/ 39 w 154"/>
              <a:gd name="T31" fmla="*/ 93 h 160"/>
              <a:gd name="T32" fmla="*/ 39 w 154"/>
              <a:gd name="T33" fmla="*/ 73 h 160"/>
              <a:gd name="T34" fmla="*/ 39 w 154"/>
              <a:gd name="T35" fmla="*/ 93 h 160"/>
              <a:gd name="T36" fmla="*/ 89 w 154"/>
              <a:gd name="T37" fmla="*/ 4 h 160"/>
              <a:gd name="T38" fmla="*/ 68 w 154"/>
              <a:gd name="T39" fmla="*/ 4 h 160"/>
              <a:gd name="T40" fmla="*/ 0 w 154"/>
              <a:gd name="T41" fmla="*/ 42 h 160"/>
              <a:gd name="T42" fmla="*/ 154 w 154"/>
              <a:gd name="T43" fmla="*/ 160 h 160"/>
              <a:gd name="T44" fmla="*/ 136 w 154"/>
              <a:gd name="T45" fmla="*/ 42 h 160"/>
              <a:gd name="T46" fmla="*/ 70 w 154"/>
              <a:gd name="T47" fmla="*/ 12 h 160"/>
              <a:gd name="T48" fmla="*/ 72 w 154"/>
              <a:gd name="T49" fmla="*/ 8 h 160"/>
              <a:gd name="T50" fmla="*/ 85 w 154"/>
              <a:gd name="T51" fmla="*/ 8 h 160"/>
              <a:gd name="T52" fmla="*/ 87 w 154"/>
              <a:gd name="T53" fmla="*/ 12 h 160"/>
              <a:gd name="T54" fmla="*/ 87 w 154"/>
              <a:gd name="T55" fmla="*/ 14 h 160"/>
              <a:gd name="T56" fmla="*/ 70 w 154"/>
              <a:gd name="T57" fmla="*/ 14 h 160"/>
              <a:gd name="T58" fmla="*/ 65 w 154"/>
              <a:gd name="T59" fmla="*/ 14 h 160"/>
              <a:gd name="T60" fmla="*/ 79 w 154"/>
              <a:gd name="T61" fmla="*/ 28 h 160"/>
              <a:gd name="T62" fmla="*/ 93 w 154"/>
              <a:gd name="T63" fmla="*/ 14 h 160"/>
              <a:gd name="T64" fmla="*/ 30 w 154"/>
              <a:gd name="T65" fmla="*/ 42 h 160"/>
              <a:gd name="T66" fmla="*/ 149 w 154"/>
              <a:gd name="T67" fmla="*/ 154 h 160"/>
              <a:gd name="T68" fmla="*/ 6 w 154"/>
              <a:gd name="T69" fmla="*/ 48 h 160"/>
              <a:gd name="T70" fmla="*/ 135 w 154"/>
              <a:gd name="T71" fmla="*/ 48 h 160"/>
              <a:gd name="T72" fmla="*/ 149 w 154"/>
              <a:gd name="T73" fmla="*/ 1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4" h="160">
                <a:moveTo>
                  <a:pt x="11" y="149"/>
                </a:moveTo>
                <a:cubicBezTo>
                  <a:pt x="143" y="149"/>
                  <a:pt x="143" y="149"/>
                  <a:pt x="143" y="149"/>
                </a:cubicBezTo>
                <a:cubicBezTo>
                  <a:pt x="143" y="53"/>
                  <a:pt x="143" y="53"/>
                  <a:pt x="143" y="53"/>
                </a:cubicBezTo>
                <a:cubicBezTo>
                  <a:pt x="11" y="53"/>
                  <a:pt x="11" y="53"/>
                  <a:pt x="11" y="53"/>
                </a:cubicBezTo>
                <a:lnTo>
                  <a:pt x="11" y="149"/>
                </a:lnTo>
                <a:close/>
                <a:moveTo>
                  <a:pt x="138" y="143"/>
                </a:moveTo>
                <a:cubicBezTo>
                  <a:pt x="21" y="143"/>
                  <a:pt x="21" y="143"/>
                  <a:pt x="21" y="143"/>
                </a:cubicBezTo>
                <a:cubicBezTo>
                  <a:pt x="62" y="108"/>
                  <a:pt x="62" y="108"/>
                  <a:pt x="62" y="108"/>
                </a:cubicBezTo>
                <a:cubicBezTo>
                  <a:pt x="91" y="137"/>
                  <a:pt x="91" y="137"/>
                  <a:pt x="91" y="137"/>
                </a:cubicBezTo>
                <a:cubicBezTo>
                  <a:pt x="92" y="138"/>
                  <a:pt x="93" y="138"/>
                  <a:pt x="95" y="137"/>
                </a:cubicBezTo>
                <a:cubicBezTo>
                  <a:pt x="96" y="136"/>
                  <a:pt x="96" y="134"/>
                  <a:pt x="95" y="133"/>
                </a:cubicBezTo>
                <a:cubicBezTo>
                  <a:pt x="81" y="119"/>
                  <a:pt x="81" y="119"/>
                  <a:pt x="81" y="119"/>
                </a:cubicBezTo>
                <a:cubicBezTo>
                  <a:pt x="107" y="91"/>
                  <a:pt x="107" y="91"/>
                  <a:pt x="107" y="91"/>
                </a:cubicBezTo>
                <a:cubicBezTo>
                  <a:pt x="138" y="119"/>
                  <a:pt x="138" y="119"/>
                  <a:pt x="138" y="119"/>
                </a:cubicBezTo>
                <a:lnTo>
                  <a:pt x="138" y="143"/>
                </a:lnTo>
                <a:close/>
                <a:moveTo>
                  <a:pt x="17" y="59"/>
                </a:moveTo>
                <a:cubicBezTo>
                  <a:pt x="138" y="59"/>
                  <a:pt x="138" y="59"/>
                  <a:pt x="138" y="59"/>
                </a:cubicBezTo>
                <a:cubicBezTo>
                  <a:pt x="138" y="112"/>
                  <a:pt x="138" y="112"/>
                  <a:pt x="138" y="112"/>
                </a:cubicBezTo>
                <a:cubicBezTo>
                  <a:pt x="109" y="85"/>
                  <a:pt x="109" y="85"/>
                  <a:pt x="109" y="85"/>
                </a:cubicBezTo>
                <a:cubicBezTo>
                  <a:pt x="108" y="84"/>
                  <a:pt x="107" y="84"/>
                  <a:pt x="107" y="84"/>
                </a:cubicBezTo>
                <a:cubicBezTo>
                  <a:pt x="106" y="84"/>
                  <a:pt x="105" y="85"/>
                  <a:pt x="105" y="85"/>
                </a:cubicBezTo>
                <a:cubicBezTo>
                  <a:pt x="77" y="115"/>
                  <a:pt x="77" y="115"/>
                  <a:pt x="77" y="115"/>
                </a:cubicBezTo>
                <a:cubicBezTo>
                  <a:pt x="64" y="102"/>
                  <a:pt x="64" y="102"/>
                  <a:pt x="64" y="102"/>
                </a:cubicBezTo>
                <a:cubicBezTo>
                  <a:pt x="63" y="101"/>
                  <a:pt x="61" y="101"/>
                  <a:pt x="60" y="102"/>
                </a:cubicBezTo>
                <a:cubicBezTo>
                  <a:pt x="17" y="140"/>
                  <a:pt x="17" y="140"/>
                  <a:pt x="17" y="140"/>
                </a:cubicBezTo>
                <a:lnTo>
                  <a:pt x="17" y="59"/>
                </a:lnTo>
                <a:close/>
                <a:moveTo>
                  <a:pt x="39" y="67"/>
                </a:moveTo>
                <a:cubicBezTo>
                  <a:pt x="31" y="67"/>
                  <a:pt x="24" y="74"/>
                  <a:pt x="24" y="83"/>
                </a:cubicBezTo>
                <a:cubicBezTo>
                  <a:pt x="24" y="92"/>
                  <a:pt x="31" y="99"/>
                  <a:pt x="39" y="99"/>
                </a:cubicBezTo>
                <a:cubicBezTo>
                  <a:pt x="48" y="99"/>
                  <a:pt x="55" y="92"/>
                  <a:pt x="55" y="83"/>
                </a:cubicBezTo>
                <a:cubicBezTo>
                  <a:pt x="55" y="74"/>
                  <a:pt x="48" y="67"/>
                  <a:pt x="39" y="67"/>
                </a:cubicBezTo>
                <a:close/>
                <a:moveTo>
                  <a:pt x="39" y="93"/>
                </a:moveTo>
                <a:cubicBezTo>
                  <a:pt x="34" y="93"/>
                  <a:pt x="29" y="89"/>
                  <a:pt x="29" y="83"/>
                </a:cubicBezTo>
                <a:cubicBezTo>
                  <a:pt x="29" y="77"/>
                  <a:pt x="34" y="73"/>
                  <a:pt x="39" y="73"/>
                </a:cubicBezTo>
                <a:cubicBezTo>
                  <a:pt x="45" y="73"/>
                  <a:pt x="49" y="77"/>
                  <a:pt x="49" y="83"/>
                </a:cubicBezTo>
                <a:cubicBezTo>
                  <a:pt x="49" y="89"/>
                  <a:pt x="45" y="93"/>
                  <a:pt x="39" y="93"/>
                </a:cubicBezTo>
                <a:close/>
                <a:moveTo>
                  <a:pt x="136" y="42"/>
                </a:moveTo>
                <a:cubicBezTo>
                  <a:pt x="131" y="38"/>
                  <a:pt x="104" y="14"/>
                  <a:pt x="89" y="4"/>
                </a:cubicBezTo>
                <a:cubicBezTo>
                  <a:pt x="86" y="2"/>
                  <a:pt x="83" y="0"/>
                  <a:pt x="79" y="0"/>
                </a:cubicBezTo>
                <a:cubicBezTo>
                  <a:pt x="75" y="0"/>
                  <a:pt x="71" y="2"/>
                  <a:pt x="68" y="4"/>
                </a:cubicBezTo>
                <a:cubicBezTo>
                  <a:pt x="53" y="14"/>
                  <a:pt x="26" y="38"/>
                  <a:pt x="21" y="42"/>
                </a:cubicBezTo>
                <a:cubicBezTo>
                  <a:pt x="0" y="42"/>
                  <a:pt x="0" y="42"/>
                  <a:pt x="0" y="42"/>
                </a:cubicBezTo>
                <a:cubicBezTo>
                  <a:pt x="0" y="160"/>
                  <a:pt x="0" y="160"/>
                  <a:pt x="0" y="160"/>
                </a:cubicBezTo>
                <a:cubicBezTo>
                  <a:pt x="154" y="160"/>
                  <a:pt x="154" y="160"/>
                  <a:pt x="154" y="160"/>
                </a:cubicBezTo>
                <a:cubicBezTo>
                  <a:pt x="154" y="42"/>
                  <a:pt x="154" y="42"/>
                  <a:pt x="154" y="42"/>
                </a:cubicBezTo>
                <a:lnTo>
                  <a:pt x="136" y="42"/>
                </a:lnTo>
                <a:close/>
                <a:moveTo>
                  <a:pt x="70" y="12"/>
                </a:moveTo>
                <a:cubicBezTo>
                  <a:pt x="70" y="12"/>
                  <a:pt x="70" y="12"/>
                  <a:pt x="70" y="12"/>
                </a:cubicBezTo>
                <a:cubicBezTo>
                  <a:pt x="71" y="10"/>
                  <a:pt x="72" y="9"/>
                  <a:pt x="72" y="8"/>
                </a:cubicBezTo>
                <a:cubicBezTo>
                  <a:pt x="72" y="8"/>
                  <a:pt x="72" y="8"/>
                  <a:pt x="72" y="8"/>
                </a:cubicBezTo>
                <a:cubicBezTo>
                  <a:pt x="74" y="7"/>
                  <a:pt x="76" y="6"/>
                  <a:pt x="79" y="6"/>
                </a:cubicBezTo>
                <a:cubicBezTo>
                  <a:pt x="81" y="6"/>
                  <a:pt x="83" y="7"/>
                  <a:pt x="85" y="8"/>
                </a:cubicBezTo>
                <a:cubicBezTo>
                  <a:pt x="85" y="8"/>
                  <a:pt x="85" y="8"/>
                  <a:pt x="85" y="8"/>
                </a:cubicBezTo>
                <a:cubicBezTo>
                  <a:pt x="86" y="9"/>
                  <a:pt x="86" y="10"/>
                  <a:pt x="87" y="12"/>
                </a:cubicBezTo>
                <a:cubicBezTo>
                  <a:pt x="87" y="12"/>
                  <a:pt x="87" y="12"/>
                  <a:pt x="87" y="12"/>
                </a:cubicBezTo>
                <a:cubicBezTo>
                  <a:pt x="87" y="13"/>
                  <a:pt x="87" y="13"/>
                  <a:pt x="87" y="14"/>
                </a:cubicBezTo>
                <a:cubicBezTo>
                  <a:pt x="87" y="19"/>
                  <a:pt x="83" y="22"/>
                  <a:pt x="79" y="22"/>
                </a:cubicBezTo>
                <a:cubicBezTo>
                  <a:pt x="74" y="22"/>
                  <a:pt x="70" y="19"/>
                  <a:pt x="70" y="14"/>
                </a:cubicBezTo>
                <a:cubicBezTo>
                  <a:pt x="70" y="13"/>
                  <a:pt x="70" y="13"/>
                  <a:pt x="70" y="12"/>
                </a:cubicBezTo>
                <a:close/>
                <a:moveTo>
                  <a:pt x="65" y="14"/>
                </a:moveTo>
                <a:cubicBezTo>
                  <a:pt x="65" y="14"/>
                  <a:pt x="65" y="14"/>
                  <a:pt x="65" y="14"/>
                </a:cubicBezTo>
                <a:cubicBezTo>
                  <a:pt x="65" y="22"/>
                  <a:pt x="71" y="28"/>
                  <a:pt x="79" y="28"/>
                </a:cubicBezTo>
                <a:cubicBezTo>
                  <a:pt x="86" y="28"/>
                  <a:pt x="93" y="22"/>
                  <a:pt x="93" y="14"/>
                </a:cubicBezTo>
                <a:cubicBezTo>
                  <a:pt x="93" y="14"/>
                  <a:pt x="93" y="14"/>
                  <a:pt x="93" y="14"/>
                </a:cubicBezTo>
                <a:cubicBezTo>
                  <a:pt x="104" y="22"/>
                  <a:pt x="119" y="35"/>
                  <a:pt x="127" y="42"/>
                </a:cubicBezTo>
                <a:cubicBezTo>
                  <a:pt x="30" y="42"/>
                  <a:pt x="30" y="42"/>
                  <a:pt x="30" y="42"/>
                </a:cubicBezTo>
                <a:cubicBezTo>
                  <a:pt x="38" y="35"/>
                  <a:pt x="53" y="22"/>
                  <a:pt x="65" y="14"/>
                </a:cubicBezTo>
                <a:close/>
                <a:moveTo>
                  <a:pt x="149" y="154"/>
                </a:moveTo>
                <a:cubicBezTo>
                  <a:pt x="6" y="154"/>
                  <a:pt x="6" y="154"/>
                  <a:pt x="6" y="154"/>
                </a:cubicBezTo>
                <a:cubicBezTo>
                  <a:pt x="6" y="48"/>
                  <a:pt x="6" y="48"/>
                  <a:pt x="6" y="48"/>
                </a:cubicBezTo>
                <a:cubicBezTo>
                  <a:pt x="22" y="48"/>
                  <a:pt x="22" y="48"/>
                  <a:pt x="22" y="48"/>
                </a:cubicBezTo>
                <a:cubicBezTo>
                  <a:pt x="135" y="48"/>
                  <a:pt x="135" y="48"/>
                  <a:pt x="135" y="48"/>
                </a:cubicBezTo>
                <a:cubicBezTo>
                  <a:pt x="149" y="48"/>
                  <a:pt x="149" y="48"/>
                  <a:pt x="149" y="48"/>
                </a:cubicBezTo>
                <a:lnTo>
                  <a:pt x="149" y="154"/>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1322">
            <a:extLst>
              <a:ext uri="{FF2B5EF4-FFF2-40B4-BE49-F238E27FC236}">
                <a16:creationId xmlns:a16="http://schemas.microsoft.com/office/drawing/2014/main" id="{4BFC5544-491F-8E42-B36B-D520064F517B}"/>
              </a:ext>
            </a:extLst>
          </p:cNvPr>
          <p:cNvSpPr>
            <a:spLocks noEditPoints="1"/>
          </p:cNvSpPr>
          <p:nvPr/>
        </p:nvSpPr>
        <p:spPr bwMode="auto">
          <a:xfrm>
            <a:off x="3368250" y="4700588"/>
            <a:ext cx="525463" cy="550863"/>
          </a:xfrm>
          <a:custGeom>
            <a:avLst/>
            <a:gdLst>
              <a:gd name="T0" fmla="*/ 40 w 154"/>
              <a:gd name="T1" fmla="*/ 74 h 160"/>
              <a:gd name="T2" fmla="*/ 57 w 154"/>
              <a:gd name="T3" fmla="*/ 57 h 160"/>
              <a:gd name="T4" fmla="*/ 40 w 154"/>
              <a:gd name="T5" fmla="*/ 40 h 160"/>
              <a:gd name="T6" fmla="*/ 23 w 154"/>
              <a:gd name="T7" fmla="*/ 57 h 160"/>
              <a:gd name="T8" fmla="*/ 40 w 154"/>
              <a:gd name="T9" fmla="*/ 74 h 160"/>
              <a:gd name="T10" fmla="*/ 40 w 154"/>
              <a:gd name="T11" fmla="*/ 46 h 160"/>
              <a:gd name="T12" fmla="*/ 51 w 154"/>
              <a:gd name="T13" fmla="*/ 57 h 160"/>
              <a:gd name="T14" fmla="*/ 40 w 154"/>
              <a:gd name="T15" fmla="*/ 68 h 160"/>
              <a:gd name="T16" fmla="*/ 29 w 154"/>
              <a:gd name="T17" fmla="*/ 57 h 160"/>
              <a:gd name="T18" fmla="*/ 40 w 154"/>
              <a:gd name="T19" fmla="*/ 46 h 160"/>
              <a:gd name="T20" fmla="*/ 0 w 154"/>
              <a:gd name="T21" fmla="*/ 0 h 160"/>
              <a:gd name="T22" fmla="*/ 0 w 154"/>
              <a:gd name="T23" fmla="*/ 123 h 160"/>
              <a:gd name="T24" fmla="*/ 0 w 154"/>
              <a:gd name="T25" fmla="*/ 160 h 160"/>
              <a:gd name="T26" fmla="*/ 154 w 154"/>
              <a:gd name="T27" fmla="*/ 160 h 160"/>
              <a:gd name="T28" fmla="*/ 154 w 154"/>
              <a:gd name="T29" fmla="*/ 123 h 160"/>
              <a:gd name="T30" fmla="*/ 154 w 154"/>
              <a:gd name="T31" fmla="*/ 0 h 160"/>
              <a:gd name="T32" fmla="*/ 0 w 154"/>
              <a:gd name="T33" fmla="*/ 0 h 160"/>
              <a:gd name="T34" fmla="*/ 6 w 154"/>
              <a:gd name="T35" fmla="*/ 6 h 160"/>
              <a:gd name="T36" fmla="*/ 148 w 154"/>
              <a:gd name="T37" fmla="*/ 6 h 160"/>
              <a:gd name="T38" fmla="*/ 148 w 154"/>
              <a:gd name="T39" fmla="*/ 88 h 160"/>
              <a:gd name="T40" fmla="*/ 116 w 154"/>
              <a:gd name="T41" fmla="*/ 59 h 160"/>
              <a:gd name="T42" fmla="*/ 114 w 154"/>
              <a:gd name="T43" fmla="*/ 58 h 160"/>
              <a:gd name="T44" fmla="*/ 112 w 154"/>
              <a:gd name="T45" fmla="*/ 59 h 160"/>
              <a:gd name="T46" fmla="*/ 81 w 154"/>
              <a:gd name="T47" fmla="*/ 92 h 160"/>
              <a:gd name="T48" fmla="*/ 67 w 154"/>
              <a:gd name="T49" fmla="*/ 78 h 160"/>
              <a:gd name="T50" fmla="*/ 63 w 154"/>
              <a:gd name="T51" fmla="*/ 78 h 160"/>
              <a:gd name="T52" fmla="*/ 11 w 154"/>
              <a:gd name="T53" fmla="*/ 123 h 160"/>
              <a:gd name="T54" fmla="*/ 6 w 154"/>
              <a:gd name="T55" fmla="*/ 123 h 160"/>
              <a:gd name="T56" fmla="*/ 6 w 154"/>
              <a:gd name="T57" fmla="*/ 6 h 160"/>
              <a:gd name="T58" fmla="*/ 148 w 154"/>
              <a:gd name="T59" fmla="*/ 154 h 160"/>
              <a:gd name="T60" fmla="*/ 6 w 154"/>
              <a:gd name="T61" fmla="*/ 154 h 160"/>
              <a:gd name="T62" fmla="*/ 6 w 154"/>
              <a:gd name="T63" fmla="*/ 129 h 160"/>
              <a:gd name="T64" fmla="*/ 148 w 154"/>
              <a:gd name="T65" fmla="*/ 129 h 160"/>
              <a:gd name="T66" fmla="*/ 148 w 154"/>
              <a:gd name="T67" fmla="*/ 154 h 160"/>
              <a:gd name="T68" fmla="*/ 20 w 154"/>
              <a:gd name="T69" fmla="*/ 123 h 160"/>
              <a:gd name="T70" fmla="*/ 65 w 154"/>
              <a:gd name="T71" fmla="*/ 84 h 160"/>
              <a:gd name="T72" fmla="*/ 96 w 154"/>
              <a:gd name="T73" fmla="*/ 116 h 160"/>
              <a:gd name="T74" fmla="*/ 101 w 154"/>
              <a:gd name="T75" fmla="*/ 116 h 160"/>
              <a:gd name="T76" fmla="*/ 101 w 154"/>
              <a:gd name="T77" fmla="*/ 112 h 160"/>
              <a:gd name="T78" fmla="*/ 86 w 154"/>
              <a:gd name="T79" fmla="*/ 97 h 160"/>
              <a:gd name="T80" fmla="*/ 114 w 154"/>
              <a:gd name="T81" fmla="*/ 66 h 160"/>
              <a:gd name="T82" fmla="*/ 148 w 154"/>
              <a:gd name="T83" fmla="*/ 97 h 160"/>
              <a:gd name="T84" fmla="*/ 148 w 154"/>
              <a:gd name="T85" fmla="*/ 123 h 160"/>
              <a:gd name="T86" fmla="*/ 20 w 154"/>
              <a:gd name="T87"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160">
                <a:moveTo>
                  <a:pt x="40" y="74"/>
                </a:moveTo>
                <a:cubicBezTo>
                  <a:pt x="49" y="74"/>
                  <a:pt x="57" y="67"/>
                  <a:pt x="57" y="57"/>
                </a:cubicBezTo>
                <a:cubicBezTo>
                  <a:pt x="57" y="48"/>
                  <a:pt x="49" y="40"/>
                  <a:pt x="40" y="40"/>
                </a:cubicBezTo>
                <a:cubicBezTo>
                  <a:pt x="31" y="40"/>
                  <a:pt x="23" y="48"/>
                  <a:pt x="23" y="57"/>
                </a:cubicBezTo>
                <a:cubicBezTo>
                  <a:pt x="23" y="67"/>
                  <a:pt x="31" y="74"/>
                  <a:pt x="40" y="74"/>
                </a:cubicBezTo>
                <a:close/>
                <a:moveTo>
                  <a:pt x="40" y="46"/>
                </a:moveTo>
                <a:cubicBezTo>
                  <a:pt x="46" y="46"/>
                  <a:pt x="51" y="51"/>
                  <a:pt x="51" y="57"/>
                </a:cubicBezTo>
                <a:cubicBezTo>
                  <a:pt x="51" y="63"/>
                  <a:pt x="46" y="68"/>
                  <a:pt x="40" y="68"/>
                </a:cubicBezTo>
                <a:cubicBezTo>
                  <a:pt x="34" y="68"/>
                  <a:pt x="29" y="63"/>
                  <a:pt x="29" y="57"/>
                </a:cubicBezTo>
                <a:cubicBezTo>
                  <a:pt x="29" y="51"/>
                  <a:pt x="34" y="46"/>
                  <a:pt x="40" y="46"/>
                </a:cubicBezTo>
                <a:close/>
                <a:moveTo>
                  <a:pt x="0" y="0"/>
                </a:moveTo>
                <a:cubicBezTo>
                  <a:pt x="0" y="123"/>
                  <a:pt x="0" y="123"/>
                  <a:pt x="0" y="123"/>
                </a:cubicBezTo>
                <a:cubicBezTo>
                  <a:pt x="0" y="160"/>
                  <a:pt x="0" y="160"/>
                  <a:pt x="0" y="160"/>
                </a:cubicBezTo>
                <a:cubicBezTo>
                  <a:pt x="154" y="160"/>
                  <a:pt x="154" y="160"/>
                  <a:pt x="154" y="160"/>
                </a:cubicBezTo>
                <a:cubicBezTo>
                  <a:pt x="154" y="123"/>
                  <a:pt x="154" y="123"/>
                  <a:pt x="154" y="123"/>
                </a:cubicBezTo>
                <a:cubicBezTo>
                  <a:pt x="154" y="0"/>
                  <a:pt x="154" y="0"/>
                  <a:pt x="154" y="0"/>
                </a:cubicBezTo>
                <a:lnTo>
                  <a:pt x="0" y="0"/>
                </a:lnTo>
                <a:close/>
                <a:moveTo>
                  <a:pt x="6" y="6"/>
                </a:moveTo>
                <a:cubicBezTo>
                  <a:pt x="148" y="6"/>
                  <a:pt x="148" y="6"/>
                  <a:pt x="148" y="6"/>
                </a:cubicBezTo>
                <a:cubicBezTo>
                  <a:pt x="148" y="88"/>
                  <a:pt x="148" y="88"/>
                  <a:pt x="148" y="88"/>
                </a:cubicBezTo>
                <a:cubicBezTo>
                  <a:pt x="116" y="59"/>
                  <a:pt x="116" y="59"/>
                  <a:pt x="116" y="59"/>
                </a:cubicBezTo>
                <a:cubicBezTo>
                  <a:pt x="115" y="59"/>
                  <a:pt x="115" y="58"/>
                  <a:pt x="114" y="58"/>
                </a:cubicBezTo>
                <a:cubicBezTo>
                  <a:pt x="113" y="59"/>
                  <a:pt x="112" y="59"/>
                  <a:pt x="112" y="59"/>
                </a:cubicBezTo>
                <a:cubicBezTo>
                  <a:pt x="81" y="92"/>
                  <a:pt x="81" y="92"/>
                  <a:pt x="81" y="92"/>
                </a:cubicBezTo>
                <a:cubicBezTo>
                  <a:pt x="67" y="78"/>
                  <a:pt x="67" y="78"/>
                  <a:pt x="67" y="78"/>
                </a:cubicBezTo>
                <a:cubicBezTo>
                  <a:pt x="66" y="77"/>
                  <a:pt x="64" y="77"/>
                  <a:pt x="63" y="78"/>
                </a:cubicBezTo>
                <a:cubicBezTo>
                  <a:pt x="11" y="123"/>
                  <a:pt x="11" y="123"/>
                  <a:pt x="11" y="123"/>
                </a:cubicBezTo>
                <a:cubicBezTo>
                  <a:pt x="6" y="123"/>
                  <a:pt x="6" y="123"/>
                  <a:pt x="6" y="123"/>
                </a:cubicBezTo>
                <a:lnTo>
                  <a:pt x="6" y="6"/>
                </a:lnTo>
                <a:close/>
                <a:moveTo>
                  <a:pt x="148" y="154"/>
                </a:moveTo>
                <a:cubicBezTo>
                  <a:pt x="6" y="154"/>
                  <a:pt x="6" y="154"/>
                  <a:pt x="6" y="154"/>
                </a:cubicBezTo>
                <a:cubicBezTo>
                  <a:pt x="6" y="129"/>
                  <a:pt x="6" y="129"/>
                  <a:pt x="6" y="129"/>
                </a:cubicBezTo>
                <a:cubicBezTo>
                  <a:pt x="148" y="129"/>
                  <a:pt x="148" y="129"/>
                  <a:pt x="148" y="129"/>
                </a:cubicBezTo>
                <a:lnTo>
                  <a:pt x="148" y="154"/>
                </a:lnTo>
                <a:close/>
                <a:moveTo>
                  <a:pt x="20" y="123"/>
                </a:moveTo>
                <a:cubicBezTo>
                  <a:pt x="65" y="84"/>
                  <a:pt x="65" y="84"/>
                  <a:pt x="65" y="84"/>
                </a:cubicBezTo>
                <a:cubicBezTo>
                  <a:pt x="96" y="116"/>
                  <a:pt x="96" y="116"/>
                  <a:pt x="96" y="116"/>
                </a:cubicBezTo>
                <a:cubicBezTo>
                  <a:pt x="97" y="117"/>
                  <a:pt x="99" y="117"/>
                  <a:pt x="101" y="116"/>
                </a:cubicBezTo>
                <a:cubicBezTo>
                  <a:pt x="102" y="115"/>
                  <a:pt x="102" y="113"/>
                  <a:pt x="101" y="112"/>
                </a:cubicBezTo>
                <a:cubicBezTo>
                  <a:pt x="86" y="97"/>
                  <a:pt x="86" y="97"/>
                  <a:pt x="86" y="97"/>
                </a:cubicBezTo>
                <a:cubicBezTo>
                  <a:pt x="114" y="66"/>
                  <a:pt x="114" y="66"/>
                  <a:pt x="114" y="66"/>
                </a:cubicBezTo>
                <a:cubicBezTo>
                  <a:pt x="148" y="97"/>
                  <a:pt x="148" y="97"/>
                  <a:pt x="148" y="97"/>
                </a:cubicBezTo>
                <a:cubicBezTo>
                  <a:pt x="148" y="123"/>
                  <a:pt x="148" y="123"/>
                  <a:pt x="148" y="123"/>
                </a:cubicBezTo>
                <a:lnTo>
                  <a:pt x="20" y="123"/>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1323">
            <a:extLst>
              <a:ext uri="{FF2B5EF4-FFF2-40B4-BE49-F238E27FC236}">
                <a16:creationId xmlns:a16="http://schemas.microsoft.com/office/drawing/2014/main" id="{5C088DA5-593D-EF4C-9D6D-5F3825B8BA21}"/>
              </a:ext>
            </a:extLst>
          </p:cNvPr>
          <p:cNvSpPr>
            <a:spLocks noEditPoints="1"/>
          </p:cNvSpPr>
          <p:nvPr/>
        </p:nvSpPr>
        <p:spPr bwMode="auto">
          <a:xfrm>
            <a:off x="3353962" y="5375275"/>
            <a:ext cx="546100" cy="436563"/>
          </a:xfrm>
          <a:custGeom>
            <a:avLst/>
            <a:gdLst>
              <a:gd name="T0" fmla="*/ 157 w 160"/>
              <a:gd name="T1" fmla="*/ 0 h 127"/>
              <a:gd name="T2" fmla="*/ 3 w 160"/>
              <a:gd name="T3" fmla="*/ 0 h 127"/>
              <a:gd name="T4" fmla="*/ 0 w 160"/>
              <a:gd name="T5" fmla="*/ 3 h 127"/>
              <a:gd name="T6" fmla="*/ 0 w 160"/>
              <a:gd name="T7" fmla="*/ 124 h 127"/>
              <a:gd name="T8" fmla="*/ 3 w 160"/>
              <a:gd name="T9" fmla="*/ 127 h 127"/>
              <a:gd name="T10" fmla="*/ 157 w 160"/>
              <a:gd name="T11" fmla="*/ 127 h 127"/>
              <a:gd name="T12" fmla="*/ 160 w 160"/>
              <a:gd name="T13" fmla="*/ 124 h 127"/>
              <a:gd name="T14" fmla="*/ 160 w 160"/>
              <a:gd name="T15" fmla="*/ 3 h 127"/>
              <a:gd name="T16" fmla="*/ 157 w 160"/>
              <a:gd name="T17" fmla="*/ 0 h 127"/>
              <a:gd name="T18" fmla="*/ 154 w 160"/>
              <a:gd name="T19" fmla="*/ 121 h 127"/>
              <a:gd name="T20" fmla="*/ 6 w 160"/>
              <a:gd name="T21" fmla="*/ 121 h 127"/>
              <a:gd name="T22" fmla="*/ 6 w 160"/>
              <a:gd name="T23" fmla="*/ 6 h 127"/>
              <a:gd name="T24" fmla="*/ 154 w 160"/>
              <a:gd name="T25" fmla="*/ 6 h 127"/>
              <a:gd name="T26" fmla="*/ 154 w 160"/>
              <a:gd name="T27" fmla="*/ 121 h 127"/>
              <a:gd name="T28" fmla="*/ 44 w 160"/>
              <a:gd name="T29" fmla="*/ 61 h 127"/>
              <a:gd name="T30" fmla="*/ 60 w 160"/>
              <a:gd name="T31" fmla="*/ 46 h 127"/>
              <a:gd name="T32" fmla="*/ 44 w 160"/>
              <a:gd name="T33" fmla="*/ 30 h 127"/>
              <a:gd name="T34" fmla="*/ 29 w 160"/>
              <a:gd name="T35" fmla="*/ 46 h 127"/>
              <a:gd name="T36" fmla="*/ 44 w 160"/>
              <a:gd name="T37" fmla="*/ 61 h 127"/>
              <a:gd name="T38" fmla="*/ 44 w 160"/>
              <a:gd name="T39" fmla="*/ 36 h 127"/>
              <a:gd name="T40" fmla="*/ 54 w 160"/>
              <a:gd name="T41" fmla="*/ 46 h 127"/>
              <a:gd name="T42" fmla="*/ 44 w 160"/>
              <a:gd name="T43" fmla="*/ 56 h 127"/>
              <a:gd name="T44" fmla="*/ 34 w 160"/>
              <a:gd name="T45" fmla="*/ 46 h 127"/>
              <a:gd name="T46" fmla="*/ 44 w 160"/>
              <a:gd name="T47" fmla="*/ 36 h 127"/>
              <a:gd name="T48" fmla="*/ 17 w 160"/>
              <a:gd name="T49" fmla="*/ 109 h 127"/>
              <a:gd name="T50" fmla="*/ 17 w 160"/>
              <a:gd name="T51" fmla="*/ 106 h 127"/>
              <a:gd name="T52" fmla="*/ 64 w 160"/>
              <a:gd name="T53" fmla="*/ 64 h 127"/>
              <a:gd name="T54" fmla="*/ 68 w 160"/>
              <a:gd name="T55" fmla="*/ 64 h 127"/>
              <a:gd name="T56" fmla="*/ 81 w 160"/>
              <a:gd name="T57" fmla="*/ 77 h 127"/>
              <a:gd name="T58" fmla="*/ 108 w 160"/>
              <a:gd name="T59" fmla="*/ 48 h 127"/>
              <a:gd name="T60" fmla="*/ 110 w 160"/>
              <a:gd name="T61" fmla="*/ 47 h 127"/>
              <a:gd name="T62" fmla="*/ 112 w 160"/>
              <a:gd name="T63" fmla="*/ 48 h 127"/>
              <a:gd name="T64" fmla="*/ 145 w 160"/>
              <a:gd name="T65" fmla="*/ 78 h 127"/>
              <a:gd name="T66" fmla="*/ 145 w 160"/>
              <a:gd name="T67" fmla="*/ 82 h 127"/>
              <a:gd name="T68" fmla="*/ 142 w 160"/>
              <a:gd name="T69" fmla="*/ 82 h 127"/>
              <a:gd name="T70" fmla="*/ 111 w 160"/>
              <a:gd name="T71" fmla="*/ 54 h 127"/>
              <a:gd name="T72" fmla="*/ 85 w 160"/>
              <a:gd name="T73" fmla="*/ 81 h 127"/>
              <a:gd name="T74" fmla="*/ 98 w 160"/>
              <a:gd name="T75" fmla="*/ 95 h 127"/>
              <a:gd name="T76" fmla="*/ 98 w 160"/>
              <a:gd name="T77" fmla="*/ 98 h 127"/>
              <a:gd name="T78" fmla="*/ 95 w 160"/>
              <a:gd name="T79" fmla="*/ 98 h 127"/>
              <a:gd name="T80" fmla="*/ 66 w 160"/>
              <a:gd name="T81" fmla="*/ 70 h 127"/>
              <a:gd name="T82" fmla="*/ 21 w 160"/>
              <a:gd name="T83" fmla="*/ 110 h 127"/>
              <a:gd name="T84" fmla="*/ 19 w 160"/>
              <a:gd name="T85" fmla="*/ 110 h 127"/>
              <a:gd name="T86" fmla="*/ 17 w 160"/>
              <a:gd name="T87" fmla="*/ 10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27">
                <a:moveTo>
                  <a:pt x="157" y="0"/>
                </a:moveTo>
                <a:cubicBezTo>
                  <a:pt x="3" y="0"/>
                  <a:pt x="3" y="0"/>
                  <a:pt x="3" y="0"/>
                </a:cubicBezTo>
                <a:cubicBezTo>
                  <a:pt x="1" y="0"/>
                  <a:pt x="0" y="1"/>
                  <a:pt x="0" y="3"/>
                </a:cubicBezTo>
                <a:cubicBezTo>
                  <a:pt x="0" y="124"/>
                  <a:pt x="0" y="124"/>
                  <a:pt x="0" y="124"/>
                </a:cubicBezTo>
                <a:cubicBezTo>
                  <a:pt x="0" y="126"/>
                  <a:pt x="1" y="127"/>
                  <a:pt x="3" y="127"/>
                </a:cubicBezTo>
                <a:cubicBezTo>
                  <a:pt x="157" y="127"/>
                  <a:pt x="157" y="127"/>
                  <a:pt x="157" y="127"/>
                </a:cubicBezTo>
                <a:cubicBezTo>
                  <a:pt x="159" y="127"/>
                  <a:pt x="160" y="126"/>
                  <a:pt x="160" y="124"/>
                </a:cubicBezTo>
                <a:cubicBezTo>
                  <a:pt x="160" y="3"/>
                  <a:pt x="160" y="3"/>
                  <a:pt x="160" y="3"/>
                </a:cubicBezTo>
                <a:cubicBezTo>
                  <a:pt x="160" y="1"/>
                  <a:pt x="159" y="0"/>
                  <a:pt x="157" y="0"/>
                </a:cubicBezTo>
                <a:close/>
                <a:moveTo>
                  <a:pt x="154" y="121"/>
                </a:moveTo>
                <a:cubicBezTo>
                  <a:pt x="6" y="121"/>
                  <a:pt x="6" y="121"/>
                  <a:pt x="6" y="121"/>
                </a:cubicBezTo>
                <a:cubicBezTo>
                  <a:pt x="6" y="6"/>
                  <a:pt x="6" y="6"/>
                  <a:pt x="6" y="6"/>
                </a:cubicBezTo>
                <a:cubicBezTo>
                  <a:pt x="154" y="6"/>
                  <a:pt x="154" y="6"/>
                  <a:pt x="154" y="6"/>
                </a:cubicBezTo>
                <a:lnTo>
                  <a:pt x="154" y="121"/>
                </a:lnTo>
                <a:close/>
                <a:moveTo>
                  <a:pt x="44" y="61"/>
                </a:moveTo>
                <a:cubicBezTo>
                  <a:pt x="53" y="61"/>
                  <a:pt x="60" y="54"/>
                  <a:pt x="60" y="46"/>
                </a:cubicBezTo>
                <a:cubicBezTo>
                  <a:pt x="60" y="37"/>
                  <a:pt x="53" y="30"/>
                  <a:pt x="44" y="30"/>
                </a:cubicBezTo>
                <a:cubicBezTo>
                  <a:pt x="36" y="30"/>
                  <a:pt x="29" y="37"/>
                  <a:pt x="29" y="46"/>
                </a:cubicBezTo>
                <a:cubicBezTo>
                  <a:pt x="29" y="54"/>
                  <a:pt x="36" y="61"/>
                  <a:pt x="44" y="61"/>
                </a:cubicBezTo>
                <a:close/>
                <a:moveTo>
                  <a:pt x="44" y="36"/>
                </a:moveTo>
                <a:cubicBezTo>
                  <a:pt x="50" y="36"/>
                  <a:pt x="54" y="40"/>
                  <a:pt x="54" y="46"/>
                </a:cubicBezTo>
                <a:cubicBezTo>
                  <a:pt x="54" y="51"/>
                  <a:pt x="50" y="56"/>
                  <a:pt x="44" y="56"/>
                </a:cubicBezTo>
                <a:cubicBezTo>
                  <a:pt x="39" y="56"/>
                  <a:pt x="34" y="51"/>
                  <a:pt x="34" y="46"/>
                </a:cubicBezTo>
                <a:cubicBezTo>
                  <a:pt x="34" y="40"/>
                  <a:pt x="39" y="36"/>
                  <a:pt x="44" y="36"/>
                </a:cubicBezTo>
                <a:close/>
                <a:moveTo>
                  <a:pt x="17" y="109"/>
                </a:moveTo>
                <a:cubicBezTo>
                  <a:pt x="16" y="108"/>
                  <a:pt x="16" y="107"/>
                  <a:pt x="17" y="106"/>
                </a:cubicBezTo>
                <a:cubicBezTo>
                  <a:pt x="64" y="64"/>
                  <a:pt x="64" y="64"/>
                  <a:pt x="64" y="64"/>
                </a:cubicBezTo>
                <a:cubicBezTo>
                  <a:pt x="66" y="63"/>
                  <a:pt x="67" y="63"/>
                  <a:pt x="68" y="64"/>
                </a:cubicBezTo>
                <a:cubicBezTo>
                  <a:pt x="81" y="77"/>
                  <a:pt x="81" y="77"/>
                  <a:pt x="81" y="77"/>
                </a:cubicBezTo>
                <a:cubicBezTo>
                  <a:pt x="108" y="48"/>
                  <a:pt x="108" y="48"/>
                  <a:pt x="108" y="48"/>
                </a:cubicBezTo>
                <a:cubicBezTo>
                  <a:pt x="109" y="47"/>
                  <a:pt x="109" y="47"/>
                  <a:pt x="110" y="47"/>
                </a:cubicBezTo>
                <a:cubicBezTo>
                  <a:pt x="111" y="47"/>
                  <a:pt x="112" y="47"/>
                  <a:pt x="112" y="48"/>
                </a:cubicBezTo>
                <a:cubicBezTo>
                  <a:pt x="145" y="78"/>
                  <a:pt x="145" y="78"/>
                  <a:pt x="145" y="78"/>
                </a:cubicBezTo>
                <a:cubicBezTo>
                  <a:pt x="146" y="79"/>
                  <a:pt x="147" y="81"/>
                  <a:pt x="145" y="82"/>
                </a:cubicBezTo>
                <a:cubicBezTo>
                  <a:pt x="144" y="83"/>
                  <a:pt x="143" y="83"/>
                  <a:pt x="142" y="82"/>
                </a:cubicBezTo>
                <a:cubicBezTo>
                  <a:pt x="111" y="54"/>
                  <a:pt x="111" y="54"/>
                  <a:pt x="111" y="54"/>
                </a:cubicBezTo>
                <a:cubicBezTo>
                  <a:pt x="85" y="81"/>
                  <a:pt x="85" y="81"/>
                  <a:pt x="85" y="81"/>
                </a:cubicBezTo>
                <a:cubicBezTo>
                  <a:pt x="98" y="95"/>
                  <a:pt x="98" y="95"/>
                  <a:pt x="98" y="95"/>
                </a:cubicBezTo>
                <a:cubicBezTo>
                  <a:pt x="100" y="96"/>
                  <a:pt x="100" y="97"/>
                  <a:pt x="98" y="98"/>
                </a:cubicBezTo>
                <a:cubicBezTo>
                  <a:pt x="97" y="100"/>
                  <a:pt x="96" y="100"/>
                  <a:pt x="95" y="98"/>
                </a:cubicBezTo>
                <a:cubicBezTo>
                  <a:pt x="66" y="70"/>
                  <a:pt x="66" y="70"/>
                  <a:pt x="66" y="70"/>
                </a:cubicBezTo>
                <a:cubicBezTo>
                  <a:pt x="21" y="110"/>
                  <a:pt x="21" y="110"/>
                  <a:pt x="21" y="110"/>
                </a:cubicBezTo>
                <a:cubicBezTo>
                  <a:pt x="21" y="110"/>
                  <a:pt x="20" y="110"/>
                  <a:pt x="19" y="110"/>
                </a:cubicBezTo>
                <a:cubicBezTo>
                  <a:pt x="19" y="110"/>
                  <a:pt x="18" y="110"/>
                  <a:pt x="17" y="109"/>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1324">
            <a:extLst>
              <a:ext uri="{FF2B5EF4-FFF2-40B4-BE49-F238E27FC236}">
                <a16:creationId xmlns:a16="http://schemas.microsoft.com/office/drawing/2014/main" id="{F6C116BC-7D16-AC4D-A45F-5F6EC2EFEF76}"/>
              </a:ext>
            </a:extLst>
          </p:cNvPr>
          <p:cNvSpPr>
            <a:spLocks noEditPoints="1"/>
          </p:cNvSpPr>
          <p:nvPr/>
        </p:nvSpPr>
        <p:spPr bwMode="auto">
          <a:xfrm>
            <a:off x="3490487" y="5938838"/>
            <a:ext cx="276225" cy="550863"/>
          </a:xfrm>
          <a:custGeom>
            <a:avLst/>
            <a:gdLst>
              <a:gd name="T0" fmla="*/ 81 w 81"/>
              <a:gd name="T1" fmla="*/ 41 h 160"/>
              <a:gd name="T2" fmla="*/ 41 w 81"/>
              <a:gd name="T3" fmla="*/ 0 h 160"/>
              <a:gd name="T4" fmla="*/ 0 w 81"/>
              <a:gd name="T5" fmla="*/ 41 h 160"/>
              <a:gd name="T6" fmla="*/ 38 w 81"/>
              <a:gd name="T7" fmla="*/ 81 h 160"/>
              <a:gd name="T8" fmla="*/ 38 w 81"/>
              <a:gd name="T9" fmla="*/ 157 h 160"/>
              <a:gd name="T10" fmla="*/ 41 w 81"/>
              <a:gd name="T11" fmla="*/ 160 h 160"/>
              <a:gd name="T12" fmla="*/ 43 w 81"/>
              <a:gd name="T13" fmla="*/ 157 h 160"/>
              <a:gd name="T14" fmla="*/ 43 w 81"/>
              <a:gd name="T15" fmla="*/ 81 h 160"/>
              <a:gd name="T16" fmla="*/ 81 w 81"/>
              <a:gd name="T17" fmla="*/ 41 h 160"/>
              <a:gd name="T18" fmla="*/ 41 w 81"/>
              <a:gd name="T19" fmla="*/ 76 h 160"/>
              <a:gd name="T20" fmla="*/ 5 w 81"/>
              <a:gd name="T21" fmla="*/ 41 h 160"/>
              <a:gd name="T22" fmla="*/ 41 w 81"/>
              <a:gd name="T23" fmla="*/ 5 h 160"/>
              <a:gd name="T24" fmla="*/ 76 w 81"/>
              <a:gd name="T25" fmla="*/ 41 h 160"/>
              <a:gd name="T26" fmla="*/ 41 w 81"/>
              <a:gd name="T27" fmla="*/ 76 h 160"/>
              <a:gd name="T28" fmla="*/ 27 w 81"/>
              <a:gd name="T29" fmla="*/ 19 h 160"/>
              <a:gd name="T30" fmla="*/ 16 w 81"/>
              <a:gd name="T31" fmla="*/ 30 h 160"/>
              <a:gd name="T32" fmla="*/ 27 w 81"/>
              <a:gd name="T33" fmla="*/ 41 h 160"/>
              <a:gd name="T34" fmla="*/ 38 w 81"/>
              <a:gd name="T35" fmla="*/ 30 h 160"/>
              <a:gd name="T36" fmla="*/ 27 w 81"/>
              <a:gd name="T37" fmla="*/ 19 h 160"/>
              <a:gd name="T38" fmla="*/ 27 w 81"/>
              <a:gd name="T39" fmla="*/ 35 h 160"/>
              <a:gd name="T40" fmla="*/ 22 w 81"/>
              <a:gd name="T41" fmla="*/ 30 h 160"/>
              <a:gd name="T42" fmla="*/ 27 w 81"/>
              <a:gd name="T43" fmla="*/ 24 h 160"/>
              <a:gd name="T44" fmla="*/ 33 w 81"/>
              <a:gd name="T45" fmla="*/ 30 h 160"/>
              <a:gd name="T46" fmla="*/ 27 w 81"/>
              <a:gd name="T47" fmla="*/ 3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160">
                <a:moveTo>
                  <a:pt x="81" y="41"/>
                </a:moveTo>
                <a:cubicBezTo>
                  <a:pt x="81" y="18"/>
                  <a:pt x="63" y="0"/>
                  <a:pt x="41" y="0"/>
                </a:cubicBezTo>
                <a:cubicBezTo>
                  <a:pt x="18" y="0"/>
                  <a:pt x="0" y="18"/>
                  <a:pt x="0" y="41"/>
                </a:cubicBezTo>
                <a:cubicBezTo>
                  <a:pt x="0" y="62"/>
                  <a:pt x="17" y="80"/>
                  <a:pt x="38" y="81"/>
                </a:cubicBezTo>
                <a:cubicBezTo>
                  <a:pt x="38" y="157"/>
                  <a:pt x="38" y="157"/>
                  <a:pt x="38" y="157"/>
                </a:cubicBezTo>
                <a:cubicBezTo>
                  <a:pt x="38" y="159"/>
                  <a:pt x="39" y="160"/>
                  <a:pt x="41" y="160"/>
                </a:cubicBezTo>
                <a:cubicBezTo>
                  <a:pt x="42" y="160"/>
                  <a:pt x="43" y="159"/>
                  <a:pt x="43" y="157"/>
                </a:cubicBezTo>
                <a:cubicBezTo>
                  <a:pt x="43" y="81"/>
                  <a:pt x="43" y="81"/>
                  <a:pt x="43" y="81"/>
                </a:cubicBezTo>
                <a:cubicBezTo>
                  <a:pt x="65" y="80"/>
                  <a:pt x="81" y="62"/>
                  <a:pt x="81" y="41"/>
                </a:cubicBezTo>
                <a:close/>
                <a:moveTo>
                  <a:pt x="41" y="76"/>
                </a:moveTo>
                <a:cubicBezTo>
                  <a:pt x="21" y="76"/>
                  <a:pt x="5" y="60"/>
                  <a:pt x="5" y="41"/>
                </a:cubicBezTo>
                <a:cubicBezTo>
                  <a:pt x="5" y="21"/>
                  <a:pt x="21" y="5"/>
                  <a:pt x="41" y="5"/>
                </a:cubicBezTo>
                <a:cubicBezTo>
                  <a:pt x="60" y="5"/>
                  <a:pt x="76" y="21"/>
                  <a:pt x="76" y="41"/>
                </a:cubicBezTo>
                <a:cubicBezTo>
                  <a:pt x="76" y="60"/>
                  <a:pt x="60" y="76"/>
                  <a:pt x="41" y="76"/>
                </a:cubicBezTo>
                <a:close/>
                <a:moveTo>
                  <a:pt x="27" y="19"/>
                </a:moveTo>
                <a:cubicBezTo>
                  <a:pt x="21" y="19"/>
                  <a:pt x="16" y="24"/>
                  <a:pt x="16" y="30"/>
                </a:cubicBezTo>
                <a:cubicBezTo>
                  <a:pt x="16" y="36"/>
                  <a:pt x="21" y="41"/>
                  <a:pt x="27" y="41"/>
                </a:cubicBezTo>
                <a:cubicBezTo>
                  <a:pt x="33" y="41"/>
                  <a:pt x="38" y="36"/>
                  <a:pt x="38" y="30"/>
                </a:cubicBezTo>
                <a:cubicBezTo>
                  <a:pt x="38" y="24"/>
                  <a:pt x="33" y="19"/>
                  <a:pt x="27" y="19"/>
                </a:cubicBezTo>
                <a:close/>
                <a:moveTo>
                  <a:pt x="27" y="35"/>
                </a:moveTo>
                <a:cubicBezTo>
                  <a:pt x="24" y="35"/>
                  <a:pt x="22" y="33"/>
                  <a:pt x="22" y="30"/>
                </a:cubicBezTo>
                <a:cubicBezTo>
                  <a:pt x="22" y="27"/>
                  <a:pt x="24" y="24"/>
                  <a:pt x="27" y="24"/>
                </a:cubicBezTo>
                <a:cubicBezTo>
                  <a:pt x="30" y="24"/>
                  <a:pt x="33" y="27"/>
                  <a:pt x="33" y="30"/>
                </a:cubicBezTo>
                <a:cubicBezTo>
                  <a:pt x="33" y="33"/>
                  <a:pt x="30" y="35"/>
                  <a:pt x="27" y="3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1325">
            <a:extLst>
              <a:ext uri="{FF2B5EF4-FFF2-40B4-BE49-F238E27FC236}">
                <a16:creationId xmlns:a16="http://schemas.microsoft.com/office/drawing/2014/main" id="{D19C6C92-3FEB-8147-B42C-EE971B0CFDD8}"/>
              </a:ext>
            </a:extLst>
          </p:cNvPr>
          <p:cNvSpPr>
            <a:spLocks noEditPoints="1"/>
          </p:cNvSpPr>
          <p:nvPr/>
        </p:nvSpPr>
        <p:spPr bwMode="auto">
          <a:xfrm>
            <a:off x="4309637" y="365125"/>
            <a:ext cx="546100" cy="550863"/>
          </a:xfrm>
          <a:custGeom>
            <a:avLst/>
            <a:gdLst>
              <a:gd name="T0" fmla="*/ 84 w 160"/>
              <a:gd name="T1" fmla="*/ 32 h 160"/>
              <a:gd name="T2" fmla="*/ 84 w 160"/>
              <a:gd name="T3" fmla="*/ 37 h 160"/>
              <a:gd name="T4" fmla="*/ 70 w 160"/>
              <a:gd name="T5" fmla="*/ 51 h 160"/>
              <a:gd name="T6" fmla="*/ 124 w 160"/>
              <a:gd name="T7" fmla="*/ 87 h 160"/>
              <a:gd name="T8" fmla="*/ 47 w 160"/>
              <a:gd name="T9" fmla="*/ 15 h 160"/>
              <a:gd name="T10" fmla="*/ 51 w 160"/>
              <a:gd name="T11" fmla="*/ 19 h 160"/>
              <a:gd name="T12" fmla="*/ 120 w 160"/>
              <a:gd name="T13" fmla="*/ 84 h 160"/>
              <a:gd name="T14" fmla="*/ 51 w 160"/>
              <a:gd name="T15" fmla="*/ 19 h 160"/>
              <a:gd name="T16" fmla="*/ 5 w 160"/>
              <a:gd name="T17" fmla="*/ 159 h 160"/>
              <a:gd name="T18" fmla="*/ 1 w 160"/>
              <a:gd name="T19" fmla="*/ 155 h 160"/>
              <a:gd name="T20" fmla="*/ 28 w 160"/>
              <a:gd name="T21" fmla="*/ 139 h 160"/>
              <a:gd name="T22" fmla="*/ 23 w 160"/>
              <a:gd name="T23" fmla="*/ 144 h 160"/>
              <a:gd name="T24" fmla="*/ 28 w 160"/>
              <a:gd name="T25" fmla="*/ 139 h 160"/>
              <a:gd name="T26" fmla="*/ 11 w 160"/>
              <a:gd name="T27" fmla="*/ 151 h 160"/>
              <a:gd name="T28" fmla="*/ 13 w 160"/>
              <a:gd name="T29" fmla="*/ 143 h 160"/>
              <a:gd name="T30" fmla="*/ 57 w 160"/>
              <a:gd name="T31" fmla="*/ 139 h 160"/>
              <a:gd name="T32" fmla="*/ 52 w 160"/>
              <a:gd name="T33" fmla="*/ 144 h 160"/>
              <a:gd name="T34" fmla="*/ 57 w 160"/>
              <a:gd name="T35" fmla="*/ 139 h 160"/>
              <a:gd name="T36" fmla="*/ 42 w 160"/>
              <a:gd name="T37" fmla="*/ 144 h 160"/>
              <a:gd name="T38" fmla="*/ 38 w 160"/>
              <a:gd name="T39" fmla="*/ 139 h 160"/>
              <a:gd name="T40" fmla="*/ 72 w 160"/>
              <a:gd name="T41" fmla="*/ 141 h 160"/>
              <a:gd name="T42" fmla="*/ 64 w 160"/>
              <a:gd name="T43" fmla="*/ 141 h 160"/>
              <a:gd name="T44" fmla="*/ 1 w 160"/>
              <a:gd name="T45" fmla="*/ 143 h 160"/>
              <a:gd name="T46" fmla="*/ 13 w 160"/>
              <a:gd name="T47" fmla="*/ 127 h 160"/>
              <a:gd name="T48" fmla="*/ 15 w 160"/>
              <a:gd name="T49" fmla="*/ 126 h 160"/>
              <a:gd name="T50" fmla="*/ 17 w 160"/>
              <a:gd name="T51" fmla="*/ 126 h 160"/>
              <a:gd name="T52" fmla="*/ 61 w 160"/>
              <a:gd name="T53" fmla="*/ 128 h 160"/>
              <a:gd name="T54" fmla="*/ 18 w 160"/>
              <a:gd name="T55" fmla="*/ 131 h 160"/>
              <a:gd name="T56" fmla="*/ 16 w 160"/>
              <a:gd name="T57" fmla="*/ 132 h 160"/>
              <a:gd name="T58" fmla="*/ 3 w 160"/>
              <a:gd name="T59" fmla="*/ 143 h 160"/>
              <a:gd name="T60" fmla="*/ 154 w 160"/>
              <a:gd name="T61" fmla="*/ 125 h 160"/>
              <a:gd name="T62" fmla="*/ 159 w 160"/>
              <a:gd name="T63" fmla="*/ 127 h 160"/>
              <a:gd name="T64" fmla="*/ 154 w 160"/>
              <a:gd name="T65" fmla="*/ 129 h 160"/>
              <a:gd name="T66" fmla="*/ 145 w 160"/>
              <a:gd name="T67" fmla="*/ 141 h 160"/>
              <a:gd name="T68" fmla="*/ 141 w 160"/>
              <a:gd name="T69" fmla="*/ 137 h 160"/>
              <a:gd name="T70" fmla="*/ 133 w 160"/>
              <a:gd name="T71" fmla="*/ 139 h 160"/>
              <a:gd name="T72" fmla="*/ 127 w 160"/>
              <a:gd name="T73" fmla="*/ 144 h 160"/>
              <a:gd name="T74" fmla="*/ 133 w 160"/>
              <a:gd name="T75" fmla="*/ 139 h 160"/>
              <a:gd name="T76" fmla="*/ 116 w 160"/>
              <a:gd name="T77" fmla="*/ 144 h 160"/>
              <a:gd name="T78" fmla="*/ 110 w 160"/>
              <a:gd name="T79" fmla="*/ 139 h 160"/>
              <a:gd name="T80" fmla="*/ 101 w 160"/>
              <a:gd name="T81" fmla="*/ 141 h 160"/>
              <a:gd name="T82" fmla="*/ 93 w 160"/>
              <a:gd name="T83" fmla="*/ 141 h 160"/>
              <a:gd name="T84" fmla="*/ 159 w 160"/>
              <a:gd name="T85" fmla="*/ 140 h 160"/>
              <a:gd name="T86" fmla="*/ 147 w 160"/>
              <a:gd name="T87" fmla="*/ 156 h 160"/>
              <a:gd name="T88" fmla="*/ 145 w 160"/>
              <a:gd name="T89" fmla="*/ 157 h 160"/>
              <a:gd name="T90" fmla="*/ 143 w 160"/>
              <a:gd name="T91" fmla="*/ 157 h 160"/>
              <a:gd name="T92" fmla="*/ 20 w 160"/>
              <a:gd name="T93" fmla="*/ 159 h 160"/>
              <a:gd name="T94" fmla="*/ 17 w 160"/>
              <a:gd name="T95" fmla="*/ 155 h 160"/>
              <a:gd name="T96" fmla="*/ 142 w 160"/>
              <a:gd name="T97" fmla="*/ 152 h 160"/>
              <a:gd name="T98" fmla="*/ 144 w 160"/>
              <a:gd name="T99" fmla="*/ 151 h 160"/>
              <a:gd name="T100" fmla="*/ 155 w 160"/>
              <a:gd name="T101" fmla="*/ 140 h 160"/>
              <a:gd name="T102" fmla="*/ 137 w 160"/>
              <a:gd name="T103" fmla="*/ 125 h 160"/>
              <a:gd name="T104" fmla="*/ 148 w 160"/>
              <a:gd name="T105" fmla="*/ 122 h 160"/>
              <a:gd name="T106" fmla="*/ 104 w 160"/>
              <a:gd name="T107"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60">
                <a:moveTo>
                  <a:pt x="84" y="69"/>
                </a:moveTo>
                <a:cubicBezTo>
                  <a:pt x="94" y="69"/>
                  <a:pt x="102" y="61"/>
                  <a:pt x="102" y="51"/>
                </a:cubicBezTo>
                <a:cubicBezTo>
                  <a:pt x="102" y="40"/>
                  <a:pt x="94" y="32"/>
                  <a:pt x="84" y="32"/>
                </a:cubicBezTo>
                <a:cubicBezTo>
                  <a:pt x="73" y="32"/>
                  <a:pt x="65" y="40"/>
                  <a:pt x="65" y="51"/>
                </a:cubicBezTo>
                <a:cubicBezTo>
                  <a:pt x="65" y="61"/>
                  <a:pt x="73" y="69"/>
                  <a:pt x="84" y="69"/>
                </a:cubicBezTo>
                <a:close/>
                <a:moveTo>
                  <a:pt x="84" y="37"/>
                </a:moveTo>
                <a:cubicBezTo>
                  <a:pt x="91" y="37"/>
                  <a:pt x="97" y="43"/>
                  <a:pt x="97" y="51"/>
                </a:cubicBezTo>
                <a:cubicBezTo>
                  <a:pt x="97" y="58"/>
                  <a:pt x="91" y="64"/>
                  <a:pt x="84" y="64"/>
                </a:cubicBezTo>
                <a:cubicBezTo>
                  <a:pt x="76" y="64"/>
                  <a:pt x="70" y="58"/>
                  <a:pt x="70" y="51"/>
                </a:cubicBezTo>
                <a:cubicBezTo>
                  <a:pt x="70" y="43"/>
                  <a:pt x="76" y="37"/>
                  <a:pt x="84" y="37"/>
                </a:cubicBezTo>
                <a:close/>
                <a:moveTo>
                  <a:pt x="83" y="146"/>
                </a:moveTo>
                <a:cubicBezTo>
                  <a:pt x="124" y="87"/>
                  <a:pt x="124" y="87"/>
                  <a:pt x="124" y="87"/>
                </a:cubicBezTo>
                <a:cubicBezTo>
                  <a:pt x="139" y="66"/>
                  <a:pt x="137" y="33"/>
                  <a:pt x="119" y="15"/>
                </a:cubicBezTo>
                <a:cubicBezTo>
                  <a:pt x="110" y="5"/>
                  <a:pt x="97" y="0"/>
                  <a:pt x="83" y="0"/>
                </a:cubicBezTo>
                <a:cubicBezTo>
                  <a:pt x="69" y="0"/>
                  <a:pt x="57" y="5"/>
                  <a:pt x="47" y="15"/>
                </a:cubicBezTo>
                <a:cubicBezTo>
                  <a:pt x="29" y="33"/>
                  <a:pt x="27" y="66"/>
                  <a:pt x="42" y="87"/>
                </a:cubicBezTo>
                <a:lnTo>
                  <a:pt x="83" y="146"/>
                </a:lnTo>
                <a:close/>
                <a:moveTo>
                  <a:pt x="51" y="19"/>
                </a:moveTo>
                <a:cubicBezTo>
                  <a:pt x="59" y="10"/>
                  <a:pt x="71" y="5"/>
                  <a:pt x="83" y="5"/>
                </a:cubicBezTo>
                <a:cubicBezTo>
                  <a:pt x="95" y="5"/>
                  <a:pt x="107" y="10"/>
                  <a:pt x="116" y="19"/>
                </a:cubicBezTo>
                <a:cubicBezTo>
                  <a:pt x="132" y="35"/>
                  <a:pt x="134" y="65"/>
                  <a:pt x="120" y="84"/>
                </a:cubicBezTo>
                <a:cubicBezTo>
                  <a:pt x="83" y="137"/>
                  <a:pt x="83" y="137"/>
                  <a:pt x="83" y="137"/>
                </a:cubicBezTo>
                <a:cubicBezTo>
                  <a:pt x="46" y="84"/>
                  <a:pt x="46" y="84"/>
                  <a:pt x="46" y="84"/>
                </a:cubicBezTo>
                <a:cubicBezTo>
                  <a:pt x="33" y="65"/>
                  <a:pt x="35" y="35"/>
                  <a:pt x="51" y="19"/>
                </a:cubicBezTo>
                <a:close/>
                <a:moveTo>
                  <a:pt x="6" y="154"/>
                </a:moveTo>
                <a:cubicBezTo>
                  <a:pt x="7" y="155"/>
                  <a:pt x="7" y="156"/>
                  <a:pt x="6" y="157"/>
                </a:cubicBezTo>
                <a:cubicBezTo>
                  <a:pt x="5" y="159"/>
                  <a:pt x="5" y="159"/>
                  <a:pt x="5" y="159"/>
                </a:cubicBezTo>
                <a:cubicBezTo>
                  <a:pt x="4" y="160"/>
                  <a:pt x="3" y="160"/>
                  <a:pt x="3" y="160"/>
                </a:cubicBezTo>
                <a:cubicBezTo>
                  <a:pt x="2" y="160"/>
                  <a:pt x="1" y="160"/>
                  <a:pt x="1" y="159"/>
                </a:cubicBezTo>
                <a:cubicBezTo>
                  <a:pt x="0" y="158"/>
                  <a:pt x="0" y="156"/>
                  <a:pt x="1" y="155"/>
                </a:cubicBezTo>
                <a:cubicBezTo>
                  <a:pt x="3" y="154"/>
                  <a:pt x="3" y="154"/>
                  <a:pt x="3" y="154"/>
                </a:cubicBezTo>
                <a:cubicBezTo>
                  <a:pt x="4" y="153"/>
                  <a:pt x="5" y="153"/>
                  <a:pt x="6" y="154"/>
                </a:cubicBezTo>
                <a:close/>
                <a:moveTo>
                  <a:pt x="28" y="139"/>
                </a:moveTo>
                <a:cubicBezTo>
                  <a:pt x="29" y="139"/>
                  <a:pt x="30" y="140"/>
                  <a:pt x="30" y="141"/>
                </a:cubicBezTo>
                <a:cubicBezTo>
                  <a:pt x="30" y="143"/>
                  <a:pt x="29" y="144"/>
                  <a:pt x="28" y="144"/>
                </a:cubicBezTo>
                <a:cubicBezTo>
                  <a:pt x="23" y="144"/>
                  <a:pt x="23" y="144"/>
                  <a:pt x="23" y="144"/>
                </a:cubicBezTo>
                <a:cubicBezTo>
                  <a:pt x="22" y="144"/>
                  <a:pt x="20" y="143"/>
                  <a:pt x="20" y="141"/>
                </a:cubicBezTo>
                <a:cubicBezTo>
                  <a:pt x="20" y="140"/>
                  <a:pt x="22" y="139"/>
                  <a:pt x="23" y="139"/>
                </a:cubicBezTo>
                <a:lnTo>
                  <a:pt x="28" y="139"/>
                </a:lnTo>
                <a:close/>
                <a:moveTo>
                  <a:pt x="17" y="147"/>
                </a:moveTo>
                <a:cubicBezTo>
                  <a:pt x="13" y="150"/>
                  <a:pt x="13" y="150"/>
                  <a:pt x="13" y="150"/>
                </a:cubicBezTo>
                <a:cubicBezTo>
                  <a:pt x="13" y="151"/>
                  <a:pt x="12" y="151"/>
                  <a:pt x="11" y="151"/>
                </a:cubicBezTo>
                <a:cubicBezTo>
                  <a:pt x="11" y="151"/>
                  <a:pt x="10" y="151"/>
                  <a:pt x="10" y="150"/>
                </a:cubicBezTo>
                <a:cubicBezTo>
                  <a:pt x="8" y="149"/>
                  <a:pt x="8" y="148"/>
                  <a:pt x="10" y="147"/>
                </a:cubicBezTo>
                <a:cubicBezTo>
                  <a:pt x="13" y="143"/>
                  <a:pt x="13" y="143"/>
                  <a:pt x="13" y="143"/>
                </a:cubicBezTo>
                <a:cubicBezTo>
                  <a:pt x="14" y="142"/>
                  <a:pt x="16" y="142"/>
                  <a:pt x="17" y="143"/>
                </a:cubicBezTo>
                <a:cubicBezTo>
                  <a:pt x="18" y="144"/>
                  <a:pt x="18" y="146"/>
                  <a:pt x="17" y="147"/>
                </a:cubicBezTo>
                <a:close/>
                <a:moveTo>
                  <a:pt x="57" y="139"/>
                </a:moveTo>
                <a:cubicBezTo>
                  <a:pt x="58" y="139"/>
                  <a:pt x="60" y="140"/>
                  <a:pt x="60" y="141"/>
                </a:cubicBezTo>
                <a:cubicBezTo>
                  <a:pt x="60" y="143"/>
                  <a:pt x="58" y="144"/>
                  <a:pt x="57" y="144"/>
                </a:cubicBezTo>
                <a:cubicBezTo>
                  <a:pt x="52" y="144"/>
                  <a:pt x="52" y="144"/>
                  <a:pt x="52" y="144"/>
                </a:cubicBezTo>
                <a:cubicBezTo>
                  <a:pt x="51" y="144"/>
                  <a:pt x="49" y="143"/>
                  <a:pt x="49" y="141"/>
                </a:cubicBezTo>
                <a:cubicBezTo>
                  <a:pt x="49" y="140"/>
                  <a:pt x="51" y="139"/>
                  <a:pt x="52" y="139"/>
                </a:cubicBezTo>
                <a:lnTo>
                  <a:pt x="57" y="139"/>
                </a:lnTo>
                <a:close/>
                <a:moveTo>
                  <a:pt x="42" y="139"/>
                </a:moveTo>
                <a:cubicBezTo>
                  <a:pt x="44" y="139"/>
                  <a:pt x="45" y="140"/>
                  <a:pt x="45" y="141"/>
                </a:cubicBezTo>
                <a:cubicBezTo>
                  <a:pt x="45" y="143"/>
                  <a:pt x="44" y="144"/>
                  <a:pt x="42" y="144"/>
                </a:cubicBezTo>
                <a:cubicBezTo>
                  <a:pt x="38" y="144"/>
                  <a:pt x="38" y="144"/>
                  <a:pt x="38" y="144"/>
                </a:cubicBezTo>
                <a:cubicBezTo>
                  <a:pt x="36" y="144"/>
                  <a:pt x="35" y="143"/>
                  <a:pt x="35" y="141"/>
                </a:cubicBezTo>
                <a:cubicBezTo>
                  <a:pt x="35" y="140"/>
                  <a:pt x="36" y="139"/>
                  <a:pt x="38" y="139"/>
                </a:cubicBezTo>
                <a:lnTo>
                  <a:pt x="42" y="139"/>
                </a:lnTo>
                <a:close/>
                <a:moveTo>
                  <a:pt x="69" y="139"/>
                </a:moveTo>
                <a:cubicBezTo>
                  <a:pt x="71" y="139"/>
                  <a:pt x="72" y="140"/>
                  <a:pt x="72" y="141"/>
                </a:cubicBezTo>
                <a:cubicBezTo>
                  <a:pt x="72" y="143"/>
                  <a:pt x="71" y="144"/>
                  <a:pt x="69" y="144"/>
                </a:cubicBezTo>
                <a:cubicBezTo>
                  <a:pt x="67" y="144"/>
                  <a:pt x="67" y="144"/>
                  <a:pt x="67" y="144"/>
                </a:cubicBezTo>
                <a:cubicBezTo>
                  <a:pt x="65" y="144"/>
                  <a:pt x="64" y="143"/>
                  <a:pt x="64" y="141"/>
                </a:cubicBezTo>
                <a:cubicBezTo>
                  <a:pt x="64" y="140"/>
                  <a:pt x="65" y="139"/>
                  <a:pt x="67" y="139"/>
                </a:cubicBezTo>
                <a:lnTo>
                  <a:pt x="69" y="139"/>
                </a:lnTo>
                <a:close/>
                <a:moveTo>
                  <a:pt x="1" y="143"/>
                </a:moveTo>
                <a:cubicBezTo>
                  <a:pt x="0" y="142"/>
                  <a:pt x="0" y="140"/>
                  <a:pt x="1" y="139"/>
                </a:cubicBezTo>
                <a:cubicBezTo>
                  <a:pt x="11" y="128"/>
                  <a:pt x="11" y="128"/>
                  <a:pt x="11" y="128"/>
                </a:cubicBezTo>
                <a:cubicBezTo>
                  <a:pt x="12" y="128"/>
                  <a:pt x="12" y="128"/>
                  <a:pt x="13" y="127"/>
                </a:cubicBezTo>
                <a:cubicBezTo>
                  <a:pt x="13" y="127"/>
                  <a:pt x="13" y="127"/>
                  <a:pt x="13" y="127"/>
                </a:cubicBezTo>
                <a:cubicBezTo>
                  <a:pt x="14" y="127"/>
                  <a:pt x="14" y="127"/>
                  <a:pt x="14" y="127"/>
                </a:cubicBezTo>
                <a:cubicBezTo>
                  <a:pt x="14" y="126"/>
                  <a:pt x="14" y="126"/>
                  <a:pt x="15" y="126"/>
                </a:cubicBezTo>
                <a:cubicBezTo>
                  <a:pt x="15" y="126"/>
                  <a:pt x="15" y="126"/>
                  <a:pt x="15" y="126"/>
                </a:cubicBezTo>
                <a:cubicBezTo>
                  <a:pt x="16" y="126"/>
                  <a:pt x="16" y="126"/>
                  <a:pt x="16" y="126"/>
                </a:cubicBezTo>
                <a:cubicBezTo>
                  <a:pt x="16" y="126"/>
                  <a:pt x="16" y="126"/>
                  <a:pt x="17" y="126"/>
                </a:cubicBezTo>
                <a:cubicBezTo>
                  <a:pt x="17" y="125"/>
                  <a:pt x="18" y="125"/>
                  <a:pt x="19" y="125"/>
                </a:cubicBezTo>
                <a:cubicBezTo>
                  <a:pt x="59" y="125"/>
                  <a:pt x="59" y="125"/>
                  <a:pt x="59" y="125"/>
                </a:cubicBezTo>
                <a:cubicBezTo>
                  <a:pt x="60" y="125"/>
                  <a:pt x="61" y="127"/>
                  <a:pt x="61" y="128"/>
                </a:cubicBezTo>
                <a:cubicBezTo>
                  <a:pt x="61" y="129"/>
                  <a:pt x="60" y="131"/>
                  <a:pt x="59" y="131"/>
                </a:cubicBezTo>
                <a:cubicBezTo>
                  <a:pt x="19" y="131"/>
                  <a:pt x="19" y="131"/>
                  <a:pt x="19" y="131"/>
                </a:cubicBezTo>
                <a:cubicBezTo>
                  <a:pt x="18" y="131"/>
                  <a:pt x="18" y="131"/>
                  <a:pt x="18" y="131"/>
                </a:cubicBezTo>
                <a:cubicBezTo>
                  <a:pt x="17" y="131"/>
                  <a:pt x="17" y="131"/>
                  <a:pt x="17" y="131"/>
                </a:cubicBezTo>
                <a:cubicBezTo>
                  <a:pt x="17" y="131"/>
                  <a:pt x="16" y="131"/>
                  <a:pt x="16" y="131"/>
                </a:cubicBezTo>
                <a:cubicBezTo>
                  <a:pt x="16" y="132"/>
                  <a:pt x="16" y="132"/>
                  <a:pt x="16" y="132"/>
                </a:cubicBezTo>
                <a:cubicBezTo>
                  <a:pt x="15" y="132"/>
                  <a:pt x="15" y="132"/>
                  <a:pt x="15" y="132"/>
                </a:cubicBezTo>
                <a:cubicBezTo>
                  <a:pt x="5" y="143"/>
                  <a:pt x="5" y="143"/>
                  <a:pt x="5" y="143"/>
                </a:cubicBezTo>
                <a:cubicBezTo>
                  <a:pt x="4" y="143"/>
                  <a:pt x="3" y="143"/>
                  <a:pt x="3" y="143"/>
                </a:cubicBezTo>
                <a:cubicBezTo>
                  <a:pt x="2" y="143"/>
                  <a:pt x="1" y="143"/>
                  <a:pt x="1" y="143"/>
                </a:cubicBezTo>
                <a:close/>
                <a:moveTo>
                  <a:pt x="154" y="129"/>
                </a:moveTo>
                <a:cubicBezTo>
                  <a:pt x="153" y="128"/>
                  <a:pt x="153" y="126"/>
                  <a:pt x="154" y="125"/>
                </a:cubicBezTo>
                <a:cubicBezTo>
                  <a:pt x="155" y="123"/>
                  <a:pt x="155" y="123"/>
                  <a:pt x="155" y="123"/>
                </a:cubicBezTo>
                <a:cubicBezTo>
                  <a:pt x="156" y="122"/>
                  <a:pt x="158" y="122"/>
                  <a:pt x="159" y="123"/>
                </a:cubicBezTo>
                <a:cubicBezTo>
                  <a:pt x="160" y="124"/>
                  <a:pt x="160" y="126"/>
                  <a:pt x="159" y="127"/>
                </a:cubicBezTo>
                <a:cubicBezTo>
                  <a:pt x="157" y="129"/>
                  <a:pt x="157" y="129"/>
                  <a:pt x="157" y="129"/>
                </a:cubicBezTo>
                <a:cubicBezTo>
                  <a:pt x="157" y="130"/>
                  <a:pt x="156" y="130"/>
                  <a:pt x="155" y="130"/>
                </a:cubicBezTo>
                <a:cubicBezTo>
                  <a:pt x="155" y="130"/>
                  <a:pt x="154" y="130"/>
                  <a:pt x="154" y="129"/>
                </a:cubicBezTo>
                <a:close/>
                <a:moveTo>
                  <a:pt x="149" y="133"/>
                </a:moveTo>
                <a:cubicBezTo>
                  <a:pt x="150" y="134"/>
                  <a:pt x="150" y="136"/>
                  <a:pt x="149" y="137"/>
                </a:cubicBezTo>
                <a:cubicBezTo>
                  <a:pt x="145" y="141"/>
                  <a:pt x="145" y="141"/>
                  <a:pt x="145" y="141"/>
                </a:cubicBezTo>
                <a:cubicBezTo>
                  <a:pt x="145" y="142"/>
                  <a:pt x="144" y="142"/>
                  <a:pt x="143" y="142"/>
                </a:cubicBezTo>
                <a:cubicBezTo>
                  <a:pt x="143" y="142"/>
                  <a:pt x="142" y="142"/>
                  <a:pt x="141" y="141"/>
                </a:cubicBezTo>
                <a:cubicBezTo>
                  <a:pt x="140" y="140"/>
                  <a:pt x="140" y="138"/>
                  <a:pt x="141" y="137"/>
                </a:cubicBezTo>
                <a:cubicBezTo>
                  <a:pt x="146" y="133"/>
                  <a:pt x="146" y="133"/>
                  <a:pt x="146" y="133"/>
                </a:cubicBezTo>
                <a:cubicBezTo>
                  <a:pt x="147" y="132"/>
                  <a:pt x="148" y="132"/>
                  <a:pt x="149" y="133"/>
                </a:cubicBezTo>
                <a:close/>
                <a:moveTo>
                  <a:pt x="133" y="139"/>
                </a:moveTo>
                <a:cubicBezTo>
                  <a:pt x="134" y="139"/>
                  <a:pt x="135" y="140"/>
                  <a:pt x="135" y="141"/>
                </a:cubicBezTo>
                <a:cubicBezTo>
                  <a:pt x="135" y="143"/>
                  <a:pt x="134" y="144"/>
                  <a:pt x="133" y="144"/>
                </a:cubicBezTo>
                <a:cubicBezTo>
                  <a:pt x="127" y="144"/>
                  <a:pt x="127" y="144"/>
                  <a:pt x="127" y="144"/>
                </a:cubicBezTo>
                <a:cubicBezTo>
                  <a:pt x="126" y="144"/>
                  <a:pt x="124" y="143"/>
                  <a:pt x="124" y="141"/>
                </a:cubicBezTo>
                <a:cubicBezTo>
                  <a:pt x="124" y="140"/>
                  <a:pt x="126" y="139"/>
                  <a:pt x="127" y="139"/>
                </a:cubicBezTo>
                <a:lnTo>
                  <a:pt x="133" y="139"/>
                </a:lnTo>
                <a:close/>
                <a:moveTo>
                  <a:pt x="116" y="139"/>
                </a:moveTo>
                <a:cubicBezTo>
                  <a:pt x="117" y="139"/>
                  <a:pt x="118" y="140"/>
                  <a:pt x="118" y="141"/>
                </a:cubicBezTo>
                <a:cubicBezTo>
                  <a:pt x="118" y="143"/>
                  <a:pt x="117" y="144"/>
                  <a:pt x="116" y="144"/>
                </a:cubicBezTo>
                <a:cubicBezTo>
                  <a:pt x="110" y="144"/>
                  <a:pt x="110" y="144"/>
                  <a:pt x="110" y="144"/>
                </a:cubicBezTo>
                <a:cubicBezTo>
                  <a:pt x="109" y="144"/>
                  <a:pt x="107" y="143"/>
                  <a:pt x="107" y="141"/>
                </a:cubicBezTo>
                <a:cubicBezTo>
                  <a:pt x="107" y="140"/>
                  <a:pt x="109" y="139"/>
                  <a:pt x="110" y="139"/>
                </a:cubicBezTo>
                <a:lnTo>
                  <a:pt x="116" y="139"/>
                </a:lnTo>
                <a:close/>
                <a:moveTo>
                  <a:pt x="99" y="139"/>
                </a:moveTo>
                <a:cubicBezTo>
                  <a:pt x="100" y="139"/>
                  <a:pt x="101" y="140"/>
                  <a:pt x="101" y="141"/>
                </a:cubicBezTo>
                <a:cubicBezTo>
                  <a:pt x="101" y="143"/>
                  <a:pt x="100" y="144"/>
                  <a:pt x="99" y="144"/>
                </a:cubicBezTo>
                <a:cubicBezTo>
                  <a:pt x="96" y="144"/>
                  <a:pt x="96" y="144"/>
                  <a:pt x="96" y="144"/>
                </a:cubicBezTo>
                <a:cubicBezTo>
                  <a:pt x="95" y="144"/>
                  <a:pt x="93" y="143"/>
                  <a:pt x="93" y="141"/>
                </a:cubicBezTo>
                <a:cubicBezTo>
                  <a:pt x="93" y="140"/>
                  <a:pt x="95" y="139"/>
                  <a:pt x="96" y="139"/>
                </a:cubicBezTo>
                <a:lnTo>
                  <a:pt x="99" y="139"/>
                </a:lnTo>
                <a:close/>
                <a:moveTo>
                  <a:pt x="159" y="140"/>
                </a:moveTo>
                <a:cubicBezTo>
                  <a:pt x="160" y="141"/>
                  <a:pt x="160" y="143"/>
                  <a:pt x="159" y="144"/>
                </a:cubicBezTo>
                <a:cubicBezTo>
                  <a:pt x="149" y="154"/>
                  <a:pt x="149" y="154"/>
                  <a:pt x="149" y="154"/>
                </a:cubicBezTo>
                <a:cubicBezTo>
                  <a:pt x="148" y="155"/>
                  <a:pt x="148" y="155"/>
                  <a:pt x="147" y="156"/>
                </a:cubicBezTo>
                <a:cubicBezTo>
                  <a:pt x="147" y="156"/>
                  <a:pt x="147" y="156"/>
                  <a:pt x="147" y="156"/>
                </a:cubicBezTo>
                <a:cubicBezTo>
                  <a:pt x="146" y="156"/>
                  <a:pt x="146" y="156"/>
                  <a:pt x="146" y="156"/>
                </a:cubicBezTo>
                <a:cubicBezTo>
                  <a:pt x="146" y="156"/>
                  <a:pt x="146" y="156"/>
                  <a:pt x="145" y="157"/>
                </a:cubicBezTo>
                <a:cubicBezTo>
                  <a:pt x="145" y="157"/>
                  <a:pt x="145" y="157"/>
                  <a:pt x="145" y="157"/>
                </a:cubicBezTo>
                <a:cubicBezTo>
                  <a:pt x="144" y="157"/>
                  <a:pt x="144" y="157"/>
                  <a:pt x="144" y="157"/>
                </a:cubicBezTo>
                <a:cubicBezTo>
                  <a:pt x="144" y="157"/>
                  <a:pt x="144" y="157"/>
                  <a:pt x="143" y="157"/>
                </a:cubicBezTo>
                <a:cubicBezTo>
                  <a:pt x="143" y="157"/>
                  <a:pt x="142" y="157"/>
                  <a:pt x="141" y="157"/>
                </a:cubicBezTo>
                <a:cubicBezTo>
                  <a:pt x="23" y="157"/>
                  <a:pt x="23" y="157"/>
                  <a:pt x="23" y="157"/>
                </a:cubicBezTo>
                <a:cubicBezTo>
                  <a:pt x="20" y="159"/>
                  <a:pt x="20" y="159"/>
                  <a:pt x="20" y="159"/>
                </a:cubicBezTo>
                <a:cubicBezTo>
                  <a:pt x="20" y="160"/>
                  <a:pt x="19" y="160"/>
                  <a:pt x="19" y="160"/>
                </a:cubicBezTo>
                <a:cubicBezTo>
                  <a:pt x="18" y="160"/>
                  <a:pt x="17" y="160"/>
                  <a:pt x="17" y="159"/>
                </a:cubicBezTo>
                <a:cubicBezTo>
                  <a:pt x="16" y="158"/>
                  <a:pt x="16" y="156"/>
                  <a:pt x="17" y="155"/>
                </a:cubicBezTo>
                <a:cubicBezTo>
                  <a:pt x="21" y="152"/>
                  <a:pt x="21" y="152"/>
                  <a:pt x="21" y="152"/>
                </a:cubicBezTo>
                <a:cubicBezTo>
                  <a:pt x="141" y="152"/>
                  <a:pt x="141" y="152"/>
                  <a:pt x="141" y="152"/>
                </a:cubicBezTo>
                <a:cubicBezTo>
                  <a:pt x="142" y="152"/>
                  <a:pt x="142" y="152"/>
                  <a:pt x="142" y="152"/>
                </a:cubicBezTo>
                <a:cubicBezTo>
                  <a:pt x="143" y="152"/>
                  <a:pt x="143" y="152"/>
                  <a:pt x="143" y="152"/>
                </a:cubicBezTo>
                <a:cubicBezTo>
                  <a:pt x="143" y="152"/>
                  <a:pt x="143" y="152"/>
                  <a:pt x="143" y="152"/>
                </a:cubicBezTo>
                <a:cubicBezTo>
                  <a:pt x="143" y="152"/>
                  <a:pt x="144" y="151"/>
                  <a:pt x="144" y="151"/>
                </a:cubicBezTo>
                <a:cubicBezTo>
                  <a:pt x="144" y="151"/>
                  <a:pt x="144" y="151"/>
                  <a:pt x="144" y="151"/>
                </a:cubicBezTo>
                <a:cubicBezTo>
                  <a:pt x="145" y="151"/>
                  <a:pt x="145" y="151"/>
                  <a:pt x="145" y="150"/>
                </a:cubicBezTo>
                <a:cubicBezTo>
                  <a:pt x="155" y="140"/>
                  <a:pt x="155" y="140"/>
                  <a:pt x="155" y="140"/>
                </a:cubicBezTo>
                <a:cubicBezTo>
                  <a:pt x="156" y="139"/>
                  <a:pt x="158" y="139"/>
                  <a:pt x="159" y="140"/>
                </a:cubicBezTo>
                <a:close/>
                <a:moveTo>
                  <a:pt x="107" y="125"/>
                </a:moveTo>
                <a:cubicBezTo>
                  <a:pt x="137" y="125"/>
                  <a:pt x="137" y="125"/>
                  <a:pt x="137" y="125"/>
                </a:cubicBezTo>
                <a:cubicBezTo>
                  <a:pt x="144" y="118"/>
                  <a:pt x="144" y="118"/>
                  <a:pt x="144" y="118"/>
                </a:cubicBezTo>
                <a:cubicBezTo>
                  <a:pt x="145" y="117"/>
                  <a:pt x="147" y="117"/>
                  <a:pt x="148" y="118"/>
                </a:cubicBezTo>
                <a:cubicBezTo>
                  <a:pt x="149" y="119"/>
                  <a:pt x="149" y="121"/>
                  <a:pt x="148" y="122"/>
                </a:cubicBezTo>
                <a:cubicBezTo>
                  <a:pt x="139" y="131"/>
                  <a:pt x="139" y="131"/>
                  <a:pt x="139" y="131"/>
                </a:cubicBezTo>
                <a:cubicBezTo>
                  <a:pt x="107" y="131"/>
                  <a:pt x="107" y="131"/>
                  <a:pt x="107" y="131"/>
                </a:cubicBezTo>
                <a:cubicBezTo>
                  <a:pt x="105" y="131"/>
                  <a:pt x="104" y="129"/>
                  <a:pt x="104" y="128"/>
                </a:cubicBezTo>
                <a:cubicBezTo>
                  <a:pt x="104" y="127"/>
                  <a:pt x="105" y="125"/>
                  <a:pt x="107" y="12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1326">
            <a:extLst>
              <a:ext uri="{FF2B5EF4-FFF2-40B4-BE49-F238E27FC236}">
                <a16:creationId xmlns:a16="http://schemas.microsoft.com/office/drawing/2014/main" id="{0216ABAB-90F2-D943-A8C8-37EF4AF8F18F}"/>
              </a:ext>
            </a:extLst>
          </p:cNvPr>
          <p:cNvSpPr>
            <a:spLocks noEditPoints="1"/>
          </p:cNvSpPr>
          <p:nvPr/>
        </p:nvSpPr>
        <p:spPr bwMode="auto">
          <a:xfrm>
            <a:off x="4309637" y="984250"/>
            <a:ext cx="546100" cy="539750"/>
          </a:xfrm>
          <a:custGeom>
            <a:avLst/>
            <a:gdLst>
              <a:gd name="T0" fmla="*/ 81 w 160"/>
              <a:gd name="T1" fmla="*/ 68 h 157"/>
              <a:gd name="T2" fmla="*/ 99 w 160"/>
              <a:gd name="T3" fmla="*/ 50 h 157"/>
              <a:gd name="T4" fmla="*/ 81 w 160"/>
              <a:gd name="T5" fmla="*/ 31 h 157"/>
              <a:gd name="T6" fmla="*/ 63 w 160"/>
              <a:gd name="T7" fmla="*/ 50 h 157"/>
              <a:gd name="T8" fmla="*/ 81 w 160"/>
              <a:gd name="T9" fmla="*/ 68 h 157"/>
              <a:gd name="T10" fmla="*/ 81 w 160"/>
              <a:gd name="T11" fmla="*/ 37 h 157"/>
              <a:gd name="T12" fmla="*/ 94 w 160"/>
              <a:gd name="T13" fmla="*/ 50 h 157"/>
              <a:gd name="T14" fmla="*/ 81 w 160"/>
              <a:gd name="T15" fmla="*/ 63 h 157"/>
              <a:gd name="T16" fmla="*/ 68 w 160"/>
              <a:gd name="T17" fmla="*/ 50 h 157"/>
              <a:gd name="T18" fmla="*/ 81 w 160"/>
              <a:gd name="T19" fmla="*/ 37 h 157"/>
              <a:gd name="T20" fmla="*/ 131 w 160"/>
              <a:gd name="T21" fmla="*/ 97 h 157"/>
              <a:gd name="T22" fmla="*/ 113 w 160"/>
              <a:gd name="T23" fmla="*/ 97 h 157"/>
              <a:gd name="T24" fmla="*/ 121 w 160"/>
              <a:gd name="T25" fmla="*/ 85 h 157"/>
              <a:gd name="T26" fmla="*/ 116 w 160"/>
              <a:gd name="T27" fmla="*/ 15 h 157"/>
              <a:gd name="T28" fmla="*/ 80 w 160"/>
              <a:gd name="T29" fmla="*/ 0 h 157"/>
              <a:gd name="T30" fmla="*/ 45 w 160"/>
              <a:gd name="T31" fmla="*/ 15 h 157"/>
              <a:gd name="T32" fmla="*/ 40 w 160"/>
              <a:gd name="T33" fmla="*/ 85 h 157"/>
              <a:gd name="T34" fmla="*/ 48 w 160"/>
              <a:gd name="T35" fmla="*/ 97 h 157"/>
              <a:gd name="T36" fmla="*/ 29 w 160"/>
              <a:gd name="T37" fmla="*/ 97 h 157"/>
              <a:gd name="T38" fmla="*/ 0 w 160"/>
              <a:gd name="T39" fmla="*/ 157 h 157"/>
              <a:gd name="T40" fmla="*/ 160 w 160"/>
              <a:gd name="T41" fmla="*/ 157 h 157"/>
              <a:gd name="T42" fmla="*/ 131 w 160"/>
              <a:gd name="T43" fmla="*/ 97 h 157"/>
              <a:gd name="T44" fmla="*/ 45 w 160"/>
              <a:gd name="T45" fmla="*/ 82 h 157"/>
              <a:gd name="T46" fmla="*/ 49 w 160"/>
              <a:gd name="T47" fmla="*/ 18 h 157"/>
              <a:gd name="T48" fmla="*/ 80 w 160"/>
              <a:gd name="T49" fmla="*/ 5 h 157"/>
              <a:gd name="T50" fmla="*/ 112 w 160"/>
              <a:gd name="T51" fmla="*/ 18 h 157"/>
              <a:gd name="T52" fmla="*/ 116 w 160"/>
              <a:gd name="T53" fmla="*/ 82 h 157"/>
              <a:gd name="T54" fmla="*/ 80 w 160"/>
              <a:gd name="T55" fmla="*/ 134 h 157"/>
              <a:gd name="T56" fmla="*/ 55 w 160"/>
              <a:gd name="T57" fmla="*/ 97 h 157"/>
              <a:gd name="T58" fmla="*/ 55 w 160"/>
              <a:gd name="T59" fmla="*/ 97 h 157"/>
              <a:gd name="T60" fmla="*/ 45 w 160"/>
              <a:gd name="T61" fmla="*/ 82 h 157"/>
              <a:gd name="T62" fmla="*/ 32 w 160"/>
              <a:gd name="T63" fmla="*/ 102 h 157"/>
              <a:gd name="T64" fmla="*/ 52 w 160"/>
              <a:gd name="T65" fmla="*/ 102 h 157"/>
              <a:gd name="T66" fmla="*/ 80 w 160"/>
              <a:gd name="T67" fmla="*/ 143 h 157"/>
              <a:gd name="T68" fmla="*/ 109 w 160"/>
              <a:gd name="T69" fmla="*/ 102 h 157"/>
              <a:gd name="T70" fmla="*/ 128 w 160"/>
              <a:gd name="T71" fmla="*/ 102 h 157"/>
              <a:gd name="T72" fmla="*/ 152 w 160"/>
              <a:gd name="T73" fmla="*/ 152 h 157"/>
              <a:gd name="T74" fmla="*/ 8 w 160"/>
              <a:gd name="T75" fmla="*/ 152 h 157"/>
              <a:gd name="T76" fmla="*/ 32 w 160"/>
              <a:gd name="T77" fmla="*/ 10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57">
                <a:moveTo>
                  <a:pt x="81" y="68"/>
                </a:moveTo>
                <a:cubicBezTo>
                  <a:pt x="91" y="68"/>
                  <a:pt x="99" y="60"/>
                  <a:pt x="99" y="50"/>
                </a:cubicBezTo>
                <a:cubicBezTo>
                  <a:pt x="99" y="40"/>
                  <a:pt x="91" y="31"/>
                  <a:pt x="81" y="31"/>
                </a:cubicBezTo>
                <a:cubicBezTo>
                  <a:pt x="71" y="31"/>
                  <a:pt x="63" y="40"/>
                  <a:pt x="63" y="50"/>
                </a:cubicBezTo>
                <a:cubicBezTo>
                  <a:pt x="63" y="60"/>
                  <a:pt x="71" y="68"/>
                  <a:pt x="81" y="68"/>
                </a:cubicBezTo>
                <a:close/>
                <a:moveTo>
                  <a:pt x="81" y="37"/>
                </a:moveTo>
                <a:cubicBezTo>
                  <a:pt x="88" y="37"/>
                  <a:pt x="94" y="42"/>
                  <a:pt x="94" y="50"/>
                </a:cubicBezTo>
                <a:cubicBezTo>
                  <a:pt x="94" y="57"/>
                  <a:pt x="88" y="63"/>
                  <a:pt x="81" y="63"/>
                </a:cubicBezTo>
                <a:cubicBezTo>
                  <a:pt x="74" y="63"/>
                  <a:pt x="68" y="57"/>
                  <a:pt x="68" y="50"/>
                </a:cubicBezTo>
                <a:cubicBezTo>
                  <a:pt x="68" y="42"/>
                  <a:pt x="74" y="37"/>
                  <a:pt x="81" y="37"/>
                </a:cubicBezTo>
                <a:close/>
                <a:moveTo>
                  <a:pt x="131" y="97"/>
                </a:moveTo>
                <a:cubicBezTo>
                  <a:pt x="113" y="97"/>
                  <a:pt x="113" y="97"/>
                  <a:pt x="113" y="97"/>
                </a:cubicBezTo>
                <a:cubicBezTo>
                  <a:pt x="121" y="85"/>
                  <a:pt x="121" y="85"/>
                  <a:pt x="121" y="85"/>
                </a:cubicBezTo>
                <a:cubicBezTo>
                  <a:pt x="136" y="65"/>
                  <a:pt x="133" y="32"/>
                  <a:pt x="116" y="15"/>
                </a:cubicBezTo>
                <a:cubicBezTo>
                  <a:pt x="106" y="5"/>
                  <a:pt x="94" y="0"/>
                  <a:pt x="80" y="0"/>
                </a:cubicBezTo>
                <a:cubicBezTo>
                  <a:pt x="67" y="0"/>
                  <a:pt x="54" y="5"/>
                  <a:pt x="45" y="15"/>
                </a:cubicBezTo>
                <a:cubicBezTo>
                  <a:pt x="27" y="32"/>
                  <a:pt x="25" y="65"/>
                  <a:pt x="40" y="85"/>
                </a:cubicBezTo>
                <a:cubicBezTo>
                  <a:pt x="48" y="97"/>
                  <a:pt x="48" y="97"/>
                  <a:pt x="48" y="97"/>
                </a:cubicBezTo>
                <a:cubicBezTo>
                  <a:pt x="29" y="97"/>
                  <a:pt x="29" y="97"/>
                  <a:pt x="29" y="97"/>
                </a:cubicBezTo>
                <a:cubicBezTo>
                  <a:pt x="0" y="157"/>
                  <a:pt x="0" y="157"/>
                  <a:pt x="0" y="157"/>
                </a:cubicBezTo>
                <a:cubicBezTo>
                  <a:pt x="160" y="157"/>
                  <a:pt x="160" y="157"/>
                  <a:pt x="160" y="157"/>
                </a:cubicBezTo>
                <a:lnTo>
                  <a:pt x="131" y="97"/>
                </a:lnTo>
                <a:close/>
                <a:moveTo>
                  <a:pt x="45" y="82"/>
                </a:moveTo>
                <a:cubicBezTo>
                  <a:pt x="31" y="64"/>
                  <a:pt x="33" y="34"/>
                  <a:pt x="49" y="18"/>
                </a:cubicBezTo>
                <a:cubicBezTo>
                  <a:pt x="57" y="10"/>
                  <a:pt x="68" y="5"/>
                  <a:pt x="80" y="5"/>
                </a:cubicBezTo>
                <a:cubicBezTo>
                  <a:pt x="92" y="5"/>
                  <a:pt x="104" y="10"/>
                  <a:pt x="112" y="18"/>
                </a:cubicBezTo>
                <a:cubicBezTo>
                  <a:pt x="128" y="34"/>
                  <a:pt x="130" y="64"/>
                  <a:pt x="116" y="82"/>
                </a:cubicBezTo>
                <a:cubicBezTo>
                  <a:pt x="80" y="134"/>
                  <a:pt x="80" y="134"/>
                  <a:pt x="80" y="134"/>
                </a:cubicBezTo>
                <a:cubicBezTo>
                  <a:pt x="55" y="97"/>
                  <a:pt x="55" y="97"/>
                  <a:pt x="55" y="97"/>
                </a:cubicBezTo>
                <a:cubicBezTo>
                  <a:pt x="55" y="97"/>
                  <a:pt x="55" y="97"/>
                  <a:pt x="55" y="97"/>
                </a:cubicBezTo>
                <a:lnTo>
                  <a:pt x="45" y="82"/>
                </a:lnTo>
                <a:close/>
                <a:moveTo>
                  <a:pt x="32" y="102"/>
                </a:moveTo>
                <a:cubicBezTo>
                  <a:pt x="52" y="102"/>
                  <a:pt x="52" y="102"/>
                  <a:pt x="52" y="102"/>
                </a:cubicBezTo>
                <a:cubicBezTo>
                  <a:pt x="80" y="143"/>
                  <a:pt x="80" y="143"/>
                  <a:pt x="80" y="143"/>
                </a:cubicBezTo>
                <a:cubicBezTo>
                  <a:pt x="109" y="102"/>
                  <a:pt x="109" y="102"/>
                  <a:pt x="109" y="102"/>
                </a:cubicBezTo>
                <a:cubicBezTo>
                  <a:pt x="128" y="102"/>
                  <a:pt x="128" y="102"/>
                  <a:pt x="128" y="102"/>
                </a:cubicBezTo>
                <a:cubicBezTo>
                  <a:pt x="152" y="152"/>
                  <a:pt x="152" y="152"/>
                  <a:pt x="152" y="152"/>
                </a:cubicBezTo>
                <a:cubicBezTo>
                  <a:pt x="8" y="152"/>
                  <a:pt x="8" y="152"/>
                  <a:pt x="8" y="152"/>
                </a:cubicBezTo>
                <a:lnTo>
                  <a:pt x="32" y="102"/>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1327">
            <a:extLst>
              <a:ext uri="{FF2B5EF4-FFF2-40B4-BE49-F238E27FC236}">
                <a16:creationId xmlns:a16="http://schemas.microsoft.com/office/drawing/2014/main" id="{3C242F07-EA1A-4E4C-98E8-BB1CAA4A274D}"/>
              </a:ext>
            </a:extLst>
          </p:cNvPr>
          <p:cNvSpPr>
            <a:spLocks noEditPoints="1"/>
          </p:cNvSpPr>
          <p:nvPr/>
        </p:nvSpPr>
        <p:spPr bwMode="auto">
          <a:xfrm>
            <a:off x="4371550" y="1603375"/>
            <a:ext cx="422275" cy="550863"/>
          </a:xfrm>
          <a:custGeom>
            <a:avLst/>
            <a:gdLst>
              <a:gd name="T0" fmla="*/ 63 w 124"/>
              <a:gd name="T1" fmla="*/ 35 h 160"/>
              <a:gd name="T2" fmla="*/ 42 w 124"/>
              <a:gd name="T3" fmla="*/ 56 h 160"/>
              <a:gd name="T4" fmla="*/ 63 w 124"/>
              <a:gd name="T5" fmla="*/ 76 h 160"/>
              <a:gd name="T6" fmla="*/ 83 w 124"/>
              <a:gd name="T7" fmla="*/ 56 h 160"/>
              <a:gd name="T8" fmla="*/ 63 w 124"/>
              <a:gd name="T9" fmla="*/ 35 h 160"/>
              <a:gd name="T10" fmla="*/ 63 w 124"/>
              <a:gd name="T11" fmla="*/ 70 h 160"/>
              <a:gd name="T12" fmla="*/ 48 w 124"/>
              <a:gd name="T13" fmla="*/ 56 h 160"/>
              <a:gd name="T14" fmla="*/ 63 w 124"/>
              <a:gd name="T15" fmla="*/ 41 h 160"/>
              <a:gd name="T16" fmla="*/ 77 w 124"/>
              <a:gd name="T17" fmla="*/ 56 h 160"/>
              <a:gd name="T18" fmla="*/ 63 w 124"/>
              <a:gd name="T19" fmla="*/ 70 h 160"/>
              <a:gd name="T20" fmla="*/ 102 w 124"/>
              <a:gd name="T21" fmla="*/ 16 h 160"/>
              <a:gd name="T22" fmla="*/ 62 w 124"/>
              <a:gd name="T23" fmla="*/ 0 h 160"/>
              <a:gd name="T24" fmla="*/ 22 w 124"/>
              <a:gd name="T25" fmla="*/ 16 h 160"/>
              <a:gd name="T26" fmla="*/ 17 w 124"/>
              <a:gd name="T27" fmla="*/ 95 h 160"/>
              <a:gd name="T28" fmla="*/ 62 w 124"/>
              <a:gd name="T29" fmla="*/ 160 h 160"/>
              <a:gd name="T30" fmla="*/ 107 w 124"/>
              <a:gd name="T31" fmla="*/ 95 h 160"/>
              <a:gd name="T32" fmla="*/ 102 w 124"/>
              <a:gd name="T33" fmla="*/ 16 h 160"/>
              <a:gd name="T34" fmla="*/ 102 w 124"/>
              <a:gd name="T35" fmla="*/ 92 h 160"/>
              <a:gd name="T36" fmla="*/ 62 w 124"/>
              <a:gd name="T37" fmla="*/ 150 h 160"/>
              <a:gd name="T38" fmla="*/ 22 w 124"/>
              <a:gd name="T39" fmla="*/ 92 h 160"/>
              <a:gd name="T40" fmla="*/ 27 w 124"/>
              <a:gd name="T41" fmla="*/ 21 h 160"/>
              <a:gd name="T42" fmla="*/ 62 w 124"/>
              <a:gd name="T43" fmla="*/ 6 h 160"/>
              <a:gd name="T44" fmla="*/ 98 w 124"/>
              <a:gd name="T45" fmla="*/ 21 h 160"/>
              <a:gd name="T46" fmla="*/ 102 w 124"/>
              <a:gd name="T47" fmla="*/ 9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4" h="160">
                <a:moveTo>
                  <a:pt x="63" y="35"/>
                </a:moveTo>
                <a:cubicBezTo>
                  <a:pt x="51" y="35"/>
                  <a:pt x="42" y="44"/>
                  <a:pt x="42" y="56"/>
                </a:cubicBezTo>
                <a:cubicBezTo>
                  <a:pt x="42" y="67"/>
                  <a:pt x="51" y="76"/>
                  <a:pt x="63" y="76"/>
                </a:cubicBezTo>
                <a:cubicBezTo>
                  <a:pt x="74" y="76"/>
                  <a:pt x="83" y="67"/>
                  <a:pt x="83" y="56"/>
                </a:cubicBezTo>
                <a:cubicBezTo>
                  <a:pt x="83" y="44"/>
                  <a:pt x="74" y="35"/>
                  <a:pt x="63" y="35"/>
                </a:cubicBezTo>
                <a:close/>
                <a:moveTo>
                  <a:pt x="63" y="70"/>
                </a:moveTo>
                <a:cubicBezTo>
                  <a:pt x="54" y="70"/>
                  <a:pt x="48" y="64"/>
                  <a:pt x="48" y="56"/>
                </a:cubicBezTo>
                <a:cubicBezTo>
                  <a:pt x="48" y="47"/>
                  <a:pt x="54" y="41"/>
                  <a:pt x="63" y="41"/>
                </a:cubicBezTo>
                <a:cubicBezTo>
                  <a:pt x="71" y="41"/>
                  <a:pt x="77" y="47"/>
                  <a:pt x="77" y="56"/>
                </a:cubicBezTo>
                <a:cubicBezTo>
                  <a:pt x="77" y="64"/>
                  <a:pt x="71" y="70"/>
                  <a:pt x="63" y="70"/>
                </a:cubicBezTo>
                <a:close/>
                <a:moveTo>
                  <a:pt x="102" y="16"/>
                </a:moveTo>
                <a:cubicBezTo>
                  <a:pt x="91" y="6"/>
                  <a:pt x="77" y="0"/>
                  <a:pt x="62" y="0"/>
                </a:cubicBezTo>
                <a:cubicBezTo>
                  <a:pt x="47" y="0"/>
                  <a:pt x="33" y="6"/>
                  <a:pt x="22" y="16"/>
                </a:cubicBezTo>
                <a:cubicBezTo>
                  <a:pt x="3" y="36"/>
                  <a:pt x="0" y="73"/>
                  <a:pt x="17" y="95"/>
                </a:cubicBezTo>
                <a:cubicBezTo>
                  <a:pt x="62" y="160"/>
                  <a:pt x="62" y="160"/>
                  <a:pt x="62" y="160"/>
                </a:cubicBezTo>
                <a:cubicBezTo>
                  <a:pt x="107" y="95"/>
                  <a:pt x="107" y="95"/>
                  <a:pt x="107" y="95"/>
                </a:cubicBezTo>
                <a:cubicBezTo>
                  <a:pt x="124" y="73"/>
                  <a:pt x="121" y="36"/>
                  <a:pt x="102" y="16"/>
                </a:cubicBezTo>
                <a:close/>
                <a:moveTo>
                  <a:pt x="102" y="92"/>
                </a:moveTo>
                <a:cubicBezTo>
                  <a:pt x="62" y="150"/>
                  <a:pt x="62" y="150"/>
                  <a:pt x="62" y="150"/>
                </a:cubicBezTo>
                <a:cubicBezTo>
                  <a:pt x="22" y="92"/>
                  <a:pt x="22" y="92"/>
                  <a:pt x="22" y="92"/>
                </a:cubicBezTo>
                <a:cubicBezTo>
                  <a:pt x="7" y="71"/>
                  <a:pt x="9" y="38"/>
                  <a:pt x="27" y="21"/>
                </a:cubicBezTo>
                <a:cubicBezTo>
                  <a:pt x="36" y="11"/>
                  <a:pt x="49" y="6"/>
                  <a:pt x="62" y="6"/>
                </a:cubicBezTo>
                <a:cubicBezTo>
                  <a:pt x="75" y="6"/>
                  <a:pt x="88" y="11"/>
                  <a:pt x="98" y="21"/>
                </a:cubicBezTo>
                <a:cubicBezTo>
                  <a:pt x="115" y="38"/>
                  <a:pt x="117" y="71"/>
                  <a:pt x="102" y="92"/>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1328">
            <a:extLst>
              <a:ext uri="{FF2B5EF4-FFF2-40B4-BE49-F238E27FC236}">
                <a16:creationId xmlns:a16="http://schemas.microsoft.com/office/drawing/2014/main" id="{A553A7CD-820A-3341-BF63-716B027E8D4A}"/>
              </a:ext>
            </a:extLst>
          </p:cNvPr>
          <p:cNvSpPr>
            <a:spLocks noEditPoints="1"/>
          </p:cNvSpPr>
          <p:nvPr/>
        </p:nvSpPr>
        <p:spPr bwMode="auto">
          <a:xfrm>
            <a:off x="4309637" y="2222500"/>
            <a:ext cx="546100" cy="550863"/>
          </a:xfrm>
          <a:custGeom>
            <a:avLst/>
            <a:gdLst>
              <a:gd name="T0" fmla="*/ 80 w 160"/>
              <a:gd name="T1" fmla="*/ 69 h 160"/>
              <a:gd name="T2" fmla="*/ 99 w 160"/>
              <a:gd name="T3" fmla="*/ 51 h 160"/>
              <a:gd name="T4" fmla="*/ 80 w 160"/>
              <a:gd name="T5" fmla="*/ 32 h 160"/>
              <a:gd name="T6" fmla="*/ 61 w 160"/>
              <a:gd name="T7" fmla="*/ 51 h 160"/>
              <a:gd name="T8" fmla="*/ 80 w 160"/>
              <a:gd name="T9" fmla="*/ 69 h 160"/>
              <a:gd name="T10" fmla="*/ 80 w 160"/>
              <a:gd name="T11" fmla="*/ 37 h 160"/>
              <a:gd name="T12" fmla="*/ 93 w 160"/>
              <a:gd name="T13" fmla="*/ 51 h 160"/>
              <a:gd name="T14" fmla="*/ 80 w 160"/>
              <a:gd name="T15" fmla="*/ 64 h 160"/>
              <a:gd name="T16" fmla="*/ 67 w 160"/>
              <a:gd name="T17" fmla="*/ 51 h 160"/>
              <a:gd name="T18" fmla="*/ 80 w 160"/>
              <a:gd name="T19" fmla="*/ 37 h 160"/>
              <a:gd name="T20" fmla="*/ 80 w 160"/>
              <a:gd name="T21" fmla="*/ 146 h 160"/>
              <a:gd name="T22" fmla="*/ 120 w 160"/>
              <a:gd name="T23" fmla="*/ 87 h 160"/>
              <a:gd name="T24" fmla="*/ 116 w 160"/>
              <a:gd name="T25" fmla="*/ 15 h 160"/>
              <a:gd name="T26" fmla="*/ 80 w 160"/>
              <a:gd name="T27" fmla="*/ 0 h 160"/>
              <a:gd name="T28" fmla="*/ 43 w 160"/>
              <a:gd name="T29" fmla="*/ 15 h 160"/>
              <a:gd name="T30" fmla="*/ 39 w 160"/>
              <a:gd name="T31" fmla="*/ 87 h 160"/>
              <a:gd name="T32" fmla="*/ 80 w 160"/>
              <a:gd name="T33" fmla="*/ 146 h 160"/>
              <a:gd name="T34" fmla="*/ 47 w 160"/>
              <a:gd name="T35" fmla="*/ 19 h 160"/>
              <a:gd name="T36" fmla="*/ 80 w 160"/>
              <a:gd name="T37" fmla="*/ 5 h 160"/>
              <a:gd name="T38" fmla="*/ 112 w 160"/>
              <a:gd name="T39" fmla="*/ 19 h 160"/>
              <a:gd name="T40" fmla="*/ 116 w 160"/>
              <a:gd name="T41" fmla="*/ 84 h 160"/>
              <a:gd name="T42" fmla="*/ 80 w 160"/>
              <a:gd name="T43" fmla="*/ 137 h 160"/>
              <a:gd name="T44" fmla="*/ 43 w 160"/>
              <a:gd name="T45" fmla="*/ 84 h 160"/>
              <a:gd name="T46" fmla="*/ 47 w 160"/>
              <a:gd name="T47" fmla="*/ 19 h 160"/>
              <a:gd name="T48" fmla="*/ 160 w 160"/>
              <a:gd name="T49" fmla="*/ 137 h 160"/>
              <a:gd name="T50" fmla="*/ 80 w 160"/>
              <a:gd name="T51" fmla="*/ 160 h 160"/>
              <a:gd name="T52" fmla="*/ 0 w 160"/>
              <a:gd name="T53" fmla="*/ 137 h 160"/>
              <a:gd name="T54" fmla="*/ 48 w 160"/>
              <a:gd name="T55" fmla="*/ 115 h 160"/>
              <a:gd name="T56" fmla="*/ 51 w 160"/>
              <a:gd name="T57" fmla="*/ 117 h 160"/>
              <a:gd name="T58" fmla="*/ 48 w 160"/>
              <a:gd name="T59" fmla="*/ 120 h 160"/>
              <a:gd name="T60" fmla="*/ 5 w 160"/>
              <a:gd name="T61" fmla="*/ 137 h 160"/>
              <a:gd name="T62" fmla="*/ 80 w 160"/>
              <a:gd name="T63" fmla="*/ 155 h 160"/>
              <a:gd name="T64" fmla="*/ 155 w 160"/>
              <a:gd name="T65" fmla="*/ 137 h 160"/>
              <a:gd name="T66" fmla="*/ 112 w 160"/>
              <a:gd name="T67" fmla="*/ 120 h 160"/>
              <a:gd name="T68" fmla="*/ 109 w 160"/>
              <a:gd name="T69" fmla="*/ 117 h 160"/>
              <a:gd name="T70" fmla="*/ 112 w 160"/>
              <a:gd name="T71" fmla="*/ 115 h 160"/>
              <a:gd name="T72" fmla="*/ 160 w 160"/>
              <a:gd name="T73" fmla="*/ 1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60">
                <a:moveTo>
                  <a:pt x="80" y="69"/>
                </a:moveTo>
                <a:cubicBezTo>
                  <a:pt x="90" y="69"/>
                  <a:pt x="99" y="61"/>
                  <a:pt x="99" y="51"/>
                </a:cubicBezTo>
                <a:cubicBezTo>
                  <a:pt x="99" y="40"/>
                  <a:pt x="90" y="32"/>
                  <a:pt x="80" y="32"/>
                </a:cubicBezTo>
                <a:cubicBezTo>
                  <a:pt x="70" y="32"/>
                  <a:pt x="61" y="40"/>
                  <a:pt x="61" y="51"/>
                </a:cubicBezTo>
                <a:cubicBezTo>
                  <a:pt x="61" y="61"/>
                  <a:pt x="70" y="69"/>
                  <a:pt x="80" y="69"/>
                </a:cubicBezTo>
                <a:close/>
                <a:moveTo>
                  <a:pt x="80" y="37"/>
                </a:moveTo>
                <a:cubicBezTo>
                  <a:pt x="87" y="37"/>
                  <a:pt x="93" y="43"/>
                  <a:pt x="93" y="51"/>
                </a:cubicBezTo>
                <a:cubicBezTo>
                  <a:pt x="93" y="58"/>
                  <a:pt x="87" y="64"/>
                  <a:pt x="80" y="64"/>
                </a:cubicBezTo>
                <a:cubicBezTo>
                  <a:pt x="73" y="64"/>
                  <a:pt x="67" y="58"/>
                  <a:pt x="67" y="51"/>
                </a:cubicBezTo>
                <a:cubicBezTo>
                  <a:pt x="67" y="43"/>
                  <a:pt x="73" y="37"/>
                  <a:pt x="80" y="37"/>
                </a:cubicBezTo>
                <a:close/>
                <a:moveTo>
                  <a:pt x="80" y="146"/>
                </a:moveTo>
                <a:cubicBezTo>
                  <a:pt x="120" y="87"/>
                  <a:pt x="120" y="87"/>
                  <a:pt x="120" y="87"/>
                </a:cubicBezTo>
                <a:cubicBezTo>
                  <a:pt x="136" y="66"/>
                  <a:pt x="134" y="33"/>
                  <a:pt x="116" y="15"/>
                </a:cubicBezTo>
                <a:cubicBezTo>
                  <a:pt x="106" y="5"/>
                  <a:pt x="93" y="0"/>
                  <a:pt x="80" y="0"/>
                </a:cubicBezTo>
                <a:cubicBezTo>
                  <a:pt x="66" y="0"/>
                  <a:pt x="53" y="5"/>
                  <a:pt x="43" y="15"/>
                </a:cubicBezTo>
                <a:cubicBezTo>
                  <a:pt x="25" y="33"/>
                  <a:pt x="23" y="66"/>
                  <a:pt x="39" y="87"/>
                </a:cubicBezTo>
                <a:lnTo>
                  <a:pt x="80" y="146"/>
                </a:lnTo>
                <a:close/>
                <a:moveTo>
                  <a:pt x="47" y="19"/>
                </a:moveTo>
                <a:cubicBezTo>
                  <a:pt x="56" y="10"/>
                  <a:pt x="67" y="5"/>
                  <a:pt x="80" y="5"/>
                </a:cubicBezTo>
                <a:cubicBezTo>
                  <a:pt x="92" y="5"/>
                  <a:pt x="103" y="10"/>
                  <a:pt x="112" y="19"/>
                </a:cubicBezTo>
                <a:cubicBezTo>
                  <a:pt x="128" y="35"/>
                  <a:pt x="130" y="65"/>
                  <a:pt x="116" y="84"/>
                </a:cubicBezTo>
                <a:cubicBezTo>
                  <a:pt x="80" y="137"/>
                  <a:pt x="80" y="137"/>
                  <a:pt x="80" y="137"/>
                </a:cubicBezTo>
                <a:cubicBezTo>
                  <a:pt x="43" y="84"/>
                  <a:pt x="43" y="84"/>
                  <a:pt x="43" y="84"/>
                </a:cubicBezTo>
                <a:cubicBezTo>
                  <a:pt x="29" y="65"/>
                  <a:pt x="31" y="35"/>
                  <a:pt x="47" y="19"/>
                </a:cubicBezTo>
                <a:close/>
                <a:moveTo>
                  <a:pt x="160" y="137"/>
                </a:moveTo>
                <a:cubicBezTo>
                  <a:pt x="160" y="149"/>
                  <a:pt x="133" y="160"/>
                  <a:pt x="80" y="160"/>
                </a:cubicBezTo>
                <a:cubicBezTo>
                  <a:pt x="27" y="160"/>
                  <a:pt x="0" y="149"/>
                  <a:pt x="0" y="137"/>
                </a:cubicBezTo>
                <a:cubicBezTo>
                  <a:pt x="0" y="127"/>
                  <a:pt x="20" y="118"/>
                  <a:pt x="48" y="115"/>
                </a:cubicBezTo>
                <a:cubicBezTo>
                  <a:pt x="49" y="115"/>
                  <a:pt x="50" y="116"/>
                  <a:pt x="51" y="117"/>
                </a:cubicBezTo>
                <a:cubicBezTo>
                  <a:pt x="51" y="118"/>
                  <a:pt x="50" y="120"/>
                  <a:pt x="48" y="120"/>
                </a:cubicBezTo>
                <a:cubicBezTo>
                  <a:pt x="20" y="123"/>
                  <a:pt x="5" y="132"/>
                  <a:pt x="5" y="137"/>
                </a:cubicBezTo>
                <a:cubicBezTo>
                  <a:pt x="5" y="145"/>
                  <a:pt x="34" y="155"/>
                  <a:pt x="80" y="155"/>
                </a:cubicBezTo>
                <a:cubicBezTo>
                  <a:pt x="126" y="155"/>
                  <a:pt x="155" y="145"/>
                  <a:pt x="155" y="137"/>
                </a:cubicBezTo>
                <a:cubicBezTo>
                  <a:pt x="155" y="132"/>
                  <a:pt x="140" y="123"/>
                  <a:pt x="112" y="120"/>
                </a:cubicBezTo>
                <a:cubicBezTo>
                  <a:pt x="110" y="120"/>
                  <a:pt x="109" y="118"/>
                  <a:pt x="109" y="117"/>
                </a:cubicBezTo>
                <a:cubicBezTo>
                  <a:pt x="110" y="116"/>
                  <a:pt x="111" y="115"/>
                  <a:pt x="112" y="115"/>
                </a:cubicBezTo>
                <a:cubicBezTo>
                  <a:pt x="140" y="118"/>
                  <a:pt x="160" y="127"/>
                  <a:pt x="160" y="137"/>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1329">
            <a:extLst>
              <a:ext uri="{FF2B5EF4-FFF2-40B4-BE49-F238E27FC236}">
                <a16:creationId xmlns:a16="http://schemas.microsoft.com/office/drawing/2014/main" id="{E7851C26-DF19-D245-99E9-9699DD93831D}"/>
              </a:ext>
            </a:extLst>
          </p:cNvPr>
          <p:cNvSpPr>
            <a:spLocks noEditPoints="1"/>
          </p:cNvSpPr>
          <p:nvPr/>
        </p:nvSpPr>
        <p:spPr bwMode="auto">
          <a:xfrm>
            <a:off x="4365200" y="2841625"/>
            <a:ext cx="446088" cy="550863"/>
          </a:xfrm>
          <a:custGeom>
            <a:avLst/>
            <a:gdLst>
              <a:gd name="T0" fmla="*/ 43 w 131"/>
              <a:gd name="T1" fmla="*/ 34 h 160"/>
              <a:gd name="T2" fmla="*/ 17 w 131"/>
              <a:gd name="T3" fmla="*/ 60 h 160"/>
              <a:gd name="T4" fmla="*/ 43 w 131"/>
              <a:gd name="T5" fmla="*/ 86 h 160"/>
              <a:gd name="T6" fmla="*/ 70 w 131"/>
              <a:gd name="T7" fmla="*/ 60 h 160"/>
              <a:gd name="T8" fmla="*/ 43 w 131"/>
              <a:gd name="T9" fmla="*/ 34 h 160"/>
              <a:gd name="T10" fmla="*/ 43 w 131"/>
              <a:gd name="T11" fmla="*/ 81 h 160"/>
              <a:gd name="T12" fmla="*/ 23 w 131"/>
              <a:gd name="T13" fmla="*/ 60 h 160"/>
              <a:gd name="T14" fmla="*/ 43 w 131"/>
              <a:gd name="T15" fmla="*/ 39 h 160"/>
              <a:gd name="T16" fmla="*/ 64 w 131"/>
              <a:gd name="T17" fmla="*/ 60 h 160"/>
              <a:gd name="T18" fmla="*/ 43 w 131"/>
              <a:gd name="T19" fmla="*/ 81 h 160"/>
              <a:gd name="T20" fmla="*/ 130 w 131"/>
              <a:gd name="T21" fmla="*/ 36 h 160"/>
              <a:gd name="T22" fmla="*/ 87 w 131"/>
              <a:gd name="T23" fmla="*/ 0 h 160"/>
              <a:gd name="T24" fmla="*/ 48 w 131"/>
              <a:gd name="T25" fmla="*/ 20 h 160"/>
              <a:gd name="T26" fmla="*/ 43 w 131"/>
              <a:gd name="T27" fmla="*/ 19 h 160"/>
              <a:gd name="T28" fmla="*/ 1 w 131"/>
              <a:gd name="T29" fmla="*/ 56 h 160"/>
              <a:gd name="T30" fmla="*/ 2 w 131"/>
              <a:gd name="T31" fmla="*/ 81 h 160"/>
              <a:gd name="T32" fmla="*/ 40 w 131"/>
              <a:gd name="T33" fmla="*/ 159 h 160"/>
              <a:gd name="T34" fmla="*/ 43 w 131"/>
              <a:gd name="T35" fmla="*/ 160 h 160"/>
              <a:gd name="T36" fmla="*/ 47 w 131"/>
              <a:gd name="T37" fmla="*/ 159 h 160"/>
              <a:gd name="T38" fmla="*/ 71 w 131"/>
              <a:gd name="T39" fmla="*/ 122 h 160"/>
              <a:gd name="T40" fmla="*/ 84 w 131"/>
              <a:gd name="T41" fmla="*/ 139 h 160"/>
              <a:gd name="T42" fmla="*/ 87 w 131"/>
              <a:gd name="T43" fmla="*/ 141 h 160"/>
              <a:gd name="T44" fmla="*/ 91 w 131"/>
              <a:gd name="T45" fmla="*/ 139 h 160"/>
              <a:gd name="T46" fmla="*/ 129 w 131"/>
              <a:gd name="T47" fmla="*/ 62 h 160"/>
              <a:gd name="T48" fmla="*/ 130 w 131"/>
              <a:gd name="T49" fmla="*/ 36 h 160"/>
              <a:gd name="T50" fmla="*/ 43 w 131"/>
              <a:gd name="T51" fmla="*/ 154 h 160"/>
              <a:gd name="T52" fmla="*/ 7 w 131"/>
              <a:gd name="T53" fmla="*/ 80 h 160"/>
              <a:gd name="T54" fmla="*/ 6 w 131"/>
              <a:gd name="T55" fmla="*/ 57 h 160"/>
              <a:gd name="T56" fmla="*/ 43 w 131"/>
              <a:gd name="T57" fmla="*/ 25 h 160"/>
              <a:gd name="T58" fmla="*/ 66 w 131"/>
              <a:gd name="T59" fmla="*/ 31 h 160"/>
              <a:gd name="T60" fmla="*/ 81 w 131"/>
              <a:gd name="T61" fmla="*/ 57 h 160"/>
              <a:gd name="T62" fmla="*/ 81 w 131"/>
              <a:gd name="T63" fmla="*/ 60 h 160"/>
              <a:gd name="T64" fmla="*/ 81 w 131"/>
              <a:gd name="T65" fmla="*/ 60 h 160"/>
              <a:gd name="T66" fmla="*/ 81 w 131"/>
              <a:gd name="T67" fmla="*/ 63 h 160"/>
              <a:gd name="T68" fmla="*/ 79 w 131"/>
              <a:gd name="T69" fmla="*/ 80 h 160"/>
              <a:gd name="T70" fmla="*/ 43 w 131"/>
              <a:gd name="T71" fmla="*/ 154 h 160"/>
              <a:gd name="T72" fmla="*/ 71 w 131"/>
              <a:gd name="T73" fmla="*/ 27 h 160"/>
              <a:gd name="T74" fmla="*/ 88 w 131"/>
              <a:gd name="T75" fmla="*/ 19 h 160"/>
              <a:gd name="T76" fmla="*/ 109 w 131"/>
              <a:gd name="T77" fmla="*/ 40 h 160"/>
              <a:gd name="T78" fmla="*/ 88 w 131"/>
              <a:gd name="T79" fmla="*/ 61 h 160"/>
              <a:gd name="T80" fmla="*/ 87 w 131"/>
              <a:gd name="T81" fmla="*/ 61 h 160"/>
              <a:gd name="T82" fmla="*/ 86 w 131"/>
              <a:gd name="T83" fmla="*/ 56 h 160"/>
              <a:gd name="T84" fmla="*/ 71 w 131"/>
              <a:gd name="T85" fmla="*/ 27 h 160"/>
              <a:gd name="T86" fmla="*/ 124 w 131"/>
              <a:gd name="T87" fmla="*/ 61 h 160"/>
              <a:gd name="T88" fmla="*/ 87 w 131"/>
              <a:gd name="T89" fmla="*/ 134 h 160"/>
              <a:gd name="T90" fmla="*/ 74 w 131"/>
              <a:gd name="T91" fmla="*/ 116 h 160"/>
              <a:gd name="T92" fmla="*/ 85 w 131"/>
              <a:gd name="T93" fmla="*/ 81 h 160"/>
              <a:gd name="T94" fmla="*/ 87 w 131"/>
              <a:gd name="T95" fmla="*/ 66 h 160"/>
              <a:gd name="T96" fmla="*/ 88 w 131"/>
              <a:gd name="T97" fmla="*/ 66 h 160"/>
              <a:gd name="T98" fmla="*/ 114 w 131"/>
              <a:gd name="T99" fmla="*/ 40 h 160"/>
              <a:gd name="T100" fmla="*/ 88 w 131"/>
              <a:gd name="T101" fmla="*/ 14 h 160"/>
              <a:gd name="T102" fmla="*/ 66 w 131"/>
              <a:gd name="T103" fmla="*/ 24 h 160"/>
              <a:gd name="T104" fmla="*/ 54 w 131"/>
              <a:gd name="T105" fmla="*/ 20 h 160"/>
              <a:gd name="T106" fmla="*/ 87 w 131"/>
              <a:gd name="T107" fmla="*/ 6 h 160"/>
              <a:gd name="T108" fmla="*/ 125 w 131"/>
              <a:gd name="T109" fmla="*/ 37 h 160"/>
              <a:gd name="T110" fmla="*/ 124 w 131"/>
              <a:gd name="T111" fmla="*/ 6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 h="160">
                <a:moveTo>
                  <a:pt x="43" y="34"/>
                </a:moveTo>
                <a:cubicBezTo>
                  <a:pt x="29" y="34"/>
                  <a:pt x="17" y="46"/>
                  <a:pt x="17" y="60"/>
                </a:cubicBezTo>
                <a:cubicBezTo>
                  <a:pt x="17" y="74"/>
                  <a:pt x="29" y="86"/>
                  <a:pt x="43" y="86"/>
                </a:cubicBezTo>
                <a:cubicBezTo>
                  <a:pt x="58" y="86"/>
                  <a:pt x="70" y="74"/>
                  <a:pt x="70" y="60"/>
                </a:cubicBezTo>
                <a:cubicBezTo>
                  <a:pt x="70" y="46"/>
                  <a:pt x="58" y="34"/>
                  <a:pt x="43" y="34"/>
                </a:cubicBezTo>
                <a:close/>
                <a:moveTo>
                  <a:pt x="43" y="81"/>
                </a:moveTo>
                <a:cubicBezTo>
                  <a:pt x="32" y="81"/>
                  <a:pt x="23" y="71"/>
                  <a:pt x="23" y="60"/>
                </a:cubicBezTo>
                <a:cubicBezTo>
                  <a:pt x="23" y="49"/>
                  <a:pt x="32" y="39"/>
                  <a:pt x="43" y="39"/>
                </a:cubicBezTo>
                <a:cubicBezTo>
                  <a:pt x="55" y="39"/>
                  <a:pt x="64" y="49"/>
                  <a:pt x="64" y="60"/>
                </a:cubicBezTo>
                <a:cubicBezTo>
                  <a:pt x="64" y="71"/>
                  <a:pt x="55" y="81"/>
                  <a:pt x="43" y="81"/>
                </a:cubicBezTo>
                <a:close/>
                <a:moveTo>
                  <a:pt x="130" y="36"/>
                </a:moveTo>
                <a:cubicBezTo>
                  <a:pt x="127" y="13"/>
                  <a:pt x="112" y="0"/>
                  <a:pt x="87" y="0"/>
                </a:cubicBezTo>
                <a:cubicBezTo>
                  <a:pt x="63" y="0"/>
                  <a:pt x="53" y="10"/>
                  <a:pt x="48" y="20"/>
                </a:cubicBezTo>
                <a:cubicBezTo>
                  <a:pt x="47" y="20"/>
                  <a:pt x="45" y="19"/>
                  <a:pt x="43" y="19"/>
                </a:cubicBezTo>
                <a:cubicBezTo>
                  <a:pt x="18" y="19"/>
                  <a:pt x="4" y="32"/>
                  <a:pt x="1" y="56"/>
                </a:cubicBezTo>
                <a:cubicBezTo>
                  <a:pt x="0" y="64"/>
                  <a:pt x="0" y="72"/>
                  <a:pt x="2" y="81"/>
                </a:cubicBezTo>
                <a:cubicBezTo>
                  <a:pt x="11" y="125"/>
                  <a:pt x="34" y="152"/>
                  <a:pt x="40" y="159"/>
                </a:cubicBezTo>
                <a:cubicBezTo>
                  <a:pt x="41" y="159"/>
                  <a:pt x="42" y="160"/>
                  <a:pt x="43" y="160"/>
                </a:cubicBezTo>
                <a:cubicBezTo>
                  <a:pt x="45" y="160"/>
                  <a:pt x="46" y="159"/>
                  <a:pt x="47" y="159"/>
                </a:cubicBezTo>
                <a:cubicBezTo>
                  <a:pt x="51" y="154"/>
                  <a:pt x="61" y="142"/>
                  <a:pt x="71" y="122"/>
                </a:cubicBezTo>
                <a:cubicBezTo>
                  <a:pt x="77" y="131"/>
                  <a:pt x="82" y="137"/>
                  <a:pt x="84" y="139"/>
                </a:cubicBezTo>
                <a:cubicBezTo>
                  <a:pt x="85" y="140"/>
                  <a:pt x="86" y="141"/>
                  <a:pt x="87" y="141"/>
                </a:cubicBezTo>
                <a:cubicBezTo>
                  <a:pt x="89" y="141"/>
                  <a:pt x="90" y="140"/>
                  <a:pt x="91" y="139"/>
                </a:cubicBezTo>
                <a:cubicBezTo>
                  <a:pt x="97" y="132"/>
                  <a:pt x="120" y="106"/>
                  <a:pt x="129" y="62"/>
                </a:cubicBezTo>
                <a:cubicBezTo>
                  <a:pt x="131" y="53"/>
                  <a:pt x="131" y="44"/>
                  <a:pt x="130" y="36"/>
                </a:cubicBezTo>
                <a:close/>
                <a:moveTo>
                  <a:pt x="43" y="154"/>
                </a:moveTo>
                <a:cubicBezTo>
                  <a:pt x="37" y="147"/>
                  <a:pt x="16" y="121"/>
                  <a:pt x="7" y="80"/>
                </a:cubicBezTo>
                <a:cubicBezTo>
                  <a:pt x="6" y="72"/>
                  <a:pt x="5" y="64"/>
                  <a:pt x="6" y="57"/>
                </a:cubicBezTo>
                <a:cubicBezTo>
                  <a:pt x="9" y="36"/>
                  <a:pt x="21" y="25"/>
                  <a:pt x="43" y="25"/>
                </a:cubicBezTo>
                <a:cubicBezTo>
                  <a:pt x="53" y="25"/>
                  <a:pt x="60" y="27"/>
                  <a:pt x="66" y="31"/>
                </a:cubicBezTo>
                <a:cubicBezTo>
                  <a:pt x="77" y="38"/>
                  <a:pt x="80" y="50"/>
                  <a:pt x="81" y="57"/>
                </a:cubicBezTo>
                <a:cubicBezTo>
                  <a:pt x="81" y="58"/>
                  <a:pt x="81" y="59"/>
                  <a:pt x="81" y="60"/>
                </a:cubicBezTo>
                <a:cubicBezTo>
                  <a:pt x="81" y="60"/>
                  <a:pt x="81" y="60"/>
                  <a:pt x="81" y="60"/>
                </a:cubicBezTo>
                <a:cubicBezTo>
                  <a:pt x="81" y="61"/>
                  <a:pt x="81" y="62"/>
                  <a:pt x="81" y="63"/>
                </a:cubicBezTo>
                <a:cubicBezTo>
                  <a:pt x="81" y="69"/>
                  <a:pt x="81" y="74"/>
                  <a:pt x="79" y="80"/>
                </a:cubicBezTo>
                <a:cubicBezTo>
                  <a:pt x="71" y="121"/>
                  <a:pt x="49" y="147"/>
                  <a:pt x="43" y="154"/>
                </a:cubicBezTo>
                <a:close/>
                <a:moveTo>
                  <a:pt x="71" y="27"/>
                </a:moveTo>
                <a:cubicBezTo>
                  <a:pt x="74" y="22"/>
                  <a:pt x="81" y="19"/>
                  <a:pt x="88" y="19"/>
                </a:cubicBezTo>
                <a:cubicBezTo>
                  <a:pt x="99" y="19"/>
                  <a:pt x="109" y="29"/>
                  <a:pt x="109" y="40"/>
                </a:cubicBezTo>
                <a:cubicBezTo>
                  <a:pt x="109" y="52"/>
                  <a:pt x="99" y="61"/>
                  <a:pt x="88" y="61"/>
                </a:cubicBezTo>
                <a:cubicBezTo>
                  <a:pt x="87" y="61"/>
                  <a:pt x="87" y="61"/>
                  <a:pt x="87" y="61"/>
                </a:cubicBezTo>
                <a:cubicBezTo>
                  <a:pt x="86" y="59"/>
                  <a:pt x="86" y="57"/>
                  <a:pt x="86" y="56"/>
                </a:cubicBezTo>
                <a:cubicBezTo>
                  <a:pt x="84" y="43"/>
                  <a:pt x="79" y="33"/>
                  <a:pt x="71" y="27"/>
                </a:cubicBezTo>
                <a:close/>
                <a:moveTo>
                  <a:pt x="124" y="61"/>
                </a:moveTo>
                <a:cubicBezTo>
                  <a:pt x="115" y="102"/>
                  <a:pt x="94" y="128"/>
                  <a:pt x="87" y="134"/>
                </a:cubicBezTo>
                <a:cubicBezTo>
                  <a:pt x="85" y="132"/>
                  <a:pt x="80" y="125"/>
                  <a:pt x="74" y="116"/>
                </a:cubicBezTo>
                <a:cubicBezTo>
                  <a:pt x="78" y="106"/>
                  <a:pt x="82" y="94"/>
                  <a:pt x="85" y="81"/>
                </a:cubicBezTo>
                <a:cubicBezTo>
                  <a:pt x="86" y="76"/>
                  <a:pt x="86" y="71"/>
                  <a:pt x="87" y="66"/>
                </a:cubicBezTo>
                <a:cubicBezTo>
                  <a:pt x="87" y="66"/>
                  <a:pt x="87" y="66"/>
                  <a:pt x="88" y="66"/>
                </a:cubicBezTo>
                <a:cubicBezTo>
                  <a:pt x="102" y="66"/>
                  <a:pt x="114" y="55"/>
                  <a:pt x="114" y="40"/>
                </a:cubicBezTo>
                <a:cubicBezTo>
                  <a:pt x="114" y="26"/>
                  <a:pt x="102" y="14"/>
                  <a:pt x="88" y="14"/>
                </a:cubicBezTo>
                <a:cubicBezTo>
                  <a:pt x="79" y="14"/>
                  <a:pt x="71" y="18"/>
                  <a:pt x="66" y="24"/>
                </a:cubicBezTo>
                <a:cubicBezTo>
                  <a:pt x="62" y="22"/>
                  <a:pt x="59" y="21"/>
                  <a:pt x="54" y="20"/>
                </a:cubicBezTo>
                <a:cubicBezTo>
                  <a:pt x="60" y="11"/>
                  <a:pt x="71" y="6"/>
                  <a:pt x="87" y="6"/>
                </a:cubicBezTo>
                <a:cubicBezTo>
                  <a:pt x="109" y="6"/>
                  <a:pt x="122" y="16"/>
                  <a:pt x="125" y="37"/>
                </a:cubicBezTo>
                <a:cubicBezTo>
                  <a:pt x="126" y="44"/>
                  <a:pt x="125" y="52"/>
                  <a:pt x="124" y="61"/>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1330">
            <a:extLst>
              <a:ext uri="{FF2B5EF4-FFF2-40B4-BE49-F238E27FC236}">
                <a16:creationId xmlns:a16="http://schemas.microsoft.com/office/drawing/2014/main" id="{4B939BDF-08A1-CE42-BA26-588EF6EBF5B6}"/>
              </a:ext>
            </a:extLst>
          </p:cNvPr>
          <p:cNvSpPr>
            <a:spLocks noEditPoints="1"/>
          </p:cNvSpPr>
          <p:nvPr/>
        </p:nvSpPr>
        <p:spPr bwMode="auto">
          <a:xfrm>
            <a:off x="4309637" y="3462338"/>
            <a:ext cx="546100" cy="549275"/>
          </a:xfrm>
          <a:custGeom>
            <a:avLst/>
            <a:gdLst>
              <a:gd name="T0" fmla="*/ 122 w 160"/>
              <a:gd name="T1" fmla="*/ 78 h 160"/>
              <a:gd name="T2" fmla="*/ 63 w 160"/>
              <a:gd name="T3" fmla="*/ 38 h 160"/>
              <a:gd name="T4" fmla="*/ 60 w 160"/>
              <a:gd name="T5" fmla="*/ 38 h 160"/>
              <a:gd name="T6" fmla="*/ 59 w 160"/>
              <a:gd name="T7" fmla="*/ 40 h 160"/>
              <a:gd name="T8" fmla="*/ 59 w 160"/>
              <a:gd name="T9" fmla="*/ 120 h 160"/>
              <a:gd name="T10" fmla="*/ 60 w 160"/>
              <a:gd name="T11" fmla="*/ 122 h 160"/>
              <a:gd name="T12" fmla="*/ 61 w 160"/>
              <a:gd name="T13" fmla="*/ 123 h 160"/>
              <a:gd name="T14" fmla="*/ 63 w 160"/>
              <a:gd name="T15" fmla="*/ 122 h 160"/>
              <a:gd name="T16" fmla="*/ 122 w 160"/>
              <a:gd name="T17" fmla="*/ 82 h 160"/>
              <a:gd name="T18" fmla="*/ 123 w 160"/>
              <a:gd name="T19" fmla="*/ 80 h 160"/>
              <a:gd name="T20" fmla="*/ 122 w 160"/>
              <a:gd name="T21" fmla="*/ 78 h 160"/>
              <a:gd name="T22" fmla="*/ 64 w 160"/>
              <a:gd name="T23" fmla="*/ 115 h 160"/>
              <a:gd name="T24" fmla="*/ 64 w 160"/>
              <a:gd name="T25" fmla="*/ 45 h 160"/>
              <a:gd name="T26" fmla="*/ 115 w 160"/>
              <a:gd name="T27" fmla="*/ 80 h 160"/>
              <a:gd name="T28" fmla="*/ 64 w 160"/>
              <a:gd name="T29" fmla="*/ 115 h 160"/>
              <a:gd name="T30" fmla="*/ 80 w 160"/>
              <a:gd name="T31" fmla="*/ 0 h 160"/>
              <a:gd name="T32" fmla="*/ 0 w 160"/>
              <a:gd name="T33" fmla="*/ 80 h 160"/>
              <a:gd name="T34" fmla="*/ 80 w 160"/>
              <a:gd name="T35" fmla="*/ 160 h 160"/>
              <a:gd name="T36" fmla="*/ 160 w 160"/>
              <a:gd name="T37" fmla="*/ 80 h 160"/>
              <a:gd name="T38" fmla="*/ 80 w 160"/>
              <a:gd name="T39" fmla="*/ 0 h 160"/>
              <a:gd name="T40" fmla="*/ 80 w 160"/>
              <a:gd name="T41" fmla="*/ 155 h 160"/>
              <a:gd name="T42" fmla="*/ 5 w 160"/>
              <a:gd name="T43" fmla="*/ 80 h 160"/>
              <a:gd name="T44" fmla="*/ 80 w 160"/>
              <a:gd name="T45" fmla="*/ 5 h 160"/>
              <a:gd name="T46" fmla="*/ 155 w 160"/>
              <a:gd name="T47" fmla="*/ 80 h 160"/>
              <a:gd name="T48" fmla="*/ 80 w 160"/>
              <a:gd name="T4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 h="160">
                <a:moveTo>
                  <a:pt x="122" y="78"/>
                </a:moveTo>
                <a:cubicBezTo>
                  <a:pt x="63" y="38"/>
                  <a:pt x="63" y="38"/>
                  <a:pt x="63" y="38"/>
                </a:cubicBezTo>
                <a:cubicBezTo>
                  <a:pt x="62" y="37"/>
                  <a:pt x="61" y="37"/>
                  <a:pt x="60" y="38"/>
                </a:cubicBezTo>
                <a:cubicBezTo>
                  <a:pt x="59" y="38"/>
                  <a:pt x="59" y="39"/>
                  <a:pt x="59" y="40"/>
                </a:cubicBezTo>
                <a:cubicBezTo>
                  <a:pt x="59" y="120"/>
                  <a:pt x="59" y="120"/>
                  <a:pt x="59" y="120"/>
                </a:cubicBezTo>
                <a:cubicBezTo>
                  <a:pt x="59" y="121"/>
                  <a:pt x="59" y="122"/>
                  <a:pt x="60" y="122"/>
                </a:cubicBezTo>
                <a:cubicBezTo>
                  <a:pt x="60" y="123"/>
                  <a:pt x="61" y="123"/>
                  <a:pt x="61" y="123"/>
                </a:cubicBezTo>
                <a:cubicBezTo>
                  <a:pt x="62" y="123"/>
                  <a:pt x="62" y="123"/>
                  <a:pt x="63" y="122"/>
                </a:cubicBezTo>
                <a:cubicBezTo>
                  <a:pt x="122" y="82"/>
                  <a:pt x="122" y="82"/>
                  <a:pt x="122" y="82"/>
                </a:cubicBezTo>
                <a:cubicBezTo>
                  <a:pt x="122" y="82"/>
                  <a:pt x="123" y="81"/>
                  <a:pt x="123" y="80"/>
                </a:cubicBezTo>
                <a:cubicBezTo>
                  <a:pt x="123" y="79"/>
                  <a:pt x="122" y="78"/>
                  <a:pt x="122" y="78"/>
                </a:cubicBezTo>
                <a:close/>
                <a:moveTo>
                  <a:pt x="64" y="115"/>
                </a:moveTo>
                <a:cubicBezTo>
                  <a:pt x="64" y="45"/>
                  <a:pt x="64" y="45"/>
                  <a:pt x="64" y="45"/>
                </a:cubicBezTo>
                <a:cubicBezTo>
                  <a:pt x="115" y="80"/>
                  <a:pt x="115" y="80"/>
                  <a:pt x="115" y="80"/>
                </a:cubicBezTo>
                <a:lnTo>
                  <a:pt x="64" y="115"/>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1331">
            <a:extLst>
              <a:ext uri="{FF2B5EF4-FFF2-40B4-BE49-F238E27FC236}">
                <a16:creationId xmlns:a16="http://schemas.microsoft.com/office/drawing/2014/main" id="{F658B087-9B0F-2A41-B398-905C02E1FD2B}"/>
              </a:ext>
            </a:extLst>
          </p:cNvPr>
          <p:cNvSpPr>
            <a:spLocks noEditPoints="1"/>
          </p:cNvSpPr>
          <p:nvPr/>
        </p:nvSpPr>
        <p:spPr bwMode="auto">
          <a:xfrm>
            <a:off x="4377900" y="4067175"/>
            <a:ext cx="403225" cy="550863"/>
          </a:xfrm>
          <a:custGeom>
            <a:avLst/>
            <a:gdLst>
              <a:gd name="T0" fmla="*/ 116 w 118"/>
              <a:gd name="T1" fmla="*/ 77 h 160"/>
              <a:gd name="T2" fmla="*/ 6 w 118"/>
              <a:gd name="T3" fmla="*/ 1 h 160"/>
              <a:gd name="T4" fmla="*/ 2 w 118"/>
              <a:gd name="T5" fmla="*/ 0 h 160"/>
              <a:gd name="T6" fmla="*/ 0 w 118"/>
              <a:gd name="T7" fmla="*/ 4 h 160"/>
              <a:gd name="T8" fmla="*/ 0 w 118"/>
              <a:gd name="T9" fmla="*/ 156 h 160"/>
              <a:gd name="T10" fmla="*/ 2 w 118"/>
              <a:gd name="T11" fmla="*/ 160 h 160"/>
              <a:gd name="T12" fmla="*/ 4 w 118"/>
              <a:gd name="T13" fmla="*/ 160 h 160"/>
              <a:gd name="T14" fmla="*/ 6 w 118"/>
              <a:gd name="T15" fmla="*/ 159 h 160"/>
              <a:gd name="T16" fmla="*/ 116 w 118"/>
              <a:gd name="T17" fmla="*/ 83 h 160"/>
              <a:gd name="T18" fmla="*/ 118 w 118"/>
              <a:gd name="T19" fmla="*/ 80 h 160"/>
              <a:gd name="T20" fmla="*/ 116 w 118"/>
              <a:gd name="T21" fmla="*/ 77 h 160"/>
              <a:gd name="T22" fmla="*/ 8 w 118"/>
              <a:gd name="T23" fmla="*/ 149 h 160"/>
              <a:gd name="T24" fmla="*/ 8 w 118"/>
              <a:gd name="T25" fmla="*/ 11 h 160"/>
              <a:gd name="T26" fmla="*/ 108 w 118"/>
              <a:gd name="T27" fmla="*/ 80 h 160"/>
              <a:gd name="T28" fmla="*/ 8 w 118"/>
              <a:gd name="T29"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60">
                <a:moveTo>
                  <a:pt x="116" y="77"/>
                </a:moveTo>
                <a:cubicBezTo>
                  <a:pt x="6" y="1"/>
                  <a:pt x="6" y="1"/>
                  <a:pt x="6" y="1"/>
                </a:cubicBezTo>
                <a:cubicBezTo>
                  <a:pt x="5" y="0"/>
                  <a:pt x="3" y="0"/>
                  <a:pt x="2" y="0"/>
                </a:cubicBezTo>
                <a:cubicBezTo>
                  <a:pt x="1" y="1"/>
                  <a:pt x="0" y="2"/>
                  <a:pt x="0" y="4"/>
                </a:cubicBezTo>
                <a:cubicBezTo>
                  <a:pt x="0" y="156"/>
                  <a:pt x="0" y="156"/>
                  <a:pt x="0" y="156"/>
                </a:cubicBezTo>
                <a:cubicBezTo>
                  <a:pt x="0" y="158"/>
                  <a:pt x="1" y="159"/>
                  <a:pt x="2" y="160"/>
                </a:cubicBezTo>
                <a:cubicBezTo>
                  <a:pt x="3" y="160"/>
                  <a:pt x="3" y="160"/>
                  <a:pt x="4" y="160"/>
                </a:cubicBezTo>
                <a:cubicBezTo>
                  <a:pt x="5" y="160"/>
                  <a:pt x="5" y="160"/>
                  <a:pt x="6" y="159"/>
                </a:cubicBezTo>
                <a:cubicBezTo>
                  <a:pt x="116" y="83"/>
                  <a:pt x="116" y="83"/>
                  <a:pt x="116" y="83"/>
                </a:cubicBezTo>
                <a:cubicBezTo>
                  <a:pt x="117" y="82"/>
                  <a:pt x="118" y="81"/>
                  <a:pt x="118" y="80"/>
                </a:cubicBezTo>
                <a:cubicBezTo>
                  <a:pt x="118" y="79"/>
                  <a:pt x="117" y="78"/>
                  <a:pt x="116" y="77"/>
                </a:cubicBezTo>
                <a:close/>
                <a:moveTo>
                  <a:pt x="8" y="149"/>
                </a:moveTo>
                <a:cubicBezTo>
                  <a:pt x="8" y="11"/>
                  <a:pt x="8" y="11"/>
                  <a:pt x="8" y="11"/>
                </a:cubicBezTo>
                <a:cubicBezTo>
                  <a:pt x="108" y="80"/>
                  <a:pt x="108" y="80"/>
                  <a:pt x="108" y="80"/>
                </a:cubicBezTo>
                <a:lnTo>
                  <a:pt x="8" y="149"/>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1332">
            <a:extLst>
              <a:ext uri="{FF2B5EF4-FFF2-40B4-BE49-F238E27FC236}">
                <a16:creationId xmlns:a16="http://schemas.microsoft.com/office/drawing/2014/main" id="{4B346C22-DEF6-CB46-B379-7E33CD5EE37F}"/>
              </a:ext>
            </a:extLst>
          </p:cNvPr>
          <p:cNvSpPr>
            <a:spLocks noEditPoints="1"/>
          </p:cNvSpPr>
          <p:nvPr/>
        </p:nvSpPr>
        <p:spPr bwMode="auto">
          <a:xfrm>
            <a:off x="4309637" y="4700588"/>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122 w 160"/>
              <a:gd name="T21" fmla="*/ 80 h 160"/>
              <a:gd name="T22" fmla="*/ 118 w 160"/>
              <a:gd name="T23" fmla="*/ 83 h 160"/>
              <a:gd name="T24" fmla="*/ 83 w 160"/>
              <a:gd name="T25" fmla="*/ 83 h 160"/>
              <a:gd name="T26" fmla="*/ 83 w 160"/>
              <a:gd name="T27" fmla="*/ 120 h 160"/>
              <a:gd name="T28" fmla="*/ 80 w 160"/>
              <a:gd name="T29" fmla="*/ 123 h 160"/>
              <a:gd name="T30" fmla="*/ 77 w 160"/>
              <a:gd name="T31" fmla="*/ 120 h 160"/>
              <a:gd name="T32" fmla="*/ 77 w 160"/>
              <a:gd name="T33" fmla="*/ 83 h 160"/>
              <a:gd name="T34" fmla="*/ 42 w 160"/>
              <a:gd name="T35" fmla="*/ 83 h 160"/>
              <a:gd name="T36" fmla="*/ 38 w 160"/>
              <a:gd name="T37" fmla="*/ 80 h 160"/>
              <a:gd name="T38" fmla="*/ 42 w 160"/>
              <a:gd name="T39" fmla="*/ 77 h 160"/>
              <a:gd name="T40" fmla="*/ 77 w 160"/>
              <a:gd name="T41" fmla="*/ 77 h 160"/>
              <a:gd name="T42" fmla="*/ 77 w 160"/>
              <a:gd name="T43" fmla="*/ 43 h 160"/>
              <a:gd name="T44" fmla="*/ 80 w 160"/>
              <a:gd name="T45" fmla="*/ 40 h 160"/>
              <a:gd name="T46" fmla="*/ 83 w 160"/>
              <a:gd name="T47" fmla="*/ 43 h 160"/>
              <a:gd name="T48" fmla="*/ 83 w 160"/>
              <a:gd name="T49" fmla="*/ 77 h 160"/>
              <a:gd name="T50" fmla="*/ 118 w 160"/>
              <a:gd name="T51" fmla="*/ 77 h 160"/>
              <a:gd name="T52" fmla="*/ 122 w 160"/>
              <a:gd name="T5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122" y="80"/>
                </a:moveTo>
                <a:cubicBezTo>
                  <a:pt x="122" y="82"/>
                  <a:pt x="120" y="83"/>
                  <a:pt x="118" y="83"/>
                </a:cubicBezTo>
                <a:cubicBezTo>
                  <a:pt x="83" y="83"/>
                  <a:pt x="83" y="83"/>
                  <a:pt x="83" y="83"/>
                </a:cubicBezTo>
                <a:cubicBezTo>
                  <a:pt x="83" y="120"/>
                  <a:pt x="83" y="120"/>
                  <a:pt x="83" y="120"/>
                </a:cubicBezTo>
                <a:cubicBezTo>
                  <a:pt x="83" y="122"/>
                  <a:pt x="82" y="123"/>
                  <a:pt x="80" y="123"/>
                </a:cubicBezTo>
                <a:cubicBezTo>
                  <a:pt x="78" y="123"/>
                  <a:pt x="77" y="122"/>
                  <a:pt x="77" y="120"/>
                </a:cubicBezTo>
                <a:cubicBezTo>
                  <a:pt x="77" y="83"/>
                  <a:pt x="77" y="83"/>
                  <a:pt x="77" y="83"/>
                </a:cubicBezTo>
                <a:cubicBezTo>
                  <a:pt x="42" y="83"/>
                  <a:pt x="42" y="83"/>
                  <a:pt x="42" y="83"/>
                </a:cubicBezTo>
                <a:cubicBezTo>
                  <a:pt x="40" y="83"/>
                  <a:pt x="38" y="82"/>
                  <a:pt x="38" y="80"/>
                </a:cubicBezTo>
                <a:cubicBezTo>
                  <a:pt x="38" y="78"/>
                  <a:pt x="40" y="77"/>
                  <a:pt x="42" y="77"/>
                </a:cubicBezTo>
                <a:cubicBezTo>
                  <a:pt x="77" y="77"/>
                  <a:pt x="77" y="77"/>
                  <a:pt x="77" y="77"/>
                </a:cubicBezTo>
                <a:cubicBezTo>
                  <a:pt x="77" y="43"/>
                  <a:pt x="77" y="43"/>
                  <a:pt x="77" y="43"/>
                </a:cubicBezTo>
                <a:cubicBezTo>
                  <a:pt x="77" y="41"/>
                  <a:pt x="78" y="40"/>
                  <a:pt x="80" y="40"/>
                </a:cubicBezTo>
                <a:cubicBezTo>
                  <a:pt x="82" y="40"/>
                  <a:pt x="83" y="41"/>
                  <a:pt x="83" y="43"/>
                </a:cubicBezTo>
                <a:cubicBezTo>
                  <a:pt x="83" y="77"/>
                  <a:pt x="83" y="77"/>
                  <a:pt x="83" y="77"/>
                </a:cubicBezTo>
                <a:cubicBezTo>
                  <a:pt x="118" y="77"/>
                  <a:pt x="118" y="77"/>
                  <a:pt x="118" y="77"/>
                </a:cubicBezTo>
                <a:cubicBezTo>
                  <a:pt x="120" y="77"/>
                  <a:pt x="122" y="78"/>
                  <a:pt x="122" y="80"/>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1333">
            <a:extLst>
              <a:ext uri="{FF2B5EF4-FFF2-40B4-BE49-F238E27FC236}">
                <a16:creationId xmlns:a16="http://schemas.microsoft.com/office/drawing/2014/main" id="{A35C4F27-E59B-2B4A-8BE3-A1DA01109629}"/>
              </a:ext>
            </a:extLst>
          </p:cNvPr>
          <p:cNvSpPr>
            <a:spLocks noEditPoints="1"/>
          </p:cNvSpPr>
          <p:nvPr/>
        </p:nvSpPr>
        <p:spPr bwMode="auto">
          <a:xfrm>
            <a:off x="4323925" y="5319713"/>
            <a:ext cx="508000" cy="550863"/>
          </a:xfrm>
          <a:custGeom>
            <a:avLst/>
            <a:gdLst>
              <a:gd name="T0" fmla="*/ 149 w 149"/>
              <a:gd name="T1" fmla="*/ 86 h 160"/>
              <a:gd name="T2" fmla="*/ 74 w 149"/>
              <a:gd name="T3" fmla="*/ 160 h 160"/>
              <a:gd name="T4" fmla="*/ 0 w 149"/>
              <a:gd name="T5" fmla="*/ 86 h 160"/>
              <a:gd name="T6" fmla="*/ 53 w 149"/>
              <a:gd name="T7" fmla="*/ 14 h 160"/>
              <a:gd name="T8" fmla="*/ 57 w 149"/>
              <a:gd name="T9" fmla="*/ 16 h 160"/>
              <a:gd name="T10" fmla="*/ 55 w 149"/>
              <a:gd name="T11" fmla="*/ 20 h 160"/>
              <a:gd name="T12" fmla="*/ 6 w 149"/>
              <a:gd name="T13" fmla="*/ 86 h 160"/>
              <a:gd name="T14" fmla="*/ 74 w 149"/>
              <a:gd name="T15" fmla="*/ 154 h 160"/>
              <a:gd name="T16" fmla="*/ 143 w 149"/>
              <a:gd name="T17" fmla="*/ 86 h 160"/>
              <a:gd name="T18" fmla="*/ 94 w 149"/>
              <a:gd name="T19" fmla="*/ 20 h 160"/>
              <a:gd name="T20" fmla="*/ 92 w 149"/>
              <a:gd name="T21" fmla="*/ 16 h 160"/>
              <a:gd name="T22" fmla="*/ 95 w 149"/>
              <a:gd name="T23" fmla="*/ 14 h 160"/>
              <a:gd name="T24" fmla="*/ 149 w 149"/>
              <a:gd name="T25" fmla="*/ 86 h 160"/>
              <a:gd name="T26" fmla="*/ 74 w 149"/>
              <a:gd name="T27" fmla="*/ 77 h 160"/>
              <a:gd name="T28" fmla="*/ 77 w 149"/>
              <a:gd name="T29" fmla="*/ 74 h 160"/>
              <a:gd name="T30" fmla="*/ 77 w 149"/>
              <a:gd name="T31" fmla="*/ 3 h 160"/>
              <a:gd name="T32" fmla="*/ 74 w 149"/>
              <a:gd name="T33" fmla="*/ 0 h 160"/>
              <a:gd name="T34" fmla="*/ 71 w 149"/>
              <a:gd name="T35" fmla="*/ 3 h 160"/>
              <a:gd name="T36" fmla="*/ 71 w 149"/>
              <a:gd name="T37" fmla="*/ 74 h 160"/>
              <a:gd name="T38" fmla="*/ 74 w 149"/>
              <a:gd name="T39" fmla="*/ 7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60">
                <a:moveTo>
                  <a:pt x="149" y="86"/>
                </a:moveTo>
                <a:cubicBezTo>
                  <a:pt x="149" y="127"/>
                  <a:pt x="115" y="160"/>
                  <a:pt x="74" y="160"/>
                </a:cubicBezTo>
                <a:cubicBezTo>
                  <a:pt x="33" y="160"/>
                  <a:pt x="0" y="127"/>
                  <a:pt x="0" y="86"/>
                </a:cubicBezTo>
                <a:cubicBezTo>
                  <a:pt x="0" y="53"/>
                  <a:pt x="22" y="24"/>
                  <a:pt x="53" y="14"/>
                </a:cubicBezTo>
                <a:cubicBezTo>
                  <a:pt x="55" y="14"/>
                  <a:pt x="57" y="15"/>
                  <a:pt x="57" y="16"/>
                </a:cubicBezTo>
                <a:cubicBezTo>
                  <a:pt x="57" y="18"/>
                  <a:pt x="57" y="19"/>
                  <a:pt x="55" y="20"/>
                </a:cubicBezTo>
                <a:cubicBezTo>
                  <a:pt x="26" y="28"/>
                  <a:pt x="6" y="55"/>
                  <a:pt x="6" y="86"/>
                </a:cubicBezTo>
                <a:cubicBezTo>
                  <a:pt x="6" y="124"/>
                  <a:pt x="36" y="154"/>
                  <a:pt x="74" y="154"/>
                </a:cubicBezTo>
                <a:cubicBezTo>
                  <a:pt x="112" y="154"/>
                  <a:pt x="143" y="124"/>
                  <a:pt x="143" y="86"/>
                </a:cubicBezTo>
                <a:cubicBezTo>
                  <a:pt x="143" y="55"/>
                  <a:pt x="123" y="28"/>
                  <a:pt x="94" y="20"/>
                </a:cubicBezTo>
                <a:cubicBezTo>
                  <a:pt x="92" y="19"/>
                  <a:pt x="91" y="18"/>
                  <a:pt x="92" y="16"/>
                </a:cubicBezTo>
                <a:cubicBezTo>
                  <a:pt x="92" y="15"/>
                  <a:pt x="94" y="14"/>
                  <a:pt x="95" y="14"/>
                </a:cubicBezTo>
                <a:cubicBezTo>
                  <a:pt x="127" y="24"/>
                  <a:pt x="149" y="53"/>
                  <a:pt x="149" y="86"/>
                </a:cubicBezTo>
                <a:close/>
                <a:moveTo>
                  <a:pt x="74" y="77"/>
                </a:moveTo>
                <a:cubicBezTo>
                  <a:pt x="76" y="77"/>
                  <a:pt x="77" y="76"/>
                  <a:pt x="77" y="74"/>
                </a:cubicBezTo>
                <a:cubicBezTo>
                  <a:pt x="77" y="3"/>
                  <a:pt x="77" y="3"/>
                  <a:pt x="77" y="3"/>
                </a:cubicBezTo>
                <a:cubicBezTo>
                  <a:pt x="77" y="1"/>
                  <a:pt x="76" y="0"/>
                  <a:pt x="74" y="0"/>
                </a:cubicBezTo>
                <a:cubicBezTo>
                  <a:pt x="73" y="0"/>
                  <a:pt x="71" y="1"/>
                  <a:pt x="71" y="3"/>
                </a:cubicBezTo>
                <a:cubicBezTo>
                  <a:pt x="71" y="74"/>
                  <a:pt x="71" y="74"/>
                  <a:pt x="71" y="74"/>
                </a:cubicBezTo>
                <a:cubicBezTo>
                  <a:pt x="71" y="76"/>
                  <a:pt x="73" y="77"/>
                  <a:pt x="74" y="77"/>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334">
            <a:extLst>
              <a:ext uri="{FF2B5EF4-FFF2-40B4-BE49-F238E27FC236}">
                <a16:creationId xmlns:a16="http://schemas.microsoft.com/office/drawing/2014/main" id="{DF28B764-E85F-1640-9C5B-161328902ADD}"/>
              </a:ext>
            </a:extLst>
          </p:cNvPr>
          <p:cNvSpPr>
            <a:spLocks noEditPoints="1"/>
          </p:cNvSpPr>
          <p:nvPr/>
        </p:nvSpPr>
        <p:spPr bwMode="auto">
          <a:xfrm>
            <a:off x="4309637" y="5938838"/>
            <a:ext cx="546100" cy="550863"/>
          </a:xfrm>
          <a:custGeom>
            <a:avLst/>
            <a:gdLst>
              <a:gd name="T0" fmla="*/ 121 w 160"/>
              <a:gd name="T1" fmla="*/ 38 h 160"/>
              <a:gd name="T2" fmla="*/ 118 w 160"/>
              <a:gd name="T3" fmla="*/ 38 h 160"/>
              <a:gd name="T4" fmla="*/ 60 w 160"/>
              <a:gd name="T5" fmla="*/ 78 h 160"/>
              <a:gd name="T6" fmla="*/ 59 w 160"/>
              <a:gd name="T7" fmla="*/ 80 h 160"/>
              <a:gd name="T8" fmla="*/ 60 w 160"/>
              <a:gd name="T9" fmla="*/ 82 h 160"/>
              <a:gd name="T10" fmla="*/ 119 w 160"/>
              <a:gd name="T11" fmla="*/ 122 h 160"/>
              <a:gd name="T12" fmla="*/ 120 w 160"/>
              <a:gd name="T13" fmla="*/ 123 h 160"/>
              <a:gd name="T14" fmla="*/ 121 w 160"/>
              <a:gd name="T15" fmla="*/ 122 h 160"/>
              <a:gd name="T16" fmla="*/ 123 w 160"/>
              <a:gd name="T17" fmla="*/ 120 h 160"/>
              <a:gd name="T18" fmla="*/ 123 w 160"/>
              <a:gd name="T19" fmla="*/ 40 h 160"/>
              <a:gd name="T20" fmla="*/ 121 w 160"/>
              <a:gd name="T21" fmla="*/ 38 h 160"/>
              <a:gd name="T22" fmla="*/ 117 w 160"/>
              <a:gd name="T23" fmla="*/ 115 h 160"/>
              <a:gd name="T24" fmla="*/ 66 w 160"/>
              <a:gd name="T25" fmla="*/ 80 h 160"/>
              <a:gd name="T26" fmla="*/ 117 w 160"/>
              <a:gd name="T27" fmla="*/ 45 h 160"/>
              <a:gd name="T28" fmla="*/ 117 w 160"/>
              <a:gd name="T29" fmla="*/ 115 h 160"/>
              <a:gd name="T30" fmla="*/ 80 w 160"/>
              <a:gd name="T31" fmla="*/ 0 h 160"/>
              <a:gd name="T32" fmla="*/ 0 w 160"/>
              <a:gd name="T33" fmla="*/ 80 h 160"/>
              <a:gd name="T34" fmla="*/ 80 w 160"/>
              <a:gd name="T35" fmla="*/ 160 h 160"/>
              <a:gd name="T36" fmla="*/ 160 w 160"/>
              <a:gd name="T37" fmla="*/ 80 h 160"/>
              <a:gd name="T38" fmla="*/ 80 w 160"/>
              <a:gd name="T39" fmla="*/ 0 h 160"/>
              <a:gd name="T40" fmla="*/ 80 w 160"/>
              <a:gd name="T41" fmla="*/ 155 h 160"/>
              <a:gd name="T42" fmla="*/ 5 w 160"/>
              <a:gd name="T43" fmla="*/ 80 h 160"/>
              <a:gd name="T44" fmla="*/ 80 w 160"/>
              <a:gd name="T45" fmla="*/ 5 h 160"/>
              <a:gd name="T46" fmla="*/ 155 w 160"/>
              <a:gd name="T47" fmla="*/ 80 h 160"/>
              <a:gd name="T48" fmla="*/ 80 w 160"/>
              <a:gd name="T49" fmla="*/ 155 h 160"/>
              <a:gd name="T50" fmla="*/ 35 w 160"/>
              <a:gd name="T51" fmla="*/ 123 h 160"/>
              <a:gd name="T52" fmla="*/ 53 w 160"/>
              <a:gd name="T53" fmla="*/ 123 h 160"/>
              <a:gd name="T54" fmla="*/ 53 w 160"/>
              <a:gd name="T55" fmla="*/ 37 h 160"/>
              <a:gd name="T56" fmla="*/ 35 w 160"/>
              <a:gd name="T57" fmla="*/ 37 h 160"/>
              <a:gd name="T58" fmla="*/ 35 w 160"/>
              <a:gd name="T59" fmla="*/ 123 h 160"/>
              <a:gd name="T60" fmla="*/ 40 w 160"/>
              <a:gd name="T61" fmla="*/ 43 h 160"/>
              <a:gd name="T62" fmla="*/ 48 w 160"/>
              <a:gd name="T63" fmla="*/ 43 h 160"/>
              <a:gd name="T64" fmla="*/ 48 w 160"/>
              <a:gd name="T65" fmla="*/ 117 h 160"/>
              <a:gd name="T66" fmla="*/ 40 w 160"/>
              <a:gd name="T67" fmla="*/ 117 h 160"/>
              <a:gd name="T68" fmla="*/ 40 w 160"/>
              <a:gd name="T69"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121" y="38"/>
                </a:moveTo>
                <a:cubicBezTo>
                  <a:pt x="120" y="37"/>
                  <a:pt x="119" y="37"/>
                  <a:pt x="118" y="38"/>
                </a:cubicBezTo>
                <a:cubicBezTo>
                  <a:pt x="60" y="78"/>
                  <a:pt x="60" y="78"/>
                  <a:pt x="60" y="78"/>
                </a:cubicBezTo>
                <a:cubicBezTo>
                  <a:pt x="59" y="78"/>
                  <a:pt x="59" y="79"/>
                  <a:pt x="59" y="80"/>
                </a:cubicBezTo>
                <a:cubicBezTo>
                  <a:pt x="59" y="81"/>
                  <a:pt x="59" y="82"/>
                  <a:pt x="60" y="82"/>
                </a:cubicBezTo>
                <a:cubicBezTo>
                  <a:pt x="119" y="122"/>
                  <a:pt x="119" y="122"/>
                  <a:pt x="119" y="122"/>
                </a:cubicBezTo>
                <a:cubicBezTo>
                  <a:pt x="119" y="123"/>
                  <a:pt x="119" y="123"/>
                  <a:pt x="120" y="123"/>
                </a:cubicBezTo>
                <a:cubicBezTo>
                  <a:pt x="120" y="123"/>
                  <a:pt x="121" y="123"/>
                  <a:pt x="121" y="122"/>
                </a:cubicBezTo>
                <a:cubicBezTo>
                  <a:pt x="122" y="122"/>
                  <a:pt x="123" y="121"/>
                  <a:pt x="123" y="120"/>
                </a:cubicBezTo>
                <a:cubicBezTo>
                  <a:pt x="123" y="40"/>
                  <a:pt x="123" y="40"/>
                  <a:pt x="123" y="40"/>
                </a:cubicBezTo>
                <a:cubicBezTo>
                  <a:pt x="123" y="39"/>
                  <a:pt x="122" y="38"/>
                  <a:pt x="121" y="38"/>
                </a:cubicBezTo>
                <a:close/>
                <a:moveTo>
                  <a:pt x="117" y="115"/>
                </a:moveTo>
                <a:cubicBezTo>
                  <a:pt x="66" y="80"/>
                  <a:pt x="66" y="80"/>
                  <a:pt x="66" y="80"/>
                </a:cubicBezTo>
                <a:cubicBezTo>
                  <a:pt x="117" y="45"/>
                  <a:pt x="117" y="45"/>
                  <a:pt x="117" y="45"/>
                </a:cubicBezTo>
                <a:lnTo>
                  <a:pt x="117" y="115"/>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35" y="123"/>
                </a:moveTo>
                <a:cubicBezTo>
                  <a:pt x="53" y="123"/>
                  <a:pt x="53" y="123"/>
                  <a:pt x="53" y="123"/>
                </a:cubicBezTo>
                <a:cubicBezTo>
                  <a:pt x="53" y="37"/>
                  <a:pt x="53" y="37"/>
                  <a:pt x="53" y="37"/>
                </a:cubicBezTo>
                <a:cubicBezTo>
                  <a:pt x="35" y="37"/>
                  <a:pt x="35" y="37"/>
                  <a:pt x="35" y="37"/>
                </a:cubicBezTo>
                <a:lnTo>
                  <a:pt x="35" y="123"/>
                </a:lnTo>
                <a:close/>
                <a:moveTo>
                  <a:pt x="40" y="43"/>
                </a:moveTo>
                <a:cubicBezTo>
                  <a:pt x="48" y="43"/>
                  <a:pt x="48" y="43"/>
                  <a:pt x="48" y="43"/>
                </a:cubicBezTo>
                <a:cubicBezTo>
                  <a:pt x="48" y="117"/>
                  <a:pt x="48" y="117"/>
                  <a:pt x="48" y="117"/>
                </a:cubicBezTo>
                <a:cubicBezTo>
                  <a:pt x="40" y="117"/>
                  <a:pt x="40" y="117"/>
                  <a:pt x="40" y="117"/>
                </a:cubicBezTo>
                <a:lnTo>
                  <a:pt x="40" y="43"/>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1335">
            <a:extLst>
              <a:ext uri="{FF2B5EF4-FFF2-40B4-BE49-F238E27FC236}">
                <a16:creationId xmlns:a16="http://schemas.microsoft.com/office/drawing/2014/main" id="{CD4F9B43-0FE5-F34D-BBA5-3C5789DE77B3}"/>
              </a:ext>
            </a:extLst>
          </p:cNvPr>
          <p:cNvSpPr>
            <a:spLocks noEditPoints="1"/>
          </p:cNvSpPr>
          <p:nvPr/>
        </p:nvSpPr>
        <p:spPr bwMode="auto">
          <a:xfrm>
            <a:off x="5265312" y="365125"/>
            <a:ext cx="566738" cy="550863"/>
          </a:xfrm>
          <a:custGeom>
            <a:avLst/>
            <a:gdLst>
              <a:gd name="T0" fmla="*/ 160 w 166"/>
              <a:gd name="T1" fmla="*/ 31 h 160"/>
              <a:gd name="T2" fmla="*/ 128 w 166"/>
              <a:gd name="T3" fmla="*/ 0 h 160"/>
              <a:gd name="T4" fmla="*/ 89 w 166"/>
              <a:gd name="T5" fmla="*/ 0 h 160"/>
              <a:gd name="T6" fmla="*/ 73 w 166"/>
              <a:gd name="T7" fmla="*/ 16 h 160"/>
              <a:gd name="T8" fmla="*/ 2 w 166"/>
              <a:gd name="T9" fmla="*/ 35 h 160"/>
              <a:gd name="T10" fmla="*/ 2 w 166"/>
              <a:gd name="T11" fmla="*/ 39 h 160"/>
              <a:gd name="T12" fmla="*/ 4 w 166"/>
              <a:gd name="T13" fmla="*/ 40 h 160"/>
              <a:gd name="T14" fmla="*/ 6 w 166"/>
              <a:gd name="T15" fmla="*/ 39 h 160"/>
              <a:gd name="T16" fmla="*/ 68 w 166"/>
              <a:gd name="T17" fmla="*/ 21 h 160"/>
              <a:gd name="T18" fmla="*/ 17 w 166"/>
              <a:gd name="T19" fmla="*/ 72 h 160"/>
              <a:gd name="T20" fmla="*/ 17 w 166"/>
              <a:gd name="T21" fmla="*/ 72 h 160"/>
              <a:gd name="T22" fmla="*/ 0 w 166"/>
              <a:gd name="T23" fmla="*/ 89 h 160"/>
              <a:gd name="T24" fmla="*/ 71 w 166"/>
              <a:gd name="T25" fmla="*/ 160 h 160"/>
              <a:gd name="T26" fmla="*/ 100 w 166"/>
              <a:gd name="T27" fmla="*/ 132 h 160"/>
              <a:gd name="T28" fmla="*/ 119 w 166"/>
              <a:gd name="T29" fmla="*/ 136 h 160"/>
              <a:gd name="T30" fmla="*/ 145 w 166"/>
              <a:gd name="T31" fmla="*/ 127 h 160"/>
              <a:gd name="T32" fmla="*/ 155 w 166"/>
              <a:gd name="T33" fmla="*/ 77 h 160"/>
              <a:gd name="T34" fmla="*/ 160 w 166"/>
              <a:gd name="T35" fmla="*/ 72 h 160"/>
              <a:gd name="T36" fmla="*/ 160 w 166"/>
              <a:gd name="T37" fmla="*/ 31 h 160"/>
              <a:gd name="T38" fmla="*/ 126 w 166"/>
              <a:gd name="T39" fmla="*/ 6 h 160"/>
              <a:gd name="T40" fmla="*/ 154 w 166"/>
              <a:gd name="T41" fmla="*/ 34 h 160"/>
              <a:gd name="T42" fmla="*/ 154 w 166"/>
              <a:gd name="T43" fmla="*/ 69 h 160"/>
              <a:gd name="T44" fmla="*/ 99 w 166"/>
              <a:gd name="T45" fmla="*/ 124 h 160"/>
              <a:gd name="T46" fmla="*/ 89 w 166"/>
              <a:gd name="T47" fmla="*/ 80 h 160"/>
              <a:gd name="T48" fmla="*/ 87 w 166"/>
              <a:gd name="T49" fmla="*/ 77 h 160"/>
              <a:gd name="T50" fmla="*/ 84 w 166"/>
              <a:gd name="T51" fmla="*/ 79 h 160"/>
              <a:gd name="T52" fmla="*/ 95 w 166"/>
              <a:gd name="T53" fmla="*/ 128 h 160"/>
              <a:gd name="T54" fmla="*/ 88 w 166"/>
              <a:gd name="T55" fmla="*/ 135 h 160"/>
              <a:gd name="T56" fmla="*/ 25 w 166"/>
              <a:gd name="T57" fmla="*/ 72 h 160"/>
              <a:gd name="T58" fmla="*/ 75 w 166"/>
              <a:gd name="T59" fmla="*/ 22 h 160"/>
              <a:gd name="T60" fmla="*/ 112 w 166"/>
              <a:gd name="T61" fmla="*/ 35 h 160"/>
              <a:gd name="T62" fmla="*/ 112 w 166"/>
              <a:gd name="T63" fmla="*/ 37 h 160"/>
              <a:gd name="T64" fmla="*/ 123 w 166"/>
              <a:gd name="T65" fmla="*/ 48 h 160"/>
              <a:gd name="T66" fmla="*/ 134 w 166"/>
              <a:gd name="T67" fmla="*/ 37 h 160"/>
              <a:gd name="T68" fmla="*/ 123 w 166"/>
              <a:gd name="T69" fmla="*/ 26 h 160"/>
              <a:gd name="T70" fmla="*/ 115 w 166"/>
              <a:gd name="T71" fmla="*/ 30 h 160"/>
              <a:gd name="T72" fmla="*/ 80 w 166"/>
              <a:gd name="T73" fmla="*/ 16 h 160"/>
              <a:gd name="T74" fmla="*/ 91 w 166"/>
              <a:gd name="T75" fmla="*/ 6 h 160"/>
              <a:gd name="T76" fmla="*/ 126 w 166"/>
              <a:gd name="T77" fmla="*/ 6 h 160"/>
              <a:gd name="T78" fmla="*/ 119 w 166"/>
              <a:gd name="T79" fmla="*/ 39 h 160"/>
              <a:gd name="T80" fmla="*/ 123 w 166"/>
              <a:gd name="T81" fmla="*/ 39 h 160"/>
              <a:gd name="T82" fmla="*/ 122 w 166"/>
              <a:gd name="T83" fmla="*/ 35 h 160"/>
              <a:gd name="T84" fmla="*/ 119 w 166"/>
              <a:gd name="T85" fmla="*/ 33 h 160"/>
              <a:gd name="T86" fmla="*/ 123 w 166"/>
              <a:gd name="T87" fmla="*/ 31 h 160"/>
              <a:gd name="T88" fmla="*/ 129 w 166"/>
              <a:gd name="T89" fmla="*/ 37 h 160"/>
              <a:gd name="T90" fmla="*/ 123 w 166"/>
              <a:gd name="T91" fmla="*/ 42 h 160"/>
              <a:gd name="T92" fmla="*/ 118 w 166"/>
              <a:gd name="T93" fmla="*/ 39 h 160"/>
              <a:gd name="T94" fmla="*/ 119 w 166"/>
              <a:gd name="T95" fmla="*/ 39 h 160"/>
              <a:gd name="T96" fmla="*/ 8 w 166"/>
              <a:gd name="T97" fmla="*/ 89 h 160"/>
              <a:gd name="T98" fmla="*/ 21 w 166"/>
              <a:gd name="T99" fmla="*/ 76 h 160"/>
              <a:gd name="T100" fmla="*/ 84 w 166"/>
              <a:gd name="T101" fmla="*/ 139 h 160"/>
              <a:gd name="T102" fmla="*/ 71 w 166"/>
              <a:gd name="T103" fmla="*/ 152 h 160"/>
              <a:gd name="T104" fmla="*/ 8 w 166"/>
              <a:gd name="T105" fmla="*/ 89 h 160"/>
              <a:gd name="T106" fmla="*/ 141 w 166"/>
              <a:gd name="T107" fmla="*/ 123 h 160"/>
              <a:gd name="T108" fmla="*/ 104 w 166"/>
              <a:gd name="T109" fmla="*/ 127 h 160"/>
              <a:gd name="T110" fmla="*/ 150 w 166"/>
              <a:gd name="T111" fmla="*/ 81 h 160"/>
              <a:gd name="T112" fmla="*/ 141 w 166"/>
              <a:gd name="T113"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 h="160">
                <a:moveTo>
                  <a:pt x="160" y="31"/>
                </a:moveTo>
                <a:cubicBezTo>
                  <a:pt x="128" y="0"/>
                  <a:pt x="128" y="0"/>
                  <a:pt x="128" y="0"/>
                </a:cubicBezTo>
                <a:cubicBezTo>
                  <a:pt x="89" y="0"/>
                  <a:pt x="89" y="0"/>
                  <a:pt x="89" y="0"/>
                </a:cubicBezTo>
                <a:cubicBezTo>
                  <a:pt x="73" y="16"/>
                  <a:pt x="73" y="16"/>
                  <a:pt x="73" y="16"/>
                </a:cubicBezTo>
                <a:cubicBezTo>
                  <a:pt x="34" y="12"/>
                  <a:pt x="3" y="34"/>
                  <a:pt x="2" y="35"/>
                </a:cubicBezTo>
                <a:cubicBezTo>
                  <a:pt x="1" y="35"/>
                  <a:pt x="1" y="37"/>
                  <a:pt x="2" y="39"/>
                </a:cubicBezTo>
                <a:cubicBezTo>
                  <a:pt x="2" y="39"/>
                  <a:pt x="3" y="40"/>
                  <a:pt x="4" y="40"/>
                </a:cubicBezTo>
                <a:cubicBezTo>
                  <a:pt x="5" y="40"/>
                  <a:pt x="5" y="40"/>
                  <a:pt x="6" y="39"/>
                </a:cubicBezTo>
                <a:cubicBezTo>
                  <a:pt x="6" y="39"/>
                  <a:pt x="33" y="20"/>
                  <a:pt x="68" y="21"/>
                </a:cubicBezTo>
                <a:cubicBezTo>
                  <a:pt x="17" y="72"/>
                  <a:pt x="17" y="72"/>
                  <a:pt x="17" y="72"/>
                </a:cubicBezTo>
                <a:cubicBezTo>
                  <a:pt x="17" y="72"/>
                  <a:pt x="17" y="72"/>
                  <a:pt x="17" y="72"/>
                </a:cubicBezTo>
                <a:cubicBezTo>
                  <a:pt x="0" y="89"/>
                  <a:pt x="0" y="89"/>
                  <a:pt x="0" y="89"/>
                </a:cubicBezTo>
                <a:cubicBezTo>
                  <a:pt x="71" y="160"/>
                  <a:pt x="71" y="160"/>
                  <a:pt x="71" y="160"/>
                </a:cubicBezTo>
                <a:cubicBezTo>
                  <a:pt x="100" y="132"/>
                  <a:pt x="100" y="132"/>
                  <a:pt x="100" y="132"/>
                </a:cubicBezTo>
                <a:cubicBezTo>
                  <a:pt x="106" y="135"/>
                  <a:pt x="112" y="136"/>
                  <a:pt x="119" y="136"/>
                </a:cubicBezTo>
                <a:cubicBezTo>
                  <a:pt x="129" y="136"/>
                  <a:pt x="139" y="133"/>
                  <a:pt x="145" y="127"/>
                </a:cubicBezTo>
                <a:cubicBezTo>
                  <a:pt x="166" y="106"/>
                  <a:pt x="158" y="83"/>
                  <a:pt x="155" y="77"/>
                </a:cubicBezTo>
                <a:cubicBezTo>
                  <a:pt x="160" y="72"/>
                  <a:pt x="160" y="72"/>
                  <a:pt x="160" y="72"/>
                </a:cubicBezTo>
                <a:cubicBezTo>
                  <a:pt x="160" y="31"/>
                  <a:pt x="160" y="31"/>
                  <a:pt x="160" y="31"/>
                </a:cubicBezTo>
                <a:close/>
                <a:moveTo>
                  <a:pt x="126" y="6"/>
                </a:moveTo>
                <a:cubicBezTo>
                  <a:pt x="154" y="34"/>
                  <a:pt x="154" y="34"/>
                  <a:pt x="154" y="34"/>
                </a:cubicBezTo>
                <a:cubicBezTo>
                  <a:pt x="154" y="69"/>
                  <a:pt x="154" y="69"/>
                  <a:pt x="154" y="69"/>
                </a:cubicBezTo>
                <a:cubicBezTo>
                  <a:pt x="99" y="124"/>
                  <a:pt x="99" y="124"/>
                  <a:pt x="99" y="124"/>
                </a:cubicBezTo>
                <a:cubicBezTo>
                  <a:pt x="87" y="116"/>
                  <a:pt x="84" y="101"/>
                  <a:pt x="89" y="80"/>
                </a:cubicBezTo>
                <a:cubicBezTo>
                  <a:pt x="89" y="79"/>
                  <a:pt x="88" y="77"/>
                  <a:pt x="87" y="77"/>
                </a:cubicBezTo>
                <a:cubicBezTo>
                  <a:pt x="85" y="76"/>
                  <a:pt x="84" y="77"/>
                  <a:pt x="84" y="79"/>
                </a:cubicBezTo>
                <a:cubicBezTo>
                  <a:pt x="76" y="108"/>
                  <a:pt x="86" y="122"/>
                  <a:pt x="95" y="128"/>
                </a:cubicBezTo>
                <a:cubicBezTo>
                  <a:pt x="88" y="135"/>
                  <a:pt x="88" y="135"/>
                  <a:pt x="88" y="135"/>
                </a:cubicBezTo>
                <a:cubicBezTo>
                  <a:pt x="25" y="72"/>
                  <a:pt x="25" y="72"/>
                  <a:pt x="25" y="72"/>
                </a:cubicBezTo>
                <a:cubicBezTo>
                  <a:pt x="75" y="22"/>
                  <a:pt x="75" y="22"/>
                  <a:pt x="75" y="22"/>
                </a:cubicBezTo>
                <a:cubicBezTo>
                  <a:pt x="87" y="23"/>
                  <a:pt x="100" y="27"/>
                  <a:pt x="112" y="35"/>
                </a:cubicBezTo>
                <a:cubicBezTo>
                  <a:pt x="112" y="35"/>
                  <a:pt x="112" y="36"/>
                  <a:pt x="112" y="37"/>
                </a:cubicBezTo>
                <a:cubicBezTo>
                  <a:pt x="112" y="43"/>
                  <a:pt x="117" y="48"/>
                  <a:pt x="123" y="48"/>
                </a:cubicBezTo>
                <a:cubicBezTo>
                  <a:pt x="129" y="48"/>
                  <a:pt x="134" y="43"/>
                  <a:pt x="134" y="37"/>
                </a:cubicBezTo>
                <a:cubicBezTo>
                  <a:pt x="134" y="31"/>
                  <a:pt x="129" y="26"/>
                  <a:pt x="123" y="26"/>
                </a:cubicBezTo>
                <a:cubicBezTo>
                  <a:pt x="120" y="26"/>
                  <a:pt x="117" y="27"/>
                  <a:pt x="115" y="30"/>
                </a:cubicBezTo>
                <a:cubicBezTo>
                  <a:pt x="103" y="22"/>
                  <a:pt x="91" y="18"/>
                  <a:pt x="80" y="16"/>
                </a:cubicBezTo>
                <a:cubicBezTo>
                  <a:pt x="91" y="6"/>
                  <a:pt x="91" y="6"/>
                  <a:pt x="91" y="6"/>
                </a:cubicBezTo>
                <a:lnTo>
                  <a:pt x="126" y="6"/>
                </a:lnTo>
                <a:close/>
                <a:moveTo>
                  <a:pt x="119" y="39"/>
                </a:moveTo>
                <a:cubicBezTo>
                  <a:pt x="120" y="40"/>
                  <a:pt x="122" y="40"/>
                  <a:pt x="123" y="39"/>
                </a:cubicBezTo>
                <a:cubicBezTo>
                  <a:pt x="124" y="37"/>
                  <a:pt x="123" y="36"/>
                  <a:pt x="122" y="35"/>
                </a:cubicBezTo>
                <a:cubicBezTo>
                  <a:pt x="121" y="34"/>
                  <a:pt x="120" y="33"/>
                  <a:pt x="119" y="33"/>
                </a:cubicBezTo>
                <a:cubicBezTo>
                  <a:pt x="120" y="32"/>
                  <a:pt x="122" y="31"/>
                  <a:pt x="123" y="31"/>
                </a:cubicBezTo>
                <a:cubicBezTo>
                  <a:pt x="126" y="31"/>
                  <a:pt x="129" y="34"/>
                  <a:pt x="129" y="37"/>
                </a:cubicBezTo>
                <a:cubicBezTo>
                  <a:pt x="129" y="40"/>
                  <a:pt x="126" y="42"/>
                  <a:pt x="123" y="42"/>
                </a:cubicBezTo>
                <a:cubicBezTo>
                  <a:pt x="121" y="42"/>
                  <a:pt x="119" y="41"/>
                  <a:pt x="118" y="39"/>
                </a:cubicBezTo>
                <a:cubicBezTo>
                  <a:pt x="118" y="39"/>
                  <a:pt x="118" y="39"/>
                  <a:pt x="119" y="39"/>
                </a:cubicBezTo>
                <a:close/>
                <a:moveTo>
                  <a:pt x="8" y="89"/>
                </a:moveTo>
                <a:cubicBezTo>
                  <a:pt x="21" y="76"/>
                  <a:pt x="21" y="76"/>
                  <a:pt x="21" y="76"/>
                </a:cubicBezTo>
                <a:cubicBezTo>
                  <a:pt x="84" y="139"/>
                  <a:pt x="84" y="139"/>
                  <a:pt x="84" y="139"/>
                </a:cubicBezTo>
                <a:cubicBezTo>
                  <a:pt x="71" y="152"/>
                  <a:pt x="71" y="152"/>
                  <a:pt x="71" y="152"/>
                </a:cubicBezTo>
                <a:lnTo>
                  <a:pt x="8" y="89"/>
                </a:lnTo>
                <a:close/>
                <a:moveTo>
                  <a:pt x="141" y="123"/>
                </a:moveTo>
                <a:cubicBezTo>
                  <a:pt x="134" y="130"/>
                  <a:pt x="117" y="133"/>
                  <a:pt x="104" y="127"/>
                </a:cubicBezTo>
                <a:cubicBezTo>
                  <a:pt x="150" y="81"/>
                  <a:pt x="150" y="81"/>
                  <a:pt x="150" y="81"/>
                </a:cubicBezTo>
                <a:cubicBezTo>
                  <a:pt x="153" y="88"/>
                  <a:pt x="158" y="106"/>
                  <a:pt x="141" y="123"/>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1336">
            <a:extLst>
              <a:ext uri="{FF2B5EF4-FFF2-40B4-BE49-F238E27FC236}">
                <a16:creationId xmlns:a16="http://schemas.microsoft.com/office/drawing/2014/main" id="{5CD9913C-949A-5147-B4F9-AC7E1F69072E}"/>
              </a:ext>
            </a:extLst>
          </p:cNvPr>
          <p:cNvSpPr>
            <a:spLocks noEditPoints="1"/>
          </p:cNvSpPr>
          <p:nvPr/>
        </p:nvSpPr>
        <p:spPr bwMode="auto">
          <a:xfrm>
            <a:off x="5265312" y="984250"/>
            <a:ext cx="546100" cy="550863"/>
          </a:xfrm>
          <a:custGeom>
            <a:avLst/>
            <a:gdLst>
              <a:gd name="T0" fmla="*/ 147 w 160"/>
              <a:gd name="T1" fmla="*/ 72 h 160"/>
              <a:gd name="T2" fmla="*/ 120 w 160"/>
              <a:gd name="T3" fmla="*/ 72 h 160"/>
              <a:gd name="T4" fmla="*/ 133 w 160"/>
              <a:gd name="T5" fmla="*/ 64 h 160"/>
              <a:gd name="T6" fmla="*/ 133 w 160"/>
              <a:gd name="T7" fmla="*/ 80 h 160"/>
              <a:gd name="T8" fmla="*/ 133 w 160"/>
              <a:gd name="T9" fmla="*/ 64 h 160"/>
              <a:gd name="T10" fmla="*/ 112 w 160"/>
              <a:gd name="T11" fmla="*/ 120 h 160"/>
              <a:gd name="T12" fmla="*/ 45 w 160"/>
              <a:gd name="T13" fmla="*/ 117 h 160"/>
              <a:gd name="T14" fmla="*/ 112 w 160"/>
              <a:gd name="T15" fmla="*/ 115 h 160"/>
              <a:gd name="T16" fmla="*/ 115 w 160"/>
              <a:gd name="T17" fmla="*/ 131 h 160"/>
              <a:gd name="T18" fmla="*/ 48 w 160"/>
              <a:gd name="T19" fmla="*/ 133 h 160"/>
              <a:gd name="T20" fmla="*/ 48 w 160"/>
              <a:gd name="T21" fmla="*/ 128 h 160"/>
              <a:gd name="T22" fmla="*/ 115 w 160"/>
              <a:gd name="T23" fmla="*/ 131 h 160"/>
              <a:gd name="T24" fmla="*/ 136 w 160"/>
              <a:gd name="T25" fmla="*/ 0 h 160"/>
              <a:gd name="T26" fmla="*/ 24 w 160"/>
              <a:gd name="T27" fmla="*/ 45 h 160"/>
              <a:gd name="T28" fmla="*/ 0 w 160"/>
              <a:gd name="T29" fmla="*/ 136 h 160"/>
              <a:gd name="T30" fmla="*/ 16 w 160"/>
              <a:gd name="T31" fmla="*/ 144 h 160"/>
              <a:gd name="T32" fmla="*/ 24 w 160"/>
              <a:gd name="T33" fmla="*/ 160 h 160"/>
              <a:gd name="T34" fmla="*/ 136 w 160"/>
              <a:gd name="T35" fmla="*/ 144 h 160"/>
              <a:gd name="T36" fmla="*/ 144 w 160"/>
              <a:gd name="T37" fmla="*/ 136 h 160"/>
              <a:gd name="T38" fmla="*/ 160 w 160"/>
              <a:gd name="T39" fmla="*/ 45 h 160"/>
              <a:gd name="T40" fmla="*/ 29 w 160"/>
              <a:gd name="T41" fmla="*/ 5 h 160"/>
              <a:gd name="T42" fmla="*/ 131 w 160"/>
              <a:gd name="T43" fmla="*/ 45 h 160"/>
              <a:gd name="T44" fmla="*/ 29 w 160"/>
              <a:gd name="T45" fmla="*/ 5 h 160"/>
              <a:gd name="T46" fmla="*/ 136 w 160"/>
              <a:gd name="T47" fmla="*/ 51 h 160"/>
              <a:gd name="T48" fmla="*/ 155 w 160"/>
              <a:gd name="T49" fmla="*/ 93 h 160"/>
              <a:gd name="T50" fmla="*/ 5 w 160"/>
              <a:gd name="T51" fmla="*/ 51 h 160"/>
              <a:gd name="T52" fmla="*/ 21 w 160"/>
              <a:gd name="T53" fmla="*/ 139 h 160"/>
              <a:gd name="T54" fmla="*/ 21 w 160"/>
              <a:gd name="T55" fmla="*/ 131 h 160"/>
              <a:gd name="T56" fmla="*/ 19 w 160"/>
              <a:gd name="T57" fmla="*/ 117 h 160"/>
              <a:gd name="T58" fmla="*/ 16 w 160"/>
              <a:gd name="T59" fmla="*/ 131 h 160"/>
              <a:gd name="T60" fmla="*/ 5 w 160"/>
              <a:gd name="T61" fmla="*/ 99 h 160"/>
              <a:gd name="T62" fmla="*/ 24 w 160"/>
              <a:gd name="T63" fmla="*/ 139 h 160"/>
              <a:gd name="T64" fmla="*/ 131 w 160"/>
              <a:gd name="T65" fmla="*/ 155 h 160"/>
              <a:gd name="T66" fmla="*/ 29 w 160"/>
              <a:gd name="T67" fmla="*/ 144 h 160"/>
              <a:gd name="T68" fmla="*/ 131 w 160"/>
              <a:gd name="T69" fmla="*/ 99 h 160"/>
              <a:gd name="T70" fmla="*/ 131 w 160"/>
              <a:gd name="T71" fmla="*/ 155 h 160"/>
              <a:gd name="T72" fmla="*/ 144 w 160"/>
              <a:gd name="T73" fmla="*/ 120 h 160"/>
              <a:gd name="T74" fmla="*/ 139 w 160"/>
              <a:gd name="T75" fmla="*/ 120 h 160"/>
              <a:gd name="T76" fmla="*/ 139 w 160"/>
              <a:gd name="T77" fmla="*/ 133 h 160"/>
              <a:gd name="T78" fmla="*/ 136 w 160"/>
              <a:gd name="T79" fmla="*/ 139 h 160"/>
              <a:gd name="T80" fmla="*/ 155 w 160"/>
              <a:gd name="T81" fmla="*/ 99 h 160"/>
              <a:gd name="T82" fmla="*/ 144 w 160"/>
              <a:gd name="T83" fmla="*/ 13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60">
                <a:moveTo>
                  <a:pt x="133" y="85"/>
                </a:moveTo>
                <a:cubicBezTo>
                  <a:pt x="141" y="85"/>
                  <a:pt x="147" y="79"/>
                  <a:pt x="147" y="72"/>
                </a:cubicBezTo>
                <a:cubicBezTo>
                  <a:pt x="147" y="65"/>
                  <a:pt x="141" y="59"/>
                  <a:pt x="133" y="59"/>
                </a:cubicBezTo>
                <a:cubicBezTo>
                  <a:pt x="126" y="59"/>
                  <a:pt x="120" y="65"/>
                  <a:pt x="120" y="72"/>
                </a:cubicBezTo>
                <a:cubicBezTo>
                  <a:pt x="120" y="79"/>
                  <a:pt x="126" y="85"/>
                  <a:pt x="133" y="85"/>
                </a:cubicBezTo>
                <a:close/>
                <a:moveTo>
                  <a:pt x="133" y="64"/>
                </a:moveTo>
                <a:cubicBezTo>
                  <a:pt x="138" y="64"/>
                  <a:pt x="141" y="68"/>
                  <a:pt x="141" y="72"/>
                </a:cubicBezTo>
                <a:cubicBezTo>
                  <a:pt x="141" y="76"/>
                  <a:pt x="138" y="80"/>
                  <a:pt x="133" y="80"/>
                </a:cubicBezTo>
                <a:cubicBezTo>
                  <a:pt x="129" y="80"/>
                  <a:pt x="125" y="76"/>
                  <a:pt x="125" y="72"/>
                </a:cubicBezTo>
                <a:cubicBezTo>
                  <a:pt x="125" y="68"/>
                  <a:pt x="129" y="64"/>
                  <a:pt x="133" y="64"/>
                </a:cubicBezTo>
                <a:close/>
                <a:moveTo>
                  <a:pt x="115" y="117"/>
                </a:moveTo>
                <a:cubicBezTo>
                  <a:pt x="115" y="119"/>
                  <a:pt x="113" y="120"/>
                  <a:pt x="112" y="120"/>
                </a:cubicBezTo>
                <a:cubicBezTo>
                  <a:pt x="48" y="120"/>
                  <a:pt x="48" y="120"/>
                  <a:pt x="48" y="120"/>
                </a:cubicBezTo>
                <a:cubicBezTo>
                  <a:pt x="47" y="120"/>
                  <a:pt x="45" y="119"/>
                  <a:pt x="45" y="117"/>
                </a:cubicBezTo>
                <a:cubicBezTo>
                  <a:pt x="45" y="116"/>
                  <a:pt x="47" y="115"/>
                  <a:pt x="48" y="115"/>
                </a:cubicBezTo>
                <a:cubicBezTo>
                  <a:pt x="112" y="115"/>
                  <a:pt x="112" y="115"/>
                  <a:pt x="112" y="115"/>
                </a:cubicBezTo>
                <a:cubicBezTo>
                  <a:pt x="113" y="115"/>
                  <a:pt x="115" y="116"/>
                  <a:pt x="115" y="117"/>
                </a:cubicBezTo>
                <a:close/>
                <a:moveTo>
                  <a:pt x="115" y="131"/>
                </a:moveTo>
                <a:cubicBezTo>
                  <a:pt x="115" y="132"/>
                  <a:pt x="113" y="133"/>
                  <a:pt x="112" y="133"/>
                </a:cubicBezTo>
                <a:cubicBezTo>
                  <a:pt x="48" y="133"/>
                  <a:pt x="48" y="133"/>
                  <a:pt x="48" y="133"/>
                </a:cubicBezTo>
                <a:cubicBezTo>
                  <a:pt x="47" y="133"/>
                  <a:pt x="45" y="132"/>
                  <a:pt x="45" y="131"/>
                </a:cubicBezTo>
                <a:cubicBezTo>
                  <a:pt x="45" y="129"/>
                  <a:pt x="47" y="128"/>
                  <a:pt x="48" y="128"/>
                </a:cubicBezTo>
                <a:cubicBezTo>
                  <a:pt x="112" y="128"/>
                  <a:pt x="112" y="128"/>
                  <a:pt x="112" y="128"/>
                </a:cubicBezTo>
                <a:cubicBezTo>
                  <a:pt x="113" y="128"/>
                  <a:pt x="115" y="129"/>
                  <a:pt x="115" y="131"/>
                </a:cubicBezTo>
                <a:close/>
                <a:moveTo>
                  <a:pt x="136" y="45"/>
                </a:moveTo>
                <a:cubicBezTo>
                  <a:pt x="136" y="0"/>
                  <a:pt x="136" y="0"/>
                  <a:pt x="136" y="0"/>
                </a:cubicBezTo>
                <a:cubicBezTo>
                  <a:pt x="24" y="0"/>
                  <a:pt x="24" y="0"/>
                  <a:pt x="24" y="0"/>
                </a:cubicBezTo>
                <a:cubicBezTo>
                  <a:pt x="24" y="45"/>
                  <a:pt x="24" y="45"/>
                  <a:pt x="24" y="45"/>
                </a:cubicBezTo>
                <a:cubicBezTo>
                  <a:pt x="0" y="45"/>
                  <a:pt x="0" y="45"/>
                  <a:pt x="0" y="45"/>
                </a:cubicBezTo>
                <a:cubicBezTo>
                  <a:pt x="0" y="136"/>
                  <a:pt x="0" y="136"/>
                  <a:pt x="0" y="136"/>
                </a:cubicBezTo>
                <a:cubicBezTo>
                  <a:pt x="16" y="136"/>
                  <a:pt x="16" y="136"/>
                  <a:pt x="16" y="136"/>
                </a:cubicBezTo>
                <a:cubicBezTo>
                  <a:pt x="16" y="144"/>
                  <a:pt x="16" y="144"/>
                  <a:pt x="16" y="144"/>
                </a:cubicBezTo>
                <a:cubicBezTo>
                  <a:pt x="24" y="144"/>
                  <a:pt x="24" y="144"/>
                  <a:pt x="24" y="144"/>
                </a:cubicBezTo>
                <a:cubicBezTo>
                  <a:pt x="24" y="160"/>
                  <a:pt x="24" y="160"/>
                  <a:pt x="24" y="160"/>
                </a:cubicBezTo>
                <a:cubicBezTo>
                  <a:pt x="136" y="160"/>
                  <a:pt x="136" y="160"/>
                  <a:pt x="136" y="160"/>
                </a:cubicBezTo>
                <a:cubicBezTo>
                  <a:pt x="136" y="144"/>
                  <a:pt x="136" y="144"/>
                  <a:pt x="136" y="144"/>
                </a:cubicBezTo>
                <a:cubicBezTo>
                  <a:pt x="144" y="144"/>
                  <a:pt x="144" y="144"/>
                  <a:pt x="144" y="144"/>
                </a:cubicBezTo>
                <a:cubicBezTo>
                  <a:pt x="144" y="136"/>
                  <a:pt x="144" y="136"/>
                  <a:pt x="144" y="136"/>
                </a:cubicBezTo>
                <a:cubicBezTo>
                  <a:pt x="160" y="136"/>
                  <a:pt x="160" y="136"/>
                  <a:pt x="160" y="136"/>
                </a:cubicBezTo>
                <a:cubicBezTo>
                  <a:pt x="160" y="45"/>
                  <a:pt x="160" y="45"/>
                  <a:pt x="160" y="45"/>
                </a:cubicBezTo>
                <a:lnTo>
                  <a:pt x="136" y="45"/>
                </a:lnTo>
                <a:close/>
                <a:moveTo>
                  <a:pt x="29" y="5"/>
                </a:moveTo>
                <a:cubicBezTo>
                  <a:pt x="131" y="5"/>
                  <a:pt x="131" y="5"/>
                  <a:pt x="131" y="5"/>
                </a:cubicBezTo>
                <a:cubicBezTo>
                  <a:pt x="131" y="45"/>
                  <a:pt x="131" y="45"/>
                  <a:pt x="131" y="45"/>
                </a:cubicBezTo>
                <a:cubicBezTo>
                  <a:pt x="29" y="45"/>
                  <a:pt x="29" y="45"/>
                  <a:pt x="29" y="45"/>
                </a:cubicBezTo>
                <a:lnTo>
                  <a:pt x="29" y="5"/>
                </a:lnTo>
                <a:close/>
                <a:moveTo>
                  <a:pt x="24" y="51"/>
                </a:moveTo>
                <a:cubicBezTo>
                  <a:pt x="136" y="51"/>
                  <a:pt x="136" y="51"/>
                  <a:pt x="136" y="51"/>
                </a:cubicBezTo>
                <a:cubicBezTo>
                  <a:pt x="155" y="51"/>
                  <a:pt x="155" y="51"/>
                  <a:pt x="155" y="51"/>
                </a:cubicBezTo>
                <a:cubicBezTo>
                  <a:pt x="155" y="93"/>
                  <a:pt x="155" y="93"/>
                  <a:pt x="155" y="93"/>
                </a:cubicBezTo>
                <a:cubicBezTo>
                  <a:pt x="5" y="93"/>
                  <a:pt x="5" y="93"/>
                  <a:pt x="5" y="93"/>
                </a:cubicBezTo>
                <a:cubicBezTo>
                  <a:pt x="5" y="51"/>
                  <a:pt x="5" y="51"/>
                  <a:pt x="5" y="51"/>
                </a:cubicBezTo>
                <a:lnTo>
                  <a:pt x="24" y="51"/>
                </a:lnTo>
                <a:close/>
                <a:moveTo>
                  <a:pt x="21" y="139"/>
                </a:moveTo>
                <a:cubicBezTo>
                  <a:pt x="21" y="133"/>
                  <a:pt x="21" y="133"/>
                  <a:pt x="21" y="133"/>
                </a:cubicBezTo>
                <a:cubicBezTo>
                  <a:pt x="21" y="131"/>
                  <a:pt x="21" y="131"/>
                  <a:pt x="21" y="131"/>
                </a:cubicBezTo>
                <a:cubicBezTo>
                  <a:pt x="21" y="120"/>
                  <a:pt x="21" y="120"/>
                  <a:pt x="21" y="120"/>
                </a:cubicBezTo>
                <a:cubicBezTo>
                  <a:pt x="21" y="119"/>
                  <a:pt x="20" y="117"/>
                  <a:pt x="19" y="117"/>
                </a:cubicBezTo>
                <a:cubicBezTo>
                  <a:pt x="17" y="117"/>
                  <a:pt x="16" y="119"/>
                  <a:pt x="16" y="120"/>
                </a:cubicBezTo>
                <a:cubicBezTo>
                  <a:pt x="16" y="131"/>
                  <a:pt x="16" y="131"/>
                  <a:pt x="16" y="131"/>
                </a:cubicBezTo>
                <a:cubicBezTo>
                  <a:pt x="5" y="131"/>
                  <a:pt x="5" y="131"/>
                  <a:pt x="5" y="131"/>
                </a:cubicBezTo>
                <a:cubicBezTo>
                  <a:pt x="5" y="99"/>
                  <a:pt x="5" y="99"/>
                  <a:pt x="5" y="99"/>
                </a:cubicBezTo>
                <a:cubicBezTo>
                  <a:pt x="24" y="99"/>
                  <a:pt x="24" y="99"/>
                  <a:pt x="24" y="99"/>
                </a:cubicBezTo>
                <a:cubicBezTo>
                  <a:pt x="24" y="139"/>
                  <a:pt x="24" y="139"/>
                  <a:pt x="24" y="139"/>
                </a:cubicBezTo>
                <a:lnTo>
                  <a:pt x="21" y="139"/>
                </a:lnTo>
                <a:close/>
                <a:moveTo>
                  <a:pt x="131" y="155"/>
                </a:moveTo>
                <a:cubicBezTo>
                  <a:pt x="29" y="155"/>
                  <a:pt x="29" y="155"/>
                  <a:pt x="29" y="155"/>
                </a:cubicBezTo>
                <a:cubicBezTo>
                  <a:pt x="29" y="144"/>
                  <a:pt x="29" y="144"/>
                  <a:pt x="29" y="144"/>
                </a:cubicBezTo>
                <a:cubicBezTo>
                  <a:pt x="29" y="99"/>
                  <a:pt x="29" y="99"/>
                  <a:pt x="29" y="99"/>
                </a:cubicBezTo>
                <a:cubicBezTo>
                  <a:pt x="131" y="99"/>
                  <a:pt x="131" y="99"/>
                  <a:pt x="131" y="99"/>
                </a:cubicBezTo>
                <a:cubicBezTo>
                  <a:pt x="131" y="144"/>
                  <a:pt x="131" y="144"/>
                  <a:pt x="131" y="144"/>
                </a:cubicBezTo>
                <a:lnTo>
                  <a:pt x="131" y="155"/>
                </a:lnTo>
                <a:close/>
                <a:moveTo>
                  <a:pt x="144" y="131"/>
                </a:moveTo>
                <a:cubicBezTo>
                  <a:pt x="144" y="120"/>
                  <a:pt x="144" y="120"/>
                  <a:pt x="144" y="120"/>
                </a:cubicBezTo>
                <a:cubicBezTo>
                  <a:pt x="144" y="119"/>
                  <a:pt x="143" y="117"/>
                  <a:pt x="141" y="117"/>
                </a:cubicBezTo>
                <a:cubicBezTo>
                  <a:pt x="140" y="117"/>
                  <a:pt x="139" y="119"/>
                  <a:pt x="139" y="120"/>
                </a:cubicBezTo>
                <a:cubicBezTo>
                  <a:pt x="139" y="131"/>
                  <a:pt x="139" y="131"/>
                  <a:pt x="139" y="131"/>
                </a:cubicBezTo>
                <a:cubicBezTo>
                  <a:pt x="139" y="133"/>
                  <a:pt x="139" y="133"/>
                  <a:pt x="139" y="133"/>
                </a:cubicBezTo>
                <a:cubicBezTo>
                  <a:pt x="139" y="139"/>
                  <a:pt x="139" y="139"/>
                  <a:pt x="139" y="139"/>
                </a:cubicBezTo>
                <a:cubicBezTo>
                  <a:pt x="136" y="139"/>
                  <a:pt x="136" y="139"/>
                  <a:pt x="136" y="139"/>
                </a:cubicBezTo>
                <a:cubicBezTo>
                  <a:pt x="136" y="99"/>
                  <a:pt x="136" y="99"/>
                  <a:pt x="136" y="99"/>
                </a:cubicBezTo>
                <a:cubicBezTo>
                  <a:pt x="155" y="99"/>
                  <a:pt x="155" y="99"/>
                  <a:pt x="155" y="99"/>
                </a:cubicBezTo>
                <a:cubicBezTo>
                  <a:pt x="155" y="131"/>
                  <a:pt x="155" y="131"/>
                  <a:pt x="155" y="131"/>
                </a:cubicBezTo>
                <a:lnTo>
                  <a:pt x="144" y="131"/>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1337">
            <a:extLst>
              <a:ext uri="{FF2B5EF4-FFF2-40B4-BE49-F238E27FC236}">
                <a16:creationId xmlns:a16="http://schemas.microsoft.com/office/drawing/2014/main" id="{0EA1DAA1-5D1A-7D44-B605-4B5073BAE391}"/>
              </a:ext>
            </a:extLst>
          </p:cNvPr>
          <p:cNvSpPr>
            <a:spLocks noEditPoints="1"/>
          </p:cNvSpPr>
          <p:nvPr/>
        </p:nvSpPr>
        <p:spPr bwMode="auto">
          <a:xfrm>
            <a:off x="5265312" y="1589088"/>
            <a:ext cx="546100" cy="550863"/>
          </a:xfrm>
          <a:custGeom>
            <a:avLst/>
            <a:gdLst>
              <a:gd name="T0" fmla="*/ 160 w 160"/>
              <a:gd name="T1" fmla="*/ 64 h 160"/>
              <a:gd name="T2" fmla="*/ 158 w 160"/>
              <a:gd name="T3" fmla="*/ 62 h 160"/>
              <a:gd name="T4" fmla="*/ 103 w 160"/>
              <a:gd name="T5" fmla="*/ 63 h 160"/>
              <a:gd name="T6" fmla="*/ 58 w 160"/>
              <a:gd name="T7" fmla="*/ 25 h 160"/>
              <a:gd name="T8" fmla="*/ 51 w 160"/>
              <a:gd name="T9" fmla="*/ 1 h 160"/>
              <a:gd name="T10" fmla="*/ 49 w 160"/>
              <a:gd name="T11" fmla="*/ 0 h 160"/>
              <a:gd name="T12" fmla="*/ 47 w 160"/>
              <a:gd name="T13" fmla="*/ 1 h 160"/>
              <a:gd name="T14" fmla="*/ 1 w 160"/>
              <a:gd name="T15" fmla="*/ 47 h 160"/>
              <a:gd name="T16" fmla="*/ 0 w 160"/>
              <a:gd name="T17" fmla="*/ 49 h 160"/>
              <a:gd name="T18" fmla="*/ 1 w 160"/>
              <a:gd name="T19" fmla="*/ 51 h 160"/>
              <a:gd name="T20" fmla="*/ 24 w 160"/>
              <a:gd name="T21" fmla="*/ 58 h 160"/>
              <a:gd name="T22" fmla="*/ 63 w 160"/>
              <a:gd name="T23" fmla="*/ 103 h 160"/>
              <a:gd name="T24" fmla="*/ 62 w 160"/>
              <a:gd name="T25" fmla="*/ 158 h 160"/>
              <a:gd name="T26" fmla="*/ 64 w 160"/>
              <a:gd name="T27" fmla="*/ 160 h 160"/>
              <a:gd name="T28" fmla="*/ 65 w 160"/>
              <a:gd name="T29" fmla="*/ 160 h 160"/>
              <a:gd name="T30" fmla="*/ 67 w 160"/>
              <a:gd name="T31" fmla="*/ 159 h 160"/>
              <a:gd name="T32" fmla="*/ 111 w 160"/>
              <a:gd name="T33" fmla="*/ 115 h 160"/>
              <a:gd name="T34" fmla="*/ 152 w 160"/>
              <a:gd name="T35" fmla="*/ 156 h 160"/>
              <a:gd name="T36" fmla="*/ 154 w 160"/>
              <a:gd name="T37" fmla="*/ 157 h 160"/>
              <a:gd name="T38" fmla="*/ 156 w 160"/>
              <a:gd name="T39" fmla="*/ 156 h 160"/>
              <a:gd name="T40" fmla="*/ 156 w 160"/>
              <a:gd name="T41" fmla="*/ 152 h 160"/>
              <a:gd name="T42" fmla="*/ 115 w 160"/>
              <a:gd name="T43" fmla="*/ 111 h 160"/>
              <a:gd name="T44" fmla="*/ 159 w 160"/>
              <a:gd name="T45" fmla="*/ 67 h 160"/>
              <a:gd name="T46" fmla="*/ 160 w 160"/>
              <a:gd name="T47" fmla="*/ 64 h 160"/>
              <a:gd name="T48" fmla="*/ 107 w 160"/>
              <a:gd name="T49" fmla="*/ 111 h 160"/>
              <a:gd name="T50" fmla="*/ 66 w 160"/>
              <a:gd name="T51" fmla="*/ 151 h 160"/>
              <a:gd name="T52" fmla="*/ 69 w 160"/>
              <a:gd name="T53" fmla="*/ 103 h 160"/>
              <a:gd name="T54" fmla="*/ 69 w 160"/>
              <a:gd name="T55" fmla="*/ 100 h 160"/>
              <a:gd name="T56" fmla="*/ 28 w 160"/>
              <a:gd name="T57" fmla="*/ 52 h 160"/>
              <a:gd name="T58" fmla="*/ 26 w 160"/>
              <a:gd name="T59" fmla="*/ 51 h 160"/>
              <a:gd name="T60" fmla="*/ 25 w 160"/>
              <a:gd name="T61" fmla="*/ 51 h 160"/>
              <a:gd name="T62" fmla="*/ 8 w 160"/>
              <a:gd name="T63" fmla="*/ 49 h 160"/>
              <a:gd name="T64" fmla="*/ 49 w 160"/>
              <a:gd name="T65" fmla="*/ 8 h 160"/>
              <a:gd name="T66" fmla="*/ 51 w 160"/>
              <a:gd name="T67" fmla="*/ 25 h 160"/>
              <a:gd name="T68" fmla="*/ 52 w 160"/>
              <a:gd name="T69" fmla="*/ 28 h 160"/>
              <a:gd name="T70" fmla="*/ 100 w 160"/>
              <a:gd name="T71" fmla="*/ 69 h 160"/>
              <a:gd name="T72" fmla="*/ 103 w 160"/>
              <a:gd name="T73" fmla="*/ 69 h 160"/>
              <a:gd name="T74" fmla="*/ 151 w 160"/>
              <a:gd name="T75" fmla="*/ 66 h 160"/>
              <a:gd name="T76" fmla="*/ 107 w 160"/>
              <a:gd name="T77" fmla="*/ 11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60">
                <a:moveTo>
                  <a:pt x="160" y="64"/>
                </a:moveTo>
                <a:cubicBezTo>
                  <a:pt x="160" y="63"/>
                  <a:pt x="159" y="62"/>
                  <a:pt x="158" y="62"/>
                </a:cubicBezTo>
                <a:cubicBezTo>
                  <a:pt x="132" y="52"/>
                  <a:pt x="109" y="60"/>
                  <a:pt x="103" y="63"/>
                </a:cubicBezTo>
                <a:cubicBezTo>
                  <a:pt x="58" y="25"/>
                  <a:pt x="58" y="25"/>
                  <a:pt x="58" y="25"/>
                </a:cubicBezTo>
                <a:cubicBezTo>
                  <a:pt x="59" y="11"/>
                  <a:pt x="52" y="2"/>
                  <a:pt x="51" y="1"/>
                </a:cubicBezTo>
                <a:cubicBezTo>
                  <a:pt x="51" y="0"/>
                  <a:pt x="50" y="0"/>
                  <a:pt x="49" y="0"/>
                </a:cubicBezTo>
                <a:cubicBezTo>
                  <a:pt x="48" y="0"/>
                  <a:pt x="48" y="0"/>
                  <a:pt x="47" y="1"/>
                </a:cubicBezTo>
                <a:cubicBezTo>
                  <a:pt x="1" y="47"/>
                  <a:pt x="1" y="47"/>
                  <a:pt x="1" y="47"/>
                </a:cubicBezTo>
                <a:cubicBezTo>
                  <a:pt x="0" y="48"/>
                  <a:pt x="0" y="48"/>
                  <a:pt x="0" y="49"/>
                </a:cubicBezTo>
                <a:cubicBezTo>
                  <a:pt x="0" y="50"/>
                  <a:pt x="0" y="51"/>
                  <a:pt x="1" y="51"/>
                </a:cubicBezTo>
                <a:cubicBezTo>
                  <a:pt x="10" y="58"/>
                  <a:pt x="20" y="58"/>
                  <a:pt x="24" y="58"/>
                </a:cubicBezTo>
                <a:cubicBezTo>
                  <a:pt x="63" y="103"/>
                  <a:pt x="63" y="103"/>
                  <a:pt x="63" y="103"/>
                </a:cubicBezTo>
                <a:cubicBezTo>
                  <a:pt x="60" y="109"/>
                  <a:pt x="52" y="134"/>
                  <a:pt x="62" y="158"/>
                </a:cubicBezTo>
                <a:cubicBezTo>
                  <a:pt x="62" y="159"/>
                  <a:pt x="63" y="160"/>
                  <a:pt x="64" y="160"/>
                </a:cubicBezTo>
                <a:cubicBezTo>
                  <a:pt x="64" y="160"/>
                  <a:pt x="65" y="160"/>
                  <a:pt x="65" y="160"/>
                </a:cubicBezTo>
                <a:cubicBezTo>
                  <a:pt x="66" y="160"/>
                  <a:pt x="66" y="160"/>
                  <a:pt x="67" y="159"/>
                </a:cubicBezTo>
                <a:cubicBezTo>
                  <a:pt x="111" y="115"/>
                  <a:pt x="111" y="115"/>
                  <a:pt x="111" y="115"/>
                </a:cubicBezTo>
                <a:cubicBezTo>
                  <a:pt x="152" y="156"/>
                  <a:pt x="152" y="156"/>
                  <a:pt x="152" y="156"/>
                </a:cubicBezTo>
                <a:cubicBezTo>
                  <a:pt x="152" y="157"/>
                  <a:pt x="153" y="157"/>
                  <a:pt x="154" y="157"/>
                </a:cubicBezTo>
                <a:cubicBezTo>
                  <a:pt x="155" y="157"/>
                  <a:pt x="155" y="157"/>
                  <a:pt x="156" y="156"/>
                </a:cubicBezTo>
                <a:cubicBezTo>
                  <a:pt x="157" y="155"/>
                  <a:pt x="157" y="153"/>
                  <a:pt x="156" y="152"/>
                </a:cubicBezTo>
                <a:cubicBezTo>
                  <a:pt x="115" y="111"/>
                  <a:pt x="115" y="111"/>
                  <a:pt x="115" y="111"/>
                </a:cubicBezTo>
                <a:cubicBezTo>
                  <a:pt x="159" y="67"/>
                  <a:pt x="159" y="67"/>
                  <a:pt x="159" y="67"/>
                </a:cubicBezTo>
                <a:cubicBezTo>
                  <a:pt x="160" y="66"/>
                  <a:pt x="160" y="65"/>
                  <a:pt x="160" y="64"/>
                </a:cubicBezTo>
                <a:close/>
                <a:moveTo>
                  <a:pt x="107" y="111"/>
                </a:moveTo>
                <a:cubicBezTo>
                  <a:pt x="66" y="151"/>
                  <a:pt x="66" y="151"/>
                  <a:pt x="66" y="151"/>
                </a:cubicBezTo>
                <a:cubicBezTo>
                  <a:pt x="59" y="127"/>
                  <a:pt x="69" y="104"/>
                  <a:pt x="69" y="103"/>
                </a:cubicBezTo>
                <a:cubicBezTo>
                  <a:pt x="70" y="102"/>
                  <a:pt x="69" y="101"/>
                  <a:pt x="69" y="100"/>
                </a:cubicBezTo>
                <a:cubicBezTo>
                  <a:pt x="28" y="52"/>
                  <a:pt x="28" y="52"/>
                  <a:pt x="28" y="52"/>
                </a:cubicBezTo>
                <a:cubicBezTo>
                  <a:pt x="27" y="52"/>
                  <a:pt x="27" y="51"/>
                  <a:pt x="26" y="51"/>
                </a:cubicBezTo>
                <a:cubicBezTo>
                  <a:pt x="26" y="51"/>
                  <a:pt x="25" y="51"/>
                  <a:pt x="25" y="51"/>
                </a:cubicBezTo>
                <a:cubicBezTo>
                  <a:pt x="25" y="51"/>
                  <a:pt x="16" y="53"/>
                  <a:pt x="8" y="49"/>
                </a:cubicBezTo>
                <a:cubicBezTo>
                  <a:pt x="49" y="8"/>
                  <a:pt x="49" y="8"/>
                  <a:pt x="49" y="8"/>
                </a:cubicBezTo>
                <a:cubicBezTo>
                  <a:pt x="50" y="11"/>
                  <a:pt x="53" y="18"/>
                  <a:pt x="51" y="25"/>
                </a:cubicBezTo>
                <a:cubicBezTo>
                  <a:pt x="51" y="27"/>
                  <a:pt x="52" y="28"/>
                  <a:pt x="52" y="28"/>
                </a:cubicBezTo>
                <a:cubicBezTo>
                  <a:pt x="100" y="69"/>
                  <a:pt x="100" y="69"/>
                  <a:pt x="100" y="69"/>
                </a:cubicBezTo>
                <a:cubicBezTo>
                  <a:pt x="101" y="70"/>
                  <a:pt x="102" y="70"/>
                  <a:pt x="103" y="69"/>
                </a:cubicBezTo>
                <a:cubicBezTo>
                  <a:pt x="104" y="69"/>
                  <a:pt x="126" y="58"/>
                  <a:pt x="151" y="66"/>
                </a:cubicBezTo>
                <a:lnTo>
                  <a:pt x="107" y="111"/>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1338">
            <a:extLst>
              <a:ext uri="{FF2B5EF4-FFF2-40B4-BE49-F238E27FC236}">
                <a16:creationId xmlns:a16="http://schemas.microsoft.com/office/drawing/2014/main" id="{E064AAA7-2F48-3D4E-96C8-5E76B29BC78E}"/>
              </a:ext>
            </a:extLst>
          </p:cNvPr>
          <p:cNvSpPr>
            <a:spLocks noEditPoints="1"/>
          </p:cNvSpPr>
          <p:nvPr/>
        </p:nvSpPr>
        <p:spPr bwMode="auto">
          <a:xfrm>
            <a:off x="5238325" y="2184400"/>
            <a:ext cx="600075" cy="582613"/>
          </a:xfrm>
          <a:custGeom>
            <a:avLst/>
            <a:gdLst>
              <a:gd name="T0" fmla="*/ 152 w 176"/>
              <a:gd name="T1" fmla="*/ 23 h 169"/>
              <a:gd name="T2" fmla="*/ 42 w 176"/>
              <a:gd name="T3" fmla="*/ 21 h 169"/>
              <a:gd name="T4" fmla="*/ 31 w 176"/>
              <a:gd name="T5" fmla="*/ 144 h 169"/>
              <a:gd name="T6" fmla="*/ 146 w 176"/>
              <a:gd name="T7" fmla="*/ 32 h 169"/>
              <a:gd name="T8" fmla="*/ 39 w 176"/>
              <a:gd name="T9" fmla="*/ 26 h 169"/>
              <a:gd name="T10" fmla="*/ 41 w 176"/>
              <a:gd name="T11" fmla="*/ 31 h 169"/>
              <a:gd name="T12" fmla="*/ 41 w 176"/>
              <a:gd name="T13" fmla="*/ 32 h 169"/>
              <a:gd name="T14" fmla="*/ 40 w 176"/>
              <a:gd name="T15" fmla="*/ 35 h 169"/>
              <a:gd name="T16" fmla="*/ 39 w 176"/>
              <a:gd name="T17" fmla="*/ 38 h 169"/>
              <a:gd name="T18" fmla="*/ 31 w 176"/>
              <a:gd name="T19" fmla="*/ 40 h 169"/>
              <a:gd name="T20" fmla="*/ 29 w 176"/>
              <a:gd name="T21" fmla="*/ 39 h 169"/>
              <a:gd name="T22" fmla="*/ 28 w 176"/>
              <a:gd name="T23" fmla="*/ 38 h 169"/>
              <a:gd name="T24" fmla="*/ 141 w 176"/>
              <a:gd name="T25" fmla="*/ 140 h 169"/>
              <a:gd name="T26" fmla="*/ 29 w 176"/>
              <a:gd name="T27" fmla="*/ 45 h 169"/>
              <a:gd name="T28" fmla="*/ 31 w 176"/>
              <a:gd name="T29" fmla="*/ 45 h 169"/>
              <a:gd name="T30" fmla="*/ 37 w 176"/>
              <a:gd name="T31" fmla="*/ 45 h 169"/>
              <a:gd name="T32" fmla="*/ 41 w 176"/>
              <a:gd name="T33" fmla="*/ 43 h 169"/>
              <a:gd name="T34" fmla="*/ 45 w 176"/>
              <a:gd name="T35" fmla="*/ 39 h 169"/>
              <a:gd name="T36" fmla="*/ 46 w 176"/>
              <a:gd name="T37" fmla="*/ 35 h 169"/>
              <a:gd name="T38" fmla="*/ 46 w 176"/>
              <a:gd name="T39" fmla="*/ 28 h 169"/>
              <a:gd name="T40" fmla="*/ 45 w 176"/>
              <a:gd name="T41" fmla="*/ 26 h 169"/>
              <a:gd name="T42" fmla="*/ 45 w 176"/>
              <a:gd name="T43" fmla="*/ 44 h 169"/>
              <a:gd name="T44" fmla="*/ 131 w 176"/>
              <a:gd name="T45" fmla="*/ 130 h 169"/>
              <a:gd name="T46" fmla="*/ 154 w 176"/>
              <a:gd name="T47" fmla="*/ 71 h 169"/>
              <a:gd name="T48" fmla="*/ 143 w 176"/>
              <a:gd name="T49" fmla="*/ 36 h 169"/>
              <a:gd name="T50" fmla="*/ 150 w 176"/>
              <a:gd name="T51" fmla="*/ 75 h 169"/>
              <a:gd name="T52" fmla="*/ 145 w 176"/>
              <a:gd name="T53" fmla="*/ 89 h 169"/>
              <a:gd name="T54" fmla="*/ 140 w 176"/>
              <a:gd name="T55" fmla="*/ 88 h 169"/>
              <a:gd name="T56" fmla="*/ 139 w 176"/>
              <a:gd name="T57" fmla="*/ 75 h 169"/>
              <a:gd name="T58" fmla="*/ 145 w 176"/>
              <a:gd name="T59" fmla="*/ 73 h 169"/>
              <a:gd name="T60" fmla="*/ 137 w 176"/>
              <a:gd name="T61" fmla="*/ 70 h 169"/>
              <a:gd name="T62" fmla="*/ 137 w 176"/>
              <a:gd name="T63" fmla="*/ 92 h 169"/>
              <a:gd name="T64" fmla="*/ 140 w 176"/>
              <a:gd name="T65" fmla="*/ 94 h 169"/>
              <a:gd name="T66" fmla="*/ 143 w 176"/>
              <a:gd name="T67" fmla="*/ 95 h 169"/>
              <a:gd name="T68" fmla="*/ 49 w 176"/>
              <a:gd name="T69" fmla="*/ 48 h 169"/>
              <a:gd name="T70" fmla="*/ 113 w 176"/>
              <a:gd name="T71" fmla="*/ 58 h 169"/>
              <a:gd name="T72" fmla="*/ 49 w 176"/>
              <a:gd name="T73" fmla="*/ 87 h 169"/>
              <a:gd name="T74" fmla="*/ 115 w 176"/>
              <a:gd name="T75" fmla="*/ 114 h 169"/>
              <a:gd name="T76" fmla="*/ 129 w 176"/>
              <a:gd name="T77" fmla="*/ 50 h 169"/>
              <a:gd name="T78" fmla="*/ 86 w 176"/>
              <a:gd name="T79" fmla="*/ 89 h 169"/>
              <a:gd name="T80" fmla="*/ 113 w 176"/>
              <a:gd name="T81" fmla="*/ 66 h 169"/>
              <a:gd name="T82" fmla="*/ 88 w 176"/>
              <a:gd name="T83" fmla="*/ 120 h 169"/>
              <a:gd name="T84" fmla="*/ 65 w 176"/>
              <a:gd name="T85" fmla="*/ 64 h 169"/>
              <a:gd name="T86" fmla="*/ 86 w 176"/>
              <a:gd name="T87"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6" h="169">
                <a:moveTo>
                  <a:pt x="146" y="32"/>
                </a:moveTo>
                <a:cubicBezTo>
                  <a:pt x="152" y="27"/>
                  <a:pt x="152" y="27"/>
                  <a:pt x="152" y="27"/>
                </a:cubicBezTo>
                <a:cubicBezTo>
                  <a:pt x="153" y="26"/>
                  <a:pt x="153" y="24"/>
                  <a:pt x="152" y="23"/>
                </a:cubicBezTo>
                <a:cubicBezTo>
                  <a:pt x="151" y="22"/>
                  <a:pt x="149" y="22"/>
                  <a:pt x="148" y="23"/>
                </a:cubicBezTo>
                <a:cubicBezTo>
                  <a:pt x="143" y="28"/>
                  <a:pt x="143" y="28"/>
                  <a:pt x="143" y="28"/>
                </a:cubicBezTo>
                <a:cubicBezTo>
                  <a:pt x="115" y="3"/>
                  <a:pt x="73" y="0"/>
                  <a:pt x="42" y="21"/>
                </a:cubicBezTo>
                <a:cubicBezTo>
                  <a:pt x="36" y="17"/>
                  <a:pt x="28" y="17"/>
                  <a:pt x="23" y="22"/>
                </a:cubicBezTo>
                <a:cubicBezTo>
                  <a:pt x="18" y="27"/>
                  <a:pt x="18" y="35"/>
                  <a:pt x="22" y="41"/>
                </a:cubicBezTo>
                <a:cubicBezTo>
                  <a:pt x="0" y="72"/>
                  <a:pt x="4" y="116"/>
                  <a:pt x="31" y="144"/>
                </a:cubicBezTo>
                <a:cubicBezTo>
                  <a:pt x="47" y="159"/>
                  <a:pt x="67" y="167"/>
                  <a:pt x="88" y="167"/>
                </a:cubicBezTo>
                <a:cubicBezTo>
                  <a:pt x="108" y="167"/>
                  <a:pt x="129" y="159"/>
                  <a:pt x="145" y="144"/>
                </a:cubicBezTo>
                <a:cubicBezTo>
                  <a:pt x="175" y="113"/>
                  <a:pt x="176" y="64"/>
                  <a:pt x="146" y="32"/>
                </a:cubicBezTo>
                <a:close/>
                <a:moveTo>
                  <a:pt x="27" y="26"/>
                </a:moveTo>
                <a:cubicBezTo>
                  <a:pt x="28" y="24"/>
                  <a:pt x="31" y="23"/>
                  <a:pt x="33" y="23"/>
                </a:cubicBezTo>
                <a:cubicBezTo>
                  <a:pt x="35" y="23"/>
                  <a:pt x="37" y="24"/>
                  <a:pt x="39" y="26"/>
                </a:cubicBezTo>
                <a:cubicBezTo>
                  <a:pt x="39" y="26"/>
                  <a:pt x="39" y="26"/>
                  <a:pt x="39" y="27"/>
                </a:cubicBezTo>
                <a:cubicBezTo>
                  <a:pt x="39" y="27"/>
                  <a:pt x="39" y="27"/>
                  <a:pt x="39" y="27"/>
                </a:cubicBezTo>
                <a:cubicBezTo>
                  <a:pt x="40" y="28"/>
                  <a:pt x="41" y="29"/>
                  <a:pt x="41" y="31"/>
                </a:cubicBezTo>
                <a:cubicBezTo>
                  <a:pt x="41" y="31"/>
                  <a:pt x="41" y="31"/>
                  <a:pt x="41" y="31"/>
                </a:cubicBezTo>
                <a:cubicBezTo>
                  <a:pt x="41" y="31"/>
                  <a:pt x="41" y="32"/>
                  <a:pt x="41" y="32"/>
                </a:cubicBezTo>
                <a:cubicBezTo>
                  <a:pt x="41" y="32"/>
                  <a:pt x="41" y="32"/>
                  <a:pt x="41" y="32"/>
                </a:cubicBezTo>
                <a:cubicBezTo>
                  <a:pt x="41" y="33"/>
                  <a:pt x="41" y="33"/>
                  <a:pt x="41" y="34"/>
                </a:cubicBezTo>
                <a:cubicBezTo>
                  <a:pt x="41" y="34"/>
                  <a:pt x="41" y="34"/>
                  <a:pt x="41" y="34"/>
                </a:cubicBezTo>
                <a:cubicBezTo>
                  <a:pt x="41" y="34"/>
                  <a:pt x="40" y="35"/>
                  <a:pt x="40" y="35"/>
                </a:cubicBezTo>
                <a:cubicBezTo>
                  <a:pt x="40" y="35"/>
                  <a:pt x="40" y="35"/>
                  <a:pt x="40" y="36"/>
                </a:cubicBezTo>
                <a:cubicBezTo>
                  <a:pt x="40" y="36"/>
                  <a:pt x="40" y="36"/>
                  <a:pt x="40" y="36"/>
                </a:cubicBezTo>
                <a:cubicBezTo>
                  <a:pt x="39" y="37"/>
                  <a:pt x="39" y="37"/>
                  <a:pt x="39" y="38"/>
                </a:cubicBezTo>
                <a:cubicBezTo>
                  <a:pt x="38" y="38"/>
                  <a:pt x="38" y="38"/>
                  <a:pt x="37" y="39"/>
                </a:cubicBezTo>
                <a:cubicBezTo>
                  <a:pt x="37" y="39"/>
                  <a:pt x="37" y="39"/>
                  <a:pt x="37" y="39"/>
                </a:cubicBezTo>
                <a:cubicBezTo>
                  <a:pt x="35" y="40"/>
                  <a:pt x="33" y="40"/>
                  <a:pt x="31" y="40"/>
                </a:cubicBezTo>
                <a:cubicBezTo>
                  <a:pt x="31" y="40"/>
                  <a:pt x="31" y="40"/>
                  <a:pt x="31" y="40"/>
                </a:cubicBezTo>
                <a:cubicBezTo>
                  <a:pt x="31" y="40"/>
                  <a:pt x="30" y="40"/>
                  <a:pt x="30" y="39"/>
                </a:cubicBezTo>
                <a:cubicBezTo>
                  <a:pt x="30" y="39"/>
                  <a:pt x="30" y="39"/>
                  <a:pt x="29" y="39"/>
                </a:cubicBezTo>
                <a:cubicBezTo>
                  <a:pt x="29" y="39"/>
                  <a:pt x="29" y="39"/>
                  <a:pt x="29" y="39"/>
                </a:cubicBezTo>
                <a:cubicBezTo>
                  <a:pt x="28" y="39"/>
                  <a:pt x="28" y="39"/>
                  <a:pt x="28" y="38"/>
                </a:cubicBezTo>
                <a:cubicBezTo>
                  <a:pt x="28" y="38"/>
                  <a:pt x="28" y="38"/>
                  <a:pt x="28" y="38"/>
                </a:cubicBezTo>
                <a:cubicBezTo>
                  <a:pt x="27" y="38"/>
                  <a:pt x="27" y="38"/>
                  <a:pt x="27" y="38"/>
                </a:cubicBezTo>
                <a:cubicBezTo>
                  <a:pt x="24" y="34"/>
                  <a:pt x="24" y="29"/>
                  <a:pt x="27" y="26"/>
                </a:cubicBezTo>
                <a:close/>
                <a:moveTo>
                  <a:pt x="141" y="140"/>
                </a:moveTo>
                <a:cubicBezTo>
                  <a:pt x="112" y="169"/>
                  <a:pt x="64" y="169"/>
                  <a:pt x="35" y="140"/>
                </a:cubicBezTo>
                <a:cubicBezTo>
                  <a:pt x="10" y="114"/>
                  <a:pt x="6" y="74"/>
                  <a:pt x="27" y="44"/>
                </a:cubicBezTo>
                <a:cubicBezTo>
                  <a:pt x="27" y="44"/>
                  <a:pt x="28" y="45"/>
                  <a:pt x="29" y="45"/>
                </a:cubicBezTo>
                <a:cubicBezTo>
                  <a:pt x="29" y="45"/>
                  <a:pt x="29" y="45"/>
                  <a:pt x="29" y="45"/>
                </a:cubicBezTo>
                <a:cubicBezTo>
                  <a:pt x="30" y="45"/>
                  <a:pt x="30" y="45"/>
                  <a:pt x="31" y="45"/>
                </a:cubicBezTo>
                <a:cubicBezTo>
                  <a:pt x="31" y="45"/>
                  <a:pt x="31" y="45"/>
                  <a:pt x="31" y="45"/>
                </a:cubicBezTo>
                <a:cubicBezTo>
                  <a:pt x="32" y="45"/>
                  <a:pt x="32" y="46"/>
                  <a:pt x="33" y="46"/>
                </a:cubicBezTo>
                <a:cubicBezTo>
                  <a:pt x="34" y="46"/>
                  <a:pt x="35" y="45"/>
                  <a:pt x="37" y="45"/>
                </a:cubicBezTo>
                <a:cubicBezTo>
                  <a:pt x="37" y="45"/>
                  <a:pt x="37" y="45"/>
                  <a:pt x="37" y="45"/>
                </a:cubicBezTo>
                <a:cubicBezTo>
                  <a:pt x="38" y="45"/>
                  <a:pt x="38" y="44"/>
                  <a:pt x="39" y="44"/>
                </a:cubicBezTo>
                <a:cubicBezTo>
                  <a:pt x="39" y="44"/>
                  <a:pt x="39" y="44"/>
                  <a:pt x="40" y="44"/>
                </a:cubicBezTo>
                <a:cubicBezTo>
                  <a:pt x="40" y="43"/>
                  <a:pt x="40" y="43"/>
                  <a:pt x="41" y="43"/>
                </a:cubicBezTo>
                <a:cubicBezTo>
                  <a:pt x="41" y="43"/>
                  <a:pt x="42" y="42"/>
                  <a:pt x="43" y="41"/>
                </a:cubicBezTo>
                <a:cubicBezTo>
                  <a:pt x="43" y="41"/>
                  <a:pt x="44" y="40"/>
                  <a:pt x="44" y="40"/>
                </a:cubicBezTo>
                <a:cubicBezTo>
                  <a:pt x="44" y="39"/>
                  <a:pt x="44" y="39"/>
                  <a:pt x="45" y="39"/>
                </a:cubicBezTo>
                <a:cubicBezTo>
                  <a:pt x="45" y="38"/>
                  <a:pt x="45" y="38"/>
                  <a:pt x="45" y="37"/>
                </a:cubicBezTo>
                <a:cubicBezTo>
                  <a:pt x="45" y="37"/>
                  <a:pt x="46" y="37"/>
                  <a:pt x="46" y="36"/>
                </a:cubicBezTo>
                <a:cubicBezTo>
                  <a:pt x="46" y="36"/>
                  <a:pt x="46" y="36"/>
                  <a:pt x="46" y="35"/>
                </a:cubicBezTo>
                <a:cubicBezTo>
                  <a:pt x="46" y="34"/>
                  <a:pt x="47" y="32"/>
                  <a:pt x="46" y="30"/>
                </a:cubicBezTo>
                <a:cubicBezTo>
                  <a:pt x="46" y="30"/>
                  <a:pt x="46" y="30"/>
                  <a:pt x="46" y="30"/>
                </a:cubicBezTo>
                <a:cubicBezTo>
                  <a:pt x="46" y="29"/>
                  <a:pt x="46" y="29"/>
                  <a:pt x="46" y="28"/>
                </a:cubicBezTo>
                <a:cubicBezTo>
                  <a:pt x="46" y="28"/>
                  <a:pt x="46" y="28"/>
                  <a:pt x="46" y="28"/>
                </a:cubicBezTo>
                <a:cubicBezTo>
                  <a:pt x="46" y="27"/>
                  <a:pt x="45" y="26"/>
                  <a:pt x="45" y="26"/>
                </a:cubicBezTo>
                <a:cubicBezTo>
                  <a:pt x="45" y="26"/>
                  <a:pt x="45" y="26"/>
                  <a:pt x="45" y="26"/>
                </a:cubicBezTo>
                <a:cubicBezTo>
                  <a:pt x="74" y="6"/>
                  <a:pt x="113" y="9"/>
                  <a:pt x="139" y="32"/>
                </a:cubicBezTo>
                <a:cubicBezTo>
                  <a:pt x="129" y="42"/>
                  <a:pt x="129" y="42"/>
                  <a:pt x="129" y="42"/>
                </a:cubicBezTo>
                <a:cubicBezTo>
                  <a:pt x="105" y="20"/>
                  <a:pt x="68" y="21"/>
                  <a:pt x="45" y="44"/>
                </a:cubicBezTo>
                <a:cubicBezTo>
                  <a:pt x="21" y="68"/>
                  <a:pt x="21" y="106"/>
                  <a:pt x="45" y="130"/>
                </a:cubicBezTo>
                <a:cubicBezTo>
                  <a:pt x="57" y="142"/>
                  <a:pt x="72" y="148"/>
                  <a:pt x="88" y="148"/>
                </a:cubicBezTo>
                <a:cubicBezTo>
                  <a:pt x="104" y="148"/>
                  <a:pt x="119" y="142"/>
                  <a:pt x="131" y="130"/>
                </a:cubicBezTo>
                <a:cubicBezTo>
                  <a:pt x="140" y="120"/>
                  <a:pt x="147" y="108"/>
                  <a:pt x="148" y="94"/>
                </a:cubicBezTo>
                <a:cubicBezTo>
                  <a:pt x="150" y="94"/>
                  <a:pt x="153" y="93"/>
                  <a:pt x="154" y="91"/>
                </a:cubicBezTo>
                <a:cubicBezTo>
                  <a:pt x="160" y="85"/>
                  <a:pt x="160" y="77"/>
                  <a:pt x="154" y="71"/>
                </a:cubicBezTo>
                <a:cubicBezTo>
                  <a:pt x="152" y="69"/>
                  <a:pt x="149" y="68"/>
                  <a:pt x="145" y="67"/>
                </a:cubicBezTo>
                <a:cubicBezTo>
                  <a:pt x="143" y="59"/>
                  <a:pt x="138" y="52"/>
                  <a:pt x="133" y="46"/>
                </a:cubicBezTo>
                <a:cubicBezTo>
                  <a:pt x="143" y="36"/>
                  <a:pt x="143" y="36"/>
                  <a:pt x="143" y="36"/>
                </a:cubicBezTo>
                <a:cubicBezTo>
                  <a:pt x="170" y="65"/>
                  <a:pt x="169" y="111"/>
                  <a:pt x="141" y="140"/>
                </a:cubicBezTo>
                <a:close/>
                <a:moveTo>
                  <a:pt x="145" y="73"/>
                </a:moveTo>
                <a:cubicBezTo>
                  <a:pt x="147" y="73"/>
                  <a:pt x="149" y="74"/>
                  <a:pt x="150" y="75"/>
                </a:cubicBezTo>
                <a:cubicBezTo>
                  <a:pt x="154" y="78"/>
                  <a:pt x="154" y="84"/>
                  <a:pt x="150" y="87"/>
                </a:cubicBezTo>
                <a:cubicBezTo>
                  <a:pt x="149" y="88"/>
                  <a:pt x="148" y="89"/>
                  <a:pt x="146" y="89"/>
                </a:cubicBezTo>
                <a:cubicBezTo>
                  <a:pt x="145" y="89"/>
                  <a:pt x="145" y="89"/>
                  <a:pt x="145" y="89"/>
                </a:cubicBezTo>
                <a:cubicBezTo>
                  <a:pt x="144" y="89"/>
                  <a:pt x="143" y="89"/>
                  <a:pt x="142" y="89"/>
                </a:cubicBezTo>
                <a:cubicBezTo>
                  <a:pt x="142" y="89"/>
                  <a:pt x="142" y="89"/>
                  <a:pt x="142" y="89"/>
                </a:cubicBezTo>
                <a:cubicBezTo>
                  <a:pt x="141" y="89"/>
                  <a:pt x="141" y="88"/>
                  <a:pt x="140" y="88"/>
                </a:cubicBezTo>
                <a:cubicBezTo>
                  <a:pt x="140" y="88"/>
                  <a:pt x="140" y="88"/>
                  <a:pt x="140" y="88"/>
                </a:cubicBezTo>
                <a:cubicBezTo>
                  <a:pt x="140" y="88"/>
                  <a:pt x="139" y="87"/>
                  <a:pt x="139" y="87"/>
                </a:cubicBezTo>
                <a:cubicBezTo>
                  <a:pt x="136" y="84"/>
                  <a:pt x="136" y="78"/>
                  <a:pt x="139" y="75"/>
                </a:cubicBezTo>
                <a:cubicBezTo>
                  <a:pt x="140" y="74"/>
                  <a:pt x="142" y="73"/>
                  <a:pt x="144" y="73"/>
                </a:cubicBezTo>
                <a:cubicBezTo>
                  <a:pt x="145" y="73"/>
                  <a:pt x="145" y="73"/>
                  <a:pt x="145" y="73"/>
                </a:cubicBezTo>
                <a:cubicBezTo>
                  <a:pt x="145" y="73"/>
                  <a:pt x="145" y="73"/>
                  <a:pt x="145" y="73"/>
                </a:cubicBezTo>
                <a:close/>
                <a:moveTo>
                  <a:pt x="140" y="68"/>
                </a:moveTo>
                <a:cubicBezTo>
                  <a:pt x="139" y="68"/>
                  <a:pt x="138" y="69"/>
                  <a:pt x="138" y="69"/>
                </a:cubicBezTo>
                <a:cubicBezTo>
                  <a:pt x="137" y="69"/>
                  <a:pt x="137" y="69"/>
                  <a:pt x="137" y="70"/>
                </a:cubicBezTo>
                <a:cubicBezTo>
                  <a:pt x="136" y="70"/>
                  <a:pt x="136" y="71"/>
                  <a:pt x="135" y="71"/>
                </a:cubicBezTo>
                <a:cubicBezTo>
                  <a:pt x="129" y="77"/>
                  <a:pt x="129" y="85"/>
                  <a:pt x="135" y="91"/>
                </a:cubicBezTo>
                <a:cubicBezTo>
                  <a:pt x="135" y="91"/>
                  <a:pt x="136" y="92"/>
                  <a:pt x="137" y="92"/>
                </a:cubicBezTo>
                <a:cubicBezTo>
                  <a:pt x="137" y="93"/>
                  <a:pt x="137" y="93"/>
                  <a:pt x="138" y="93"/>
                </a:cubicBezTo>
                <a:cubicBezTo>
                  <a:pt x="138" y="93"/>
                  <a:pt x="138" y="93"/>
                  <a:pt x="139" y="94"/>
                </a:cubicBezTo>
                <a:cubicBezTo>
                  <a:pt x="139" y="94"/>
                  <a:pt x="140" y="94"/>
                  <a:pt x="140" y="94"/>
                </a:cubicBezTo>
                <a:cubicBezTo>
                  <a:pt x="140" y="94"/>
                  <a:pt x="141" y="94"/>
                  <a:pt x="141" y="94"/>
                </a:cubicBezTo>
                <a:cubicBezTo>
                  <a:pt x="142" y="95"/>
                  <a:pt x="142" y="95"/>
                  <a:pt x="142" y="95"/>
                </a:cubicBezTo>
                <a:cubicBezTo>
                  <a:pt x="143" y="95"/>
                  <a:pt x="143" y="95"/>
                  <a:pt x="143" y="95"/>
                </a:cubicBezTo>
                <a:cubicBezTo>
                  <a:pt x="141" y="107"/>
                  <a:pt x="135" y="118"/>
                  <a:pt x="127" y="126"/>
                </a:cubicBezTo>
                <a:cubicBezTo>
                  <a:pt x="105" y="148"/>
                  <a:pt x="70" y="148"/>
                  <a:pt x="49" y="126"/>
                </a:cubicBezTo>
                <a:cubicBezTo>
                  <a:pt x="27" y="104"/>
                  <a:pt x="27" y="69"/>
                  <a:pt x="49" y="48"/>
                </a:cubicBezTo>
                <a:cubicBezTo>
                  <a:pt x="60" y="37"/>
                  <a:pt x="74" y="32"/>
                  <a:pt x="88" y="32"/>
                </a:cubicBezTo>
                <a:cubicBezTo>
                  <a:pt x="101" y="32"/>
                  <a:pt x="114" y="37"/>
                  <a:pt x="125" y="46"/>
                </a:cubicBezTo>
                <a:cubicBezTo>
                  <a:pt x="113" y="58"/>
                  <a:pt x="113" y="58"/>
                  <a:pt x="113" y="58"/>
                </a:cubicBezTo>
                <a:cubicBezTo>
                  <a:pt x="106" y="52"/>
                  <a:pt x="97" y="48"/>
                  <a:pt x="88" y="48"/>
                </a:cubicBezTo>
                <a:cubicBezTo>
                  <a:pt x="78" y="48"/>
                  <a:pt x="68" y="52"/>
                  <a:pt x="61" y="60"/>
                </a:cubicBezTo>
                <a:cubicBezTo>
                  <a:pt x="53" y="67"/>
                  <a:pt x="49" y="77"/>
                  <a:pt x="49" y="87"/>
                </a:cubicBezTo>
                <a:cubicBezTo>
                  <a:pt x="49" y="97"/>
                  <a:pt x="53" y="107"/>
                  <a:pt x="61" y="114"/>
                </a:cubicBezTo>
                <a:cubicBezTo>
                  <a:pt x="68" y="122"/>
                  <a:pt x="78" y="126"/>
                  <a:pt x="88" y="126"/>
                </a:cubicBezTo>
                <a:cubicBezTo>
                  <a:pt x="98" y="126"/>
                  <a:pt x="108" y="122"/>
                  <a:pt x="115" y="114"/>
                </a:cubicBezTo>
                <a:cubicBezTo>
                  <a:pt x="123" y="107"/>
                  <a:pt x="127" y="97"/>
                  <a:pt x="127" y="87"/>
                </a:cubicBezTo>
                <a:cubicBezTo>
                  <a:pt x="127" y="78"/>
                  <a:pt x="123" y="69"/>
                  <a:pt x="117" y="62"/>
                </a:cubicBezTo>
                <a:cubicBezTo>
                  <a:pt x="129" y="50"/>
                  <a:pt x="129" y="50"/>
                  <a:pt x="129" y="50"/>
                </a:cubicBezTo>
                <a:cubicBezTo>
                  <a:pt x="134" y="55"/>
                  <a:pt x="137" y="61"/>
                  <a:pt x="140" y="68"/>
                </a:cubicBezTo>
                <a:cubicBezTo>
                  <a:pt x="140" y="68"/>
                  <a:pt x="140" y="68"/>
                  <a:pt x="140" y="68"/>
                </a:cubicBezTo>
                <a:close/>
                <a:moveTo>
                  <a:pt x="86" y="89"/>
                </a:moveTo>
                <a:cubicBezTo>
                  <a:pt x="87" y="89"/>
                  <a:pt x="87" y="90"/>
                  <a:pt x="88" y="90"/>
                </a:cubicBezTo>
                <a:cubicBezTo>
                  <a:pt x="89" y="90"/>
                  <a:pt x="89" y="89"/>
                  <a:pt x="90" y="89"/>
                </a:cubicBezTo>
                <a:cubicBezTo>
                  <a:pt x="113" y="66"/>
                  <a:pt x="113" y="66"/>
                  <a:pt x="113" y="66"/>
                </a:cubicBezTo>
                <a:cubicBezTo>
                  <a:pt x="118" y="72"/>
                  <a:pt x="121" y="79"/>
                  <a:pt x="121" y="87"/>
                </a:cubicBezTo>
                <a:cubicBezTo>
                  <a:pt x="121" y="96"/>
                  <a:pt x="118" y="104"/>
                  <a:pt x="111" y="110"/>
                </a:cubicBezTo>
                <a:cubicBezTo>
                  <a:pt x="105" y="117"/>
                  <a:pt x="97" y="120"/>
                  <a:pt x="88" y="120"/>
                </a:cubicBezTo>
                <a:cubicBezTo>
                  <a:pt x="79" y="120"/>
                  <a:pt x="71" y="117"/>
                  <a:pt x="65" y="110"/>
                </a:cubicBezTo>
                <a:cubicBezTo>
                  <a:pt x="58" y="104"/>
                  <a:pt x="55" y="96"/>
                  <a:pt x="55" y="87"/>
                </a:cubicBezTo>
                <a:cubicBezTo>
                  <a:pt x="55" y="78"/>
                  <a:pt x="58" y="70"/>
                  <a:pt x="65" y="64"/>
                </a:cubicBezTo>
                <a:cubicBezTo>
                  <a:pt x="71" y="57"/>
                  <a:pt x="79" y="54"/>
                  <a:pt x="88" y="54"/>
                </a:cubicBezTo>
                <a:cubicBezTo>
                  <a:pt x="96" y="54"/>
                  <a:pt x="103" y="57"/>
                  <a:pt x="109" y="62"/>
                </a:cubicBezTo>
                <a:cubicBezTo>
                  <a:pt x="86" y="85"/>
                  <a:pt x="86" y="85"/>
                  <a:pt x="86" y="85"/>
                </a:cubicBezTo>
                <a:cubicBezTo>
                  <a:pt x="85" y="86"/>
                  <a:pt x="85" y="88"/>
                  <a:pt x="86" y="89"/>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1339">
            <a:extLst>
              <a:ext uri="{FF2B5EF4-FFF2-40B4-BE49-F238E27FC236}">
                <a16:creationId xmlns:a16="http://schemas.microsoft.com/office/drawing/2014/main" id="{220419A0-66FD-6F40-9A8E-ABD0BB8D785F}"/>
              </a:ext>
            </a:extLst>
          </p:cNvPr>
          <p:cNvSpPr>
            <a:spLocks noEditPoints="1"/>
          </p:cNvSpPr>
          <p:nvPr/>
        </p:nvSpPr>
        <p:spPr bwMode="auto">
          <a:xfrm>
            <a:off x="5265312" y="2882900"/>
            <a:ext cx="546100" cy="468313"/>
          </a:xfrm>
          <a:custGeom>
            <a:avLst/>
            <a:gdLst>
              <a:gd name="T0" fmla="*/ 149 w 160"/>
              <a:gd name="T1" fmla="*/ 0 h 136"/>
              <a:gd name="T2" fmla="*/ 88 w 160"/>
              <a:gd name="T3" fmla="*/ 0 h 136"/>
              <a:gd name="T4" fmla="*/ 80 w 160"/>
              <a:gd name="T5" fmla="*/ 4 h 136"/>
              <a:gd name="T6" fmla="*/ 72 w 160"/>
              <a:gd name="T7" fmla="*/ 0 h 136"/>
              <a:gd name="T8" fmla="*/ 11 w 160"/>
              <a:gd name="T9" fmla="*/ 0 h 136"/>
              <a:gd name="T10" fmla="*/ 0 w 160"/>
              <a:gd name="T11" fmla="*/ 11 h 136"/>
              <a:gd name="T12" fmla="*/ 0 w 160"/>
              <a:gd name="T13" fmla="*/ 115 h 136"/>
              <a:gd name="T14" fmla="*/ 11 w 160"/>
              <a:gd name="T15" fmla="*/ 125 h 136"/>
              <a:gd name="T16" fmla="*/ 69 w 160"/>
              <a:gd name="T17" fmla="*/ 125 h 136"/>
              <a:gd name="T18" fmla="*/ 77 w 160"/>
              <a:gd name="T19" fmla="*/ 133 h 136"/>
              <a:gd name="T20" fmla="*/ 80 w 160"/>
              <a:gd name="T21" fmla="*/ 136 h 136"/>
              <a:gd name="T22" fmla="*/ 83 w 160"/>
              <a:gd name="T23" fmla="*/ 133 h 136"/>
              <a:gd name="T24" fmla="*/ 91 w 160"/>
              <a:gd name="T25" fmla="*/ 125 h 136"/>
              <a:gd name="T26" fmla="*/ 149 w 160"/>
              <a:gd name="T27" fmla="*/ 125 h 136"/>
              <a:gd name="T28" fmla="*/ 160 w 160"/>
              <a:gd name="T29" fmla="*/ 115 h 136"/>
              <a:gd name="T30" fmla="*/ 160 w 160"/>
              <a:gd name="T31" fmla="*/ 11 h 136"/>
              <a:gd name="T32" fmla="*/ 149 w 160"/>
              <a:gd name="T33" fmla="*/ 0 h 136"/>
              <a:gd name="T34" fmla="*/ 77 w 160"/>
              <a:gd name="T35" fmla="*/ 123 h 136"/>
              <a:gd name="T36" fmla="*/ 69 w 160"/>
              <a:gd name="T37" fmla="*/ 120 h 136"/>
              <a:gd name="T38" fmla="*/ 11 w 160"/>
              <a:gd name="T39" fmla="*/ 120 h 136"/>
              <a:gd name="T40" fmla="*/ 5 w 160"/>
              <a:gd name="T41" fmla="*/ 115 h 136"/>
              <a:gd name="T42" fmla="*/ 5 w 160"/>
              <a:gd name="T43" fmla="*/ 11 h 136"/>
              <a:gd name="T44" fmla="*/ 11 w 160"/>
              <a:gd name="T45" fmla="*/ 5 h 136"/>
              <a:gd name="T46" fmla="*/ 72 w 160"/>
              <a:gd name="T47" fmla="*/ 5 h 136"/>
              <a:gd name="T48" fmla="*/ 77 w 160"/>
              <a:gd name="T49" fmla="*/ 11 h 136"/>
              <a:gd name="T50" fmla="*/ 77 w 160"/>
              <a:gd name="T51" fmla="*/ 123 h 136"/>
              <a:gd name="T52" fmla="*/ 155 w 160"/>
              <a:gd name="T53" fmla="*/ 115 h 136"/>
              <a:gd name="T54" fmla="*/ 149 w 160"/>
              <a:gd name="T55" fmla="*/ 120 h 136"/>
              <a:gd name="T56" fmla="*/ 91 w 160"/>
              <a:gd name="T57" fmla="*/ 120 h 136"/>
              <a:gd name="T58" fmla="*/ 83 w 160"/>
              <a:gd name="T59" fmla="*/ 123 h 136"/>
              <a:gd name="T60" fmla="*/ 83 w 160"/>
              <a:gd name="T61" fmla="*/ 11 h 136"/>
              <a:gd name="T62" fmla="*/ 88 w 160"/>
              <a:gd name="T63" fmla="*/ 5 h 136"/>
              <a:gd name="T64" fmla="*/ 149 w 160"/>
              <a:gd name="T65" fmla="*/ 5 h 136"/>
              <a:gd name="T66" fmla="*/ 155 w 160"/>
              <a:gd name="T67" fmla="*/ 11 h 136"/>
              <a:gd name="T68" fmla="*/ 155 w 160"/>
              <a:gd name="T69" fmla="*/ 11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36">
                <a:moveTo>
                  <a:pt x="149" y="0"/>
                </a:moveTo>
                <a:cubicBezTo>
                  <a:pt x="88" y="0"/>
                  <a:pt x="88" y="0"/>
                  <a:pt x="88" y="0"/>
                </a:cubicBezTo>
                <a:cubicBezTo>
                  <a:pt x="85" y="0"/>
                  <a:pt x="82" y="1"/>
                  <a:pt x="80" y="4"/>
                </a:cubicBezTo>
                <a:cubicBezTo>
                  <a:pt x="78" y="1"/>
                  <a:pt x="75" y="0"/>
                  <a:pt x="72" y="0"/>
                </a:cubicBezTo>
                <a:cubicBezTo>
                  <a:pt x="11" y="0"/>
                  <a:pt x="11" y="0"/>
                  <a:pt x="11" y="0"/>
                </a:cubicBezTo>
                <a:cubicBezTo>
                  <a:pt x="5" y="0"/>
                  <a:pt x="0" y="5"/>
                  <a:pt x="0" y="11"/>
                </a:cubicBezTo>
                <a:cubicBezTo>
                  <a:pt x="0" y="115"/>
                  <a:pt x="0" y="115"/>
                  <a:pt x="0" y="115"/>
                </a:cubicBezTo>
                <a:cubicBezTo>
                  <a:pt x="0" y="121"/>
                  <a:pt x="5" y="125"/>
                  <a:pt x="11" y="125"/>
                </a:cubicBezTo>
                <a:cubicBezTo>
                  <a:pt x="69" y="125"/>
                  <a:pt x="69" y="125"/>
                  <a:pt x="69" y="125"/>
                </a:cubicBezTo>
                <a:cubicBezTo>
                  <a:pt x="72" y="125"/>
                  <a:pt x="77" y="129"/>
                  <a:pt x="77" y="133"/>
                </a:cubicBezTo>
                <a:cubicBezTo>
                  <a:pt x="77" y="135"/>
                  <a:pt x="79" y="136"/>
                  <a:pt x="80" y="136"/>
                </a:cubicBezTo>
                <a:cubicBezTo>
                  <a:pt x="81" y="136"/>
                  <a:pt x="83" y="135"/>
                  <a:pt x="83" y="133"/>
                </a:cubicBezTo>
                <a:cubicBezTo>
                  <a:pt x="83" y="129"/>
                  <a:pt x="88" y="125"/>
                  <a:pt x="91" y="125"/>
                </a:cubicBezTo>
                <a:cubicBezTo>
                  <a:pt x="149" y="125"/>
                  <a:pt x="149" y="125"/>
                  <a:pt x="149" y="125"/>
                </a:cubicBezTo>
                <a:cubicBezTo>
                  <a:pt x="155" y="125"/>
                  <a:pt x="160" y="121"/>
                  <a:pt x="160" y="115"/>
                </a:cubicBezTo>
                <a:cubicBezTo>
                  <a:pt x="160" y="11"/>
                  <a:pt x="160" y="11"/>
                  <a:pt x="160" y="11"/>
                </a:cubicBezTo>
                <a:cubicBezTo>
                  <a:pt x="160" y="5"/>
                  <a:pt x="155" y="0"/>
                  <a:pt x="149" y="0"/>
                </a:cubicBezTo>
                <a:close/>
                <a:moveTo>
                  <a:pt x="77" y="123"/>
                </a:moveTo>
                <a:cubicBezTo>
                  <a:pt x="75" y="121"/>
                  <a:pt x="72" y="120"/>
                  <a:pt x="69" y="120"/>
                </a:cubicBezTo>
                <a:cubicBezTo>
                  <a:pt x="11" y="120"/>
                  <a:pt x="11" y="120"/>
                  <a:pt x="11" y="120"/>
                </a:cubicBezTo>
                <a:cubicBezTo>
                  <a:pt x="8" y="120"/>
                  <a:pt x="5" y="118"/>
                  <a:pt x="5" y="115"/>
                </a:cubicBezTo>
                <a:cubicBezTo>
                  <a:pt x="5" y="11"/>
                  <a:pt x="5" y="11"/>
                  <a:pt x="5" y="11"/>
                </a:cubicBezTo>
                <a:cubicBezTo>
                  <a:pt x="5" y="8"/>
                  <a:pt x="8" y="5"/>
                  <a:pt x="11" y="5"/>
                </a:cubicBezTo>
                <a:cubicBezTo>
                  <a:pt x="72" y="5"/>
                  <a:pt x="72" y="5"/>
                  <a:pt x="72" y="5"/>
                </a:cubicBezTo>
                <a:cubicBezTo>
                  <a:pt x="75" y="5"/>
                  <a:pt x="77" y="8"/>
                  <a:pt x="77" y="11"/>
                </a:cubicBezTo>
                <a:lnTo>
                  <a:pt x="77" y="123"/>
                </a:lnTo>
                <a:close/>
                <a:moveTo>
                  <a:pt x="155" y="115"/>
                </a:moveTo>
                <a:cubicBezTo>
                  <a:pt x="155" y="118"/>
                  <a:pt x="152" y="120"/>
                  <a:pt x="149" y="120"/>
                </a:cubicBezTo>
                <a:cubicBezTo>
                  <a:pt x="91" y="120"/>
                  <a:pt x="91" y="120"/>
                  <a:pt x="91" y="120"/>
                </a:cubicBezTo>
                <a:cubicBezTo>
                  <a:pt x="88" y="120"/>
                  <a:pt x="85" y="121"/>
                  <a:pt x="83" y="123"/>
                </a:cubicBezTo>
                <a:cubicBezTo>
                  <a:pt x="83" y="11"/>
                  <a:pt x="83" y="11"/>
                  <a:pt x="83" y="11"/>
                </a:cubicBezTo>
                <a:cubicBezTo>
                  <a:pt x="83" y="8"/>
                  <a:pt x="85" y="5"/>
                  <a:pt x="88" y="5"/>
                </a:cubicBezTo>
                <a:cubicBezTo>
                  <a:pt x="149" y="5"/>
                  <a:pt x="149" y="5"/>
                  <a:pt x="149" y="5"/>
                </a:cubicBezTo>
                <a:cubicBezTo>
                  <a:pt x="152" y="5"/>
                  <a:pt x="155" y="8"/>
                  <a:pt x="155" y="11"/>
                </a:cubicBezTo>
                <a:lnTo>
                  <a:pt x="155" y="115"/>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340">
            <a:extLst>
              <a:ext uri="{FF2B5EF4-FFF2-40B4-BE49-F238E27FC236}">
                <a16:creationId xmlns:a16="http://schemas.microsoft.com/office/drawing/2014/main" id="{20B839F9-AC64-624B-8978-947F5475B948}"/>
              </a:ext>
            </a:extLst>
          </p:cNvPr>
          <p:cNvSpPr>
            <a:spLocks noEditPoints="1"/>
          </p:cNvSpPr>
          <p:nvPr/>
        </p:nvSpPr>
        <p:spPr bwMode="auto">
          <a:xfrm>
            <a:off x="5265312" y="3613150"/>
            <a:ext cx="546100" cy="236538"/>
          </a:xfrm>
          <a:custGeom>
            <a:avLst/>
            <a:gdLst>
              <a:gd name="T0" fmla="*/ 125 w 160"/>
              <a:gd name="T1" fmla="*/ 0 h 69"/>
              <a:gd name="T2" fmla="*/ 91 w 160"/>
              <a:gd name="T3" fmla="*/ 35 h 69"/>
              <a:gd name="T4" fmla="*/ 107 w 160"/>
              <a:gd name="T5" fmla="*/ 64 h 69"/>
              <a:gd name="T6" fmla="*/ 53 w 160"/>
              <a:gd name="T7" fmla="*/ 64 h 69"/>
              <a:gd name="T8" fmla="*/ 69 w 160"/>
              <a:gd name="T9" fmla="*/ 35 h 69"/>
              <a:gd name="T10" fmla="*/ 35 w 160"/>
              <a:gd name="T11" fmla="*/ 0 h 69"/>
              <a:gd name="T12" fmla="*/ 0 w 160"/>
              <a:gd name="T13" fmla="*/ 35 h 69"/>
              <a:gd name="T14" fmla="*/ 35 w 160"/>
              <a:gd name="T15" fmla="*/ 69 h 69"/>
              <a:gd name="T16" fmla="*/ 125 w 160"/>
              <a:gd name="T17" fmla="*/ 69 h 69"/>
              <a:gd name="T18" fmla="*/ 160 w 160"/>
              <a:gd name="T19" fmla="*/ 35 h 69"/>
              <a:gd name="T20" fmla="*/ 125 w 160"/>
              <a:gd name="T21" fmla="*/ 0 h 69"/>
              <a:gd name="T22" fmla="*/ 5 w 160"/>
              <a:gd name="T23" fmla="*/ 35 h 69"/>
              <a:gd name="T24" fmla="*/ 35 w 160"/>
              <a:gd name="T25" fmla="*/ 5 h 69"/>
              <a:gd name="T26" fmla="*/ 64 w 160"/>
              <a:gd name="T27" fmla="*/ 35 h 69"/>
              <a:gd name="T28" fmla="*/ 35 w 160"/>
              <a:gd name="T29" fmla="*/ 64 h 69"/>
              <a:gd name="T30" fmla="*/ 5 w 160"/>
              <a:gd name="T31" fmla="*/ 35 h 69"/>
              <a:gd name="T32" fmla="*/ 125 w 160"/>
              <a:gd name="T33" fmla="*/ 64 h 69"/>
              <a:gd name="T34" fmla="*/ 96 w 160"/>
              <a:gd name="T35" fmla="*/ 35 h 69"/>
              <a:gd name="T36" fmla="*/ 125 w 160"/>
              <a:gd name="T37" fmla="*/ 5 h 69"/>
              <a:gd name="T38" fmla="*/ 155 w 160"/>
              <a:gd name="T39" fmla="*/ 35 h 69"/>
              <a:gd name="T40" fmla="*/ 125 w 160"/>
              <a:gd name="T41" fmla="*/ 6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69">
                <a:moveTo>
                  <a:pt x="125" y="0"/>
                </a:moveTo>
                <a:cubicBezTo>
                  <a:pt x="106" y="0"/>
                  <a:pt x="91" y="16"/>
                  <a:pt x="91" y="35"/>
                </a:cubicBezTo>
                <a:cubicBezTo>
                  <a:pt x="91" y="47"/>
                  <a:pt x="97" y="58"/>
                  <a:pt x="107" y="64"/>
                </a:cubicBezTo>
                <a:cubicBezTo>
                  <a:pt x="53" y="64"/>
                  <a:pt x="53" y="64"/>
                  <a:pt x="53" y="64"/>
                </a:cubicBezTo>
                <a:cubicBezTo>
                  <a:pt x="63" y="58"/>
                  <a:pt x="69" y="47"/>
                  <a:pt x="69" y="35"/>
                </a:cubicBezTo>
                <a:cubicBezTo>
                  <a:pt x="69" y="16"/>
                  <a:pt x="54" y="0"/>
                  <a:pt x="35" y="0"/>
                </a:cubicBezTo>
                <a:cubicBezTo>
                  <a:pt x="16" y="0"/>
                  <a:pt x="0" y="16"/>
                  <a:pt x="0" y="35"/>
                </a:cubicBezTo>
                <a:cubicBezTo>
                  <a:pt x="0" y="54"/>
                  <a:pt x="16" y="69"/>
                  <a:pt x="35" y="69"/>
                </a:cubicBezTo>
                <a:cubicBezTo>
                  <a:pt x="125" y="69"/>
                  <a:pt x="125" y="69"/>
                  <a:pt x="125" y="69"/>
                </a:cubicBezTo>
                <a:cubicBezTo>
                  <a:pt x="144" y="69"/>
                  <a:pt x="160" y="54"/>
                  <a:pt x="160" y="35"/>
                </a:cubicBezTo>
                <a:cubicBezTo>
                  <a:pt x="160" y="16"/>
                  <a:pt x="144" y="0"/>
                  <a:pt x="125" y="0"/>
                </a:cubicBezTo>
                <a:close/>
                <a:moveTo>
                  <a:pt x="5" y="35"/>
                </a:moveTo>
                <a:cubicBezTo>
                  <a:pt x="5" y="18"/>
                  <a:pt x="18" y="5"/>
                  <a:pt x="35" y="5"/>
                </a:cubicBezTo>
                <a:cubicBezTo>
                  <a:pt x="51" y="5"/>
                  <a:pt x="64" y="18"/>
                  <a:pt x="64" y="35"/>
                </a:cubicBezTo>
                <a:cubicBezTo>
                  <a:pt x="64" y="51"/>
                  <a:pt x="51" y="64"/>
                  <a:pt x="35" y="64"/>
                </a:cubicBezTo>
                <a:cubicBezTo>
                  <a:pt x="18" y="64"/>
                  <a:pt x="5" y="51"/>
                  <a:pt x="5" y="35"/>
                </a:cubicBezTo>
                <a:close/>
                <a:moveTo>
                  <a:pt x="125" y="64"/>
                </a:moveTo>
                <a:cubicBezTo>
                  <a:pt x="109" y="64"/>
                  <a:pt x="96" y="51"/>
                  <a:pt x="96" y="35"/>
                </a:cubicBezTo>
                <a:cubicBezTo>
                  <a:pt x="96" y="18"/>
                  <a:pt x="109" y="5"/>
                  <a:pt x="125" y="5"/>
                </a:cubicBezTo>
                <a:cubicBezTo>
                  <a:pt x="142" y="5"/>
                  <a:pt x="155" y="18"/>
                  <a:pt x="155" y="35"/>
                </a:cubicBezTo>
                <a:cubicBezTo>
                  <a:pt x="155" y="51"/>
                  <a:pt x="142" y="64"/>
                  <a:pt x="125" y="64"/>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1341">
            <a:extLst>
              <a:ext uri="{FF2B5EF4-FFF2-40B4-BE49-F238E27FC236}">
                <a16:creationId xmlns:a16="http://schemas.microsoft.com/office/drawing/2014/main" id="{E78BEBB3-D9BF-5B43-8585-6BF7249F1E61}"/>
              </a:ext>
            </a:extLst>
          </p:cNvPr>
          <p:cNvSpPr>
            <a:spLocks noEditPoints="1"/>
          </p:cNvSpPr>
          <p:nvPr/>
        </p:nvSpPr>
        <p:spPr bwMode="auto">
          <a:xfrm>
            <a:off x="5265312" y="4081463"/>
            <a:ext cx="546100" cy="550863"/>
          </a:xfrm>
          <a:custGeom>
            <a:avLst/>
            <a:gdLst>
              <a:gd name="T0" fmla="*/ 61 w 160"/>
              <a:gd name="T1" fmla="*/ 53 h 160"/>
              <a:gd name="T2" fmla="*/ 32 w 160"/>
              <a:gd name="T3" fmla="*/ 83 h 160"/>
              <a:gd name="T4" fmla="*/ 29 w 160"/>
              <a:gd name="T5" fmla="*/ 85 h 160"/>
              <a:gd name="T6" fmla="*/ 27 w 160"/>
              <a:gd name="T7" fmla="*/ 83 h 160"/>
              <a:gd name="T8" fmla="*/ 61 w 160"/>
              <a:gd name="T9" fmla="*/ 48 h 160"/>
              <a:gd name="T10" fmla="*/ 93 w 160"/>
              <a:gd name="T11" fmla="*/ 48 h 160"/>
              <a:gd name="T12" fmla="*/ 70 w 160"/>
              <a:gd name="T13" fmla="*/ 31 h 160"/>
              <a:gd name="T14" fmla="*/ 70 w 160"/>
              <a:gd name="T15" fmla="*/ 28 h 160"/>
              <a:gd name="T16" fmla="*/ 74 w 160"/>
              <a:gd name="T17" fmla="*/ 27 h 160"/>
              <a:gd name="T18" fmla="*/ 106 w 160"/>
              <a:gd name="T19" fmla="*/ 51 h 160"/>
              <a:gd name="T20" fmla="*/ 74 w 160"/>
              <a:gd name="T21" fmla="*/ 74 h 160"/>
              <a:gd name="T22" fmla="*/ 72 w 160"/>
              <a:gd name="T23" fmla="*/ 75 h 160"/>
              <a:gd name="T24" fmla="*/ 70 w 160"/>
              <a:gd name="T25" fmla="*/ 74 h 160"/>
              <a:gd name="T26" fmla="*/ 70 w 160"/>
              <a:gd name="T27" fmla="*/ 70 h 160"/>
              <a:gd name="T28" fmla="*/ 93 w 160"/>
              <a:gd name="T29" fmla="*/ 53 h 160"/>
              <a:gd name="T30" fmla="*/ 61 w 160"/>
              <a:gd name="T31" fmla="*/ 53 h 160"/>
              <a:gd name="T32" fmla="*/ 160 w 160"/>
              <a:gd name="T33" fmla="*/ 80 h 160"/>
              <a:gd name="T34" fmla="*/ 80 w 160"/>
              <a:gd name="T35" fmla="*/ 160 h 160"/>
              <a:gd name="T36" fmla="*/ 0 w 160"/>
              <a:gd name="T37" fmla="*/ 80 h 160"/>
              <a:gd name="T38" fmla="*/ 80 w 160"/>
              <a:gd name="T39" fmla="*/ 0 h 160"/>
              <a:gd name="T40" fmla="*/ 160 w 160"/>
              <a:gd name="T41" fmla="*/ 80 h 160"/>
              <a:gd name="T42" fmla="*/ 155 w 160"/>
              <a:gd name="T43" fmla="*/ 80 h 160"/>
              <a:gd name="T44" fmla="*/ 80 w 160"/>
              <a:gd name="T45" fmla="*/ 5 h 160"/>
              <a:gd name="T46" fmla="*/ 5 w 160"/>
              <a:gd name="T47" fmla="*/ 80 h 160"/>
              <a:gd name="T48" fmla="*/ 80 w 160"/>
              <a:gd name="T49" fmla="*/ 155 h 160"/>
              <a:gd name="T50" fmla="*/ 155 w 160"/>
              <a:gd name="T51" fmla="*/ 80 h 160"/>
              <a:gd name="T52" fmla="*/ 128 w 160"/>
              <a:gd name="T53" fmla="*/ 75 h 160"/>
              <a:gd name="T54" fmla="*/ 125 w 160"/>
              <a:gd name="T55" fmla="*/ 77 h 160"/>
              <a:gd name="T56" fmla="*/ 96 w 160"/>
              <a:gd name="T57" fmla="*/ 107 h 160"/>
              <a:gd name="T58" fmla="*/ 64 w 160"/>
              <a:gd name="T59" fmla="*/ 107 h 160"/>
              <a:gd name="T60" fmla="*/ 87 w 160"/>
              <a:gd name="T61" fmla="*/ 90 h 160"/>
              <a:gd name="T62" fmla="*/ 87 w 160"/>
              <a:gd name="T63" fmla="*/ 86 h 160"/>
              <a:gd name="T64" fmla="*/ 84 w 160"/>
              <a:gd name="T65" fmla="*/ 86 h 160"/>
              <a:gd name="T66" fmla="*/ 51 w 160"/>
              <a:gd name="T67" fmla="*/ 109 h 160"/>
              <a:gd name="T68" fmla="*/ 84 w 160"/>
              <a:gd name="T69" fmla="*/ 133 h 160"/>
              <a:gd name="T70" fmla="*/ 85 w 160"/>
              <a:gd name="T71" fmla="*/ 133 h 160"/>
              <a:gd name="T72" fmla="*/ 87 w 160"/>
              <a:gd name="T73" fmla="*/ 132 h 160"/>
              <a:gd name="T74" fmla="*/ 87 w 160"/>
              <a:gd name="T75" fmla="*/ 129 h 160"/>
              <a:gd name="T76" fmla="*/ 64 w 160"/>
              <a:gd name="T77" fmla="*/ 112 h 160"/>
              <a:gd name="T78" fmla="*/ 96 w 160"/>
              <a:gd name="T79" fmla="*/ 112 h 160"/>
              <a:gd name="T80" fmla="*/ 131 w 160"/>
              <a:gd name="T81" fmla="*/ 77 h 160"/>
              <a:gd name="T82" fmla="*/ 128 w 160"/>
              <a:gd name="T83" fmla="*/ 7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60">
                <a:moveTo>
                  <a:pt x="61" y="53"/>
                </a:moveTo>
                <a:cubicBezTo>
                  <a:pt x="45" y="53"/>
                  <a:pt x="32" y="66"/>
                  <a:pt x="32" y="83"/>
                </a:cubicBezTo>
                <a:cubicBezTo>
                  <a:pt x="32" y="84"/>
                  <a:pt x="31" y="85"/>
                  <a:pt x="29" y="85"/>
                </a:cubicBezTo>
                <a:cubicBezTo>
                  <a:pt x="28" y="85"/>
                  <a:pt x="27" y="84"/>
                  <a:pt x="27" y="83"/>
                </a:cubicBezTo>
                <a:cubicBezTo>
                  <a:pt x="27" y="64"/>
                  <a:pt x="42" y="48"/>
                  <a:pt x="61" y="48"/>
                </a:cubicBezTo>
                <a:cubicBezTo>
                  <a:pt x="93" y="48"/>
                  <a:pt x="93" y="48"/>
                  <a:pt x="93" y="48"/>
                </a:cubicBezTo>
                <a:cubicBezTo>
                  <a:pt x="70" y="31"/>
                  <a:pt x="70" y="31"/>
                  <a:pt x="70" y="31"/>
                </a:cubicBezTo>
                <a:cubicBezTo>
                  <a:pt x="69" y="31"/>
                  <a:pt x="69" y="29"/>
                  <a:pt x="70" y="28"/>
                </a:cubicBezTo>
                <a:cubicBezTo>
                  <a:pt x="71" y="27"/>
                  <a:pt x="72" y="26"/>
                  <a:pt x="74" y="27"/>
                </a:cubicBezTo>
                <a:cubicBezTo>
                  <a:pt x="106" y="51"/>
                  <a:pt x="106" y="51"/>
                  <a:pt x="106" y="51"/>
                </a:cubicBezTo>
                <a:cubicBezTo>
                  <a:pt x="74" y="74"/>
                  <a:pt x="74" y="74"/>
                  <a:pt x="74" y="74"/>
                </a:cubicBezTo>
                <a:cubicBezTo>
                  <a:pt x="73" y="74"/>
                  <a:pt x="73" y="75"/>
                  <a:pt x="72" y="75"/>
                </a:cubicBezTo>
                <a:cubicBezTo>
                  <a:pt x="71" y="75"/>
                  <a:pt x="70" y="74"/>
                  <a:pt x="70" y="74"/>
                </a:cubicBezTo>
                <a:cubicBezTo>
                  <a:pt x="69" y="72"/>
                  <a:pt x="69" y="71"/>
                  <a:pt x="70" y="70"/>
                </a:cubicBezTo>
                <a:cubicBezTo>
                  <a:pt x="93" y="53"/>
                  <a:pt x="93" y="53"/>
                  <a:pt x="93" y="53"/>
                </a:cubicBezTo>
                <a:lnTo>
                  <a:pt x="61" y="53"/>
                </a:lnTo>
                <a:close/>
                <a:moveTo>
                  <a:pt x="160" y="80"/>
                </a:moveTo>
                <a:cubicBezTo>
                  <a:pt x="160" y="124"/>
                  <a:pt x="124" y="160"/>
                  <a:pt x="80" y="160"/>
                </a:cubicBezTo>
                <a:cubicBezTo>
                  <a:pt x="36" y="160"/>
                  <a:pt x="0" y="124"/>
                  <a:pt x="0" y="80"/>
                </a:cubicBezTo>
                <a:cubicBezTo>
                  <a:pt x="0" y="36"/>
                  <a:pt x="36" y="0"/>
                  <a:pt x="80" y="0"/>
                </a:cubicBezTo>
                <a:cubicBezTo>
                  <a:pt x="124" y="0"/>
                  <a:pt x="160" y="36"/>
                  <a:pt x="160" y="80"/>
                </a:cubicBezTo>
                <a:close/>
                <a:moveTo>
                  <a:pt x="155" y="80"/>
                </a:moveTo>
                <a:cubicBezTo>
                  <a:pt x="155" y="39"/>
                  <a:pt x="121" y="5"/>
                  <a:pt x="80" y="5"/>
                </a:cubicBezTo>
                <a:cubicBezTo>
                  <a:pt x="39" y="5"/>
                  <a:pt x="5" y="39"/>
                  <a:pt x="5" y="80"/>
                </a:cubicBezTo>
                <a:cubicBezTo>
                  <a:pt x="5" y="121"/>
                  <a:pt x="39" y="155"/>
                  <a:pt x="80" y="155"/>
                </a:cubicBezTo>
                <a:cubicBezTo>
                  <a:pt x="121" y="155"/>
                  <a:pt x="155" y="121"/>
                  <a:pt x="155" y="80"/>
                </a:cubicBezTo>
                <a:close/>
                <a:moveTo>
                  <a:pt x="128" y="75"/>
                </a:moveTo>
                <a:cubicBezTo>
                  <a:pt x="127" y="75"/>
                  <a:pt x="125" y="76"/>
                  <a:pt x="125" y="77"/>
                </a:cubicBezTo>
                <a:cubicBezTo>
                  <a:pt x="125" y="94"/>
                  <a:pt x="112" y="107"/>
                  <a:pt x="96" y="107"/>
                </a:cubicBezTo>
                <a:cubicBezTo>
                  <a:pt x="64" y="107"/>
                  <a:pt x="64" y="107"/>
                  <a:pt x="64" y="107"/>
                </a:cubicBezTo>
                <a:cubicBezTo>
                  <a:pt x="87" y="90"/>
                  <a:pt x="87" y="90"/>
                  <a:pt x="87" y="90"/>
                </a:cubicBezTo>
                <a:cubicBezTo>
                  <a:pt x="88" y="89"/>
                  <a:pt x="88" y="88"/>
                  <a:pt x="87" y="86"/>
                </a:cubicBezTo>
                <a:cubicBezTo>
                  <a:pt x="87" y="85"/>
                  <a:pt x="85" y="85"/>
                  <a:pt x="84" y="86"/>
                </a:cubicBezTo>
                <a:cubicBezTo>
                  <a:pt x="51" y="109"/>
                  <a:pt x="51" y="109"/>
                  <a:pt x="51" y="109"/>
                </a:cubicBezTo>
                <a:cubicBezTo>
                  <a:pt x="84" y="133"/>
                  <a:pt x="84" y="133"/>
                  <a:pt x="84" y="133"/>
                </a:cubicBezTo>
                <a:cubicBezTo>
                  <a:pt x="84" y="133"/>
                  <a:pt x="85" y="133"/>
                  <a:pt x="85" y="133"/>
                </a:cubicBezTo>
                <a:cubicBezTo>
                  <a:pt x="86" y="133"/>
                  <a:pt x="87" y="133"/>
                  <a:pt x="87" y="132"/>
                </a:cubicBezTo>
                <a:cubicBezTo>
                  <a:pt x="88" y="131"/>
                  <a:pt x="88" y="129"/>
                  <a:pt x="87" y="129"/>
                </a:cubicBezTo>
                <a:cubicBezTo>
                  <a:pt x="64" y="112"/>
                  <a:pt x="64" y="112"/>
                  <a:pt x="64" y="112"/>
                </a:cubicBezTo>
                <a:cubicBezTo>
                  <a:pt x="96" y="112"/>
                  <a:pt x="96" y="112"/>
                  <a:pt x="96" y="112"/>
                </a:cubicBezTo>
                <a:cubicBezTo>
                  <a:pt x="115" y="112"/>
                  <a:pt x="131" y="96"/>
                  <a:pt x="131" y="77"/>
                </a:cubicBezTo>
                <a:cubicBezTo>
                  <a:pt x="131" y="76"/>
                  <a:pt x="129" y="75"/>
                  <a:pt x="128" y="7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1342">
            <a:extLst>
              <a:ext uri="{FF2B5EF4-FFF2-40B4-BE49-F238E27FC236}">
                <a16:creationId xmlns:a16="http://schemas.microsoft.com/office/drawing/2014/main" id="{F0AB86D9-386D-974B-AB0B-865834B8D16C}"/>
              </a:ext>
            </a:extLst>
          </p:cNvPr>
          <p:cNvSpPr>
            <a:spLocks noEditPoints="1"/>
          </p:cNvSpPr>
          <p:nvPr/>
        </p:nvSpPr>
        <p:spPr bwMode="auto">
          <a:xfrm>
            <a:off x="5265312" y="4714875"/>
            <a:ext cx="546100" cy="501650"/>
          </a:xfrm>
          <a:custGeom>
            <a:avLst/>
            <a:gdLst>
              <a:gd name="T0" fmla="*/ 5 w 160"/>
              <a:gd name="T1" fmla="*/ 71 h 146"/>
              <a:gd name="T2" fmla="*/ 8 w 160"/>
              <a:gd name="T3" fmla="*/ 68 h 146"/>
              <a:gd name="T4" fmla="*/ 43 w 160"/>
              <a:gd name="T5" fmla="*/ 34 h 146"/>
              <a:gd name="T6" fmla="*/ 117 w 160"/>
              <a:gd name="T7" fmla="*/ 34 h 146"/>
              <a:gd name="T8" fmla="*/ 117 w 160"/>
              <a:gd name="T9" fmla="*/ 62 h 146"/>
              <a:gd name="T10" fmla="*/ 160 w 160"/>
              <a:gd name="T11" fmla="*/ 31 h 146"/>
              <a:gd name="T12" fmla="*/ 117 w 160"/>
              <a:gd name="T13" fmla="*/ 0 h 146"/>
              <a:gd name="T14" fmla="*/ 117 w 160"/>
              <a:gd name="T15" fmla="*/ 28 h 146"/>
              <a:gd name="T16" fmla="*/ 43 w 160"/>
              <a:gd name="T17" fmla="*/ 28 h 146"/>
              <a:gd name="T18" fmla="*/ 2 w 160"/>
              <a:gd name="T19" fmla="*/ 68 h 146"/>
              <a:gd name="T20" fmla="*/ 5 w 160"/>
              <a:gd name="T21" fmla="*/ 71 h 146"/>
              <a:gd name="T22" fmla="*/ 124 w 160"/>
              <a:gd name="T23" fmla="*/ 12 h 146"/>
              <a:gd name="T24" fmla="*/ 149 w 160"/>
              <a:gd name="T25" fmla="*/ 31 h 146"/>
              <a:gd name="T26" fmla="*/ 124 w 160"/>
              <a:gd name="T27" fmla="*/ 50 h 146"/>
              <a:gd name="T28" fmla="*/ 124 w 160"/>
              <a:gd name="T29" fmla="*/ 12 h 146"/>
              <a:gd name="T30" fmla="*/ 155 w 160"/>
              <a:gd name="T31" fmla="*/ 75 h 146"/>
              <a:gd name="T32" fmla="*/ 152 w 160"/>
              <a:gd name="T33" fmla="*/ 78 h 146"/>
              <a:gd name="T34" fmla="*/ 117 w 160"/>
              <a:gd name="T35" fmla="*/ 112 h 146"/>
              <a:gd name="T36" fmla="*/ 43 w 160"/>
              <a:gd name="T37" fmla="*/ 112 h 146"/>
              <a:gd name="T38" fmla="*/ 43 w 160"/>
              <a:gd name="T39" fmla="*/ 84 h 146"/>
              <a:gd name="T40" fmla="*/ 0 w 160"/>
              <a:gd name="T41" fmla="*/ 115 h 146"/>
              <a:gd name="T42" fmla="*/ 43 w 160"/>
              <a:gd name="T43" fmla="*/ 146 h 146"/>
              <a:gd name="T44" fmla="*/ 43 w 160"/>
              <a:gd name="T45" fmla="*/ 118 h 146"/>
              <a:gd name="T46" fmla="*/ 117 w 160"/>
              <a:gd name="T47" fmla="*/ 118 h 146"/>
              <a:gd name="T48" fmla="*/ 158 w 160"/>
              <a:gd name="T49" fmla="*/ 78 h 146"/>
              <a:gd name="T50" fmla="*/ 155 w 160"/>
              <a:gd name="T51" fmla="*/ 75 h 146"/>
              <a:gd name="T52" fmla="*/ 36 w 160"/>
              <a:gd name="T53" fmla="*/ 134 h 146"/>
              <a:gd name="T54" fmla="*/ 11 w 160"/>
              <a:gd name="T55" fmla="*/ 115 h 146"/>
              <a:gd name="T56" fmla="*/ 36 w 160"/>
              <a:gd name="T57" fmla="*/ 96 h 146"/>
              <a:gd name="T58" fmla="*/ 36 w 160"/>
              <a:gd name="T59" fmla="*/ 13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146">
                <a:moveTo>
                  <a:pt x="5" y="71"/>
                </a:moveTo>
                <a:cubicBezTo>
                  <a:pt x="7" y="71"/>
                  <a:pt x="8" y="70"/>
                  <a:pt x="8" y="68"/>
                </a:cubicBezTo>
                <a:cubicBezTo>
                  <a:pt x="8" y="49"/>
                  <a:pt x="24" y="34"/>
                  <a:pt x="43" y="34"/>
                </a:cubicBezTo>
                <a:cubicBezTo>
                  <a:pt x="117" y="34"/>
                  <a:pt x="117" y="34"/>
                  <a:pt x="117" y="34"/>
                </a:cubicBezTo>
                <a:cubicBezTo>
                  <a:pt x="117" y="62"/>
                  <a:pt x="117" y="62"/>
                  <a:pt x="117" y="62"/>
                </a:cubicBezTo>
                <a:cubicBezTo>
                  <a:pt x="160" y="31"/>
                  <a:pt x="160" y="31"/>
                  <a:pt x="160" y="31"/>
                </a:cubicBezTo>
                <a:cubicBezTo>
                  <a:pt x="117" y="0"/>
                  <a:pt x="117" y="0"/>
                  <a:pt x="117" y="0"/>
                </a:cubicBezTo>
                <a:cubicBezTo>
                  <a:pt x="117" y="28"/>
                  <a:pt x="117" y="28"/>
                  <a:pt x="117" y="28"/>
                </a:cubicBezTo>
                <a:cubicBezTo>
                  <a:pt x="43" y="28"/>
                  <a:pt x="43" y="28"/>
                  <a:pt x="43" y="28"/>
                </a:cubicBezTo>
                <a:cubicBezTo>
                  <a:pt x="20" y="28"/>
                  <a:pt x="2" y="46"/>
                  <a:pt x="2" y="68"/>
                </a:cubicBezTo>
                <a:cubicBezTo>
                  <a:pt x="2" y="70"/>
                  <a:pt x="4" y="71"/>
                  <a:pt x="5" y="71"/>
                </a:cubicBezTo>
                <a:close/>
                <a:moveTo>
                  <a:pt x="124" y="12"/>
                </a:moveTo>
                <a:cubicBezTo>
                  <a:pt x="149" y="31"/>
                  <a:pt x="149" y="31"/>
                  <a:pt x="149" y="31"/>
                </a:cubicBezTo>
                <a:cubicBezTo>
                  <a:pt x="124" y="50"/>
                  <a:pt x="124" y="50"/>
                  <a:pt x="124" y="50"/>
                </a:cubicBezTo>
                <a:lnTo>
                  <a:pt x="124" y="12"/>
                </a:lnTo>
                <a:close/>
                <a:moveTo>
                  <a:pt x="155" y="75"/>
                </a:moveTo>
                <a:cubicBezTo>
                  <a:pt x="153" y="75"/>
                  <a:pt x="152" y="76"/>
                  <a:pt x="152" y="78"/>
                </a:cubicBezTo>
                <a:cubicBezTo>
                  <a:pt x="152" y="97"/>
                  <a:pt x="136" y="112"/>
                  <a:pt x="117" y="112"/>
                </a:cubicBezTo>
                <a:cubicBezTo>
                  <a:pt x="43" y="112"/>
                  <a:pt x="43" y="112"/>
                  <a:pt x="43" y="112"/>
                </a:cubicBezTo>
                <a:cubicBezTo>
                  <a:pt x="43" y="84"/>
                  <a:pt x="43" y="84"/>
                  <a:pt x="43" y="84"/>
                </a:cubicBezTo>
                <a:cubicBezTo>
                  <a:pt x="0" y="115"/>
                  <a:pt x="0" y="115"/>
                  <a:pt x="0" y="115"/>
                </a:cubicBezTo>
                <a:cubicBezTo>
                  <a:pt x="43" y="146"/>
                  <a:pt x="43" y="146"/>
                  <a:pt x="43" y="146"/>
                </a:cubicBezTo>
                <a:cubicBezTo>
                  <a:pt x="43" y="118"/>
                  <a:pt x="43" y="118"/>
                  <a:pt x="43" y="118"/>
                </a:cubicBezTo>
                <a:cubicBezTo>
                  <a:pt x="117" y="118"/>
                  <a:pt x="117" y="118"/>
                  <a:pt x="117" y="118"/>
                </a:cubicBezTo>
                <a:cubicBezTo>
                  <a:pt x="140" y="118"/>
                  <a:pt x="158" y="100"/>
                  <a:pt x="158" y="78"/>
                </a:cubicBezTo>
                <a:cubicBezTo>
                  <a:pt x="158" y="76"/>
                  <a:pt x="156" y="75"/>
                  <a:pt x="155" y="75"/>
                </a:cubicBezTo>
                <a:close/>
                <a:moveTo>
                  <a:pt x="36" y="134"/>
                </a:moveTo>
                <a:cubicBezTo>
                  <a:pt x="11" y="115"/>
                  <a:pt x="11" y="115"/>
                  <a:pt x="11" y="115"/>
                </a:cubicBezTo>
                <a:cubicBezTo>
                  <a:pt x="36" y="96"/>
                  <a:pt x="36" y="96"/>
                  <a:pt x="36" y="96"/>
                </a:cubicBezTo>
                <a:lnTo>
                  <a:pt x="36" y="134"/>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1343">
            <a:extLst>
              <a:ext uri="{FF2B5EF4-FFF2-40B4-BE49-F238E27FC236}">
                <a16:creationId xmlns:a16="http://schemas.microsoft.com/office/drawing/2014/main" id="{49EE1107-3755-2B4E-BCEC-82935073D0D5}"/>
              </a:ext>
            </a:extLst>
          </p:cNvPr>
          <p:cNvSpPr>
            <a:spLocks noEditPoints="1"/>
          </p:cNvSpPr>
          <p:nvPr/>
        </p:nvSpPr>
        <p:spPr bwMode="auto">
          <a:xfrm>
            <a:off x="5265312" y="5319713"/>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98 w 160"/>
              <a:gd name="T21" fmla="*/ 113 h 160"/>
              <a:gd name="T22" fmla="*/ 98 w 160"/>
              <a:gd name="T23" fmla="*/ 48 h 160"/>
              <a:gd name="T24" fmla="*/ 43 w 160"/>
              <a:gd name="T25" fmla="*/ 79 h 160"/>
              <a:gd name="T26" fmla="*/ 98 w 160"/>
              <a:gd name="T27" fmla="*/ 113 h 160"/>
              <a:gd name="T28" fmla="*/ 92 w 160"/>
              <a:gd name="T29" fmla="*/ 102 h 160"/>
              <a:gd name="T30" fmla="*/ 55 w 160"/>
              <a:gd name="T31" fmla="*/ 80 h 160"/>
              <a:gd name="T32" fmla="*/ 92 w 160"/>
              <a:gd name="T33" fmla="*/ 58 h 160"/>
              <a:gd name="T34" fmla="*/ 92 w 160"/>
              <a:gd name="T35" fmla="*/ 10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98" y="113"/>
                </a:moveTo>
                <a:cubicBezTo>
                  <a:pt x="98" y="48"/>
                  <a:pt x="98" y="48"/>
                  <a:pt x="98" y="48"/>
                </a:cubicBezTo>
                <a:cubicBezTo>
                  <a:pt x="43" y="79"/>
                  <a:pt x="43" y="79"/>
                  <a:pt x="43" y="79"/>
                </a:cubicBezTo>
                <a:lnTo>
                  <a:pt x="98" y="113"/>
                </a:lnTo>
                <a:close/>
                <a:moveTo>
                  <a:pt x="92" y="102"/>
                </a:moveTo>
                <a:cubicBezTo>
                  <a:pt x="55" y="80"/>
                  <a:pt x="55" y="80"/>
                  <a:pt x="55" y="80"/>
                </a:cubicBezTo>
                <a:cubicBezTo>
                  <a:pt x="92" y="58"/>
                  <a:pt x="92" y="58"/>
                  <a:pt x="92" y="58"/>
                </a:cubicBezTo>
                <a:lnTo>
                  <a:pt x="92" y="102"/>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1344">
            <a:extLst>
              <a:ext uri="{FF2B5EF4-FFF2-40B4-BE49-F238E27FC236}">
                <a16:creationId xmlns:a16="http://schemas.microsoft.com/office/drawing/2014/main" id="{1D0196CC-EAA2-5240-B90F-FD020615CE80}"/>
              </a:ext>
            </a:extLst>
          </p:cNvPr>
          <p:cNvSpPr>
            <a:spLocks noEditPoints="1"/>
          </p:cNvSpPr>
          <p:nvPr/>
        </p:nvSpPr>
        <p:spPr bwMode="auto">
          <a:xfrm>
            <a:off x="5320875" y="5938838"/>
            <a:ext cx="425450" cy="550863"/>
          </a:xfrm>
          <a:custGeom>
            <a:avLst/>
            <a:gdLst>
              <a:gd name="T0" fmla="*/ 0 w 125"/>
              <a:gd name="T1" fmla="*/ 160 h 160"/>
              <a:gd name="T2" fmla="*/ 86 w 125"/>
              <a:gd name="T3" fmla="*/ 0 h 160"/>
              <a:gd name="T4" fmla="*/ 88 w 125"/>
              <a:gd name="T5" fmla="*/ 37 h 160"/>
              <a:gd name="T6" fmla="*/ 5 w 125"/>
              <a:gd name="T7" fmla="*/ 5 h 160"/>
              <a:gd name="T8" fmla="*/ 120 w 125"/>
              <a:gd name="T9" fmla="*/ 43 h 160"/>
              <a:gd name="T10" fmla="*/ 29 w 125"/>
              <a:gd name="T11" fmla="*/ 99 h 160"/>
              <a:gd name="T12" fmla="*/ 75 w 125"/>
              <a:gd name="T13" fmla="*/ 93 h 160"/>
              <a:gd name="T14" fmla="*/ 29 w 125"/>
              <a:gd name="T15" fmla="*/ 99 h 160"/>
              <a:gd name="T16" fmla="*/ 83 w 125"/>
              <a:gd name="T17" fmla="*/ 85 h 160"/>
              <a:gd name="T18" fmla="*/ 101 w 125"/>
              <a:gd name="T19" fmla="*/ 80 h 160"/>
              <a:gd name="T20" fmla="*/ 69 w 125"/>
              <a:gd name="T21" fmla="*/ 80 h 160"/>
              <a:gd name="T22" fmla="*/ 43 w 125"/>
              <a:gd name="T23" fmla="*/ 85 h 160"/>
              <a:gd name="T24" fmla="*/ 31 w 125"/>
              <a:gd name="T25" fmla="*/ 81 h 160"/>
              <a:gd name="T26" fmla="*/ 29 w 125"/>
              <a:gd name="T27" fmla="*/ 85 h 160"/>
              <a:gd name="T28" fmla="*/ 27 w 125"/>
              <a:gd name="T29" fmla="*/ 81 h 160"/>
              <a:gd name="T30" fmla="*/ 91 w 125"/>
              <a:gd name="T31" fmla="*/ 96 h 160"/>
              <a:gd name="T32" fmla="*/ 86 w 125"/>
              <a:gd name="T33" fmla="*/ 98 h 160"/>
              <a:gd name="T34" fmla="*/ 90 w 125"/>
              <a:gd name="T35" fmla="*/ 94 h 160"/>
              <a:gd name="T36" fmla="*/ 103 w 125"/>
              <a:gd name="T37" fmla="*/ 98 h 160"/>
              <a:gd name="T38" fmla="*/ 99 w 125"/>
              <a:gd name="T39" fmla="*/ 96 h 160"/>
              <a:gd name="T40" fmla="*/ 47 w 125"/>
              <a:gd name="T41" fmla="*/ 112 h 160"/>
              <a:gd name="T42" fmla="*/ 28 w 125"/>
              <a:gd name="T43" fmla="*/ 123 h 160"/>
              <a:gd name="T44" fmla="*/ 44 w 125"/>
              <a:gd name="T45" fmla="*/ 107 h 160"/>
              <a:gd name="T46" fmla="*/ 80 w 125"/>
              <a:gd name="T47" fmla="*/ 123 h 160"/>
              <a:gd name="T48" fmla="*/ 47 w 125"/>
              <a:gd name="T49" fmla="*/ 122 h 160"/>
              <a:gd name="T50" fmla="*/ 67 w 125"/>
              <a:gd name="T51" fmla="*/ 118 h 160"/>
              <a:gd name="T52" fmla="*/ 59 w 125"/>
              <a:gd name="T53" fmla="*/ 64 h 160"/>
              <a:gd name="T54" fmla="*/ 56 w 125"/>
              <a:gd name="T55" fmla="*/ 57 h 160"/>
              <a:gd name="T56" fmla="*/ 59 w 125"/>
              <a:gd name="T57" fmla="*/ 41 h 160"/>
              <a:gd name="T58" fmla="*/ 42 w 125"/>
              <a:gd name="T59" fmla="*/ 24 h 160"/>
              <a:gd name="T60" fmla="*/ 34 w 125"/>
              <a:gd name="T61" fmla="*/ 22 h 160"/>
              <a:gd name="T62" fmla="*/ 29 w 125"/>
              <a:gd name="T63" fmla="*/ 26 h 160"/>
              <a:gd name="T64" fmla="*/ 29 w 125"/>
              <a:gd name="T65" fmla="*/ 30 h 160"/>
              <a:gd name="T66" fmla="*/ 25 w 125"/>
              <a:gd name="T67" fmla="*/ 41 h 160"/>
              <a:gd name="T68" fmla="*/ 28 w 125"/>
              <a:gd name="T69" fmla="*/ 57 h 160"/>
              <a:gd name="T70" fmla="*/ 25 w 125"/>
              <a:gd name="T71" fmla="*/ 64 h 160"/>
              <a:gd name="T72" fmla="*/ 31 w 125"/>
              <a:gd name="T73" fmla="*/ 61 h 160"/>
              <a:gd name="T74" fmla="*/ 39 w 125"/>
              <a:gd name="T75" fmla="*/ 50 h 160"/>
              <a:gd name="T76" fmla="*/ 33 w 125"/>
              <a:gd name="T77" fmla="*/ 42 h 160"/>
              <a:gd name="T78" fmla="*/ 31 w 125"/>
              <a:gd name="T79" fmla="*/ 39 h 160"/>
              <a:gd name="T80" fmla="*/ 32 w 125"/>
              <a:gd name="T81" fmla="*/ 36 h 160"/>
              <a:gd name="T82" fmla="*/ 35 w 125"/>
              <a:gd name="T83" fmla="*/ 28 h 160"/>
              <a:gd name="T84" fmla="*/ 52 w 125"/>
              <a:gd name="T85" fmla="*/ 36 h 160"/>
              <a:gd name="T86" fmla="*/ 54 w 125"/>
              <a:gd name="T87" fmla="*/ 39 h 160"/>
              <a:gd name="T88" fmla="*/ 52 w 125"/>
              <a:gd name="T89" fmla="*/ 42 h 160"/>
              <a:gd name="T90" fmla="*/ 45 w 125"/>
              <a:gd name="T91" fmla="*/ 50 h 160"/>
              <a:gd name="T92" fmla="*/ 53 w 125"/>
              <a:gd name="T93" fmla="*/ 6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160">
                <a:moveTo>
                  <a:pt x="86" y="0"/>
                </a:moveTo>
                <a:cubicBezTo>
                  <a:pt x="0" y="0"/>
                  <a:pt x="0" y="0"/>
                  <a:pt x="0" y="0"/>
                </a:cubicBezTo>
                <a:cubicBezTo>
                  <a:pt x="0" y="160"/>
                  <a:pt x="0" y="160"/>
                  <a:pt x="0" y="160"/>
                </a:cubicBezTo>
                <a:cubicBezTo>
                  <a:pt x="125" y="160"/>
                  <a:pt x="125" y="160"/>
                  <a:pt x="125" y="160"/>
                </a:cubicBezTo>
                <a:cubicBezTo>
                  <a:pt x="125" y="39"/>
                  <a:pt x="125" y="39"/>
                  <a:pt x="125" y="39"/>
                </a:cubicBezTo>
                <a:lnTo>
                  <a:pt x="86" y="0"/>
                </a:lnTo>
                <a:close/>
                <a:moveTo>
                  <a:pt x="88" y="9"/>
                </a:moveTo>
                <a:cubicBezTo>
                  <a:pt x="116" y="37"/>
                  <a:pt x="116" y="37"/>
                  <a:pt x="116" y="37"/>
                </a:cubicBezTo>
                <a:cubicBezTo>
                  <a:pt x="88" y="37"/>
                  <a:pt x="88" y="37"/>
                  <a:pt x="88" y="37"/>
                </a:cubicBezTo>
                <a:lnTo>
                  <a:pt x="88" y="9"/>
                </a:lnTo>
                <a:close/>
                <a:moveTo>
                  <a:pt x="5" y="155"/>
                </a:moveTo>
                <a:cubicBezTo>
                  <a:pt x="5" y="5"/>
                  <a:pt x="5" y="5"/>
                  <a:pt x="5" y="5"/>
                </a:cubicBezTo>
                <a:cubicBezTo>
                  <a:pt x="83" y="5"/>
                  <a:pt x="83" y="5"/>
                  <a:pt x="83" y="5"/>
                </a:cubicBezTo>
                <a:cubicBezTo>
                  <a:pt x="83" y="43"/>
                  <a:pt x="83" y="43"/>
                  <a:pt x="83" y="43"/>
                </a:cubicBezTo>
                <a:cubicBezTo>
                  <a:pt x="120" y="43"/>
                  <a:pt x="120" y="43"/>
                  <a:pt x="120" y="43"/>
                </a:cubicBezTo>
                <a:cubicBezTo>
                  <a:pt x="120" y="155"/>
                  <a:pt x="120" y="155"/>
                  <a:pt x="120" y="155"/>
                </a:cubicBezTo>
                <a:lnTo>
                  <a:pt x="5" y="155"/>
                </a:lnTo>
                <a:close/>
                <a:moveTo>
                  <a:pt x="29" y="99"/>
                </a:moveTo>
                <a:cubicBezTo>
                  <a:pt x="28" y="99"/>
                  <a:pt x="27" y="97"/>
                  <a:pt x="27" y="96"/>
                </a:cubicBezTo>
                <a:cubicBezTo>
                  <a:pt x="27" y="95"/>
                  <a:pt x="28" y="93"/>
                  <a:pt x="29" y="93"/>
                </a:cubicBezTo>
                <a:cubicBezTo>
                  <a:pt x="75" y="93"/>
                  <a:pt x="75" y="93"/>
                  <a:pt x="75" y="93"/>
                </a:cubicBezTo>
                <a:cubicBezTo>
                  <a:pt x="76" y="93"/>
                  <a:pt x="77" y="95"/>
                  <a:pt x="77" y="96"/>
                </a:cubicBezTo>
                <a:cubicBezTo>
                  <a:pt x="77" y="97"/>
                  <a:pt x="76" y="99"/>
                  <a:pt x="75" y="99"/>
                </a:cubicBezTo>
                <a:lnTo>
                  <a:pt x="29" y="99"/>
                </a:lnTo>
                <a:close/>
                <a:moveTo>
                  <a:pt x="104" y="83"/>
                </a:moveTo>
                <a:cubicBezTo>
                  <a:pt x="104" y="84"/>
                  <a:pt x="103" y="85"/>
                  <a:pt x="101" y="85"/>
                </a:cubicBezTo>
                <a:cubicBezTo>
                  <a:pt x="83" y="85"/>
                  <a:pt x="83" y="85"/>
                  <a:pt x="83" y="85"/>
                </a:cubicBezTo>
                <a:cubicBezTo>
                  <a:pt x="81" y="85"/>
                  <a:pt x="80" y="84"/>
                  <a:pt x="80" y="83"/>
                </a:cubicBezTo>
                <a:cubicBezTo>
                  <a:pt x="80" y="81"/>
                  <a:pt x="81" y="80"/>
                  <a:pt x="83" y="80"/>
                </a:cubicBezTo>
                <a:cubicBezTo>
                  <a:pt x="101" y="80"/>
                  <a:pt x="101" y="80"/>
                  <a:pt x="101" y="80"/>
                </a:cubicBezTo>
                <a:cubicBezTo>
                  <a:pt x="103" y="80"/>
                  <a:pt x="104" y="81"/>
                  <a:pt x="104" y="83"/>
                </a:cubicBezTo>
                <a:close/>
                <a:moveTo>
                  <a:pt x="43" y="80"/>
                </a:moveTo>
                <a:cubicBezTo>
                  <a:pt x="69" y="80"/>
                  <a:pt x="69" y="80"/>
                  <a:pt x="69" y="80"/>
                </a:cubicBezTo>
                <a:cubicBezTo>
                  <a:pt x="71" y="80"/>
                  <a:pt x="72" y="81"/>
                  <a:pt x="72" y="83"/>
                </a:cubicBezTo>
                <a:cubicBezTo>
                  <a:pt x="72" y="84"/>
                  <a:pt x="71" y="85"/>
                  <a:pt x="69" y="85"/>
                </a:cubicBezTo>
                <a:cubicBezTo>
                  <a:pt x="43" y="85"/>
                  <a:pt x="43" y="85"/>
                  <a:pt x="43" y="85"/>
                </a:cubicBezTo>
                <a:cubicBezTo>
                  <a:pt x="41" y="85"/>
                  <a:pt x="40" y="84"/>
                  <a:pt x="40" y="83"/>
                </a:cubicBezTo>
                <a:cubicBezTo>
                  <a:pt x="40" y="81"/>
                  <a:pt x="41" y="80"/>
                  <a:pt x="43" y="80"/>
                </a:cubicBezTo>
                <a:close/>
                <a:moveTo>
                  <a:pt x="31" y="81"/>
                </a:moveTo>
                <a:cubicBezTo>
                  <a:pt x="32" y="81"/>
                  <a:pt x="32" y="82"/>
                  <a:pt x="32" y="83"/>
                </a:cubicBezTo>
                <a:cubicBezTo>
                  <a:pt x="32" y="83"/>
                  <a:pt x="32" y="84"/>
                  <a:pt x="31" y="85"/>
                </a:cubicBezTo>
                <a:cubicBezTo>
                  <a:pt x="31" y="85"/>
                  <a:pt x="30" y="85"/>
                  <a:pt x="29" y="85"/>
                </a:cubicBezTo>
                <a:cubicBezTo>
                  <a:pt x="29" y="85"/>
                  <a:pt x="28" y="85"/>
                  <a:pt x="27" y="85"/>
                </a:cubicBezTo>
                <a:cubicBezTo>
                  <a:pt x="27" y="84"/>
                  <a:pt x="27" y="83"/>
                  <a:pt x="27" y="83"/>
                </a:cubicBezTo>
                <a:cubicBezTo>
                  <a:pt x="27" y="82"/>
                  <a:pt x="27" y="81"/>
                  <a:pt x="27" y="81"/>
                </a:cubicBezTo>
                <a:cubicBezTo>
                  <a:pt x="28" y="80"/>
                  <a:pt x="30" y="80"/>
                  <a:pt x="31" y="81"/>
                </a:cubicBezTo>
                <a:close/>
                <a:moveTo>
                  <a:pt x="90" y="94"/>
                </a:moveTo>
                <a:cubicBezTo>
                  <a:pt x="90" y="95"/>
                  <a:pt x="91" y="95"/>
                  <a:pt x="91" y="96"/>
                </a:cubicBezTo>
                <a:cubicBezTo>
                  <a:pt x="91" y="97"/>
                  <a:pt x="90" y="97"/>
                  <a:pt x="90" y="98"/>
                </a:cubicBezTo>
                <a:cubicBezTo>
                  <a:pt x="89" y="98"/>
                  <a:pt x="89" y="99"/>
                  <a:pt x="88" y="99"/>
                </a:cubicBezTo>
                <a:cubicBezTo>
                  <a:pt x="87" y="99"/>
                  <a:pt x="87" y="98"/>
                  <a:pt x="86" y="98"/>
                </a:cubicBezTo>
                <a:cubicBezTo>
                  <a:pt x="86" y="97"/>
                  <a:pt x="85" y="97"/>
                  <a:pt x="85" y="96"/>
                </a:cubicBezTo>
                <a:cubicBezTo>
                  <a:pt x="85" y="95"/>
                  <a:pt x="86" y="95"/>
                  <a:pt x="86" y="94"/>
                </a:cubicBezTo>
                <a:cubicBezTo>
                  <a:pt x="87" y="93"/>
                  <a:pt x="89" y="93"/>
                  <a:pt x="90" y="94"/>
                </a:cubicBezTo>
                <a:close/>
                <a:moveTo>
                  <a:pt x="103" y="94"/>
                </a:moveTo>
                <a:cubicBezTo>
                  <a:pt x="104" y="95"/>
                  <a:pt x="104" y="95"/>
                  <a:pt x="104" y="96"/>
                </a:cubicBezTo>
                <a:cubicBezTo>
                  <a:pt x="104" y="97"/>
                  <a:pt x="104" y="97"/>
                  <a:pt x="103" y="98"/>
                </a:cubicBezTo>
                <a:cubicBezTo>
                  <a:pt x="103" y="98"/>
                  <a:pt x="102" y="99"/>
                  <a:pt x="101" y="99"/>
                </a:cubicBezTo>
                <a:cubicBezTo>
                  <a:pt x="101" y="99"/>
                  <a:pt x="100" y="98"/>
                  <a:pt x="99" y="98"/>
                </a:cubicBezTo>
                <a:cubicBezTo>
                  <a:pt x="99" y="97"/>
                  <a:pt x="99" y="97"/>
                  <a:pt x="99" y="96"/>
                </a:cubicBezTo>
                <a:cubicBezTo>
                  <a:pt x="99" y="95"/>
                  <a:pt x="99" y="95"/>
                  <a:pt x="99" y="94"/>
                </a:cubicBezTo>
                <a:cubicBezTo>
                  <a:pt x="100" y="93"/>
                  <a:pt x="102" y="93"/>
                  <a:pt x="103" y="94"/>
                </a:cubicBezTo>
                <a:close/>
                <a:moveTo>
                  <a:pt x="47" y="112"/>
                </a:moveTo>
                <a:cubicBezTo>
                  <a:pt x="41" y="115"/>
                  <a:pt x="41" y="122"/>
                  <a:pt x="40" y="127"/>
                </a:cubicBezTo>
                <a:cubicBezTo>
                  <a:pt x="40" y="130"/>
                  <a:pt x="38" y="131"/>
                  <a:pt x="36" y="129"/>
                </a:cubicBezTo>
                <a:cubicBezTo>
                  <a:pt x="33" y="127"/>
                  <a:pt x="31" y="125"/>
                  <a:pt x="28" y="123"/>
                </a:cubicBezTo>
                <a:cubicBezTo>
                  <a:pt x="26" y="121"/>
                  <a:pt x="30" y="117"/>
                  <a:pt x="32" y="119"/>
                </a:cubicBezTo>
                <a:cubicBezTo>
                  <a:pt x="33" y="120"/>
                  <a:pt x="34" y="121"/>
                  <a:pt x="36" y="122"/>
                </a:cubicBezTo>
                <a:cubicBezTo>
                  <a:pt x="36" y="116"/>
                  <a:pt x="38" y="110"/>
                  <a:pt x="44" y="107"/>
                </a:cubicBezTo>
                <a:cubicBezTo>
                  <a:pt x="47" y="106"/>
                  <a:pt x="50" y="110"/>
                  <a:pt x="47" y="112"/>
                </a:cubicBezTo>
                <a:close/>
                <a:moveTo>
                  <a:pt x="85" y="121"/>
                </a:moveTo>
                <a:cubicBezTo>
                  <a:pt x="87" y="123"/>
                  <a:pt x="82" y="126"/>
                  <a:pt x="80" y="123"/>
                </a:cubicBezTo>
                <a:cubicBezTo>
                  <a:pt x="80" y="123"/>
                  <a:pt x="71" y="126"/>
                  <a:pt x="69" y="126"/>
                </a:cubicBezTo>
                <a:cubicBezTo>
                  <a:pt x="67" y="125"/>
                  <a:pt x="66" y="124"/>
                  <a:pt x="64" y="123"/>
                </a:cubicBezTo>
                <a:cubicBezTo>
                  <a:pt x="59" y="126"/>
                  <a:pt x="52" y="128"/>
                  <a:pt x="47" y="122"/>
                </a:cubicBezTo>
                <a:cubicBezTo>
                  <a:pt x="45" y="120"/>
                  <a:pt x="49" y="116"/>
                  <a:pt x="51" y="118"/>
                </a:cubicBezTo>
                <a:cubicBezTo>
                  <a:pt x="55" y="123"/>
                  <a:pt x="60" y="119"/>
                  <a:pt x="64" y="117"/>
                </a:cubicBezTo>
                <a:cubicBezTo>
                  <a:pt x="65" y="116"/>
                  <a:pt x="67" y="117"/>
                  <a:pt x="67" y="118"/>
                </a:cubicBezTo>
                <a:cubicBezTo>
                  <a:pt x="70" y="123"/>
                  <a:pt x="76" y="117"/>
                  <a:pt x="80" y="118"/>
                </a:cubicBezTo>
                <a:cubicBezTo>
                  <a:pt x="82" y="118"/>
                  <a:pt x="84" y="119"/>
                  <a:pt x="85" y="121"/>
                </a:cubicBezTo>
                <a:close/>
                <a:moveTo>
                  <a:pt x="59" y="64"/>
                </a:moveTo>
                <a:cubicBezTo>
                  <a:pt x="61" y="63"/>
                  <a:pt x="61" y="63"/>
                  <a:pt x="61" y="63"/>
                </a:cubicBezTo>
                <a:cubicBezTo>
                  <a:pt x="60" y="61"/>
                  <a:pt x="60" y="61"/>
                  <a:pt x="60" y="61"/>
                </a:cubicBezTo>
                <a:cubicBezTo>
                  <a:pt x="59" y="59"/>
                  <a:pt x="58" y="57"/>
                  <a:pt x="56" y="57"/>
                </a:cubicBezTo>
                <a:cubicBezTo>
                  <a:pt x="50" y="54"/>
                  <a:pt x="50" y="54"/>
                  <a:pt x="50" y="54"/>
                </a:cubicBezTo>
                <a:cubicBezTo>
                  <a:pt x="53" y="52"/>
                  <a:pt x="55" y="49"/>
                  <a:pt x="56" y="46"/>
                </a:cubicBezTo>
                <a:cubicBezTo>
                  <a:pt x="58" y="45"/>
                  <a:pt x="59" y="43"/>
                  <a:pt x="59" y="41"/>
                </a:cubicBezTo>
                <a:cubicBezTo>
                  <a:pt x="59" y="39"/>
                  <a:pt x="59" y="39"/>
                  <a:pt x="59" y="39"/>
                </a:cubicBezTo>
                <a:cubicBezTo>
                  <a:pt x="59" y="37"/>
                  <a:pt x="58" y="36"/>
                  <a:pt x="57" y="34"/>
                </a:cubicBezTo>
                <a:cubicBezTo>
                  <a:pt x="56" y="29"/>
                  <a:pt x="53" y="24"/>
                  <a:pt x="42" y="24"/>
                </a:cubicBezTo>
                <a:cubicBezTo>
                  <a:pt x="42" y="24"/>
                  <a:pt x="41" y="24"/>
                  <a:pt x="41" y="24"/>
                </a:cubicBezTo>
                <a:cubicBezTo>
                  <a:pt x="40" y="24"/>
                  <a:pt x="38" y="24"/>
                  <a:pt x="36" y="23"/>
                </a:cubicBezTo>
                <a:cubicBezTo>
                  <a:pt x="35" y="22"/>
                  <a:pt x="35" y="22"/>
                  <a:pt x="34" y="22"/>
                </a:cubicBezTo>
                <a:cubicBezTo>
                  <a:pt x="34" y="21"/>
                  <a:pt x="32" y="20"/>
                  <a:pt x="31" y="21"/>
                </a:cubicBezTo>
                <a:cubicBezTo>
                  <a:pt x="30" y="21"/>
                  <a:pt x="29" y="22"/>
                  <a:pt x="29" y="24"/>
                </a:cubicBezTo>
                <a:cubicBezTo>
                  <a:pt x="29" y="24"/>
                  <a:pt x="29" y="25"/>
                  <a:pt x="29" y="26"/>
                </a:cubicBezTo>
                <a:cubicBezTo>
                  <a:pt x="30" y="27"/>
                  <a:pt x="30" y="28"/>
                  <a:pt x="30" y="28"/>
                </a:cubicBezTo>
                <a:cubicBezTo>
                  <a:pt x="30" y="28"/>
                  <a:pt x="29" y="28"/>
                  <a:pt x="29" y="28"/>
                </a:cubicBezTo>
                <a:cubicBezTo>
                  <a:pt x="29" y="29"/>
                  <a:pt x="29" y="29"/>
                  <a:pt x="29" y="30"/>
                </a:cubicBezTo>
                <a:cubicBezTo>
                  <a:pt x="28" y="31"/>
                  <a:pt x="28" y="33"/>
                  <a:pt x="27" y="35"/>
                </a:cubicBezTo>
                <a:cubicBezTo>
                  <a:pt x="26" y="36"/>
                  <a:pt x="25" y="37"/>
                  <a:pt x="25" y="39"/>
                </a:cubicBezTo>
                <a:cubicBezTo>
                  <a:pt x="25" y="41"/>
                  <a:pt x="25" y="41"/>
                  <a:pt x="25" y="41"/>
                </a:cubicBezTo>
                <a:cubicBezTo>
                  <a:pt x="25" y="43"/>
                  <a:pt x="26" y="45"/>
                  <a:pt x="28" y="46"/>
                </a:cubicBezTo>
                <a:cubicBezTo>
                  <a:pt x="29" y="49"/>
                  <a:pt x="31" y="52"/>
                  <a:pt x="34" y="54"/>
                </a:cubicBezTo>
                <a:cubicBezTo>
                  <a:pt x="28" y="57"/>
                  <a:pt x="28" y="57"/>
                  <a:pt x="28" y="57"/>
                </a:cubicBezTo>
                <a:cubicBezTo>
                  <a:pt x="26" y="57"/>
                  <a:pt x="25" y="59"/>
                  <a:pt x="24" y="61"/>
                </a:cubicBezTo>
                <a:cubicBezTo>
                  <a:pt x="23" y="63"/>
                  <a:pt x="23" y="63"/>
                  <a:pt x="23" y="63"/>
                </a:cubicBezTo>
                <a:cubicBezTo>
                  <a:pt x="25" y="64"/>
                  <a:pt x="25" y="64"/>
                  <a:pt x="25" y="64"/>
                </a:cubicBezTo>
                <a:cubicBezTo>
                  <a:pt x="30" y="67"/>
                  <a:pt x="36" y="69"/>
                  <a:pt x="42" y="69"/>
                </a:cubicBezTo>
                <a:cubicBezTo>
                  <a:pt x="48" y="69"/>
                  <a:pt x="54" y="67"/>
                  <a:pt x="59" y="64"/>
                </a:cubicBezTo>
                <a:close/>
                <a:moveTo>
                  <a:pt x="31" y="61"/>
                </a:moveTo>
                <a:cubicBezTo>
                  <a:pt x="37" y="58"/>
                  <a:pt x="37" y="58"/>
                  <a:pt x="37" y="58"/>
                </a:cubicBezTo>
                <a:cubicBezTo>
                  <a:pt x="39" y="57"/>
                  <a:pt x="39" y="56"/>
                  <a:pt x="39" y="54"/>
                </a:cubicBezTo>
                <a:cubicBezTo>
                  <a:pt x="39" y="50"/>
                  <a:pt x="39" y="50"/>
                  <a:pt x="39" y="50"/>
                </a:cubicBezTo>
                <a:cubicBezTo>
                  <a:pt x="38" y="50"/>
                  <a:pt x="38" y="50"/>
                  <a:pt x="38" y="50"/>
                </a:cubicBezTo>
                <a:cubicBezTo>
                  <a:pt x="35" y="49"/>
                  <a:pt x="34" y="47"/>
                  <a:pt x="33" y="44"/>
                </a:cubicBezTo>
                <a:cubicBezTo>
                  <a:pt x="33" y="42"/>
                  <a:pt x="33" y="42"/>
                  <a:pt x="33" y="42"/>
                </a:cubicBezTo>
                <a:cubicBezTo>
                  <a:pt x="31" y="42"/>
                  <a:pt x="31" y="42"/>
                  <a:pt x="31" y="42"/>
                </a:cubicBezTo>
                <a:cubicBezTo>
                  <a:pt x="31" y="42"/>
                  <a:pt x="31" y="41"/>
                  <a:pt x="31" y="41"/>
                </a:cubicBezTo>
                <a:cubicBezTo>
                  <a:pt x="31" y="39"/>
                  <a:pt x="31" y="39"/>
                  <a:pt x="31" y="39"/>
                </a:cubicBezTo>
                <a:cubicBezTo>
                  <a:pt x="31" y="39"/>
                  <a:pt x="31" y="38"/>
                  <a:pt x="31" y="38"/>
                </a:cubicBezTo>
                <a:cubicBezTo>
                  <a:pt x="32" y="38"/>
                  <a:pt x="32" y="38"/>
                  <a:pt x="32" y="38"/>
                </a:cubicBezTo>
                <a:cubicBezTo>
                  <a:pt x="32" y="36"/>
                  <a:pt x="32" y="36"/>
                  <a:pt x="32" y="36"/>
                </a:cubicBezTo>
                <a:cubicBezTo>
                  <a:pt x="33" y="35"/>
                  <a:pt x="33" y="33"/>
                  <a:pt x="34" y="32"/>
                </a:cubicBezTo>
                <a:cubicBezTo>
                  <a:pt x="34" y="31"/>
                  <a:pt x="34" y="31"/>
                  <a:pt x="34" y="31"/>
                </a:cubicBezTo>
                <a:cubicBezTo>
                  <a:pt x="35" y="30"/>
                  <a:pt x="35" y="29"/>
                  <a:pt x="35" y="28"/>
                </a:cubicBezTo>
                <a:cubicBezTo>
                  <a:pt x="37" y="29"/>
                  <a:pt x="39" y="29"/>
                  <a:pt x="41" y="29"/>
                </a:cubicBezTo>
                <a:cubicBezTo>
                  <a:pt x="42" y="29"/>
                  <a:pt x="42" y="29"/>
                  <a:pt x="42" y="29"/>
                </a:cubicBezTo>
                <a:cubicBezTo>
                  <a:pt x="50" y="29"/>
                  <a:pt x="51" y="33"/>
                  <a:pt x="52" y="36"/>
                </a:cubicBezTo>
                <a:cubicBezTo>
                  <a:pt x="52" y="38"/>
                  <a:pt x="52" y="38"/>
                  <a:pt x="52" y="38"/>
                </a:cubicBezTo>
                <a:cubicBezTo>
                  <a:pt x="53" y="38"/>
                  <a:pt x="53" y="38"/>
                  <a:pt x="53" y="38"/>
                </a:cubicBezTo>
                <a:cubicBezTo>
                  <a:pt x="53" y="38"/>
                  <a:pt x="54" y="39"/>
                  <a:pt x="54" y="39"/>
                </a:cubicBezTo>
                <a:cubicBezTo>
                  <a:pt x="54" y="41"/>
                  <a:pt x="54" y="41"/>
                  <a:pt x="54" y="41"/>
                </a:cubicBezTo>
                <a:cubicBezTo>
                  <a:pt x="54" y="41"/>
                  <a:pt x="53" y="42"/>
                  <a:pt x="53" y="42"/>
                </a:cubicBezTo>
                <a:cubicBezTo>
                  <a:pt x="52" y="42"/>
                  <a:pt x="52" y="42"/>
                  <a:pt x="52" y="42"/>
                </a:cubicBezTo>
                <a:cubicBezTo>
                  <a:pt x="51" y="44"/>
                  <a:pt x="51" y="44"/>
                  <a:pt x="51" y="44"/>
                </a:cubicBezTo>
                <a:cubicBezTo>
                  <a:pt x="50" y="47"/>
                  <a:pt x="49" y="49"/>
                  <a:pt x="46" y="50"/>
                </a:cubicBezTo>
                <a:cubicBezTo>
                  <a:pt x="45" y="50"/>
                  <a:pt x="45" y="50"/>
                  <a:pt x="45" y="50"/>
                </a:cubicBezTo>
                <a:cubicBezTo>
                  <a:pt x="45" y="54"/>
                  <a:pt x="45" y="54"/>
                  <a:pt x="45" y="54"/>
                </a:cubicBezTo>
                <a:cubicBezTo>
                  <a:pt x="45" y="56"/>
                  <a:pt x="46" y="57"/>
                  <a:pt x="47" y="58"/>
                </a:cubicBezTo>
                <a:cubicBezTo>
                  <a:pt x="53" y="61"/>
                  <a:pt x="53" y="61"/>
                  <a:pt x="53" y="61"/>
                </a:cubicBezTo>
                <a:cubicBezTo>
                  <a:pt x="46" y="65"/>
                  <a:pt x="38" y="65"/>
                  <a:pt x="31" y="61"/>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1345">
            <a:extLst>
              <a:ext uri="{FF2B5EF4-FFF2-40B4-BE49-F238E27FC236}">
                <a16:creationId xmlns:a16="http://schemas.microsoft.com/office/drawing/2014/main" id="{3B0A6A4E-B653-9548-96DB-3CBBDE8D8F4A}"/>
              </a:ext>
            </a:extLst>
          </p:cNvPr>
          <p:cNvSpPr>
            <a:spLocks noEditPoints="1"/>
          </p:cNvSpPr>
          <p:nvPr/>
        </p:nvSpPr>
        <p:spPr bwMode="auto">
          <a:xfrm>
            <a:off x="6220987" y="365125"/>
            <a:ext cx="546100" cy="550863"/>
          </a:xfrm>
          <a:custGeom>
            <a:avLst/>
            <a:gdLst>
              <a:gd name="T0" fmla="*/ 132 w 160"/>
              <a:gd name="T1" fmla="*/ 38 h 160"/>
              <a:gd name="T2" fmla="*/ 129 w 160"/>
              <a:gd name="T3" fmla="*/ 38 h 160"/>
              <a:gd name="T4" fmla="*/ 75 w 160"/>
              <a:gd name="T5" fmla="*/ 75 h 160"/>
              <a:gd name="T6" fmla="*/ 75 w 160"/>
              <a:gd name="T7" fmla="*/ 40 h 160"/>
              <a:gd name="T8" fmla="*/ 73 w 160"/>
              <a:gd name="T9" fmla="*/ 38 h 160"/>
              <a:gd name="T10" fmla="*/ 71 w 160"/>
              <a:gd name="T11" fmla="*/ 38 h 160"/>
              <a:gd name="T12" fmla="*/ 12 w 160"/>
              <a:gd name="T13" fmla="*/ 78 h 160"/>
              <a:gd name="T14" fmla="*/ 11 w 160"/>
              <a:gd name="T15" fmla="*/ 80 h 160"/>
              <a:gd name="T16" fmla="*/ 12 w 160"/>
              <a:gd name="T17" fmla="*/ 82 h 160"/>
              <a:gd name="T18" fmla="*/ 71 w 160"/>
              <a:gd name="T19" fmla="*/ 122 h 160"/>
              <a:gd name="T20" fmla="*/ 72 w 160"/>
              <a:gd name="T21" fmla="*/ 123 h 160"/>
              <a:gd name="T22" fmla="*/ 73 w 160"/>
              <a:gd name="T23" fmla="*/ 122 h 160"/>
              <a:gd name="T24" fmla="*/ 75 w 160"/>
              <a:gd name="T25" fmla="*/ 120 h 160"/>
              <a:gd name="T26" fmla="*/ 75 w 160"/>
              <a:gd name="T27" fmla="*/ 85 h 160"/>
              <a:gd name="T28" fmla="*/ 129 w 160"/>
              <a:gd name="T29" fmla="*/ 122 h 160"/>
              <a:gd name="T30" fmla="*/ 131 w 160"/>
              <a:gd name="T31" fmla="*/ 123 h 160"/>
              <a:gd name="T32" fmla="*/ 132 w 160"/>
              <a:gd name="T33" fmla="*/ 122 h 160"/>
              <a:gd name="T34" fmla="*/ 133 w 160"/>
              <a:gd name="T35" fmla="*/ 120 h 160"/>
              <a:gd name="T36" fmla="*/ 133 w 160"/>
              <a:gd name="T37" fmla="*/ 40 h 160"/>
              <a:gd name="T38" fmla="*/ 132 w 160"/>
              <a:gd name="T39" fmla="*/ 38 h 160"/>
              <a:gd name="T40" fmla="*/ 69 w 160"/>
              <a:gd name="T41" fmla="*/ 115 h 160"/>
              <a:gd name="T42" fmla="*/ 18 w 160"/>
              <a:gd name="T43" fmla="*/ 80 h 160"/>
              <a:gd name="T44" fmla="*/ 69 w 160"/>
              <a:gd name="T45" fmla="*/ 45 h 160"/>
              <a:gd name="T46" fmla="*/ 69 w 160"/>
              <a:gd name="T47" fmla="*/ 115 h 160"/>
              <a:gd name="T48" fmla="*/ 128 w 160"/>
              <a:gd name="T49" fmla="*/ 115 h 160"/>
              <a:gd name="T50" fmla="*/ 77 w 160"/>
              <a:gd name="T51" fmla="*/ 80 h 160"/>
              <a:gd name="T52" fmla="*/ 128 w 160"/>
              <a:gd name="T53" fmla="*/ 45 h 160"/>
              <a:gd name="T54" fmla="*/ 128 w 160"/>
              <a:gd name="T55" fmla="*/ 115 h 160"/>
              <a:gd name="T56" fmla="*/ 80 w 160"/>
              <a:gd name="T57" fmla="*/ 0 h 160"/>
              <a:gd name="T58" fmla="*/ 0 w 160"/>
              <a:gd name="T59" fmla="*/ 80 h 160"/>
              <a:gd name="T60" fmla="*/ 80 w 160"/>
              <a:gd name="T61" fmla="*/ 160 h 160"/>
              <a:gd name="T62" fmla="*/ 160 w 160"/>
              <a:gd name="T63" fmla="*/ 80 h 160"/>
              <a:gd name="T64" fmla="*/ 80 w 160"/>
              <a:gd name="T65" fmla="*/ 0 h 160"/>
              <a:gd name="T66" fmla="*/ 80 w 160"/>
              <a:gd name="T67" fmla="*/ 155 h 160"/>
              <a:gd name="T68" fmla="*/ 5 w 160"/>
              <a:gd name="T69" fmla="*/ 80 h 160"/>
              <a:gd name="T70" fmla="*/ 80 w 160"/>
              <a:gd name="T71" fmla="*/ 5 h 160"/>
              <a:gd name="T72" fmla="*/ 155 w 160"/>
              <a:gd name="T73" fmla="*/ 80 h 160"/>
              <a:gd name="T74" fmla="*/ 80 w 160"/>
              <a:gd name="T7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132" y="38"/>
                </a:moveTo>
                <a:cubicBezTo>
                  <a:pt x="131" y="37"/>
                  <a:pt x="130" y="37"/>
                  <a:pt x="129" y="38"/>
                </a:cubicBezTo>
                <a:cubicBezTo>
                  <a:pt x="75" y="75"/>
                  <a:pt x="75" y="75"/>
                  <a:pt x="75" y="75"/>
                </a:cubicBezTo>
                <a:cubicBezTo>
                  <a:pt x="75" y="40"/>
                  <a:pt x="75" y="40"/>
                  <a:pt x="75" y="40"/>
                </a:cubicBezTo>
                <a:cubicBezTo>
                  <a:pt x="75" y="39"/>
                  <a:pt x="74" y="38"/>
                  <a:pt x="73" y="38"/>
                </a:cubicBezTo>
                <a:cubicBezTo>
                  <a:pt x="72" y="37"/>
                  <a:pt x="71" y="37"/>
                  <a:pt x="71" y="38"/>
                </a:cubicBezTo>
                <a:cubicBezTo>
                  <a:pt x="12" y="78"/>
                  <a:pt x="12" y="78"/>
                  <a:pt x="12" y="78"/>
                </a:cubicBezTo>
                <a:cubicBezTo>
                  <a:pt x="11" y="78"/>
                  <a:pt x="11" y="79"/>
                  <a:pt x="11" y="80"/>
                </a:cubicBezTo>
                <a:cubicBezTo>
                  <a:pt x="11" y="81"/>
                  <a:pt x="11" y="82"/>
                  <a:pt x="12" y="82"/>
                </a:cubicBezTo>
                <a:cubicBezTo>
                  <a:pt x="71" y="122"/>
                  <a:pt x="71" y="122"/>
                  <a:pt x="71" y="122"/>
                </a:cubicBezTo>
                <a:cubicBezTo>
                  <a:pt x="71" y="123"/>
                  <a:pt x="71" y="123"/>
                  <a:pt x="72" y="123"/>
                </a:cubicBezTo>
                <a:cubicBezTo>
                  <a:pt x="72" y="123"/>
                  <a:pt x="73" y="123"/>
                  <a:pt x="73" y="122"/>
                </a:cubicBezTo>
                <a:cubicBezTo>
                  <a:pt x="74" y="122"/>
                  <a:pt x="75" y="121"/>
                  <a:pt x="75" y="120"/>
                </a:cubicBezTo>
                <a:cubicBezTo>
                  <a:pt x="75" y="85"/>
                  <a:pt x="75" y="85"/>
                  <a:pt x="75" y="85"/>
                </a:cubicBezTo>
                <a:cubicBezTo>
                  <a:pt x="129" y="122"/>
                  <a:pt x="129" y="122"/>
                  <a:pt x="129" y="122"/>
                </a:cubicBezTo>
                <a:cubicBezTo>
                  <a:pt x="130" y="123"/>
                  <a:pt x="130" y="123"/>
                  <a:pt x="131" y="123"/>
                </a:cubicBezTo>
                <a:cubicBezTo>
                  <a:pt x="131" y="123"/>
                  <a:pt x="132" y="123"/>
                  <a:pt x="132" y="122"/>
                </a:cubicBezTo>
                <a:cubicBezTo>
                  <a:pt x="133" y="122"/>
                  <a:pt x="133" y="121"/>
                  <a:pt x="133" y="120"/>
                </a:cubicBezTo>
                <a:cubicBezTo>
                  <a:pt x="133" y="40"/>
                  <a:pt x="133" y="40"/>
                  <a:pt x="133" y="40"/>
                </a:cubicBezTo>
                <a:cubicBezTo>
                  <a:pt x="133" y="39"/>
                  <a:pt x="133" y="38"/>
                  <a:pt x="132" y="38"/>
                </a:cubicBezTo>
                <a:close/>
                <a:moveTo>
                  <a:pt x="69" y="115"/>
                </a:moveTo>
                <a:cubicBezTo>
                  <a:pt x="18" y="80"/>
                  <a:pt x="18" y="80"/>
                  <a:pt x="18" y="80"/>
                </a:cubicBezTo>
                <a:cubicBezTo>
                  <a:pt x="69" y="45"/>
                  <a:pt x="69" y="45"/>
                  <a:pt x="69" y="45"/>
                </a:cubicBezTo>
                <a:lnTo>
                  <a:pt x="69" y="115"/>
                </a:lnTo>
                <a:close/>
                <a:moveTo>
                  <a:pt x="128" y="115"/>
                </a:moveTo>
                <a:cubicBezTo>
                  <a:pt x="77" y="80"/>
                  <a:pt x="77" y="80"/>
                  <a:pt x="77" y="80"/>
                </a:cubicBezTo>
                <a:cubicBezTo>
                  <a:pt x="128" y="45"/>
                  <a:pt x="128" y="45"/>
                  <a:pt x="128" y="45"/>
                </a:cubicBezTo>
                <a:lnTo>
                  <a:pt x="128" y="115"/>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1346">
            <a:extLst>
              <a:ext uri="{FF2B5EF4-FFF2-40B4-BE49-F238E27FC236}">
                <a16:creationId xmlns:a16="http://schemas.microsoft.com/office/drawing/2014/main" id="{57B484A9-22D9-334D-9B7D-967B3449B2F7}"/>
              </a:ext>
            </a:extLst>
          </p:cNvPr>
          <p:cNvSpPr>
            <a:spLocks noEditPoints="1"/>
          </p:cNvSpPr>
          <p:nvPr/>
        </p:nvSpPr>
        <p:spPr bwMode="auto">
          <a:xfrm>
            <a:off x="6220987" y="1052513"/>
            <a:ext cx="546100" cy="385763"/>
          </a:xfrm>
          <a:custGeom>
            <a:avLst/>
            <a:gdLst>
              <a:gd name="T0" fmla="*/ 158 w 160"/>
              <a:gd name="T1" fmla="*/ 0 h 112"/>
              <a:gd name="T2" fmla="*/ 156 w 160"/>
              <a:gd name="T3" fmla="*/ 1 h 112"/>
              <a:gd name="T4" fmla="*/ 81 w 160"/>
              <a:gd name="T5" fmla="*/ 53 h 112"/>
              <a:gd name="T6" fmla="*/ 81 w 160"/>
              <a:gd name="T7" fmla="*/ 3 h 112"/>
              <a:gd name="T8" fmla="*/ 80 w 160"/>
              <a:gd name="T9" fmla="*/ 0 h 112"/>
              <a:gd name="T10" fmla="*/ 77 w 160"/>
              <a:gd name="T11" fmla="*/ 1 h 112"/>
              <a:gd name="T12" fmla="*/ 1 w 160"/>
              <a:gd name="T13" fmla="*/ 54 h 112"/>
              <a:gd name="T14" fmla="*/ 0 w 160"/>
              <a:gd name="T15" fmla="*/ 56 h 112"/>
              <a:gd name="T16" fmla="*/ 1 w 160"/>
              <a:gd name="T17" fmla="*/ 58 h 112"/>
              <a:gd name="T18" fmla="*/ 77 w 160"/>
              <a:gd name="T19" fmla="*/ 112 h 112"/>
              <a:gd name="T20" fmla="*/ 79 w 160"/>
              <a:gd name="T21" fmla="*/ 112 h 112"/>
              <a:gd name="T22" fmla="*/ 80 w 160"/>
              <a:gd name="T23" fmla="*/ 112 h 112"/>
              <a:gd name="T24" fmla="*/ 81 w 160"/>
              <a:gd name="T25" fmla="*/ 109 h 112"/>
              <a:gd name="T26" fmla="*/ 81 w 160"/>
              <a:gd name="T27" fmla="*/ 60 h 112"/>
              <a:gd name="T28" fmla="*/ 156 w 160"/>
              <a:gd name="T29" fmla="*/ 112 h 112"/>
              <a:gd name="T30" fmla="*/ 157 w 160"/>
              <a:gd name="T31" fmla="*/ 112 h 112"/>
              <a:gd name="T32" fmla="*/ 158 w 160"/>
              <a:gd name="T33" fmla="*/ 112 h 112"/>
              <a:gd name="T34" fmla="*/ 160 w 160"/>
              <a:gd name="T35" fmla="*/ 109 h 112"/>
              <a:gd name="T36" fmla="*/ 160 w 160"/>
              <a:gd name="T37" fmla="*/ 3 h 112"/>
              <a:gd name="T38" fmla="*/ 158 w 160"/>
              <a:gd name="T39" fmla="*/ 0 h 112"/>
              <a:gd name="T40" fmla="*/ 76 w 160"/>
              <a:gd name="T41" fmla="*/ 104 h 112"/>
              <a:gd name="T42" fmla="*/ 8 w 160"/>
              <a:gd name="T43" fmla="*/ 56 h 112"/>
              <a:gd name="T44" fmla="*/ 76 w 160"/>
              <a:gd name="T45" fmla="*/ 8 h 112"/>
              <a:gd name="T46" fmla="*/ 76 w 160"/>
              <a:gd name="T47" fmla="*/ 104 h 112"/>
              <a:gd name="T48" fmla="*/ 154 w 160"/>
              <a:gd name="T49" fmla="*/ 104 h 112"/>
              <a:gd name="T50" fmla="*/ 86 w 160"/>
              <a:gd name="T51" fmla="*/ 56 h 112"/>
              <a:gd name="T52" fmla="*/ 154 w 160"/>
              <a:gd name="T53" fmla="*/ 8 h 112"/>
              <a:gd name="T54" fmla="*/ 154 w 160"/>
              <a:gd name="T55"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12">
                <a:moveTo>
                  <a:pt x="158" y="0"/>
                </a:moveTo>
                <a:cubicBezTo>
                  <a:pt x="158" y="0"/>
                  <a:pt x="156" y="0"/>
                  <a:pt x="156" y="1"/>
                </a:cubicBezTo>
                <a:cubicBezTo>
                  <a:pt x="81" y="53"/>
                  <a:pt x="81" y="53"/>
                  <a:pt x="81" y="53"/>
                </a:cubicBezTo>
                <a:cubicBezTo>
                  <a:pt x="81" y="3"/>
                  <a:pt x="81" y="3"/>
                  <a:pt x="81" y="3"/>
                </a:cubicBezTo>
                <a:cubicBezTo>
                  <a:pt x="81" y="2"/>
                  <a:pt x="81" y="1"/>
                  <a:pt x="80" y="0"/>
                </a:cubicBezTo>
                <a:cubicBezTo>
                  <a:pt x="79" y="0"/>
                  <a:pt x="78" y="0"/>
                  <a:pt x="77" y="1"/>
                </a:cubicBezTo>
                <a:cubicBezTo>
                  <a:pt x="1" y="54"/>
                  <a:pt x="1" y="54"/>
                  <a:pt x="1" y="54"/>
                </a:cubicBezTo>
                <a:cubicBezTo>
                  <a:pt x="0" y="54"/>
                  <a:pt x="0" y="55"/>
                  <a:pt x="0" y="56"/>
                </a:cubicBezTo>
                <a:cubicBezTo>
                  <a:pt x="0" y="57"/>
                  <a:pt x="0" y="58"/>
                  <a:pt x="1" y="58"/>
                </a:cubicBezTo>
                <a:cubicBezTo>
                  <a:pt x="77" y="112"/>
                  <a:pt x="77" y="112"/>
                  <a:pt x="77" y="112"/>
                </a:cubicBezTo>
                <a:cubicBezTo>
                  <a:pt x="77" y="112"/>
                  <a:pt x="78" y="112"/>
                  <a:pt x="79" y="112"/>
                </a:cubicBezTo>
                <a:cubicBezTo>
                  <a:pt x="79" y="112"/>
                  <a:pt x="79" y="112"/>
                  <a:pt x="80" y="112"/>
                </a:cubicBezTo>
                <a:cubicBezTo>
                  <a:pt x="81" y="111"/>
                  <a:pt x="81" y="111"/>
                  <a:pt x="81" y="109"/>
                </a:cubicBezTo>
                <a:cubicBezTo>
                  <a:pt x="81" y="60"/>
                  <a:pt x="81" y="60"/>
                  <a:pt x="81" y="60"/>
                </a:cubicBezTo>
                <a:cubicBezTo>
                  <a:pt x="156" y="112"/>
                  <a:pt x="156" y="112"/>
                  <a:pt x="156" y="112"/>
                </a:cubicBezTo>
                <a:cubicBezTo>
                  <a:pt x="156" y="112"/>
                  <a:pt x="157" y="112"/>
                  <a:pt x="157" y="112"/>
                </a:cubicBezTo>
                <a:cubicBezTo>
                  <a:pt x="158" y="112"/>
                  <a:pt x="158" y="112"/>
                  <a:pt x="158" y="112"/>
                </a:cubicBezTo>
                <a:cubicBezTo>
                  <a:pt x="159" y="111"/>
                  <a:pt x="160" y="110"/>
                  <a:pt x="160" y="109"/>
                </a:cubicBezTo>
                <a:cubicBezTo>
                  <a:pt x="160" y="3"/>
                  <a:pt x="160" y="3"/>
                  <a:pt x="160" y="3"/>
                </a:cubicBezTo>
                <a:cubicBezTo>
                  <a:pt x="160" y="2"/>
                  <a:pt x="159" y="1"/>
                  <a:pt x="158" y="0"/>
                </a:cubicBezTo>
                <a:close/>
                <a:moveTo>
                  <a:pt x="76" y="104"/>
                </a:moveTo>
                <a:cubicBezTo>
                  <a:pt x="8" y="56"/>
                  <a:pt x="8" y="56"/>
                  <a:pt x="8" y="56"/>
                </a:cubicBezTo>
                <a:cubicBezTo>
                  <a:pt x="76" y="8"/>
                  <a:pt x="76" y="8"/>
                  <a:pt x="76" y="8"/>
                </a:cubicBezTo>
                <a:lnTo>
                  <a:pt x="76" y="104"/>
                </a:lnTo>
                <a:close/>
                <a:moveTo>
                  <a:pt x="154" y="104"/>
                </a:moveTo>
                <a:cubicBezTo>
                  <a:pt x="86" y="56"/>
                  <a:pt x="86" y="56"/>
                  <a:pt x="86" y="56"/>
                </a:cubicBezTo>
                <a:cubicBezTo>
                  <a:pt x="154" y="8"/>
                  <a:pt x="154" y="8"/>
                  <a:pt x="154" y="8"/>
                </a:cubicBezTo>
                <a:lnTo>
                  <a:pt x="154" y="104"/>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1347">
            <a:extLst>
              <a:ext uri="{FF2B5EF4-FFF2-40B4-BE49-F238E27FC236}">
                <a16:creationId xmlns:a16="http://schemas.microsoft.com/office/drawing/2014/main" id="{736BC83A-18C8-954F-8E7E-49D7C3397C0A}"/>
              </a:ext>
            </a:extLst>
          </p:cNvPr>
          <p:cNvSpPr>
            <a:spLocks noEditPoints="1"/>
          </p:cNvSpPr>
          <p:nvPr/>
        </p:nvSpPr>
        <p:spPr bwMode="auto">
          <a:xfrm>
            <a:off x="6211462" y="1603375"/>
            <a:ext cx="546100" cy="550863"/>
          </a:xfrm>
          <a:custGeom>
            <a:avLst/>
            <a:gdLst>
              <a:gd name="T0" fmla="*/ 12 w 160"/>
              <a:gd name="T1" fmla="*/ 128 h 160"/>
              <a:gd name="T2" fmla="*/ 54 w 160"/>
              <a:gd name="T3" fmla="*/ 124 h 160"/>
              <a:gd name="T4" fmla="*/ 35 w 160"/>
              <a:gd name="T5" fmla="*/ 72 h 160"/>
              <a:gd name="T6" fmla="*/ 149 w 160"/>
              <a:gd name="T7" fmla="*/ 46 h 160"/>
              <a:gd name="T8" fmla="*/ 114 w 160"/>
              <a:gd name="T9" fmla="*/ 46 h 160"/>
              <a:gd name="T10" fmla="*/ 145 w 160"/>
              <a:gd name="T11" fmla="*/ 12 h 160"/>
              <a:gd name="T12" fmla="*/ 118 w 160"/>
              <a:gd name="T13" fmla="*/ 12 h 160"/>
              <a:gd name="T14" fmla="*/ 137 w 160"/>
              <a:gd name="T15" fmla="*/ 155 h 160"/>
              <a:gd name="T16" fmla="*/ 144 w 160"/>
              <a:gd name="T17" fmla="*/ 149 h 160"/>
              <a:gd name="T18" fmla="*/ 87 w 160"/>
              <a:gd name="T19" fmla="*/ 88 h 160"/>
              <a:gd name="T20" fmla="*/ 87 w 160"/>
              <a:gd name="T21" fmla="*/ 83 h 160"/>
              <a:gd name="T22" fmla="*/ 85 w 160"/>
              <a:gd name="T23" fmla="*/ 59 h 160"/>
              <a:gd name="T24" fmla="*/ 81 w 160"/>
              <a:gd name="T25" fmla="*/ 66 h 160"/>
              <a:gd name="T26" fmla="*/ 44 w 160"/>
              <a:gd name="T27" fmla="*/ 160 h 160"/>
              <a:gd name="T28" fmla="*/ 52 w 160"/>
              <a:gd name="T29" fmla="*/ 157 h 160"/>
              <a:gd name="T30" fmla="*/ 97 w 160"/>
              <a:gd name="T31" fmla="*/ 112 h 160"/>
              <a:gd name="T32" fmla="*/ 98 w 160"/>
              <a:gd name="T33" fmla="*/ 107 h 160"/>
              <a:gd name="T34" fmla="*/ 102 w 160"/>
              <a:gd name="T35" fmla="*/ 59 h 160"/>
              <a:gd name="T36" fmla="*/ 94 w 160"/>
              <a:gd name="T37" fmla="*/ 61 h 160"/>
              <a:gd name="T38" fmla="*/ 129 w 160"/>
              <a:gd name="T39" fmla="*/ 112 h 160"/>
              <a:gd name="T40" fmla="*/ 136 w 160"/>
              <a:gd name="T41" fmla="*/ 88 h 160"/>
              <a:gd name="T42" fmla="*/ 136 w 160"/>
              <a:gd name="T43" fmla="*/ 83 h 160"/>
              <a:gd name="T44" fmla="*/ 113 w 160"/>
              <a:gd name="T45" fmla="*/ 107 h 160"/>
              <a:gd name="T46" fmla="*/ 113 w 160"/>
              <a:gd name="T47" fmla="*/ 112 h 160"/>
              <a:gd name="T48" fmla="*/ 112 w 160"/>
              <a:gd name="T49" fmla="*/ 59 h 160"/>
              <a:gd name="T50" fmla="*/ 112 w 160"/>
              <a:gd name="T51" fmla="*/ 64 h 160"/>
              <a:gd name="T52" fmla="*/ 99 w 160"/>
              <a:gd name="T53" fmla="*/ 88 h 160"/>
              <a:gd name="T54" fmla="*/ 120 w 160"/>
              <a:gd name="T55" fmla="*/ 88 h 160"/>
              <a:gd name="T56" fmla="*/ 120 w 160"/>
              <a:gd name="T57" fmla="*/ 83 h 160"/>
              <a:gd name="T58" fmla="*/ 160 w 160"/>
              <a:gd name="T59" fmla="*/ 101 h 160"/>
              <a:gd name="T60" fmla="*/ 155 w 160"/>
              <a:gd name="T61" fmla="*/ 97 h 160"/>
              <a:gd name="T62" fmla="*/ 160 w 160"/>
              <a:gd name="T63" fmla="*/ 97 h 160"/>
              <a:gd name="T64" fmla="*/ 106 w 160"/>
              <a:gd name="T65" fmla="*/ 157 h 160"/>
              <a:gd name="T66" fmla="*/ 100 w 160"/>
              <a:gd name="T67" fmla="*/ 157 h 160"/>
              <a:gd name="T68" fmla="*/ 92 w 160"/>
              <a:gd name="T69" fmla="*/ 155 h 160"/>
              <a:gd name="T70" fmla="*/ 119 w 160"/>
              <a:gd name="T71" fmla="*/ 136 h 160"/>
              <a:gd name="T72" fmla="*/ 127 w 160"/>
              <a:gd name="T73" fmla="*/ 133 h 160"/>
              <a:gd name="T74" fmla="*/ 100 w 160"/>
              <a:gd name="T75" fmla="*/ 133 h 160"/>
              <a:gd name="T76" fmla="*/ 108 w 160"/>
              <a:gd name="T77" fmla="*/ 136 h 160"/>
              <a:gd name="T78" fmla="*/ 130 w 160"/>
              <a:gd name="T79" fmla="*/ 160 h 160"/>
              <a:gd name="T80" fmla="*/ 130 w 160"/>
              <a:gd name="T81" fmla="*/ 155 h 160"/>
              <a:gd name="T82" fmla="*/ 133 w 160"/>
              <a:gd name="T83" fmla="*/ 133 h 160"/>
              <a:gd name="T84" fmla="*/ 139 w 160"/>
              <a:gd name="T85" fmla="*/ 141 h 160"/>
              <a:gd name="T86" fmla="*/ 146 w 160"/>
              <a:gd name="T87" fmla="*/ 112 h 160"/>
              <a:gd name="T88" fmla="*/ 146 w 160"/>
              <a:gd name="T89" fmla="*/ 107 h 160"/>
              <a:gd name="T90" fmla="*/ 73 w 160"/>
              <a:gd name="T91" fmla="*/ 78 h 160"/>
              <a:gd name="T92" fmla="*/ 78 w 160"/>
              <a:gd name="T93" fmla="*/ 72 h 160"/>
              <a:gd name="T94" fmla="*/ 76 w 160"/>
              <a:gd name="T95" fmla="*/ 80 h 160"/>
              <a:gd name="T96" fmla="*/ 58 w 160"/>
              <a:gd name="T97" fmla="*/ 157 h 160"/>
              <a:gd name="T98" fmla="*/ 92 w 160"/>
              <a:gd name="T99" fmla="*/ 135 h 160"/>
              <a:gd name="T100" fmla="*/ 94 w 160"/>
              <a:gd name="T101" fmla="*/ 130 h 160"/>
              <a:gd name="T102" fmla="*/ 154 w 160"/>
              <a:gd name="T103" fmla="*/ 88 h 160"/>
              <a:gd name="T104" fmla="*/ 144 w 160"/>
              <a:gd name="T105" fmla="*/ 85 h 160"/>
              <a:gd name="T106" fmla="*/ 84 w 160"/>
              <a:gd name="T107" fmla="*/ 157 h 160"/>
              <a:gd name="T108" fmla="*/ 76 w 160"/>
              <a:gd name="T109" fmla="*/ 155 h 160"/>
              <a:gd name="T110" fmla="*/ 85 w 160"/>
              <a:gd name="T111" fmla="*/ 122 h 160"/>
              <a:gd name="T112" fmla="*/ 90 w 160"/>
              <a:gd name="T113" fmla="*/ 116 h 160"/>
              <a:gd name="T114" fmla="*/ 147 w 160"/>
              <a:gd name="T115" fmla="*/ 25 h 160"/>
              <a:gd name="T116" fmla="*/ 132 w 160"/>
              <a:gd name="T117" fmla="*/ 16 h 160"/>
              <a:gd name="T118" fmla="*/ 132 w 160"/>
              <a:gd name="T119" fmla="*/ 16 h 160"/>
              <a:gd name="T120" fmla="*/ 51 w 160"/>
              <a:gd name="T121" fmla="*/ 99 h 160"/>
              <a:gd name="T122" fmla="*/ 35 w 160"/>
              <a:gd name="T123" fmla="*/ 8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 h="160">
                <a:moveTo>
                  <a:pt x="58" y="77"/>
                </a:moveTo>
                <a:cubicBezTo>
                  <a:pt x="52" y="70"/>
                  <a:pt x="44" y="67"/>
                  <a:pt x="35" y="67"/>
                </a:cubicBezTo>
                <a:cubicBezTo>
                  <a:pt x="26" y="67"/>
                  <a:pt x="18" y="70"/>
                  <a:pt x="12" y="77"/>
                </a:cubicBezTo>
                <a:cubicBezTo>
                  <a:pt x="0" y="91"/>
                  <a:pt x="0" y="114"/>
                  <a:pt x="12" y="128"/>
                </a:cubicBezTo>
                <a:cubicBezTo>
                  <a:pt x="35" y="153"/>
                  <a:pt x="35" y="153"/>
                  <a:pt x="35" y="153"/>
                </a:cubicBezTo>
                <a:cubicBezTo>
                  <a:pt x="58" y="128"/>
                  <a:pt x="58" y="128"/>
                  <a:pt x="58" y="128"/>
                </a:cubicBezTo>
                <a:cubicBezTo>
                  <a:pt x="70" y="114"/>
                  <a:pt x="70" y="91"/>
                  <a:pt x="58" y="77"/>
                </a:cubicBezTo>
                <a:close/>
                <a:moveTo>
                  <a:pt x="54" y="124"/>
                </a:moveTo>
                <a:cubicBezTo>
                  <a:pt x="35" y="145"/>
                  <a:pt x="35" y="145"/>
                  <a:pt x="35" y="145"/>
                </a:cubicBezTo>
                <a:cubicBezTo>
                  <a:pt x="16" y="124"/>
                  <a:pt x="16" y="124"/>
                  <a:pt x="16" y="124"/>
                </a:cubicBezTo>
                <a:cubicBezTo>
                  <a:pt x="6" y="112"/>
                  <a:pt x="6" y="93"/>
                  <a:pt x="16" y="81"/>
                </a:cubicBezTo>
                <a:cubicBezTo>
                  <a:pt x="21" y="75"/>
                  <a:pt x="28" y="72"/>
                  <a:pt x="35" y="72"/>
                </a:cubicBezTo>
                <a:cubicBezTo>
                  <a:pt x="42" y="72"/>
                  <a:pt x="49" y="75"/>
                  <a:pt x="54" y="81"/>
                </a:cubicBezTo>
                <a:cubicBezTo>
                  <a:pt x="64" y="93"/>
                  <a:pt x="64" y="112"/>
                  <a:pt x="54" y="124"/>
                </a:cubicBezTo>
                <a:close/>
                <a:moveTo>
                  <a:pt x="132" y="65"/>
                </a:moveTo>
                <a:cubicBezTo>
                  <a:pt x="149" y="46"/>
                  <a:pt x="149" y="46"/>
                  <a:pt x="149" y="46"/>
                </a:cubicBezTo>
                <a:cubicBezTo>
                  <a:pt x="158" y="35"/>
                  <a:pt x="158" y="18"/>
                  <a:pt x="149" y="8"/>
                </a:cubicBezTo>
                <a:cubicBezTo>
                  <a:pt x="144" y="3"/>
                  <a:pt x="138" y="0"/>
                  <a:pt x="132" y="0"/>
                </a:cubicBezTo>
                <a:cubicBezTo>
                  <a:pt x="125" y="0"/>
                  <a:pt x="119" y="3"/>
                  <a:pt x="114" y="8"/>
                </a:cubicBezTo>
                <a:cubicBezTo>
                  <a:pt x="105" y="18"/>
                  <a:pt x="105" y="35"/>
                  <a:pt x="114" y="46"/>
                </a:cubicBezTo>
                <a:lnTo>
                  <a:pt x="132" y="65"/>
                </a:lnTo>
                <a:close/>
                <a:moveTo>
                  <a:pt x="118" y="12"/>
                </a:moveTo>
                <a:cubicBezTo>
                  <a:pt x="122" y="8"/>
                  <a:pt x="127" y="5"/>
                  <a:pt x="132" y="5"/>
                </a:cubicBezTo>
                <a:cubicBezTo>
                  <a:pt x="137" y="5"/>
                  <a:pt x="141" y="8"/>
                  <a:pt x="145" y="12"/>
                </a:cubicBezTo>
                <a:cubicBezTo>
                  <a:pt x="152" y="20"/>
                  <a:pt x="152" y="34"/>
                  <a:pt x="145" y="42"/>
                </a:cubicBezTo>
                <a:cubicBezTo>
                  <a:pt x="132" y="57"/>
                  <a:pt x="132" y="57"/>
                  <a:pt x="132" y="57"/>
                </a:cubicBezTo>
                <a:cubicBezTo>
                  <a:pt x="118" y="42"/>
                  <a:pt x="118" y="42"/>
                  <a:pt x="118" y="42"/>
                </a:cubicBezTo>
                <a:cubicBezTo>
                  <a:pt x="111" y="34"/>
                  <a:pt x="111" y="20"/>
                  <a:pt x="118" y="12"/>
                </a:cubicBezTo>
                <a:close/>
                <a:moveTo>
                  <a:pt x="144" y="149"/>
                </a:moveTo>
                <a:cubicBezTo>
                  <a:pt x="143" y="151"/>
                  <a:pt x="143" y="153"/>
                  <a:pt x="141" y="154"/>
                </a:cubicBezTo>
                <a:cubicBezTo>
                  <a:pt x="141" y="155"/>
                  <a:pt x="140" y="155"/>
                  <a:pt x="139" y="155"/>
                </a:cubicBezTo>
                <a:cubicBezTo>
                  <a:pt x="138" y="155"/>
                  <a:pt x="138" y="155"/>
                  <a:pt x="137" y="155"/>
                </a:cubicBezTo>
                <a:cubicBezTo>
                  <a:pt x="136" y="154"/>
                  <a:pt x="136" y="152"/>
                  <a:pt x="137" y="151"/>
                </a:cubicBezTo>
                <a:cubicBezTo>
                  <a:pt x="138" y="150"/>
                  <a:pt x="138" y="149"/>
                  <a:pt x="139" y="147"/>
                </a:cubicBezTo>
                <a:cubicBezTo>
                  <a:pt x="139" y="146"/>
                  <a:pt x="140" y="145"/>
                  <a:pt x="142" y="145"/>
                </a:cubicBezTo>
                <a:cubicBezTo>
                  <a:pt x="143" y="146"/>
                  <a:pt x="144" y="147"/>
                  <a:pt x="144" y="149"/>
                </a:cubicBezTo>
                <a:close/>
                <a:moveTo>
                  <a:pt x="88" y="83"/>
                </a:moveTo>
                <a:cubicBezTo>
                  <a:pt x="89" y="83"/>
                  <a:pt x="91" y="84"/>
                  <a:pt x="91" y="85"/>
                </a:cubicBezTo>
                <a:cubicBezTo>
                  <a:pt x="91" y="87"/>
                  <a:pt x="89" y="88"/>
                  <a:pt x="88" y="88"/>
                </a:cubicBezTo>
                <a:cubicBezTo>
                  <a:pt x="87" y="88"/>
                  <a:pt x="87" y="88"/>
                  <a:pt x="87" y="88"/>
                </a:cubicBezTo>
                <a:cubicBezTo>
                  <a:pt x="85" y="88"/>
                  <a:pt x="83" y="88"/>
                  <a:pt x="82" y="87"/>
                </a:cubicBezTo>
                <a:cubicBezTo>
                  <a:pt x="80" y="87"/>
                  <a:pt x="80" y="85"/>
                  <a:pt x="80" y="84"/>
                </a:cubicBezTo>
                <a:cubicBezTo>
                  <a:pt x="81" y="82"/>
                  <a:pt x="82" y="82"/>
                  <a:pt x="84" y="82"/>
                </a:cubicBezTo>
                <a:cubicBezTo>
                  <a:pt x="85" y="82"/>
                  <a:pt x="86" y="83"/>
                  <a:pt x="87" y="83"/>
                </a:cubicBezTo>
                <a:lnTo>
                  <a:pt x="88" y="83"/>
                </a:lnTo>
                <a:close/>
                <a:moveTo>
                  <a:pt x="78" y="65"/>
                </a:moveTo>
                <a:cubicBezTo>
                  <a:pt x="78" y="63"/>
                  <a:pt x="78" y="62"/>
                  <a:pt x="79" y="61"/>
                </a:cubicBezTo>
                <a:cubicBezTo>
                  <a:pt x="81" y="60"/>
                  <a:pt x="83" y="59"/>
                  <a:pt x="85" y="59"/>
                </a:cubicBezTo>
                <a:cubicBezTo>
                  <a:pt x="87" y="59"/>
                  <a:pt x="88" y="60"/>
                  <a:pt x="88" y="61"/>
                </a:cubicBezTo>
                <a:cubicBezTo>
                  <a:pt x="88" y="63"/>
                  <a:pt x="87" y="64"/>
                  <a:pt x="86" y="64"/>
                </a:cubicBezTo>
                <a:cubicBezTo>
                  <a:pt x="85" y="64"/>
                  <a:pt x="83" y="65"/>
                  <a:pt x="82" y="65"/>
                </a:cubicBezTo>
                <a:cubicBezTo>
                  <a:pt x="82" y="66"/>
                  <a:pt x="81" y="66"/>
                  <a:pt x="81" y="66"/>
                </a:cubicBezTo>
                <a:cubicBezTo>
                  <a:pt x="80" y="66"/>
                  <a:pt x="79" y="65"/>
                  <a:pt x="78" y="65"/>
                </a:cubicBezTo>
                <a:close/>
                <a:moveTo>
                  <a:pt x="52" y="157"/>
                </a:moveTo>
                <a:cubicBezTo>
                  <a:pt x="52" y="159"/>
                  <a:pt x="51" y="160"/>
                  <a:pt x="50" y="160"/>
                </a:cubicBezTo>
                <a:cubicBezTo>
                  <a:pt x="44" y="160"/>
                  <a:pt x="44" y="160"/>
                  <a:pt x="44" y="160"/>
                </a:cubicBezTo>
                <a:cubicBezTo>
                  <a:pt x="43" y="160"/>
                  <a:pt x="42" y="159"/>
                  <a:pt x="42" y="157"/>
                </a:cubicBezTo>
                <a:cubicBezTo>
                  <a:pt x="42" y="156"/>
                  <a:pt x="43" y="155"/>
                  <a:pt x="44" y="155"/>
                </a:cubicBezTo>
                <a:cubicBezTo>
                  <a:pt x="50" y="155"/>
                  <a:pt x="50" y="155"/>
                  <a:pt x="50" y="155"/>
                </a:cubicBezTo>
                <a:cubicBezTo>
                  <a:pt x="51" y="155"/>
                  <a:pt x="52" y="156"/>
                  <a:pt x="52" y="157"/>
                </a:cubicBezTo>
                <a:close/>
                <a:moveTo>
                  <a:pt x="102" y="107"/>
                </a:moveTo>
                <a:cubicBezTo>
                  <a:pt x="104" y="107"/>
                  <a:pt x="105" y="108"/>
                  <a:pt x="105" y="109"/>
                </a:cubicBezTo>
                <a:cubicBezTo>
                  <a:pt x="105" y="111"/>
                  <a:pt x="104" y="112"/>
                  <a:pt x="102" y="112"/>
                </a:cubicBezTo>
                <a:cubicBezTo>
                  <a:pt x="97" y="112"/>
                  <a:pt x="97" y="112"/>
                  <a:pt x="97" y="112"/>
                </a:cubicBezTo>
                <a:cubicBezTo>
                  <a:pt x="97" y="112"/>
                  <a:pt x="97" y="112"/>
                  <a:pt x="97" y="112"/>
                </a:cubicBezTo>
                <a:cubicBezTo>
                  <a:pt x="96" y="112"/>
                  <a:pt x="94" y="111"/>
                  <a:pt x="94" y="109"/>
                </a:cubicBezTo>
                <a:cubicBezTo>
                  <a:pt x="94" y="108"/>
                  <a:pt x="95" y="107"/>
                  <a:pt x="97" y="107"/>
                </a:cubicBezTo>
                <a:cubicBezTo>
                  <a:pt x="97" y="107"/>
                  <a:pt x="97" y="107"/>
                  <a:pt x="98" y="107"/>
                </a:cubicBezTo>
                <a:lnTo>
                  <a:pt x="102" y="107"/>
                </a:lnTo>
                <a:close/>
                <a:moveTo>
                  <a:pt x="94" y="61"/>
                </a:moveTo>
                <a:cubicBezTo>
                  <a:pt x="94" y="60"/>
                  <a:pt x="95" y="59"/>
                  <a:pt x="96" y="59"/>
                </a:cubicBezTo>
                <a:cubicBezTo>
                  <a:pt x="102" y="59"/>
                  <a:pt x="102" y="59"/>
                  <a:pt x="102" y="59"/>
                </a:cubicBezTo>
                <a:cubicBezTo>
                  <a:pt x="103" y="59"/>
                  <a:pt x="104" y="60"/>
                  <a:pt x="104" y="61"/>
                </a:cubicBezTo>
                <a:cubicBezTo>
                  <a:pt x="104" y="63"/>
                  <a:pt x="103" y="64"/>
                  <a:pt x="102" y="64"/>
                </a:cubicBezTo>
                <a:cubicBezTo>
                  <a:pt x="96" y="64"/>
                  <a:pt x="96" y="64"/>
                  <a:pt x="96" y="64"/>
                </a:cubicBezTo>
                <a:cubicBezTo>
                  <a:pt x="95" y="64"/>
                  <a:pt x="94" y="63"/>
                  <a:pt x="94" y="61"/>
                </a:cubicBezTo>
                <a:close/>
                <a:moveTo>
                  <a:pt x="134" y="107"/>
                </a:moveTo>
                <a:cubicBezTo>
                  <a:pt x="136" y="107"/>
                  <a:pt x="137" y="108"/>
                  <a:pt x="137" y="109"/>
                </a:cubicBezTo>
                <a:cubicBezTo>
                  <a:pt x="137" y="111"/>
                  <a:pt x="136" y="112"/>
                  <a:pt x="134" y="112"/>
                </a:cubicBezTo>
                <a:cubicBezTo>
                  <a:pt x="129" y="112"/>
                  <a:pt x="129" y="112"/>
                  <a:pt x="129" y="112"/>
                </a:cubicBezTo>
                <a:cubicBezTo>
                  <a:pt x="128" y="112"/>
                  <a:pt x="126" y="111"/>
                  <a:pt x="126" y="109"/>
                </a:cubicBezTo>
                <a:cubicBezTo>
                  <a:pt x="126" y="108"/>
                  <a:pt x="128" y="107"/>
                  <a:pt x="129" y="107"/>
                </a:cubicBezTo>
                <a:lnTo>
                  <a:pt x="134" y="107"/>
                </a:lnTo>
                <a:close/>
                <a:moveTo>
                  <a:pt x="136" y="88"/>
                </a:moveTo>
                <a:cubicBezTo>
                  <a:pt x="131" y="88"/>
                  <a:pt x="131" y="88"/>
                  <a:pt x="131" y="88"/>
                </a:cubicBezTo>
                <a:cubicBezTo>
                  <a:pt x="129" y="88"/>
                  <a:pt x="128" y="87"/>
                  <a:pt x="128" y="85"/>
                </a:cubicBezTo>
                <a:cubicBezTo>
                  <a:pt x="128" y="84"/>
                  <a:pt x="129" y="83"/>
                  <a:pt x="131" y="83"/>
                </a:cubicBezTo>
                <a:cubicBezTo>
                  <a:pt x="136" y="83"/>
                  <a:pt x="136" y="83"/>
                  <a:pt x="136" y="83"/>
                </a:cubicBezTo>
                <a:cubicBezTo>
                  <a:pt x="137" y="83"/>
                  <a:pt x="139" y="84"/>
                  <a:pt x="139" y="85"/>
                </a:cubicBezTo>
                <a:cubicBezTo>
                  <a:pt x="139" y="87"/>
                  <a:pt x="137" y="88"/>
                  <a:pt x="136" y="88"/>
                </a:cubicBezTo>
                <a:close/>
                <a:moveTo>
                  <a:pt x="110" y="109"/>
                </a:moveTo>
                <a:cubicBezTo>
                  <a:pt x="110" y="108"/>
                  <a:pt x="112" y="107"/>
                  <a:pt x="113" y="107"/>
                </a:cubicBezTo>
                <a:cubicBezTo>
                  <a:pt x="118" y="107"/>
                  <a:pt x="118" y="107"/>
                  <a:pt x="118" y="107"/>
                </a:cubicBezTo>
                <a:cubicBezTo>
                  <a:pt x="120" y="107"/>
                  <a:pt x="121" y="108"/>
                  <a:pt x="121" y="109"/>
                </a:cubicBezTo>
                <a:cubicBezTo>
                  <a:pt x="121" y="111"/>
                  <a:pt x="120" y="112"/>
                  <a:pt x="118" y="112"/>
                </a:cubicBezTo>
                <a:cubicBezTo>
                  <a:pt x="113" y="112"/>
                  <a:pt x="113" y="112"/>
                  <a:pt x="113" y="112"/>
                </a:cubicBezTo>
                <a:cubicBezTo>
                  <a:pt x="112" y="112"/>
                  <a:pt x="110" y="111"/>
                  <a:pt x="110" y="109"/>
                </a:cubicBezTo>
                <a:close/>
                <a:moveTo>
                  <a:pt x="112" y="64"/>
                </a:moveTo>
                <a:cubicBezTo>
                  <a:pt x="111" y="64"/>
                  <a:pt x="110" y="63"/>
                  <a:pt x="110" y="61"/>
                </a:cubicBezTo>
                <a:cubicBezTo>
                  <a:pt x="110" y="60"/>
                  <a:pt x="111" y="59"/>
                  <a:pt x="112" y="59"/>
                </a:cubicBezTo>
                <a:cubicBezTo>
                  <a:pt x="118" y="59"/>
                  <a:pt x="118" y="59"/>
                  <a:pt x="118" y="59"/>
                </a:cubicBezTo>
                <a:cubicBezTo>
                  <a:pt x="119" y="59"/>
                  <a:pt x="120" y="60"/>
                  <a:pt x="120" y="61"/>
                </a:cubicBezTo>
                <a:cubicBezTo>
                  <a:pt x="120" y="63"/>
                  <a:pt x="119" y="64"/>
                  <a:pt x="118" y="64"/>
                </a:cubicBezTo>
                <a:lnTo>
                  <a:pt x="112" y="64"/>
                </a:lnTo>
                <a:close/>
                <a:moveTo>
                  <a:pt x="104" y="83"/>
                </a:moveTo>
                <a:cubicBezTo>
                  <a:pt x="105" y="83"/>
                  <a:pt x="107" y="84"/>
                  <a:pt x="107" y="85"/>
                </a:cubicBezTo>
                <a:cubicBezTo>
                  <a:pt x="107" y="87"/>
                  <a:pt x="105" y="88"/>
                  <a:pt x="104" y="88"/>
                </a:cubicBezTo>
                <a:cubicBezTo>
                  <a:pt x="99" y="88"/>
                  <a:pt x="99" y="88"/>
                  <a:pt x="99" y="88"/>
                </a:cubicBezTo>
                <a:cubicBezTo>
                  <a:pt x="97" y="88"/>
                  <a:pt x="96" y="87"/>
                  <a:pt x="96" y="85"/>
                </a:cubicBezTo>
                <a:cubicBezTo>
                  <a:pt x="96" y="84"/>
                  <a:pt x="97" y="83"/>
                  <a:pt x="99" y="83"/>
                </a:cubicBezTo>
                <a:lnTo>
                  <a:pt x="104" y="83"/>
                </a:lnTo>
                <a:close/>
                <a:moveTo>
                  <a:pt x="120" y="88"/>
                </a:moveTo>
                <a:cubicBezTo>
                  <a:pt x="115" y="88"/>
                  <a:pt x="115" y="88"/>
                  <a:pt x="115" y="88"/>
                </a:cubicBezTo>
                <a:cubicBezTo>
                  <a:pt x="113" y="88"/>
                  <a:pt x="112" y="87"/>
                  <a:pt x="112" y="85"/>
                </a:cubicBezTo>
                <a:cubicBezTo>
                  <a:pt x="112" y="84"/>
                  <a:pt x="113" y="83"/>
                  <a:pt x="115" y="83"/>
                </a:cubicBezTo>
                <a:cubicBezTo>
                  <a:pt x="120" y="83"/>
                  <a:pt x="120" y="83"/>
                  <a:pt x="120" y="83"/>
                </a:cubicBezTo>
                <a:cubicBezTo>
                  <a:pt x="121" y="83"/>
                  <a:pt x="123" y="84"/>
                  <a:pt x="123" y="85"/>
                </a:cubicBezTo>
                <a:cubicBezTo>
                  <a:pt x="123" y="87"/>
                  <a:pt x="121" y="88"/>
                  <a:pt x="120" y="88"/>
                </a:cubicBezTo>
                <a:close/>
                <a:moveTo>
                  <a:pt x="160" y="97"/>
                </a:moveTo>
                <a:cubicBezTo>
                  <a:pt x="160" y="99"/>
                  <a:pt x="160" y="100"/>
                  <a:pt x="160" y="101"/>
                </a:cubicBezTo>
                <a:cubicBezTo>
                  <a:pt x="159" y="103"/>
                  <a:pt x="158" y="103"/>
                  <a:pt x="157" y="103"/>
                </a:cubicBezTo>
                <a:cubicBezTo>
                  <a:pt x="157" y="103"/>
                  <a:pt x="157" y="103"/>
                  <a:pt x="156" y="103"/>
                </a:cubicBezTo>
                <a:cubicBezTo>
                  <a:pt x="155" y="103"/>
                  <a:pt x="154" y="101"/>
                  <a:pt x="155" y="100"/>
                </a:cubicBezTo>
                <a:cubicBezTo>
                  <a:pt x="155" y="99"/>
                  <a:pt x="155" y="98"/>
                  <a:pt x="155" y="97"/>
                </a:cubicBezTo>
                <a:cubicBezTo>
                  <a:pt x="155" y="97"/>
                  <a:pt x="155" y="96"/>
                  <a:pt x="155" y="96"/>
                </a:cubicBezTo>
                <a:cubicBezTo>
                  <a:pt x="155" y="94"/>
                  <a:pt x="156" y="93"/>
                  <a:pt x="157" y="93"/>
                </a:cubicBezTo>
                <a:cubicBezTo>
                  <a:pt x="159" y="93"/>
                  <a:pt x="160" y="94"/>
                  <a:pt x="160" y="95"/>
                </a:cubicBezTo>
                <a:cubicBezTo>
                  <a:pt x="160" y="96"/>
                  <a:pt x="160" y="97"/>
                  <a:pt x="160" y="97"/>
                </a:cubicBezTo>
                <a:close/>
                <a:moveTo>
                  <a:pt x="116" y="157"/>
                </a:moveTo>
                <a:cubicBezTo>
                  <a:pt x="116" y="159"/>
                  <a:pt x="115" y="160"/>
                  <a:pt x="114" y="160"/>
                </a:cubicBezTo>
                <a:cubicBezTo>
                  <a:pt x="108" y="160"/>
                  <a:pt x="108" y="160"/>
                  <a:pt x="108" y="160"/>
                </a:cubicBezTo>
                <a:cubicBezTo>
                  <a:pt x="107" y="160"/>
                  <a:pt x="106" y="159"/>
                  <a:pt x="106" y="157"/>
                </a:cubicBezTo>
                <a:cubicBezTo>
                  <a:pt x="106" y="156"/>
                  <a:pt x="107" y="155"/>
                  <a:pt x="108" y="155"/>
                </a:cubicBezTo>
                <a:cubicBezTo>
                  <a:pt x="114" y="155"/>
                  <a:pt x="114" y="155"/>
                  <a:pt x="114" y="155"/>
                </a:cubicBezTo>
                <a:cubicBezTo>
                  <a:pt x="115" y="155"/>
                  <a:pt x="116" y="156"/>
                  <a:pt x="116" y="157"/>
                </a:cubicBezTo>
                <a:close/>
                <a:moveTo>
                  <a:pt x="100" y="157"/>
                </a:moveTo>
                <a:cubicBezTo>
                  <a:pt x="100" y="159"/>
                  <a:pt x="99" y="160"/>
                  <a:pt x="98" y="160"/>
                </a:cubicBezTo>
                <a:cubicBezTo>
                  <a:pt x="92" y="160"/>
                  <a:pt x="92" y="160"/>
                  <a:pt x="92" y="160"/>
                </a:cubicBezTo>
                <a:cubicBezTo>
                  <a:pt x="91" y="160"/>
                  <a:pt x="90" y="159"/>
                  <a:pt x="90" y="157"/>
                </a:cubicBezTo>
                <a:cubicBezTo>
                  <a:pt x="90" y="156"/>
                  <a:pt x="91" y="155"/>
                  <a:pt x="92" y="155"/>
                </a:cubicBezTo>
                <a:cubicBezTo>
                  <a:pt x="98" y="155"/>
                  <a:pt x="98" y="155"/>
                  <a:pt x="98" y="155"/>
                </a:cubicBezTo>
                <a:cubicBezTo>
                  <a:pt x="99" y="155"/>
                  <a:pt x="100" y="156"/>
                  <a:pt x="100" y="157"/>
                </a:cubicBezTo>
                <a:close/>
                <a:moveTo>
                  <a:pt x="124" y="136"/>
                </a:moveTo>
                <a:cubicBezTo>
                  <a:pt x="119" y="136"/>
                  <a:pt x="119" y="136"/>
                  <a:pt x="119" y="136"/>
                </a:cubicBezTo>
                <a:cubicBezTo>
                  <a:pt x="118" y="136"/>
                  <a:pt x="116" y="135"/>
                  <a:pt x="116" y="133"/>
                </a:cubicBezTo>
                <a:cubicBezTo>
                  <a:pt x="116" y="132"/>
                  <a:pt x="118" y="131"/>
                  <a:pt x="119" y="131"/>
                </a:cubicBezTo>
                <a:cubicBezTo>
                  <a:pt x="124" y="131"/>
                  <a:pt x="124" y="131"/>
                  <a:pt x="124" y="131"/>
                </a:cubicBezTo>
                <a:cubicBezTo>
                  <a:pt x="126" y="131"/>
                  <a:pt x="127" y="132"/>
                  <a:pt x="127" y="133"/>
                </a:cubicBezTo>
                <a:cubicBezTo>
                  <a:pt x="127" y="135"/>
                  <a:pt x="126" y="136"/>
                  <a:pt x="124" y="136"/>
                </a:cubicBezTo>
                <a:close/>
                <a:moveTo>
                  <a:pt x="108" y="136"/>
                </a:moveTo>
                <a:cubicBezTo>
                  <a:pt x="103" y="136"/>
                  <a:pt x="103" y="136"/>
                  <a:pt x="103" y="136"/>
                </a:cubicBezTo>
                <a:cubicBezTo>
                  <a:pt x="102" y="136"/>
                  <a:pt x="100" y="135"/>
                  <a:pt x="100" y="133"/>
                </a:cubicBezTo>
                <a:cubicBezTo>
                  <a:pt x="100" y="132"/>
                  <a:pt x="102" y="131"/>
                  <a:pt x="103" y="131"/>
                </a:cubicBezTo>
                <a:cubicBezTo>
                  <a:pt x="108" y="131"/>
                  <a:pt x="108" y="131"/>
                  <a:pt x="108" y="131"/>
                </a:cubicBezTo>
                <a:cubicBezTo>
                  <a:pt x="110" y="131"/>
                  <a:pt x="111" y="132"/>
                  <a:pt x="111" y="133"/>
                </a:cubicBezTo>
                <a:cubicBezTo>
                  <a:pt x="111" y="135"/>
                  <a:pt x="110" y="136"/>
                  <a:pt x="108" y="136"/>
                </a:cubicBezTo>
                <a:close/>
                <a:moveTo>
                  <a:pt x="132" y="157"/>
                </a:moveTo>
                <a:cubicBezTo>
                  <a:pt x="132" y="159"/>
                  <a:pt x="131" y="160"/>
                  <a:pt x="130" y="160"/>
                </a:cubicBezTo>
                <a:cubicBezTo>
                  <a:pt x="130" y="157"/>
                  <a:pt x="130" y="157"/>
                  <a:pt x="130" y="157"/>
                </a:cubicBezTo>
                <a:cubicBezTo>
                  <a:pt x="130" y="160"/>
                  <a:pt x="130" y="160"/>
                  <a:pt x="130" y="160"/>
                </a:cubicBezTo>
                <a:cubicBezTo>
                  <a:pt x="124" y="160"/>
                  <a:pt x="124" y="160"/>
                  <a:pt x="124" y="160"/>
                </a:cubicBezTo>
                <a:cubicBezTo>
                  <a:pt x="123" y="160"/>
                  <a:pt x="122" y="159"/>
                  <a:pt x="122" y="157"/>
                </a:cubicBezTo>
                <a:cubicBezTo>
                  <a:pt x="122" y="156"/>
                  <a:pt x="123" y="155"/>
                  <a:pt x="124" y="155"/>
                </a:cubicBezTo>
                <a:cubicBezTo>
                  <a:pt x="130" y="155"/>
                  <a:pt x="130" y="155"/>
                  <a:pt x="130" y="155"/>
                </a:cubicBezTo>
                <a:cubicBezTo>
                  <a:pt x="131" y="155"/>
                  <a:pt x="132" y="156"/>
                  <a:pt x="132" y="157"/>
                </a:cubicBezTo>
                <a:close/>
                <a:moveTo>
                  <a:pt x="137" y="140"/>
                </a:moveTo>
                <a:cubicBezTo>
                  <a:pt x="136" y="138"/>
                  <a:pt x="135" y="138"/>
                  <a:pt x="134" y="137"/>
                </a:cubicBezTo>
                <a:cubicBezTo>
                  <a:pt x="132" y="136"/>
                  <a:pt x="132" y="135"/>
                  <a:pt x="133" y="133"/>
                </a:cubicBezTo>
                <a:cubicBezTo>
                  <a:pt x="133" y="132"/>
                  <a:pt x="135" y="132"/>
                  <a:pt x="136" y="132"/>
                </a:cubicBezTo>
                <a:cubicBezTo>
                  <a:pt x="138" y="133"/>
                  <a:pt x="140" y="135"/>
                  <a:pt x="141" y="136"/>
                </a:cubicBezTo>
                <a:cubicBezTo>
                  <a:pt x="142" y="137"/>
                  <a:pt x="142" y="139"/>
                  <a:pt x="141" y="140"/>
                </a:cubicBezTo>
                <a:cubicBezTo>
                  <a:pt x="140" y="140"/>
                  <a:pt x="140" y="141"/>
                  <a:pt x="139" y="141"/>
                </a:cubicBezTo>
                <a:cubicBezTo>
                  <a:pt x="138" y="141"/>
                  <a:pt x="137" y="140"/>
                  <a:pt x="137" y="140"/>
                </a:cubicBezTo>
                <a:close/>
                <a:moveTo>
                  <a:pt x="153" y="107"/>
                </a:moveTo>
                <a:cubicBezTo>
                  <a:pt x="153" y="109"/>
                  <a:pt x="153" y="110"/>
                  <a:pt x="151" y="111"/>
                </a:cubicBezTo>
                <a:cubicBezTo>
                  <a:pt x="150" y="112"/>
                  <a:pt x="148" y="112"/>
                  <a:pt x="146" y="112"/>
                </a:cubicBezTo>
                <a:cubicBezTo>
                  <a:pt x="145" y="112"/>
                  <a:pt x="145" y="112"/>
                  <a:pt x="145" y="112"/>
                </a:cubicBezTo>
                <a:cubicBezTo>
                  <a:pt x="144" y="112"/>
                  <a:pt x="142" y="111"/>
                  <a:pt x="142" y="109"/>
                </a:cubicBezTo>
                <a:cubicBezTo>
                  <a:pt x="142" y="108"/>
                  <a:pt x="144" y="107"/>
                  <a:pt x="145" y="107"/>
                </a:cubicBezTo>
                <a:cubicBezTo>
                  <a:pt x="146" y="107"/>
                  <a:pt x="146" y="107"/>
                  <a:pt x="146" y="107"/>
                </a:cubicBezTo>
                <a:cubicBezTo>
                  <a:pt x="147" y="107"/>
                  <a:pt x="148" y="106"/>
                  <a:pt x="149" y="106"/>
                </a:cubicBezTo>
                <a:cubicBezTo>
                  <a:pt x="151" y="105"/>
                  <a:pt x="152" y="106"/>
                  <a:pt x="153" y="107"/>
                </a:cubicBezTo>
                <a:close/>
                <a:moveTo>
                  <a:pt x="76" y="80"/>
                </a:moveTo>
                <a:cubicBezTo>
                  <a:pt x="74" y="80"/>
                  <a:pt x="73" y="79"/>
                  <a:pt x="73" y="78"/>
                </a:cubicBezTo>
                <a:cubicBezTo>
                  <a:pt x="73" y="76"/>
                  <a:pt x="72" y="75"/>
                  <a:pt x="72" y="73"/>
                </a:cubicBezTo>
                <a:cubicBezTo>
                  <a:pt x="72" y="73"/>
                  <a:pt x="72" y="72"/>
                  <a:pt x="72" y="71"/>
                </a:cubicBezTo>
                <a:cubicBezTo>
                  <a:pt x="73" y="70"/>
                  <a:pt x="74" y="69"/>
                  <a:pt x="75" y="69"/>
                </a:cubicBezTo>
                <a:cubicBezTo>
                  <a:pt x="77" y="69"/>
                  <a:pt x="78" y="71"/>
                  <a:pt x="78" y="72"/>
                </a:cubicBezTo>
                <a:cubicBezTo>
                  <a:pt x="78" y="73"/>
                  <a:pt x="78" y="73"/>
                  <a:pt x="78" y="73"/>
                </a:cubicBezTo>
                <a:cubicBezTo>
                  <a:pt x="78" y="74"/>
                  <a:pt x="78" y="75"/>
                  <a:pt x="78" y="76"/>
                </a:cubicBezTo>
                <a:cubicBezTo>
                  <a:pt x="79" y="78"/>
                  <a:pt x="78" y="79"/>
                  <a:pt x="76" y="80"/>
                </a:cubicBezTo>
                <a:cubicBezTo>
                  <a:pt x="76" y="80"/>
                  <a:pt x="76" y="80"/>
                  <a:pt x="76" y="80"/>
                </a:cubicBezTo>
                <a:close/>
                <a:moveTo>
                  <a:pt x="68" y="157"/>
                </a:moveTo>
                <a:cubicBezTo>
                  <a:pt x="68" y="159"/>
                  <a:pt x="67" y="160"/>
                  <a:pt x="66" y="160"/>
                </a:cubicBezTo>
                <a:cubicBezTo>
                  <a:pt x="60" y="160"/>
                  <a:pt x="60" y="160"/>
                  <a:pt x="60" y="160"/>
                </a:cubicBezTo>
                <a:cubicBezTo>
                  <a:pt x="59" y="160"/>
                  <a:pt x="58" y="159"/>
                  <a:pt x="58" y="157"/>
                </a:cubicBezTo>
                <a:cubicBezTo>
                  <a:pt x="58" y="156"/>
                  <a:pt x="59" y="155"/>
                  <a:pt x="60" y="155"/>
                </a:cubicBezTo>
                <a:cubicBezTo>
                  <a:pt x="66" y="155"/>
                  <a:pt x="66" y="155"/>
                  <a:pt x="66" y="155"/>
                </a:cubicBezTo>
                <a:cubicBezTo>
                  <a:pt x="67" y="155"/>
                  <a:pt x="68" y="156"/>
                  <a:pt x="68" y="157"/>
                </a:cubicBezTo>
                <a:close/>
                <a:moveTo>
                  <a:pt x="92" y="135"/>
                </a:moveTo>
                <a:cubicBezTo>
                  <a:pt x="90" y="134"/>
                  <a:pt x="88" y="132"/>
                  <a:pt x="86" y="131"/>
                </a:cubicBezTo>
                <a:cubicBezTo>
                  <a:pt x="85" y="130"/>
                  <a:pt x="86" y="128"/>
                  <a:pt x="87" y="127"/>
                </a:cubicBezTo>
                <a:cubicBezTo>
                  <a:pt x="88" y="126"/>
                  <a:pt x="90" y="126"/>
                  <a:pt x="90" y="127"/>
                </a:cubicBezTo>
                <a:cubicBezTo>
                  <a:pt x="91" y="128"/>
                  <a:pt x="93" y="129"/>
                  <a:pt x="94" y="130"/>
                </a:cubicBezTo>
                <a:cubicBezTo>
                  <a:pt x="95" y="130"/>
                  <a:pt x="96" y="132"/>
                  <a:pt x="95" y="133"/>
                </a:cubicBezTo>
                <a:cubicBezTo>
                  <a:pt x="95" y="134"/>
                  <a:pt x="94" y="135"/>
                  <a:pt x="93" y="135"/>
                </a:cubicBezTo>
                <a:cubicBezTo>
                  <a:pt x="92" y="135"/>
                  <a:pt x="92" y="135"/>
                  <a:pt x="92" y="135"/>
                </a:cubicBezTo>
                <a:close/>
                <a:moveTo>
                  <a:pt x="154" y="88"/>
                </a:moveTo>
                <a:cubicBezTo>
                  <a:pt x="153" y="89"/>
                  <a:pt x="153" y="90"/>
                  <a:pt x="152" y="90"/>
                </a:cubicBezTo>
                <a:cubicBezTo>
                  <a:pt x="151" y="90"/>
                  <a:pt x="151" y="89"/>
                  <a:pt x="150" y="89"/>
                </a:cubicBezTo>
                <a:cubicBezTo>
                  <a:pt x="149" y="89"/>
                  <a:pt x="148" y="88"/>
                  <a:pt x="146" y="88"/>
                </a:cubicBezTo>
                <a:cubicBezTo>
                  <a:pt x="145" y="88"/>
                  <a:pt x="144" y="87"/>
                  <a:pt x="144" y="85"/>
                </a:cubicBezTo>
                <a:cubicBezTo>
                  <a:pt x="144" y="84"/>
                  <a:pt x="145" y="83"/>
                  <a:pt x="147" y="83"/>
                </a:cubicBezTo>
                <a:cubicBezTo>
                  <a:pt x="149" y="83"/>
                  <a:pt x="151" y="84"/>
                  <a:pt x="153" y="85"/>
                </a:cubicBezTo>
                <a:cubicBezTo>
                  <a:pt x="154" y="85"/>
                  <a:pt x="155" y="87"/>
                  <a:pt x="154" y="88"/>
                </a:cubicBezTo>
                <a:close/>
                <a:moveTo>
                  <a:pt x="84" y="157"/>
                </a:moveTo>
                <a:cubicBezTo>
                  <a:pt x="84" y="159"/>
                  <a:pt x="83" y="160"/>
                  <a:pt x="82" y="160"/>
                </a:cubicBezTo>
                <a:cubicBezTo>
                  <a:pt x="76" y="160"/>
                  <a:pt x="76" y="160"/>
                  <a:pt x="76" y="160"/>
                </a:cubicBezTo>
                <a:cubicBezTo>
                  <a:pt x="75" y="160"/>
                  <a:pt x="74" y="159"/>
                  <a:pt x="74" y="157"/>
                </a:cubicBezTo>
                <a:cubicBezTo>
                  <a:pt x="74" y="156"/>
                  <a:pt x="75" y="155"/>
                  <a:pt x="76" y="155"/>
                </a:cubicBezTo>
                <a:cubicBezTo>
                  <a:pt x="82" y="155"/>
                  <a:pt x="82" y="155"/>
                  <a:pt x="82" y="155"/>
                </a:cubicBezTo>
                <a:cubicBezTo>
                  <a:pt x="83" y="155"/>
                  <a:pt x="84" y="156"/>
                  <a:pt x="84" y="157"/>
                </a:cubicBezTo>
                <a:close/>
                <a:moveTo>
                  <a:pt x="86" y="122"/>
                </a:moveTo>
                <a:cubicBezTo>
                  <a:pt x="86" y="122"/>
                  <a:pt x="86" y="122"/>
                  <a:pt x="85" y="122"/>
                </a:cubicBezTo>
                <a:cubicBezTo>
                  <a:pt x="84" y="121"/>
                  <a:pt x="83" y="120"/>
                  <a:pt x="83" y="119"/>
                </a:cubicBezTo>
                <a:cubicBezTo>
                  <a:pt x="84" y="116"/>
                  <a:pt x="85" y="114"/>
                  <a:pt x="86" y="113"/>
                </a:cubicBezTo>
                <a:cubicBezTo>
                  <a:pt x="87" y="111"/>
                  <a:pt x="88" y="111"/>
                  <a:pt x="90" y="112"/>
                </a:cubicBezTo>
                <a:cubicBezTo>
                  <a:pt x="91" y="113"/>
                  <a:pt x="91" y="115"/>
                  <a:pt x="90" y="116"/>
                </a:cubicBezTo>
                <a:cubicBezTo>
                  <a:pt x="89" y="117"/>
                  <a:pt x="89" y="118"/>
                  <a:pt x="88" y="120"/>
                </a:cubicBezTo>
                <a:cubicBezTo>
                  <a:pt x="88" y="121"/>
                  <a:pt x="87" y="122"/>
                  <a:pt x="86" y="122"/>
                </a:cubicBezTo>
                <a:close/>
                <a:moveTo>
                  <a:pt x="132" y="40"/>
                </a:moveTo>
                <a:cubicBezTo>
                  <a:pt x="140" y="40"/>
                  <a:pt x="147" y="33"/>
                  <a:pt x="147" y="25"/>
                </a:cubicBezTo>
                <a:cubicBezTo>
                  <a:pt x="147" y="17"/>
                  <a:pt x="140" y="11"/>
                  <a:pt x="132" y="11"/>
                </a:cubicBezTo>
                <a:cubicBezTo>
                  <a:pt x="124" y="11"/>
                  <a:pt x="118" y="17"/>
                  <a:pt x="118" y="25"/>
                </a:cubicBezTo>
                <a:cubicBezTo>
                  <a:pt x="118" y="33"/>
                  <a:pt x="124" y="40"/>
                  <a:pt x="132" y="40"/>
                </a:cubicBezTo>
                <a:close/>
                <a:moveTo>
                  <a:pt x="132" y="16"/>
                </a:moveTo>
                <a:cubicBezTo>
                  <a:pt x="137" y="16"/>
                  <a:pt x="142" y="20"/>
                  <a:pt x="142" y="25"/>
                </a:cubicBezTo>
                <a:cubicBezTo>
                  <a:pt x="142" y="30"/>
                  <a:pt x="137" y="35"/>
                  <a:pt x="132" y="35"/>
                </a:cubicBezTo>
                <a:cubicBezTo>
                  <a:pt x="127" y="35"/>
                  <a:pt x="123" y="30"/>
                  <a:pt x="123" y="25"/>
                </a:cubicBezTo>
                <a:cubicBezTo>
                  <a:pt x="123" y="20"/>
                  <a:pt x="127" y="16"/>
                  <a:pt x="132" y="16"/>
                </a:cubicBezTo>
                <a:close/>
                <a:moveTo>
                  <a:pt x="35" y="83"/>
                </a:moveTo>
                <a:cubicBezTo>
                  <a:pt x="26" y="83"/>
                  <a:pt x="19" y="90"/>
                  <a:pt x="19" y="99"/>
                </a:cubicBezTo>
                <a:cubicBezTo>
                  <a:pt x="19" y="107"/>
                  <a:pt x="26" y="115"/>
                  <a:pt x="35" y="115"/>
                </a:cubicBezTo>
                <a:cubicBezTo>
                  <a:pt x="44" y="115"/>
                  <a:pt x="51" y="107"/>
                  <a:pt x="51" y="99"/>
                </a:cubicBezTo>
                <a:cubicBezTo>
                  <a:pt x="51" y="90"/>
                  <a:pt x="44" y="83"/>
                  <a:pt x="35" y="83"/>
                </a:cubicBezTo>
                <a:close/>
                <a:moveTo>
                  <a:pt x="35" y="109"/>
                </a:moveTo>
                <a:cubicBezTo>
                  <a:pt x="29" y="109"/>
                  <a:pt x="24" y="105"/>
                  <a:pt x="24" y="99"/>
                </a:cubicBezTo>
                <a:cubicBezTo>
                  <a:pt x="24" y="93"/>
                  <a:pt x="29" y="88"/>
                  <a:pt x="35" y="88"/>
                </a:cubicBezTo>
                <a:cubicBezTo>
                  <a:pt x="41" y="88"/>
                  <a:pt x="46" y="93"/>
                  <a:pt x="46" y="99"/>
                </a:cubicBezTo>
                <a:cubicBezTo>
                  <a:pt x="46" y="105"/>
                  <a:pt x="41" y="109"/>
                  <a:pt x="35" y="109"/>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1348">
            <a:extLst>
              <a:ext uri="{FF2B5EF4-FFF2-40B4-BE49-F238E27FC236}">
                <a16:creationId xmlns:a16="http://schemas.microsoft.com/office/drawing/2014/main" id="{DDB14771-3F30-E744-993D-5FA8F17DB1BB}"/>
              </a:ext>
            </a:extLst>
          </p:cNvPr>
          <p:cNvSpPr>
            <a:spLocks noEditPoints="1"/>
          </p:cNvSpPr>
          <p:nvPr/>
        </p:nvSpPr>
        <p:spPr bwMode="auto">
          <a:xfrm>
            <a:off x="6220987" y="2222500"/>
            <a:ext cx="536575" cy="550863"/>
          </a:xfrm>
          <a:custGeom>
            <a:avLst/>
            <a:gdLst>
              <a:gd name="T0" fmla="*/ 121 w 157"/>
              <a:gd name="T1" fmla="*/ 0 h 160"/>
              <a:gd name="T2" fmla="*/ 0 w 157"/>
              <a:gd name="T3" fmla="*/ 0 h 160"/>
              <a:gd name="T4" fmla="*/ 23 w 157"/>
              <a:gd name="T5" fmla="*/ 160 h 160"/>
              <a:gd name="T6" fmla="*/ 157 w 157"/>
              <a:gd name="T7" fmla="*/ 160 h 160"/>
              <a:gd name="T8" fmla="*/ 129 w 157"/>
              <a:gd name="T9" fmla="*/ 0 h 160"/>
              <a:gd name="T10" fmla="*/ 114 w 157"/>
              <a:gd name="T11" fmla="*/ 52 h 160"/>
              <a:gd name="T12" fmla="*/ 36 w 157"/>
              <a:gd name="T13" fmla="*/ 7 h 160"/>
              <a:gd name="T14" fmla="*/ 29 w 157"/>
              <a:gd name="T15" fmla="*/ 153 h 160"/>
              <a:gd name="T16" fmla="*/ 124 w 157"/>
              <a:gd name="T17" fmla="*/ 91 h 160"/>
              <a:gd name="T18" fmla="*/ 29 w 157"/>
              <a:gd name="T19" fmla="*/ 153 h 160"/>
              <a:gd name="T20" fmla="*/ 131 w 157"/>
              <a:gd name="T21" fmla="*/ 153 h 160"/>
              <a:gd name="T22" fmla="*/ 23 w 157"/>
              <a:gd name="T23" fmla="*/ 85 h 160"/>
              <a:gd name="T24" fmla="*/ 7 w 157"/>
              <a:gd name="T25" fmla="*/ 153 h 160"/>
              <a:gd name="T26" fmla="*/ 29 w 157"/>
              <a:gd name="T27" fmla="*/ 7 h 160"/>
              <a:gd name="T28" fmla="*/ 121 w 157"/>
              <a:gd name="T29" fmla="*/ 59 h 160"/>
              <a:gd name="T30" fmla="*/ 126 w 157"/>
              <a:gd name="T31" fmla="*/ 7 h 160"/>
              <a:gd name="T32" fmla="*/ 150 w 157"/>
              <a:gd name="T33" fmla="*/ 153 h 160"/>
              <a:gd name="T34" fmla="*/ 42 w 157"/>
              <a:gd name="T35" fmla="*/ 101 h 160"/>
              <a:gd name="T36" fmla="*/ 69 w 157"/>
              <a:gd name="T37" fmla="*/ 104 h 160"/>
              <a:gd name="T38" fmla="*/ 42 w 157"/>
              <a:gd name="T39" fmla="*/ 108 h 160"/>
              <a:gd name="T40" fmla="*/ 78 w 157"/>
              <a:gd name="T41" fmla="*/ 118 h 160"/>
              <a:gd name="T42" fmla="*/ 42 w 157"/>
              <a:gd name="T43" fmla="*/ 121 h 160"/>
              <a:gd name="T44" fmla="*/ 42 w 157"/>
              <a:gd name="T45" fmla="*/ 114 h 160"/>
              <a:gd name="T46" fmla="*/ 78 w 157"/>
              <a:gd name="T47" fmla="*/ 118 h 160"/>
              <a:gd name="T48" fmla="*/ 88 w 157"/>
              <a:gd name="T49" fmla="*/ 118 h 160"/>
              <a:gd name="T50" fmla="*/ 85 w 157"/>
              <a:gd name="T51" fmla="*/ 121 h 160"/>
              <a:gd name="T52" fmla="*/ 82 w 157"/>
              <a:gd name="T53" fmla="*/ 118 h 160"/>
              <a:gd name="T54" fmla="*/ 87 w 157"/>
              <a:gd name="T55" fmla="*/ 115 h 160"/>
              <a:gd name="T56" fmla="*/ 88 w 157"/>
              <a:gd name="T57" fmla="*/ 13 h 160"/>
              <a:gd name="T58" fmla="*/ 108 w 157"/>
              <a:gd name="T59" fmla="*/ 46 h 160"/>
              <a:gd name="T60" fmla="*/ 101 w 157"/>
              <a:gd name="T61" fmla="*/ 39 h 160"/>
              <a:gd name="T62" fmla="*/ 95 w 157"/>
              <a:gd name="T63" fmla="*/ 20 h 160"/>
              <a:gd name="T64" fmla="*/ 101 w 157"/>
              <a:gd name="T6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 h="160">
                <a:moveTo>
                  <a:pt x="129" y="0"/>
                </a:moveTo>
                <a:cubicBezTo>
                  <a:pt x="121" y="0"/>
                  <a:pt x="121" y="0"/>
                  <a:pt x="121" y="0"/>
                </a:cubicBezTo>
                <a:cubicBezTo>
                  <a:pt x="29" y="0"/>
                  <a:pt x="29" y="0"/>
                  <a:pt x="29" y="0"/>
                </a:cubicBezTo>
                <a:cubicBezTo>
                  <a:pt x="0" y="0"/>
                  <a:pt x="0" y="0"/>
                  <a:pt x="0" y="0"/>
                </a:cubicBezTo>
                <a:cubicBezTo>
                  <a:pt x="0" y="160"/>
                  <a:pt x="0" y="160"/>
                  <a:pt x="0" y="160"/>
                </a:cubicBezTo>
                <a:cubicBezTo>
                  <a:pt x="23" y="160"/>
                  <a:pt x="23" y="160"/>
                  <a:pt x="23" y="160"/>
                </a:cubicBezTo>
                <a:cubicBezTo>
                  <a:pt x="131" y="160"/>
                  <a:pt x="131" y="160"/>
                  <a:pt x="131" y="160"/>
                </a:cubicBezTo>
                <a:cubicBezTo>
                  <a:pt x="157" y="160"/>
                  <a:pt x="157" y="160"/>
                  <a:pt x="157" y="160"/>
                </a:cubicBezTo>
                <a:cubicBezTo>
                  <a:pt x="157" y="28"/>
                  <a:pt x="157" y="28"/>
                  <a:pt x="157" y="28"/>
                </a:cubicBezTo>
                <a:lnTo>
                  <a:pt x="129" y="0"/>
                </a:lnTo>
                <a:close/>
                <a:moveTo>
                  <a:pt x="114" y="7"/>
                </a:moveTo>
                <a:cubicBezTo>
                  <a:pt x="114" y="52"/>
                  <a:pt x="114" y="52"/>
                  <a:pt x="114" y="52"/>
                </a:cubicBezTo>
                <a:cubicBezTo>
                  <a:pt x="36" y="52"/>
                  <a:pt x="36" y="52"/>
                  <a:pt x="36" y="52"/>
                </a:cubicBezTo>
                <a:cubicBezTo>
                  <a:pt x="36" y="7"/>
                  <a:pt x="36" y="7"/>
                  <a:pt x="36" y="7"/>
                </a:cubicBezTo>
                <a:lnTo>
                  <a:pt x="114" y="7"/>
                </a:lnTo>
                <a:close/>
                <a:moveTo>
                  <a:pt x="29" y="153"/>
                </a:moveTo>
                <a:cubicBezTo>
                  <a:pt x="29" y="91"/>
                  <a:pt x="29" y="91"/>
                  <a:pt x="29" y="91"/>
                </a:cubicBezTo>
                <a:cubicBezTo>
                  <a:pt x="124" y="91"/>
                  <a:pt x="124" y="91"/>
                  <a:pt x="124" y="91"/>
                </a:cubicBezTo>
                <a:cubicBezTo>
                  <a:pt x="124" y="153"/>
                  <a:pt x="124" y="153"/>
                  <a:pt x="124" y="153"/>
                </a:cubicBezTo>
                <a:lnTo>
                  <a:pt x="29" y="153"/>
                </a:lnTo>
                <a:close/>
                <a:moveTo>
                  <a:pt x="150" y="153"/>
                </a:moveTo>
                <a:cubicBezTo>
                  <a:pt x="131" y="153"/>
                  <a:pt x="131" y="153"/>
                  <a:pt x="131" y="153"/>
                </a:cubicBezTo>
                <a:cubicBezTo>
                  <a:pt x="131" y="85"/>
                  <a:pt x="131" y="85"/>
                  <a:pt x="131" y="85"/>
                </a:cubicBezTo>
                <a:cubicBezTo>
                  <a:pt x="23" y="85"/>
                  <a:pt x="23" y="85"/>
                  <a:pt x="23" y="85"/>
                </a:cubicBezTo>
                <a:cubicBezTo>
                  <a:pt x="23" y="153"/>
                  <a:pt x="23" y="153"/>
                  <a:pt x="23" y="153"/>
                </a:cubicBezTo>
                <a:cubicBezTo>
                  <a:pt x="7" y="153"/>
                  <a:pt x="7" y="153"/>
                  <a:pt x="7" y="153"/>
                </a:cubicBezTo>
                <a:cubicBezTo>
                  <a:pt x="7" y="7"/>
                  <a:pt x="7" y="7"/>
                  <a:pt x="7" y="7"/>
                </a:cubicBezTo>
                <a:cubicBezTo>
                  <a:pt x="29" y="7"/>
                  <a:pt x="29" y="7"/>
                  <a:pt x="29" y="7"/>
                </a:cubicBezTo>
                <a:cubicBezTo>
                  <a:pt x="29" y="59"/>
                  <a:pt x="29" y="59"/>
                  <a:pt x="29" y="59"/>
                </a:cubicBezTo>
                <a:cubicBezTo>
                  <a:pt x="121" y="59"/>
                  <a:pt x="121" y="59"/>
                  <a:pt x="121" y="59"/>
                </a:cubicBezTo>
                <a:cubicBezTo>
                  <a:pt x="121" y="7"/>
                  <a:pt x="121" y="7"/>
                  <a:pt x="121" y="7"/>
                </a:cubicBezTo>
                <a:cubicBezTo>
                  <a:pt x="126" y="7"/>
                  <a:pt x="126" y="7"/>
                  <a:pt x="126" y="7"/>
                </a:cubicBezTo>
                <a:cubicBezTo>
                  <a:pt x="150" y="31"/>
                  <a:pt x="150" y="31"/>
                  <a:pt x="150" y="31"/>
                </a:cubicBezTo>
                <a:lnTo>
                  <a:pt x="150" y="153"/>
                </a:lnTo>
                <a:close/>
                <a:moveTo>
                  <a:pt x="39" y="104"/>
                </a:moveTo>
                <a:cubicBezTo>
                  <a:pt x="39" y="103"/>
                  <a:pt x="41" y="101"/>
                  <a:pt x="42" y="101"/>
                </a:cubicBezTo>
                <a:cubicBezTo>
                  <a:pt x="65" y="101"/>
                  <a:pt x="65" y="101"/>
                  <a:pt x="65" y="101"/>
                </a:cubicBezTo>
                <a:cubicBezTo>
                  <a:pt x="67" y="101"/>
                  <a:pt x="69" y="103"/>
                  <a:pt x="69" y="104"/>
                </a:cubicBezTo>
                <a:cubicBezTo>
                  <a:pt x="69" y="106"/>
                  <a:pt x="67" y="108"/>
                  <a:pt x="65" y="108"/>
                </a:cubicBezTo>
                <a:cubicBezTo>
                  <a:pt x="42" y="108"/>
                  <a:pt x="42" y="108"/>
                  <a:pt x="42" y="108"/>
                </a:cubicBezTo>
                <a:cubicBezTo>
                  <a:pt x="41" y="108"/>
                  <a:pt x="39" y="106"/>
                  <a:pt x="39" y="104"/>
                </a:cubicBezTo>
                <a:close/>
                <a:moveTo>
                  <a:pt x="78" y="118"/>
                </a:moveTo>
                <a:cubicBezTo>
                  <a:pt x="78" y="119"/>
                  <a:pt x="77" y="121"/>
                  <a:pt x="75" y="121"/>
                </a:cubicBezTo>
                <a:cubicBezTo>
                  <a:pt x="42" y="121"/>
                  <a:pt x="42" y="121"/>
                  <a:pt x="42" y="121"/>
                </a:cubicBezTo>
                <a:cubicBezTo>
                  <a:pt x="41" y="121"/>
                  <a:pt x="39" y="119"/>
                  <a:pt x="39" y="118"/>
                </a:cubicBezTo>
                <a:cubicBezTo>
                  <a:pt x="39" y="116"/>
                  <a:pt x="41" y="114"/>
                  <a:pt x="42" y="114"/>
                </a:cubicBezTo>
                <a:cubicBezTo>
                  <a:pt x="75" y="114"/>
                  <a:pt x="75" y="114"/>
                  <a:pt x="75" y="114"/>
                </a:cubicBezTo>
                <a:cubicBezTo>
                  <a:pt x="77" y="114"/>
                  <a:pt x="78" y="116"/>
                  <a:pt x="78" y="118"/>
                </a:cubicBezTo>
                <a:close/>
                <a:moveTo>
                  <a:pt x="87" y="115"/>
                </a:moveTo>
                <a:cubicBezTo>
                  <a:pt x="88" y="116"/>
                  <a:pt x="88" y="117"/>
                  <a:pt x="88" y="118"/>
                </a:cubicBezTo>
                <a:cubicBezTo>
                  <a:pt x="88" y="118"/>
                  <a:pt x="88" y="119"/>
                  <a:pt x="87" y="120"/>
                </a:cubicBezTo>
                <a:cubicBezTo>
                  <a:pt x="87" y="120"/>
                  <a:pt x="86" y="121"/>
                  <a:pt x="85" y="121"/>
                </a:cubicBezTo>
                <a:cubicBezTo>
                  <a:pt x="84" y="121"/>
                  <a:pt x="83" y="120"/>
                  <a:pt x="83" y="120"/>
                </a:cubicBezTo>
                <a:cubicBezTo>
                  <a:pt x="82" y="119"/>
                  <a:pt x="82" y="118"/>
                  <a:pt x="82" y="118"/>
                </a:cubicBezTo>
                <a:cubicBezTo>
                  <a:pt x="82" y="117"/>
                  <a:pt x="82" y="116"/>
                  <a:pt x="83" y="115"/>
                </a:cubicBezTo>
                <a:cubicBezTo>
                  <a:pt x="84" y="114"/>
                  <a:pt x="86" y="114"/>
                  <a:pt x="87" y="115"/>
                </a:cubicBezTo>
                <a:close/>
                <a:moveTo>
                  <a:pt x="108" y="13"/>
                </a:moveTo>
                <a:cubicBezTo>
                  <a:pt x="88" y="13"/>
                  <a:pt x="88" y="13"/>
                  <a:pt x="88" y="13"/>
                </a:cubicBezTo>
                <a:cubicBezTo>
                  <a:pt x="88" y="46"/>
                  <a:pt x="88" y="46"/>
                  <a:pt x="88" y="46"/>
                </a:cubicBezTo>
                <a:cubicBezTo>
                  <a:pt x="108" y="46"/>
                  <a:pt x="108" y="46"/>
                  <a:pt x="108" y="46"/>
                </a:cubicBezTo>
                <a:lnTo>
                  <a:pt x="108" y="13"/>
                </a:lnTo>
                <a:close/>
                <a:moveTo>
                  <a:pt x="101" y="39"/>
                </a:moveTo>
                <a:cubicBezTo>
                  <a:pt x="95" y="39"/>
                  <a:pt x="95" y="39"/>
                  <a:pt x="95" y="39"/>
                </a:cubicBezTo>
                <a:cubicBezTo>
                  <a:pt x="95" y="20"/>
                  <a:pt x="95" y="20"/>
                  <a:pt x="95" y="20"/>
                </a:cubicBezTo>
                <a:cubicBezTo>
                  <a:pt x="101" y="20"/>
                  <a:pt x="101" y="20"/>
                  <a:pt x="101" y="20"/>
                </a:cubicBezTo>
                <a:lnTo>
                  <a:pt x="101" y="39"/>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1349">
            <a:extLst>
              <a:ext uri="{FF2B5EF4-FFF2-40B4-BE49-F238E27FC236}">
                <a16:creationId xmlns:a16="http://schemas.microsoft.com/office/drawing/2014/main" id="{CF0F89B8-CB8D-E244-81F8-38FC6DD26502}"/>
              </a:ext>
            </a:extLst>
          </p:cNvPr>
          <p:cNvSpPr>
            <a:spLocks noEditPoints="1"/>
          </p:cNvSpPr>
          <p:nvPr/>
        </p:nvSpPr>
        <p:spPr bwMode="auto">
          <a:xfrm>
            <a:off x="6220987" y="2841625"/>
            <a:ext cx="546100" cy="550863"/>
          </a:xfrm>
          <a:custGeom>
            <a:avLst/>
            <a:gdLst>
              <a:gd name="T0" fmla="*/ 160 w 160"/>
              <a:gd name="T1" fmla="*/ 147 h 160"/>
              <a:gd name="T2" fmla="*/ 113 w 160"/>
              <a:gd name="T3" fmla="*/ 100 h 160"/>
              <a:gd name="T4" fmla="*/ 125 w 160"/>
              <a:gd name="T5" fmla="*/ 63 h 160"/>
              <a:gd name="T6" fmla="*/ 63 w 160"/>
              <a:gd name="T7" fmla="*/ 0 h 160"/>
              <a:gd name="T8" fmla="*/ 0 w 160"/>
              <a:gd name="T9" fmla="*/ 63 h 160"/>
              <a:gd name="T10" fmla="*/ 63 w 160"/>
              <a:gd name="T11" fmla="*/ 125 h 160"/>
              <a:gd name="T12" fmla="*/ 100 w 160"/>
              <a:gd name="T13" fmla="*/ 113 h 160"/>
              <a:gd name="T14" fmla="*/ 147 w 160"/>
              <a:gd name="T15" fmla="*/ 160 h 160"/>
              <a:gd name="T16" fmla="*/ 160 w 160"/>
              <a:gd name="T17" fmla="*/ 147 h 160"/>
              <a:gd name="T18" fmla="*/ 6 w 160"/>
              <a:gd name="T19" fmla="*/ 63 h 160"/>
              <a:gd name="T20" fmla="*/ 63 w 160"/>
              <a:gd name="T21" fmla="*/ 6 h 160"/>
              <a:gd name="T22" fmla="*/ 119 w 160"/>
              <a:gd name="T23" fmla="*/ 63 h 160"/>
              <a:gd name="T24" fmla="*/ 63 w 160"/>
              <a:gd name="T25" fmla="*/ 119 h 160"/>
              <a:gd name="T26" fmla="*/ 6 w 160"/>
              <a:gd name="T27" fmla="*/ 63 h 160"/>
              <a:gd name="T28" fmla="*/ 106 w 160"/>
              <a:gd name="T29" fmla="*/ 108 h 160"/>
              <a:gd name="T30" fmla="*/ 108 w 160"/>
              <a:gd name="T31" fmla="*/ 106 h 160"/>
              <a:gd name="T32" fmla="*/ 109 w 160"/>
              <a:gd name="T33" fmla="*/ 105 h 160"/>
              <a:gd name="T34" fmla="*/ 152 w 160"/>
              <a:gd name="T35" fmla="*/ 147 h 160"/>
              <a:gd name="T36" fmla="*/ 147 w 160"/>
              <a:gd name="T37" fmla="*/ 152 h 160"/>
              <a:gd name="T38" fmla="*/ 105 w 160"/>
              <a:gd name="T39" fmla="*/ 109 h 160"/>
              <a:gd name="T40" fmla="*/ 106 w 160"/>
              <a:gd name="T41" fmla="*/ 10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60">
                <a:moveTo>
                  <a:pt x="160" y="147"/>
                </a:moveTo>
                <a:cubicBezTo>
                  <a:pt x="113" y="100"/>
                  <a:pt x="113" y="100"/>
                  <a:pt x="113" y="100"/>
                </a:cubicBezTo>
                <a:cubicBezTo>
                  <a:pt x="121" y="90"/>
                  <a:pt x="125" y="77"/>
                  <a:pt x="125" y="63"/>
                </a:cubicBezTo>
                <a:cubicBezTo>
                  <a:pt x="125" y="28"/>
                  <a:pt x="97" y="0"/>
                  <a:pt x="63" y="0"/>
                </a:cubicBezTo>
                <a:cubicBezTo>
                  <a:pt x="28" y="0"/>
                  <a:pt x="0" y="28"/>
                  <a:pt x="0" y="63"/>
                </a:cubicBezTo>
                <a:cubicBezTo>
                  <a:pt x="0" y="97"/>
                  <a:pt x="28" y="125"/>
                  <a:pt x="63" y="125"/>
                </a:cubicBezTo>
                <a:cubicBezTo>
                  <a:pt x="77" y="125"/>
                  <a:pt x="90" y="121"/>
                  <a:pt x="100" y="113"/>
                </a:cubicBezTo>
                <a:cubicBezTo>
                  <a:pt x="147" y="160"/>
                  <a:pt x="147" y="160"/>
                  <a:pt x="147" y="160"/>
                </a:cubicBezTo>
                <a:lnTo>
                  <a:pt x="160" y="147"/>
                </a:lnTo>
                <a:close/>
                <a:moveTo>
                  <a:pt x="6" y="63"/>
                </a:moveTo>
                <a:cubicBezTo>
                  <a:pt x="6" y="31"/>
                  <a:pt x="31" y="6"/>
                  <a:pt x="63" y="6"/>
                </a:cubicBezTo>
                <a:cubicBezTo>
                  <a:pt x="94" y="6"/>
                  <a:pt x="119" y="31"/>
                  <a:pt x="119" y="63"/>
                </a:cubicBezTo>
                <a:cubicBezTo>
                  <a:pt x="119" y="94"/>
                  <a:pt x="94" y="119"/>
                  <a:pt x="63" y="119"/>
                </a:cubicBezTo>
                <a:cubicBezTo>
                  <a:pt x="31" y="119"/>
                  <a:pt x="6" y="94"/>
                  <a:pt x="6" y="63"/>
                </a:cubicBezTo>
                <a:close/>
                <a:moveTo>
                  <a:pt x="106" y="108"/>
                </a:moveTo>
                <a:cubicBezTo>
                  <a:pt x="107" y="107"/>
                  <a:pt x="107" y="107"/>
                  <a:pt x="108" y="106"/>
                </a:cubicBezTo>
                <a:cubicBezTo>
                  <a:pt x="108" y="106"/>
                  <a:pt x="109" y="105"/>
                  <a:pt x="109" y="105"/>
                </a:cubicBezTo>
                <a:cubicBezTo>
                  <a:pt x="152" y="147"/>
                  <a:pt x="152" y="147"/>
                  <a:pt x="152" y="147"/>
                </a:cubicBezTo>
                <a:cubicBezTo>
                  <a:pt x="147" y="152"/>
                  <a:pt x="147" y="152"/>
                  <a:pt x="147" y="152"/>
                </a:cubicBezTo>
                <a:cubicBezTo>
                  <a:pt x="105" y="109"/>
                  <a:pt x="105" y="109"/>
                  <a:pt x="105" y="109"/>
                </a:cubicBezTo>
                <a:cubicBezTo>
                  <a:pt x="105" y="109"/>
                  <a:pt x="106" y="108"/>
                  <a:pt x="106" y="108"/>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1350">
            <a:extLst>
              <a:ext uri="{FF2B5EF4-FFF2-40B4-BE49-F238E27FC236}">
                <a16:creationId xmlns:a16="http://schemas.microsoft.com/office/drawing/2014/main" id="{E0A7BB28-F72D-6D46-8D4A-7CE751C180AC}"/>
              </a:ext>
            </a:extLst>
          </p:cNvPr>
          <p:cNvSpPr>
            <a:spLocks noEditPoints="1"/>
          </p:cNvSpPr>
          <p:nvPr/>
        </p:nvSpPr>
        <p:spPr bwMode="auto">
          <a:xfrm>
            <a:off x="6235275" y="3462338"/>
            <a:ext cx="525463" cy="549275"/>
          </a:xfrm>
          <a:custGeom>
            <a:avLst/>
            <a:gdLst>
              <a:gd name="T0" fmla="*/ 153 w 154"/>
              <a:gd name="T1" fmla="*/ 155 h 160"/>
              <a:gd name="T2" fmla="*/ 108 w 154"/>
              <a:gd name="T3" fmla="*/ 108 h 160"/>
              <a:gd name="T4" fmla="*/ 127 w 154"/>
              <a:gd name="T5" fmla="*/ 63 h 160"/>
              <a:gd name="T6" fmla="*/ 63 w 154"/>
              <a:gd name="T7" fmla="*/ 0 h 160"/>
              <a:gd name="T8" fmla="*/ 0 w 154"/>
              <a:gd name="T9" fmla="*/ 63 h 160"/>
              <a:gd name="T10" fmla="*/ 63 w 154"/>
              <a:gd name="T11" fmla="*/ 127 h 160"/>
              <a:gd name="T12" fmla="*/ 104 w 154"/>
              <a:gd name="T13" fmla="*/ 112 h 160"/>
              <a:gd name="T14" fmla="*/ 149 w 154"/>
              <a:gd name="T15" fmla="*/ 159 h 160"/>
              <a:gd name="T16" fmla="*/ 151 w 154"/>
              <a:gd name="T17" fmla="*/ 160 h 160"/>
              <a:gd name="T18" fmla="*/ 153 w 154"/>
              <a:gd name="T19" fmla="*/ 159 h 160"/>
              <a:gd name="T20" fmla="*/ 153 w 154"/>
              <a:gd name="T21" fmla="*/ 155 h 160"/>
              <a:gd name="T22" fmla="*/ 63 w 154"/>
              <a:gd name="T23" fmla="*/ 121 h 160"/>
              <a:gd name="T24" fmla="*/ 6 w 154"/>
              <a:gd name="T25" fmla="*/ 63 h 160"/>
              <a:gd name="T26" fmla="*/ 63 w 154"/>
              <a:gd name="T27" fmla="*/ 6 h 160"/>
              <a:gd name="T28" fmla="*/ 121 w 154"/>
              <a:gd name="T29" fmla="*/ 63 h 160"/>
              <a:gd name="T30" fmla="*/ 63 w 154"/>
              <a:gd name="T31" fmla="*/ 12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60">
                <a:moveTo>
                  <a:pt x="153" y="155"/>
                </a:moveTo>
                <a:cubicBezTo>
                  <a:pt x="108" y="108"/>
                  <a:pt x="108" y="108"/>
                  <a:pt x="108" y="108"/>
                </a:cubicBezTo>
                <a:cubicBezTo>
                  <a:pt x="120" y="97"/>
                  <a:pt x="127" y="81"/>
                  <a:pt x="127" y="63"/>
                </a:cubicBezTo>
                <a:cubicBezTo>
                  <a:pt x="127" y="28"/>
                  <a:pt x="98" y="0"/>
                  <a:pt x="63" y="0"/>
                </a:cubicBezTo>
                <a:cubicBezTo>
                  <a:pt x="28" y="0"/>
                  <a:pt x="0" y="28"/>
                  <a:pt x="0" y="63"/>
                </a:cubicBezTo>
                <a:cubicBezTo>
                  <a:pt x="0" y="98"/>
                  <a:pt x="28" y="127"/>
                  <a:pt x="63" y="127"/>
                </a:cubicBezTo>
                <a:cubicBezTo>
                  <a:pt x="79" y="127"/>
                  <a:pt x="93" y="121"/>
                  <a:pt x="104" y="112"/>
                </a:cubicBezTo>
                <a:cubicBezTo>
                  <a:pt x="149" y="159"/>
                  <a:pt x="149" y="159"/>
                  <a:pt x="149" y="159"/>
                </a:cubicBezTo>
                <a:cubicBezTo>
                  <a:pt x="149" y="160"/>
                  <a:pt x="150" y="160"/>
                  <a:pt x="151" y="160"/>
                </a:cubicBezTo>
                <a:cubicBezTo>
                  <a:pt x="152" y="160"/>
                  <a:pt x="153" y="160"/>
                  <a:pt x="153" y="159"/>
                </a:cubicBezTo>
                <a:cubicBezTo>
                  <a:pt x="154" y="158"/>
                  <a:pt x="154" y="156"/>
                  <a:pt x="153" y="155"/>
                </a:cubicBezTo>
                <a:close/>
                <a:moveTo>
                  <a:pt x="63" y="121"/>
                </a:moveTo>
                <a:cubicBezTo>
                  <a:pt x="32" y="121"/>
                  <a:pt x="6" y="95"/>
                  <a:pt x="6" y="63"/>
                </a:cubicBezTo>
                <a:cubicBezTo>
                  <a:pt x="6" y="32"/>
                  <a:pt x="32" y="6"/>
                  <a:pt x="63" y="6"/>
                </a:cubicBezTo>
                <a:cubicBezTo>
                  <a:pt x="95" y="6"/>
                  <a:pt x="121" y="32"/>
                  <a:pt x="121" y="63"/>
                </a:cubicBezTo>
                <a:cubicBezTo>
                  <a:pt x="121" y="95"/>
                  <a:pt x="95" y="121"/>
                  <a:pt x="63" y="121"/>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1351">
            <a:extLst>
              <a:ext uri="{FF2B5EF4-FFF2-40B4-BE49-F238E27FC236}">
                <a16:creationId xmlns:a16="http://schemas.microsoft.com/office/drawing/2014/main" id="{D5711134-EF76-CC46-80D6-DE297B16EE39}"/>
              </a:ext>
            </a:extLst>
          </p:cNvPr>
          <p:cNvSpPr>
            <a:spLocks noEditPoints="1"/>
          </p:cNvSpPr>
          <p:nvPr/>
        </p:nvSpPr>
        <p:spPr bwMode="auto">
          <a:xfrm>
            <a:off x="6235275" y="4081463"/>
            <a:ext cx="525463" cy="550863"/>
          </a:xfrm>
          <a:custGeom>
            <a:avLst/>
            <a:gdLst>
              <a:gd name="T0" fmla="*/ 115 w 154"/>
              <a:gd name="T1" fmla="*/ 0 h 160"/>
              <a:gd name="T2" fmla="*/ 92 w 154"/>
              <a:gd name="T3" fmla="*/ 29 h 160"/>
              <a:gd name="T4" fmla="*/ 0 w 154"/>
              <a:gd name="T5" fmla="*/ 160 h 160"/>
              <a:gd name="T6" fmla="*/ 131 w 154"/>
              <a:gd name="T7" fmla="*/ 63 h 160"/>
              <a:gd name="T8" fmla="*/ 116 w 154"/>
              <a:gd name="T9" fmla="*/ 29 h 160"/>
              <a:gd name="T10" fmla="*/ 120 w 154"/>
              <a:gd name="T11" fmla="*/ 29 h 160"/>
              <a:gd name="T12" fmla="*/ 147 w 154"/>
              <a:gd name="T13" fmla="*/ 40 h 160"/>
              <a:gd name="T14" fmla="*/ 131 w 154"/>
              <a:gd name="T15" fmla="*/ 55 h 160"/>
              <a:gd name="T16" fmla="*/ 120 w 154"/>
              <a:gd name="T17" fmla="*/ 66 h 160"/>
              <a:gd name="T18" fmla="*/ 120 w 154"/>
              <a:gd name="T19" fmla="*/ 51 h 160"/>
              <a:gd name="T20" fmla="*/ 100 w 154"/>
              <a:gd name="T21" fmla="*/ 51 h 160"/>
              <a:gd name="T22" fmla="*/ 78 w 154"/>
              <a:gd name="T23" fmla="*/ 63 h 160"/>
              <a:gd name="T24" fmla="*/ 81 w 154"/>
              <a:gd name="T25" fmla="*/ 44 h 160"/>
              <a:gd name="T26" fmla="*/ 88 w 154"/>
              <a:gd name="T27" fmla="*/ 37 h 160"/>
              <a:gd name="T28" fmla="*/ 88 w 154"/>
              <a:gd name="T29" fmla="*/ 37 h 160"/>
              <a:gd name="T30" fmla="*/ 89 w 154"/>
              <a:gd name="T31" fmla="*/ 36 h 160"/>
              <a:gd name="T32" fmla="*/ 90 w 154"/>
              <a:gd name="T33" fmla="*/ 36 h 160"/>
              <a:gd name="T34" fmla="*/ 91 w 154"/>
              <a:gd name="T35" fmla="*/ 35 h 160"/>
              <a:gd name="T36" fmla="*/ 126 w 154"/>
              <a:gd name="T37" fmla="*/ 68 h 160"/>
              <a:gd name="T38" fmla="*/ 5 w 154"/>
              <a:gd name="T39" fmla="*/ 155 h 160"/>
              <a:gd name="T40" fmla="*/ 83 w 154"/>
              <a:gd name="T41" fmla="*/ 34 h 160"/>
              <a:gd name="T42" fmla="*/ 82 w 154"/>
              <a:gd name="T43" fmla="*/ 35 h 160"/>
              <a:gd name="T44" fmla="*/ 80 w 154"/>
              <a:gd name="T45" fmla="*/ 37 h 160"/>
              <a:gd name="T46" fmla="*/ 78 w 154"/>
              <a:gd name="T47" fmla="*/ 39 h 160"/>
              <a:gd name="T48" fmla="*/ 76 w 154"/>
              <a:gd name="T49" fmla="*/ 41 h 160"/>
              <a:gd name="T50" fmla="*/ 75 w 154"/>
              <a:gd name="T51" fmla="*/ 43 h 160"/>
              <a:gd name="T52" fmla="*/ 74 w 154"/>
              <a:gd name="T53" fmla="*/ 45 h 160"/>
              <a:gd name="T54" fmla="*/ 72 w 154"/>
              <a:gd name="T55" fmla="*/ 47 h 160"/>
              <a:gd name="T56" fmla="*/ 71 w 154"/>
              <a:gd name="T57" fmla="*/ 49 h 160"/>
              <a:gd name="T58" fmla="*/ 70 w 154"/>
              <a:gd name="T59" fmla="*/ 51 h 160"/>
              <a:gd name="T60" fmla="*/ 69 w 154"/>
              <a:gd name="T61" fmla="*/ 53 h 160"/>
              <a:gd name="T62" fmla="*/ 69 w 154"/>
              <a:gd name="T63" fmla="*/ 55 h 160"/>
              <a:gd name="T64" fmla="*/ 68 w 154"/>
              <a:gd name="T65" fmla="*/ 56 h 160"/>
              <a:gd name="T66" fmla="*/ 67 w 154"/>
              <a:gd name="T67" fmla="*/ 58 h 160"/>
              <a:gd name="T68" fmla="*/ 67 w 154"/>
              <a:gd name="T69" fmla="*/ 60 h 160"/>
              <a:gd name="T70" fmla="*/ 67 w 154"/>
              <a:gd name="T71" fmla="*/ 62 h 160"/>
              <a:gd name="T72" fmla="*/ 66 w 154"/>
              <a:gd name="T73" fmla="*/ 64 h 160"/>
              <a:gd name="T74" fmla="*/ 66 w 154"/>
              <a:gd name="T75" fmla="*/ 65 h 160"/>
              <a:gd name="T76" fmla="*/ 66 w 154"/>
              <a:gd name="T77" fmla="*/ 67 h 160"/>
              <a:gd name="T78" fmla="*/ 66 w 154"/>
              <a:gd name="T79" fmla="*/ 68 h 160"/>
              <a:gd name="T80" fmla="*/ 65 w 154"/>
              <a:gd name="T81" fmla="*/ 70 h 160"/>
              <a:gd name="T82" fmla="*/ 65 w 154"/>
              <a:gd name="T83" fmla="*/ 71 h 160"/>
              <a:gd name="T84" fmla="*/ 65 w 154"/>
              <a:gd name="T85" fmla="*/ 72 h 160"/>
              <a:gd name="T86" fmla="*/ 65 w 154"/>
              <a:gd name="T87" fmla="*/ 74 h 160"/>
              <a:gd name="T88" fmla="*/ 65 w 154"/>
              <a:gd name="T89" fmla="*/ 75 h 160"/>
              <a:gd name="T90" fmla="*/ 65 w 154"/>
              <a:gd name="T91" fmla="*/ 76 h 160"/>
              <a:gd name="T92" fmla="*/ 66 w 154"/>
              <a:gd name="T93" fmla="*/ 77 h 160"/>
              <a:gd name="T94" fmla="*/ 66 w 154"/>
              <a:gd name="T95" fmla="*/ 78 h 160"/>
              <a:gd name="T96" fmla="*/ 66 w 154"/>
              <a:gd name="T97" fmla="*/ 78 h 160"/>
              <a:gd name="T98" fmla="*/ 66 w 154"/>
              <a:gd name="T99" fmla="*/ 79 h 160"/>
              <a:gd name="T100" fmla="*/ 66 w 154"/>
              <a:gd name="T101" fmla="*/ 80 h 160"/>
              <a:gd name="T102" fmla="*/ 67 w 154"/>
              <a:gd name="T103" fmla="*/ 87 h 160"/>
              <a:gd name="T104" fmla="*/ 108 w 154"/>
              <a:gd name="T105" fmla="*/ 55 h 160"/>
              <a:gd name="T106" fmla="*/ 115 w 154"/>
              <a:gd name="T107" fmla="*/ 79 h 160"/>
              <a:gd name="T108" fmla="*/ 126 w 154"/>
              <a:gd name="T109" fmla="*/ 6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4" h="160">
                <a:moveTo>
                  <a:pt x="154" y="40"/>
                </a:moveTo>
                <a:cubicBezTo>
                  <a:pt x="115" y="0"/>
                  <a:pt x="115" y="0"/>
                  <a:pt x="115" y="0"/>
                </a:cubicBezTo>
                <a:cubicBezTo>
                  <a:pt x="115" y="24"/>
                  <a:pt x="115" y="24"/>
                  <a:pt x="115" y="24"/>
                </a:cubicBezTo>
                <a:cubicBezTo>
                  <a:pt x="104" y="24"/>
                  <a:pt x="97" y="26"/>
                  <a:pt x="92" y="29"/>
                </a:cubicBezTo>
                <a:cubicBezTo>
                  <a:pt x="0" y="29"/>
                  <a:pt x="0" y="29"/>
                  <a:pt x="0" y="29"/>
                </a:cubicBezTo>
                <a:cubicBezTo>
                  <a:pt x="0" y="160"/>
                  <a:pt x="0" y="160"/>
                  <a:pt x="0" y="160"/>
                </a:cubicBezTo>
                <a:cubicBezTo>
                  <a:pt x="131" y="160"/>
                  <a:pt x="131" y="160"/>
                  <a:pt x="131" y="160"/>
                </a:cubicBezTo>
                <a:cubicBezTo>
                  <a:pt x="131" y="63"/>
                  <a:pt x="131" y="63"/>
                  <a:pt x="131" y="63"/>
                </a:cubicBezTo>
                <a:lnTo>
                  <a:pt x="154" y="40"/>
                </a:lnTo>
                <a:close/>
                <a:moveTo>
                  <a:pt x="116" y="29"/>
                </a:moveTo>
                <a:cubicBezTo>
                  <a:pt x="116" y="29"/>
                  <a:pt x="117" y="29"/>
                  <a:pt x="118" y="29"/>
                </a:cubicBezTo>
                <a:cubicBezTo>
                  <a:pt x="120" y="29"/>
                  <a:pt x="120" y="29"/>
                  <a:pt x="120" y="29"/>
                </a:cubicBezTo>
                <a:cubicBezTo>
                  <a:pt x="120" y="13"/>
                  <a:pt x="120" y="13"/>
                  <a:pt x="120" y="13"/>
                </a:cubicBezTo>
                <a:cubicBezTo>
                  <a:pt x="147" y="40"/>
                  <a:pt x="147" y="40"/>
                  <a:pt x="147" y="40"/>
                </a:cubicBezTo>
                <a:cubicBezTo>
                  <a:pt x="131" y="55"/>
                  <a:pt x="131" y="55"/>
                  <a:pt x="131" y="55"/>
                </a:cubicBezTo>
                <a:cubicBezTo>
                  <a:pt x="131" y="55"/>
                  <a:pt x="131" y="55"/>
                  <a:pt x="131" y="55"/>
                </a:cubicBezTo>
                <a:cubicBezTo>
                  <a:pt x="129" y="58"/>
                  <a:pt x="129" y="58"/>
                  <a:pt x="129" y="58"/>
                </a:cubicBezTo>
                <a:cubicBezTo>
                  <a:pt x="120" y="66"/>
                  <a:pt x="120" y="66"/>
                  <a:pt x="120" y="66"/>
                </a:cubicBezTo>
                <a:cubicBezTo>
                  <a:pt x="120" y="51"/>
                  <a:pt x="120" y="51"/>
                  <a:pt x="120" y="51"/>
                </a:cubicBezTo>
                <a:cubicBezTo>
                  <a:pt x="120" y="51"/>
                  <a:pt x="120" y="51"/>
                  <a:pt x="120" y="51"/>
                </a:cubicBezTo>
                <a:cubicBezTo>
                  <a:pt x="118" y="50"/>
                  <a:pt x="118" y="50"/>
                  <a:pt x="118" y="50"/>
                </a:cubicBezTo>
                <a:cubicBezTo>
                  <a:pt x="118" y="50"/>
                  <a:pt x="110" y="48"/>
                  <a:pt x="100" y="51"/>
                </a:cubicBezTo>
                <a:cubicBezTo>
                  <a:pt x="97" y="52"/>
                  <a:pt x="93" y="53"/>
                  <a:pt x="89" y="55"/>
                </a:cubicBezTo>
                <a:cubicBezTo>
                  <a:pt x="86" y="57"/>
                  <a:pt x="82" y="59"/>
                  <a:pt x="78" y="63"/>
                </a:cubicBezTo>
                <a:cubicBezTo>
                  <a:pt x="76" y="65"/>
                  <a:pt x="73" y="68"/>
                  <a:pt x="71" y="71"/>
                </a:cubicBezTo>
                <a:cubicBezTo>
                  <a:pt x="71" y="64"/>
                  <a:pt x="73" y="54"/>
                  <a:pt x="81" y="44"/>
                </a:cubicBezTo>
                <a:cubicBezTo>
                  <a:pt x="83" y="42"/>
                  <a:pt x="85" y="39"/>
                  <a:pt x="88" y="37"/>
                </a:cubicBezTo>
                <a:cubicBezTo>
                  <a:pt x="88" y="37"/>
                  <a:pt x="88" y="37"/>
                  <a:pt x="88" y="37"/>
                </a:cubicBezTo>
                <a:cubicBezTo>
                  <a:pt x="88" y="37"/>
                  <a:pt x="88" y="37"/>
                  <a:pt x="88" y="37"/>
                </a:cubicBezTo>
                <a:cubicBezTo>
                  <a:pt x="88" y="37"/>
                  <a:pt x="88" y="37"/>
                  <a:pt x="88" y="37"/>
                </a:cubicBezTo>
                <a:cubicBezTo>
                  <a:pt x="89" y="37"/>
                  <a:pt x="89" y="37"/>
                  <a:pt x="89" y="37"/>
                </a:cubicBezTo>
                <a:cubicBezTo>
                  <a:pt x="89" y="36"/>
                  <a:pt x="89" y="36"/>
                  <a:pt x="89" y="36"/>
                </a:cubicBezTo>
                <a:cubicBezTo>
                  <a:pt x="89" y="36"/>
                  <a:pt x="89" y="36"/>
                  <a:pt x="89" y="36"/>
                </a:cubicBezTo>
                <a:cubicBezTo>
                  <a:pt x="89" y="36"/>
                  <a:pt x="90" y="36"/>
                  <a:pt x="90" y="36"/>
                </a:cubicBezTo>
                <a:cubicBezTo>
                  <a:pt x="90" y="36"/>
                  <a:pt x="90" y="36"/>
                  <a:pt x="90" y="35"/>
                </a:cubicBezTo>
                <a:cubicBezTo>
                  <a:pt x="90" y="35"/>
                  <a:pt x="91" y="35"/>
                  <a:pt x="91" y="35"/>
                </a:cubicBezTo>
                <a:cubicBezTo>
                  <a:pt x="95" y="33"/>
                  <a:pt x="103" y="29"/>
                  <a:pt x="116" y="29"/>
                </a:cubicBezTo>
                <a:close/>
                <a:moveTo>
                  <a:pt x="126" y="68"/>
                </a:moveTo>
                <a:cubicBezTo>
                  <a:pt x="126" y="155"/>
                  <a:pt x="126" y="155"/>
                  <a:pt x="126" y="155"/>
                </a:cubicBezTo>
                <a:cubicBezTo>
                  <a:pt x="5" y="155"/>
                  <a:pt x="5" y="155"/>
                  <a:pt x="5" y="155"/>
                </a:cubicBezTo>
                <a:cubicBezTo>
                  <a:pt x="5" y="34"/>
                  <a:pt x="5" y="34"/>
                  <a:pt x="5" y="34"/>
                </a:cubicBezTo>
                <a:cubicBezTo>
                  <a:pt x="83" y="34"/>
                  <a:pt x="83" y="34"/>
                  <a:pt x="83" y="34"/>
                </a:cubicBezTo>
                <a:cubicBezTo>
                  <a:pt x="83" y="34"/>
                  <a:pt x="83" y="34"/>
                  <a:pt x="83" y="35"/>
                </a:cubicBezTo>
                <a:cubicBezTo>
                  <a:pt x="82" y="35"/>
                  <a:pt x="82" y="35"/>
                  <a:pt x="82" y="35"/>
                </a:cubicBezTo>
                <a:cubicBezTo>
                  <a:pt x="81" y="36"/>
                  <a:pt x="81" y="36"/>
                  <a:pt x="81" y="36"/>
                </a:cubicBezTo>
                <a:cubicBezTo>
                  <a:pt x="80" y="37"/>
                  <a:pt x="80" y="37"/>
                  <a:pt x="80" y="37"/>
                </a:cubicBezTo>
                <a:cubicBezTo>
                  <a:pt x="79" y="38"/>
                  <a:pt x="79" y="38"/>
                  <a:pt x="79" y="38"/>
                </a:cubicBezTo>
                <a:cubicBezTo>
                  <a:pt x="79" y="39"/>
                  <a:pt x="78" y="39"/>
                  <a:pt x="78" y="39"/>
                </a:cubicBezTo>
                <a:cubicBezTo>
                  <a:pt x="78" y="39"/>
                  <a:pt x="77" y="40"/>
                  <a:pt x="77" y="40"/>
                </a:cubicBezTo>
                <a:cubicBezTo>
                  <a:pt x="77" y="40"/>
                  <a:pt x="77" y="41"/>
                  <a:pt x="76" y="41"/>
                </a:cubicBezTo>
                <a:cubicBezTo>
                  <a:pt x="76" y="41"/>
                  <a:pt x="76" y="42"/>
                  <a:pt x="76" y="42"/>
                </a:cubicBezTo>
                <a:cubicBezTo>
                  <a:pt x="75" y="42"/>
                  <a:pt x="75" y="43"/>
                  <a:pt x="75" y="43"/>
                </a:cubicBezTo>
                <a:cubicBezTo>
                  <a:pt x="75" y="43"/>
                  <a:pt x="74" y="44"/>
                  <a:pt x="74" y="44"/>
                </a:cubicBezTo>
                <a:cubicBezTo>
                  <a:pt x="74" y="44"/>
                  <a:pt x="74" y="45"/>
                  <a:pt x="74" y="45"/>
                </a:cubicBezTo>
                <a:cubicBezTo>
                  <a:pt x="73" y="45"/>
                  <a:pt x="73" y="46"/>
                  <a:pt x="73" y="46"/>
                </a:cubicBezTo>
                <a:cubicBezTo>
                  <a:pt x="73" y="46"/>
                  <a:pt x="73" y="47"/>
                  <a:pt x="72" y="47"/>
                </a:cubicBezTo>
                <a:cubicBezTo>
                  <a:pt x="72" y="47"/>
                  <a:pt x="72" y="48"/>
                  <a:pt x="72" y="48"/>
                </a:cubicBezTo>
                <a:cubicBezTo>
                  <a:pt x="72" y="48"/>
                  <a:pt x="71" y="48"/>
                  <a:pt x="71" y="49"/>
                </a:cubicBezTo>
                <a:cubicBezTo>
                  <a:pt x="71" y="49"/>
                  <a:pt x="71" y="49"/>
                  <a:pt x="71" y="50"/>
                </a:cubicBezTo>
                <a:cubicBezTo>
                  <a:pt x="71" y="50"/>
                  <a:pt x="70" y="50"/>
                  <a:pt x="70" y="51"/>
                </a:cubicBezTo>
                <a:cubicBezTo>
                  <a:pt x="70" y="51"/>
                  <a:pt x="70" y="51"/>
                  <a:pt x="70" y="52"/>
                </a:cubicBezTo>
                <a:cubicBezTo>
                  <a:pt x="70" y="52"/>
                  <a:pt x="70" y="52"/>
                  <a:pt x="69" y="53"/>
                </a:cubicBezTo>
                <a:cubicBezTo>
                  <a:pt x="69" y="53"/>
                  <a:pt x="69" y="53"/>
                  <a:pt x="69" y="54"/>
                </a:cubicBezTo>
                <a:cubicBezTo>
                  <a:pt x="69" y="54"/>
                  <a:pt x="69" y="54"/>
                  <a:pt x="69" y="55"/>
                </a:cubicBezTo>
                <a:cubicBezTo>
                  <a:pt x="69" y="55"/>
                  <a:pt x="68" y="55"/>
                  <a:pt x="68" y="56"/>
                </a:cubicBezTo>
                <a:cubicBezTo>
                  <a:pt x="68" y="56"/>
                  <a:pt x="68" y="56"/>
                  <a:pt x="68" y="56"/>
                </a:cubicBezTo>
                <a:cubicBezTo>
                  <a:pt x="68" y="57"/>
                  <a:pt x="68" y="57"/>
                  <a:pt x="68" y="57"/>
                </a:cubicBezTo>
                <a:cubicBezTo>
                  <a:pt x="68" y="58"/>
                  <a:pt x="68" y="58"/>
                  <a:pt x="67" y="58"/>
                </a:cubicBezTo>
                <a:cubicBezTo>
                  <a:pt x="67" y="59"/>
                  <a:pt x="67" y="59"/>
                  <a:pt x="67" y="59"/>
                </a:cubicBezTo>
                <a:cubicBezTo>
                  <a:pt x="67" y="60"/>
                  <a:pt x="67" y="60"/>
                  <a:pt x="67" y="60"/>
                </a:cubicBezTo>
                <a:cubicBezTo>
                  <a:pt x="67" y="60"/>
                  <a:pt x="67" y="61"/>
                  <a:pt x="67" y="61"/>
                </a:cubicBezTo>
                <a:cubicBezTo>
                  <a:pt x="67" y="61"/>
                  <a:pt x="67" y="62"/>
                  <a:pt x="67" y="62"/>
                </a:cubicBezTo>
                <a:cubicBezTo>
                  <a:pt x="67" y="62"/>
                  <a:pt x="66" y="62"/>
                  <a:pt x="66" y="63"/>
                </a:cubicBezTo>
                <a:cubicBezTo>
                  <a:pt x="66" y="63"/>
                  <a:pt x="66" y="63"/>
                  <a:pt x="66" y="64"/>
                </a:cubicBezTo>
                <a:cubicBezTo>
                  <a:pt x="66" y="64"/>
                  <a:pt x="66" y="64"/>
                  <a:pt x="66" y="65"/>
                </a:cubicBezTo>
                <a:cubicBezTo>
                  <a:pt x="66" y="65"/>
                  <a:pt x="66" y="65"/>
                  <a:pt x="66" y="65"/>
                </a:cubicBezTo>
                <a:cubicBezTo>
                  <a:pt x="66" y="66"/>
                  <a:pt x="66" y="66"/>
                  <a:pt x="66" y="66"/>
                </a:cubicBezTo>
                <a:cubicBezTo>
                  <a:pt x="66" y="66"/>
                  <a:pt x="66" y="67"/>
                  <a:pt x="66" y="67"/>
                </a:cubicBezTo>
                <a:cubicBezTo>
                  <a:pt x="66" y="67"/>
                  <a:pt x="66" y="67"/>
                  <a:pt x="66" y="68"/>
                </a:cubicBezTo>
                <a:cubicBezTo>
                  <a:pt x="66" y="68"/>
                  <a:pt x="66" y="68"/>
                  <a:pt x="66" y="68"/>
                </a:cubicBezTo>
                <a:cubicBezTo>
                  <a:pt x="66" y="69"/>
                  <a:pt x="66" y="69"/>
                  <a:pt x="66" y="69"/>
                </a:cubicBezTo>
                <a:cubicBezTo>
                  <a:pt x="66" y="69"/>
                  <a:pt x="66" y="70"/>
                  <a:pt x="65" y="70"/>
                </a:cubicBezTo>
                <a:cubicBezTo>
                  <a:pt x="65" y="70"/>
                  <a:pt x="65" y="70"/>
                  <a:pt x="65" y="71"/>
                </a:cubicBezTo>
                <a:cubicBezTo>
                  <a:pt x="65" y="71"/>
                  <a:pt x="65" y="71"/>
                  <a:pt x="65" y="71"/>
                </a:cubicBezTo>
                <a:cubicBezTo>
                  <a:pt x="65" y="71"/>
                  <a:pt x="65" y="72"/>
                  <a:pt x="65" y="72"/>
                </a:cubicBezTo>
                <a:cubicBezTo>
                  <a:pt x="65" y="72"/>
                  <a:pt x="65" y="72"/>
                  <a:pt x="65" y="72"/>
                </a:cubicBezTo>
                <a:cubicBezTo>
                  <a:pt x="65" y="73"/>
                  <a:pt x="65" y="73"/>
                  <a:pt x="65" y="73"/>
                </a:cubicBezTo>
                <a:cubicBezTo>
                  <a:pt x="65" y="73"/>
                  <a:pt x="65" y="74"/>
                  <a:pt x="65" y="74"/>
                </a:cubicBezTo>
                <a:cubicBezTo>
                  <a:pt x="65" y="74"/>
                  <a:pt x="65" y="74"/>
                  <a:pt x="65" y="74"/>
                </a:cubicBezTo>
                <a:cubicBezTo>
                  <a:pt x="65" y="75"/>
                  <a:pt x="65" y="75"/>
                  <a:pt x="65" y="75"/>
                </a:cubicBezTo>
                <a:cubicBezTo>
                  <a:pt x="65" y="75"/>
                  <a:pt x="65" y="75"/>
                  <a:pt x="65" y="76"/>
                </a:cubicBezTo>
                <a:cubicBezTo>
                  <a:pt x="65" y="76"/>
                  <a:pt x="65" y="76"/>
                  <a:pt x="65" y="76"/>
                </a:cubicBezTo>
                <a:cubicBezTo>
                  <a:pt x="66" y="76"/>
                  <a:pt x="66" y="76"/>
                  <a:pt x="66" y="77"/>
                </a:cubicBezTo>
                <a:cubicBezTo>
                  <a:pt x="66" y="77"/>
                  <a:pt x="66" y="77"/>
                  <a:pt x="66" y="77"/>
                </a:cubicBezTo>
                <a:cubicBezTo>
                  <a:pt x="66" y="77"/>
                  <a:pt x="66" y="77"/>
                  <a:pt x="66" y="77"/>
                </a:cubicBezTo>
                <a:cubicBezTo>
                  <a:pt x="66" y="77"/>
                  <a:pt x="66" y="78"/>
                  <a:pt x="66" y="78"/>
                </a:cubicBezTo>
                <a:cubicBezTo>
                  <a:pt x="66" y="78"/>
                  <a:pt x="66" y="78"/>
                  <a:pt x="66" y="78"/>
                </a:cubicBezTo>
                <a:cubicBezTo>
                  <a:pt x="66" y="78"/>
                  <a:pt x="66" y="78"/>
                  <a:pt x="66" y="78"/>
                </a:cubicBezTo>
                <a:cubicBezTo>
                  <a:pt x="66" y="79"/>
                  <a:pt x="66" y="79"/>
                  <a:pt x="66" y="79"/>
                </a:cubicBezTo>
                <a:cubicBezTo>
                  <a:pt x="66" y="79"/>
                  <a:pt x="66" y="79"/>
                  <a:pt x="66" y="79"/>
                </a:cubicBezTo>
                <a:cubicBezTo>
                  <a:pt x="66" y="79"/>
                  <a:pt x="66" y="79"/>
                  <a:pt x="66" y="80"/>
                </a:cubicBezTo>
                <a:cubicBezTo>
                  <a:pt x="66" y="80"/>
                  <a:pt x="66" y="80"/>
                  <a:pt x="66" y="80"/>
                </a:cubicBezTo>
                <a:cubicBezTo>
                  <a:pt x="66" y="80"/>
                  <a:pt x="66" y="80"/>
                  <a:pt x="66" y="80"/>
                </a:cubicBezTo>
                <a:cubicBezTo>
                  <a:pt x="67" y="87"/>
                  <a:pt x="67" y="87"/>
                  <a:pt x="67" y="87"/>
                </a:cubicBezTo>
                <a:cubicBezTo>
                  <a:pt x="71" y="81"/>
                  <a:pt x="71" y="81"/>
                  <a:pt x="71" y="81"/>
                </a:cubicBezTo>
                <a:cubicBezTo>
                  <a:pt x="83" y="60"/>
                  <a:pt x="99" y="56"/>
                  <a:pt x="108" y="55"/>
                </a:cubicBezTo>
                <a:cubicBezTo>
                  <a:pt x="111" y="55"/>
                  <a:pt x="113" y="55"/>
                  <a:pt x="115" y="55"/>
                </a:cubicBezTo>
                <a:cubicBezTo>
                  <a:pt x="115" y="79"/>
                  <a:pt x="115" y="79"/>
                  <a:pt x="115" y="79"/>
                </a:cubicBezTo>
                <a:cubicBezTo>
                  <a:pt x="115" y="79"/>
                  <a:pt x="115" y="79"/>
                  <a:pt x="115" y="79"/>
                </a:cubicBezTo>
                <a:lnTo>
                  <a:pt x="126" y="68"/>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1352">
            <a:extLst>
              <a:ext uri="{FF2B5EF4-FFF2-40B4-BE49-F238E27FC236}">
                <a16:creationId xmlns:a16="http://schemas.microsoft.com/office/drawing/2014/main" id="{F49D7096-556B-B145-B656-8C236D70D896}"/>
              </a:ext>
            </a:extLst>
          </p:cNvPr>
          <p:cNvSpPr>
            <a:spLocks noEditPoints="1"/>
          </p:cNvSpPr>
          <p:nvPr/>
        </p:nvSpPr>
        <p:spPr bwMode="auto">
          <a:xfrm>
            <a:off x="6220987" y="4700588"/>
            <a:ext cx="546100" cy="533400"/>
          </a:xfrm>
          <a:custGeom>
            <a:avLst/>
            <a:gdLst>
              <a:gd name="T0" fmla="*/ 28 w 160"/>
              <a:gd name="T1" fmla="*/ 40 h 155"/>
              <a:gd name="T2" fmla="*/ 28 w 160"/>
              <a:gd name="T3" fmla="*/ 35 h 155"/>
              <a:gd name="T4" fmla="*/ 35 w 160"/>
              <a:gd name="T5" fmla="*/ 28 h 155"/>
              <a:gd name="T6" fmla="*/ 136 w 160"/>
              <a:gd name="T7" fmla="*/ 24 h 155"/>
              <a:gd name="T8" fmla="*/ 133 w 160"/>
              <a:gd name="T9" fmla="*/ 21 h 155"/>
              <a:gd name="T10" fmla="*/ 123 w 160"/>
              <a:gd name="T11" fmla="*/ 27 h 155"/>
              <a:gd name="T12" fmla="*/ 139 w 160"/>
              <a:gd name="T13" fmla="*/ 29 h 155"/>
              <a:gd name="T14" fmla="*/ 136 w 160"/>
              <a:gd name="T15" fmla="*/ 32 h 155"/>
              <a:gd name="T16" fmla="*/ 131 w 160"/>
              <a:gd name="T17" fmla="*/ 32 h 155"/>
              <a:gd name="T18" fmla="*/ 128 w 160"/>
              <a:gd name="T19" fmla="*/ 29 h 155"/>
              <a:gd name="T20" fmla="*/ 112 w 160"/>
              <a:gd name="T21" fmla="*/ 27 h 155"/>
              <a:gd name="T22" fmla="*/ 117 w 160"/>
              <a:gd name="T23" fmla="*/ 29 h 155"/>
              <a:gd name="T24" fmla="*/ 115 w 160"/>
              <a:gd name="T25" fmla="*/ 32 h 155"/>
              <a:gd name="T26" fmla="*/ 104 w 160"/>
              <a:gd name="T27" fmla="*/ 24 h 155"/>
              <a:gd name="T28" fmla="*/ 101 w 160"/>
              <a:gd name="T29" fmla="*/ 21 h 155"/>
              <a:gd name="T30" fmla="*/ 107 w 160"/>
              <a:gd name="T31" fmla="*/ 35 h 155"/>
              <a:gd name="T32" fmla="*/ 91 w 160"/>
              <a:gd name="T33" fmla="*/ 21 h 155"/>
              <a:gd name="T34" fmla="*/ 88 w 160"/>
              <a:gd name="T35" fmla="*/ 24 h 155"/>
              <a:gd name="T36" fmla="*/ 99 w 160"/>
              <a:gd name="T37" fmla="*/ 32 h 155"/>
              <a:gd name="T38" fmla="*/ 96 w 160"/>
              <a:gd name="T39" fmla="*/ 29 h 155"/>
              <a:gd name="T40" fmla="*/ 148 w 160"/>
              <a:gd name="T41" fmla="*/ 0 h 155"/>
              <a:gd name="T42" fmla="*/ 0 w 160"/>
              <a:gd name="T43" fmla="*/ 44 h 155"/>
              <a:gd name="T44" fmla="*/ 0 w 160"/>
              <a:gd name="T45" fmla="*/ 94 h 155"/>
              <a:gd name="T46" fmla="*/ 77 w 160"/>
              <a:gd name="T47" fmla="*/ 128 h 155"/>
              <a:gd name="T48" fmla="*/ 0 w 160"/>
              <a:gd name="T49" fmla="*/ 141 h 155"/>
              <a:gd name="T50" fmla="*/ 80 w 160"/>
              <a:gd name="T51" fmla="*/ 155 h 155"/>
              <a:gd name="T52" fmla="*/ 160 w 160"/>
              <a:gd name="T53" fmla="*/ 141 h 155"/>
              <a:gd name="T54" fmla="*/ 83 w 160"/>
              <a:gd name="T55" fmla="*/ 128 h 155"/>
              <a:gd name="T56" fmla="*/ 160 w 160"/>
              <a:gd name="T57" fmla="*/ 94 h 155"/>
              <a:gd name="T58" fmla="*/ 160 w 160"/>
              <a:gd name="T59" fmla="*/ 44 h 155"/>
              <a:gd name="T60" fmla="*/ 72 w 160"/>
              <a:gd name="T61" fmla="*/ 141 h 155"/>
              <a:gd name="T62" fmla="*/ 155 w 160"/>
              <a:gd name="T63" fmla="*/ 63 h 155"/>
              <a:gd name="T64" fmla="*/ 12 w 160"/>
              <a:gd name="T65" fmla="*/ 101 h 155"/>
              <a:gd name="T66" fmla="*/ 12 w 160"/>
              <a:gd name="T67" fmla="*/ 56 h 155"/>
              <a:gd name="T68" fmla="*/ 12 w 160"/>
              <a:gd name="T69" fmla="*/ 51 h 155"/>
              <a:gd name="T70" fmla="*/ 12 w 160"/>
              <a:gd name="T71" fmla="*/ 5 h 155"/>
              <a:gd name="T72" fmla="*/ 155 w 160"/>
              <a:gd name="T73" fmla="*/ 44 h 155"/>
              <a:gd name="T74" fmla="*/ 28 w 160"/>
              <a:gd name="T75" fmla="*/ 91 h 155"/>
              <a:gd name="T76" fmla="*/ 16 w 160"/>
              <a:gd name="T77" fmla="*/ 79 h 155"/>
              <a:gd name="T78" fmla="*/ 35 w 160"/>
              <a:gd name="T79" fmla="*/ 79 h 155"/>
              <a:gd name="T80" fmla="*/ 28 w 160"/>
              <a:gd name="T81" fmla="*/ 72 h 155"/>
              <a:gd name="T82" fmla="*/ 133 w 160"/>
              <a:gd name="T83" fmla="*/ 77 h 155"/>
              <a:gd name="T84" fmla="*/ 123 w 160"/>
              <a:gd name="T85" fmla="*/ 72 h 155"/>
              <a:gd name="T86" fmla="*/ 120 w 160"/>
              <a:gd name="T87" fmla="*/ 75 h 155"/>
              <a:gd name="T88" fmla="*/ 141 w 160"/>
              <a:gd name="T89" fmla="*/ 83 h 155"/>
              <a:gd name="T90" fmla="*/ 139 w 160"/>
              <a:gd name="T91" fmla="*/ 80 h 155"/>
              <a:gd name="T92" fmla="*/ 128 w 160"/>
              <a:gd name="T93" fmla="*/ 85 h 155"/>
              <a:gd name="T94" fmla="*/ 112 w 160"/>
              <a:gd name="T95" fmla="*/ 72 h 155"/>
              <a:gd name="T96" fmla="*/ 109 w 160"/>
              <a:gd name="T97" fmla="*/ 75 h 155"/>
              <a:gd name="T98" fmla="*/ 120 w 160"/>
              <a:gd name="T99" fmla="*/ 83 h 155"/>
              <a:gd name="T100" fmla="*/ 117 w 160"/>
              <a:gd name="T101" fmla="*/ 80 h 155"/>
              <a:gd name="T102" fmla="*/ 101 w 160"/>
              <a:gd name="T103" fmla="*/ 77 h 155"/>
              <a:gd name="T104" fmla="*/ 107 w 160"/>
              <a:gd name="T105" fmla="*/ 80 h 155"/>
              <a:gd name="T106" fmla="*/ 104 w 160"/>
              <a:gd name="T107" fmla="*/ 83 h 155"/>
              <a:gd name="T108" fmla="*/ 93 w 160"/>
              <a:gd name="T109" fmla="*/ 75 h 155"/>
              <a:gd name="T110" fmla="*/ 91 w 160"/>
              <a:gd name="T111" fmla="*/ 72 h 155"/>
              <a:gd name="T112" fmla="*/ 96 w 160"/>
              <a:gd name="T113" fmla="*/ 8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5">
                <a:moveTo>
                  <a:pt x="28" y="16"/>
                </a:moveTo>
                <a:cubicBezTo>
                  <a:pt x="21" y="16"/>
                  <a:pt x="16" y="21"/>
                  <a:pt x="16" y="28"/>
                </a:cubicBezTo>
                <a:cubicBezTo>
                  <a:pt x="16" y="35"/>
                  <a:pt x="21" y="40"/>
                  <a:pt x="28" y="40"/>
                </a:cubicBezTo>
                <a:cubicBezTo>
                  <a:pt x="35" y="40"/>
                  <a:pt x="40" y="35"/>
                  <a:pt x="40" y="28"/>
                </a:cubicBezTo>
                <a:cubicBezTo>
                  <a:pt x="40" y="21"/>
                  <a:pt x="35" y="16"/>
                  <a:pt x="28" y="16"/>
                </a:cubicBezTo>
                <a:close/>
                <a:moveTo>
                  <a:pt x="28" y="35"/>
                </a:moveTo>
                <a:cubicBezTo>
                  <a:pt x="24" y="35"/>
                  <a:pt x="21" y="32"/>
                  <a:pt x="21" y="28"/>
                </a:cubicBezTo>
                <a:cubicBezTo>
                  <a:pt x="21" y="24"/>
                  <a:pt x="24" y="21"/>
                  <a:pt x="28" y="21"/>
                </a:cubicBezTo>
                <a:cubicBezTo>
                  <a:pt x="32" y="21"/>
                  <a:pt x="35" y="24"/>
                  <a:pt x="35" y="28"/>
                </a:cubicBezTo>
                <a:cubicBezTo>
                  <a:pt x="35" y="32"/>
                  <a:pt x="32" y="35"/>
                  <a:pt x="28" y="35"/>
                </a:cubicBezTo>
                <a:close/>
                <a:moveTo>
                  <a:pt x="133" y="21"/>
                </a:moveTo>
                <a:cubicBezTo>
                  <a:pt x="135" y="21"/>
                  <a:pt x="136" y="23"/>
                  <a:pt x="136" y="24"/>
                </a:cubicBezTo>
                <a:cubicBezTo>
                  <a:pt x="136" y="25"/>
                  <a:pt x="135" y="27"/>
                  <a:pt x="133" y="27"/>
                </a:cubicBezTo>
                <a:cubicBezTo>
                  <a:pt x="132" y="27"/>
                  <a:pt x="131" y="25"/>
                  <a:pt x="131" y="24"/>
                </a:cubicBezTo>
                <a:cubicBezTo>
                  <a:pt x="131" y="23"/>
                  <a:pt x="132" y="21"/>
                  <a:pt x="133" y="21"/>
                </a:cubicBezTo>
                <a:close/>
                <a:moveTo>
                  <a:pt x="123" y="21"/>
                </a:moveTo>
                <a:cubicBezTo>
                  <a:pt x="124" y="21"/>
                  <a:pt x="125" y="23"/>
                  <a:pt x="125" y="24"/>
                </a:cubicBezTo>
                <a:cubicBezTo>
                  <a:pt x="125" y="25"/>
                  <a:pt x="124" y="27"/>
                  <a:pt x="123" y="27"/>
                </a:cubicBezTo>
                <a:cubicBezTo>
                  <a:pt x="121" y="27"/>
                  <a:pt x="120" y="25"/>
                  <a:pt x="120" y="24"/>
                </a:cubicBezTo>
                <a:cubicBezTo>
                  <a:pt x="120" y="23"/>
                  <a:pt x="121" y="21"/>
                  <a:pt x="123" y="21"/>
                </a:cubicBezTo>
                <a:close/>
                <a:moveTo>
                  <a:pt x="139" y="29"/>
                </a:moveTo>
                <a:cubicBezTo>
                  <a:pt x="140" y="29"/>
                  <a:pt x="141" y="31"/>
                  <a:pt x="141" y="32"/>
                </a:cubicBezTo>
                <a:cubicBezTo>
                  <a:pt x="141" y="33"/>
                  <a:pt x="140" y="35"/>
                  <a:pt x="139" y="35"/>
                </a:cubicBezTo>
                <a:cubicBezTo>
                  <a:pt x="137" y="35"/>
                  <a:pt x="136" y="33"/>
                  <a:pt x="136" y="32"/>
                </a:cubicBezTo>
                <a:cubicBezTo>
                  <a:pt x="136" y="31"/>
                  <a:pt x="137" y="29"/>
                  <a:pt x="139" y="29"/>
                </a:cubicBezTo>
                <a:close/>
                <a:moveTo>
                  <a:pt x="128" y="29"/>
                </a:moveTo>
                <a:cubicBezTo>
                  <a:pt x="129" y="29"/>
                  <a:pt x="131" y="31"/>
                  <a:pt x="131" y="32"/>
                </a:cubicBezTo>
                <a:cubicBezTo>
                  <a:pt x="131" y="33"/>
                  <a:pt x="129" y="35"/>
                  <a:pt x="128" y="35"/>
                </a:cubicBezTo>
                <a:cubicBezTo>
                  <a:pt x="127" y="35"/>
                  <a:pt x="125" y="33"/>
                  <a:pt x="125" y="32"/>
                </a:cubicBezTo>
                <a:cubicBezTo>
                  <a:pt x="125" y="31"/>
                  <a:pt x="127" y="29"/>
                  <a:pt x="128" y="29"/>
                </a:cubicBezTo>
                <a:close/>
                <a:moveTo>
                  <a:pt x="112" y="21"/>
                </a:moveTo>
                <a:cubicBezTo>
                  <a:pt x="113" y="21"/>
                  <a:pt x="115" y="23"/>
                  <a:pt x="115" y="24"/>
                </a:cubicBezTo>
                <a:cubicBezTo>
                  <a:pt x="115" y="25"/>
                  <a:pt x="113" y="27"/>
                  <a:pt x="112" y="27"/>
                </a:cubicBezTo>
                <a:cubicBezTo>
                  <a:pt x="111" y="27"/>
                  <a:pt x="109" y="25"/>
                  <a:pt x="109" y="24"/>
                </a:cubicBezTo>
                <a:cubicBezTo>
                  <a:pt x="109" y="23"/>
                  <a:pt x="111" y="21"/>
                  <a:pt x="112" y="21"/>
                </a:cubicBezTo>
                <a:close/>
                <a:moveTo>
                  <a:pt x="117" y="29"/>
                </a:moveTo>
                <a:cubicBezTo>
                  <a:pt x="119" y="29"/>
                  <a:pt x="120" y="31"/>
                  <a:pt x="120" y="32"/>
                </a:cubicBezTo>
                <a:cubicBezTo>
                  <a:pt x="120" y="33"/>
                  <a:pt x="119" y="35"/>
                  <a:pt x="117" y="35"/>
                </a:cubicBezTo>
                <a:cubicBezTo>
                  <a:pt x="116" y="35"/>
                  <a:pt x="115" y="33"/>
                  <a:pt x="115" y="32"/>
                </a:cubicBezTo>
                <a:cubicBezTo>
                  <a:pt x="115" y="31"/>
                  <a:pt x="116" y="29"/>
                  <a:pt x="117" y="29"/>
                </a:cubicBezTo>
                <a:close/>
                <a:moveTo>
                  <a:pt x="101" y="21"/>
                </a:moveTo>
                <a:cubicBezTo>
                  <a:pt x="103" y="21"/>
                  <a:pt x="104" y="23"/>
                  <a:pt x="104" y="24"/>
                </a:cubicBezTo>
                <a:cubicBezTo>
                  <a:pt x="104" y="25"/>
                  <a:pt x="103" y="27"/>
                  <a:pt x="101" y="27"/>
                </a:cubicBezTo>
                <a:cubicBezTo>
                  <a:pt x="100" y="27"/>
                  <a:pt x="99" y="25"/>
                  <a:pt x="99" y="24"/>
                </a:cubicBezTo>
                <a:cubicBezTo>
                  <a:pt x="99" y="23"/>
                  <a:pt x="100" y="21"/>
                  <a:pt x="101" y="21"/>
                </a:cubicBezTo>
                <a:close/>
                <a:moveTo>
                  <a:pt x="107" y="29"/>
                </a:moveTo>
                <a:cubicBezTo>
                  <a:pt x="108" y="29"/>
                  <a:pt x="109" y="31"/>
                  <a:pt x="109" y="32"/>
                </a:cubicBezTo>
                <a:cubicBezTo>
                  <a:pt x="109" y="33"/>
                  <a:pt x="108" y="35"/>
                  <a:pt x="107" y="35"/>
                </a:cubicBezTo>
                <a:cubicBezTo>
                  <a:pt x="105" y="35"/>
                  <a:pt x="104" y="33"/>
                  <a:pt x="104" y="32"/>
                </a:cubicBezTo>
                <a:cubicBezTo>
                  <a:pt x="104" y="31"/>
                  <a:pt x="105" y="29"/>
                  <a:pt x="107" y="29"/>
                </a:cubicBezTo>
                <a:close/>
                <a:moveTo>
                  <a:pt x="91" y="21"/>
                </a:moveTo>
                <a:cubicBezTo>
                  <a:pt x="92" y="21"/>
                  <a:pt x="93" y="23"/>
                  <a:pt x="93" y="24"/>
                </a:cubicBezTo>
                <a:cubicBezTo>
                  <a:pt x="93" y="25"/>
                  <a:pt x="92" y="27"/>
                  <a:pt x="91" y="27"/>
                </a:cubicBezTo>
                <a:cubicBezTo>
                  <a:pt x="89" y="27"/>
                  <a:pt x="88" y="25"/>
                  <a:pt x="88" y="24"/>
                </a:cubicBezTo>
                <a:cubicBezTo>
                  <a:pt x="88" y="23"/>
                  <a:pt x="89" y="21"/>
                  <a:pt x="91" y="21"/>
                </a:cubicBezTo>
                <a:close/>
                <a:moveTo>
                  <a:pt x="96" y="29"/>
                </a:moveTo>
                <a:cubicBezTo>
                  <a:pt x="97" y="29"/>
                  <a:pt x="99" y="31"/>
                  <a:pt x="99" y="32"/>
                </a:cubicBezTo>
                <a:cubicBezTo>
                  <a:pt x="99" y="33"/>
                  <a:pt x="97" y="35"/>
                  <a:pt x="96" y="35"/>
                </a:cubicBezTo>
                <a:cubicBezTo>
                  <a:pt x="95" y="35"/>
                  <a:pt x="93" y="33"/>
                  <a:pt x="93" y="32"/>
                </a:cubicBezTo>
                <a:cubicBezTo>
                  <a:pt x="93" y="31"/>
                  <a:pt x="95" y="29"/>
                  <a:pt x="96" y="29"/>
                </a:cubicBezTo>
                <a:close/>
                <a:moveTo>
                  <a:pt x="160" y="44"/>
                </a:moveTo>
                <a:cubicBezTo>
                  <a:pt x="160" y="12"/>
                  <a:pt x="160" y="12"/>
                  <a:pt x="160" y="12"/>
                </a:cubicBezTo>
                <a:cubicBezTo>
                  <a:pt x="160" y="6"/>
                  <a:pt x="154" y="0"/>
                  <a:pt x="148" y="0"/>
                </a:cubicBezTo>
                <a:cubicBezTo>
                  <a:pt x="12" y="0"/>
                  <a:pt x="12" y="0"/>
                  <a:pt x="12" y="0"/>
                </a:cubicBezTo>
                <a:cubicBezTo>
                  <a:pt x="6" y="0"/>
                  <a:pt x="0" y="6"/>
                  <a:pt x="0" y="12"/>
                </a:cubicBezTo>
                <a:cubicBezTo>
                  <a:pt x="0" y="44"/>
                  <a:pt x="0" y="44"/>
                  <a:pt x="0" y="44"/>
                </a:cubicBezTo>
                <a:cubicBezTo>
                  <a:pt x="0" y="48"/>
                  <a:pt x="2" y="51"/>
                  <a:pt x="5" y="53"/>
                </a:cubicBezTo>
                <a:cubicBezTo>
                  <a:pt x="2" y="56"/>
                  <a:pt x="0" y="59"/>
                  <a:pt x="0" y="63"/>
                </a:cubicBezTo>
                <a:cubicBezTo>
                  <a:pt x="0" y="94"/>
                  <a:pt x="0" y="94"/>
                  <a:pt x="0" y="94"/>
                </a:cubicBezTo>
                <a:cubicBezTo>
                  <a:pt x="0" y="101"/>
                  <a:pt x="6" y="107"/>
                  <a:pt x="12" y="107"/>
                </a:cubicBezTo>
                <a:cubicBezTo>
                  <a:pt x="77" y="107"/>
                  <a:pt x="77" y="107"/>
                  <a:pt x="77" y="107"/>
                </a:cubicBezTo>
                <a:cubicBezTo>
                  <a:pt x="77" y="128"/>
                  <a:pt x="77" y="128"/>
                  <a:pt x="77" y="128"/>
                </a:cubicBezTo>
                <a:cubicBezTo>
                  <a:pt x="72" y="129"/>
                  <a:pt x="68" y="133"/>
                  <a:pt x="67" y="139"/>
                </a:cubicBezTo>
                <a:cubicBezTo>
                  <a:pt x="3" y="139"/>
                  <a:pt x="3" y="139"/>
                  <a:pt x="3" y="139"/>
                </a:cubicBezTo>
                <a:cubicBezTo>
                  <a:pt x="1" y="139"/>
                  <a:pt x="0" y="140"/>
                  <a:pt x="0" y="141"/>
                </a:cubicBezTo>
                <a:cubicBezTo>
                  <a:pt x="0" y="143"/>
                  <a:pt x="1" y="144"/>
                  <a:pt x="3" y="144"/>
                </a:cubicBezTo>
                <a:cubicBezTo>
                  <a:pt x="67" y="144"/>
                  <a:pt x="67" y="144"/>
                  <a:pt x="67" y="144"/>
                </a:cubicBezTo>
                <a:cubicBezTo>
                  <a:pt x="68" y="150"/>
                  <a:pt x="74" y="155"/>
                  <a:pt x="80" y="155"/>
                </a:cubicBezTo>
                <a:cubicBezTo>
                  <a:pt x="86" y="155"/>
                  <a:pt x="92" y="150"/>
                  <a:pt x="93" y="144"/>
                </a:cubicBezTo>
                <a:cubicBezTo>
                  <a:pt x="157" y="144"/>
                  <a:pt x="157" y="144"/>
                  <a:pt x="157" y="144"/>
                </a:cubicBezTo>
                <a:cubicBezTo>
                  <a:pt x="159" y="144"/>
                  <a:pt x="160" y="143"/>
                  <a:pt x="160" y="141"/>
                </a:cubicBezTo>
                <a:cubicBezTo>
                  <a:pt x="160" y="140"/>
                  <a:pt x="159" y="139"/>
                  <a:pt x="157" y="139"/>
                </a:cubicBezTo>
                <a:cubicBezTo>
                  <a:pt x="93" y="139"/>
                  <a:pt x="93" y="139"/>
                  <a:pt x="93" y="139"/>
                </a:cubicBezTo>
                <a:cubicBezTo>
                  <a:pt x="92" y="133"/>
                  <a:pt x="88" y="129"/>
                  <a:pt x="83" y="128"/>
                </a:cubicBezTo>
                <a:cubicBezTo>
                  <a:pt x="83" y="107"/>
                  <a:pt x="83" y="107"/>
                  <a:pt x="83" y="107"/>
                </a:cubicBezTo>
                <a:cubicBezTo>
                  <a:pt x="148" y="107"/>
                  <a:pt x="148" y="107"/>
                  <a:pt x="148" y="107"/>
                </a:cubicBezTo>
                <a:cubicBezTo>
                  <a:pt x="154" y="107"/>
                  <a:pt x="160" y="101"/>
                  <a:pt x="160" y="94"/>
                </a:cubicBezTo>
                <a:cubicBezTo>
                  <a:pt x="160" y="63"/>
                  <a:pt x="160" y="63"/>
                  <a:pt x="160" y="63"/>
                </a:cubicBezTo>
                <a:cubicBezTo>
                  <a:pt x="160" y="59"/>
                  <a:pt x="158" y="56"/>
                  <a:pt x="155" y="53"/>
                </a:cubicBezTo>
                <a:cubicBezTo>
                  <a:pt x="158" y="51"/>
                  <a:pt x="160" y="48"/>
                  <a:pt x="160" y="44"/>
                </a:cubicBezTo>
                <a:close/>
                <a:moveTo>
                  <a:pt x="88" y="141"/>
                </a:moveTo>
                <a:cubicBezTo>
                  <a:pt x="88" y="146"/>
                  <a:pt x="84" y="149"/>
                  <a:pt x="80" y="149"/>
                </a:cubicBezTo>
                <a:cubicBezTo>
                  <a:pt x="76" y="149"/>
                  <a:pt x="72" y="146"/>
                  <a:pt x="72" y="141"/>
                </a:cubicBezTo>
                <a:cubicBezTo>
                  <a:pt x="72" y="137"/>
                  <a:pt x="76" y="133"/>
                  <a:pt x="80" y="133"/>
                </a:cubicBezTo>
                <a:cubicBezTo>
                  <a:pt x="84" y="133"/>
                  <a:pt x="88" y="137"/>
                  <a:pt x="88" y="141"/>
                </a:cubicBezTo>
                <a:close/>
                <a:moveTo>
                  <a:pt x="155" y="63"/>
                </a:moveTo>
                <a:cubicBezTo>
                  <a:pt x="155" y="94"/>
                  <a:pt x="155" y="94"/>
                  <a:pt x="155" y="94"/>
                </a:cubicBezTo>
                <a:cubicBezTo>
                  <a:pt x="155" y="98"/>
                  <a:pt x="152" y="101"/>
                  <a:pt x="148" y="101"/>
                </a:cubicBezTo>
                <a:cubicBezTo>
                  <a:pt x="12" y="101"/>
                  <a:pt x="12" y="101"/>
                  <a:pt x="12" y="101"/>
                </a:cubicBezTo>
                <a:cubicBezTo>
                  <a:pt x="8" y="101"/>
                  <a:pt x="5" y="98"/>
                  <a:pt x="5" y="94"/>
                </a:cubicBezTo>
                <a:cubicBezTo>
                  <a:pt x="5" y="63"/>
                  <a:pt x="5" y="63"/>
                  <a:pt x="5" y="63"/>
                </a:cubicBezTo>
                <a:cubicBezTo>
                  <a:pt x="5" y="59"/>
                  <a:pt x="8" y="56"/>
                  <a:pt x="12" y="56"/>
                </a:cubicBezTo>
                <a:cubicBezTo>
                  <a:pt x="148" y="56"/>
                  <a:pt x="148" y="56"/>
                  <a:pt x="148" y="56"/>
                </a:cubicBezTo>
                <a:cubicBezTo>
                  <a:pt x="152" y="56"/>
                  <a:pt x="155" y="59"/>
                  <a:pt x="155" y="63"/>
                </a:cubicBezTo>
                <a:close/>
                <a:moveTo>
                  <a:pt x="12" y="51"/>
                </a:moveTo>
                <a:cubicBezTo>
                  <a:pt x="8" y="51"/>
                  <a:pt x="5" y="48"/>
                  <a:pt x="5" y="44"/>
                </a:cubicBezTo>
                <a:cubicBezTo>
                  <a:pt x="5" y="12"/>
                  <a:pt x="5" y="12"/>
                  <a:pt x="5" y="12"/>
                </a:cubicBezTo>
                <a:cubicBezTo>
                  <a:pt x="5" y="8"/>
                  <a:pt x="8" y="5"/>
                  <a:pt x="12" y="5"/>
                </a:cubicBezTo>
                <a:cubicBezTo>
                  <a:pt x="148" y="5"/>
                  <a:pt x="148" y="5"/>
                  <a:pt x="148" y="5"/>
                </a:cubicBezTo>
                <a:cubicBezTo>
                  <a:pt x="152" y="5"/>
                  <a:pt x="155" y="8"/>
                  <a:pt x="155" y="12"/>
                </a:cubicBezTo>
                <a:cubicBezTo>
                  <a:pt x="155" y="44"/>
                  <a:pt x="155" y="44"/>
                  <a:pt x="155" y="44"/>
                </a:cubicBezTo>
                <a:cubicBezTo>
                  <a:pt x="155" y="48"/>
                  <a:pt x="152" y="51"/>
                  <a:pt x="148" y="51"/>
                </a:cubicBezTo>
                <a:lnTo>
                  <a:pt x="12" y="51"/>
                </a:lnTo>
                <a:close/>
                <a:moveTo>
                  <a:pt x="28" y="91"/>
                </a:moveTo>
                <a:cubicBezTo>
                  <a:pt x="35" y="91"/>
                  <a:pt x="40" y="85"/>
                  <a:pt x="40" y="79"/>
                </a:cubicBezTo>
                <a:cubicBezTo>
                  <a:pt x="40" y="72"/>
                  <a:pt x="35" y="67"/>
                  <a:pt x="28" y="67"/>
                </a:cubicBezTo>
                <a:cubicBezTo>
                  <a:pt x="21" y="67"/>
                  <a:pt x="16" y="72"/>
                  <a:pt x="16" y="79"/>
                </a:cubicBezTo>
                <a:cubicBezTo>
                  <a:pt x="16" y="85"/>
                  <a:pt x="21" y="91"/>
                  <a:pt x="28" y="91"/>
                </a:cubicBezTo>
                <a:close/>
                <a:moveTo>
                  <a:pt x="28" y="72"/>
                </a:moveTo>
                <a:cubicBezTo>
                  <a:pt x="32" y="72"/>
                  <a:pt x="35" y="75"/>
                  <a:pt x="35" y="79"/>
                </a:cubicBezTo>
                <a:cubicBezTo>
                  <a:pt x="35" y="82"/>
                  <a:pt x="32" y="85"/>
                  <a:pt x="28" y="85"/>
                </a:cubicBezTo>
                <a:cubicBezTo>
                  <a:pt x="24" y="85"/>
                  <a:pt x="21" y="82"/>
                  <a:pt x="21" y="79"/>
                </a:cubicBezTo>
                <a:cubicBezTo>
                  <a:pt x="21" y="75"/>
                  <a:pt x="24" y="72"/>
                  <a:pt x="28" y="72"/>
                </a:cubicBezTo>
                <a:close/>
                <a:moveTo>
                  <a:pt x="133" y="72"/>
                </a:moveTo>
                <a:cubicBezTo>
                  <a:pt x="135" y="72"/>
                  <a:pt x="136" y="73"/>
                  <a:pt x="136" y="75"/>
                </a:cubicBezTo>
                <a:cubicBezTo>
                  <a:pt x="136" y="76"/>
                  <a:pt x="135" y="77"/>
                  <a:pt x="133" y="77"/>
                </a:cubicBezTo>
                <a:cubicBezTo>
                  <a:pt x="132" y="77"/>
                  <a:pt x="131" y="76"/>
                  <a:pt x="131" y="75"/>
                </a:cubicBezTo>
                <a:cubicBezTo>
                  <a:pt x="131" y="73"/>
                  <a:pt x="132" y="72"/>
                  <a:pt x="133" y="72"/>
                </a:cubicBezTo>
                <a:close/>
                <a:moveTo>
                  <a:pt x="123" y="72"/>
                </a:moveTo>
                <a:cubicBezTo>
                  <a:pt x="124" y="72"/>
                  <a:pt x="125" y="73"/>
                  <a:pt x="125" y="75"/>
                </a:cubicBezTo>
                <a:cubicBezTo>
                  <a:pt x="125" y="76"/>
                  <a:pt x="124" y="77"/>
                  <a:pt x="123" y="77"/>
                </a:cubicBezTo>
                <a:cubicBezTo>
                  <a:pt x="121" y="77"/>
                  <a:pt x="120" y="76"/>
                  <a:pt x="120" y="75"/>
                </a:cubicBezTo>
                <a:cubicBezTo>
                  <a:pt x="120" y="73"/>
                  <a:pt x="121" y="72"/>
                  <a:pt x="123" y="72"/>
                </a:cubicBezTo>
                <a:close/>
                <a:moveTo>
                  <a:pt x="139" y="80"/>
                </a:moveTo>
                <a:cubicBezTo>
                  <a:pt x="140" y="80"/>
                  <a:pt x="141" y="81"/>
                  <a:pt x="141" y="83"/>
                </a:cubicBezTo>
                <a:cubicBezTo>
                  <a:pt x="141" y="84"/>
                  <a:pt x="140" y="85"/>
                  <a:pt x="139" y="85"/>
                </a:cubicBezTo>
                <a:cubicBezTo>
                  <a:pt x="137" y="85"/>
                  <a:pt x="136" y="84"/>
                  <a:pt x="136" y="83"/>
                </a:cubicBezTo>
                <a:cubicBezTo>
                  <a:pt x="136" y="81"/>
                  <a:pt x="137" y="80"/>
                  <a:pt x="139" y="80"/>
                </a:cubicBezTo>
                <a:close/>
                <a:moveTo>
                  <a:pt x="128" y="80"/>
                </a:moveTo>
                <a:cubicBezTo>
                  <a:pt x="129" y="80"/>
                  <a:pt x="131" y="81"/>
                  <a:pt x="131" y="83"/>
                </a:cubicBezTo>
                <a:cubicBezTo>
                  <a:pt x="131" y="84"/>
                  <a:pt x="129" y="85"/>
                  <a:pt x="128" y="85"/>
                </a:cubicBezTo>
                <a:cubicBezTo>
                  <a:pt x="127" y="85"/>
                  <a:pt x="125" y="84"/>
                  <a:pt x="125" y="83"/>
                </a:cubicBezTo>
                <a:cubicBezTo>
                  <a:pt x="125" y="81"/>
                  <a:pt x="127" y="80"/>
                  <a:pt x="128" y="80"/>
                </a:cubicBezTo>
                <a:close/>
                <a:moveTo>
                  <a:pt x="112" y="72"/>
                </a:moveTo>
                <a:cubicBezTo>
                  <a:pt x="113" y="72"/>
                  <a:pt x="115" y="73"/>
                  <a:pt x="115" y="75"/>
                </a:cubicBezTo>
                <a:cubicBezTo>
                  <a:pt x="115" y="76"/>
                  <a:pt x="113" y="77"/>
                  <a:pt x="112" y="77"/>
                </a:cubicBezTo>
                <a:cubicBezTo>
                  <a:pt x="111" y="77"/>
                  <a:pt x="109" y="76"/>
                  <a:pt x="109" y="75"/>
                </a:cubicBezTo>
                <a:cubicBezTo>
                  <a:pt x="109" y="73"/>
                  <a:pt x="111" y="72"/>
                  <a:pt x="112" y="72"/>
                </a:cubicBezTo>
                <a:close/>
                <a:moveTo>
                  <a:pt x="117" y="80"/>
                </a:moveTo>
                <a:cubicBezTo>
                  <a:pt x="119" y="80"/>
                  <a:pt x="120" y="81"/>
                  <a:pt x="120" y="83"/>
                </a:cubicBezTo>
                <a:cubicBezTo>
                  <a:pt x="120" y="84"/>
                  <a:pt x="119" y="85"/>
                  <a:pt x="117" y="85"/>
                </a:cubicBezTo>
                <a:cubicBezTo>
                  <a:pt x="116" y="85"/>
                  <a:pt x="115" y="84"/>
                  <a:pt x="115" y="83"/>
                </a:cubicBezTo>
                <a:cubicBezTo>
                  <a:pt x="115" y="81"/>
                  <a:pt x="116" y="80"/>
                  <a:pt x="117" y="80"/>
                </a:cubicBezTo>
                <a:close/>
                <a:moveTo>
                  <a:pt x="101" y="72"/>
                </a:moveTo>
                <a:cubicBezTo>
                  <a:pt x="103" y="72"/>
                  <a:pt x="104" y="73"/>
                  <a:pt x="104" y="75"/>
                </a:cubicBezTo>
                <a:cubicBezTo>
                  <a:pt x="104" y="76"/>
                  <a:pt x="103" y="77"/>
                  <a:pt x="101" y="77"/>
                </a:cubicBezTo>
                <a:cubicBezTo>
                  <a:pt x="100" y="77"/>
                  <a:pt x="99" y="76"/>
                  <a:pt x="99" y="75"/>
                </a:cubicBezTo>
                <a:cubicBezTo>
                  <a:pt x="99" y="73"/>
                  <a:pt x="100" y="72"/>
                  <a:pt x="101" y="72"/>
                </a:cubicBezTo>
                <a:close/>
                <a:moveTo>
                  <a:pt x="107" y="80"/>
                </a:moveTo>
                <a:cubicBezTo>
                  <a:pt x="108" y="80"/>
                  <a:pt x="109" y="81"/>
                  <a:pt x="109" y="83"/>
                </a:cubicBezTo>
                <a:cubicBezTo>
                  <a:pt x="109" y="84"/>
                  <a:pt x="108" y="85"/>
                  <a:pt x="107" y="85"/>
                </a:cubicBezTo>
                <a:cubicBezTo>
                  <a:pt x="105" y="85"/>
                  <a:pt x="104" y="84"/>
                  <a:pt x="104" y="83"/>
                </a:cubicBezTo>
                <a:cubicBezTo>
                  <a:pt x="104" y="81"/>
                  <a:pt x="105" y="80"/>
                  <a:pt x="107" y="80"/>
                </a:cubicBezTo>
                <a:close/>
                <a:moveTo>
                  <a:pt x="91" y="72"/>
                </a:moveTo>
                <a:cubicBezTo>
                  <a:pt x="92" y="72"/>
                  <a:pt x="93" y="73"/>
                  <a:pt x="93" y="75"/>
                </a:cubicBezTo>
                <a:cubicBezTo>
                  <a:pt x="93" y="76"/>
                  <a:pt x="92" y="77"/>
                  <a:pt x="91" y="77"/>
                </a:cubicBezTo>
                <a:cubicBezTo>
                  <a:pt x="89" y="77"/>
                  <a:pt x="88" y="76"/>
                  <a:pt x="88" y="75"/>
                </a:cubicBezTo>
                <a:cubicBezTo>
                  <a:pt x="88" y="73"/>
                  <a:pt x="89" y="72"/>
                  <a:pt x="91" y="72"/>
                </a:cubicBezTo>
                <a:close/>
                <a:moveTo>
                  <a:pt x="96" y="80"/>
                </a:moveTo>
                <a:cubicBezTo>
                  <a:pt x="97" y="80"/>
                  <a:pt x="99" y="81"/>
                  <a:pt x="99" y="83"/>
                </a:cubicBezTo>
                <a:cubicBezTo>
                  <a:pt x="99" y="84"/>
                  <a:pt x="97" y="85"/>
                  <a:pt x="96" y="85"/>
                </a:cubicBezTo>
                <a:cubicBezTo>
                  <a:pt x="95" y="85"/>
                  <a:pt x="93" y="84"/>
                  <a:pt x="93" y="83"/>
                </a:cubicBezTo>
                <a:cubicBezTo>
                  <a:pt x="93" y="81"/>
                  <a:pt x="95" y="80"/>
                  <a:pt x="96" y="80"/>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1353">
            <a:extLst>
              <a:ext uri="{FF2B5EF4-FFF2-40B4-BE49-F238E27FC236}">
                <a16:creationId xmlns:a16="http://schemas.microsoft.com/office/drawing/2014/main" id="{59EF76C9-750E-344E-BFDD-E057C3DE6024}"/>
              </a:ext>
            </a:extLst>
          </p:cNvPr>
          <p:cNvSpPr>
            <a:spLocks noEditPoints="1"/>
          </p:cNvSpPr>
          <p:nvPr/>
        </p:nvSpPr>
        <p:spPr bwMode="auto">
          <a:xfrm>
            <a:off x="6220987" y="5319713"/>
            <a:ext cx="546100" cy="533400"/>
          </a:xfrm>
          <a:custGeom>
            <a:avLst/>
            <a:gdLst>
              <a:gd name="T0" fmla="*/ 28 w 160"/>
              <a:gd name="T1" fmla="*/ 21 h 155"/>
              <a:gd name="T2" fmla="*/ 123 w 160"/>
              <a:gd name="T3" fmla="*/ 21 h 155"/>
              <a:gd name="T4" fmla="*/ 128 w 160"/>
              <a:gd name="T5" fmla="*/ 29 h 155"/>
              <a:gd name="T6" fmla="*/ 117 w 160"/>
              <a:gd name="T7" fmla="*/ 29 h 155"/>
              <a:gd name="T8" fmla="*/ 107 w 160"/>
              <a:gd name="T9" fmla="*/ 29 h 155"/>
              <a:gd name="T10" fmla="*/ 96 w 160"/>
              <a:gd name="T11" fmla="*/ 29 h 155"/>
              <a:gd name="T12" fmla="*/ 26 w 160"/>
              <a:gd name="T13" fmla="*/ 0 h 155"/>
              <a:gd name="T14" fmla="*/ 34 w 160"/>
              <a:gd name="T15" fmla="*/ 56 h 155"/>
              <a:gd name="T16" fmla="*/ 37 w 160"/>
              <a:gd name="T17" fmla="*/ 5 h 155"/>
              <a:gd name="T18" fmla="*/ 108 w 160"/>
              <a:gd name="T19" fmla="*/ 3 h 155"/>
              <a:gd name="T20" fmla="*/ 105 w 160"/>
              <a:gd name="T21" fmla="*/ 3 h 155"/>
              <a:gd name="T22" fmla="*/ 130 w 160"/>
              <a:gd name="T23" fmla="*/ 3 h 155"/>
              <a:gd name="T24" fmla="*/ 92 w 160"/>
              <a:gd name="T25" fmla="*/ 0 h 155"/>
              <a:gd name="T26" fmla="*/ 67 w 160"/>
              <a:gd name="T27" fmla="*/ 5 h 155"/>
              <a:gd name="T28" fmla="*/ 122 w 160"/>
              <a:gd name="T29" fmla="*/ 0 h 155"/>
              <a:gd name="T30" fmla="*/ 15 w 160"/>
              <a:gd name="T31" fmla="*/ 5 h 155"/>
              <a:gd name="T32" fmla="*/ 153 w 160"/>
              <a:gd name="T33" fmla="*/ 48 h 155"/>
              <a:gd name="T34" fmla="*/ 3 w 160"/>
              <a:gd name="T35" fmla="*/ 25 h 155"/>
              <a:gd name="T36" fmla="*/ 53 w 160"/>
              <a:gd name="T37" fmla="*/ 53 h 155"/>
              <a:gd name="T38" fmla="*/ 148 w 160"/>
              <a:gd name="T39" fmla="*/ 55 h 155"/>
              <a:gd name="T40" fmla="*/ 0 w 160"/>
              <a:gd name="T41" fmla="*/ 41 h 155"/>
              <a:gd name="T42" fmla="*/ 155 w 160"/>
              <a:gd name="T43" fmla="*/ 29 h 155"/>
              <a:gd name="T44" fmla="*/ 154 w 160"/>
              <a:gd name="T45" fmla="*/ 8 h 155"/>
              <a:gd name="T46" fmla="*/ 3 w 160"/>
              <a:gd name="T47" fmla="*/ 4 h 155"/>
              <a:gd name="T48" fmla="*/ 6 w 160"/>
              <a:gd name="T49" fmla="*/ 54 h 155"/>
              <a:gd name="T50" fmla="*/ 157 w 160"/>
              <a:gd name="T51" fmla="*/ 12 h 155"/>
              <a:gd name="T52" fmla="*/ 35 w 160"/>
              <a:gd name="T53" fmla="*/ 79 h 155"/>
              <a:gd name="T54" fmla="*/ 120 w 160"/>
              <a:gd name="T55" fmla="*/ 75 h 155"/>
              <a:gd name="T56" fmla="*/ 125 w 160"/>
              <a:gd name="T57" fmla="*/ 83 h 155"/>
              <a:gd name="T58" fmla="*/ 115 w 160"/>
              <a:gd name="T59" fmla="*/ 83 h 155"/>
              <a:gd name="T60" fmla="*/ 104 w 160"/>
              <a:gd name="T61" fmla="*/ 83 h 155"/>
              <a:gd name="T62" fmla="*/ 93 w 160"/>
              <a:gd name="T63" fmla="*/ 83 h 155"/>
              <a:gd name="T64" fmla="*/ 112 w 160"/>
              <a:gd name="T65" fmla="*/ 101 h 155"/>
              <a:gd name="T66" fmla="*/ 124 w 160"/>
              <a:gd name="T67" fmla="*/ 51 h 155"/>
              <a:gd name="T68" fmla="*/ 158 w 160"/>
              <a:gd name="T69" fmla="*/ 56 h 155"/>
              <a:gd name="T70" fmla="*/ 139 w 160"/>
              <a:gd name="T71" fmla="*/ 53 h 155"/>
              <a:gd name="T72" fmla="*/ 107 w 160"/>
              <a:gd name="T73" fmla="*/ 53 h 155"/>
              <a:gd name="T74" fmla="*/ 139 w 160"/>
              <a:gd name="T75" fmla="*/ 104 h 155"/>
              <a:gd name="T76" fmla="*/ 148 w 160"/>
              <a:gd name="T77" fmla="*/ 101 h 155"/>
              <a:gd name="T78" fmla="*/ 153 w 160"/>
              <a:gd name="T79" fmla="*/ 99 h 155"/>
              <a:gd name="T80" fmla="*/ 112 w 160"/>
              <a:gd name="T81" fmla="*/ 56 h 155"/>
              <a:gd name="T82" fmla="*/ 0 w 160"/>
              <a:gd name="T83" fmla="*/ 67 h 155"/>
              <a:gd name="T84" fmla="*/ 5 w 160"/>
              <a:gd name="T85" fmla="*/ 92 h 155"/>
              <a:gd name="T86" fmla="*/ 6 w 160"/>
              <a:gd name="T87" fmla="*/ 60 h 155"/>
              <a:gd name="T88" fmla="*/ 8 w 160"/>
              <a:gd name="T89" fmla="*/ 103 h 155"/>
              <a:gd name="T90" fmla="*/ 93 w 160"/>
              <a:gd name="T91" fmla="*/ 51 h 155"/>
              <a:gd name="T92" fmla="*/ 155 w 160"/>
              <a:gd name="T93" fmla="*/ 79 h 155"/>
              <a:gd name="T94" fmla="*/ 160 w 160"/>
              <a:gd name="T95" fmla="*/ 66 h 155"/>
              <a:gd name="T96" fmla="*/ 14 w 160"/>
              <a:gd name="T97" fmla="*/ 51 h 155"/>
              <a:gd name="T98" fmla="*/ 0 w 160"/>
              <a:gd name="T99" fmla="*/ 78 h 155"/>
              <a:gd name="T100" fmla="*/ 38 w 160"/>
              <a:gd name="T101" fmla="*/ 107 h 155"/>
              <a:gd name="T102" fmla="*/ 48 w 160"/>
              <a:gd name="T103" fmla="*/ 56 h 155"/>
              <a:gd name="T104" fmla="*/ 71 w 160"/>
              <a:gd name="T105" fmla="*/ 56 h 155"/>
              <a:gd name="T106" fmla="*/ 85 w 160"/>
              <a:gd name="T107" fmla="*/ 53 h 155"/>
              <a:gd name="T108" fmla="*/ 90 w 160"/>
              <a:gd name="T109" fmla="*/ 107 h 155"/>
              <a:gd name="T110" fmla="*/ 23 w 160"/>
              <a:gd name="T111" fmla="*/ 56 h 155"/>
              <a:gd name="T112" fmla="*/ 23 w 160"/>
              <a:gd name="T113" fmla="*/ 56 h 155"/>
              <a:gd name="T114" fmla="*/ 16 w 160"/>
              <a:gd name="T115" fmla="*/ 107 h 155"/>
              <a:gd name="T116" fmla="*/ 25 w 160"/>
              <a:gd name="T117" fmla="*/ 101 h 155"/>
              <a:gd name="T118" fmla="*/ 157 w 160"/>
              <a:gd name="T119" fmla="*/ 144 h 155"/>
              <a:gd name="T120" fmla="*/ 82 w 160"/>
              <a:gd name="T121" fmla="*/ 101 h 155"/>
              <a:gd name="T122" fmla="*/ 85 w 160"/>
              <a:gd name="T123" fmla="*/ 12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 h="155">
                <a:moveTo>
                  <a:pt x="28" y="40"/>
                </a:moveTo>
                <a:cubicBezTo>
                  <a:pt x="35" y="40"/>
                  <a:pt x="40" y="35"/>
                  <a:pt x="40" y="28"/>
                </a:cubicBezTo>
                <a:cubicBezTo>
                  <a:pt x="40" y="21"/>
                  <a:pt x="35" y="16"/>
                  <a:pt x="28" y="16"/>
                </a:cubicBezTo>
                <a:cubicBezTo>
                  <a:pt x="21" y="16"/>
                  <a:pt x="16" y="21"/>
                  <a:pt x="16" y="28"/>
                </a:cubicBezTo>
                <a:cubicBezTo>
                  <a:pt x="16" y="35"/>
                  <a:pt x="21" y="40"/>
                  <a:pt x="28" y="40"/>
                </a:cubicBezTo>
                <a:close/>
                <a:moveTo>
                  <a:pt x="28" y="21"/>
                </a:moveTo>
                <a:cubicBezTo>
                  <a:pt x="32" y="21"/>
                  <a:pt x="35" y="24"/>
                  <a:pt x="35" y="28"/>
                </a:cubicBezTo>
                <a:cubicBezTo>
                  <a:pt x="35" y="32"/>
                  <a:pt x="32" y="35"/>
                  <a:pt x="28" y="35"/>
                </a:cubicBezTo>
                <a:cubicBezTo>
                  <a:pt x="24" y="35"/>
                  <a:pt x="21" y="32"/>
                  <a:pt x="21" y="28"/>
                </a:cubicBezTo>
                <a:cubicBezTo>
                  <a:pt x="21" y="24"/>
                  <a:pt x="24" y="21"/>
                  <a:pt x="28" y="21"/>
                </a:cubicBezTo>
                <a:close/>
                <a:moveTo>
                  <a:pt x="133" y="21"/>
                </a:moveTo>
                <a:cubicBezTo>
                  <a:pt x="135" y="21"/>
                  <a:pt x="136" y="23"/>
                  <a:pt x="136" y="24"/>
                </a:cubicBezTo>
                <a:cubicBezTo>
                  <a:pt x="136" y="25"/>
                  <a:pt x="135" y="27"/>
                  <a:pt x="133" y="27"/>
                </a:cubicBezTo>
                <a:cubicBezTo>
                  <a:pt x="132" y="27"/>
                  <a:pt x="131" y="25"/>
                  <a:pt x="131" y="24"/>
                </a:cubicBezTo>
                <a:cubicBezTo>
                  <a:pt x="131" y="23"/>
                  <a:pt x="132" y="21"/>
                  <a:pt x="133" y="21"/>
                </a:cubicBezTo>
                <a:close/>
                <a:moveTo>
                  <a:pt x="123" y="21"/>
                </a:moveTo>
                <a:cubicBezTo>
                  <a:pt x="124" y="21"/>
                  <a:pt x="125" y="23"/>
                  <a:pt x="125" y="24"/>
                </a:cubicBezTo>
                <a:cubicBezTo>
                  <a:pt x="125" y="25"/>
                  <a:pt x="124" y="27"/>
                  <a:pt x="123" y="27"/>
                </a:cubicBezTo>
                <a:cubicBezTo>
                  <a:pt x="121" y="27"/>
                  <a:pt x="120" y="25"/>
                  <a:pt x="120" y="24"/>
                </a:cubicBezTo>
                <a:cubicBezTo>
                  <a:pt x="120" y="23"/>
                  <a:pt x="121" y="21"/>
                  <a:pt x="123" y="21"/>
                </a:cubicBezTo>
                <a:close/>
                <a:moveTo>
                  <a:pt x="139" y="29"/>
                </a:moveTo>
                <a:cubicBezTo>
                  <a:pt x="140" y="29"/>
                  <a:pt x="141" y="31"/>
                  <a:pt x="141" y="32"/>
                </a:cubicBezTo>
                <a:cubicBezTo>
                  <a:pt x="141" y="33"/>
                  <a:pt x="140" y="35"/>
                  <a:pt x="139" y="35"/>
                </a:cubicBezTo>
                <a:cubicBezTo>
                  <a:pt x="137" y="35"/>
                  <a:pt x="136" y="33"/>
                  <a:pt x="136" y="32"/>
                </a:cubicBezTo>
                <a:cubicBezTo>
                  <a:pt x="136" y="31"/>
                  <a:pt x="137" y="29"/>
                  <a:pt x="139" y="29"/>
                </a:cubicBezTo>
                <a:close/>
                <a:moveTo>
                  <a:pt x="128" y="29"/>
                </a:moveTo>
                <a:cubicBezTo>
                  <a:pt x="129" y="29"/>
                  <a:pt x="131" y="31"/>
                  <a:pt x="131" y="32"/>
                </a:cubicBezTo>
                <a:cubicBezTo>
                  <a:pt x="131" y="33"/>
                  <a:pt x="129" y="35"/>
                  <a:pt x="128" y="35"/>
                </a:cubicBezTo>
                <a:cubicBezTo>
                  <a:pt x="127" y="35"/>
                  <a:pt x="125" y="33"/>
                  <a:pt x="125" y="32"/>
                </a:cubicBezTo>
                <a:cubicBezTo>
                  <a:pt x="125" y="31"/>
                  <a:pt x="127" y="29"/>
                  <a:pt x="128" y="29"/>
                </a:cubicBezTo>
                <a:close/>
                <a:moveTo>
                  <a:pt x="112" y="21"/>
                </a:moveTo>
                <a:cubicBezTo>
                  <a:pt x="113" y="21"/>
                  <a:pt x="115" y="23"/>
                  <a:pt x="115" y="24"/>
                </a:cubicBezTo>
                <a:cubicBezTo>
                  <a:pt x="115" y="25"/>
                  <a:pt x="113" y="27"/>
                  <a:pt x="112" y="27"/>
                </a:cubicBezTo>
                <a:cubicBezTo>
                  <a:pt x="111" y="27"/>
                  <a:pt x="109" y="25"/>
                  <a:pt x="109" y="24"/>
                </a:cubicBezTo>
                <a:cubicBezTo>
                  <a:pt x="109" y="23"/>
                  <a:pt x="111" y="21"/>
                  <a:pt x="112" y="21"/>
                </a:cubicBezTo>
                <a:close/>
                <a:moveTo>
                  <a:pt x="117" y="29"/>
                </a:moveTo>
                <a:cubicBezTo>
                  <a:pt x="119" y="29"/>
                  <a:pt x="120" y="31"/>
                  <a:pt x="120" y="32"/>
                </a:cubicBezTo>
                <a:cubicBezTo>
                  <a:pt x="120" y="33"/>
                  <a:pt x="119" y="35"/>
                  <a:pt x="117" y="35"/>
                </a:cubicBezTo>
                <a:cubicBezTo>
                  <a:pt x="116" y="35"/>
                  <a:pt x="115" y="33"/>
                  <a:pt x="115" y="32"/>
                </a:cubicBezTo>
                <a:cubicBezTo>
                  <a:pt x="115" y="31"/>
                  <a:pt x="116" y="29"/>
                  <a:pt x="117" y="29"/>
                </a:cubicBezTo>
                <a:close/>
                <a:moveTo>
                  <a:pt x="101" y="21"/>
                </a:moveTo>
                <a:cubicBezTo>
                  <a:pt x="103" y="21"/>
                  <a:pt x="104" y="23"/>
                  <a:pt x="104" y="24"/>
                </a:cubicBezTo>
                <a:cubicBezTo>
                  <a:pt x="104" y="25"/>
                  <a:pt x="103" y="27"/>
                  <a:pt x="101" y="27"/>
                </a:cubicBezTo>
                <a:cubicBezTo>
                  <a:pt x="100" y="27"/>
                  <a:pt x="99" y="25"/>
                  <a:pt x="99" y="24"/>
                </a:cubicBezTo>
                <a:cubicBezTo>
                  <a:pt x="99" y="23"/>
                  <a:pt x="100" y="21"/>
                  <a:pt x="101" y="21"/>
                </a:cubicBezTo>
                <a:close/>
                <a:moveTo>
                  <a:pt x="107" y="29"/>
                </a:moveTo>
                <a:cubicBezTo>
                  <a:pt x="108" y="29"/>
                  <a:pt x="109" y="31"/>
                  <a:pt x="109" y="32"/>
                </a:cubicBezTo>
                <a:cubicBezTo>
                  <a:pt x="109" y="33"/>
                  <a:pt x="108" y="35"/>
                  <a:pt x="107" y="35"/>
                </a:cubicBezTo>
                <a:cubicBezTo>
                  <a:pt x="105" y="35"/>
                  <a:pt x="104" y="33"/>
                  <a:pt x="104" y="32"/>
                </a:cubicBezTo>
                <a:cubicBezTo>
                  <a:pt x="104" y="31"/>
                  <a:pt x="105" y="29"/>
                  <a:pt x="107" y="29"/>
                </a:cubicBezTo>
                <a:close/>
                <a:moveTo>
                  <a:pt x="91" y="21"/>
                </a:moveTo>
                <a:cubicBezTo>
                  <a:pt x="92" y="21"/>
                  <a:pt x="93" y="23"/>
                  <a:pt x="93" y="24"/>
                </a:cubicBezTo>
                <a:cubicBezTo>
                  <a:pt x="93" y="25"/>
                  <a:pt x="92" y="27"/>
                  <a:pt x="91" y="27"/>
                </a:cubicBezTo>
                <a:cubicBezTo>
                  <a:pt x="89" y="27"/>
                  <a:pt x="88" y="25"/>
                  <a:pt x="88" y="24"/>
                </a:cubicBezTo>
                <a:cubicBezTo>
                  <a:pt x="88" y="23"/>
                  <a:pt x="89" y="21"/>
                  <a:pt x="91" y="21"/>
                </a:cubicBezTo>
                <a:close/>
                <a:moveTo>
                  <a:pt x="96" y="29"/>
                </a:moveTo>
                <a:cubicBezTo>
                  <a:pt x="97" y="29"/>
                  <a:pt x="99" y="31"/>
                  <a:pt x="99" y="32"/>
                </a:cubicBezTo>
                <a:cubicBezTo>
                  <a:pt x="99" y="33"/>
                  <a:pt x="97" y="35"/>
                  <a:pt x="96" y="35"/>
                </a:cubicBezTo>
                <a:cubicBezTo>
                  <a:pt x="95" y="35"/>
                  <a:pt x="93" y="33"/>
                  <a:pt x="93" y="32"/>
                </a:cubicBezTo>
                <a:cubicBezTo>
                  <a:pt x="93" y="31"/>
                  <a:pt x="95" y="29"/>
                  <a:pt x="96" y="29"/>
                </a:cubicBezTo>
                <a:close/>
                <a:moveTo>
                  <a:pt x="42" y="3"/>
                </a:moveTo>
                <a:cubicBezTo>
                  <a:pt x="42" y="1"/>
                  <a:pt x="44" y="0"/>
                  <a:pt x="45" y="0"/>
                </a:cubicBezTo>
                <a:cubicBezTo>
                  <a:pt x="48" y="0"/>
                  <a:pt x="48" y="0"/>
                  <a:pt x="48" y="0"/>
                </a:cubicBezTo>
                <a:cubicBezTo>
                  <a:pt x="49" y="0"/>
                  <a:pt x="50" y="1"/>
                  <a:pt x="50" y="3"/>
                </a:cubicBezTo>
                <a:cubicBezTo>
                  <a:pt x="50" y="4"/>
                  <a:pt x="49" y="5"/>
                  <a:pt x="48" y="5"/>
                </a:cubicBezTo>
                <a:cubicBezTo>
                  <a:pt x="45" y="5"/>
                  <a:pt x="45" y="5"/>
                  <a:pt x="45" y="5"/>
                </a:cubicBezTo>
                <a:cubicBezTo>
                  <a:pt x="44" y="5"/>
                  <a:pt x="42" y="4"/>
                  <a:pt x="42" y="3"/>
                </a:cubicBezTo>
                <a:close/>
                <a:moveTo>
                  <a:pt x="21" y="3"/>
                </a:moveTo>
                <a:cubicBezTo>
                  <a:pt x="21" y="1"/>
                  <a:pt x="22" y="0"/>
                  <a:pt x="23" y="0"/>
                </a:cubicBezTo>
                <a:cubicBezTo>
                  <a:pt x="26" y="0"/>
                  <a:pt x="26" y="0"/>
                  <a:pt x="26" y="0"/>
                </a:cubicBezTo>
                <a:cubicBezTo>
                  <a:pt x="27" y="0"/>
                  <a:pt x="29" y="1"/>
                  <a:pt x="29" y="3"/>
                </a:cubicBezTo>
                <a:cubicBezTo>
                  <a:pt x="29" y="4"/>
                  <a:pt x="27" y="5"/>
                  <a:pt x="26" y="5"/>
                </a:cubicBezTo>
                <a:cubicBezTo>
                  <a:pt x="23" y="5"/>
                  <a:pt x="23" y="5"/>
                  <a:pt x="23" y="5"/>
                </a:cubicBezTo>
                <a:cubicBezTo>
                  <a:pt x="22" y="5"/>
                  <a:pt x="21" y="4"/>
                  <a:pt x="21" y="3"/>
                </a:cubicBezTo>
                <a:close/>
                <a:moveTo>
                  <a:pt x="38" y="51"/>
                </a:moveTo>
                <a:cubicBezTo>
                  <a:pt x="40" y="51"/>
                  <a:pt x="41" y="52"/>
                  <a:pt x="41" y="53"/>
                </a:cubicBezTo>
                <a:cubicBezTo>
                  <a:pt x="41" y="55"/>
                  <a:pt x="40" y="56"/>
                  <a:pt x="38" y="56"/>
                </a:cubicBezTo>
                <a:cubicBezTo>
                  <a:pt x="37" y="56"/>
                  <a:pt x="37" y="56"/>
                  <a:pt x="37" y="56"/>
                </a:cubicBezTo>
                <a:cubicBezTo>
                  <a:pt x="36" y="56"/>
                  <a:pt x="36" y="56"/>
                  <a:pt x="36" y="56"/>
                </a:cubicBezTo>
                <a:cubicBezTo>
                  <a:pt x="34" y="56"/>
                  <a:pt x="34" y="56"/>
                  <a:pt x="34" y="56"/>
                </a:cubicBezTo>
                <a:cubicBezTo>
                  <a:pt x="33" y="56"/>
                  <a:pt x="31" y="55"/>
                  <a:pt x="31" y="53"/>
                </a:cubicBezTo>
                <a:cubicBezTo>
                  <a:pt x="31" y="52"/>
                  <a:pt x="33" y="51"/>
                  <a:pt x="34" y="51"/>
                </a:cubicBezTo>
                <a:cubicBezTo>
                  <a:pt x="36" y="51"/>
                  <a:pt x="36" y="51"/>
                  <a:pt x="36" y="51"/>
                </a:cubicBezTo>
                <a:cubicBezTo>
                  <a:pt x="37" y="51"/>
                  <a:pt x="37" y="51"/>
                  <a:pt x="37" y="51"/>
                </a:cubicBezTo>
                <a:lnTo>
                  <a:pt x="38" y="51"/>
                </a:lnTo>
                <a:close/>
                <a:moveTo>
                  <a:pt x="31" y="3"/>
                </a:moveTo>
                <a:cubicBezTo>
                  <a:pt x="31" y="1"/>
                  <a:pt x="33" y="0"/>
                  <a:pt x="34" y="0"/>
                </a:cubicBezTo>
                <a:cubicBezTo>
                  <a:pt x="37" y="0"/>
                  <a:pt x="37" y="0"/>
                  <a:pt x="37" y="0"/>
                </a:cubicBezTo>
                <a:cubicBezTo>
                  <a:pt x="38" y="0"/>
                  <a:pt x="40" y="1"/>
                  <a:pt x="40" y="3"/>
                </a:cubicBezTo>
                <a:cubicBezTo>
                  <a:pt x="40" y="4"/>
                  <a:pt x="38" y="5"/>
                  <a:pt x="37" y="5"/>
                </a:cubicBezTo>
                <a:cubicBezTo>
                  <a:pt x="34" y="5"/>
                  <a:pt x="34" y="5"/>
                  <a:pt x="34" y="5"/>
                </a:cubicBezTo>
                <a:cubicBezTo>
                  <a:pt x="33" y="5"/>
                  <a:pt x="31" y="4"/>
                  <a:pt x="31" y="3"/>
                </a:cubicBezTo>
                <a:close/>
                <a:moveTo>
                  <a:pt x="53" y="3"/>
                </a:moveTo>
                <a:cubicBezTo>
                  <a:pt x="53" y="1"/>
                  <a:pt x="55" y="0"/>
                  <a:pt x="56" y="0"/>
                </a:cubicBezTo>
                <a:cubicBezTo>
                  <a:pt x="59" y="0"/>
                  <a:pt x="59" y="0"/>
                  <a:pt x="59" y="0"/>
                </a:cubicBezTo>
                <a:cubicBezTo>
                  <a:pt x="60" y="0"/>
                  <a:pt x="61" y="1"/>
                  <a:pt x="61" y="3"/>
                </a:cubicBezTo>
                <a:cubicBezTo>
                  <a:pt x="61" y="4"/>
                  <a:pt x="60" y="5"/>
                  <a:pt x="59" y="5"/>
                </a:cubicBezTo>
                <a:cubicBezTo>
                  <a:pt x="56" y="5"/>
                  <a:pt x="56" y="5"/>
                  <a:pt x="56" y="5"/>
                </a:cubicBezTo>
                <a:cubicBezTo>
                  <a:pt x="55" y="5"/>
                  <a:pt x="53" y="4"/>
                  <a:pt x="53" y="3"/>
                </a:cubicBezTo>
                <a:close/>
                <a:moveTo>
                  <a:pt x="108" y="3"/>
                </a:moveTo>
                <a:cubicBezTo>
                  <a:pt x="108" y="1"/>
                  <a:pt x="109" y="0"/>
                  <a:pt x="111" y="0"/>
                </a:cubicBezTo>
                <a:cubicBezTo>
                  <a:pt x="113" y="0"/>
                  <a:pt x="113" y="0"/>
                  <a:pt x="113" y="0"/>
                </a:cubicBezTo>
                <a:cubicBezTo>
                  <a:pt x="115" y="0"/>
                  <a:pt x="116" y="1"/>
                  <a:pt x="116" y="3"/>
                </a:cubicBezTo>
                <a:cubicBezTo>
                  <a:pt x="116" y="4"/>
                  <a:pt x="115" y="5"/>
                  <a:pt x="113" y="5"/>
                </a:cubicBezTo>
                <a:cubicBezTo>
                  <a:pt x="111" y="5"/>
                  <a:pt x="111" y="5"/>
                  <a:pt x="111" y="5"/>
                </a:cubicBezTo>
                <a:cubicBezTo>
                  <a:pt x="109" y="5"/>
                  <a:pt x="108" y="4"/>
                  <a:pt x="108" y="3"/>
                </a:cubicBezTo>
                <a:close/>
                <a:moveTo>
                  <a:pt x="97" y="3"/>
                </a:moveTo>
                <a:cubicBezTo>
                  <a:pt x="97" y="1"/>
                  <a:pt x="98" y="0"/>
                  <a:pt x="100" y="0"/>
                </a:cubicBezTo>
                <a:cubicBezTo>
                  <a:pt x="103" y="0"/>
                  <a:pt x="103" y="0"/>
                  <a:pt x="103" y="0"/>
                </a:cubicBezTo>
                <a:cubicBezTo>
                  <a:pt x="104" y="0"/>
                  <a:pt x="105" y="1"/>
                  <a:pt x="105" y="3"/>
                </a:cubicBezTo>
                <a:cubicBezTo>
                  <a:pt x="105" y="4"/>
                  <a:pt x="104" y="5"/>
                  <a:pt x="103" y="5"/>
                </a:cubicBezTo>
                <a:cubicBezTo>
                  <a:pt x="100" y="5"/>
                  <a:pt x="100" y="5"/>
                  <a:pt x="100" y="5"/>
                </a:cubicBezTo>
                <a:cubicBezTo>
                  <a:pt x="98" y="5"/>
                  <a:pt x="97" y="4"/>
                  <a:pt x="97" y="3"/>
                </a:cubicBezTo>
                <a:close/>
                <a:moveTo>
                  <a:pt x="130" y="3"/>
                </a:moveTo>
                <a:cubicBezTo>
                  <a:pt x="130" y="1"/>
                  <a:pt x="131" y="0"/>
                  <a:pt x="133" y="0"/>
                </a:cubicBezTo>
                <a:cubicBezTo>
                  <a:pt x="135" y="0"/>
                  <a:pt x="135" y="0"/>
                  <a:pt x="135" y="0"/>
                </a:cubicBezTo>
                <a:cubicBezTo>
                  <a:pt x="137" y="0"/>
                  <a:pt x="138" y="1"/>
                  <a:pt x="138" y="3"/>
                </a:cubicBezTo>
                <a:cubicBezTo>
                  <a:pt x="138" y="4"/>
                  <a:pt x="137" y="5"/>
                  <a:pt x="135" y="5"/>
                </a:cubicBezTo>
                <a:cubicBezTo>
                  <a:pt x="133" y="5"/>
                  <a:pt x="133" y="5"/>
                  <a:pt x="133" y="5"/>
                </a:cubicBezTo>
                <a:cubicBezTo>
                  <a:pt x="131" y="5"/>
                  <a:pt x="130" y="4"/>
                  <a:pt x="130" y="3"/>
                </a:cubicBezTo>
                <a:close/>
                <a:moveTo>
                  <a:pt x="141" y="3"/>
                </a:moveTo>
                <a:cubicBezTo>
                  <a:pt x="141" y="1"/>
                  <a:pt x="142" y="0"/>
                  <a:pt x="144" y="0"/>
                </a:cubicBezTo>
                <a:cubicBezTo>
                  <a:pt x="146" y="0"/>
                  <a:pt x="146" y="0"/>
                  <a:pt x="146" y="0"/>
                </a:cubicBezTo>
                <a:cubicBezTo>
                  <a:pt x="148" y="0"/>
                  <a:pt x="149" y="1"/>
                  <a:pt x="149" y="3"/>
                </a:cubicBezTo>
                <a:cubicBezTo>
                  <a:pt x="149" y="4"/>
                  <a:pt x="148" y="5"/>
                  <a:pt x="146" y="5"/>
                </a:cubicBezTo>
                <a:cubicBezTo>
                  <a:pt x="144" y="5"/>
                  <a:pt x="144" y="5"/>
                  <a:pt x="144" y="5"/>
                </a:cubicBezTo>
                <a:cubicBezTo>
                  <a:pt x="142" y="5"/>
                  <a:pt x="141" y="4"/>
                  <a:pt x="141" y="3"/>
                </a:cubicBezTo>
                <a:close/>
                <a:moveTo>
                  <a:pt x="86" y="3"/>
                </a:moveTo>
                <a:cubicBezTo>
                  <a:pt x="86" y="1"/>
                  <a:pt x="87" y="0"/>
                  <a:pt x="89" y="0"/>
                </a:cubicBezTo>
                <a:cubicBezTo>
                  <a:pt x="92" y="0"/>
                  <a:pt x="92" y="0"/>
                  <a:pt x="92" y="0"/>
                </a:cubicBezTo>
                <a:cubicBezTo>
                  <a:pt x="93" y="0"/>
                  <a:pt x="94" y="1"/>
                  <a:pt x="94" y="3"/>
                </a:cubicBezTo>
                <a:cubicBezTo>
                  <a:pt x="94" y="4"/>
                  <a:pt x="93" y="5"/>
                  <a:pt x="92" y="5"/>
                </a:cubicBezTo>
                <a:cubicBezTo>
                  <a:pt x="89" y="5"/>
                  <a:pt x="89" y="5"/>
                  <a:pt x="89" y="5"/>
                </a:cubicBezTo>
                <a:cubicBezTo>
                  <a:pt x="87" y="5"/>
                  <a:pt x="86" y="4"/>
                  <a:pt x="86" y="3"/>
                </a:cubicBezTo>
                <a:close/>
                <a:moveTo>
                  <a:pt x="64" y="3"/>
                </a:moveTo>
                <a:cubicBezTo>
                  <a:pt x="64" y="1"/>
                  <a:pt x="65" y="0"/>
                  <a:pt x="67" y="0"/>
                </a:cubicBezTo>
                <a:cubicBezTo>
                  <a:pt x="70" y="0"/>
                  <a:pt x="70" y="0"/>
                  <a:pt x="70" y="0"/>
                </a:cubicBezTo>
                <a:cubicBezTo>
                  <a:pt x="71" y="0"/>
                  <a:pt x="72" y="1"/>
                  <a:pt x="72" y="3"/>
                </a:cubicBezTo>
                <a:cubicBezTo>
                  <a:pt x="72" y="4"/>
                  <a:pt x="71" y="5"/>
                  <a:pt x="70" y="5"/>
                </a:cubicBezTo>
                <a:cubicBezTo>
                  <a:pt x="67" y="5"/>
                  <a:pt x="67" y="5"/>
                  <a:pt x="67" y="5"/>
                </a:cubicBezTo>
                <a:cubicBezTo>
                  <a:pt x="65" y="5"/>
                  <a:pt x="64" y="4"/>
                  <a:pt x="64" y="3"/>
                </a:cubicBezTo>
                <a:close/>
                <a:moveTo>
                  <a:pt x="75" y="3"/>
                </a:moveTo>
                <a:cubicBezTo>
                  <a:pt x="75" y="1"/>
                  <a:pt x="76" y="0"/>
                  <a:pt x="78" y="0"/>
                </a:cubicBezTo>
                <a:cubicBezTo>
                  <a:pt x="81" y="0"/>
                  <a:pt x="81" y="0"/>
                  <a:pt x="81" y="0"/>
                </a:cubicBezTo>
                <a:cubicBezTo>
                  <a:pt x="82" y="0"/>
                  <a:pt x="83" y="1"/>
                  <a:pt x="83" y="3"/>
                </a:cubicBezTo>
                <a:cubicBezTo>
                  <a:pt x="83" y="4"/>
                  <a:pt x="82" y="5"/>
                  <a:pt x="81" y="5"/>
                </a:cubicBezTo>
                <a:cubicBezTo>
                  <a:pt x="78" y="5"/>
                  <a:pt x="78" y="5"/>
                  <a:pt x="78" y="5"/>
                </a:cubicBezTo>
                <a:cubicBezTo>
                  <a:pt x="76" y="5"/>
                  <a:pt x="75" y="4"/>
                  <a:pt x="75" y="3"/>
                </a:cubicBezTo>
                <a:close/>
                <a:moveTo>
                  <a:pt x="119" y="3"/>
                </a:moveTo>
                <a:cubicBezTo>
                  <a:pt x="119" y="1"/>
                  <a:pt x="120" y="0"/>
                  <a:pt x="122" y="0"/>
                </a:cubicBezTo>
                <a:cubicBezTo>
                  <a:pt x="124" y="0"/>
                  <a:pt x="124" y="0"/>
                  <a:pt x="124" y="0"/>
                </a:cubicBezTo>
                <a:cubicBezTo>
                  <a:pt x="126" y="0"/>
                  <a:pt x="127" y="1"/>
                  <a:pt x="127" y="3"/>
                </a:cubicBezTo>
                <a:cubicBezTo>
                  <a:pt x="127" y="4"/>
                  <a:pt x="126" y="5"/>
                  <a:pt x="124" y="5"/>
                </a:cubicBezTo>
                <a:cubicBezTo>
                  <a:pt x="122" y="5"/>
                  <a:pt x="122" y="5"/>
                  <a:pt x="122" y="5"/>
                </a:cubicBezTo>
                <a:cubicBezTo>
                  <a:pt x="120" y="5"/>
                  <a:pt x="119" y="4"/>
                  <a:pt x="119" y="3"/>
                </a:cubicBezTo>
                <a:close/>
                <a:moveTo>
                  <a:pt x="10" y="3"/>
                </a:moveTo>
                <a:cubicBezTo>
                  <a:pt x="10" y="1"/>
                  <a:pt x="11" y="0"/>
                  <a:pt x="12" y="0"/>
                </a:cubicBezTo>
                <a:cubicBezTo>
                  <a:pt x="15" y="0"/>
                  <a:pt x="15" y="0"/>
                  <a:pt x="15" y="0"/>
                </a:cubicBezTo>
                <a:cubicBezTo>
                  <a:pt x="16" y="0"/>
                  <a:pt x="18" y="1"/>
                  <a:pt x="18" y="3"/>
                </a:cubicBezTo>
                <a:cubicBezTo>
                  <a:pt x="18" y="4"/>
                  <a:pt x="16" y="5"/>
                  <a:pt x="15" y="5"/>
                </a:cubicBezTo>
                <a:cubicBezTo>
                  <a:pt x="12" y="5"/>
                  <a:pt x="12" y="5"/>
                  <a:pt x="12" y="5"/>
                </a:cubicBezTo>
                <a:cubicBezTo>
                  <a:pt x="11" y="5"/>
                  <a:pt x="10" y="4"/>
                  <a:pt x="10" y="3"/>
                </a:cubicBezTo>
                <a:close/>
                <a:moveTo>
                  <a:pt x="153" y="48"/>
                </a:moveTo>
                <a:cubicBezTo>
                  <a:pt x="153" y="48"/>
                  <a:pt x="154" y="47"/>
                  <a:pt x="154" y="47"/>
                </a:cubicBezTo>
                <a:cubicBezTo>
                  <a:pt x="155" y="45"/>
                  <a:pt x="156" y="45"/>
                  <a:pt x="158" y="45"/>
                </a:cubicBezTo>
                <a:cubicBezTo>
                  <a:pt x="159" y="46"/>
                  <a:pt x="160" y="47"/>
                  <a:pt x="159" y="49"/>
                </a:cubicBezTo>
                <a:cubicBezTo>
                  <a:pt x="158" y="50"/>
                  <a:pt x="158" y="51"/>
                  <a:pt x="157" y="52"/>
                </a:cubicBezTo>
                <a:cubicBezTo>
                  <a:pt x="157" y="52"/>
                  <a:pt x="156" y="53"/>
                  <a:pt x="155" y="53"/>
                </a:cubicBezTo>
                <a:cubicBezTo>
                  <a:pt x="154" y="53"/>
                  <a:pt x="154" y="52"/>
                  <a:pt x="153" y="52"/>
                </a:cubicBezTo>
                <a:cubicBezTo>
                  <a:pt x="152" y="51"/>
                  <a:pt x="152" y="49"/>
                  <a:pt x="153" y="48"/>
                </a:cubicBezTo>
                <a:close/>
                <a:moveTo>
                  <a:pt x="0" y="19"/>
                </a:moveTo>
                <a:cubicBezTo>
                  <a:pt x="0" y="16"/>
                  <a:pt x="0" y="16"/>
                  <a:pt x="0" y="16"/>
                </a:cubicBezTo>
                <a:cubicBezTo>
                  <a:pt x="0" y="15"/>
                  <a:pt x="1" y="14"/>
                  <a:pt x="3" y="14"/>
                </a:cubicBezTo>
                <a:cubicBezTo>
                  <a:pt x="4" y="14"/>
                  <a:pt x="5" y="15"/>
                  <a:pt x="5" y="16"/>
                </a:cubicBezTo>
                <a:cubicBezTo>
                  <a:pt x="5" y="19"/>
                  <a:pt x="5" y="19"/>
                  <a:pt x="5" y="19"/>
                </a:cubicBezTo>
                <a:cubicBezTo>
                  <a:pt x="5" y="21"/>
                  <a:pt x="4" y="22"/>
                  <a:pt x="3" y="22"/>
                </a:cubicBezTo>
                <a:cubicBezTo>
                  <a:pt x="1" y="22"/>
                  <a:pt x="0" y="21"/>
                  <a:pt x="0" y="19"/>
                </a:cubicBezTo>
                <a:close/>
                <a:moveTo>
                  <a:pt x="0" y="30"/>
                </a:moveTo>
                <a:cubicBezTo>
                  <a:pt x="0" y="27"/>
                  <a:pt x="0" y="27"/>
                  <a:pt x="0" y="27"/>
                </a:cubicBezTo>
                <a:cubicBezTo>
                  <a:pt x="0" y="26"/>
                  <a:pt x="1" y="25"/>
                  <a:pt x="3" y="25"/>
                </a:cubicBezTo>
                <a:cubicBezTo>
                  <a:pt x="4" y="25"/>
                  <a:pt x="5" y="26"/>
                  <a:pt x="5" y="27"/>
                </a:cubicBezTo>
                <a:cubicBezTo>
                  <a:pt x="5" y="30"/>
                  <a:pt x="5" y="30"/>
                  <a:pt x="5" y="30"/>
                </a:cubicBezTo>
                <a:cubicBezTo>
                  <a:pt x="5" y="32"/>
                  <a:pt x="4" y="33"/>
                  <a:pt x="3" y="33"/>
                </a:cubicBezTo>
                <a:cubicBezTo>
                  <a:pt x="1" y="33"/>
                  <a:pt x="0" y="32"/>
                  <a:pt x="0" y="30"/>
                </a:cubicBezTo>
                <a:close/>
                <a:moveTo>
                  <a:pt x="63" y="53"/>
                </a:moveTo>
                <a:cubicBezTo>
                  <a:pt x="63" y="55"/>
                  <a:pt x="62" y="56"/>
                  <a:pt x="60" y="56"/>
                </a:cubicBezTo>
                <a:cubicBezTo>
                  <a:pt x="59" y="56"/>
                  <a:pt x="59" y="56"/>
                  <a:pt x="59" y="56"/>
                </a:cubicBezTo>
                <a:cubicBezTo>
                  <a:pt x="57" y="56"/>
                  <a:pt x="57" y="56"/>
                  <a:pt x="57" y="56"/>
                </a:cubicBezTo>
                <a:cubicBezTo>
                  <a:pt x="56" y="56"/>
                  <a:pt x="56" y="56"/>
                  <a:pt x="56" y="56"/>
                </a:cubicBezTo>
                <a:cubicBezTo>
                  <a:pt x="55" y="56"/>
                  <a:pt x="53" y="55"/>
                  <a:pt x="53" y="53"/>
                </a:cubicBezTo>
                <a:cubicBezTo>
                  <a:pt x="53" y="52"/>
                  <a:pt x="55" y="51"/>
                  <a:pt x="56" y="51"/>
                </a:cubicBezTo>
                <a:cubicBezTo>
                  <a:pt x="57" y="51"/>
                  <a:pt x="57" y="51"/>
                  <a:pt x="57" y="51"/>
                </a:cubicBezTo>
                <a:cubicBezTo>
                  <a:pt x="59" y="51"/>
                  <a:pt x="59" y="51"/>
                  <a:pt x="59" y="51"/>
                </a:cubicBezTo>
                <a:cubicBezTo>
                  <a:pt x="60" y="51"/>
                  <a:pt x="60" y="51"/>
                  <a:pt x="60" y="51"/>
                </a:cubicBezTo>
                <a:cubicBezTo>
                  <a:pt x="62" y="51"/>
                  <a:pt x="63" y="52"/>
                  <a:pt x="63" y="53"/>
                </a:cubicBezTo>
                <a:close/>
                <a:moveTo>
                  <a:pt x="146" y="51"/>
                </a:moveTo>
                <a:cubicBezTo>
                  <a:pt x="148" y="51"/>
                  <a:pt x="148" y="51"/>
                  <a:pt x="148" y="51"/>
                </a:cubicBezTo>
                <a:cubicBezTo>
                  <a:pt x="149" y="51"/>
                  <a:pt x="150" y="52"/>
                  <a:pt x="150" y="53"/>
                </a:cubicBezTo>
                <a:cubicBezTo>
                  <a:pt x="150" y="55"/>
                  <a:pt x="149" y="56"/>
                  <a:pt x="148" y="56"/>
                </a:cubicBezTo>
                <a:cubicBezTo>
                  <a:pt x="148" y="55"/>
                  <a:pt x="148" y="55"/>
                  <a:pt x="148" y="55"/>
                </a:cubicBezTo>
                <a:cubicBezTo>
                  <a:pt x="148" y="55"/>
                  <a:pt x="148" y="55"/>
                  <a:pt x="148" y="55"/>
                </a:cubicBezTo>
                <a:cubicBezTo>
                  <a:pt x="148" y="56"/>
                  <a:pt x="148" y="56"/>
                  <a:pt x="148" y="56"/>
                </a:cubicBezTo>
                <a:cubicBezTo>
                  <a:pt x="146" y="56"/>
                  <a:pt x="146" y="56"/>
                  <a:pt x="146" y="56"/>
                </a:cubicBezTo>
                <a:cubicBezTo>
                  <a:pt x="146" y="56"/>
                  <a:pt x="146" y="56"/>
                  <a:pt x="146" y="56"/>
                </a:cubicBezTo>
                <a:cubicBezTo>
                  <a:pt x="144" y="56"/>
                  <a:pt x="144" y="56"/>
                  <a:pt x="144" y="56"/>
                </a:cubicBezTo>
                <a:cubicBezTo>
                  <a:pt x="142" y="56"/>
                  <a:pt x="141" y="55"/>
                  <a:pt x="141" y="53"/>
                </a:cubicBezTo>
                <a:cubicBezTo>
                  <a:pt x="141" y="52"/>
                  <a:pt x="142" y="51"/>
                  <a:pt x="144" y="51"/>
                </a:cubicBezTo>
                <a:cubicBezTo>
                  <a:pt x="145" y="51"/>
                  <a:pt x="145" y="51"/>
                  <a:pt x="145" y="51"/>
                </a:cubicBezTo>
                <a:cubicBezTo>
                  <a:pt x="146" y="51"/>
                  <a:pt x="146" y="51"/>
                  <a:pt x="146" y="51"/>
                </a:cubicBezTo>
                <a:close/>
                <a:moveTo>
                  <a:pt x="0" y="41"/>
                </a:moveTo>
                <a:cubicBezTo>
                  <a:pt x="0" y="38"/>
                  <a:pt x="0" y="38"/>
                  <a:pt x="0" y="38"/>
                </a:cubicBezTo>
                <a:cubicBezTo>
                  <a:pt x="0" y="37"/>
                  <a:pt x="1" y="36"/>
                  <a:pt x="3" y="36"/>
                </a:cubicBezTo>
                <a:cubicBezTo>
                  <a:pt x="4" y="36"/>
                  <a:pt x="5" y="37"/>
                  <a:pt x="5" y="38"/>
                </a:cubicBezTo>
                <a:cubicBezTo>
                  <a:pt x="5" y="41"/>
                  <a:pt x="5" y="41"/>
                  <a:pt x="5" y="41"/>
                </a:cubicBezTo>
                <a:cubicBezTo>
                  <a:pt x="5" y="42"/>
                  <a:pt x="4" y="44"/>
                  <a:pt x="3" y="44"/>
                </a:cubicBezTo>
                <a:cubicBezTo>
                  <a:pt x="1" y="44"/>
                  <a:pt x="0" y="42"/>
                  <a:pt x="0" y="41"/>
                </a:cubicBezTo>
                <a:close/>
                <a:moveTo>
                  <a:pt x="160" y="26"/>
                </a:moveTo>
                <a:cubicBezTo>
                  <a:pt x="160" y="29"/>
                  <a:pt x="160" y="29"/>
                  <a:pt x="160" y="29"/>
                </a:cubicBezTo>
                <a:cubicBezTo>
                  <a:pt x="160" y="30"/>
                  <a:pt x="159" y="31"/>
                  <a:pt x="157" y="31"/>
                </a:cubicBezTo>
                <a:cubicBezTo>
                  <a:pt x="156" y="31"/>
                  <a:pt x="155" y="30"/>
                  <a:pt x="155" y="29"/>
                </a:cubicBezTo>
                <a:cubicBezTo>
                  <a:pt x="155" y="26"/>
                  <a:pt x="155" y="26"/>
                  <a:pt x="155" y="26"/>
                </a:cubicBezTo>
                <a:cubicBezTo>
                  <a:pt x="155" y="24"/>
                  <a:pt x="156" y="23"/>
                  <a:pt x="157" y="23"/>
                </a:cubicBezTo>
                <a:cubicBezTo>
                  <a:pt x="159" y="23"/>
                  <a:pt x="160" y="24"/>
                  <a:pt x="160" y="26"/>
                </a:cubicBezTo>
                <a:close/>
                <a:moveTo>
                  <a:pt x="152" y="7"/>
                </a:moveTo>
                <a:cubicBezTo>
                  <a:pt x="151" y="6"/>
                  <a:pt x="151" y="4"/>
                  <a:pt x="152" y="3"/>
                </a:cubicBezTo>
                <a:cubicBezTo>
                  <a:pt x="153" y="2"/>
                  <a:pt x="155" y="2"/>
                  <a:pt x="156" y="3"/>
                </a:cubicBezTo>
                <a:cubicBezTo>
                  <a:pt x="157" y="4"/>
                  <a:pt x="157" y="5"/>
                  <a:pt x="158" y="6"/>
                </a:cubicBezTo>
                <a:cubicBezTo>
                  <a:pt x="159" y="7"/>
                  <a:pt x="158" y="8"/>
                  <a:pt x="157" y="9"/>
                </a:cubicBezTo>
                <a:cubicBezTo>
                  <a:pt x="157" y="10"/>
                  <a:pt x="156" y="10"/>
                  <a:pt x="156" y="10"/>
                </a:cubicBezTo>
                <a:cubicBezTo>
                  <a:pt x="155" y="10"/>
                  <a:pt x="154" y="9"/>
                  <a:pt x="154" y="8"/>
                </a:cubicBezTo>
                <a:cubicBezTo>
                  <a:pt x="153" y="8"/>
                  <a:pt x="153" y="7"/>
                  <a:pt x="152" y="7"/>
                </a:cubicBezTo>
                <a:close/>
                <a:moveTo>
                  <a:pt x="160" y="37"/>
                </a:moveTo>
                <a:cubicBezTo>
                  <a:pt x="160" y="40"/>
                  <a:pt x="160" y="40"/>
                  <a:pt x="160" y="40"/>
                </a:cubicBezTo>
                <a:cubicBezTo>
                  <a:pt x="160" y="41"/>
                  <a:pt x="159" y="42"/>
                  <a:pt x="157" y="42"/>
                </a:cubicBezTo>
                <a:cubicBezTo>
                  <a:pt x="156" y="42"/>
                  <a:pt x="155" y="41"/>
                  <a:pt x="155" y="40"/>
                </a:cubicBezTo>
                <a:cubicBezTo>
                  <a:pt x="155" y="37"/>
                  <a:pt x="155" y="37"/>
                  <a:pt x="155" y="37"/>
                </a:cubicBezTo>
                <a:cubicBezTo>
                  <a:pt x="155" y="35"/>
                  <a:pt x="156" y="34"/>
                  <a:pt x="157" y="34"/>
                </a:cubicBezTo>
                <a:cubicBezTo>
                  <a:pt x="159" y="34"/>
                  <a:pt x="160" y="35"/>
                  <a:pt x="160" y="37"/>
                </a:cubicBezTo>
                <a:close/>
                <a:moveTo>
                  <a:pt x="1" y="7"/>
                </a:moveTo>
                <a:cubicBezTo>
                  <a:pt x="2" y="6"/>
                  <a:pt x="2" y="5"/>
                  <a:pt x="3" y="4"/>
                </a:cubicBezTo>
                <a:cubicBezTo>
                  <a:pt x="4" y="3"/>
                  <a:pt x="6" y="3"/>
                  <a:pt x="7" y="4"/>
                </a:cubicBezTo>
                <a:cubicBezTo>
                  <a:pt x="8" y="5"/>
                  <a:pt x="8" y="7"/>
                  <a:pt x="7" y="8"/>
                </a:cubicBezTo>
                <a:cubicBezTo>
                  <a:pt x="7" y="8"/>
                  <a:pt x="6" y="9"/>
                  <a:pt x="6" y="9"/>
                </a:cubicBezTo>
                <a:cubicBezTo>
                  <a:pt x="6" y="10"/>
                  <a:pt x="5" y="11"/>
                  <a:pt x="4" y="11"/>
                </a:cubicBezTo>
                <a:cubicBezTo>
                  <a:pt x="3" y="11"/>
                  <a:pt x="3" y="11"/>
                  <a:pt x="2" y="11"/>
                </a:cubicBezTo>
                <a:cubicBezTo>
                  <a:pt x="1" y="10"/>
                  <a:pt x="0" y="9"/>
                  <a:pt x="1" y="7"/>
                </a:cubicBezTo>
                <a:close/>
                <a:moveTo>
                  <a:pt x="6" y="47"/>
                </a:moveTo>
                <a:cubicBezTo>
                  <a:pt x="7" y="48"/>
                  <a:pt x="7" y="49"/>
                  <a:pt x="8" y="49"/>
                </a:cubicBezTo>
                <a:cubicBezTo>
                  <a:pt x="9" y="50"/>
                  <a:pt x="9" y="52"/>
                  <a:pt x="8" y="53"/>
                </a:cubicBezTo>
                <a:cubicBezTo>
                  <a:pt x="7" y="53"/>
                  <a:pt x="7" y="54"/>
                  <a:pt x="6" y="54"/>
                </a:cubicBezTo>
                <a:cubicBezTo>
                  <a:pt x="5" y="54"/>
                  <a:pt x="5" y="53"/>
                  <a:pt x="4" y="53"/>
                </a:cubicBezTo>
                <a:cubicBezTo>
                  <a:pt x="3" y="52"/>
                  <a:pt x="3" y="51"/>
                  <a:pt x="2" y="50"/>
                </a:cubicBezTo>
                <a:cubicBezTo>
                  <a:pt x="1" y="49"/>
                  <a:pt x="2" y="47"/>
                  <a:pt x="3" y="47"/>
                </a:cubicBezTo>
                <a:cubicBezTo>
                  <a:pt x="4" y="46"/>
                  <a:pt x="6" y="46"/>
                  <a:pt x="6" y="47"/>
                </a:cubicBezTo>
                <a:close/>
                <a:moveTo>
                  <a:pt x="160" y="15"/>
                </a:moveTo>
                <a:cubicBezTo>
                  <a:pt x="160" y="18"/>
                  <a:pt x="160" y="18"/>
                  <a:pt x="160" y="18"/>
                </a:cubicBezTo>
                <a:cubicBezTo>
                  <a:pt x="160" y="19"/>
                  <a:pt x="159" y="20"/>
                  <a:pt x="157" y="20"/>
                </a:cubicBezTo>
                <a:cubicBezTo>
                  <a:pt x="156" y="20"/>
                  <a:pt x="155" y="19"/>
                  <a:pt x="155" y="18"/>
                </a:cubicBezTo>
                <a:cubicBezTo>
                  <a:pt x="155" y="15"/>
                  <a:pt x="155" y="15"/>
                  <a:pt x="155" y="15"/>
                </a:cubicBezTo>
                <a:cubicBezTo>
                  <a:pt x="155" y="13"/>
                  <a:pt x="156" y="12"/>
                  <a:pt x="157" y="12"/>
                </a:cubicBezTo>
                <a:cubicBezTo>
                  <a:pt x="159" y="12"/>
                  <a:pt x="160" y="13"/>
                  <a:pt x="160" y="15"/>
                </a:cubicBezTo>
                <a:close/>
                <a:moveTo>
                  <a:pt x="40" y="79"/>
                </a:moveTo>
                <a:cubicBezTo>
                  <a:pt x="40" y="72"/>
                  <a:pt x="35" y="67"/>
                  <a:pt x="28" y="67"/>
                </a:cubicBezTo>
                <a:cubicBezTo>
                  <a:pt x="21" y="67"/>
                  <a:pt x="16" y="72"/>
                  <a:pt x="16" y="79"/>
                </a:cubicBezTo>
                <a:cubicBezTo>
                  <a:pt x="16" y="85"/>
                  <a:pt x="21" y="91"/>
                  <a:pt x="28" y="91"/>
                </a:cubicBezTo>
                <a:cubicBezTo>
                  <a:pt x="35" y="91"/>
                  <a:pt x="40" y="85"/>
                  <a:pt x="40" y="79"/>
                </a:cubicBezTo>
                <a:close/>
                <a:moveTo>
                  <a:pt x="28" y="85"/>
                </a:moveTo>
                <a:cubicBezTo>
                  <a:pt x="24" y="85"/>
                  <a:pt x="21" y="82"/>
                  <a:pt x="21" y="79"/>
                </a:cubicBezTo>
                <a:cubicBezTo>
                  <a:pt x="21" y="75"/>
                  <a:pt x="24" y="72"/>
                  <a:pt x="28" y="72"/>
                </a:cubicBezTo>
                <a:cubicBezTo>
                  <a:pt x="32" y="72"/>
                  <a:pt x="35" y="75"/>
                  <a:pt x="35" y="79"/>
                </a:cubicBezTo>
                <a:cubicBezTo>
                  <a:pt x="35" y="82"/>
                  <a:pt x="32" y="85"/>
                  <a:pt x="28" y="85"/>
                </a:cubicBezTo>
                <a:close/>
                <a:moveTo>
                  <a:pt x="133" y="72"/>
                </a:moveTo>
                <a:cubicBezTo>
                  <a:pt x="135" y="72"/>
                  <a:pt x="136" y="73"/>
                  <a:pt x="136" y="75"/>
                </a:cubicBezTo>
                <a:cubicBezTo>
                  <a:pt x="136" y="76"/>
                  <a:pt x="135" y="77"/>
                  <a:pt x="133" y="77"/>
                </a:cubicBezTo>
                <a:cubicBezTo>
                  <a:pt x="132" y="77"/>
                  <a:pt x="131" y="76"/>
                  <a:pt x="131" y="75"/>
                </a:cubicBezTo>
                <a:cubicBezTo>
                  <a:pt x="131" y="73"/>
                  <a:pt x="132" y="72"/>
                  <a:pt x="133" y="72"/>
                </a:cubicBezTo>
                <a:close/>
                <a:moveTo>
                  <a:pt x="123" y="72"/>
                </a:moveTo>
                <a:cubicBezTo>
                  <a:pt x="124" y="72"/>
                  <a:pt x="125" y="73"/>
                  <a:pt x="125" y="75"/>
                </a:cubicBezTo>
                <a:cubicBezTo>
                  <a:pt x="125" y="76"/>
                  <a:pt x="124" y="77"/>
                  <a:pt x="123" y="77"/>
                </a:cubicBezTo>
                <a:cubicBezTo>
                  <a:pt x="121" y="77"/>
                  <a:pt x="120" y="76"/>
                  <a:pt x="120" y="75"/>
                </a:cubicBezTo>
                <a:cubicBezTo>
                  <a:pt x="120" y="73"/>
                  <a:pt x="121" y="72"/>
                  <a:pt x="123" y="72"/>
                </a:cubicBezTo>
                <a:close/>
                <a:moveTo>
                  <a:pt x="139" y="80"/>
                </a:moveTo>
                <a:cubicBezTo>
                  <a:pt x="140" y="80"/>
                  <a:pt x="141" y="81"/>
                  <a:pt x="141" y="83"/>
                </a:cubicBezTo>
                <a:cubicBezTo>
                  <a:pt x="141" y="84"/>
                  <a:pt x="140" y="85"/>
                  <a:pt x="139" y="85"/>
                </a:cubicBezTo>
                <a:cubicBezTo>
                  <a:pt x="137" y="85"/>
                  <a:pt x="136" y="84"/>
                  <a:pt x="136" y="83"/>
                </a:cubicBezTo>
                <a:cubicBezTo>
                  <a:pt x="136" y="81"/>
                  <a:pt x="137" y="80"/>
                  <a:pt x="139" y="80"/>
                </a:cubicBezTo>
                <a:close/>
                <a:moveTo>
                  <a:pt x="128" y="80"/>
                </a:moveTo>
                <a:cubicBezTo>
                  <a:pt x="129" y="80"/>
                  <a:pt x="131" y="81"/>
                  <a:pt x="131" y="83"/>
                </a:cubicBezTo>
                <a:cubicBezTo>
                  <a:pt x="131" y="84"/>
                  <a:pt x="129" y="85"/>
                  <a:pt x="128" y="85"/>
                </a:cubicBezTo>
                <a:cubicBezTo>
                  <a:pt x="127" y="85"/>
                  <a:pt x="125" y="84"/>
                  <a:pt x="125" y="83"/>
                </a:cubicBezTo>
                <a:cubicBezTo>
                  <a:pt x="125" y="81"/>
                  <a:pt x="127" y="80"/>
                  <a:pt x="128" y="80"/>
                </a:cubicBezTo>
                <a:close/>
                <a:moveTo>
                  <a:pt x="112" y="72"/>
                </a:moveTo>
                <a:cubicBezTo>
                  <a:pt x="113" y="72"/>
                  <a:pt x="115" y="73"/>
                  <a:pt x="115" y="75"/>
                </a:cubicBezTo>
                <a:cubicBezTo>
                  <a:pt x="115" y="76"/>
                  <a:pt x="113" y="77"/>
                  <a:pt x="112" y="77"/>
                </a:cubicBezTo>
                <a:cubicBezTo>
                  <a:pt x="111" y="77"/>
                  <a:pt x="109" y="76"/>
                  <a:pt x="109" y="75"/>
                </a:cubicBezTo>
                <a:cubicBezTo>
                  <a:pt x="109" y="73"/>
                  <a:pt x="111" y="72"/>
                  <a:pt x="112" y="72"/>
                </a:cubicBezTo>
                <a:close/>
                <a:moveTo>
                  <a:pt x="117" y="80"/>
                </a:moveTo>
                <a:cubicBezTo>
                  <a:pt x="119" y="80"/>
                  <a:pt x="120" y="81"/>
                  <a:pt x="120" y="83"/>
                </a:cubicBezTo>
                <a:cubicBezTo>
                  <a:pt x="120" y="84"/>
                  <a:pt x="119" y="85"/>
                  <a:pt x="117" y="85"/>
                </a:cubicBezTo>
                <a:cubicBezTo>
                  <a:pt x="116" y="85"/>
                  <a:pt x="115" y="84"/>
                  <a:pt x="115" y="83"/>
                </a:cubicBezTo>
                <a:cubicBezTo>
                  <a:pt x="115" y="81"/>
                  <a:pt x="116" y="80"/>
                  <a:pt x="117" y="80"/>
                </a:cubicBezTo>
                <a:close/>
                <a:moveTo>
                  <a:pt x="101" y="72"/>
                </a:moveTo>
                <a:cubicBezTo>
                  <a:pt x="103" y="72"/>
                  <a:pt x="104" y="73"/>
                  <a:pt x="104" y="75"/>
                </a:cubicBezTo>
                <a:cubicBezTo>
                  <a:pt x="104" y="76"/>
                  <a:pt x="103" y="77"/>
                  <a:pt x="101" y="77"/>
                </a:cubicBezTo>
                <a:cubicBezTo>
                  <a:pt x="100" y="77"/>
                  <a:pt x="99" y="76"/>
                  <a:pt x="99" y="75"/>
                </a:cubicBezTo>
                <a:cubicBezTo>
                  <a:pt x="99" y="73"/>
                  <a:pt x="100" y="72"/>
                  <a:pt x="101" y="72"/>
                </a:cubicBezTo>
                <a:close/>
                <a:moveTo>
                  <a:pt x="107" y="80"/>
                </a:moveTo>
                <a:cubicBezTo>
                  <a:pt x="108" y="80"/>
                  <a:pt x="109" y="81"/>
                  <a:pt x="109" y="83"/>
                </a:cubicBezTo>
                <a:cubicBezTo>
                  <a:pt x="109" y="84"/>
                  <a:pt x="108" y="85"/>
                  <a:pt x="107" y="85"/>
                </a:cubicBezTo>
                <a:cubicBezTo>
                  <a:pt x="105" y="85"/>
                  <a:pt x="104" y="84"/>
                  <a:pt x="104" y="83"/>
                </a:cubicBezTo>
                <a:cubicBezTo>
                  <a:pt x="104" y="81"/>
                  <a:pt x="105" y="80"/>
                  <a:pt x="107" y="80"/>
                </a:cubicBezTo>
                <a:close/>
                <a:moveTo>
                  <a:pt x="91" y="72"/>
                </a:moveTo>
                <a:cubicBezTo>
                  <a:pt x="92" y="72"/>
                  <a:pt x="93" y="73"/>
                  <a:pt x="93" y="75"/>
                </a:cubicBezTo>
                <a:cubicBezTo>
                  <a:pt x="93" y="76"/>
                  <a:pt x="92" y="77"/>
                  <a:pt x="91" y="77"/>
                </a:cubicBezTo>
                <a:cubicBezTo>
                  <a:pt x="89" y="77"/>
                  <a:pt x="88" y="76"/>
                  <a:pt x="88" y="75"/>
                </a:cubicBezTo>
                <a:cubicBezTo>
                  <a:pt x="88" y="73"/>
                  <a:pt x="89" y="72"/>
                  <a:pt x="91" y="72"/>
                </a:cubicBezTo>
                <a:close/>
                <a:moveTo>
                  <a:pt x="96" y="80"/>
                </a:moveTo>
                <a:cubicBezTo>
                  <a:pt x="97" y="80"/>
                  <a:pt x="99" y="81"/>
                  <a:pt x="99" y="83"/>
                </a:cubicBezTo>
                <a:cubicBezTo>
                  <a:pt x="99" y="84"/>
                  <a:pt x="97" y="85"/>
                  <a:pt x="96" y="85"/>
                </a:cubicBezTo>
                <a:cubicBezTo>
                  <a:pt x="95" y="85"/>
                  <a:pt x="93" y="84"/>
                  <a:pt x="93" y="83"/>
                </a:cubicBezTo>
                <a:cubicBezTo>
                  <a:pt x="93" y="81"/>
                  <a:pt x="95" y="80"/>
                  <a:pt x="96" y="80"/>
                </a:cubicBezTo>
                <a:close/>
                <a:moveTo>
                  <a:pt x="120" y="104"/>
                </a:moveTo>
                <a:cubicBezTo>
                  <a:pt x="120" y="103"/>
                  <a:pt x="122" y="101"/>
                  <a:pt x="123" y="101"/>
                </a:cubicBezTo>
                <a:cubicBezTo>
                  <a:pt x="126" y="101"/>
                  <a:pt x="126" y="101"/>
                  <a:pt x="126" y="101"/>
                </a:cubicBezTo>
                <a:cubicBezTo>
                  <a:pt x="127" y="101"/>
                  <a:pt x="128" y="103"/>
                  <a:pt x="128" y="104"/>
                </a:cubicBezTo>
                <a:cubicBezTo>
                  <a:pt x="128" y="105"/>
                  <a:pt x="127" y="107"/>
                  <a:pt x="126" y="107"/>
                </a:cubicBezTo>
                <a:cubicBezTo>
                  <a:pt x="123" y="107"/>
                  <a:pt x="123" y="107"/>
                  <a:pt x="123" y="107"/>
                </a:cubicBezTo>
                <a:cubicBezTo>
                  <a:pt x="122" y="107"/>
                  <a:pt x="120" y="105"/>
                  <a:pt x="120" y="104"/>
                </a:cubicBezTo>
                <a:close/>
                <a:moveTo>
                  <a:pt x="109" y="104"/>
                </a:moveTo>
                <a:cubicBezTo>
                  <a:pt x="109" y="103"/>
                  <a:pt x="111" y="101"/>
                  <a:pt x="112" y="101"/>
                </a:cubicBezTo>
                <a:cubicBezTo>
                  <a:pt x="115" y="101"/>
                  <a:pt x="115" y="101"/>
                  <a:pt x="115" y="101"/>
                </a:cubicBezTo>
                <a:cubicBezTo>
                  <a:pt x="116" y="101"/>
                  <a:pt x="118" y="103"/>
                  <a:pt x="118" y="104"/>
                </a:cubicBezTo>
                <a:cubicBezTo>
                  <a:pt x="118" y="105"/>
                  <a:pt x="116" y="107"/>
                  <a:pt x="115" y="107"/>
                </a:cubicBezTo>
                <a:cubicBezTo>
                  <a:pt x="112" y="107"/>
                  <a:pt x="112" y="107"/>
                  <a:pt x="112" y="107"/>
                </a:cubicBezTo>
                <a:cubicBezTo>
                  <a:pt x="111" y="107"/>
                  <a:pt x="109" y="105"/>
                  <a:pt x="109" y="104"/>
                </a:cubicBezTo>
                <a:close/>
                <a:moveTo>
                  <a:pt x="122" y="56"/>
                </a:moveTo>
                <a:cubicBezTo>
                  <a:pt x="120" y="56"/>
                  <a:pt x="119" y="55"/>
                  <a:pt x="119" y="53"/>
                </a:cubicBezTo>
                <a:cubicBezTo>
                  <a:pt x="119" y="52"/>
                  <a:pt x="120" y="51"/>
                  <a:pt x="122" y="51"/>
                </a:cubicBezTo>
                <a:cubicBezTo>
                  <a:pt x="123" y="51"/>
                  <a:pt x="123" y="51"/>
                  <a:pt x="123" y="51"/>
                </a:cubicBezTo>
                <a:cubicBezTo>
                  <a:pt x="124" y="51"/>
                  <a:pt x="124" y="51"/>
                  <a:pt x="124" y="51"/>
                </a:cubicBezTo>
                <a:cubicBezTo>
                  <a:pt x="126" y="51"/>
                  <a:pt x="126" y="51"/>
                  <a:pt x="126" y="51"/>
                </a:cubicBezTo>
                <a:cubicBezTo>
                  <a:pt x="127" y="51"/>
                  <a:pt x="128" y="52"/>
                  <a:pt x="128" y="53"/>
                </a:cubicBezTo>
                <a:cubicBezTo>
                  <a:pt x="128" y="55"/>
                  <a:pt x="127" y="56"/>
                  <a:pt x="126" y="56"/>
                </a:cubicBezTo>
                <a:cubicBezTo>
                  <a:pt x="124" y="56"/>
                  <a:pt x="124" y="56"/>
                  <a:pt x="124" y="56"/>
                </a:cubicBezTo>
                <a:cubicBezTo>
                  <a:pt x="123" y="56"/>
                  <a:pt x="123" y="56"/>
                  <a:pt x="123" y="56"/>
                </a:cubicBezTo>
                <a:lnTo>
                  <a:pt x="122" y="56"/>
                </a:lnTo>
                <a:close/>
                <a:moveTo>
                  <a:pt x="152" y="58"/>
                </a:moveTo>
                <a:cubicBezTo>
                  <a:pt x="151" y="57"/>
                  <a:pt x="151" y="55"/>
                  <a:pt x="152" y="54"/>
                </a:cubicBezTo>
                <a:cubicBezTo>
                  <a:pt x="153" y="53"/>
                  <a:pt x="155" y="53"/>
                  <a:pt x="156" y="54"/>
                </a:cubicBezTo>
                <a:cubicBezTo>
                  <a:pt x="157" y="54"/>
                  <a:pt x="157" y="55"/>
                  <a:pt x="158" y="56"/>
                </a:cubicBezTo>
                <a:cubicBezTo>
                  <a:pt x="159" y="57"/>
                  <a:pt x="158" y="59"/>
                  <a:pt x="157" y="60"/>
                </a:cubicBezTo>
                <a:cubicBezTo>
                  <a:pt x="157" y="60"/>
                  <a:pt x="156" y="60"/>
                  <a:pt x="156" y="60"/>
                </a:cubicBezTo>
                <a:cubicBezTo>
                  <a:pt x="155" y="60"/>
                  <a:pt x="154" y="60"/>
                  <a:pt x="154" y="59"/>
                </a:cubicBezTo>
                <a:cubicBezTo>
                  <a:pt x="153" y="59"/>
                  <a:pt x="153" y="58"/>
                  <a:pt x="152" y="58"/>
                </a:cubicBezTo>
                <a:close/>
                <a:moveTo>
                  <a:pt x="130" y="53"/>
                </a:moveTo>
                <a:cubicBezTo>
                  <a:pt x="130" y="52"/>
                  <a:pt x="131" y="51"/>
                  <a:pt x="133" y="51"/>
                </a:cubicBezTo>
                <a:cubicBezTo>
                  <a:pt x="134" y="51"/>
                  <a:pt x="134" y="51"/>
                  <a:pt x="134" y="51"/>
                </a:cubicBezTo>
                <a:cubicBezTo>
                  <a:pt x="135" y="51"/>
                  <a:pt x="135" y="51"/>
                  <a:pt x="135" y="51"/>
                </a:cubicBezTo>
                <a:cubicBezTo>
                  <a:pt x="137" y="51"/>
                  <a:pt x="137" y="51"/>
                  <a:pt x="137" y="51"/>
                </a:cubicBezTo>
                <a:cubicBezTo>
                  <a:pt x="138" y="51"/>
                  <a:pt x="139" y="52"/>
                  <a:pt x="139" y="53"/>
                </a:cubicBezTo>
                <a:cubicBezTo>
                  <a:pt x="139" y="55"/>
                  <a:pt x="138" y="56"/>
                  <a:pt x="137" y="56"/>
                </a:cubicBezTo>
                <a:cubicBezTo>
                  <a:pt x="135" y="56"/>
                  <a:pt x="135" y="56"/>
                  <a:pt x="135" y="56"/>
                </a:cubicBezTo>
                <a:cubicBezTo>
                  <a:pt x="134" y="56"/>
                  <a:pt x="134" y="56"/>
                  <a:pt x="134" y="56"/>
                </a:cubicBezTo>
                <a:cubicBezTo>
                  <a:pt x="133" y="56"/>
                  <a:pt x="133" y="56"/>
                  <a:pt x="133" y="56"/>
                </a:cubicBezTo>
                <a:cubicBezTo>
                  <a:pt x="131" y="56"/>
                  <a:pt x="130" y="55"/>
                  <a:pt x="130" y="53"/>
                </a:cubicBezTo>
                <a:close/>
                <a:moveTo>
                  <a:pt x="100" y="51"/>
                </a:moveTo>
                <a:cubicBezTo>
                  <a:pt x="101" y="51"/>
                  <a:pt x="101" y="51"/>
                  <a:pt x="101" y="51"/>
                </a:cubicBezTo>
                <a:cubicBezTo>
                  <a:pt x="103" y="51"/>
                  <a:pt x="103" y="51"/>
                  <a:pt x="103" y="51"/>
                </a:cubicBezTo>
                <a:cubicBezTo>
                  <a:pt x="104" y="51"/>
                  <a:pt x="104" y="51"/>
                  <a:pt x="104" y="51"/>
                </a:cubicBezTo>
                <a:cubicBezTo>
                  <a:pt x="105" y="51"/>
                  <a:pt x="107" y="52"/>
                  <a:pt x="107" y="53"/>
                </a:cubicBezTo>
                <a:cubicBezTo>
                  <a:pt x="107" y="55"/>
                  <a:pt x="105" y="56"/>
                  <a:pt x="104" y="56"/>
                </a:cubicBezTo>
                <a:cubicBezTo>
                  <a:pt x="103" y="56"/>
                  <a:pt x="103" y="56"/>
                  <a:pt x="103" y="56"/>
                </a:cubicBezTo>
                <a:cubicBezTo>
                  <a:pt x="101" y="56"/>
                  <a:pt x="101" y="56"/>
                  <a:pt x="101" y="56"/>
                </a:cubicBezTo>
                <a:cubicBezTo>
                  <a:pt x="100" y="56"/>
                  <a:pt x="100" y="56"/>
                  <a:pt x="100" y="56"/>
                </a:cubicBezTo>
                <a:cubicBezTo>
                  <a:pt x="98" y="56"/>
                  <a:pt x="97" y="55"/>
                  <a:pt x="97" y="53"/>
                </a:cubicBezTo>
                <a:cubicBezTo>
                  <a:pt x="97" y="52"/>
                  <a:pt x="98" y="51"/>
                  <a:pt x="100" y="51"/>
                </a:cubicBezTo>
                <a:close/>
                <a:moveTo>
                  <a:pt x="131" y="104"/>
                </a:moveTo>
                <a:cubicBezTo>
                  <a:pt x="131" y="103"/>
                  <a:pt x="133" y="101"/>
                  <a:pt x="134" y="101"/>
                </a:cubicBezTo>
                <a:cubicBezTo>
                  <a:pt x="137" y="101"/>
                  <a:pt x="137" y="101"/>
                  <a:pt x="137" y="101"/>
                </a:cubicBezTo>
                <a:cubicBezTo>
                  <a:pt x="138" y="101"/>
                  <a:pt x="139" y="103"/>
                  <a:pt x="139" y="104"/>
                </a:cubicBezTo>
                <a:cubicBezTo>
                  <a:pt x="139" y="105"/>
                  <a:pt x="138" y="107"/>
                  <a:pt x="137" y="107"/>
                </a:cubicBezTo>
                <a:cubicBezTo>
                  <a:pt x="134" y="107"/>
                  <a:pt x="134" y="107"/>
                  <a:pt x="134" y="107"/>
                </a:cubicBezTo>
                <a:cubicBezTo>
                  <a:pt x="133" y="107"/>
                  <a:pt x="131" y="105"/>
                  <a:pt x="131" y="104"/>
                </a:cubicBezTo>
                <a:close/>
                <a:moveTo>
                  <a:pt x="148" y="107"/>
                </a:moveTo>
                <a:cubicBezTo>
                  <a:pt x="148" y="104"/>
                  <a:pt x="148" y="104"/>
                  <a:pt x="148" y="104"/>
                </a:cubicBezTo>
                <a:cubicBezTo>
                  <a:pt x="148" y="107"/>
                  <a:pt x="148" y="107"/>
                  <a:pt x="148" y="107"/>
                </a:cubicBezTo>
                <a:cubicBezTo>
                  <a:pt x="145" y="107"/>
                  <a:pt x="145" y="107"/>
                  <a:pt x="145" y="107"/>
                </a:cubicBezTo>
                <a:cubicBezTo>
                  <a:pt x="144" y="107"/>
                  <a:pt x="142" y="105"/>
                  <a:pt x="142" y="104"/>
                </a:cubicBezTo>
                <a:cubicBezTo>
                  <a:pt x="142" y="103"/>
                  <a:pt x="144" y="101"/>
                  <a:pt x="145" y="101"/>
                </a:cubicBezTo>
                <a:cubicBezTo>
                  <a:pt x="148" y="101"/>
                  <a:pt x="148" y="101"/>
                  <a:pt x="148" y="101"/>
                </a:cubicBezTo>
                <a:cubicBezTo>
                  <a:pt x="149" y="101"/>
                  <a:pt x="150" y="103"/>
                  <a:pt x="150" y="104"/>
                </a:cubicBezTo>
                <a:cubicBezTo>
                  <a:pt x="150" y="105"/>
                  <a:pt x="149" y="107"/>
                  <a:pt x="148" y="107"/>
                </a:cubicBezTo>
                <a:close/>
                <a:moveTo>
                  <a:pt x="153" y="99"/>
                </a:moveTo>
                <a:cubicBezTo>
                  <a:pt x="153" y="98"/>
                  <a:pt x="154" y="98"/>
                  <a:pt x="154" y="97"/>
                </a:cubicBezTo>
                <a:cubicBezTo>
                  <a:pt x="155" y="96"/>
                  <a:pt x="156" y="95"/>
                  <a:pt x="158" y="96"/>
                </a:cubicBezTo>
                <a:cubicBezTo>
                  <a:pt x="159" y="96"/>
                  <a:pt x="160" y="98"/>
                  <a:pt x="159" y="99"/>
                </a:cubicBezTo>
                <a:cubicBezTo>
                  <a:pt x="158" y="100"/>
                  <a:pt x="158" y="101"/>
                  <a:pt x="157" y="102"/>
                </a:cubicBezTo>
                <a:cubicBezTo>
                  <a:pt x="157" y="103"/>
                  <a:pt x="156" y="103"/>
                  <a:pt x="155" y="103"/>
                </a:cubicBezTo>
                <a:cubicBezTo>
                  <a:pt x="154" y="103"/>
                  <a:pt x="154" y="103"/>
                  <a:pt x="153" y="103"/>
                </a:cubicBezTo>
                <a:cubicBezTo>
                  <a:pt x="152" y="102"/>
                  <a:pt x="152" y="100"/>
                  <a:pt x="153" y="99"/>
                </a:cubicBezTo>
                <a:close/>
                <a:moveTo>
                  <a:pt x="111" y="56"/>
                </a:moveTo>
                <a:cubicBezTo>
                  <a:pt x="109" y="56"/>
                  <a:pt x="108" y="55"/>
                  <a:pt x="108" y="53"/>
                </a:cubicBezTo>
                <a:cubicBezTo>
                  <a:pt x="108" y="52"/>
                  <a:pt x="109" y="51"/>
                  <a:pt x="111" y="51"/>
                </a:cubicBezTo>
                <a:cubicBezTo>
                  <a:pt x="112" y="51"/>
                  <a:pt x="112" y="51"/>
                  <a:pt x="112" y="51"/>
                </a:cubicBezTo>
                <a:cubicBezTo>
                  <a:pt x="113" y="51"/>
                  <a:pt x="113" y="51"/>
                  <a:pt x="113" y="51"/>
                </a:cubicBezTo>
                <a:cubicBezTo>
                  <a:pt x="115" y="51"/>
                  <a:pt x="115" y="51"/>
                  <a:pt x="115" y="51"/>
                </a:cubicBezTo>
                <a:cubicBezTo>
                  <a:pt x="116" y="51"/>
                  <a:pt x="118" y="52"/>
                  <a:pt x="118" y="53"/>
                </a:cubicBezTo>
                <a:cubicBezTo>
                  <a:pt x="118" y="55"/>
                  <a:pt x="116" y="56"/>
                  <a:pt x="115" y="56"/>
                </a:cubicBezTo>
                <a:cubicBezTo>
                  <a:pt x="113" y="56"/>
                  <a:pt x="113" y="56"/>
                  <a:pt x="113" y="56"/>
                </a:cubicBezTo>
                <a:cubicBezTo>
                  <a:pt x="112" y="56"/>
                  <a:pt x="112" y="56"/>
                  <a:pt x="112" y="56"/>
                </a:cubicBezTo>
                <a:lnTo>
                  <a:pt x="111" y="56"/>
                </a:lnTo>
                <a:close/>
                <a:moveTo>
                  <a:pt x="99" y="104"/>
                </a:moveTo>
                <a:cubicBezTo>
                  <a:pt x="99" y="103"/>
                  <a:pt x="100" y="101"/>
                  <a:pt x="101" y="101"/>
                </a:cubicBezTo>
                <a:cubicBezTo>
                  <a:pt x="104" y="101"/>
                  <a:pt x="104" y="101"/>
                  <a:pt x="104" y="101"/>
                </a:cubicBezTo>
                <a:cubicBezTo>
                  <a:pt x="105" y="101"/>
                  <a:pt x="107" y="103"/>
                  <a:pt x="107" y="104"/>
                </a:cubicBezTo>
                <a:cubicBezTo>
                  <a:pt x="107" y="105"/>
                  <a:pt x="105" y="107"/>
                  <a:pt x="104" y="107"/>
                </a:cubicBezTo>
                <a:cubicBezTo>
                  <a:pt x="101" y="107"/>
                  <a:pt x="101" y="107"/>
                  <a:pt x="101" y="107"/>
                </a:cubicBezTo>
                <a:cubicBezTo>
                  <a:pt x="100" y="107"/>
                  <a:pt x="99" y="105"/>
                  <a:pt x="99" y="104"/>
                </a:cubicBezTo>
                <a:close/>
                <a:moveTo>
                  <a:pt x="0" y="70"/>
                </a:moveTo>
                <a:cubicBezTo>
                  <a:pt x="0" y="67"/>
                  <a:pt x="0" y="67"/>
                  <a:pt x="0" y="67"/>
                </a:cubicBezTo>
                <a:cubicBezTo>
                  <a:pt x="0" y="66"/>
                  <a:pt x="1" y="64"/>
                  <a:pt x="3" y="64"/>
                </a:cubicBezTo>
                <a:cubicBezTo>
                  <a:pt x="4" y="64"/>
                  <a:pt x="5" y="66"/>
                  <a:pt x="5" y="67"/>
                </a:cubicBezTo>
                <a:cubicBezTo>
                  <a:pt x="5" y="70"/>
                  <a:pt x="5" y="70"/>
                  <a:pt x="5" y="70"/>
                </a:cubicBezTo>
                <a:cubicBezTo>
                  <a:pt x="5" y="71"/>
                  <a:pt x="4" y="72"/>
                  <a:pt x="3" y="72"/>
                </a:cubicBezTo>
                <a:cubicBezTo>
                  <a:pt x="1" y="72"/>
                  <a:pt x="0" y="71"/>
                  <a:pt x="0" y="70"/>
                </a:cubicBezTo>
                <a:close/>
                <a:moveTo>
                  <a:pt x="0" y="92"/>
                </a:moveTo>
                <a:cubicBezTo>
                  <a:pt x="0" y="89"/>
                  <a:pt x="0" y="89"/>
                  <a:pt x="0" y="89"/>
                </a:cubicBezTo>
                <a:cubicBezTo>
                  <a:pt x="0" y="87"/>
                  <a:pt x="1" y="86"/>
                  <a:pt x="3" y="86"/>
                </a:cubicBezTo>
                <a:cubicBezTo>
                  <a:pt x="4" y="86"/>
                  <a:pt x="5" y="87"/>
                  <a:pt x="5" y="89"/>
                </a:cubicBezTo>
                <a:cubicBezTo>
                  <a:pt x="5" y="92"/>
                  <a:pt x="5" y="92"/>
                  <a:pt x="5" y="92"/>
                </a:cubicBezTo>
                <a:cubicBezTo>
                  <a:pt x="5" y="93"/>
                  <a:pt x="4" y="94"/>
                  <a:pt x="3" y="94"/>
                </a:cubicBezTo>
                <a:cubicBezTo>
                  <a:pt x="1" y="94"/>
                  <a:pt x="0" y="93"/>
                  <a:pt x="0" y="92"/>
                </a:cubicBezTo>
                <a:close/>
                <a:moveTo>
                  <a:pt x="160" y="87"/>
                </a:moveTo>
                <a:cubicBezTo>
                  <a:pt x="160" y="90"/>
                  <a:pt x="160" y="90"/>
                  <a:pt x="160" y="90"/>
                </a:cubicBezTo>
                <a:cubicBezTo>
                  <a:pt x="160" y="92"/>
                  <a:pt x="159" y="93"/>
                  <a:pt x="157" y="93"/>
                </a:cubicBezTo>
                <a:cubicBezTo>
                  <a:pt x="156" y="93"/>
                  <a:pt x="155" y="92"/>
                  <a:pt x="155" y="90"/>
                </a:cubicBezTo>
                <a:cubicBezTo>
                  <a:pt x="155" y="87"/>
                  <a:pt x="155" y="87"/>
                  <a:pt x="155" y="87"/>
                </a:cubicBezTo>
                <a:cubicBezTo>
                  <a:pt x="155" y="86"/>
                  <a:pt x="156" y="85"/>
                  <a:pt x="157" y="85"/>
                </a:cubicBezTo>
                <a:cubicBezTo>
                  <a:pt x="159" y="85"/>
                  <a:pt x="160" y="86"/>
                  <a:pt x="160" y="87"/>
                </a:cubicBezTo>
                <a:close/>
                <a:moveTo>
                  <a:pt x="6" y="60"/>
                </a:moveTo>
                <a:cubicBezTo>
                  <a:pt x="6" y="61"/>
                  <a:pt x="5" y="62"/>
                  <a:pt x="4" y="62"/>
                </a:cubicBezTo>
                <a:cubicBezTo>
                  <a:pt x="3" y="62"/>
                  <a:pt x="3" y="62"/>
                  <a:pt x="2" y="61"/>
                </a:cubicBezTo>
                <a:cubicBezTo>
                  <a:pt x="1" y="61"/>
                  <a:pt x="0" y="59"/>
                  <a:pt x="1" y="58"/>
                </a:cubicBezTo>
                <a:cubicBezTo>
                  <a:pt x="2" y="57"/>
                  <a:pt x="2" y="56"/>
                  <a:pt x="3" y="55"/>
                </a:cubicBezTo>
                <a:cubicBezTo>
                  <a:pt x="4" y="54"/>
                  <a:pt x="6" y="54"/>
                  <a:pt x="7" y="55"/>
                </a:cubicBezTo>
                <a:cubicBezTo>
                  <a:pt x="8" y="56"/>
                  <a:pt x="8" y="57"/>
                  <a:pt x="7" y="58"/>
                </a:cubicBezTo>
                <a:cubicBezTo>
                  <a:pt x="7" y="59"/>
                  <a:pt x="6" y="59"/>
                  <a:pt x="6" y="60"/>
                </a:cubicBezTo>
                <a:close/>
                <a:moveTo>
                  <a:pt x="6" y="98"/>
                </a:moveTo>
                <a:cubicBezTo>
                  <a:pt x="7" y="99"/>
                  <a:pt x="7" y="99"/>
                  <a:pt x="8" y="100"/>
                </a:cubicBezTo>
                <a:cubicBezTo>
                  <a:pt x="9" y="101"/>
                  <a:pt x="9" y="102"/>
                  <a:pt x="8" y="103"/>
                </a:cubicBezTo>
                <a:cubicBezTo>
                  <a:pt x="7" y="104"/>
                  <a:pt x="7" y="104"/>
                  <a:pt x="6" y="104"/>
                </a:cubicBezTo>
                <a:cubicBezTo>
                  <a:pt x="5" y="104"/>
                  <a:pt x="5" y="104"/>
                  <a:pt x="4" y="104"/>
                </a:cubicBezTo>
                <a:cubicBezTo>
                  <a:pt x="3" y="103"/>
                  <a:pt x="3" y="102"/>
                  <a:pt x="2" y="101"/>
                </a:cubicBezTo>
                <a:cubicBezTo>
                  <a:pt x="1" y="100"/>
                  <a:pt x="2" y="98"/>
                  <a:pt x="3" y="97"/>
                </a:cubicBezTo>
                <a:cubicBezTo>
                  <a:pt x="4" y="97"/>
                  <a:pt x="6" y="97"/>
                  <a:pt x="6" y="98"/>
                </a:cubicBezTo>
                <a:close/>
                <a:moveTo>
                  <a:pt x="86" y="53"/>
                </a:moveTo>
                <a:cubicBezTo>
                  <a:pt x="86" y="52"/>
                  <a:pt x="87" y="51"/>
                  <a:pt x="89" y="51"/>
                </a:cubicBezTo>
                <a:cubicBezTo>
                  <a:pt x="90" y="51"/>
                  <a:pt x="90" y="51"/>
                  <a:pt x="90" y="51"/>
                </a:cubicBezTo>
                <a:cubicBezTo>
                  <a:pt x="92" y="51"/>
                  <a:pt x="92" y="51"/>
                  <a:pt x="92" y="51"/>
                </a:cubicBezTo>
                <a:cubicBezTo>
                  <a:pt x="93" y="51"/>
                  <a:pt x="93" y="51"/>
                  <a:pt x="93" y="51"/>
                </a:cubicBezTo>
                <a:cubicBezTo>
                  <a:pt x="94" y="51"/>
                  <a:pt x="96" y="52"/>
                  <a:pt x="96" y="53"/>
                </a:cubicBezTo>
                <a:cubicBezTo>
                  <a:pt x="96" y="55"/>
                  <a:pt x="94" y="56"/>
                  <a:pt x="93" y="56"/>
                </a:cubicBezTo>
                <a:cubicBezTo>
                  <a:pt x="92" y="56"/>
                  <a:pt x="92" y="56"/>
                  <a:pt x="92" y="56"/>
                </a:cubicBezTo>
                <a:cubicBezTo>
                  <a:pt x="90" y="56"/>
                  <a:pt x="90" y="56"/>
                  <a:pt x="90" y="56"/>
                </a:cubicBezTo>
                <a:cubicBezTo>
                  <a:pt x="89" y="56"/>
                  <a:pt x="89" y="56"/>
                  <a:pt x="89" y="56"/>
                </a:cubicBezTo>
                <a:cubicBezTo>
                  <a:pt x="87" y="56"/>
                  <a:pt x="86" y="55"/>
                  <a:pt x="86" y="53"/>
                </a:cubicBezTo>
                <a:close/>
                <a:moveTo>
                  <a:pt x="160" y="77"/>
                </a:moveTo>
                <a:cubicBezTo>
                  <a:pt x="160" y="79"/>
                  <a:pt x="160" y="79"/>
                  <a:pt x="160" y="79"/>
                </a:cubicBezTo>
                <a:cubicBezTo>
                  <a:pt x="160" y="81"/>
                  <a:pt x="159" y="82"/>
                  <a:pt x="157" y="82"/>
                </a:cubicBezTo>
                <a:cubicBezTo>
                  <a:pt x="156" y="82"/>
                  <a:pt x="155" y="81"/>
                  <a:pt x="155" y="79"/>
                </a:cubicBezTo>
                <a:cubicBezTo>
                  <a:pt x="155" y="77"/>
                  <a:pt x="155" y="77"/>
                  <a:pt x="155" y="77"/>
                </a:cubicBezTo>
                <a:cubicBezTo>
                  <a:pt x="155" y="75"/>
                  <a:pt x="156" y="74"/>
                  <a:pt x="157" y="74"/>
                </a:cubicBezTo>
                <a:cubicBezTo>
                  <a:pt x="159" y="74"/>
                  <a:pt x="160" y="75"/>
                  <a:pt x="160" y="77"/>
                </a:cubicBezTo>
                <a:close/>
                <a:moveTo>
                  <a:pt x="160" y="66"/>
                </a:moveTo>
                <a:cubicBezTo>
                  <a:pt x="160" y="68"/>
                  <a:pt x="160" y="68"/>
                  <a:pt x="160" y="68"/>
                </a:cubicBezTo>
                <a:cubicBezTo>
                  <a:pt x="160" y="70"/>
                  <a:pt x="159" y="71"/>
                  <a:pt x="157" y="71"/>
                </a:cubicBezTo>
                <a:cubicBezTo>
                  <a:pt x="156" y="71"/>
                  <a:pt x="155" y="70"/>
                  <a:pt x="155" y="68"/>
                </a:cubicBezTo>
                <a:cubicBezTo>
                  <a:pt x="155" y="66"/>
                  <a:pt x="155" y="66"/>
                  <a:pt x="155" y="66"/>
                </a:cubicBezTo>
                <a:cubicBezTo>
                  <a:pt x="155" y="64"/>
                  <a:pt x="156" y="63"/>
                  <a:pt x="157" y="63"/>
                </a:cubicBezTo>
                <a:cubicBezTo>
                  <a:pt x="159" y="63"/>
                  <a:pt x="160" y="64"/>
                  <a:pt x="160" y="66"/>
                </a:cubicBezTo>
                <a:close/>
                <a:moveTo>
                  <a:pt x="63" y="104"/>
                </a:moveTo>
                <a:cubicBezTo>
                  <a:pt x="63" y="105"/>
                  <a:pt x="62" y="107"/>
                  <a:pt x="60" y="107"/>
                </a:cubicBezTo>
                <a:cubicBezTo>
                  <a:pt x="57" y="107"/>
                  <a:pt x="57" y="107"/>
                  <a:pt x="57" y="107"/>
                </a:cubicBezTo>
                <a:cubicBezTo>
                  <a:pt x="56" y="107"/>
                  <a:pt x="55" y="105"/>
                  <a:pt x="55" y="104"/>
                </a:cubicBezTo>
                <a:cubicBezTo>
                  <a:pt x="55" y="103"/>
                  <a:pt x="56" y="101"/>
                  <a:pt x="57" y="101"/>
                </a:cubicBezTo>
                <a:cubicBezTo>
                  <a:pt x="60" y="101"/>
                  <a:pt x="60" y="101"/>
                  <a:pt x="60" y="101"/>
                </a:cubicBezTo>
                <a:cubicBezTo>
                  <a:pt x="62" y="101"/>
                  <a:pt x="63" y="103"/>
                  <a:pt x="63" y="104"/>
                </a:cubicBezTo>
                <a:close/>
                <a:moveTo>
                  <a:pt x="10" y="53"/>
                </a:moveTo>
                <a:cubicBezTo>
                  <a:pt x="10" y="52"/>
                  <a:pt x="11" y="51"/>
                  <a:pt x="12" y="51"/>
                </a:cubicBezTo>
                <a:cubicBezTo>
                  <a:pt x="14" y="51"/>
                  <a:pt x="14" y="51"/>
                  <a:pt x="14" y="51"/>
                </a:cubicBezTo>
                <a:cubicBezTo>
                  <a:pt x="15" y="51"/>
                  <a:pt x="15" y="51"/>
                  <a:pt x="15" y="51"/>
                </a:cubicBezTo>
                <a:cubicBezTo>
                  <a:pt x="16" y="51"/>
                  <a:pt x="16" y="51"/>
                  <a:pt x="16" y="51"/>
                </a:cubicBezTo>
                <a:cubicBezTo>
                  <a:pt x="18" y="51"/>
                  <a:pt x="19" y="52"/>
                  <a:pt x="19" y="53"/>
                </a:cubicBezTo>
                <a:cubicBezTo>
                  <a:pt x="19" y="55"/>
                  <a:pt x="18" y="56"/>
                  <a:pt x="16" y="56"/>
                </a:cubicBezTo>
                <a:cubicBezTo>
                  <a:pt x="15" y="56"/>
                  <a:pt x="15" y="56"/>
                  <a:pt x="15" y="56"/>
                </a:cubicBezTo>
                <a:cubicBezTo>
                  <a:pt x="14" y="56"/>
                  <a:pt x="14" y="56"/>
                  <a:pt x="14" y="56"/>
                </a:cubicBezTo>
                <a:cubicBezTo>
                  <a:pt x="12" y="56"/>
                  <a:pt x="12" y="56"/>
                  <a:pt x="12" y="56"/>
                </a:cubicBezTo>
                <a:cubicBezTo>
                  <a:pt x="11" y="56"/>
                  <a:pt x="10" y="55"/>
                  <a:pt x="10" y="53"/>
                </a:cubicBezTo>
                <a:close/>
                <a:moveTo>
                  <a:pt x="0" y="81"/>
                </a:moveTo>
                <a:cubicBezTo>
                  <a:pt x="0" y="78"/>
                  <a:pt x="0" y="78"/>
                  <a:pt x="0" y="78"/>
                </a:cubicBezTo>
                <a:cubicBezTo>
                  <a:pt x="0" y="77"/>
                  <a:pt x="1" y="75"/>
                  <a:pt x="3" y="75"/>
                </a:cubicBezTo>
                <a:cubicBezTo>
                  <a:pt x="4" y="75"/>
                  <a:pt x="5" y="77"/>
                  <a:pt x="5" y="78"/>
                </a:cubicBezTo>
                <a:cubicBezTo>
                  <a:pt x="5" y="81"/>
                  <a:pt x="5" y="81"/>
                  <a:pt x="5" y="81"/>
                </a:cubicBezTo>
                <a:cubicBezTo>
                  <a:pt x="5" y="82"/>
                  <a:pt x="4" y="83"/>
                  <a:pt x="3" y="83"/>
                </a:cubicBezTo>
                <a:cubicBezTo>
                  <a:pt x="1" y="83"/>
                  <a:pt x="0" y="82"/>
                  <a:pt x="0" y="81"/>
                </a:cubicBezTo>
                <a:close/>
                <a:moveTo>
                  <a:pt x="33" y="104"/>
                </a:moveTo>
                <a:cubicBezTo>
                  <a:pt x="33" y="103"/>
                  <a:pt x="34" y="101"/>
                  <a:pt x="36" y="101"/>
                </a:cubicBezTo>
                <a:cubicBezTo>
                  <a:pt x="38" y="101"/>
                  <a:pt x="38" y="101"/>
                  <a:pt x="38" y="101"/>
                </a:cubicBezTo>
                <a:cubicBezTo>
                  <a:pt x="40" y="101"/>
                  <a:pt x="41" y="103"/>
                  <a:pt x="41" y="104"/>
                </a:cubicBezTo>
                <a:cubicBezTo>
                  <a:pt x="41" y="105"/>
                  <a:pt x="40" y="107"/>
                  <a:pt x="38" y="107"/>
                </a:cubicBezTo>
                <a:cubicBezTo>
                  <a:pt x="36" y="107"/>
                  <a:pt x="36" y="107"/>
                  <a:pt x="36" y="107"/>
                </a:cubicBezTo>
                <a:cubicBezTo>
                  <a:pt x="34" y="107"/>
                  <a:pt x="33" y="105"/>
                  <a:pt x="33" y="104"/>
                </a:cubicBezTo>
                <a:close/>
                <a:moveTo>
                  <a:pt x="42" y="53"/>
                </a:moveTo>
                <a:cubicBezTo>
                  <a:pt x="42" y="52"/>
                  <a:pt x="44" y="51"/>
                  <a:pt x="45" y="51"/>
                </a:cubicBezTo>
                <a:cubicBezTo>
                  <a:pt x="46" y="51"/>
                  <a:pt x="46" y="51"/>
                  <a:pt x="46" y="51"/>
                </a:cubicBezTo>
                <a:cubicBezTo>
                  <a:pt x="48" y="51"/>
                  <a:pt x="48" y="51"/>
                  <a:pt x="48" y="51"/>
                </a:cubicBezTo>
                <a:cubicBezTo>
                  <a:pt x="49" y="51"/>
                  <a:pt x="49" y="51"/>
                  <a:pt x="49" y="51"/>
                </a:cubicBezTo>
                <a:cubicBezTo>
                  <a:pt x="51" y="51"/>
                  <a:pt x="52" y="52"/>
                  <a:pt x="52" y="53"/>
                </a:cubicBezTo>
                <a:cubicBezTo>
                  <a:pt x="52" y="55"/>
                  <a:pt x="51" y="56"/>
                  <a:pt x="49" y="56"/>
                </a:cubicBezTo>
                <a:cubicBezTo>
                  <a:pt x="48" y="56"/>
                  <a:pt x="48" y="56"/>
                  <a:pt x="48" y="56"/>
                </a:cubicBezTo>
                <a:cubicBezTo>
                  <a:pt x="46" y="56"/>
                  <a:pt x="46" y="56"/>
                  <a:pt x="46" y="56"/>
                </a:cubicBezTo>
                <a:cubicBezTo>
                  <a:pt x="45" y="56"/>
                  <a:pt x="45" y="56"/>
                  <a:pt x="45" y="56"/>
                </a:cubicBezTo>
                <a:cubicBezTo>
                  <a:pt x="44" y="56"/>
                  <a:pt x="42" y="55"/>
                  <a:pt x="42" y="53"/>
                </a:cubicBezTo>
                <a:close/>
                <a:moveTo>
                  <a:pt x="64" y="53"/>
                </a:moveTo>
                <a:cubicBezTo>
                  <a:pt x="64" y="52"/>
                  <a:pt x="65" y="51"/>
                  <a:pt x="67" y="51"/>
                </a:cubicBezTo>
                <a:cubicBezTo>
                  <a:pt x="68" y="51"/>
                  <a:pt x="68" y="51"/>
                  <a:pt x="68" y="51"/>
                </a:cubicBezTo>
                <a:cubicBezTo>
                  <a:pt x="70" y="51"/>
                  <a:pt x="70" y="51"/>
                  <a:pt x="70" y="51"/>
                </a:cubicBezTo>
                <a:cubicBezTo>
                  <a:pt x="71" y="51"/>
                  <a:pt x="71" y="51"/>
                  <a:pt x="71" y="51"/>
                </a:cubicBezTo>
                <a:cubicBezTo>
                  <a:pt x="73" y="51"/>
                  <a:pt x="74" y="52"/>
                  <a:pt x="74" y="53"/>
                </a:cubicBezTo>
                <a:cubicBezTo>
                  <a:pt x="74" y="55"/>
                  <a:pt x="73" y="56"/>
                  <a:pt x="71" y="56"/>
                </a:cubicBezTo>
                <a:cubicBezTo>
                  <a:pt x="70" y="56"/>
                  <a:pt x="70" y="56"/>
                  <a:pt x="70" y="56"/>
                </a:cubicBezTo>
                <a:cubicBezTo>
                  <a:pt x="68" y="56"/>
                  <a:pt x="68" y="56"/>
                  <a:pt x="68" y="56"/>
                </a:cubicBezTo>
                <a:cubicBezTo>
                  <a:pt x="67" y="56"/>
                  <a:pt x="67" y="56"/>
                  <a:pt x="67" y="56"/>
                </a:cubicBezTo>
                <a:cubicBezTo>
                  <a:pt x="65" y="56"/>
                  <a:pt x="64" y="55"/>
                  <a:pt x="64" y="53"/>
                </a:cubicBezTo>
                <a:close/>
                <a:moveTo>
                  <a:pt x="75" y="53"/>
                </a:moveTo>
                <a:cubicBezTo>
                  <a:pt x="75" y="52"/>
                  <a:pt x="76" y="51"/>
                  <a:pt x="78" y="51"/>
                </a:cubicBezTo>
                <a:cubicBezTo>
                  <a:pt x="79" y="51"/>
                  <a:pt x="79" y="51"/>
                  <a:pt x="79" y="51"/>
                </a:cubicBezTo>
                <a:cubicBezTo>
                  <a:pt x="81" y="51"/>
                  <a:pt x="81" y="51"/>
                  <a:pt x="81" y="51"/>
                </a:cubicBezTo>
                <a:cubicBezTo>
                  <a:pt x="82" y="51"/>
                  <a:pt x="82" y="51"/>
                  <a:pt x="82" y="51"/>
                </a:cubicBezTo>
                <a:cubicBezTo>
                  <a:pt x="84" y="51"/>
                  <a:pt x="85" y="52"/>
                  <a:pt x="85" y="53"/>
                </a:cubicBezTo>
                <a:cubicBezTo>
                  <a:pt x="85" y="55"/>
                  <a:pt x="84" y="56"/>
                  <a:pt x="82" y="56"/>
                </a:cubicBezTo>
                <a:cubicBezTo>
                  <a:pt x="81" y="56"/>
                  <a:pt x="81" y="56"/>
                  <a:pt x="81" y="56"/>
                </a:cubicBezTo>
                <a:cubicBezTo>
                  <a:pt x="79" y="56"/>
                  <a:pt x="79" y="56"/>
                  <a:pt x="79" y="56"/>
                </a:cubicBezTo>
                <a:cubicBezTo>
                  <a:pt x="78" y="56"/>
                  <a:pt x="78" y="56"/>
                  <a:pt x="78" y="56"/>
                </a:cubicBezTo>
                <a:cubicBezTo>
                  <a:pt x="76" y="56"/>
                  <a:pt x="75" y="55"/>
                  <a:pt x="75" y="53"/>
                </a:cubicBezTo>
                <a:close/>
                <a:moveTo>
                  <a:pt x="90" y="101"/>
                </a:moveTo>
                <a:cubicBezTo>
                  <a:pt x="93" y="101"/>
                  <a:pt x="93" y="101"/>
                  <a:pt x="93" y="101"/>
                </a:cubicBezTo>
                <a:cubicBezTo>
                  <a:pt x="94" y="101"/>
                  <a:pt x="96" y="103"/>
                  <a:pt x="96" y="104"/>
                </a:cubicBezTo>
                <a:cubicBezTo>
                  <a:pt x="96" y="105"/>
                  <a:pt x="94" y="107"/>
                  <a:pt x="93" y="107"/>
                </a:cubicBezTo>
                <a:cubicBezTo>
                  <a:pt x="90" y="107"/>
                  <a:pt x="90" y="107"/>
                  <a:pt x="90" y="107"/>
                </a:cubicBezTo>
                <a:cubicBezTo>
                  <a:pt x="89" y="107"/>
                  <a:pt x="88" y="105"/>
                  <a:pt x="88" y="104"/>
                </a:cubicBezTo>
                <a:cubicBezTo>
                  <a:pt x="88" y="103"/>
                  <a:pt x="89" y="101"/>
                  <a:pt x="90" y="101"/>
                </a:cubicBezTo>
                <a:close/>
                <a:moveTo>
                  <a:pt x="74" y="104"/>
                </a:moveTo>
                <a:cubicBezTo>
                  <a:pt x="74" y="105"/>
                  <a:pt x="73" y="107"/>
                  <a:pt x="71" y="107"/>
                </a:cubicBezTo>
                <a:cubicBezTo>
                  <a:pt x="68" y="107"/>
                  <a:pt x="68" y="107"/>
                  <a:pt x="68" y="107"/>
                </a:cubicBezTo>
                <a:cubicBezTo>
                  <a:pt x="67" y="107"/>
                  <a:pt x="66" y="105"/>
                  <a:pt x="66" y="104"/>
                </a:cubicBezTo>
                <a:cubicBezTo>
                  <a:pt x="66" y="103"/>
                  <a:pt x="67" y="101"/>
                  <a:pt x="68" y="101"/>
                </a:cubicBezTo>
                <a:cubicBezTo>
                  <a:pt x="71" y="101"/>
                  <a:pt x="71" y="101"/>
                  <a:pt x="71" y="101"/>
                </a:cubicBezTo>
                <a:cubicBezTo>
                  <a:pt x="73" y="101"/>
                  <a:pt x="74" y="103"/>
                  <a:pt x="74" y="104"/>
                </a:cubicBezTo>
                <a:close/>
                <a:moveTo>
                  <a:pt x="23" y="56"/>
                </a:moveTo>
                <a:cubicBezTo>
                  <a:pt x="22" y="56"/>
                  <a:pt x="21" y="55"/>
                  <a:pt x="21" y="53"/>
                </a:cubicBezTo>
                <a:cubicBezTo>
                  <a:pt x="21" y="52"/>
                  <a:pt x="22" y="51"/>
                  <a:pt x="23" y="51"/>
                </a:cubicBezTo>
                <a:cubicBezTo>
                  <a:pt x="25" y="51"/>
                  <a:pt x="25" y="51"/>
                  <a:pt x="25" y="51"/>
                </a:cubicBezTo>
                <a:cubicBezTo>
                  <a:pt x="26" y="51"/>
                  <a:pt x="26" y="51"/>
                  <a:pt x="26" y="51"/>
                </a:cubicBezTo>
                <a:cubicBezTo>
                  <a:pt x="27" y="51"/>
                  <a:pt x="27" y="51"/>
                  <a:pt x="27" y="51"/>
                </a:cubicBezTo>
                <a:cubicBezTo>
                  <a:pt x="29" y="51"/>
                  <a:pt x="30" y="52"/>
                  <a:pt x="30" y="53"/>
                </a:cubicBezTo>
                <a:cubicBezTo>
                  <a:pt x="30" y="55"/>
                  <a:pt x="29" y="56"/>
                  <a:pt x="27" y="56"/>
                </a:cubicBezTo>
                <a:cubicBezTo>
                  <a:pt x="26" y="56"/>
                  <a:pt x="26" y="56"/>
                  <a:pt x="26" y="56"/>
                </a:cubicBezTo>
                <a:cubicBezTo>
                  <a:pt x="25" y="56"/>
                  <a:pt x="25" y="56"/>
                  <a:pt x="25" y="56"/>
                </a:cubicBezTo>
                <a:lnTo>
                  <a:pt x="23" y="56"/>
                </a:lnTo>
                <a:close/>
                <a:moveTo>
                  <a:pt x="52" y="104"/>
                </a:moveTo>
                <a:cubicBezTo>
                  <a:pt x="52" y="105"/>
                  <a:pt x="51" y="107"/>
                  <a:pt x="49" y="107"/>
                </a:cubicBezTo>
                <a:cubicBezTo>
                  <a:pt x="46" y="107"/>
                  <a:pt x="46" y="107"/>
                  <a:pt x="46" y="107"/>
                </a:cubicBezTo>
                <a:cubicBezTo>
                  <a:pt x="45" y="107"/>
                  <a:pt x="44" y="105"/>
                  <a:pt x="44" y="104"/>
                </a:cubicBezTo>
                <a:cubicBezTo>
                  <a:pt x="44" y="103"/>
                  <a:pt x="45" y="101"/>
                  <a:pt x="46" y="101"/>
                </a:cubicBezTo>
                <a:cubicBezTo>
                  <a:pt x="49" y="101"/>
                  <a:pt x="49" y="101"/>
                  <a:pt x="49" y="101"/>
                </a:cubicBezTo>
                <a:cubicBezTo>
                  <a:pt x="51" y="101"/>
                  <a:pt x="52" y="103"/>
                  <a:pt x="52" y="104"/>
                </a:cubicBezTo>
                <a:close/>
                <a:moveTo>
                  <a:pt x="16" y="101"/>
                </a:moveTo>
                <a:cubicBezTo>
                  <a:pt x="18" y="101"/>
                  <a:pt x="19" y="103"/>
                  <a:pt x="19" y="104"/>
                </a:cubicBezTo>
                <a:cubicBezTo>
                  <a:pt x="19" y="105"/>
                  <a:pt x="18" y="107"/>
                  <a:pt x="16" y="107"/>
                </a:cubicBezTo>
                <a:cubicBezTo>
                  <a:pt x="14" y="107"/>
                  <a:pt x="14" y="107"/>
                  <a:pt x="14" y="107"/>
                </a:cubicBezTo>
                <a:cubicBezTo>
                  <a:pt x="12" y="107"/>
                  <a:pt x="11" y="105"/>
                  <a:pt x="11" y="104"/>
                </a:cubicBezTo>
                <a:cubicBezTo>
                  <a:pt x="11" y="103"/>
                  <a:pt x="12" y="101"/>
                  <a:pt x="14" y="101"/>
                </a:cubicBezTo>
                <a:lnTo>
                  <a:pt x="16" y="101"/>
                </a:lnTo>
                <a:close/>
                <a:moveTo>
                  <a:pt x="27" y="101"/>
                </a:moveTo>
                <a:cubicBezTo>
                  <a:pt x="29" y="101"/>
                  <a:pt x="30" y="103"/>
                  <a:pt x="30" y="104"/>
                </a:cubicBezTo>
                <a:cubicBezTo>
                  <a:pt x="30" y="105"/>
                  <a:pt x="29" y="107"/>
                  <a:pt x="27" y="107"/>
                </a:cubicBezTo>
                <a:cubicBezTo>
                  <a:pt x="25" y="107"/>
                  <a:pt x="25" y="107"/>
                  <a:pt x="25" y="107"/>
                </a:cubicBezTo>
                <a:cubicBezTo>
                  <a:pt x="23" y="107"/>
                  <a:pt x="22" y="105"/>
                  <a:pt x="22" y="104"/>
                </a:cubicBezTo>
                <a:cubicBezTo>
                  <a:pt x="22" y="103"/>
                  <a:pt x="23" y="101"/>
                  <a:pt x="25" y="101"/>
                </a:cubicBezTo>
                <a:lnTo>
                  <a:pt x="27" y="101"/>
                </a:lnTo>
                <a:close/>
                <a:moveTo>
                  <a:pt x="61" y="141"/>
                </a:moveTo>
                <a:cubicBezTo>
                  <a:pt x="61" y="143"/>
                  <a:pt x="60" y="144"/>
                  <a:pt x="59" y="144"/>
                </a:cubicBezTo>
                <a:cubicBezTo>
                  <a:pt x="3" y="144"/>
                  <a:pt x="3" y="144"/>
                  <a:pt x="3" y="144"/>
                </a:cubicBezTo>
                <a:cubicBezTo>
                  <a:pt x="1" y="144"/>
                  <a:pt x="0" y="143"/>
                  <a:pt x="0" y="141"/>
                </a:cubicBezTo>
                <a:cubicBezTo>
                  <a:pt x="0" y="140"/>
                  <a:pt x="1" y="139"/>
                  <a:pt x="3" y="139"/>
                </a:cubicBezTo>
                <a:cubicBezTo>
                  <a:pt x="59" y="139"/>
                  <a:pt x="59" y="139"/>
                  <a:pt x="59" y="139"/>
                </a:cubicBezTo>
                <a:cubicBezTo>
                  <a:pt x="60" y="139"/>
                  <a:pt x="61" y="140"/>
                  <a:pt x="61" y="141"/>
                </a:cubicBezTo>
                <a:close/>
                <a:moveTo>
                  <a:pt x="160" y="141"/>
                </a:moveTo>
                <a:cubicBezTo>
                  <a:pt x="160" y="143"/>
                  <a:pt x="159" y="144"/>
                  <a:pt x="157" y="144"/>
                </a:cubicBezTo>
                <a:cubicBezTo>
                  <a:pt x="101" y="144"/>
                  <a:pt x="101" y="144"/>
                  <a:pt x="101" y="144"/>
                </a:cubicBezTo>
                <a:cubicBezTo>
                  <a:pt x="100" y="144"/>
                  <a:pt x="99" y="143"/>
                  <a:pt x="99" y="141"/>
                </a:cubicBezTo>
                <a:cubicBezTo>
                  <a:pt x="99" y="140"/>
                  <a:pt x="100" y="139"/>
                  <a:pt x="101" y="139"/>
                </a:cubicBezTo>
                <a:cubicBezTo>
                  <a:pt x="157" y="139"/>
                  <a:pt x="157" y="139"/>
                  <a:pt x="157" y="139"/>
                </a:cubicBezTo>
                <a:cubicBezTo>
                  <a:pt x="159" y="139"/>
                  <a:pt x="160" y="140"/>
                  <a:pt x="160" y="141"/>
                </a:cubicBezTo>
                <a:close/>
                <a:moveTo>
                  <a:pt x="67" y="121"/>
                </a:moveTo>
                <a:cubicBezTo>
                  <a:pt x="63" y="117"/>
                  <a:pt x="63" y="117"/>
                  <a:pt x="63" y="117"/>
                </a:cubicBezTo>
                <a:cubicBezTo>
                  <a:pt x="77" y="103"/>
                  <a:pt x="77" y="103"/>
                  <a:pt x="77" y="103"/>
                </a:cubicBezTo>
                <a:cubicBezTo>
                  <a:pt x="77" y="102"/>
                  <a:pt x="78" y="101"/>
                  <a:pt x="79" y="101"/>
                </a:cubicBezTo>
                <a:cubicBezTo>
                  <a:pt x="82" y="101"/>
                  <a:pt x="82" y="101"/>
                  <a:pt x="82" y="101"/>
                </a:cubicBezTo>
                <a:cubicBezTo>
                  <a:pt x="84" y="101"/>
                  <a:pt x="85" y="103"/>
                  <a:pt x="85" y="104"/>
                </a:cubicBezTo>
                <a:cubicBezTo>
                  <a:pt x="85" y="105"/>
                  <a:pt x="84" y="107"/>
                  <a:pt x="82" y="107"/>
                </a:cubicBezTo>
                <a:cubicBezTo>
                  <a:pt x="81" y="107"/>
                  <a:pt x="81" y="107"/>
                  <a:pt x="81" y="107"/>
                </a:cubicBezTo>
                <a:lnTo>
                  <a:pt x="67" y="121"/>
                </a:lnTo>
                <a:close/>
                <a:moveTo>
                  <a:pt x="93" y="114"/>
                </a:moveTo>
                <a:cubicBezTo>
                  <a:pt x="79" y="128"/>
                  <a:pt x="79" y="128"/>
                  <a:pt x="79" y="128"/>
                </a:cubicBezTo>
                <a:cubicBezTo>
                  <a:pt x="72" y="129"/>
                  <a:pt x="67" y="134"/>
                  <a:pt x="67" y="141"/>
                </a:cubicBezTo>
                <a:cubicBezTo>
                  <a:pt x="67" y="149"/>
                  <a:pt x="73" y="155"/>
                  <a:pt x="80" y="155"/>
                </a:cubicBezTo>
                <a:cubicBezTo>
                  <a:pt x="87" y="155"/>
                  <a:pt x="93" y="149"/>
                  <a:pt x="93" y="141"/>
                </a:cubicBezTo>
                <a:cubicBezTo>
                  <a:pt x="93" y="136"/>
                  <a:pt x="90" y="131"/>
                  <a:pt x="85" y="129"/>
                </a:cubicBezTo>
                <a:cubicBezTo>
                  <a:pt x="97" y="118"/>
                  <a:pt x="97" y="118"/>
                  <a:pt x="97" y="118"/>
                </a:cubicBezTo>
                <a:lnTo>
                  <a:pt x="93" y="114"/>
                </a:lnTo>
                <a:close/>
                <a:moveTo>
                  <a:pt x="88" y="141"/>
                </a:moveTo>
                <a:cubicBezTo>
                  <a:pt x="88" y="146"/>
                  <a:pt x="84" y="149"/>
                  <a:pt x="80" y="149"/>
                </a:cubicBezTo>
                <a:cubicBezTo>
                  <a:pt x="76" y="149"/>
                  <a:pt x="72" y="146"/>
                  <a:pt x="72" y="141"/>
                </a:cubicBezTo>
                <a:cubicBezTo>
                  <a:pt x="72" y="137"/>
                  <a:pt x="76" y="133"/>
                  <a:pt x="80" y="133"/>
                </a:cubicBezTo>
                <a:cubicBezTo>
                  <a:pt x="84" y="133"/>
                  <a:pt x="88" y="137"/>
                  <a:pt x="88" y="141"/>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1354">
            <a:extLst>
              <a:ext uri="{FF2B5EF4-FFF2-40B4-BE49-F238E27FC236}">
                <a16:creationId xmlns:a16="http://schemas.microsoft.com/office/drawing/2014/main" id="{E3C138C9-ADD9-CD47-96AE-F43AF41C30A5}"/>
              </a:ext>
            </a:extLst>
          </p:cNvPr>
          <p:cNvSpPr>
            <a:spLocks noEditPoints="1"/>
          </p:cNvSpPr>
          <p:nvPr/>
        </p:nvSpPr>
        <p:spPr bwMode="auto">
          <a:xfrm>
            <a:off x="6220987" y="5938838"/>
            <a:ext cx="546100" cy="530225"/>
          </a:xfrm>
          <a:custGeom>
            <a:avLst/>
            <a:gdLst>
              <a:gd name="T0" fmla="*/ 28 w 160"/>
              <a:gd name="T1" fmla="*/ 16 h 154"/>
              <a:gd name="T2" fmla="*/ 28 w 160"/>
              <a:gd name="T3" fmla="*/ 35 h 154"/>
              <a:gd name="T4" fmla="*/ 133 w 160"/>
              <a:gd name="T5" fmla="*/ 21 h 154"/>
              <a:gd name="T6" fmla="*/ 123 w 160"/>
              <a:gd name="T7" fmla="*/ 21 h 154"/>
              <a:gd name="T8" fmla="*/ 139 w 160"/>
              <a:gd name="T9" fmla="*/ 29 h 154"/>
              <a:gd name="T10" fmla="*/ 128 w 160"/>
              <a:gd name="T11" fmla="*/ 29 h 154"/>
              <a:gd name="T12" fmla="*/ 112 w 160"/>
              <a:gd name="T13" fmla="*/ 21 h 154"/>
              <a:gd name="T14" fmla="*/ 117 w 160"/>
              <a:gd name="T15" fmla="*/ 29 h 154"/>
              <a:gd name="T16" fmla="*/ 101 w 160"/>
              <a:gd name="T17" fmla="*/ 21 h 154"/>
              <a:gd name="T18" fmla="*/ 107 w 160"/>
              <a:gd name="T19" fmla="*/ 29 h 154"/>
              <a:gd name="T20" fmla="*/ 91 w 160"/>
              <a:gd name="T21" fmla="*/ 21 h 154"/>
              <a:gd name="T22" fmla="*/ 96 w 160"/>
              <a:gd name="T23" fmla="*/ 29 h 154"/>
              <a:gd name="T24" fmla="*/ 0 w 160"/>
              <a:gd name="T25" fmla="*/ 12 h 154"/>
              <a:gd name="T26" fmla="*/ 12 w 160"/>
              <a:gd name="T27" fmla="*/ 107 h 154"/>
              <a:gd name="T28" fmla="*/ 155 w 160"/>
              <a:gd name="T29" fmla="*/ 53 h 154"/>
              <a:gd name="T30" fmla="*/ 12 w 160"/>
              <a:gd name="T31" fmla="*/ 101 h 154"/>
              <a:gd name="T32" fmla="*/ 155 w 160"/>
              <a:gd name="T33" fmla="*/ 63 h 154"/>
              <a:gd name="T34" fmla="*/ 148 w 160"/>
              <a:gd name="T35" fmla="*/ 5 h 154"/>
              <a:gd name="T36" fmla="*/ 28 w 160"/>
              <a:gd name="T37" fmla="*/ 91 h 154"/>
              <a:gd name="T38" fmla="*/ 28 w 160"/>
              <a:gd name="T39" fmla="*/ 72 h 154"/>
              <a:gd name="T40" fmla="*/ 83 w 160"/>
              <a:gd name="T41" fmla="*/ 131 h 154"/>
              <a:gd name="T42" fmla="*/ 86 w 160"/>
              <a:gd name="T43" fmla="*/ 136 h 154"/>
              <a:gd name="T44" fmla="*/ 83 w 160"/>
              <a:gd name="T45" fmla="*/ 154 h 154"/>
              <a:gd name="T46" fmla="*/ 88 w 160"/>
              <a:gd name="T47" fmla="*/ 149 h 154"/>
              <a:gd name="T48" fmla="*/ 90 w 160"/>
              <a:gd name="T49" fmla="*/ 147 h 154"/>
              <a:gd name="T50" fmla="*/ 77 w 160"/>
              <a:gd name="T51" fmla="*/ 152 h 154"/>
              <a:gd name="T52" fmla="*/ 74 w 160"/>
              <a:gd name="T53" fmla="*/ 147 h 154"/>
              <a:gd name="T54" fmla="*/ 76 w 160"/>
              <a:gd name="T55" fmla="*/ 134 h 154"/>
              <a:gd name="T56" fmla="*/ 80 w 160"/>
              <a:gd name="T57" fmla="*/ 130 h 154"/>
              <a:gd name="T58" fmla="*/ 67 w 160"/>
              <a:gd name="T59" fmla="*/ 138 h 154"/>
              <a:gd name="T60" fmla="*/ 133 w 160"/>
              <a:gd name="T61" fmla="*/ 72 h 154"/>
              <a:gd name="T62" fmla="*/ 123 w 160"/>
              <a:gd name="T63" fmla="*/ 72 h 154"/>
              <a:gd name="T64" fmla="*/ 139 w 160"/>
              <a:gd name="T65" fmla="*/ 80 h 154"/>
              <a:gd name="T66" fmla="*/ 128 w 160"/>
              <a:gd name="T67" fmla="*/ 80 h 154"/>
              <a:gd name="T68" fmla="*/ 112 w 160"/>
              <a:gd name="T69" fmla="*/ 72 h 154"/>
              <a:gd name="T70" fmla="*/ 117 w 160"/>
              <a:gd name="T71" fmla="*/ 80 h 154"/>
              <a:gd name="T72" fmla="*/ 101 w 160"/>
              <a:gd name="T73" fmla="*/ 72 h 154"/>
              <a:gd name="T74" fmla="*/ 107 w 160"/>
              <a:gd name="T75" fmla="*/ 80 h 154"/>
              <a:gd name="T76" fmla="*/ 91 w 160"/>
              <a:gd name="T77" fmla="*/ 72 h 154"/>
              <a:gd name="T78" fmla="*/ 96 w 160"/>
              <a:gd name="T79" fmla="*/ 80 h 154"/>
              <a:gd name="T80" fmla="*/ 61 w 160"/>
              <a:gd name="T81" fmla="*/ 141 h 154"/>
              <a:gd name="T82" fmla="*/ 59 w 160"/>
              <a:gd name="T83" fmla="*/ 139 h 154"/>
              <a:gd name="T84" fmla="*/ 32 w 160"/>
              <a:gd name="T85" fmla="*/ 141 h 154"/>
              <a:gd name="T86" fmla="*/ 48 w 160"/>
              <a:gd name="T87" fmla="*/ 144 h 154"/>
              <a:gd name="T88" fmla="*/ 51 w 160"/>
              <a:gd name="T89" fmla="*/ 141 h 154"/>
              <a:gd name="T90" fmla="*/ 3 w 160"/>
              <a:gd name="T91" fmla="*/ 139 h 154"/>
              <a:gd name="T92" fmla="*/ 13 w 160"/>
              <a:gd name="T93" fmla="*/ 144 h 154"/>
              <a:gd name="T94" fmla="*/ 29 w 160"/>
              <a:gd name="T95" fmla="*/ 141 h 154"/>
              <a:gd name="T96" fmla="*/ 27 w 160"/>
              <a:gd name="T97" fmla="*/ 139 h 154"/>
              <a:gd name="T98" fmla="*/ 99 w 160"/>
              <a:gd name="T99" fmla="*/ 141 h 154"/>
              <a:gd name="T100" fmla="*/ 125 w 160"/>
              <a:gd name="T101" fmla="*/ 144 h 154"/>
              <a:gd name="T102" fmla="*/ 128 w 160"/>
              <a:gd name="T103" fmla="*/ 141 h 154"/>
              <a:gd name="T104" fmla="*/ 112 w 160"/>
              <a:gd name="T105" fmla="*/ 139 h 154"/>
              <a:gd name="T106" fmla="*/ 155 w 160"/>
              <a:gd name="T107" fmla="*/ 144 h 154"/>
              <a:gd name="T108" fmla="*/ 139 w 160"/>
              <a:gd name="T109" fmla="*/ 141 h 154"/>
              <a:gd name="T110" fmla="*/ 136 w 160"/>
              <a:gd name="T111" fmla="*/ 139 h 154"/>
              <a:gd name="T112" fmla="*/ 141 w 160"/>
              <a:gd name="T113" fmla="*/ 141 h 154"/>
              <a:gd name="T114" fmla="*/ 77 w 160"/>
              <a:gd name="T115" fmla="*/ 123 h 154"/>
              <a:gd name="T116" fmla="*/ 80 w 160"/>
              <a:gd name="T117" fmla="*/ 125 h 154"/>
              <a:gd name="T118" fmla="*/ 77 w 160"/>
              <a:gd name="T119" fmla="*/ 1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54">
                <a:moveTo>
                  <a:pt x="28" y="16"/>
                </a:moveTo>
                <a:cubicBezTo>
                  <a:pt x="21" y="16"/>
                  <a:pt x="16" y="21"/>
                  <a:pt x="16" y="28"/>
                </a:cubicBezTo>
                <a:cubicBezTo>
                  <a:pt x="16" y="35"/>
                  <a:pt x="21" y="40"/>
                  <a:pt x="28" y="40"/>
                </a:cubicBezTo>
                <a:cubicBezTo>
                  <a:pt x="35" y="40"/>
                  <a:pt x="40" y="35"/>
                  <a:pt x="40" y="28"/>
                </a:cubicBezTo>
                <a:cubicBezTo>
                  <a:pt x="40" y="21"/>
                  <a:pt x="35" y="16"/>
                  <a:pt x="28" y="16"/>
                </a:cubicBezTo>
                <a:close/>
                <a:moveTo>
                  <a:pt x="28" y="35"/>
                </a:moveTo>
                <a:cubicBezTo>
                  <a:pt x="24" y="35"/>
                  <a:pt x="21" y="32"/>
                  <a:pt x="21" y="28"/>
                </a:cubicBezTo>
                <a:cubicBezTo>
                  <a:pt x="21" y="24"/>
                  <a:pt x="24" y="21"/>
                  <a:pt x="28" y="21"/>
                </a:cubicBezTo>
                <a:cubicBezTo>
                  <a:pt x="32" y="21"/>
                  <a:pt x="35" y="24"/>
                  <a:pt x="35" y="28"/>
                </a:cubicBezTo>
                <a:cubicBezTo>
                  <a:pt x="35" y="32"/>
                  <a:pt x="32" y="35"/>
                  <a:pt x="28" y="35"/>
                </a:cubicBezTo>
                <a:close/>
                <a:moveTo>
                  <a:pt x="133" y="21"/>
                </a:moveTo>
                <a:cubicBezTo>
                  <a:pt x="135" y="21"/>
                  <a:pt x="136" y="23"/>
                  <a:pt x="136" y="24"/>
                </a:cubicBezTo>
                <a:cubicBezTo>
                  <a:pt x="136" y="25"/>
                  <a:pt x="135" y="27"/>
                  <a:pt x="133" y="27"/>
                </a:cubicBezTo>
                <a:cubicBezTo>
                  <a:pt x="132" y="27"/>
                  <a:pt x="131" y="25"/>
                  <a:pt x="131" y="24"/>
                </a:cubicBezTo>
                <a:cubicBezTo>
                  <a:pt x="131" y="23"/>
                  <a:pt x="132" y="21"/>
                  <a:pt x="133" y="21"/>
                </a:cubicBezTo>
                <a:close/>
                <a:moveTo>
                  <a:pt x="123" y="21"/>
                </a:moveTo>
                <a:cubicBezTo>
                  <a:pt x="124" y="21"/>
                  <a:pt x="125" y="23"/>
                  <a:pt x="125" y="24"/>
                </a:cubicBezTo>
                <a:cubicBezTo>
                  <a:pt x="125" y="25"/>
                  <a:pt x="124" y="27"/>
                  <a:pt x="123" y="27"/>
                </a:cubicBezTo>
                <a:cubicBezTo>
                  <a:pt x="121" y="27"/>
                  <a:pt x="120" y="25"/>
                  <a:pt x="120" y="24"/>
                </a:cubicBezTo>
                <a:cubicBezTo>
                  <a:pt x="120" y="23"/>
                  <a:pt x="121" y="21"/>
                  <a:pt x="123" y="21"/>
                </a:cubicBezTo>
                <a:close/>
                <a:moveTo>
                  <a:pt x="139" y="29"/>
                </a:moveTo>
                <a:cubicBezTo>
                  <a:pt x="140" y="29"/>
                  <a:pt x="141" y="31"/>
                  <a:pt x="141" y="32"/>
                </a:cubicBezTo>
                <a:cubicBezTo>
                  <a:pt x="141" y="33"/>
                  <a:pt x="140" y="35"/>
                  <a:pt x="139" y="35"/>
                </a:cubicBezTo>
                <a:cubicBezTo>
                  <a:pt x="137" y="35"/>
                  <a:pt x="136" y="33"/>
                  <a:pt x="136" y="32"/>
                </a:cubicBezTo>
                <a:cubicBezTo>
                  <a:pt x="136" y="31"/>
                  <a:pt x="137" y="29"/>
                  <a:pt x="139" y="29"/>
                </a:cubicBezTo>
                <a:close/>
                <a:moveTo>
                  <a:pt x="128" y="29"/>
                </a:moveTo>
                <a:cubicBezTo>
                  <a:pt x="129" y="29"/>
                  <a:pt x="131" y="31"/>
                  <a:pt x="131" y="32"/>
                </a:cubicBezTo>
                <a:cubicBezTo>
                  <a:pt x="131" y="33"/>
                  <a:pt x="129" y="35"/>
                  <a:pt x="128" y="35"/>
                </a:cubicBezTo>
                <a:cubicBezTo>
                  <a:pt x="127" y="35"/>
                  <a:pt x="125" y="33"/>
                  <a:pt x="125" y="32"/>
                </a:cubicBezTo>
                <a:cubicBezTo>
                  <a:pt x="125" y="31"/>
                  <a:pt x="127" y="29"/>
                  <a:pt x="128" y="29"/>
                </a:cubicBezTo>
                <a:close/>
                <a:moveTo>
                  <a:pt x="112" y="21"/>
                </a:moveTo>
                <a:cubicBezTo>
                  <a:pt x="113" y="21"/>
                  <a:pt x="115" y="23"/>
                  <a:pt x="115" y="24"/>
                </a:cubicBezTo>
                <a:cubicBezTo>
                  <a:pt x="115" y="25"/>
                  <a:pt x="113" y="27"/>
                  <a:pt x="112" y="27"/>
                </a:cubicBezTo>
                <a:cubicBezTo>
                  <a:pt x="111" y="27"/>
                  <a:pt x="109" y="25"/>
                  <a:pt x="109" y="24"/>
                </a:cubicBezTo>
                <a:cubicBezTo>
                  <a:pt x="109" y="23"/>
                  <a:pt x="111" y="21"/>
                  <a:pt x="112" y="21"/>
                </a:cubicBezTo>
                <a:close/>
                <a:moveTo>
                  <a:pt x="117" y="29"/>
                </a:moveTo>
                <a:cubicBezTo>
                  <a:pt x="119" y="29"/>
                  <a:pt x="120" y="31"/>
                  <a:pt x="120" y="32"/>
                </a:cubicBezTo>
                <a:cubicBezTo>
                  <a:pt x="120" y="33"/>
                  <a:pt x="119" y="35"/>
                  <a:pt x="117" y="35"/>
                </a:cubicBezTo>
                <a:cubicBezTo>
                  <a:pt x="116" y="35"/>
                  <a:pt x="115" y="33"/>
                  <a:pt x="115" y="32"/>
                </a:cubicBezTo>
                <a:cubicBezTo>
                  <a:pt x="115" y="31"/>
                  <a:pt x="116" y="29"/>
                  <a:pt x="117" y="29"/>
                </a:cubicBezTo>
                <a:close/>
                <a:moveTo>
                  <a:pt x="101" y="21"/>
                </a:moveTo>
                <a:cubicBezTo>
                  <a:pt x="103" y="21"/>
                  <a:pt x="104" y="23"/>
                  <a:pt x="104" y="24"/>
                </a:cubicBezTo>
                <a:cubicBezTo>
                  <a:pt x="104" y="25"/>
                  <a:pt x="103" y="27"/>
                  <a:pt x="101" y="27"/>
                </a:cubicBezTo>
                <a:cubicBezTo>
                  <a:pt x="100" y="27"/>
                  <a:pt x="99" y="25"/>
                  <a:pt x="99" y="24"/>
                </a:cubicBezTo>
                <a:cubicBezTo>
                  <a:pt x="99" y="23"/>
                  <a:pt x="100" y="21"/>
                  <a:pt x="101" y="21"/>
                </a:cubicBezTo>
                <a:close/>
                <a:moveTo>
                  <a:pt x="107" y="29"/>
                </a:moveTo>
                <a:cubicBezTo>
                  <a:pt x="108" y="29"/>
                  <a:pt x="109" y="31"/>
                  <a:pt x="109" y="32"/>
                </a:cubicBezTo>
                <a:cubicBezTo>
                  <a:pt x="109" y="33"/>
                  <a:pt x="108" y="35"/>
                  <a:pt x="107" y="35"/>
                </a:cubicBezTo>
                <a:cubicBezTo>
                  <a:pt x="105" y="35"/>
                  <a:pt x="104" y="33"/>
                  <a:pt x="104" y="32"/>
                </a:cubicBezTo>
                <a:cubicBezTo>
                  <a:pt x="104" y="31"/>
                  <a:pt x="105" y="29"/>
                  <a:pt x="107" y="29"/>
                </a:cubicBezTo>
                <a:close/>
                <a:moveTo>
                  <a:pt x="91" y="21"/>
                </a:moveTo>
                <a:cubicBezTo>
                  <a:pt x="92" y="21"/>
                  <a:pt x="93" y="23"/>
                  <a:pt x="93" y="24"/>
                </a:cubicBezTo>
                <a:cubicBezTo>
                  <a:pt x="93" y="25"/>
                  <a:pt x="92" y="27"/>
                  <a:pt x="91" y="27"/>
                </a:cubicBezTo>
                <a:cubicBezTo>
                  <a:pt x="89" y="27"/>
                  <a:pt x="88" y="25"/>
                  <a:pt x="88" y="24"/>
                </a:cubicBezTo>
                <a:cubicBezTo>
                  <a:pt x="88" y="23"/>
                  <a:pt x="89" y="21"/>
                  <a:pt x="91" y="21"/>
                </a:cubicBezTo>
                <a:close/>
                <a:moveTo>
                  <a:pt x="96" y="29"/>
                </a:moveTo>
                <a:cubicBezTo>
                  <a:pt x="97" y="29"/>
                  <a:pt x="99" y="31"/>
                  <a:pt x="99" y="32"/>
                </a:cubicBezTo>
                <a:cubicBezTo>
                  <a:pt x="99" y="33"/>
                  <a:pt x="97" y="35"/>
                  <a:pt x="96" y="35"/>
                </a:cubicBezTo>
                <a:cubicBezTo>
                  <a:pt x="95" y="35"/>
                  <a:pt x="93" y="33"/>
                  <a:pt x="93" y="32"/>
                </a:cubicBezTo>
                <a:cubicBezTo>
                  <a:pt x="93" y="31"/>
                  <a:pt x="95" y="29"/>
                  <a:pt x="96" y="29"/>
                </a:cubicBezTo>
                <a:close/>
                <a:moveTo>
                  <a:pt x="160" y="44"/>
                </a:moveTo>
                <a:cubicBezTo>
                  <a:pt x="160" y="12"/>
                  <a:pt x="160" y="12"/>
                  <a:pt x="160" y="12"/>
                </a:cubicBezTo>
                <a:cubicBezTo>
                  <a:pt x="160" y="6"/>
                  <a:pt x="154" y="0"/>
                  <a:pt x="148" y="0"/>
                </a:cubicBezTo>
                <a:cubicBezTo>
                  <a:pt x="12" y="0"/>
                  <a:pt x="12" y="0"/>
                  <a:pt x="12" y="0"/>
                </a:cubicBezTo>
                <a:cubicBezTo>
                  <a:pt x="6" y="0"/>
                  <a:pt x="0" y="6"/>
                  <a:pt x="0" y="12"/>
                </a:cubicBezTo>
                <a:cubicBezTo>
                  <a:pt x="0" y="44"/>
                  <a:pt x="0" y="44"/>
                  <a:pt x="0" y="44"/>
                </a:cubicBezTo>
                <a:cubicBezTo>
                  <a:pt x="0" y="48"/>
                  <a:pt x="2" y="51"/>
                  <a:pt x="5" y="53"/>
                </a:cubicBezTo>
                <a:cubicBezTo>
                  <a:pt x="2" y="56"/>
                  <a:pt x="0" y="59"/>
                  <a:pt x="0" y="63"/>
                </a:cubicBezTo>
                <a:cubicBezTo>
                  <a:pt x="0" y="94"/>
                  <a:pt x="0" y="94"/>
                  <a:pt x="0" y="94"/>
                </a:cubicBezTo>
                <a:cubicBezTo>
                  <a:pt x="0" y="101"/>
                  <a:pt x="6" y="107"/>
                  <a:pt x="12" y="107"/>
                </a:cubicBezTo>
                <a:cubicBezTo>
                  <a:pt x="80" y="107"/>
                  <a:pt x="80" y="107"/>
                  <a:pt x="80" y="107"/>
                </a:cubicBezTo>
                <a:cubicBezTo>
                  <a:pt x="148" y="107"/>
                  <a:pt x="148" y="107"/>
                  <a:pt x="148" y="107"/>
                </a:cubicBezTo>
                <a:cubicBezTo>
                  <a:pt x="154" y="107"/>
                  <a:pt x="160" y="101"/>
                  <a:pt x="160" y="94"/>
                </a:cubicBezTo>
                <a:cubicBezTo>
                  <a:pt x="160" y="63"/>
                  <a:pt x="160" y="63"/>
                  <a:pt x="160" y="63"/>
                </a:cubicBezTo>
                <a:cubicBezTo>
                  <a:pt x="160" y="59"/>
                  <a:pt x="158" y="56"/>
                  <a:pt x="155" y="53"/>
                </a:cubicBezTo>
                <a:cubicBezTo>
                  <a:pt x="158" y="51"/>
                  <a:pt x="160" y="48"/>
                  <a:pt x="160" y="44"/>
                </a:cubicBezTo>
                <a:close/>
                <a:moveTo>
                  <a:pt x="155" y="63"/>
                </a:moveTo>
                <a:cubicBezTo>
                  <a:pt x="155" y="94"/>
                  <a:pt x="155" y="94"/>
                  <a:pt x="155" y="94"/>
                </a:cubicBezTo>
                <a:cubicBezTo>
                  <a:pt x="155" y="98"/>
                  <a:pt x="152" y="101"/>
                  <a:pt x="148" y="101"/>
                </a:cubicBezTo>
                <a:cubicBezTo>
                  <a:pt x="12" y="101"/>
                  <a:pt x="12" y="101"/>
                  <a:pt x="12" y="101"/>
                </a:cubicBezTo>
                <a:cubicBezTo>
                  <a:pt x="8" y="101"/>
                  <a:pt x="5" y="98"/>
                  <a:pt x="5" y="94"/>
                </a:cubicBezTo>
                <a:cubicBezTo>
                  <a:pt x="5" y="63"/>
                  <a:pt x="5" y="63"/>
                  <a:pt x="5" y="63"/>
                </a:cubicBezTo>
                <a:cubicBezTo>
                  <a:pt x="5" y="59"/>
                  <a:pt x="8" y="56"/>
                  <a:pt x="12" y="56"/>
                </a:cubicBezTo>
                <a:cubicBezTo>
                  <a:pt x="148" y="56"/>
                  <a:pt x="148" y="56"/>
                  <a:pt x="148" y="56"/>
                </a:cubicBezTo>
                <a:cubicBezTo>
                  <a:pt x="152" y="56"/>
                  <a:pt x="155" y="59"/>
                  <a:pt x="155" y="63"/>
                </a:cubicBezTo>
                <a:close/>
                <a:moveTo>
                  <a:pt x="12" y="51"/>
                </a:moveTo>
                <a:cubicBezTo>
                  <a:pt x="8" y="51"/>
                  <a:pt x="5" y="48"/>
                  <a:pt x="5" y="44"/>
                </a:cubicBezTo>
                <a:cubicBezTo>
                  <a:pt x="5" y="12"/>
                  <a:pt x="5" y="12"/>
                  <a:pt x="5" y="12"/>
                </a:cubicBezTo>
                <a:cubicBezTo>
                  <a:pt x="5" y="8"/>
                  <a:pt x="8" y="5"/>
                  <a:pt x="12" y="5"/>
                </a:cubicBezTo>
                <a:cubicBezTo>
                  <a:pt x="148" y="5"/>
                  <a:pt x="148" y="5"/>
                  <a:pt x="148" y="5"/>
                </a:cubicBezTo>
                <a:cubicBezTo>
                  <a:pt x="152" y="5"/>
                  <a:pt x="155" y="8"/>
                  <a:pt x="155" y="12"/>
                </a:cubicBezTo>
                <a:cubicBezTo>
                  <a:pt x="155" y="44"/>
                  <a:pt x="155" y="44"/>
                  <a:pt x="155" y="44"/>
                </a:cubicBezTo>
                <a:cubicBezTo>
                  <a:pt x="155" y="48"/>
                  <a:pt x="152" y="51"/>
                  <a:pt x="148" y="51"/>
                </a:cubicBezTo>
                <a:cubicBezTo>
                  <a:pt x="12" y="51"/>
                  <a:pt x="12" y="51"/>
                  <a:pt x="12" y="51"/>
                </a:cubicBezTo>
                <a:close/>
                <a:moveTo>
                  <a:pt x="28" y="91"/>
                </a:moveTo>
                <a:cubicBezTo>
                  <a:pt x="35" y="91"/>
                  <a:pt x="40" y="85"/>
                  <a:pt x="40" y="79"/>
                </a:cubicBezTo>
                <a:cubicBezTo>
                  <a:pt x="40" y="72"/>
                  <a:pt x="35" y="67"/>
                  <a:pt x="28" y="67"/>
                </a:cubicBezTo>
                <a:cubicBezTo>
                  <a:pt x="21" y="67"/>
                  <a:pt x="16" y="72"/>
                  <a:pt x="16" y="79"/>
                </a:cubicBezTo>
                <a:cubicBezTo>
                  <a:pt x="16" y="85"/>
                  <a:pt x="21" y="91"/>
                  <a:pt x="28" y="91"/>
                </a:cubicBezTo>
                <a:close/>
                <a:moveTo>
                  <a:pt x="28" y="72"/>
                </a:moveTo>
                <a:cubicBezTo>
                  <a:pt x="32" y="72"/>
                  <a:pt x="35" y="75"/>
                  <a:pt x="35" y="79"/>
                </a:cubicBezTo>
                <a:cubicBezTo>
                  <a:pt x="35" y="82"/>
                  <a:pt x="32" y="85"/>
                  <a:pt x="28" y="85"/>
                </a:cubicBezTo>
                <a:cubicBezTo>
                  <a:pt x="24" y="85"/>
                  <a:pt x="21" y="82"/>
                  <a:pt x="21" y="79"/>
                </a:cubicBezTo>
                <a:cubicBezTo>
                  <a:pt x="21" y="75"/>
                  <a:pt x="24" y="72"/>
                  <a:pt x="28" y="72"/>
                </a:cubicBezTo>
                <a:close/>
                <a:moveTo>
                  <a:pt x="83" y="131"/>
                </a:moveTo>
                <a:cubicBezTo>
                  <a:pt x="84" y="129"/>
                  <a:pt x="85" y="129"/>
                  <a:pt x="87" y="130"/>
                </a:cubicBezTo>
                <a:cubicBezTo>
                  <a:pt x="88" y="130"/>
                  <a:pt x="89" y="131"/>
                  <a:pt x="89" y="132"/>
                </a:cubicBezTo>
                <a:cubicBezTo>
                  <a:pt x="90" y="133"/>
                  <a:pt x="90" y="135"/>
                  <a:pt x="89" y="136"/>
                </a:cubicBezTo>
                <a:cubicBezTo>
                  <a:pt x="89" y="136"/>
                  <a:pt x="88" y="136"/>
                  <a:pt x="87" y="136"/>
                </a:cubicBezTo>
                <a:cubicBezTo>
                  <a:pt x="87" y="136"/>
                  <a:pt x="86" y="136"/>
                  <a:pt x="86" y="136"/>
                </a:cubicBezTo>
                <a:cubicBezTo>
                  <a:pt x="85" y="135"/>
                  <a:pt x="85" y="135"/>
                  <a:pt x="84" y="134"/>
                </a:cubicBezTo>
                <a:cubicBezTo>
                  <a:pt x="83" y="134"/>
                  <a:pt x="82" y="132"/>
                  <a:pt x="83" y="131"/>
                </a:cubicBezTo>
                <a:close/>
                <a:moveTo>
                  <a:pt x="88" y="149"/>
                </a:moveTo>
                <a:cubicBezTo>
                  <a:pt x="88" y="150"/>
                  <a:pt x="88" y="152"/>
                  <a:pt x="87" y="153"/>
                </a:cubicBezTo>
                <a:cubicBezTo>
                  <a:pt x="86" y="153"/>
                  <a:pt x="85" y="154"/>
                  <a:pt x="83" y="154"/>
                </a:cubicBezTo>
                <a:cubicBezTo>
                  <a:pt x="83" y="154"/>
                  <a:pt x="83" y="154"/>
                  <a:pt x="83" y="154"/>
                </a:cubicBezTo>
                <a:cubicBezTo>
                  <a:pt x="82" y="154"/>
                  <a:pt x="81" y="154"/>
                  <a:pt x="80" y="152"/>
                </a:cubicBezTo>
                <a:cubicBezTo>
                  <a:pt x="80" y="151"/>
                  <a:pt x="81" y="149"/>
                  <a:pt x="82" y="149"/>
                </a:cubicBezTo>
                <a:cubicBezTo>
                  <a:pt x="83" y="149"/>
                  <a:pt x="83" y="149"/>
                  <a:pt x="84" y="148"/>
                </a:cubicBezTo>
                <a:cubicBezTo>
                  <a:pt x="85" y="148"/>
                  <a:pt x="87" y="148"/>
                  <a:pt x="88" y="149"/>
                </a:cubicBezTo>
                <a:close/>
                <a:moveTo>
                  <a:pt x="93" y="141"/>
                </a:moveTo>
                <a:cubicBezTo>
                  <a:pt x="93" y="141"/>
                  <a:pt x="93" y="141"/>
                  <a:pt x="93" y="141"/>
                </a:cubicBezTo>
                <a:cubicBezTo>
                  <a:pt x="93" y="142"/>
                  <a:pt x="93" y="144"/>
                  <a:pt x="93" y="145"/>
                </a:cubicBezTo>
                <a:cubicBezTo>
                  <a:pt x="93" y="146"/>
                  <a:pt x="91" y="147"/>
                  <a:pt x="90" y="147"/>
                </a:cubicBezTo>
                <a:cubicBezTo>
                  <a:pt x="90" y="147"/>
                  <a:pt x="90" y="147"/>
                  <a:pt x="90" y="147"/>
                </a:cubicBezTo>
                <a:cubicBezTo>
                  <a:pt x="88" y="146"/>
                  <a:pt x="87" y="145"/>
                  <a:pt x="88" y="143"/>
                </a:cubicBezTo>
                <a:cubicBezTo>
                  <a:pt x="88" y="143"/>
                  <a:pt x="88" y="142"/>
                  <a:pt x="88" y="141"/>
                </a:cubicBezTo>
                <a:cubicBezTo>
                  <a:pt x="88" y="140"/>
                  <a:pt x="89" y="139"/>
                  <a:pt x="91" y="139"/>
                </a:cubicBezTo>
                <a:cubicBezTo>
                  <a:pt x="92" y="139"/>
                  <a:pt x="93" y="140"/>
                  <a:pt x="93" y="141"/>
                </a:cubicBezTo>
                <a:close/>
                <a:moveTo>
                  <a:pt x="77" y="152"/>
                </a:moveTo>
                <a:cubicBezTo>
                  <a:pt x="77" y="153"/>
                  <a:pt x="76" y="153"/>
                  <a:pt x="75" y="153"/>
                </a:cubicBezTo>
                <a:cubicBezTo>
                  <a:pt x="74" y="153"/>
                  <a:pt x="74" y="153"/>
                  <a:pt x="73" y="153"/>
                </a:cubicBezTo>
                <a:cubicBezTo>
                  <a:pt x="72" y="152"/>
                  <a:pt x="71" y="152"/>
                  <a:pt x="71" y="151"/>
                </a:cubicBezTo>
                <a:cubicBezTo>
                  <a:pt x="70" y="150"/>
                  <a:pt x="70" y="148"/>
                  <a:pt x="71" y="147"/>
                </a:cubicBezTo>
                <a:cubicBezTo>
                  <a:pt x="72" y="146"/>
                  <a:pt x="73" y="146"/>
                  <a:pt x="74" y="147"/>
                </a:cubicBezTo>
                <a:cubicBezTo>
                  <a:pt x="75" y="148"/>
                  <a:pt x="75" y="148"/>
                  <a:pt x="76" y="148"/>
                </a:cubicBezTo>
                <a:cubicBezTo>
                  <a:pt x="77" y="149"/>
                  <a:pt x="78" y="151"/>
                  <a:pt x="77" y="152"/>
                </a:cubicBezTo>
                <a:close/>
                <a:moveTo>
                  <a:pt x="80" y="130"/>
                </a:moveTo>
                <a:cubicBezTo>
                  <a:pt x="80" y="132"/>
                  <a:pt x="79" y="133"/>
                  <a:pt x="78" y="134"/>
                </a:cubicBezTo>
                <a:cubicBezTo>
                  <a:pt x="77" y="134"/>
                  <a:pt x="77" y="134"/>
                  <a:pt x="76" y="134"/>
                </a:cubicBezTo>
                <a:cubicBezTo>
                  <a:pt x="76" y="135"/>
                  <a:pt x="75" y="135"/>
                  <a:pt x="75" y="135"/>
                </a:cubicBezTo>
                <a:cubicBezTo>
                  <a:pt x="74" y="135"/>
                  <a:pt x="73" y="134"/>
                  <a:pt x="72" y="133"/>
                </a:cubicBezTo>
                <a:cubicBezTo>
                  <a:pt x="72" y="132"/>
                  <a:pt x="72" y="131"/>
                  <a:pt x="73" y="130"/>
                </a:cubicBezTo>
                <a:cubicBezTo>
                  <a:pt x="74" y="129"/>
                  <a:pt x="75" y="129"/>
                  <a:pt x="76" y="128"/>
                </a:cubicBezTo>
                <a:cubicBezTo>
                  <a:pt x="78" y="128"/>
                  <a:pt x="79" y="129"/>
                  <a:pt x="80" y="130"/>
                </a:cubicBezTo>
                <a:close/>
                <a:moveTo>
                  <a:pt x="69" y="144"/>
                </a:moveTo>
                <a:cubicBezTo>
                  <a:pt x="68" y="144"/>
                  <a:pt x="67" y="143"/>
                  <a:pt x="67" y="141"/>
                </a:cubicBezTo>
                <a:cubicBezTo>
                  <a:pt x="69" y="141"/>
                  <a:pt x="69" y="141"/>
                  <a:pt x="69" y="141"/>
                </a:cubicBezTo>
                <a:cubicBezTo>
                  <a:pt x="67" y="141"/>
                  <a:pt x="67" y="141"/>
                  <a:pt x="67" y="141"/>
                </a:cubicBezTo>
                <a:cubicBezTo>
                  <a:pt x="67" y="140"/>
                  <a:pt x="67" y="139"/>
                  <a:pt x="67" y="138"/>
                </a:cubicBezTo>
                <a:cubicBezTo>
                  <a:pt x="67" y="137"/>
                  <a:pt x="69" y="136"/>
                  <a:pt x="70" y="136"/>
                </a:cubicBezTo>
                <a:cubicBezTo>
                  <a:pt x="72" y="136"/>
                  <a:pt x="73" y="138"/>
                  <a:pt x="72" y="139"/>
                </a:cubicBezTo>
                <a:cubicBezTo>
                  <a:pt x="72" y="140"/>
                  <a:pt x="72" y="141"/>
                  <a:pt x="72" y="141"/>
                </a:cubicBezTo>
                <a:cubicBezTo>
                  <a:pt x="72" y="143"/>
                  <a:pt x="71" y="144"/>
                  <a:pt x="69" y="144"/>
                </a:cubicBezTo>
                <a:close/>
                <a:moveTo>
                  <a:pt x="133" y="72"/>
                </a:moveTo>
                <a:cubicBezTo>
                  <a:pt x="135" y="72"/>
                  <a:pt x="136" y="73"/>
                  <a:pt x="136" y="75"/>
                </a:cubicBezTo>
                <a:cubicBezTo>
                  <a:pt x="136" y="76"/>
                  <a:pt x="135" y="77"/>
                  <a:pt x="133" y="77"/>
                </a:cubicBezTo>
                <a:cubicBezTo>
                  <a:pt x="132" y="77"/>
                  <a:pt x="131" y="76"/>
                  <a:pt x="131" y="75"/>
                </a:cubicBezTo>
                <a:cubicBezTo>
                  <a:pt x="131" y="73"/>
                  <a:pt x="132" y="72"/>
                  <a:pt x="133" y="72"/>
                </a:cubicBezTo>
                <a:close/>
                <a:moveTo>
                  <a:pt x="123" y="72"/>
                </a:moveTo>
                <a:cubicBezTo>
                  <a:pt x="124" y="72"/>
                  <a:pt x="125" y="73"/>
                  <a:pt x="125" y="75"/>
                </a:cubicBezTo>
                <a:cubicBezTo>
                  <a:pt x="125" y="76"/>
                  <a:pt x="124" y="77"/>
                  <a:pt x="123" y="77"/>
                </a:cubicBezTo>
                <a:cubicBezTo>
                  <a:pt x="121" y="77"/>
                  <a:pt x="120" y="76"/>
                  <a:pt x="120" y="75"/>
                </a:cubicBezTo>
                <a:cubicBezTo>
                  <a:pt x="120" y="73"/>
                  <a:pt x="121" y="72"/>
                  <a:pt x="123" y="72"/>
                </a:cubicBezTo>
                <a:close/>
                <a:moveTo>
                  <a:pt x="139" y="80"/>
                </a:moveTo>
                <a:cubicBezTo>
                  <a:pt x="140" y="80"/>
                  <a:pt x="141" y="81"/>
                  <a:pt x="141" y="83"/>
                </a:cubicBezTo>
                <a:cubicBezTo>
                  <a:pt x="141" y="84"/>
                  <a:pt x="140" y="85"/>
                  <a:pt x="139" y="85"/>
                </a:cubicBezTo>
                <a:cubicBezTo>
                  <a:pt x="137" y="85"/>
                  <a:pt x="136" y="84"/>
                  <a:pt x="136" y="83"/>
                </a:cubicBezTo>
                <a:cubicBezTo>
                  <a:pt x="136" y="81"/>
                  <a:pt x="137" y="80"/>
                  <a:pt x="139" y="80"/>
                </a:cubicBezTo>
                <a:close/>
                <a:moveTo>
                  <a:pt x="128" y="80"/>
                </a:moveTo>
                <a:cubicBezTo>
                  <a:pt x="129" y="80"/>
                  <a:pt x="131" y="81"/>
                  <a:pt x="131" y="83"/>
                </a:cubicBezTo>
                <a:cubicBezTo>
                  <a:pt x="131" y="84"/>
                  <a:pt x="129" y="85"/>
                  <a:pt x="128" y="85"/>
                </a:cubicBezTo>
                <a:cubicBezTo>
                  <a:pt x="127" y="85"/>
                  <a:pt x="125" y="84"/>
                  <a:pt x="125" y="83"/>
                </a:cubicBezTo>
                <a:cubicBezTo>
                  <a:pt x="125" y="81"/>
                  <a:pt x="127" y="80"/>
                  <a:pt x="128" y="80"/>
                </a:cubicBezTo>
                <a:close/>
                <a:moveTo>
                  <a:pt x="112" y="72"/>
                </a:moveTo>
                <a:cubicBezTo>
                  <a:pt x="113" y="72"/>
                  <a:pt x="115" y="73"/>
                  <a:pt x="115" y="75"/>
                </a:cubicBezTo>
                <a:cubicBezTo>
                  <a:pt x="115" y="76"/>
                  <a:pt x="113" y="77"/>
                  <a:pt x="112" y="77"/>
                </a:cubicBezTo>
                <a:cubicBezTo>
                  <a:pt x="111" y="77"/>
                  <a:pt x="109" y="76"/>
                  <a:pt x="109" y="75"/>
                </a:cubicBezTo>
                <a:cubicBezTo>
                  <a:pt x="109" y="73"/>
                  <a:pt x="111" y="72"/>
                  <a:pt x="112" y="72"/>
                </a:cubicBezTo>
                <a:close/>
                <a:moveTo>
                  <a:pt x="117" y="80"/>
                </a:moveTo>
                <a:cubicBezTo>
                  <a:pt x="119" y="80"/>
                  <a:pt x="120" y="81"/>
                  <a:pt x="120" y="83"/>
                </a:cubicBezTo>
                <a:cubicBezTo>
                  <a:pt x="120" y="84"/>
                  <a:pt x="119" y="85"/>
                  <a:pt x="117" y="85"/>
                </a:cubicBezTo>
                <a:cubicBezTo>
                  <a:pt x="116" y="85"/>
                  <a:pt x="115" y="84"/>
                  <a:pt x="115" y="83"/>
                </a:cubicBezTo>
                <a:cubicBezTo>
                  <a:pt x="115" y="81"/>
                  <a:pt x="116" y="80"/>
                  <a:pt x="117" y="80"/>
                </a:cubicBezTo>
                <a:close/>
                <a:moveTo>
                  <a:pt x="101" y="72"/>
                </a:moveTo>
                <a:cubicBezTo>
                  <a:pt x="103" y="72"/>
                  <a:pt x="104" y="73"/>
                  <a:pt x="104" y="75"/>
                </a:cubicBezTo>
                <a:cubicBezTo>
                  <a:pt x="104" y="76"/>
                  <a:pt x="103" y="77"/>
                  <a:pt x="101" y="77"/>
                </a:cubicBezTo>
                <a:cubicBezTo>
                  <a:pt x="100" y="77"/>
                  <a:pt x="99" y="76"/>
                  <a:pt x="99" y="75"/>
                </a:cubicBezTo>
                <a:cubicBezTo>
                  <a:pt x="99" y="73"/>
                  <a:pt x="100" y="72"/>
                  <a:pt x="101" y="72"/>
                </a:cubicBezTo>
                <a:close/>
                <a:moveTo>
                  <a:pt x="107" y="80"/>
                </a:moveTo>
                <a:cubicBezTo>
                  <a:pt x="108" y="80"/>
                  <a:pt x="109" y="81"/>
                  <a:pt x="109" y="83"/>
                </a:cubicBezTo>
                <a:cubicBezTo>
                  <a:pt x="109" y="84"/>
                  <a:pt x="108" y="85"/>
                  <a:pt x="107" y="85"/>
                </a:cubicBezTo>
                <a:cubicBezTo>
                  <a:pt x="105" y="85"/>
                  <a:pt x="104" y="84"/>
                  <a:pt x="104" y="83"/>
                </a:cubicBezTo>
                <a:cubicBezTo>
                  <a:pt x="104" y="81"/>
                  <a:pt x="105" y="80"/>
                  <a:pt x="107" y="80"/>
                </a:cubicBezTo>
                <a:close/>
                <a:moveTo>
                  <a:pt x="91" y="72"/>
                </a:moveTo>
                <a:cubicBezTo>
                  <a:pt x="92" y="72"/>
                  <a:pt x="93" y="73"/>
                  <a:pt x="93" y="75"/>
                </a:cubicBezTo>
                <a:cubicBezTo>
                  <a:pt x="93" y="76"/>
                  <a:pt x="92" y="77"/>
                  <a:pt x="91" y="77"/>
                </a:cubicBezTo>
                <a:cubicBezTo>
                  <a:pt x="89" y="77"/>
                  <a:pt x="88" y="76"/>
                  <a:pt x="88" y="75"/>
                </a:cubicBezTo>
                <a:cubicBezTo>
                  <a:pt x="88" y="73"/>
                  <a:pt x="89" y="72"/>
                  <a:pt x="91" y="72"/>
                </a:cubicBezTo>
                <a:close/>
                <a:moveTo>
                  <a:pt x="96" y="80"/>
                </a:moveTo>
                <a:cubicBezTo>
                  <a:pt x="97" y="80"/>
                  <a:pt x="99" y="81"/>
                  <a:pt x="99" y="83"/>
                </a:cubicBezTo>
                <a:cubicBezTo>
                  <a:pt x="99" y="84"/>
                  <a:pt x="97" y="85"/>
                  <a:pt x="96" y="85"/>
                </a:cubicBezTo>
                <a:cubicBezTo>
                  <a:pt x="95" y="85"/>
                  <a:pt x="93" y="84"/>
                  <a:pt x="93" y="83"/>
                </a:cubicBezTo>
                <a:cubicBezTo>
                  <a:pt x="93" y="81"/>
                  <a:pt x="95" y="80"/>
                  <a:pt x="96" y="80"/>
                </a:cubicBezTo>
                <a:close/>
                <a:moveTo>
                  <a:pt x="61" y="141"/>
                </a:moveTo>
                <a:cubicBezTo>
                  <a:pt x="61" y="143"/>
                  <a:pt x="60" y="144"/>
                  <a:pt x="59" y="144"/>
                </a:cubicBezTo>
                <a:cubicBezTo>
                  <a:pt x="56" y="144"/>
                  <a:pt x="56" y="144"/>
                  <a:pt x="56" y="144"/>
                </a:cubicBezTo>
                <a:cubicBezTo>
                  <a:pt x="55" y="144"/>
                  <a:pt x="53" y="143"/>
                  <a:pt x="53" y="141"/>
                </a:cubicBezTo>
                <a:cubicBezTo>
                  <a:pt x="53" y="140"/>
                  <a:pt x="55" y="139"/>
                  <a:pt x="56" y="139"/>
                </a:cubicBezTo>
                <a:cubicBezTo>
                  <a:pt x="59" y="139"/>
                  <a:pt x="59" y="139"/>
                  <a:pt x="59" y="139"/>
                </a:cubicBezTo>
                <a:cubicBezTo>
                  <a:pt x="60" y="139"/>
                  <a:pt x="61" y="140"/>
                  <a:pt x="61" y="141"/>
                </a:cubicBezTo>
                <a:close/>
                <a:moveTo>
                  <a:pt x="40" y="141"/>
                </a:moveTo>
                <a:cubicBezTo>
                  <a:pt x="40" y="143"/>
                  <a:pt x="39" y="144"/>
                  <a:pt x="37" y="144"/>
                </a:cubicBezTo>
                <a:cubicBezTo>
                  <a:pt x="35" y="144"/>
                  <a:pt x="35" y="144"/>
                  <a:pt x="35" y="144"/>
                </a:cubicBezTo>
                <a:cubicBezTo>
                  <a:pt x="33" y="144"/>
                  <a:pt x="32" y="143"/>
                  <a:pt x="32" y="141"/>
                </a:cubicBezTo>
                <a:cubicBezTo>
                  <a:pt x="32" y="140"/>
                  <a:pt x="33" y="139"/>
                  <a:pt x="35" y="139"/>
                </a:cubicBezTo>
                <a:cubicBezTo>
                  <a:pt x="37" y="139"/>
                  <a:pt x="37" y="139"/>
                  <a:pt x="37" y="139"/>
                </a:cubicBezTo>
                <a:cubicBezTo>
                  <a:pt x="39" y="139"/>
                  <a:pt x="40" y="140"/>
                  <a:pt x="40" y="141"/>
                </a:cubicBezTo>
                <a:close/>
                <a:moveTo>
                  <a:pt x="51" y="141"/>
                </a:moveTo>
                <a:cubicBezTo>
                  <a:pt x="51" y="143"/>
                  <a:pt x="49" y="144"/>
                  <a:pt x="48" y="144"/>
                </a:cubicBezTo>
                <a:cubicBezTo>
                  <a:pt x="45" y="144"/>
                  <a:pt x="45" y="144"/>
                  <a:pt x="45" y="144"/>
                </a:cubicBezTo>
                <a:cubicBezTo>
                  <a:pt x="44" y="144"/>
                  <a:pt x="43" y="143"/>
                  <a:pt x="43" y="141"/>
                </a:cubicBezTo>
                <a:cubicBezTo>
                  <a:pt x="43" y="140"/>
                  <a:pt x="44" y="139"/>
                  <a:pt x="45" y="139"/>
                </a:cubicBezTo>
                <a:cubicBezTo>
                  <a:pt x="48" y="139"/>
                  <a:pt x="48" y="139"/>
                  <a:pt x="48" y="139"/>
                </a:cubicBezTo>
                <a:cubicBezTo>
                  <a:pt x="49" y="139"/>
                  <a:pt x="51" y="140"/>
                  <a:pt x="51" y="141"/>
                </a:cubicBezTo>
                <a:close/>
                <a:moveTo>
                  <a:pt x="8" y="141"/>
                </a:moveTo>
                <a:cubicBezTo>
                  <a:pt x="8" y="143"/>
                  <a:pt x="7" y="144"/>
                  <a:pt x="5" y="144"/>
                </a:cubicBezTo>
                <a:cubicBezTo>
                  <a:pt x="3" y="144"/>
                  <a:pt x="3" y="144"/>
                  <a:pt x="3" y="144"/>
                </a:cubicBezTo>
                <a:cubicBezTo>
                  <a:pt x="1" y="144"/>
                  <a:pt x="0" y="143"/>
                  <a:pt x="0" y="141"/>
                </a:cubicBezTo>
                <a:cubicBezTo>
                  <a:pt x="0" y="140"/>
                  <a:pt x="1" y="139"/>
                  <a:pt x="3" y="139"/>
                </a:cubicBezTo>
                <a:cubicBezTo>
                  <a:pt x="5" y="139"/>
                  <a:pt x="5" y="139"/>
                  <a:pt x="5" y="139"/>
                </a:cubicBezTo>
                <a:cubicBezTo>
                  <a:pt x="7" y="139"/>
                  <a:pt x="8" y="140"/>
                  <a:pt x="8" y="141"/>
                </a:cubicBezTo>
                <a:close/>
                <a:moveTo>
                  <a:pt x="19" y="141"/>
                </a:moveTo>
                <a:cubicBezTo>
                  <a:pt x="19" y="143"/>
                  <a:pt x="17" y="144"/>
                  <a:pt x="16" y="144"/>
                </a:cubicBezTo>
                <a:cubicBezTo>
                  <a:pt x="13" y="144"/>
                  <a:pt x="13" y="144"/>
                  <a:pt x="13" y="144"/>
                </a:cubicBezTo>
                <a:cubicBezTo>
                  <a:pt x="12" y="144"/>
                  <a:pt x="11" y="143"/>
                  <a:pt x="11" y="141"/>
                </a:cubicBezTo>
                <a:cubicBezTo>
                  <a:pt x="11" y="140"/>
                  <a:pt x="12" y="139"/>
                  <a:pt x="13" y="139"/>
                </a:cubicBezTo>
                <a:cubicBezTo>
                  <a:pt x="16" y="139"/>
                  <a:pt x="16" y="139"/>
                  <a:pt x="16" y="139"/>
                </a:cubicBezTo>
                <a:cubicBezTo>
                  <a:pt x="17" y="139"/>
                  <a:pt x="19" y="140"/>
                  <a:pt x="19" y="141"/>
                </a:cubicBezTo>
                <a:close/>
                <a:moveTo>
                  <a:pt x="29" y="141"/>
                </a:moveTo>
                <a:cubicBezTo>
                  <a:pt x="29" y="143"/>
                  <a:pt x="28" y="144"/>
                  <a:pt x="27" y="144"/>
                </a:cubicBezTo>
                <a:cubicBezTo>
                  <a:pt x="24" y="144"/>
                  <a:pt x="24" y="144"/>
                  <a:pt x="24" y="144"/>
                </a:cubicBezTo>
                <a:cubicBezTo>
                  <a:pt x="23" y="144"/>
                  <a:pt x="21" y="143"/>
                  <a:pt x="21" y="141"/>
                </a:cubicBezTo>
                <a:cubicBezTo>
                  <a:pt x="21" y="140"/>
                  <a:pt x="23" y="139"/>
                  <a:pt x="24" y="139"/>
                </a:cubicBezTo>
                <a:cubicBezTo>
                  <a:pt x="27" y="139"/>
                  <a:pt x="27" y="139"/>
                  <a:pt x="27" y="139"/>
                </a:cubicBezTo>
                <a:cubicBezTo>
                  <a:pt x="28" y="139"/>
                  <a:pt x="29" y="140"/>
                  <a:pt x="29" y="141"/>
                </a:cubicBezTo>
                <a:close/>
                <a:moveTo>
                  <a:pt x="107" y="141"/>
                </a:moveTo>
                <a:cubicBezTo>
                  <a:pt x="107" y="143"/>
                  <a:pt x="105" y="144"/>
                  <a:pt x="104" y="144"/>
                </a:cubicBezTo>
                <a:cubicBezTo>
                  <a:pt x="101" y="144"/>
                  <a:pt x="101" y="144"/>
                  <a:pt x="101" y="144"/>
                </a:cubicBezTo>
                <a:cubicBezTo>
                  <a:pt x="100" y="144"/>
                  <a:pt x="99" y="143"/>
                  <a:pt x="99" y="141"/>
                </a:cubicBezTo>
                <a:cubicBezTo>
                  <a:pt x="99" y="140"/>
                  <a:pt x="100" y="139"/>
                  <a:pt x="101" y="139"/>
                </a:cubicBezTo>
                <a:cubicBezTo>
                  <a:pt x="104" y="139"/>
                  <a:pt x="104" y="139"/>
                  <a:pt x="104" y="139"/>
                </a:cubicBezTo>
                <a:cubicBezTo>
                  <a:pt x="105" y="139"/>
                  <a:pt x="107" y="140"/>
                  <a:pt x="107" y="141"/>
                </a:cubicBezTo>
                <a:close/>
                <a:moveTo>
                  <a:pt x="128" y="141"/>
                </a:moveTo>
                <a:cubicBezTo>
                  <a:pt x="128" y="143"/>
                  <a:pt x="127" y="144"/>
                  <a:pt x="125" y="144"/>
                </a:cubicBezTo>
                <a:cubicBezTo>
                  <a:pt x="123" y="144"/>
                  <a:pt x="123" y="144"/>
                  <a:pt x="123" y="144"/>
                </a:cubicBezTo>
                <a:cubicBezTo>
                  <a:pt x="121" y="144"/>
                  <a:pt x="120" y="143"/>
                  <a:pt x="120" y="141"/>
                </a:cubicBezTo>
                <a:cubicBezTo>
                  <a:pt x="120" y="140"/>
                  <a:pt x="121" y="139"/>
                  <a:pt x="123" y="139"/>
                </a:cubicBezTo>
                <a:cubicBezTo>
                  <a:pt x="125" y="139"/>
                  <a:pt x="125" y="139"/>
                  <a:pt x="125" y="139"/>
                </a:cubicBezTo>
                <a:cubicBezTo>
                  <a:pt x="127" y="139"/>
                  <a:pt x="128" y="140"/>
                  <a:pt x="128" y="141"/>
                </a:cubicBezTo>
                <a:close/>
                <a:moveTo>
                  <a:pt x="117" y="141"/>
                </a:moveTo>
                <a:cubicBezTo>
                  <a:pt x="117" y="143"/>
                  <a:pt x="116" y="144"/>
                  <a:pt x="115" y="144"/>
                </a:cubicBezTo>
                <a:cubicBezTo>
                  <a:pt x="112" y="144"/>
                  <a:pt x="112" y="144"/>
                  <a:pt x="112" y="144"/>
                </a:cubicBezTo>
                <a:cubicBezTo>
                  <a:pt x="111" y="144"/>
                  <a:pt x="109" y="143"/>
                  <a:pt x="109" y="141"/>
                </a:cubicBezTo>
                <a:cubicBezTo>
                  <a:pt x="109" y="140"/>
                  <a:pt x="111" y="139"/>
                  <a:pt x="112" y="139"/>
                </a:cubicBezTo>
                <a:cubicBezTo>
                  <a:pt x="115" y="139"/>
                  <a:pt x="115" y="139"/>
                  <a:pt x="115" y="139"/>
                </a:cubicBezTo>
                <a:cubicBezTo>
                  <a:pt x="116" y="139"/>
                  <a:pt x="117" y="140"/>
                  <a:pt x="117" y="141"/>
                </a:cubicBezTo>
                <a:close/>
                <a:moveTo>
                  <a:pt x="160" y="141"/>
                </a:moveTo>
                <a:cubicBezTo>
                  <a:pt x="160" y="143"/>
                  <a:pt x="159" y="144"/>
                  <a:pt x="157" y="144"/>
                </a:cubicBezTo>
                <a:cubicBezTo>
                  <a:pt x="155" y="144"/>
                  <a:pt x="155" y="144"/>
                  <a:pt x="155" y="144"/>
                </a:cubicBezTo>
                <a:cubicBezTo>
                  <a:pt x="153" y="144"/>
                  <a:pt x="152" y="143"/>
                  <a:pt x="152" y="141"/>
                </a:cubicBezTo>
                <a:cubicBezTo>
                  <a:pt x="152" y="140"/>
                  <a:pt x="153" y="139"/>
                  <a:pt x="155" y="139"/>
                </a:cubicBezTo>
                <a:cubicBezTo>
                  <a:pt x="157" y="139"/>
                  <a:pt x="157" y="139"/>
                  <a:pt x="157" y="139"/>
                </a:cubicBezTo>
                <a:cubicBezTo>
                  <a:pt x="159" y="139"/>
                  <a:pt x="160" y="140"/>
                  <a:pt x="160" y="141"/>
                </a:cubicBezTo>
                <a:close/>
                <a:moveTo>
                  <a:pt x="139" y="141"/>
                </a:moveTo>
                <a:cubicBezTo>
                  <a:pt x="139" y="143"/>
                  <a:pt x="137" y="144"/>
                  <a:pt x="136" y="144"/>
                </a:cubicBezTo>
                <a:cubicBezTo>
                  <a:pt x="133" y="144"/>
                  <a:pt x="133" y="144"/>
                  <a:pt x="133" y="144"/>
                </a:cubicBezTo>
                <a:cubicBezTo>
                  <a:pt x="132" y="144"/>
                  <a:pt x="131" y="143"/>
                  <a:pt x="131" y="141"/>
                </a:cubicBezTo>
                <a:cubicBezTo>
                  <a:pt x="131" y="140"/>
                  <a:pt x="132" y="139"/>
                  <a:pt x="133" y="139"/>
                </a:cubicBezTo>
                <a:cubicBezTo>
                  <a:pt x="136" y="139"/>
                  <a:pt x="136" y="139"/>
                  <a:pt x="136" y="139"/>
                </a:cubicBezTo>
                <a:cubicBezTo>
                  <a:pt x="137" y="139"/>
                  <a:pt x="139" y="140"/>
                  <a:pt x="139" y="141"/>
                </a:cubicBezTo>
                <a:close/>
                <a:moveTo>
                  <a:pt x="149" y="141"/>
                </a:moveTo>
                <a:cubicBezTo>
                  <a:pt x="149" y="143"/>
                  <a:pt x="148" y="144"/>
                  <a:pt x="147" y="144"/>
                </a:cubicBezTo>
                <a:cubicBezTo>
                  <a:pt x="144" y="144"/>
                  <a:pt x="144" y="144"/>
                  <a:pt x="144" y="144"/>
                </a:cubicBezTo>
                <a:cubicBezTo>
                  <a:pt x="143" y="144"/>
                  <a:pt x="141" y="143"/>
                  <a:pt x="141" y="141"/>
                </a:cubicBezTo>
                <a:cubicBezTo>
                  <a:pt x="141" y="140"/>
                  <a:pt x="143" y="139"/>
                  <a:pt x="144" y="139"/>
                </a:cubicBezTo>
                <a:cubicBezTo>
                  <a:pt x="147" y="139"/>
                  <a:pt x="147" y="139"/>
                  <a:pt x="147" y="139"/>
                </a:cubicBezTo>
                <a:cubicBezTo>
                  <a:pt x="148" y="139"/>
                  <a:pt x="149" y="140"/>
                  <a:pt x="149" y="141"/>
                </a:cubicBezTo>
                <a:close/>
                <a:moveTo>
                  <a:pt x="80" y="125"/>
                </a:moveTo>
                <a:cubicBezTo>
                  <a:pt x="79" y="125"/>
                  <a:pt x="77" y="124"/>
                  <a:pt x="77" y="123"/>
                </a:cubicBezTo>
                <a:cubicBezTo>
                  <a:pt x="77" y="120"/>
                  <a:pt x="77" y="120"/>
                  <a:pt x="77" y="120"/>
                </a:cubicBezTo>
                <a:cubicBezTo>
                  <a:pt x="77" y="119"/>
                  <a:pt x="79" y="117"/>
                  <a:pt x="80" y="117"/>
                </a:cubicBezTo>
                <a:cubicBezTo>
                  <a:pt x="81" y="117"/>
                  <a:pt x="83" y="119"/>
                  <a:pt x="83" y="120"/>
                </a:cubicBezTo>
                <a:cubicBezTo>
                  <a:pt x="83" y="123"/>
                  <a:pt x="83" y="123"/>
                  <a:pt x="83" y="123"/>
                </a:cubicBezTo>
                <a:cubicBezTo>
                  <a:pt x="83" y="124"/>
                  <a:pt x="81" y="125"/>
                  <a:pt x="80" y="125"/>
                </a:cubicBezTo>
                <a:close/>
                <a:moveTo>
                  <a:pt x="80" y="107"/>
                </a:moveTo>
                <a:cubicBezTo>
                  <a:pt x="81" y="107"/>
                  <a:pt x="83" y="108"/>
                  <a:pt x="83" y="109"/>
                </a:cubicBezTo>
                <a:cubicBezTo>
                  <a:pt x="83" y="112"/>
                  <a:pt x="83" y="112"/>
                  <a:pt x="83" y="112"/>
                </a:cubicBezTo>
                <a:cubicBezTo>
                  <a:pt x="83" y="113"/>
                  <a:pt x="81" y="115"/>
                  <a:pt x="80" y="115"/>
                </a:cubicBezTo>
                <a:cubicBezTo>
                  <a:pt x="79" y="115"/>
                  <a:pt x="77" y="113"/>
                  <a:pt x="77" y="112"/>
                </a:cubicBezTo>
                <a:cubicBezTo>
                  <a:pt x="77" y="109"/>
                  <a:pt x="77" y="109"/>
                  <a:pt x="77" y="109"/>
                </a:cubicBezTo>
                <a:cubicBezTo>
                  <a:pt x="77" y="108"/>
                  <a:pt x="79" y="107"/>
                  <a:pt x="80" y="107"/>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1355">
            <a:extLst>
              <a:ext uri="{FF2B5EF4-FFF2-40B4-BE49-F238E27FC236}">
                <a16:creationId xmlns:a16="http://schemas.microsoft.com/office/drawing/2014/main" id="{7417062B-C5CD-8B46-A374-748902EDCE64}"/>
              </a:ext>
            </a:extLst>
          </p:cNvPr>
          <p:cNvSpPr>
            <a:spLocks noEditPoints="1"/>
          </p:cNvSpPr>
          <p:nvPr/>
        </p:nvSpPr>
        <p:spPr bwMode="auto">
          <a:xfrm>
            <a:off x="7176662" y="365125"/>
            <a:ext cx="546100" cy="539750"/>
          </a:xfrm>
          <a:custGeom>
            <a:avLst/>
            <a:gdLst>
              <a:gd name="T0" fmla="*/ 40 w 160"/>
              <a:gd name="T1" fmla="*/ 28 h 157"/>
              <a:gd name="T2" fmla="*/ 28 w 160"/>
              <a:gd name="T3" fmla="*/ 21 h 157"/>
              <a:gd name="T4" fmla="*/ 136 w 160"/>
              <a:gd name="T5" fmla="*/ 24 h 157"/>
              <a:gd name="T6" fmla="*/ 123 w 160"/>
              <a:gd name="T7" fmla="*/ 21 h 157"/>
              <a:gd name="T8" fmla="*/ 123 w 160"/>
              <a:gd name="T9" fmla="*/ 21 h 157"/>
              <a:gd name="T10" fmla="*/ 136 w 160"/>
              <a:gd name="T11" fmla="*/ 32 h 157"/>
              <a:gd name="T12" fmla="*/ 128 w 160"/>
              <a:gd name="T13" fmla="*/ 35 h 157"/>
              <a:gd name="T14" fmla="*/ 115 w 160"/>
              <a:gd name="T15" fmla="*/ 24 h 157"/>
              <a:gd name="T16" fmla="*/ 117 w 160"/>
              <a:gd name="T17" fmla="*/ 29 h 157"/>
              <a:gd name="T18" fmla="*/ 117 w 160"/>
              <a:gd name="T19" fmla="*/ 29 h 157"/>
              <a:gd name="T20" fmla="*/ 99 w 160"/>
              <a:gd name="T21" fmla="*/ 24 h 157"/>
              <a:gd name="T22" fmla="*/ 107 w 160"/>
              <a:gd name="T23" fmla="*/ 35 h 157"/>
              <a:gd name="T24" fmla="*/ 93 w 160"/>
              <a:gd name="T25" fmla="*/ 24 h 157"/>
              <a:gd name="T26" fmla="*/ 96 w 160"/>
              <a:gd name="T27" fmla="*/ 29 h 157"/>
              <a:gd name="T28" fmla="*/ 96 w 160"/>
              <a:gd name="T29" fmla="*/ 29 h 157"/>
              <a:gd name="T30" fmla="*/ 12 w 160"/>
              <a:gd name="T31" fmla="*/ 0 h 157"/>
              <a:gd name="T32" fmla="*/ 0 w 160"/>
              <a:gd name="T33" fmla="*/ 63 h 157"/>
              <a:gd name="T34" fmla="*/ 0 w 160"/>
              <a:gd name="T35" fmla="*/ 145 h 157"/>
              <a:gd name="T36" fmla="*/ 160 w 160"/>
              <a:gd name="T37" fmla="*/ 114 h 157"/>
              <a:gd name="T38" fmla="*/ 155 w 160"/>
              <a:gd name="T39" fmla="*/ 53 h 157"/>
              <a:gd name="T40" fmla="*/ 148 w 160"/>
              <a:gd name="T41" fmla="*/ 152 h 157"/>
              <a:gd name="T42" fmla="*/ 12 w 160"/>
              <a:gd name="T43" fmla="*/ 107 h 157"/>
              <a:gd name="T44" fmla="*/ 155 w 160"/>
              <a:gd name="T45" fmla="*/ 94 h 157"/>
              <a:gd name="T46" fmla="*/ 5 w 160"/>
              <a:gd name="T47" fmla="*/ 63 h 157"/>
              <a:gd name="T48" fmla="*/ 12 w 160"/>
              <a:gd name="T49" fmla="*/ 51 h 157"/>
              <a:gd name="T50" fmla="*/ 148 w 160"/>
              <a:gd name="T51" fmla="*/ 5 h 157"/>
              <a:gd name="T52" fmla="*/ 12 w 160"/>
              <a:gd name="T53" fmla="*/ 51 h 157"/>
              <a:gd name="T54" fmla="*/ 16 w 160"/>
              <a:gd name="T55" fmla="*/ 79 h 157"/>
              <a:gd name="T56" fmla="*/ 28 w 160"/>
              <a:gd name="T57" fmla="*/ 85 h 157"/>
              <a:gd name="T58" fmla="*/ 136 w 160"/>
              <a:gd name="T59" fmla="*/ 75 h 157"/>
              <a:gd name="T60" fmla="*/ 123 w 160"/>
              <a:gd name="T61" fmla="*/ 72 h 157"/>
              <a:gd name="T62" fmla="*/ 123 w 160"/>
              <a:gd name="T63" fmla="*/ 72 h 157"/>
              <a:gd name="T64" fmla="*/ 136 w 160"/>
              <a:gd name="T65" fmla="*/ 83 h 157"/>
              <a:gd name="T66" fmla="*/ 128 w 160"/>
              <a:gd name="T67" fmla="*/ 85 h 157"/>
              <a:gd name="T68" fmla="*/ 115 w 160"/>
              <a:gd name="T69" fmla="*/ 75 h 157"/>
              <a:gd name="T70" fmla="*/ 117 w 160"/>
              <a:gd name="T71" fmla="*/ 80 h 157"/>
              <a:gd name="T72" fmla="*/ 117 w 160"/>
              <a:gd name="T73" fmla="*/ 80 h 157"/>
              <a:gd name="T74" fmla="*/ 99 w 160"/>
              <a:gd name="T75" fmla="*/ 75 h 157"/>
              <a:gd name="T76" fmla="*/ 107 w 160"/>
              <a:gd name="T77" fmla="*/ 85 h 157"/>
              <a:gd name="T78" fmla="*/ 93 w 160"/>
              <a:gd name="T79" fmla="*/ 75 h 157"/>
              <a:gd name="T80" fmla="*/ 96 w 160"/>
              <a:gd name="T81" fmla="*/ 80 h 157"/>
              <a:gd name="T82" fmla="*/ 96 w 160"/>
              <a:gd name="T83" fmla="*/ 80 h 157"/>
              <a:gd name="T84" fmla="*/ 16 w 160"/>
              <a:gd name="T85" fmla="*/ 129 h 157"/>
              <a:gd name="T86" fmla="*/ 28 w 160"/>
              <a:gd name="T87" fmla="*/ 136 h 157"/>
              <a:gd name="T88" fmla="*/ 136 w 160"/>
              <a:gd name="T89" fmla="*/ 125 h 157"/>
              <a:gd name="T90" fmla="*/ 123 w 160"/>
              <a:gd name="T91" fmla="*/ 123 h 157"/>
              <a:gd name="T92" fmla="*/ 123 w 160"/>
              <a:gd name="T93" fmla="*/ 123 h 157"/>
              <a:gd name="T94" fmla="*/ 136 w 160"/>
              <a:gd name="T95" fmla="*/ 133 h 157"/>
              <a:gd name="T96" fmla="*/ 128 w 160"/>
              <a:gd name="T97" fmla="*/ 136 h 157"/>
              <a:gd name="T98" fmla="*/ 115 w 160"/>
              <a:gd name="T99" fmla="*/ 125 h 157"/>
              <a:gd name="T100" fmla="*/ 117 w 160"/>
              <a:gd name="T101" fmla="*/ 131 h 157"/>
              <a:gd name="T102" fmla="*/ 117 w 160"/>
              <a:gd name="T103" fmla="*/ 131 h 157"/>
              <a:gd name="T104" fmla="*/ 99 w 160"/>
              <a:gd name="T105" fmla="*/ 125 h 157"/>
              <a:gd name="T106" fmla="*/ 107 w 160"/>
              <a:gd name="T107" fmla="*/ 136 h 157"/>
              <a:gd name="T108" fmla="*/ 93 w 160"/>
              <a:gd name="T109" fmla="*/ 125 h 157"/>
              <a:gd name="T110" fmla="*/ 96 w 160"/>
              <a:gd name="T111" fmla="*/ 131 h 157"/>
              <a:gd name="T112" fmla="*/ 96 w 160"/>
              <a:gd name="T113" fmla="*/ 131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7">
                <a:moveTo>
                  <a:pt x="28" y="16"/>
                </a:moveTo>
                <a:cubicBezTo>
                  <a:pt x="21" y="16"/>
                  <a:pt x="16" y="21"/>
                  <a:pt x="16" y="28"/>
                </a:cubicBezTo>
                <a:cubicBezTo>
                  <a:pt x="16" y="35"/>
                  <a:pt x="21" y="40"/>
                  <a:pt x="28" y="40"/>
                </a:cubicBezTo>
                <a:cubicBezTo>
                  <a:pt x="35" y="40"/>
                  <a:pt x="40" y="35"/>
                  <a:pt x="40" y="28"/>
                </a:cubicBezTo>
                <a:cubicBezTo>
                  <a:pt x="40" y="21"/>
                  <a:pt x="35" y="16"/>
                  <a:pt x="28" y="16"/>
                </a:cubicBezTo>
                <a:close/>
                <a:moveTo>
                  <a:pt x="28" y="35"/>
                </a:moveTo>
                <a:cubicBezTo>
                  <a:pt x="24" y="35"/>
                  <a:pt x="21" y="32"/>
                  <a:pt x="21" y="28"/>
                </a:cubicBezTo>
                <a:cubicBezTo>
                  <a:pt x="21" y="24"/>
                  <a:pt x="24" y="21"/>
                  <a:pt x="28" y="21"/>
                </a:cubicBezTo>
                <a:cubicBezTo>
                  <a:pt x="32" y="21"/>
                  <a:pt x="35" y="24"/>
                  <a:pt x="35" y="28"/>
                </a:cubicBezTo>
                <a:cubicBezTo>
                  <a:pt x="35" y="32"/>
                  <a:pt x="32" y="35"/>
                  <a:pt x="28" y="35"/>
                </a:cubicBezTo>
                <a:close/>
                <a:moveTo>
                  <a:pt x="133" y="21"/>
                </a:moveTo>
                <a:cubicBezTo>
                  <a:pt x="135" y="21"/>
                  <a:pt x="136" y="23"/>
                  <a:pt x="136" y="24"/>
                </a:cubicBezTo>
                <a:cubicBezTo>
                  <a:pt x="136" y="25"/>
                  <a:pt x="135" y="27"/>
                  <a:pt x="133" y="27"/>
                </a:cubicBezTo>
                <a:cubicBezTo>
                  <a:pt x="132" y="27"/>
                  <a:pt x="131" y="25"/>
                  <a:pt x="131" y="24"/>
                </a:cubicBezTo>
                <a:cubicBezTo>
                  <a:pt x="131" y="23"/>
                  <a:pt x="132" y="21"/>
                  <a:pt x="133" y="21"/>
                </a:cubicBezTo>
                <a:close/>
                <a:moveTo>
                  <a:pt x="123" y="21"/>
                </a:moveTo>
                <a:cubicBezTo>
                  <a:pt x="124" y="21"/>
                  <a:pt x="125" y="23"/>
                  <a:pt x="125" y="24"/>
                </a:cubicBezTo>
                <a:cubicBezTo>
                  <a:pt x="125" y="25"/>
                  <a:pt x="124" y="27"/>
                  <a:pt x="123" y="27"/>
                </a:cubicBezTo>
                <a:cubicBezTo>
                  <a:pt x="121" y="27"/>
                  <a:pt x="120" y="25"/>
                  <a:pt x="120" y="24"/>
                </a:cubicBezTo>
                <a:cubicBezTo>
                  <a:pt x="120" y="23"/>
                  <a:pt x="121" y="21"/>
                  <a:pt x="123" y="21"/>
                </a:cubicBezTo>
                <a:close/>
                <a:moveTo>
                  <a:pt x="139" y="29"/>
                </a:moveTo>
                <a:cubicBezTo>
                  <a:pt x="140" y="29"/>
                  <a:pt x="141" y="31"/>
                  <a:pt x="141" y="32"/>
                </a:cubicBezTo>
                <a:cubicBezTo>
                  <a:pt x="141" y="33"/>
                  <a:pt x="140" y="35"/>
                  <a:pt x="139" y="35"/>
                </a:cubicBezTo>
                <a:cubicBezTo>
                  <a:pt x="137" y="35"/>
                  <a:pt x="136" y="33"/>
                  <a:pt x="136" y="32"/>
                </a:cubicBezTo>
                <a:cubicBezTo>
                  <a:pt x="136" y="31"/>
                  <a:pt x="137" y="29"/>
                  <a:pt x="139" y="29"/>
                </a:cubicBezTo>
                <a:close/>
                <a:moveTo>
                  <a:pt x="128" y="29"/>
                </a:moveTo>
                <a:cubicBezTo>
                  <a:pt x="129" y="29"/>
                  <a:pt x="131" y="31"/>
                  <a:pt x="131" y="32"/>
                </a:cubicBezTo>
                <a:cubicBezTo>
                  <a:pt x="131" y="33"/>
                  <a:pt x="129" y="35"/>
                  <a:pt x="128" y="35"/>
                </a:cubicBezTo>
                <a:cubicBezTo>
                  <a:pt x="127" y="35"/>
                  <a:pt x="125" y="33"/>
                  <a:pt x="125" y="32"/>
                </a:cubicBezTo>
                <a:cubicBezTo>
                  <a:pt x="125" y="31"/>
                  <a:pt x="127" y="29"/>
                  <a:pt x="128" y="29"/>
                </a:cubicBezTo>
                <a:close/>
                <a:moveTo>
                  <a:pt x="112" y="21"/>
                </a:moveTo>
                <a:cubicBezTo>
                  <a:pt x="113" y="21"/>
                  <a:pt x="115" y="23"/>
                  <a:pt x="115" y="24"/>
                </a:cubicBezTo>
                <a:cubicBezTo>
                  <a:pt x="115" y="25"/>
                  <a:pt x="113" y="27"/>
                  <a:pt x="112" y="27"/>
                </a:cubicBezTo>
                <a:cubicBezTo>
                  <a:pt x="111" y="27"/>
                  <a:pt x="109" y="25"/>
                  <a:pt x="109" y="24"/>
                </a:cubicBezTo>
                <a:cubicBezTo>
                  <a:pt x="109" y="23"/>
                  <a:pt x="111" y="21"/>
                  <a:pt x="112" y="21"/>
                </a:cubicBezTo>
                <a:close/>
                <a:moveTo>
                  <a:pt x="117" y="29"/>
                </a:moveTo>
                <a:cubicBezTo>
                  <a:pt x="119" y="29"/>
                  <a:pt x="120" y="31"/>
                  <a:pt x="120" y="32"/>
                </a:cubicBezTo>
                <a:cubicBezTo>
                  <a:pt x="120" y="33"/>
                  <a:pt x="119" y="35"/>
                  <a:pt x="117" y="35"/>
                </a:cubicBezTo>
                <a:cubicBezTo>
                  <a:pt x="116" y="35"/>
                  <a:pt x="115" y="33"/>
                  <a:pt x="115" y="32"/>
                </a:cubicBezTo>
                <a:cubicBezTo>
                  <a:pt x="115" y="31"/>
                  <a:pt x="116" y="29"/>
                  <a:pt x="117" y="29"/>
                </a:cubicBezTo>
                <a:close/>
                <a:moveTo>
                  <a:pt x="101" y="21"/>
                </a:moveTo>
                <a:cubicBezTo>
                  <a:pt x="103" y="21"/>
                  <a:pt x="104" y="23"/>
                  <a:pt x="104" y="24"/>
                </a:cubicBezTo>
                <a:cubicBezTo>
                  <a:pt x="104" y="25"/>
                  <a:pt x="103" y="27"/>
                  <a:pt x="101" y="27"/>
                </a:cubicBezTo>
                <a:cubicBezTo>
                  <a:pt x="100" y="27"/>
                  <a:pt x="99" y="25"/>
                  <a:pt x="99" y="24"/>
                </a:cubicBezTo>
                <a:cubicBezTo>
                  <a:pt x="99" y="23"/>
                  <a:pt x="100" y="21"/>
                  <a:pt x="101" y="21"/>
                </a:cubicBezTo>
                <a:close/>
                <a:moveTo>
                  <a:pt x="107" y="29"/>
                </a:moveTo>
                <a:cubicBezTo>
                  <a:pt x="108" y="29"/>
                  <a:pt x="109" y="31"/>
                  <a:pt x="109" y="32"/>
                </a:cubicBezTo>
                <a:cubicBezTo>
                  <a:pt x="109" y="33"/>
                  <a:pt x="108" y="35"/>
                  <a:pt x="107" y="35"/>
                </a:cubicBezTo>
                <a:cubicBezTo>
                  <a:pt x="105" y="35"/>
                  <a:pt x="104" y="33"/>
                  <a:pt x="104" y="32"/>
                </a:cubicBezTo>
                <a:cubicBezTo>
                  <a:pt x="104" y="31"/>
                  <a:pt x="105" y="29"/>
                  <a:pt x="107" y="29"/>
                </a:cubicBezTo>
                <a:close/>
                <a:moveTo>
                  <a:pt x="91" y="21"/>
                </a:moveTo>
                <a:cubicBezTo>
                  <a:pt x="92" y="21"/>
                  <a:pt x="93" y="23"/>
                  <a:pt x="93" y="24"/>
                </a:cubicBezTo>
                <a:cubicBezTo>
                  <a:pt x="93" y="25"/>
                  <a:pt x="92" y="27"/>
                  <a:pt x="91" y="27"/>
                </a:cubicBezTo>
                <a:cubicBezTo>
                  <a:pt x="89" y="27"/>
                  <a:pt x="88" y="25"/>
                  <a:pt x="88" y="24"/>
                </a:cubicBezTo>
                <a:cubicBezTo>
                  <a:pt x="88" y="23"/>
                  <a:pt x="89" y="21"/>
                  <a:pt x="91" y="21"/>
                </a:cubicBezTo>
                <a:close/>
                <a:moveTo>
                  <a:pt x="96" y="29"/>
                </a:moveTo>
                <a:cubicBezTo>
                  <a:pt x="97" y="29"/>
                  <a:pt x="99" y="31"/>
                  <a:pt x="99" y="32"/>
                </a:cubicBezTo>
                <a:cubicBezTo>
                  <a:pt x="99" y="33"/>
                  <a:pt x="97" y="35"/>
                  <a:pt x="96" y="35"/>
                </a:cubicBezTo>
                <a:cubicBezTo>
                  <a:pt x="95" y="35"/>
                  <a:pt x="93" y="33"/>
                  <a:pt x="93" y="32"/>
                </a:cubicBezTo>
                <a:cubicBezTo>
                  <a:pt x="93" y="31"/>
                  <a:pt x="95" y="29"/>
                  <a:pt x="96" y="29"/>
                </a:cubicBezTo>
                <a:close/>
                <a:moveTo>
                  <a:pt x="160" y="44"/>
                </a:moveTo>
                <a:cubicBezTo>
                  <a:pt x="160" y="12"/>
                  <a:pt x="160" y="12"/>
                  <a:pt x="160" y="12"/>
                </a:cubicBezTo>
                <a:cubicBezTo>
                  <a:pt x="160" y="6"/>
                  <a:pt x="154" y="0"/>
                  <a:pt x="148" y="0"/>
                </a:cubicBezTo>
                <a:cubicBezTo>
                  <a:pt x="12" y="0"/>
                  <a:pt x="12" y="0"/>
                  <a:pt x="12" y="0"/>
                </a:cubicBezTo>
                <a:cubicBezTo>
                  <a:pt x="6" y="0"/>
                  <a:pt x="0" y="6"/>
                  <a:pt x="0" y="12"/>
                </a:cubicBezTo>
                <a:cubicBezTo>
                  <a:pt x="0" y="44"/>
                  <a:pt x="0" y="44"/>
                  <a:pt x="0" y="44"/>
                </a:cubicBezTo>
                <a:cubicBezTo>
                  <a:pt x="0" y="48"/>
                  <a:pt x="2" y="51"/>
                  <a:pt x="5" y="53"/>
                </a:cubicBezTo>
                <a:cubicBezTo>
                  <a:pt x="2" y="56"/>
                  <a:pt x="0" y="59"/>
                  <a:pt x="0" y="63"/>
                </a:cubicBezTo>
                <a:cubicBezTo>
                  <a:pt x="0" y="94"/>
                  <a:pt x="0" y="94"/>
                  <a:pt x="0" y="94"/>
                </a:cubicBezTo>
                <a:cubicBezTo>
                  <a:pt x="0" y="98"/>
                  <a:pt x="2" y="102"/>
                  <a:pt x="5" y="104"/>
                </a:cubicBezTo>
                <a:cubicBezTo>
                  <a:pt x="2" y="106"/>
                  <a:pt x="0" y="110"/>
                  <a:pt x="0" y="114"/>
                </a:cubicBezTo>
                <a:cubicBezTo>
                  <a:pt x="0" y="145"/>
                  <a:pt x="0" y="145"/>
                  <a:pt x="0" y="145"/>
                </a:cubicBezTo>
                <a:cubicBezTo>
                  <a:pt x="0" y="152"/>
                  <a:pt x="6" y="157"/>
                  <a:pt x="12" y="157"/>
                </a:cubicBezTo>
                <a:cubicBezTo>
                  <a:pt x="148" y="157"/>
                  <a:pt x="148" y="157"/>
                  <a:pt x="148" y="157"/>
                </a:cubicBezTo>
                <a:cubicBezTo>
                  <a:pt x="154" y="157"/>
                  <a:pt x="160" y="152"/>
                  <a:pt x="160" y="145"/>
                </a:cubicBezTo>
                <a:cubicBezTo>
                  <a:pt x="160" y="114"/>
                  <a:pt x="160" y="114"/>
                  <a:pt x="160" y="114"/>
                </a:cubicBezTo>
                <a:cubicBezTo>
                  <a:pt x="160" y="110"/>
                  <a:pt x="158" y="106"/>
                  <a:pt x="155" y="104"/>
                </a:cubicBezTo>
                <a:cubicBezTo>
                  <a:pt x="158" y="102"/>
                  <a:pt x="160" y="98"/>
                  <a:pt x="160" y="94"/>
                </a:cubicBezTo>
                <a:cubicBezTo>
                  <a:pt x="160" y="63"/>
                  <a:pt x="160" y="63"/>
                  <a:pt x="160" y="63"/>
                </a:cubicBezTo>
                <a:cubicBezTo>
                  <a:pt x="160" y="59"/>
                  <a:pt x="158" y="56"/>
                  <a:pt x="155" y="53"/>
                </a:cubicBezTo>
                <a:cubicBezTo>
                  <a:pt x="158" y="51"/>
                  <a:pt x="160" y="48"/>
                  <a:pt x="160" y="44"/>
                </a:cubicBezTo>
                <a:close/>
                <a:moveTo>
                  <a:pt x="155" y="114"/>
                </a:moveTo>
                <a:cubicBezTo>
                  <a:pt x="155" y="145"/>
                  <a:pt x="155" y="145"/>
                  <a:pt x="155" y="145"/>
                </a:cubicBezTo>
                <a:cubicBezTo>
                  <a:pt x="155" y="149"/>
                  <a:pt x="152" y="152"/>
                  <a:pt x="148" y="152"/>
                </a:cubicBezTo>
                <a:cubicBezTo>
                  <a:pt x="12" y="152"/>
                  <a:pt x="12" y="152"/>
                  <a:pt x="12" y="152"/>
                </a:cubicBezTo>
                <a:cubicBezTo>
                  <a:pt x="8" y="152"/>
                  <a:pt x="5" y="149"/>
                  <a:pt x="5" y="145"/>
                </a:cubicBezTo>
                <a:cubicBezTo>
                  <a:pt x="5" y="114"/>
                  <a:pt x="5" y="114"/>
                  <a:pt x="5" y="114"/>
                </a:cubicBezTo>
                <a:cubicBezTo>
                  <a:pt x="5" y="110"/>
                  <a:pt x="8" y="107"/>
                  <a:pt x="12" y="107"/>
                </a:cubicBezTo>
                <a:cubicBezTo>
                  <a:pt x="148" y="107"/>
                  <a:pt x="148" y="107"/>
                  <a:pt x="148" y="107"/>
                </a:cubicBezTo>
                <a:cubicBezTo>
                  <a:pt x="152" y="107"/>
                  <a:pt x="155" y="110"/>
                  <a:pt x="155" y="114"/>
                </a:cubicBezTo>
                <a:close/>
                <a:moveTo>
                  <a:pt x="155" y="63"/>
                </a:moveTo>
                <a:cubicBezTo>
                  <a:pt x="155" y="94"/>
                  <a:pt x="155" y="94"/>
                  <a:pt x="155" y="94"/>
                </a:cubicBezTo>
                <a:cubicBezTo>
                  <a:pt x="155" y="98"/>
                  <a:pt x="152" y="101"/>
                  <a:pt x="148" y="101"/>
                </a:cubicBezTo>
                <a:cubicBezTo>
                  <a:pt x="12" y="101"/>
                  <a:pt x="12" y="101"/>
                  <a:pt x="12" y="101"/>
                </a:cubicBezTo>
                <a:cubicBezTo>
                  <a:pt x="8" y="101"/>
                  <a:pt x="5" y="98"/>
                  <a:pt x="5" y="94"/>
                </a:cubicBezTo>
                <a:cubicBezTo>
                  <a:pt x="5" y="63"/>
                  <a:pt x="5" y="63"/>
                  <a:pt x="5" y="63"/>
                </a:cubicBezTo>
                <a:cubicBezTo>
                  <a:pt x="5" y="59"/>
                  <a:pt x="8" y="56"/>
                  <a:pt x="12" y="56"/>
                </a:cubicBezTo>
                <a:cubicBezTo>
                  <a:pt x="148" y="56"/>
                  <a:pt x="148" y="56"/>
                  <a:pt x="148" y="56"/>
                </a:cubicBezTo>
                <a:cubicBezTo>
                  <a:pt x="152" y="56"/>
                  <a:pt x="155" y="59"/>
                  <a:pt x="155" y="63"/>
                </a:cubicBezTo>
                <a:close/>
                <a:moveTo>
                  <a:pt x="12" y="51"/>
                </a:moveTo>
                <a:cubicBezTo>
                  <a:pt x="8" y="51"/>
                  <a:pt x="5" y="48"/>
                  <a:pt x="5" y="44"/>
                </a:cubicBezTo>
                <a:cubicBezTo>
                  <a:pt x="5" y="12"/>
                  <a:pt x="5" y="12"/>
                  <a:pt x="5" y="12"/>
                </a:cubicBezTo>
                <a:cubicBezTo>
                  <a:pt x="5" y="8"/>
                  <a:pt x="8" y="5"/>
                  <a:pt x="12" y="5"/>
                </a:cubicBezTo>
                <a:cubicBezTo>
                  <a:pt x="148" y="5"/>
                  <a:pt x="148" y="5"/>
                  <a:pt x="148" y="5"/>
                </a:cubicBezTo>
                <a:cubicBezTo>
                  <a:pt x="152" y="5"/>
                  <a:pt x="155" y="8"/>
                  <a:pt x="155" y="12"/>
                </a:cubicBezTo>
                <a:cubicBezTo>
                  <a:pt x="155" y="44"/>
                  <a:pt x="155" y="44"/>
                  <a:pt x="155" y="44"/>
                </a:cubicBezTo>
                <a:cubicBezTo>
                  <a:pt x="155" y="48"/>
                  <a:pt x="152" y="51"/>
                  <a:pt x="148" y="51"/>
                </a:cubicBezTo>
                <a:cubicBezTo>
                  <a:pt x="12" y="51"/>
                  <a:pt x="12" y="51"/>
                  <a:pt x="12" y="51"/>
                </a:cubicBezTo>
                <a:close/>
                <a:moveTo>
                  <a:pt x="28" y="91"/>
                </a:moveTo>
                <a:cubicBezTo>
                  <a:pt x="35" y="91"/>
                  <a:pt x="40" y="85"/>
                  <a:pt x="40" y="79"/>
                </a:cubicBezTo>
                <a:cubicBezTo>
                  <a:pt x="40" y="72"/>
                  <a:pt x="35" y="67"/>
                  <a:pt x="28" y="67"/>
                </a:cubicBezTo>
                <a:cubicBezTo>
                  <a:pt x="21" y="67"/>
                  <a:pt x="16" y="72"/>
                  <a:pt x="16" y="79"/>
                </a:cubicBezTo>
                <a:cubicBezTo>
                  <a:pt x="16" y="85"/>
                  <a:pt x="21" y="91"/>
                  <a:pt x="28" y="91"/>
                </a:cubicBezTo>
                <a:close/>
                <a:moveTo>
                  <a:pt x="28" y="72"/>
                </a:moveTo>
                <a:cubicBezTo>
                  <a:pt x="32" y="72"/>
                  <a:pt x="35" y="75"/>
                  <a:pt x="35" y="79"/>
                </a:cubicBezTo>
                <a:cubicBezTo>
                  <a:pt x="35" y="82"/>
                  <a:pt x="32" y="85"/>
                  <a:pt x="28" y="85"/>
                </a:cubicBezTo>
                <a:cubicBezTo>
                  <a:pt x="24" y="85"/>
                  <a:pt x="21" y="82"/>
                  <a:pt x="21" y="79"/>
                </a:cubicBezTo>
                <a:cubicBezTo>
                  <a:pt x="21" y="75"/>
                  <a:pt x="24" y="72"/>
                  <a:pt x="28" y="72"/>
                </a:cubicBezTo>
                <a:close/>
                <a:moveTo>
                  <a:pt x="133" y="72"/>
                </a:moveTo>
                <a:cubicBezTo>
                  <a:pt x="135" y="72"/>
                  <a:pt x="136" y="73"/>
                  <a:pt x="136" y="75"/>
                </a:cubicBezTo>
                <a:cubicBezTo>
                  <a:pt x="136" y="76"/>
                  <a:pt x="135" y="77"/>
                  <a:pt x="133" y="77"/>
                </a:cubicBezTo>
                <a:cubicBezTo>
                  <a:pt x="132" y="77"/>
                  <a:pt x="131" y="76"/>
                  <a:pt x="131" y="75"/>
                </a:cubicBezTo>
                <a:cubicBezTo>
                  <a:pt x="131" y="73"/>
                  <a:pt x="132" y="72"/>
                  <a:pt x="133" y="72"/>
                </a:cubicBezTo>
                <a:close/>
                <a:moveTo>
                  <a:pt x="123" y="72"/>
                </a:moveTo>
                <a:cubicBezTo>
                  <a:pt x="124" y="72"/>
                  <a:pt x="125" y="73"/>
                  <a:pt x="125" y="75"/>
                </a:cubicBezTo>
                <a:cubicBezTo>
                  <a:pt x="125" y="76"/>
                  <a:pt x="124" y="77"/>
                  <a:pt x="123" y="77"/>
                </a:cubicBezTo>
                <a:cubicBezTo>
                  <a:pt x="121" y="77"/>
                  <a:pt x="120" y="76"/>
                  <a:pt x="120" y="75"/>
                </a:cubicBezTo>
                <a:cubicBezTo>
                  <a:pt x="120" y="73"/>
                  <a:pt x="121" y="72"/>
                  <a:pt x="123" y="72"/>
                </a:cubicBezTo>
                <a:close/>
                <a:moveTo>
                  <a:pt x="139" y="80"/>
                </a:moveTo>
                <a:cubicBezTo>
                  <a:pt x="140" y="80"/>
                  <a:pt x="141" y="81"/>
                  <a:pt x="141" y="83"/>
                </a:cubicBezTo>
                <a:cubicBezTo>
                  <a:pt x="141" y="84"/>
                  <a:pt x="140" y="85"/>
                  <a:pt x="139" y="85"/>
                </a:cubicBezTo>
                <a:cubicBezTo>
                  <a:pt x="137" y="85"/>
                  <a:pt x="136" y="84"/>
                  <a:pt x="136" y="83"/>
                </a:cubicBezTo>
                <a:cubicBezTo>
                  <a:pt x="136" y="81"/>
                  <a:pt x="137" y="80"/>
                  <a:pt x="139" y="80"/>
                </a:cubicBezTo>
                <a:close/>
                <a:moveTo>
                  <a:pt x="128" y="80"/>
                </a:moveTo>
                <a:cubicBezTo>
                  <a:pt x="129" y="80"/>
                  <a:pt x="131" y="81"/>
                  <a:pt x="131" y="83"/>
                </a:cubicBezTo>
                <a:cubicBezTo>
                  <a:pt x="131" y="84"/>
                  <a:pt x="129" y="85"/>
                  <a:pt x="128" y="85"/>
                </a:cubicBezTo>
                <a:cubicBezTo>
                  <a:pt x="127" y="85"/>
                  <a:pt x="125" y="84"/>
                  <a:pt x="125" y="83"/>
                </a:cubicBezTo>
                <a:cubicBezTo>
                  <a:pt x="125" y="81"/>
                  <a:pt x="127" y="80"/>
                  <a:pt x="128" y="80"/>
                </a:cubicBezTo>
                <a:close/>
                <a:moveTo>
                  <a:pt x="112" y="72"/>
                </a:moveTo>
                <a:cubicBezTo>
                  <a:pt x="113" y="72"/>
                  <a:pt x="115" y="73"/>
                  <a:pt x="115" y="75"/>
                </a:cubicBezTo>
                <a:cubicBezTo>
                  <a:pt x="115" y="76"/>
                  <a:pt x="113" y="77"/>
                  <a:pt x="112" y="77"/>
                </a:cubicBezTo>
                <a:cubicBezTo>
                  <a:pt x="111" y="77"/>
                  <a:pt x="109" y="76"/>
                  <a:pt x="109" y="75"/>
                </a:cubicBezTo>
                <a:cubicBezTo>
                  <a:pt x="109" y="73"/>
                  <a:pt x="111" y="72"/>
                  <a:pt x="112" y="72"/>
                </a:cubicBezTo>
                <a:close/>
                <a:moveTo>
                  <a:pt x="117" y="80"/>
                </a:moveTo>
                <a:cubicBezTo>
                  <a:pt x="119" y="80"/>
                  <a:pt x="120" y="81"/>
                  <a:pt x="120" y="83"/>
                </a:cubicBezTo>
                <a:cubicBezTo>
                  <a:pt x="120" y="84"/>
                  <a:pt x="119" y="85"/>
                  <a:pt x="117" y="85"/>
                </a:cubicBezTo>
                <a:cubicBezTo>
                  <a:pt x="116" y="85"/>
                  <a:pt x="115" y="84"/>
                  <a:pt x="115" y="83"/>
                </a:cubicBezTo>
                <a:cubicBezTo>
                  <a:pt x="115" y="81"/>
                  <a:pt x="116" y="80"/>
                  <a:pt x="117" y="80"/>
                </a:cubicBezTo>
                <a:close/>
                <a:moveTo>
                  <a:pt x="101" y="72"/>
                </a:moveTo>
                <a:cubicBezTo>
                  <a:pt x="103" y="72"/>
                  <a:pt x="104" y="73"/>
                  <a:pt x="104" y="75"/>
                </a:cubicBezTo>
                <a:cubicBezTo>
                  <a:pt x="104" y="76"/>
                  <a:pt x="103" y="77"/>
                  <a:pt x="101" y="77"/>
                </a:cubicBezTo>
                <a:cubicBezTo>
                  <a:pt x="100" y="77"/>
                  <a:pt x="99" y="76"/>
                  <a:pt x="99" y="75"/>
                </a:cubicBezTo>
                <a:cubicBezTo>
                  <a:pt x="99" y="73"/>
                  <a:pt x="100" y="72"/>
                  <a:pt x="101" y="72"/>
                </a:cubicBezTo>
                <a:close/>
                <a:moveTo>
                  <a:pt x="107" y="80"/>
                </a:moveTo>
                <a:cubicBezTo>
                  <a:pt x="108" y="80"/>
                  <a:pt x="109" y="81"/>
                  <a:pt x="109" y="83"/>
                </a:cubicBezTo>
                <a:cubicBezTo>
                  <a:pt x="109" y="84"/>
                  <a:pt x="108" y="85"/>
                  <a:pt x="107" y="85"/>
                </a:cubicBezTo>
                <a:cubicBezTo>
                  <a:pt x="105" y="85"/>
                  <a:pt x="104" y="84"/>
                  <a:pt x="104" y="83"/>
                </a:cubicBezTo>
                <a:cubicBezTo>
                  <a:pt x="104" y="81"/>
                  <a:pt x="105" y="80"/>
                  <a:pt x="107" y="80"/>
                </a:cubicBezTo>
                <a:close/>
                <a:moveTo>
                  <a:pt x="91" y="72"/>
                </a:moveTo>
                <a:cubicBezTo>
                  <a:pt x="92" y="72"/>
                  <a:pt x="93" y="73"/>
                  <a:pt x="93" y="75"/>
                </a:cubicBezTo>
                <a:cubicBezTo>
                  <a:pt x="93" y="76"/>
                  <a:pt x="92" y="77"/>
                  <a:pt x="91" y="77"/>
                </a:cubicBezTo>
                <a:cubicBezTo>
                  <a:pt x="89" y="77"/>
                  <a:pt x="88" y="76"/>
                  <a:pt x="88" y="75"/>
                </a:cubicBezTo>
                <a:cubicBezTo>
                  <a:pt x="88" y="73"/>
                  <a:pt x="89" y="72"/>
                  <a:pt x="91" y="72"/>
                </a:cubicBezTo>
                <a:close/>
                <a:moveTo>
                  <a:pt x="96" y="80"/>
                </a:moveTo>
                <a:cubicBezTo>
                  <a:pt x="97" y="80"/>
                  <a:pt x="99" y="81"/>
                  <a:pt x="99" y="83"/>
                </a:cubicBezTo>
                <a:cubicBezTo>
                  <a:pt x="99" y="84"/>
                  <a:pt x="97" y="85"/>
                  <a:pt x="96" y="85"/>
                </a:cubicBezTo>
                <a:cubicBezTo>
                  <a:pt x="95" y="85"/>
                  <a:pt x="93" y="84"/>
                  <a:pt x="93" y="83"/>
                </a:cubicBezTo>
                <a:cubicBezTo>
                  <a:pt x="93" y="81"/>
                  <a:pt x="95" y="80"/>
                  <a:pt x="96" y="80"/>
                </a:cubicBezTo>
                <a:close/>
                <a:moveTo>
                  <a:pt x="28" y="141"/>
                </a:moveTo>
                <a:cubicBezTo>
                  <a:pt x="35" y="141"/>
                  <a:pt x="40" y="136"/>
                  <a:pt x="40" y="129"/>
                </a:cubicBezTo>
                <a:cubicBezTo>
                  <a:pt x="40" y="123"/>
                  <a:pt x="35" y="117"/>
                  <a:pt x="28" y="117"/>
                </a:cubicBezTo>
                <a:cubicBezTo>
                  <a:pt x="21" y="117"/>
                  <a:pt x="16" y="123"/>
                  <a:pt x="16" y="129"/>
                </a:cubicBezTo>
                <a:cubicBezTo>
                  <a:pt x="16" y="136"/>
                  <a:pt x="21" y="141"/>
                  <a:pt x="28" y="141"/>
                </a:cubicBezTo>
                <a:close/>
                <a:moveTo>
                  <a:pt x="28" y="123"/>
                </a:moveTo>
                <a:cubicBezTo>
                  <a:pt x="32" y="123"/>
                  <a:pt x="35" y="126"/>
                  <a:pt x="35" y="129"/>
                </a:cubicBezTo>
                <a:cubicBezTo>
                  <a:pt x="35" y="133"/>
                  <a:pt x="32" y="136"/>
                  <a:pt x="28" y="136"/>
                </a:cubicBezTo>
                <a:cubicBezTo>
                  <a:pt x="24" y="136"/>
                  <a:pt x="21" y="133"/>
                  <a:pt x="21" y="129"/>
                </a:cubicBezTo>
                <a:cubicBezTo>
                  <a:pt x="21" y="126"/>
                  <a:pt x="24" y="123"/>
                  <a:pt x="28" y="123"/>
                </a:cubicBezTo>
                <a:close/>
                <a:moveTo>
                  <a:pt x="133" y="123"/>
                </a:moveTo>
                <a:cubicBezTo>
                  <a:pt x="135" y="123"/>
                  <a:pt x="136" y="124"/>
                  <a:pt x="136" y="125"/>
                </a:cubicBezTo>
                <a:cubicBezTo>
                  <a:pt x="136" y="127"/>
                  <a:pt x="135" y="128"/>
                  <a:pt x="133" y="128"/>
                </a:cubicBezTo>
                <a:cubicBezTo>
                  <a:pt x="132" y="128"/>
                  <a:pt x="131" y="127"/>
                  <a:pt x="131" y="125"/>
                </a:cubicBezTo>
                <a:cubicBezTo>
                  <a:pt x="131" y="124"/>
                  <a:pt x="132" y="123"/>
                  <a:pt x="133" y="123"/>
                </a:cubicBezTo>
                <a:close/>
                <a:moveTo>
                  <a:pt x="123" y="123"/>
                </a:moveTo>
                <a:cubicBezTo>
                  <a:pt x="124" y="123"/>
                  <a:pt x="125" y="124"/>
                  <a:pt x="125" y="125"/>
                </a:cubicBezTo>
                <a:cubicBezTo>
                  <a:pt x="125" y="127"/>
                  <a:pt x="124" y="128"/>
                  <a:pt x="123" y="128"/>
                </a:cubicBezTo>
                <a:cubicBezTo>
                  <a:pt x="121" y="128"/>
                  <a:pt x="120" y="127"/>
                  <a:pt x="120" y="125"/>
                </a:cubicBezTo>
                <a:cubicBezTo>
                  <a:pt x="120" y="124"/>
                  <a:pt x="121" y="123"/>
                  <a:pt x="123" y="123"/>
                </a:cubicBezTo>
                <a:close/>
                <a:moveTo>
                  <a:pt x="139" y="131"/>
                </a:moveTo>
                <a:cubicBezTo>
                  <a:pt x="140" y="131"/>
                  <a:pt x="141" y="132"/>
                  <a:pt x="141" y="133"/>
                </a:cubicBezTo>
                <a:cubicBezTo>
                  <a:pt x="141" y="135"/>
                  <a:pt x="140" y="136"/>
                  <a:pt x="139" y="136"/>
                </a:cubicBezTo>
                <a:cubicBezTo>
                  <a:pt x="137" y="136"/>
                  <a:pt x="136" y="135"/>
                  <a:pt x="136" y="133"/>
                </a:cubicBezTo>
                <a:cubicBezTo>
                  <a:pt x="136" y="132"/>
                  <a:pt x="137" y="131"/>
                  <a:pt x="139" y="131"/>
                </a:cubicBezTo>
                <a:close/>
                <a:moveTo>
                  <a:pt x="128" y="131"/>
                </a:moveTo>
                <a:cubicBezTo>
                  <a:pt x="129" y="131"/>
                  <a:pt x="131" y="132"/>
                  <a:pt x="131" y="133"/>
                </a:cubicBezTo>
                <a:cubicBezTo>
                  <a:pt x="131" y="135"/>
                  <a:pt x="129" y="136"/>
                  <a:pt x="128" y="136"/>
                </a:cubicBezTo>
                <a:cubicBezTo>
                  <a:pt x="127" y="136"/>
                  <a:pt x="125" y="135"/>
                  <a:pt x="125" y="133"/>
                </a:cubicBezTo>
                <a:cubicBezTo>
                  <a:pt x="125" y="132"/>
                  <a:pt x="127" y="131"/>
                  <a:pt x="128" y="131"/>
                </a:cubicBezTo>
                <a:close/>
                <a:moveTo>
                  <a:pt x="112" y="123"/>
                </a:moveTo>
                <a:cubicBezTo>
                  <a:pt x="113" y="123"/>
                  <a:pt x="115" y="124"/>
                  <a:pt x="115" y="125"/>
                </a:cubicBezTo>
                <a:cubicBezTo>
                  <a:pt x="115" y="127"/>
                  <a:pt x="113" y="128"/>
                  <a:pt x="112" y="128"/>
                </a:cubicBezTo>
                <a:cubicBezTo>
                  <a:pt x="111" y="128"/>
                  <a:pt x="109" y="127"/>
                  <a:pt x="109" y="125"/>
                </a:cubicBezTo>
                <a:cubicBezTo>
                  <a:pt x="109" y="124"/>
                  <a:pt x="111" y="123"/>
                  <a:pt x="112" y="123"/>
                </a:cubicBezTo>
                <a:close/>
                <a:moveTo>
                  <a:pt x="117" y="131"/>
                </a:moveTo>
                <a:cubicBezTo>
                  <a:pt x="119" y="131"/>
                  <a:pt x="120" y="132"/>
                  <a:pt x="120" y="133"/>
                </a:cubicBezTo>
                <a:cubicBezTo>
                  <a:pt x="120" y="135"/>
                  <a:pt x="119" y="136"/>
                  <a:pt x="117" y="136"/>
                </a:cubicBezTo>
                <a:cubicBezTo>
                  <a:pt x="116" y="136"/>
                  <a:pt x="115" y="135"/>
                  <a:pt x="115" y="133"/>
                </a:cubicBezTo>
                <a:cubicBezTo>
                  <a:pt x="115" y="132"/>
                  <a:pt x="116" y="131"/>
                  <a:pt x="117" y="131"/>
                </a:cubicBezTo>
                <a:close/>
                <a:moveTo>
                  <a:pt x="101" y="123"/>
                </a:moveTo>
                <a:cubicBezTo>
                  <a:pt x="103" y="123"/>
                  <a:pt x="104" y="124"/>
                  <a:pt x="104" y="125"/>
                </a:cubicBezTo>
                <a:cubicBezTo>
                  <a:pt x="104" y="127"/>
                  <a:pt x="103" y="128"/>
                  <a:pt x="101" y="128"/>
                </a:cubicBezTo>
                <a:cubicBezTo>
                  <a:pt x="100" y="128"/>
                  <a:pt x="99" y="127"/>
                  <a:pt x="99" y="125"/>
                </a:cubicBezTo>
                <a:cubicBezTo>
                  <a:pt x="99" y="124"/>
                  <a:pt x="100" y="123"/>
                  <a:pt x="101" y="123"/>
                </a:cubicBezTo>
                <a:close/>
                <a:moveTo>
                  <a:pt x="107" y="131"/>
                </a:moveTo>
                <a:cubicBezTo>
                  <a:pt x="108" y="131"/>
                  <a:pt x="109" y="132"/>
                  <a:pt x="109" y="133"/>
                </a:cubicBezTo>
                <a:cubicBezTo>
                  <a:pt x="109" y="135"/>
                  <a:pt x="108" y="136"/>
                  <a:pt x="107" y="136"/>
                </a:cubicBezTo>
                <a:cubicBezTo>
                  <a:pt x="105" y="136"/>
                  <a:pt x="104" y="135"/>
                  <a:pt x="104" y="133"/>
                </a:cubicBezTo>
                <a:cubicBezTo>
                  <a:pt x="104" y="132"/>
                  <a:pt x="105" y="131"/>
                  <a:pt x="107" y="131"/>
                </a:cubicBezTo>
                <a:close/>
                <a:moveTo>
                  <a:pt x="91" y="123"/>
                </a:moveTo>
                <a:cubicBezTo>
                  <a:pt x="92" y="123"/>
                  <a:pt x="93" y="124"/>
                  <a:pt x="93" y="125"/>
                </a:cubicBezTo>
                <a:cubicBezTo>
                  <a:pt x="93" y="127"/>
                  <a:pt x="92" y="128"/>
                  <a:pt x="91" y="128"/>
                </a:cubicBezTo>
                <a:cubicBezTo>
                  <a:pt x="89" y="128"/>
                  <a:pt x="88" y="127"/>
                  <a:pt x="88" y="125"/>
                </a:cubicBezTo>
                <a:cubicBezTo>
                  <a:pt x="88" y="124"/>
                  <a:pt x="89" y="123"/>
                  <a:pt x="91" y="123"/>
                </a:cubicBezTo>
                <a:close/>
                <a:moveTo>
                  <a:pt x="96" y="131"/>
                </a:moveTo>
                <a:cubicBezTo>
                  <a:pt x="97" y="131"/>
                  <a:pt x="99" y="132"/>
                  <a:pt x="99" y="133"/>
                </a:cubicBezTo>
                <a:cubicBezTo>
                  <a:pt x="99" y="135"/>
                  <a:pt x="97" y="136"/>
                  <a:pt x="96" y="136"/>
                </a:cubicBezTo>
                <a:cubicBezTo>
                  <a:pt x="95" y="136"/>
                  <a:pt x="93" y="135"/>
                  <a:pt x="93" y="133"/>
                </a:cubicBezTo>
                <a:cubicBezTo>
                  <a:pt x="93" y="132"/>
                  <a:pt x="95" y="131"/>
                  <a:pt x="96" y="131"/>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1356">
            <a:extLst>
              <a:ext uri="{FF2B5EF4-FFF2-40B4-BE49-F238E27FC236}">
                <a16:creationId xmlns:a16="http://schemas.microsoft.com/office/drawing/2014/main" id="{9D24BF0E-A32F-F34B-B46F-9C10181AB670}"/>
              </a:ext>
            </a:extLst>
          </p:cNvPr>
          <p:cNvSpPr>
            <a:spLocks noEditPoints="1"/>
          </p:cNvSpPr>
          <p:nvPr/>
        </p:nvSpPr>
        <p:spPr bwMode="auto">
          <a:xfrm>
            <a:off x="7176662" y="984250"/>
            <a:ext cx="546100" cy="550863"/>
          </a:xfrm>
          <a:custGeom>
            <a:avLst/>
            <a:gdLst>
              <a:gd name="T0" fmla="*/ 157 w 160"/>
              <a:gd name="T1" fmla="*/ 101 h 160"/>
              <a:gd name="T2" fmla="*/ 3 w 160"/>
              <a:gd name="T3" fmla="*/ 102 h 160"/>
              <a:gd name="T4" fmla="*/ 6 w 160"/>
              <a:gd name="T5" fmla="*/ 111 h 160"/>
              <a:gd name="T6" fmla="*/ 45 w 160"/>
              <a:gd name="T7" fmla="*/ 152 h 160"/>
              <a:gd name="T8" fmla="*/ 55 w 160"/>
              <a:gd name="T9" fmla="*/ 156 h 160"/>
              <a:gd name="T10" fmla="*/ 105 w 160"/>
              <a:gd name="T11" fmla="*/ 156 h 160"/>
              <a:gd name="T12" fmla="*/ 153 w 160"/>
              <a:gd name="T13" fmla="*/ 112 h 160"/>
              <a:gd name="T14" fmla="*/ 11 w 160"/>
              <a:gd name="T15" fmla="*/ 107 h 160"/>
              <a:gd name="T16" fmla="*/ 16 w 160"/>
              <a:gd name="T17" fmla="*/ 118 h 160"/>
              <a:gd name="T18" fmla="*/ 23 w 160"/>
              <a:gd name="T19" fmla="*/ 113 h 160"/>
              <a:gd name="T20" fmla="*/ 63 w 160"/>
              <a:gd name="T21" fmla="*/ 129 h 160"/>
              <a:gd name="T22" fmla="*/ 43 w 160"/>
              <a:gd name="T23" fmla="*/ 118 h 160"/>
              <a:gd name="T24" fmla="*/ 40 w 160"/>
              <a:gd name="T25" fmla="*/ 143 h 160"/>
              <a:gd name="T26" fmla="*/ 23 w 160"/>
              <a:gd name="T27" fmla="*/ 119 h 160"/>
              <a:gd name="T28" fmla="*/ 32 w 160"/>
              <a:gd name="T29" fmla="*/ 137 h 160"/>
              <a:gd name="T30" fmla="*/ 21 w 160"/>
              <a:gd name="T31" fmla="*/ 126 h 160"/>
              <a:gd name="T32" fmla="*/ 65 w 160"/>
              <a:gd name="T33" fmla="*/ 145 h 160"/>
              <a:gd name="T34" fmla="*/ 75 w 160"/>
              <a:gd name="T35" fmla="*/ 129 h 160"/>
              <a:gd name="T36" fmla="*/ 69 w 160"/>
              <a:gd name="T37" fmla="*/ 107 h 160"/>
              <a:gd name="T38" fmla="*/ 56 w 160"/>
              <a:gd name="T39" fmla="*/ 100 h 160"/>
              <a:gd name="T40" fmla="*/ 47 w 160"/>
              <a:gd name="T41" fmla="*/ 94 h 160"/>
              <a:gd name="T42" fmla="*/ 27 w 160"/>
              <a:gd name="T43" fmla="*/ 90 h 160"/>
              <a:gd name="T44" fmla="*/ 155 w 160"/>
              <a:gd name="T45" fmla="*/ 80 h 160"/>
              <a:gd name="T46" fmla="*/ 128 w 160"/>
              <a:gd name="T47" fmla="*/ 85 h 160"/>
              <a:gd name="T48" fmla="*/ 107 w 160"/>
              <a:gd name="T49" fmla="*/ 92 h 160"/>
              <a:gd name="T50" fmla="*/ 92 w 160"/>
              <a:gd name="T51" fmla="*/ 109 h 160"/>
              <a:gd name="T52" fmla="*/ 88 w 160"/>
              <a:gd name="T53" fmla="*/ 131 h 160"/>
              <a:gd name="T54" fmla="*/ 97 w 160"/>
              <a:gd name="T55" fmla="*/ 148 h 160"/>
              <a:gd name="T56" fmla="*/ 151 w 160"/>
              <a:gd name="T57" fmla="*/ 104 h 160"/>
              <a:gd name="T58" fmla="*/ 145 w 160"/>
              <a:gd name="T59" fmla="*/ 118 h 160"/>
              <a:gd name="T60" fmla="*/ 152 w 160"/>
              <a:gd name="T61" fmla="*/ 102 h 160"/>
              <a:gd name="T62" fmla="*/ 105 w 160"/>
              <a:gd name="T63" fmla="*/ 150 h 160"/>
              <a:gd name="T64" fmla="*/ 116 w 160"/>
              <a:gd name="T65" fmla="*/ 137 h 160"/>
              <a:gd name="T66" fmla="*/ 120 w 160"/>
              <a:gd name="T67" fmla="*/ 114 h 160"/>
              <a:gd name="T68" fmla="*/ 141 w 160"/>
              <a:gd name="T69" fmla="*/ 122 h 160"/>
              <a:gd name="T70" fmla="*/ 135 w 160"/>
              <a:gd name="T71" fmla="*/ 130 h 160"/>
              <a:gd name="T72" fmla="*/ 126 w 160"/>
              <a:gd name="T73" fmla="*/ 139 h 160"/>
              <a:gd name="T74" fmla="*/ 101 w 160"/>
              <a:gd name="T75" fmla="*/ 65 h 160"/>
              <a:gd name="T76" fmla="*/ 135 w 160"/>
              <a:gd name="T77" fmla="*/ 80 h 160"/>
              <a:gd name="T78" fmla="*/ 144 w 160"/>
              <a:gd name="T79" fmla="*/ 60 h 160"/>
              <a:gd name="T80" fmla="*/ 138 w 160"/>
              <a:gd name="T81" fmla="*/ 44 h 160"/>
              <a:gd name="T82" fmla="*/ 127 w 160"/>
              <a:gd name="T83" fmla="*/ 30 h 160"/>
              <a:gd name="T84" fmla="*/ 113 w 160"/>
              <a:gd name="T85" fmla="*/ 20 h 160"/>
              <a:gd name="T86" fmla="*/ 97 w 160"/>
              <a:gd name="T87" fmla="*/ 13 h 160"/>
              <a:gd name="T88" fmla="*/ 80 w 160"/>
              <a:gd name="T89" fmla="*/ 11 h 160"/>
              <a:gd name="T90" fmla="*/ 63 w 160"/>
              <a:gd name="T91" fmla="*/ 13 h 160"/>
              <a:gd name="T92" fmla="*/ 47 w 160"/>
              <a:gd name="T93" fmla="*/ 20 h 160"/>
              <a:gd name="T94" fmla="*/ 33 w 160"/>
              <a:gd name="T95" fmla="*/ 30 h 160"/>
              <a:gd name="T96" fmla="*/ 22 w 160"/>
              <a:gd name="T97" fmla="*/ 44 h 160"/>
              <a:gd name="T98" fmla="*/ 16 w 160"/>
              <a:gd name="T99" fmla="*/ 60 h 160"/>
              <a:gd name="T100" fmla="*/ 25 w 160"/>
              <a:gd name="T101" fmla="*/ 80 h 160"/>
              <a:gd name="T102" fmla="*/ 59 w 160"/>
              <a:gd name="T103" fmla="*/ 89 h 160"/>
              <a:gd name="T104" fmla="*/ 68 w 160"/>
              <a:gd name="T105" fmla="*/ 57 h 160"/>
              <a:gd name="T106" fmla="*/ 95 w 160"/>
              <a:gd name="T107" fmla="*/ 59 h 160"/>
              <a:gd name="T108" fmla="*/ 62 w 160"/>
              <a:gd name="T109" fmla="*/ 73 h 160"/>
              <a:gd name="T110" fmla="*/ 98 w 160"/>
              <a:gd name="T111" fmla="*/ 8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60">
                <a:moveTo>
                  <a:pt x="155" y="109"/>
                </a:moveTo>
                <a:cubicBezTo>
                  <a:pt x="155" y="108"/>
                  <a:pt x="155" y="107"/>
                  <a:pt x="155" y="106"/>
                </a:cubicBezTo>
                <a:cubicBezTo>
                  <a:pt x="156" y="106"/>
                  <a:pt x="156" y="105"/>
                  <a:pt x="156" y="105"/>
                </a:cubicBezTo>
                <a:cubicBezTo>
                  <a:pt x="156" y="104"/>
                  <a:pt x="157" y="103"/>
                  <a:pt x="157" y="101"/>
                </a:cubicBezTo>
                <a:cubicBezTo>
                  <a:pt x="157" y="101"/>
                  <a:pt x="157" y="101"/>
                  <a:pt x="157" y="101"/>
                </a:cubicBezTo>
                <a:cubicBezTo>
                  <a:pt x="157" y="101"/>
                  <a:pt x="157" y="101"/>
                  <a:pt x="157" y="101"/>
                </a:cubicBezTo>
                <a:cubicBezTo>
                  <a:pt x="159" y="94"/>
                  <a:pt x="160" y="87"/>
                  <a:pt x="160" y="80"/>
                </a:cubicBezTo>
                <a:cubicBezTo>
                  <a:pt x="160" y="36"/>
                  <a:pt x="124" y="0"/>
                  <a:pt x="80" y="0"/>
                </a:cubicBezTo>
                <a:cubicBezTo>
                  <a:pt x="36" y="0"/>
                  <a:pt x="0" y="36"/>
                  <a:pt x="0" y="80"/>
                </a:cubicBezTo>
                <a:cubicBezTo>
                  <a:pt x="0" y="88"/>
                  <a:pt x="1" y="95"/>
                  <a:pt x="3" y="102"/>
                </a:cubicBezTo>
                <a:cubicBezTo>
                  <a:pt x="3" y="102"/>
                  <a:pt x="3" y="102"/>
                  <a:pt x="3" y="102"/>
                </a:cubicBezTo>
                <a:cubicBezTo>
                  <a:pt x="3" y="102"/>
                  <a:pt x="3" y="102"/>
                  <a:pt x="3" y="102"/>
                </a:cubicBezTo>
                <a:cubicBezTo>
                  <a:pt x="4" y="104"/>
                  <a:pt x="4" y="105"/>
                  <a:pt x="4" y="106"/>
                </a:cubicBezTo>
                <a:cubicBezTo>
                  <a:pt x="5" y="106"/>
                  <a:pt x="5" y="107"/>
                  <a:pt x="5" y="107"/>
                </a:cubicBezTo>
                <a:cubicBezTo>
                  <a:pt x="5" y="108"/>
                  <a:pt x="6" y="110"/>
                  <a:pt x="6" y="111"/>
                </a:cubicBezTo>
                <a:cubicBezTo>
                  <a:pt x="7" y="112"/>
                  <a:pt x="7" y="113"/>
                  <a:pt x="7" y="113"/>
                </a:cubicBezTo>
                <a:cubicBezTo>
                  <a:pt x="8" y="114"/>
                  <a:pt x="8" y="114"/>
                  <a:pt x="8" y="115"/>
                </a:cubicBezTo>
                <a:cubicBezTo>
                  <a:pt x="9" y="116"/>
                  <a:pt x="9" y="117"/>
                  <a:pt x="10" y="118"/>
                </a:cubicBezTo>
                <a:cubicBezTo>
                  <a:pt x="10" y="118"/>
                  <a:pt x="10" y="118"/>
                  <a:pt x="10" y="118"/>
                </a:cubicBezTo>
                <a:cubicBezTo>
                  <a:pt x="18" y="133"/>
                  <a:pt x="30" y="145"/>
                  <a:pt x="45" y="152"/>
                </a:cubicBezTo>
                <a:cubicBezTo>
                  <a:pt x="45" y="152"/>
                  <a:pt x="45" y="152"/>
                  <a:pt x="45" y="152"/>
                </a:cubicBezTo>
                <a:cubicBezTo>
                  <a:pt x="46" y="153"/>
                  <a:pt x="47" y="153"/>
                  <a:pt x="48" y="153"/>
                </a:cubicBezTo>
                <a:cubicBezTo>
                  <a:pt x="49" y="154"/>
                  <a:pt x="49" y="154"/>
                  <a:pt x="50" y="154"/>
                </a:cubicBezTo>
                <a:cubicBezTo>
                  <a:pt x="50" y="154"/>
                  <a:pt x="51" y="155"/>
                  <a:pt x="52" y="155"/>
                </a:cubicBezTo>
                <a:cubicBezTo>
                  <a:pt x="53" y="155"/>
                  <a:pt x="54" y="156"/>
                  <a:pt x="55" y="156"/>
                </a:cubicBezTo>
                <a:cubicBezTo>
                  <a:pt x="55" y="156"/>
                  <a:pt x="55" y="156"/>
                  <a:pt x="56" y="156"/>
                </a:cubicBezTo>
                <a:cubicBezTo>
                  <a:pt x="56" y="156"/>
                  <a:pt x="56" y="156"/>
                  <a:pt x="56" y="156"/>
                </a:cubicBezTo>
                <a:cubicBezTo>
                  <a:pt x="64" y="159"/>
                  <a:pt x="72" y="160"/>
                  <a:pt x="80" y="160"/>
                </a:cubicBezTo>
                <a:cubicBezTo>
                  <a:pt x="89" y="160"/>
                  <a:pt x="97" y="159"/>
                  <a:pt x="105" y="156"/>
                </a:cubicBezTo>
                <a:cubicBezTo>
                  <a:pt x="105" y="156"/>
                  <a:pt x="105" y="156"/>
                  <a:pt x="105" y="156"/>
                </a:cubicBezTo>
                <a:cubicBezTo>
                  <a:pt x="105" y="156"/>
                  <a:pt x="105" y="156"/>
                  <a:pt x="106" y="156"/>
                </a:cubicBezTo>
                <a:cubicBezTo>
                  <a:pt x="107" y="155"/>
                  <a:pt x="108" y="155"/>
                  <a:pt x="109" y="155"/>
                </a:cubicBezTo>
                <a:cubicBezTo>
                  <a:pt x="109" y="154"/>
                  <a:pt x="110" y="154"/>
                  <a:pt x="110" y="154"/>
                </a:cubicBezTo>
                <a:cubicBezTo>
                  <a:pt x="111" y="154"/>
                  <a:pt x="112" y="153"/>
                  <a:pt x="113" y="153"/>
                </a:cubicBezTo>
                <a:cubicBezTo>
                  <a:pt x="131" y="145"/>
                  <a:pt x="145" y="130"/>
                  <a:pt x="153" y="112"/>
                </a:cubicBezTo>
                <a:cubicBezTo>
                  <a:pt x="153" y="112"/>
                  <a:pt x="154" y="111"/>
                  <a:pt x="154" y="111"/>
                </a:cubicBezTo>
                <a:cubicBezTo>
                  <a:pt x="154" y="110"/>
                  <a:pt x="154" y="110"/>
                  <a:pt x="155" y="109"/>
                </a:cubicBezTo>
                <a:close/>
                <a:moveTo>
                  <a:pt x="12" y="112"/>
                </a:moveTo>
                <a:cubicBezTo>
                  <a:pt x="12" y="111"/>
                  <a:pt x="12" y="110"/>
                  <a:pt x="12" y="110"/>
                </a:cubicBezTo>
                <a:cubicBezTo>
                  <a:pt x="11" y="109"/>
                  <a:pt x="11" y="108"/>
                  <a:pt x="11" y="107"/>
                </a:cubicBezTo>
                <a:cubicBezTo>
                  <a:pt x="10" y="107"/>
                  <a:pt x="10" y="107"/>
                  <a:pt x="10" y="106"/>
                </a:cubicBezTo>
                <a:cubicBezTo>
                  <a:pt x="10" y="105"/>
                  <a:pt x="9" y="104"/>
                  <a:pt x="9" y="102"/>
                </a:cubicBezTo>
                <a:cubicBezTo>
                  <a:pt x="9" y="102"/>
                  <a:pt x="10" y="102"/>
                  <a:pt x="10" y="101"/>
                </a:cubicBezTo>
                <a:cubicBezTo>
                  <a:pt x="18" y="116"/>
                  <a:pt x="18" y="116"/>
                  <a:pt x="18" y="116"/>
                </a:cubicBezTo>
                <a:cubicBezTo>
                  <a:pt x="18" y="117"/>
                  <a:pt x="17" y="117"/>
                  <a:pt x="16" y="118"/>
                </a:cubicBezTo>
                <a:cubicBezTo>
                  <a:pt x="15" y="117"/>
                  <a:pt x="14" y="115"/>
                  <a:pt x="13" y="113"/>
                </a:cubicBezTo>
                <a:cubicBezTo>
                  <a:pt x="13" y="113"/>
                  <a:pt x="13" y="112"/>
                  <a:pt x="12" y="112"/>
                </a:cubicBezTo>
                <a:close/>
                <a:moveTo>
                  <a:pt x="50" y="102"/>
                </a:moveTo>
                <a:cubicBezTo>
                  <a:pt x="39" y="115"/>
                  <a:pt x="39" y="115"/>
                  <a:pt x="39" y="115"/>
                </a:cubicBezTo>
                <a:cubicBezTo>
                  <a:pt x="34" y="112"/>
                  <a:pt x="28" y="111"/>
                  <a:pt x="23" y="113"/>
                </a:cubicBezTo>
                <a:cubicBezTo>
                  <a:pt x="15" y="99"/>
                  <a:pt x="15" y="99"/>
                  <a:pt x="15" y="99"/>
                </a:cubicBezTo>
                <a:cubicBezTo>
                  <a:pt x="26" y="93"/>
                  <a:pt x="40" y="95"/>
                  <a:pt x="50" y="102"/>
                </a:cubicBezTo>
                <a:close/>
                <a:moveTo>
                  <a:pt x="59" y="112"/>
                </a:moveTo>
                <a:cubicBezTo>
                  <a:pt x="62" y="118"/>
                  <a:pt x="63" y="123"/>
                  <a:pt x="63" y="129"/>
                </a:cubicBezTo>
                <a:cubicBezTo>
                  <a:pt x="63" y="129"/>
                  <a:pt x="63" y="129"/>
                  <a:pt x="63" y="129"/>
                </a:cubicBezTo>
                <a:cubicBezTo>
                  <a:pt x="63" y="129"/>
                  <a:pt x="63" y="129"/>
                  <a:pt x="63" y="129"/>
                </a:cubicBezTo>
                <a:cubicBezTo>
                  <a:pt x="63" y="133"/>
                  <a:pt x="63" y="137"/>
                  <a:pt x="61" y="141"/>
                </a:cubicBezTo>
                <a:cubicBezTo>
                  <a:pt x="46" y="134"/>
                  <a:pt x="46" y="134"/>
                  <a:pt x="46" y="134"/>
                </a:cubicBezTo>
                <a:cubicBezTo>
                  <a:pt x="47" y="130"/>
                  <a:pt x="47" y="125"/>
                  <a:pt x="44" y="121"/>
                </a:cubicBezTo>
                <a:cubicBezTo>
                  <a:pt x="44" y="120"/>
                  <a:pt x="43" y="119"/>
                  <a:pt x="43" y="118"/>
                </a:cubicBezTo>
                <a:cubicBezTo>
                  <a:pt x="54" y="106"/>
                  <a:pt x="54" y="106"/>
                  <a:pt x="54" y="106"/>
                </a:cubicBezTo>
                <a:cubicBezTo>
                  <a:pt x="56" y="108"/>
                  <a:pt x="58" y="110"/>
                  <a:pt x="59" y="112"/>
                </a:cubicBezTo>
                <a:close/>
                <a:moveTo>
                  <a:pt x="55" y="150"/>
                </a:moveTo>
                <a:cubicBezTo>
                  <a:pt x="54" y="150"/>
                  <a:pt x="54" y="150"/>
                  <a:pt x="53" y="150"/>
                </a:cubicBezTo>
                <a:cubicBezTo>
                  <a:pt x="49" y="148"/>
                  <a:pt x="44" y="146"/>
                  <a:pt x="40" y="143"/>
                </a:cubicBezTo>
                <a:cubicBezTo>
                  <a:pt x="42" y="142"/>
                  <a:pt x="43" y="140"/>
                  <a:pt x="44" y="139"/>
                </a:cubicBezTo>
                <a:cubicBezTo>
                  <a:pt x="59" y="146"/>
                  <a:pt x="59" y="146"/>
                  <a:pt x="59" y="146"/>
                </a:cubicBezTo>
                <a:cubicBezTo>
                  <a:pt x="58" y="147"/>
                  <a:pt x="57" y="149"/>
                  <a:pt x="56" y="151"/>
                </a:cubicBezTo>
                <a:cubicBezTo>
                  <a:pt x="56" y="151"/>
                  <a:pt x="55" y="150"/>
                  <a:pt x="55" y="150"/>
                </a:cubicBezTo>
                <a:close/>
                <a:moveTo>
                  <a:pt x="23" y="119"/>
                </a:moveTo>
                <a:cubicBezTo>
                  <a:pt x="29" y="116"/>
                  <a:pt x="36" y="118"/>
                  <a:pt x="40" y="123"/>
                </a:cubicBezTo>
                <a:cubicBezTo>
                  <a:pt x="43" y="129"/>
                  <a:pt x="41" y="136"/>
                  <a:pt x="35" y="140"/>
                </a:cubicBezTo>
                <a:cubicBezTo>
                  <a:pt x="35" y="140"/>
                  <a:pt x="35" y="140"/>
                  <a:pt x="35" y="140"/>
                </a:cubicBezTo>
                <a:cubicBezTo>
                  <a:pt x="35" y="140"/>
                  <a:pt x="35" y="139"/>
                  <a:pt x="35" y="139"/>
                </a:cubicBezTo>
                <a:cubicBezTo>
                  <a:pt x="34" y="138"/>
                  <a:pt x="33" y="138"/>
                  <a:pt x="32" y="137"/>
                </a:cubicBezTo>
                <a:cubicBezTo>
                  <a:pt x="31" y="136"/>
                  <a:pt x="31" y="136"/>
                  <a:pt x="30" y="136"/>
                </a:cubicBezTo>
                <a:cubicBezTo>
                  <a:pt x="29" y="135"/>
                  <a:pt x="28" y="134"/>
                  <a:pt x="27" y="133"/>
                </a:cubicBezTo>
                <a:cubicBezTo>
                  <a:pt x="27" y="132"/>
                  <a:pt x="26" y="131"/>
                  <a:pt x="25" y="131"/>
                </a:cubicBezTo>
                <a:cubicBezTo>
                  <a:pt x="25" y="130"/>
                  <a:pt x="24" y="130"/>
                  <a:pt x="24" y="129"/>
                </a:cubicBezTo>
                <a:cubicBezTo>
                  <a:pt x="23" y="128"/>
                  <a:pt x="22" y="127"/>
                  <a:pt x="21" y="126"/>
                </a:cubicBezTo>
                <a:cubicBezTo>
                  <a:pt x="21" y="126"/>
                  <a:pt x="20" y="125"/>
                  <a:pt x="20" y="124"/>
                </a:cubicBezTo>
                <a:cubicBezTo>
                  <a:pt x="20" y="124"/>
                  <a:pt x="19" y="123"/>
                  <a:pt x="19" y="123"/>
                </a:cubicBezTo>
                <a:cubicBezTo>
                  <a:pt x="20" y="121"/>
                  <a:pt x="22" y="120"/>
                  <a:pt x="23" y="119"/>
                </a:cubicBezTo>
                <a:close/>
                <a:moveTo>
                  <a:pt x="61" y="152"/>
                </a:moveTo>
                <a:cubicBezTo>
                  <a:pt x="63" y="150"/>
                  <a:pt x="64" y="148"/>
                  <a:pt x="65" y="145"/>
                </a:cubicBezTo>
                <a:cubicBezTo>
                  <a:pt x="65" y="145"/>
                  <a:pt x="65" y="145"/>
                  <a:pt x="65" y="145"/>
                </a:cubicBezTo>
                <a:cubicBezTo>
                  <a:pt x="65" y="145"/>
                  <a:pt x="65" y="145"/>
                  <a:pt x="65" y="145"/>
                </a:cubicBezTo>
                <a:cubicBezTo>
                  <a:pt x="67" y="141"/>
                  <a:pt x="68" y="137"/>
                  <a:pt x="69" y="132"/>
                </a:cubicBezTo>
                <a:cubicBezTo>
                  <a:pt x="72" y="132"/>
                  <a:pt x="72" y="132"/>
                  <a:pt x="72" y="132"/>
                </a:cubicBezTo>
                <a:cubicBezTo>
                  <a:pt x="73" y="132"/>
                  <a:pt x="75" y="131"/>
                  <a:pt x="75" y="129"/>
                </a:cubicBezTo>
                <a:cubicBezTo>
                  <a:pt x="75" y="128"/>
                  <a:pt x="73" y="127"/>
                  <a:pt x="72" y="127"/>
                </a:cubicBezTo>
                <a:cubicBezTo>
                  <a:pt x="69" y="127"/>
                  <a:pt x="69" y="127"/>
                  <a:pt x="69" y="127"/>
                </a:cubicBezTo>
                <a:cubicBezTo>
                  <a:pt x="68" y="122"/>
                  <a:pt x="67" y="117"/>
                  <a:pt x="65" y="112"/>
                </a:cubicBezTo>
                <a:cubicBezTo>
                  <a:pt x="68" y="110"/>
                  <a:pt x="68" y="110"/>
                  <a:pt x="68" y="110"/>
                </a:cubicBezTo>
                <a:cubicBezTo>
                  <a:pt x="69" y="110"/>
                  <a:pt x="69" y="108"/>
                  <a:pt x="69" y="107"/>
                </a:cubicBezTo>
                <a:cubicBezTo>
                  <a:pt x="68" y="105"/>
                  <a:pt x="66" y="105"/>
                  <a:pt x="65" y="106"/>
                </a:cubicBezTo>
                <a:cubicBezTo>
                  <a:pt x="62" y="107"/>
                  <a:pt x="62" y="107"/>
                  <a:pt x="62" y="107"/>
                </a:cubicBezTo>
                <a:cubicBezTo>
                  <a:pt x="60" y="105"/>
                  <a:pt x="58" y="102"/>
                  <a:pt x="56" y="100"/>
                </a:cubicBezTo>
                <a:cubicBezTo>
                  <a:pt x="56" y="100"/>
                  <a:pt x="56" y="100"/>
                  <a:pt x="56" y="100"/>
                </a:cubicBezTo>
                <a:cubicBezTo>
                  <a:pt x="56" y="100"/>
                  <a:pt x="56" y="100"/>
                  <a:pt x="56" y="100"/>
                </a:cubicBezTo>
                <a:cubicBezTo>
                  <a:pt x="54" y="99"/>
                  <a:pt x="53" y="98"/>
                  <a:pt x="51" y="97"/>
                </a:cubicBezTo>
                <a:cubicBezTo>
                  <a:pt x="53" y="94"/>
                  <a:pt x="53" y="94"/>
                  <a:pt x="53" y="94"/>
                </a:cubicBezTo>
                <a:cubicBezTo>
                  <a:pt x="54" y="92"/>
                  <a:pt x="53" y="91"/>
                  <a:pt x="52" y="90"/>
                </a:cubicBezTo>
                <a:cubicBezTo>
                  <a:pt x="51" y="89"/>
                  <a:pt x="49" y="90"/>
                  <a:pt x="48" y="91"/>
                </a:cubicBezTo>
                <a:cubicBezTo>
                  <a:pt x="47" y="94"/>
                  <a:pt x="47" y="94"/>
                  <a:pt x="47" y="94"/>
                </a:cubicBezTo>
                <a:cubicBezTo>
                  <a:pt x="42" y="92"/>
                  <a:pt x="37" y="90"/>
                  <a:pt x="32" y="90"/>
                </a:cubicBezTo>
                <a:cubicBezTo>
                  <a:pt x="32" y="87"/>
                  <a:pt x="32" y="87"/>
                  <a:pt x="32" y="87"/>
                </a:cubicBezTo>
                <a:cubicBezTo>
                  <a:pt x="32" y="85"/>
                  <a:pt x="31" y="84"/>
                  <a:pt x="29" y="84"/>
                </a:cubicBezTo>
                <a:cubicBezTo>
                  <a:pt x="28" y="84"/>
                  <a:pt x="27" y="85"/>
                  <a:pt x="27" y="87"/>
                </a:cubicBezTo>
                <a:cubicBezTo>
                  <a:pt x="27" y="90"/>
                  <a:pt x="27" y="90"/>
                  <a:pt x="27" y="90"/>
                </a:cubicBezTo>
                <a:cubicBezTo>
                  <a:pt x="21" y="90"/>
                  <a:pt x="15" y="92"/>
                  <a:pt x="10" y="95"/>
                </a:cubicBezTo>
                <a:cubicBezTo>
                  <a:pt x="9" y="96"/>
                  <a:pt x="8" y="96"/>
                  <a:pt x="7" y="97"/>
                </a:cubicBezTo>
                <a:cubicBezTo>
                  <a:pt x="6" y="91"/>
                  <a:pt x="5" y="86"/>
                  <a:pt x="5" y="80"/>
                </a:cubicBezTo>
                <a:cubicBezTo>
                  <a:pt x="5" y="39"/>
                  <a:pt x="39" y="5"/>
                  <a:pt x="80" y="5"/>
                </a:cubicBezTo>
                <a:cubicBezTo>
                  <a:pt x="121" y="5"/>
                  <a:pt x="155" y="39"/>
                  <a:pt x="155" y="80"/>
                </a:cubicBezTo>
                <a:cubicBezTo>
                  <a:pt x="155" y="85"/>
                  <a:pt x="154" y="91"/>
                  <a:pt x="153" y="96"/>
                </a:cubicBezTo>
                <a:cubicBezTo>
                  <a:pt x="147" y="91"/>
                  <a:pt x="140" y="89"/>
                  <a:pt x="133" y="89"/>
                </a:cubicBezTo>
                <a:cubicBezTo>
                  <a:pt x="133" y="85"/>
                  <a:pt x="133" y="85"/>
                  <a:pt x="133" y="85"/>
                </a:cubicBezTo>
                <a:cubicBezTo>
                  <a:pt x="133" y="84"/>
                  <a:pt x="132" y="83"/>
                  <a:pt x="131" y="83"/>
                </a:cubicBezTo>
                <a:cubicBezTo>
                  <a:pt x="129" y="83"/>
                  <a:pt x="128" y="84"/>
                  <a:pt x="128" y="85"/>
                </a:cubicBezTo>
                <a:cubicBezTo>
                  <a:pt x="128" y="89"/>
                  <a:pt x="128" y="89"/>
                  <a:pt x="128" y="89"/>
                </a:cubicBezTo>
                <a:cubicBezTo>
                  <a:pt x="123" y="89"/>
                  <a:pt x="118" y="90"/>
                  <a:pt x="113" y="93"/>
                </a:cubicBezTo>
                <a:cubicBezTo>
                  <a:pt x="112" y="90"/>
                  <a:pt x="112" y="90"/>
                  <a:pt x="112" y="90"/>
                </a:cubicBezTo>
                <a:cubicBezTo>
                  <a:pt x="111" y="88"/>
                  <a:pt x="109" y="88"/>
                  <a:pt x="108" y="89"/>
                </a:cubicBezTo>
                <a:cubicBezTo>
                  <a:pt x="107" y="89"/>
                  <a:pt x="106" y="91"/>
                  <a:pt x="107" y="92"/>
                </a:cubicBezTo>
                <a:cubicBezTo>
                  <a:pt x="109" y="95"/>
                  <a:pt x="109" y="95"/>
                  <a:pt x="109" y="95"/>
                </a:cubicBezTo>
                <a:cubicBezTo>
                  <a:pt x="104" y="98"/>
                  <a:pt x="101" y="102"/>
                  <a:pt x="98" y="106"/>
                </a:cubicBezTo>
                <a:cubicBezTo>
                  <a:pt x="95" y="104"/>
                  <a:pt x="95" y="104"/>
                  <a:pt x="95" y="104"/>
                </a:cubicBezTo>
                <a:cubicBezTo>
                  <a:pt x="94" y="104"/>
                  <a:pt x="92" y="104"/>
                  <a:pt x="91" y="105"/>
                </a:cubicBezTo>
                <a:cubicBezTo>
                  <a:pt x="91" y="107"/>
                  <a:pt x="91" y="108"/>
                  <a:pt x="92" y="109"/>
                </a:cubicBezTo>
                <a:cubicBezTo>
                  <a:pt x="95" y="111"/>
                  <a:pt x="95" y="111"/>
                  <a:pt x="95" y="111"/>
                </a:cubicBezTo>
                <a:cubicBezTo>
                  <a:pt x="93" y="115"/>
                  <a:pt x="92" y="120"/>
                  <a:pt x="91" y="125"/>
                </a:cubicBezTo>
                <a:cubicBezTo>
                  <a:pt x="88" y="125"/>
                  <a:pt x="88" y="125"/>
                  <a:pt x="88" y="125"/>
                </a:cubicBezTo>
                <a:cubicBezTo>
                  <a:pt x="87" y="125"/>
                  <a:pt x="85" y="127"/>
                  <a:pt x="85" y="128"/>
                </a:cubicBezTo>
                <a:cubicBezTo>
                  <a:pt x="85" y="129"/>
                  <a:pt x="87" y="131"/>
                  <a:pt x="88" y="131"/>
                </a:cubicBezTo>
                <a:cubicBezTo>
                  <a:pt x="91" y="131"/>
                  <a:pt x="91" y="131"/>
                  <a:pt x="91" y="131"/>
                </a:cubicBezTo>
                <a:cubicBezTo>
                  <a:pt x="91" y="132"/>
                  <a:pt x="92" y="134"/>
                  <a:pt x="92" y="136"/>
                </a:cubicBezTo>
                <a:cubicBezTo>
                  <a:pt x="92" y="136"/>
                  <a:pt x="92" y="136"/>
                  <a:pt x="92" y="136"/>
                </a:cubicBezTo>
                <a:cubicBezTo>
                  <a:pt x="92" y="136"/>
                  <a:pt x="92" y="136"/>
                  <a:pt x="92" y="136"/>
                </a:cubicBezTo>
                <a:cubicBezTo>
                  <a:pt x="93" y="140"/>
                  <a:pt x="94" y="144"/>
                  <a:pt x="97" y="148"/>
                </a:cubicBezTo>
                <a:cubicBezTo>
                  <a:pt x="97" y="149"/>
                  <a:pt x="98" y="151"/>
                  <a:pt x="99" y="152"/>
                </a:cubicBezTo>
                <a:cubicBezTo>
                  <a:pt x="93" y="154"/>
                  <a:pt x="87" y="155"/>
                  <a:pt x="80" y="155"/>
                </a:cubicBezTo>
                <a:cubicBezTo>
                  <a:pt x="74" y="155"/>
                  <a:pt x="67" y="154"/>
                  <a:pt x="61" y="152"/>
                </a:cubicBezTo>
                <a:close/>
                <a:moveTo>
                  <a:pt x="152" y="102"/>
                </a:moveTo>
                <a:cubicBezTo>
                  <a:pt x="151" y="102"/>
                  <a:pt x="151" y="103"/>
                  <a:pt x="151" y="104"/>
                </a:cubicBezTo>
                <a:cubicBezTo>
                  <a:pt x="150" y="105"/>
                  <a:pt x="150" y="105"/>
                  <a:pt x="150" y="106"/>
                </a:cubicBezTo>
                <a:cubicBezTo>
                  <a:pt x="150" y="106"/>
                  <a:pt x="149" y="107"/>
                  <a:pt x="149" y="108"/>
                </a:cubicBezTo>
                <a:cubicBezTo>
                  <a:pt x="149" y="110"/>
                  <a:pt x="148" y="111"/>
                  <a:pt x="147" y="112"/>
                </a:cubicBezTo>
                <a:cubicBezTo>
                  <a:pt x="147" y="112"/>
                  <a:pt x="147" y="112"/>
                  <a:pt x="147" y="112"/>
                </a:cubicBezTo>
                <a:cubicBezTo>
                  <a:pt x="146" y="114"/>
                  <a:pt x="145" y="116"/>
                  <a:pt x="145" y="118"/>
                </a:cubicBezTo>
                <a:cubicBezTo>
                  <a:pt x="140" y="111"/>
                  <a:pt x="132" y="109"/>
                  <a:pt x="124" y="112"/>
                </a:cubicBezTo>
                <a:cubicBezTo>
                  <a:pt x="116" y="97"/>
                  <a:pt x="116" y="97"/>
                  <a:pt x="116" y="97"/>
                </a:cubicBezTo>
                <a:cubicBezTo>
                  <a:pt x="121" y="95"/>
                  <a:pt x="126" y="94"/>
                  <a:pt x="131" y="94"/>
                </a:cubicBezTo>
                <a:cubicBezTo>
                  <a:pt x="138" y="94"/>
                  <a:pt x="145" y="96"/>
                  <a:pt x="152" y="101"/>
                </a:cubicBezTo>
                <a:cubicBezTo>
                  <a:pt x="152" y="101"/>
                  <a:pt x="152" y="101"/>
                  <a:pt x="152" y="102"/>
                </a:cubicBezTo>
                <a:close/>
                <a:moveTo>
                  <a:pt x="115" y="146"/>
                </a:moveTo>
                <a:cubicBezTo>
                  <a:pt x="114" y="146"/>
                  <a:pt x="113" y="147"/>
                  <a:pt x="113" y="147"/>
                </a:cubicBezTo>
                <a:cubicBezTo>
                  <a:pt x="112" y="148"/>
                  <a:pt x="111" y="148"/>
                  <a:pt x="110" y="148"/>
                </a:cubicBezTo>
                <a:cubicBezTo>
                  <a:pt x="110" y="148"/>
                  <a:pt x="110" y="149"/>
                  <a:pt x="109" y="149"/>
                </a:cubicBezTo>
                <a:cubicBezTo>
                  <a:pt x="108" y="149"/>
                  <a:pt x="106" y="150"/>
                  <a:pt x="105" y="150"/>
                </a:cubicBezTo>
                <a:cubicBezTo>
                  <a:pt x="105" y="150"/>
                  <a:pt x="105" y="150"/>
                  <a:pt x="105" y="150"/>
                </a:cubicBezTo>
                <a:cubicBezTo>
                  <a:pt x="103" y="149"/>
                  <a:pt x="102" y="147"/>
                  <a:pt x="101" y="145"/>
                </a:cubicBezTo>
                <a:cubicBezTo>
                  <a:pt x="100" y="143"/>
                  <a:pt x="99" y="140"/>
                  <a:pt x="98" y="138"/>
                </a:cubicBezTo>
                <a:cubicBezTo>
                  <a:pt x="114" y="134"/>
                  <a:pt x="114" y="134"/>
                  <a:pt x="114" y="134"/>
                </a:cubicBezTo>
                <a:cubicBezTo>
                  <a:pt x="115" y="135"/>
                  <a:pt x="115" y="136"/>
                  <a:pt x="116" y="137"/>
                </a:cubicBezTo>
                <a:cubicBezTo>
                  <a:pt x="117" y="139"/>
                  <a:pt x="119" y="141"/>
                  <a:pt x="121" y="142"/>
                </a:cubicBezTo>
                <a:cubicBezTo>
                  <a:pt x="119" y="143"/>
                  <a:pt x="118" y="145"/>
                  <a:pt x="116" y="146"/>
                </a:cubicBezTo>
                <a:cubicBezTo>
                  <a:pt x="116" y="146"/>
                  <a:pt x="115" y="146"/>
                  <a:pt x="115" y="146"/>
                </a:cubicBezTo>
                <a:close/>
                <a:moveTo>
                  <a:pt x="111" y="100"/>
                </a:moveTo>
                <a:cubicBezTo>
                  <a:pt x="120" y="114"/>
                  <a:pt x="120" y="114"/>
                  <a:pt x="120" y="114"/>
                </a:cubicBezTo>
                <a:cubicBezTo>
                  <a:pt x="115" y="118"/>
                  <a:pt x="113" y="123"/>
                  <a:pt x="113" y="129"/>
                </a:cubicBezTo>
                <a:cubicBezTo>
                  <a:pt x="97" y="132"/>
                  <a:pt x="97" y="132"/>
                  <a:pt x="97" y="132"/>
                </a:cubicBezTo>
                <a:cubicBezTo>
                  <a:pt x="95" y="120"/>
                  <a:pt x="101" y="107"/>
                  <a:pt x="111" y="100"/>
                </a:cubicBezTo>
                <a:close/>
                <a:moveTo>
                  <a:pt x="131" y="116"/>
                </a:moveTo>
                <a:cubicBezTo>
                  <a:pt x="135" y="116"/>
                  <a:pt x="139" y="118"/>
                  <a:pt x="141" y="122"/>
                </a:cubicBezTo>
                <a:cubicBezTo>
                  <a:pt x="141" y="122"/>
                  <a:pt x="141" y="122"/>
                  <a:pt x="141" y="122"/>
                </a:cubicBezTo>
                <a:cubicBezTo>
                  <a:pt x="141" y="123"/>
                  <a:pt x="141" y="123"/>
                  <a:pt x="141" y="124"/>
                </a:cubicBezTo>
                <a:cubicBezTo>
                  <a:pt x="140" y="124"/>
                  <a:pt x="139" y="125"/>
                  <a:pt x="139" y="126"/>
                </a:cubicBezTo>
                <a:cubicBezTo>
                  <a:pt x="138" y="127"/>
                  <a:pt x="137" y="128"/>
                  <a:pt x="137" y="129"/>
                </a:cubicBezTo>
                <a:cubicBezTo>
                  <a:pt x="136" y="129"/>
                  <a:pt x="136" y="130"/>
                  <a:pt x="135" y="130"/>
                </a:cubicBezTo>
                <a:cubicBezTo>
                  <a:pt x="134" y="131"/>
                  <a:pt x="134" y="132"/>
                  <a:pt x="133" y="132"/>
                </a:cubicBezTo>
                <a:cubicBezTo>
                  <a:pt x="133" y="133"/>
                  <a:pt x="132" y="133"/>
                  <a:pt x="132" y="134"/>
                </a:cubicBezTo>
                <a:cubicBezTo>
                  <a:pt x="131" y="135"/>
                  <a:pt x="130" y="136"/>
                  <a:pt x="128" y="137"/>
                </a:cubicBezTo>
                <a:cubicBezTo>
                  <a:pt x="128" y="137"/>
                  <a:pt x="127" y="138"/>
                  <a:pt x="127" y="138"/>
                </a:cubicBezTo>
                <a:cubicBezTo>
                  <a:pt x="127" y="138"/>
                  <a:pt x="126" y="139"/>
                  <a:pt x="126" y="139"/>
                </a:cubicBezTo>
                <a:cubicBezTo>
                  <a:pt x="123" y="138"/>
                  <a:pt x="122" y="136"/>
                  <a:pt x="120" y="134"/>
                </a:cubicBezTo>
                <a:cubicBezTo>
                  <a:pt x="117" y="128"/>
                  <a:pt x="119" y="121"/>
                  <a:pt x="125" y="118"/>
                </a:cubicBezTo>
                <a:cubicBezTo>
                  <a:pt x="127" y="116"/>
                  <a:pt x="129" y="116"/>
                  <a:pt x="131" y="116"/>
                </a:cubicBezTo>
                <a:close/>
                <a:moveTo>
                  <a:pt x="103" y="84"/>
                </a:moveTo>
                <a:cubicBezTo>
                  <a:pt x="105" y="77"/>
                  <a:pt x="104" y="71"/>
                  <a:pt x="101" y="65"/>
                </a:cubicBezTo>
                <a:cubicBezTo>
                  <a:pt x="100" y="64"/>
                  <a:pt x="99" y="63"/>
                  <a:pt x="99" y="62"/>
                </a:cubicBezTo>
                <a:cubicBezTo>
                  <a:pt x="119" y="42"/>
                  <a:pt x="119" y="42"/>
                  <a:pt x="119" y="42"/>
                </a:cubicBezTo>
                <a:cubicBezTo>
                  <a:pt x="121" y="45"/>
                  <a:pt x="124" y="48"/>
                  <a:pt x="125" y="51"/>
                </a:cubicBezTo>
                <a:cubicBezTo>
                  <a:pt x="130" y="59"/>
                  <a:pt x="133" y="68"/>
                  <a:pt x="132" y="78"/>
                </a:cubicBezTo>
                <a:cubicBezTo>
                  <a:pt x="132" y="79"/>
                  <a:pt x="134" y="80"/>
                  <a:pt x="135" y="80"/>
                </a:cubicBezTo>
                <a:cubicBezTo>
                  <a:pt x="135" y="80"/>
                  <a:pt x="135" y="80"/>
                  <a:pt x="135" y="80"/>
                </a:cubicBezTo>
                <a:cubicBezTo>
                  <a:pt x="137" y="80"/>
                  <a:pt x="138" y="79"/>
                  <a:pt x="138" y="78"/>
                </a:cubicBezTo>
                <a:cubicBezTo>
                  <a:pt x="138" y="73"/>
                  <a:pt x="137" y="69"/>
                  <a:pt x="136" y="65"/>
                </a:cubicBezTo>
                <a:cubicBezTo>
                  <a:pt x="143" y="63"/>
                  <a:pt x="143" y="63"/>
                  <a:pt x="143" y="63"/>
                </a:cubicBezTo>
                <a:cubicBezTo>
                  <a:pt x="144" y="63"/>
                  <a:pt x="145" y="62"/>
                  <a:pt x="144" y="60"/>
                </a:cubicBezTo>
                <a:cubicBezTo>
                  <a:pt x="144" y="59"/>
                  <a:pt x="143" y="58"/>
                  <a:pt x="141" y="58"/>
                </a:cubicBezTo>
                <a:cubicBezTo>
                  <a:pt x="135" y="60"/>
                  <a:pt x="135" y="60"/>
                  <a:pt x="135" y="60"/>
                </a:cubicBezTo>
                <a:cubicBezTo>
                  <a:pt x="134" y="57"/>
                  <a:pt x="133" y="54"/>
                  <a:pt x="131" y="51"/>
                </a:cubicBezTo>
                <a:cubicBezTo>
                  <a:pt x="137" y="48"/>
                  <a:pt x="137" y="48"/>
                  <a:pt x="137" y="48"/>
                </a:cubicBezTo>
                <a:cubicBezTo>
                  <a:pt x="138" y="47"/>
                  <a:pt x="138" y="45"/>
                  <a:pt x="138" y="44"/>
                </a:cubicBezTo>
                <a:cubicBezTo>
                  <a:pt x="137" y="43"/>
                  <a:pt x="135" y="42"/>
                  <a:pt x="134" y="43"/>
                </a:cubicBezTo>
                <a:cubicBezTo>
                  <a:pt x="129" y="46"/>
                  <a:pt x="129" y="46"/>
                  <a:pt x="129" y="46"/>
                </a:cubicBezTo>
                <a:cubicBezTo>
                  <a:pt x="127" y="43"/>
                  <a:pt x="125" y="41"/>
                  <a:pt x="123" y="38"/>
                </a:cubicBezTo>
                <a:cubicBezTo>
                  <a:pt x="127" y="34"/>
                  <a:pt x="127" y="34"/>
                  <a:pt x="127" y="34"/>
                </a:cubicBezTo>
                <a:cubicBezTo>
                  <a:pt x="128" y="33"/>
                  <a:pt x="128" y="31"/>
                  <a:pt x="127" y="30"/>
                </a:cubicBezTo>
                <a:cubicBezTo>
                  <a:pt x="126" y="29"/>
                  <a:pt x="124" y="29"/>
                  <a:pt x="123" y="30"/>
                </a:cubicBezTo>
                <a:cubicBezTo>
                  <a:pt x="119" y="35"/>
                  <a:pt x="119" y="35"/>
                  <a:pt x="119" y="35"/>
                </a:cubicBezTo>
                <a:cubicBezTo>
                  <a:pt x="117" y="32"/>
                  <a:pt x="114" y="30"/>
                  <a:pt x="111" y="29"/>
                </a:cubicBezTo>
                <a:cubicBezTo>
                  <a:pt x="114" y="23"/>
                  <a:pt x="114" y="23"/>
                  <a:pt x="114" y="23"/>
                </a:cubicBezTo>
                <a:cubicBezTo>
                  <a:pt x="115" y="22"/>
                  <a:pt x="115" y="20"/>
                  <a:pt x="113" y="20"/>
                </a:cubicBezTo>
                <a:cubicBezTo>
                  <a:pt x="112" y="19"/>
                  <a:pt x="110" y="19"/>
                  <a:pt x="110" y="21"/>
                </a:cubicBezTo>
                <a:cubicBezTo>
                  <a:pt x="107" y="26"/>
                  <a:pt x="107" y="26"/>
                  <a:pt x="107" y="26"/>
                </a:cubicBezTo>
                <a:cubicBezTo>
                  <a:pt x="104" y="25"/>
                  <a:pt x="101" y="23"/>
                  <a:pt x="98" y="22"/>
                </a:cubicBezTo>
                <a:cubicBezTo>
                  <a:pt x="99" y="16"/>
                  <a:pt x="99" y="16"/>
                  <a:pt x="99" y="16"/>
                </a:cubicBezTo>
                <a:cubicBezTo>
                  <a:pt x="100" y="15"/>
                  <a:pt x="99" y="13"/>
                  <a:pt x="97" y="13"/>
                </a:cubicBezTo>
                <a:cubicBezTo>
                  <a:pt x="96" y="13"/>
                  <a:pt x="94" y="13"/>
                  <a:pt x="94" y="15"/>
                </a:cubicBezTo>
                <a:cubicBezTo>
                  <a:pt x="92" y="21"/>
                  <a:pt x="92" y="21"/>
                  <a:pt x="92" y="21"/>
                </a:cubicBezTo>
                <a:cubicBezTo>
                  <a:pt x="89" y="20"/>
                  <a:pt x="86" y="20"/>
                  <a:pt x="83" y="20"/>
                </a:cubicBezTo>
                <a:cubicBezTo>
                  <a:pt x="83" y="13"/>
                  <a:pt x="83" y="13"/>
                  <a:pt x="83" y="13"/>
                </a:cubicBezTo>
                <a:cubicBezTo>
                  <a:pt x="83" y="12"/>
                  <a:pt x="81" y="11"/>
                  <a:pt x="80" y="11"/>
                </a:cubicBezTo>
                <a:cubicBezTo>
                  <a:pt x="79" y="11"/>
                  <a:pt x="77" y="12"/>
                  <a:pt x="77" y="13"/>
                </a:cubicBezTo>
                <a:cubicBezTo>
                  <a:pt x="77" y="20"/>
                  <a:pt x="77" y="20"/>
                  <a:pt x="77" y="20"/>
                </a:cubicBezTo>
                <a:cubicBezTo>
                  <a:pt x="74" y="20"/>
                  <a:pt x="71" y="20"/>
                  <a:pt x="68" y="21"/>
                </a:cubicBezTo>
                <a:cubicBezTo>
                  <a:pt x="66" y="15"/>
                  <a:pt x="66" y="15"/>
                  <a:pt x="66" y="15"/>
                </a:cubicBezTo>
                <a:cubicBezTo>
                  <a:pt x="66" y="13"/>
                  <a:pt x="64" y="13"/>
                  <a:pt x="63" y="13"/>
                </a:cubicBezTo>
                <a:cubicBezTo>
                  <a:pt x="61" y="13"/>
                  <a:pt x="60" y="15"/>
                  <a:pt x="61" y="16"/>
                </a:cubicBezTo>
                <a:cubicBezTo>
                  <a:pt x="62" y="22"/>
                  <a:pt x="62" y="22"/>
                  <a:pt x="62" y="22"/>
                </a:cubicBezTo>
                <a:cubicBezTo>
                  <a:pt x="59" y="23"/>
                  <a:pt x="56" y="25"/>
                  <a:pt x="53" y="26"/>
                </a:cubicBezTo>
                <a:cubicBezTo>
                  <a:pt x="50" y="21"/>
                  <a:pt x="50" y="21"/>
                  <a:pt x="50" y="21"/>
                </a:cubicBezTo>
                <a:cubicBezTo>
                  <a:pt x="50" y="19"/>
                  <a:pt x="48" y="19"/>
                  <a:pt x="47" y="20"/>
                </a:cubicBezTo>
                <a:cubicBezTo>
                  <a:pt x="45" y="20"/>
                  <a:pt x="45" y="22"/>
                  <a:pt x="46" y="23"/>
                </a:cubicBezTo>
                <a:cubicBezTo>
                  <a:pt x="49" y="29"/>
                  <a:pt x="49" y="29"/>
                  <a:pt x="49" y="29"/>
                </a:cubicBezTo>
                <a:cubicBezTo>
                  <a:pt x="46" y="30"/>
                  <a:pt x="43" y="32"/>
                  <a:pt x="41" y="35"/>
                </a:cubicBezTo>
                <a:cubicBezTo>
                  <a:pt x="37" y="30"/>
                  <a:pt x="37" y="30"/>
                  <a:pt x="37" y="30"/>
                </a:cubicBezTo>
                <a:cubicBezTo>
                  <a:pt x="36" y="29"/>
                  <a:pt x="34" y="29"/>
                  <a:pt x="33" y="30"/>
                </a:cubicBezTo>
                <a:cubicBezTo>
                  <a:pt x="32" y="31"/>
                  <a:pt x="32" y="33"/>
                  <a:pt x="33" y="34"/>
                </a:cubicBezTo>
                <a:cubicBezTo>
                  <a:pt x="37" y="38"/>
                  <a:pt x="37" y="38"/>
                  <a:pt x="37" y="38"/>
                </a:cubicBezTo>
                <a:cubicBezTo>
                  <a:pt x="35" y="41"/>
                  <a:pt x="33" y="43"/>
                  <a:pt x="31" y="46"/>
                </a:cubicBezTo>
                <a:cubicBezTo>
                  <a:pt x="26" y="43"/>
                  <a:pt x="26" y="43"/>
                  <a:pt x="26" y="43"/>
                </a:cubicBezTo>
                <a:cubicBezTo>
                  <a:pt x="25" y="42"/>
                  <a:pt x="23" y="43"/>
                  <a:pt x="22" y="44"/>
                </a:cubicBezTo>
                <a:cubicBezTo>
                  <a:pt x="22" y="45"/>
                  <a:pt x="22" y="47"/>
                  <a:pt x="23" y="48"/>
                </a:cubicBezTo>
                <a:cubicBezTo>
                  <a:pt x="29" y="51"/>
                  <a:pt x="29" y="51"/>
                  <a:pt x="29" y="51"/>
                </a:cubicBezTo>
                <a:cubicBezTo>
                  <a:pt x="27" y="54"/>
                  <a:pt x="26" y="57"/>
                  <a:pt x="25" y="60"/>
                </a:cubicBezTo>
                <a:cubicBezTo>
                  <a:pt x="19" y="58"/>
                  <a:pt x="19" y="58"/>
                  <a:pt x="19" y="58"/>
                </a:cubicBezTo>
                <a:cubicBezTo>
                  <a:pt x="17" y="58"/>
                  <a:pt x="16" y="59"/>
                  <a:pt x="16" y="60"/>
                </a:cubicBezTo>
                <a:cubicBezTo>
                  <a:pt x="15" y="61"/>
                  <a:pt x="16" y="63"/>
                  <a:pt x="17" y="63"/>
                </a:cubicBezTo>
                <a:cubicBezTo>
                  <a:pt x="24" y="65"/>
                  <a:pt x="24" y="65"/>
                  <a:pt x="24" y="65"/>
                </a:cubicBezTo>
                <a:cubicBezTo>
                  <a:pt x="23" y="69"/>
                  <a:pt x="22" y="73"/>
                  <a:pt x="22" y="78"/>
                </a:cubicBezTo>
                <a:cubicBezTo>
                  <a:pt x="22" y="79"/>
                  <a:pt x="23" y="80"/>
                  <a:pt x="25" y="80"/>
                </a:cubicBezTo>
                <a:cubicBezTo>
                  <a:pt x="25" y="80"/>
                  <a:pt x="25" y="80"/>
                  <a:pt x="25" y="80"/>
                </a:cubicBezTo>
                <a:cubicBezTo>
                  <a:pt x="26" y="80"/>
                  <a:pt x="28" y="79"/>
                  <a:pt x="28" y="78"/>
                </a:cubicBezTo>
                <a:cubicBezTo>
                  <a:pt x="27" y="64"/>
                  <a:pt x="32" y="52"/>
                  <a:pt x="41" y="42"/>
                </a:cubicBezTo>
                <a:cubicBezTo>
                  <a:pt x="61" y="62"/>
                  <a:pt x="61" y="62"/>
                  <a:pt x="61" y="62"/>
                </a:cubicBezTo>
                <a:cubicBezTo>
                  <a:pt x="59" y="65"/>
                  <a:pt x="58" y="68"/>
                  <a:pt x="57" y="71"/>
                </a:cubicBezTo>
                <a:cubicBezTo>
                  <a:pt x="55" y="77"/>
                  <a:pt x="56" y="84"/>
                  <a:pt x="59" y="89"/>
                </a:cubicBezTo>
                <a:cubicBezTo>
                  <a:pt x="62" y="95"/>
                  <a:pt x="68" y="99"/>
                  <a:pt x="74" y="101"/>
                </a:cubicBezTo>
                <a:cubicBezTo>
                  <a:pt x="76" y="101"/>
                  <a:pt x="78" y="101"/>
                  <a:pt x="80" y="101"/>
                </a:cubicBezTo>
                <a:cubicBezTo>
                  <a:pt x="84" y="101"/>
                  <a:pt x="88" y="100"/>
                  <a:pt x="92" y="98"/>
                </a:cubicBezTo>
                <a:cubicBezTo>
                  <a:pt x="98" y="95"/>
                  <a:pt x="102" y="90"/>
                  <a:pt x="103" y="84"/>
                </a:cubicBezTo>
                <a:close/>
                <a:moveTo>
                  <a:pt x="68" y="57"/>
                </a:moveTo>
                <a:cubicBezTo>
                  <a:pt x="67" y="57"/>
                  <a:pt x="66" y="58"/>
                  <a:pt x="65" y="59"/>
                </a:cubicBezTo>
                <a:cubicBezTo>
                  <a:pt x="45" y="38"/>
                  <a:pt x="45" y="38"/>
                  <a:pt x="45" y="38"/>
                </a:cubicBezTo>
                <a:cubicBezTo>
                  <a:pt x="48" y="36"/>
                  <a:pt x="51" y="34"/>
                  <a:pt x="54" y="32"/>
                </a:cubicBezTo>
                <a:cubicBezTo>
                  <a:pt x="74" y="20"/>
                  <a:pt x="99" y="24"/>
                  <a:pt x="115" y="38"/>
                </a:cubicBezTo>
                <a:cubicBezTo>
                  <a:pt x="95" y="59"/>
                  <a:pt x="95" y="59"/>
                  <a:pt x="95" y="59"/>
                </a:cubicBezTo>
                <a:cubicBezTo>
                  <a:pt x="92" y="57"/>
                  <a:pt x="89" y="55"/>
                  <a:pt x="86" y="54"/>
                </a:cubicBezTo>
                <a:cubicBezTo>
                  <a:pt x="80" y="53"/>
                  <a:pt x="74" y="53"/>
                  <a:pt x="68" y="57"/>
                </a:cubicBezTo>
                <a:close/>
                <a:moveTo>
                  <a:pt x="75" y="95"/>
                </a:moveTo>
                <a:cubicBezTo>
                  <a:pt x="70" y="94"/>
                  <a:pt x="66" y="91"/>
                  <a:pt x="64" y="87"/>
                </a:cubicBezTo>
                <a:cubicBezTo>
                  <a:pt x="61" y="82"/>
                  <a:pt x="61" y="77"/>
                  <a:pt x="62" y="73"/>
                </a:cubicBezTo>
                <a:cubicBezTo>
                  <a:pt x="63" y="68"/>
                  <a:pt x="66" y="64"/>
                  <a:pt x="71" y="61"/>
                </a:cubicBezTo>
                <a:cubicBezTo>
                  <a:pt x="74" y="60"/>
                  <a:pt x="77" y="59"/>
                  <a:pt x="80" y="59"/>
                </a:cubicBezTo>
                <a:cubicBezTo>
                  <a:pt x="82" y="59"/>
                  <a:pt x="83" y="59"/>
                  <a:pt x="85" y="59"/>
                </a:cubicBezTo>
                <a:cubicBezTo>
                  <a:pt x="90" y="61"/>
                  <a:pt x="94" y="64"/>
                  <a:pt x="96" y="68"/>
                </a:cubicBezTo>
                <a:cubicBezTo>
                  <a:pt x="99" y="72"/>
                  <a:pt x="99" y="77"/>
                  <a:pt x="98" y="82"/>
                </a:cubicBezTo>
                <a:cubicBezTo>
                  <a:pt x="97" y="87"/>
                  <a:pt x="94" y="91"/>
                  <a:pt x="89" y="93"/>
                </a:cubicBezTo>
                <a:cubicBezTo>
                  <a:pt x="85" y="96"/>
                  <a:pt x="80" y="97"/>
                  <a:pt x="75" y="9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1357">
            <a:extLst>
              <a:ext uri="{FF2B5EF4-FFF2-40B4-BE49-F238E27FC236}">
                <a16:creationId xmlns:a16="http://schemas.microsoft.com/office/drawing/2014/main" id="{4B7AB98F-40AD-9341-9542-3A6FE68D628F}"/>
              </a:ext>
            </a:extLst>
          </p:cNvPr>
          <p:cNvSpPr>
            <a:spLocks noEditPoints="1"/>
          </p:cNvSpPr>
          <p:nvPr/>
        </p:nvSpPr>
        <p:spPr bwMode="auto">
          <a:xfrm>
            <a:off x="7176662" y="1603375"/>
            <a:ext cx="546100" cy="550863"/>
          </a:xfrm>
          <a:custGeom>
            <a:avLst/>
            <a:gdLst>
              <a:gd name="T0" fmla="*/ 61 w 160"/>
              <a:gd name="T1" fmla="*/ 83 h 160"/>
              <a:gd name="T2" fmla="*/ 80 w 160"/>
              <a:gd name="T3" fmla="*/ 96 h 160"/>
              <a:gd name="T4" fmla="*/ 83 w 160"/>
              <a:gd name="T5" fmla="*/ 83 h 160"/>
              <a:gd name="T6" fmla="*/ 0 w 160"/>
              <a:gd name="T7" fmla="*/ 0 h 160"/>
              <a:gd name="T8" fmla="*/ 0 w 160"/>
              <a:gd name="T9" fmla="*/ 160 h 160"/>
              <a:gd name="T10" fmla="*/ 100 w 160"/>
              <a:gd name="T11" fmla="*/ 160 h 160"/>
              <a:gd name="T12" fmla="*/ 160 w 160"/>
              <a:gd name="T13" fmla="*/ 152 h 160"/>
              <a:gd name="T14" fmla="*/ 0 w 160"/>
              <a:gd name="T15" fmla="*/ 0 h 160"/>
              <a:gd name="T16" fmla="*/ 83 w 160"/>
              <a:gd name="T17" fmla="*/ 13 h 160"/>
              <a:gd name="T18" fmla="*/ 65 w 160"/>
              <a:gd name="T19" fmla="*/ 15 h 160"/>
              <a:gd name="T20" fmla="*/ 77 w 160"/>
              <a:gd name="T21" fmla="*/ 13 h 160"/>
              <a:gd name="T22" fmla="*/ 60 w 160"/>
              <a:gd name="T23" fmla="*/ 17 h 160"/>
              <a:gd name="T24" fmla="*/ 39 w 160"/>
              <a:gd name="T25" fmla="*/ 17 h 160"/>
              <a:gd name="T26" fmla="*/ 23 w 160"/>
              <a:gd name="T27" fmla="*/ 26 h 160"/>
              <a:gd name="T28" fmla="*/ 14 w 160"/>
              <a:gd name="T29" fmla="*/ 42 h 160"/>
              <a:gd name="T30" fmla="*/ 14 w 160"/>
              <a:gd name="T31" fmla="*/ 61 h 160"/>
              <a:gd name="T32" fmla="*/ 14 w 160"/>
              <a:gd name="T33" fmla="*/ 71 h 160"/>
              <a:gd name="T34" fmla="*/ 55 w 160"/>
              <a:gd name="T35" fmla="*/ 77 h 160"/>
              <a:gd name="T36" fmla="*/ 77 w 160"/>
              <a:gd name="T37" fmla="*/ 19 h 160"/>
              <a:gd name="T38" fmla="*/ 83 w 160"/>
              <a:gd name="T39" fmla="*/ 19 h 160"/>
              <a:gd name="T40" fmla="*/ 105 w 160"/>
              <a:gd name="T41" fmla="*/ 77 h 160"/>
              <a:gd name="T42" fmla="*/ 145 w 160"/>
              <a:gd name="T43" fmla="*/ 71 h 160"/>
              <a:gd name="T44" fmla="*/ 146 w 160"/>
              <a:gd name="T45" fmla="*/ 61 h 160"/>
              <a:gd name="T46" fmla="*/ 149 w 160"/>
              <a:gd name="T47" fmla="*/ 43 h 160"/>
              <a:gd name="T48" fmla="*/ 137 w 160"/>
              <a:gd name="T49" fmla="*/ 30 h 160"/>
              <a:gd name="T50" fmla="*/ 117 w 160"/>
              <a:gd name="T51" fmla="*/ 24 h 160"/>
              <a:gd name="T52" fmla="*/ 112 w 160"/>
              <a:gd name="T53" fmla="*/ 22 h 160"/>
              <a:gd name="T54" fmla="*/ 100 w 160"/>
              <a:gd name="T55" fmla="*/ 5 h 160"/>
              <a:gd name="T56" fmla="*/ 147 w 160"/>
              <a:gd name="T57" fmla="*/ 85 h 160"/>
              <a:gd name="T58" fmla="*/ 112 w 160"/>
              <a:gd name="T59" fmla="*/ 102 h 160"/>
              <a:gd name="T60" fmla="*/ 99 w 160"/>
              <a:gd name="T61" fmla="*/ 125 h 160"/>
              <a:gd name="T62" fmla="*/ 91 w 160"/>
              <a:gd name="T63" fmla="*/ 151 h 160"/>
              <a:gd name="T64" fmla="*/ 77 w 160"/>
              <a:gd name="T65" fmla="*/ 149 h 160"/>
              <a:gd name="T66" fmla="*/ 63 w 160"/>
              <a:gd name="T67" fmla="*/ 115 h 160"/>
              <a:gd name="T68" fmla="*/ 38 w 160"/>
              <a:gd name="T69" fmla="*/ 103 h 160"/>
              <a:gd name="T70" fmla="*/ 12 w 160"/>
              <a:gd name="T71" fmla="*/ 94 h 160"/>
              <a:gd name="T72" fmla="*/ 8 w 160"/>
              <a:gd name="T73" fmla="*/ 155 h 160"/>
              <a:gd name="T74" fmla="*/ 40 w 160"/>
              <a:gd name="T75" fmla="*/ 141 h 160"/>
              <a:gd name="T76" fmla="*/ 45 w 160"/>
              <a:gd name="T77" fmla="*/ 141 h 160"/>
              <a:gd name="T78" fmla="*/ 17 w 160"/>
              <a:gd name="T79" fmla="*/ 95 h 160"/>
              <a:gd name="T80" fmla="*/ 36 w 160"/>
              <a:gd name="T81" fmla="*/ 108 h 160"/>
              <a:gd name="T82" fmla="*/ 58 w 160"/>
              <a:gd name="T83" fmla="*/ 112 h 160"/>
              <a:gd name="T84" fmla="*/ 72 w 160"/>
              <a:gd name="T85" fmla="*/ 145 h 160"/>
              <a:gd name="T86" fmla="*/ 92 w 160"/>
              <a:gd name="T87" fmla="*/ 145 h 160"/>
              <a:gd name="T88" fmla="*/ 104 w 160"/>
              <a:gd name="T89" fmla="*/ 127 h 160"/>
              <a:gd name="T90" fmla="*/ 109 w 160"/>
              <a:gd name="T91" fmla="*/ 107 h 160"/>
              <a:gd name="T92" fmla="*/ 142 w 160"/>
              <a:gd name="T93" fmla="*/ 91 h 160"/>
              <a:gd name="T94" fmla="*/ 139 w 160"/>
              <a:gd name="T95" fmla="*/ 117 h 160"/>
              <a:gd name="T96" fmla="*/ 92 w 160"/>
              <a:gd name="T97" fmla="*/ 145 h 160"/>
              <a:gd name="T98" fmla="*/ 155 w 160"/>
              <a:gd name="T99" fmla="*/ 13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60">
                <a:moveTo>
                  <a:pt x="80" y="101"/>
                </a:moveTo>
                <a:cubicBezTo>
                  <a:pt x="90" y="101"/>
                  <a:pt x="99" y="93"/>
                  <a:pt x="99" y="83"/>
                </a:cubicBezTo>
                <a:cubicBezTo>
                  <a:pt x="99" y="72"/>
                  <a:pt x="90" y="64"/>
                  <a:pt x="80" y="64"/>
                </a:cubicBezTo>
                <a:cubicBezTo>
                  <a:pt x="70" y="64"/>
                  <a:pt x="61" y="72"/>
                  <a:pt x="61" y="83"/>
                </a:cubicBezTo>
                <a:cubicBezTo>
                  <a:pt x="61" y="93"/>
                  <a:pt x="70" y="101"/>
                  <a:pt x="80" y="101"/>
                </a:cubicBezTo>
                <a:close/>
                <a:moveTo>
                  <a:pt x="80" y="69"/>
                </a:moveTo>
                <a:cubicBezTo>
                  <a:pt x="87" y="69"/>
                  <a:pt x="93" y="75"/>
                  <a:pt x="93" y="83"/>
                </a:cubicBezTo>
                <a:cubicBezTo>
                  <a:pt x="93" y="90"/>
                  <a:pt x="87" y="96"/>
                  <a:pt x="80" y="96"/>
                </a:cubicBezTo>
                <a:cubicBezTo>
                  <a:pt x="73" y="96"/>
                  <a:pt x="67" y="90"/>
                  <a:pt x="67" y="83"/>
                </a:cubicBezTo>
                <a:cubicBezTo>
                  <a:pt x="67" y="75"/>
                  <a:pt x="73" y="69"/>
                  <a:pt x="80" y="69"/>
                </a:cubicBezTo>
                <a:close/>
                <a:moveTo>
                  <a:pt x="80" y="80"/>
                </a:moveTo>
                <a:cubicBezTo>
                  <a:pt x="81" y="80"/>
                  <a:pt x="83" y="81"/>
                  <a:pt x="83" y="83"/>
                </a:cubicBezTo>
                <a:cubicBezTo>
                  <a:pt x="83" y="84"/>
                  <a:pt x="81" y="85"/>
                  <a:pt x="80" y="85"/>
                </a:cubicBezTo>
                <a:cubicBezTo>
                  <a:pt x="78" y="85"/>
                  <a:pt x="77" y="84"/>
                  <a:pt x="77" y="83"/>
                </a:cubicBezTo>
                <a:cubicBezTo>
                  <a:pt x="77" y="81"/>
                  <a:pt x="78" y="80"/>
                  <a:pt x="80" y="80"/>
                </a:cubicBezTo>
                <a:close/>
                <a:moveTo>
                  <a:pt x="0" y="0"/>
                </a:moveTo>
                <a:cubicBezTo>
                  <a:pt x="0" y="103"/>
                  <a:pt x="0" y="103"/>
                  <a:pt x="0" y="103"/>
                </a:cubicBezTo>
                <a:cubicBezTo>
                  <a:pt x="0" y="130"/>
                  <a:pt x="0" y="130"/>
                  <a:pt x="0" y="130"/>
                </a:cubicBezTo>
                <a:cubicBezTo>
                  <a:pt x="0" y="152"/>
                  <a:pt x="0" y="152"/>
                  <a:pt x="0" y="152"/>
                </a:cubicBezTo>
                <a:cubicBezTo>
                  <a:pt x="0" y="160"/>
                  <a:pt x="0" y="160"/>
                  <a:pt x="0" y="160"/>
                </a:cubicBezTo>
                <a:cubicBezTo>
                  <a:pt x="6" y="160"/>
                  <a:pt x="6" y="160"/>
                  <a:pt x="6" y="160"/>
                </a:cubicBezTo>
                <a:cubicBezTo>
                  <a:pt x="36" y="160"/>
                  <a:pt x="36" y="160"/>
                  <a:pt x="36" y="160"/>
                </a:cubicBezTo>
                <a:cubicBezTo>
                  <a:pt x="60" y="160"/>
                  <a:pt x="60" y="160"/>
                  <a:pt x="60" y="160"/>
                </a:cubicBezTo>
                <a:cubicBezTo>
                  <a:pt x="100" y="160"/>
                  <a:pt x="100" y="160"/>
                  <a:pt x="100" y="160"/>
                </a:cubicBezTo>
                <a:cubicBezTo>
                  <a:pt x="124" y="160"/>
                  <a:pt x="124" y="160"/>
                  <a:pt x="124" y="160"/>
                </a:cubicBezTo>
                <a:cubicBezTo>
                  <a:pt x="154" y="160"/>
                  <a:pt x="154" y="160"/>
                  <a:pt x="154" y="160"/>
                </a:cubicBezTo>
                <a:cubicBezTo>
                  <a:pt x="160" y="160"/>
                  <a:pt x="160" y="160"/>
                  <a:pt x="160" y="160"/>
                </a:cubicBezTo>
                <a:cubicBezTo>
                  <a:pt x="160" y="152"/>
                  <a:pt x="160" y="152"/>
                  <a:pt x="160" y="152"/>
                </a:cubicBezTo>
                <a:cubicBezTo>
                  <a:pt x="160" y="130"/>
                  <a:pt x="160" y="130"/>
                  <a:pt x="160" y="130"/>
                </a:cubicBezTo>
                <a:cubicBezTo>
                  <a:pt x="160" y="103"/>
                  <a:pt x="160" y="103"/>
                  <a:pt x="160" y="103"/>
                </a:cubicBezTo>
                <a:cubicBezTo>
                  <a:pt x="160" y="0"/>
                  <a:pt x="160" y="0"/>
                  <a:pt x="160" y="0"/>
                </a:cubicBezTo>
                <a:lnTo>
                  <a:pt x="0" y="0"/>
                </a:lnTo>
                <a:close/>
                <a:moveTo>
                  <a:pt x="100" y="5"/>
                </a:moveTo>
                <a:cubicBezTo>
                  <a:pt x="99" y="5"/>
                  <a:pt x="98" y="6"/>
                  <a:pt x="97" y="7"/>
                </a:cubicBezTo>
                <a:cubicBezTo>
                  <a:pt x="95" y="15"/>
                  <a:pt x="95" y="15"/>
                  <a:pt x="95" y="15"/>
                </a:cubicBezTo>
                <a:cubicBezTo>
                  <a:pt x="91" y="14"/>
                  <a:pt x="87" y="14"/>
                  <a:pt x="83" y="13"/>
                </a:cubicBezTo>
                <a:cubicBezTo>
                  <a:pt x="83" y="5"/>
                  <a:pt x="83" y="5"/>
                  <a:pt x="83" y="5"/>
                </a:cubicBezTo>
                <a:lnTo>
                  <a:pt x="100" y="5"/>
                </a:lnTo>
                <a:close/>
                <a:moveTo>
                  <a:pt x="77" y="13"/>
                </a:moveTo>
                <a:cubicBezTo>
                  <a:pt x="73" y="14"/>
                  <a:pt x="69" y="14"/>
                  <a:pt x="65" y="15"/>
                </a:cubicBezTo>
                <a:cubicBezTo>
                  <a:pt x="63" y="7"/>
                  <a:pt x="63" y="7"/>
                  <a:pt x="63" y="7"/>
                </a:cubicBezTo>
                <a:cubicBezTo>
                  <a:pt x="62" y="6"/>
                  <a:pt x="61" y="5"/>
                  <a:pt x="60" y="5"/>
                </a:cubicBezTo>
                <a:cubicBezTo>
                  <a:pt x="77" y="5"/>
                  <a:pt x="77" y="5"/>
                  <a:pt x="77" y="5"/>
                </a:cubicBezTo>
                <a:lnTo>
                  <a:pt x="77" y="13"/>
                </a:lnTo>
                <a:close/>
                <a:moveTo>
                  <a:pt x="60" y="5"/>
                </a:moveTo>
                <a:cubicBezTo>
                  <a:pt x="60" y="5"/>
                  <a:pt x="60" y="5"/>
                  <a:pt x="59" y="5"/>
                </a:cubicBezTo>
                <a:cubicBezTo>
                  <a:pt x="58" y="6"/>
                  <a:pt x="57" y="7"/>
                  <a:pt x="57" y="9"/>
                </a:cubicBezTo>
                <a:cubicBezTo>
                  <a:pt x="60" y="17"/>
                  <a:pt x="60" y="17"/>
                  <a:pt x="60" y="17"/>
                </a:cubicBezTo>
                <a:cubicBezTo>
                  <a:pt x="55" y="18"/>
                  <a:pt x="52" y="20"/>
                  <a:pt x="48" y="22"/>
                </a:cubicBezTo>
                <a:cubicBezTo>
                  <a:pt x="44" y="14"/>
                  <a:pt x="44" y="14"/>
                  <a:pt x="44" y="14"/>
                </a:cubicBezTo>
                <a:cubicBezTo>
                  <a:pt x="43" y="13"/>
                  <a:pt x="41" y="13"/>
                  <a:pt x="40" y="13"/>
                </a:cubicBezTo>
                <a:cubicBezTo>
                  <a:pt x="39" y="14"/>
                  <a:pt x="38" y="16"/>
                  <a:pt x="39" y="17"/>
                </a:cubicBezTo>
                <a:cubicBezTo>
                  <a:pt x="43" y="24"/>
                  <a:pt x="43" y="24"/>
                  <a:pt x="43" y="24"/>
                </a:cubicBezTo>
                <a:cubicBezTo>
                  <a:pt x="40" y="27"/>
                  <a:pt x="36" y="29"/>
                  <a:pt x="33" y="32"/>
                </a:cubicBezTo>
                <a:cubicBezTo>
                  <a:pt x="27" y="26"/>
                  <a:pt x="27" y="26"/>
                  <a:pt x="27" y="26"/>
                </a:cubicBezTo>
                <a:cubicBezTo>
                  <a:pt x="26" y="25"/>
                  <a:pt x="24" y="25"/>
                  <a:pt x="23" y="26"/>
                </a:cubicBezTo>
                <a:cubicBezTo>
                  <a:pt x="22" y="27"/>
                  <a:pt x="22" y="29"/>
                  <a:pt x="23" y="30"/>
                </a:cubicBezTo>
                <a:cubicBezTo>
                  <a:pt x="29" y="36"/>
                  <a:pt x="29" y="36"/>
                  <a:pt x="29" y="36"/>
                </a:cubicBezTo>
                <a:cubicBezTo>
                  <a:pt x="27" y="39"/>
                  <a:pt x="24" y="42"/>
                  <a:pt x="22" y="46"/>
                </a:cubicBezTo>
                <a:cubicBezTo>
                  <a:pt x="14" y="42"/>
                  <a:pt x="14" y="42"/>
                  <a:pt x="14" y="42"/>
                </a:cubicBezTo>
                <a:cubicBezTo>
                  <a:pt x="13" y="41"/>
                  <a:pt x="11" y="41"/>
                  <a:pt x="11" y="43"/>
                </a:cubicBezTo>
                <a:cubicBezTo>
                  <a:pt x="10" y="44"/>
                  <a:pt x="10" y="46"/>
                  <a:pt x="12" y="46"/>
                </a:cubicBezTo>
                <a:cubicBezTo>
                  <a:pt x="19" y="50"/>
                  <a:pt x="19" y="50"/>
                  <a:pt x="19" y="50"/>
                </a:cubicBezTo>
                <a:cubicBezTo>
                  <a:pt x="17" y="54"/>
                  <a:pt x="16" y="57"/>
                  <a:pt x="14" y="61"/>
                </a:cubicBezTo>
                <a:cubicBezTo>
                  <a:pt x="14" y="61"/>
                  <a:pt x="14" y="61"/>
                  <a:pt x="14" y="61"/>
                </a:cubicBezTo>
                <a:cubicBezTo>
                  <a:pt x="14" y="61"/>
                  <a:pt x="14" y="62"/>
                  <a:pt x="14" y="62"/>
                </a:cubicBezTo>
                <a:cubicBezTo>
                  <a:pt x="13" y="64"/>
                  <a:pt x="13" y="66"/>
                  <a:pt x="12" y="68"/>
                </a:cubicBezTo>
                <a:cubicBezTo>
                  <a:pt x="12" y="69"/>
                  <a:pt x="13" y="71"/>
                  <a:pt x="14" y="71"/>
                </a:cubicBezTo>
                <a:cubicBezTo>
                  <a:pt x="16" y="71"/>
                  <a:pt x="17" y="71"/>
                  <a:pt x="17" y="69"/>
                </a:cubicBezTo>
                <a:cubicBezTo>
                  <a:pt x="18" y="68"/>
                  <a:pt x="18" y="67"/>
                  <a:pt x="18" y="65"/>
                </a:cubicBezTo>
                <a:cubicBezTo>
                  <a:pt x="54" y="77"/>
                  <a:pt x="54" y="77"/>
                  <a:pt x="54" y="77"/>
                </a:cubicBezTo>
                <a:cubicBezTo>
                  <a:pt x="54" y="77"/>
                  <a:pt x="54" y="77"/>
                  <a:pt x="55" y="77"/>
                </a:cubicBezTo>
                <a:cubicBezTo>
                  <a:pt x="56" y="77"/>
                  <a:pt x="57" y="76"/>
                  <a:pt x="57" y="75"/>
                </a:cubicBezTo>
                <a:cubicBezTo>
                  <a:pt x="58" y="74"/>
                  <a:pt x="57" y="72"/>
                  <a:pt x="55" y="72"/>
                </a:cubicBezTo>
                <a:cubicBezTo>
                  <a:pt x="20" y="60"/>
                  <a:pt x="20" y="60"/>
                  <a:pt x="20" y="60"/>
                </a:cubicBezTo>
                <a:cubicBezTo>
                  <a:pt x="29" y="37"/>
                  <a:pt x="52" y="20"/>
                  <a:pt x="77" y="19"/>
                </a:cubicBezTo>
                <a:cubicBezTo>
                  <a:pt x="77" y="56"/>
                  <a:pt x="77" y="56"/>
                  <a:pt x="77" y="56"/>
                </a:cubicBezTo>
                <a:cubicBezTo>
                  <a:pt x="77" y="57"/>
                  <a:pt x="79" y="59"/>
                  <a:pt x="80" y="59"/>
                </a:cubicBezTo>
                <a:cubicBezTo>
                  <a:pt x="81" y="59"/>
                  <a:pt x="83" y="57"/>
                  <a:pt x="83" y="56"/>
                </a:cubicBezTo>
                <a:cubicBezTo>
                  <a:pt x="83" y="19"/>
                  <a:pt x="83" y="19"/>
                  <a:pt x="83" y="19"/>
                </a:cubicBezTo>
                <a:cubicBezTo>
                  <a:pt x="108" y="20"/>
                  <a:pt x="131" y="37"/>
                  <a:pt x="140" y="60"/>
                </a:cubicBezTo>
                <a:cubicBezTo>
                  <a:pt x="105" y="72"/>
                  <a:pt x="105" y="72"/>
                  <a:pt x="105" y="72"/>
                </a:cubicBezTo>
                <a:cubicBezTo>
                  <a:pt x="103" y="72"/>
                  <a:pt x="102" y="74"/>
                  <a:pt x="103" y="75"/>
                </a:cubicBezTo>
                <a:cubicBezTo>
                  <a:pt x="103" y="76"/>
                  <a:pt x="104" y="77"/>
                  <a:pt x="105" y="77"/>
                </a:cubicBezTo>
                <a:cubicBezTo>
                  <a:pt x="106" y="77"/>
                  <a:pt x="106" y="77"/>
                  <a:pt x="106" y="77"/>
                </a:cubicBezTo>
                <a:cubicBezTo>
                  <a:pt x="142" y="65"/>
                  <a:pt x="142" y="65"/>
                  <a:pt x="142" y="65"/>
                </a:cubicBezTo>
                <a:cubicBezTo>
                  <a:pt x="142" y="67"/>
                  <a:pt x="142" y="68"/>
                  <a:pt x="143" y="69"/>
                </a:cubicBezTo>
                <a:cubicBezTo>
                  <a:pt x="143" y="70"/>
                  <a:pt x="144" y="71"/>
                  <a:pt x="145" y="71"/>
                </a:cubicBezTo>
                <a:cubicBezTo>
                  <a:pt x="145" y="71"/>
                  <a:pt x="146" y="71"/>
                  <a:pt x="146" y="71"/>
                </a:cubicBezTo>
                <a:cubicBezTo>
                  <a:pt x="147" y="71"/>
                  <a:pt x="148" y="69"/>
                  <a:pt x="148" y="68"/>
                </a:cubicBezTo>
                <a:cubicBezTo>
                  <a:pt x="147" y="66"/>
                  <a:pt x="147" y="64"/>
                  <a:pt x="146" y="61"/>
                </a:cubicBezTo>
                <a:cubicBezTo>
                  <a:pt x="146" y="61"/>
                  <a:pt x="146" y="61"/>
                  <a:pt x="146" y="61"/>
                </a:cubicBezTo>
                <a:cubicBezTo>
                  <a:pt x="146" y="61"/>
                  <a:pt x="146" y="61"/>
                  <a:pt x="146" y="61"/>
                </a:cubicBezTo>
                <a:cubicBezTo>
                  <a:pt x="145" y="57"/>
                  <a:pt x="143" y="54"/>
                  <a:pt x="141" y="50"/>
                </a:cubicBezTo>
                <a:cubicBezTo>
                  <a:pt x="148" y="46"/>
                  <a:pt x="148" y="46"/>
                  <a:pt x="148" y="46"/>
                </a:cubicBezTo>
                <a:cubicBezTo>
                  <a:pt x="150" y="46"/>
                  <a:pt x="150" y="44"/>
                  <a:pt x="149" y="43"/>
                </a:cubicBezTo>
                <a:cubicBezTo>
                  <a:pt x="149" y="41"/>
                  <a:pt x="147" y="41"/>
                  <a:pt x="146" y="42"/>
                </a:cubicBezTo>
                <a:cubicBezTo>
                  <a:pt x="138" y="46"/>
                  <a:pt x="138" y="46"/>
                  <a:pt x="138" y="46"/>
                </a:cubicBezTo>
                <a:cubicBezTo>
                  <a:pt x="136" y="42"/>
                  <a:pt x="133" y="39"/>
                  <a:pt x="131" y="36"/>
                </a:cubicBezTo>
                <a:cubicBezTo>
                  <a:pt x="137" y="30"/>
                  <a:pt x="137" y="30"/>
                  <a:pt x="137" y="30"/>
                </a:cubicBezTo>
                <a:cubicBezTo>
                  <a:pt x="138" y="29"/>
                  <a:pt x="138" y="27"/>
                  <a:pt x="137" y="26"/>
                </a:cubicBezTo>
                <a:cubicBezTo>
                  <a:pt x="135" y="25"/>
                  <a:pt x="134" y="25"/>
                  <a:pt x="133" y="26"/>
                </a:cubicBezTo>
                <a:cubicBezTo>
                  <a:pt x="127" y="32"/>
                  <a:pt x="127" y="32"/>
                  <a:pt x="127" y="32"/>
                </a:cubicBezTo>
                <a:cubicBezTo>
                  <a:pt x="124" y="29"/>
                  <a:pt x="120" y="27"/>
                  <a:pt x="117" y="24"/>
                </a:cubicBezTo>
                <a:cubicBezTo>
                  <a:pt x="121" y="17"/>
                  <a:pt x="121" y="17"/>
                  <a:pt x="121" y="17"/>
                </a:cubicBezTo>
                <a:cubicBezTo>
                  <a:pt x="122" y="16"/>
                  <a:pt x="121" y="14"/>
                  <a:pt x="120" y="13"/>
                </a:cubicBezTo>
                <a:cubicBezTo>
                  <a:pt x="119" y="13"/>
                  <a:pt x="117" y="13"/>
                  <a:pt x="116" y="14"/>
                </a:cubicBezTo>
                <a:cubicBezTo>
                  <a:pt x="112" y="22"/>
                  <a:pt x="112" y="22"/>
                  <a:pt x="112" y="22"/>
                </a:cubicBezTo>
                <a:cubicBezTo>
                  <a:pt x="108" y="20"/>
                  <a:pt x="104" y="18"/>
                  <a:pt x="100" y="17"/>
                </a:cubicBezTo>
                <a:cubicBezTo>
                  <a:pt x="103" y="9"/>
                  <a:pt x="103" y="9"/>
                  <a:pt x="103" y="9"/>
                </a:cubicBezTo>
                <a:cubicBezTo>
                  <a:pt x="103" y="7"/>
                  <a:pt x="102" y="6"/>
                  <a:pt x="101" y="5"/>
                </a:cubicBezTo>
                <a:cubicBezTo>
                  <a:pt x="100" y="5"/>
                  <a:pt x="100" y="5"/>
                  <a:pt x="100" y="5"/>
                </a:cubicBezTo>
                <a:cubicBezTo>
                  <a:pt x="155" y="5"/>
                  <a:pt x="155" y="5"/>
                  <a:pt x="155" y="5"/>
                </a:cubicBezTo>
                <a:cubicBezTo>
                  <a:pt x="155" y="102"/>
                  <a:pt x="155" y="102"/>
                  <a:pt x="155" y="102"/>
                </a:cubicBezTo>
                <a:cubicBezTo>
                  <a:pt x="151" y="101"/>
                  <a:pt x="149" y="98"/>
                  <a:pt x="148" y="94"/>
                </a:cubicBezTo>
                <a:cubicBezTo>
                  <a:pt x="147" y="85"/>
                  <a:pt x="147" y="85"/>
                  <a:pt x="147" y="85"/>
                </a:cubicBezTo>
                <a:cubicBezTo>
                  <a:pt x="130" y="85"/>
                  <a:pt x="130" y="85"/>
                  <a:pt x="130" y="85"/>
                </a:cubicBezTo>
                <a:cubicBezTo>
                  <a:pt x="128" y="96"/>
                  <a:pt x="128" y="96"/>
                  <a:pt x="128" y="96"/>
                </a:cubicBezTo>
                <a:cubicBezTo>
                  <a:pt x="128" y="99"/>
                  <a:pt x="125" y="102"/>
                  <a:pt x="122" y="103"/>
                </a:cubicBezTo>
                <a:cubicBezTo>
                  <a:pt x="119" y="104"/>
                  <a:pt x="115" y="104"/>
                  <a:pt x="112" y="102"/>
                </a:cubicBezTo>
                <a:cubicBezTo>
                  <a:pt x="104" y="96"/>
                  <a:pt x="104" y="96"/>
                  <a:pt x="104" y="96"/>
                </a:cubicBezTo>
                <a:cubicBezTo>
                  <a:pt x="92" y="108"/>
                  <a:pt x="92" y="108"/>
                  <a:pt x="92" y="108"/>
                </a:cubicBezTo>
                <a:cubicBezTo>
                  <a:pt x="97" y="115"/>
                  <a:pt x="97" y="115"/>
                  <a:pt x="97" y="115"/>
                </a:cubicBezTo>
                <a:cubicBezTo>
                  <a:pt x="99" y="118"/>
                  <a:pt x="100" y="122"/>
                  <a:pt x="99" y="125"/>
                </a:cubicBezTo>
                <a:cubicBezTo>
                  <a:pt x="97" y="128"/>
                  <a:pt x="95" y="131"/>
                  <a:pt x="91" y="131"/>
                </a:cubicBezTo>
                <a:cubicBezTo>
                  <a:pt x="83" y="133"/>
                  <a:pt x="83" y="133"/>
                  <a:pt x="83" y="133"/>
                </a:cubicBezTo>
                <a:cubicBezTo>
                  <a:pt x="83" y="149"/>
                  <a:pt x="83" y="149"/>
                  <a:pt x="83" y="149"/>
                </a:cubicBezTo>
                <a:cubicBezTo>
                  <a:pt x="91" y="151"/>
                  <a:pt x="91" y="151"/>
                  <a:pt x="91" y="151"/>
                </a:cubicBezTo>
                <a:cubicBezTo>
                  <a:pt x="94" y="151"/>
                  <a:pt x="97" y="153"/>
                  <a:pt x="98" y="155"/>
                </a:cubicBezTo>
                <a:cubicBezTo>
                  <a:pt x="62" y="155"/>
                  <a:pt x="62" y="155"/>
                  <a:pt x="62" y="155"/>
                </a:cubicBezTo>
                <a:cubicBezTo>
                  <a:pt x="63" y="153"/>
                  <a:pt x="66" y="151"/>
                  <a:pt x="69" y="151"/>
                </a:cubicBezTo>
                <a:cubicBezTo>
                  <a:pt x="77" y="149"/>
                  <a:pt x="77" y="149"/>
                  <a:pt x="77" y="149"/>
                </a:cubicBezTo>
                <a:cubicBezTo>
                  <a:pt x="77" y="133"/>
                  <a:pt x="77" y="133"/>
                  <a:pt x="77" y="133"/>
                </a:cubicBezTo>
                <a:cubicBezTo>
                  <a:pt x="69" y="131"/>
                  <a:pt x="69" y="131"/>
                  <a:pt x="69" y="131"/>
                </a:cubicBezTo>
                <a:cubicBezTo>
                  <a:pt x="65" y="131"/>
                  <a:pt x="63" y="128"/>
                  <a:pt x="61" y="125"/>
                </a:cubicBezTo>
                <a:cubicBezTo>
                  <a:pt x="60" y="122"/>
                  <a:pt x="61" y="118"/>
                  <a:pt x="63" y="115"/>
                </a:cubicBezTo>
                <a:cubicBezTo>
                  <a:pt x="68" y="108"/>
                  <a:pt x="68" y="108"/>
                  <a:pt x="68" y="108"/>
                </a:cubicBezTo>
                <a:cubicBezTo>
                  <a:pt x="56" y="96"/>
                  <a:pt x="56" y="96"/>
                  <a:pt x="56" y="96"/>
                </a:cubicBezTo>
                <a:cubicBezTo>
                  <a:pt x="48" y="102"/>
                  <a:pt x="48" y="102"/>
                  <a:pt x="48" y="102"/>
                </a:cubicBezTo>
                <a:cubicBezTo>
                  <a:pt x="45" y="104"/>
                  <a:pt x="41" y="104"/>
                  <a:pt x="38" y="103"/>
                </a:cubicBezTo>
                <a:cubicBezTo>
                  <a:pt x="35" y="102"/>
                  <a:pt x="33" y="99"/>
                  <a:pt x="32" y="96"/>
                </a:cubicBezTo>
                <a:cubicBezTo>
                  <a:pt x="30" y="85"/>
                  <a:pt x="30" y="85"/>
                  <a:pt x="30" y="85"/>
                </a:cubicBezTo>
                <a:cubicBezTo>
                  <a:pt x="13" y="85"/>
                  <a:pt x="13" y="85"/>
                  <a:pt x="13" y="85"/>
                </a:cubicBezTo>
                <a:cubicBezTo>
                  <a:pt x="12" y="94"/>
                  <a:pt x="12" y="94"/>
                  <a:pt x="12" y="94"/>
                </a:cubicBezTo>
                <a:cubicBezTo>
                  <a:pt x="11" y="98"/>
                  <a:pt x="9" y="101"/>
                  <a:pt x="5" y="102"/>
                </a:cubicBezTo>
                <a:cubicBezTo>
                  <a:pt x="5" y="5"/>
                  <a:pt x="5" y="5"/>
                  <a:pt x="5" y="5"/>
                </a:cubicBezTo>
                <a:lnTo>
                  <a:pt x="60" y="5"/>
                </a:lnTo>
                <a:close/>
                <a:moveTo>
                  <a:pt x="8" y="155"/>
                </a:moveTo>
                <a:cubicBezTo>
                  <a:pt x="7" y="154"/>
                  <a:pt x="6" y="152"/>
                  <a:pt x="5" y="151"/>
                </a:cubicBezTo>
                <a:cubicBezTo>
                  <a:pt x="5" y="132"/>
                  <a:pt x="5" y="132"/>
                  <a:pt x="5" y="132"/>
                </a:cubicBezTo>
                <a:cubicBezTo>
                  <a:pt x="9" y="126"/>
                  <a:pt x="15" y="123"/>
                  <a:pt x="21" y="123"/>
                </a:cubicBezTo>
                <a:cubicBezTo>
                  <a:pt x="32" y="123"/>
                  <a:pt x="40" y="131"/>
                  <a:pt x="40" y="141"/>
                </a:cubicBezTo>
                <a:cubicBezTo>
                  <a:pt x="40" y="146"/>
                  <a:pt x="38" y="151"/>
                  <a:pt x="34" y="155"/>
                </a:cubicBezTo>
                <a:lnTo>
                  <a:pt x="8" y="155"/>
                </a:lnTo>
                <a:close/>
                <a:moveTo>
                  <a:pt x="41" y="155"/>
                </a:moveTo>
                <a:cubicBezTo>
                  <a:pt x="44" y="151"/>
                  <a:pt x="45" y="146"/>
                  <a:pt x="45" y="141"/>
                </a:cubicBezTo>
                <a:cubicBezTo>
                  <a:pt x="45" y="128"/>
                  <a:pt x="35" y="117"/>
                  <a:pt x="21" y="117"/>
                </a:cubicBezTo>
                <a:cubicBezTo>
                  <a:pt x="15" y="117"/>
                  <a:pt x="10" y="120"/>
                  <a:pt x="5" y="124"/>
                </a:cubicBezTo>
                <a:cubicBezTo>
                  <a:pt x="5" y="108"/>
                  <a:pt x="5" y="108"/>
                  <a:pt x="5" y="108"/>
                </a:cubicBezTo>
                <a:cubicBezTo>
                  <a:pt x="12" y="106"/>
                  <a:pt x="16" y="101"/>
                  <a:pt x="17" y="95"/>
                </a:cubicBezTo>
                <a:cubicBezTo>
                  <a:pt x="18" y="91"/>
                  <a:pt x="18" y="91"/>
                  <a:pt x="18" y="91"/>
                </a:cubicBezTo>
                <a:cubicBezTo>
                  <a:pt x="25" y="91"/>
                  <a:pt x="25" y="91"/>
                  <a:pt x="25" y="91"/>
                </a:cubicBezTo>
                <a:cubicBezTo>
                  <a:pt x="27" y="97"/>
                  <a:pt x="27" y="97"/>
                  <a:pt x="27" y="97"/>
                </a:cubicBezTo>
                <a:cubicBezTo>
                  <a:pt x="28" y="102"/>
                  <a:pt x="31" y="106"/>
                  <a:pt x="36" y="108"/>
                </a:cubicBezTo>
                <a:cubicBezTo>
                  <a:pt x="41" y="110"/>
                  <a:pt x="46" y="109"/>
                  <a:pt x="51" y="107"/>
                </a:cubicBezTo>
                <a:cubicBezTo>
                  <a:pt x="56" y="103"/>
                  <a:pt x="56" y="103"/>
                  <a:pt x="56" y="103"/>
                </a:cubicBezTo>
                <a:cubicBezTo>
                  <a:pt x="61" y="108"/>
                  <a:pt x="61" y="108"/>
                  <a:pt x="61" y="108"/>
                </a:cubicBezTo>
                <a:cubicBezTo>
                  <a:pt x="58" y="112"/>
                  <a:pt x="58" y="112"/>
                  <a:pt x="58" y="112"/>
                </a:cubicBezTo>
                <a:cubicBezTo>
                  <a:pt x="55" y="116"/>
                  <a:pt x="54" y="122"/>
                  <a:pt x="56" y="127"/>
                </a:cubicBezTo>
                <a:cubicBezTo>
                  <a:pt x="58" y="132"/>
                  <a:pt x="63" y="135"/>
                  <a:pt x="68" y="136"/>
                </a:cubicBezTo>
                <a:cubicBezTo>
                  <a:pt x="72" y="137"/>
                  <a:pt x="72" y="137"/>
                  <a:pt x="72" y="137"/>
                </a:cubicBezTo>
                <a:cubicBezTo>
                  <a:pt x="72" y="145"/>
                  <a:pt x="72" y="145"/>
                  <a:pt x="72" y="145"/>
                </a:cubicBezTo>
                <a:cubicBezTo>
                  <a:pt x="68" y="145"/>
                  <a:pt x="68" y="145"/>
                  <a:pt x="68" y="145"/>
                </a:cubicBezTo>
                <a:cubicBezTo>
                  <a:pt x="62" y="146"/>
                  <a:pt x="58" y="150"/>
                  <a:pt x="56" y="155"/>
                </a:cubicBezTo>
                <a:cubicBezTo>
                  <a:pt x="41" y="155"/>
                  <a:pt x="41" y="155"/>
                  <a:pt x="41" y="155"/>
                </a:cubicBezTo>
                <a:close/>
                <a:moveTo>
                  <a:pt x="92" y="145"/>
                </a:moveTo>
                <a:cubicBezTo>
                  <a:pt x="88" y="145"/>
                  <a:pt x="88" y="145"/>
                  <a:pt x="88" y="145"/>
                </a:cubicBezTo>
                <a:cubicBezTo>
                  <a:pt x="88" y="137"/>
                  <a:pt x="88" y="137"/>
                  <a:pt x="88" y="137"/>
                </a:cubicBezTo>
                <a:cubicBezTo>
                  <a:pt x="92" y="136"/>
                  <a:pt x="92" y="136"/>
                  <a:pt x="92" y="136"/>
                </a:cubicBezTo>
                <a:cubicBezTo>
                  <a:pt x="97" y="135"/>
                  <a:pt x="102" y="132"/>
                  <a:pt x="104" y="127"/>
                </a:cubicBezTo>
                <a:cubicBezTo>
                  <a:pt x="106" y="122"/>
                  <a:pt x="105" y="116"/>
                  <a:pt x="102" y="112"/>
                </a:cubicBezTo>
                <a:cubicBezTo>
                  <a:pt x="99" y="108"/>
                  <a:pt x="99" y="108"/>
                  <a:pt x="99" y="108"/>
                </a:cubicBezTo>
                <a:cubicBezTo>
                  <a:pt x="104" y="103"/>
                  <a:pt x="104" y="103"/>
                  <a:pt x="104" y="103"/>
                </a:cubicBezTo>
                <a:cubicBezTo>
                  <a:pt x="109" y="107"/>
                  <a:pt x="109" y="107"/>
                  <a:pt x="109" y="107"/>
                </a:cubicBezTo>
                <a:cubicBezTo>
                  <a:pt x="114" y="109"/>
                  <a:pt x="119" y="110"/>
                  <a:pt x="124" y="108"/>
                </a:cubicBezTo>
                <a:cubicBezTo>
                  <a:pt x="129" y="106"/>
                  <a:pt x="132" y="102"/>
                  <a:pt x="133" y="97"/>
                </a:cubicBezTo>
                <a:cubicBezTo>
                  <a:pt x="135" y="91"/>
                  <a:pt x="135" y="91"/>
                  <a:pt x="135" y="91"/>
                </a:cubicBezTo>
                <a:cubicBezTo>
                  <a:pt x="142" y="91"/>
                  <a:pt x="142" y="91"/>
                  <a:pt x="142" y="91"/>
                </a:cubicBezTo>
                <a:cubicBezTo>
                  <a:pt x="143" y="95"/>
                  <a:pt x="143" y="95"/>
                  <a:pt x="143" y="95"/>
                </a:cubicBezTo>
                <a:cubicBezTo>
                  <a:pt x="144" y="101"/>
                  <a:pt x="148" y="106"/>
                  <a:pt x="155" y="108"/>
                </a:cubicBezTo>
                <a:cubicBezTo>
                  <a:pt x="155" y="124"/>
                  <a:pt x="155" y="124"/>
                  <a:pt x="155" y="124"/>
                </a:cubicBezTo>
                <a:cubicBezTo>
                  <a:pt x="150" y="120"/>
                  <a:pt x="145" y="117"/>
                  <a:pt x="139" y="117"/>
                </a:cubicBezTo>
                <a:cubicBezTo>
                  <a:pt x="125" y="117"/>
                  <a:pt x="115" y="128"/>
                  <a:pt x="115" y="141"/>
                </a:cubicBezTo>
                <a:cubicBezTo>
                  <a:pt x="115" y="146"/>
                  <a:pt x="116" y="151"/>
                  <a:pt x="119" y="155"/>
                </a:cubicBezTo>
                <a:cubicBezTo>
                  <a:pt x="104" y="155"/>
                  <a:pt x="104" y="155"/>
                  <a:pt x="104" y="155"/>
                </a:cubicBezTo>
                <a:cubicBezTo>
                  <a:pt x="102" y="150"/>
                  <a:pt x="98" y="146"/>
                  <a:pt x="92" y="145"/>
                </a:cubicBezTo>
                <a:close/>
                <a:moveTo>
                  <a:pt x="126" y="155"/>
                </a:moveTo>
                <a:cubicBezTo>
                  <a:pt x="122" y="151"/>
                  <a:pt x="120" y="146"/>
                  <a:pt x="120" y="141"/>
                </a:cubicBezTo>
                <a:cubicBezTo>
                  <a:pt x="120" y="131"/>
                  <a:pt x="128" y="123"/>
                  <a:pt x="139" y="123"/>
                </a:cubicBezTo>
                <a:cubicBezTo>
                  <a:pt x="145" y="123"/>
                  <a:pt x="151" y="126"/>
                  <a:pt x="155" y="132"/>
                </a:cubicBezTo>
                <a:cubicBezTo>
                  <a:pt x="155" y="151"/>
                  <a:pt x="155" y="151"/>
                  <a:pt x="155" y="151"/>
                </a:cubicBezTo>
                <a:cubicBezTo>
                  <a:pt x="154" y="152"/>
                  <a:pt x="153" y="154"/>
                  <a:pt x="152" y="155"/>
                </a:cubicBezTo>
                <a:cubicBezTo>
                  <a:pt x="126" y="155"/>
                  <a:pt x="126" y="155"/>
                  <a:pt x="126" y="15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1358">
            <a:extLst>
              <a:ext uri="{FF2B5EF4-FFF2-40B4-BE49-F238E27FC236}">
                <a16:creationId xmlns:a16="http://schemas.microsoft.com/office/drawing/2014/main" id="{3B4F5536-C01F-3540-8D21-0362BF408EE3}"/>
              </a:ext>
            </a:extLst>
          </p:cNvPr>
          <p:cNvSpPr>
            <a:spLocks noEditPoints="1"/>
          </p:cNvSpPr>
          <p:nvPr/>
        </p:nvSpPr>
        <p:spPr bwMode="auto">
          <a:xfrm>
            <a:off x="7176662" y="2222500"/>
            <a:ext cx="546100" cy="550863"/>
          </a:xfrm>
          <a:custGeom>
            <a:avLst/>
            <a:gdLst>
              <a:gd name="T0" fmla="*/ 143 w 160"/>
              <a:gd name="T1" fmla="*/ 21 h 160"/>
              <a:gd name="T2" fmla="*/ 142 w 160"/>
              <a:gd name="T3" fmla="*/ 14 h 160"/>
              <a:gd name="T4" fmla="*/ 117 w 160"/>
              <a:gd name="T5" fmla="*/ 3 h 160"/>
              <a:gd name="T6" fmla="*/ 112 w 160"/>
              <a:gd name="T7" fmla="*/ 8 h 160"/>
              <a:gd name="T8" fmla="*/ 83 w 160"/>
              <a:gd name="T9" fmla="*/ 14 h 160"/>
              <a:gd name="T10" fmla="*/ 77 w 160"/>
              <a:gd name="T11" fmla="*/ 43 h 160"/>
              <a:gd name="T12" fmla="*/ 72 w 160"/>
              <a:gd name="T13" fmla="*/ 48 h 160"/>
              <a:gd name="T14" fmla="*/ 83 w 160"/>
              <a:gd name="T15" fmla="*/ 73 h 160"/>
              <a:gd name="T16" fmla="*/ 74 w 160"/>
              <a:gd name="T17" fmla="*/ 62 h 160"/>
              <a:gd name="T18" fmla="*/ 68 w 160"/>
              <a:gd name="T19" fmla="*/ 65 h 160"/>
              <a:gd name="T20" fmla="*/ 34 w 160"/>
              <a:gd name="T21" fmla="*/ 60 h 160"/>
              <a:gd name="T22" fmla="*/ 31 w 160"/>
              <a:gd name="T23" fmla="*/ 66 h 160"/>
              <a:gd name="T24" fmla="*/ 0 w 160"/>
              <a:gd name="T25" fmla="*/ 87 h 160"/>
              <a:gd name="T26" fmla="*/ 3 w 160"/>
              <a:gd name="T27" fmla="*/ 109 h 160"/>
              <a:gd name="T28" fmla="*/ 0 w 160"/>
              <a:gd name="T29" fmla="*/ 129 h 160"/>
              <a:gd name="T30" fmla="*/ 7 w 160"/>
              <a:gd name="T31" fmla="*/ 129 h 160"/>
              <a:gd name="T32" fmla="*/ 28 w 160"/>
              <a:gd name="T33" fmla="*/ 160 h 160"/>
              <a:gd name="T34" fmla="*/ 34 w 160"/>
              <a:gd name="T35" fmla="*/ 154 h 160"/>
              <a:gd name="T36" fmla="*/ 67 w 160"/>
              <a:gd name="T37" fmla="*/ 158 h 160"/>
              <a:gd name="T38" fmla="*/ 72 w 160"/>
              <a:gd name="T39" fmla="*/ 156 h 160"/>
              <a:gd name="T40" fmla="*/ 98 w 160"/>
              <a:gd name="T41" fmla="*/ 133 h 160"/>
              <a:gd name="T42" fmla="*/ 100 w 160"/>
              <a:gd name="T43" fmla="*/ 128 h 160"/>
              <a:gd name="T44" fmla="*/ 96 w 160"/>
              <a:gd name="T45" fmla="*/ 94 h 160"/>
              <a:gd name="T46" fmla="*/ 98 w 160"/>
              <a:gd name="T47" fmla="*/ 88 h 160"/>
              <a:gd name="T48" fmla="*/ 87 w 160"/>
              <a:gd name="T49" fmla="*/ 77 h 160"/>
              <a:gd name="T50" fmla="*/ 112 w 160"/>
              <a:gd name="T51" fmla="*/ 88 h 160"/>
              <a:gd name="T52" fmla="*/ 117 w 160"/>
              <a:gd name="T53" fmla="*/ 83 h 160"/>
              <a:gd name="T54" fmla="*/ 144 w 160"/>
              <a:gd name="T55" fmla="*/ 77 h 160"/>
              <a:gd name="T56" fmla="*/ 143 w 160"/>
              <a:gd name="T57" fmla="*/ 70 h 160"/>
              <a:gd name="T58" fmla="*/ 160 w 160"/>
              <a:gd name="T59" fmla="*/ 45 h 160"/>
              <a:gd name="T60" fmla="*/ 66 w 160"/>
              <a:gd name="T61" fmla="*/ 69 h 160"/>
              <a:gd name="T62" fmla="*/ 40 w 160"/>
              <a:gd name="T63" fmla="*/ 109 h 160"/>
              <a:gd name="T64" fmla="*/ 8 w 160"/>
              <a:gd name="T65" fmla="*/ 109 h 160"/>
              <a:gd name="T66" fmla="*/ 46 w 160"/>
              <a:gd name="T67" fmla="*/ 111 h 160"/>
              <a:gd name="T68" fmla="*/ 51 w 160"/>
              <a:gd name="T69" fmla="*/ 104 h 160"/>
              <a:gd name="T70" fmla="*/ 53 w 160"/>
              <a:gd name="T71" fmla="*/ 104 h 160"/>
              <a:gd name="T72" fmla="*/ 46 w 160"/>
              <a:gd name="T73" fmla="*/ 111 h 160"/>
              <a:gd name="T74" fmla="*/ 51 w 160"/>
              <a:gd name="T75" fmla="*/ 120 h 160"/>
              <a:gd name="T76" fmla="*/ 51 w 160"/>
              <a:gd name="T77" fmla="*/ 152 h 160"/>
              <a:gd name="T78" fmla="*/ 57 w 160"/>
              <a:gd name="T79" fmla="*/ 118 h 160"/>
              <a:gd name="T80" fmla="*/ 70 w 160"/>
              <a:gd name="T81" fmla="*/ 72 h 160"/>
              <a:gd name="T82" fmla="*/ 115 w 160"/>
              <a:gd name="T83" fmla="*/ 77 h 160"/>
              <a:gd name="T84" fmla="*/ 147 w 160"/>
              <a:gd name="T85" fmla="*/ 45 h 160"/>
              <a:gd name="T86" fmla="*/ 104 w 160"/>
              <a:gd name="T87" fmla="*/ 45 h 160"/>
              <a:gd name="T88" fmla="*/ 115 w 160"/>
              <a:gd name="T89" fmla="*/ 35 h 160"/>
              <a:gd name="T90" fmla="*/ 115 w 160"/>
              <a:gd name="T91" fmla="*/ 4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0">
                <a:moveTo>
                  <a:pt x="157" y="43"/>
                </a:moveTo>
                <a:cubicBezTo>
                  <a:pt x="152" y="43"/>
                  <a:pt x="152" y="43"/>
                  <a:pt x="152" y="43"/>
                </a:cubicBezTo>
                <a:cubicBezTo>
                  <a:pt x="151" y="34"/>
                  <a:pt x="148" y="27"/>
                  <a:pt x="143" y="21"/>
                </a:cubicBezTo>
                <a:cubicBezTo>
                  <a:pt x="146" y="18"/>
                  <a:pt x="146" y="18"/>
                  <a:pt x="146" y="18"/>
                </a:cubicBezTo>
                <a:cubicBezTo>
                  <a:pt x="147" y="17"/>
                  <a:pt x="147" y="15"/>
                  <a:pt x="146" y="14"/>
                </a:cubicBezTo>
                <a:cubicBezTo>
                  <a:pt x="145" y="13"/>
                  <a:pt x="143" y="13"/>
                  <a:pt x="142" y="14"/>
                </a:cubicBezTo>
                <a:cubicBezTo>
                  <a:pt x="139" y="17"/>
                  <a:pt x="139" y="17"/>
                  <a:pt x="139" y="17"/>
                </a:cubicBezTo>
                <a:cubicBezTo>
                  <a:pt x="133" y="12"/>
                  <a:pt x="126" y="9"/>
                  <a:pt x="117" y="8"/>
                </a:cubicBezTo>
                <a:cubicBezTo>
                  <a:pt x="117" y="3"/>
                  <a:pt x="117" y="3"/>
                  <a:pt x="117" y="3"/>
                </a:cubicBezTo>
                <a:cubicBezTo>
                  <a:pt x="117" y="1"/>
                  <a:pt x="116" y="0"/>
                  <a:pt x="115" y="0"/>
                </a:cubicBezTo>
                <a:cubicBezTo>
                  <a:pt x="113" y="0"/>
                  <a:pt x="112" y="1"/>
                  <a:pt x="112" y="3"/>
                </a:cubicBezTo>
                <a:cubicBezTo>
                  <a:pt x="112" y="8"/>
                  <a:pt x="112" y="8"/>
                  <a:pt x="112" y="8"/>
                </a:cubicBezTo>
                <a:cubicBezTo>
                  <a:pt x="104" y="9"/>
                  <a:pt x="96" y="12"/>
                  <a:pt x="90" y="17"/>
                </a:cubicBezTo>
                <a:cubicBezTo>
                  <a:pt x="87" y="14"/>
                  <a:pt x="87" y="14"/>
                  <a:pt x="87" y="14"/>
                </a:cubicBezTo>
                <a:cubicBezTo>
                  <a:pt x="86" y="13"/>
                  <a:pt x="84" y="13"/>
                  <a:pt x="83" y="14"/>
                </a:cubicBezTo>
                <a:cubicBezTo>
                  <a:pt x="82" y="15"/>
                  <a:pt x="82" y="17"/>
                  <a:pt x="83" y="18"/>
                </a:cubicBezTo>
                <a:cubicBezTo>
                  <a:pt x="86" y="21"/>
                  <a:pt x="86" y="21"/>
                  <a:pt x="86" y="21"/>
                </a:cubicBezTo>
                <a:cubicBezTo>
                  <a:pt x="81" y="27"/>
                  <a:pt x="78" y="34"/>
                  <a:pt x="77" y="43"/>
                </a:cubicBezTo>
                <a:cubicBezTo>
                  <a:pt x="72" y="43"/>
                  <a:pt x="72" y="43"/>
                  <a:pt x="72" y="43"/>
                </a:cubicBezTo>
                <a:cubicBezTo>
                  <a:pt x="71" y="43"/>
                  <a:pt x="69" y="44"/>
                  <a:pt x="69" y="45"/>
                </a:cubicBezTo>
                <a:cubicBezTo>
                  <a:pt x="69" y="47"/>
                  <a:pt x="71" y="48"/>
                  <a:pt x="72" y="48"/>
                </a:cubicBezTo>
                <a:cubicBezTo>
                  <a:pt x="77" y="48"/>
                  <a:pt x="77" y="48"/>
                  <a:pt x="77" y="48"/>
                </a:cubicBezTo>
                <a:cubicBezTo>
                  <a:pt x="78" y="56"/>
                  <a:pt x="81" y="64"/>
                  <a:pt x="86" y="70"/>
                </a:cubicBezTo>
                <a:cubicBezTo>
                  <a:pt x="83" y="73"/>
                  <a:pt x="83" y="73"/>
                  <a:pt x="83" y="73"/>
                </a:cubicBezTo>
                <a:cubicBezTo>
                  <a:pt x="83" y="73"/>
                  <a:pt x="83" y="73"/>
                  <a:pt x="83" y="74"/>
                </a:cubicBezTo>
                <a:cubicBezTo>
                  <a:pt x="80" y="71"/>
                  <a:pt x="76" y="69"/>
                  <a:pt x="73" y="67"/>
                </a:cubicBezTo>
                <a:cubicBezTo>
                  <a:pt x="74" y="62"/>
                  <a:pt x="74" y="62"/>
                  <a:pt x="74" y="62"/>
                </a:cubicBezTo>
                <a:cubicBezTo>
                  <a:pt x="75" y="61"/>
                  <a:pt x="74" y="59"/>
                  <a:pt x="73" y="59"/>
                </a:cubicBezTo>
                <a:cubicBezTo>
                  <a:pt x="72" y="58"/>
                  <a:pt x="70" y="59"/>
                  <a:pt x="70" y="60"/>
                </a:cubicBezTo>
                <a:cubicBezTo>
                  <a:pt x="68" y="65"/>
                  <a:pt x="68" y="65"/>
                  <a:pt x="68" y="65"/>
                </a:cubicBezTo>
                <a:cubicBezTo>
                  <a:pt x="62" y="62"/>
                  <a:pt x="57" y="61"/>
                  <a:pt x="51" y="61"/>
                </a:cubicBezTo>
                <a:cubicBezTo>
                  <a:pt x="45" y="61"/>
                  <a:pt x="40" y="62"/>
                  <a:pt x="36" y="64"/>
                </a:cubicBezTo>
                <a:cubicBezTo>
                  <a:pt x="34" y="60"/>
                  <a:pt x="34" y="60"/>
                  <a:pt x="34" y="60"/>
                </a:cubicBezTo>
                <a:cubicBezTo>
                  <a:pt x="34" y="59"/>
                  <a:pt x="32" y="58"/>
                  <a:pt x="31" y="59"/>
                </a:cubicBezTo>
                <a:cubicBezTo>
                  <a:pt x="30" y="59"/>
                  <a:pt x="29" y="61"/>
                  <a:pt x="30" y="62"/>
                </a:cubicBezTo>
                <a:cubicBezTo>
                  <a:pt x="31" y="66"/>
                  <a:pt x="31" y="66"/>
                  <a:pt x="31" y="66"/>
                </a:cubicBezTo>
                <a:cubicBezTo>
                  <a:pt x="21" y="70"/>
                  <a:pt x="13" y="78"/>
                  <a:pt x="8" y="87"/>
                </a:cubicBezTo>
                <a:cubicBezTo>
                  <a:pt x="4" y="86"/>
                  <a:pt x="4" y="86"/>
                  <a:pt x="4" y="86"/>
                </a:cubicBezTo>
                <a:cubicBezTo>
                  <a:pt x="2" y="85"/>
                  <a:pt x="1" y="86"/>
                  <a:pt x="0" y="87"/>
                </a:cubicBezTo>
                <a:cubicBezTo>
                  <a:pt x="0" y="88"/>
                  <a:pt x="0" y="90"/>
                  <a:pt x="2" y="90"/>
                </a:cubicBezTo>
                <a:cubicBezTo>
                  <a:pt x="6" y="92"/>
                  <a:pt x="6" y="92"/>
                  <a:pt x="6" y="92"/>
                </a:cubicBezTo>
                <a:cubicBezTo>
                  <a:pt x="4" y="98"/>
                  <a:pt x="3" y="103"/>
                  <a:pt x="3" y="109"/>
                </a:cubicBezTo>
                <a:cubicBezTo>
                  <a:pt x="3" y="115"/>
                  <a:pt x="4" y="120"/>
                  <a:pt x="5" y="124"/>
                </a:cubicBezTo>
                <a:cubicBezTo>
                  <a:pt x="2" y="126"/>
                  <a:pt x="2" y="126"/>
                  <a:pt x="2" y="126"/>
                </a:cubicBezTo>
                <a:cubicBezTo>
                  <a:pt x="0" y="126"/>
                  <a:pt x="0" y="128"/>
                  <a:pt x="0" y="129"/>
                </a:cubicBezTo>
                <a:cubicBezTo>
                  <a:pt x="1" y="130"/>
                  <a:pt x="2" y="131"/>
                  <a:pt x="3" y="131"/>
                </a:cubicBezTo>
                <a:cubicBezTo>
                  <a:pt x="3" y="131"/>
                  <a:pt x="3" y="131"/>
                  <a:pt x="4" y="130"/>
                </a:cubicBezTo>
                <a:cubicBezTo>
                  <a:pt x="7" y="129"/>
                  <a:pt x="7" y="129"/>
                  <a:pt x="7" y="129"/>
                </a:cubicBezTo>
                <a:cubicBezTo>
                  <a:pt x="12" y="139"/>
                  <a:pt x="19" y="147"/>
                  <a:pt x="29" y="152"/>
                </a:cubicBezTo>
                <a:cubicBezTo>
                  <a:pt x="27" y="156"/>
                  <a:pt x="27" y="156"/>
                  <a:pt x="27" y="156"/>
                </a:cubicBezTo>
                <a:cubicBezTo>
                  <a:pt x="26" y="158"/>
                  <a:pt x="27" y="159"/>
                  <a:pt x="28" y="160"/>
                </a:cubicBezTo>
                <a:cubicBezTo>
                  <a:pt x="29" y="160"/>
                  <a:pt x="29" y="160"/>
                  <a:pt x="29" y="160"/>
                </a:cubicBezTo>
                <a:cubicBezTo>
                  <a:pt x="30" y="160"/>
                  <a:pt x="31" y="159"/>
                  <a:pt x="32" y="158"/>
                </a:cubicBezTo>
                <a:cubicBezTo>
                  <a:pt x="34" y="154"/>
                  <a:pt x="34" y="154"/>
                  <a:pt x="34" y="154"/>
                </a:cubicBezTo>
                <a:cubicBezTo>
                  <a:pt x="39" y="156"/>
                  <a:pt x="45" y="157"/>
                  <a:pt x="51" y="157"/>
                </a:cubicBezTo>
                <a:cubicBezTo>
                  <a:pt x="56" y="157"/>
                  <a:pt x="61" y="156"/>
                  <a:pt x="66" y="155"/>
                </a:cubicBezTo>
                <a:cubicBezTo>
                  <a:pt x="67" y="158"/>
                  <a:pt x="67" y="158"/>
                  <a:pt x="67" y="158"/>
                </a:cubicBezTo>
                <a:cubicBezTo>
                  <a:pt x="67" y="159"/>
                  <a:pt x="68" y="160"/>
                  <a:pt x="69" y="160"/>
                </a:cubicBezTo>
                <a:cubicBezTo>
                  <a:pt x="70" y="160"/>
                  <a:pt x="70" y="160"/>
                  <a:pt x="70" y="160"/>
                </a:cubicBezTo>
                <a:cubicBezTo>
                  <a:pt x="72" y="159"/>
                  <a:pt x="72" y="158"/>
                  <a:pt x="72" y="156"/>
                </a:cubicBezTo>
                <a:cubicBezTo>
                  <a:pt x="71" y="153"/>
                  <a:pt x="71" y="153"/>
                  <a:pt x="71" y="153"/>
                </a:cubicBezTo>
                <a:cubicBezTo>
                  <a:pt x="80" y="149"/>
                  <a:pt x="88" y="141"/>
                  <a:pt x="93" y="131"/>
                </a:cubicBezTo>
                <a:cubicBezTo>
                  <a:pt x="98" y="133"/>
                  <a:pt x="98" y="133"/>
                  <a:pt x="98" y="133"/>
                </a:cubicBezTo>
                <a:cubicBezTo>
                  <a:pt x="98" y="133"/>
                  <a:pt x="98" y="133"/>
                  <a:pt x="99" y="133"/>
                </a:cubicBezTo>
                <a:cubicBezTo>
                  <a:pt x="100" y="133"/>
                  <a:pt x="101" y="133"/>
                  <a:pt x="101" y="132"/>
                </a:cubicBezTo>
                <a:cubicBezTo>
                  <a:pt x="102" y="130"/>
                  <a:pt x="101" y="129"/>
                  <a:pt x="100" y="128"/>
                </a:cubicBezTo>
                <a:cubicBezTo>
                  <a:pt x="96" y="126"/>
                  <a:pt x="96" y="126"/>
                  <a:pt x="96" y="126"/>
                </a:cubicBezTo>
                <a:cubicBezTo>
                  <a:pt x="98" y="121"/>
                  <a:pt x="99" y="115"/>
                  <a:pt x="99" y="109"/>
                </a:cubicBezTo>
                <a:cubicBezTo>
                  <a:pt x="99" y="104"/>
                  <a:pt x="98" y="99"/>
                  <a:pt x="96" y="94"/>
                </a:cubicBezTo>
                <a:cubicBezTo>
                  <a:pt x="100" y="93"/>
                  <a:pt x="100" y="93"/>
                  <a:pt x="100" y="93"/>
                </a:cubicBezTo>
                <a:cubicBezTo>
                  <a:pt x="101" y="93"/>
                  <a:pt x="102" y="91"/>
                  <a:pt x="101" y="90"/>
                </a:cubicBezTo>
                <a:cubicBezTo>
                  <a:pt x="101" y="88"/>
                  <a:pt x="99" y="88"/>
                  <a:pt x="98" y="88"/>
                </a:cubicBezTo>
                <a:cubicBezTo>
                  <a:pt x="94" y="89"/>
                  <a:pt x="94" y="89"/>
                  <a:pt x="94" y="89"/>
                </a:cubicBezTo>
                <a:cubicBezTo>
                  <a:pt x="92" y="85"/>
                  <a:pt x="90" y="81"/>
                  <a:pt x="86" y="77"/>
                </a:cubicBezTo>
                <a:cubicBezTo>
                  <a:pt x="87" y="77"/>
                  <a:pt x="87" y="77"/>
                  <a:pt x="87" y="77"/>
                </a:cubicBezTo>
                <a:cubicBezTo>
                  <a:pt x="90" y="74"/>
                  <a:pt x="90" y="74"/>
                  <a:pt x="90" y="74"/>
                </a:cubicBezTo>
                <a:cubicBezTo>
                  <a:pt x="96" y="79"/>
                  <a:pt x="104" y="82"/>
                  <a:pt x="112" y="83"/>
                </a:cubicBezTo>
                <a:cubicBezTo>
                  <a:pt x="112" y="88"/>
                  <a:pt x="112" y="88"/>
                  <a:pt x="112" y="88"/>
                </a:cubicBezTo>
                <a:cubicBezTo>
                  <a:pt x="112" y="89"/>
                  <a:pt x="113" y="91"/>
                  <a:pt x="115" y="91"/>
                </a:cubicBezTo>
                <a:cubicBezTo>
                  <a:pt x="116" y="91"/>
                  <a:pt x="117" y="89"/>
                  <a:pt x="117" y="88"/>
                </a:cubicBezTo>
                <a:cubicBezTo>
                  <a:pt x="117" y="83"/>
                  <a:pt x="117" y="83"/>
                  <a:pt x="117" y="83"/>
                </a:cubicBezTo>
                <a:cubicBezTo>
                  <a:pt x="126" y="82"/>
                  <a:pt x="133" y="79"/>
                  <a:pt x="139" y="74"/>
                </a:cubicBezTo>
                <a:cubicBezTo>
                  <a:pt x="142" y="77"/>
                  <a:pt x="142" y="77"/>
                  <a:pt x="142" y="77"/>
                </a:cubicBezTo>
                <a:cubicBezTo>
                  <a:pt x="143" y="77"/>
                  <a:pt x="143" y="77"/>
                  <a:pt x="144" y="77"/>
                </a:cubicBezTo>
                <a:cubicBezTo>
                  <a:pt x="145" y="77"/>
                  <a:pt x="146" y="77"/>
                  <a:pt x="146" y="77"/>
                </a:cubicBezTo>
                <a:cubicBezTo>
                  <a:pt x="147" y="76"/>
                  <a:pt x="147" y="74"/>
                  <a:pt x="146" y="73"/>
                </a:cubicBezTo>
                <a:cubicBezTo>
                  <a:pt x="143" y="70"/>
                  <a:pt x="143" y="70"/>
                  <a:pt x="143" y="70"/>
                </a:cubicBezTo>
                <a:cubicBezTo>
                  <a:pt x="148" y="64"/>
                  <a:pt x="151" y="56"/>
                  <a:pt x="152" y="48"/>
                </a:cubicBezTo>
                <a:cubicBezTo>
                  <a:pt x="157" y="48"/>
                  <a:pt x="157" y="48"/>
                  <a:pt x="157" y="48"/>
                </a:cubicBezTo>
                <a:cubicBezTo>
                  <a:pt x="159" y="48"/>
                  <a:pt x="160" y="47"/>
                  <a:pt x="160" y="45"/>
                </a:cubicBezTo>
                <a:cubicBezTo>
                  <a:pt x="160" y="44"/>
                  <a:pt x="159" y="43"/>
                  <a:pt x="157" y="43"/>
                </a:cubicBezTo>
                <a:close/>
                <a:moveTo>
                  <a:pt x="51" y="67"/>
                </a:moveTo>
                <a:cubicBezTo>
                  <a:pt x="56" y="67"/>
                  <a:pt x="61" y="68"/>
                  <a:pt x="66" y="69"/>
                </a:cubicBezTo>
                <a:cubicBezTo>
                  <a:pt x="52" y="99"/>
                  <a:pt x="52" y="99"/>
                  <a:pt x="52" y="99"/>
                </a:cubicBezTo>
                <a:cubicBezTo>
                  <a:pt x="52" y="99"/>
                  <a:pt x="51" y="99"/>
                  <a:pt x="51" y="99"/>
                </a:cubicBezTo>
                <a:cubicBezTo>
                  <a:pt x="45" y="99"/>
                  <a:pt x="40" y="103"/>
                  <a:pt x="40" y="109"/>
                </a:cubicBezTo>
                <a:cubicBezTo>
                  <a:pt x="40" y="110"/>
                  <a:pt x="40" y="110"/>
                  <a:pt x="40" y="111"/>
                </a:cubicBezTo>
                <a:cubicBezTo>
                  <a:pt x="10" y="122"/>
                  <a:pt x="10" y="122"/>
                  <a:pt x="10" y="122"/>
                </a:cubicBezTo>
                <a:cubicBezTo>
                  <a:pt x="9" y="118"/>
                  <a:pt x="8" y="114"/>
                  <a:pt x="8" y="109"/>
                </a:cubicBezTo>
                <a:cubicBezTo>
                  <a:pt x="8" y="86"/>
                  <a:pt x="27" y="67"/>
                  <a:pt x="51" y="67"/>
                </a:cubicBezTo>
                <a:close/>
                <a:moveTo>
                  <a:pt x="46" y="111"/>
                </a:moveTo>
                <a:cubicBezTo>
                  <a:pt x="46" y="111"/>
                  <a:pt x="46" y="111"/>
                  <a:pt x="46" y="111"/>
                </a:cubicBezTo>
                <a:cubicBezTo>
                  <a:pt x="46" y="111"/>
                  <a:pt x="46" y="111"/>
                  <a:pt x="46" y="111"/>
                </a:cubicBezTo>
                <a:cubicBezTo>
                  <a:pt x="45" y="111"/>
                  <a:pt x="45" y="110"/>
                  <a:pt x="45" y="109"/>
                </a:cubicBezTo>
                <a:cubicBezTo>
                  <a:pt x="45" y="106"/>
                  <a:pt x="48" y="104"/>
                  <a:pt x="51" y="104"/>
                </a:cubicBezTo>
                <a:cubicBezTo>
                  <a:pt x="51" y="104"/>
                  <a:pt x="52" y="104"/>
                  <a:pt x="53" y="104"/>
                </a:cubicBezTo>
                <a:cubicBezTo>
                  <a:pt x="53" y="104"/>
                  <a:pt x="53" y="104"/>
                  <a:pt x="53" y="104"/>
                </a:cubicBezTo>
                <a:cubicBezTo>
                  <a:pt x="53" y="104"/>
                  <a:pt x="53" y="104"/>
                  <a:pt x="53" y="104"/>
                </a:cubicBezTo>
                <a:cubicBezTo>
                  <a:pt x="55" y="105"/>
                  <a:pt x="56" y="107"/>
                  <a:pt x="56" y="109"/>
                </a:cubicBezTo>
                <a:cubicBezTo>
                  <a:pt x="56" y="112"/>
                  <a:pt x="54" y="115"/>
                  <a:pt x="51" y="115"/>
                </a:cubicBezTo>
                <a:cubicBezTo>
                  <a:pt x="48" y="115"/>
                  <a:pt x="47" y="113"/>
                  <a:pt x="46" y="111"/>
                </a:cubicBezTo>
                <a:close/>
                <a:moveTo>
                  <a:pt x="12" y="127"/>
                </a:moveTo>
                <a:cubicBezTo>
                  <a:pt x="42" y="116"/>
                  <a:pt x="42" y="116"/>
                  <a:pt x="42" y="116"/>
                </a:cubicBezTo>
                <a:cubicBezTo>
                  <a:pt x="44" y="118"/>
                  <a:pt x="47" y="120"/>
                  <a:pt x="51" y="120"/>
                </a:cubicBezTo>
                <a:cubicBezTo>
                  <a:pt x="51" y="120"/>
                  <a:pt x="51" y="120"/>
                  <a:pt x="52" y="120"/>
                </a:cubicBezTo>
                <a:cubicBezTo>
                  <a:pt x="64" y="150"/>
                  <a:pt x="64" y="150"/>
                  <a:pt x="64" y="150"/>
                </a:cubicBezTo>
                <a:cubicBezTo>
                  <a:pt x="60" y="151"/>
                  <a:pt x="55" y="152"/>
                  <a:pt x="51" y="152"/>
                </a:cubicBezTo>
                <a:cubicBezTo>
                  <a:pt x="34" y="152"/>
                  <a:pt x="19" y="142"/>
                  <a:pt x="12" y="127"/>
                </a:cubicBezTo>
                <a:close/>
                <a:moveTo>
                  <a:pt x="69" y="148"/>
                </a:moveTo>
                <a:cubicBezTo>
                  <a:pt x="57" y="118"/>
                  <a:pt x="57" y="118"/>
                  <a:pt x="57" y="118"/>
                </a:cubicBezTo>
                <a:cubicBezTo>
                  <a:pt x="60" y="116"/>
                  <a:pt x="61" y="113"/>
                  <a:pt x="61" y="109"/>
                </a:cubicBezTo>
                <a:cubicBezTo>
                  <a:pt x="61" y="106"/>
                  <a:pt x="60" y="103"/>
                  <a:pt x="57" y="101"/>
                </a:cubicBezTo>
                <a:cubicBezTo>
                  <a:pt x="70" y="72"/>
                  <a:pt x="70" y="72"/>
                  <a:pt x="70" y="72"/>
                </a:cubicBezTo>
                <a:cubicBezTo>
                  <a:pt x="84" y="79"/>
                  <a:pt x="93" y="93"/>
                  <a:pt x="93" y="109"/>
                </a:cubicBezTo>
                <a:cubicBezTo>
                  <a:pt x="93" y="126"/>
                  <a:pt x="83" y="141"/>
                  <a:pt x="69" y="148"/>
                </a:cubicBezTo>
                <a:close/>
                <a:moveTo>
                  <a:pt x="115" y="77"/>
                </a:moveTo>
                <a:cubicBezTo>
                  <a:pt x="97" y="77"/>
                  <a:pt x="83" y="63"/>
                  <a:pt x="83" y="45"/>
                </a:cubicBezTo>
                <a:cubicBezTo>
                  <a:pt x="83" y="28"/>
                  <a:pt x="97" y="13"/>
                  <a:pt x="115" y="13"/>
                </a:cubicBezTo>
                <a:cubicBezTo>
                  <a:pt x="132" y="13"/>
                  <a:pt x="147" y="28"/>
                  <a:pt x="147" y="45"/>
                </a:cubicBezTo>
                <a:cubicBezTo>
                  <a:pt x="147" y="63"/>
                  <a:pt x="132" y="77"/>
                  <a:pt x="115" y="77"/>
                </a:cubicBezTo>
                <a:close/>
                <a:moveTo>
                  <a:pt x="115" y="35"/>
                </a:moveTo>
                <a:cubicBezTo>
                  <a:pt x="109" y="35"/>
                  <a:pt x="104" y="39"/>
                  <a:pt x="104" y="45"/>
                </a:cubicBezTo>
                <a:cubicBezTo>
                  <a:pt x="104" y="51"/>
                  <a:pt x="109" y="56"/>
                  <a:pt x="115" y="56"/>
                </a:cubicBezTo>
                <a:cubicBezTo>
                  <a:pt x="121" y="56"/>
                  <a:pt x="125" y="51"/>
                  <a:pt x="125" y="45"/>
                </a:cubicBezTo>
                <a:cubicBezTo>
                  <a:pt x="125" y="39"/>
                  <a:pt x="121" y="35"/>
                  <a:pt x="115" y="35"/>
                </a:cubicBezTo>
                <a:close/>
                <a:moveTo>
                  <a:pt x="115" y="51"/>
                </a:moveTo>
                <a:cubicBezTo>
                  <a:pt x="112" y="51"/>
                  <a:pt x="109" y="48"/>
                  <a:pt x="109" y="45"/>
                </a:cubicBezTo>
                <a:cubicBezTo>
                  <a:pt x="109" y="42"/>
                  <a:pt x="112" y="40"/>
                  <a:pt x="115" y="40"/>
                </a:cubicBezTo>
                <a:cubicBezTo>
                  <a:pt x="118" y="40"/>
                  <a:pt x="120" y="42"/>
                  <a:pt x="120" y="45"/>
                </a:cubicBezTo>
                <a:cubicBezTo>
                  <a:pt x="120" y="48"/>
                  <a:pt x="118" y="51"/>
                  <a:pt x="115" y="51"/>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1359">
            <a:extLst>
              <a:ext uri="{FF2B5EF4-FFF2-40B4-BE49-F238E27FC236}">
                <a16:creationId xmlns:a16="http://schemas.microsoft.com/office/drawing/2014/main" id="{9745B709-198D-944A-AD09-34D65ABF87A3}"/>
              </a:ext>
            </a:extLst>
          </p:cNvPr>
          <p:cNvSpPr>
            <a:spLocks noEditPoints="1"/>
          </p:cNvSpPr>
          <p:nvPr/>
        </p:nvSpPr>
        <p:spPr bwMode="auto">
          <a:xfrm>
            <a:off x="7176662" y="2841625"/>
            <a:ext cx="546100" cy="550863"/>
          </a:xfrm>
          <a:custGeom>
            <a:avLst/>
            <a:gdLst>
              <a:gd name="T0" fmla="*/ 148 w 160"/>
              <a:gd name="T1" fmla="*/ 68 h 160"/>
              <a:gd name="T2" fmla="*/ 138 w 160"/>
              <a:gd name="T3" fmla="*/ 43 h 160"/>
              <a:gd name="T4" fmla="*/ 144 w 160"/>
              <a:gd name="T5" fmla="*/ 31 h 160"/>
              <a:gd name="T6" fmla="*/ 128 w 160"/>
              <a:gd name="T7" fmla="*/ 18 h 160"/>
              <a:gd name="T8" fmla="*/ 104 w 160"/>
              <a:gd name="T9" fmla="*/ 25 h 160"/>
              <a:gd name="T10" fmla="*/ 93 w 160"/>
              <a:gd name="T11" fmla="*/ 3 h 160"/>
              <a:gd name="T12" fmla="*/ 73 w 160"/>
              <a:gd name="T13" fmla="*/ 0 h 160"/>
              <a:gd name="T14" fmla="*/ 67 w 160"/>
              <a:gd name="T15" fmla="*/ 14 h 160"/>
              <a:gd name="T16" fmla="*/ 43 w 160"/>
              <a:gd name="T17" fmla="*/ 25 h 160"/>
              <a:gd name="T18" fmla="*/ 29 w 160"/>
              <a:gd name="T19" fmla="*/ 18 h 160"/>
              <a:gd name="T20" fmla="*/ 16 w 160"/>
              <a:gd name="T21" fmla="*/ 35 h 160"/>
              <a:gd name="T22" fmla="*/ 24 w 160"/>
              <a:gd name="T23" fmla="*/ 58 h 160"/>
              <a:gd name="T24" fmla="*/ 2 w 160"/>
              <a:gd name="T25" fmla="*/ 70 h 160"/>
              <a:gd name="T26" fmla="*/ 0 w 160"/>
              <a:gd name="T27" fmla="*/ 90 h 160"/>
              <a:gd name="T28" fmla="*/ 12 w 160"/>
              <a:gd name="T29" fmla="*/ 95 h 160"/>
              <a:gd name="T30" fmla="*/ 23 w 160"/>
              <a:gd name="T31" fmla="*/ 120 h 160"/>
              <a:gd name="T32" fmla="*/ 18 w 160"/>
              <a:gd name="T33" fmla="*/ 131 h 160"/>
              <a:gd name="T34" fmla="*/ 35 w 160"/>
              <a:gd name="T35" fmla="*/ 144 h 160"/>
              <a:gd name="T36" fmla="*/ 58 w 160"/>
              <a:gd name="T37" fmla="*/ 136 h 160"/>
              <a:gd name="T38" fmla="*/ 70 w 160"/>
              <a:gd name="T39" fmla="*/ 158 h 160"/>
              <a:gd name="T40" fmla="*/ 90 w 160"/>
              <a:gd name="T41" fmla="*/ 160 h 160"/>
              <a:gd name="T42" fmla="*/ 94 w 160"/>
              <a:gd name="T43" fmla="*/ 151 h 160"/>
              <a:gd name="T44" fmla="*/ 120 w 160"/>
              <a:gd name="T45" fmla="*/ 140 h 160"/>
              <a:gd name="T46" fmla="*/ 129 w 160"/>
              <a:gd name="T47" fmla="*/ 144 h 160"/>
              <a:gd name="T48" fmla="*/ 142 w 160"/>
              <a:gd name="T49" fmla="*/ 128 h 160"/>
              <a:gd name="T50" fmla="*/ 135 w 160"/>
              <a:gd name="T51" fmla="*/ 104 h 160"/>
              <a:gd name="T52" fmla="*/ 157 w 160"/>
              <a:gd name="T53" fmla="*/ 93 h 160"/>
              <a:gd name="T54" fmla="*/ 160 w 160"/>
              <a:gd name="T55" fmla="*/ 73 h 160"/>
              <a:gd name="T56" fmla="*/ 154 w 160"/>
              <a:gd name="T57" fmla="*/ 88 h 160"/>
              <a:gd name="T58" fmla="*/ 130 w 160"/>
              <a:gd name="T59" fmla="*/ 102 h 160"/>
              <a:gd name="T60" fmla="*/ 136 w 160"/>
              <a:gd name="T61" fmla="*/ 129 h 160"/>
              <a:gd name="T62" fmla="*/ 123 w 160"/>
              <a:gd name="T63" fmla="*/ 135 h 160"/>
              <a:gd name="T64" fmla="*/ 88 w 160"/>
              <a:gd name="T65" fmla="*/ 150 h 160"/>
              <a:gd name="T66" fmla="*/ 75 w 160"/>
              <a:gd name="T67" fmla="*/ 154 h 160"/>
              <a:gd name="T68" fmla="*/ 60 w 160"/>
              <a:gd name="T69" fmla="*/ 131 h 160"/>
              <a:gd name="T70" fmla="*/ 33 w 160"/>
              <a:gd name="T71" fmla="*/ 138 h 160"/>
              <a:gd name="T72" fmla="*/ 28 w 160"/>
              <a:gd name="T73" fmla="*/ 123 h 160"/>
              <a:gd name="T74" fmla="*/ 13 w 160"/>
              <a:gd name="T75" fmla="*/ 89 h 160"/>
              <a:gd name="T76" fmla="*/ 6 w 160"/>
              <a:gd name="T77" fmla="*/ 75 h 160"/>
              <a:gd name="T78" fmla="*/ 29 w 160"/>
              <a:gd name="T79" fmla="*/ 60 h 160"/>
              <a:gd name="T80" fmla="*/ 22 w 160"/>
              <a:gd name="T81" fmla="*/ 33 h 160"/>
              <a:gd name="T82" fmla="*/ 39 w 160"/>
              <a:gd name="T83" fmla="*/ 30 h 160"/>
              <a:gd name="T84" fmla="*/ 73 w 160"/>
              <a:gd name="T85" fmla="*/ 15 h 160"/>
              <a:gd name="T86" fmla="*/ 88 w 160"/>
              <a:gd name="T87" fmla="*/ 6 h 160"/>
              <a:gd name="T88" fmla="*/ 102 w 160"/>
              <a:gd name="T89" fmla="*/ 30 h 160"/>
              <a:gd name="T90" fmla="*/ 129 w 160"/>
              <a:gd name="T91" fmla="*/ 24 h 160"/>
              <a:gd name="T92" fmla="*/ 134 w 160"/>
              <a:gd name="T93" fmla="*/ 39 h 160"/>
              <a:gd name="T94" fmla="*/ 147 w 160"/>
              <a:gd name="T95" fmla="*/ 74 h 160"/>
              <a:gd name="T96" fmla="*/ 154 w 160"/>
              <a:gd name="T97" fmla="*/ 88 h 160"/>
              <a:gd name="T98" fmla="*/ 50 w 160"/>
              <a:gd name="T99" fmla="*/ 81 h 160"/>
              <a:gd name="T100" fmla="*/ 113 w 160"/>
              <a:gd name="T101" fmla="*/ 81 h 160"/>
              <a:gd name="T102" fmla="*/ 81 w 160"/>
              <a:gd name="T103" fmla="*/ 107 h 160"/>
              <a:gd name="T104" fmla="*/ 81 w 160"/>
              <a:gd name="T105" fmla="*/ 56 h 160"/>
              <a:gd name="T106" fmla="*/ 81 w 160"/>
              <a:gd name="T107" fmla="*/ 107 h 160"/>
              <a:gd name="T108" fmla="*/ 65 w 160"/>
              <a:gd name="T109" fmla="*/ 81 h 160"/>
              <a:gd name="T110" fmla="*/ 98 w 160"/>
              <a:gd name="T111" fmla="*/ 81 h 160"/>
              <a:gd name="T112" fmla="*/ 81 w 160"/>
              <a:gd name="T113" fmla="*/ 92 h 160"/>
              <a:gd name="T114" fmla="*/ 81 w 160"/>
              <a:gd name="T115" fmla="*/ 71 h 160"/>
              <a:gd name="T116" fmla="*/ 81 w 160"/>
              <a:gd name="T117" fmla="*/ 9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60">
                <a:moveTo>
                  <a:pt x="158" y="70"/>
                </a:moveTo>
                <a:cubicBezTo>
                  <a:pt x="148" y="68"/>
                  <a:pt x="148" y="68"/>
                  <a:pt x="148" y="68"/>
                </a:cubicBezTo>
                <a:cubicBezTo>
                  <a:pt x="143" y="67"/>
                  <a:pt x="138" y="63"/>
                  <a:pt x="136" y="58"/>
                </a:cubicBezTo>
                <a:cubicBezTo>
                  <a:pt x="134" y="53"/>
                  <a:pt x="135" y="47"/>
                  <a:pt x="138" y="43"/>
                </a:cubicBezTo>
                <a:cubicBezTo>
                  <a:pt x="144" y="35"/>
                  <a:pt x="144" y="35"/>
                  <a:pt x="144" y="35"/>
                </a:cubicBezTo>
                <a:cubicBezTo>
                  <a:pt x="145" y="33"/>
                  <a:pt x="145" y="32"/>
                  <a:pt x="144" y="31"/>
                </a:cubicBezTo>
                <a:cubicBezTo>
                  <a:pt x="131" y="18"/>
                  <a:pt x="131" y="18"/>
                  <a:pt x="131" y="18"/>
                </a:cubicBezTo>
                <a:cubicBezTo>
                  <a:pt x="130" y="17"/>
                  <a:pt x="129" y="17"/>
                  <a:pt x="128" y="18"/>
                </a:cubicBezTo>
                <a:cubicBezTo>
                  <a:pt x="120" y="23"/>
                  <a:pt x="120" y="23"/>
                  <a:pt x="120" y="23"/>
                </a:cubicBezTo>
                <a:cubicBezTo>
                  <a:pt x="115" y="26"/>
                  <a:pt x="109" y="27"/>
                  <a:pt x="104" y="25"/>
                </a:cubicBezTo>
                <a:cubicBezTo>
                  <a:pt x="99" y="22"/>
                  <a:pt x="96" y="18"/>
                  <a:pt x="95" y="12"/>
                </a:cubicBezTo>
                <a:cubicBezTo>
                  <a:pt x="93" y="3"/>
                  <a:pt x="93" y="3"/>
                  <a:pt x="93" y="3"/>
                </a:cubicBezTo>
                <a:cubicBezTo>
                  <a:pt x="93" y="1"/>
                  <a:pt x="92" y="0"/>
                  <a:pt x="90" y="0"/>
                </a:cubicBezTo>
                <a:cubicBezTo>
                  <a:pt x="73" y="0"/>
                  <a:pt x="73" y="0"/>
                  <a:pt x="73" y="0"/>
                </a:cubicBezTo>
                <a:cubicBezTo>
                  <a:pt x="71" y="0"/>
                  <a:pt x="70" y="1"/>
                  <a:pt x="70" y="2"/>
                </a:cubicBezTo>
                <a:cubicBezTo>
                  <a:pt x="67" y="14"/>
                  <a:pt x="67" y="14"/>
                  <a:pt x="67" y="14"/>
                </a:cubicBezTo>
                <a:cubicBezTo>
                  <a:pt x="66" y="20"/>
                  <a:pt x="63" y="24"/>
                  <a:pt x="58" y="26"/>
                </a:cubicBezTo>
                <a:cubicBezTo>
                  <a:pt x="53" y="28"/>
                  <a:pt x="47" y="28"/>
                  <a:pt x="43" y="25"/>
                </a:cubicBezTo>
                <a:cubicBezTo>
                  <a:pt x="32" y="18"/>
                  <a:pt x="32" y="18"/>
                  <a:pt x="32" y="18"/>
                </a:cubicBezTo>
                <a:cubicBezTo>
                  <a:pt x="31" y="17"/>
                  <a:pt x="30" y="17"/>
                  <a:pt x="29" y="18"/>
                </a:cubicBezTo>
                <a:cubicBezTo>
                  <a:pt x="16" y="31"/>
                  <a:pt x="16" y="31"/>
                  <a:pt x="16" y="31"/>
                </a:cubicBezTo>
                <a:cubicBezTo>
                  <a:pt x="15" y="32"/>
                  <a:pt x="15" y="33"/>
                  <a:pt x="16" y="35"/>
                </a:cubicBezTo>
                <a:cubicBezTo>
                  <a:pt x="22" y="43"/>
                  <a:pt x="22" y="43"/>
                  <a:pt x="22" y="43"/>
                </a:cubicBezTo>
                <a:cubicBezTo>
                  <a:pt x="25" y="47"/>
                  <a:pt x="26" y="53"/>
                  <a:pt x="24" y="58"/>
                </a:cubicBezTo>
                <a:cubicBezTo>
                  <a:pt x="22" y="63"/>
                  <a:pt x="17" y="67"/>
                  <a:pt x="12" y="68"/>
                </a:cubicBezTo>
                <a:cubicBezTo>
                  <a:pt x="2" y="70"/>
                  <a:pt x="2" y="70"/>
                  <a:pt x="2" y="70"/>
                </a:cubicBezTo>
                <a:cubicBezTo>
                  <a:pt x="1" y="70"/>
                  <a:pt x="0" y="71"/>
                  <a:pt x="0" y="73"/>
                </a:cubicBezTo>
                <a:cubicBezTo>
                  <a:pt x="0" y="90"/>
                  <a:pt x="0" y="90"/>
                  <a:pt x="0" y="90"/>
                </a:cubicBezTo>
                <a:cubicBezTo>
                  <a:pt x="0" y="92"/>
                  <a:pt x="1" y="93"/>
                  <a:pt x="3" y="93"/>
                </a:cubicBezTo>
                <a:cubicBezTo>
                  <a:pt x="12" y="95"/>
                  <a:pt x="12" y="95"/>
                  <a:pt x="12" y="95"/>
                </a:cubicBezTo>
                <a:cubicBezTo>
                  <a:pt x="18" y="96"/>
                  <a:pt x="22" y="99"/>
                  <a:pt x="25" y="104"/>
                </a:cubicBezTo>
                <a:cubicBezTo>
                  <a:pt x="27" y="109"/>
                  <a:pt x="26" y="115"/>
                  <a:pt x="23" y="120"/>
                </a:cubicBezTo>
                <a:cubicBezTo>
                  <a:pt x="18" y="128"/>
                  <a:pt x="18" y="128"/>
                  <a:pt x="18" y="128"/>
                </a:cubicBezTo>
                <a:cubicBezTo>
                  <a:pt x="17" y="129"/>
                  <a:pt x="17" y="130"/>
                  <a:pt x="18" y="131"/>
                </a:cubicBezTo>
                <a:cubicBezTo>
                  <a:pt x="31" y="144"/>
                  <a:pt x="31" y="144"/>
                  <a:pt x="31" y="144"/>
                </a:cubicBezTo>
                <a:cubicBezTo>
                  <a:pt x="32" y="145"/>
                  <a:pt x="33" y="145"/>
                  <a:pt x="35" y="144"/>
                </a:cubicBezTo>
                <a:cubicBezTo>
                  <a:pt x="43" y="138"/>
                  <a:pt x="43" y="138"/>
                  <a:pt x="43" y="138"/>
                </a:cubicBezTo>
                <a:cubicBezTo>
                  <a:pt x="47" y="135"/>
                  <a:pt x="53" y="134"/>
                  <a:pt x="58" y="136"/>
                </a:cubicBezTo>
                <a:cubicBezTo>
                  <a:pt x="63" y="138"/>
                  <a:pt x="67" y="143"/>
                  <a:pt x="68" y="148"/>
                </a:cubicBezTo>
                <a:cubicBezTo>
                  <a:pt x="70" y="158"/>
                  <a:pt x="70" y="158"/>
                  <a:pt x="70" y="158"/>
                </a:cubicBezTo>
                <a:cubicBezTo>
                  <a:pt x="70" y="159"/>
                  <a:pt x="71" y="160"/>
                  <a:pt x="73" y="160"/>
                </a:cubicBezTo>
                <a:cubicBezTo>
                  <a:pt x="90" y="160"/>
                  <a:pt x="90" y="160"/>
                  <a:pt x="90" y="160"/>
                </a:cubicBezTo>
                <a:cubicBezTo>
                  <a:pt x="92" y="160"/>
                  <a:pt x="93" y="159"/>
                  <a:pt x="93" y="157"/>
                </a:cubicBezTo>
                <a:cubicBezTo>
                  <a:pt x="94" y="151"/>
                  <a:pt x="94" y="151"/>
                  <a:pt x="94" y="151"/>
                </a:cubicBezTo>
                <a:cubicBezTo>
                  <a:pt x="95" y="145"/>
                  <a:pt x="99" y="140"/>
                  <a:pt x="104" y="138"/>
                </a:cubicBezTo>
                <a:cubicBezTo>
                  <a:pt x="109" y="136"/>
                  <a:pt x="115" y="137"/>
                  <a:pt x="120" y="140"/>
                </a:cubicBezTo>
                <a:cubicBezTo>
                  <a:pt x="125" y="144"/>
                  <a:pt x="125" y="144"/>
                  <a:pt x="125" y="144"/>
                </a:cubicBezTo>
                <a:cubicBezTo>
                  <a:pt x="127" y="145"/>
                  <a:pt x="128" y="145"/>
                  <a:pt x="129" y="144"/>
                </a:cubicBezTo>
                <a:cubicBezTo>
                  <a:pt x="142" y="131"/>
                  <a:pt x="142" y="131"/>
                  <a:pt x="142" y="131"/>
                </a:cubicBezTo>
                <a:cubicBezTo>
                  <a:pt x="143" y="130"/>
                  <a:pt x="143" y="129"/>
                  <a:pt x="142" y="128"/>
                </a:cubicBezTo>
                <a:cubicBezTo>
                  <a:pt x="137" y="120"/>
                  <a:pt x="137" y="120"/>
                  <a:pt x="137" y="120"/>
                </a:cubicBezTo>
                <a:cubicBezTo>
                  <a:pt x="134" y="115"/>
                  <a:pt x="133" y="109"/>
                  <a:pt x="135" y="104"/>
                </a:cubicBezTo>
                <a:cubicBezTo>
                  <a:pt x="138" y="99"/>
                  <a:pt x="142" y="96"/>
                  <a:pt x="148" y="95"/>
                </a:cubicBezTo>
                <a:cubicBezTo>
                  <a:pt x="157" y="93"/>
                  <a:pt x="157" y="93"/>
                  <a:pt x="157" y="93"/>
                </a:cubicBezTo>
                <a:cubicBezTo>
                  <a:pt x="159" y="93"/>
                  <a:pt x="160" y="92"/>
                  <a:pt x="160" y="90"/>
                </a:cubicBezTo>
                <a:cubicBezTo>
                  <a:pt x="160" y="73"/>
                  <a:pt x="160" y="73"/>
                  <a:pt x="160" y="73"/>
                </a:cubicBezTo>
                <a:cubicBezTo>
                  <a:pt x="160" y="71"/>
                  <a:pt x="159" y="70"/>
                  <a:pt x="158" y="70"/>
                </a:cubicBezTo>
                <a:close/>
                <a:moveTo>
                  <a:pt x="154" y="88"/>
                </a:moveTo>
                <a:cubicBezTo>
                  <a:pt x="147" y="89"/>
                  <a:pt x="147" y="89"/>
                  <a:pt x="147" y="89"/>
                </a:cubicBezTo>
                <a:cubicBezTo>
                  <a:pt x="139" y="90"/>
                  <a:pt x="133" y="95"/>
                  <a:pt x="130" y="102"/>
                </a:cubicBezTo>
                <a:cubicBezTo>
                  <a:pt x="127" y="109"/>
                  <a:pt x="128" y="117"/>
                  <a:pt x="132" y="123"/>
                </a:cubicBezTo>
                <a:cubicBezTo>
                  <a:pt x="136" y="129"/>
                  <a:pt x="136" y="129"/>
                  <a:pt x="136" y="129"/>
                </a:cubicBezTo>
                <a:cubicBezTo>
                  <a:pt x="127" y="138"/>
                  <a:pt x="127" y="138"/>
                  <a:pt x="127" y="138"/>
                </a:cubicBezTo>
                <a:cubicBezTo>
                  <a:pt x="123" y="135"/>
                  <a:pt x="123" y="135"/>
                  <a:pt x="123" y="135"/>
                </a:cubicBezTo>
                <a:cubicBezTo>
                  <a:pt x="117" y="131"/>
                  <a:pt x="109" y="130"/>
                  <a:pt x="102" y="133"/>
                </a:cubicBezTo>
                <a:cubicBezTo>
                  <a:pt x="95" y="136"/>
                  <a:pt x="90" y="142"/>
                  <a:pt x="88" y="150"/>
                </a:cubicBezTo>
                <a:cubicBezTo>
                  <a:pt x="88" y="154"/>
                  <a:pt x="88" y="154"/>
                  <a:pt x="88" y="154"/>
                </a:cubicBezTo>
                <a:cubicBezTo>
                  <a:pt x="75" y="154"/>
                  <a:pt x="75" y="154"/>
                  <a:pt x="75" y="154"/>
                </a:cubicBezTo>
                <a:cubicBezTo>
                  <a:pt x="74" y="147"/>
                  <a:pt x="74" y="147"/>
                  <a:pt x="74" y="147"/>
                </a:cubicBezTo>
                <a:cubicBezTo>
                  <a:pt x="72" y="140"/>
                  <a:pt x="67" y="134"/>
                  <a:pt x="60" y="131"/>
                </a:cubicBezTo>
                <a:cubicBezTo>
                  <a:pt x="53" y="128"/>
                  <a:pt x="45" y="129"/>
                  <a:pt x="39" y="134"/>
                </a:cubicBezTo>
                <a:cubicBezTo>
                  <a:pt x="33" y="138"/>
                  <a:pt x="33" y="138"/>
                  <a:pt x="33" y="138"/>
                </a:cubicBezTo>
                <a:cubicBezTo>
                  <a:pt x="24" y="129"/>
                  <a:pt x="24" y="129"/>
                  <a:pt x="24" y="129"/>
                </a:cubicBezTo>
                <a:cubicBezTo>
                  <a:pt x="28" y="123"/>
                  <a:pt x="28" y="123"/>
                  <a:pt x="28" y="123"/>
                </a:cubicBezTo>
                <a:cubicBezTo>
                  <a:pt x="32" y="117"/>
                  <a:pt x="33" y="109"/>
                  <a:pt x="30" y="102"/>
                </a:cubicBezTo>
                <a:cubicBezTo>
                  <a:pt x="27" y="95"/>
                  <a:pt x="21" y="90"/>
                  <a:pt x="13" y="89"/>
                </a:cubicBezTo>
                <a:cubicBezTo>
                  <a:pt x="6" y="88"/>
                  <a:pt x="6" y="88"/>
                  <a:pt x="6" y="88"/>
                </a:cubicBezTo>
                <a:cubicBezTo>
                  <a:pt x="6" y="75"/>
                  <a:pt x="6" y="75"/>
                  <a:pt x="6" y="75"/>
                </a:cubicBezTo>
                <a:cubicBezTo>
                  <a:pt x="13" y="74"/>
                  <a:pt x="13" y="74"/>
                  <a:pt x="13" y="74"/>
                </a:cubicBezTo>
                <a:cubicBezTo>
                  <a:pt x="20" y="72"/>
                  <a:pt x="26" y="67"/>
                  <a:pt x="29" y="60"/>
                </a:cubicBezTo>
                <a:cubicBezTo>
                  <a:pt x="32" y="53"/>
                  <a:pt x="31" y="45"/>
                  <a:pt x="26" y="39"/>
                </a:cubicBezTo>
                <a:cubicBezTo>
                  <a:pt x="22" y="33"/>
                  <a:pt x="22" y="33"/>
                  <a:pt x="22" y="33"/>
                </a:cubicBezTo>
                <a:cubicBezTo>
                  <a:pt x="31" y="24"/>
                  <a:pt x="31" y="24"/>
                  <a:pt x="31" y="24"/>
                </a:cubicBezTo>
                <a:cubicBezTo>
                  <a:pt x="39" y="30"/>
                  <a:pt x="39" y="30"/>
                  <a:pt x="39" y="30"/>
                </a:cubicBezTo>
                <a:cubicBezTo>
                  <a:pt x="45" y="34"/>
                  <a:pt x="53" y="35"/>
                  <a:pt x="60" y="32"/>
                </a:cubicBezTo>
                <a:cubicBezTo>
                  <a:pt x="67" y="29"/>
                  <a:pt x="72" y="23"/>
                  <a:pt x="73" y="15"/>
                </a:cubicBezTo>
                <a:cubicBezTo>
                  <a:pt x="75" y="6"/>
                  <a:pt x="75" y="6"/>
                  <a:pt x="75" y="6"/>
                </a:cubicBezTo>
                <a:cubicBezTo>
                  <a:pt x="88" y="6"/>
                  <a:pt x="88" y="6"/>
                  <a:pt x="88" y="6"/>
                </a:cubicBezTo>
                <a:cubicBezTo>
                  <a:pt x="89" y="13"/>
                  <a:pt x="89" y="13"/>
                  <a:pt x="89" y="13"/>
                </a:cubicBezTo>
                <a:cubicBezTo>
                  <a:pt x="90" y="21"/>
                  <a:pt x="95" y="27"/>
                  <a:pt x="102" y="30"/>
                </a:cubicBezTo>
                <a:cubicBezTo>
                  <a:pt x="109" y="33"/>
                  <a:pt x="117" y="32"/>
                  <a:pt x="123" y="28"/>
                </a:cubicBezTo>
                <a:cubicBezTo>
                  <a:pt x="129" y="24"/>
                  <a:pt x="129" y="24"/>
                  <a:pt x="129" y="24"/>
                </a:cubicBezTo>
                <a:cubicBezTo>
                  <a:pt x="138" y="33"/>
                  <a:pt x="138" y="33"/>
                  <a:pt x="138" y="33"/>
                </a:cubicBezTo>
                <a:cubicBezTo>
                  <a:pt x="134" y="39"/>
                  <a:pt x="134" y="39"/>
                  <a:pt x="134" y="39"/>
                </a:cubicBezTo>
                <a:cubicBezTo>
                  <a:pt x="129" y="45"/>
                  <a:pt x="128" y="53"/>
                  <a:pt x="131" y="60"/>
                </a:cubicBezTo>
                <a:cubicBezTo>
                  <a:pt x="134" y="67"/>
                  <a:pt x="140" y="72"/>
                  <a:pt x="147" y="74"/>
                </a:cubicBezTo>
                <a:cubicBezTo>
                  <a:pt x="154" y="75"/>
                  <a:pt x="154" y="75"/>
                  <a:pt x="154" y="75"/>
                </a:cubicBezTo>
                <a:lnTo>
                  <a:pt x="154" y="88"/>
                </a:lnTo>
                <a:close/>
                <a:moveTo>
                  <a:pt x="81" y="50"/>
                </a:moveTo>
                <a:cubicBezTo>
                  <a:pt x="64" y="50"/>
                  <a:pt x="50" y="64"/>
                  <a:pt x="50" y="81"/>
                </a:cubicBezTo>
                <a:cubicBezTo>
                  <a:pt x="50" y="99"/>
                  <a:pt x="64" y="113"/>
                  <a:pt x="81" y="113"/>
                </a:cubicBezTo>
                <a:cubicBezTo>
                  <a:pt x="99" y="113"/>
                  <a:pt x="113" y="99"/>
                  <a:pt x="113" y="81"/>
                </a:cubicBezTo>
                <a:cubicBezTo>
                  <a:pt x="113" y="64"/>
                  <a:pt x="99" y="50"/>
                  <a:pt x="81" y="50"/>
                </a:cubicBezTo>
                <a:close/>
                <a:moveTo>
                  <a:pt x="81" y="107"/>
                </a:moveTo>
                <a:cubicBezTo>
                  <a:pt x="68" y="107"/>
                  <a:pt x="56" y="95"/>
                  <a:pt x="56" y="81"/>
                </a:cubicBezTo>
                <a:cubicBezTo>
                  <a:pt x="56" y="68"/>
                  <a:pt x="68" y="56"/>
                  <a:pt x="81" y="56"/>
                </a:cubicBezTo>
                <a:cubicBezTo>
                  <a:pt x="95" y="56"/>
                  <a:pt x="107" y="68"/>
                  <a:pt x="107" y="81"/>
                </a:cubicBezTo>
                <a:cubicBezTo>
                  <a:pt x="107" y="95"/>
                  <a:pt x="95" y="107"/>
                  <a:pt x="81" y="107"/>
                </a:cubicBezTo>
                <a:close/>
                <a:moveTo>
                  <a:pt x="81" y="65"/>
                </a:moveTo>
                <a:cubicBezTo>
                  <a:pt x="72" y="65"/>
                  <a:pt x="65" y="72"/>
                  <a:pt x="65" y="81"/>
                </a:cubicBezTo>
                <a:cubicBezTo>
                  <a:pt x="65" y="90"/>
                  <a:pt x="72" y="98"/>
                  <a:pt x="81" y="98"/>
                </a:cubicBezTo>
                <a:cubicBezTo>
                  <a:pt x="90" y="98"/>
                  <a:pt x="98" y="90"/>
                  <a:pt x="98" y="81"/>
                </a:cubicBezTo>
                <a:cubicBezTo>
                  <a:pt x="98" y="72"/>
                  <a:pt x="90" y="65"/>
                  <a:pt x="81" y="65"/>
                </a:cubicBezTo>
                <a:close/>
                <a:moveTo>
                  <a:pt x="81" y="92"/>
                </a:moveTo>
                <a:cubicBezTo>
                  <a:pt x="76" y="92"/>
                  <a:pt x="71" y="87"/>
                  <a:pt x="71" y="81"/>
                </a:cubicBezTo>
                <a:cubicBezTo>
                  <a:pt x="71" y="76"/>
                  <a:pt x="76" y="71"/>
                  <a:pt x="81" y="71"/>
                </a:cubicBezTo>
                <a:cubicBezTo>
                  <a:pt x="87" y="71"/>
                  <a:pt x="92" y="76"/>
                  <a:pt x="92" y="81"/>
                </a:cubicBezTo>
                <a:cubicBezTo>
                  <a:pt x="92" y="87"/>
                  <a:pt x="87" y="92"/>
                  <a:pt x="81" y="92"/>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1360">
            <a:extLst>
              <a:ext uri="{FF2B5EF4-FFF2-40B4-BE49-F238E27FC236}">
                <a16:creationId xmlns:a16="http://schemas.microsoft.com/office/drawing/2014/main" id="{C8B25589-697C-D742-8BB0-6491B9FFF880}"/>
              </a:ext>
            </a:extLst>
          </p:cNvPr>
          <p:cNvSpPr>
            <a:spLocks noEditPoints="1"/>
          </p:cNvSpPr>
          <p:nvPr/>
        </p:nvSpPr>
        <p:spPr bwMode="auto">
          <a:xfrm>
            <a:off x="7176662" y="3462338"/>
            <a:ext cx="546100" cy="549275"/>
          </a:xfrm>
          <a:custGeom>
            <a:avLst/>
            <a:gdLst>
              <a:gd name="T0" fmla="*/ 131 w 160"/>
              <a:gd name="T1" fmla="*/ 59 h 160"/>
              <a:gd name="T2" fmla="*/ 146 w 160"/>
              <a:gd name="T3" fmla="*/ 36 h 160"/>
              <a:gd name="T4" fmla="*/ 118 w 160"/>
              <a:gd name="T5" fmla="*/ 17 h 160"/>
              <a:gd name="T6" fmla="*/ 98 w 160"/>
              <a:gd name="T7" fmla="*/ 23 h 160"/>
              <a:gd name="T8" fmla="*/ 70 w 160"/>
              <a:gd name="T9" fmla="*/ 0 h 160"/>
              <a:gd name="T10" fmla="*/ 59 w 160"/>
              <a:gd name="T11" fmla="*/ 29 h 160"/>
              <a:gd name="T12" fmla="*/ 30 w 160"/>
              <a:gd name="T13" fmla="*/ 17 h 160"/>
              <a:gd name="T14" fmla="*/ 17 w 160"/>
              <a:gd name="T15" fmla="*/ 42 h 160"/>
              <a:gd name="T16" fmla="*/ 23 w 160"/>
              <a:gd name="T17" fmla="*/ 62 h 160"/>
              <a:gd name="T18" fmla="*/ 0 w 160"/>
              <a:gd name="T19" fmla="*/ 90 h 160"/>
              <a:gd name="T20" fmla="*/ 29 w 160"/>
              <a:gd name="T21" fmla="*/ 101 h 160"/>
              <a:gd name="T22" fmla="*/ 14 w 160"/>
              <a:gd name="T23" fmla="*/ 124 h 160"/>
              <a:gd name="T24" fmla="*/ 42 w 160"/>
              <a:gd name="T25" fmla="*/ 143 h 160"/>
              <a:gd name="T26" fmla="*/ 62 w 160"/>
              <a:gd name="T27" fmla="*/ 137 h 160"/>
              <a:gd name="T28" fmla="*/ 90 w 160"/>
              <a:gd name="T29" fmla="*/ 160 h 160"/>
              <a:gd name="T30" fmla="*/ 101 w 160"/>
              <a:gd name="T31" fmla="*/ 131 h 160"/>
              <a:gd name="T32" fmla="*/ 130 w 160"/>
              <a:gd name="T33" fmla="*/ 143 h 160"/>
              <a:gd name="T34" fmla="*/ 143 w 160"/>
              <a:gd name="T35" fmla="*/ 118 h 160"/>
              <a:gd name="T36" fmla="*/ 137 w 160"/>
              <a:gd name="T37" fmla="*/ 98 h 160"/>
              <a:gd name="T38" fmla="*/ 160 w 160"/>
              <a:gd name="T39" fmla="*/ 70 h 160"/>
              <a:gd name="T40" fmla="*/ 152 w 160"/>
              <a:gd name="T41" fmla="*/ 92 h 160"/>
              <a:gd name="T42" fmla="*/ 129 w 160"/>
              <a:gd name="T43" fmla="*/ 112 h 160"/>
              <a:gd name="T44" fmla="*/ 126 w 160"/>
              <a:gd name="T45" fmla="*/ 139 h 160"/>
              <a:gd name="T46" fmla="*/ 99 w 160"/>
              <a:gd name="T47" fmla="*/ 126 h 160"/>
              <a:gd name="T48" fmla="*/ 90 w 160"/>
              <a:gd name="T49" fmla="*/ 154 h 160"/>
              <a:gd name="T50" fmla="*/ 68 w 160"/>
              <a:gd name="T51" fmla="*/ 137 h 160"/>
              <a:gd name="T52" fmla="*/ 48 w 160"/>
              <a:gd name="T53" fmla="*/ 129 h 160"/>
              <a:gd name="T54" fmla="*/ 21 w 160"/>
              <a:gd name="T55" fmla="*/ 126 h 160"/>
              <a:gd name="T56" fmla="*/ 34 w 160"/>
              <a:gd name="T57" fmla="*/ 99 h 160"/>
              <a:gd name="T58" fmla="*/ 6 w 160"/>
              <a:gd name="T59" fmla="*/ 90 h 160"/>
              <a:gd name="T60" fmla="*/ 23 w 160"/>
              <a:gd name="T61" fmla="*/ 68 h 160"/>
              <a:gd name="T62" fmla="*/ 21 w 160"/>
              <a:gd name="T63" fmla="*/ 38 h 160"/>
              <a:gd name="T64" fmla="*/ 38 w 160"/>
              <a:gd name="T65" fmla="*/ 21 h 160"/>
              <a:gd name="T66" fmla="*/ 68 w 160"/>
              <a:gd name="T67" fmla="*/ 23 h 160"/>
              <a:gd name="T68" fmla="*/ 90 w 160"/>
              <a:gd name="T69" fmla="*/ 6 h 160"/>
              <a:gd name="T70" fmla="*/ 99 w 160"/>
              <a:gd name="T71" fmla="*/ 34 h 160"/>
              <a:gd name="T72" fmla="*/ 126 w 160"/>
              <a:gd name="T73" fmla="*/ 21 h 160"/>
              <a:gd name="T74" fmla="*/ 129 w 160"/>
              <a:gd name="T75" fmla="*/ 48 h 160"/>
              <a:gd name="T76" fmla="*/ 152 w 160"/>
              <a:gd name="T77" fmla="*/ 68 h 160"/>
              <a:gd name="T78" fmla="*/ 80 w 160"/>
              <a:gd name="T79" fmla="*/ 53 h 160"/>
              <a:gd name="T80" fmla="*/ 107 w 160"/>
              <a:gd name="T81" fmla="*/ 80 h 160"/>
              <a:gd name="T82" fmla="*/ 59 w 160"/>
              <a:gd name="T83" fmla="*/ 80 h 160"/>
              <a:gd name="T84" fmla="*/ 80 w 160"/>
              <a:gd name="T85" fmla="*/ 10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60">
                <a:moveTo>
                  <a:pt x="152" y="62"/>
                </a:moveTo>
                <a:cubicBezTo>
                  <a:pt x="137" y="62"/>
                  <a:pt x="137" y="62"/>
                  <a:pt x="137" y="62"/>
                </a:cubicBezTo>
                <a:cubicBezTo>
                  <a:pt x="134" y="62"/>
                  <a:pt x="132" y="61"/>
                  <a:pt x="131" y="59"/>
                </a:cubicBezTo>
                <a:cubicBezTo>
                  <a:pt x="131" y="56"/>
                  <a:pt x="131" y="54"/>
                  <a:pt x="133" y="52"/>
                </a:cubicBezTo>
                <a:cubicBezTo>
                  <a:pt x="143" y="42"/>
                  <a:pt x="143" y="42"/>
                  <a:pt x="143" y="42"/>
                </a:cubicBezTo>
                <a:cubicBezTo>
                  <a:pt x="145" y="40"/>
                  <a:pt x="146" y="38"/>
                  <a:pt x="146" y="36"/>
                </a:cubicBezTo>
                <a:cubicBezTo>
                  <a:pt x="146" y="34"/>
                  <a:pt x="145" y="32"/>
                  <a:pt x="143" y="30"/>
                </a:cubicBezTo>
                <a:cubicBezTo>
                  <a:pt x="130" y="17"/>
                  <a:pt x="130" y="17"/>
                  <a:pt x="130" y="17"/>
                </a:cubicBezTo>
                <a:cubicBezTo>
                  <a:pt x="127" y="14"/>
                  <a:pt x="121" y="14"/>
                  <a:pt x="118" y="17"/>
                </a:cubicBezTo>
                <a:cubicBezTo>
                  <a:pt x="108" y="27"/>
                  <a:pt x="108" y="27"/>
                  <a:pt x="108" y="27"/>
                </a:cubicBezTo>
                <a:cubicBezTo>
                  <a:pt x="106" y="29"/>
                  <a:pt x="104" y="29"/>
                  <a:pt x="101" y="29"/>
                </a:cubicBezTo>
                <a:cubicBezTo>
                  <a:pt x="99" y="28"/>
                  <a:pt x="98" y="26"/>
                  <a:pt x="98" y="23"/>
                </a:cubicBezTo>
                <a:cubicBezTo>
                  <a:pt x="98" y="8"/>
                  <a:pt x="98" y="8"/>
                  <a:pt x="98" y="8"/>
                </a:cubicBezTo>
                <a:cubicBezTo>
                  <a:pt x="98" y="4"/>
                  <a:pt x="94" y="0"/>
                  <a:pt x="90" y="0"/>
                </a:cubicBezTo>
                <a:cubicBezTo>
                  <a:pt x="70" y="0"/>
                  <a:pt x="70" y="0"/>
                  <a:pt x="70" y="0"/>
                </a:cubicBezTo>
                <a:cubicBezTo>
                  <a:pt x="66" y="0"/>
                  <a:pt x="62" y="4"/>
                  <a:pt x="62" y="8"/>
                </a:cubicBezTo>
                <a:cubicBezTo>
                  <a:pt x="62" y="23"/>
                  <a:pt x="62" y="23"/>
                  <a:pt x="62" y="23"/>
                </a:cubicBezTo>
                <a:cubicBezTo>
                  <a:pt x="62" y="26"/>
                  <a:pt x="61" y="28"/>
                  <a:pt x="59" y="29"/>
                </a:cubicBezTo>
                <a:cubicBezTo>
                  <a:pt x="56" y="29"/>
                  <a:pt x="54" y="29"/>
                  <a:pt x="52" y="27"/>
                </a:cubicBezTo>
                <a:cubicBezTo>
                  <a:pt x="42" y="17"/>
                  <a:pt x="42" y="17"/>
                  <a:pt x="42" y="17"/>
                </a:cubicBezTo>
                <a:cubicBezTo>
                  <a:pt x="39" y="14"/>
                  <a:pt x="33" y="14"/>
                  <a:pt x="30" y="17"/>
                </a:cubicBezTo>
                <a:cubicBezTo>
                  <a:pt x="17" y="30"/>
                  <a:pt x="17" y="30"/>
                  <a:pt x="17" y="30"/>
                </a:cubicBezTo>
                <a:cubicBezTo>
                  <a:pt x="15" y="32"/>
                  <a:pt x="14" y="34"/>
                  <a:pt x="14" y="36"/>
                </a:cubicBezTo>
                <a:cubicBezTo>
                  <a:pt x="14" y="38"/>
                  <a:pt x="15" y="40"/>
                  <a:pt x="17" y="42"/>
                </a:cubicBezTo>
                <a:cubicBezTo>
                  <a:pt x="27" y="52"/>
                  <a:pt x="27" y="52"/>
                  <a:pt x="27" y="52"/>
                </a:cubicBezTo>
                <a:cubicBezTo>
                  <a:pt x="29" y="54"/>
                  <a:pt x="29" y="56"/>
                  <a:pt x="29" y="59"/>
                </a:cubicBezTo>
                <a:cubicBezTo>
                  <a:pt x="28" y="61"/>
                  <a:pt x="26" y="62"/>
                  <a:pt x="23" y="62"/>
                </a:cubicBezTo>
                <a:cubicBezTo>
                  <a:pt x="8" y="62"/>
                  <a:pt x="8" y="62"/>
                  <a:pt x="8" y="62"/>
                </a:cubicBezTo>
                <a:cubicBezTo>
                  <a:pt x="4" y="62"/>
                  <a:pt x="0" y="66"/>
                  <a:pt x="0" y="70"/>
                </a:cubicBezTo>
                <a:cubicBezTo>
                  <a:pt x="0" y="90"/>
                  <a:pt x="0" y="90"/>
                  <a:pt x="0" y="90"/>
                </a:cubicBezTo>
                <a:cubicBezTo>
                  <a:pt x="0" y="94"/>
                  <a:pt x="4" y="98"/>
                  <a:pt x="8" y="98"/>
                </a:cubicBezTo>
                <a:cubicBezTo>
                  <a:pt x="23" y="98"/>
                  <a:pt x="23" y="98"/>
                  <a:pt x="23" y="98"/>
                </a:cubicBezTo>
                <a:cubicBezTo>
                  <a:pt x="26" y="98"/>
                  <a:pt x="28" y="99"/>
                  <a:pt x="29" y="101"/>
                </a:cubicBezTo>
                <a:cubicBezTo>
                  <a:pt x="29" y="104"/>
                  <a:pt x="29" y="106"/>
                  <a:pt x="27" y="108"/>
                </a:cubicBezTo>
                <a:cubicBezTo>
                  <a:pt x="17" y="118"/>
                  <a:pt x="17" y="118"/>
                  <a:pt x="17" y="118"/>
                </a:cubicBezTo>
                <a:cubicBezTo>
                  <a:pt x="15" y="120"/>
                  <a:pt x="14" y="122"/>
                  <a:pt x="14" y="124"/>
                </a:cubicBezTo>
                <a:cubicBezTo>
                  <a:pt x="14" y="126"/>
                  <a:pt x="15" y="128"/>
                  <a:pt x="17" y="130"/>
                </a:cubicBezTo>
                <a:cubicBezTo>
                  <a:pt x="30" y="143"/>
                  <a:pt x="30" y="143"/>
                  <a:pt x="30" y="143"/>
                </a:cubicBezTo>
                <a:cubicBezTo>
                  <a:pt x="33" y="146"/>
                  <a:pt x="39" y="146"/>
                  <a:pt x="42" y="143"/>
                </a:cubicBezTo>
                <a:cubicBezTo>
                  <a:pt x="52" y="133"/>
                  <a:pt x="52" y="133"/>
                  <a:pt x="52" y="133"/>
                </a:cubicBezTo>
                <a:cubicBezTo>
                  <a:pt x="54" y="131"/>
                  <a:pt x="56" y="131"/>
                  <a:pt x="59" y="131"/>
                </a:cubicBezTo>
                <a:cubicBezTo>
                  <a:pt x="61" y="132"/>
                  <a:pt x="62" y="134"/>
                  <a:pt x="62" y="137"/>
                </a:cubicBezTo>
                <a:cubicBezTo>
                  <a:pt x="62" y="152"/>
                  <a:pt x="62" y="152"/>
                  <a:pt x="62" y="152"/>
                </a:cubicBezTo>
                <a:cubicBezTo>
                  <a:pt x="62" y="156"/>
                  <a:pt x="66" y="160"/>
                  <a:pt x="70" y="160"/>
                </a:cubicBezTo>
                <a:cubicBezTo>
                  <a:pt x="90" y="160"/>
                  <a:pt x="90" y="160"/>
                  <a:pt x="90" y="160"/>
                </a:cubicBezTo>
                <a:cubicBezTo>
                  <a:pt x="94" y="160"/>
                  <a:pt x="98" y="156"/>
                  <a:pt x="98" y="152"/>
                </a:cubicBezTo>
                <a:cubicBezTo>
                  <a:pt x="98" y="137"/>
                  <a:pt x="98" y="137"/>
                  <a:pt x="98" y="137"/>
                </a:cubicBezTo>
                <a:cubicBezTo>
                  <a:pt x="98" y="134"/>
                  <a:pt x="99" y="132"/>
                  <a:pt x="101" y="131"/>
                </a:cubicBezTo>
                <a:cubicBezTo>
                  <a:pt x="104" y="131"/>
                  <a:pt x="106" y="131"/>
                  <a:pt x="108" y="133"/>
                </a:cubicBezTo>
                <a:cubicBezTo>
                  <a:pt x="118" y="143"/>
                  <a:pt x="118" y="143"/>
                  <a:pt x="118" y="143"/>
                </a:cubicBezTo>
                <a:cubicBezTo>
                  <a:pt x="121" y="146"/>
                  <a:pt x="127" y="146"/>
                  <a:pt x="130" y="143"/>
                </a:cubicBezTo>
                <a:cubicBezTo>
                  <a:pt x="143" y="130"/>
                  <a:pt x="143" y="130"/>
                  <a:pt x="143" y="130"/>
                </a:cubicBezTo>
                <a:cubicBezTo>
                  <a:pt x="145" y="128"/>
                  <a:pt x="146" y="126"/>
                  <a:pt x="146" y="124"/>
                </a:cubicBezTo>
                <a:cubicBezTo>
                  <a:pt x="146" y="122"/>
                  <a:pt x="145" y="120"/>
                  <a:pt x="143" y="118"/>
                </a:cubicBezTo>
                <a:cubicBezTo>
                  <a:pt x="133" y="108"/>
                  <a:pt x="133" y="108"/>
                  <a:pt x="133" y="108"/>
                </a:cubicBezTo>
                <a:cubicBezTo>
                  <a:pt x="131" y="106"/>
                  <a:pt x="131" y="104"/>
                  <a:pt x="131" y="101"/>
                </a:cubicBezTo>
                <a:cubicBezTo>
                  <a:pt x="132" y="99"/>
                  <a:pt x="134" y="98"/>
                  <a:pt x="137" y="98"/>
                </a:cubicBezTo>
                <a:cubicBezTo>
                  <a:pt x="152" y="98"/>
                  <a:pt x="152" y="98"/>
                  <a:pt x="152" y="98"/>
                </a:cubicBezTo>
                <a:cubicBezTo>
                  <a:pt x="156" y="98"/>
                  <a:pt x="160" y="94"/>
                  <a:pt x="160" y="90"/>
                </a:cubicBezTo>
                <a:cubicBezTo>
                  <a:pt x="160" y="70"/>
                  <a:pt x="160" y="70"/>
                  <a:pt x="160" y="70"/>
                </a:cubicBezTo>
                <a:cubicBezTo>
                  <a:pt x="160" y="66"/>
                  <a:pt x="156" y="62"/>
                  <a:pt x="152" y="62"/>
                </a:cubicBezTo>
                <a:close/>
                <a:moveTo>
                  <a:pt x="154" y="90"/>
                </a:moveTo>
                <a:cubicBezTo>
                  <a:pt x="154" y="91"/>
                  <a:pt x="153" y="92"/>
                  <a:pt x="152" y="92"/>
                </a:cubicBezTo>
                <a:cubicBezTo>
                  <a:pt x="137" y="92"/>
                  <a:pt x="137" y="92"/>
                  <a:pt x="137" y="92"/>
                </a:cubicBezTo>
                <a:cubicBezTo>
                  <a:pt x="132" y="92"/>
                  <a:pt x="128" y="95"/>
                  <a:pt x="126" y="99"/>
                </a:cubicBezTo>
                <a:cubicBezTo>
                  <a:pt x="124" y="104"/>
                  <a:pt x="125" y="108"/>
                  <a:pt x="129" y="112"/>
                </a:cubicBezTo>
                <a:cubicBezTo>
                  <a:pt x="139" y="122"/>
                  <a:pt x="139" y="122"/>
                  <a:pt x="139" y="122"/>
                </a:cubicBezTo>
                <a:cubicBezTo>
                  <a:pt x="140" y="123"/>
                  <a:pt x="140" y="125"/>
                  <a:pt x="139" y="126"/>
                </a:cubicBezTo>
                <a:cubicBezTo>
                  <a:pt x="126" y="139"/>
                  <a:pt x="126" y="139"/>
                  <a:pt x="126" y="139"/>
                </a:cubicBezTo>
                <a:cubicBezTo>
                  <a:pt x="125" y="140"/>
                  <a:pt x="123" y="140"/>
                  <a:pt x="122" y="139"/>
                </a:cubicBezTo>
                <a:cubicBezTo>
                  <a:pt x="112" y="129"/>
                  <a:pt x="112" y="129"/>
                  <a:pt x="112" y="129"/>
                </a:cubicBezTo>
                <a:cubicBezTo>
                  <a:pt x="108" y="125"/>
                  <a:pt x="104" y="124"/>
                  <a:pt x="99" y="126"/>
                </a:cubicBezTo>
                <a:cubicBezTo>
                  <a:pt x="95" y="128"/>
                  <a:pt x="92" y="132"/>
                  <a:pt x="92" y="137"/>
                </a:cubicBezTo>
                <a:cubicBezTo>
                  <a:pt x="92" y="152"/>
                  <a:pt x="92" y="152"/>
                  <a:pt x="92" y="152"/>
                </a:cubicBezTo>
                <a:cubicBezTo>
                  <a:pt x="92" y="153"/>
                  <a:pt x="91" y="154"/>
                  <a:pt x="90" y="154"/>
                </a:cubicBezTo>
                <a:cubicBezTo>
                  <a:pt x="70" y="154"/>
                  <a:pt x="70" y="154"/>
                  <a:pt x="70" y="154"/>
                </a:cubicBezTo>
                <a:cubicBezTo>
                  <a:pt x="69" y="154"/>
                  <a:pt x="68" y="153"/>
                  <a:pt x="68" y="152"/>
                </a:cubicBezTo>
                <a:cubicBezTo>
                  <a:pt x="68" y="137"/>
                  <a:pt x="68" y="137"/>
                  <a:pt x="68" y="137"/>
                </a:cubicBezTo>
                <a:cubicBezTo>
                  <a:pt x="68" y="132"/>
                  <a:pt x="65" y="128"/>
                  <a:pt x="61" y="126"/>
                </a:cubicBezTo>
                <a:cubicBezTo>
                  <a:pt x="59" y="125"/>
                  <a:pt x="58" y="125"/>
                  <a:pt x="56" y="125"/>
                </a:cubicBezTo>
                <a:cubicBezTo>
                  <a:pt x="53" y="125"/>
                  <a:pt x="50" y="126"/>
                  <a:pt x="48" y="129"/>
                </a:cubicBezTo>
                <a:cubicBezTo>
                  <a:pt x="38" y="139"/>
                  <a:pt x="38" y="139"/>
                  <a:pt x="38" y="139"/>
                </a:cubicBezTo>
                <a:cubicBezTo>
                  <a:pt x="37" y="140"/>
                  <a:pt x="35" y="140"/>
                  <a:pt x="34" y="139"/>
                </a:cubicBezTo>
                <a:cubicBezTo>
                  <a:pt x="21" y="126"/>
                  <a:pt x="21" y="126"/>
                  <a:pt x="21" y="126"/>
                </a:cubicBezTo>
                <a:cubicBezTo>
                  <a:pt x="20" y="125"/>
                  <a:pt x="20" y="123"/>
                  <a:pt x="21" y="122"/>
                </a:cubicBezTo>
                <a:cubicBezTo>
                  <a:pt x="31" y="112"/>
                  <a:pt x="31" y="112"/>
                  <a:pt x="31" y="112"/>
                </a:cubicBezTo>
                <a:cubicBezTo>
                  <a:pt x="35" y="108"/>
                  <a:pt x="36" y="104"/>
                  <a:pt x="34" y="99"/>
                </a:cubicBezTo>
                <a:cubicBezTo>
                  <a:pt x="32" y="95"/>
                  <a:pt x="28" y="92"/>
                  <a:pt x="23" y="92"/>
                </a:cubicBezTo>
                <a:cubicBezTo>
                  <a:pt x="8" y="92"/>
                  <a:pt x="8" y="92"/>
                  <a:pt x="8" y="92"/>
                </a:cubicBezTo>
                <a:cubicBezTo>
                  <a:pt x="7" y="92"/>
                  <a:pt x="6" y="91"/>
                  <a:pt x="6" y="90"/>
                </a:cubicBezTo>
                <a:cubicBezTo>
                  <a:pt x="6" y="70"/>
                  <a:pt x="6" y="70"/>
                  <a:pt x="6" y="70"/>
                </a:cubicBezTo>
                <a:cubicBezTo>
                  <a:pt x="6" y="69"/>
                  <a:pt x="7" y="68"/>
                  <a:pt x="8" y="68"/>
                </a:cubicBezTo>
                <a:cubicBezTo>
                  <a:pt x="23" y="68"/>
                  <a:pt x="23" y="68"/>
                  <a:pt x="23" y="68"/>
                </a:cubicBezTo>
                <a:cubicBezTo>
                  <a:pt x="28" y="68"/>
                  <a:pt x="32" y="65"/>
                  <a:pt x="34" y="61"/>
                </a:cubicBezTo>
                <a:cubicBezTo>
                  <a:pt x="36" y="57"/>
                  <a:pt x="35" y="52"/>
                  <a:pt x="31" y="48"/>
                </a:cubicBezTo>
                <a:cubicBezTo>
                  <a:pt x="21" y="38"/>
                  <a:pt x="21" y="38"/>
                  <a:pt x="21" y="38"/>
                </a:cubicBezTo>
                <a:cubicBezTo>
                  <a:pt x="20" y="37"/>
                  <a:pt x="20" y="35"/>
                  <a:pt x="21" y="34"/>
                </a:cubicBezTo>
                <a:cubicBezTo>
                  <a:pt x="34" y="21"/>
                  <a:pt x="34" y="21"/>
                  <a:pt x="34" y="21"/>
                </a:cubicBezTo>
                <a:cubicBezTo>
                  <a:pt x="35" y="20"/>
                  <a:pt x="37" y="20"/>
                  <a:pt x="38" y="21"/>
                </a:cubicBezTo>
                <a:cubicBezTo>
                  <a:pt x="48" y="31"/>
                  <a:pt x="48" y="31"/>
                  <a:pt x="48" y="31"/>
                </a:cubicBezTo>
                <a:cubicBezTo>
                  <a:pt x="52" y="35"/>
                  <a:pt x="56" y="36"/>
                  <a:pt x="61" y="34"/>
                </a:cubicBezTo>
                <a:cubicBezTo>
                  <a:pt x="65" y="32"/>
                  <a:pt x="68" y="28"/>
                  <a:pt x="68" y="23"/>
                </a:cubicBezTo>
                <a:cubicBezTo>
                  <a:pt x="68" y="8"/>
                  <a:pt x="68" y="8"/>
                  <a:pt x="68" y="8"/>
                </a:cubicBezTo>
                <a:cubicBezTo>
                  <a:pt x="68" y="7"/>
                  <a:pt x="69" y="6"/>
                  <a:pt x="70" y="6"/>
                </a:cubicBezTo>
                <a:cubicBezTo>
                  <a:pt x="90" y="6"/>
                  <a:pt x="90" y="6"/>
                  <a:pt x="90" y="6"/>
                </a:cubicBezTo>
                <a:cubicBezTo>
                  <a:pt x="91" y="6"/>
                  <a:pt x="92" y="7"/>
                  <a:pt x="92" y="8"/>
                </a:cubicBezTo>
                <a:cubicBezTo>
                  <a:pt x="92" y="23"/>
                  <a:pt x="92" y="23"/>
                  <a:pt x="92" y="23"/>
                </a:cubicBezTo>
                <a:cubicBezTo>
                  <a:pt x="92" y="28"/>
                  <a:pt x="95" y="32"/>
                  <a:pt x="99" y="34"/>
                </a:cubicBezTo>
                <a:cubicBezTo>
                  <a:pt x="104" y="36"/>
                  <a:pt x="108" y="35"/>
                  <a:pt x="112" y="31"/>
                </a:cubicBezTo>
                <a:cubicBezTo>
                  <a:pt x="122" y="21"/>
                  <a:pt x="122" y="21"/>
                  <a:pt x="122" y="21"/>
                </a:cubicBezTo>
                <a:cubicBezTo>
                  <a:pt x="123" y="20"/>
                  <a:pt x="125" y="20"/>
                  <a:pt x="126" y="21"/>
                </a:cubicBezTo>
                <a:cubicBezTo>
                  <a:pt x="139" y="34"/>
                  <a:pt x="139" y="34"/>
                  <a:pt x="139" y="34"/>
                </a:cubicBezTo>
                <a:cubicBezTo>
                  <a:pt x="140" y="35"/>
                  <a:pt x="140" y="37"/>
                  <a:pt x="139" y="38"/>
                </a:cubicBezTo>
                <a:cubicBezTo>
                  <a:pt x="129" y="48"/>
                  <a:pt x="129" y="48"/>
                  <a:pt x="129" y="48"/>
                </a:cubicBezTo>
                <a:cubicBezTo>
                  <a:pt x="125" y="52"/>
                  <a:pt x="124" y="57"/>
                  <a:pt x="126" y="61"/>
                </a:cubicBezTo>
                <a:cubicBezTo>
                  <a:pt x="128" y="65"/>
                  <a:pt x="132" y="68"/>
                  <a:pt x="137" y="68"/>
                </a:cubicBezTo>
                <a:cubicBezTo>
                  <a:pt x="152" y="68"/>
                  <a:pt x="152" y="68"/>
                  <a:pt x="152" y="68"/>
                </a:cubicBezTo>
                <a:cubicBezTo>
                  <a:pt x="153" y="68"/>
                  <a:pt x="154" y="69"/>
                  <a:pt x="154" y="70"/>
                </a:cubicBezTo>
                <a:lnTo>
                  <a:pt x="154" y="90"/>
                </a:lnTo>
                <a:close/>
                <a:moveTo>
                  <a:pt x="80" y="53"/>
                </a:moveTo>
                <a:cubicBezTo>
                  <a:pt x="65" y="53"/>
                  <a:pt x="53" y="65"/>
                  <a:pt x="53" y="80"/>
                </a:cubicBezTo>
                <a:cubicBezTo>
                  <a:pt x="53" y="95"/>
                  <a:pt x="65" y="107"/>
                  <a:pt x="80" y="107"/>
                </a:cubicBezTo>
                <a:cubicBezTo>
                  <a:pt x="95" y="107"/>
                  <a:pt x="107" y="95"/>
                  <a:pt x="107" y="80"/>
                </a:cubicBezTo>
                <a:cubicBezTo>
                  <a:pt x="107" y="65"/>
                  <a:pt x="95" y="53"/>
                  <a:pt x="80" y="53"/>
                </a:cubicBezTo>
                <a:close/>
                <a:moveTo>
                  <a:pt x="80" y="101"/>
                </a:moveTo>
                <a:cubicBezTo>
                  <a:pt x="69" y="101"/>
                  <a:pt x="59" y="91"/>
                  <a:pt x="59" y="80"/>
                </a:cubicBezTo>
                <a:cubicBezTo>
                  <a:pt x="59" y="69"/>
                  <a:pt x="69" y="59"/>
                  <a:pt x="80" y="59"/>
                </a:cubicBezTo>
                <a:cubicBezTo>
                  <a:pt x="91" y="59"/>
                  <a:pt x="101" y="69"/>
                  <a:pt x="101" y="80"/>
                </a:cubicBezTo>
                <a:cubicBezTo>
                  <a:pt x="101" y="91"/>
                  <a:pt x="91" y="101"/>
                  <a:pt x="80" y="101"/>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1361">
            <a:extLst>
              <a:ext uri="{FF2B5EF4-FFF2-40B4-BE49-F238E27FC236}">
                <a16:creationId xmlns:a16="http://schemas.microsoft.com/office/drawing/2014/main" id="{FA0B5496-31EE-A24C-949D-3EA6A85FDC71}"/>
              </a:ext>
            </a:extLst>
          </p:cNvPr>
          <p:cNvSpPr>
            <a:spLocks noEditPoints="1"/>
          </p:cNvSpPr>
          <p:nvPr/>
        </p:nvSpPr>
        <p:spPr bwMode="auto">
          <a:xfrm>
            <a:off x="7176662" y="4067175"/>
            <a:ext cx="546100" cy="550863"/>
          </a:xfrm>
          <a:custGeom>
            <a:avLst/>
            <a:gdLst>
              <a:gd name="T0" fmla="*/ 80 w 160"/>
              <a:gd name="T1" fmla="*/ 121 h 160"/>
              <a:gd name="T2" fmla="*/ 80 w 160"/>
              <a:gd name="T3" fmla="*/ 116 h 160"/>
              <a:gd name="T4" fmla="*/ 116 w 160"/>
              <a:gd name="T5" fmla="*/ 80 h 160"/>
              <a:gd name="T6" fmla="*/ 146 w 160"/>
              <a:gd name="T7" fmla="*/ 62 h 160"/>
              <a:gd name="T8" fmla="*/ 146 w 160"/>
              <a:gd name="T9" fmla="*/ 36 h 160"/>
              <a:gd name="T10" fmla="*/ 118 w 160"/>
              <a:gd name="T11" fmla="*/ 17 h 160"/>
              <a:gd name="T12" fmla="*/ 98 w 160"/>
              <a:gd name="T13" fmla="*/ 8 h 160"/>
              <a:gd name="T14" fmla="*/ 62 w 160"/>
              <a:gd name="T15" fmla="*/ 8 h 160"/>
              <a:gd name="T16" fmla="*/ 42 w 160"/>
              <a:gd name="T17" fmla="*/ 17 h 160"/>
              <a:gd name="T18" fmla="*/ 14 w 160"/>
              <a:gd name="T19" fmla="*/ 36 h 160"/>
              <a:gd name="T20" fmla="*/ 14 w 160"/>
              <a:gd name="T21" fmla="*/ 62 h 160"/>
              <a:gd name="T22" fmla="*/ 0 w 160"/>
              <a:gd name="T23" fmla="*/ 90 h 160"/>
              <a:gd name="T24" fmla="*/ 21 w 160"/>
              <a:gd name="T25" fmla="*/ 114 h 160"/>
              <a:gd name="T26" fmla="*/ 17 w 160"/>
              <a:gd name="T27" fmla="*/ 130 h 160"/>
              <a:gd name="T28" fmla="*/ 46 w 160"/>
              <a:gd name="T29" fmla="*/ 139 h 160"/>
              <a:gd name="T30" fmla="*/ 70 w 160"/>
              <a:gd name="T31" fmla="*/ 160 h 160"/>
              <a:gd name="T32" fmla="*/ 98 w 160"/>
              <a:gd name="T33" fmla="*/ 146 h 160"/>
              <a:gd name="T34" fmla="*/ 130 w 160"/>
              <a:gd name="T35" fmla="*/ 143 h 160"/>
              <a:gd name="T36" fmla="*/ 143 w 160"/>
              <a:gd name="T37" fmla="*/ 118 h 160"/>
              <a:gd name="T38" fmla="*/ 152 w 160"/>
              <a:gd name="T39" fmla="*/ 98 h 160"/>
              <a:gd name="T40" fmla="*/ 152 w 160"/>
              <a:gd name="T41" fmla="*/ 62 h 160"/>
              <a:gd name="T42" fmla="*/ 141 w 160"/>
              <a:gd name="T43" fmla="*/ 92 h 160"/>
              <a:gd name="T44" fmla="*/ 132 w 160"/>
              <a:gd name="T45" fmla="*/ 115 h 160"/>
              <a:gd name="T46" fmla="*/ 126 w 160"/>
              <a:gd name="T47" fmla="*/ 139 h 160"/>
              <a:gd name="T48" fmla="*/ 113 w 160"/>
              <a:gd name="T49" fmla="*/ 133 h 160"/>
              <a:gd name="T50" fmla="*/ 92 w 160"/>
              <a:gd name="T51" fmla="*/ 152 h 160"/>
              <a:gd name="T52" fmla="*/ 68 w 160"/>
              <a:gd name="T53" fmla="*/ 152 h 160"/>
              <a:gd name="T54" fmla="*/ 47 w 160"/>
              <a:gd name="T55" fmla="*/ 133 h 160"/>
              <a:gd name="T56" fmla="*/ 34 w 160"/>
              <a:gd name="T57" fmla="*/ 139 h 160"/>
              <a:gd name="T58" fmla="*/ 28 w 160"/>
              <a:gd name="T59" fmla="*/ 115 h 160"/>
              <a:gd name="T60" fmla="*/ 19 w 160"/>
              <a:gd name="T61" fmla="*/ 92 h 160"/>
              <a:gd name="T62" fmla="*/ 6 w 160"/>
              <a:gd name="T63" fmla="*/ 70 h 160"/>
              <a:gd name="T64" fmla="*/ 19 w 160"/>
              <a:gd name="T65" fmla="*/ 66 h 160"/>
              <a:gd name="T66" fmla="*/ 21 w 160"/>
              <a:gd name="T67" fmla="*/ 38 h 160"/>
              <a:gd name="T68" fmla="*/ 38 w 160"/>
              <a:gd name="T69" fmla="*/ 21 h 160"/>
              <a:gd name="T70" fmla="*/ 66 w 160"/>
              <a:gd name="T71" fmla="*/ 19 h 160"/>
              <a:gd name="T72" fmla="*/ 70 w 160"/>
              <a:gd name="T73" fmla="*/ 6 h 160"/>
              <a:gd name="T74" fmla="*/ 92 w 160"/>
              <a:gd name="T75" fmla="*/ 19 h 160"/>
              <a:gd name="T76" fmla="*/ 115 w 160"/>
              <a:gd name="T77" fmla="*/ 28 h 160"/>
              <a:gd name="T78" fmla="*/ 139 w 160"/>
              <a:gd name="T79" fmla="*/ 34 h 160"/>
              <a:gd name="T80" fmla="*/ 133 w 160"/>
              <a:gd name="T81" fmla="*/ 47 h 160"/>
              <a:gd name="T82" fmla="*/ 152 w 160"/>
              <a:gd name="T83" fmla="*/ 68 h 160"/>
              <a:gd name="T84" fmla="*/ 80 w 160"/>
              <a:gd name="T85" fmla="*/ 50 h 160"/>
              <a:gd name="T86" fmla="*/ 110 w 160"/>
              <a:gd name="T87" fmla="*/ 80 h 160"/>
              <a:gd name="T88" fmla="*/ 56 w 160"/>
              <a:gd name="T89" fmla="*/ 80 h 160"/>
              <a:gd name="T90" fmla="*/ 80 w 160"/>
              <a:gd name="T91" fmla="*/ 10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0">
                <a:moveTo>
                  <a:pt x="80" y="39"/>
                </a:moveTo>
                <a:cubicBezTo>
                  <a:pt x="57" y="39"/>
                  <a:pt x="39" y="57"/>
                  <a:pt x="39" y="80"/>
                </a:cubicBezTo>
                <a:cubicBezTo>
                  <a:pt x="39" y="103"/>
                  <a:pt x="57" y="121"/>
                  <a:pt x="80" y="121"/>
                </a:cubicBezTo>
                <a:cubicBezTo>
                  <a:pt x="103" y="121"/>
                  <a:pt x="121" y="103"/>
                  <a:pt x="121" y="80"/>
                </a:cubicBezTo>
                <a:cubicBezTo>
                  <a:pt x="121" y="57"/>
                  <a:pt x="103" y="39"/>
                  <a:pt x="80" y="39"/>
                </a:cubicBezTo>
                <a:close/>
                <a:moveTo>
                  <a:pt x="80" y="116"/>
                </a:moveTo>
                <a:cubicBezTo>
                  <a:pt x="60" y="116"/>
                  <a:pt x="44" y="100"/>
                  <a:pt x="44" y="80"/>
                </a:cubicBezTo>
                <a:cubicBezTo>
                  <a:pt x="44" y="60"/>
                  <a:pt x="60" y="44"/>
                  <a:pt x="80" y="44"/>
                </a:cubicBezTo>
                <a:cubicBezTo>
                  <a:pt x="100" y="44"/>
                  <a:pt x="116" y="60"/>
                  <a:pt x="116" y="80"/>
                </a:cubicBezTo>
                <a:cubicBezTo>
                  <a:pt x="116" y="100"/>
                  <a:pt x="100" y="116"/>
                  <a:pt x="80" y="116"/>
                </a:cubicBezTo>
                <a:close/>
                <a:moveTo>
                  <a:pt x="152" y="62"/>
                </a:moveTo>
                <a:cubicBezTo>
                  <a:pt x="146" y="62"/>
                  <a:pt x="146" y="62"/>
                  <a:pt x="146" y="62"/>
                </a:cubicBezTo>
                <a:cubicBezTo>
                  <a:pt x="144" y="57"/>
                  <a:pt x="142" y="51"/>
                  <a:pt x="139" y="46"/>
                </a:cubicBezTo>
                <a:cubicBezTo>
                  <a:pt x="143" y="42"/>
                  <a:pt x="143" y="42"/>
                  <a:pt x="143" y="42"/>
                </a:cubicBezTo>
                <a:cubicBezTo>
                  <a:pt x="145" y="40"/>
                  <a:pt x="146" y="38"/>
                  <a:pt x="146" y="36"/>
                </a:cubicBezTo>
                <a:cubicBezTo>
                  <a:pt x="146" y="34"/>
                  <a:pt x="145" y="32"/>
                  <a:pt x="143" y="30"/>
                </a:cubicBezTo>
                <a:cubicBezTo>
                  <a:pt x="130" y="17"/>
                  <a:pt x="130" y="17"/>
                  <a:pt x="130" y="17"/>
                </a:cubicBezTo>
                <a:cubicBezTo>
                  <a:pt x="127" y="14"/>
                  <a:pt x="121" y="14"/>
                  <a:pt x="118" y="17"/>
                </a:cubicBezTo>
                <a:cubicBezTo>
                  <a:pt x="114" y="21"/>
                  <a:pt x="114" y="21"/>
                  <a:pt x="114" y="21"/>
                </a:cubicBezTo>
                <a:cubicBezTo>
                  <a:pt x="109" y="18"/>
                  <a:pt x="103" y="16"/>
                  <a:pt x="98" y="14"/>
                </a:cubicBezTo>
                <a:cubicBezTo>
                  <a:pt x="98" y="8"/>
                  <a:pt x="98" y="8"/>
                  <a:pt x="98" y="8"/>
                </a:cubicBezTo>
                <a:cubicBezTo>
                  <a:pt x="98" y="4"/>
                  <a:pt x="94" y="0"/>
                  <a:pt x="90" y="0"/>
                </a:cubicBezTo>
                <a:cubicBezTo>
                  <a:pt x="70" y="0"/>
                  <a:pt x="70" y="0"/>
                  <a:pt x="70" y="0"/>
                </a:cubicBezTo>
                <a:cubicBezTo>
                  <a:pt x="66" y="0"/>
                  <a:pt x="62" y="4"/>
                  <a:pt x="62" y="8"/>
                </a:cubicBezTo>
                <a:cubicBezTo>
                  <a:pt x="62" y="14"/>
                  <a:pt x="62" y="14"/>
                  <a:pt x="62" y="14"/>
                </a:cubicBezTo>
                <a:cubicBezTo>
                  <a:pt x="57" y="16"/>
                  <a:pt x="51" y="18"/>
                  <a:pt x="46" y="21"/>
                </a:cubicBezTo>
                <a:cubicBezTo>
                  <a:pt x="42" y="17"/>
                  <a:pt x="42" y="17"/>
                  <a:pt x="42" y="17"/>
                </a:cubicBezTo>
                <a:cubicBezTo>
                  <a:pt x="39" y="14"/>
                  <a:pt x="33" y="14"/>
                  <a:pt x="30" y="17"/>
                </a:cubicBezTo>
                <a:cubicBezTo>
                  <a:pt x="17" y="30"/>
                  <a:pt x="17" y="30"/>
                  <a:pt x="17" y="30"/>
                </a:cubicBezTo>
                <a:cubicBezTo>
                  <a:pt x="15" y="32"/>
                  <a:pt x="14" y="34"/>
                  <a:pt x="14" y="36"/>
                </a:cubicBezTo>
                <a:cubicBezTo>
                  <a:pt x="14" y="38"/>
                  <a:pt x="15" y="40"/>
                  <a:pt x="17" y="42"/>
                </a:cubicBezTo>
                <a:cubicBezTo>
                  <a:pt x="21" y="46"/>
                  <a:pt x="21" y="46"/>
                  <a:pt x="21" y="46"/>
                </a:cubicBezTo>
                <a:cubicBezTo>
                  <a:pt x="18" y="51"/>
                  <a:pt x="16" y="57"/>
                  <a:pt x="14" y="62"/>
                </a:cubicBezTo>
                <a:cubicBezTo>
                  <a:pt x="8" y="62"/>
                  <a:pt x="8" y="62"/>
                  <a:pt x="8" y="62"/>
                </a:cubicBezTo>
                <a:cubicBezTo>
                  <a:pt x="4" y="62"/>
                  <a:pt x="0" y="66"/>
                  <a:pt x="0" y="70"/>
                </a:cubicBezTo>
                <a:cubicBezTo>
                  <a:pt x="0" y="90"/>
                  <a:pt x="0" y="90"/>
                  <a:pt x="0" y="90"/>
                </a:cubicBezTo>
                <a:cubicBezTo>
                  <a:pt x="0" y="94"/>
                  <a:pt x="4" y="98"/>
                  <a:pt x="8" y="98"/>
                </a:cubicBezTo>
                <a:cubicBezTo>
                  <a:pt x="14" y="98"/>
                  <a:pt x="14" y="98"/>
                  <a:pt x="14" y="98"/>
                </a:cubicBezTo>
                <a:cubicBezTo>
                  <a:pt x="16" y="103"/>
                  <a:pt x="18" y="109"/>
                  <a:pt x="21" y="114"/>
                </a:cubicBezTo>
                <a:cubicBezTo>
                  <a:pt x="17" y="118"/>
                  <a:pt x="17" y="118"/>
                  <a:pt x="17" y="118"/>
                </a:cubicBezTo>
                <a:cubicBezTo>
                  <a:pt x="15" y="120"/>
                  <a:pt x="14" y="122"/>
                  <a:pt x="14" y="124"/>
                </a:cubicBezTo>
                <a:cubicBezTo>
                  <a:pt x="14" y="126"/>
                  <a:pt x="15" y="128"/>
                  <a:pt x="17" y="130"/>
                </a:cubicBezTo>
                <a:cubicBezTo>
                  <a:pt x="30" y="143"/>
                  <a:pt x="30" y="143"/>
                  <a:pt x="30" y="143"/>
                </a:cubicBezTo>
                <a:cubicBezTo>
                  <a:pt x="33" y="146"/>
                  <a:pt x="39" y="146"/>
                  <a:pt x="42" y="143"/>
                </a:cubicBezTo>
                <a:cubicBezTo>
                  <a:pt x="46" y="139"/>
                  <a:pt x="46" y="139"/>
                  <a:pt x="46" y="139"/>
                </a:cubicBezTo>
                <a:cubicBezTo>
                  <a:pt x="51" y="142"/>
                  <a:pt x="57" y="144"/>
                  <a:pt x="62" y="146"/>
                </a:cubicBezTo>
                <a:cubicBezTo>
                  <a:pt x="62" y="152"/>
                  <a:pt x="62" y="152"/>
                  <a:pt x="62" y="152"/>
                </a:cubicBezTo>
                <a:cubicBezTo>
                  <a:pt x="62" y="156"/>
                  <a:pt x="66" y="160"/>
                  <a:pt x="70" y="160"/>
                </a:cubicBezTo>
                <a:cubicBezTo>
                  <a:pt x="90" y="160"/>
                  <a:pt x="90" y="160"/>
                  <a:pt x="90" y="160"/>
                </a:cubicBezTo>
                <a:cubicBezTo>
                  <a:pt x="94" y="160"/>
                  <a:pt x="98" y="156"/>
                  <a:pt x="98" y="152"/>
                </a:cubicBezTo>
                <a:cubicBezTo>
                  <a:pt x="98" y="146"/>
                  <a:pt x="98" y="146"/>
                  <a:pt x="98" y="146"/>
                </a:cubicBezTo>
                <a:cubicBezTo>
                  <a:pt x="103" y="144"/>
                  <a:pt x="109" y="142"/>
                  <a:pt x="114" y="139"/>
                </a:cubicBezTo>
                <a:cubicBezTo>
                  <a:pt x="118" y="143"/>
                  <a:pt x="118" y="143"/>
                  <a:pt x="118" y="143"/>
                </a:cubicBezTo>
                <a:cubicBezTo>
                  <a:pt x="121" y="146"/>
                  <a:pt x="127" y="146"/>
                  <a:pt x="130" y="143"/>
                </a:cubicBezTo>
                <a:cubicBezTo>
                  <a:pt x="143" y="130"/>
                  <a:pt x="143" y="130"/>
                  <a:pt x="143" y="130"/>
                </a:cubicBezTo>
                <a:cubicBezTo>
                  <a:pt x="145" y="128"/>
                  <a:pt x="146" y="126"/>
                  <a:pt x="146" y="124"/>
                </a:cubicBezTo>
                <a:cubicBezTo>
                  <a:pt x="146" y="122"/>
                  <a:pt x="145" y="120"/>
                  <a:pt x="143" y="118"/>
                </a:cubicBezTo>
                <a:cubicBezTo>
                  <a:pt x="139" y="114"/>
                  <a:pt x="139" y="114"/>
                  <a:pt x="139" y="114"/>
                </a:cubicBezTo>
                <a:cubicBezTo>
                  <a:pt x="142" y="109"/>
                  <a:pt x="144" y="103"/>
                  <a:pt x="146" y="98"/>
                </a:cubicBezTo>
                <a:cubicBezTo>
                  <a:pt x="152" y="98"/>
                  <a:pt x="152" y="98"/>
                  <a:pt x="152" y="98"/>
                </a:cubicBezTo>
                <a:cubicBezTo>
                  <a:pt x="156" y="98"/>
                  <a:pt x="160" y="94"/>
                  <a:pt x="160" y="90"/>
                </a:cubicBezTo>
                <a:cubicBezTo>
                  <a:pt x="160" y="70"/>
                  <a:pt x="160" y="70"/>
                  <a:pt x="160" y="70"/>
                </a:cubicBezTo>
                <a:cubicBezTo>
                  <a:pt x="160" y="66"/>
                  <a:pt x="156" y="62"/>
                  <a:pt x="152" y="62"/>
                </a:cubicBezTo>
                <a:close/>
                <a:moveTo>
                  <a:pt x="154" y="90"/>
                </a:moveTo>
                <a:cubicBezTo>
                  <a:pt x="154" y="91"/>
                  <a:pt x="153" y="92"/>
                  <a:pt x="152" y="92"/>
                </a:cubicBezTo>
                <a:cubicBezTo>
                  <a:pt x="141" y="92"/>
                  <a:pt x="141" y="92"/>
                  <a:pt x="141" y="92"/>
                </a:cubicBezTo>
                <a:cubicBezTo>
                  <a:pt x="141" y="94"/>
                  <a:pt x="141" y="94"/>
                  <a:pt x="141" y="94"/>
                </a:cubicBezTo>
                <a:cubicBezTo>
                  <a:pt x="139" y="101"/>
                  <a:pt x="136" y="107"/>
                  <a:pt x="133" y="113"/>
                </a:cubicBezTo>
                <a:cubicBezTo>
                  <a:pt x="132" y="115"/>
                  <a:pt x="132" y="115"/>
                  <a:pt x="132" y="115"/>
                </a:cubicBezTo>
                <a:cubicBezTo>
                  <a:pt x="139" y="122"/>
                  <a:pt x="139" y="122"/>
                  <a:pt x="139" y="122"/>
                </a:cubicBezTo>
                <a:cubicBezTo>
                  <a:pt x="140" y="123"/>
                  <a:pt x="140" y="125"/>
                  <a:pt x="139" y="126"/>
                </a:cubicBezTo>
                <a:cubicBezTo>
                  <a:pt x="126" y="139"/>
                  <a:pt x="126" y="139"/>
                  <a:pt x="126" y="139"/>
                </a:cubicBezTo>
                <a:cubicBezTo>
                  <a:pt x="125" y="140"/>
                  <a:pt x="123" y="140"/>
                  <a:pt x="122" y="139"/>
                </a:cubicBezTo>
                <a:cubicBezTo>
                  <a:pt x="115" y="132"/>
                  <a:pt x="115" y="132"/>
                  <a:pt x="115" y="132"/>
                </a:cubicBezTo>
                <a:cubicBezTo>
                  <a:pt x="113" y="133"/>
                  <a:pt x="113" y="133"/>
                  <a:pt x="113" y="133"/>
                </a:cubicBezTo>
                <a:cubicBezTo>
                  <a:pt x="107" y="136"/>
                  <a:pt x="101" y="139"/>
                  <a:pt x="94" y="141"/>
                </a:cubicBezTo>
                <a:cubicBezTo>
                  <a:pt x="92" y="141"/>
                  <a:pt x="92" y="141"/>
                  <a:pt x="92" y="141"/>
                </a:cubicBezTo>
                <a:cubicBezTo>
                  <a:pt x="92" y="152"/>
                  <a:pt x="92" y="152"/>
                  <a:pt x="92" y="152"/>
                </a:cubicBezTo>
                <a:cubicBezTo>
                  <a:pt x="92" y="153"/>
                  <a:pt x="91" y="154"/>
                  <a:pt x="90" y="154"/>
                </a:cubicBezTo>
                <a:cubicBezTo>
                  <a:pt x="70" y="154"/>
                  <a:pt x="70" y="154"/>
                  <a:pt x="70" y="154"/>
                </a:cubicBezTo>
                <a:cubicBezTo>
                  <a:pt x="69" y="154"/>
                  <a:pt x="68" y="153"/>
                  <a:pt x="68" y="152"/>
                </a:cubicBezTo>
                <a:cubicBezTo>
                  <a:pt x="68" y="141"/>
                  <a:pt x="68" y="141"/>
                  <a:pt x="68" y="141"/>
                </a:cubicBezTo>
                <a:cubicBezTo>
                  <a:pt x="66" y="141"/>
                  <a:pt x="66" y="141"/>
                  <a:pt x="66" y="141"/>
                </a:cubicBezTo>
                <a:cubicBezTo>
                  <a:pt x="59" y="139"/>
                  <a:pt x="53" y="136"/>
                  <a:pt x="47" y="133"/>
                </a:cubicBezTo>
                <a:cubicBezTo>
                  <a:pt x="45" y="132"/>
                  <a:pt x="45" y="132"/>
                  <a:pt x="45" y="132"/>
                </a:cubicBezTo>
                <a:cubicBezTo>
                  <a:pt x="38" y="139"/>
                  <a:pt x="38" y="139"/>
                  <a:pt x="38" y="139"/>
                </a:cubicBezTo>
                <a:cubicBezTo>
                  <a:pt x="37" y="140"/>
                  <a:pt x="35" y="140"/>
                  <a:pt x="34" y="139"/>
                </a:cubicBezTo>
                <a:cubicBezTo>
                  <a:pt x="21" y="126"/>
                  <a:pt x="21" y="126"/>
                  <a:pt x="21" y="126"/>
                </a:cubicBezTo>
                <a:cubicBezTo>
                  <a:pt x="20" y="125"/>
                  <a:pt x="20" y="123"/>
                  <a:pt x="21" y="122"/>
                </a:cubicBezTo>
                <a:cubicBezTo>
                  <a:pt x="28" y="115"/>
                  <a:pt x="28" y="115"/>
                  <a:pt x="28" y="115"/>
                </a:cubicBezTo>
                <a:cubicBezTo>
                  <a:pt x="27" y="113"/>
                  <a:pt x="27" y="113"/>
                  <a:pt x="27" y="113"/>
                </a:cubicBezTo>
                <a:cubicBezTo>
                  <a:pt x="24" y="107"/>
                  <a:pt x="21" y="101"/>
                  <a:pt x="19" y="94"/>
                </a:cubicBezTo>
                <a:cubicBezTo>
                  <a:pt x="19" y="92"/>
                  <a:pt x="19" y="92"/>
                  <a:pt x="19" y="92"/>
                </a:cubicBezTo>
                <a:cubicBezTo>
                  <a:pt x="8" y="92"/>
                  <a:pt x="8" y="92"/>
                  <a:pt x="8" y="92"/>
                </a:cubicBezTo>
                <a:cubicBezTo>
                  <a:pt x="7" y="92"/>
                  <a:pt x="6" y="91"/>
                  <a:pt x="6" y="90"/>
                </a:cubicBezTo>
                <a:cubicBezTo>
                  <a:pt x="6" y="70"/>
                  <a:pt x="6" y="70"/>
                  <a:pt x="6" y="70"/>
                </a:cubicBezTo>
                <a:cubicBezTo>
                  <a:pt x="6" y="69"/>
                  <a:pt x="7" y="68"/>
                  <a:pt x="8" y="68"/>
                </a:cubicBezTo>
                <a:cubicBezTo>
                  <a:pt x="19" y="68"/>
                  <a:pt x="19" y="68"/>
                  <a:pt x="19" y="68"/>
                </a:cubicBezTo>
                <a:cubicBezTo>
                  <a:pt x="19" y="66"/>
                  <a:pt x="19" y="66"/>
                  <a:pt x="19" y="66"/>
                </a:cubicBezTo>
                <a:cubicBezTo>
                  <a:pt x="21" y="59"/>
                  <a:pt x="24" y="53"/>
                  <a:pt x="27" y="47"/>
                </a:cubicBezTo>
                <a:cubicBezTo>
                  <a:pt x="28" y="45"/>
                  <a:pt x="28" y="45"/>
                  <a:pt x="28" y="45"/>
                </a:cubicBezTo>
                <a:cubicBezTo>
                  <a:pt x="21" y="38"/>
                  <a:pt x="21" y="38"/>
                  <a:pt x="21" y="38"/>
                </a:cubicBezTo>
                <a:cubicBezTo>
                  <a:pt x="20" y="37"/>
                  <a:pt x="20" y="35"/>
                  <a:pt x="21" y="34"/>
                </a:cubicBezTo>
                <a:cubicBezTo>
                  <a:pt x="34" y="21"/>
                  <a:pt x="34" y="21"/>
                  <a:pt x="34" y="21"/>
                </a:cubicBezTo>
                <a:cubicBezTo>
                  <a:pt x="35" y="20"/>
                  <a:pt x="37" y="20"/>
                  <a:pt x="38" y="21"/>
                </a:cubicBezTo>
                <a:cubicBezTo>
                  <a:pt x="45" y="28"/>
                  <a:pt x="45" y="28"/>
                  <a:pt x="45" y="28"/>
                </a:cubicBezTo>
                <a:cubicBezTo>
                  <a:pt x="47" y="27"/>
                  <a:pt x="47" y="27"/>
                  <a:pt x="47" y="27"/>
                </a:cubicBezTo>
                <a:cubicBezTo>
                  <a:pt x="53" y="24"/>
                  <a:pt x="59" y="21"/>
                  <a:pt x="66" y="19"/>
                </a:cubicBezTo>
                <a:cubicBezTo>
                  <a:pt x="68" y="19"/>
                  <a:pt x="68" y="19"/>
                  <a:pt x="68" y="19"/>
                </a:cubicBezTo>
                <a:cubicBezTo>
                  <a:pt x="68" y="8"/>
                  <a:pt x="68" y="8"/>
                  <a:pt x="68" y="8"/>
                </a:cubicBezTo>
                <a:cubicBezTo>
                  <a:pt x="68" y="7"/>
                  <a:pt x="69" y="6"/>
                  <a:pt x="70" y="6"/>
                </a:cubicBezTo>
                <a:cubicBezTo>
                  <a:pt x="90" y="6"/>
                  <a:pt x="90" y="6"/>
                  <a:pt x="90" y="6"/>
                </a:cubicBezTo>
                <a:cubicBezTo>
                  <a:pt x="91" y="6"/>
                  <a:pt x="92" y="7"/>
                  <a:pt x="92" y="8"/>
                </a:cubicBezTo>
                <a:cubicBezTo>
                  <a:pt x="92" y="19"/>
                  <a:pt x="92" y="19"/>
                  <a:pt x="92" y="19"/>
                </a:cubicBezTo>
                <a:cubicBezTo>
                  <a:pt x="94" y="19"/>
                  <a:pt x="94" y="19"/>
                  <a:pt x="94" y="19"/>
                </a:cubicBezTo>
                <a:cubicBezTo>
                  <a:pt x="101" y="21"/>
                  <a:pt x="107" y="24"/>
                  <a:pt x="113" y="27"/>
                </a:cubicBezTo>
                <a:cubicBezTo>
                  <a:pt x="115" y="28"/>
                  <a:pt x="115" y="28"/>
                  <a:pt x="115" y="28"/>
                </a:cubicBezTo>
                <a:cubicBezTo>
                  <a:pt x="122" y="21"/>
                  <a:pt x="122" y="21"/>
                  <a:pt x="122" y="21"/>
                </a:cubicBezTo>
                <a:cubicBezTo>
                  <a:pt x="123" y="20"/>
                  <a:pt x="125" y="20"/>
                  <a:pt x="126" y="21"/>
                </a:cubicBezTo>
                <a:cubicBezTo>
                  <a:pt x="139" y="34"/>
                  <a:pt x="139" y="34"/>
                  <a:pt x="139" y="34"/>
                </a:cubicBezTo>
                <a:cubicBezTo>
                  <a:pt x="140" y="35"/>
                  <a:pt x="140" y="37"/>
                  <a:pt x="139" y="38"/>
                </a:cubicBezTo>
                <a:cubicBezTo>
                  <a:pt x="132" y="45"/>
                  <a:pt x="132" y="45"/>
                  <a:pt x="132" y="45"/>
                </a:cubicBezTo>
                <a:cubicBezTo>
                  <a:pt x="133" y="47"/>
                  <a:pt x="133" y="47"/>
                  <a:pt x="133" y="47"/>
                </a:cubicBezTo>
                <a:cubicBezTo>
                  <a:pt x="136" y="53"/>
                  <a:pt x="139" y="59"/>
                  <a:pt x="141" y="66"/>
                </a:cubicBezTo>
                <a:cubicBezTo>
                  <a:pt x="141" y="68"/>
                  <a:pt x="141" y="68"/>
                  <a:pt x="141" y="68"/>
                </a:cubicBezTo>
                <a:cubicBezTo>
                  <a:pt x="152" y="68"/>
                  <a:pt x="152" y="68"/>
                  <a:pt x="152" y="68"/>
                </a:cubicBezTo>
                <a:cubicBezTo>
                  <a:pt x="153" y="68"/>
                  <a:pt x="154" y="69"/>
                  <a:pt x="154" y="70"/>
                </a:cubicBezTo>
                <a:lnTo>
                  <a:pt x="154" y="90"/>
                </a:lnTo>
                <a:close/>
                <a:moveTo>
                  <a:pt x="80" y="50"/>
                </a:moveTo>
                <a:cubicBezTo>
                  <a:pt x="64" y="50"/>
                  <a:pt x="50" y="64"/>
                  <a:pt x="50" y="80"/>
                </a:cubicBezTo>
                <a:cubicBezTo>
                  <a:pt x="50" y="96"/>
                  <a:pt x="64" y="110"/>
                  <a:pt x="80" y="110"/>
                </a:cubicBezTo>
                <a:cubicBezTo>
                  <a:pt x="96" y="110"/>
                  <a:pt x="110" y="96"/>
                  <a:pt x="110" y="80"/>
                </a:cubicBezTo>
                <a:cubicBezTo>
                  <a:pt x="110" y="64"/>
                  <a:pt x="96" y="50"/>
                  <a:pt x="80" y="50"/>
                </a:cubicBezTo>
                <a:close/>
                <a:moveTo>
                  <a:pt x="80" y="104"/>
                </a:moveTo>
                <a:cubicBezTo>
                  <a:pt x="67" y="104"/>
                  <a:pt x="56" y="93"/>
                  <a:pt x="56" y="80"/>
                </a:cubicBezTo>
                <a:cubicBezTo>
                  <a:pt x="56" y="67"/>
                  <a:pt x="67" y="56"/>
                  <a:pt x="80" y="56"/>
                </a:cubicBezTo>
                <a:cubicBezTo>
                  <a:pt x="93" y="56"/>
                  <a:pt x="104" y="67"/>
                  <a:pt x="104" y="80"/>
                </a:cubicBezTo>
                <a:cubicBezTo>
                  <a:pt x="104" y="93"/>
                  <a:pt x="93" y="104"/>
                  <a:pt x="80" y="104"/>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1362">
            <a:extLst>
              <a:ext uri="{FF2B5EF4-FFF2-40B4-BE49-F238E27FC236}">
                <a16:creationId xmlns:a16="http://schemas.microsoft.com/office/drawing/2014/main" id="{85DB97C8-5DD5-F449-B145-3EA4E768047A}"/>
              </a:ext>
            </a:extLst>
          </p:cNvPr>
          <p:cNvSpPr>
            <a:spLocks noEditPoints="1"/>
          </p:cNvSpPr>
          <p:nvPr/>
        </p:nvSpPr>
        <p:spPr bwMode="auto">
          <a:xfrm>
            <a:off x="7176662" y="4700588"/>
            <a:ext cx="546100" cy="550863"/>
          </a:xfrm>
          <a:custGeom>
            <a:avLst/>
            <a:gdLst>
              <a:gd name="T0" fmla="*/ 80 w 160"/>
              <a:gd name="T1" fmla="*/ 66 h 160"/>
              <a:gd name="T2" fmla="*/ 66 w 160"/>
              <a:gd name="T3" fmla="*/ 80 h 160"/>
              <a:gd name="T4" fmla="*/ 80 w 160"/>
              <a:gd name="T5" fmla="*/ 94 h 160"/>
              <a:gd name="T6" fmla="*/ 94 w 160"/>
              <a:gd name="T7" fmla="*/ 80 h 160"/>
              <a:gd name="T8" fmla="*/ 80 w 160"/>
              <a:gd name="T9" fmla="*/ 66 h 160"/>
              <a:gd name="T10" fmla="*/ 80 w 160"/>
              <a:gd name="T11" fmla="*/ 89 h 160"/>
              <a:gd name="T12" fmla="*/ 71 w 160"/>
              <a:gd name="T13" fmla="*/ 80 h 160"/>
              <a:gd name="T14" fmla="*/ 80 w 160"/>
              <a:gd name="T15" fmla="*/ 71 h 160"/>
              <a:gd name="T16" fmla="*/ 89 w 160"/>
              <a:gd name="T17" fmla="*/ 80 h 160"/>
              <a:gd name="T18" fmla="*/ 80 w 160"/>
              <a:gd name="T19" fmla="*/ 89 h 160"/>
              <a:gd name="T20" fmla="*/ 157 w 160"/>
              <a:gd name="T21" fmla="*/ 77 h 160"/>
              <a:gd name="T22" fmla="*/ 149 w 160"/>
              <a:gd name="T23" fmla="*/ 77 h 160"/>
              <a:gd name="T24" fmla="*/ 130 w 160"/>
              <a:gd name="T25" fmla="*/ 34 h 160"/>
              <a:gd name="T26" fmla="*/ 137 w 160"/>
              <a:gd name="T27" fmla="*/ 27 h 160"/>
              <a:gd name="T28" fmla="*/ 137 w 160"/>
              <a:gd name="T29" fmla="*/ 23 h 160"/>
              <a:gd name="T30" fmla="*/ 133 w 160"/>
              <a:gd name="T31" fmla="*/ 23 h 160"/>
              <a:gd name="T32" fmla="*/ 126 w 160"/>
              <a:gd name="T33" fmla="*/ 30 h 160"/>
              <a:gd name="T34" fmla="*/ 83 w 160"/>
              <a:gd name="T35" fmla="*/ 12 h 160"/>
              <a:gd name="T36" fmla="*/ 83 w 160"/>
              <a:gd name="T37" fmla="*/ 3 h 160"/>
              <a:gd name="T38" fmla="*/ 80 w 160"/>
              <a:gd name="T39" fmla="*/ 0 h 160"/>
              <a:gd name="T40" fmla="*/ 77 w 160"/>
              <a:gd name="T41" fmla="*/ 3 h 160"/>
              <a:gd name="T42" fmla="*/ 77 w 160"/>
              <a:gd name="T43" fmla="*/ 12 h 160"/>
              <a:gd name="T44" fmla="*/ 34 w 160"/>
              <a:gd name="T45" fmla="*/ 30 h 160"/>
              <a:gd name="T46" fmla="*/ 27 w 160"/>
              <a:gd name="T47" fmla="*/ 23 h 160"/>
              <a:gd name="T48" fmla="*/ 23 w 160"/>
              <a:gd name="T49" fmla="*/ 23 h 160"/>
              <a:gd name="T50" fmla="*/ 23 w 160"/>
              <a:gd name="T51" fmla="*/ 27 h 160"/>
              <a:gd name="T52" fmla="*/ 30 w 160"/>
              <a:gd name="T53" fmla="*/ 34 h 160"/>
              <a:gd name="T54" fmla="*/ 12 w 160"/>
              <a:gd name="T55" fmla="*/ 77 h 160"/>
              <a:gd name="T56" fmla="*/ 3 w 160"/>
              <a:gd name="T57" fmla="*/ 77 h 160"/>
              <a:gd name="T58" fmla="*/ 0 w 160"/>
              <a:gd name="T59" fmla="*/ 80 h 160"/>
              <a:gd name="T60" fmla="*/ 3 w 160"/>
              <a:gd name="T61" fmla="*/ 83 h 160"/>
              <a:gd name="T62" fmla="*/ 12 w 160"/>
              <a:gd name="T63" fmla="*/ 83 h 160"/>
              <a:gd name="T64" fmla="*/ 30 w 160"/>
              <a:gd name="T65" fmla="*/ 126 h 160"/>
              <a:gd name="T66" fmla="*/ 23 w 160"/>
              <a:gd name="T67" fmla="*/ 133 h 160"/>
              <a:gd name="T68" fmla="*/ 23 w 160"/>
              <a:gd name="T69" fmla="*/ 137 h 160"/>
              <a:gd name="T70" fmla="*/ 25 w 160"/>
              <a:gd name="T71" fmla="*/ 137 h 160"/>
              <a:gd name="T72" fmla="*/ 27 w 160"/>
              <a:gd name="T73" fmla="*/ 137 h 160"/>
              <a:gd name="T74" fmla="*/ 34 w 160"/>
              <a:gd name="T75" fmla="*/ 130 h 160"/>
              <a:gd name="T76" fmla="*/ 77 w 160"/>
              <a:gd name="T77" fmla="*/ 149 h 160"/>
              <a:gd name="T78" fmla="*/ 77 w 160"/>
              <a:gd name="T79" fmla="*/ 157 h 160"/>
              <a:gd name="T80" fmla="*/ 80 w 160"/>
              <a:gd name="T81" fmla="*/ 160 h 160"/>
              <a:gd name="T82" fmla="*/ 83 w 160"/>
              <a:gd name="T83" fmla="*/ 157 h 160"/>
              <a:gd name="T84" fmla="*/ 83 w 160"/>
              <a:gd name="T85" fmla="*/ 149 h 160"/>
              <a:gd name="T86" fmla="*/ 126 w 160"/>
              <a:gd name="T87" fmla="*/ 130 h 160"/>
              <a:gd name="T88" fmla="*/ 133 w 160"/>
              <a:gd name="T89" fmla="*/ 137 h 160"/>
              <a:gd name="T90" fmla="*/ 135 w 160"/>
              <a:gd name="T91" fmla="*/ 137 h 160"/>
              <a:gd name="T92" fmla="*/ 137 w 160"/>
              <a:gd name="T93" fmla="*/ 137 h 160"/>
              <a:gd name="T94" fmla="*/ 137 w 160"/>
              <a:gd name="T95" fmla="*/ 133 h 160"/>
              <a:gd name="T96" fmla="*/ 130 w 160"/>
              <a:gd name="T97" fmla="*/ 126 h 160"/>
              <a:gd name="T98" fmla="*/ 149 w 160"/>
              <a:gd name="T99" fmla="*/ 83 h 160"/>
              <a:gd name="T100" fmla="*/ 157 w 160"/>
              <a:gd name="T101" fmla="*/ 83 h 160"/>
              <a:gd name="T102" fmla="*/ 160 w 160"/>
              <a:gd name="T103" fmla="*/ 80 h 160"/>
              <a:gd name="T104" fmla="*/ 157 w 160"/>
              <a:gd name="T105" fmla="*/ 77 h 160"/>
              <a:gd name="T106" fmla="*/ 80 w 160"/>
              <a:gd name="T107" fmla="*/ 143 h 160"/>
              <a:gd name="T108" fmla="*/ 17 w 160"/>
              <a:gd name="T109" fmla="*/ 80 h 160"/>
              <a:gd name="T110" fmla="*/ 80 w 160"/>
              <a:gd name="T111" fmla="*/ 17 h 160"/>
              <a:gd name="T112" fmla="*/ 143 w 160"/>
              <a:gd name="T113" fmla="*/ 80 h 160"/>
              <a:gd name="T114" fmla="*/ 80 w 160"/>
              <a:gd name="T115" fmla="*/ 1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60">
                <a:moveTo>
                  <a:pt x="80" y="66"/>
                </a:moveTo>
                <a:cubicBezTo>
                  <a:pt x="72" y="66"/>
                  <a:pt x="66" y="72"/>
                  <a:pt x="66" y="80"/>
                </a:cubicBezTo>
                <a:cubicBezTo>
                  <a:pt x="66" y="88"/>
                  <a:pt x="72" y="94"/>
                  <a:pt x="80" y="94"/>
                </a:cubicBezTo>
                <a:cubicBezTo>
                  <a:pt x="88" y="94"/>
                  <a:pt x="94" y="88"/>
                  <a:pt x="94" y="80"/>
                </a:cubicBezTo>
                <a:cubicBezTo>
                  <a:pt x="94" y="72"/>
                  <a:pt x="88" y="66"/>
                  <a:pt x="80" y="66"/>
                </a:cubicBezTo>
                <a:close/>
                <a:moveTo>
                  <a:pt x="80" y="89"/>
                </a:moveTo>
                <a:cubicBezTo>
                  <a:pt x="75" y="89"/>
                  <a:pt x="71" y="85"/>
                  <a:pt x="71" y="80"/>
                </a:cubicBezTo>
                <a:cubicBezTo>
                  <a:pt x="71" y="75"/>
                  <a:pt x="75" y="71"/>
                  <a:pt x="80" y="71"/>
                </a:cubicBezTo>
                <a:cubicBezTo>
                  <a:pt x="85" y="71"/>
                  <a:pt x="89" y="75"/>
                  <a:pt x="89" y="80"/>
                </a:cubicBezTo>
                <a:cubicBezTo>
                  <a:pt x="89" y="85"/>
                  <a:pt x="85" y="89"/>
                  <a:pt x="80" y="89"/>
                </a:cubicBezTo>
                <a:close/>
                <a:moveTo>
                  <a:pt x="157" y="77"/>
                </a:moveTo>
                <a:cubicBezTo>
                  <a:pt x="149" y="77"/>
                  <a:pt x="149" y="77"/>
                  <a:pt x="149" y="77"/>
                </a:cubicBezTo>
                <a:cubicBezTo>
                  <a:pt x="148" y="60"/>
                  <a:pt x="141" y="45"/>
                  <a:pt x="130" y="34"/>
                </a:cubicBezTo>
                <a:cubicBezTo>
                  <a:pt x="137" y="27"/>
                  <a:pt x="137" y="27"/>
                  <a:pt x="137" y="27"/>
                </a:cubicBezTo>
                <a:cubicBezTo>
                  <a:pt x="138" y="26"/>
                  <a:pt x="138" y="25"/>
                  <a:pt x="137" y="23"/>
                </a:cubicBezTo>
                <a:cubicBezTo>
                  <a:pt x="135" y="22"/>
                  <a:pt x="134" y="22"/>
                  <a:pt x="133" y="23"/>
                </a:cubicBezTo>
                <a:cubicBezTo>
                  <a:pt x="126" y="30"/>
                  <a:pt x="126" y="30"/>
                  <a:pt x="126" y="30"/>
                </a:cubicBezTo>
                <a:cubicBezTo>
                  <a:pt x="115" y="19"/>
                  <a:pt x="100" y="12"/>
                  <a:pt x="83" y="12"/>
                </a:cubicBezTo>
                <a:cubicBezTo>
                  <a:pt x="83" y="3"/>
                  <a:pt x="83" y="3"/>
                  <a:pt x="83" y="3"/>
                </a:cubicBezTo>
                <a:cubicBezTo>
                  <a:pt x="83" y="1"/>
                  <a:pt x="82" y="0"/>
                  <a:pt x="80" y="0"/>
                </a:cubicBezTo>
                <a:cubicBezTo>
                  <a:pt x="78" y="0"/>
                  <a:pt x="77" y="1"/>
                  <a:pt x="77" y="3"/>
                </a:cubicBezTo>
                <a:cubicBezTo>
                  <a:pt x="77" y="12"/>
                  <a:pt x="77" y="12"/>
                  <a:pt x="77" y="12"/>
                </a:cubicBezTo>
                <a:cubicBezTo>
                  <a:pt x="60" y="12"/>
                  <a:pt x="45" y="19"/>
                  <a:pt x="34" y="30"/>
                </a:cubicBezTo>
                <a:cubicBezTo>
                  <a:pt x="27" y="23"/>
                  <a:pt x="27" y="23"/>
                  <a:pt x="27" y="23"/>
                </a:cubicBezTo>
                <a:cubicBezTo>
                  <a:pt x="26" y="22"/>
                  <a:pt x="25" y="22"/>
                  <a:pt x="23" y="23"/>
                </a:cubicBezTo>
                <a:cubicBezTo>
                  <a:pt x="22" y="25"/>
                  <a:pt x="22" y="26"/>
                  <a:pt x="23" y="27"/>
                </a:cubicBezTo>
                <a:cubicBezTo>
                  <a:pt x="30" y="34"/>
                  <a:pt x="30" y="34"/>
                  <a:pt x="30" y="34"/>
                </a:cubicBezTo>
                <a:cubicBezTo>
                  <a:pt x="19" y="45"/>
                  <a:pt x="12" y="60"/>
                  <a:pt x="12" y="77"/>
                </a:cubicBezTo>
                <a:cubicBezTo>
                  <a:pt x="3" y="77"/>
                  <a:pt x="3" y="77"/>
                  <a:pt x="3" y="77"/>
                </a:cubicBezTo>
                <a:cubicBezTo>
                  <a:pt x="1" y="77"/>
                  <a:pt x="0" y="78"/>
                  <a:pt x="0" y="80"/>
                </a:cubicBezTo>
                <a:cubicBezTo>
                  <a:pt x="0" y="82"/>
                  <a:pt x="1" y="83"/>
                  <a:pt x="3" y="83"/>
                </a:cubicBezTo>
                <a:cubicBezTo>
                  <a:pt x="12" y="83"/>
                  <a:pt x="12" y="83"/>
                  <a:pt x="12" y="83"/>
                </a:cubicBezTo>
                <a:cubicBezTo>
                  <a:pt x="12" y="100"/>
                  <a:pt x="19" y="115"/>
                  <a:pt x="30" y="126"/>
                </a:cubicBezTo>
                <a:cubicBezTo>
                  <a:pt x="23" y="133"/>
                  <a:pt x="23" y="133"/>
                  <a:pt x="23" y="133"/>
                </a:cubicBezTo>
                <a:cubicBezTo>
                  <a:pt x="22" y="134"/>
                  <a:pt x="22" y="135"/>
                  <a:pt x="23" y="137"/>
                </a:cubicBezTo>
                <a:cubicBezTo>
                  <a:pt x="24" y="137"/>
                  <a:pt x="25" y="137"/>
                  <a:pt x="25" y="137"/>
                </a:cubicBezTo>
                <a:cubicBezTo>
                  <a:pt x="26" y="137"/>
                  <a:pt x="27" y="137"/>
                  <a:pt x="27" y="137"/>
                </a:cubicBezTo>
                <a:cubicBezTo>
                  <a:pt x="34" y="130"/>
                  <a:pt x="34" y="130"/>
                  <a:pt x="34" y="130"/>
                </a:cubicBezTo>
                <a:cubicBezTo>
                  <a:pt x="45" y="141"/>
                  <a:pt x="60" y="148"/>
                  <a:pt x="77" y="149"/>
                </a:cubicBezTo>
                <a:cubicBezTo>
                  <a:pt x="77" y="157"/>
                  <a:pt x="77" y="157"/>
                  <a:pt x="77" y="157"/>
                </a:cubicBezTo>
                <a:cubicBezTo>
                  <a:pt x="77" y="159"/>
                  <a:pt x="78" y="160"/>
                  <a:pt x="80" y="160"/>
                </a:cubicBezTo>
                <a:cubicBezTo>
                  <a:pt x="82" y="160"/>
                  <a:pt x="83" y="159"/>
                  <a:pt x="83" y="157"/>
                </a:cubicBezTo>
                <a:cubicBezTo>
                  <a:pt x="83" y="149"/>
                  <a:pt x="83" y="149"/>
                  <a:pt x="83" y="149"/>
                </a:cubicBezTo>
                <a:cubicBezTo>
                  <a:pt x="100" y="148"/>
                  <a:pt x="115" y="141"/>
                  <a:pt x="126" y="130"/>
                </a:cubicBezTo>
                <a:cubicBezTo>
                  <a:pt x="133" y="137"/>
                  <a:pt x="133" y="137"/>
                  <a:pt x="133" y="137"/>
                </a:cubicBezTo>
                <a:cubicBezTo>
                  <a:pt x="133" y="137"/>
                  <a:pt x="134" y="137"/>
                  <a:pt x="135" y="137"/>
                </a:cubicBezTo>
                <a:cubicBezTo>
                  <a:pt x="135" y="137"/>
                  <a:pt x="136" y="137"/>
                  <a:pt x="137" y="137"/>
                </a:cubicBezTo>
                <a:cubicBezTo>
                  <a:pt x="138" y="135"/>
                  <a:pt x="138" y="134"/>
                  <a:pt x="137" y="133"/>
                </a:cubicBezTo>
                <a:cubicBezTo>
                  <a:pt x="130" y="126"/>
                  <a:pt x="130" y="126"/>
                  <a:pt x="130" y="126"/>
                </a:cubicBezTo>
                <a:cubicBezTo>
                  <a:pt x="141" y="115"/>
                  <a:pt x="148" y="100"/>
                  <a:pt x="149" y="83"/>
                </a:cubicBezTo>
                <a:cubicBezTo>
                  <a:pt x="157" y="83"/>
                  <a:pt x="157" y="83"/>
                  <a:pt x="157" y="83"/>
                </a:cubicBezTo>
                <a:cubicBezTo>
                  <a:pt x="159" y="83"/>
                  <a:pt x="160" y="82"/>
                  <a:pt x="160" y="80"/>
                </a:cubicBezTo>
                <a:cubicBezTo>
                  <a:pt x="160" y="78"/>
                  <a:pt x="159" y="77"/>
                  <a:pt x="157" y="77"/>
                </a:cubicBezTo>
                <a:close/>
                <a:moveTo>
                  <a:pt x="80" y="143"/>
                </a:moveTo>
                <a:cubicBezTo>
                  <a:pt x="45" y="143"/>
                  <a:pt x="17" y="115"/>
                  <a:pt x="17" y="80"/>
                </a:cubicBezTo>
                <a:cubicBezTo>
                  <a:pt x="17" y="45"/>
                  <a:pt x="45" y="17"/>
                  <a:pt x="80" y="17"/>
                </a:cubicBezTo>
                <a:cubicBezTo>
                  <a:pt x="115" y="17"/>
                  <a:pt x="143" y="45"/>
                  <a:pt x="143" y="80"/>
                </a:cubicBezTo>
                <a:cubicBezTo>
                  <a:pt x="143" y="115"/>
                  <a:pt x="115" y="143"/>
                  <a:pt x="80" y="143"/>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1363">
            <a:extLst>
              <a:ext uri="{FF2B5EF4-FFF2-40B4-BE49-F238E27FC236}">
                <a16:creationId xmlns:a16="http://schemas.microsoft.com/office/drawing/2014/main" id="{0EE4EAB7-97D6-6A4C-9F36-85CD392CF76E}"/>
              </a:ext>
            </a:extLst>
          </p:cNvPr>
          <p:cNvSpPr>
            <a:spLocks noEditPoints="1"/>
          </p:cNvSpPr>
          <p:nvPr/>
        </p:nvSpPr>
        <p:spPr bwMode="auto">
          <a:xfrm>
            <a:off x="7176662" y="5319713"/>
            <a:ext cx="546100" cy="550863"/>
          </a:xfrm>
          <a:custGeom>
            <a:avLst/>
            <a:gdLst>
              <a:gd name="T0" fmla="*/ 157 w 160"/>
              <a:gd name="T1" fmla="*/ 77 h 160"/>
              <a:gd name="T2" fmla="*/ 155 w 160"/>
              <a:gd name="T3" fmla="*/ 63 h 160"/>
              <a:gd name="T4" fmla="*/ 146 w 160"/>
              <a:gd name="T5" fmla="*/ 59 h 160"/>
              <a:gd name="T6" fmla="*/ 146 w 160"/>
              <a:gd name="T7" fmla="*/ 59 h 160"/>
              <a:gd name="T8" fmla="*/ 149 w 160"/>
              <a:gd name="T9" fmla="*/ 40 h 160"/>
              <a:gd name="T10" fmla="*/ 131 w 160"/>
              <a:gd name="T11" fmla="*/ 33 h 160"/>
              <a:gd name="T12" fmla="*/ 133 w 160"/>
              <a:gd name="T13" fmla="*/ 23 h 160"/>
              <a:gd name="T14" fmla="*/ 121 w 160"/>
              <a:gd name="T15" fmla="*/ 14 h 160"/>
              <a:gd name="T16" fmla="*/ 112 w 160"/>
              <a:gd name="T17" fmla="*/ 19 h 160"/>
              <a:gd name="T18" fmla="*/ 101 w 160"/>
              <a:gd name="T19" fmla="*/ 3 h 160"/>
              <a:gd name="T20" fmla="*/ 83 w 160"/>
              <a:gd name="T21" fmla="*/ 11 h 160"/>
              <a:gd name="T22" fmla="*/ 77 w 160"/>
              <a:gd name="T23" fmla="*/ 3 h 160"/>
              <a:gd name="T24" fmla="*/ 63 w 160"/>
              <a:gd name="T25" fmla="*/ 5 h 160"/>
              <a:gd name="T26" fmla="*/ 59 w 160"/>
              <a:gd name="T27" fmla="*/ 14 h 160"/>
              <a:gd name="T28" fmla="*/ 40 w 160"/>
              <a:gd name="T29" fmla="*/ 11 h 160"/>
              <a:gd name="T30" fmla="*/ 33 w 160"/>
              <a:gd name="T31" fmla="*/ 29 h 160"/>
              <a:gd name="T32" fmla="*/ 23 w 160"/>
              <a:gd name="T33" fmla="*/ 27 h 160"/>
              <a:gd name="T34" fmla="*/ 14 w 160"/>
              <a:gd name="T35" fmla="*/ 39 h 160"/>
              <a:gd name="T36" fmla="*/ 19 w 160"/>
              <a:gd name="T37" fmla="*/ 48 h 160"/>
              <a:gd name="T38" fmla="*/ 14 w 160"/>
              <a:gd name="T39" fmla="*/ 59 h 160"/>
              <a:gd name="T40" fmla="*/ 3 w 160"/>
              <a:gd name="T41" fmla="*/ 59 h 160"/>
              <a:gd name="T42" fmla="*/ 11 w 160"/>
              <a:gd name="T43" fmla="*/ 77 h 160"/>
              <a:gd name="T44" fmla="*/ 3 w 160"/>
              <a:gd name="T45" fmla="*/ 83 h 160"/>
              <a:gd name="T46" fmla="*/ 5 w 160"/>
              <a:gd name="T47" fmla="*/ 97 h 160"/>
              <a:gd name="T48" fmla="*/ 6 w 160"/>
              <a:gd name="T49" fmla="*/ 103 h 160"/>
              <a:gd name="T50" fmla="*/ 12 w 160"/>
              <a:gd name="T51" fmla="*/ 116 h 160"/>
              <a:gd name="T52" fmla="*/ 14 w 160"/>
              <a:gd name="T53" fmla="*/ 121 h 160"/>
              <a:gd name="T54" fmla="*/ 23 w 160"/>
              <a:gd name="T55" fmla="*/ 133 h 160"/>
              <a:gd name="T56" fmla="*/ 27 w 160"/>
              <a:gd name="T57" fmla="*/ 137 h 160"/>
              <a:gd name="T58" fmla="*/ 39 w 160"/>
              <a:gd name="T59" fmla="*/ 136 h 160"/>
              <a:gd name="T60" fmla="*/ 39 w 160"/>
              <a:gd name="T61" fmla="*/ 146 h 160"/>
              <a:gd name="T62" fmla="*/ 44 w 160"/>
              <a:gd name="T63" fmla="*/ 148 h 160"/>
              <a:gd name="T64" fmla="*/ 57 w 160"/>
              <a:gd name="T65" fmla="*/ 154 h 160"/>
              <a:gd name="T66" fmla="*/ 63 w 160"/>
              <a:gd name="T67" fmla="*/ 155 h 160"/>
              <a:gd name="T68" fmla="*/ 77 w 160"/>
              <a:gd name="T69" fmla="*/ 157 h 160"/>
              <a:gd name="T70" fmla="*/ 83 w 160"/>
              <a:gd name="T71" fmla="*/ 149 h 160"/>
              <a:gd name="T72" fmla="*/ 100 w 160"/>
              <a:gd name="T73" fmla="*/ 157 h 160"/>
              <a:gd name="T74" fmla="*/ 101 w 160"/>
              <a:gd name="T75" fmla="*/ 146 h 160"/>
              <a:gd name="T76" fmla="*/ 119 w 160"/>
              <a:gd name="T77" fmla="*/ 150 h 160"/>
              <a:gd name="T78" fmla="*/ 117 w 160"/>
              <a:gd name="T79" fmla="*/ 139 h 160"/>
              <a:gd name="T80" fmla="*/ 121 w 160"/>
              <a:gd name="T81" fmla="*/ 136 h 160"/>
              <a:gd name="T82" fmla="*/ 135 w 160"/>
              <a:gd name="T83" fmla="*/ 137 h 160"/>
              <a:gd name="T84" fmla="*/ 131 w 160"/>
              <a:gd name="T85" fmla="*/ 127 h 160"/>
              <a:gd name="T86" fmla="*/ 147 w 160"/>
              <a:gd name="T87" fmla="*/ 121 h 160"/>
              <a:gd name="T88" fmla="*/ 141 w 160"/>
              <a:gd name="T89" fmla="*/ 112 h 160"/>
              <a:gd name="T90" fmla="*/ 155 w 160"/>
              <a:gd name="T91" fmla="*/ 103 h 160"/>
              <a:gd name="T92" fmla="*/ 148 w 160"/>
              <a:gd name="T93" fmla="*/ 95 h 160"/>
              <a:gd name="T94" fmla="*/ 120 w 160"/>
              <a:gd name="T95" fmla="*/ 130 h 160"/>
              <a:gd name="T96" fmla="*/ 109 w 160"/>
              <a:gd name="T97" fmla="*/ 74 h 160"/>
              <a:gd name="T98" fmla="*/ 120 w 160"/>
              <a:gd name="T99" fmla="*/ 130 h 160"/>
              <a:gd name="T100" fmla="*/ 65 w 160"/>
              <a:gd name="T101" fmla="*/ 105 h 160"/>
              <a:gd name="T102" fmla="*/ 115 w 160"/>
              <a:gd name="T103" fmla="*/ 133 h 160"/>
              <a:gd name="T104" fmla="*/ 18 w 160"/>
              <a:gd name="T105" fmla="*/ 63 h 160"/>
              <a:gd name="T106" fmla="*/ 61 w 160"/>
              <a:gd name="T107" fmla="*/ 102 h 160"/>
              <a:gd name="T108" fmla="*/ 77 w 160"/>
              <a:gd name="T109" fmla="*/ 16 h 160"/>
              <a:gd name="T110" fmla="*/ 20 w 160"/>
              <a:gd name="T111" fmla="*/ 58 h 160"/>
              <a:gd name="T112" fmla="*/ 107 w 160"/>
              <a:gd name="T113" fmla="*/ 68 h 160"/>
              <a:gd name="T114" fmla="*/ 140 w 160"/>
              <a:gd name="T115" fmla="*/ 58 h 160"/>
              <a:gd name="T116" fmla="*/ 80 w 160"/>
              <a:gd name="T117" fmla="*/ 56 h 160"/>
              <a:gd name="T118" fmla="*/ 80 w 160"/>
              <a:gd name="T119" fmla="*/ 77 h 160"/>
              <a:gd name="T120" fmla="*/ 77 w 160"/>
              <a:gd name="T121"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60">
                <a:moveTo>
                  <a:pt x="157" y="83"/>
                </a:moveTo>
                <a:cubicBezTo>
                  <a:pt x="159" y="83"/>
                  <a:pt x="160" y="81"/>
                  <a:pt x="160" y="80"/>
                </a:cubicBezTo>
                <a:cubicBezTo>
                  <a:pt x="160" y="79"/>
                  <a:pt x="159" y="77"/>
                  <a:pt x="157" y="77"/>
                </a:cubicBezTo>
                <a:cubicBezTo>
                  <a:pt x="149" y="77"/>
                  <a:pt x="149" y="77"/>
                  <a:pt x="149" y="77"/>
                </a:cubicBezTo>
                <a:cubicBezTo>
                  <a:pt x="149" y="73"/>
                  <a:pt x="149" y="69"/>
                  <a:pt x="148" y="65"/>
                </a:cubicBezTo>
                <a:cubicBezTo>
                  <a:pt x="155" y="63"/>
                  <a:pt x="155" y="63"/>
                  <a:pt x="155" y="63"/>
                </a:cubicBezTo>
                <a:cubicBezTo>
                  <a:pt x="157" y="62"/>
                  <a:pt x="158" y="61"/>
                  <a:pt x="157" y="59"/>
                </a:cubicBezTo>
                <a:cubicBezTo>
                  <a:pt x="157" y="58"/>
                  <a:pt x="155" y="57"/>
                  <a:pt x="154" y="57"/>
                </a:cubicBezTo>
                <a:cubicBezTo>
                  <a:pt x="146" y="59"/>
                  <a:pt x="146" y="59"/>
                  <a:pt x="146" y="59"/>
                </a:cubicBezTo>
                <a:cubicBezTo>
                  <a:pt x="146" y="59"/>
                  <a:pt x="146" y="59"/>
                  <a:pt x="146" y="59"/>
                </a:cubicBezTo>
                <a:cubicBezTo>
                  <a:pt x="146" y="59"/>
                  <a:pt x="146" y="59"/>
                  <a:pt x="146" y="59"/>
                </a:cubicBezTo>
                <a:cubicBezTo>
                  <a:pt x="146" y="59"/>
                  <a:pt x="146" y="59"/>
                  <a:pt x="146" y="59"/>
                </a:cubicBezTo>
                <a:cubicBezTo>
                  <a:pt x="145" y="55"/>
                  <a:pt x="143" y="51"/>
                  <a:pt x="141" y="48"/>
                </a:cubicBezTo>
                <a:cubicBezTo>
                  <a:pt x="148" y="44"/>
                  <a:pt x="148" y="44"/>
                  <a:pt x="148" y="44"/>
                </a:cubicBezTo>
                <a:cubicBezTo>
                  <a:pt x="150" y="43"/>
                  <a:pt x="150" y="41"/>
                  <a:pt x="149" y="40"/>
                </a:cubicBezTo>
                <a:cubicBezTo>
                  <a:pt x="149" y="39"/>
                  <a:pt x="147" y="38"/>
                  <a:pt x="146" y="39"/>
                </a:cubicBezTo>
                <a:cubicBezTo>
                  <a:pt x="139" y="43"/>
                  <a:pt x="139" y="43"/>
                  <a:pt x="139" y="43"/>
                </a:cubicBezTo>
                <a:cubicBezTo>
                  <a:pt x="136" y="39"/>
                  <a:pt x="134" y="36"/>
                  <a:pt x="131" y="33"/>
                </a:cubicBezTo>
                <a:cubicBezTo>
                  <a:pt x="137" y="27"/>
                  <a:pt x="137" y="27"/>
                  <a:pt x="137" y="27"/>
                </a:cubicBezTo>
                <a:cubicBezTo>
                  <a:pt x="138" y="26"/>
                  <a:pt x="138" y="24"/>
                  <a:pt x="137" y="23"/>
                </a:cubicBezTo>
                <a:cubicBezTo>
                  <a:pt x="136" y="22"/>
                  <a:pt x="134" y="22"/>
                  <a:pt x="133" y="23"/>
                </a:cubicBezTo>
                <a:cubicBezTo>
                  <a:pt x="127" y="29"/>
                  <a:pt x="127" y="29"/>
                  <a:pt x="127" y="29"/>
                </a:cubicBezTo>
                <a:cubicBezTo>
                  <a:pt x="124" y="26"/>
                  <a:pt x="121" y="24"/>
                  <a:pt x="117" y="21"/>
                </a:cubicBezTo>
                <a:cubicBezTo>
                  <a:pt x="121" y="14"/>
                  <a:pt x="121" y="14"/>
                  <a:pt x="121" y="14"/>
                </a:cubicBezTo>
                <a:cubicBezTo>
                  <a:pt x="122" y="13"/>
                  <a:pt x="121" y="11"/>
                  <a:pt x="120" y="11"/>
                </a:cubicBezTo>
                <a:cubicBezTo>
                  <a:pt x="119" y="10"/>
                  <a:pt x="117" y="10"/>
                  <a:pt x="116" y="12"/>
                </a:cubicBezTo>
                <a:cubicBezTo>
                  <a:pt x="112" y="19"/>
                  <a:pt x="112" y="19"/>
                  <a:pt x="112" y="19"/>
                </a:cubicBezTo>
                <a:cubicBezTo>
                  <a:pt x="109" y="17"/>
                  <a:pt x="105" y="15"/>
                  <a:pt x="101" y="14"/>
                </a:cubicBezTo>
                <a:cubicBezTo>
                  <a:pt x="103" y="6"/>
                  <a:pt x="103" y="6"/>
                  <a:pt x="103" y="6"/>
                </a:cubicBezTo>
                <a:cubicBezTo>
                  <a:pt x="103" y="5"/>
                  <a:pt x="102" y="3"/>
                  <a:pt x="101" y="3"/>
                </a:cubicBezTo>
                <a:cubicBezTo>
                  <a:pt x="99" y="2"/>
                  <a:pt x="98" y="3"/>
                  <a:pt x="97" y="5"/>
                </a:cubicBezTo>
                <a:cubicBezTo>
                  <a:pt x="95" y="12"/>
                  <a:pt x="95" y="12"/>
                  <a:pt x="95" y="12"/>
                </a:cubicBezTo>
                <a:cubicBezTo>
                  <a:pt x="91" y="11"/>
                  <a:pt x="87" y="11"/>
                  <a:pt x="83" y="11"/>
                </a:cubicBezTo>
                <a:cubicBezTo>
                  <a:pt x="83" y="3"/>
                  <a:pt x="83" y="3"/>
                  <a:pt x="83" y="3"/>
                </a:cubicBezTo>
                <a:cubicBezTo>
                  <a:pt x="83" y="1"/>
                  <a:pt x="81" y="0"/>
                  <a:pt x="80" y="0"/>
                </a:cubicBezTo>
                <a:cubicBezTo>
                  <a:pt x="79" y="0"/>
                  <a:pt x="77" y="1"/>
                  <a:pt x="77" y="3"/>
                </a:cubicBezTo>
                <a:cubicBezTo>
                  <a:pt x="77" y="11"/>
                  <a:pt x="77" y="11"/>
                  <a:pt x="77" y="11"/>
                </a:cubicBezTo>
                <a:cubicBezTo>
                  <a:pt x="73" y="11"/>
                  <a:pt x="69" y="11"/>
                  <a:pt x="65" y="12"/>
                </a:cubicBezTo>
                <a:cubicBezTo>
                  <a:pt x="63" y="5"/>
                  <a:pt x="63" y="5"/>
                  <a:pt x="63" y="5"/>
                </a:cubicBezTo>
                <a:cubicBezTo>
                  <a:pt x="62" y="3"/>
                  <a:pt x="61" y="2"/>
                  <a:pt x="59" y="3"/>
                </a:cubicBezTo>
                <a:cubicBezTo>
                  <a:pt x="58" y="3"/>
                  <a:pt x="57" y="5"/>
                  <a:pt x="57" y="6"/>
                </a:cubicBezTo>
                <a:cubicBezTo>
                  <a:pt x="59" y="14"/>
                  <a:pt x="59" y="14"/>
                  <a:pt x="59" y="14"/>
                </a:cubicBezTo>
                <a:cubicBezTo>
                  <a:pt x="55" y="15"/>
                  <a:pt x="51" y="17"/>
                  <a:pt x="48" y="19"/>
                </a:cubicBezTo>
                <a:cubicBezTo>
                  <a:pt x="44" y="12"/>
                  <a:pt x="44" y="12"/>
                  <a:pt x="44" y="12"/>
                </a:cubicBezTo>
                <a:cubicBezTo>
                  <a:pt x="43" y="10"/>
                  <a:pt x="41" y="10"/>
                  <a:pt x="40" y="11"/>
                </a:cubicBezTo>
                <a:cubicBezTo>
                  <a:pt x="39" y="11"/>
                  <a:pt x="38" y="13"/>
                  <a:pt x="39" y="14"/>
                </a:cubicBezTo>
                <a:cubicBezTo>
                  <a:pt x="43" y="21"/>
                  <a:pt x="43" y="21"/>
                  <a:pt x="43" y="21"/>
                </a:cubicBezTo>
                <a:cubicBezTo>
                  <a:pt x="39" y="24"/>
                  <a:pt x="36" y="26"/>
                  <a:pt x="33" y="29"/>
                </a:cubicBezTo>
                <a:cubicBezTo>
                  <a:pt x="27" y="23"/>
                  <a:pt x="27" y="23"/>
                  <a:pt x="27" y="23"/>
                </a:cubicBezTo>
                <a:cubicBezTo>
                  <a:pt x="26" y="22"/>
                  <a:pt x="24" y="22"/>
                  <a:pt x="23" y="23"/>
                </a:cubicBezTo>
                <a:cubicBezTo>
                  <a:pt x="22" y="24"/>
                  <a:pt x="22" y="26"/>
                  <a:pt x="23" y="27"/>
                </a:cubicBezTo>
                <a:cubicBezTo>
                  <a:pt x="29" y="33"/>
                  <a:pt x="29" y="33"/>
                  <a:pt x="29" y="33"/>
                </a:cubicBezTo>
                <a:cubicBezTo>
                  <a:pt x="26" y="36"/>
                  <a:pt x="24" y="39"/>
                  <a:pt x="21" y="43"/>
                </a:cubicBezTo>
                <a:cubicBezTo>
                  <a:pt x="14" y="39"/>
                  <a:pt x="14" y="39"/>
                  <a:pt x="14" y="39"/>
                </a:cubicBezTo>
                <a:cubicBezTo>
                  <a:pt x="13" y="38"/>
                  <a:pt x="11" y="39"/>
                  <a:pt x="11" y="40"/>
                </a:cubicBezTo>
                <a:cubicBezTo>
                  <a:pt x="10" y="41"/>
                  <a:pt x="10" y="43"/>
                  <a:pt x="12" y="44"/>
                </a:cubicBezTo>
                <a:cubicBezTo>
                  <a:pt x="19" y="48"/>
                  <a:pt x="19" y="48"/>
                  <a:pt x="19" y="48"/>
                </a:cubicBezTo>
                <a:cubicBezTo>
                  <a:pt x="17" y="51"/>
                  <a:pt x="15" y="55"/>
                  <a:pt x="14" y="59"/>
                </a:cubicBezTo>
                <a:cubicBezTo>
                  <a:pt x="14" y="59"/>
                  <a:pt x="14" y="59"/>
                  <a:pt x="14" y="59"/>
                </a:cubicBezTo>
                <a:cubicBezTo>
                  <a:pt x="14" y="59"/>
                  <a:pt x="14" y="59"/>
                  <a:pt x="14" y="59"/>
                </a:cubicBezTo>
                <a:cubicBezTo>
                  <a:pt x="14" y="59"/>
                  <a:pt x="14" y="59"/>
                  <a:pt x="14" y="59"/>
                </a:cubicBezTo>
                <a:cubicBezTo>
                  <a:pt x="6" y="57"/>
                  <a:pt x="6" y="57"/>
                  <a:pt x="6" y="57"/>
                </a:cubicBezTo>
                <a:cubicBezTo>
                  <a:pt x="5" y="57"/>
                  <a:pt x="3" y="58"/>
                  <a:pt x="3" y="59"/>
                </a:cubicBezTo>
                <a:cubicBezTo>
                  <a:pt x="2" y="61"/>
                  <a:pt x="3" y="62"/>
                  <a:pt x="5" y="63"/>
                </a:cubicBezTo>
                <a:cubicBezTo>
                  <a:pt x="12" y="65"/>
                  <a:pt x="12" y="65"/>
                  <a:pt x="12" y="65"/>
                </a:cubicBezTo>
                <a:cubicBezTo>
                  <a:pt x="11" y="69"/>
                  <a:pt x="11" y="73"/>
                  <a:pt x="11" y="77"/>
                </a:cubicBezTo>
                <a:cubicBezTo>
                  <a:pt x="3" y="77"/>
                  <a:pt x="3" y="77"/>
                  <a:pt x="3" y="77"/>
                </a:cubicBezTo>
                <a:cubicBezTo>
                  <a:pt x="1" y="77"/>
                  <a:pt x="0" y="79"/>
                  <a:pt x="0" y="80"/>
                </a:cubicBezTo>
                <a:cubicBezTo>
                  <a:pt x="0" y="81"/>
                  <a:pt x="1" y="83"/>
                  <a:pt x="3" y="83"/>
                </a:cubicBezTo>
                <a:cubicBezTo>
                  <a:pt x="11" y="83"/>
                  <a:pt x="11" y="83"/>
                  <a:pt x="11" y="83"/>
                </a:cubicBezTo>
                <a:cubicBezTo>
                  <a:pt x="11" y="87"/>
                  <a:pt x="11" y="91"/>
                  <a:pt x="12" y="95"/>
                </a:cubicBezTo>
                <a:cubicBezTo>
                  <a:pt x="5" y="97"/>
                  <a:pt x="5" y="97"/>
                  <a:pt x="5" y="97"/>
                </a:cubicBezTo>
                <a:cubicBezTo>
                  <a:pt x="3" y="98"/>
                  <a:pt x="2" y="99"/>
                  <a:pt x="3" y="101"/>
                </a:cubicBezTo>
                <a:cubicBezTo>
                  <a:pt x="3" y="102"/>
                  <a:pt x="4" y="103"/>
                  <a:pt x="5" y="103"/>
                </a:cubicBezTo>
                <a:cubicBezTo>
                  <a:pt x="6" y="103"/>
                  <a:pt x="6" y="103"/>
                  <a:pt x="6" y="103"/>
                </a:cubicBezTo>
                <a:cubicBezTo>
                  <a:pt x="14" y="101"/>
                  <a:pt x="14" y="101"/>
                  <a:pt x="14" y="101"/>
                </a:cubicBezTo>
                <a:cubicBezTo>
                  <a:pt x="15" y="105"/>
                  <a:pt x="17" y="109"/>
                  <a:pt x="19" y="112"/>
                </a:cubicBezTo>
                <a:cubicBezTo>
                  <a:pt x="12" y="116"/>
                  <a:pt x="12" y="116"/>
                  <a:pt x="12" y="116"/>
                </a:cubicBezTo>
                <a:cubicBezTo>
                  <a:pt x="10" y="117"/>
                  <a:pt x="10" y="119"/>
                  <a:pt x="11" y="120"/>
                </a:cubicBezTo>
                <a:cubicBezTo>
                  <a:pt x="11" y="121"/>
                  <a:pt x="12" y="121"/>
                  <a:pt x="13" y="121"/>
                </a:cubicBezTo>
                <a:cubicBezTo>
                  <a:pt x="13" y="121"/>
                  <a:pt x="14" y="121"/>
                  <a:pt x="14" y="121"/>
                </a:cubicBezTo>
                <a:cubicBezTo>
                  <a:pt x="21" y="117"/>
                  <a:pt x="21" y="117"/>
                  <a:pt x="21" y="117"/>
                </a:cubicBezTo>
                <a:cubicBezTo>
                  <a:pt x="24" y="121"/>
                  <a:pt x="26" y="124"/>
                  <a:pt x="29" y="127"/>
                </a:cubicBezTo>
                <a:cubicBezTo>
                  <a:pt x="23" y="133"/>
                  <a:pt x="23" y="133"/>
                  <a:pt x="23" y="133"/>
                </a:cubicBezTo>
                <a:cubicBezTo>
                  <a:pt x="22" y="134"/>
                  <a:pt x="22" y="136"/>
                  <a:pt x="23" y="137"/>
                </a:cubicBezTo>
                <a:cubicBezTo>
                  <a:pt x="24" y="137"/>
                  <a:pt x="25" y="137"/>
                  <a:pt x="25" y="137"/>
                </a:cubicBezTo>
                <a:cubicBezTo>
                  <a:pt x="26" y="137"/>
                  <a:pt x="27" y="137"/>
                  <a:pt x="27" y="137"/>
                </a:cubicBezTo>
                <a:cubicBezTo>
                  <a:pt x="33" y="131"/>
                  <a:pt x="33" y="131"/>
                  <a:pt x="33" y="131"/>
                </a:cubicBezTo>
                <a:cubicBezTo>
                  <a:pt x="35" y="133"/>
                  <a:pt x="37" y="134"/>
                  <a:pt x="39" y="136"/>
                </a:cubicBezTo>
                <a:cubicBezTo>
                  <a:pt x="39" y="136"/>
                  <a:pt x="39" y="136"/>
                  <a:pt x="39" y="136"/>
                </a:cubicBezTo>
                <a:cubicBezTo>
                  <a:pt x="39" y="136"/>
                  <a:pt x="39" y="136"/>
                  <a:pt x="39" y="136"/>
                </a:cubicBezTo>
                <a:cubicBezTo>
                  <a:pt x="41" y="137"/>
                  <a:pt x="42" y="138"/>
                  <a:pt x="43" y="139"/>
                </a:cubicBezTo>
                <a:cubicBezTo>
                  <a:pt x="39" y="146"/>
                  <a:pt x="39" y="146"/>
                  <a:pt x="39" y="146"/>
                </a:cubicBezTo>
                <a:cubicBezTo>
                  <a:pt x="38" y="147"/>
                  <a:pt x="39" y="149"/>
                  <a:pt x="40" y="149"/>
                </a:cubicBezTo>
                <a:cubicBezTo>
                  <a:pt x="40" y="150"/>
                  <a:pt x="41" y="150"/>
                  <a:pt x="41" y="150"/>
                </a:cubicBezTo>
                <a:cubicBezTo>
                  <a:pt x="42" y="150"/>
                  <a:pt x="43" y="149"/>
                  <a:pt x="44" y="148"/>
                </a:cubicBezTo>
                <a:cubicBezTo>
                  <a:pt x="48" y="141"/>
                  <a:pt x="48" y="141"/>
                  <a:pt x="48" y="141"/>
                </a:cubicBezTo>
                <a:cubicBezTo>
                  <a:pt x="51" y="143"/>
                  <a:pt x="55" y="145"/>
                  <a:pt x="59" y="146"/>
                </a:cubicBezTo>
                <a:cubicBezTo>
                  <a:pt x="57" y="154"/>
                  <a:pt x="57" y="154"/>
                  <a:pt x="57" y="154"/>
                </a:cubicBezTo>
                <a:cubicBezTo>
                  <a:pt x="57" y="155"/>
                  <a:pt x="58" y="157"/>
                  <a:pt x="59" y="157"/>
                </a:cubicBezTo>
                <a:cubicBezTo>
                  <a:pt x="60" y="157"/>
                  <a:pt x="60" y="157"/>
                  <a:pt x="60" y="157"/>
                </a:cubicBezTo>
                <a:cubicBezTo>
                  <a:pt x="61" y="157"/>
                  <a:pt x="62" y="157"/>
                  <a:pt x="63" y="155"/>
                </a:cubicBezTo>
                <a:cubicBezTo>
                  <a:pt x="65" y="148"/>
                  <a:pt x="65" y="148"/>
                  <a:pt x="65" y="148"/>
                </a:cubicBezTo>
                <a:cubicBezTo>
                  <a:pt x="69" y="149"/>
                  <a:pt x="73" y="149"/>
                  <a:pt x="77" y="149"/>
                </a:cubicBezTo>
                <a:cubicBezTo>
                  <a:pt x="77" y="157"/>
                  <a:pt x="77" y="157"/>
                  <a:pt x="77" y="157"/>
                </a:cubicBezTo>
                <a:cubicBezTo>
                  <a:pt x="77" y="159"/>
                  <a:pt x="79" y="160"/>
                  <a:pt x="80" y="160"/>
                </a:cubicBezTo>
                <a:cubicBezTo>
                  <a:pt x="81" y="160"/>
                  <a:pt x="83" y="159"/>
                  <a:pt x="83" y="157"/>
                </a:cubicBezTo>
                <a:cubicBezTo>
                  <a:pt x="83" y="149"/>
                  <a:pt x="83" y="149"/>
                  <a:pt x="83" y="149"/>
                </a:cubicBezTo>
                <a:cubicBezTo>
                  <a:pt x="87" y="149"/>
                  <a:pt x="91" y="149"/>
                  <a:pt x="95" y="148"/>
                </a:cubicBezTo>
                <a:cubicBezTo>
                  <a:pt x="97" y="155"/>
                  <a:pt x="97" y="155"/>
                  <a:pt x="97" y="155"/>
                </a:cubicBezTo>
                <a:cubicBezTo>
                  <a:pt x="98" y="157"/>
                  <a:pt x="99" y="157"/>
                  <a:pt x="100" y="157"/>
                </a:cubicBezTo>
                <a:cubicBezTo>
                  <a:pt x="100" y="157"/>
                  <a:pt x="100" y="157"/>
                  <a:pt x="101" y="157"/>
                </a:cubicBezTo>
                <a:cubicBezTo>
                  <a:pt x="102" y="157"/>
                  <a:pt x="103" y="155"/>
                  <a:pt x="103" y="154"/>
                </a:cubicBezTo>
                <a:cubicBezTo>
                  <a:pt x="101" y="146"/>
                  <a:pt x="101" y="146"/>
                  <a:pt x="101" y="146"/>
                </a:cubicBezTo>
                <a:cubicBezTo>
                  <a:pt x="105" y="145"/>
                  <a:pt x="109" y="143"/>
                  <a:pt x="112" y="141"/>
                </a:cubicBezTo>
                <a:cubicBezTo>
                  <a:pt x="116" y="148"/>
                  <a:pt x="116" y="148"/>
                  <a:pt x="116" y="148"/>
                </a:cubicBezTo>
                <a:cubicBezTo>
                  <a:pt x="117" y="149"/>
                  <a:pt x="118" y="150"/>
                  <a:pt x="119" y="150"/>
                </a:cubicBezTo>
                <a:cubicBezTo>
                  <a:pt x="119" y="150"/>
                  <a:pt x="120" y="150"/>
                  <a:pt x="120" y="149"/>
                </a:cubicBezTo>
                <a:cubicBezTo>
                  <a:pt x="121" y="149"/>
                  <a:pt x="122" y="147"/>
                  <a:pt x="121" y="146"/>
                </a:cubicBezTo>
                <a:cubicBezTo>
                  <a:pt x="117" y="139"/>
                  <a:pt x="117" y="139"/>
                  <a:pt x="117" y="139"/>
                </a:cubicBezTo>
                <a:cubicBezTo>
                  <a:pt x="118" y="138"/>
                  <a:pt x="119" y="137"/>
                  <a:pt x="121" y="136"/>
                </a:cubicBezTo>
                <a:cubicBezTo>
                  <a:pt x="121" y="136"/>
                  <a:pt x="121" y="136"/>
                  <a:pt x="121" y="136"/>
                </a:cubicBezTo>
                <a:cubicBezTo>
                  <a:pt x="121" y="136"/>
                  <a:pt x="121" y="136"/>
                  <a:pt x="121" y="136"/>
                </a:cubicBezTo>
                <a:cubicBezTo>
                  <a:pt x="123" y="134"/>
                  <a:pt x="125" y="133"/>
                  <a:pt x="127" y="131"/>
                </a:cubicBezTo>
                <a:cubicBezTo>
                  <a:pt x="133" y="137"/>
                  <a:pt x="133" y="137"/>
                  <a:pt x="133" y="137"/>
                </a:cubicBezTo>
                <a:cubicBezTo>
                  <a:pt x="133" y="137"/>
                  <a:pt x="134" y="137"/>
                  <a:pt x="135" y="137"/>
                </a:cubicBezTo>
                <a:cubicBezTo>
                  <a:pt x="135" y="137"/>
                  <a:pt x="136" y="137"/>
                  <a:pt x="137" y="137"/>
                </a:cubicBezTo>
                <a:cubicBezTo>
                  <a:pt x="138" y="136"/>
                  <a:pt x="138" y="134"/>
                  <a:pt x="137" y="133"/>
                </a:cubicBezTo>
                <a:cubicBezTo>
                  <a:pt x="131" y="127"/>
                  <a:pt x="131" y="127"/>
                  <a:pt x="131" y="127"/>
                </a:cubicBezTo>
                <a:cubicBezTo>
                  <a:pt x="134" y="124"/>
                  <a:pt x="136" y="121"/>
                  <a:pt x="139" y="117"/>
                </a:cubicBezTo>
                <a:cubicBezTo>
                  <a:pt x="146" y="121"/>
                  <a:pt x="146" y="121"/>
                  <a:pt x="146" y="121"/>
                </a:cubicBezTo>
                <a:cubicBezTo>
                  <a:pt x="146" y="121"/>
                  <a:pt x="147" y="121"/>
                  <a:pt x="147" y="121"/>
                </a:cubicBezTo>
                <a:cubicBezTo>
                  <a:pt x="148" y="121"/>
                  <a:pt x="149" y="121"/>
                  <a:pt x="149" y="120"/>
                </a:cubicBezTo>
                <a:cubicBezTo>
                  <a:pt x="150" y="119"/>
                  <a:pt x="150" y="117"/>
                  <a:pt x="148" y="116"/>
                </a:cubicBezTo>
                <a:cubicBezTo>
                  <a:pt x="141" y="112"/>
                  <a:pt x="141" y="112"/>
                  <a:pt x="141" y="112"/>
                </a:cubicBezTo>
                <a:cubicBezTo>
                  <a:pt x="143" y="109"/>
                  <a:pt x="145" y="105"/>
                  <a:pt x="146" y="101"/>
                </a:cubicBezTo>
                <a:cubicBezTo>
                  <a:pt x="154" y="103"/>
                  <a:pt x="154" y="103"/>
                  <a:pt x="154" y="103"/>
                </a:cubicBezTo>
                <a:cubicBezTo>
                  <a:pt x="154" y="103"/>
                  <a:pt x="154" y="103"/>
                  <a:pt x="155" y="103"/>
                </a:cubicBezTo>
                <a:cubicBezTo>
                  <a:pt x="156" y="103"/>
                  <a:pt x="157" y="102"/>
                  <a:pt x="157" y="101"/>
                </a:cubicBezTo>
                <a:cubicBezTo>
                  <a:pt x="158" y="99"/>
                  <a:pt x="157" y="98"/>
                  <a:pt x="155" y="97"/>
                </a:cubicBezTo>
                <a:cubicBezTo>
                  <a:pt x="148" y="95"/>
                  <a:pt x="148" y="95"/>
                  <a:pt x="148" y="95"/>
                </a:cubicBezTo>
                <a:cubicBezTo>
                  <a:pt x="149" y="91"/>
                  <a:pt x="149" y="87"/>
                  <a:pt x="149" y="83"/>
                </a:cubicBezTo>
                <a:lnTo>
                  <a:pt x="157" y="83"/>
                </a:lnTo>
                <a:close/>
                <a:moveTo>
                  <a:pt x="120" y="130"/>
                </a:moveTo>
                <a:cubicBezTo>
                  <a:pt x="99" y="102"/>
                  <a:pt x="99" y="102"/>
                  <a:pt x="99" y="102"/>
                </a:cubicBezTo>
                <a:cubicBezTo>
                  <a:pt x="105" y="97"/>
                  <a:pt x="109" y="89"/>
                  <a:pt x="109" y="80"/>
                </a:cubicBezTo>
                <a:cubicBezTo>
                  <a:pt x="109" y="78"/>
                  <a:pt x="109" y="76"/>
                  <a:pt x="109" y="74"/>
                </a:cubicBezTo>
                <a:cubicBezTo>
                  <a:pt x="142" y="63"/>
                  <a:pt x="142" y="63"/>
                  <a:pt x="142" y="63"/>
                </a:cubicBezTo>
                <a:cubicBezTo>
                  <a:pt x="143" y="68"/>
                  <a:pt x="144" y="74"/>
                  <a:pt x="144" y="80"/>
                </a:cubicBezTo>
                <a:cubicBezTo>
                  <a:pt x="144" y="100"/>
                  <a:pt x="134" y="118"/>
                  <a:pt x="120" y="130"/>
                </a:cubicBezTo>
                <a:close/>
                <a:moveTo>
                  <a:pt x="80" y="144"/>
                </a:moveTo>
                <a:cubicBezTo>
                  <a:pt x="67" y="144"/>
                  <a:pt x="55" y="140"/>
                  <a:pt x="45" y="133"/>
                </a:cubicBezTo>
                <a:cubicBezTo>
                  <a:pt x="65" y="105"/>
                  <a:pt x="65" y="105"/>
                  <a:pt x="65" y="105"/>
                </a:cubicBezTo>
                <a:cubicBezTo>
                  <a:pt x="69" y="108"/>
                  <a:pt x="75" y="109"/>
                  <a:pt x="80" y="109"/>
                </a:cubicBezTo>
                <a:cubicBezTo>
                  <a:pt x="85" y="109"/>
                  <a:pt x="91" y="108"/>
                  <a:pt x="95" y="105"/>
                </a:cubicBezTo>
                <a:cubicBezTo>
                  <a:pt x="115" y="133"/>
                  <a:pt x="115" y="133"/>
                  <a:pt x="115" y="133"/>
                </a:cubicBezTo>
                <a:cubicBezTo>
                  <a:pt x="105" y="140"/>
                  <a:pt x="93" y="144"/>
                  <a:pt x="80" y="144"/>
                </a:cubicBezTo>
                <a:close/>
                <a:moveTo>
                  <a:pt x="16" y="80"/>
                </a:moveTo>
                <a:cubicBezTo>
                  <a:pt x="16" y="74"/>
                  <a:pt x="17" y="68"/>
                  <a:pt x="18" y="63"/>
                </a:cubicBezTo>
                <a:cubicBezTo>
                  <a:pt x="51" y="74"/>
                  <a:pt x="51" y="74"/>
                  <a:pt x="51" y="74"/>
                </a:cubicBezTo>
                <a:cubicBezTo>
                  <a:pt x="51" y="76"/>
                  <a:pt x="51" y="78"/>
                  <a:pt x="51" y="80"/>
                </a:cubicBezTo>
                <a:cubicBezTo>
                  <a:pt x="51" y="89"/>
                  <a:pt x="55" y="97"/>
                  <a:pt x="61" y="102"/>
                </a:cubicBezTo>
                <a:cubicBezTo>
                  <a:pt x="40" y="130"/>
                  <a:pt x="40" y="130"/>
                  <a:pt x="40" y="130"/>
                </a:cubicBezTo>
                <a:cubicBezTo>
                  <a:pt x="26" y="118"/>
                  <a:pt x="16" y="100"/>
                  <a:pt x="16" y="80"/>
                </a:cubicBezTo>
                <a:close/>
                <a:moveTo>
                  <a:pt x="77" y="16"/>
                </a:moveTo>
                <a:cubicBezTo>
                  <a:pt x="77" y="51"/>
                  <a:pt x="77" y="51"/>
                  <a:pt x="77" y="51"/>
                </a:cubicBezTo>
                <a:cubicBezTo>
                  <a:pt x="66" y="52"/>
                  <a:pt x="57" y="59"/>
                  <a:pt x="53" y="68"/>
                </a:cubicBezTo>
                <a:cubicBezTo>
                  <a:pt x="20" y="58"/>
                  <a:pt x="20" y="58"/>
                  <a:pt x="20" y="58"/>
                </a:cubicBezTo>
                <a:cubicBezTo>
                  <a:pt x="29" y="34"/>
                  <a:pt x="51" y="17"/>
                  <a:pt x="77" y="16"/>
                </a:cubicBezTo>
                <a:close/>
                <a:moveTo>
                  <a:pt x="140" y="58"/>
                </a:moveTo>
                <a:cubicBezTo>
                  <a:pt x="107" y="68"/>
                  <a:pt x="107" y="68"/>
                  <a:pt x="107" y="68"/>
                </a:cubicBezTo>
                <a:cubicBezTo>
                  <a:pt x="103" y="59"/>
                  <a:pt x="94" y="52"/>
                  <a:pt x="83" y="51"/>
                </a:cubicBezTo>
                <a:cubicBezTo>
                  <a:pt x="83" y="16"/>
                  <a:pt x="83" y="16"/>
                  <a:pt x="83" y="16"/>
                </a:cubicBezTo>
                <a:cubicBezTo>
                  <a:pt x="109" y="17"/>
                  <a:pt x="131" y="34"/>
                  <a:pt x="140" y="58"/>
                </a:cubicBezTo>
                <a:close/>
                <a:moveTo>
                  <a:pt x="80" y="104"/>
                </a:moveTo>
                <a:cubicBezTo>
                  <a:pt x="67" y="104"/>
                  <a:pt x="56" y="93"/>
                  <a:pt x="56" y="80"/>
                </a:cubicBezTo>
                <a:cubicBezTo>
                  <a:pt x="56" y="67"/>
                  <a:pt x="67" y="56"/>
                  <a:pt x="80" y="56"/>
                </a:cubicBezTo>
                <a:cubicBezTo>
                  <a:pt x="93" y="56"/>
                  <a:pt x="104" y="67"/>
                  <a:pt x="104" y="80"/>
                </a:cubicBezTo>
                <a:cubicBezTo>
                  <a:pt x="104" y="93"/>
                  <a:pt x="93" y="104"/>
                  <a:pt x="80" y="104"/>
                </a:cubicBezTo>
                <a:close/>
                <a:moveTo>
                  <a:pt x="80" y="77"/>
                </a:moveTo>
                <a:cubicBezTo>
                  <a:pt x="81" y="77"/>
                  <a:pt x="83" y="79"/>
                  <a:pt x="83" y="80"/>
                </a:cubicBezTo>
                <a:cubicBezTo>
                  <a:pt x="83" y="81"/>
                  <a:pt x="81" y="83"/>
                  <a:pt x="80" y="83"/>
                </a:cubicBezTo>
                <a:cubicBezTo>
                  <a:pt x="79" y="83"/>
                  <a:pt x="77" y="81"/>
                  <a:pt x="77" y="80"/>
                </a:cubicBezTo>
                <a:cubicBezTo>
                  <a:pt x="77" y="79"/>
                  <a:pt x="79" y="77"/>
                  <a:pt x="80" y="77"/>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1364">
            <a:extLst>
              <a:ext uri="{FF2B5EF4-FFF2-40B4-BE49-F238E27FC236}">
                <a16:creationId xmlns:a16="http://schemas.microsoft.com/office/drawing/2014/main" id="{044FE4CC-9185-DE42-A456-A7D097B132C0}"/>
              </a:ext>
            </a:extLst>
          </p:cNvPr>
          <p:cNvSpPr>
            <a:spLocks noEditPoints="1"/>
          </p:cNvSpPr>
          <p:nvPr/>
        </p:nvSpPr>
        <p:spPr bwMode="auto">
          <a:xfrm>
            <a:off x="7176662" y="5938838"/>
            <a:ext cx="546100" cy="550863"/>
          </a:xfrm>
          <a:custGeom>
            <a:avLst/>
            <a:gdLst>
              <a:gd name="T0" fmla="*/ 157 w 160"/>
              <a:gd name="T1" fmla="*/ 77 h 160"/>
              <a:gd name="T2" fmla="*/ 155 w 160"/>
              <a:gd name="T3" fmla="*/ 63 h 160"/>
              <a:gd name="T4" fmla="*/ 146 w 160"/>
              <a:gd name="T5" fmla="*/ 59 h 160"/>
              <a:gd name="T6" fmla="*/ 149 w 160"/>
              <a:gd name="T7" fmla="*/ 40 h 160"/>
              <a:gd name="T8" fmla="*/ 131 w 160"/>
              <a:gd name="T9" fmla="*/ 33 h 160"/>
              <a:gd name="T10" fmla="*/ 133 w 160"/>
              <a:gd name="T11" fmla="*/ 23 h 160"/>
              <a:gd name="T12" fmla="*/ 121 w 160"/>
              <a:gd name="T13" fmla="*/ 14 h 160"/>
              <a:gd name="T14" fmla="*/ 112 w 160"/>
              <a:gd name="T15" fmla="*/ 19 h 160"/>
              <a:gd name="T16" fmla="*/ 101 w 160"/>
              <a:gd name="T17" fmla="*/ 3 h 160"/>
              <a:gd name="T18" fmla="*/ 83 w 160"/>
              <a:gd name="T19" fmla="*/ 11 h 160"/>
              <a:gd name="T20" fmla="*/ 77 w 160"/>
              <a:gd name="T21" fmla="*/ 3 h 160"/>
              <a:gd name="T22" fmla="*/ 63 w 160"/>
              <a:gd name="T23" fmla="*/ 5 h 160"/>
              <a:gd name="T24" fmla="*/ 59 w 160"/>
              <a:gd name="T25" fmla="*/ 14 h 160"/>
              <a:gd name="T26" fmla="*/ 40 w 160"/>
              <a:gd name="T27" fmla="*/ 11 h 160"/>
              <a:gd name="T28" fmla="*/ 33 w 160"/>
              <a:gd name="T29" fmla="*/ 29 h 160"/>
              <a:gd name="T30" fmla="*/ 23 w 160"/>
              <a:gd name="T31" fmla="*/ 27 h 160"/>
              <a:gd name="T32" fmla="*/ 14 w 160"/>
              <a:gd name="T33" fmla="*/ 39 h 160"/>
              <a:gd name="T34" fmla="*/ 19 w 160"/>
              <a:gd name="T35" fmla="*/ 48 h 160"/>
              <a:gd name="T36" fmla="*/ 3 w 160"/>
              <a:gd name="T37" fmla="*/ 59 h 160"/>
              <a:gd name="T38" fmla="*/ 11 w 160"/>
              <a:gd name="T39" fmla="*/ 77 h 160"/>
              <a:gd name="T40" fmla="*/ 3 w 160"/>
              <a:gd name="T41" fmla="*/ 83 h 160"/>
              <a:gd name="T42" fmla="*/ 5 w 160"/>
              <a:gd name="T43" fmla="*/ 97 h 160"/>
              <a:gd name="T44" fmla="*/ 6 w 160"/>
              <a:gd name="T45" fmla="*/ 103 h 160"/>
              <a:gd name="T46" fmla="*/ 12 w 160"/>
              <a:gd name="T47" fmla="*/ 116 h 160"/>
              <a:gd name="T48" fmla="*/ 14 w 160"/>
              <a:gd name="T49" fmla="*/ 121 h 160"/>
              <a:gd name="T50" fmla="*/ 23 w 160"/>
              <a:gd name="T51" fmla="*/ 133 h 160"/>
              <a:gd name="T52" fmla="*/ 27 w 160"/>
              <a:gd name="T53" fmla="*/ 137 h 160"/>
              <a:gd name="T54" fmla="*/ 39 w 160"/>
              <a:gd name="T55" fmla="*/ 146 h 160"/>
              <a:gd name="T56" fmla="*/ 44 w 160"/>
              <a:gd name="T57" fmla="*/ 148 h 160"/>
              <a:gd name="T58" fmla="*/ 57 w 160"/>
              <a:gd name="T59" fmla="*/ 154 h 160"/>
              <a:gd name="T60" fmla="*/ 63 w 160"/>
              <a:gd name="T61" fmla="*/ 155 h 160"/>
              <a:gd name="T62" fmla="*/ 77 w 160"/>
              <a:gd name="T63" fmla="*/ 157 h 160"/>
              <a:gd name="T64" fmla="*/ 83 w 160"/>
              <a:gd name="T65" fmla="*/ 149 h 160"/>
              <a:gd name="T66" fmla="*/ 100 w 160"/>
              <a:gd name="T67" fmla="*/ 157 h 160"/>
              <a:gd name="T68" fmla="*/ 101 w 160"/>
              <a:gd name="T69" fmla="*/ 146 h 160"/>
              <a:gd name="T70" fmla="*/ 119 w 160"/>
              <a:gd name="T71" fmla="*/ 150 h 160"/>
              <a:gd name="T72" fmla="*/ 117 w 160"/>
              <a:gd name="T73" fmla="*/ 139 h 160"/>
              <a:gd name="T74" fmla="*/ 135 w 160"/>
              <a:gd name="T75" fmla="*/ 137 h 160"/>
              <a:gd name="T76" fmla="*/ 131 w 160"/>
              <a:gd name="T77" fmla="*/ 127 h 160"/>
              <a:gd name="T78" fmla="*/ 147 w 160"/>
              <a:gd name="T79" fmla="*/ 121 h 160"/>
              <a:gd name="T80" fmla="*/ 141 w 160"/>
              <a:gd name="T81" fmla="*/ 112 h 160"/>
              <a:gd name="T82" fmla="*/ 155 w 160"/>
              <a:gd name="T83" fmla="*/ 103 h 160"/>
              <a:gd name="T84" fmla="*/ 148 w 160"/>
              <a:gd name="T85" fmla="*/ 95 h 160"/>
              <a:gd name="T86" fmla="*/ 112 w 160"/>
              <a:gd name="T87" fmla="*/ 135 h 160"/>
              <a:gd name="T88" fmla="*/ 80 w 160"/>
              <a:gd name="T89" fmla="*/ 109 h 160"/>
              <a:gd name="T90" fmla="*/ 134 w 160"/>
              <a:gd name="T91" fmla="*/ 114 h 160"/>
              <a:gd name="T92" fmla="*/ 77 w 160"/>
              <a:gd name="T93" fmla="*/ 16 h 160"/>
              <a:gd name="T94" fmla="*/ 53 w 160"/>
              <a:gd name="T95" fmla="*/ 92 h 160"/>
              <a:gd name="T96" fmla="*/ 92 w 160"/>
              <a:gd name="T97" fmla="*/ 101 h 160"/>
              <a:gd name="T98" fmla="*/ 101 w 160"/>
              <a:gd name="T99" fmla="*/ 68 h 160"/>
              <a:gd name="T100" fmla="*/ 105 w 160"/>
              <a:gd name="T101" fmla="*/ 65 h 160"/>
              <a:gd name="T102" fmla="*/ 135 w 160"/>
              <a:gd name="T103" fmla="*/ 48 h 160"/>
              <a:gd name="T104" fmla="*/ 84 w 160"/>
              <a:gd name="T105" fmla="*/ 65 h 160"/>
              <a:gd name="T106" fmla="*/ 66 w 160"/>
              <a:gd name="T107" fmla="*/ 88 h 160"/>
              <a:gd name="T108" fmla="*/ 88 w 160"/>
              <a:gd name="T109" fmla="*/ 94 h 160"/>
              <a:gd name="T110" fmla="*/ 84 w 160"/>
              <a:gd name="T111" fmla="*/ 65 h 160"/>
              <a:gd name="T112" fmla="*/ 77 w 160"/>
              <a:gd name="T113" fmla="*/ 90 h 160"/>
              <a:gd name="T114" fmla="*/ 75 w 160"/>
              <a:gd name="T115" fmla="*/ 71 h 160"/>
              <a:gd name="T116" fmla="*/ 89 w 160"/>
              <a:gd name="T117" fmla="*/ 7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60">
                <a:moveTo>
                  <a:pt x="157" y="83"/>
                </a:moveTo>
                <a:cubicBezTo>
                  <a:pt x="159" y="83"/>
                  <a:pt x="160" y="81"/>
                  <a:pt x="160" y="80"/>
                </a:cubicBezTo>
                <a:cubicBezTo>
                  <a:pt x="160" y="79"/>
                  <a:pt x="159" y="77"/>
                  <a:pt x="157" y="77"/>
                </a:cubicBezTo>
                <a:cubicBezTo>
                  <a:pt x="149" y="77"/>
                  <a:pt x="149" y="77"/>
                  <a:pt x="149" y="77"/>
                </a:cubicBezTo>
                <a:cubicBezTo>
                  <a:pt x="149" y="73"/>
                  <a:pt x="149" y="69"/>
                  <a:pt x="148" y="65"/>
                </a:cubicBezTo>
                <a:cubicBezTo>
                  <a:pt x="155" y="63"/>
                  <a:pt x="155" y="63"/>
                  <a:pt x="155" y="63"/>
                </a:cubicBezTo>
                <a:cubicBezTo>
                  <a:pt x="157" y="62"/>
                  <a:pt x="158" y="61"/>
                  <a:pt x="157" y="59"/>
                </a:cubicBezTo>
                <a:cubicBezTo>
                  <a:pt x="157" y="58"/>
                  <a:pt x="155" y="57"/>
                  <a:pt x="154" y="57"/>
                </a:cubicBezTo>
                <a:cubicBezTo>
                  <a:pt x="146" y="59"/>
                  <a:pt x="146" y="59"/>
                  <a:pt x="146" y="59"/>
                </a:cubicBezTo>
                <a:cubicBezTo>
                  <a:pt x="145" y="55"/>
                  <a:pt x="143" y="52"/>
                  <a:pt x="141" y="48"/>
                </a:cubicBezTo>
                <a:cubicBezTo>
                  <a:pt x="148" y="44"/>
                  <a:pt x="148" y="44"/>
                  <a:pt x="148" y="44"/>
                </a:cubicBezTo>
                <a:cubicBezTo>
                  <a:pt x="150" y="43"/>
                  <a:pt x="150" y="41"/>
                  <a:pt x="149" y="40"/>
                </a:cubicBezTo>
                <a:cubicBezTo>
                  <a:pt x="149" y="39"/>
                  <a:pt x="147" y="38"/>
                  <a:pt x="146" y="39"/>
                </a:cubicBezTo>
                <a:cubicBezTo>
                  <a:pt x="139" y="43"/>
                  <a:pt x="139" y="43"/>
                  <a:pt x="139" y="43"/>
                </a:cubicBezTo>
                <a:cubicBezTo>
                  <a:pt x="136" y="39"/>
                  <a:pt x="134" y="36"/>
                  <a:pt x="131" y="33"/>
                </a:cubicBezTo>
                <a:cubicBezTo>
                  <a:pt x="137" y="27"/>
                  <a:pt x="137" y="27"/>
                  <a:pt x="137" y="27"/>
                </a:cubicBezTo>
                <a:cubicBezTo>
                  <a:pt x="138" y="26"/>
                  <a:pt x="138" y="24"/>
                  <a:pt x="137" y="23"/>
                </a:cubicBezTo>
                <a:cubicBezTo>
                  <a:pt x="136" y="22"/>
                  <a:pt x="134" y="22"/>
                  <a:pt x="133" y="23"/>
                </a:cubicBezTo>
                <a:cubicBezTo>
                  <a:pt x="127" y="29"/>
                  <a:pt x="127" y="29"/>
                  <a:pt x="127" y="29"/>
                </a:cubicBezTo>
                <a:cubicBezTo>
                  <a:pt x="124" y="26"/>
                  <a:pt x="121" y="24"/>
                  <a:pt x="117" y="21"/>
                </a:cubicBezTo>
                <a:cubicBezTo>
                  <a:pt x="121" y="14"/>
                  <a:pt x="121" y="14"/>
                  <a:pt x="121" y="14"/>
                </a:cubicBezTo>
                <a:cubicBezTo>
                  <a:pt x="122" y="13"/>
                  <a:pt x="121" y="11"/>
                  <a:pt x="120" y="11"/>
                </a:cubicBezTo>
                <a:cubicBezTo>
                  <a:pt x="119" y="10"/>
                  <a:pt x="117" y="10"/>
                  <a:pt x="116" y="12"/>
                </a:cubicBezTo>
                <a:cubicBezTo>
                  <a:pt x="112" y="19"/>
                  <a:pt x="112" y="19"/>
                  <a:pt x="112" y="19"/>
                </a:cubicBezTo>
                <a:cubicBezTo>
                  <a:pt x="109" y="17"/>
                  <a:pt x="105" y="15"/>
                  <a:pt x="100" y="14"/>
                </a:cubicBezTo>
                <a:cubicBezTo>
                  <a:pt x="103" y="6"/>
                  <a:pt x="103" y="6"/>
                  <a:pt x="103" y="6"/>
                </a:cubicBezTo>
                <a:cubicBezTo>
                  <a:pt x="103" y="5"/>
                  <a:pt x="102" y="3"/>
                  <a:pt x="101" y="3"/>
                </a:cubicBezTo>
                <a:cubicBezTo>
                  <a:pt x="99" y="2"/>
                  <a:pt x="98" y="3"/>
                  <a:pt x="97" y="5"/>
                </a:cubicBezTo>
                <a:cubicBezTo>
                  <a:pt x="95" y="12"/>
                  <a:pt x="95" y="12"/>
                  <a:pt x="95" y="12"/>
                </a:cubicBezTo>
                <a:cubicBezTo>
                  <a:pt x="91" y="11"/>
                  <a:pt x="87" y="11"/>
                  <a:pt x="83" y="11"/>
                </a:cubicBezTo>
                <a:cubicBezTo>
                  <a:pt x="83" y="3"/>
                  <a:pt x="83" y="3"/>
                  <a:pt x="83" y="3"/>
                </a:cubicBezTo>
                <a:cubicBezTo>
                  <a:pt x="83" y="1"/>
                  <a:pt x="81" y="0"/>
                  <a:pt x="80" y="0"/>
                </a:cubicBezTo>
                <a:cubicBezTo>
                  <a:pt x="79" y="0"/>
                  <a:pt x="77" y="1"/>
                  <a:pt x="77" y="3"/>
                </a:cubicBezTo>
                <a:cubicBezTo>
                  <a:pt x="77" y="11"/>
                  <a:pt x="77" y="11"/>
                  <a:pt x="77" y="11"/>
                </a:cubicBezTo>
                <a:cubicBezTo>
                  <a:pt x="73" y="11"/>
                  <a:pt x="69" y="11"/>
                  <a:pt x="65" y="12"/>
                </a:cubicBezTo>
                <a:cubicBezTo>
                  <a:pt x="63" y="5"/>
                  <a:pt x="63" y="5"/>
                  <a:pt x="63" y="5"/>
                </a:cubicBezTo>
                <a:cubicBezTo>
                  <a:pt x="62" y="3"/>
                  <a:pt x="61" y="2"/>
                  <a:pt x="59" y="3"/>
                </a:cubicBezTo>
                <a:cubicBezTo>
                  <a:pt x="58" y="3"/>
                  <a:pt x="57" y="5"/>
                  <a:pt x="57" y="6"/>
                </a:cubicBezTo>
                <a:cubicBezTo>
                  <a:pt x="59" y="14"/>
                  <a:pt x="59" y="14"/>
                  <a:pt x="59" y="14"/>
                </a:cubicBezTo>
                <a:cubicBezTo>
                  <a:pt x="55" y="15"/>
                  <a:pt x="52" y="17"/>
                  <a:pt x="48" y="19"/>
                </a:cubicBezTo>
                <a:cubicBezTo>
                  <a:pt x="44" y="12"/>
                  <a:pt x="44" y="12"/>
                  <a:pt x="44" y="12"/>
                </a:cubicBezTo>
                <a:cubicBezTo>
                  <a:pt x="43" y="10"/>
                  <a:pt x="41" y="10"/>
                  <a:pt x="40" y="11"/>
                </a:cubicBezTo>
                <a:cubicBezTo>
                  <a:pt x="39" y="11"/>
                  <a:pt x="38" y="13"/>
                  <a:pt x="39" y="14"/>
                </a:cubicBezTo>
                <a:cubicBezTo>
                  <a:pt x="43" y="21"/>
                  <a:pt x="43" y="21"/>
                  <a:pt x="43" y="21"/>
                </a:cubicBezTo>
                <a:cubicBezTo>
                  <a:pt x="39" y="24"/>
                  <a:pt x="36" y="26"/>
                  <a:pt x="33" y="29"/>
                </a:cubicBezTo>
                <a:cubicBezTo>
                  <a:pt x="27" y="23"/>
                  <a:pt x="27" y="23"/>
                  <a:pt x="27" y="23"/>
                </a:cubicBezTo>
                <a:cubicBezTo>
                  <a:pt x="26" y="22"/>
                  <a:pt x="24" y="22"/>
                  <a:pt x="23" y="23"/>
                </a:cubicBezTo>
                <a:cubicBezTo>
                  <a:pt x="22" y="24"/>
                  <a:pt x="22" y="26"/>
                  <a:pt x="23" y="27"/>
                </a:cubicBezTo>
                <a:cubicBezTo>
                  <a:pt x="29" y="33"/>
                  <a:pt x="29" y="33"/>
                  <a:pt x="29" y="33"/>
                </a:cubicBezTo>
                <a:cubicBezTo>
                  <a:pt x="26" y="36"/>
                  <a:pt x="24" y="39"/>
                  <a:pt x="21" y="43"/>
                </a:cubicBezTo>
                <a:cubicBezTo>
                  <a:pt x="14" y="39"/>
                  <a:pt x="14" y="39"/>
                  <a:pt x="14" y="39"/>
                </a:cubicBezTo>
                <a:cubicBezTo>
                  <a:pt x="13" y="38"/>
                  <a:pt x="11" y="39"/>
                  <a:pt x="11" y="40"/>
                </a:cubicBezTo>
                <a:cubicBezTo>
                  <a:pt x="10" y="41"/>
                  <a:pt x="10" y="43"/>
                  <a:pt x="12" y="44"/>
                </a:cubicBezTo>
                <a:cubicBezTo>
                  <a:pt x="19" y="48"/>
                  <a:pt x="19" y="48"/>
                  <a:pt x="19" y="48"/>
                </a:cubicBezTo>
                <a:cubicBezTo>
                  <a:pt x="17" y="51"/>
                  <a:pt x="15" y="55"/>
                  <a:pt x="14" y="60"/>
                </a:cubicBezTo>
                <a:cubicBezTo>
                  <a:pt x="6" y="57"/>
                  <a:pt x="6" y="57"/>
                  <a:pt x="6" y="57"/>
                </a:cubicBezTo>
                <a:cubicBezTo>
                  <a:pt x="5" y="57"/>
                  <a:pt x="3" y="58"/>
                  <a:pt x="3" y="59"/>
                </a:cubicBezTo>
                <a:cubicBezTo>
                  <a:pt x="2" y="61"/>
                  <a:pt x="3" y="62"/>
                  <a:pt x="5" y="63"/>
                </a:cubicBezTo>
                <a:cubicBezTo>
                  <a:pt x="12" y="65"/>
                  <a:pt x="12" y="65"/>
                  <a:pt x="12" y="65"/>
                </a:cubicBezTo>
                <a:cubicBezTo>
                  <a:pt x="11" y="69"/>
                  <a:pt x="11" y="73"/>
                  <a:pt x="11" y="77"/>
                </a:cubicBezTo>
                <a:cubicBezTo>
                  <a:pt x="3" y="77"/>
                  <a:pt x="3" y="77"/>
                  <a:pt x="3" y="77"/>
                </a:cubicBezTo>
                <a:cubicBezTo>
                  <a:pt x="1" y="77"/>
                  <a:pt x="0" y="79"/>
                  <a:pt x="0" y="80"/>
                </a:cubicBezTo>
                <a:cubicBezTo>
                  <a:pt x="0" y="81"/>
                  <a:pt x="1" y="83"/>
                  <a:pt x="3" y="83"/>
                </a:cubicBezTo>
                <a:cubicBezTo>
                  <a:pt x="11" y="83"/>
                  <a:pt x="11" y="83"/>
                  <a:pt x="11" y="83"/>
                </a:cubicBezTo>
                <a:cubicBezTo>
                  <a:pt x="11" y="87"/>
                  <a:pt x="11" y="91"/>
                  <a:pt x="12" y="95"/>
                </a:cubicBezTo>
                <a:cubicBezTo>
                  <a:pt x="5" y="97"/>
                  <a:pt x="5" y="97"/>
                  <a:pt x="5" y="97"/>
                </a:cubicBezTo>
                <a:cubicBezTo>
                  <a:pt x="3" y="98"/>
                  <a:pt x="2" y="99"/>
                  <a:pt x="3" y="101"/>
                </a:cubicBezTo>
                <a:cubicBezTo>
                  <a:pt x="3" y="102"/>
                  <a:pt x="4" y="103"/>
                  <a:pt x="5" y="103"/>
                </a:cubicBezTo>
                <a:cubicBezTo>
                  <a:pt x="6" y="103"/>
                  <a:pt x="6" y="103"/>
                  <a:pt x="6" y="103"/>
                </a:cubicBezTo>
                <a:cubicBezTo>
                  <a:pt x="14" y="101"/>
                  <a:pt x="14" y="101"/>
                  <a:pt x="14" y="101"/>
                </a:cubicBezTo>
                <a:cubicBezTo>
                  <a:pt x="15" y="105"/>
                  <a:pt x="17" y="108"/>
                  <a:pt x="19" y="112"/>
                </a:cubicBezTo>
                <a:cubicBezTo>
                  <a:pt x="12" y="116"/>
                  <a:pt x="12" y="116"/>
                  <a:pt x="12" y="116"/>
                </a:cubicBezTo>
                <a:cubicBezTo>
                  <a:pt x="10" y="117"/>
                  <a:pt x="10" y="119"/>
                  <a:pt x="11" y="120"/>
                </a:cubicBezTo>
                <a:cubicBezTo>
                  <a:pt x="11" y="121"/>
                  <a:pt x="12" y="121"/>
                  <a:pt x="13" y="121"/>
                </a:cubicBezTo>
                <a:cubicBezTo>
                  <a:pt x="13" y="121"/>
                  <a:pt x="14" y="121"/>
                  <a:pt x="14" y="121"/>
                </a:cubicBezTo>
                <a:cubicBezTo>
                  <a:pt x="21" y="117"/>
                  <a:pt x="21" y="117"/>
                  <a:pt x="21" y="117"/>
                </a:cubicBezTo>
                <a:cubicBezTo>
                  <a:pt x="24" y="121"/>
                  <a:pt x="26" y="124"/>
                  <a:pt x="29" y="127"/>
                </a:cubicBezTo>
                <a:cubicBezTo>
                  <a:pt x="23" y="133"/>
                  <a:pt x="23" y="133"/>
                  <a:pt x="23" y="133"/>
                </a:cubicBezTo>
                <a:cubicBezTo>
                  <a:pt x="22" y="134"/>
                  <a:pt x="22" y="136"/>
                  <a:pt x="23" y="137"/>
                </a:cubicBezTo>
                <a:cubicBezTo>
                  <a:pt x="24" y="137"/>
                  <a:pt x="25" y="137"/>
                  <a:pt x="25" y="137"/>
                </a:cubicBezTo>
                <a:cubicBezTo>
                  <a:pt x="26" y="137"/>
                  <a:pt x="27" y="137"/>
                  <a:pt x="27" y="137"/>
                </a:cubicBezTo>
                <a:cubicBezTo>
                  <a:pt x="33" y="131"/>
                  <a:pt x="33" y="131"/>
                  <a:pt x="33" y="131"/>
                </a:cubicBezTo>
                <a:cubicBezTo>
                  <a:pt x="36" y="134"/>
                  <a:pt x="39" y="136"/>
                  <a:pt x="43" y="139"/>
                </a:cubicBezTo>
                <a:cubicBezTo>
                  <a:pt x="39" y="146"/>
                  <a:pt x="39" y="146"/>
                  <a:pt x="39" y="146"/>
                </a:cubicBezTo>
                <a:cubicBezTo>
                  <a:pt x="38" y="147"/>
                  <a:pt x="39" y="149"/>
                  <a:pt x="40" y="149"/>
                </a:cubicBezTo>
                <a:cubicBezTo>
                  <a:pt x="40" y="150"/>
                  <a:pt x="41" y="150"/>
                  <a:pt x="41" y="150"/>
                </a:cubicBezTo>
                <a:cubicBezTo>
                  <a:pt x="42" y="150"/>
                  <a:pt x="43" y="149"/>
                  <a:pt x="44" y="148"/>
                </a:cubicBezTo>
                <a:cubicBezTo>
                  <a:pt x="48" y="141"/>
                  <a:pt x="48" y="141"/>
                  <a:pt x="48" y="141"/>
                </a:cubicBezTo>
                <a:cubicBezTo>
                  <a:pt x="51" y="143"/>
                  <a:pt x="55" y="145"/>
                  <a:pt x="60" y="146"/>
                </a:cubicBezTo>
                <a:cubicBezTo>
                  <a:pt x="57" y="154"/>
                  <a:pt x="57" y="154"/>
                  <a:pt x="57" y="154"/>
                </a:cubicBezTo>
                <a:cubicBezTo>
                  <a:pt x="57" y="155"/>
                  <a:pt x="58" y="157"/>
                  <a:pt x="59" y="157"/>
                </a:cubicBezTo>
                <a:cubicBezTo>
                  <a:pt x="60" y="157"/>
                  <a:pt x="60" y="157"/>
                  <a:pt x="60" y="157"/>
                </a:cubicBezTo>
                <a:cubicBezTo>
                  <a:pt x="61" y="157"/>
                  <a:pt x="62" y="157"/>
                  <a:pt x="63" y="155"/>
                </a:cubicBezTo>
                <a:cubicBezTo>
                  <a:pt x="65" y="148"/>
                  <a:pt x="65" y="148"/>
                  <a:pt x="65" y="148"/>
                </a:cubicBezTo>
                <a:cubicBezTo>
                  <a:pt x="69" y="148"/>
                  <a:pt x="73" y="149"/>
                  <a:pt x="77" y="149"/>
                </a:cubicBezTo>
                <a:cubicBezTo>
                  <a:pt x="77" y="157"/>
                  <a:pt x="77" y="157"/>
                  <a:pt x="77" y="157"/>
                </a:cubicBezTo>
                <a:cubicBezTo>
                  <a:pt x="77" y="159"/>
                  <a:pt x="79" y="160"/>
                  <a:pt x="80" y="160"/>
                </a:cubicBezTo>
                <a:cubicBezTo>
                  <a:pt x="81" y="160"/>
                  <a:pt x="83" y="159"/>
                  <a:pt x="83" y="157"/>
                </a:cubicBezTo>
                <a:cubicBezTo>
                  <a:pt x="83" y="149"/>
                  <a:pt x="83" y="149"/>
                  <a:pt x="83" y="149"/>
                </a:cubicBezTo>
                <a:cubicBezTo>
                  <a:pt x="87" y="149"/>
                  <a:pt x="91" y="149"/>
                  <a:pt x="95" y="148"/>
                </a:cubicBezTo>
                <a:cubicBezTo>
                  <a:pt x="97" y="155"/>
                  <a:pt x="97" y="155"/>
                  <a:pt x="97" y="155"/>
                </a:cubicBezTo>
                <a:cubicBezTo>
                  <a:pt x="98" y="157"/>
                  <a:pt x="99" y="157"/>
                  <a:pt x="100" y="157"/>
                </a:cubicBezTo>
                <a:cubicBezTo>
                  <a:pt x="100" y="157"/>
                  <a:pt x="100" y="157"/>
                  <a:pt x="101" y="157"/>
                </a:cubicBezTo>
                <a:cubicBezTo>
                  <a:pt x="102" y="157"/>
                  <a:pt x="103" y="155"/>
                  <a:pt x="103" y="154"/>
                </a:cubicBezTo>
                <a:cubicBezTo>
                  <a:pt x="101" y="146"/>
                  <a:pt x="101" y="146"/>
                  <a:pt x="101" y="146"/>
                </a:cubicBezTo>
                <a:cubicBezTo>
                  <a:pt x="105" y="145"/>
                  <a:pt x="108" y="143"/>
                  <a:pt x="112" y="141"/>
                </a:cubicBezTo>
                <a:cubicBezTo>
                  <a:pt x="116" y="148"/>
                  <a:pt x="116" y="148"/>
                  <a:pt x="116" y="148"/>
                </a:cubicBezTo>
                <a:cubicBezTo>
                  <a:pt x="117" y="149"/>
                  <a:pt x="118" y="150"/>
                  <a:pt x="119" y="150"/>
                </a:cubicBezTo>
                <a:cubicBezTo>
                  <a:pt x="119" y="150"/>
                  <a:pt x="120" y="150"/>
                  <a:pt x="120" y="149"/>
                </a:cubicBezTo>
                <a:cubicBezTo>
                  <a:pt x="121" y="149"/>
                  <a:pt x="122" y="147"/>
                  <a:pt x="121" y="146"/>
                </a:cubicBezTo>
                <a:cubicBezTo>
                  <a:pt x="117" y="139"/>
                  <a:pt x="117" y="139"/>
                  <a:pt x="117" y="139"/>
                </a:cubicBezTo>
                <a:cubicBezTo>
                  <a:pt x="121" y="136"/>
                  <a:pt x="124" y="134"/>
                  <a:pt x="127" y="131"/>
                </a:cubicBezTo>
                <a:cubicBezTo>
                  <a:pt x="133" y="137"/>
                  <a:pt x="133" y="137"/>
                  <a:pt x="133" y="137"/>
                </a:cubicBezTo>
                <a:cubicBezTo>
                  <a:pt x="133" y="137"/>
                  <a:pt x="134" y="137"/>
                  <a:pt x="135" y="137"/>
                </a:cubicBezTo>
                <a:cubicBezTo>
                  <a:pt x="135" y="137"/>
                  <a:pt x="136" y="137"/>
                  <a:pt x="137" y="137"/>
                </a:cubicBezTo>
                <a:cubicBezTo>
                  <a:pt x="138" y="136"/>
                  <a:pt x="138" y="134"/>
                  <a:pt x="137" y="133"/>
                </a:cubicBezTo>
                <a:cubicBezTo>
                  <a:pt x="131" y="127"/>
                  <a:pt x="131" y="127"/>
                  <a:pt x="131" y="127"/>
                </a:cubicBezTo>
                <a:cubicBezTo>
                  <a:pt x="134" y="124"/>
                  <a:pt x="136" y="121"/>
                  <a:pt x="139" y="117"/>
                </a:cubicBezTo>
                <a:cubicBezTo>
                  <a:pt x="146" y="121"/>
                  <a:pt x="146" y="121"/>
                  <a:pt x="146" y="121"/>
                </a:cubicBezTo>
                <a:cubicBezTo>
                  <a:pt x="146" y="121"/>
                  <a:pt x="147" y="121"/>
                  <a:pt x="147" y="121"/>
                </a:cubicBezTo>
                <a:cubicBezTo>
                  <a:pt x="148" y="121"/>
                  <a:pt x="149" y="121"/>
                  <a:pt x="149" y="120"/>
                </a:cubicBezTo>
                <a:cubicBezTo>
                  <a:pt x="150" y="119"/>
                  <a:pt x="150" y="117"/>
                  <a:pt x="148" y="116"/>
                </a:cubicBezTo>
                <a:cubicBezTo>
                  <a:pt x="141" y="112"/>
                  <a:pt x="141" y="112"/>
                  <a:pt x="141" y="112"/>
                </a:cubicBezTo>
                <a:cubicBezTo>
                  <a:pt x="143" y="109"/>
                  <a:pt x="145" y="105"/>
                  <a:pt x="146" y="100"/>
                </a:cubicBezTo>
                <a:cubicBezTo>
                  <a:pt x="154" y="103"/>
                  <a:pt x="154" y="103"/>
                  <a:pt x="154" y="103"/>
                </a:cubicBezTo>
                <a:cubicBezTo>
                  <a:pt x="154" y="103"/>
                  <a:pt x="154" y="103"/>
                  <a:pt x="155" y="103"/>
                </a:cubicBezTo>
                <a:cubicBezTo>
                  <a:pt x="156" y="103"/>
                  <a:pt x="157" y="102"/>
                  <a:pt x="157" y="101"/>
                </a:cubicBezTo>
                <a:cubicBezTo>
                  <a:pt x="158" y="99"/>
                  <a:pt x="157" y="98"/>
                  <a:pt x="155" y="97"/>
                </a:cubicBezTo>
                <a:cubicBezTo>
                  <a:pt x="148" y="95"/>
                  <a:pt x="148" y="95"/>
                  <a:pt x="148" y="95"/>
                </a:cubicBezTo>
                <a:cubicBezTo>
                  <a:pt x="149" y="91"/>
                  <a:pt x="149" y="87"/>
                  <a:pt x="149" y="83"/>
                </a:cubicBezTo>
                <a:lnTo>
                  <a:pt x="157" y="83"/>
                </a:lnTo>
                <a:close/>
                <a:moveTo>
                  <a:pt x="112" y="135"/>
                </a:moveTo>
                <a:cubicBezTo>
                  <a:pt x="82" y="153"/>
                  <a:pt x="44" y="143"/>
                  <a:pt x="26" y="114"/>
                </a:cubicBezTo>
                <a:cubicBezTo>
                  <a:pt x="56" y="97"/>
                  <a:pt x="56" y="97"/>
                  <a:pt x="56" y="97"/>
                </a:cubicBezTo>
                <a:cubicBezTo>
                  <a:pt x="62" y="105"/>
                  <a:pt x="71" y="109"/>
                  <a:pt x="80" y="109"/>
                </a:cubicBezTo>
                <a:cubicBezTo>
                  <a:pt x="85" y="109"/>
                  <a:pt x="90" y="108"/>
                  <a:pt x="95" y="105"/>
                </a:cubicBezTo>
                <a:cubicBezTo>
                  <a:pt x="98" y="103"/>
                  <a:pt x="102" y="100"/>
                  <a:pt x="104" y="97"/>
                </a:cubicBezTo>
                <a:cubicBezTo>
                  <a:pt x="134" y="114"/>
                  <a:pt x="134" y="114"/>
                  <a:pt x="134" y="114"/>
                </a:cubicBezTo>
                <a:cubicBezTo>
                  <a:pt x="129" y="123"/>
                  <a:pt x="121" y="130"/>
                  <a:pt x="112" y="135"/>
                </a:cubicBezTo>
                <a:close/>
                <a:moveTo>
                  <a:pt x="48" y="25"/>
                </a:moveTo>
                <a:cubicBezTo>
                  <a:pt x="57" y="19"/>
                  <a:pt x="67" y="16"/>
                  <a:pt x="77" y="16"/>
                </a:cubicBezTo>
                <a:cubicBezTo>
                  <a:pt x="77" y="51"/>
                  <a:pt x="77" y="51"/>
                  <a:pt x="77" y="51"/>
                </a:cubicBezTo>
                <a:cubicBezTo>
                  <a:pt x="73" y="51"/>
                  <a:pt x="69" y="52"/>
                  <a:pt x="65" y="55"/>
                </a:cubicBezTo>
                <a:cubicBezTo>
                  <a:pt x="52" y="62"/>
                  <a:pt x="47" y="79"/>
                  <a:pt x="53" y="92"/>
                </a:cubicBezTo>
                <a:cubicBezTo>
                  <a:pt x="23" y="110"/>
                  <a:pt x="23" y="110"/>
                  <a:pt x="23" y="110"/>
                </a:cubicBezTo>
                <a:cubicBezTo>
                  <a:pt x="7" y="79"/>
                  <a:pt x="18" y="42"/>
                  <a:pt x="48" y="25"/>
                </a:cubicBezTo>
                <a:close/>
                <a:moveTo>
                  <a:pt x="92" y="101"/>
                </a:moveTo>
                <a:cubicBezTo>
                  <a:pt x="81" y="107"/>
                  <a:pt x="66" y="103"/>
                  <a:pt x="59" y="92"/>
                </a:cubicBezTo>
                <a:cubicBezTo>
                  <a:pt x="53" y="81"/>
                  <a:pt x="57" y="66"/>
                  <a:pt x="68" y="59"/>
                </a:cubicBezTo>
                <a:cubicBezTo>
                  <a:pt x="79" y="53"/>
                  <a:pt x="94" y="57"/>
                  <a:pt x="101" y="68"/>
                </a:cubicBezTo>
                <a:cubicBezTo>
                  <a:pt x="107" y="79"/>
                  <a:pt x="103" y="94"/>
                  <a:pt x="92" y="101"/>
                </a:cubicBezTo>
                <a:close/>
                <a:moveTo>
                  <a:pt x="107" y="92"/>
                </a:moveTo>
                <a:cubicBezTo>
                  <a:pt x="110" y="84"/>
                  <a:pt x="110" y="74"/>
                  <a:pt x="105" y="65"/>
                </a:cubicBezTo>
                <a:cubicBezTo>
                  <a:pt x="100" y="57"/>
                  <a:pt x="92" y="52"/>
                  <a:pt x="83" y="51"/>
                </a:cubicBezTo>
                <a:cubicBezTo>
                  <a:pt x="83" y="16"/>
                  <a:pt x="83" y="16"/>
                  <a:pt x="83" y="16"/>
                </a:cubicBezTo>
                <a:cubicBezTo>
                  <a:pt x="104" y="17"/>
                  <a:pt x="124" y="28"/>
                  <a:pt x="135" y="48"/>
                </a:cubicBezTo>
                <a:cubicBezTo>
                  <a:pt x="147" y="68"/>
                  <a:pt x="146" y="91"/>
                  <a:pt x="137" y="110"/>
                </a:cubicBezTo>
                <a:lnTo>
                  <a:pt x="107" y="92"/>
                </a:lnTo>
                <a:close/>
                <a:moveTo>
                  <a:pt x="84" y="65"/>
                </a:moveTo>
                <a:cubicBezTo>
                  <a:pt x="80" y="63"/>
                  <a:pt x="76" y="64"/>
                  <a:pt x="72" y="66"/>
                </a:cubicBezTo>
                <a:cubicBezTo>
                  <a:pt x="68" y="68"/>
                  <a:pt x="66" y="72"/>
                  <a:pt x="65" y="76"/>
                </a:cubicBezTo>
                <a:cubicBezTo>
                  <a:pt x="63" y="80"/>
                  <a:pt x="64" y="84"/>
                  <a:pt x="66" y="88"/>
                </a:cubicBezTo>
                <a:cubicBezTo>
                  <a:pt x="68" y="92"/>
                  <a:pt x="72" y="94"/>
                  <a:pt x="76" y="95"/>
                </a:cubicBezTo>
                <a:cubicBezTo>
                  <a:pt x="77" y="96"/>
                  <a:pt x="79" y="96"/>
                  <a:pt x="80" y="96"/>
                </a:cubicBezTo>
                <a:cubicBezTo>
                  <a:pt x="83" y="96"/>
                  <a:pt x="86" y="95"/>
                  <a:pt x="88" y="94"/>
                </a:cubicBezTo>
                <a:cubicBezTo>
                  <a:pt x="92" y="92"/>
                  <a:pt x="94" y="88"/>
                  <a:pt x="95" y="84"/>
                </a:cubicBezTo>
                <a:cubicBezTo>
                  <a:pt x="97" y="80"/>
                  <a:pt x="96" y="76"/>
                  <a:pt x="94" y="72"/>
                </a:cubicBezTo>
                <a:cubicBezTo>
                  <a:pt x="92" y="68"/>
                  <a:pt x="88" y="66"/>
                  <a:pt x="84" y="65"/>
                </a:cubicBezTo>
                <a:close/>
                <a:moveTo>
                  <a:pt x="90" y="83"/>
                </a:moveTo>
                <a:cubicBezTo>
                  <a:pt x="90" y="86"/>
                  <a:pt x="88" y="88"/>
                  <a:pt x="85" y="89"/>
                </a:cubicBezTo>
                <a:cubicBezTo>
                  <a:pt x="83" y="91"/>
                  <a:pt x="80" y="91"/>
                  <a:pt x="77" y="90"/>
                </a:cubicBezTo>
                <a:cubicBezTo>
                  <a:pt x="74" y="90"/>
                  <a:pt x="72" y="88"/>
                  <a:pt x="71" y="85"/>
                </a:cubicBezTo>
                <a:cubicBezTo>
                  <a:pt x="69" y="83"/>
                  <a:pt x="69" y="80"/>
                  <a:pt x="70" y="77"/>
                </a:cubicBezTo>
                <a:cubicBezTo>
                  <a:pt x="70" y="74"/>
                  <a:pt x="72" y="72"/>
                  <a:pt x="75" y="71"/>
                </a:cubicBezTo>
                <a:cubicBezTo>
                  <a:pt x="76" y="70"/>
                  <a:pt x="78" y="69"/>
                  <a:pt x="80" y="69"/>
                </a:cubicBezTo>
                <a:cubicBezTo>
                  <a:pt x="81" y="69"/>
                  <a:pt x="82" y="69"/>
                  <a:pt x="83" y="70"/>
                </a:cubicBezTo>
                <a:cubicBezTo>
                  <a:pt x="86" y="70"/>
                  <a:pt x="88" y="72"/>
                  <a:pt x="89" y="75"/>
                </a:cubicBezTo>
                <a:cubicBezTo>
                  <a:pt x="91" y="77"/>
                  <a:pt x="91" y="80"/>
                  <a:pt x="90" y="83"/>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1365">
            <a:extLst>
              <a:ext uri="{FF2B5EF4-FFF2-40B4-BE49-F238E27FC236}">
                <a16:creationId xmlns:a16="http://schemas.microsoft.com/office/drawing/2014/main" id="{8DD2636E-3BC9-914E-9F13-C51B56C93F11}"/>
              </a:ext>
            </a:extLst>
          </p:cNvPr>
          <p:cNvSpPr>
            <a:spLocks noEditPoints="1"/>
          </p:cNvSpPr>
          <p:nvPr/>
        </p:nvSpPr>
        <p:spPr bwMode="auto">
          <a:xfrm>
            <a:off x="9977282" y="3444875"/>
            <a:ext cx="546100" cy="550863"/>
          </a:xfrm>
          <a:custGeom>
            <a:avLst/>
            <a:gdLst>
              <a:gd name="T0" fmla="*/ 51 w 160"/>
              <a:gd name="T1" fmla="*/ 104 h 160"/>
              <a:gd name="T2" fmla="*/ 107 w 160"/>
              <a:gd name="T3" fmla="*/ 43 h 160"/>
              <a:gd name="T4" fmla="*/ 117 w 160"/>
              <a:gd name="T5" fmla="*/ 37 h 160"/>
              <a:gd name="T6" fmla="*/ 29 w 160"/>
              <a:gd name="T7" fmla="*/ 109 h 160"/>
              <a:gd name="T8" fmla="*/ 51 w 160"/>
              <a:gd name="T9" fmla="*/ 93 h 160"/>
              <a:gd name="T10" fmla="*/ 154 w 160"/>
              <a:gd name="T11" fmla="*/ 49 h 160"/>
              <a:gd name="T12" fmla="*/ 80 w 160"/>
              <a:gd name="T13" fmla="*/ 0 h 160"/>
              <a:gd name="T14" fmla="*/ 50 w 160"/>
              <a:gd name="T15" fmla="*/ 6 h 160"/>
              <a:gd name="T16" fmla="*/ 44 w 160"/>
              <a:gd name="T17" fmla="*/ 9 h 160"/>
              <a:gd name="T18" fmla="*/ 38 w 160"/>
              <a:gd name="T19" fmla="*/ 12 h 160"/>
              <a:gd name="T20" fmla="*/ 31 w 160"/>
              <a:gd name="T21" fmla="*/ 17 h 160"/>
              <a:gd name="T22" fmla="*/ 3 w 160"/>
              <a:gd name="T23" fmla="*/ 103 h 160"/>
              <a:gd name="T24" fmla="*/ 8 w 160"/>
              <a:gd name="T25" fmla="*/ 115 h 160"/>
              <a:gd name="T26" fmla="*/ 57 w 160"/>
              <a:gd name="T27" fmla="*/ 157 h 160"/>
              <a:gd name="T28" fmla="*/ 118 w 160"/>
              <a:gd name="T29" fmla="*/ 151 h 160"/>
              <a:gd name="T30" fmla="*/ 129 w 160"/>
              <a:gd name="T31" fmla="*/ 143 h 160"/>
              <a:gd name="T32" fmla="*/ 140 w 160"/>
              <a:gd name="T33" fmla="*/ 133 h 160"/>
              <a:gd name="T34" fmla="*/ 158 w 160"/>
              <a:gd name="T35" fmla="*/ 98 h 160"/>
              <a:gd name="T36" fmla="*/ 124 w 160"/>
              <a:gd name="T37" fmla="*/ 140 h 160"/>
              <a:gd name="T38" fmla="*/ 112 w 160"/>
              <a:gd name="T39" fmla="*/ 121 h 160"/>
              <a:gd name="T40" fmla="*/ 137 w 160"/>
              <a:gd name="T41" fmla="*/ 99 h 160"/>
              <a:gd name="T42" fmla="*/ 151 w 160"/>
              <a:gd name="T43" fmla="*/ 104 h 160"/>
              <a:gd name="T44" fmla="*/ 148 w 160"/>
              <a:gd name="T45" fmla="*/ 112 h 160"/>
              <a:gd name="T46" fmla="*/ 148 w 160"/>
              <a:gd name="T47" fmla="*/ 112 h 160"/>
              <a:gd name="T48" fmla="*/ 127 w 160"/>
              <a:gd name="T49" fmla="*/ 22 h 160"/>
              <a:gd name="T50" fmla="*/ 135 w 160"/>
              <a:gd name="T51" fmla="*/ 30 h 160"/>
              <a:gd name="T52" fmla="*/ 148 w 160"/>
              <a:gd name="T53" fmla="*/ 50 h 160"/>
              <a:gd name="T54" fmla="*/ 72 w 160"/>
              <a:gd name="T55" fmla="*/ 23 h 160"/>
              <a:gd name="T56" fmla="*/ 62 w 160"/>
              <a:gd name="T57" fmla="*/ 43 h 160"/>
              <a:gd name="T58" fmla="*/ 35 w 160"/>
              <a:gd name="T59" fmla="*/ 41 h 160"/>
              <a:gd name="T60" fmla="*/ 24 w 160"/>
              <a:gd name="T61" fmla="*/ 30 h 160"/>
              <a:gd name="T62" fmla="*/ 51 w 160"/>
              <a:gd name="T63" fmla="*/ 11 h 160"/>
              <a:gd name="T64" fmla="*/ 39 w 160"/>
              <a:gd name="T65" fmla="*/ 18 h 160"/>
              <a:gd name="T66" fmla="*/ 43 w 160"/>
              <a:gd name="T67" fmla="*/ 29 h 160"/>
              <a:gd name="T68" fmla="*/ 51 w 160"/>
              <a:gd name="T69" fmla="*/ 67 h 160"/>
              <a:gd name="T70" fmla="*/ 58 w 160"/>
              <a:gd name="T71" fmla="*/ 151 h 160"/>
              <a:gd name="T72" fmla="*/ 13 w 160"/>
              <a:gd name="T73" fmla="*/ 113 h 160"/>
              <a:gd name="T74" fmla="*/ 9 w 160"/>
              <a:gd name="T75" fmla="*/ 102 h 160"/>
              <a:gd name="T76" fmla="*/ 101 w 160"/>
              <a:gd name="T77" fmla="*/ 132 h 160"/>
              <a:gd name="T78" fmla="*/ 101 w 160"/>
              <a:gd name="T79" fmla="*/ 90 h 160"/>
              <a:gd name="T80" fmla="*/ 70 w 160"/>
              <a:gd name="T81" fmla="*/ 60 h 160"/>
              <a:gd name="T82" fmla="*/ 30 w 160"/>
              <a:gd name="T83" fmla="*/ 62 h 160"/>
              <a:gd name="T84" fmla="*/ 21 w 160"/>
              <a:gd name="T85" fmla="*/ 49 h 160"/>
              <a:gd name="T86" fmla="*/ 40 w 160"/>
              <a:gd name="T87" fmla="*/ 56 h 160"/>
              <a:gd name="T88" fmla="*/ 61 w 160"/>
              <a:gd name="T89" fmla="*/ 49 h 160"/>
              <a:gd name="T90" fmla="*/ 71 w 160"/>
              <a:gd name="T91" fmla="*/ 29 h 160"/>
              <a:gd name="T92" fmla="*/ 67 w 160"/>
              <a:gd name="T93" fmla="*/ 12 h 160"/>
              <a:gd name="T94" fmla="*/ 91 w 160"/>
              <a:gd name="T95" fmla="*/ 12 h 160"/>
              <a:gd name="T96" fmla="*/ 75 w 160"/>
              <a:gd name="T97" fmla="*/ 43 h 160"/>
              <a:gd name="T98" fmla="*/ 89 w 160"/>
              <a:gd name="T99" fmla="*/ 74 h 160"/>
              <a:gd name="T100" fmla="*/ 120 w 160"/>
              <a:gd name="T101" fmla="*/ 83 h 160"/>
              <a:gd name="T102" fmla="*/ 148 w 160"/>
              <a:gd name="T103" fmla="*/ 69 h 160"/>
              <a:gd name="T104" fmla="*/ 143 w 160"/>
              <a:gd name="T105" fmla="*/ 80 h 160"/>
              <a:gd name="T106" fmla="*/ 119 w 160"/>
              <a:gd name="T107" fmla="*/ 90 h 160"/>
              <a:gd name="T108" fmla="*/ 106 w 160"/>
              <a:gd name="T109" fmla="*/ 116 h 160"/>
              <a:gd name="T110" fmla="*/ 116 w 160"/>
              <a:gd name="T111" fmla="*/ 1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60">
                <a:moveTo>
                  <a:pt x="51" y="120"/>
                </a:moveTo>
                <a:cubicBezTo>
                  <a:pt x="57" y="120"/>
                  <a:pt x="61" y="115"/>
                  <a:pt x="61" y="109"/>
                </a:cubicBezTo>
                <a:cubicBezTo>
                  <a:pt x="61" y="103"/>
                  <a:pt x="57" y="99"/>
                  <a:pt x="51" y="99"/>
                </a:cubicBezTo>
                <a:cubicBezTo>
                  <a:pt x="45" y="99"/>
                  <a:pt x="40" y="103"/>
                  <a:pt x="40" y="109"/>
                </a:cubicBezTo>
                <a:cubicBezTo>
                  <a:pt x="40" y="115"/>
                  <a:pt x="45" y="120"/>
                  <a:pt x="51" y="120"/>
                </a:cubicBezTo>
                <a:close/>
                <a:moveTo>
                  <a:pt x="51" y="104"/>
                </a:moveTo>
                <a:cubicBezTo>
                  <a:pt x="54" y="104"/>
                  <a:pt x="56" y="106"/>
                  <a:pt x="56" y="109"/>
                </a:cubicBezTo>
                <a:cubicBezTo>
                  <a:pt x="56" y="112"/>
                  <a:pt x="54" y="115"/>
                  <a:pt x="51" y="115"/>
                </a:cubicBezTo>
                <a:cubicBezTo>
                  <a:pt x="48" y="115"/>
                  <a:pt x="45" y="112"/>
                  <a:pt x="45" y="109"/>
                </a:cubicBezTo>
                <a:cubicBezTo>
                  <a:pt x="45" y="106"/>
                  <a:pt x="48" y="104"/>
                  <a:pt x="51" y="104"/>
                </a:cubicBezTo>
                <a:close/>
                <a:moveTo>
                  <a:pt x="117" y="32"/>
                </a:moveTo>
                <a:cubicBezTo>
                  <a:pt x="111" y="32"/>
                  <a:pt x="107" y="37"/>
                  <a:pt x="107" y="43"/>
                </a:cubicBezTo>
                <a:cubicBezTo>
                  <a:pt x="107" y="49"/>
                  <a:pt x="111" y="53"/>
                  <a:pt x="117" y="53"/>
                </a:cubicBezTo>
                <a:cubicBezTo>
                  <a:pt x="123" y="53"/>
                  <a:pt x="128" y="49"/>
                  <a:pt x="128" y="43"/>
                </a:cubicBezTo>
                <a:cubicBezTo>
                  <a:pt x="128" y="37"/>
                  <a:pt x="123" y="32"/>
                  <a:pt x="117" y="32"/>
                </a:cubicBezTo>
                <a:close/>
                <a:moveTo>
                  <a:pt x="117" y="48"/>
                </a:moveTo>
                <a:cubicBezTo>
                  <a:pt x="114" y="48"/>
                  <a:pt x="112" y="46"/>
                  <a:pt x="112" y="43"/>
                </a:cubicBezTo>
                <a:cubicBezTo>
                  <a:pt x="112" y="40"/>
                  <a:pt x="114" y="37"/>
                  <a:pt x="117" y="37"/>
                </a:cubicBezTo>
                <a:cubicBezTo>
                  <a:pt x="120" y="37"/>
                  <a:pt x="123" y="40"/>
                  <a:pt x="123" y="43"/>
                </a:cubicBezTo>
                <a:cubicBezTo>
                  <a:pt x="123" y="46"/>
                  <a:pt x="120" y="48"/>
                  <a:pt x="117" y="48"/>
                </a:cubicBezTo>
                <a:close/>
                <a:moveTo>
                  <a:pt x="51" y="131"/>
                </a:moveTo>
                <a:cubicBezTo>
                  <a:pt x="62" y="131"/>
                  <a:pt x="72" y="121"/>
                  <a:pt x="72" y="109"/>
                </a:cubicBezTo>
                <a:cubicBezTo>
                  <a:pt x="72" y="98"/>
                  <a:pt x="62" y="88"/>
                  <a:pt x="51" y="88"/>
                </a:cubicBezTo>
                <a:cubicBezTo>
                  <a:pt x="39" y="88"/>
                  <a:pt x="29" y="98"/>
                  <a:pt x="29" y="109"/>
                </a:cubicBezTo>
                <a:cubicBezTo>
                  <a:pt x="29" y="121"/>
                  <a:pt x="39" y="131"/>
                  <a:pt x="51" y="131"/>
                </a:cubicBezTo>
                <a:close/>
                <a:moveTo>
                  <a:pt x="51" y="93"/>
                </a:moveTo>
                <a:cubicBezTo>
                  <a:pt x="59" y="93"/>
                  <a:pt x="67" y="101"/>
                  <a:pt x="67" y="109"/>
                </a:cubicBezTo>
                <a:cubicBezTo>
                  <a:pt x="67" y="118"/>
                  <a:pt x="59" y="125"/>
                  <a:pt x="51" y="125"/>
                </a:cubicBezTo>
                <a:cubicBezTo>
                  <a:pt x="42" y="125"/>
                  <a:pt x="35" y="118"/>
                  <a:pt x="35" y="109"/>
                </a:cubicBezTo>
                <a:cubicBezTo>
                  <a:pt x="35" y="101"/>
                  <a:pt x="42" y="93"/>
                  <a:pt x="51" y="93"/>
                </a:cubicBezTo>
                <a:close/>
                <a:moveTo>
                  <a:pt x="158" y="98"/>
                </a:moveTo>
                <a:cubicBezTo>
                  <a:pt x="158" y="97"/>
                  <a:pt x="158" y="96"/>
                  <a:pt x="159" y="94"/>
                </a:cubicBezTo>
                <a:cubicBezTo>
                  <a:pt x="159" y="94"/>
                  <a:pt x="159" y="94"/>
                  <a:pt x="159" y="94"/>
                </a:cubicBezTo>
                <a:cubicBezTo>
                  <a:pt x="159" y="94"/>
                  <a:pt x="159" y="94"/>
                  <a:pt x="159" y="94"/>
                </a:cubicBezTo>
                <a:cubicBezTo>
                  <a:pt x="160" y="90"/>
                  <a:pt x="160" y="85"/>
                  <a:pt x="160" y="80"/>
                </a:cubicBezTo>
                <a:cubicBezTo>
                  <a:pt x="160" y="69"/>
                  <a:pt x="158" y="59"/>
                  <a:pt x="154" y="49"/>
                </a:cubicBezTo>
                <a:cubicBezTo>
                  <a:pt x="154" y="49"/>
                  <a:pt x="154" y="49"/>
                  <a:pt x="154" y="49"/>
                </a:cubicBezTo>
                <a:cubicBezTo>
                  <a:pt x="151" y="42"/>
                  <a:pt x="146" y="35"/>
                  <a:pt x="141" y="29"/>
                </a:cubicBezTo>
                <a:cubicBezTo>
                  <a:pt x="138" y="25"/>
                  <a:pt x="135" y="22"/>
                  <a:pt x="131" y="19"/>
                </a:cubicBezTo>
                <a:cubicBezTo>
                  <a:pt x="125" y="14"/>
                  <a:pt x="119" y="9"/>
                  <a:pt x="111" y="6"/>
                </a:cubicBezTo>
                <a:cubicBezTo>
                  <a:pt x="111" y="6"/>
                  <a:pt x="111" y="6"/>
                  <a:pt x="111" y="6"/>
                </a:cubicBezTo>
                <a:cubicBezTo>
                  <a:pt x="101" y="2"/>
                  <a:pt x="91" y="0"/>
                  <a:pt x="80" y="0"/>
                </a:cubicBezTo>
                <a:cubicBezTo>
                  <a:pt x="75" y="0"/>
                  <a:pt x="71" y="0"/>
                  <a:pt x="66" y="1"/>
                </a:cubicBezTo>
                <a:cubicBezTo>
                  <a:pt x="66" y="1"/>
                  <a:pt x="66" y="1"/>
                  <a:pt x="66" y="1"/>
                </a:cubicBezTo>
                <a:cubicBezTo>
                  <a:pt x="66" y="1"/>
                  <a:pt x="66" y="1"/>
                  <a:pt x="66" y="1"/>
                </a:cubicBezTo>
                <a:cubicBezTo>
                  <a:pt x="65" y="1"/>
                  <a:pt x="64" y="2"/>
                  <a:pt x="63" y="2"/>
                </a:cubicBezTo>
                <a:cubicBezTo>
                  <a:pt x="63" y="2"/>
                  <a:pt x="63" y="2"/>
                  <a:pt x="63" y="2"/>
                </a:cubicBezTo>
                <a:cubicBezTo>
                  <a:pt x="59" y="3"/>
                  <a:pt x="54" y="4"/>
                  <a:pt x="50" y="6"/>
                </a:cubicBezTo>
                <a:cubicBezTo>
                  <a:pt x="50" y="6"/>
                  <a:pt x="50" y="6"/>
                  <a:pt x="49" y="6"/>
                </a:cubicBezTo>
                <a:cubicBezTo>
                  <a:pt x="49" y="6"/>
                  <a:pt x="48" y="7"/>
                  <a:pt x="48" y="7"/>
                </a:cubicBezTo>
                <a:cubicBezTo>
                  <a:pt x="47" y="7"/>
                  <a:pt x="46" y="7"/>
                  <a:pt x="46" y="8"/>
                </a:cubicBezTo>
                <a:cubicBezTo>
                  <a:pt x="45" y="8"/>
                  <a:pt x="45" y="8"/>
                  <a:pt x="44" y="8"/>
                </a:cubicBezTo>
                <a:cubicBezTo>
                  <a:pt x="44" y="8"/>
                  <a:pt x="44" y="9"/>
                  <a:pt x="44" y="9"/>
                </a:cubicBezTo>
                <a:cubicBezTo>
                  <a:pt x="44" y="9"/>
                  <a:pt x="44" y="9"/>
                  <a:pt x="44" y="9"/>
                </a:cubicBezTo>
                <a:cubicBezTo>
                  <a:pt x="44" y="9"/>
                  <a:pt x="44" y="9"/>
                  <a:pt x="43" y="9"/>
                </a:cubicBezTo>
                <a:cubicBezTo>
                  <a:pt x="43" y="9"/>
                  <a:pt x="43" y="9"/>
                  <a:pt x="42" y="9"/>
                </a:cubicBezTo>
                <a:cubicBezTo>
                  <a:pt x="42" y="10"/>
                  <a:pt x="42" y="10"/>
                  <a:pt x="41" y="10"/>
                </a:cubicBezTo>
                <a:cubicBezTo>
                  <a:pt x="41" y="10"/>
                  <a:pt x="41" y="10"/>
                  <a:pt x="40" y="11"/>
                </a:cubicBezTo>
                <a:cubicBezTo>
                  <a:pt x="40" y="11"/>
                  <a:pt x="39" y="11"/>
                  <a:pt x="39" y="11"/>
                </a:cubicBezTo>
                <a:cubicBezTo>
                  <a:pt x="39" y="12"/>
                  <a:pt x="38" y="12"/>
                  <a:pt x="38" y="12"/>
                </a:cubicBezTo>
                <a:cubicBezTo>
                  <a:pt x="37" y="12"/>
                  <a:pt x="36" y="13"/>
                  <a:pt x="35" y="14"/>
                </a:cubicBezTo>
                <a:cubicBezTo>
                  <a:pt x="35" y="14"/>
                  <a:pt x="35" y="14"/>
                  <a:pt x="35" y="14"/>
                </a:cubicBezTo>
                <a:cubicBezTo>
                  <a:pt x="35" y="14"/>
                  <a:pt x="34" y="14"/>
                  <a:pt x="34" y="15"/>
                </a:cubicBezTo>
                <a:cubicBezTo>
                  <a:pt x="34" y="15"/>
                  <a:pt x="34" y="15"/>
                  <a:pt x="34" y="15"/>
                </a:cubicBezTo>
                <a:cubicBezTo>
                  <a:pt x="33" y="16"/>
                  <a:pt x="32" y="16"/>
                  <a:pt x="31" y="17"/>
                </a:cubicBezTo>
                <a:cubicBezTo>
                  <a:pt x="31" y="17"/>
                  <a:pt x="31" y="17"/>
                  <a:pt x="31" y="17"/>
                </a:cubicBezTo>
                <a:cubicBezTo>
                  <a:pt x="31" y="17"/>
                  <a:pt x="31" y="17"/>
                  <a:pt x="31" y="17"/>
                </a:cubicBezTo>
                <a:cubicBezTo>
                  <a:pt x="26" y="21"/>
                  <a:pt x="22" y="25"/>
                  <a:pt x="19" y="29"/>
                </a:cubicBezTo>
                <a:cubicBezTo>
                  <a:pt x="18" y="29"/>
                  <a:pt x="18" y="29"/>
                  <a:pt x="18" y="29"/>
                </a:cubicBezTo>
                <a:cubicBezTo>
                  <a:pt x="7" y="43"/>
                  <a:pt x="0" y="61"/>
                  <a:pt x="0" y="80"/>
                </a:cubicBezTo>
                <a:cubicBezTo>
                  <a:pt x="0" y="88"/>
                  <a:pt x="1" y="96"/>
                  <a:pt x="3" y="103"/>
                </a:cubicBezTo>
                <a:cubicBezTo>
                  <a:pt x="3" y="103"/>
                  <a:pt x="3" y="103"/>
                  <a:pt x="3" y="103"/>
                </a:cubicBezTo>
                <a:cubicBezTo>
                  <a:pt x="3" y="103"/>
                  <a:pt x="3" y="103"/>
                  <a:pt x="3" y="103"/>
                </a:cubicBezTo>
                <a:cubicBezTo>
                  <a:pt x="4" y="105"/>
                  <a:pt x="4" y="106"/>
                  <a:pt x="5" y="108"/>
                </a:cubicBezTo>
                <a:cubicBezTo>
                  <a:pt x="5" y="108"/>
                  <a:pt x="5" y="109"/>
                  <a:pt x="5" y="109"/>
                </a:cubicBezTo>
                <a:cubicBezTo>
                  <a:pt x="6" y="110"/>
                  <a:pt x="6" y="111"/>
                  <a:pt x="6" y="112"/>
                </a:cubicBezTo>
                <a:cubicBezTo>
                  <a:pt x="7" y="112"/>
                  <a:pt x="7" y="113"/>
                  <a:pt x="8" y="114"/>
                </a:cubicBezTo>
                <a:cubicBezTo>
                  <a:pt x="8" y="114"/>
                  <a:pt x="8" y="115"/>
                  <a:pt x="8" y="115"/>
                </a:cubicBezTo>
                <a:cubicBezTo>
                  <a:pt x="16" y="131"/>
                  <a:pt x="29" y="144"/>
                  <a:pt x="45" y="152"/>
                </a:cubicBezTo>
                <a:cubicBezTo>
                  <a:pt x="45" y="152"/>
                  <a:pt x="46" y="152"/>
                  <a:pt x="46" y="152"/>
                </a:cubicBezTo>
                <a:cubicBezTo>
                  <a:pt x="47" y="153"/>
                  <a:pt x="48" y="153"/>
                  <a:pt x="48" y="154"/>
                </a:cubicBezTo>
                <a:cubicBezTo>
                  <a:pt x="49" y="154"/>
                  <a:pt x="50" y="154"/>
                  <a:pt x="51" y="154"/>
                </a:cubicBezTo>
                <a:cubicBezTo>
                  <a:pt x="51" y="155"/>
                  <a:pt x="52" y="155"/>
                  <a:pt x="52" y="155"/>
                </a:cubicBezTo>
                <a:cubicBezTo>
                  <a:pt x="54" y="156"/>
                  <a:pt x="55" y="156"/>
                  <a:pt x="57" y="157"/>
                </a:cubicBezTo>
                <a:cubicBezTo>
                  <a:pt x="57" y="157"/>
                  <a:pt x="57" y="157"/>
                  <a:pt x="57" y="157"/>
                </a:cubicBezTo>
                <a:cubicBezTo>
                  <a:pt x="57" y="157"/>
                  <a:pt x="57" y="157"/>
                  <a:pt x="57" y="157"/>
                </a:cubicBezTo>
                <a:cubicBezTo>
                  <a:pt x="64" y="159"/>
                  <a:pt x="72" y="160"/>
                  <a:pt x="80" y="160"/>
                </a:cubicBezTo>
                <a:cubicBezTo>
                  <a:pt x="93" y="160"/>
                  <a:pt x="106" y="157"/>
                  <a:pt x="117" y="151"/>
                </a:cubicBezTo>
                <a:cubicBezTo>
                  <a:pt x="117" y="151"/>
                  <a:pt x="117" y="151"/>
                  <a:pt x="117" y="151"/>
                </a:cubicBezTo>
                <a:cubicBezTo>
                  <a:pt x="117" y="151"/>
                  <a:pt x="118" y="151"/>
                  <a:pt x="118" y="151"/>
                </a:cubicBezTo>
                <a:cubicBezTo>
                  <a:pt x="118" y="150"/>
                  <a:pt x="119" y="150"/>
                  <a:pt x="120" y="149"/>
                </a:cubicBezTo>
                <a:cubicBezTo>
                  <a:pt x="120" y="149"/>
                  <a:pt x="121" y="149"/>
                  <a:pt x="121" y="148"/>
                </a:cubicBezTo>
                <a:cubicBezTo>
                  <a:pt x="123" y="148"/>
                  <a:pt x="124" y="147"/>
                  <a:pt x="125" y="146"/>
                </a:cubicBezTo>
                <a:cubicBezTo>
                  <a:pt x="125" y="146"/>
                  <a:pt x="126" y="146"/>
                  <a:pt x="126" y="145"/>
                </a:cubicBezTo>
                <a:cubicBezTo>
                  <a:pt x="127" y="145"/>
                  <a:pt x="128" y="144"/>
                  <a:pt x="128" y="144"/>
                </a:cubicBezTo>
                <a:cubicBezTo>
                  <a:pt x="129" y="143"/>
                  <a:pt x="129" y="143"/>
                  <a:pt x="129" y="143"/>
                </a:cubicBezTo>
                <a:cubicBezTo>
                  <a:pt x="130" y="142"/>
                  <a:pt x="131" y="142"/>
                  <a:pt x="132" y="141"/>
                </a:cubicBezTo>
                <a:cubicBezTo>
                  <a:pt x="132" y="141"/>
                  <a:pt x="132" y="140"/>
                  <a:pt x="133" y="140"/>
                </a:cubicBezTo>
                <a:cubicBezTo>
                  <a:pt x="134" y="139"/>
                  <a:pt x="134" y="139"/>
                  <a:pt x="135" y="138"/>
                </a:cubicBezTo>
                <a:cubicBezTo>
                  <a:pt x="135" y="138"/>
                  <a:pt x="136" y="137"/>
                  <a:pt x="136" y="137"/>
                </a:cubicBezTo>
                <a:cubicBezTo>
                  <a:pt x="137" y="136"/>
                  <a:pt x="138" y="135"/>
                  <a:pt x="139" y="134"/>
                </a:cubicBezTo>
                <a:cubicBezTo>
                  <a:pt x="139" y="133"/>
                  <a:pt x="140" y="133"/>
                  <a:pt x="140" y="133"/>
                </a:cubicBezTo>
                <a:cubicBezTo>
                  <a:pt x="145" y="127"/>
                  <a:pt x="150" y="119"/>
                  <a:pt x="154" y="111"/>
                </a:cubicBezTo>
                <a:cubicBezTo>
                  <a:pt x="154" y="111"/>
                  <a:pt x="154" y="111"/>
                  <a:pt x="154" y="110"/>
                </a:cubicBezTo>
                <a:cubicBezTo>
                  <a:pt x="154" y="110"/>
                  <a:pt x="155" y="109"/>
                  <a:pt x="155" y="108"/>
                </a:cubicBezTo>
                <a:cubicBezTo>
                  <a:pt x="155" y="108"/>
                  <a:pt x="155" y="108"/>
                  <a:pt x="155" y="108"/>
                </a:cubicBezTo>
                <a:cubicBezTo>
                  <a:pt x="156" y="105"/>
                  <a:pt x="157" y="102"/>
                  <a:pt x="158" y="99"/>
                </a:cubicBezTo>
                <a:cubicBezTo>
                  <a:pt x="158" y="99"/>
                  <a:pt x="158" y="99"/>
                  <a:pt x="158" y="98"/>
                </a:cubicBezTo>
                <a:close/>
                <a:moveTo>
                  <a:pt x="131" y="135"/>
                </a:moveTo>
                <a:cubicBezTo>
                  <a:pt x="130" y="135"/>
                  <a:pt x="129" y="136"/>
                  <a:pt x="129" y="136"/>
                </a:cubicBezTo>
                <a:cubicBezTo>
                  <a:pt x="128" y="137"/>
                  <a:pt x="128" y="137"/>
                  <a:pt x="128" y="137"/>
                </a:cubicBezTo>
                <a:cubicBezTo>
                  <a:pt x="127" y="138"/>
                  <a:pt x="127" y="138"/>
                  <a:pt x="126" y="139"/>
                </a:cubicBezTo>
                <a:cubicBezTo>
                  <a:pt x="126" y="139"/>
                  <a:pt x="125" y="139"/>
                  <a:pt x="125" y="140"/>
                </a:cubicBezTo>
                <a:cubicBezTo>
                  <a:pt x="125" y="140"/>
                  <a:pt x="124" y="140"/>
                  <a:pt x="124" y="140"/>
                </a:cubicBezTo>
                <a:cubicBezTo>
                  <a:pt x="123" y="141"/>
                  <a:pt x="123" y="141"/>
                  <a:pt x="122" y="141"/>
                </a:cubicBezTo>
                <a:cubicBezTo>
                  <a:pt x="123" y="139"/>
                  <a:pt x="123" y="136"/>
                  <a:pt x="122" y="134"/>
                </a:cubicBezTo>
                <a:cubicBezTo>
                  <a:pt x="120" y="130"/>
                  <a:pt x="116" y="127"/>
                  <a:pt x="112" y="126"/>
                </a:cubicBezTo>
                <a:cubicBezTo>
                  <a:pt x="109" y="126"/>
                  <a:pt x="109" y="126"/>
                  <a:pt x="109" y="126"/>
                </a:cubicBezTo>
                <a:cubicBezTo>
                  <a:pt x="109" y="121"/>
                  <a:pt x="109" y="121"/>
                  <a:pt x="109" y="121"/>
                </a:cubicBezTo>
                <a:cubicBezTo>
                  <a:pt x="112" y="121"/>
                  <a:pt x="112" y="121"/>
                  <a:pt x="112" y="121"/>
                </a:cubicBezTo>
                <a:cubicBezTo>
                  <a:pt x="116" y="120"/>
                  <a:pt x="120" y="117"/>
                  <a:pt x="121" y="113"/>
                </a:cubicBezTo>
                <a:cubicBezTo>
                  <a:pt x="123" y="109"/>
                  <a:pt x="122" y="104"/>
                  <a:pt x="120" y="101"/>
                </a:cubicBezTo>
                <a:cubicBezTo>
                  <a:pt x="118" y="98"/>
                  <a:pt x="118" y="98"/>
                  <a:pt x="118" y="98"/>
                </a:cubicBezTo>
                <a:cubicBezTo>
                  <a:pt x="121" y="95"/>
                  <a:pt x="121" y="95"/>
                  <a:pt x="121" y="95"/>
                </a:cubicBezTo>
                <a:cubicBezTo>
                  <a:pt x="125" y="97"/>
                  <a:pt x="125" y="97"/>
                  <a:pt x="125" y="97"/>
                </a:cubicBezTo>
                <a:cubicBezTo>
                  <a:pt x="128" y="100"/>
                  <a:pt x="133" y="100"/>
                  <a:pt x="137" y="99"/>
                </a:cubicBezTo>
                <a:cubicBezTo>
                  <a:pt x="141" y="97"/>
                  <a:pt x="143" y="94"/>
                  <a:pt x="144" y="89"/>
                </a:cubicBezTo>
                <a:cubicBezTo>
                  <a:pt x="145" y="85"/>
                  <a:pt x="145" y="85"/>
                  <a:pt x="145" y="85"/>
                </a:cubicBezTo>
                <a:cubicBezTo>
                  <a:pt x="150" y="85"/>
                  <a:pt x="150" y="85"/>
                  <a:pt x="150" y="85"/>
                </a:cubicBezTo>
                <a:cubicBezTo>
                  <a:pt x="150" y="88"/>
                  <a:pt x="150" y="88"/>
                  <a:pt x="150" y="88"/>
                </a:cubicBezTo>
                <a:cubicBezTo>
                  <a:pt x="151" y="91"/>
                  <a:pt x="152" y="93"/>
                  <a:pt x="153" y="95"/>
                </a:cubicBezTo>
                <a:cubicBezTo>
                  <a:pt x="153" y="98"/>
                  <a:pt x="152" y="101"/>
                  <a:pt x="151" y="104"/>
                </a:cubicBezTo>
                <a:cubicBezTo>
                  <a:pt x="150" y="104"/>
                  <a:pt x="149" y="104"/>
                  <a:pt x="148" y="104"/>
                </a:cubicBezTo>
                <a:cubicBezTo>
                  <a:pt x="138" y="104"/>
                  <a:pt x="131" y="112"/>
                  <a:pt x="131" y="121"/>
                </a:cubicBezTo>
                <a:cubicBezTo>
                  <a:pt x="131" y="125"/>
                  <a:pt x="132" y="129"/>
                  <a:pt x="134" y="131"/>
                </a:cubicBezTo>
                <a:cubicBezTo>
                  <a:pt x="133" y="132"/>
                  <a:pt x="132" y="133"/>
                  <a:pt x="131" y="134"/>
                </a:cubicBezTo>
                <a:cubicBezTo>
                  <a:pt x="131" y="134"/>
                  <a:pt x="131" y="135"/>
                  <a:pt x="131" y="135"/>
                </a:cubicBezTo>
                <a:close/>
                <a:moveTo>
                  <a:pt x="148" y="112"/>
                </a:moveTo>
                <a:cubicBezTo>
                  <a:pt x="145" y="117"/>
                  <a:pt x="142" y="123"/>
                  <a:pt x="138" y="127"/>
                </a:cubicBezTo>
                <a:cubicBezTo>
                  <a:pt x="137" y="126"/>
                  <a:pt x="136" y="123"/>
                  <a:pt x="136" y="121"/>
                </a:cubicBezTo>
                <a:cubicBezTo>
                  <a:pt x="136" y="115"/>
                  <a:pt x="141" y="109"/>
                  <a:pt x="148" y="109"/>
                </a:cubicBezTo>
                <a:cubicBezTo>
                  <a:pt x="148" y="109"/>
                  <a:pt x="148" y="109"/>
                  <a:pt x="149" y="109"/>
                </a:cubicBezTo>
                <a:cubicBezTo>
                  <a:pt x="148" y="110"/>
                  <a:pt x="148" y="111"/>
                  <a:pt x="148" y="111"/>
                </a:cubicBezTo>
                <a:cubicBezTo>
                  <a:pt x="148" y="112"/>
                  <a:pt x="148" y="112"/>
                  <a:pt x="148" y="112"/>
                </a:cubicBezTo>
                <a:close/>
                <a:moveTo>
                  <a:pt x="117" y="75"/>
                </a:moveTo>
                <a:cubicBezTo>
                  <a:pt x="100" y="75"/>
                  <a:pt x="85" y="60"/>
                  <a:pt x="85" y="43"/>
                </a:cubicBezTo>
                <a:cubicBezTo>
                  <a:pt x="85" y="28"/>
                  <a:pt x="96" y="15"/>
                  <a:pt x="110" y="12"/>
                </a:cubicBezTo>
                <a:cubicBezTo>
                  <a:pt x="115" y="14"/>
                  <a:pt x="120" y="17"/>
                  <a:pt x="124" y="20"/>
                </a:cubicBezTo>
                <a:cubicBezTo>
                  <a:pt x="125" y="20"/>
                  <a:pt x="125" y="20"/>
                  <a:pt x="125" y="20"/>
                </a:cubicBezTo>
                <a:cubicBezTo>
                  <a:pt x="125" y="21"/>
                  <a:pt x="126" y="21"/>
                  <a:pt x="127" y="22"/>
                </a:cubicBezTo>
                <a:cubicBezTo>
                  <a:pt x="127" y="22"/>
                  <a:pt x="127" y="22"/>
                  <a:pt x="128" y="22"/>
                </a:cubicBezTo>
                <a:cubicBezTo>
                  <a:pt x="128" y="23"/>
                  <a:pt x="129" y="23"/>
                  <a:pt x="129" y="24"/>
                </a:cubicBezTo>
                <a:cubicBezTo>
                  <a:pt x="129" y="24"/>
                  <a:pt x="130" y="24"/>
                  <a:pt x="130" y="25"/>
                </a:cubicBezTo>
                <a:cubicBezTo>
                  <a:pt x="130" y="25"/>
                  <a:pt x="131" y="25"/>
                  <a:pt x="131" y="25"/>
                </a:cubicBezTo>
                <a:cubicBezTo>
                  <a:pt x="132" y="27"/>
                  <a:pt x="133" y="28"/>
                  <a:pt x="135" y="29"/>
                </a:cubicBezTo>
                <a:cubicBezTo>
                  <a:pt x="135" y="29"/>
                  <a:pt x="135" y="30"/>
                  <a:pt x="135" y="30"/>
                </a:cubicBezTo>
                <a:cubicBezTo>
                  <a:pt x="136" y="30"/>
                  <a:pt x="136" y="31"/>
                  <a:pt x="136" y="31"/>
                </a:cubicBezTo>
                <a:cubicBezTo>
                  <a:pt x="137" y="31"/>
                  <a:pt x="137" y="32"/>
                  <a:pt x="138" y="32"/>
                </a:cubicBezTo>
                <a:cubicBezTo>
                  <a:pt x="138" y="33"/>
                  <a:pt x="138" y="33"/>
                  <a:pt x="138" y="33"/>
                </a:cubicBezTo>
                <a:cubicBezTo>
                  <a:pt x="139" y="34"/>
                  <a:pt x="139" y="35"/>
                  <a:pt x="140" y="35"/>
                </a:cubicBezTo>
                <a:cubicBezTo>
                  <a:pt x="140" y="35"/>
                  <a:pt x="140" y="36"/>
                  <a:pt x="140" y="36"/>
                </a:cubicBezTo>
                <a:cubicBezTo>
                  <a:pt x="143" y="40"/>
                  <a:pt x="146" y="45"/>
                  <a:pt x="148" y="50"/>
                </a:cubicBezTo>
                <a:cubicBezTo>
                  <a:pt x="145" y="64"/>
                  <a:pt x="132" y="75"/>
                  <a:pt x="117" y="75"/>
                </a:cubicBezTo>
                <a:close/>
                <a:moveTo>
                  <a:pt x="62" y="8"/>
                </a:moveTo>
                <a:cubicBezTo>
                  <a:pt x="62" y="10"/>
                  <a:pt x="62" y="12"/>
                  <a:pt x="62" y="14"/>
                </a:cubicBezTo>
                <a:cubicBezTo>
                  <a:pt x="64" y="17"/>
                  <a:pt x="67" y="19"/>
                  <a:pt x="70" y="20"/>
                </a:cubicBezTo>
                <a:cubicBezTo>
                  <a:pt x="72" y="20"/>
                  <a:pt x="72" y="20"/>
                  <a:pt x="72" y="20"/>
                </a:cubicBezTo>
                <a:cubicBezTo>
                  <a:pt x="72" y="23"/>
                  <a:pt x="72" y="23"/>
                  <a:pt x="72" y="23"/>
                </a:cubicBezTo>
                <a:cubicBezTo>
                  <a:pt x="70" y="24"/>
                  <a:pt x="70" y="24"/>
                  <a:pt x="70" y="24"/>
                </a:cubicBezTo>
                <a:cubicBezTo>
                  <a:pt x="67" y="24"/>
                  <a:pt x="64" y="27"/>
                  <a:pt x="62" y="30"/>
                </a:cubicBezTo>
                <a:cubicBezTo>
                  <a:pt x="61" y="33"/>
                  <a:pt x="61" y="37"/>
                  <a:pt x="63" y="40"/>
                </a:cubicBezTo>
                <a:cubicBezTo>
                  <a:pt x="64" y="41"/>
                  <a:pt x="64" y="41"/>
                  <a:pt x="64" y="41"/>
                </a:cubicBezTo>
                <a:cubicBezTo>
                  <a:pt x="62" y="44"/>
                  <a:pt x="62" y="44"/>
                  <a:pt x="62" y="44"/>
                </a:cubicBezTo>
                <a:cubicBezTo>
                  <a:pt x="62" y="43"/>
                  <a:pt x="62" y="43"/>
                  <a:pt x="62" y="43"/>
                </a:cubicBezTo>
                <a:cubicBezTo>
                  <a:pt x="58" y="41"/>
                  <a:pt x="55" y="40"/>
                  <a:pt x="51" y="42"/>
                </a:cubicBezTo>
                <a:cubicBezTo>
                  <a:pt x="48" y="43"/>
                  <a:pt x="45" y="46"/>
                  <a:pt x="45" y="50"/>
                </a:cubicBezTo>
                <a:cubicBezTo>
                  <a:pt x="45" y="51"/>
                  <a:pt x="45" y="51"/>
                  <a:pt x="45" y="51"/>
                </a:cubicBezTo>
                <a:cubicBezTo>
                  <a:pt x="42" y="51"/>
                  <a:pt x="42" y="51"/>
                  <a:pt x="42" y="51"/>
                </a:cubicBezTo>
                <a:cubicBezTo>
                  <a:pt x="41" y="49"/>
                  <a:pt x="41" y="49"/>
                  <a:pt x="41" y="49"/>
                </a:cubicBezTo>
                <a:cubicBezTo>
                  <a:pt x="41" y="45"/>
                  <a:pt x="38" y="42"/>
                  <a:pt x="35" y="41"/>
                </a:cubicBezTo>
                <a:cubicBezTo>
                  <a:pt x="32" y="40"/>
                  <a:pt x="28" y="40"/>
                  <a:pt x="25" y="42"/>
                </a:cubicBezTo>
                <a:cubicBezTo>
                  <a:pt x="23" y="44"/>
                  <a:pt x="23" y="44"/>
                  <a:pt x="23" y="44"/>
                </a:cubicBezTo>
                <a:cubicBezTo>
                  <a:pt x="21" y="41"/>
                  <a:pt x="21" y="41"/>
                  <a:pt x="21" y="41"/>
                </a:cubicBezTo>
                <a:cubicBezTo>
                  <a:pt x="22" y="40"/>
                  <a:pt x="22" y="40"/>
                  <a:pt x="22" y="40"/>
                </a:cubicBezTo>
                <a:cubicBezTo>
                  <a:pt x="24" y="37"/>
                  <a:pt x="25" y="34"/>
                  <a:pt x="24" y="31"/>
                </a:cubicBezTo>
                <a:cubicBezTo>
                  <a:pt x="24" y="31"/>
                  <a:pt x="24" y="31"/>
                  <a:pt x="24" y="30"/>
                </a:cubicBezTo>
                <a:cubicBezTo>
                  <a:pt x="25" y="29"/>
                  <a:pt x="26" y="29"/>
                  <a:pt x="27" y="28"/>
                </a:cubicBezTo>
                <a:cubicBezTo>
                  <a:pt x="27" y="27"/>
                  <a:pt x="28" y="26"/>
                  <a:pt x="29" y="26"/>
                </a:cubicBezTo>
                <a:cubicBezTo>
                  <a:pt x="29" y="25"/>
                  <a:pt x="29" y="25"/>
                  <a:pt x="30" y="25"/>
                </a:cubicBezTo>
                <a:cubicBezTo>
                  <a:pt x="31" y="30"/>
                  <a:pt x="37" y="35"/>
                  <a:pt x="43" y="35"/>
                </a:cubicBezTo>
                <a:cubicBezTo>
                  <a:pt x="50" y="35"/>
                  <a:pt x="56" y="29"/>
                  <a:pt x="56" y="21"/>
                </a:cubicBezTo>
                <a:cubicBezTo>
                  <a:pt x="56" y="17"/>
                  <a:pt x="54" y="14"/>
                  <a:pt x="51" y="11"/>
                </a:cubicBezTo>
                <a:cubicBezTo>
                  <a:pt x="53" y="10"/>
                  <a:pt x="54" y="10"/>
                  <a:pt x="56" y="9"/>
                </a:cubicBezTo>
                <a:cubicBezTo>
                  <a:pt x="56" y="9"/>
                  <a:pt x="57" y="9"/>
                  <a:pt x="57" y="9"/>
                </a:cubicBezTo>
                <a:cubicBezTo>
                  <a:pt x="58" y="9"/>
                  <a:pt x="60" y="8"/>
                  <a:pt x="62" y="8"/>
                </a:cubicBezTo>
                <a:close/>
                <a:moveTo>
                  <a:pt x="35" y="21"/>
                </a:moveTo>
                <a:cubicBezTo>
                  <a:pt x="35" y="21"/>
                  <a:pt x="35" y="20"/>
                  <a:pt x="35" y="20"/>
                </a:cubicBezTo>
                <a:cubicBezTo>
                  <a:pt x="36" y="19"/>
                  <a:pt x="38" y="19"/>
                  <a:pt x="39" y="18"/>
                </a:cubicBezTo>
                <a:cubicBezTo>
                  <a:pt x="39" y="18"/>
                  <a:pt x="40" y="17"/>
                  <a:pt x="40" y="17"/>
                </a:cubicBezTo>
                <a:cubicBezTo>
                  <a:pt x="40" y="17"/>
                  <a:pt x="40" y="17"/>
                  <a:pt x="40" y="17"/>
                </a:cubicBezTo>
                <a:cubicBezTo>
                  <a:pt x="42" y="16"/>
                  <a:pt x="43" y="15"/>
                  <a:pt x="44" y="15"/>
                </a:cubicBezTo>
                <a:cubicBezTo>
                  <a:pt x="44" y="14"/>
                  <a:pt x="45" y="14"/>
                  <a:pt x="45" y="14"/>
                </a:cubicBezTo>
                <a:cubicBezTo>
                  <a:pt x="49" y="15"/>
                  <a:pt x="51" y="18"/>
                  <a:pt x="51" y="21"/>
                </a:cubicBezTo>
                <a:cubicBezTo>
                  <a:pt x="51" y="26"/>
                  <a:pt x="47" y="29"/>
                  <a:pt x="43" y="29"/>
                </a:cubicBezTo>
                <a:cubicBezTo>
                  <a:pt x="38" y="29"/>
                  <a:pt x="35" y="26"/>
                  <a:pt x="35" y="21"/>
                </a:cubicBezTo>
                <a:cubicBezTo>
                  <a:pt x="35" y="21"/>
                  <a:pt x="35" y="21"/>
                  <a:pt x="35" y="21"/>
                </a:cubicBezTo>
                <a:close/>
                <a:moveTo>
                  <a:pt x="35" y="70"/>
                </a:moveTo>
                <a:cubicBezTo>
                  <a:pt x="35" y="70"/>
                  <a:pt x="35" y="70"/>
                  <a:pt x="35" y="70"/>
                </a:cubicBezTo>
                <a:cubicBezTo>
                  <a:pt x="35" y="70"/>
                  <a:pt x="35" y="69"/>
                  <a:pt x="35" y="69"/>
                </a:cubicBezTo>
                <a:cubicBezTo>
                  <a:pt x="40" y="68"/>
                  <a:pt x="45" y="67"/>
                  <a:pt x="51" y="67"/>
                </a:cubicBezTo>
                <a:cubicBezTo>
                  <a:pt x="74" y="67"/>
                  <a:pt x="93" y="86"/>
                  <a:pt x="93" y="109"/>
                </a:cubicBezTo>
                <a:cubicBezTo>
                  <a:pt x="93" y="115"/>
                  <a:pt x="92" y="121"/>
                  <a:pt x="90" y="127"/>
                </a:cubicBezTo>
                <a:cubicBezTo>
                  <a:pt x="90" y="127"/>
                  <a:pt x="90" y="127"/>
                  <a:pt x="90" y="127"/>
                </a:cubicBezTo>
                <a:cubicBezTo>
                  <a:pt x="90" y="127"/>
                  <a:pt x="90" y="127"/>
                  <a:pt x="90" y="127"/>
                </a:cubicBezTo>
                <a:cubicBezTo>
                  <a:pt x="84" y="139"/>
                  <a:pt x="72" y="149"/>
                  <a:pt x="58" y="151"/>
                </a:cubicBezTo>
                <a:cubicBezTo>
                  <a:pt x="58" y="151"/>
                  <a:pt x="58" y="151"/>
                  <a:pt x="58" y="151"/>
                </a:cubicBezTo>
                <a:cubicBezTo>
                  <a:pt x="57" y="151"/>
                  <a:pt x="55" y="150"/>
                  <a:pt x="54" y="150"/>
                </a:cubicBezTo>
                <a:cubicBezTo>
                  <a:pt x="53" y="150"/>
                  <a:pt x="53" y="150"/>
                  <a:pt x="52" y="149"/>
                </a:cubicBezTo>
                <a:cubicBezTo>
                  <a:pt x="52" y="149"/>
                  <a:pt x="51" y="149"/>
                  <a:pt x="50" y="149"/>
                </a:cubicBezTo>
                <a:cubicBezTo>
                  <a:pt x="50" y="148"/>
                  <a:pt x="49" y="148"/>
                  <a:pt x="48" y="147"/>
                </a:cubicBezTo>
                <a:cubicBezTo>
                  <a:pt x="48" y="147"/>
                  <a:pt x="47" y="147"/>
                  <a:pt x="47" y="147"/>
                </a:cubicBezTo>
                <a:cubicBezTo>
                  <a:pt x="32" y="140"/>
                  <a:pt x="20" y="128"/>
                  <a:pt x="13" y="113"/>
                </a:cubicBezTo>
                <a:cubicBezTo>
                  <a:pt x="13" y="113"/>
                  <a:pt x="13" y="112"/>
                  <a:pt x="13" y="112"/>
                </a:cubicBezTo>
                <a:cubicBezTo>
                  <a:pt x="12" y="111"/>
                  <a:pt x="12" y="110"/>
                  <a:pt x="11" y="110"/>
                </a:cubicBezTo>
                <a:cubicBezTo>
                  <a:pt x="11" y="109"/>
                  <a:pt x="11" y="108"/>
                  <a:pt x="11" y="108"/>
                </a:cubicBezTo>
                <a:cubicBezTo>
                  <a:pt x="10" y="107"/>
                  <a:pt x="10" y="107"/>
                  <a:pt x="10" y="106"/>
                </a:cubicBezTo>
                <a:cubicBezTo>
                  <a:pt x="10" y="105"/>
                  <a:pt x="9" y="103"/>
                  <a:pt x="9" y="102"/>
                </a:cubicBezTo>
                <a:cubicBezTo>
                  <a:pt x="9" y="102"/>
                  <a:pt x="9" y="102"/>
                  <a:pt x="9" y="102"/>
                </a:cubicBezTo>
                <a:cubicBezTo>
                  <a:pt x="11" y="87"/>
                  <a:pt x="21" y="75"/>
                  <a:pt x="35" y="70"/>
                </a:cubicBezTo>
                <a:close/>
                <a:moveTo>
                  <a:pt x="69" y="154"/>
                </a:moveTo>
                <a:cubicBezTo>
                  <a:pt x="79" y="149"/>
                  <a:pt x="88" y="141"/>
                  <a:pt x="93" y="131"/>
                </a:cubicBezTo>
                <a:cubicBezTo>
                  <a:pt x="98" y="133"/>
                  <a:pt x="98" y="133"/>
                  <a:pt x="98" y="133"/>
                </a:cubicBezTo>
                <a:cubicBezTo>
                  <a:pt x="98" y="133"/>
                  <a:pt x="98" y="133"/>
                  <a:pt x="99" y="133"/>
                </a:cubicBezTo>
                <a:cubicBezTo>
                  <a:pt x="100" y="133"/>
                  <a:pt x="101" y="133"/>
                  <a:pt x="101" y="132"/>
                </a:cubicBezTo>
                <a:cubicBezTo>
                  <a:pt x="102" y="130"/>
                  <a:pt x="101" y="129"/>
                  <a:pt x="100" y="128"/>
                </a:cubicBezTo>
                <a:cubicBezTo>
                  <a:pt x="96" y="126"/>
                  <a:pt x="96" y="126"/>
                  <a:pt x="96" y="126"/>
                </a:cubicBezTo>
                <a:cubicBezTo>
                  <a:pt x="98" y="121"/>
                  <a:pt x="99" y="115"/>
                  <a:pt x="99" y="109"/>
                </a:cubicBezTo>
                <a:cubicBezTo>
                  <a:pt x="99" y="104"/>
                  <a:pt x="98" y="99"/>
                  <a:pt x="96" y="94"/>
                </a:cubicBezTo>
                <a:cubicBezTo>
                  <a:pt x="100" y="93"/>
                  <a:pt x="100" y="93"/>
                  <a:pt x="100" y="93"/>
                </a:cubicBezTo>
                <a:cubicBezTo>
                  <a:pt x="101" y="93"/>
                  <a:pt x="102" y="91"/>
                  <a:pt x="101" y="90"/>
                </a:cubicBezTo>
                <a:cubicBezTo>
                  <a:pt x="101" y="88"/>
                  <a:pt x="99" y="88"/>
                  <a:pt x="98" y="88"/>
                </a:cubicBezTo>
                <a:cubicBezTo>
                  <a:pt x="94" y="89"/>
                  <a:pt x="94" y="89"/>
                  <a:pt x="94" y="89"/>
                </a:cubicBezTo>
                <a:cubicBezTo>
                  <a:pt x="90" y="80"/>
                  <a:pt x="82" y="72"/>
                  <a:pt x="73" y="67"/>
                </a:cubicBezTo>
                <a:cubicBezTo>
                  <a:pt x="74" y="62"/>
                  <a:pt x="74" y="62"/>
                  <a:pt x="74" y="62"/>
                </a:cubicBezTo>
                <a:cubicBezTo>
                  <a:pt x="75" y="61"/>
                  <a:pt x="74" y="59"/>
                  <a:pt x="73" y="59"/>
                </a:cubicBezTo>
                <a:cubicBezTo>
                  <a:pt x="72" y="58"/>
                  <a:pt x="70" y="59"/>
                  <a:pt x="70" y="60"/>
                </a:cubicBezTo>
                <a:cubicBezTo>
                  <a:pt x="68" y="65"/>
                  <a:pt x="68" y="65"/>
                  <a:pt x="68" y="65"/>
                </a:cubicBezTo>
                <a:cubicBezTo>
                  <a:pt x="62" y="62"/>
                  <a:pt x="57" y="61"/>
                  <a:pt x="51" y="61"/>
                </a:cubicBezTo>
                <a:cubicBezTo>
                  <a:pt x="45" y="61"/>
                  <a:pt x="40" y="62"/>
                  <a:pt x="36" y="64"/>
                </a:cubicBezTo>
                <a:cubicBezTo>
                  <a:pt x="34" y="60"/>
                  <a:pt x="34" y="60"/>
                  <a:pt x="34" y="60"/>
                </a:cubicBezTo>
                <a:cubicBezTo>
                  <a:pt x="34" y="59"/>
                  <a:pt x="32" y="58"/>
                  <a:pt x="31" y="59"/>
                </a:cubicBezTo>
                <a:cubicBezTo>
                  <a:pt x="30" y="59"/>
                  <a:pt x="29" y="61"/>
                  <a:pt x="30" y="62"/>
                </a:cubicBezTo>
                <a:cubicBezTo>
                  <a:pt x="31" y="66"/>
                  <a:pt x="31" y="66"/>
                  <a:pt x="31" y="66"/>
                </a:cubicBezTo>
                <a:cubicBezTo>
                  <a:pt x="20" y="71"/>
                  <a:pt x="11" y="80"/>
                  <a:pt x="6" y="91"/>
                </a:cubicBezTo>
                <a:cubicBezTo>
                  <a:pt x="6" y="88"/>
                  <a:pt x="5" y="84"/>
                  <a:pt x="5" y="80"/>
                </a:cubicBezTo>
                <a:cubicBezTo>
                  <a:pt x="5" y="66"/>
                  <a:pt x="9" y="54"/>
                  <a:pt x="15" y="43"/>
                </a:cubicBezTo>
                <a:cubicBezTo>
                  <a:pt x="16" y="43"/>
                  <a:pt x="16" y="43"/>
                  <a:pt x="16" y="44"/>
                </a:cubicBezTo>
                <a:cubicBezTo>
                  <a:pt x="21" y="49"/>
                  <a:pt x="21" y="49"/>
                  <a:pt x="21" y="49"/>
                </a:cubicBezTo>
                <a:cubicBezTo>
                  <a:pt x="22" y="50"/>
                  <a:pt x="24" y="50"/>
                  <a:pt x="25" y="49"/>
                </a:cubicBezTo>
                <a:cubicBezTo>
                  <a:pt x="28" y="47"/>
                  <a:pt x="28" y="47"/>
                  <a:pt x="28" y="47"/>
                </a:cubicBezTo>
                <a:cubicBezTo>
                  <a:pt x="29" y="46"/>
                  <a:pt x="31" y="45"/>
                  <a:pt x="33" y="46"/>
                </a:cubicBezTo>
                <a:cubicBezTo>
                  <a:pt x="35" y="47"/>
                  <a:pt x="36" y="48"/>
                  <a:pt x="36" y="50"/>
                </a:cubicBezTo>
                <a:cubicBezTo>
                  <a:pt x="37" y="54"/>
                  <a:pt x="37" y="54"/>
                  <a:pt x="37" y="54"/>
                </a:cubicBezTo>
                <a:cubicBezTo>
                  <a:pt x="37" y="55"/>
                  <a:pt x="38" y="56"/>
                  <a:pt x="40" y="56"/>
                </a:cubicBezTo>
                <a:cubicBezTo>
                  <a:pt x="47" y="56"/>
                  <a:pt x="47" y="56"/>
                  <a:pt x="47" y="56"/>
                </a:cubicBezTo>
                <a:cubicBezTo>
                  <a:pt x="48" y="56"/>
                  <a:pt x="49" y="55"/>
                  <a:pt x="50" y="54"/>
                </a:cubicBezTo>
                <a:cubicBezTo>
                  <a:pt x="50" y="51"/>
                  <a:pt x="50" y="51"/>
                  <a:pt x="50" y="51"/>
                </a:cubicBezTo>
                <a:cubicBezTo>
                  <a:pt x="50" y="49"/>
                  <a:pt x="52" y="48"/>
                  <a:pt x="53" y="47"/>
                </a:cubicBezTo>
                <a:cubicBezTo>
                  <a:pt x="55" y="46"/>
                  <a:pt x="57" y="46"/>
                  <a:pt x="58" y="47"/>
                </a:cubicBezTo>
                <a:cubicBezTo>
                  <a:pt x="61" y="49"/>
                  <a:pt x="61" y="49"/>
                  <a:pt x="61" y="49"/>
                </a:cubicBezTo>
                <a:cubicBezTo>
                  <a:pt x="62" y="50"/>
                  <a:pt x="63" y="50"/>
                  <a:pt x="64" y="49"/>
                </a:cubicBezTo>
                <a:cubicBezTo>
                  <a:pt x="69" y="44"/>
                  <a:pt x="69" y="44"/>
                  <a:pt x="69" y="44"/>
                </a:cubicBezTo>
                <a:cubicBezTo>
                  <a:pt x="70" y="43"/>
                  <a:pt x="70" y="41"/>
                  <a:pt x="70" y="40"/>
                </a:cubicBezTo>
                <a:cubicBezTo>
                  <a:pt x="67" y="37"/>
                  <a:pt x="67" y="37"/>
                  <a:pt x="67" y="37"/>
                </a:cubicBezTo>
                <a:cubicBezTo>
                  <a:pt x="66" y="36"/>
                  <a:pt x="66" y="34"/>
                  <a:pt x="67" y="32"/>
                </a:cubicBezTo>
                <a:cubicBezTo>
                  <a:pt x="68" y="30"/>
                  <a:pt x="69" y="29"/>
                  <a:pt x="71" y="29"/>
                </a:cubicBezTo>
                <a:cubicBezTo>
                  <a:pt x="75" y="28"/>
                  <a:pt x="75" y="28"/>
                  <a:pt x="75" y="28"/>
                </a:cubicBezTo>
                <a:cubicBezTo>
                  <a:pt x="76" y="28"/>
                  <a:pt x="77" y="27"/>
                  <a:pt x="77" y="26"/>
                </a:cubicBezTo>
                <a:cubicBezTo>
                  <a:pt x="77" y="18"/>
                  <a:pt x="77" y="18"/>
                  <a:pt x="77" y="18"/>
                </a:cubicBezTo>
                <a:cubicBezTo>
                  <a:pt x="77" y="17"/>
                  <a:pt x="76" y="16"/>
                  <a:pt x="75" y="16"/>
                </a:cubicBezTo>
                <a:cubicBezTo>
                  <a:pt x="71" y="15"/>
                  <a:pt x="71" y="15"/>
                  <a:pt x="71" y="15"/>
                </a:cubicBezTo>
                <a:cubicBezTo>
                  <a:pt x="70" y="15"/>
                  <a:pt x="68" y="13"/>
                  <a:pt x="67" y="12"/>
                </a:cubicBezTo>
                <a:cubicBezTo>
                  <a:pt x="67" y="10"/>
                  <a:pt x="67" y="8"/>
                  <a:pt x="68" y="7"/>
                </a:cubicBezTo>
                <a:cubicBezTo>
                  <a:pt x="68" y="6"/>
                  <a:pt x="68" y="6"/>
                  <a:pt x="68" y="6"/>
                </a:cubicBezTo>
                <a:cubicBezTo>
                  <a:pt x="72" y="6"/>
                  <a:pt x="76" y="5"/>
                  <a:pt x="80" y="5"/>
                </a:cubicBezTo>
                <a:cubicBezTo>
                  <a:pt x="88" y="5"/>
                  <a:pt x="95" y="6"/>
                  <a:pt x="102" y="9"/>
                </a:cubicBezTo>
                <a:cubicBezTo>
                  <a:pt x="99" y="10"/>
                  <a:pt x="96" y="12"/>
                  <a:pt x="93" y="14"/>
                </a:cubicBezTo>
                <a:cubicBezTo>
                  <a:pt x="91" y="12"/>
                  <a:pt x="91" y="12"/>
                  <a:pt x="91" y="12"/>
                </a:cubicBezTo>
                <a:cubicBezTo>
                  <a:pt x="90" y="11"/>
                  <a:pt x="88" y="11"/>
                  <a:pt x="87" y="12"/>
                </a:cubicBezTo>
                <a:cubicBezTo>
                  <a:pt x="86" y="14"/>
                  <a:pt x="86" y="15"/>
                  <a:pt x="87" y="16"/>
                </a:cubicBezTo>
                <a:cubicBezTo>
                  <a:pt x="89" y="18"/>
                  <a:pt x="89" y="18"/>
                  <a:pt x="89" y="18"/>
                </a:cubicBezTo>
                <a:cubicBezTo>
                  <a:pt x="84" y="24"/>
                  <a:pt x="81" y="32"/>
                  <a:pt x="80" y="40"/>
                </a:cubicBezTo>
                <a:cubicBezTo>
                  <a:pt x="77" y="40"/>
                  <a:pt x="77" y="40"/>
                  <a:pt x="77" y="40"/>
                </a:cubicBezTo>
                <a:cubicBezTo>
                  <a:pt x="76" y="40"/>
                  <a:pt x="75" y="41"/>
                  <a:pt x="75" y="43"/>
                </a:cubicBezTo>
                <a:cubicBezTo>
                  <a:pt x="75" y="44"/>
                  <a:pt x="76" y="45"/>
                  <a:pt x="77" y="45"/>
                </a:cubicBezTo>
                <a:cubicBezTo>
                  <a:pt x="80" y="45"/>
                  <a:pt x="80" y="45"/>
                  <a:pt x="80" y="45"/>
                </a:cubicBezTo>
                <a:cubicBezTo>
                  <a:pt x="81" y="54"/>
                  <a:pt x="84" y="61"/>
                  <a:pt x="89" y="67"/>
                </a:cubicBezTo>
                <a:cubicBezTo>
                  <a:pt x="87" y="69"/>
                  <a:pt x="87" y="69"/>
                  <a:pt x="87" y="69"/>
                </a:cubicBezTo>
                <a:cubicBezTo>
                  <a:pt x="86" y="70"/>
                  <a:pt x="86" y="72"/>
                  <a:pt x="87" y="73"/>
                </a:cubicBezTo>
                <a:cubicBezTo>
                  <a:pt x="88" y="73"/>
                  <a:pt x="88" y="74"/>
                  <a:pt x="89" y="74"/>
                </a:cubicBezTo>
                <a:cubicBezTo>
                  <a:pt x="90" y="74"/>
                  <a:pt x="90" y="73"/>
                  <a:pt x="91" y="73"/>
                </a:cubicBezTo>
                <a:cubicBezTo>
                  <a:pt x="93" y="71"/>
                  <a:pt x="93" y="71"/>
                  <a:pt x="93" y="71"/>
                </a:cubicBezTo>
                <a:cubicBezTo>
                  <a:pt x="99" y="76"/>
                  <a:pt x="106" y="79"/>
                  <a:pt x="115" y="80"/>
                </a:cubicBezTo>
                <a:cubicBezTo>
                  <a:pt x="115" y="83"/>
                  <a:pt x="115" y="83"/>
                  <a:pt x="115" y="83"/>
                </a:cubicBezTo>
                <a:cubicBezTo>
                  <a:pt x="115" y="84"/>
                  <a:pt x="116" y="85"/>
                  <a:pt x="117" y="85"/>
                </a:cubicBezTo>
                <a:cubicBezTo>
                  <a:pt x="119" y="85"/>
                  <a:pt x="120" y="84"/>
                  <a:pt x="120" y="83"/>
                </a:cubicBezTo>
                <a:cubicBezTo>
                  <a:pt x="120" y="80"/>
                  <a:pt x="120" y="80"/>
                  <a:pt x="120" y="80"/>
                </a:cubicBezTo>
                <a:cubicBezTo>
                  <a:pt x="128" y="79"/>
                  <a:pt x="136" y="76"/>
                  <a:pt x="142" y="71"/>
                </a:cubicBezTo>
                <a:cubicBezTo>
                  <a:pt x="144" y="73"/>
                  <a:pt x="144" y="73"/>
                  <a:pt x="144" y="73"/>
                </a:cubicBezTo>
                <a:cubicBezTo>
                  <a:pt x="144" y="73"/>
                  <a:pt x="145" y="74"/>
                  <a:pt x="146" y="74"/>
                </a:cubicBezTo>
                <a:cubicBezTo>
                  <a:pt x="146" y="74"/>
                  <a:pt x="147" y="73"/>
                  <a:pt x="148" y="73"/>
                </a:cubicBezTo>
                <a:cubicBezTo>
                  <a:pt x="149" y="72"/>
                  <a:pt x="149" y="70"/>
                  <a:pt x="148" y="69"/>
                </a:cubicBezTo>
                <a:cubicBezTo>
                  <a:pt x="146" y="67"/>
                  <a:pt x="146" y="67"/>
                  <a:pt x="146" y="67"/>
                </a:cubicBezTo>
                <a:cubicBezTo>
                  <a:pt x="148" y="64"/>
                  <a:pt x="150" y="61"/>
                  <a:pt x="151" y="58"/>
                </a:cubicBezTo>
                <a:cubicBezTo>
                  <a:pt x="154" y="65"/>
                  <a:pt x="155" y="72"/>
                  <a:pt x="155" y="80"/>
                </a:cubicBezTo>
                <a:cubicBezTo>
                  <a:pt x="155" y="81"/>
                  <a:pt x="155" y="81"/>
                  <a:pt x="155" y="82"/>
                </a:cubicBezTo>
                <a:cubicBezTo>
                  <a:pt x="154" y="81"/>
                  <a:pt x="153" y="80"/>
                  <a:pt x="152" y="80"/>
                </a:cubicBezTo>
                <a:cubicBezTo>
                  <a:pt x="143" y="80"/>
                  <a:pt x="143" y="80"/>
                  <a:pt x="143" y="80"/>
                </a:cubicBezTo>
                <a:cubicBezTo>
                  <a:pt x="142" y="80"/>
                  <a:pt x="140" y="81"/>
                  <a:pt x="140" y="82"/>
                </a:cubicBezTo>
                <a:cubicBezTo>
                  <a:pt x="139" y="88"/>
                  <a:pt x="139" y="88"/>
                  <a:pt x="139" y="88"/>
                </a:cubicBezTo>
                <a:cubicBezTo>
                  <a:pt x="139" y="91"/>
                  <a:pt x="137" y="93"/>
                  <a:pt x="135" y="94"/>
                </a:cubicBezTo>
                <a:cubicBezTo>
                  <a:pt x="132" y="95"/>
                  <a:pt x="130" y="94"/>
                  <a:pt x="128" y="93"/>
                </a:cubicBezTo>
                <a:cubicBezTo>
                  <a:pt x="123" y="89"/>
                  <a:pt x="123" y="89"/>
                  <a:pt x="123" y="89"/>
                </a:cubicBezTo>
                <a:cubicBezTo>
                  <a:pt x="122" y="89"/>
                  <a:pt x="120" y="89"/>
                  <a:pt x="119" y="90"/>
                </a:cubicBezTo>
                <a:cubicBezTo>
                  <a:pt x="113" y="96"/>
                  <a:pt x="113" y="96"/>
                  <a:pt x="113" y="96"/>
                </a:cubicBezTo>
                <a:cubicBezTo>
                  <a:pt x="112" y="97"/>
                  <a:pt x="112" y="99"/>
                  <a:pt x="112" y="100"/>
                </a:cubicBezTo>
                <a:cubicBezTo>
                  <a:pt x="115" y="104"/>
                  <a:pt x="115" y="104"/>
                  <a:pt x="115" y="104"/>
                </a:cubicBezTo>
                <a:cubicBezTo>
                  <a:pt x="117" y="106"/>
                  <a:pt x="117" y="108"/>
                  <a:pt x="116" y="111"/>
                </a:cubicBezTo>
                <a:cubicBezTo>
                  <a:pt x="115" y="113"/>
                  <a:pt x="113" y="115"/>
                  <a:pt x="111" y="115"/>
                </a:cubicBezTo>
                <a:cubicBezTo>
                  <a:pt x="106" y="116"/>
                  <a:pt x="106" y="116"/>
                  <a:pt x="106" y="116"/>
                </a:cubicBezTo>
                <a:cubicBezTo>
                  <a:pt x="105" y="116"/>
                  <a:pt x="104" y="118"/>
                  <a:pt x="104" y="119"/>
                </a:cubicBezTo>
                <a:cubicBezTo>
                  <a:pt x="104" y="128"/>
                  <a:pt x="104" y="128"/>
                  <a:pt x="104" y="128"/>
                </a:cubicBezTo>
                <a:cubicBezTo>
                  <a:pt x="104" y="129"/>
                  <a:pt x="105" y="130"/>
                  <a:pt x="106" y="131"/>
                </a:cubicBezTo>
                <a:cubicBezTo>
                  <a:pt x="111" y="131"/>
                  <a:pt x="111" y="131"/>
                  <a:pt x="111" y="131"/>
                </a:cubicBezTo>
                <a:cubicBezTo>
                  <a:pt x="114" y="132"/>
                  <a:pt x="116" y="133"/>
                  <a:pt x="117" y="136"/>
                </a:cubicBezTo>
                <a:cubicBezTo>
                  <a:pt x="118" y="138"/>
                  <a:pt x="118" y="141"/>
                  <a:pt x="116" y="143"/>
                </a:cubicBezTo>
                <a:cubicBezTo>
                  <a:pt x="113" y="147"/>
                  <a:pt x="113" y="147"/>
                  <a:pt x="113" y="147"/>
                </a:cubicBezTo>
                <a:cubicBezTo>
                  <a:pt x="103" y="152"/>
                  <a:pt x="92" y="155"/>
                  <a:pt x="80" y="155"/>
                </a:cubicBezTo>
                <a:cubicBezTo>
                  <a:pt x="76" y="155"/>
                  <a:pt x="72" y="154"/>
                  <a:pt x="69" y="154"/>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1366">
            <a:extLst>
              <a:ext uri="{FF2B5EF4-FFF2-40B4-BE49-F238E27FC236}">
                <a16:creationId xmlns:a16="http://schemas.microsoft.com/office/drawing/2014/main" id="{9CB5F27F-40C4-204E-9431-8EA9BD7AA0BB}"/>
              </a:ext>
            </a:extLst>
          </p:cNvPr>
          <p:cNvSpPr>
            <a:spLocks noEditPoints="1"/>
          </p:cNvSpPr>
          <p:nvPr/>
        </p:nvSpPr>
        <p:spPr bwMode="auto">
          <a:xfrm>
            <a:off x="9991570" y="4064000"/>
            <a:ext cx="508000" cy="550863"/>
          </a:xfrm>
          <a:custGeom>
            <a:avLst/>
            <a:gdLst>
              <a:gd name="T0" fmla="*/ 103 w 149"/>
              <a:gd name="T1" fmla="*/ 114 h 160"/>
              <a:gd name="T2" fmla="*/ 99 w 149"/>
              <a:gd name="T3" fmla="*/ 118 h 160"/>
              <a:gd name="T4" fmla="*/ 52 w 149"/>
              <a:gd name="T5" fmla="*/ 90 h 160"/>
              <a:gd name="T6" fmla="*/ 54 w 149"/>
              <a:gd name="T7" fmla="*/ 80 h 160"/>
              <a:gd name="T8" fmla="*/ 52 w 149"/>
              <a:gd name="T9" fmla="*/ 70 h 160"/>
              <a:gd name="T10" fmla="*/ 99 w 149"/>
              <a:gd name="T11" fmla="*/ 42 h 160"/>
              <a:gd name="T12" fmla="*/ 122 w 149"/>
              <a:gd name="T13" fmla="*/ 54 h 160"/>
              <a:gd name="T14" fmla="*/ 149 w 149"/>
              <a:gd name="T15" fmla="*/ 27 h 160"/>
              <a:gd name="T16" fmla="*/ 122 w 149"/>
              <a:gd name="T17" fmla="*/ 0 h 160"/>
              <a:gd name="T18" fmla="*/ 95 w 149"/>
              <a:gd name="T19" fmla="*/ 27 h 160"/>
              <a:gd name="T20" fmla="*/ 97 w 149"/>
              <a:gd name="T21" fmla="*/ 37 h 160"/>
              <a:gd name="T22" fmla="*/ 50 w 149"/>
              <a:gd name="T23" fmla="*/ 65 h 160"/>
              <a:gd name="T24" fmla="*/ 27 w 149"/>
              <a:gd name="T25" fmla="*/ 53 h 160"/>
              <a:gd name="T26" fmla="*/ 0 w 149"/>
              <a:gd name="T27" fmla="*/ 80 h 160"/>
              <a:gd name="T28" fmla="*/ 27 w 149"/>
              <a:gd name="T29" fmla="*/ 107 h 160"/>
              <a:gd name="T30" fmla="*/ 50 w 149"/>
              <a:gd name="T31" fmla="*/ 95 h 160"/>
              <a:gd name="T32" fmla="*/ 97 w 149"/>
              <a:gd name="T33" fmla="*/ 123 h 160"/>
              <a:gd name="T34" fmla="*/ 95 w 149"/>
              <a:gd name="T35" fmla="*/ 133 h 160"/>
              <a:gd name="T36" fmla="*/ 103 w 149"/>
              <a:gd name="T37" fmla="*/ 152 h 160"/>
              <a:gd name="T38" fmla="*/ 122 w 149"/>
              <a:gd name="T39" fmla="*/ 160 h 160"/>
              <a:gd name="T40" fmla="*/ 141 w 149"/>
              <a:gd name="T41" fmla="*/ 152 h 160"/>
              <a:gd name="T42" fmla="*/ 149 w 149"/>
              <a:gd name="T43" fmla="*/ 133 h 160"/>
              <a:gd name="T44" fmla="*/ 141 w 149"/>
              <a:gd name="T45" fmla="*/ 114 h 160"/>
              <a:gd name="T46" fmla="*/ 103 w 149"/>
              <a:gd name="T47" fmla="*/ 114 h 160"/>
              <a:gd name="T48" fmla="*/ 122 w 149"/>
              <a:gd name="T49" fmla="*/ 5 h 160"/>
              <a:gd name="T50" fmla="*/ 144 w 149"/>
              <a:gd name="T51" fmla="*/ 27 h 160"/>
              <a:gd name="T52" fmla="*/ 122 w 149"/>
              <a:gd name="T53" fmla="*/ 49 h 160"/>
              <a:gd name="T54" fmla="*/ 100 w 149"/>
              <a:gd name="T55" fmla="*/ 27 h 160"/>
              <a:gd name="T56" fmla="*/ 122 w 149"/>
              <a:gd name="T57" fmla="*/ 5 h 160"/>
              <a:gd name="T58" fmla="*/ 27 w 149"/>
              <a:gd name="T59" fmla="*/ 102 h 160"/>
              <a:gd name="T60" fmla="*/ 5 w 149"/>
              <a:gd name="T61" fmla="*/ 80 h 160"/>
              <a:gd name="T62" fmla="*/ 27 w 149"/>
              <a:gd name="T63" fmla="*/ 58 h 160"/>
              <a:gd name="T64" fmla="*/ 49 w 149"/>
              <a:gd name="T65" fmla="*/ 80 h 160"/>
              <a:gd name="T66" fmla="*/ 27 w 149"/>
              <a:gd name="T67" fmla="*/ 102 h 160"/>
              <a:gd name="T68" fmla="*/ 137 w 149"/>
              <a:gd name="T69" fmla="*/ 148 h 160"/>
              <a:gd name="T70" fmla="*/ 107 w 149"/>
              <a:gd name="T71" fmla="*/ 148 h 160"/>
              <a:gd name="T72" fmla="*/ 100 w 149"/>
              <a:gd name="T73" fmla="*/ 133 h 160"/>
              <a:gd name="T74" fmla="*/ 107 w 149"/>
              <a:gd name="T75" fmla="*/ 118 h 160"/>
              <a:gd name="T76" fmla="*/ 122 w 149"/>
              <a:gd name="T77" fmla="*/ 111 h 160"/>
              <a:gd name="T78" fmla="*/ 137 w 149"/>
              <a:gd name="T79" fmla="*/ 118 h 160"/>
              <a:gd name="T80" fmla="*/ 144 w 149"/>
              <a:gd name="T81" fmla="*/ 133 h 160"/>
              <a:gd name="T82" fmla="*/ 137 w 149"/>
              <a:gd name="T83" fmla="*/ 14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60">
                <a:moveTo>
                  <a:pt x="103" y="114"/>
                </a:moveTo>
                <a:cubicBezTo>
                  <a:pt x="101" y="115"/>
                  <a:pt x="100" y="117"/>
                  <a:pt x="99" y="118"/>
                </a:cubicBezTo>
                <a:cubicBezTo>
                  <a:pt x="52" y="90"/>
                  <a:pt x="52" y="90"/>
                  <a:pt x="52" y="90"/>
                </a:cubicBezTo>
                <a:cubicBezTo>
                  <a:pt x="54" y="87"/>
                  <a:pt x="54" y="83"/>
                  <a:pt x="54" y="80"/>
                </a:cubicBezTo>
                <a:cubicBezTo>
                  <a:pt x="54" y="76"/>
                  <a:pt x="54" y="73"/>
                  <a:pt x="52" y="70"/>
                </a:cubicBezTo>
                <a:cubicBezTo>
                  <a:pt x="99" y="42"/>
                  <a:pt x="99" y="42"/>
                  <a:pt x="99" y="42"/>
                </a:cubicBezTo>
                <a:cubicBezTo>
                  <a:pt x="104" y="49"/>
                  <a:pt x="112" y="54"/>
                  <a:pt x="122" y="54"/>
                </a:cubicBezTo>
                <a:cubicBezTo>
                  <a:pt x="137" y="54"/>
                  <a:pt x="149" y="42"/>
                  <a:pt x="149" y="27"/>
                </a:cubicBezTo>
                <a:cubicBezTo>
                  <a:pt x="149" y="12"/>
                  <a:pt x="137" y="0"/>
                  <a:pt x="122" y="0"/>
                </a:cubicBezTo>
                <a:cubicBezTo>
                  <a:pt x="107" y="0"/>
                  <a:pt x="95" y="12"/>
                  <a:pt x="95" y="27"/>
                </a:cubicBezTo>
                <a:cubicBezTo>
                  <a:pt x="95" y="31"/>
                  <a:pt x="96" y="34"/>
                  <a:pt x="97" y="37"/>
                </a:cubicBezTo>
                <a:cubicBezTo>
                  <a:pt x="50" y="65"/>
                  <a:pt x="50" y="65"/>
                  <a:pt x="50" y="65"/>
                </a:cubicBezTo>
                <a:cubicBezTo>
                  <a:pt x="45" y="58"/>
                  <a:pt x="37" y="53"/>
                  <a:pt x="27" y="53"/>
                </a:cubicBezTo>
                <a:cubicBezTo>
                  <a:pt x="12" y="53"/>
                  <a:pt x="0" y="65"/>
                  <a:pt x="0" y="80"/>
                </a:cubicBezTo>
                <a:cubicBezTo>
                  <a:pt x="0" y="95"/>
                  <a:pt x="12" y="107"/>
                  <a:pt x="27" y="107"/>
                </a:cubicBezTo>
                <a:cubicBezTo>
                  <a:pt x="37" y="107"/>
                  <a:pt x="45" y="102"/>
                  <a:pt x="50" y="95"/>
                </a:cubicBezTo>
                <a:cubicBezTo>
                  <a:pt x="97" y="123"/>
                  <a:pt x="97" y="123"/>
                  <a:pt x="97" y="123"/>
                </a:cubicBezTo>
                <a:cubicBezTo>
                  <a:pt x="96" y="126"/>
                  <a:pt x="95" y="130"/>
                  <a:pt x="95" y="133"/>
                </a:cubicBezTo>
                <a:cubicBezTo>
                  <a:pt x="95" y="140"/>
                  <a:pt x="98" y="147"/>
                  <a:pt x="103" y="152"/>
                </a:cubicBezTo>
                <a:cubicBezTo>
                  <a:pt x="108" y="157"/>
                  <a:pt x="115" y="160"/>
                  <a:pt x="122" y="160"/>
                </a:cubicBezTo>
                <a:cubicBezTo>
                  <a:pt x="129" y="160"/>
                  <a:pt x="136" y="157"/>
                  <a:pt x="141" y="152"/>
                </a:cubicBezTo>
                <a:cubicBezTo>
                  <a:pt x="146" y="147"/>
                  <a:pt x="149" y="140"/>
                  <a:pt x="149" y="133"/>
                </a:cubicBezTo>
                <a:cubicBezTo>
                  <a:pt x="149" y="126"/>
                  <a:pt x="146" y="119"/>
                  <a:pt x="141" y="114"/>
                </a:cubicBezTo>
                <a:cubicBezTo>
                  <a:pt x="131" y="103"/>
                  <a:pt x="113" y="103"/>
                  <a:pt x="103" y="114"/>
                </a:cubicBezTo>
                <a:close/>
                <a:moveTo>
                  <a:pt x="122" y="5"/>
                </a:moveTo>
                <a:cubicBezTo>
                  <a:pt x="134" y="5"/>
                  <a:pt x="144" y="15"/>
                  <a:pt x="144" y="27"/>
                </a:cubicBezTo>
                <a:cubicBezTo>
                  <a:pt x="144" y="39"/>
                  <a:pt x="134" y="49"/>
                  <a:pt x="122" y="49"/>
                </a:cubicBezTo>
                <a:cubicBezTo>
                  <a:pt x="110" y="49"/>
                  <a:pt x="100" y="39"/>
                  <a:pt x="100" y="27"/>
                </a:cubicBezTo>
                <a:cubicBezTo>
                  <a:pt x="100" y="15"/>
                  <a:pt x="110" y="5"/>
                  <a:pt x="122" y="5"/>
                </a:cubicBezTo>
                <a:close/>
                <a:moveTo>
                  <a:pt x="27" y="102"/>
                </a:moveTo>
                <a:cubicBezTo>
                  <a:pt x="15" y="102"/>
                  <a:pt x="5" y="92"/>
                  <a:pt x="5" y="80"/>
                </a:cubicBezTo>
                <a:cubicBezTo>
                  <a:pt x="5" y="68"/>
                  <a:pt x="15" y="58"/>
                  <a:pt x="27" y="58"/>
                </a:cubicBezTo>
                <a:cubicBezTo>
                  <a:pt x="39" y="58"/>
                  <a:pt x="49" y="68"/>
                  <a:pt x="49" y="80"/>
                </a:cubicBezTo>
                <a:cubicBezTo>
                  <a:pt x="49" y="92"/>
                  <a:pt x="39" y="102"/>
                  <a:pt x="27" y="102"/>
                </a:cubicBezTo>
                <a:close/>
                <a:moveTo>
                  <a:pt x="137" y="148"/>
                </a:moveTo>
                <a:cubicBezTo>
                  <a:pt x="129" y="157"/>
                  <a:pt x="115" y="157"/>
                  <a:pt x="107" y="148"/>
                </a:cubicBezTo>
                <a:cubicBezTo>
                  <a:pt x="103" y="144"/>
                  <a:pt x="100" y="139"/>
                  <a:pt x="100" y="133"/>
                </a:cubicBezTo>
                <a:cubicBezTo>
                  <a:pt x="100" y="127"/>
                  <a:pt x="103" y="122"/>
                  <a:pt x="107" y="118"/>
                </a:cubicBezTo>
                <a:cubicBezTo>
                  <a:pt x="111" y="113"/>
                  <a:pt x="116" y="111"/>
                  <a:pt x="122" y="111"/>
                </a:cubicBezTo>
                <a:cubicBezTo>
                  <a:pt x="128" y="111"/>
                  <a:pt x="133" y="113"/>
                  <a:pt x="137" y="118"/>
                </a:cubicBezTo>
                <a:cubicBezTo>
                  <a:pt x="141" y="122"/>
                  <a:pt x="144" y="127"/>
                  <a:pt x="144" y="133"/>
                </a:cubicBezTo>
                <a:cubicBezTo>
                  <a:pt x="144" y="139"/>
                  <a:pt x="141" y="144"/>
                  <a:pt x="137" y="148"/>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1367">
            <a:extLst>
              <a:ext uri="{FF2B5EF4-FFF2-40B4-BE49-F238E27FC236}">
                <a16:creationId xmlns:a16="http://schemas.microsoft.com/office/drawing/2014/main" id="{873D1449-6CE3-DB40-8EA1-4F2FD7BC2B6D}"/>
              </a:ext>
            </a:extLst>
          </p:cNvPr>
          <p:cNvSpPr>
            <a:spLocks noEditPoints="1"/>
          </p:cNvSpPr>
          <p:nvPr/>
        </p:nvSpPr>
        <p:spPr bwMode="auto">
          <a:xfrm>
            <a:off x="9977282" y="4683125"/>
            <a:ext cx="546100" cy="550863"/>
          </a:xfrm>
          <a:custGeom>
            <a:avLst/>
            <a:gdLst>
              <a:gd name="T0" fmla="*/ 150 w 160"/>
              <a:gd name="T1" fmla="*/ 104 h 160"/>
              <a:gd name="T2" fmla="*/ 152 w 160"/>
              <a:gd name="T3" fmla="*/ 88 h 160"/>
              <a:gd name="T4" fmla="*/ 118 w 160"/>
              <a:gd name="T5" fmla="*/ 27 h 160"/>
              <a:gd name="T6" fmla="*/ 114 w 160"/>
              <a:gd name="T7" fmla="*/ 28 h 160"/>
              <a:gd name="T8" fmla="*/ 115 w 160"/>
              <a:gd name="T9" fmla="*/ 32 h 160"/>
              <a:gd name="T10" fmla="*/ 146 w 160"/>
              <a:gd name="T11" fmla="*/ 88 h 160"/>
              <a:gd name="T12" fmla="*/ 145 w 160"/>
              <a:gd name="T13" fmla="*/ 102 h 160"/>
              <a:gd name="T14" fmla="*/ 141 w 160"/>
              <a:gd name="T15" fmla="*/ 102 h 160"/>
              <a:gd name="T16" fmla="*/ 121 w 160"/>
              <a:gd name="T17" fmla="*/ 121 h 160"/>
              <a:gd name="T18" fmla="*/ 141 w 160"/>
              <a:gd name="T19" fmla="*/ 141 h 160"/>
              <a:gd name="T20" fmla="*/ 160 w 160"/>
              <a:gd name="T21" fmla="*/ 121 h 160"/>
              <a:gd name="T22" fmla="*/ 150 w 160"/>
              <a:gd name="T23" fmla="*/ 104 h 160"/>
              <a:gd name="T24" fmla="*/ 141 w 160"/>
              <a:gd name="T25" fmla="*/ 135 h 160"/>
              <a:gd name="T26" fmla="*/ 127 w 160"/>
              <a:gd name="T27" fmla="*/ 121 h 160"/>
              <a:gd name="T28" fmla="*/ 141 w 160"/>
              <a:gd name="T29" fmla="*/ 108 h 160"/>
              <a:gd name="T30" fmla="*/ 154 w 160"/>
              <a:gd name="T31" fmla="*/ 121 h 160"/>
              <a:gd name="T32" fmla="*/ 141 w 160"/>
              <a:gd name="T33" fmla="*/ 135 h 160"/>
              <a:gd name="T34" fmla="*/ 105 w 160"/>
              <a:gd name="T35" fmla="*/ 149 h 160"/>
              <a:gd name="T36" fmla="*/ 80 w 160"/>
              <a:gd name="T37" fmla="*/ 154 h 160"/>
              <a:gd name="T38" fmla="*/ 33 w 160"/>
              <a:gd name="T39" fmla="*/ 135 h 160"/>
              <a:gd name="T40" fmla="*/ 39 w 160"/>
              <a:gd name="T41" fmla="*/ 121 h 160"/>
              <a:gd name="T42" fmla="*/ 19 w 160"/>
              <a:gd name="T43" fmla="*/ 102 h 160"/>
              <a:gd name="T44" fmla="*/ 0 w 160"/>
              <a:gd name="T45" fmla="*/ 121 h 160"/>
              <a:gd name="T46" fmla="*/ 19 w 160"/>
              <a:gd name="T47" fmla="*/ 141 h 160"/>
              <a:gd name="T48" fmla="*/ 29 w 160"/>
              <a:gd name="T49" fmla="*/ 138 h 160"/>
              <a:gd name="T50" fmla="*/ 80 w 160"/>
              <a:gd name="T51" fmla="*/ 160 h 160"/>
              <a:gd name="T52" fmla="*/ 107 w 160"/>
              <a:gd name="T53" fmla="*/ 155 h 160"/>
              <a:gd name="T54" fmla="*/ 109 w 160"/>
              <a:gd name="T55" fmla="*/ 151 h 160"/>
              <a:gd name="T56" fmla="*/ 105 w 160"/>
              <a:gd name="T57" fmla="*/ 149 h 160"/>
              <a:gd name="T58" fmla="*/ 6 w 160"/>
              <a:gd name="T59" fmla="*/ 121 h 160"/>
              <a:gd name="T60" fmla="*/ 19 w 160"/>
              <a:gd name="T61" fmla="*/ 108 h 160"/>
              <a:gd name="T62" fmla="*/ 33 w 160"/>
              <a:gd name="T63" fmla="*/ 121 h 160"/>
              <a:gd name="T64" fmla="*/ 19 w 160"/>
              <a:gd name="T65" fmla="*/ 135 h 160"/>
              <a:gd name="T66" fmla="*/ 6 w 160"/>
              <a:gd name="T67" fmla="*/ 121 h 160"/>
              <a:gd name="T68" fmla="*/ 11 w 160"/>
              <a:gd name="T69" fmla="*/ 86 h 160"/>
              <a:gd name="T70" fmla="*/ 11 w 160"/>
              <a:gd name="T71" fmla="*/ 86 h 160"/>
              <a:gd name="T72" fmla="*/ 14 w 160"/>
              <a:gd name="T73" fmla="*/ 84 h 160"/>
              <a:gd name="T74" fmla="*/ 61 w 160"/>
              <a:gd name="T75" fmla="*/ 25 h 160"/>
              <a:gd name="T76" fmla="*/ 80 w 160"/>
              <a:gd name="T77" fmla="*/ 39 h 160"/>
              <a:gd name="T78" fmla="*/ 99 w 160"/>
              <a:gd name="T79" fmla="*/ 19 h 160"/>
              <a:gd name="T80" fmla="*/ 80 w 160"/>
              <a:gd name="T81" fmla="*/ 0 h 160"/>
              <a:gd name="T82" fmla="*/ 61 w 160"/>
              <a:gd name="T83" fmla="*/ 19 h 160"/>
              <a:gd name="T84" fmla="*/ 8 w 160"/>
              <a:gd name="T85" fmla="*/ 83 h 160"/>
              <a:gd name="T86" fmla="*/ 11 w 160"/>
              <a:gd name="T87" fmla="*/ 86 h 160"/>
              <a:gd name="T88" fmla="*/ 80 w 160"/>
              <a:gd name="T89" fmla="*/ 6 h 160"/>
              <a:gd name="T90" fmla="*/ 94 w 160"/>
              <a:gd name="T91" fmla="*/ 19 h 160"/>
              <a:gd name="T92" fmla="*/ 80 w 160"/>
              <a:gd name="T93" fmla="*/ 33 h 160"/>
              <a:gd name="T94" fmla="*/ 66 w 160"/>
              <a:gd name="T95" fmla="*/ 19 h 160"/>
              <a:gd name="T96" fmla="*/ 80 w 160"/>
              <a:gd name="T97" fmla="*/ 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60">
                <a:moveTo>
                  <a:pt x="150" y="104"/>
                </a:moveTo>
                <a:cubicBezTo>
                  <a:pt x="151" y="99"/>
                  <a:pt x="152" y="94"/>
                  <a:pt x="152" y="88"/>
                </a:cubicBezTo>
                <a:cubicBezTo>
                  <a:pt x="152" y="63"/>
                  <a:pt x="139" y="40"/>
                  <a:pt x="118" y="27"/>
                </a:cubicBezTo>
                <a:cubicBezTo>
                  <a:pt x="116" y="26"/>
                  <a:pt x="115" y="27"/>
                  <a:pt x="114" y="28"/>
                </a:cubicBezTo>
                <a:cubicBezTo>
                  <a:pt x="113" y="29"/>
                  <a:pt x="113" y="31"/>
                  <a:pt x="115" y="32"/>
                </a:cubicBezTo>
                <a:cubicBezTo>
                  <a:pt x="134" y="44"/>
                  <a:pt x="146" y="65"/>
                  <a:pt x="146" y="88"/>
                </a:cubicBezTo>
                <a:cubicBezTo>
                  <a:pt x="146" y="93"/>
                  <a:pt x="146" y="98"/>
                  <a:pt x="145" y="102"/>
                </a:cubicBezTo>
                <a:cubicBezTo>
                  <a:pt x="143" y="102"/>
                  <a:pt x="142" y="102"/>
                  <a:pt x="141" y="102"/>
                </a:cubicBezTo>
                <a:cubicBezTo>
                  <a:pt x="130" y="102"/>
                  <a:pt x="121" y="111"/>
                  <a:pt x="121" y="121"/>
                </a:cubicBezTo>
                <a:cubicBezTo>
                  <a:pt x="121" y="132"/>
                  <a:pt x="130" y="141"/>
                  <a:pt x="141" y="141"/>
                </a:cubicBezTo>
                <a:cubicBezTo>
                  <a:pt x="151" y="141"/>
                  <a:pt x="160" y="132"/>
                  <a:pt x="160" y="121"/>
                </a:cubicBezTo>
                <a:cubicBezTo>
                  <a:pt x="160" y="114"/>
                  <a:pt x="156" y="108"/>
                  <a:pt x="150" y="104"/>
                </a:cubicBezTo>
                <a:close/>
                <a:moveTo>
                  <a:pt x="141" y="135"/>
                </a:moveTo>
                <a:cubicBezTo>
                  <a:pt x="133" y="135"/>
                  <a:pt x="127" y="129"/>
                  <a:pt x="127" y="121"/>
                </a:cubicBezTo>
                <a:cubicBezTo>
                  <a:pt x="127" y="114"/>
                  <a:pt x="133" y="108"/>
                  <a:pt x="141" y="108"/>
                </a:cubicBezTo>
                <a:cubicBezTo>
                  <a:pt x="148" y="108"/>
                  <a:pt x="154" y="114"/>
                  <a:pt x="154" y="121"/>
                </a:cubicBezTo>
                <a:cubicBezTo>
                  <a:pt x="154" y="129"/>
                  <a:pt x="148" y="135"/>
                  <a:pt x="141" y="135"/>
                </a:cubicBezTo>
                <a:close/>
                <a:moveTo>
                  <a:pt x="105" y="149"/>
                </a:moveTo>
                <a:cubicBezTo>
                  <a:pt x="97" y="153"/>
                  <a:pt x="89" y="154"/>
                  <a:pt x="80" y="154"/>
                </a:cubicBezTo>
                <a:cubicBezTo>
                  <a:pt x="62" y="154"/>
                  <a:pt x="45" y="147"/>
                  <a:pt x="33" y="135"/>
                </a:cubicBezTo>
                <a:cubicBezTo>
                  <a:pt x="36" y="131"/>
                  <a:pt x="39" y="127"/>
                  <a:pt x="39" y="121"/>
                </a:cubicBezTo>
                <a:cubicBezTo>
                  <a:pt x="39" y="111"/>
                  <a:pt x="30" y="102"/>
                  <a:pt x="19" y="102"/>
                </a:cubicBezTo>
                <a:cubicBezTo>
                  <a:pt x="9" y="102"/>
                  <a:pt x="0" y="111"/>
                  <a:pt x="0" y="121"/>
                </a:cubicBezTo>
                <a:cubicBezTo>
                  <a:pt x="0" y="132"/>
                  <a:pt x="9" y="141"/>
                  <a:pt x="19" y="141"/>
                </a:cubicBezTo>
                <a:cubicBezTo>
                  <a:pt x="23" y="141"/>
                  <a:pt x="26" y="140"/>
                  <a:pt x="29" y="138"/>
                </a:cubicBezTo>
                <a:cubicBezTo>
                  <a:pt x="42" y="152"/>
                  <a:pt x="61" y="160"/>
                  <a:pt x="80" y="160"/>
                </a:cubicBezTo>
                <a:cubicBezTo>
                  <a:pt x="89" y="160"/>
                  <a:pt x="99" y="158"/>
                  <a:pt x="107" y="155"/>
                </a:cubicBezTo>
                <a:cubicBezTo>
                  <a:pt x="109" y="154"/>
                  <a:pt x="109" y="152"/>
                  <a:pt x="109" y="151"/>
                </a:cubicBezTo>
                <a:cubicBezTo>
                  <a:pt x="108" y="150"/>
                  <a:pt x="107" y="149"/>
                  <a:pt x="105" y="149"/>
                </a:cubicBezTo>
                <a:close/>
                <a:moveTo>
                  <a:pt x="6" y="121"/>
                </a:moveTo>
                <a:cubicBezTo>
                  <a:pt x="6" y="114"/>
                  <a:pt x="12" y="108"/>
                  <a:pt x="19" y="108"/>
                </a:cubicBezTo>
                <a:cubicBezTo>
                  <a:pt x="27" y="108"/>
                  <a:pt x="33" y="114"/>
                  <a:pt x="33" y="121"/>
                </a:cubicBezTo>
                <a:cubicBezTo>
                  <a:pt x="33" y="129"/>
                  <a:pt x="27" y="135"/>
                  <a:pt x="19" y="135"/>
                </a:cubicBezTo>
                <a:cubicBezTo>
                  <a:pt x="12" y="135"/>
                  <a:pt x="6" y="129"/>
                  <a:pt x="6" y="121"/>
                </a:cubicBezTo>
                <a:close/>
                <a:moveTo>
                  <a:pt x="11" y="86"/>
                </a:moveTo>
                <a:cubicBezTo>
                  <a:pt x="11" y="86"/>
                  <a:pt x="11" y="86"/>
                  <a:pt x="11" y="86"/>
                </a:cubicBezTo>
                <a:cubicBezTo>
                  <a:pt x="13" y="86"/>
                  <a:pt x="14" y="85"/>
                  <a:pt x="14" y="84"/>
                </a:cubicBezTo>
                <a:cubicBezTo>
                  <a:pt x="16" y="56"/>
                  <a:pt x="35" y="32"/>
                  <a:pt x="61" y="25"/>
                </a:cubicBezTo>
                <a:cubicBezTo>
                  <a:pt x="64" y="33"/>
                  <a:pt x="71" y="39"/>
                  <a:pt x="80" y="39"/>
                </a:cubicBezTo>
                <a:cubicBezTo>
                  <a:pt x="91" y="39"/>
                  <a:pt x="99" y="30"/>
                  <a:pt x="99" y="19"/>
                </a:cubicBezTo>
                <a:cubicBezTo>
                  <a:pt x="99" y="9"/>
                  <a:pt x="91" y="0"/>
                  <a:pt x="80" y="0"/>
                </a:cubicBezTo>
                <a:cubicBezTo>
                  <a:pt x="69" y="0"/>
                  <a:pt x="61" y="9"/>
                  <a:pt x="61" y="19"/>
                </a:cubicBezTo>
                <a:cubicBezTo>
                  <a:pt x="32" y="27"/>
                  <a:pt x="11" y="53"/>
                  <a:pt x="8" y="83"/>
                </a:cubicBezTo>
                <a:cubicBezTo>
                  <a:pt x="8" y="85"/>
                  <a:pt x="10" y="86"/>
                  <a:pt x="11" y="86"/>
                </a:cubicBezTo>
                <a:close/>
                <a:moveTo>
                  <a:pt x="80" y="6"/>
                </a:moveTo>
                <a:cubicBezTo>
                  <a:pt x="88" y="6"/>
                  <a:pt x="94" y="12"/>
                  <a:pt x="94" y="19"/>
                </a:cubicBezTo>
                <a:cubicBezTo>
                  <a:pt x="94" y="27"/>
                  <a:pt x="88" y="33"/>
                  <a:pt x="80" y="33"/>
                </a:cubicBezTo>
                <a:cubicBezTo>
                  <a:pt x="72" y="33"/>
                  <a:pt x="66" y="27"/>
                  <a:pt x="66" y="19"/>
                </a:cubicBezTo>
                <a:cubicBezTo>
                  <a:pt x="66" y="12"/>
                  <a:pt x="72" y="6"/>
                  <a:pt x="80" y="6"/>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1368">
            <a:extLst>
              <a:ext uri="{FF2B5EF4-FFF2-40B4-BE49-F238E27FC236}">
                <a16:creationId xmlns:a16="http://schemas.microsoft.com/office/drawing/2014/main" id="{2CE40F08-C28F-FF4C-8E07-B521E34C923C}"/>
              </a:ext>
            </a:extLst>
          </p:cNvPr>
          <p:cNvSpPr>
            <a:spLocks noEditPoints="1"/>
          </p:cNvSpPr>
          <p:nvPr/>
        </p:nvSpPr>
        <p:spPr bwMode="auto">
          <a:xfrm>
            <a:off x="9977282" y="5302250"/>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5 h 160"/>
              <a:gd name="T12" fmla="*/ 5 w 160"/>
              <a:gd name="T13" fmla="*/ 80 h 160"/>
              <a:gd name="T14" fmla="*/ 80 w 160"/>
              <a:gd name="T15" fmla="*/ 5 h 160"/>
              <a:gd name="T16" fmla="*/ 155 w 160"/>
              <a:gd name="T17" fmla="*/ 80 h 160"/>
              <a:gd name="T18" fmla="*/ 80 w 160"/>
              <a:gd name="T19" fmla="*/ 155 h 160"/>
              <a:gd name="T20" fmla="*/ 104 w 160"/>
              <a:gd name="T21" fmla="*/ 53 h 160"/>
              <a:gd name="T22" fmla="*/ 120 w 160"/>
              <a:gd name="T23" fmla="*/ 37 h 160"/>
              <a:gd name="T24" fmla="*/ 104 w 160"/>
              <a:gd name="T25" fmla="*/ 21 h 160"/>
              <a:gd name="T26" fmla="*/ 88 w 160"/>
              <a:gd name="T27" fmla="*/ 36 h 160"/>
              <a:gd name="T28" fmla="*/ 51 w 160"/>
              <a:gd name="T29" fmla="*/ 63 h 160"/>
              <a:gd name="T30" fmla="*/ 43 w 160"/>
              <a:gd name="T31" fmla="*/ 61 h 160"/>
              <a:gd name="T32" fmla="*/ 27 w 160"/>
              <a:gd name="T33" fmla="*/ 77 h 160"/>
              <a:gd name="T34" fmla="*/ 43 w 160"/>
              <a:gd name="T35" fmla="*/ 93 h 160"/>
              <a:gd name="T36" fmla="*/ 51 w 160"/>
              <a:gd name="T37" fmla="*/ 91 h 160"/>
              <a:gd name="T38" fmla="*/ 88 w 160"/>
              <a:gd name="T39" fmla="*/ 119 h 160"/>
              <a:gd name="T40" fmla="*/ 104 w 160"/>
              <a:gd name="T41" fmla="*/ 133 h 160"/>
              <a:gd name="T42" fmla="*/ 120 w 160"/>
              <a:gd name="T43" fmla="*/ 117 h 160"/>
              <a:gd name="T44" fmla="*/ 104 w 160"/>
              <a:gd name="T45" fmla="*/ 101 h 160"/>
              <a:gd name="T46" fmla="*/ 89 w 160"/>
              <a:gd name="T47" fmla="*/ 113 h 160"/>
              <a:gd name="T48" fmla="*/ 55 w 160"/>
              <a:gd name="T49" fmla="*/ 88 h 160"/>
              <a:gd name="T50" fmla="*/ 59 w 160"/>
              <a:gd name="T51" fmla="*/ 77 h 160"/>
              <a:gd name="T52" fmla="*/ 55 w 160"/>
              <a:gd name="T53" fmla="*/ 67 h 160"/>
              <a:gd name="T54" fmla="*/ 89 w 160"/>
              <a:gd name="T55" fmla="*/ 42 h 160"/>
              <a:gd name="T56" fmla="*/ 104 w 160"/>
              <a:gd name="T57" fmla="*/ 53 h 160"/>
              <a:gd name="T58" fmla="*/ 104 w 160"/>
              <a:gd name="T59" fmla="*/ 27 h 160"/>
              <a:gd name="T60" fmla="*/ 115 w 160"/>
              <a:gd name="T61" fmla="*/ 37 h 160"/>
              <a:gd name="T62" fmla="*/ 104 w 160"/>
              <a:gd name="T63" fmla="*/ 48 h 160"/>
              <a:gd name="T64" fmla="*/ 93 w 160"/>
              <a:gd name="T65" fmla="*/ 37 h 160"/>
              <a:gd name="T66" fmla="*/ 104 w 160"/>
              <a:gd name="T67" fmla="*/ 27 h 160"/>
              <a:gd name="T68" fmla="*/ 32 w 160"/>
              <a:gd name="T69" fmla="*/ 77 h 160"/>
              <a:gd name="T70" fmla="*/ 43 w 160"/>
              <a:gd name="T71" fmla="*/ 67 h 160"/>
              <a:gd name="T72" fmla="*/ 53 w 160"/>
              <a:gd name="T73" fmla="*/ 77 h 160"/>
              <a:gd name="T74" fmla="*/ 43 w 160"/>
              <a:gd name="T75" fmla="*/ 88 h 160"/>
              <a:gd name="T76" fmla="*/ 32 w 160"/>
              <a:gd name="T77" fmla="*/ 77 h 160"/>
              <a:gd name="T78" fmla="*/ 104 w 160"/>
              <a:gd name="T79" fmla="*/ 107 h 160"/>
              <a:gd name="T80" fmla="*/ 115 w 160"/>
              <a:gd name="T81" fmla="*/ 117 h 160"/>
              <a:gd name="T82" fmla="*/ 104 w 160"/>
              <a:gd name="T83" fmla="*/ 128 h 160"/>
              <a:gd name="T84" fmla="*/ 93 w 160"/>
              <a:gd name="T85" fmla="*/ 117 h 160"/>
              <a:gd name="T86" fmla="*/ 104 w 160"/>
              <a:gd name="T87" fmla="*/ 10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104" y="53"/>
                </a:moveTo>
                <a:cubicBezTo>
                  <a:pt x="113" y="53"/>
                  <a:pt x="120" y="46"/>
                  <a:pt x="120" y="37"/>
                </a:cubicBezTo>
                <a:cubicBezTo>
                  <a:pt x="120" y="29"/>
                  <a:pt x="113" y="21"/>
                  <a:pt x="104" y="21"/>
                </a:cubicBezTo>
                <a:cubicBezTo>
                  <a:pt x="96" y="21"/>
                  <a:pt x="89" y="28"/>
                  <a:pt x="88" y="36"/>
                </a:cubicBezTo>
                <a:cubicBezTo>
                  <a:pt x="51" y="63"/>
                  <a:pt x="51" y="63"/>
                  <a:pt x="51" y="63"/>
                </a:cubicBezTo>
                <a:cubicBezTo>
                  <a:pt x="48" y="62"/>
                  <a:pt x="46" y="61"/>
                  <a:pt x="43" y="61"/>
                </a:cubicBezTo>
                <a:cubicBezTo>
                  <a:pt x="34" y="61"/>
                  <a:pt x="27" y="69"/>
                  <a:pt x="27" y="77"/>
                </a:cubicBezTo>
                <a:cubicBezTo>
                  <a:pt x="27" y="86"/>
                  <a:pt x="34" y="93"/>
                  <a:pt x="43" y="93"/>
                </a:cubicBezTo>
                <a:cubicBezTo>
                  <a:pt x="46" y="93"/>
                  <a:pt x="48" y="93"/>
                  <a:pt x="51" y="91"/>
                </a:cubicBezTo>
                <a:cubicBezTo>
                  <a:pt x="88" y="119"/>
                  <a:pt x="88" y="119"/>
                  <a:pt x="88" y="119"/>
                </a:cubicBezTo>
                <a:cubicBezTo>
                  <a:pt x="89" y="127"/>
                  <a:pt x="96" y="133"/>
                  <a:pt x="104" y="133"/>
                </a:cubicBezTo>
                <a:cubicBezTo>
                  <a:pt x="113" y="133"/>
                  <a:pt x="120" y="126"/>
                  <a:pt x="120" y="117"/>
                </a:cubicBezTo>
                <a:cubicBezTo>
                  <a:pt x="120" y="109"/>
                  <a:pt x="113" y="101"/>
                  <a:pt x="104" y="101"/>
                </a:cubicBezTo>
                <a:cubicBezTo>
                  <a:pt x="97" y="101"/>
                  <a:pt x="91" y="106"/>
                  <a:pt x="89" y="113"/>
                </a:cubicBezTo>
                <a:cubicBezTo>
                  <a:pt x="55" y="88"/>
                  <a:pt x="55" y="88"/>
                  <a:pt x="55" y="88"/>
                </a:cubicBezTo>
                <a:cubicBezTo>
                  <a:pt x="57" y="85"/>
                  <a:pt x="59" y="81"/>
                  <a:pt x="59" y="77"/>
                </a:cubicBezTo>
                <a:cubicBezTo>
                  <a:pt x="59" y="73"/>
                  <a:pt x="57" y="70"/>
                  <a:pt x="55" y="67"/>
                </a:cubicBezTo>
                <a:cubicBezTo>
                  <a:pt x="89" y="42"/>
                  <a:pt x="89" y="42"/>
                  <a:pt x="89" y="42"/>
                </a:cubicBezTo>
                <a:cubicBezTo>
                  <a:pt x="91" y="49"/>
                  <a:pt x="97" y="53"/>
                  <a:pt x="104" y="53"/>
                </a:cubicBezTo>
                <a:close/>
                <a:moveTo>
                  <a:pt x="104" y="27"/>
                </a:moveTo>
                <a:cubicBezTo>
                  <a:pt x="110" y="27"/>
                  <a:pt x="115" y="31"/>
                  <a:pt x="115" y="37"/>
                </a:cubicBezTo>
                <a:cubicBezTo>
                  <a:pt x="115" y="43"/>
                  <a:pt x="110" y="48"/>
                  <a:pt x="104" y="48"/>
                </a:cubicBezTo>
                <a:cubicBezTo>
                  <a:pt x="98" y="48"/>
                  <a:pt x="93" y="43"/>
                  <a:pt x="93" y="37"/>
                </a:cubicBezTo>
                <a:cubicBezTo>
                  <a:pt x="93" y="31"/>
                  <a:pt x="98" y="27"/>
                  <a:pt x="104" y="27"/>
                </a:cubicBezTo>
                <a:close/>
                <a:moveTo>
                  <a:pt x="32" y="77"/>
                </a:moveTo>
                <a:cubicBezTo>
                  <a:pt x="32" y="71"/>
                  <a:pt x="37" y="67"/>
                  <a:pt x="43" y="67"/>
                </a:cubicBezTo>
                <a:cubicBezTo>
                  <a:pt x="49" y="67"/>
                  <a:pt x="53" y="71"/>
                  <a:pt x="53" y="77"/>
                </a:cubicBezTo>
                <a:cubicBezTo>
                  <a:pt x="53" y="83"/>
                  <a:pt x="49" y="88"/>
                  <a:pt x="43" y="88"/>
                </a:cubicBezTo>
                <a:cubicBezTo>
                  <a:pt x="37" y="88"/>
                  <a:pt x="32" y="83"/>
                  <a:pt x="32" y="77"/>
                </a:cubicBezTo>
                <a:close/>
                <a:moveTo>
                  <a:pt x="104" y="107"/>
                </a:moveTo>
                <a:cubicBezTo>
                  <a:pt x="110" y="107"/>
                  <a:pt x="115" y="111"/>
                  <a:pt x="115" y="117"/>
                </a:cubicBezTo>
                <a:cubicBezTo>
                  <a:pt x="115" y="123"/>
                  <a:pt x="110" y="128"/>
                  <a:pt x="104" y="128"/>
                </a:cubicBezTo>
                <a:cubicBezTo>
                  <a:pt x="98" y="128"/>
                  <a:pt x="93" y="123"/>
                  <a:pt x="93" y="117"/>
                </a:cubicBezTo>
                <a:cubicBezTo>
                  <a:pt x="93" y="111"/>
                  <a:pt x="98" y="107"/>
                  <a:pt x="104" y="107"/>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1369">
            <a:extLst>
              <a:ext uri="{FF2B5EF4-FFF2-40B4-BE49-F238E27FC236}">
                <a16:creationId xmlns:a16="http://schemas.microsoft.com/office/drawing/2014/main" id="{099845E3-6F70-7A49-8F43-EE49D6E01435}"/>
              </a:ext>
            </a:extLst>
          </p:cNvPr>
          <p:cNvSpPr>
            <a:spLocks noEditPoints="1"/>
          </p:cNvSpPr>
          <p:nvPr/>
        </p:nvSpPr>
        <p:spPr bwMode="auto">
          <a:xfrm>
            <a:off x="9977282" y="5921375"/>
            <a:ext cx="546100" cy="550863"/>
          </a:xfrm>
          <a:custGeom>
            <a:avLst/>
            <a:gdLst>
              <a:gd name="T0" fmla="*/ 27 w 160"/>
              <a:gd name="T1" fmla="*/ 48 h 160"/>
              <a:gd name="T2" fmla="*/ 29 w 160"/>
              <a:gd name="T3" fmla="*/ 45 h 160"/>
              <a:gd name="T4" fmla="*/ 35 w 160"/>
              <a:gd name="T5" fmla="*/ 45 h 160"/>
              <a:gd name="T6" fmla="*/ 58 w 160"/>
              <a:gd name="T7" fmla="*/ 54 h 160"/>
              <a:gd name="T8" fmla="*/ 58 w 160"/>
              <a:gd name="T9" fmla="*/ 58 h 160"/>
              <a:gd name="T10" fmla="*/ 56 w 160"/>
              <a:gd name="T11" fmla="*/ 59 h 160"/>
              <a:gd name="T12" fmla="*/ 54 w 160"/>
              <a:gd name="T13" fmla="*/ 58 h 160"/>
              <a:gd name="T14" fmla="*/ 35 w 160"/>
              <a:gd name="T15" fmla="*/ 51 h 160"/>
              <a:gd name="T16" fmla="*/ 29 w 160"/>
              <a:gd name="T17" fmla="*/ 51 h 160"/>
              <a:gd name="T18" fmla="*/ 27 w 160"/>
              <a:gd name="T19" fmla="*/ 48 h 160"/>
              <a:gd name="T20" fmla="*/ 97 w 160"/>
              <a:gd name="T21" fmla="*/ 25 h 160"/>
              <a:gd name="T22" fmla="*/ 97 w 160"/>
              <a:gd name="T23" fmla="*/ 29 h 160"/>
              <a:gd name="T24" fmla="*/ 120 w 160"/>
              <a:gd name="T25" fmla="*/ 45 h 160"/>
              <a:gd name="T26" fmla="*/ 99 w 160"/>
              <a:gd name="T27" fmla="*/ 45 h 160"/>
              <a:gd name="T28" fmla="*/ 64 w 160"/>
              <a:gd name="T29" fmla="*/ 80 h 160"/>
              <a:gd name="T30" fmla="*/ 35 w 160"/>
              <a:gd name="T31" fmla="*/ 109 h 160"/>
              <a:gd name="T32" fmla="*/ 29 w 160"/>
              <a:gd name="T33" fmla="*/ 109 h 160"/>
              <a:gd name="T34" fmla="*/ 27 w 160"/>
              <a:gd name="T35" fmla="*/ 112 h 160"/>
              <a:gd name="T36" fmla="*/ 29 w 160"/>
              <a:gd name="T37" fmla="*/ 115 h 160"/>
              <a:gd name="T38" fmla="*/ 35 w 160"/>
              <a:gd name="T39" fmla="*/ 115 h 160"/>
              <a:gd name="T40" fmla="*/ 69 w 160"/>
              <a:gd name="T41" fmla="*/ 80 h 160"/>
              <a:gd name="T42" fmla="*/ 99 w 160"/>
              <a:gd name="T43" fmla="*/ 51 h 160"/>
              <a:gd name="T44" fmla="*/ 120 w 160"/>
              <a:gd name="T45" fmla="*/ 51 h 160"/>
              <a:gd name="T46" fmla="*/ 97 w 160"/>
              <a:gd name="T47" fmla="*/ 67 h 160"/>
              <a:gd name="T48" fmla="*/ 97 w 160"/>
              <a:gd name="T49" fmla="*/ 71 h 160"/>
              <a:gd name="T50" fmla="*/ 99 w 160"/>
              <a:gd name="T51" fmla="*/ 72 h 160"/>
              <a:gd name="T52" fmla="*/ 100 w 160"/>
              <a:gd name="T53" fmla="*/ 71 h 160"/>
              <a:gd name="T54" fmla="*/ 133 w 160"/>
              <a:gd name="T55" fmla="*/ 48 h 160"/>
              <a:gd name="T56" fmla="*/ 100 w 160"/>
              <a:gd name="T57" fmla="*/ 25 h 160"/>
              <a:gd name="T58" fmla="*/ 97 w 160"/>
              <a:gd name="T59" fmla="*/ 25 h 160"/>
              <a:gd name="T60" fmla="*/ 97 w 160"/>
              <a:gd name="T61" fmla="*/ 89 h 160"/>
              <a:gd name="T62" fmla="*/ 97 w 160"/>
              <a:gd name="T63" fmla="*/ 93 h 160"/>
              <a:gd name="T64" fmla="*/ 120 w 160"/>
              <a:gd name="T65" fmla="*/ 109 h 160"/>
              <a:gd name="T66" fmla="*/ 99 w 160"/>
              <a:gd name="T67" fmla="*/ 109 h 160"/>
              <a:gd name="T68" fmla="*/ 79 w 160"/>
              <a:gd name="T69" fmla="*/ 102 h 160"/>
              <a:gd name="T70" fmla="*/ 75 w 160"/>
              <a:gd name="T71" fmla="*/ 102 h 160"/>
              <a:gd name="T72" fmla="*/ 76 w 160"/>
              <a:gd name="T73" fmla="*/ 106 h 160"/>
              <a:gd name="T74" fmla="*/ 99 w 160"/>
              <a:gd name="T75" fmla="*/ 115 h 160"/>
              <a:gd name="T76" fmla="*/ 120 w 160"/>
              <a:gd name="T77" fmla="*/ 115 h 160"/>
              <a:gd name="T78" fmla="*/ 97 w 160"/>
              <a:gd name="T79" fmla="*/ 131 h 160"/>
              <a:gd name="T80" fmla="*/ 97 w 160"/>
              <a:gd name="T81" fmla="*/ 135 h 160"/>
              <a:gd name="T82" fmla="*/ 99 w 160"/>
              <a:gd name="T83" fmla="*/ 136 h 160"/>
              <a:gd name="T84" fmla="*/ 100 w 160"/>
              <a:gd name="T85" fmla="*/ 135 h 160"/>
              <a:gd name="T86" fmla="*/ 133 w 160"/>
              <a:gd name="T87" fmla="*/ 112 h 160"/>
              <a:gd name="T88" fmla="*/ 100 w 160"/>
              <a:gd name="T89" fmla="*/ 89 h 160"/>
              <a:gd name="T90" fmla="*/ 97 w 160"/>
              <a:gd name="T91" fmla="*/ 89 h 160"/>
              <a:gd name="T92" fmla="*/ 160 w 160"/>
              <a:gd name="T93" fmla="*/ 80 h 160"/>
              <a:gd name="T94" fmla="*/ 80 w 160"/>
              <a:gd name="T95" fmla="*/ 160 h 160"/>
              <a:gd name="T96" fmla="*/ 0 w 160"/>
              <a:gd name="T97" fmla="*/ 80 h 160"/>
              <a:gd name="T98" fmla="*/ 80 w 160"/>
              <a:gd name="T99" fmla="*/ 0 h 160"/>
              <a:gd name="T100" fmla="*/ 160 w 160"/>
              <a:gd name="T101" fmla="*/ 80 h 160"/>
              <a:gd name="T102" fmla="*/ 155 w 160"/>
              <a:gd name="T103" fmla="*/ 80 h 160"/>
              <a:gd name="T104" fmla="*/ 80 w 160"/>
              <a:gd name="T105" fmla="*/ 5 h 160"/>
              <a:gd name="T106" fmla="*/ 5 w 160"/>
              <a:gd name="T107" fmla="*/ 80 h 160"/>
              <a:gd name="T108" fmla="*/ 80 w 160"/>
              <a:gd name="T109" fmla="*/ 155 h 160"/>
              <a:gd name="T110" fmla="*/ 155 w 160"/>
              <a:gd name="T111"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60">
                <a:moveTo>
                  <a:pt x="27" y="48"/>
                </a:moveTo>
                <a:cubicBezTo>
                  <a:pt x="27" y="47"/>
                  <a:pt x="28" y="45"/>
                  <a:pt x="29" y="45"/>
                </a:cubicBezTo>
                <a:cubicBezTo>
                  <a:pt x="35" y="45"/>
                  <a:pt x="35" y="45"/>
                  <a:pt x="35" y="45"/>
                </a:cubicBezTo>
                <a:cubicBezTo>
                  <a:pt x="43" y="45"/>
                  <a:pt x="51" y="48"/>
                  <a:pt x="58" y="54"/>
                </a:cubicBezTo>
                <a:cubicBezTo>
                  <a:pt x="59" y="55"/>
                  <a:pt x="59" y="57"/>
                  <a:pt x="58" y="58"/>
                </a:cubicBezTo>
                <a:cubicBezTo>
                  <a:pt x="57" y="59"/>
                  <a:pt x="57" y="59"/>
                  <a:pt x="56" y="59"/>
                </a:cubicBezTo>
                <a:cubicBezTo>
                  <a:pt x="55" y="59"/>
                  <a:pt x="55" y="59"/>
                  <a:pt x="54" y="58"/>
                </a:cubicBezTo>
                <a:cubicBezTo>
                  <a:pt x="49" y="53"/>
                  <a:pt x="42" y="51"/>
                  <a:pt x="35" y="51"/>
                </a:cubicBezTo>
                <a:cubicBezTo>
                  <a:pt x="29" y="51"/>
                  <a:pt x="29" y="51"/>
                  <a:pt x="29" y="51"/>
                </a:cubicBezTo>
                <a:cubicBezTo>
                  <a:pt x="28" y="51"/>
                  <a:pt x="27" y="49"/>
                  <a:pt x="27" y="48"/>
                </a:cubicBezTo>
                <a:close/>
                <a:moveTo>
                  <a:pt x="97" y="25"/>
                </a:moveTo>
                <a:cubicBezTo>
                  <a:pt x="96" y="26"/>
                  <a:pt x="96" y="28"/>
                  <a:pt x="97" y="29"/>
                </a:cubicBezTo>
                <a:cubicBezTo>
                  <a:pt x="120" y="45"/>
                  <a:pt x="120" y="45"/>
                  <a:pt x="120" y="45"/>
                </a:cubicBezTo>
                <a:cubicBezTo>
                  <a:pt x="99" y="45"/>
                  <a:pt x="99" y="45"/>
                  <a:pt x="99" y="45"/>
                </a:cubicBezTo>
                <a:cubicBezTo>
                  <a:pt x="80" y="45"/>
                  <a:pt x="64" y="61"/>
                  <a:pt x="64" y="80"/>
                </a:cubicBezTo>
                <a:cubicBezTo>
                  <a:pt x="64" y="96"/>
                  <a:pt x="51" y="109"/>
                  <a:pt x="35" y="109"/>
                </a:cubicBezTo>
                <a:cubicBezTo>
                  <a:pt x="29" y="109"/>
                  <a:pt x="29" y="109"/>
                  <a:pt x="29" y="109"/>
                </a:cubicBezTo>
                <a:cubicBezTo>
                  <a:pt x="28" y="109"/>
                  <a:pt x="27" y="111"/>
                  <a:pt x="27" y="112"/>
                </a:cubicBezTo>
                <a:cubicBezTo>
                  <a:pt x="27" y="113"/>
                  <a:pt x="28" y="115"/>
                  <a:pt x="29" y="115"/>
                </a:cubicBezTo>
                <a:cubicBezTo>
                  <a:pt x="35" y="115"/>
                  <a:pt x="35" y="115"/>
                  <a:pt x="35" y="115"/>
                </a:cubicBezTo>
                <a:cubicBezTo>
                  <a:pt x="54" y="115"/>
                  <a:pt x="69" y="99"/>
                  <a:pt x="69" y="80"/>
                </a:cubicBezTo>
                <a:cubicBezTo>
                  <a:pt x="69" y="64"/>
                  <a:pt x="82" y="51"/>
                  <a:pt x="99" y="51"/>
                </a:cubicBezTo>
                <a:cubicBezTo>
                  <a:pt x="120" y="51"/>
                  <a:pt x="120" y="51"/>
                  <a:pt x="120" y="51"/>
                </a:cubicBezTo>
                <a:cubicBezTo>
                  <a:pt x="97" y="67"/>
                  <a:pt x="97" y="67"/>
                  <a:pt x="97" y="67"/>
                </a:cubicBezTo>
                <a:cubicBezTo>
                  <a:pt x="96" y="68"/>
                  <a:pt x="96" y="70"/>
                  <a:pt x="97" y="71"/>
                </a:cubicBezTo>
                <a:cubicBezTo>
                  <a:pt x="97" y="72"/>
                  <a:pt x="98" y="72"/>
                  <a:pt x="99" y="72"/>
                </a:cubicBezTo>
                <a:cubicBezTo>
                  <a:pt x="99" y="72"/>
                  <a:pt x="100" y="72"/>
                  <a:pt x="100" y="71"/>
                </a:cubicBezTo>
                <a:cubicBezTo>
                  <a:pt x="133" y="48"/>
                  <a:pt x="133" y="48"/>
                  <a:pt x="133" y="48"/>
                </a:cubicBezTo>
                <a:cubicBezTo>
                  <a:pt x="100" y="25"/>
                  <a:pt x="100" y="25"/>
                  <a:pt x="100" y="25"/>
                </a:cubicBezTo>
                <a:cubicBezTo>
                  <a:pt x="99" y="24"/>
                  <a:pt x="97" y="24"/>
                  <a:pt x="97" y="25"/>
                </a:cubicBezTo>
                <a:close/>
                <a:moveTo>
                  <a:pt x="97" y="89"/>
                </a:moveTo>
                <a:cubicBezTo>
                  <a:pt x="96" y="90"/>
                  <a:pt x="96" y="92"/>
                  <a:pt x="97" y="93"/>
                </a:cubicBezTo>
                <a:cubicBezTo>
                  <a:pt x="120" y="109"/>
                  <a:pt x="120" y="109"/>
                  <a:pt x="120" y="109"/>
                </a:cubicBezTo>
                <a:cubicBezTo>
                  <a:pt x="99" y="109"/>
                  <a:pt x="99" y="109"/>
                  <a:pt x="99" y="109"/>
                </a:cubicBezTo>
                <a:cubicBezTo>
                  <a:pt x="92" y="109"/>
                  <a:pt x="85" y="107"/>
                  <a:pt x="79" y="102"/>
                </a:cubicBezTo>
                <a:cubicBezTo>
                  <a:pt x="78" y="101"/>
                  <a:pt x="76" y="101"/>
                  <a:pt x="75" y="102"/>
                </a:cubicBezTo>
                <a:cubicBezTo>
                  <a:pt x="75" y="103"/>
                  <a:pt x="75" y="105"/>
                  <a:pt x="76" y="106"/>
                </a:cubicBezTo>
                <a:cubicBezTo>
                  <a:pt x="82" y="112"/>
                  <a:pt x="90" y="115"/>
                  <a:pt x="99" y="115"/>
                </a:cubicBezTo>
                <a:cubicBezTo>
                  <a:pt x="120" y="115"/>
                  <a:pt x="120" y="115"/>
                  <a:pt x="120" y="115"/>
                </a:cubicBezTo>
                <a:cubicBezTo>
                  <a:pt x="97" y="131"/>
                  <a:pt x="97" y="131"/>
                  <a:pt x="97" y="131"/>
                </a:cubicBezTo>
                <a:cubicBezTo>
                  <a:pt x="96" y="132"/>
                  <a:pt x="96" y="134"/>
                  <a:pt x="97" y="135"/>
                </a:cubicBezTo>
                <a:cubicBezTo>
                  <a:pt x="97" y="136"/>
                  <a:pt x="98" y="136"/>
                  <a:pt x="99" y="136"/>
                </a:cubicBezTo>
                <a:cubicBezTo>
                  <a:pt x="99" y="136"/>
                  <a:pt x="100" y="136"/>
                  <a:pt x="100" y="135"/>
                </a:cubicBezTo>
                <a:cubicBezTo>
                  <a:pt x="133" y="112"/>
                  <a:pt x="133" y="112"/>
                  <a:pt x="133" y="112"/>
                </a:cubicBezTo>
                <a:cubicBezTo>
                  <a:pt x="100" y="89"/>
                  <a:pt x="100" y="89"/>
                  <a:pt x="100" y="89"/>
                </a:cubicBezTo>
                <a:cubicBezTo>
                  <a:pt x="99" y="88"/>
                  <a:pt x="97" y="88"/>
                  <a:pt x="97" y="89"/>
                </a:cubicBezTo>
                <a:close/>
                <a:moveTo>
                  <a:pt x="160" y="80"/>
                </a:moveTo>
                <a:cubicBezTo>
                  <a:pt x="160" y="124"/>
                  <a:pt x="124" y="160"/>
                  <a:pt x="80" y="160"/>
                </a:cubicBezTo>
                <a:cubicBezTo>
                  <a:pt x="36" y="160"/>
                  <a:pt x="0" y="124"/>
                  <a:pt x="0" y="80"/>
                </a:cubicBezTo>
                <a:cubicBezTo>
                  <a:pt x="0" y="36"/>
                  <a:pt x="36" y="0"/>
                  <a:pt x="80" y="0"/>
                </a:cubicBezTo>
                <a:cubicBezTo>
                  <a:pt x="124" y="0"/>
                  <a:pt x="160" y="36"/>
                  <a:pt x="160" y="80"/>
                </a:cubicBezTo>
                <a:close/>
                <a:moveTo>
                  <a:pt x="155" y="80"/>
                </a:moveTo>
                <a:cubicBezTo>
                  <a:pt x="155" y="39"/>
                  <a:pt x="121" y="5"/>
                  <a:pt x="80" y="5"/>
                </a:cubicBezTo>
                <a:cubicBezTo>
                  <a:pt x="39" y="5"/>
                  <a:pt x="5" y="39"/>
                  <a:pt x="5" y="80"/>
                </a:cubicBezTo>
                <a:cubicBezTo>
                  <a:pt x="5" y="121"/>
                  <a:pt x="39" y="155"/>
                  <a:pt x="80" y="155"/>
                </a:cubicBezTo>
                <a:cubicBezTo>
                  <a:pt x="121" y="155"/>
                  <a:pt x="155" y="121"/>
                  <a:pt x="155" y="80"/>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1370">
            <a:extLst>
              <a:ext uri="{FF2B5EF4-FFF2-40B4-BE49-F238E27FC236}">
                <a16:creationId xmlns:a16="http://schemas.microsoft.com/office/drawing/2014/main" id="{5773D0AF-7988-B942-A739-F08EFD621B6E}"/>
              </a:ext>
            </a:extLst>
          </p:cNvPr>
          <p:cNvSpPr>
            <a:spLocks noEditPoints="1"/>
          </p:cNvSpPr>
          <p:nvPr/>
        </p:nvSpPr>
        <p:spPr bwMode="auto">
          <a:xfrm>
            <a:off x="8132337" y="3489325"/>
            <a:ext cx="546100" cy="485775"/>
          </a:xfrm>
          <a:custGeom>
            <a:avLst/>
            <a:gdLst>
              <a:gd name="T0" fmla="*/ 87 w 160"/>
              <a:gd name="T1" fmla="*/ 35 h 141"/>
              <a:gd name="T2" fmla="*/ 116 w 160"/>
              <a:gd name="T3" fmla="*/ 35 h 141"/>
              <a:gd name="T4" fmla="*/ 116 w 160"/>
              <a:gd name="T5" fmla="*/ 64 h 141"/>
              <a:gd name="T6" fmla="*/ 160 w 160"/>
              <a:gd name="T7" fmla="*/ 32 h 141"/>
              <a:gd name="T8" fmla="*/ 116 w 160"/>
              <a:gd name="T9" fmla="*/ 0 h 141"/>
              <a:gd name="T10" fmla="*/ 116 w 160"/>
              <a:gd name="T11" fmla="*/ 29 h 141"/>
              <a:gd name="T12" fmla="*/ 87 w 160"/>
              <a:gd name="T13" fmla="*/ 29 h 141"/>
              <a:gd name="T14" fmla="*/ 45 w 160"/>
              <a:gd name="T15" fmla="*/ 71 h 141"/>
              <a:gd name="T16" fmla="*/ 10 w 160"/>
              <a:gd name="T17" fmla="*/ 106 h 141"/>
              <a:gd name="T18" fmla="*/ 3 w 160"/>
              <a:gd name="T19" fmla="*/ 106 h 141"/>
              <a:gd name="T20" fmla="*/ 0 w 160"/>
              <a:gd name="T21" fmla="*/ 109 h 141"/>
              <a:gd name="T22" fmla="*/ 3 w 160"/>
              <a:gd name="T23" fmla="*/ 113 h 141"/>
              <a:gd name="T24" fmla="*/ 10 w 160"/>
              <a:gd name="T25" fmla="*/ 113 h 141"/>
              <a:gd name="T26" fmla="*/ 52 w 160"/>
              <a:gd name="T27" fmla="*/ 71 h 141"/>
              <a:gd name="T28" fmla="*/ 87 w 160"/>
              <a:gd name="T29" fmla="*/ 35 h 141"/>
              <a:gd name="T30" fmla="*/ 122 w 160"/>
              <a:gd name="T31" fmla="*/ 13 h 141"/>
              <a:gd name="T32" fmla="*/ 149 w 160"/>
              <a:gd name="T33" fmla="*/ 32 h 141"/>
              <a:gd name="T34" fmla="*/ 122 w 160"/>
              <a:gd name="T35" fmla="*/ 52 h 141"/>
              <a:gd name="T36" fmla="*/ 122 w 160"/>
              <a:gd name="T37" fmla="*/ 13 h 141"/>
              <a:gd name="T38" fmla="*/ 0 w 160"/>
              <a:gd name="T39" fmla="*/ 32 h 141"/>
              <a:gd name="T40" fmla="*/ 3 w 160"/>
              <a:gd name="T41" fmla="*/ 29 h 141"/>
              <a:gd name="T42" fmla="*/ 10 w 160"/>
              <a:gd name="T43" fmla="*/ 29 h 141"/>
              <a:gd name="T44" fmla="*/ 38 w 160"/>
              <a:gd name="T45" fmla="*/ 40 h 141"/>
              <a:gd name="T46" fmla="*/ 38 w 160"/>
              <a:gd name="T47" fmla="*/ 44 h 141"/>
              <a:gd name="T48" fmla="*/ 35 w 160"/>
              <a:gd name="T49" fmla="*/ 45 h 141"/>
              <a:gd name="T50" fmla="*/ 33 w 160"/>
              <a:gd name="T51" fmla="*/ 44 h 141"/>
              <a:gd name="T52" fmla="*/ 10 w 160"/>
              <a:gd name="T53" fmla="*/ 35 h 141"/>
              <a:gd name="T54" fmla="*/ 3 w 160"/>
              <a:gd name="T55" fmla="*/ 35 h 141"/>
              <a:gd name="T56" fmla="*/ 0 w 160"/>
              <a:gd name="T57" fmla="*/ 32 h 141"/>
              <a:gd name="T58" fmla="*/ 116 w 160"/>
              <a:gd name="T59" fmla="*/ 106 h 141"/>
              <a:gd name="T60" fmla="*/ 87 w 160"/>
              <a:gd name="T61" fmla="*/ 106 h 141"/>
              <a:gd name="T62" fmla="*/ 63 w 160"/>
              <a:gd name="T63" fmla="*/ 97 h 141"/>
              <a:gd name="T64" fmla="*/ 59 w 160"/>
              <a:gd name="T65" fmla="*/ 98 h 141"/>
              <a:gd name="T66" fmla="*/ 59 w 160"/>
              <a:gd name="T67" fmla="*/ 102 h 141"/>
              <a:gd name="T68" fmla="*/ 87 w 160"/>
              <a:gd name="T69" fmla="*/ 113 h 141"/>
              <a:gd name="T70" fmla="*/ 116 w 160"/>
              <a:gd name="T71" fmla="*/ 113 h 141"/>
              <a:gd name="T72" fmla="*/ 116 w 160"/>
              <a:gd name="T73" fmla="*/ 141 h 141"/>
              <a:gd name="T74" fmla="*/ 160 w 160"/>
              <a:gd name="T75" fmla="*/ 109 h 141"/>
              <a:gd name="T76" fmla="*/ 116 w 160"/>
              <a:gd name="T77" fmla="*/ 77 h 141"/>
              <a:gd name="T78" fmla="*/ 116 w 160"/>
              <a:gd name="T79" fmla="*/ 106 h 141"/>
              <a:gd name="T80" fmla="*/ 122 w 160"/>
              <a:gd name="T81" fmla="*/ 90 h 141"/>
              <a:gd name="T82" fmla="*/ 149 w 160"/>
              <a:gd name="T83" fmla="*/ 109 h 141"/>
              <a:gd name="T84" fmla="*/ 122 w 160"/>
              <a:gd name="T85" fmla="*/ 129 h 141"/>
              <a:gd name="T86" fmla="*/ 122 w 160"/>
              <a:gd name="T87" fmla="*/ 9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41">
                <a:moveTo>
                  <a:pt x="87" y="35"/>
                </a:moveTo>
                <a:cubicBezTo>
                  <a:pt x="116" y="35"/>
                  <a:pt x="116" y="35"/>
                  <a:pt x="116" y="35"/>
                </a:cubicBezTo>
                <a:cubicBezTo>
                  <a:pt x="116" y="64"/>
                  <a:pt x="116" y="64"/>
                  <a:pt x="116" y="64"/>
                </a:cubicBezTo>
                <a:cubicBezTo>
                  <a:pt x="160" y="32"/>
                  <a:pt x="160" y="32"/>
                  <a:pt x="160" y="32"/>
                </a:cubicBezTo>
                <a:cubicBezTo>
                  <a:pt x="116" y="0"/>
                  <a:pt x="116" y="0"/>
                  <a:pt x="116" y="0"/>
                </a:cubicBezTo>
                <a:cubicBezTo>
                  <a:pt x="116" y="29"/>
                  <a:pt x="116" y="29"/>
                  <a:pt x="116" y="29"/>
                </a:cubicBezTo>
                <a:cubicBezTo>
                  <a:pt x="87" y="29"/>
                  <a:pt x="87" y="29"/>
                  <a:pt x="87" y="29"/>
                </a:cubicBezTo>
                <a:cubicBezTo>
                  <a:pt x="64" y="29"/>
                  <a:pt x="45" y="48"/>
                  <a:pt x="45" y="71"/>
                </a:cubicBezTo>
                <a:cubicBezTo>
                  <a:pt x="45" y="90"/>
                  <a:pt x="29" y="106"/>
                  <a:pt x="10" y="106"/>
                </a:cubicBezTo>
                <a:cubicBezTo>
                  <a:pt x="3" y="106"/>
                  <a:pt x="3" y="106"/>
                  <a:pt x="3" y="106"/>
                </a:cubicBezTo>
                <a:cubicBezTo>
                  <a:pt x="1" y="106"/>
                  <a:pt x="0" y="108"/>
                  <a:pt x="0" y="109"/>
                </a:cubicBezTo>
                <a:cubicBezTo>
                  <a:pt x="0" y="111"/>
                  <a:pt x="1" y="113"/>
                  <a:pt x="3" y="113"/>
                </a:cubicBezTo>
                <a:cubicBezTo>
                  <a:pt x="10" y="113"/>
                  <a:pt x="10" y="113"/>
                  <a:pt x="10" y="113"/>
                </a:cubicBezTo>
                <a:cubicBezTo>
                  <a:pt x="33" y="113"/>
                  <a:pt x="52" y="94"/>
                  <a:pt x="52" y="71"/>
                </a:cubicBezTo>
                <a:cubicBezTo>
                  <a:pt x="52" y="51"/>
                  <a:pt x="67" y="35"/>
                  <a:pt x="87" y="35"/>
                </a:cubicBezTo>
                <a:close/>
                <a:moveTo>
                  <a:pt x="122" y="13"/>
                </a:moveTo>
                <a:cubicBezTo>
                  <a:pt x="149" y="32"/>
                  <a:pt x="149" y="32"/>
                  <a:pt x="149" y="32"/>
                </a:cubicBezTo>
                <a:cubicBezTo>
                  <a:pt x="122" y="52"/>
                  <a:pt x="122" y="52"/>
                  <a:pt x="122" y="52"/>
                </a:cubicBezTo>
                <a:lnTo>
                  <a:pt x="122" y="13"/>
                </a:lnTo>
                <a:close/>
                <a:moveTo>
                  <a:pt x="0" y="32"/>
                </a:moveTo>
                <a:cubicBezTo>
                  <a:pt x="0" y="30"/>
                  <a:pt x="1" y="29"/>
                  <a:pt x="3" y="29"/>
                </a:cubicBezTo>
                <a:cubicBezTo>
                  <a:pt x="10" y="29"/>
                  <a:pt x="10" y="29"/>
                  <a:pt x="10" y="29"/>
                </a:cubicBezTo>
                <a:cubicBezTo>
                  <a:pt x="20" y="29"/>
                  <a:pt x="30" y="33"/>
                  <a:pt x="38" y="40"/>
                </a:cubicBezTo>
                <a:cubicBezTo>
                  <a:pt x="39" y="41"/>
                  <a:pt x="39" y="43"/>
                  <a:pt x="38" y="44"/>
                </a:cubicBezTo>
                <a:cubicBezTo>
                  <a:pt x="37" y="45"/>
                  <a:pt x="36" y="45"/>
                  <a:pt x="35" y="45"/>
                </a:cubicBezTo>
                <a:cubicBezTo>
                  <a:pt x="35" y="45"/>
                  <a:pt x="34" y="45"/>
                  <a:pt x="33" y="44"/>
                </a:cubicBezTo>
                <a:cubicBezTo>
                  <a:pt x="27" y="38"/>
                  <a:pt x="18" y="35"/>
                  <a:pt x="10" y="35"/>
                </a:cubicBezTo>
                <a:cubicBezTo>
                  <a:pt x="3" y="35"/>
                  <a:pt x="3" y="35"/>
                  <a:pt x="3" y="35"/>
                </a:cubicBezTo>
                <a:cubicBezTo>
                  <a:pt x="1" y="35"/>
                  <a:pt x="0" y="34"/>
                  <a:pt x="0" y="32"/>
                </a:cubicBezTo>
                <a:close/>
                <a:moveTo>
                  <a:pt x="116" y="106"/>
                </a:moveTo>
                <a:cubicBezTo>
                  <a:pt x="87" y="106"/>
                  <a:pt x="87" y="106"/>
                  <a:pt x="87" y="106"/>
                </a:cubicBezTo>
                <a:cubicBezTo>
                  <a:pt x="78" y="106"/>
                  <a:pt x="70" y="103"/>
                  <a:pt x="63" y="97"/>
                </a:cubicBezTo>
                <a:cubicBezTo>
                  <a:pt x="62" y="96"/>
                  <a:pt x="60" y="96"/>
                  <a:pt x="59" y="98"/>
                </a:cubicBezTo>
                <a:cubicBezTo>
                  <a:pt x="58" y="99"/>
                  <a:pt x="58" y="101"/>
                  <a:pt x="59" y="102"/>
                </a:cubicBezTo>
                <a:cubicBezTo>
                  <a:pt x="67" y="109"/>
                  <a:pt x="77" y="113"/>
                  <a:pt x="87" y="113"/>
                </a:cubicBezTo>
                <a:cubicBezTo>
                  <a:pt x="116" y="113"/>
                  <a:pt x="116" y="113"/>
                  <a:pt x="116" y="113"/>
                </a:cubicBezTo>
                <a:cubicBezTo>
                  <a:pt x="116" y="141"/>
                  <a:pt x="116" y="141"/>
                  <a:pt x="116" y="141"/>
                </a:cubicBezTo>
                <a:cubicBezTo>
                  <a:pt x="160" y="109"/>
                  <a:pt x="160" y="109"/>
                  <a:pt x="160" y="109"/>
                </a:cubicBezTo>
                <a:cubicBezTo>
                  <a:pt x="116" y="77"/>
                  <a:pt x="116" y="77"/>
                  <a:pt x="116" y="77"/>
                </a:cubicBezTo>
                <a:lnTo>
                  <a:pt x="116" y="106"/>
                </a:lnTo>
                <a:close/>
                <a:moveTo>
                  <a:pt x="122" y="90"/>
                </a:moveTo>
                <a:cubicBezTo>
                  <a:pt x="149" y="109"/>
                  <a:pt x="149" y="109"/>
                  <a:pt x="149" y="109"/>
                </a:cubicBezTo>
                <a:cubicBezTo>
                  <a:pt x="122" y="129"/>
                  <a:pt x="122" y="129"/>
                  <a:pt x="122" y="129"/>
                </a:cubicBezTo>
                <a:lnTo>
                  <a:pt x="122" y="90"/>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1371">
            <a:extLst>
              <a:ext uri="{FF2B5EF4-FFF2-40B4-BE49-F238E27FC236}">
                <a16:creationId xmlns:a16="http://schemas.microsoft.com/office/drawing/2014/main" id="{EDB81D94-FE98-7F4F-99DB-4DAB223945F7}"/>
              </a:ext>
            </a:extLst>
          </p:cNvPr>
          <p:cNvSpPr>
            <a:spLocks noEditPoints="1"/>
          </p:cNvSpPr>
          <p:nvPr/>
        </p:nvSpPr>
        <p:spPr bwMode="auto">
          <a:xfrm>
            <a:off x="8132337" y="4081463"/>
            <a:ext cx="546100" cy="550863"/>
          </a:xfrm>
          <a:custGeom>
            <a:avLst/>
            <a:gdLst>
              <a:gd name="T0" fmla="*/ 160 w 160"/>
              <a:gd name="T1" fmla="*/ 80 h 160"/>
              <a:gd name="T2" fmla="*/ 80 w 160"/>
              <a:gd name="T3" fmla="*/ 0 h 160"/>
              <a:gd name="T4" fmla="*/ 0 w 160"/>
              <a:gd name="T5" fmla="*/ 80 h 160"/>
              <a:gd name="T6" fmla="*/ 13 w 160"/>
              <a:gd name="T7" fmla="*/ 123 h 160"/>
              <a:gd name="T8" fmla="*/ 12 w 160"/>
              <a:gd name="T9" fmla="*/ 123 h 160"/>
              <a:gd name="T10" fmla="*/ 16 w 160"/>
              <a:gd name="T11" fmla="*/ 128 h 160"/>
              <a:gd name="T12" fmla="*/ 64 w 160"/>
              <a:gd name="T13" fmla="*/ 158 h 160"/>
              <a:gd name="T14" fmla="*/ 64 w 160"/>
              <a:gd name="T15" fmla="*/ 158 h 160"/>
              <a:gd name="T16" fmla="*/ 67 w 160"/>
              <a:gd name="T17" fmla="*/ 159 h 160"/>
              <a:gd name="T18" fmla="*/ 69 w 160"/>
              <a:gd name="T19" fmla="*/ 159 h 160"/>
              <a:gd name="T20" fmla="*/ 71 w 160"/>
              <a:gd name="T21" fmla="*/ 160 h 160"/>
              <a:gd name="T22" fmla="*/ 74 w 160"/>
              <a:gd name="T23" fmla="*/ 160 h 160"/>
              <a:gd name="T24" fmla="*/ 76 w 160"/>
              <a:gd name="T25" fmla="*/ 160 h 160"/>
              <a:gd name="T26" fmla="*/ 80 w 160"/>
              <a:gd name="T27" fmla="*/ 160 h 160"/>
              <a:gd name="T28" fmla="*/ 84 w 160"/>
              <a:gd name="T29" fmla="*/ 160 h 160"/>
              <a:gd name="T30" fmla="*/ 86 w 160"/>
              <a:gd name="T31" fmla="*/ 160 h 160"/>
              <a:gd name="T32" fmla="*/ 89 w 160"/>
              <a:gd name="T33" fmla="*/ 160 h 160"/>
              <a:gd name="T34" fmla="*/ 91 w 160"/>
              <a:gd name="T35" fmla="*/ 159 h 160"/>
              <a:gd name="T36" fmla="*/ 93 w 160"/>
              <a:gd name="T37" fmla="*/ 159 h 160"/>
              <a:gd name="T38" fmla="*/ 96 w 160"/>
              <a:gd name="T39" fmla="*/ 158 h 160"/>
              <a:gd name="T40" fmla="*/ 96 w 160"/>
              <a:gd name="T41" fmla="*/ 158 h 160"/>
              <a:gd name="T42" fmla="*/ 144 w 160"/>
              <a:gd name="T43" fmla="*/ 128 h 160"/>
              <a:gd name="T44" fmla="*/ 148 w 160"/>
              <a:gd name="T45" fmla="*/ 123 h 160"/>
              <a:gd name="T46" fmla="*/ 147 w 160"/>
              <a:gd name="T47" fmla="*/ 123 h 160"/>
              <a:gd name="T48" fmla="*/ 160 w 160"/>
              <a:gd name="T49" fmla="*/ 80 h 160"/>
              <a:gd name="T50" fmla="*/ 6 w 160"/>
              <a:gd name="T51" fmla="*/ 80 h 160"/>
              <a:gd name="T52" fmla="*/ 80 w 160"/>
              <a:gd name="T53" fmla="*/ 6 h 160"/>
              <a:gd name="T54" fmla="*/ 154 w 160"/>
              <a:gd name="T55" fmla="*/ 80 h 160"/>
              <a:gd name="T56" fmla="*/ 140 w 160"/>
              <a:gd name="T57" fmla="*/ 123 h 160"/>
              <a:gd name="T58" fmla="*/ 20 w 160"/>
              <a:gd name="T59" fmla="*/ 123 h 160"/>
              <a:gd name="T60" fmla="*/ 6 w 160"/>
              <a:gd name="T61" fmla="*/ 80 h 160"/>
              <a:gd name="T62" fmla="*/ 88 w 160"/>
              <a:gd name="T63" fmla="*/ 153 h 160"/>
              <a:gd name="T64" fmla="*/ 87 w 160"/>
              <a:gd name="T65" fmla="*/ 154 h 160"/>
              <a:gd name="T66" fmla="*/ 84 w 160"/>
              <a:gd name="T67" fmla="*/ 154 h 160"/>
              <a:gd name="T68" fmla="*/ 80 w 160"/>
              <a:gd name="T69" fmla="*/ 154 h 160"/>
              <a:gd name="T70" fmla="*/ 76 w 160"/>
              <a:gd name="T71" fmla="*/ 154 h 160"/>
              <a:gd name="T72" fmla="*/ 73 w 160"/>
              <a:gd name="T73" fmla="*/ 154 h 160"/>
              <a:gd name="T74" fmla="*/ 72 w 160"/>
              <a:gd name="T75" fmla="*/ 153 h 160"/>
              <a:gd name="T76" fmla="*/ 25 w 160"/>
              <a:gd name="T77" fmla="*/ 129 h 160"/>
              <a:gd name="T78" fmla="*/ 135 w 160"/>
              <a:gd name="T79" fmla="*/ 129 h 160"/>
              <a:gd name="T80" fmla="*/ 88 w 160"/>
              <a:gd name="T81" fmla="*/ 15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 h="160">
                <a:moveTo>
                  <a:pt x="160" y="80"/>
                </a:moveTo>
                <a:cubicBezTo>
                  <a:pt x="160" y="36"/>
                  <a:pt x="124" y="0"/>
                  <a:pt x="80" y="0"/>
                </a:cubicBezTo>
                <a:cubicBezTo>
                  <a:pt x="36" y="0"/>
                  <a:pt x="0" y="36"/>
                  <a:pt x="0" y="80"/>
                </a:cubicBezTo>
                <a:cubicBezTo>
                  <a:pt x="0" y="96"/>
                  <a:pt x="5" y="111"/>
                  <a:pt x="13" y="123"/>
                </a:cubicBezTo>
                <a:cubicBezTo>
                  <a:pt x="12" y="123"/>
                  <a:pt x="12" y="123"/>
                  <a:pt x="12" y="123"/>
                </a:cubicBezTo>
                <a:cubicBezTo>
                  <a:pt x="16" y="128"/>
                  <a:pt x="16" y="128"/>
                  <a:pt x="16" y="128"/>
                </a:cubicBezTo>
                <a:cubicBezTo>
                  <a:pt x="28" y="144"/>
                  <a:pt x="45" y="154"/>
                  <a:pt x="64" y="158"/>
                </a:cubicBezTo>
                <a:cubicBezTo>
                  <a:pt x="64" y="158"/>
                  <a:pt x="64" y="158"/>
                  <a:pt x="64" y="158"/>
                </a:cubicBezTo>
                <a:cubicBezTo>
                  <a:pt x="65" y="159"/>
                  <a:pt x="66" y="159"/>
                  <a:pt x="67" y="159"/>
                </a:cubicBezTo>
                <a:cubicBezTo>
                  <a:pt x="68" y="159"/>
                  <a:pt x="68" y="159"/>
                  <a:pt x="69" y="159"/>
                </a:cubicBezTo>
                <a:cubicBezTo>
                  <a:pt x="70" y="159"/>
                  <a:pt x="70" y="159"/>
                  <a:pt x="71" y="160"/>
                </a:cubicBezTo>
                <a:cubicBezTo>
                  <a:pt x="72" y="160"/>
                  <a:pt x="73" y="160"/>
                  <a:pt x="74" y="160"/>
                </a:cubicBezTo>
                <a:cubicBezTo>
                  <a:pt x="74" y="160"/>
                  <a:pt x="75" y="160"/>
                  <a:pt x="76" y="160"/>
                </a:cubicBezTo>
                <a:cubicBezTo>
                  <a:pt x="77" y="160"/>
                  <a:pt x="79" y="160"/>
                  <a:pt x="80" y="160"/>
                </a:cubicBezTo>
                <a:cubicBezTo>
                  <a:pt x="81" y="160"/>
                  <a:pt x="83" y="160"/>
                  <a:pt x="84" y="160"/>
                </a:cubicBezTo>
                <a:cubicBezTo>
                  <a:pt x="85" y="160"/>
                  <a:pt x="86" y="160"/>
                  <a:pt x="86" y="160"/>
                </a:cubicBezTo>
                <a:cubicBezTo>
                  <a:pt x="87" y="160"/>
                  <a:pt x="88" y="160"/>
                  <a:pt x="89" y="160"/>
                </a:cubicBezTo>
                <a:cubicBezTo>
                  <a:pt x="90" y="159"/>
                  <a:pt x="90" y="159"/>
                  <a:pt x="91" y="159"/>
                </a:cubicBezTo>
                <a:cubicBezTo>
                  <a:pt x="92" y="159"/>
                  <a:pt x="92" y="159"/>
                  <a:pt x="93" y="159"/>
                </a:cubicBezTo>
                <a:cubicBezTo>
                  <a:pt x="94" y="159"/>
                  <a:pt x="95" y="159"/>
                  <a:pt x="96" y="158"/>
                </a:cubicBezTo>
                <a:cubicBezTo>
                  <a:pt x="96" y="158"/>
                  <a:pt x="96" y="158"/>
                  <a:pt x="96" y="158"/>
                </a:cubicBezTo>
                <a:cubicBezTo>
                  <a:pt x="115" y="154"/>
                  <a:pt x="132" y="144"/>
                  <a:pt x="144" y="128"/>
                </a:cubicBezTo>
                <a:cubicBezTo>
                  <a:pt x="148" y="123"/>
                  <a:pt x="148" y="123"/>
                  <a:pt x="148" y="123"/>
                </a:cubicBezTo>
                <a:cubicBezTo>
                  <a:pt x="147" y="123"/>
                  <a:pt x="147" y="123"/>
                  <a:pt x="147" y="123"/>
                </a:cubicBezTo>
                <a:cubicBezTo>
                  <a:pt x="155" y="111"/>
                  <a:pt x="160" y="96"/>
                  <a:pt x="160" y="80"/>
                </a:cubicBezTo>
                <a:close/>
                <a:moveTo>
                  <a:pt x="6" y="80"/>
                </a:moveTo>
                <a:cubicBezTo>
                  <a:pt x="6" y="39"/>
                  <a:pt x="39" y="6"/>
                  <a:pt x="80" y="6"/>
                </a:cubicBezTo>
                <a:cubicBezTo>
                  <a:pt x="121" y="6"/>
                  <a:pt x="154" y="39"/>
                  <a:pt x="154" y="80"/>
                </a:cubicBezTo>
                <a:cubicBezTo>
                  <a:pt x="154" y="96"/>
                  <a:pt x="149" y="111"/>
                  <a:pt x="140" y="123"/>
                </a:cubicBezTo>
                <a:cubicBezTo>
                  <a:pt x="20" y="123"/>
                  <a:pt x="20" y="123"/>
                  <a:pt x="20" y="123"/>
                </a:cubicBezTo>
                <a:cubicBezTo>
                  <a:pt x="11" y="111"/>
                  <a:pt x="6" y="96"/>
                  <a:pt x="6" y="80"/>
                </a:cubicBezTo>
                <a:close/>
                <a:moveTo>
                  <a:pt x="88" y="153"/>
                </a:moveTo>
                <a:cubicBezTo>
                  <a:pt x="87" y="153"/>
                  <a:pt x="87" y="154"/>
                  <a:pt x="87" y="154"/>
                </a:cubicBezTo>
                <a:cubicBezTo>
                  <a:pt x="86" y="154"/>
                  <a:pt x="85" y="154"/>
                  <a:pt x="84" y="154"/>
                </a:cubicBezTo>
                <a:cubicBezTo>
                  <a:pt x="83" y="154"/>
                  <a:pt x="81" y="154"/>
                  <a:pt x="80" y="154"/>
                </a:cubicBezTo>
                <a:cubicBezTo>
                  <a:pt x="79" y="154"/>
                  <a:pt x="77" y="154"/>
                  <a:pt x="76" y="154"/>
                </a:cubicBezTo>
                <a:cubicBezTo>
                  <a:pt x="75" y="154"/>
                  <a:pt x="74" y="154"/>
                  <a:pt x="73" y="154"/>
                </a:cubicBezTo>
                <a:cubicBezTo>
                  <a:pt x="73" y="154"/>
                  <a:pt x="73" y="153"/>
                  <a:pt x="72" y="153"/>
                </a:cubicBezTo>
                <a:cubicBezTo>
                  <a:pt x="54" y="152"/>
                  <a:pt x="37" y="143"/>
                  <a:pt x="25" y="129"/>
                </a:cubicBezTo>
                <a:cubicBezTo>
                  <a:pt x="135" y="129"/>
                  <a:pt x="135" y="129"/>
                  <a:pt x="135" y="129"/>
                </a:cubicBezTo>
                <a:cubicBezTo>
                  <a:pt x="123" y="143"/>
                  <a:pt x="106" y="152"/>
                  <a:pt x="88" y="153"/>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9" name="Freeform 1372">
            <a:extLst>
              <a:ext uri="{FF2B5EF4-FFF2-40B4-BE49-F238E27FC236}">
                <a16:creationId xmlns:a16="http://schemas.microsoft.com/office/drawing/2014/main" id="{64D08000-6214-0B4E-851A-8E3A5DA24F42}"/>
              </a:ext>
            </a:extLst>
          </p:cNvPr>
          <p:cNvSpPr>
            <a:spLocks noEditPoints="1"/>
          </p:cNvSpPr>
          <p:nvPr/>
        </p:nvSpPr>
        <p:spPr bwMode="auto">
          <a:xfrm>
            <a:off x="8146625" y="4700588"/>
            <a:ext cx="514350" cy="550863"/>
          </a:xfrm>
          <a:custGeom>
            <a:avLst/>
            <a:gdLst>
              <a:gd name="T0" fmla="*/ 126 w 151"/>
              <a:gd name="T1" fmla="*/ 56 h 160"/>
              <a:gd name="T2" fmla="*/ 150 w 151"/>
              <a:gd name="T3" fmla="*/ 34 h 160"/>
              <a:gd name="T4" fmla="*/ 151 w 151"/>
              <a:gd name="T5" fmla="*/ 32 h 160"/>
              <a:gd name="T6" fmla="*/ 150 w 151"/>
              <a:gd name="T7" fmla="*/ 30 h 160"/>
              <a:gd name="T8" fmla="*/ 126 w 151"/>
              <a:gd name="T9" fmla="*/ 8 h 160"/>
              <a:gd name="T10" fmla="*/ 75 w 151"/>
              <a:gd name="T11" fmla="*/ 8 h 160"/>
              <a:gd name="T12" fmla="*/ 75 w 151"/>
              <a:gd name="T13" fmla="*/ 3 h 160"/>
              <a:gd name="T14" fmla="*/ 72 w 151"/>
              <a:gd name="T15" fmla="*/ 0 h 160"/>
              <a:gd name="T16" fmla="*/ 69 w 151"/>
              <a:gd name="T17" fmla="*/ 3 h 160"/>
              <a:gd name="T18" fmla="*/ 69 w 151"/>
              <a:gd name="T19" fmla="*/ 8 h 160"/>
              <a:gd name="T20" fmla="*/ 22 w 151"/>
              <a:gd name="T21" fmla="*/ 8 h 160"/>
              <a:gd name="T22" fmla="*/ 13 w 151"/>
              <a:gd name="T23" fmla="*/ 17 h 160"/>
              <a:gd name="T24" fmla="*/ 13 w 151"/>
              <a:gd name="T25" fmla="*/ 47 h 160"/>
              <a:gd name="T26" fmla="*/ 22 w 151"/>
              <a:gd name="T27" fmla="*/ 56 h 160"/>
              <a:gd name="T28" fmla="*/ 69 w 151"/>
              <a:gd name="T29" fmla="*/ 56 h 160"/>
              <a:gd name="T30" fmla="*/ 69 w 151"/>
              <a:gd name="T31" fmla="*/ 61 h 160"/>
              <a:gd name="T32" fmla="*/ 25 w 151"/>
              <a:gd name="T33" fmla="*/ 61 h 160"/>
              <a:gd name="T34" fmla="*/ 1 w 151"/>
              <a:gd name="T35" fmla="*/ 83 h 160"/>
              <a:gd name="T36" fmla="*/ 0 w 151"/>
              <a:gd name="T37" fmla="*/ 85 h 160"/>
              <a:gd name="T38" fmla="*/ 1 w 151"/>
              <a:gd name="T39" fmla="*/ 88 h 160"/>
              <a:gd name="T40" fmla="*/ 25 w 151"/>
              <a:gd name="T41" fmla="*/ 109 h 160"/>
              <a:gd name="T42" fmla="*/ 69 w 151"/>
              <a:gd name="T43" fmla="*/ 109 h 160"/>
              <a:gd name="T44" fmla="*/ 69 w 151"/>
              <a:gd name="T45" fmla="*/ 157 h 160"/>
              <a:gd name="T46" fmla="*/ 72 w 151"/>
              <a:gd name="T47" fmla="*/ 160 h 160"/>
              <a:gd name="T48" fmla="*/ 75 w 151"/>
              <a:gd name="T49" fmla="*/ 157 h 160"/>
              <a:gd name="T50" fmla="*/ 75 w 151"/>
              <a:gd name="T51" fmla="*/ 109 h 160"/>
              <a:gd name="T52" fmla="*/ 130 w 151"/>
              <a:gd name="T53" fmla="*/ 109 h 160"/>
              <a:gd name="T54" fmla="*/ 139 w 151"/>
              <a:gd name="T55" fmla="*/ 100 h 160"/>
              <a:gd name="T56" fmla="*/ 139 w 151"/>
              <a:gd name="T57" fmla="*/ 70 h 160"/>
              <a:gd name="T58" fmla="*/ 130 w 151"/>
              <a:gd name="T59" fmla="*/ 61 h 160"/>
              <a:gd name="T60" fmla="*/ 75 w 151"/>
              <a:gd name="T61" fmla="*/ 61 h 160"/>
              <a:gd name="T62" fmla="*/ 75 w 151"/>
              <a:gd name="T63" fmla="*/ 56 h 160"/>
              <a:gd name="T64" fmla="*/ 126 w 151"/>
              <a:gd name="T65" fmla="*/ 56 h 160"/>
              <a:gd name="T66" fmla="*/ 133 w 151"/>
              <a:gd name="T67" fmla="*/ 70 h 160"/>
              <a:gd name="T68" fmla="*/ 133 w 151"/>
              <a:gd name="T69" fmla="*/ 100 h 160"/>
              <a:gd name="T70" fmla="*/ 130 w 151"/>
              <a:gd name="T71" fmla="*/ 104 h 160"/>
              <a:gd name="T72" fmla="*/ 27 w 151"/>
              <a:gd name="T73" fmla="*/ 104 h 160"/>
              <a:gd name="T74" fmla="*/ 6 w 151"/>
              <a:gd name="T75" fmla="*/ 85 h 160"/>
              <a:gd name="T76" fmla="*/ 27 w 151"/>
              <a:gd name="T77" fmla="*/ 67 h 160"/>
              <a:gd name="T78" fmla="*/ 130 w 151"/>
              <a:gd name="T79" fmla="*/ 67 h 160"/>
              <a:gd name="T80" fmla="*/ 133 w 151"/>
              <a:gd name="T81" fmla="*/ 70 h 160"/>
              <a:gd name="T82" fmla="*/ 19 w 151"/>
              <a:gd name="T83" fmla="*/ 47 h 160"/>
              <a:gd name="T84" fmla="*/ 19 w 151"/>
              <a:gd name="T85" fmla="*/ 17 h 160"/>
              <a:gd name="T86" fmla="*/ 22 w 151"/>
              <a:gd name="T87" fmla="*/ 13 h 160"/>
              <a:gd name="T88" fmla="*/ 124 w 151"/>
              <a:gd name="T89" fmla="*/ 13 h 160"/>
              <a:gd name="T90" fmla="*/ 145 w 151"/>
              <a:gd name="T91" fmla="*/ 32 h 160"/>
              <a:gd name="T92" fmla="*/ 124 w 151"/>
              <a:gd name="T93" fmla="*/ 51 h 160"/>
              <a:gd name="T94" fmla="*/ 22 w 151"/>
              <a:gd name="T95" fmla="*/ 51 h 160"/>
              <a:gd name="T96" fmla="*/ 19 w 151"/>
              <a:gd name="T97" fmla="*/ 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60">
                <a:moveTo>
                  <a:pt x="126" y="56"/>
                </a:moveTo>
                <a:cubicBezTo>
                  <a:pt x="150" y="34"/>
                  <a:pt x="150" y="34"/>
                  <a:pt x="150" y="34"/>
                </a:cubicBezTo>
                <a:cubicBezTo>
                  <a:pt x="151" y="34"/>
                  <a:pt x="151" y="33"/>
                  <a:pt x="151" y="32"/>
                </a:cubicBezTo>
                <a:cubicBezTo>
                  <a:pt x="151" y="31"/>
                  <a:pt x="151" y="30"/>
                  <a:pt x="150" y="30"/>
                </a:cubicBezTo>
                <a:cubicBezTo>
                  <a:pt x="126" y="8"/>
                  <a:pt x="126" y="8"/>
                  <a:pt x="126" y="8"/>
                </a:cubicBezTo>
                <a:cubicBezTo>
                  <a:pt x="75" y="8"/>
                  <a:pt x="75" y="8"/>
                  <a:pt x="75" y="8"/>
                </a:cubicBezTo>
                <a:cubicBezTo>
                  <a:pt x="75" y="3"/>
                  <a:pt x="75" y="3"/>
                  <a:pt x="75" y="3"/>
                </a:cubicBezTo>
                <a:cubicBezTo>
                  <a:pt x="75" y="1"/>
                  <a:pt x="73" y="0"/>
                  <a:pt x="72" y="0"/>
                </a:cubicBezTo>
                <a:cubicBezTo>
                  <a:pt x="71" y="0"/>
                  <a:pt x="69" y="1"/>
                  <a:pt x="69" y="3"/>
                </a:cubicBezTo>
                <a:cubicBezTo>
                  <a:pt x="69" y="8"/>
                  <a:pt x="69" y="8"/>
                  <a:pt x="69" y="8"/>
                </a:cubicBezTo>
                <a:cubicBezTo>
                  <a:pt x="22" y="8"/>
                  <a:pt x="22" y="8"/>
                  <a:pt x="22" y="8"/>
                </a:cubicBezTo>
                <a:cubicBezTo>
                  <a:pt x="17" y="8"/>
                  <a:pt x="13" y="12"/>
                  <a:pt x="13" y="17"/>
                </a:cubicBezTo>
                <a:cubicBezTo>
                  <a:pt x="13" y="47"/>
                  <a:pt x="13" y="47"/>
                  <a:pt x="13" y="47"/>
                </a:cubicBezTo>
                <a:cubicBezTo>
                  <a:pt x="13" y="52"/>
                  <a:pt x="17" y="56"/>
                  <a:pt x="22" y="56"/>
                </a:cubicBezTo>
                <a:cubicBezTo>
                  <a:pt x="69" y="56"/>
                  <a:pt x="69" y="56"/>
                  <a:pt x="69" y="56"/>
                </a:cubicBezTo>
                <a:cubicBezTo>
                  <a:pt x="69" y="61"/>
                  <a:pt x="69" y="61"/>
                  <a:pt x="69" y="61"/>
                </a:cubicBezTo>
                <a:cubicBezTo>
                  <a:pt x="25" y="61"/>
                  <a:pt x="25" y="61"/>
                  <a:pt x="25" y="61"/>
                </a:cubicBezTo>
                <a:cubicBezTo>
                  <a:pt x="1" y="83"/>
                  <a:pt x="1" y="83"/>
                  <a:pt x="1" y="83"/>
                </a:cubicBezTo>
                <a:cubicBezTo>
                  <a:pt x="0" y="84"/>
                  <a:pt x="0" y="84"/>
                  <a:pt x="0" y="85"/>
                </a:cubicBezTo>
                <a:cubicBezTo>
                  <a:pt x="0" y="86"/>
                  <a:pt x="0" y="87"/>
                  <a:pt x="1" y="88"/>
                </a:cubicBezTo>
                <a:cubicBezTo>
                  <a:pt x="25" y="109"/>
                  <a:pt x="25" y="109"/>
                  <a:pt x="25" y="109"/>
                </a:cubicBezTo>
                <a:cubicBezTo>
                  <a:pt x="69" y="109"/>
                  <a:pt x="69" y="109"/>
                  <a:pt x="69" y="109"/>
                </a:cubicBezTo>
                <a:cubicBezTo>
                  <a:pt x="69" y="157"/>
                  <a:pt x="69" y="157"/>
                  <a:pt x="69" y="157"/>
                </a:cubicBezTo>
                <a:cubicBezTo>
                  <a:pt x="69" y="159"/>
                  <a:pt x="71" y="160"/>
                  <a:pt x="72" y="160"/>
                </a:cubicBezTo>
                <a:cubicBezTo>
                  <a:pt x="73" y="160"/>
                  <a:pt x="75" y="159"/>
                  <a:pt x="75" y="157"/>
                </a:cubicBezTo>
                <a:cubicBezTo>
                  <a:pt x="75" y="109"/>
                  <a:pt x="75" y="109"/>
                  <a:pt x="75" y="109"/>
                </a:cubicBezTo>
                <a:cubicBezTo>
                  <a:pt x="130" y="109"/>
                  <a:pt x="130" y="109"/>
                  <a:pt x="130" y="109"/>
                </a:cubicBezTo>
                <a:cubicBezTo>
                  <a:pt x="135" y="109"/>
                  <a:pt x="139" y="105"/>
                  <a:pt x="139" y="100"/>
                </a:cubicBezTo>
                <a:cubicBezTo>
                  <a:pt x="139" y="70"/>
                  <a:pt x="139" y="70"/>
                  <a:pt x="139" y="70"/>
                </a:cubicBezTo>
                <a:cubicBezTo>
                  <a:pt x="139" y="65"/>
                  <a:pt x="135" y="61"/>
                  <a:pt x="130" y="61"/>
                </a:cubicBezTo>
                <a:cubicBezTo>
                  <a:pt x="75" y="61"/>
                  <a:pt x="75" y="61"/>
                  <a:pt x="75" y="61"/>
                </a:cubicBezTo>
                <a:cubicBezTo>
                  <a:pt x="75" y="56"/>
                  <a:pt x="75" y="56"/>
                  <a:pt x="75" y="56"/>
                </a:cubicBezTo>
                <a:lnTo>
                  <a:pt x="126" y="56"/>
                </a:lnTo>
                <a:close/>
                <a:moveTo>
                  <a:pt x="133" y="70"/>
                </a:moveTo>
                <a:cubicBezTo>
                  <a:pt x="133" y="100"/>
                  <a:pt x="133" y="100"/>
                  <a:pt x="133" y="100"/>
                </a:cubicBezTo>
                <a:cubicBezTo>
                  <a:pt x="133" y="102"/>
                  <a:pt x="132" y="104"/>
                  <a:pt x="130" y="104"/>
                </a:cubicBezTo>
                <a:cubicBezTo>
                  <a:pt x="27" y="104"/>
                  <a:pt x="27" y="104"/>
                  <a:pt x="27" y="104"/>
                </a:cubicBezTo>
                <a:cubicBezTo>
                  <a:pt x="6" y="85"/>
                  <a:pt x="6" y="85"/>
                  <a:pt x="6" y="85"/>
                </a:cubicBezTo>
                <a:cubicBezTo>
                  <a:pt x="27" y="67"/>
                  <a:pt x="27" y="67"/>
                  <a:pt x="27" y="67"/>
                </a:cubicBezTo>
                <a:cubicBezTo>
                  <a:pt x="130" y="67"/>
                  <a:pt x="130" y="67"/>
                  <a:pt x="130" y="67"/>
                </a:cubicBezTo>
                <a:cubicBezTo>
                  <a:pt x="132" y="67"/>
                  <a:pt x="133" y="68"/>
                  <a:pt x="133" y="70"/>
                </a:cubicBezTo>
                <a:close/>
                <a:moveTo>
                  <a:pt x="19" y="47"/>
                </a:moveTo>
                <a:cubicBezTo>
                  <a:pt x="19" y="17"/>
                  <a:pt x="19" y="17"/>
                  <a:pt x="19" y="17"/>
                </a:cubicBezTo>
                <a:cubicBezTo>
                  <a:pt x="19" y="15"/>
                  <a:pt x="20" y="13"/>
                  <a:pt x="22" y="13"/>
                </a:cubicBezTo>
                <a:cubicBezTo>
                  <a:pt x="124" y="13"/>
                  <a:pt x="124" y="13"/>
                  <a:pt x="124" y="13"/>
                </a:cubicBezTo>
                <a:cubicBezTo>
                  <a:pt x="145" y="32"/>
                  <a:pt x="145" y="32"/>
                  <a:pt x="145" y="32"/>
                </a:cubicBezTo>
                <a:cubicBezTo>
                  <a:pt x="124" y="51"/>
                  <a:pt x="124" y="51"/>
                  <a:pt x="124" y="51"/>
                </a:cubicBezTo>
                <a:cubicBezTo>
                  <a:pt x="22" y="51"/>
                  <a:pt x="22" y="51"/>
                  <a:pt x="22" y="51"/>
                </a:cubicBezTo>
                <a:cubicBezTo>
                  <a:pt x="20" y="51"/>
                  <a:pt x="19" y="49"/>
                  <a:pt x="19" y="47"/>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1373">
            <a:extLst>
              <a:ext uri="{FF2B5EF4-FFF2-40B4-BE49-F238E27FC236}">
                <a16:creationId xmlns:a16="http://schemas.microsoft.com/office/drawing/2014/main" id="{EA162365-9AE0-EF4A-8030-DAB1161A5A53}"/>
              </a:ext>
            </a:extLst>
          </p:cNvPr>
          <p:cNvSpPr>
            <a:spLocks noEditPoints="1"/>
          </p:cNvSpPr>
          <p:nvPr/>
        </p:nvSpPr>
        <p:spPr bwMode="auto">
          <a:xfrm>
            <a:off x="8132337" y="5319713"/>
            <a:ext cx="546100" cy="533400"/>
          </a:xfrm>
          <a:custGeom>
            <a:avLst/>
            <a:gdLst>
              <a:gd name="T0" fmla="*/ 159 w 160"/>
              <a:gd name="T1" fmla="*/ 39 h 155"/>
              <a:gd name="T2" fmla="*/ 131 w 160"/>
              <a:gd name="T3" fmla="*/ 14 h 155"/>
              <a:gd name="T4" fmla="*/ 72 w 160"/>
              <a:gd name="T5" fmla="*/ 14 h 155"/>
              <a:gd name="T6" fmla="*/ 72 w 160"/>
              <a:gd name="T7" fmla="*/ 3 h 155"/>
              <a:gd name="T8" fmla="*/ 69 w 160"/>
              <a:gd name="T9" fmla="*/ 0 h 155"/>
              <a:gd name="T10" fmla="*/ 66 w 160"/>
              <a:gd name="T11" fmla="*/ 3 h 155"/>
              <a:gd name="T12" fmla="*/ 66 w 160"/>
              <a:gd name="T13" fmla="*/ 14 h 155"/>
              <a:gd name="T14" fmla="*/ 0 w 160"/>
              <a:gd name="T15" fmla="*/ 14 h 155"/>
              <a:gd name="T16" fmla="*/ 0 w 160"/>
              <a:gd name="T17" fmla="*/ 69 h 155"/>
              <a:gd name="T18" fmla="*/ 66 w 160"/>
              <a:gd name="T19" fmla="*/ 69 h 155"/>
              <a:gd name="T20" fmla="*/ 66 w 160"/>
              <a:gd name="T21" fmla="*/ 152 h 155"/>
              <a:gd name="T22" fmla="*/ 69 w 160"/>
              <a:gd name="T23" fmla="*/ 155 h 155"/>
              <a:gd name="T24" fmla="*/ 72 w 160"/>
              <a:gd name="T25" fmla="*/ 152 h 155"/>
              <a:gd name="T26" fmla="*/ 72 w 160"/>
              <a:gd name="T27" fmla="*/ 69 h 155"/>
              <a:gd name="T28" fmla="*/ 131 w 160"/>
              <a:gd name="T29" fmla="*/ 69 h 155"/>
              <a:gd name="T30" fmla="*/ 159 w 160"/>
              <a:gd name="T31" fmla="*/ 44 h 155"/>
              <a:gd name="T32" fmla="*/ 160 w 160"/>
              <a:gd name="T33" fmla="*/ 41 h 155"/>
              <a:gd name="T34" fmla="*/ 159 w 160"/>
              <a:gd name="T35" fmla="*/ 39 h 155"/>
              <a:gd name="T36" fmla="*/ 129 w 160"/>
              <a:gd name="T37" fmla="*/ 64 h 155"/>
              <a:gd name="T38" fmla="*/ 6 w 160"/>
              <a:gd name="T39" fmla="*/ 64 h 155"/>
              <a:gd name="T40" fmla="*/ 6 w 160"/>
              <a:gd name="T41" fmla="*/ 19 h 155"/>
              <a:gd name="T42" fmla="*/ 129 w 160"/>
              <a:gd name="T43" fmla="*/ 19 h 155"/>
              <a:gd name="T44" fmla="*/ 153 w 160"/>
              <a:gd name="T45" fmla="*/ 41 h 155"/>
              <a:gd name="T46" fmla="*/ 129 w 160"/>
              <a:gd name="T47"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155">
                <a:moveTo>
                  <a:pt x="159" y="39"/>
                </a:moveTo>
                <a:cubicBezTo>
                  <a:pt x="131" y="14"/>
                  <a:pt x="131" y="14"/>
                  <a:pt x="131" y="14"/>
                </a:cubicBezTo>
                <a:cubicBezTo>
                  <a:pt x="72" y="14"/>
                  <a:pt x="72" y="14"/>
                  <a:pt x="72" y="14"/>
                </a:cubicBezTo>
                <a:cubicBezTo>
                  <a:pt x="72" y="3"/>
                  <a:pt x="72" y="3"/>
                  <a:pt x="72" y="3"/>
                </a:cubicBezTo>
                <a:cubicBezTo>
                  <a:pt x="72" y="1"/>
                  <a:pt x="71" y="0"/>
                  <a:pt x="69" y="0"/>
                </a:cubicBezTo>
                <a:cubicBezTo>
                  <a:pt x="68" y="0"/>
                  <a:pt x="66" y="1"/>
                  <a:pt x="66" y="3"/>
                </a:cubicBezTo>
                <a:cubicBezTo>
                  <a:pt x="66" y="14"/>
                  <a:pt x="66" y="14"/>
                  <a:pt x="66" y="14"/>
                </a:cubicBezTo>
                <a:cubicBezTo>
                  <a:pt x="0" y="14"/>
                  <a:pt x="0" y="14"/>
                  <a:pt x="0" y="14"/>
                </a:cubicBezTo>
                <a:cubicBezTo>
                  <a:pt x="0" y="69"/>
                  <a:pt x="0" y="69"/>
                  <a:pt x="0" y="69"/>
                </a:cubicBezTo>
                <a:cubicBezTo>
                  <a:pt x="66" y="69"/>
                  <a:pt x="66" y="69"/>
                  <a:pt x="66" y="69"/>
                </a:cubicBezTo>
                <a:cubicBezTo>
                  <a:pt x="66" y="152"/>
                  <a:pt x="66" y="152"/>
                  <a:pt x="66" y="152"/>
                </a:cubicBezTo>
                <a:cubicBezTo>
                  <a:pt x="66" y="154"/>
                  <a:pt x="68" y="155"/>
                  <a:pt x="69" y="155"/>
                </a:cubicBezTo>
                <a:cubicBezTo>
                  <a:pt x="71" y="155"/>
                  <a:pt x="72" y="154"/>
                  <a:pt x="72" y="152"/>
                </a:cubicBezTo>
                <a:cubicBezTo>
                  <a:pt x="72" y="69"/>
                  <a:pt x="72" y="69"/>
                  <a:pt x="72" y="69"/>
                </a:cubicBezTo>
                <a:cubicBezTo>
                  <a:pt x="131" y="69"/>
                  <a:pt x="131" y="69"/>
                  <a:pt x="131" y="69"/>
                </a:cubicBezTo>
                <a:cubicBezTo>
                  <a:pt x="159" y="44"/>
                  <a:pt x="159" y="44"/>
                  <a:pt x="159" y="44"/>
                </a:cubicBezTo>
                <a:cubicBezTo>
                  <a:pt x="160" y="43"/>
                  <a:pt x="160" y="42"/>
                  <a:pt x="160" y="41"/>
                </a:cubicBezTo>
                <a:cubicBezTo>
                  <a:pt x="160" y="40"/>
                  <a:pt x="160" y="40"/>
                  <a:pt x="159" y="39"/>
                </a:cubicBezTo>
                <a:close/>
                <a:moveTo>
                  <a:pt x="129" y="64"/>
                </a:moveTo>
                <a:cubicBezTo>
                  <a:pt x="6" y="64"/>
                  <a:pt x="6" y="64"/>
                  <a:pt x="6" y="64"/>
                </a:cubicBezTo>
                <a:cubicBezTo>
                  <a:pt x="6" y="19"/>
                  <a:pt x="6" y="19"/>
                  <a:pt x="6" y="19"/>
                </a:cubicBezTo>
                <a:cubicBezTo>
                  <a:pt x="129" y="19"/>
                  <a:pt x="129" y="19"/>
                  <a:pt x="129" y="19"/>
                </a:cubicBezTo>
                <a:cubicBezTo>
                  <a:pt x="153" y="41"/>
                  <a:pt x="153" y="41"/>
                  <a:pt x="153" y="41"/>
                </a:cubicBezTo>
                <a:lnTo>
                  <a:pt x="129" y="64"/>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1374">
            <a:extLst>
              <a:ext uri="{FF2B5EF4-FFF2-40B4-BE49-F238E27FC236}">
                <a16:creationId xmlns:a16="http://schemas.microsoft.com/office/drawing/2014/main" id="{E3A1669D-03BB-CB4B-99AA-CFDB98E7E4FD}"/>
              </a:ext>
            </a:extLst>
          </p:cNvPr>
          <p:cNvSpPr>
            <a:spLocks noEditPoints="1"/>
          </p:cNvSpPr>
          <p:nvPr/>
        </p:nvSpPr>
        <p:spPr bwMode="auto">
          <a:xfrm>
            <a:off x="8132337" y="5938838"/>
            <a:ext cx="546100" cy="550863"/>
          </a:xfrm>
          <a:custGeom>
            <a:avLst/>
            <a:gdLst>
              <a:gd name="T0" fmla="*/ 100 w 160"/>
              <a:gd name="T1" fmla="*/ 78 h 160"/>
              <a:gd name="T2" fmla="*/ 42 w 160"/>
              <a:gd name="T3" fmla="*/ 38 h 160"/>
              <a:gd name="T4" fmla="*/ 39 w 160"/>
              <a:gd name="T5" fmla="*/ 38 h 160"/>
              <a:gd name="T6" fmla="*/ 37 w 160"/>
              <a:gd name="T7" fmla="*/ 40 h 160"/>
              <a:gd name="T8" fmla="*/ 37 w 160"/>
              <a:gd name="T9" fmla="*/ 120 h 160"/>
              <a:gd name="T10" fmla="*/ 39 w 160"/>
              <a:gd name="T11" fmla="*/ 122 h 160"/>
              <a:gd name="T12" fmla="*/ 40 w 160"/>
              <a:gd name="T13" fmla="*/ 123 h 160"/>
              <a:gd name="T14" fmla="*/ 42 w 160"/>
              <a:gd name="T15" fmla="*/ 122 h 160"/>
              <a:gd name="T16" fmla="*/ 100 w 160"/>
              <a:gd name="T17" fmla="*/ 82 h 160"/>
              <a:gd name="T18" fmla="*/ 101 w 160"/>
              <a:gd name="T19" fmla="*/ 80 h 160"/>
              <a:gd name="T20" fmla="*/ 100 w 160"/>
              <a:gd name="T21" fmla="*/ 78 h 160"/>
              <a:gd name="T22" fmla="*/ 43 w 160"/>
              <a:gd name="T23" fmla="*/ 115 h 160"/>
              <a:gd name="T24" fmla="*/ 43 w 160"/>
              <a:gd name="T25" fmla="*/ 45 h 160"/>
              <a:gd name="T26" fmla="*/ 94 w 160"/>
              <a:gd name="T27" fmla="*/ 80 h 160"/>
              <a:gd name="T28" fmla="*/ 43 w 160"/>
              <a:gd name="T29" fmla="*/ 115 h 160"/>
              <a:gd name="T30" fmla="*/ 80 w 160"/>
              <a:gd name="T31" fmla="*/ 0 h 160"/>
              <a:gd name="T32" fmla="*/ 0 w 160"/>
              <a:gd name="T33" fmla="*/ 80 h 160"/>
              <a:gd name="T34" fmla="*/ 80 w 160"/>
              <a:gd name="T35" fmla="*/ 160 h 160"/>
              <a:gd name="T36" fmla="*/ 160 w 160"/>
              <a:gd name="T37" fmla="*/ 80 h 160"/>
              <a:gd name="T38" fmla="*/ 80 w 160"/>
              <a:gd name="T39" fmla="*/ 0 h 160"/>
              <a:gd name="T40" fmla="*/ 80 w 160"/>
              <a:gd name="T41" fmla="*/ 155 h 160"/>
              <a:gd name="T42" fmla="*/ 5 w 160"/>
              <a:gd name="T43" fmla="*/ 80 h 160"/>
              <a:gd name="T44" fmla="*/ 80 w 160"/>
              <a:gd name="T45" fmla="*/ 5 h 160"/>
              <a:gd name="T46" fmla="*/ 155 w 160"/>
              <a:gd name="T47" fmla="*/ 80 h 160"/>
              <a:gd name="T48" fmla="*/ 80 w 160"/>
              <a:gd name="T49" fmla="*/ 155 h 160"/>
              <a:gd name="T50" fmla="*/ 107 w 160"/>
              <a:gd name="T51" fmla="*/ 123 h 160"/>
              <a:gd name="T52" fmla="*/ 125 w 160"/>
              <a:gd name="T53" fmla="*/ 123 h 160"/>
              <a:gd name="T54" fmla="*/ 125 w 160"/>
              <a:gd name="T55" fmla="*/ 37 h 160"/>
              <a:gd name="T56" fmla="*/ 107 w 160"/>
              <a:gd name="T57" fmla="*/ 37 h 160"/>
              <a:gd name="T58" fmla="*/ 107 w 160"/>
              <a:gd name="T59" fmla="*/ 123 h 160"/>
              <a:gd name="T60" fmla="*/ 112 w 160"/>
              <a:gd name="T61" fmla="*/ 43 h 160"/>
              <a:gd name="T62" fmla="*/ 120 w 160"/>
              <a:gd name="T63" fmla="*/ 43 h 160"/>
              <a:gd name="T64" fmla="*/ 120 w 160"/>
              <a:gd name="T65" fmla="*/ 117 h 160"/>
              <a:gd name="T66" fmla="*/ 112 w 160"/>
              <a:gd name="T67" fmla="*/ 117 h 160"/>
              <a:gd name="T68" fmla="*/ 112 w 160"/>
              <a:gd name="T69"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100" y="78"/>
                </a:moveTo>
                <a:cubicBezTo>
                  <a:pt x="42" y="38"/>
                  <a:pt x="42" y="38"/>
                  <a:pt x="42" y="38"/>
                </a:cubicBezTo>
                <a:cubicBezTo>
                  <a:pt x="41" y="37"/>
                  <a:pt x="40" y="37"/>
                  <a:pt x="39" y="38"/>
                </a:cubicBezTo>
                <a:cubicBezTo>
                  <a:pt x="38" y="38"/>
                  <a:pt x="37" y="39"/>
                  <a:pt x="37" y="40"/>
                </a:cubicBezTo>
                <a:cubicBezTo>
                  <a:pt x="37" y="120"/>
                  <a:pt x="37" y="120"/>
                  <a:pt x="37" y="120"/>
                </a:cubicBezTo>
                <a:cubicBezTo>
                  <a:pt x="37" y="121"/>
                  <a:pt x="38" y="122"/>
                  <a:pt x="39" y="122"/>
                </a:cubicBezTo>
                <a:cubicBezTo>
                  <a:pt x="39" y="123"/>
                  <a:pt x="40" y="123"/>
                  <a:pt x="40" y="123"/>
                </a:cubicBezTo>
                <a:cubicBezTo>
                  <a:pt x="41" y="123"/>
                  <a:pt x="41" y="123"/>
                  <a:pt x="42" y="122"/>
                </a:cubicBezTo>
                <a:cubicBezTo>
                  <a:pt x="100" y="82"/>
                  <a:pt x="100" y="82"/>
                  <a:pt x="100" y="82"/>
                </a:cubicBezTo>
                <a:cubicBezTo>
                  <a:pt x="101" y="82"/>
                  <a:pt x="101" y="81"/>
                  <a:pt x="101" y="80"/>
                </a:cubicBezTo>
                <a:cubicBezTo>
                  <a:pt x="101" y="79"/>
                  <a:pt x="101" y="78"/>
                  <a:pt x="100" y="78"/>
                </a:cubicBezTo>
                <a:close/>
                <a:moveTo>
                  <a:pt x="43" y="115"/>
                </a:moveTo>
                <a:cubicBezTo>
                  <a:pt x="43" y="45"/>
                  <a:pt x="43" y="45"/>
                  <a:pt x="43" y="45"/>
                </a:cubicBezTo>
                <a:cubicBezTo>
                  <a:pt x="94" y="80"/>
                  <a:pt x="94" y="80"/>
                  <a:pt x="94" y="80"/>
                </a:cubicBezTo>
                <a:lnTo>
                  <a:pt x="43" y="115"/>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107" y="123"/>
                </a:moveTo>
                <a:cubicBezTo>
                  <a:pt x="125" y="123"/>
                  <a:pt x="125" y="123"/>
                  <a:pt x="125" y="123"/>
                </a:cubicBezTo>
                <a:cubicBezTo>
                  <a:pt x="125" y="37"/>
                  <a:pt x="125" y="37"/>
                  <a:pt x="125" y="37"/>
                </a:cubicBezTo>
                <a:cubicBezTo>
                  <a:pt x="107" y="37"/>
                  <a:pt x="107" y="37"/>
                  <a:pt x="107" y="37"/>
                </a:cubicBezTo>
                <a:lnTo>
                  <a:pt x="107" y="123"/>
                </a:lnTo>
                <a:close/>
                <a:moveTo>
                  <a:pt x="112" y="43"/>
                </a:moveTo>
                <a:cubicBezTo>
                  <a:pt x="120" y="43"/>
                  <a:pt x="120" y="43"/>
                  <a:pt x="120" y="43"/>
                </a:cubicBezTo>
                <a:cubicBezTo>
                  <a:pt x="120" y="117"/>
                  <a:pt x="120" y="117"/>
                  <a:pt x="120" y="117"/>
                </a:cubicBezTo>
                <a:cubicBezTo>
                  <a:pt x="112" y="117"/>
                  <a:pt x="112" y="117"/>
                  <a:pt x="112" y="117"/>
                </a:cubicBezTo>
                <a:lnTo>
                  <a:pt x="112" y="43"/>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1375">
            <a:extLst>
              <a:ext uri="{FF2B5EF4-FFF2-40B4-BE49-F238E27FC236}">
                <a16:creationId xmlns:a16="http://schemas.microsoft.com/office/drawing/2014/main" id="{825A9D96-A93E-D746-A20A-9C3BE6CB9F71}"/>
              </a:ext>
            </a:extLst>
          </p:cNvPr>
          <p:cNvSpPr>
            <a:spLocks noEditPoints="1"/>
          </p:cNvSpPr>
          <p:nvPr/>
        </p:nvSpPr>
        <p:spPr bwMode="auto">
          <a:xfrm>
            <a:off x="11056782" y="3444875"/>
            <a:ext cx="309563" cy="550863"/>
          </a:xfrm>
          <a:custGeom>
            <a:avLst/>
            <a:gdLst>
              <a:gd name="T0" fmla="*/ 0 w 91"/>
              <a:gd name="T1" fmla="*/ 12 h 160"/>
              <a:gd name="T2" fmla="*/ 79 w 91"/>
              <a:gd name="T3" fmla="*/ 160 h 160"/>
              <a:gd name="T4" fmla="*/ 79 w 91"/>
              <a:gd name="T5" fmla="*/ 0 h 160"/>
              <a:gd name="T6" fmla="*/ 85 w 91"/>
              <a:gd name="T7" fmla="*/ 123 h 160"/>
              <a:gd name="T8" fmla="*/ 12 w 91"/>
              <a:gd name="T9" fmla="*/ 5 h 160"/>
              <a:gd name="T10" fmla="*/ 85 w 91"/>
              <a:gd name="T11" fmla="*/ 16 h 160"/>
              <a:gd name="T12" fmla="*/ 12 w 91"/>
              <a:gd name="T13" fmla="*/ 5 h 160"/>
              <a:gd name="T14" fmla="*/ 5 w 91"/>
              <a:gd name="T15" fmla="*/ 148 h 160"/>
              <a:gd name="T16" fmla="*/ 85 w 91"/>
              <a:gd name="T17" fmla="*/ 148 h 160"/>
              <a:gd name="T18" fmla="*/ 35 w 91"/>
              <a:gd name="T19" fmla="*/ 141 h 160"/>
              <a:gd name="T20" fmla="*/ 45 w 91"/>
              <a:gd name="T21" fmla="*/ 131 h 160"/>
              <a:gd name="T22" fmla="*/ 45 w 91"/>
              <a:gd name="T23" fmla="*/ 136 h 160"/>
              <a:gd name="T24" fmla="*/ 32 w 91"/>
              <a:gd name="T25" fmla="*/ 11 h 160"/>
              <a:gd name="T26" fmla="*/ 48 w 91"/>
              <a:gd name="T27" fmla="*/ 11 h 160"/>
              <a:gd name="T28" fmla="*/ 32 w 91"/>
              <a:gd name="T29" fmla="*/ 11 h 160"/>
              <a:gd name="T30" fmla="*/ 56 w 91"/>
              <a:gd name="T31" fmla="*/ 8 h 160"/>
              <a:gd name="T32" fmla="*/ 53 w 91"/>
              <a:gd name="T33" fmla="*/ 13 h 160"/>
              <a:gd name="T34" fmla="*/ 40 w 91"/>
              <a:gd name="T35" fmla="*/ 29 h 160"/>
              <a:gd name="T36" fmla="*/ 40 w 91"/>
              <a:gd name="T37" fmla="*/ 51 h 160"/>
              <a:gd name="T38" fmla="*/ 56 w 91"/>
              <a:gd name="T39" fmla="*/ 35 h 160"/>
              <a:gd name="T40" fmla="*/ 51 w 91"/>
              <a:gd name="T41" fmla="*/ 45 h 160"/>
              <a:gd name="T42" fmla="*/ 51 w 91"/>
              <a:gd name="T43" fmla="*/ 35 h 160"/>
              <a:gd name="T44" fmla="*/ 16 w 91"/>
              <a:gd name="T45" fmla="*/ 29 h 160"/>
              <a:gd name="T46" fmla="*/ 16 w 91"/>
              <a:gd name="T47" fmla="*/ 51 h 160"/>
              <a:gd name="T48" fmla="*/ 32 w 91"/>
              <a:gd name="T49" fmla="*/ 35 h 160"/>
              <a:gd name="T50" fmla="*/ 27 w 91"/>
              <a:gd name="T51" fmla="*/ 45 h 160"/>
              <a:gd name="T52" fmla="*/ 27 w 91"/>
              <a:gd name="T53" fmla="*/ 35 h 160"/>
              <a:gd name="T54" fmla="*/ 64 w 91"/>
              <a:gd name="T55" fmla="*/ 29 h 160"/>
              <a:gd name="T56" fmla="*/ 64 w 91"/>
              <a:gd name="T57" fmla="*/ 51 h 160"/>
              <a:gd name="T58" fmla="*/ 80 w 91"/>
              <a:gd name="T59" fmla="*/ 35 h 160"/>
              <a:gd name="T60" fmla="*/ 75 w 91"/>
              <a:gd name="T61" fmla="*/ 45 h 160"/>
              <a:gd name="T62" fmla="*/ 75 w 91"/>
              <a:gd name="T63" fmla="*/ 35 h 160"/>
              <a:gd name="T64" fmla="*/ 40 w 91"/>
              <a:gd name="T65" fmla="*/ 53 h 160"/>
              <a:gd name="T66" fmla="*/ 40 w 91"/>
              <a:gd name="T67" fmla="*/ 75 h 160"/>
              <a:gd name="T68" fmla="*/ 56 w 91"/>
              <a:gd name="T69" fmla="*/ 59 h 160"/>
              <a:gd name="T70" fmla="*/ 51 w 91"/>
              <a:gd name="T71" fmla="*/ 69 h 160"/>
              <a:gd name="T72" fmla="*/ 51 w 91"/>
              <a:gd name="T73" fmla="*/ 59 h 160"/>
              <a:gd name="T74" fmla="*/ 16 w 91"/>
              <a:gd name="T75" fmla="*/ 53 h 160"/>
              <a:gd name="T76" fmla="*/ 16 w 91"/>
              <a:gd name="T77" fmla="*/ 75 h 160"/>
              <a:gd name="T78" fmla="*/ 32 w 91"/>
              <a:gd name="T79" fmla="*/ 59 h 160"/>
              <a:gd name="T80" fmla="*/ 27 w 91"/>
              <a:gd name="T81" fmla="*/ 69 h 160"/>
              <a:gd name="T82" fmla="*/ 27 w 91"/>
              <a:gd name="T83" fmla="*/ 59 h 160"/>
              <a:gd name="T84" fmla="*/ 64 w 91"/>
              <a:gd name="T85" fmla="*/ 53 h 160"/>
              <a:gd name="T86" fmla="*/ 64 w 91"/>
              <a:gd name="T87" fmla="*/ 75 h 160"/>
              <a:gd name="T88" fmla="*/ 80 w 91"/>
              <a:gd name="T89" fmla="*/ 59 h 160"/>
              <a:gd name="T90" fmla="*/ 75 w 91"/>
              <a:gd name="T91" fmla="*/ 69 h 160"/>
              <a:gd name="T92" fmla="*/ 75 w 91"/>
              <a:gd name="T93" fmla="*/ 59 h 160"/>
              <a:gd name="T94" fmla="*/ 40 w 91"/>
              <a:gd name="T95" fmla="*/ 77 h 160"/>
              <a:gd name="T96" fmla="*/ 40 w 91"/>
              <a:gd name="T97" fmla="*/ 99 h 160"/>
              <a:gd name="T98" fmla="*/ 56 w 91"/>
              <a:gd name="T99" fmla="*/ 83 h 160"/>
              <a:gd name="T100" fmla="*/ 51 w 91"/>
              <a:gd name="T101" fmla="*/ 93 h 160"/>
              <a:gd name="T102" fmla="*/ 51 w 91"/>
              <a:gd name="T103" fmla="*/ 83 h 160"/>
              <a:gd name="T104" fmla="*/ 16 w 91"/>
              <a:gd name="T105" fmla="*/ 77 h 160"/>
              <a:gd name="T106" fmla="*/ 16 w 91"/>
              <a:gd name="T107" fmla="*/ 99 h 160"/>
              <a:gd name="T108" fmla="*/ 32 w 91"/>
              <a:gd name="T109" fmla="*/ 83 h 160"/>
              <a:gd name="T110" fmla="*/ 27 w 91"/>
              <a:gd name="T111" fmla="*/ 93 h 160"/>
              <a:gd name="T112" fmla="*/ 27 w 91"/>
              <a:gd name="T113" fmla="*/ 83 h 160"/>
              <a:gd name="T114" fmla="*/ 64 w 91"/>
              <a:gd name="T115" fmla="*/ 77 h 160"/>
              <a:gd name="T116" fmla="*/ 64 w 91"/>
              <a:gd name="T117" fmla="*/ 99 h 160"/>
              <a:gd name="T118" fmla="*/ 80 w 91"/>
              <a:gd name="T119" fmla="*/ 83 h 160"/>
              <a:gd name="T120" fmla="*/ 75 w 91"/>
              <a:gd name="T121" fmla="*/ 93 h 160"/>
              <a:gd name="T122" fmla="*/ 75 w 91"/>
              <a:gd name="T123" fmla="*/ 8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 h="160">
                <a:moveTo>
                  <a:pt x="79" y="0"/>
                </a:move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12"/>
                  <a:pt x="91" y="12"/>
                  <a:pt x="91" y="12"/>
                </a:cubicBezTo>
                <a:cubicBezTo>
                  <a:pt x="91" y="5"/>
                  <a:pt x="85" y="0"/>
                  <a:pt x="79" y="0"/>
                </a:cubicBezTo>
                <a:close/>
                <a:moveTo>
                  <a:pt x="5" y="21"/>
                </a:moveTo>
                <a:cubicBezTo>
                  <a:pt x="85" y="21"/>
                  <a:pt x="85" y="21"/>
                  <a:pt x="85" y="21"/>
                </a:cubicBezTo>
                <a:cubicBezTo>
                  <a:pt x="85" y="123"/>
                  <a:pt x="85" y="123"/>
                  <a:pt x="85" y="123"/>
                </a:cubicBezTo>
                <a:cubicBezTo>
                  <a:pt x="5" y="123"/>
                  <a:pt x="5" y="123"/>
                  <a:pt x="5" y="123"/>
                </a:cubicBezTo>
                <a:lnTo>
                  <a:pt x="5" y="21"/>
                </a:ln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51" y="29"/>
                </a:moveTo>
                <a:cubicBezTo>
                  <a:pt x="40" y="29"/>
                  <a:pt x="40" y="29"/>
                  <a:pt x="40" y="29"/>
                </a:cubicBezTo>
                <a:cubicBezTo>
                  <a:pt x="37" y="29"/>
                  <a:pt x="35" y="32"/>
                  <a:pt x="35" y="35"/>
                </a:cubicBezTo>
                <a:cubicBezTo>
                  <a:pt x="35" y="45"/>
                  <a:pt x="35" y="45"/>
                  <a:pt x="35" y="45"/>
                </a:cubicBezTo>
                <a:cubicBezTo>
                  <a:pt x="35" y="48"/>
                  <a:pt x="37" y="51"/>
                  <a:pt x="40" y="51"/>
                </a:cubicBezTo>
                <a:cubicBezTo>
                  <a:pt x="51" y="51"/>
                  <a:pt x="51" y="51"/>
                  <a:pt x="51" y="51"/>
                </a:cubicBezTo>
                <a:cubicBezTo>
                  <a:pt x="54" y="51"/>
                  <a:pt x="56" y="48"/>
                  <a:pt x="56" y="45"/>
                </a:cubicBezTo>
                <a:cubicBezTo>
                  <a:pt x="56" y="35"/>
                  <a:pt x="56" y="35"/>
                  <a:pt x="56" y="35"/>
                </a:cubicBezTo>
                <a:cubicBezTo>
                  <a:pt x="56" y="32"/>
                  <a:pt x="54" y="29"/>
                  <a:pt x="51" y="29"/>
                </a:cubicBezTo>
                <a:close/>
                <a:moveTo>
                  <a:pt x="51" y="45"/>
                </a:moveTo>
                <a:cubicBezTo>
                  <a:pt x="51" y="45"/>
                  <a:pt x="51" y="45"/>
                  <a:pt x="51" y="45"/>
                </a:cubicBezTo>
                <a:cubicBezTo>
                  <a:pt x="40" y="45"/>
                  <a:pt x="40" y="45"/>
                  <a:pt x="40" y="45"/>
                </a:cubicBezTo>
                <a:cubicBezTo>
                  <a:pt x="40" y="35"/>
                  <a:pt x="40" y="35"/>
                  <a:pt x="40" y="35"/>
                </a:cubicBezTo>
                <a:cubicBezTo>
                  <a:pt x="51" y="35"/>
                  <a:pt x="51" y="35"/>
                  <a:pt x="51" y="35"/>
                </a:cubicBezTo>
                <a:lnTo>
                  <a:pt x="51" y="45"/>
                </a:lnTo>
                <a:close/>
                <a:moveTo>
                  <a:pt x="27" y="29"/>
                </a:moveTo>
                <a:cubicBezTo>
                  <a:pt x="16" y="29"/>
                  <a:pt x="16" y="29"/>
                  <a:pt x="16" y="29"/>
                </a:cubicBezTo>
                <a:cubicBezTo>
                  <a:pt x="13" y="29"/>
                  <a:pt x="11" y="32"/>
                  <a:pt x="11" y="35"/>
                </a:cubicBezTo>
                <a:cubicBezTo>
                  <a:pt x="11" y="45"/>
                  <a:pt x="11" y="45"/>
                  <a:pt x="11" y="45"/>
                </a:cubicBezTo>
                <a:cubicBezTo>
                  <a:pt x="11" y="48"/>
                  <a:pt x="13" y="51"/>
                  <a:pt x="16" y="51"/>
                </a:cubicBezTo>
                <a:cubicBezTo>
                  <a:pt x="27" y="51"/>
                  <a:pt x="27" y="51"/>
                  <a:pt x="27" y="51"/>
                </a:cubicBezTo>
                <a:cubicBezTo>
                  <a:pt x="30" y="51"/>
                  <a:pt x="32" y="48"/>
                  <a:pt x="32" y="45"/>
                </a:cubicBezTo>
                <a:cubicBezTo>
                  <a:pt x="32" y="35"/>
                  <a:pt x="32" y="35"/>
                  <a:pt x="32" y="35"/>
                </a:cubicBezTo>
                <a:cubicBezTo>
                  <a:pt x="32" y="32"/>
                  <a:pt x="30" y="29"/>
                  <a:pt x="27" y="29"/>
                </a:cubicBezTo>
                <a:close/>
                <a:moveTo>
                  <a:pt x="27" y="45"/>
                </a:moveTo>
                <a:cubicBezTo>
                  <a:pt x="27" y="45"/>
                  <a:pt x="27" y="45"/>
                  <a:pt x="27" y="45"/>
                </a:cubicBezTo>
                <a:cubicBezTo>
                  <a:pt x="16" y="45"/>
                  <a:pt x="16" y="45"/>
                  <a:pt x="16" y="45"/>
                </a:cubicBezTo>
                <a:cubicBezTo>
                  <a:pt x="16" y="35"/>
                  <a:pt x="16" y="35"/>
                  <a:pt x="16" y="35"/>
                </a:cubicBezTo>
                <a:cubicBezTo>
                  <a:pt x="27" y="35"/>
                  <a:pt x="27" y="35"/>
                  <a:pt x="27" y="35"/>
                </a:cubicBezTo>
                <a:lnTo>
                  <a:pt x="27" y="45"/>
                </a:lnTo>
                <a:close/>
                <a:moveTo>
                  <a:pt x="75" y="29"/>
                </a:moveTo>
                <a:cubicBezTo>
                  <a:pt x="64" y="29"/>
                  <a:pt x="64" y="29"/>
                  <a:pt x="64" y="29"/>
                </a:cubicBezTo>
                <a:cubicBezTo>
                  <a:pt x="61" y="29"/>
                  <a:pt x="59" y="32"/>
                  <a:pt x="59" y="35"/>
                </a:cubicBezTo>
                <a:cubicBezTo>
                  <a:pt x="59" y="45"/>
                  <a:pt x="59" y="45"/>
                  <a:pt x="59" y="45"/>
                </a:cubicBezTo>
                <a:cubicBezTo>
                  <a:pt x="59" y="48"/>
                  <a:pt x="61" y="51"/>
                  <a:pt x="64" y="51"/>
                </a:cubicBezTo>
                <a:cubicBezTo>
                  <a:pt x="75" y="51"/>
                  <a:pt x="75" y="51"/>
                  <a:pt x="75" y="51"/>
                </a:cubicBezTo>
                <a:cubicBezTo>
                  <a:pt x="78" y="51"/>
                  <a:pt x="80" y="48"/>
                  <a:pt x="80" y="45"/>
                </a:cubicBezTo>
                <a:cubicBezTo>
                  <a:pt x="80" y="35"/>
                  <a:pt x="80" y="35"/>
                  <a:pt x="80" y="35"/>
                </a:cubicBezTo>
                <a:cubicBezTo>
                  <a:pt x="80" y="32"/>
                  <a:pt x="78" y="29"/>
                  <a:pt x="75" y="29"/>
                </a:cubicBezTo>
                <a:close/>
                <a:moveTo>
                  <a:pt x="75" y="45"/>
                </a:moveTo>
                <a:cubicBezTo>
                  <a:pt x="75" y="45"/>
                  <a:pt x="75" y="45"/>
                  <a:pt x="75" y="45"/>
                </a:cubicBezTo>
                <a:cubicBezTo>
                  <a:pt x="64" y="45"/>
                  <a:pt x="64" y="45"/>
                  <a:pt x="64" y="45"/>
                </a:cubicBezTo>
                <a:cubicBezTo>
                  <a:pt x="64" y="35"/>
                  <a:pt x="64" y="35"/>
                  <a:pt x="64" y="35"/>
                </a:cubicBezTo>
                <a:cubicBezTo>
                  <a:pt x="75" y="35"/>
                  <a:pt x="75" y="35"/>
                  <a:pt x="75" y="35"/>
                </a:cubicBezTo>
                <a:lnTo>
                  <a:pt x="75" y="45"/>
                </a:lnTo>
                <a:close/>
                <a:moveTo>
                  <a:pt x="51" y="53"/>
                </a:moveTo>
                <a:cubicBezTo>
                  <a:pt x="40" y="53"/>
                  <a:pt x="40" y="53"/>
                  <a:pt x="40" y="53"/>
                </a:cubicBezTo>
                <a:cubicBezTo>
                  <a:pt x="37" y="53"/>
                  <a:pt x="35" y="56"/>
                  <a:pt x="35" y="59"/>
                </a:cubicBezTo>
                <a:cubicBezTo>
                  <a:pt x="35" y="69"/>
                  <a:pt x="35" y="69"/>
                  <a:pt x="35" y="69"/>
                </a:cubicBezTo>
                <a:cubicBezTo>
                  <a:pt x="35" y="72"/>
                  <a:pt x="37" y="75"/>
                  <a:pt x="40" y="75"/>
                </a:cubicBezTo>
                <a:cubicBezTo>
                  <a:pt x="51" y="75"/>
                  <a:pt x="51" y="75"/>
                  <a:pt x="51" y="75"/>
                </a:cubicBezTo>
                <a:cubicBezTo>
                  <a:pt x="54" y="75"/>
                  <a:pt x="56" y="72"/>
                  <a:pt x="56" y="69"/>
                </a:cubicBezTo>
                <a:cubicBezTo>
                  <a:pt x="56" y="59"/>
                  <a:pt x="56" y="59"/>
                  <a:pt x="56" y="59"/>
                </a:cubicBezTo>
                <a:cubicBezTo>
                  <a:pt x="56" y="56"/>
                  <a:pt x="54" y="53"/>
                  <a:pt x="51" y="53"/>
                </a:cubicBezTo>
                <a:close/>
                <a:moveTo>
                  <a:pt x="51" y="69"/>
                </a:moveTo>
                <a:cubicBezTo>
                  <a:pt x="51" y="69"/>
                  <a:pt x="51" y="69"/>
                  <a:pt x="51" y="69"/>
                </a:cubicBezTo>
                <a:cubicBezTo>
                  <a:pt x="40" y="69"/>
                  <a:pt x="40" y="69"/>
                  <a:pt x="40" y="69"/>
                </a:cubicBezTo>
                <a:cubicBezTo>
                  <a:pt x="40" y="59"/>
                  <a:pt x="40" y="59"/>
                  <a:pt x="40" y="59"/>
                </a:cubicBezTo>
                <a:cubicBezTo>
                  <a:pt x="51" y="59"/>
                  <a:pt x="51" y="59"/>
                  <a:pt x="51" y="59"/>
                </a:cubicBezTo>
                <a:lnTo>
                  <a:pt x="51" y="69"/>
                </a:lnTo>
                <a:close/>
                <a:moveTo>
                  <a:pt x="27" y="53"/>
                </a:moveTo>
                <a:cubicBezTo>
                  <a:pt x="16" y="53"/>
                  <a:pt x="16" y="53"/>
                  <a:pt x="16" y="53"/>
                </a:cubicBezTo>
                <a:cubicBezTo>
                  <a:pt x="13" y="53"/>
                  <a:pt x="11" y="56"/>
                  <a:pt x="11" y="59"/>
                </a:cubicBezTo>
                <a:cubicBezTo>
                  <a:pt x="11" y="69"/>
                  <a:pt x="11" y="69"/>
                  <a:pt x="11" y="69"/>
                </a:cubicBezTo>
                <a:cubicBezTo>
                  <a:pt x="11" y="72"/>
                  <a:pt x="13" y="75"/>
                  <a:pt x="16" y="75"/>
                </a:cubicBezTo>
                <a:cubicBezTo>
                  <a:pt x="27" y="75"/>
                  <a:pt x="27" y="75"/>
                  <a:pt x="27" y="75"/>
                </a:cubicBezTo>
                <a:cubicBezTo>
                  <a:pt x="30" y="75"/>
                  <a:pt x="32" y="72"/>
                  <a:pt x="32" y="69"/>
                </a:cubicBezTo>
                <a:cubicBezTo>
                  <a:pt x="32" y="59"/>
                  <a:pt x="32" y="59"/>
                  <a:pt x="32" y="59"/>
                </a:cubicBezTo>
                <a:cubicBezTo>
                  <a:pt x="32" y="56"/>
                  <a:pt x="30" y="53"/>
                  <a:pt x="27" y="53"/>
                </a:cubicBezTo>
                <a:close/>
                <a:moveTo>
                  <a:pt x="27" y="69"/>
                </a:moveTo>
                <a:cubicBezTo>
                  <a:pt x="27" y="69"/>
                  <a:pt x="27" y="69"/>
                  <a:pt x="27" y="69"/>
                </a:cubicBezTo>
                <a:cubicBezTo>
                  <a:pt x="16" y="69"/>
                  <a:pt x="16" y="69"/>
                  <a:pt x="16" y="69"/>
                </a:cubicBezTo>
                <a:cubicBezTo>
                  <a:pt x="16" y="59"/>
                  <a:pt x="16" y="59"/>
                  <a:pt x="16" y="59"/>
                </a:cubicBezTo>
                <a:cubicBezTo>
                  <a:pt x="27" y="59"/>
                  <a:pt x="27" y="59"/>
                  <a:pt x="27" y="59"/>
                </a:cubicBezTo>
                <a:lnTo>
                  <a:pt x="27" y="69"/>
                </a:lnTo>
                <a:close/>
                <a:moveTo>
                  <a:pt x="75" y="53"/>
                </a:moveTo>
                <a:cubicBezTo>
                  <a:pt x="64" y="53"/>
                  <a:pt x="64" y="53"/>
                  <a:pt x="64" y="53"/>
                </a:cubicBezTo>
                <a:cubicBezTo>
                  <a:pt x="61" y="53"/>
                  <a:pt x="59" y="56"/>
                  <a:pt x="59" y="59"/>
                </a:cubicBezTo>
                <a:cubicBezTo>
                  <a:pt x="59" y="69"/>
                  <a:pt x="59" y="69"/>
                  <a:pt x="59" y="69"/>
                </a:cubicBezTo>
                <a:cubicBezTo>
                  <a:pt x="59" y="72"/>
                  <a:pt x="61" y="75"/>
                  <a:pt x="64" y="75"/>
                </a:cubicBezTo>
                <a:cubicBezTo>
                  <a:pt x="75" y="75"/>
                  <a:pt x="75" y="75"/>
                  <a:pt x="75" y="75"/>
                </a:cubicBezTo>
                <a:cubicBezTo>
                  <a:pt x="78" y="75"/>
                  <a:pt x="80" y="72"/>
                  <a:pt x="80" y="69"/>
                </a:cubicBezTo>
                <a:cubicBezTo>
                  <a:pt x="80" y="59"/>
                  <a:pt x="80" y="59"/>
                  <a:pt x="80" y="59"/>
                </a:cubicBezTo>
                <a:cubicBezTo>
                  <a:pt x="80" y="56"/>
                  <a:pt x="78" y="53"/>
                  <a:pt x="75" y="53"/>
                </a:cubicBezTo>
                <a:close/>
                <a:moveTo>
                  <a:pt x="75" y="69"/>
                </a:moveTo>
                <a:cubicBezTo>
                  <a:pt x="75" y="69"/>
                  <a:pt x="75" y="69"/>
                  <a:pt x="75" y="69"/>
                </a:cubicBezTo>
                <a:cubicBezTo>
                  <a:pt x="64" y="69"/>
                  <a:pt x="64" y="69"/>
                  <a:pt x="64" y="69"/>
                </a:cubicBezTo>
                <a:cubicBezTo>
                  <a:pt x="64" y="59"/>
                  <a:pt x="64" y="59"/>
                  <a:pt x="64" y="59"/>
                </a:cubicBezTo>
                <a:cubicBezTo>
                  <a:pt x="75" y="59"/>
                  <a:pt x="75" y="59"/>
                  <a:pt x="75" y="59"/>
                </a:cubicBezTo>
                <a:lnTo>
                  <a:pt x="75" y="69"/>
                </a:lnTo>
                <a:close/>
                <a:moveTo>
                  <a:pt x="51" y="77"/>
                </a:moveTo>
                <a:cubicBezTo>
                  <a:pt x="40" y="77"/>
                  <a:pt x="40" y="77"/>
                  <a:pt x="40" y="77"/>
                </a:cubicBezTo>
                <a:cubicBezTo>
                  <a:pt x="37" y="77"/>
                  <a:pt x="35" y="80"/>
                  <a:pt x="35" y="83"/>
                </a:cubicBezTo>
                <a:cubicBezTo>
                  <a:pt x="35" y="93"/>
                  <a:pt x="35" y="93"/>
                  <a:pt x="35" y="93"/>
                </a:cubicBezTo>
                <a:cubicBezTo>
                  <a:pt x="35" y="96"/>
                  <a:pt x="37" y="99"/>
                  <a:pt x="40" y="99"/>
                </a:cubicBezTo>
                <a:cubicBezTo>
                  <a:pt x="51" y="99"/>
                  <a:pt x="51" y="99"/>
                  <a:pt x="51" y="99"/>
                </a:cubicBezTo>
                <a:cubicBezTo>
                  <a:pt x="54" y="99"/>
                  <a:pt x="56" y="96"/>
                  <a:pt x="56" y="93"/>
                </a:cubicBezTo>
                <a:cubicBezTo>
                  <a:pt x="56" y="83"/>
                  <a:pt x="56" y="83"/>
                  <a:pt x="56" y="83"/>
                </a:cubicBezTo>
                <a:cubicBezTo>
                  <a:pt x="56" y="80"/>
                  <a:pt x="54" y="77"/>
                  <a:pt x="51" y="77"/>
                </a:cubicBezTo>
                <a:close/>
                <a:moveTo>
                  <a:pt x="51" y="93"/>
                </a:moveTo>
                <a:cubicBezTo>
                  <a:pt x="51" y="93"/>
                  <a:pt x="51" y="93"/>
                  <a:pt x="51" y="93"/>
                </a:cubicBezTo>
                <a:cubicBezTo>
                  <a:pt x="40" y="93"/>
                  <a:pt x="40" y="93"/>
                  <a:pt x="40" y="93"/>
                </a:cubicBezTo>
                <a:cubicBezTo>
                  <a:pt x="40" y="83"/>
                  <a:pt x="40" y="83"/>
                  <a:pt x="40" y="83"/>
                </a:cubicBezTo>
                <a:cubicBezTo>
                  <a:pt x="51" y="83"/>
                  <a:pt x="51" y="83"/>
                  <a:pt x="51" y="83"/>
                </a:cubicBezTo>
                <a:lnTo>
                  <a:pt x="51" y="93"/>
                </a:lnTo>
                <a:close/>
                <a:moveTo>
                  <a:pt x="27" y="77"/>
                </a:moveTo>
                <a:cubicBezTo>
                  <a:pt x="16" y="77"/>
                  <a:pt x="16" y="77"/>
                  <a:pt x="16" y="77"/>
                </a:cubicBezTo>
                <a:cubicBezTo>
                  <a:pt x="13" y="77"/>
                  <a:pt x="11" y="80"/>
                  <a:pt x="11" y="83"/>
                </a:cubicBezTo>
                <a:cubicBezTo>
                  <a:pt x="11" y="93"/>
                  <a:pt x="11" y="93"/>
                  <a:pt x="11" y="93"/>
                </a:cubicBezTo>
                <a:cubicBezTo>
                  <a:pt x="11" y="96"/>
                  <a:pt x="13" y="99"/>
                  <a:pt x="16" y="99"/>
                </a:cubicBezTo>
                <a:cubicBezTo>
                  <a:pt x="27" y="99"/>
                  <a:pt x="27" y="99"/>
                  <a:pt x="27" y="99"/>
                </a:cubicBezTo>
                <a:cubicBezTo>
                  <a:pt x="30" y="99"/>
                  <a:pt x="32" y="96"/>
                  <a:pt x="32" y="93"/>
                </a:cubicBezTo>
                <a:cubicBezTo>
                  <a:pt x="32" y="83"/>
                  <a:pt x="32" y="83"/>
                  <a:pt x="32" y="83"/>
                </a:cubicBezTo>
                <a:cubicBezTo>
                  <a:pt x="32" y="80"/>
                  <a:pt x="30" y="77"/>
                  <a:pt x="27" y="77"/>
                </a:cubicBezTo>
                <a:close/>
                <a:moveTo>
                  <a:pt x="27" y="93"/>
                </a:moveTo>
                <a:cubicBezTo>
                  <a:pt x="27" y="93"/>
                  <a:pt x="27" y="93"/>
                  <a:pt x="27" y="93"/>
                </a:cubicBezTo>
                <a:cubicBezTo>
                  <a:pt x="16" y="93"/>
                  <a:pt x="16" y="93"/>
                  <a:pt x="16" y="93"/>
                </a:cubicBezTo>
                <a:cubicBezTo>
                  <a:pt x="16" y="83"/>
                  <a:pt x="16" y="83"/>
                  <a:pt x="16" y="83"/>
                </a:cubicBezTo>
                <a:cubicBezTo>
                  <a:pt x="27" y="83"/>
                  <a:pt x="27" y="83"/>
                  <a:pt x="27" y="83"/>
                </a:cubicBezTo>
                <a:lnTo>
                  <a:pt x="27" y="93"/>
                </a:lnTo>
                <a:close/>
                <a:moveTo>
                  <a:pt x="75" y="77"/>
                </a:moveTo>
                <a:cubicBezTo>
                  <a:pt x="64" y="77"/>
                  <a:pt x="64" y="77"/>
                  <a:pt x="64" y="77"/>
                </a:cubicBezTo>
                <a:cubicBezTo>
                  <a:pt x="61" y="77"/>
                  <a:pt x="59" y="80"/>
                  <a:pt x="59" y="83"/>
                </a:cubicBezTo>
                <a:cubicBezTo>
                  <a:pt x="59" y="93"/>
                  <a:pt x="59" y="93"/>
                  <a:pt x="59" y="93"/>
                </a:cubicBezTo>
                <a:cubicBezTo>
                  <a:pt x="59" y="96"/>
                  <a:pt x="61" y="99"/>
                  <a:pt x="64" y="99"/>
                </a:cubicBezTo>
                <a:cubicBezTo>
                  <a:pt x="75" y="99"/>
                  <a:pt x="75" y="99"/>
                  <a:pt x="75" y="99"/>
                </a:cubicBezTo>
                <a:cubicBezTo>
                  <a:pt x="78" y="99"/>
                  <a:pt x="80" y="96"/>
                  <a:pt x="80" y="93"/>
                </a:cubicBezTo>
                <a:cubicBezTo>
                  <a:pt x="80" y="83"/>
                  <a:pt x="80" y="83"/>
                  <a:pt x="80" y="83"/>
                </a:cubicBezTo>
                <a:cubicBezTo>
                  <a:pt x="80" y="80"/>
                  <a:pt x="78" y="77"/>
                  <a:pt x="75" y="77"/>
                </a:cubicBezTo>
                <a:close/>
                <a:moveTo>
                  <a:pt x="75" y="93"/>
                </a:moveTo>
                <a:cubicBezTo>
                  <a:pt x="75" y="93"/>
                  <a:pt x="75" y="93"/>
                  <a:pt x="75" y="93"/>
                </a:cubicBezTo>
                <a:cubicBezTo>
                  <a:pt x="64" y="93"/>
                  <a:pt x="64" y="93"/>
                  <a:pt x="64" y="93"/>
                </a:cubicBezTo>
                <a:cubicBezTo>
                  <a:pt x="64" y="83"/>
                  <a:pt x="64" y="83"/>
                  <a:pt x="64" y="83"/>
                </a:cubicBezTo>
                <a:cubicBezTo>
                  <a:pt x="75" y="83"/>
                  <a:pt x="75" y="83"/>
                  <a:pt x="75" y="83"/>
                </a:cubicBezTo>
                <a:lnTo>
                  <a:pt x="75" y="93"/>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1376">
            <a:extLst>
              <a:ext uri="{FF2B5EF4-FFF2-40B4-BE49-F238E27FC236}">
                <a16:creationId xmlns:a16="http://schemas.microsoft.com/office/drawing/2014/main" id="{C61A237C-A5B9-2B41-9EDB-3D5E5AA4D59F}"/>
              </a:ext>
            </a:extLst>
          </p:cNvPr>
          <p:cNvSpPr>
            <a:spLocks noEditPoints="1"/>
          </p:cNvSpPr>
          <p:nvPr/>
        </p:nvSpPr>
        <p:spPr bwMode="auto">
          <a:xfrm>
            <a:off x="10932957" y="4064000"/>
            <a:ext cx="546100" cy="550863"/>
          </a:xfrm>
          <a:custGeom>
            <a:avLst/>
            <a:gdLst>
              <a:gd name="T0" fmla="*/ 45 w 160"/>
              <a:gd name="T1" fmla="*/ 131 h 160"/>
              <a:gd name="T2" fmla="*/ 45 w 160"/>
              <a:gd name="T3" fmla="*/ 147 h 160"/>
              <a:gd name="T4" fmla="*/ 45 w 160"/>
              <a:gd name="T5" fmla="*/ 13 h 160"/>
              <a:gd name="T6" fmla="*/ 56 w 160"/>
              <a:gd name="T7" fmla="*/ 8 h 160"/>
              <a:gd name="T8" fmla="*/ 144 w 160"/>
              <a:gd name="T9" fmla="*/ 128 h 160"/>
              <a:gd name="T10" fmla="*/ 144 w 160"/>
              <a:gd name="T11" fmla="*/ 125 h 160"/>
              <a:gd name="T12" fmla="*/ 139 w 160"/>
              <a:gd name="T13" fmla="*/ 93 h 160"/>
              <a:gd name="T14" fmla="*/ 141 w 160"/>
              <a:gd name="T15" fmla="*/ 120 h 160"/>
              <a:gd name="T16" fmla="*/ 144 w 160"/>
              <a:gd name="T17" fmla="*/ 117 h 160"/>
              <a:gd name="T18" fmla="*/ 141 w 160"/>
              <a:gd name="T19" fmla="*/ 101 h 160"/>
              <a:gd name="T20" fmla="*/ 139 w 160"/>
              <a:gd name="T21" fmla="*/ 85 h 160"/>
              <a:gd name="T22" fmla="*/ 144 w 160"/>
              <a:gd name="T23" fmla="*/ 139 h 160"/>
              <a:gd name="T24" fmla="*/ 144 w 160"/>
              <a:gd name="T25" fmla="*/ 136 h 160"/>
              <a:gd name="T26" fmla="*/ 139 w 160"/>
              <a:gd name="T27" fmla="*/ 149 h 160"/>
              <a:gd name="T28" fmla="*/ 101 w 160"/>
              <a:gd name="T29" fmla="*/ 160 h 160"/>
              <a:gd name="T30" fmla="*/ 104 w 160"/>
              <a:gd name="T31" fmla="*/ 157 h 160"/>
              <a:gd name="T32" fmla="*/ 90 w 160"/>
              <a:gd name="T33" fmla="*/ 153 h 160"/>
              <a:gd name="T34" fmla="*/ 91 w 160"/>
              <a:gd name="T35" fmla="*/ 142 h 160"/>
              <a:gd name="T36" fmla="*/ 91 w 160"/>
              <a:gd name="T37" fmla="*/ 115 h 160"/>
              <a:gd name="T38" fmla="*/ 91 w 160"/>
              <a:gd name="T39" fmla="*/ 93 h 160"/>
              <a:gd name="T40" fmla="*/ 91 w 160"/>
              <a:gd name="T41" fmla="*/ 72 h 160"/>
              <a:gd name="T42" fmla="*/ 0 w 160"/>
              <a:gd name="T43" fmla="*/ 148 h 160"/>
              <a:gd name="T44" fmla="*/ 86 w 160"/>
              <a:gd name="T45" fmla="*/ 158 h 160"/>
              <a:gd name="T46" fmla="*/ 5 w 160"/>
              <a:gd name="T47" fmla="*/ 21 h 160"/>
              <a:gd name="T48" fmla="*/ 85 w 160"/>
              <a:gd name="T49" fmla="*/ 86 h 160"/>
              <a:gd name="T50" fmla="*/ 85 w 160"/>
              <a:gd name="T51" fmla="*/ 112 h 160"/>
              <a:gd name="T52" fmla="*/ 5 w 160"/>
              <a:gd name="T53" fmla="*/ 21 h 160"/>
              <a:gd name="T54" fmla="*/ 5 w 160"/>
              <a:gd name="T55" fmla="*/ 16 h 160"/>
              <a:gd name="T56" fmla="*/ 5 w 160"/>
              <a:gd name="T57" fmla="*/ 148 h 160"/>
              <a:gd name="T58" fmla="*/ 85 w 160"/>
              <a:gd name="T59" fmla="*/ 142 h 160"/>
              <a:gd name="T60" fmla="*/ 79 w 160"/>
              <a:gd name="T61" fmla="*/ 155 h 160"/>
              <a:gd name="T62" fmla="*/ 109 w 160"/>
              <a:gd name="T63" fmla="*/ 155 h 160"/>
              <a:gd name="T64" fmla="*/ 119 w 160"/>
              <a:gd name="T65" fmla="*/ 72 h 160"/>
              <a:gd name="T66" fmla="*/ 97 w 160"/>
              <a:gd name="T67" fmla="*/ 77 h 160"/>
              <a:gd name="T68" fmla="*/ 100 w 160"/>
              <a:gd name="T69" fmla="*/ 77 h 160"/>
              <a:gd name="T70" fmla="*/ 117 w 160"/>
              <a:gd name="T71" fmla="*/ 157 h 160"/>
              <a:gd name="T72" fmla="*/ 105 w 160"/>
              <a:gd name="T73" fmla="*/ 75 h 160"/>
              <a:gd name="T74" fmla="*/ 108 w 160"/>
              <a:gd name="T75" fmla="*/ 77 h 160"/>
              <a:gd name="T76" fmla="*/ 141 w 160"/>
              <a:gd name="T77" fmla="*/ 155 h 160"/>
              <a:gd name="T78" fmla="*/ 157 w 160"/>
              <a:gd name="T79" fmla="*/ 119 h 160"/>
              <a:gd name="T80" fmla="*/ 160 w 160"/>
              <a:gd name="T81" fmla="*/ 135 h 160"/>
              <a:gd name="T82" fmla="*/ 157 w 160"/>
              <a:gd name="T83" fmla="*/ 132 h 160"/>
              <a:gd name="T84" fmla="*/ 155 w 160"/>
              <a:gd name="T85" fmla="*/ 127 h 160"/>
              <a:gd name="T86" fmla="*/ 160 w 160"/>
              <a:gd name="T87" fmla="*/ 106 h 160"/>
              <a:gd name="T88" fmla="*/ 160 w 160"/>
              <a:gd name="T89" fmla="*/ 103 h 160"/>
              <a:gd name="T90" fmla="*/ 155 w 160"/>
              <a:gd name="T91" fmla="*/ 84 h 160"/>
              <a:gd name="T92" fmla="*/ 129 w 160"/>
              <a:gd name="T93" fmla="*/ 77 h 160"/>
              <a:gd name="T94" fmla="*/ 132 w 160"/>
              <a:gd name="T95" fmla="*/ 77 h 160"/>
              <a:gd name="T96" fmla="*/ 155 w 160"/>
              <a:gd name="T97" fmla="*/ 95 h 160"/>
              <a:gd name="T98" fmla="*/ 137 w 160"/>
              <a:gd name="T99" fmla="*/ 75 h 160"/>
              <a:gd name="T100" fmla="*/ 140 w 160"/>
              <a:gd name="T101" fmla="*/ 77 h 160"/>
              <a:gd name="T102" fmla="*/ 131 w 160"/>
              <a:gd name="T103" fmla="*/ 155 h 160"/>
              <a:gd name="T104" fmla="*/ 151 w 160"/>
              <a:gd name="T105" fmla="*/ 72 h 160"/>
              <a:gd name="T106" fmla="*/ 150 w 160"/>
              <a:gd name="T107" fmla="*/ 78 h 160"/>
              <a:gd name="T108" fmla="*/ 155 w 160"/>
              <a:gd name="T109" fmla="*/ 146 h 160"/>
              <a:gd name="T110" fmla="*/ 153 w 160"/>
              <a:gd name="T111" fmla="*/ 159 h 160"/>
              <a:gd name="T112" fmla="*/ 156 w 160"/>
              <a:gd name="T113" fmla="*/ 154 h 160"/>
              <a:gd name="T114" fmla="*/ 136 w 160"/>
              <a:gd name="T115" fmla="*/ 47 h 160"/>
              <a:gd name="T116" fmla="*/ 141 w 160"/>
              <a:gd name="T117" fmla="*/ 40 h 160"/>
              <a:gd name="T118" fmla="*/ 141 w 160"/>
              <a:gd name="T119" fmla="*/ 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60">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144" y="128"/>
                </a:moveTo>
                <a:cubicBezTo>
                  <a:pt x="144" y="129"/>
                  <a:pt x="143" y="131"/>
                  <a:pt x="141" y="131"/>
                </a:cubicBezTo>
                <a:cubicBezTo>
                  <a:pt x="140" y="131"/>
                  <a:pt x="139" y="129"/>
                  <a:pt x="139" y="128"/>
                </a:cubicBezTo>
                <a:cubicBezTo>
                  <a:pt x="139" y="125"/>
                  <a:pt x="139" y="125"/>
                  <a:pt x="139" y="125"/>
                </a:cubicBezTo>
                <a:cubicBezTo>
                  <a:pt x="139" y="124"/>
                  <a:pt x="140" y="123"/>
                  <a:pt x="141" y="123"/>
                </a:cubicBezTo>
                <a:cubicBezTo>
                  <a:pt x="143" y="123"/>
                  <a:pt x="144" y="124"/>
                  <a:pt x="144" y="125"/>
                </a:cubicBezTo>
                <a:lnTo>
                  <a:pt x="144" y="128"/>
                </a:lnTo>
                <a:close/>
                <a:moveTo>
                  <a:pt x="144" y="96"/>
                </a:moveTo>
                <a:cubicBezTo>
                  <a:pt x="144" y="97"/>
                  <a:pt x="143" y="99"/>
                  <a:pt x="141" y="99"/>
                </a:cubicBezTo>
                <a:cubicBezTo>
                  <a:pt x="140" y="99"/>
                  <a:pt x="139" y="97"/>
                  <a:pt x="139" y="96"/>
                </a:cubicBezTo>
                <a:cubicBezTo>
                  <a:pt x="139" y="93"/>
                  <a:pt x="139" y="93"/>
                  <a:pt x="139" y="93"/>
                </a:cubicBezTo>
                <a:cubicBezTo>
                  <a:pt x="139" y="92"/>
                  <a:pt x="140" y="91"/>
                  <a:pt x="141" y="91"/>
                </a:cubicBezTo>
                <a:cubicBezTo>
                  <a:pt x="143" y="91"/>
                  <a:pt x="144" y="92"/>
                  <a:pt x="144" y="93"/>
                </a:cubicBezTo>
                <a:lnTo>
                  <a:pt x="144" y="96"/>
                </a:lnTo>
                <a:close/>
                <a:moveTo>
                  <a:pt x="144" y="117"/>
                </a:moveTo>
                <a:cubicBezTo>
                  <a:pt x="144" y="119"/>
                  <a:pt x="143" y="120"/>
                  <a:pt x="141" y="120"/>
                </a:cubicBezTo>
                <a:cubicBezTo>
                  <a:pt x="140" y="120"/>
                  <a:pt x="139" y="119"/>
                  <a:pt x="139" y="117"/>
                </a:cubicBezTo>
                <a:cubicBezTo>
                  <a:pt x="139" y="115"/>
                  <a:pt x="139" y="115"/>
                  <a:pt x="139" y="115"/>
                </a:cubicBezTo>
                <a:cubicBezTo>
                  <a:pt x="139" y="113"/>
                  <a:pt x="140" y="112"/>
                  <a:pt x="141" y="112"/>
                </a:cubicBezTo>
                <a:cubicBezTo>
                  <a:pt x="143" y="112"/>
                  <a:pt x="144" y="113"/>
                  <a:pt x="144" y="115"/>
                </a:cubicBezTo>
                <a:lnTo>
                  <a:pt x="144" y="117"/>
                </a:lnTo>
                <a:close/>
                <a:moveTo>
                  <a:pt x="144" y="107"/>
                </a:moveTo>
                <a:cubicBezTo>
                  <a:pt x="144" y="108"/>
                  <a:pt x="143" y="109"/>
                  <a:pt x="141" y="109"/>
                </a:cubicBezTo>
                <a:cubicBezTo>
                  <a:pt x="140" y="109"/>
                  <a:pt x="139" y="108"/>
                  <a:pt x="139" y="107"/>
                </a:cubicBezTo>
                <a:cubicBezTo>
                  <a:pt x="139" y="104"/>
                  <a:pt x="139" y="104"/>
                  <a:pt x="139" y="104"/>
                </a:cubicBezTo>
                <a:cubicBezTo>
                  <a:pt x="139" y="103"/>
                  <a:pt x="140" y="101"/>
                  <a:pt x="141" y="101"/>
                </a:cubicBezTo>
                <a:cubicBezTo>
                  <a:pt x="143" y="101"/>
                  <a:pt x="144" y="103"/>
                  <a:pt x="144" y="104"/>
                </a:cubicBezTo>
                <a:lnTo>
                  <a:pt x="144" y="107"/>
                </a:lnTo>
                <a:close/>
                <a:moveTo>
                  <a:pt x="144" y="85"/>
                </a:moveTo>
                <a:cubicBezTo>
                  <a:pt x="144" y="87"/>
                  <a:pt x="143" y="88"/>
                  <a:pt x="141" y="88"/>
                </a:cubicBezTo>
                <a:cubicBezTo>
                  <a:pt x="140" y="88"/>
                  <a:pt x="139" y="87"/>
                  <a:pt x="139" y="85"/>
                </a:cubicBezTo>
                <a:cubicBezTo>
                  <a:pt x="139" y="83"/>
                  <a:pt x="139" y="83"/>
                  <a:pt x="139" y="83"/>
                </a:cubicBezTo>
                <a:cubicBezTo>
                  <a:pt x="139" y="81"/>
                  <a:pt x="140" y="80"/>
                  <a:pt x="141" y="80"/>
                </a:cubicBezTo>
                <a:cubicBezTo>
                  <a:pt x="143" y="80"/>
                  <a:pt x="144" y="81"/>
                  <a:pt x="144" y="83"/>
                </a:cubicBezTo>
                <a:lnTo>
                  <a:pt x="144" y="85"/>
                </a:lnTo>
                <a:close/>
                <a:moveTo>
                  <a:pt x="144" y="139"/>
                </a:moveTo>
                <a:cubicBezTo>
                  <a:pt x="144" y="140"/>
                  <a:pt x="143" y="141"/>
                  <a:pt x="141" y="141"/>
                </a:cubicBezTo>
                <a:cubicBezTo>
                  <a:pt x="140" y="141"/>
                  <a:pt x="139" y="140"/>
                  <a:pt x="139" y="139"/>
                </a:cubicBezTo>
                <a:cubicBezTo>
                  <a:pt x="139" y="136"/>
                  <a:pt x="139" y="136"/>
                  <a:pt x="139" y="136"/>
                </a:cubicBezTo>
                <a:cubicBezTo>
                  <a:pt x="139" y="135"/>
                  <a:pt x="140" y="133"/>
                  <a:pt x="141" y="133"/>
                </a:cubicBezTo>
                <a:cubicBezTo>
                  <a:pt x="143" y="133"/>
                  <a:pt x="144" y="135"/>
                  <a:pt x="144" y="136"/>
                </a:cubicBezTo>
                <a:lnTo>
                  <a:pt x="144" y="139"/>
                </a:lnTo>
                <a:close/>
                <a:moveTo>
                  <a:pt x="144" y="147"/>
                </a:moveTo>
                <a:cubicBezTo>
                  <a:pt x="144" y="149"/>
                  <a:pt x="144" y="149"/>
                  <a:pt x="144" y="149"/>
                </a:cubicBezTo>
                <a:cubicBezTo>
                  <a:pt x="144" y="151"/>
                  <a:pt x="143" y="152"/>
                  <a:pt x="141" y="152"/>
                </a:cubicBezTo>
                <a:cubicBezTo>
                  <a:pt x="140" y="152"/>
                  <a:pt x="139" y="151"/>
                  <a:pt x="139" y="149"/>
                </a:cubicBezTo>
                <a:cubicBezTo>
                  <a:pt x="139" y="147"/>
                  <a:pt x="139" y="147"/>
                  <a:pt x="139" y="147"/>
                </a:cubicBezTo>
                <a:cubicBezTo>
                  <a:pt x="139" y="145"/>
                  <a:pt x="140" y="144"/>
                  <a:pt x="141" y="144"/>
                </a:cubicBezTo>
                <a:cubicBezTo>
                  <a:pt x="143" y="144"/>
                  <a:pt x="144" y="145"/>
                  <a:pt x="144" y="147"/>
                </a:cubicBezTo>
                <a:close/>
                <a:moveTo>
                  <a:pt x="104" y="157"/>
                </a:moveTo>
                <a:cubicBezTo>
                  <a:pt x="104" y="159"/>
                  <a:pt x="103" y="160"/>
                  <a:pt x="101" y="160"/>
                </a:cubicBezTo>
                <a:cubicBezTo>
                  <a:pt x="99" y="160"/>
                  <a:pt x="99" y="160"/>
                  <a:pt x="99" y="160"/>
                </a:cubicBezTo>
                <a:cubicBezTo>
                  <a:pt x="97" y="160"/>
                  <a:pt x="96" y="159"/>
                  <a:pt x="96" y="157"/>
                </a:cubicBezTo>
                <a:cubicBezTo>
                  <a:pt x="96" y="156"/>
                  <a:pt x="97" y="155"/>
                  <a:pt x="99" y="155"/>
                </a:cubicBezTo>
                <a:cubicBezTo>
                  <a:pt x="101" y="155"/>
                  <a:pt x="101" y="155"/>
                  <a:pt x="101" y="155"/>
                </a:cubicBezTo>
                <a:cubicBezTo>
                  <a:pt x="103" y="155"/>
                  <a:pt x="104" y="156"/>
                  <a:pt x="104" y="157"/>
                </a:cubicBezTo>
                <a:close/>
                <a:moveTo>
                  <a:pt x="91" y="155"/>
                </a:moveTo>
                <a:cubicBezTo>
                  <a:pt x="89" y="155"/>
                  <a:pt x="89" y="155"/>
                  <a:pt x="89" y="155"/>
                </a:cubicBezTo>
                <a:cubicBezTo>
                  <a:pt x="89" y="155"/>
                  <a:pt x="89" y="155"/>
                  <a:pt x="89" y="155"/>
                </a:cubicBezTo>
                <a:cubicBezTo>
                  <a:pt x="89" y="154"/>
                  <a:pt x="89" y="154"/>
                  <a:pt x="90" y="153"/>
                </a:cubicBezTo>
                <a:cubicBezTo>
                  <a:pt x="90" y="153"/>
                  <a:pt x="90" y="153"/>
                  <a:pt x="90" y="153"/>
                </a:cubicBezTo>
                <a:cubicBezTo>
                  <a:pt x="90" y="153"/>
                  <a:pt x="90" y="152"/>
                  <a:pt x="90" y="152"/>
                </a:cubicBezTo>
                <a:cubicBezTo>
                  <a:pt x="90" y="152"/>
                  <a:pt x="90" y="152"/>
                  <a:pt x="90" y="152"/>
                </a:cubicBezTo>
                <a:cubicBezTo>
                  <a:pt x="90" y="151"/>
                  <a:pt x="91" y="150"/>
                  <a:pt x="91" y="148"/>
                </a:cubicBezTo>
                <a:cubicBezTo>
                  <a:pt x="91" y="144"/>
                  <a:pt x="91" y="144"/>
                  <a:pt x="91" y="144"/>
                </a:cubicBezTo>
                <a:cubicBezTo>
                  <a:pt x="91" y="142"/>
                  <a:pt x="91" y="142"/>
                  <a:pt x="91" y="142"/>
                </a:cubicBezTo>
                <a:cubicBezTo>
                  <a:pt x="91" y="134"/>
                  <a:pt x="91" y="134"/>
                  <a:pt x="91" y="134"/>
                </a:cubicBezTo>
                <a:cubicBezTo>
                  <a:pt x="91" y="132"/>
                  <a:pt x="91" y="132"/>
                  <a:pt x="91" y="132"/>
                </a:cubicBezTo>
                <a:cubicBezTo>
                  <a:pt x="91" y="125"/>
                  <a:pt x="91" y="125"/>
                  <a:pt x="91" y="125"/>
                </a:cubicBezTo>
                <a:cubicBezTo>
                  <a:pt x="91" y="122"/>
                  <a:pt x="91" y="122"/>
                  <a:pt x="91" y="122"/>
                </a:cubicBezTo>
                <a:cubicBezTo>
                  <a:pt x="91" y="115"/>
                  <a:pt x="91" y="115"/>
                  <a:pt x="91" y="115"/>
                </a:cubicBezTo>
                <a:cubicBezTo>
                  <a:pt x="91" y="113"/>
                  <a:pt x="91" y="113"/>
                  <a:pt x="91" y="113"/>
                </a:cubicBezTo>
                <a:cubicBezTo>
                  <a:pt x="91" y="105"/>
                  <a:pt x="91" y="105"/>
                  <a:pt x="91" y="105"/>
                </a:cubicBezTo>
                <a:cubicBezTo>
                  <a:pt x="91" y="103"/>
                  <a:pt x="91" y="103"/>
                  <a:pt x="91" y="103"/>
                </a:cubicBezTo>
                <a:cubicBezTo>
                  <a:pt x="91" y="95"/>
                  <a:pt x="91" y="95"/>
                  <a:pt x="91" y="95"/>
                </a:cubicBezTo>
                <a:cubicBezTo>
                  <a:pt x="91" y="93"/>
                  <a:pt x="91" y="93"/>
                  <a:pt x="91" y="93"/>
                </a:cubicBezTo>
                <a:cubicBezTo>
                  <a:pt x="91" y="86"/>
                  <a:pt x="91" y="86"/>
                  <a:pt x="91" y="86"/>
                </a:cubicBezTo>
                <a:cubicBezTo>
                  <a:pt x="91" y="83"/>
                  <a:pt x="91" y="83"/>
                  <a:pt x="91" y="83"/>
                </a:cubicBezTo>
                <a:cubicBezTo>
                  <a:pt x="91" y="77"/>
                  <a:pt x="91" y="77"/>
                  <a:pt x="91" y="77"/>
                </a:cubicBezTo>
                <a:cubicBezTo>
                  <a:pt x="91" y="76"/>
                  <a:pt x="92" y="76"/>
                  <a:pt x="92" y="75"/>
                </a:cubicBezTo>
                <a:cubicBezTo>
                  <a:pt x="92" y="74"/>
                  <a:pt x="91" y="73"/>
                  <a:pt x="91" y="72"/>
                </a:cubicBezTo>
                <a:cubicBezTo>
                  <a:pt x="91" y="12"/>
                  <a:pt x="91" y="12"/>
                  <a:pt x="91" y="12"/>
                </a:cubicBezTo>
                <a:cubicBezTo>
                  <a:pt x="91" y="5"/>
                  <a:pt x="85" y="0"/>
                  <a:pt x="79" y="0"/>
                </a:cubicBez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0" y="160"/>
                  <a:pt x="80" y="160"/>
                  <a:pt x="80" y="160"/>
                </a:cubicBezTo>
                <a:cubicBezTo>
                  <a:pt x="81" y="160"/>
                  <a:pt x="81" y="160"/>
                  <a:pt x="81" y="160"/>
                </a:cubicBezTo>
                <a:cubicBezTo>
                  <a:pt x="83" y="159"/>
                  <a:pt x="84" y="159"/>
                  <a:pt x="86" y="158"/>
                </a:cubicBezTo>
                <a:cubicBezTo>
                  <a:pt x="86" y="159"/>
                  <a:pt x="87" y="160"/>
                  <a:pt x="88" y="160"/>
                </a:cubicBezTo>
                <a:cubicBezTo>
                  <a:pt x="91" y="160"/>
                  <a:pt x="91" y="160"/>
                  <a:pt x="91" y="160"/>
                </a:cubicBezTo>
                <a:cubicBezTo>
                  <a:pt x="92" y="160"/>
                  <a:pt x="94" y="159"/>
                  <a:pt x="94" y="157"/>
                </a:cubicBezTo>
                <a:cubicBezTo>
                  <a:pt x="94" y="156"/>
                  <a:pt x="92" y="155"/>
                  <a:pt x="91" y="155"/>
                </a:cubicBezTo>
                <a:close/>
                <a:moveTo>
                  <a:pt x="5" y="21"/>
                </a:moveTo>
                <a:cubicBezTo>
                  <a:pt x="85" y="21"/>
                  <a:pt x="85" y="21"/>
                  <a:pt x="85" y="21"/>
                </a:cubicBezTo>
                <a:cubicBezTo>
                  <a:pt x="85" y="72"/>
                  <a:pt x="85" y="72"/>
                  <a:pt x="85" y="72"/>
                </a:cubicBezTo>
                <a:cubicBezTo>
                  <a:pt x="85" y="76"/>
                  <a:pt x="85" y="76"/>
                  <a:pt x="85" y="76"/>
                </a:cubicBezTo>
                <a:cubicBezTo>
                  <a:pt x="85" y="83"/>
                  <a:pt x="85" y="83"/>
                  <a:pt x="85" y="83"/>
                </a:cubicBezTo>
                <a:cubicBezTo>
                  <a:pt x="85" y="86"/>
                  <a:pt x="85" y="86"/>
                  <a:pt x="85" y="86"/>
                </a:cubicBezTo>
                <a:cubicBezTo>
                  <a:pt x="85" y="93"/>
                  <a:pt x="85" y="93"/>
                  <a:pt x="85" y="93"/>
                </a:cubicBezTo>
                <a:cubicBezTo>
                  <a:pt x="85" y="95"/>
                  <a:pt x="85" y="95"/>
                  <a:pt x="85" y="95"/>
                </a:cubicBezTo>
                <a:cubicBezTo>
                  <a:pt x="85" y="103"/>
                  <a:pt x="85" y="103"/>
                  <a:pt x="85" y="103"/>
                </a:cubicBezTo>
                <a:cubicBezTo>
                  <a:pt x="85" y="105"/>
                  <a:pt x="85" y="105"/>
                  <a:pt x="85" y="105"/>
                </a:cubicBezTo>
                <a:cubicBezTo>
                  <a:pt x="85" y="112"/>
                  <a:pt x="85" y="112"/>
                  <a:pt x="85" y="112"/>
                </a:cubicBezTo>
                <a:cubicBezTo>
                  <a:pt x="85" y="115"/>
                  <a:pt x="85" y="115"/>
                  <a:pt x="85" y="115"/>
                </a:cubicBezTo>
                <a:cubicBezTo>
                  <a:pt x="85" y="122"/>
                  <a:pt x="85" y="122"/>
                  <a:pt x="85" y="122"/>
                </a:cubicBezTo>
                <a:cubicBezTo>
                  <a:pt x="85" y="123"/>
                  <a:pt x="85" y="123"/>
                  <a:pt x="85" y="123"/>
                </a:cubicBezTo>
                <a:cubicBezTo>
                  <a:pt x="5" y="123"/>
                  <a:pt x="5" y="123"/>
                  <a:pt x="5" y="123"/>
                </a:cubicBezTo>
                <a:lnTo>
                  <a:pt x="5" y="21"/>
                </a:ln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32"/>
                  <a:pt x="85" y="132"/>
                  <a:pt x="85" y="132"/>
                </a:cubicBezTo>
                <a:cubicBezTo>
                  <a:pt x="85" y="134"/>
                  <a:pt x="85" y="134"/>
                  <a:pt x="85" y="134"/>
                </a:cubicBezTo>
                <a:cubicBezTo>
                  <a:pt x="85" y="142"/>
                  <a:pt x="85" y="142"/>
                  <a:pt x="85" y="142"/>
                </a:cubicBezTo>
                <a:cubicBezTo>
                  <a:pt x="85" y="144"/>
                  <a:pt x="85" y="144"/>
                  <a:pt x="85" y="144"/>
                </a:cubicBezTo>
                <a:cubicBezTo>
                  <a:pt x="85" y="148"/>
                  <a:pt x="85" y="148"/>
                  <a:pt x="85" y="148"/>
                </a:cubicBezTo>
                <a:cubicBezTo>
                  <a:pt x="85" y="149"/>
                  <a:pt x="85" y="150"/>
                  <a:pt x="85" y="151"/>
                </a:cubicBezTo>
                <a:cubicBezTo>
                  <a:pt x="85" y="151"/>
                  <a:pt x="84" y="151"/>
                  <a:pt x="84" y="152"/>
                </a:cubicBezTo>
                <a:cubicBezTo>
                  <a:pt x="83" y="154"/>
                  <a:pt x="81" y="155"/>
                  <a:pt x="79" y="155"/>
                </a:cubicBezTo>
                <a:close/>
                <a:moveTo>
                  <a:pt x="115" y="157"/>
                </a:moveTo>
                <a:cubicBezTo>
                  <a:pt x="115" y="159"/>
                  <a:pt x="114" y="160"/>
                  <a:pt x="112" y="160"/>
                </a:cubicBezTo>
                <a:cubicBezTo>
                  <a:pt x="109" y="160"/>
                  <a:pt x="109" y="160"/>
                  <a:pt x="109" y="160"/>
                </a:cubicBezTo>
                <a:cubicBezTo>
                  <a:pt x="108" y="160"/>
                  <a:pt x="107" y="159"/>
                  <a:pt x="107" y="157"/>
                </a:cubicBezTo>
                <a:cubicBezTo>
                  <a:pt x="107" y="156"/>
                  <a:pt x="108" y="155"/>
                  <a:pt x="109" y="155"/>
                </a:cubicBezTo>
                <a:cubicBezTo>
                  <a:pt x="112" y="155"/>
                  <a:pt x="112" y="155"/>
                  <a:pt x="112" y="155"/>
                </a:cubicBezTo>
                <a:cubicBezTo>
                  <a:pt x="114" y="155"/>
                  <a:pt x="115" y="156"/>
                  <a:pt x="115" y="157"/>
                </a:cubicBezTo>
                <a:close/>
                <a:moveTo>
                  <a:pt x="119" y="77"/>
                </a:moveTo>
                <a:cubicBezTo>
                  <a:pt x="117" y="77"/>
                  <a:pt x="116" y="76"/>
                  <a:pt x="116" y="75"/>
                </a:cubicBezTo>
                <a:cubicBezTo>
                  <a:pt x="116" y="73"/>
                  <a:pt x="117" y="72"/>
                  <a:pt x="119" y="72"/>
                </a:cubicBezTo>
                <a:cubicBezTo>
                  <a:pt x="121" y="72"/>
                  <a:pt x="121" y="72"/>
                  <a:pt x="121" y="72"/>
                </a:cubicBezTo>
                <a:cubicBezTo>
                  <a:pt x="123" y="72"/>
                  <a:pt x="124" y="73"/>
                  <a:pt x="124" y="75"/>
                </a:cubicBezTo>
                <a:cubicBezTo>
                  <a:pt x="124" y="76"/>
                  <a:pt x="123" y="77"/>
                  <a:pt x="121" y="77"/>
                </a:cubicBezTo>
                <a:lnTo>
                  <a:pt x="119" y="77"/>
                </a:lnTo>
                <a:close/>
                <a:moveTo>
                  <a:pt x="97" y="77"/>
                </a:moveTo>
                <a:cubicBezTo>
                  <a:pt x="96" y="77"/>
                  <a:pt x="95" y="76"/>
                  <a:pt x="95" y="75"/>
                </a:cubicBezTo>
                <a:cubicBezTo>
                  <a:pt x="95" y="73"/>
                  <a:pt x="96" y="72"/>
                  <a:pt x="97" y="72"/>
                </a:cubicBezTo>
                <a:cubicBezTo>
                  <a:pt x="100" y="72"/>
                  <a:pt x="100" y="72"/>
                  <a:pt x="100" y="72"/>
                </a:cubicBezTo>
                <a:cubicBezTo>
                  <a:pt x="101" y="72"/>
                  <a:pt x="103" y="73"/>
                  <a:pt x="103" y="75"/>
                </a:cubicBezTo>
                <a:cubicBezTo>
                  <a:pt x="103" y="76"/>
                  <a:pt x="101" y="77"/>
                  <a:pt x="100" y="77"/>
                </a:cubicBezTo>
                <a:lnTo>
                  <a:pt x="97" y="77"/>
                </a:lnTo>
                <a:close/>
                <a:moveTo>
                  <a:pt x="125" y="157"/>
                </a:moveTo>
                <a:cubicBezTo>
                  <a:pt x="125" y="159"/>
                  <a:pt x="124" y="160"/>
                  <a:pt x="123" y="160"/>
                </a:cubicBezTo>
                <a:cubicBezTo>
                  <a:pt x="120" y="160"/>
                  <a:pt x="120" y="160"/>
                  <a:pt x="120" y="160"/>
                </a:cubicBezTo>
                <a:cubicBezTo>
                  <a:pt x="119" y="160"/>
                  <a:pt x="117" y="159"/>
                  <a:pt x="117" y="157"/>
                </a:cubicBezTo>
                <a:cubicBezTo>
                  <a:pt x="117" y="156"/>
                  <a:pt x="119" y="155"/>
                  <a:pt x="120" y="155"/>
                </a:cubicBezTo>
                <a:cubicBezTo>
                  <a:pt x="123" y="155"/>
                  <a:pt x="123" y="155"/>
                  <a:pt x="123" y="155"/>
                </a:cubicBezTo>
                <a:cubicBezTo>
                  <a:pt x="124" y="155"/>
                  <a:pt x="125" y="156"/>
                  <a:pt x="125" y="157"/>
                </a:cubicBezTo>
                <a:close/>
                <a:moveTo>
                  <a:pt x="108" y="77"/>
                </a:moveTo>
                <a:cubicBezTo>
                  <a:pt x="106" y="77"/>
                  <a:pt x="105" y="76"/>
                  <a:pt x="105" y="75"/>
                </a:cubicBezTo>
                <a:cubicBezTo>
                  <a:pt x="105" y="73"/>
                  <a:pt x="106" y="72"/>
                  <a:pt x="108" y="72"/>
                </a:cubicBezTo>
                <a:cubicBezTo>
                  <a:pt x="111" y="72"/>
                  <a:pt x="111" y="72"/>
                  <a:pt x="111" y="72"/>
                </a:cubicBezTo>
                <a:cubicBezTo>
                  <a:pt x="112" y="72"/>
                  <a:pt x="113" y="73"/>
                  <a:pt x="113" y="75"/>
                </a:cubicBezTo>
                <a:cubicBezTo>
                  <a:pt x="113" y="76"/>
                  <a:pt x="112" y="77"/>
                  <a:pt x="111" y="77"/>
                </a:cubicBezTo>
                <a:lnTo>
                  <a:pt x="108" y="77"/>
                </a:lnTo>
                <a:close/>
                <a:moveTo>
                  <a:pt x="147" y="157"/>
                </a:moveTo>
                <a:cubicBezTo>
                  <a:pt x="147" y="159"/>
                  <a:pt x="145" y="160"/>
                  <a:pt x="144" y="160"/>
                </a:cubicBezTo>
                <a:cubicBezTo>
                  <a:pt x="141" y="160"/>
                  <a:pt x="141" y="160"/>
                  <a:pt x="141" y="160"/>
                </a:cubicBezTo>
                <a:cubicBezTo>
                  <a:pt x="140" y="160"/>
                  <a:pt x="139" y="159"/>
                  <a:pt x="139" y="157"/>
                </a:cubicBezTo>
                <a:cubicBezTo>
                  <a:pt x="139" y="156"/>
                  <a:pt x="140" y="155"/>
                  <a:pt x="141" y="155"/>
                </a:cubicBezTo>
                <a:cubicBezTo>
                  <a:pt x="144" y="155"/>
                  <a:pt x="144" y="155"/>
                  <a:pt x="144" y="155"/>
                </a:cubicBezTo>
                <a:cubicBezTo>
                  <a:pt x="145" y="155"/>
                  <a:pt x="147" y="156"/>
                  <a:pt x="147" y="157"/>
                </a:cubicBezTo>
                <a:close/>
                <a:moveTo>
                  <a:pt x="160" y="114"/>
                </a:moveTo>
                <a:cubicBezTo>
                  <a:pt x="160" y="117"/>
                  <a:pt x="160" y="117"/>
                  <a:pt x="160" y="117"/>
                </a:cubicBezTo>
                <a:cubicBezTo>
                  <a:pt x="160" y="118"/>
                  <a:pt x="159" y="119"/>
                  <a:pt x="157" y="119"/>
                </a:cubicBezTo>
                <a:cubicBezTo>
                  <a:pt x="156" y="119"/>
                  <a:pt x="155" y="118"/>
                  <a:pt x="155" y="117"/>
                </a:cubicBezTo>
                <a:cubicBezTo>
                  <a:pt x="155" y="114"/>
                  <a:pt x="155" y="114"/>
                  <a:pt x="155" y="114"/>
                </a:cubicBezTo>
                <a:cubicBezTo>
                  <a:pt x="155" y="112"/>
                  <a:pt x="156" y="111"/>
                  <a:pt x="157" y="111"/>
                </a:cubicBezTo>
                <a:cubicBezTo>
                  <a:pt x="159" y="111"/>
                  <a:pt x="160" y="112"/>
                  <a:pt x="160" y="114"/>
                </a:cubicBezTo>
                <a:close/>
                <a:moveTo>
                  <a:pt x="160" y="135"/>
                </a:moveTo>
                <a:cubicBezTo>
                  <a:pt x="160" y="138"/>
                  <a:pt x="160" y="138"/>
                  <a:pt x="160" y="138"/>
                </a:cubicBezTo>
                <a:cubicBezTo>
                  <a:pt x="160" y="139"/>
                  <a:pt x="159" y="140"/>
                  <a:pt x="157" y="140"/>
                </a:cubicBezTo>
                <a:cubicBezTo>
                  <a:pt x="156" y="140"/>
                  <a:pt x="155" y="139"/>
                  <a:pt x="155" y="138"/>
                </a:cubicBezTo>
                <a:cubicBezTo>
                  <a:pt x="155" y="135"/>
                  <a:pt x="155" y="135"/>
                  <a:pt x="155" y="135"/>
                </a:cubicBezTo>
                <a:cubicBezTo>
                  <a:pt x="155" y="134"/>
                  <a:pt x="156" y="132"/>
                  <a:pt x="157" y="132"/>
                </a:cubicBezTo>
                <a:cubicBezTo>
                  <a:pt x="159" y="132"/>
                  <a:pt x="160" y="134"/>
                  <a:pt x="160" y="135"/>
                </a:cubicBezTo>
                <a:close/>
                <a:moveTo>
                  <a:pt x="160" y="125"/>
                </a:moveTo>
                <a:cubicBezTo>
                  <a:pt x="160" y="127"/>
                  <a:pt x="160" y="127"/>
                  <a:pt x="160" y="127"/>
                </a:cubicBezTo>
                <a:cubicBezTo>
                  <a:pt x="160" y="129"/>
                  <a:pt x="159" y="130"/>
                  <a:pt x="157" y="130"/>
                </a:cubicBezTo>
                <a:cubicBezTo>
                  <a:pt x="156" y="130"/>
                  <a:pt x="155" y="129"/>
                  <a:pt x="155" y="127"/>
                </a:cubicBezTo>
                <a:cubicBezTo>
                  <a:pt x="155" y="125"/>
                  <a:pt x="155" y="125"/>
                  <a:pt x="155" y="125"/>
                </a:cubicBezTo>
                <a:cubicBezTo>
                  <a:pt x="155" y="123"/>
                  <a:pt x="156" y="122"/>
                  <a:pt x="157" y="122"/>
                </a:cubicBezTo>
                <a:cubicBezTo>
                  <a:pt x="159" y="122"/>
                  <a:pt x="160" y="123"/>
                  <a:pt x="160" y="125"/>
                </a:cubicBezTo>
                <a:close/>
                <a:moveTo>
                  <a:pt x="160" y="103"/>
                </a:moveTo>
                <a:cubicBezTo>
                  <a:pt x="160" y="106"/>
                  <a:pt x="160" y="106"/>
                  <a:pt x="160" y="106"/>
                </a:cubicBezTo>
                <a:cubicBezTo>
                  <a:pt x="160" y="107"/>
                  <a:pt x="159" y="109"/>
                  <a:pt x="157" y="109"/>
                </a:cubicBezTo>
                <a:cubicBezTo>
                  <a:pt x="156" y="109"/>
                  <a:pt x="155" y="107"/>
                  <a:pt x="155" y="106"/>
                </a:cubicBezTo>
                <a:cubicBezTo>
                  <a:pt x="155" y="103"/>
                  <a:pt x="155" y="103"/>
                  <a:pt x="155" y="103"/>
                </a:cubicBezTo>
                <a:cubicBezTo>
                  <a:pt x="155" y="102"/>
                  <a:pt x="156" y="101"/>
                  <a:pt x="157" y="101"/>
                </a:cubicBezTo>
                <a:cubicBezTo>
                  <a:pt x="159" y="101"/>
                  <a:pt x="160" y="102"/>
                  <a:pt x="160" y="103"/>
                </a:cubicBezTo>
                <a:close/>
                <a:moveTo>
                  <a:pt x="160" y="84"/>
                </a:moveTo>
                <a:cubicBezTo>
                  <a:pt x="160" y="85"/>
                  <a:pt x="160" y="85"/>
                  <a:pt x="160" y="85"/>
                </a:cubicBezTo>
                <a:cubicBezTo>
                  <a:pt x="160" y="86"/>
                  <a:pt x="159" y="87"/>
                  <a:pt x="157" y="87"/>
                </a:cubicBezTo>
                <a:cubicBezTo>
                  <a:pt x="156" y="87"/>
                  <a:pt x="155" y="86"/>
                  <a:pt x="155" y="85"/>
                </a:cubicBezTo>
                <a:cubicBezTo>
                  <a:pt x="155" y="84"/>
                  <a:pt x="155" y="84"/>
                  <a:pt x="155" y="84"/>
                </a:cubicBezTo>
                <a:cubicBezTo>
                  <a:pt x="155" y="83"/>
                  <a:pt x="155" y="83"/>
                  <a:pt x="155" y="83"/>
                </a:cubicBezTo>
                <a:cubicBezTo>
                  <a:pt x="154" y="81"/>
                  <a:pt x="155" y="80"/>
                  <a:pt x="157" y="80"/>
                </a:cubicBezTo>
                <a:cubicBezTo>
                  <a:pt x="158" y="79"/>
                  <a:pt x="160" y="80"/>
                  <a:pt x="160" y="82"/>
                </a:cubicBezTo>
                <a:cubicBezTo>
                  <a:pt x="160" y="82"/>
                  <a:pt x="160" y="83"/>
                  <a:pt x="160" y="84"/>
                </a:cubicBezTo>
                <a:close/>
                <a:moveTo>
                  <a:pt x="129" y="77"/>
                </a:moveTo>
                <a:cubicBezTo>
                  <a:pt x="128" y="77"/>
                  <a:pt x="126" y="76"/>
                  <a:pt x="126" y="75"/>
                </a:cubicBezTo>
                <a:cubicBezTo>
                  <a:pt x="126" y="73"/>
                  <a:pt x="128" y="72"/>
                  <a:pt x="129" y="72"/>
                </a:cubicBezTo>
                <a:cubicBezTo>
                  <a:pt x="132" y="72"/>
                  <a:pt x="132" y="72"/>
                  <a:pt x="132" y="72"/>
                </a:cubicBezTo>
                <a:cubicBezTo>
                  <a:pt x="133" y="72"/>
                  <a:pt x="134" y="73"/>
                  <a:pt x="134" y="75"/>
                </a:cubicBezTo>
                <a:cubicBezTo>
                  <a:pt x="134" y="76"/>
                  <a:pt x="133" y="77"/>
                  <a:pt x="132" y="77"/>
                </a:cubicBezTo>
                <a:lnTo>
                  <a:pt x="129" y="77"/>
                </a:lnTo>
                <a:close/>
                <a:moveTo>
                  <a:pt x="160" y="93"/>
                </a:moveTo>
                <a:cubicBezTo>
                  <a:pt x="160" y="95"/>
                  <a:pt x="160" y="95"/>
                  <a:pt x="160" y="95"/>
                </a:cubicBezTo>
                <a:cubicBezTo>
                  <a:pt x="160" y="97"/>
                  <a:pt x="159" y="98"/>
                  <a:pt x="157" y="98"/>
                </a:cubicBezTo>
                <a:cubicBezTo>
                  <a:pt x="156" y="98"/>
                  <a:pt x="155" y="97"/>
                  <a:pt x="155" y="95"/>
                </a:cubicBezTo>
                <a:cubicBezTo>
                  <a:pt x="155" y="93"/>
                  <a:pt x="155" y="93"/>
                  <a:pt x="155" y="93"/>
                </a:cubicBezTo>
                <a:cubicBezTo>
                  <a:pt x="155" y="91"/>
                  <a:pt x="156" y="90"/>
                  <a:pt x="157" y="90"/>
                </a:cubicBezTo>
                <a:cubicBezTo>
                  <a:pt x="159" y="90"/>
                  <a:pt x="160" y="91"/>
                  <a:pt x="160" y="93"/>
                </a:cubicBezTo>
                <a:close/>
                <a:moveTo>
                  <a:pt x="140" y="77"/>
                </a:moveTo>
                <a:cubicBezTo>
                  <a:pt x="138" y="77"/>
                  <a:pt x="137" y="76"/>
                  <a:pt x="137" y="75"/>
                </a:cubicBezTo>
                <a:cubicBezTo>
                  <a:pt x="137" y="73"/>
                  <a:pt x="138" y="72"/>
                  <a:pt x="140" y="72"/>
                </a:cubicBezTo>
                <a:cubicBezTo>
                  <a:pt x="142" y="72"/>
                  <a:pt x="142" y="72"/>
                  <a:pt x="142" y="72"/>
                </a:cubicBezTo>
                <a:cubicBezTo>
                  <a:pt x="144" y="72"/>
                  <a:pt x="145" y="73"/>
                  <a:pt x="145" y="75"/>
                </a:cubicBezTo>
                <a:cubicBezTo>
                  <a:pt x="145" y="76"/>
                  <a:pt x="144" y="77"/>
                  <a:pt x="142" y="77"/>
                </a:cubicBezTo>
                <a:lnTo>
                  <a:pt x="140" y="77"/>
                </a:lnTo>
                <a:close/>
                <a:moveTo>
                  <a:pt x="136" y="157"/>
                </a:moveTo>
                <a:cubicBezTo>
                  <a:pt x="136" y="159"/>
                  <a:pt x="135" y="160"/>
                  <a:pt x="133" y="160"/>
                </a:cubicBezTo>
                <a:cubicBezTo>
                  <a:pt x="131" y="160"/>
                  <a:pt x="131" y="160"/>
                  <a:pt x="131" y="160"/>
                </a:cubicBezTo>
                <a:cubicBezTo>
                  <a:pt x="129" y="160"/>
                  <a:pt x="128" y="159"/>
                  <a:pt x="128" y="157"/>
                </a:cubicBezTo>
                <a:cubicBezTo>
                  <a:pt x="128" y="156"/>
                  <a:pt x="129" y="155"/>
                  <a:pt x="131" y="155"/>
                </a:cubicBezTo>
                <a:cubicBezTo>
                  <a:pt x="133" y="155"/>
                  <a:pt x="133" y="155"/>
                  <a:pt x="133" y="155"/>
                </a:cubicBezTo>
                <a:cubicBezTo>
                  <a:pt x="135" y="155"/>
                  <a:pt x="136" y="156"/>
                  <a:pt x="136" y="157"/>
                </a:cubicBezTo>
                <a:close/>
                <a:moveTo>
                  <a:pt x="150" y="78"/>
                </a:moveTo>
                <a:cubicBezTo>
                  <a:pt x="148" y="77"/>
                  <a:pt x="147" y="76"/>
                  <a:pt x="148" y="74"/>
                </a:cubicBezTo>
                <a:cubicBezTo>
                  <a:pt x="148" y="73"/>
                  <a:pt x="149" y="72"/>
                  <a:pt x="151" y="72"/>
                </a:cubicBezTo>
                <a:cubicBezTo>
                  <a:pt x="152" y="73"/>
                  <a:pt x="153" y="73"/>
                  <a:pt x="154" y="74"/>
                </a:cubicBezTo>
                <a:cubicBezTo>
                  <a:pt x="155" y="74"/>
                  <a:pt x="156" y="76"/>
                  <a:pt x="155" y="77"/>
                </a:cubicBezTo>
                <a:cubicBezTo>
                  <a:pt x="155" y="78"/>
                  <a:pt x="154" y="79"/>
                  <a:pt x="153" y="79"/>
                </a:cubicBezTo>
                <a:cubicBezTo>
                  <a:pt x="152" y="79"/>
                  <a:pt x="152" y="78"/>
                  <a:pt x="151" y="78"/>
                </a:cubicBezTo>
                <a:cubicBezTo>
                  <a:pt x="151" y="78"/>
                  <a:pt x="150" y="78"/>
                  <a:pt x="150" y="78"/>
                </a:cubicBezTo>
                <a:close/>
                <a:moveTo>
                  <a:pt x="160" y="146"/>
                </a:moveTo>
                <a:cubicBezTo>
                  <a:pt x="160" y="148"/>
                  <a:pt x="160" y="148"/>
                  <a:pt x="160" y="148"/>
                </a:cubicBezTo>
                <a:cubicBezTo>
                  <a:pt x="160" y="150"/>
                  <a:pt x="159" y="151"/>
                  <a:pt x="157" y="151"/>
                </a:cubicBezTo>
                <a:cubicBezTo>
                  <a:pt x="156" y="151"/>
                  <a:pt x="155" y="150"/>
                  <a:pt x="155" y="148"/>
                </a:cubicBezTo>
                <a:cubicBezTo>
                  <a:pt x="155" y="146"/>
                  <a:pt x="155" y="146"/>
                  <a:pt x="155" y="146"/>
                </a:cubicBezTo>
                <a:cubicBezTo>
                  <a:pt x="155" y="144"/>
                  <a:pt x="156" y="143"/>
                  <a:pt x="157" y="143"/>
                </a:cubicBezTo>
                <a:cubicBezTo>
                  <a:pt x="159" y="143"/>
                  <a:pt x="160" y="144"/>
                  <a:pt x="160" y="146"/>
                </a:cubicBezTo>
                <a:close/>
                <a:moveTo>
                  <a:pt x="156" y="154"/>
                </a:moveTo>
                <a:cubicBezTo>
                  <a:pt x="157" y="155"/>
                  <a:pt x="157" y="156"/>
                  <a:pt x="156" y="157"/>
                </a:cubicBezTo>
                <a:cubicBezTo>
                  <a:pt x="155" y="158"/>
                  <a:pt x="154" y="159"/>
                  <a:pt x="153" y="159"/>
                </a:cubicBezTo>
                <a:cubicBezTo>
                  <a:pt x="152" y="159"/>
                  <a:pt x="152" y="159"/>
                  <a:pt x="152" y="159"/>
                </a:cubicBezTo>
                <a:cubicBezTo>
                  <a:pt x="151" y="159"/>
                  <a:pt x="150" y="159"/>
                  <a:pt x="149" y="158"/>
                </a:cubicBezTo>
                <a:cubicBezTo>
                  <a:pt x="149" y="156"/>
                  <a:pt x="149" y="155"/>
                  <a:pt x="151" y="154"/>
                </a:cubicBezTo>
                <a:cubicBezTo>
                  <a:pt x="151" y="154"/>
                  <a:pt x="152" y="154"/>
                  <a:pt x="152" y="153"/>
                </a:cubicBezTo>
                <a:cubicBezTo>
                  <a:pt x="153" y="152"/>
                  <a:pt x="155" y="152"/>
                  <a:pt x="156" y="154"/>
                </a:cubicBezTo>
                <a:close/>
                <a:moveTo>
                  <a:pt x="137" y="55"/>
                </a:moveTo>
                <a:cubicBezTo>
                  <a:pt x="121" y="39"/>
                  <a:pt x="121" y="39"/>
                  <a:pt x="121" y="39"/>
                </a:cubicBezTo>
                <a:cubicBezTo>
                  <a:pt x="120" y="38"/>
                  <a:pt x="120" y="36"/>
                  <a:pt x="121" y="35"/>
                </a:cubicBezTo>
                <a:cubicBezTo>
                  <a:pt x="122" y="34"/>
                  <a:pt x="124" y="34"/>
                  <a:pt x="125" y="35"/>
                </a:cubicBezTo>
                <a:cubicBezTo>
                  <a:pt x="136" y="47"/>
                  <a:pt x="136" y="47"/>
                  <a:pt x="136" y="47"/>
                </a:cubicBezTo>
                <a:cubicBezTo>
                  <a:pt x="136" y="40"/>
                  <a:pt x="136" y="40"/>
                  <a:pt x="136" y="40"/>
                </a:cubicBezTo>
                <a:cubicBezTo>
                  <a:pt x="136" y="24"/>
                  <a:pt x="123" y="11"/>
                  <a:pt x="107" y="11"/>
                </a:cubicBezTo>
                <a:cubicBezTo>
                  <a:pt x="105" y="11"/>
                  <a:pt x="104" y="9"/>
                  <a:pt x="104" y="8"/>
                </a:cubicBezTo>
                <a:cubicBezTo>
                  <a:pt x="104" y="7"/>
                  <a:pt x="105" y="5"/>
                  <a:pt x="107" y="5"/>
                </a:cubicBezTo>
                <a:cubicBezTo>
                  <a:pt x="126" y="5"/>
                  <a:pt x="141" y="21"/>
                  <a:pt x="141" y="40"/>
                </a:cubicBezTo>
                <a:cubicBezTo>
                  <a:pt x="141" y="47"/>
                  <a:pt x="141" y="47"/>
                  <a:pt x="141" y="47"/>
                </a:cubicBezTo>
                <a:cubicBezTo>
                  <a:pt x="153" y="35"/>
                  <a:pt x="153" y="35"/>
                  <a:pt x="153" y="35"/>
                </a:cubicBezTo>
                <a:cubicBezTo>
                  <a:pt x="154" y="34"/>
                  <a:pt x="156" y="34"/>
                  <a:pt x="157" y="35"/>
                </a:cubicBezTo>
                <a:cubicBezTo>
                  <a:pt x="158" y="36"/>
                  <a:pt x="158" y="38"/>
                  <a:pt x="157" y="39"/>
                </a:cubicBezTo>
                <a:cubicBezTo>
                  <a:pt x="141" y="55"/>
                  <a:pt x="141" y="55"/>
                  <a:pt x="141" y="55"/>
                </a:cubicBezTo>
                <a:cubicBezTo>
                  <a:pt x="140" y="55"/>
                  <a:pt x="140" y="56"/>
                  <a:pt x="140" y="56"/>
                </a:cubicBezTo>
                <a:cubicBezTo>
                  <a:pt x="139" y="56"/>
                  <a:pt x="139" y="56"/>
                  <a:pt x="139" y="56"/>
                </a:cubicBezTo>
                <a:cubicBezTo>
                  <a:pt x="138" y="56"/>
                  <a:pt x="138" y="56"/>
                  <a:pt x="138" y="56"/>
                </a:cubicBezTo>
                <a:cubicBezTo>
                  <a:pt x="137" y="56"/>
                  <a:pt x="137" y="55"/>
                  <a:pt x="137" y="55"/>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1377">
            <a:extLst>
              <a:ext uri="{FF2B5EF4-FFF2-40B4-BE49-F238E27FC236}">
                <a16:creationId xmlns:a16="http://schemas.microsoft.com/office/drawing/2014/main" id="{2CFC23A7-7941-E34C-8F81-6EDE9E01C29A}"/>
              </a:ext>
            </a:extLst>
          </p:cNvPr>
          <p:cNvSpPr>
            <a:spLocks noEditPoints="1"/>
          </p:cNvSpPr>
          <p:nvPr/>
        </p:nvSpPr>
        <p:spPr bwMode="auto">
          <a:xfrm>
            <a:off x="10932957" y="4683125"/>
            <a:ext cx="546100" cy="550863"/>
          </a:xfrm>
          <a:custGeom>
            <a:avLst/>
            <a:gdLst>
              <a:gd name="T0" fmla="*/ 19 w 160"/>
              <a:gd name="T1" fmla="*/ 104 h 160"/>
              <a:gd name="T2" fmla="*/ 19 w 160"/>
              <a:gd name="T3" fmla="*/ 120 h 160"/>
              <a:gd name="T4" fmla="*/ 147 w 160"/>
              <a:gd name="T5" fmla="*/ 104 h 160"/>
              <a:gd name="T6" fmla="*/ 149 w 160"/>
              <a:gd name="T7" fmla="*/ 128 h 160"/>
              <a:gd name="T8" fmla="*/ 99 w 160"/>
              <a:gd name="T9" fmla="*/ 19 h 160"/>
              <a:gd name="T10" fmla="*/ 96 w 160"/>
              <a:gd name="T11" fmla="*/ 16 h 160"/>
              <a:gd name="T12" fmla="*/ 136 w 160"/>
              <a:gd name="T13" fmla="*/ 21 h 160"/>
              <a:gd name="T14" fmla="*/ 152 w 160"/>
              <a:gd name="T15" fmla="*/ 19 h 160"/>
              <a:gd name="T16" fmla="*/ 149 w 160"/>
              <a:gd name="T17" fmla="*/ 16 h 160"/>
              <a:gd name="T18" fmla="*/ 104 w 160"/>
              <a:gd name="T19" fmla="*/ 16 h 160"/>
              <a:gd name="T20" fmla="*/ 128 w 160"/>
              <a:gd name="T21" fmla="*/ 21 h 160"/>
              <a:gd name="T22" fmla="*/ 120 w 160"/>
              <a:gd name="T23" fmla="*/ 19 h 160"/>
              <a:gd name="T24" fmla="*/ 117 w 160"/>
              <a:gd name="T25" fmla="*/ 16 h 160"/>
              <a:gd name="T26" fmla="*/ 80 w 160"/>
              <a:gd name="T27" fmla="*/ 19 h 160"/>
              <a:gd name="T28" fmla="*/ 158 w 160"/>
              <a:gd name="T29" fmla="*/ 74 h 160"/>
              <a:gd name="T30" fmla="*/ 155 w 160"/>
              <a:gd name="T31" fmla="*/ 71 h 160"/>
              <a:gd name="T32" fmla="*/ 152 w 160"/>
              <a:gd name="T33" fmla="*/ 70 h 160"/>
              <a:gd name="T34" fmla="*/ 132 w 160"/>
              <a:gd name="T35" fmla="*/ 69 h 160"/>
              <a:gd name="T36" fmla="*/ 105 w 160"/>
              <a:gd name="T37" fmla="*/ 69 h 160"/>
              <a:gd name="T38" fmla="*/ 83 w 160"/>
              <a:gd name="T39" fmla="*/ 69 h 160"/>
              <a:gd name="T40" fmla="*/ 0 w 160"/>
              <a:gd name="T41" fmla="*/ 81 h 160"/>
              <a:gd name="T42" fmla="*/ 160 w 160"/>
              <a:gd name="T43" fmla="*/ 81 h 160"/>
              <a:gd name="T44" fmla="*/ 86 w 160"/>
              <a:gd name="T45" fmla="*/ 75 h 160"/>
              <a:gd name="T46" fmla="*/ 113 w 160"/>
              <a:gd name="T47" fmla="*/ 75 h 160"/>
              <a:gd name="T48" fmla="*/ 134 w 160"/>
              <a:gd name="T49" fmla="*/ 75 h 160"/>
              <a:gd name="T50" fmla="*/ 72 w 160"/>
              <a:gd name="T51" fmla="*/ 75 h 160"/>
              <a:gd name="T52" fmla="*/ 32 w 160"/>
              <a:gd name="T53" fmla="*/ 75 h 160"/>
              <a:gd name="T54" fmla="*/ 148 w 160"/>
              <a:gd name="T55" fmla="*/ 155 h 160"/>
              <a:gd name="T56" fmla="*/ 151 w 160"/>
              <a:gd name="T57" fmla="*/ 75 h 160"/>
              <a:gd name="T58" fmla="*/ 157 w 160"/>
              <a:gd name="T59" fmla="*/ 56 h 160"/>
              <a:gd name="T60" fmla="*/ 155 w 160"/>
              <a:gd name="T61" fmla="*/ 59 h 160"/>
              <a:gd name="T62" fmla="*/ 157 w 160"/>
              <a:gd name="T63" fmla="*/ 43 h 160"/>
              <a:gd name="T64" fmla="*/ 127 w 160"/>
              <a:gd name="T65" fmla="*/ 0 h 160"/>
              <a:gd name="T66" fmla="*/ 143 w 160"/>
              <a:gd name="T67" fmla="*/ 3 h 160"/>
              <a:gd name="T68" fmla="*/ 146 w 160"/>
              <a:gd name="T69" fmla="*/ 5 h 160"/>
              <a:gd name="T70" fmla="*/ 140 w 160"/>
              <a:gd name="T71" fmla="*/ 3 h 160"/>
              <a:gd name="T72" fmla="*/ 154 w 160"/>
              <a:gd name="T73" fmla="*/ 4 h 160"/>
              <a:gd name="T74" fmla="*/ 154 w 160"/>
              <a:gd name="T75" fmla="*/ 9 h 160"/>
              <a:gd name="T76" fmla="*/ 160 w 160"/>
              <a:gd name="T77" fmla="*/ 27 h 160"/>
              <a:gd name="T78" fmla="*/ 157 w 160"/>
              <a:gd name="T79" fmla="*/ 45 h 160"/>
              <a:gd name="T80" fmla="*/ 155 w 160"/>
              <a:gd name="T81" fmla="*/ 48 h 160"/>
              <a:gd name="T82" fmla="*/ 155 w 160"/>
              <a:gd name="T83" fmla="*/ 16 h 160"/>
              <a:gd name="T84" fmla="*/ 75 w 160"/>
              <a:gd name="T85" fmla="*/ 26 h 160"/>
              <a:gd name="T86" fmla="*/ 72 w 160"/>
              <a:gd name="T87" fmla="*/ 41 h 160"/>
              <a:gd name="T88" fmla="*/ 75 w 160"/>
              <a:gd name="T89" fmla="*/ 44 h 160"/>
              <a:gd name="T90" fmla="*/ 77 w 160"/>
              <a:gd name="T91" fmla="*/ 60 h 160"/>
              <a:gd name="T92" fmla="*/ 114 w 160"/>
              <a:gd name="T93" fmla="*/ 0 h 160"/>
              <a:gd name="T94" fmla="*/ 111 w 160"/>
              <a:gd name="T95" fmla="*/ 3 h 160"/>
              <a:gd name="T96" fmla="*/ 77 w 160"/>
              <a:gd name="T97" fmla="*/ 20 h 160"/>
              <a:gd name="T98" fmla="*/ 75 w 160"/>
              <a:gd name="T99" fmla="*/ 47 h 160"/>
              <a:gd name="T100" fmla="*/ 101 w 160"/>
              <a:gd name="T101" fmla="*/ 3 h 160"/>
              <a:gd name="T102" fmla="*/ 103 w 160"/>
              <a:gd name="T103" fmla="*/ 5 h 160"/>
              <a:gd name="T104" fmla="*/ 98 w 160"/>
              <a:gd name="T105" fmla="*/ 3 h 160"/>
              <a:gd name="T106" fmla="*/ 74 w 160"/>
              <a:gd name="T107" fmla="*/ 6 h 160"/>
              <a:gd name="T108" fmla="*/ 74 w 160"/>
              <a:gd name="T109" fmla="*/ 12 h 160"/>
              <a:gd name="T110" fmla="*/ 85 w 160"/>
              <a:gd name="T111" fmla="*/ 0 h 160"/>
              <a:gd name="T112" fmla="*/ 82 w 160"/>
              <a:gd name="T113" fmla="*/ 5 h 160"/>
              <a:gd name="T114" fmla="*/ 38 w 160"/>
              <a:gd name="T115" fmla="*/ 10 h 160"/>
              <a:gd name="T116" fmla="*/ 58 w 160"/>
              <a:gd name="T117" fmla="*/ 25 h 160"/>
              <a:gd name="T118" fmla="*/ 38 w 160"/>
              <a:gd name="T119" fmla="*/ 38 h 160"/>
              <a:gd name="T120" fmla="*/ 8 w 160"/>
              <a:gd name="T121" fmla="*/ 5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60">
                <a:moveTo>
                  <a:pt x="19" y="104"/>
                </a:moveTo>
                <a:cubicBezTo>
                  <a:pt x="13" y="104"/>
                  <a:pt x="8" y="109"/>
                  <a:pt x="8" y="115"/>
                </a:cubicBezTo>
                <a:cubicBezTo>
                  <a:pt x="8" y="121"/>
                  <a:pt x="13" y="125"/>
                  <a:pt x="19" y="125"/>
                </a:cubicBezTo>
                <a:cubicBezTo>
                  <a:pt x="25" y="125"/>
                  <a:pt x="29" y="121"/>
                  <a:pt x="29" y="115"/>
                </a:cubicBezTo>
                <a:cubicBezTo>
                  <a:pt x="29" y="109"/>
                  <a:pt x="25" y="104"/>
                  <a:pt x="19" y="104"/>
                </a:cubicBezTo>
                <a:close/>
                <a:moveTo>
                  <a:pt x="19" y="120"/>
                </a:moveTo>
                <a:cubicBezTo>
                  <a:pt x="16" y="120"/>
                  <a:pt x="13" y="118"/>
                  <a:pt x="13" y="115"/>
                </a:cubicBezTo>
                <a:cubicBezTo>
                  <a:pt x="13" y="112"/>
                  <a:pt x="16" y="109"/>
                  <a:pt x="19" y="109"/>
                </a:cubicBezTo>
                <a:cubicBezTo>
                  <a:pt x="22" y="109"/>
                  <a:pt x="24" y="112"/>
                  <a:pt x="24" y="115"/>
                </a:cubicBezTo>
                <a:cubicBezTo>
                  <a:pt x="24" y="118"/>
                  <a:pt x="22" y="120"/>
                  <a:pt x="19" y="120"/>
                </a:cubicBezTo>
                <a:close/>
                <a:moveTo>
                  <a:pt x="152" y="104"/>
                </a:moveTo>
                <a:cubicBezTo>
                  <a:pt x="152" y="115"/>
                  <a:pt x="152" y="115"/>
                  <a:pt x="152" y="115"/>
                </a:cubicBezTo>
                <a:cubicBezTo>
                  <a:pt x="152" y="116"/>
                  <a:pt x="151" y="117"/>
                  <a:pt x="149" y="117"/>
                </a:cubicBezTo>
                <a:cubicBezTo>
                  <a:pt x="148" y="117"/>
                  <a:pt x="147" y="116"/>
                  <a:pt x="147" y="115"/>
                </a:cubicBezTo>
                <a:cubicBezTo>
                  <a:pt x="147" y="104"/>
                  <a:pt x="147" y="104"/>
                  <a:pt x="147" y="104"/>
                </a:cubicBezTo>
                <a:cubicBezTo>
                  <a:pt x="147" y="103"/>
                  <a:pt x="148" y="101"/>
                  <a:pt x="149" y="101"/>
                </a:cubicBezTo>
                <a:cubicBezTo>
                  <a:pt x="151" y="101"/>
                  <a:pt x="152" y="103"/>
                  <a:pt x="152" y="104"/>
                </a:cubicBezTo>
                <a:close/>
                <a:moveTo>
                  <a:pt x="152" y="123"/>
                </a:moveTo>
                <a:cubicBezTo>
                  <a:pt x="152" y="125"/>
                  <a:pt x="152" y="125"/>
                  <a:pt x="152" y="125"/>
                </a:cubicBezTo>
                <a:cubicBezTo>
                  <a:pt x="152" y="127"/>
                  <a:pt x="151" y="128"/>
                  <a:pt x="149" y="128"/>
                </a:cubicBezTo>
                <a:cubicBezTo>
                  <a:pt x="148" y="128"/>
                  <a:pt x="147" y="127"/>
                  <a:pt x="147" y="125"/>
                </a:cubicBezTo>
                <a:cubicBezTo>
                  <a:pt x="147" y="123"/>
                  <a:pt x="147" y="123"/>
                  <a:pt x="147" y="123"/>
                </a:cubicBezTo>
                <a:cubicBezTo>
                  <a:pt x="147" y="121"/>
                  <a:pt x="148" y="120"/>
                  <a:pt x="149" y="120"/>
                </a:cubicBezTo>
                <a:cubicBezTo>
                  <a:pt x="151" y="120"/>
                  <a:pt x="152" y="121"/>
                  <a:pt x="152" y="123"/>
                </a:cubicBezTo>
                <a:close/>
                <a:moveTo>
                  <a:pt x="99" y="19"/>
                </a:moveTo>
                <a:cubicBezTo>
                  <a:pt x="99" y="20"/>
                  <a:pt x="97" y="21"/>
                  <a:pt x="96" y="21"/>
                </a:cubicBezTo>
                <a:cubicBezTo>
                  <a:pt x="93" y="21"/>
                  <a:pt x="93" y="21"/>
                  <a:pt x="93" y="21"/>
                </a:cubicBezTo>
                <a:cubicBezTo>
                  <a:pt x="92" y="21"/>
                  <a:pt x="91" y="20"/>
                  <a:pt x="91" y="19"/>
                </a:cubicBezTo>
                <a:cubicBezTo>
                  <a:pt x="91" y="17"/>
                  <a:pt x="92" y="16"/>
                  <a:pt x="93" y="16"/>
                </a:cubicBezTo>
                <a:cubicBezTo>
                  <a:pt x="96" y="16"/>
                  <a:pt x="96" y="16"/>
                  <a:pt x="96" y="16"/>
                </a:cubicBezTo>
                <a:cubicBezTo>
                  <a:pt x="97" y="16"/>
                  <a:pt x="99" y="17"/>
                  <a:pt x="99" y="19"/>
                </a:cubicBezTo>
                <a:close/>
                <a:moveTo>
                  <a:pt x="139" y="16"/>
                </a:moveTo>
                <a:cubicBezTo>
                  <a:pt x="140" y="16"/>
                  <a:pt x="141" y="17"/>
                  <a:pt x="141" y="19"/>
                </a:cubicBezTo>
                <a:cubicBezTo>
                  <a:pt x="141" y="20"/>
                  <a:pt x="140" y="21"/>
                  <a:pt x="139" y="21"/>
                </a:cubicBezTo>
                <a:cubicBezTo>
                  <a:pt x="136" y="21"/>
                  <a:pt x="136" y="21"/>
                  <a:pt x="136" y="21"/>
                </a:cubicBezTo>
                <a:cubicBezTo>
                  <a:pt x="135" y="21"/>
                  <a:pt x="133" y="20"/>
                  <a:pt x="133" y="19"/>
                </a:cubicBezTo>
                <a:cubicBezTo>
                  <a:pt x="133" y="17"/>
                  <a:pt x="135" y="16"/>
                  <a:pt x="136" y="16"/>
                </a:cubicBezTo>
                <a:lnTo>
                  <a:pt x="139" y="16"/>
                </a:lnTo>
                <a:close/>
                <a:moveTo>
                  <a:pt x="149" y="16"/>
                </a:moveTo>
                <a:cubicBezTo>
                  <a:pt x="151" y="16"/>
                  <a:pt x="152" y="17"/>
                  <a:pt x="152" y="19"/>
                </a:cubicBezTo>
                <a:cubicBezTo>
                  <a:pt x="152" y="20"/>
                  <a:pt x="151" y="21"/>
                  <a:pt x="149" y="21"/>
                </a:cubicBezTo>
                <a:cubicBezTo>
                  <a:pt x="147" y="21"/>
                  <a:pt x="147" y="21"/>
                  <a:pt x="147" y="21"/>
                </a:cubicBezTo>
                <a:cubicBezTo>
                  <a:pt x="145" y="21"/>
                  <a:pt x="144" y="20"/>
                  <a:pt x="144" y="19"/>
                </a:cubicBezTo>
                <a:cubicBezTo>
                  <a:pt x="144" y="17"/>
                  <a:pt x="145" y="16"/>
                  <a:pt x="147" y="16"/>
                </a:cubicBezTo>
                <a:lnTo>
                  <a:pt x="149" y="16"/>
                </a:lnTo>
                <a:close/>
                <a:moveTo>
                  <a:pt x="109" y="19"/>
                </a:moveTo>
                <a:cubicBezTo>
                  <a:pt x="109" y="20"/>
                  <a:pt x="108" y="21"/>
                  <a:pt x="107" y="21"/>
                </a:cubicBezTo>
                <a:cubicBezTo>
                  <a:pt x="104" y="21"/>
                  <a:pt x="104" y="21"/>
                  <a:pt x="104" y="21"/>
                </a:cubicBezTo>
                <a:cubicBezTo>
                  <a:pt x="103" y="21"/>
                  <a:pt x="101" y="20"/>
                  <a:pt x="101" y="19"/>
                </a:cubicBezTo>
                <a:cubicBezTo>
                  <a:pt x="101" y="17"/>
                  <a:pt x="103" y="16"/>
                  <a:pt x="104" y="16"/>
                </a:cubicBezTo>
                <a:cubicBezTo>
                  <a:pt x="107" y="16"/>
                  <a:pt x="107" y="16"/>
                  <a:pt x="107" y="16"/>
                </a:cubicBezTo>
                <a:cubicBezTo>
                  <a:pt x="108" y="16"/>
                  <a:pt x="109" y="17"/>
                  <a:pt x="109" y="19"/>
                </a:cubicBezTo>
                <a:close/>
                <a:moveTo>
                  <a:pt x="128" y="16"/>
                </a:moveTo>
                <a:cubicBezTo>
                  <a:pt x="129" y="16"/>
                  <a:pt x="131" y="17"/>
                  <a:pt x="131" y="19"/>
                </a:cubicBezTo>
                <a:cubicBezTo>
                  <a:pt x="131" y="20"/>
                  <a:pt x="129" y="21"/>
                  <a:pt x="128" y="21"/>
                </a:cubicBezTo>
                <a:cubicBezTo>
                  <a:pt x="125" y="21"/>
                  <a:pt x="125" y="21"/>
                  <a:pt x="125" y="21"/>
                </a:cubicBezTo>
                <a:cubicBezTo>
                  <a:pt x="124" y="21"/>
                  <a:pt x="123" y="20"/>
                  <a:pt x="123" y="19"/>
                </a:cubicBezTo>
                <a:cubicBezTo>
                  <a:pt x="123" y="17"/>
                  <a:pt x="124" y="16"/>
                  <a:pt x="125" y="16"/>
                </a:cubicBezTo>
                <a:lnTo>
                  <a:pt x="128" y="16"/>
                </a:lnTo>
                <a:close/>
                <a:moveTo>
                  <a:pt x="120" y="19"/>
                </a:moveTo>
                <a:cubicBezTo>
                  <a:pt x="120" y="20"/>
                  <a:pt x="119" y="21"/>
                  <a:pt x="117" y="21"/>
                </a:cubicBezTo>
                <a:cubicBezTo>
                  <a:pt x="115" y="21"/>
                  <a:pt x="115" y="21"/>
                  <a:pt x="115" y="21"/>
                </a:cubicBezTo>
                <a:cubicBezTo>
                  <a:pt x="113" y="21"/>
                  <a:pt x="112" y="20"/>
                  <a:pt x="112" y="19"/>
                </a:cubicBezTo>
                <a:cubicBezTo>
                  <a:pt x="112" y="17"/>
                  <a:pt x="113" y="16"/>
                  <a:pt x="115" y="16"/>
                </a:cubicBezTo>
                <a:cubicBezTo>
                  <a:pt x="117" y="16"/>
                  <a:pt x="117" y="16"/>
                  <a:pt x="117" y="16"/>
                </a:cubicBezTo>
                <a:cubicBezTo>
                  <a:pt x="119" y="16"/>
                  <a:pt x="120" y="17"/>
                  <a:pt x="120" y="19"/>
                </a:cubicBezTo>
                <a:close/>
                <a:moveTo>
                  <a:pt x="88" y="19"/>
                </a:moveTo>
                <a:cubicBezTo>
                  <a:pt x="88" y="20"/>
                  <a:pt x="87" y="21"/>
                  <a:pt x="85" y="21"/>
                </a:cubicBezTo>
                <a:cubicBezTo>
                  <a:pt x="83" y="21"/>
                  <a:pt x="83" y="21"/>
                  <a:pt x="83" y="21"/>
                </a:cubicBezTo>
                <a:cubicBezTo>
                  <a:pt x="81" y="21"/>
                  <a:pt x="80" y="20"/>
                  <a:pt x="80" y="19"/>
                </a:cubicBezTo>
                <a:cubicBezTo>
                  <a:pt x="80" y="17"/>
                  <a:pt x="81" y="16"/>
                  <a:pt x="83" y="16"/>
                </a:cubicBezTo>
                <a:cubicBezTo>
                  <a:pt x="85" y="16"/>
                  <a:pt x="85" y="16"/>
                  <a:pt x="85" y="16"/>
                </a:cubicBezTo>
                <a:cubicBezTo>
                  <a:pt x="87" y="16"/>
                  <a:pt x="88" y="17"/>
                  <a:pt x="88" y="19"/>
                </a:cubicBezTo>
                <a:close/>
                <a:moveTo>
                  <a:pt x="160" y="79"/>
                </a:moveTo>
                <a:cubicBezTo>
                  <a:pt x="159" y="77"/>
                  <a:pt x="159" y="76"/>
                  <a:pt x="158" y="74"/>
                </a:cubicBezTo>
                <a:cubicBezTo>
                  <a:pt x="159" y="74"/>
                  <a:pt x="160" y="73"/>
                  <a:pt x="160" y="72"/>
                </a:cubicBezTo>
                <a:cubicBezTo>
                  <a:pt x="160" y="69"/>
                  <a:pt x="160" y="69"/>
                  <a:pt x="160" y="69"/>
                </a:cubicBezTo>
                <a:cubicBezTo>
                  <a:pt x="160" y="68"/>
                  <a:pt x="159" y="66"/>
                  <a:pt x="157" y="66"/>
                </a:cubicBezTo>
                <a:cubicBezTo>
                  <a:pt x="156" y="66"/>
                  <a:pt x="155" y="68"/>
                  <a:pt x="155" y="69"/>
                </a:cubicBezTo>
                <a:cubicBezTo>
                  <a:pt x="155" y="71"/>
                  <a:pt x="155" y="71"/>
                  <a:pt x="155" y="71"/>
                </a:cubicBezTo>
                <a:cubicBezTo>
                  <a:pt x="155" y="71"/>
                  <a:pt x="155" y="71"/>
                  <a:pt x="155" y="71"/>
                </a:cubicBezTo>
                <a:cubicBezTo>
                  <a:pt x="154" y="71"/>
                  <a:pt x="154" y="71"/>
                  <a:pt x="153" y="70"/>
                </a:cubicBezTo>
                <a:cubicBezTo>
                  <a:pt x="153" y="70"/>
                  <a:pt x="153" y="70"/>
                  <a:pt x="153" y="70"/>
                </a:cubicBezTo>
                <a:cubicBezTo>
                  <a:pt x="153" y="70"/>
                  <a:pt x="152" y="70"/>
                  <a:pt x="152" y="70"/>
                </a:cubicBezTo>
                <a:cubicBezTo>
                  <a:pt x="152" y="70"/>
                  <a:pt x="152" y="70"/>
                  <a:pt x="152" y="70"/>
                </a:cubicBezTo>
                <a:cubicBezTo>
                  <a:pt x="151" y="70"/>
                  <a:pt x="150" y="69"/>
                  <a:pt x="148" y="69"/>
                </a:cubicBezTo>
                <a:cubicBezTo>
                  <a:pt x="144" y="69"/>
                  <a:pt x="144" y="69"/>
                  <a:pt x="144" y="69"/>
                </a:cubicBezTo>
                <a:cubicBezTo>
                  <a:pt x="142" y="69"/>
                  <a:pt x="142" y="69"/>
                  <a:pt x="142" y="69"/>
                </a:cubicBezTo>
                <a:cubicBezTo>
                  <a:pt x="134" y="69"/>
                  <a:pt x="134" y="69"/>
                  <a:pt x="134" y="69"/>
                </a:cubicBezTo>
                <a:cubicBezTo>
                  <a:pt x="132" y="69"/>
                  <a:pt x="132" y="69"/>
                  <a:pt x="132" y="69"/>
                </a:cubicBezTo>
                <a:cubicBezTo>
                  <a:pt x="125" y="69"/>
                  <a:pt x="125" y="69"/>
                  <a:pt x="125" y="69"/>
                </a:cubicBezTo>
                <a:cubicBezTo>
                  <a:pt x="122" y="69"/>
                  <a:pt x="122" y="69"/>
                  <a:pt x="122" y="69"/>
                </a:cubicBezTo>
                <a:cubicBezTo>
                  <a:pt x="115" y="69"/>
                  <a:pt x="115" y="69"/>
                  <a:pt x="115" y="69"/>
                </a:cubicBezTo>
                <a:cubicBezTo>
                  <a:pt x="113" y="69"/>
                  <a:pt x="113" y="69"/>
                  <a:pt x="113" y="69"/>
                </a:cubicBezTo>
                <a:cubicBezTo>
                  <a:pt x="105" y="69"/>
                  <a:pt x="105" y="69"/>
                  <a:pt x="105" y="69"/>
                </a:cubicBezTo>
                <a:cubicBezTo>
                  <a:pt x="103" y="69"/>
                  <a:pt x="103" y="69"/>
                  <a:pt x="103" y="69"/>
                </a:cubicBezTo>
                <a:cubicBezTo>
                  <a:pt x="95" y="69"/>
                  <a:pt x="95" y="69"/>
                  <a:pt x="95" y="69"/>
                </a:cubicBezTo>
                <a:cubicBezTo>
                  <a:pt x="93" y="69"/>
                  <a:pt x="93" y="69"/>
                  <a:pt x="93" y="69"/>
                </a:cubicBezTo>
                <a:cubicBezTo>
                  <a:pt x="86" y="69"/>
                  <a:pt x="86" y="69"/>
                  <a:pt x="86" y="69"/>
                </a:cubicBezTo>
                <a:cubicBezTo>
                  <a:pt x="83" y="69"/>
                  <a:pt x="83" y="69"/>
                  <a:pt x="83" y="69"/>
                </a:cubicBezTo>
                <a:cubicBezTo>
                  <a:pt x="77" y="69"/>
                  <a:pt x="77" y="69"/>
                  <a:pt x="77" y="69"/>
                </a:cubicBezTo>
                <a:cubicBezTo>
                  <a:pt x="76" y="69"/>
                  <a:pt x="76" y="68"/>
                  <a:pt x="75" y="68"/>
                </a:cubicBezTo>
                <a:cubicBezTo>
                  <a:pt x="74" y="68"/>
                  <a:pt x="73" y="69"/>
                  <a:pt x="72" y="69"/>
                </a:cubicBezTo>
                <a:cubicBezTo>
                  <a:pt x="12" y="69"/>
                  <a:pt x="12" y="69"/>
                  <a:pt x="12" y="69"/>
                </a:cubicBezTo>
                <a:cubicBezTo>
                  <a:pt x="5" y="69"/>
                  <a:pt x="0" y="75"/>
                  <a:pt x="0" y="81"/>
                </a:cubicBezTo>
                <a:cubicBezTo>
                  <a:pt x="0" y="148"/>
                  <a:pt x="0" y="148"/>
                  <a:pt x="0" y="148"/>
                </a:cubicBezTo>
                <a:cubicBezTo>
                  <a:pt x="0" y="155"/>
                  <a:pt x="5" y="160"/>
                  <a:pt x="12" y="160"/>
                </a:cubicBezTo>
                <a:cubicBezTo>
                  <a:pt x="148" y="160"/>
                  <a:pt x="148" y="160"/>
                  <a:pt x="148" y="160"/>
                </a:cubicBezTo>
                <a:cubicBezTo>
                  <a:pt x="155" y="160"/>
                  <a:pt x="160" y="155"/>
                  <a:pt x="160" y="148"/>
                </a:cubicBezTo>
                <a:cubicBezTo>
                  <a:pt x="160" y="81"/>
                  <a:pt x="160" y="81"/>
                  <a:pt x="160" y="81"/>
                </a:cubicBezTo>
                <a:cubicBezTo>
                  <a:pt x="160" y="80"/>
                  <a:pt x="160" y="80"/>
                  <a:pt x="160" y="80"/>
                </a:cubicBezTo>
                <a:cubicBezTo>
                  <a:pt x="160" y="79"/>
                  <a:pt x="160" y="79"/>
                  <a:pt x="160" y="79"/>
                </a:cubicBezTo>
                <a:close/>
                <a:moveTo>
                  <a:pt x="76" y="75"/>
                </a:moveTo>
                <a:cubicBezTo>
                  <a:pt x="83" y="75"/>
                  <a:pt x="83" y="75"/>
                  <a:pt x="83" y="75"/>
                </a:cubicBezTo>
                <a:cubicBezTo>
                  <a:pt x="86" y="75"/>
                  <a:pt x="86" y="75"/>
                  <a:pt x="86" y="75"/>
                </a:cubicBezTo>
                <a:cubicBezTo>
                  <a:pt x="93" y="75"/>
                  <a:pt x="93" y="75"/>
                  <a:pt x="93" y="75"/>
                </a:cubicBezTo>
                <a:cubicBezTo>
                  <a:pt x="95" y="75"/>
                  <a:pt x="95" y="75"/>
                  <a:pt x="95" y="75"/>
                </a:cubicBezTo>
                <a:cubicBezTo>
                  <a:pt x="103" y="75"/>
                  <a:pt x="103" y="75"/>
                  <a:pt x="103" y="75"/>
                </a:cubicBezTo>
                <a:cubicBezTo>
                  <a:pt x="105" y="75"/>
                  <a:pt x="105" y="75"/>
                  <a:pt x="105" y="75"/>
                </a:cubicBezTo>
                <a:cubicBezTo>
                  <a:pt x="113" y="75"/>
                  <a:pt x="113" y="75"/>
                  <a:pt x="113" y="75"/>
                </a:cubicBezTo>
                <a:cubicBezTo>
                  <a:pt x="115" y="75"/>
                  <a:pt x="115" y="75"/>
                  <a:pt x="115" y="75"/>
                </a:cubicBezTo>
                <a:cubicBezTo>
                  <a:pt x="122" y="75"/>
                  <a:pt x="122" y="75"/>
                  <a:pt x="122" y="75"/>
                </a:cubicBezTo>
                <a:cubicBezTo>
                  <a:pt x="125" y="75"/>
                  <a:pt x="125" y="75"/>
                  <a:pt x="125" y="75"/>
                </a:cubicBezTo>
                <a:cubicBezTo>
                  <a:pt x="132" y="75"/>
                  <a:pt x="132" y="75"/>
                  <a:pt x="132" y="75"/>
                </a:cubicBezTo>
                <a:cubicBezTo>
                  <a:pt x="134" y="75"/>
                  <a:pt x="134" y="75"/>
                  <a:pt x="134" y="75"/>
                </a:cubicBezTo>
                <a:cubicBezTo>
                  <a:pt x="139" y="75"/>
                  <a:pt x="139" y="75"/>
                  <a:pt x="139" y="75"/>
                </a:cubicBezTo>
                <a:cubicBezTo>
                  <a:pt x="139" y="155"/>
                  <a:pt x="139" y="155"/>
                  <a:pt x="139" y="155"/>
                </a:cubicBezTo>
                <a:cubicBezTo>
                  <a:pt x="37" y="155"/>
                  <a:pt x="37" y="155"/>
                  <a:pt x="37" y="155"/>
                </a:cubicBezTo>
                <a:cubicBezTo>
                  <a:pt x="37" y="75"/>
                  <a:pt x="37" y="75"/>
                  <a:pt x="37" y="75"/>
                </a:cubicBezTo>
                <a:cubicBezTo>
                  <a:pt x="72" y="75"/>
                  <a:pt x="72" y="75"/>
                  <a:pt x="72" y="75"/>
                </a:cubicBezTo>
                <a:lnTo>
                  <a:pt x="76" y="75"/>
                </a:lnTo>
                <a:close/>
                <a:moveTo>
                  <a:pt x="5" y="148"/>
                </a:moveTo>
                <a:cubicBezTo>
                  <a:pt x="5" y="81"/>
                  <a:pt x="5" y="81"/>
                  <a:pt x="5" y="81"/>
                </a:cubicBezTo>
                <a:cubicBezTo>
                  <a:pt x="5" y="78"/>
                  <a:pt x="8" y="75"/>
                  <a:pt x="12" y="75"/>
                </a:cubicBezTo>
                <a:cubicBezTo>
                  <a:pt x="32" y="75"/>
                  <a:pt x="32" y="75"/>
                  <a:pt x="32" y="75"/>
                </a:cubicBezTo>
                <a:cubicBezTo>
                  <a:pt x="32" y="155"/>
                  <a:pt x="32" y="155"/>
                  <a:pt x="32" y="155"/>
                </a:cubicBezTo>
                <a:cubicBezTo>
                  <a:pt x="12" y="155"/>
                  <a:pt x="12" y="155"/>
                  <a:pt x="12" y="155"/>
                </a:cubicBezTo>
                <a:cubicBezTo>
                  <a:pt x="8" y="155"/>
                  <a:pt x="5" y="152"/>
                  <a:pt x="5" y="148"/>
                </a:cubicBezTo>
                <a:close/>
                <a:moveTo>
                  <a:pt x="155" y="148"/>
                </a:moveTo>
                <a:cubicBezTo>
                  <a:pt x="155" y="152"/>
                  <a:pt x="152" y="155"/>
                  <a:pt x="148" y="155"/>
                </a:cubicBezTo>
                <a:cubicBezTo>
                  <a:pt x="144" y="155"/>
                  <a:pt x="144" y="155"/>
                  <a:pt x="144" y="155"/>
                </a:cubicBezTo>
                <a:cubicBezTo>
                  <a:pt x="144" y="75"/>
                  <a:pt x="144" y="75"/>
                  <a:pt x="144" y="75"/>
                </a:cubicBezTo>
                <a:cubicBezTo>
                  <a:pt x="144" y="75"/>
                  <a:pt x="144" y="75"/>
                  <a:pt x="144" y="75"/>
                </a:cubicBezTo>
                <a:cubicBezTo>
                  <a:pt x="148" y="75"/>
                  <a:pt x="148" y="75"/>
                  <a:pt x="148" y="75"/>
                </a:cubicBezTo>
                <a:cubicBezTo>
                  <a:pt x="149" y="75"/>
                  <a:pt x="150" y="75"/>
                  <a:pt x="151" y="75"/>
                </a:cubicBezTo>
                <a:cubicBezTo>
                  <a:pt x="151" y="75"/>
                  <a:pt x="151" y="76"/>
                  <a:pt x="152" y="76"/>
                </a:cubicBezTo>
                <a:cubicBezTo>
                  <a:pt x="154" y="77"/>
                  <a:pt x="155" y="79"/>
                  <a:pt x="155" y="81"/>
                </a:cubicBezTo>
                <a:lnTo>
                  <a:pt x="155" y="148"/>
                </a:lnTo>
                <a:close/>
                <a:moveTo>
                  <a:pt x="155" y="59"/>
                </a:moveTo>
                <a:cubicBezTo>
                  <a:pt x="155" y="57"/>
                  <a:pt x="156" y="56"/>
                  <a:pt x="157" y="56"/>
                </a:cubicBezTo>
                <a:cubicBezTo>
                  <a:pt x="159" y="56"/>
                  <a:pt x="160" y="57"/>
                  <a:pt x="160" y="59"/>
                </a:cubicBezTo>
                <a:cubicBezTo>
                  <a:pt x="160" y="61"/>
                  <a:pt x="160" y="61"/>
                  <a:pt x="160" y="61"/>
                </a:cubicBezTo>
                <a:cubicBezTo>
                  <a:pt x="160" y="63"/>
                  <a:pt x="159" y="64"/>
                  <a:pt x="157" y="64"/>
                </a:cubicBezTo>
                <a:cubicBezTo>
                  <a:pt x="156" y="64"/>
                  <a:pt x="155" y="63"/>
                  <a:pt x="155" y="61"/>
                </a:cubicBezTo>
                <a:lnTo>
                  <a:pt x="155" y="59"/>
                </a:lnTo>
                <a:close/>
                <a:moveTo>
                  <a:pt x="155" y="37"/>
                </a:moveTo>
                <a:cubicBezTo>
                  <a:pt x="155" y="36"/>
                  <a:pt x="156" y="35"/>
                  <a:pt x="157" y="35"/>
                </a:cubicBezTo>
                <a:cubicBezTo>
                  <a:pt x="159" y="35"/>
                  <a:pt x="160" y="36"/>
                  <a:pt x="160" y="37"/>
                </a:cubicBezTo>
                <a:cubicBezTo>
                  <a:pt x="160" y="40"/>
                  <a:pt x="160" y="40"/>
                  <a:pt x="160" y="40"/>
                </a:cubicBezTo>
                <a:cubicBezTo>
                  <a:pt x="160" y="41"/>
                  <a:pt x="159" y="43"/>
                  <a:pt x="157" y="43"/>
                </a:cubicBezTo>
                <a:cubicBezTo>
                  <a:pt x="156" y="43"/>
                  <a:pt x="155" y="41"/>
                  <a:pt x="155" y="40"/>
                </a:cubicBezTo>
                <a:lnTo>
                  <a:pt x="155" y="37"/>
                </a:lnTo>
                <a:close/>
                <a:moveTo>
                  <a:pt x="122" y="3"/>
                </a:moveTo>
                <a:cubicBezTo>
                  <a:pt x="122" y="1"/>
                  <a:pt x="123" y="0"/>
                  <a:pt x="125" y="0"/>
                </a:cubicBezTo>
                <a:cubicBezTo>
                  <a:pt x="127" y="0"/>
                  <a:pt x="127" y="0"/>
                  <a:pt x="127" y="0"/>
                </a:cubicBezTo>
                <a:cubicBezTo>
                  <a:pt x="129" y="0"/>
                  <a:pt x="130" y="1"/>
                  <a:pt x="130" y="3"/>
                </a:cubicBezTo>
                <a:cubicBezTo>
                  <a:pt x="130" y="4"/>
                  <a:pt x="129" y="5"/>
                  <a:pt x="127" y="5"/>
                </a:cubicBezTo>
                <a:cubicBezTo>
                  <a:pt x="125" y="5"/>
                  <a:pt x="125" y="5"/>
                  <a:pt x="125" y="5"/>
                </a:cubicBezTo>
                <a:cubicBezTo>
                  <a:pt x="123" y="5"/>
                  <a:pt x="122" y="4"/>
                  <a:pt x="122" y="3"/>
                </a:cubicBezTo>
                <a:close/>
                <a:moveTo>
                  <a:pt x="143" y="3"/>
                </a:moveTo>
                <a:cubicBezTo>
                  <a:pt x="143" y="1"/>
                  <a:pt x="144" y="0"/>
                  <a:pt x="146" y="0"/>
                </a:cubicBezTo>
                <a:cubicBezTo>
                  <a:pt x="148" y="0"/>
                  <a:pt x="148" y="0"/>
                  <a:pt x="148" y="0"/>
                </a:cubicBezTo>
                <a:cubicBezTo>
                  <a:pt x="150" y="0"/>
                  <a:pt x="151" y="1"/>
                  <a:pt x="151" y="3"/>
                </a:cubicBezTo>
                <a:cubicBezTo>
                  <a:pt x="151" y="4"/>
                  <a:pt x="150" y="5"/>
                  <a:pt x="148" y="5"/>
                </a:cubicBezTo>
                <a:cubicBezTo>
                  <a:pt x="146" y="5"/>
                  <a:pt x="146" y="5"/>
                  <a:pt x="146" y="5"/>
                </a:cubicBezTo>
                <a:cubicBezTo>
                  <a:pt x="144" y="5"/>
                  <a:pt x="143" y="4"/>
                  <a:pt x="143" y="3"/>
                </a:cubicBezTo>
                <a:close/>
                <a:moveTo>
                  <a:pt x="132" y="3"/>
                </a:moveTo>
                <a:cubicBezTo>
                  <a:pt x="132" y="1"/>
                  <a:pt x="134" y="0"/>
                  <a:pt x="135" y="0"/>
                </a:cubicBezTo>
                <a:cubicBezTo>
                  <a:pt x="138" y="0"/>
                  <a:pt x="138" y="0"/>
                  <a:pt x="138" y="0"/>
                </a:cubicBezTo>
                <a:cubicBezTo>
                  <a:pt x="139" y="0"/>
                  <a:pt x="140" y="1"/>
                  <a:pt x="140" y="3"/>
                </a:cubicBezTo>
                <a:cubicBezTo>
                  <a:pt x="140" y="4"/>
                  <a:pt x="139" y="5"/>
                  <a:pt x="138" y="5"/>
                </a:cubicBezTo>
                <a:cubicBezTo>
                  <a:pt x="135" y="5"/>
                  <a:pt x="135" y="5"/>
                  <a:pt x="135" y="5"/>
                </a:cubicBezTo>
                <a:cubicBezTo>
                  <a:pt x="134" y="5"/>
                  <a:pt x="132" y="4"/>
                  <a:pt x="132" y="3"/>
                </a:cubicBezTo>
                <a:close/>
                <a:moveTo>
                  <a:pt x="153" y="8"/>
                </a:moveTo>
                <a:cubicBezTo>
                  <a:pt x="152" y="7"/>
                  <a:pt x="152" y="5"/>
                  <a:pt x="154" y="4"/>
                </a:cubicBezTo>
                <a:cubicBezTo>
                  <a:pt x="155" y="3"/>
                  <a:pt x="156" y="3"/>
                  <a:pt x="157" y="4"/>
                </a:cubicBezTo>
                <a:cubicBezTo>
                  <a:pt x="158" y="5"/>
                  <a:pt x="159" y="6"/>
                  <a:pt x="159" y="7"/>
                </a:cubicBezTo>
                <a:cubicBezTo>
                  <a:pt x="160" y="9"/>
                  <a:pt x="159" y="10"/>
                  <a:pt x="158" y="11"/>
                </a:cubicBezTo>
                <a:cubicBezTo>
                  <a:pt x="157" y="11"/>
                  <a:pt x="157" y="11"/>
                  <a:pt x="157" y="11"/>
                </a:cubicBezTo>
                <a:cubicBezTo>
                  <a:pt x="156" y="11"/>
                  <a:pt x="155" y="10"/>
                  <a:pt x="154" y="9"/>
                </a:cubicBezTo>
                <a:cubicBezTo>
                  <a:pt x="154" y="9"/>
                  <a:pt x="154" y="8"/>
                  <a:pt x="153" y="8"/>
                </a:cubicBezTo>
                <a:close/>
                <a:moveTo>
                  <a:pt x="155" y="29"/>
                </a:moveTo>
                <a:cubicBezTo>
                  <a:pt x="155" y="27"/>
                  <a:pt x="155" y="27"/>
                  <a:pt x="155" y="27"/>
                </a:cubicBezTo>
                <a:cubicBezTo>
                  <a:pt x="155" y="25"/>
                  <a:pt x="156" y="24"/>
                  <a:pt x="157" y="24"/>
                </a:cubicBezTo>
                <a:cubicBezTo>
                  <a:pt x="159" y="24"/>
                  <a:pt x="160" y="25"/>
                  <a:pt x="160" y="27"/>
                </a:cubicBezTo>
                <a:cubicBezTo>
                  <a:pt x="160" y="29"/>
                  <a:pt x="160" y="29"/>
                  <a:pt x="160" y="29"/>
                </a:cubicBezTo>
                <a:cubicBezTo>
                  <a:pt x="160" y="31"/>
                  <a:pt x="159" y="32"/>
                  <a:pt x="157" y="32"/>
                </a:cubicBezTo>
                <a:cubicBezTo>
                  <a:pt x="156" y="32"/>
                  <a:pt x="155" y="31"/>
                  <a:pt x="155" y="29"/>
                </a:cubicBezTo>
                <a:close/>
                <a:moveTo>
                  <a:pt x="155" y="48"/>
                </a:moveTo>
                <a:cubicBezTo>
                  <a:pt x="155" y="46"/>
                  <a:pt x="156" y="45"/>
                  <a:pt x="157" y="45"/>
                </a:cubicBezTo>
                <a:cubicBezTo>
                  <a:pt x="159" y="45"/>
                  <a:pt x="160" y="46"/>
                  <a:pt x="160" y="48"/>
                </a:cubicBezTo>
                <a:cubicBezTo>
                  <a:pt x="160" y="51"/>
                  <a:pt x="160" y="51"/>
                  <a:pt x="160" y="51"/>
                </a:cubicBezTo>
                <a:cubicBezTo>
                  <a:pt x="160" y="52"/>
                  <a:pt x="159" y="53"/>
                  <a:pt x="157" y="53"/>
                </a:cubicBezTo>
                <a:cubicBezTo>
                  <a:pt x="156" y="53"/>
                  <a:pt x="155" y="52"/>
                  <a:pt x="155" y="51"/>
                </a:cubicBezTo>
                <a:lnTo>
                  <a:pt x="155" y="48"/>
                </a:lnTo>
                <a:close/>
                <a:moveTo>
                  <a:pt x="160" y="16"/>
                </a:moveTo>
                <a:cubicBezTo>
                  <a:pt x="160" y="19"/>
                  <a:pt x="160" y="19"/>
                  <a:pt x="160" y="19"/>
                </a:cubicBezTo>
                <a:cubicBezTo>
                  <a:pt x="160" y="20"/>
                  <a:pt x="159" y="21"/>
                  <a:pt x="157" y="21"/>
                </a:cubicBezTo>
                <a:cubicBezTo>
                  <a:pt x="156" y="21"/>
                  <a:pt x="155" y="20"/>
                  <a:pt x="155" y="19"/>
                </a:cubicBezTo>
                <a:cubicBezTo>
                  <a:pt x="155" y="16"/>
                  <a:pt x="155" y="16"/>
                  <a:pt x="155" y="16"/>
                </a:cubicBezTo>
                <a:cubicBezTo>
                  <a:pt x="155" y="15"/>
                  <a:pt x="156" y="13"/>
                  <a:pt x="157" y="13"/>
                </a:cubicBezTo>
                <a:cubicBezTo>
                  <a:pt x="159" y="13"/>
                  <a:pt x="160" y="15"/>
                  <a:pt x="160" y="16"/>
                </a:cubicBezTo>
                <a:close/>
                <a:moveTo>
                  <a:pt x="72" y="31"/>
                </a:moveTo>
                <a:cubicBezTo>
                  <a:pt x="72" y="28"/>
                  <a:pt x="72" y="28"/>
                  <a:pt x="72" y="28"/>
                </a:cubicBezTo>
                <a:cubicBezTo>
                  <a:pt x="72" y="27"/>
                  <a:pt x="73" y="26"/>
                  <a:pt x="75" y="26"/>
                </a:cubicBezTo>
                <a:cubicBezTo>
                  <a:pt x="76" y="26"/>
                  <a:pt x="77" y="27"/>
                  <a:pt x="77" y="28"/>
                </a:cubicBezTo>
                <a:cubicBezTo>
                  <a:pt x="77" y="31"/>
                  <a:pt x="77" y="31"/>
                  <a:pt x="77" y="31"/>
                </a:cubicBezTo>
                <a:cubicBezTo>
                  <a:pt x="77" y="32"/>
                  <a:pt x="76" y="34"/>
                  <a:pt x="75" y="34"/>
                </a:cubicBezTo>
                <a:cubicBezTo>
                  <a:pt x="73" y="34"/>
                  <a:pt x="72" y="32"/>
                  <a:pt x="72" y="31"/>
                </a:cubicBezTo>
                <a:close/>
                <a:moveTo>
                  <a:pt x="72" y="41"/>
                </a:moveTo>
                <a:cubicBezTo>
                  <a:pt x="72" y="39"/>
                  <a:pt x="72" y="39"/>
                  <a:pt x="72" y="39"/>
                </a:cubicBezTo>
                <a:cubicBezTo>
                  <a:pt x="72" y="37"/>
                  <a:pt x="73" y="36"/>
                  <a:pt x="75" y="36"/>
                </a:cubicBezTo>
                <a:cubicBezTo>
                  <a:pt x="76" y="36"/>
                  <a:pt x="77" y="37"/>
                  <a:pt x="77" y="39"/>
                </a:cubicBezTo>
                <a:cubicBezTo>
                  <a:pt x="77" y="41"/>
                  <a:pt x="77" y="41"/>
                  <a:pt x="77" y="41"/>
                </a:cubicBezTo>
                <a:cubicBezTo>
                  <a:pt x="77" y="43"/>
                  <a:pt x="76" y="44"/>
                  <a:pt x="75" y="44"/>
                </a:cubicBezTo>
                <a:cubicBezTo>
                  <a:pt x="73" y="44"/>
                  <a:pt x="72" y="43"/>
                  <a:pt x="72" y="41"/>
                </a:cubicBezTo>
                <a:close/>
                <a:moveTo>
                  <a:pt x="72" y="63"/>
                </a:moveTo>
                <a:cubicBezTo>
                  <a:pt x="72" y="60"/>
                  <a:pt x="72" y="60"/>
                  <a:pt x="72" y="60"/>
                </a:cubicBezTo>
                <a:cubicBezTo>
                  <a:pt x="72" y="59"/>
                  <a:pt x="73" y="57"/>
                  <a:pt x="75" y="57"/>
                </a:cubicBezTo>
                <a:cubicBezTo>
                  <a:pt x="76" y="57"/>
                  <a:pt x="77" y="59"/>
                  <a:pt x="77" y="60"/>
                </a:cubicBezTo>
                <a:cubicBezTo>
                  <a:pt x="77" y="63"/>
                  <a:pt x="77" y="63"/>
                  <a:pt x="77" y="63"/>
                </a:cubicBezTo>
                <a:cubicBezTo>
                  <a:pt x="77" y="64"/>
                  <a:pt x="76" y="65"/>
                  <a:pt x="75" y="65"/>
                </a:cubicBezTo>
                <a:cubicBezTo>
                  <a:pt x="73" y="65"/>
                  <a:pt x="72" y="64"/>
                  <a:pt x="72" y="63"/>
                </a:cubicBezTo>
                <a:close/>
                <a:moveTo>
                  <a:pt x="111" y="3"/>
                </a:moveTo>
                <a:cubicBezTo>
                  <a:pt x="111" y="1"/>
                  <a:pt x="112" y="0"/>
                  <a:pt x="114" y="0"/>
                </a:cubicBezTo>
                <a:cubicBezTo>
                  <a:pt x="117" y="0"/>
                  <a:pt x="117" y="0"/>
                  <a:pt x="117" y="0"/>
                </a:cubicBezTo>
                <a:cubicBezTo>
                  <a:pt x="118" y="0"/>
                  <a:pt x="119" y="1"/>
                  <a:pt x="119" y="3"/>
                </a:cubicBezTo>
                <a:cubicBezTo>
                  <a:pt x="119" y="4"/>
                  <a:pt x="118" y="5"/>
                  <a:pt x="117" y="5"/>
                </a:cubicBezTo>
                <a:cubicBezTo>
                  <a:pt x="114" y="5"/>
                  <a:pt x="114" y="5"/>
                  <a:pt x="114" y="5"/>
                </a:cubicBezTo>
                <a:cubicBezTo>
                  <a:pt x="112" y="5"/>
                  <a:pt x="111" y="4"/>
                  <a:pt x="111" y="3"/>
                </a:cubicBezTo>
                <a:close/>
                <a:moveTo>
                  <a:pt x="72" y="20"/>
                </a:moveTo>
                <a:cubicBezTo>
                  <a:pt x="72" y="18"/>
                  <a:pt x="72" y="18"/>
                  <a:pt x="72" y="18"/>
                </a:cubicBezTo>
                <a:cubicBezTo>
                  <a:pt x="72" y="16"/>
                  <a:pt x="73" y="15"/>
                  <a:pt x="75" y="15"/>
                </a:cubicBezTo>
                <a:cubicBezTo>
                  <a:pt x="76" y="15"/>
                  <a:pt x="77" y="16"/>
                  <a:pt x="77" y="18"/>
                </a:cubicBezTo>
                <a:cubicBezTo>
                  <a:pt x="77" y="20"/>
                  <a:pt x="77" y="20"/>
                  <a:pt x="77" y="20"/>
                </a:cubicBezTo>
                <a:cubicBezTo>
                  <a:pt x="77" y="22"/>
                  <a:pt x="76" y="23"/>
                  <a:pt x="75" y="23"/>
                </a:cubicBezTo>
                <a:cubicBezTo>
                  <a:pt x="73" y="23"/>
                  <a:pt x="72" y="22"/>
                  <a:pt x="72" y="20"/>
                </a:cubicBezTo>
                <a:close/>
                <a:moveTo>
                  <a:pt x="72" y="52"/>
                </a:moveTo>
                <a:cubicBezTo>
                  <a:pt x="72" y="49"/>
                  <a:pt x="72" y="49"/>
                  <a:pt x="72" y="49"/>
                </a:cubicBezTo>
                <a:cubicBezTo>
                  <a:pt x="72" y="48"/>
                  <a:pt x="73" y="47"/>
                  <a:pt x="75" y="47"/>
                </a:cubicBezTo>
                <a:cubicBezTo>
                  <a:pt x="76" y="47"/>
                  <a:pt x="77" y="48"/>
                  <a:pt x="77" y="49"/>
                </a:cubicBezTo>
                <a:cubicBezTo>
                  <a:pt x="77" y="52"/>
                  <a:pt x="77" y="52"/>
                  <a:pt x="77" y="52"/>
                </a:cubicBezTo>
                <a:cubicBezTo>
                  <a:pt x="77" y="54"/>
                  <a:pt x="76" y="55"/>
                  <a:pt x="75" y="55"/>
                </a:cubicBezTo>
                <a:cubicBezTo>
                  <a:pt x="73" y="55"/>
                  <a:pt x="72" y="54"/>
                  <a:pt x="72" y="52"/>
                </a:cubicBezTo>
                <a:close/>
                <a:moveTo>
                  <a:pt x="101" y="3"/>
                </a:moveTo>
                <a:cubicBezTo>
                  <a:pt x="101" y="1"/>
                  <a:pt x="102" y="0"/>
                  <a:pt x="103" y="0"/>
                </a:cubicBezTo>
                <a:cubicBezTo>
                  <a:pt x="106" y="0"/>
                  <a:pt x="106" y="0"/>
                  <a:pt x="106" y="0"/>
                </a:cubicBezTo>
                <a:cubicBezTo>
                  <a:pt x="107" y="0"/>
                  <a:pt x="109" y="1"/>
                  <a:pt x="109" y="3"/>
                </a:cubicBezTo>
                <a:cubicBezTo>
                  <a:pt x="109" y="4"/>
                  <a:pt x="107" y="5"/>
                  <a:pt x="106" y="5"/>
                </a:cubicBezTo>
                <a:cubicBezTo>
                  <a:pt x="103" y="5"/>
                  <a:pt x="103" y="5"/>
                  <a:pt x="103" y="5"/>
                </a:cubicBezTo>
                <a:cubicBezTo>
                  <a:pt x="102" y="5"/>
                  <a:pt x="101" y="4"/>
                  <a:pt x="101" y="3"/>
                </a:cubicBezTo>
                <a:close/>
                <a:moveTo>
                  <a:pt x="90" y="3"/>
                </a:moveTo>
                <a:cubicBezTo>
                  <a:pt x="90" y="1"/>
                  <a:pt x="91" y="0"/>
                  <a:pt x="93" y="0"/>
                </a:cubicBezTo>
                <a:cubicBezTo>
                  <a:pt x="95" y="0"/>
                  <a:pt x="95" y="0"/>
                  <a:pt x="95" y="0"/>
                </a:cubicBezTo>
                <a:cubicBezTo>
                  <a:pt x="97" y="0"/>
                  <a:pt x="98" y="1"/>
                  <a:pt x="98" y="3"/>
                </a:cubicBezTo>
                <a:cubicBezTo>
                  <a:pt x="98" y="4"/>
                  <a:pt x="97" y="5"/>
                  <a:pt x="95" y="5"/>
                </a:cubicBezTo>
                <a:cubicBezTo>
                  <a:pt x="93" y="5"/>
                  <a:pt x="93" y="5"/>
                  <a:pt x="93" y="5"/>
                </a:cubicBezTo>
                <a:cubicBezTo>
                  <a:pt x="91" y="5"/>
                  <a:pt x="90" y="4"/>
                  <a:pt x="90" y="3"/>
                </a:cubicBezTo>
                <a:close/>
                <a:moveTo>
                  <a:pt x="72" y="9"/>
                </a:moveTo>
                <a:cubicBezTo>
                  <a:pt x="73" y="8"/>
                  <a:pt x="73" y="7"/>
                  <a:pt x="74" y="6"/>
                </a:cubicBezTo>
                <a:cubicBezTo>
                  <a:pt x="74" y="5"/>
                  <a:pt x="76" y="4"/>
                  <a:pt x="77" y="5"/>
                </a:cubicBezTo>
                <a:cubicBezTo>
                  <a:pt x="78" y="6"/>
                  <a:pt x="79" y="7"/>
                  <a:pt x="78" y="9"/>
                </a:cubicBezTo>
                <a:cubicBezTo>
                  <a:pt x="78" y="9"/>
                  <a:pt x="78" y="10"/>
                  <a:pt x="78" y="10"/>
                </a:cubicBezTo>
                <a:cubicBezTo>
                  <a:pt x="77" y="12"/>
                  <a:pt x="76" y="12"/>
                  <a:pt x="75" y="12"/>
                </a:cubicBezTo>
                <a:cubicBezTo>
                  <a:pt x="75" y="12"/>
                  <a:pt x="75" y="12"/>
                  <a:pt x="74" y="12"/>
                </a:cubicBezTo>
                <a:cubicBezTo>
                  <a:pt x="73" y="12"/>
                  <a:pt x="72" y="11"/>
                  <a:pt x="72" y="9"/>
                </a:cubicBezTo>
                <a:close/>
                <a:moveTo>
                  <a:pt x="80" y="3"/>
                </a:moveTo>
                <a:cubicBezTo>
                  <a:pt x="79" y="2"/>
                  <a:pt x="80" y="0"/>
                  <a:pt x="82" y="0"/>
                </a:cubicBezTo>
                <a:cubicBezTo>
                  <a:pt x="82" y="0"/>
                  <a:pt x="83" y="0"/>
                  <a:pt x="84" y="0"/>
                </a:cubicBezTo>
                <a:cubicBezTo>
                  <a:pt x="85" y="0"/>
                  <a:pt x="85" y="0"/>
                  <a:pt x="85" y="0"/>
                </a:cubicBezTo>
                <a:cubicBezTo>
                  <a:pt x="86" y="0"/>
                  <a:pt x="87" y="1"/>
                  <a:pt x="87" y="3"/>
                </a:cubicBezTo>
                <a:cubicBezTo>
                  <a:pt x="87" y="4"/>
                  <a:pt x="86" y="5"/>
                  <a:pt x="85" y="5"/>
                </a:cubicBezTo>
                <a:cubicBezTo>
                  <a:pt x="84" y="5"/>
                  <a:pt x="84" y="5"/>
                  <a:pt x="84" y="5"/>
                </a:cubicBezTo>
                <a:cubicBezTo>
                  <a:pt x="83" y="5"/>
                  <a:pt x="83" y="5"/>
                  <a:pt x="83" y="5"/>
                </a:cubicBezTo>
                <a:cubicBezTo>
                  <a:pt x="82" y="5"/>
                  <a:pt x="82" y="5"/>
                  <a:pt x="82" y="5"/>
                </a:cubicBezTo>
                <a:cubicBezTo>
                  <a:pt x="81" y="5"/>
                  <a:pt x="80" y="5"/>
                  <a:pt x="80" y="3"/>
                </a:cubicBezTo>
                <a:close/>
                <a:moveTo>
                  <a:pt x="8" y="56"/>
                </a:moveTo>
                <a:cubicBezTo>
                  <a:pt x="8" y="37"/>
                  <a:pt x="24" y="21"/>
                  <a:pt x="43" y="21"/>
                </a:cubicBezTo>
                <a:cubicBezTo>
                  <a:pt x="50" y="21"/>
                  <a:pt x="50" y="21"/>
                  <a:pt x="50" y="21"/>
                </a:cubicBezTo>
                <a:cubicBezTo>
                  <a:pt x="38" y="10"/>
                  <a:pt x="38" y="10"/>
                  <a:pt x="38" y="10"/>
                </a:cubicBezTo>
                <a:cubicBezTo>
                  <a:pt x="37" y="9"/>
                  <a:pt x="37" y="7"/>
                  <a:pt x="38" y="6"/>
                </a:cubicBezTo>
                <a:cubicBezTo>
                  <a:pt x="39" y="5"/>
                  <a:pt x="41" y="5"/>
                  <a:pt x="42" y="6"/>
                </a:cubicBezTo>
                <a:cubicBezTo>
                  <a:pt x="58" y="22"/>
                  <a:pt x="58" y="22"/>
                  <a:pt x="58" y="22"/>
                </a:cubicBezTo>
                <a:cubicBezTo>
                  <a:pt x="58" y="22"/>
                  <a:pt x="58" y="23"/>
                  <a:pt x="58" y="23"/>
                </a:cubicBezTo>
                <a:cubicBezTo>
                  <a:pt x="59" y="24"/>
                  <a:pt x="59" y="24"/>
                  <a:pt x="58" y="25"/>
                </a:cubicBezTo>
                <a:cubicBezTo>
                  <a:pt x="58" y="25"/>
                  <a:pt x="58" y="26"/>
                  <a:pt x="58" y="26"/>
                </a:cubicBezTo>
                <a:cubicBezTo>
                  <a:pt x="42" y="42"/>
                  <a:pt x="42" y="42"/>
                  <a:pt x="42" y="42"/>
                </a:cubicBezTo>
                <a:cubicBezTo>
                  <a:pt x="41" y="42"/>
                  <a:pt x="41" y="43"/>
                  <a:pt x="40" y="43"/>
                </a:cubicBezTo>
                <a:cubicBezTo>
                  <a:pt x="39" y="43"/>
                  <a:pt x="39" y="42"/>
                  <a:pt x="38" y="42"/>
                </a:cubicBezTo>
                <a:cubicBezTo>
                  <a:pt x="37" y="41"/>
                  <a:pt x="37" y="39"/>
                  <a:pt x="38" y="38"/>
                </a:cubicBezTo>
                <a:cubicBezTo>
                  <a:pt x="50" y="27"/>
                  <a:pt x="50" y="27"/>
                  <a:pt x="50" y="27"/>
                </a:cubicBezTo>
                <a:cubicBezTo>
                  <a:pt x="43" y="27"/>
                  <a:pt x="43" y="27"/>
                  <a:pt x="43" y="27"/>
                </a:cubicBezTo>
                <a:cubicBezTo>
                  <a:pt x="26" y="27"/>
                  <a:pt x="13" y="40"/>
                  <a:pt x="13" y="56"/>
                </a:cubicBezTo>
                <a:cubicBezTo>
                  <a:pt x="13" y="57"/>
                  <a:pt x="12" y="59"/>
                  <a:pt x="11" y="59"/>
                </a:cubicBezTo>
                <a:cubicBezTo>
                  <a:pt x="9" y="59"/>
                  <a:pt x="8" y="57"/>
                  <a:pt x="8" y="56"/>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1378">
            <a:extLst>
              <a:ext uri="{FF2B5EF4-FFF2-40B4-BE49-F238E27FC236}">
                <a16:creationId xmlns:a16="http://schemas.microsoft.com/office/drawing/2014/main" id="{6A135F4D-E042-BE44-8399-0C022115A8EB}"/>
              </a:ext>
            </a:extLst>
          </p:cNvPr>
          <p:cNvSpPr>
            <a:spLocks noEditPoints="1"/>
          </p:cNvSpPr>
          <p:nvPr/>
        </p:nvSpPr>
        <p:spPr bwMode="auto">
          <a:xfrm>
            <a:off x="10959945" y="5302250"/>
            <a:ext cx="501650" cy="550863"/>
          </a:xfrm>
          <a:custGeom>
            <a:avLst/>
            <a:gdLst>
              <a:gd name="T0" fmla="*/ 85 w 147"/>
              <a:gd name="T1" fmla="*/ 85 h 160"/>
              <a:gd name="T2" fmla="*/ 5 w 147"/>
              <a:gd name="T3" fmla="*/ 123 h 160"/>
              <a:gd name="T4" fmla="*/ 85 w 147"/>
              <a:gd name="T5" fmla="*/ 21 h 160"/>
              <a:gd name="T6" fmla="*/ 88 w 147"/>
              <a:gd name="T7" fmla="*/ 61 h 160"/>
              <a:gd name="T8" fmla="*/ 91 w 147"/>
              <a:gd name="T9" fmla="*/ 12 h 160"/>
              <a:gd name="T10" fmla="*/ 12 w 147"/>
              <a:gd name="T11" fmla="*/ 0 h 160"/>
              <a:gd name="T12" fmla="*/ 0 w 147"/>
              <a:gd name="T13" fmla="*/ 148 h 160"/>
              <a:gd name="T14" fmla="*/ 79 w 147"/>
              <a:gd name="T15" fmla="*/ 160 h 160"/>
              <a:gd name="T16" fmla="*/ 91 w 147"/>
              <a:gd name="T17" fmla="*/ 85 h 160"/>
              <a:gd name="T18" fmla="*/ 12 w 147"/>
              <a:gd name="T19" fmla="*/ 5 h 160"/>
              <a:gd name="T20" fmla="*/ 85 w 147"/>
              <a:gd name="T21" fmla="*/ 12 h 160"/>
              <a:gd name="T22" fmla="*/ 5 w 147"/>
              <a:gd name="T23" fmla="*/ 16 h 160"/>
              <a:gd name="T24" fmla="*/ 12 w 147"/>
              <a:gd name="T25" fmla="*/ 5 h 160"/>
              <a:gd name="T26" fmla="*/ 12 w 147"/>
              <a:gd name="T27" fmla="*/ 155 h 160"/>
              <a:gd name="T28" fmla="*/ 5 w 147"/>
              <a:gd name="T29" fmla="*/ 128 h 160"/>
              <a:gd name="T30" fmla="*/ 85 w 147"/>
              <a:gd name="T31" fmla="*/ 148 h 160"/>
              <a:gd name="T32" fmla="*/ 45 w 147"/>
              <a:gd name="T33" fmla="*/ 131 h 160"/>
              <a:gd name="T34" fmla="*/ 45 w 147"/>
              <a:gd name="T35" fmla="*/ 152 h 160"/>
              <a:gd name="T36" fmla="*/ 45 w 147"/>
              <a:gd name="T37" fmla="*/ 131 h 160"/>
              <a:gd name="T38" fmla="*/ 40 w 147"/>
              <a:gd name="T39" fmla="*/ 141 h 160"/>
              <a:gd name="T40" fmla="*/ 51 w 147"/>
              <a:gd name="T41" fmla="*/ 141 h 160"/>
              <a:gd name="T42" fmla="*/ 32 w 147"/>
              <a:gd name="T43" fmla="*/ 11 h 160"/>
              <a:gd name="T44" fmla="*/ 45 w 147"/>
              <a:gd name="T45" fmla="*/ 8 h 160"/>
              <a:gd name="T46" fmla="*/ 45 w 147"/>
              <a:gd name="T47" fmla="*/ 13 h 160"/>
              <a:gd name="T48" fmla="*/ 32 w 147"/>
              <a:gd name="T49" fmla="*/ 11 h 160"/>
              <a:gd name="T50" fmla="*/ 53 w 147"/>
              <a:gd name="T51" fmla="*/ 8 h 160"/>
              <a:gd name="T52" fmla="*/ 59 w 147"/>
              <a:gd name="T53" fmla="*/ 11 h 160"/>
              <a:gd name="T54" fmla="*/ 53 w 147"/>
              <a:gd name="T55" fmla="*/ 13 h 160"/>
              <a:gd name="T56" fmla="*/ 146 w 147"/>
              <a:gd name="T57" fmla="*/ 74 h 160"/>
              <a:gd name="T58" fmla="*/ 112 w 147"/>
              <a:gd name="T59" fmla="*/ 107 h 160"/>
              <a:gd name="T60" fmla="*/ 110 w 147"/>
              <a:gd name="T61" fmla="*/ 102 h 160"/>
              <a:gd name="T62" fmla="*/ 43 w 147"/>
              <a:gd name="T63" fmla="*/ 75 h 160"/>
              <a:gd name="T64" fmla="*/ 43 w 147"/>
              <a:gd name="T65" fmla="*/ 69 h 160"/>
              <a:gd name="T66" fmla="*/ 110 w 147"/>
              <a:gd name="T67" fmla="*/ 42 h 160"/>
              <a:gd name="T68" fmla="*/ 114 w 147"/>
              <a:gd name="T69" fmla="*/ 38 h 160"/>
              <a:gd name="T70" fmla="*/ 146 w 147"/>
              <a:gd name="T71" fmla="*/ 71 h 160"/>
              <a:gd name="T72" fmla="*/ 146 w 147"/>
              <a:gd name="T73" fmla="*/ 7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7" h="160">
                <a:moveTo>
                  <a:pt x="88" y="83"/>
                </a:moveTo>
                <a:cubicBezTo>
                  <a:pt x="87" y="83"/>
                  <a:pt x="85" y="84"/>
                  <a:pt x="85" y="85"/>
                </a:cubicBezTo>
                <a:cubicBezTo>
                  <a:pt x="85" y="123"/>
                  <a:pt x="85" y="123"/>
                  <a:pt x="85" y="123"/>
                </a:cubicBezTo>
                <a:cubicBezTo>
                  <a:pt x="5" y="123"/>
                  <a:pt x="5" y="123"/>
                  <a:pt x="5" y="123"/>
                </a:cubicBezTo>
                <a:cubicBezTo>
                  <a:pt x="5" y="21"/>
                  <a:pt x="5" y="21"/>
                  <a:pt x="5" y="21"/>
                </a:cubicBezTo>
                <a:cubicBezTo>
                  <a:pt x="85" y="21"/>
                  <a:pt x="85" y="21"/>
                  <a:pt x="85" y="21"/>
                </a:cubicBezTo>
                <a:cubicBezTo>
                  <a:pt x="85" y="59"/>
                  <a:pt x="85" y="59"/>
                  <a:pt x="85" y="59"/>
                </a:cubicBezTo>
                <a:cubicBezTo>
                  <a:pt x="85" y="60"/>
                  <a:pt x="87" y="61"/>
                  <a:pt x="88" y="61"/>
                </a:cubicBezTo>
                <a:cubicBezTo>
                  <a:pt x="89" y="61"/>
                  <a:pt x="91" y="60"/>
                  <a:pt x="91" y="59"/>
                </a:cubicBezTo>
                <a:cubicBezTo>
                  <a:pt x="91" y="12"/>
                  <a:pt x="91" y="12"/>
                  <a:pt x="91" y="12"/>
                </a:cubicBezTo>
                <a:cubicBezTo>
                  <a:pt x="91" y="5"/>
                  <a:pt x="85" y="0"/>
                  <a:pt x="79" y="0"/>
                </a:cubicBez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85"/>
                  <a:pt x="91" y="85"/>
                  <a:pt x="91" y="85"/>
                </a:cubicBezTo>
                <a:cubicBezTo>
                  <a:pt x="91" y="84"/>
                  <a:pt x="89" y="83"/>
                  <a:pt x="88" y="83"/>
                </a:cubicBez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146" y="74"/>
                </a:moveTo>
                <a:cubicBezTo>
                  <a:pt x="114" y="106"/>
                  <a:pt x="114" y="106"/>
                  <a:pt x="114" y="106"/>
                </a:cubicBezTo>
                <a:cubicBezTo>
                  <a:pt x="113" y="106"/>
                  <a:pt x="113" y="107"/>
                  <a:pt x="112" y="107"/>
                </a:cubicBezTo>
                <a:cubicBezTo>
                  <a:pt x="111" y="107"/>
                  <a:pt x="111" y="106"/>
                  <a:pt x="110" y="106"/>
                </a:cubicBezTo>
                <a:cubicBezTo>
                  <a:pt x="109" y="105"/>
                  <a:pt x="109" y="103"/>
                  <a:pt x="110" y="102"/>
                </a:cubicBezTo>
                <a:cubicBezTo>
                  <a:pt x="138" y="75"/>
                  <a:pt x="138" y="75"/>
                  <a:pt x="138" y="75"/>
                </a:cubicBezTo>
                <a:cubicBezTo>
                  <a:pt x="43" y="75"/>
                  <a:pt x="43" y="75"/>
                  <a:pt x="43" y="75"/>
                </a:cubicBezTo>
                <a:cubicBezTo>
                  <a:pt x="41" y="75"/>
                  <a:pt x="40" y="73"/>
                  <a:pt x="40" y="72"/>
                </a:cubicBezTo>
                <a:cubicBezTo>
                  <a:pt x="40" y="71"/>
                  <a:pt x="41" y="69"/>
                  <a:pt x="43" y="69"/>
                </a:cubicBezTo>
                <a:cubicBezTo>
                  <a:pt x="138" y="69"/>
                  <a:pt x="138" y="69"/>
                  <a:pt x="138" y="69"/>
                </a:cubicBezTo>
                <a:cubicBezTo>
                  <a:pt x="110" y="42"/>
                  <a:pt x="110" y="42"/>
                  <a:pt x="110" y="42"/>
                </a:cubicBezTo>
                <a:cubicBezTo>
                  <a:pt x="109" y="41"/>
                  <a:pt x="109" y="39"/>
                  <a:pt x="110" y="38"/>
                </a:cubicBezTo>
                <a:cubicBezTo>
                  <a:pt x="111" y="37"/>
                  <a:pt x="113" y="37"/>
                  <a:pt x="114" y="38"/>
                </a:cubicBezTo>
                <a:cubicBezTo>
                  <a:pt x="146" y="70"/>
                  <a:pt x="146" y="70"/>
                  <a:pt x="146" y="70"/>
                </a:cubicBezTo>
                <a:cubicBezTo>
                  <a:pt x="146" y="70"/>
                  <a:pt x="146" y="71"/>
                  <a:pt x="146" y="71"/>
                </a:cubicBezTo>
                <a:cubicBezTo>
                  <a:pt x="147" y="72"/>
                  <a:pt x="147" y="72"/>
                  <a:pt x="146" y="73"/>
                </a:cubicBezTo>
                <a:cubicBezTo>
                  <a:pt x="146" y="73"/>
                  <a:pt x="146" y="74"/>
                  <a:pt x="146" y="74"/>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1379">
            <a:extLst>
              <a:ext uri="{FF2B5EF4-FFF2-40B4-BE49-F238E27FC236}">
                <a16:creationId xmlns:a16="http://schemas.microsoft.com/office/drawing/2014/main" id="{EACC878F-8867-5243-ADAC-78D33A3E6E36}"/>
              </a:ext>
            </a:extLst>
          </p:cNvPr>
          <p:cNvSpPr>
            <a:spLocks noEditPoints="1"/>
          </p:cNvSpPr>
          <p:nvPr/>
        </p:nvSpPr>
        <p:spPr bwMode="auto">
          <a:xfrm>
            <a:off x="10959945" y="5921375"/>
            <a:ext cx="501650" cy="550863"/>
          </a:xfrm>
          <a:custGeom>
            <a:avLst/>
            <a:gdLst>
              <a:gd name="T0" fmla="*/ 85 w 147"/>
              <a:gd name="T1" fmla="*/ 85 h 160"/>
              <a:gd name="T2" fmla="*/ 5 w 147"/>
              <a:gd name="T3" fmla="*/ 123 h 160"/>
              <a:gd name="T4" fmla="*/ 85 w 147"/>
              <a:gd name="T5" fmla="*/ 21 h 160"/>
              <a:gd name="T6" fmla="*/ 88 w 147"/>
              <a:gd name="T7" fmla="*/ 61 h 160"/>
              <a:gd name="T8" fmla="*/ 91 w 147"/>
              <a:gd name="T9" fmla="*/ 12 h 160"/>
              <a:gd name="T10" fmla="*/ 12 w 147"/>
              <a:gd name="T11" fmla="*/ 0 h 160"/>
              <a:gd name="T12" fmla="*/ 0 w 147"/>
              <a:gd name="T13" fmla="*/ 148 h 160"/>
              <a:gd name="T14" fmla="*/ 79 w 147"/>
              <a:gd name="T15" fmla="*/ 160 h 160"/>
              <a:gd name="T16" fmla="*/ 91 w 147"/>
              <a:gd name="T17" fmla="*/ 85 h 160"/>
              <a:gd name="T18" fmla="*/ 12 w 147"/>
              <a:gd name="T19" fmla="*/ 5 h 160"/>
              <a:gd name="T20" fmla="*/ 85 w 147"/>
              <a:gd name="T21" fmla="*/ 12 h 160"/>
              <a:gd name="T22" fmla="*/ 5 w 147"/>
              <a:gd name="T23" fmla="*/ 16 h 160"/>
              <a:gd name="T24" fmla="*/ 12 w 147"/>
              <a:gd name="T25" fmla="*/ 5 h 160"/>
              <a:gd name="T26" fmla="*/ 12 w 147"/>
              <a:gd name="T27" fmla="*/ 155 h 160"/>
              <a:gd name="T28" fmla="*/ 5 w 147"/>
              <a:gd name="T29" fmla="*/ 128 h 160"/>
              <a:gd name="T30" fmla="*/ 85 w 147"/>
              <a:gd name="T31" fmla="*/ 148 h 160"/>
              <a:gd name="T32" fmla="*/ 45 w 147"/>
              <a:gd name="T33" fmla="*/ 131 h 160"/>
              <a:gd name="T34" fmla="*/ 45 w 147"/>
              <a:gd name="T35" fmla="*/ 152 h 160"/>
              <a:gd name="T36" fmla="*/ 45 w 147"/>
              <a:gd name="T37" fmla="*/ 131 h 160"/>
              <a:gd name="T38" fmla="*/ 40 w 147"/>
              <a:gd name="T39" fmla="*/ 141 h 160"/>
              <a:gd name="T40" fmla="*/ 51 w 147"/>
              <a:gd name="T41" fmla="*/ 141 h 160"/>
              <a:gd name="T42" fmla="*/ 32 w 147"/>
              <a:gd name="T43" fmla="*/ 11 h 160"/>
              <a:gd name="T44" fmla="*/ 45 w 147"/>
              <a:gd name="T45" fmla="*/ 8 h 160"/>
              <a:gd name="T46" fmla="*/ 45 w 147"/>
              <a:gd name="T47" fmla="*/ 13 h 160"/>
              <a:gd name="T48" fmla="*/ 32 w 147"/>
              <a:gd name="T49" fmla="*/ 11 h 160"/>
              <a:gd name="T50" fmla="*/ 53 w 147"/>
              <a:gd name="T51" fmla="*/ 8 h 160"/>
              <a:gd name="T52" fmla="*/ 59 w 147"/>
              <a:gd name="T53" fmla="*/ 11 h 160"/>
              <a:gd name="T54" fmla="*/ 53 w 147"/>
              <a:gd name="T55" fmla="*/ 13 h 160"/>
              <a:gd name="T56" fmla="*/ 147 w 147"/>
              <a:gd name="T57" fmla="*/ 72 h 160"/>
              <a:gd name="T58" fmla="*/ 49 w 147"/>
              <a:gd name="T59" fmla="*/ 75 h 160"/>
              <a:gd name="T60" fmla="*/ 77 w 147"/>
              <a:gd name="T61" fmla="*/ 106 h 160"/>
              <a:gd name="T62" fmla="*/ 73 w 147"/>
              <a:gd name="T63" fmla="*/ 106 h 160"/>
              <a:gd name="T64" fmla="*/ 40 w 147"/>
              <a:gd name="T65" fmla="*/ 73 h 160"/>
              <a:gd name="T66" fmla="*/ 41 w 147"/>
              <a:gd name="T67" fmla="*/ 70 h 160"/>
              <a:gd name="T68" fmla="*/ 77 w 147"/>
              <a:gd name="T69" fmla="*/ 38 h 160"/>
              <a:gd name="T70" fmla="*/ 49 w 147"/>
              <a:gd name="T71" fmla="*/ 69 h 160"/>
              <a:gd name="T72" fmla="*/ 147 w 147"/>
              <a:gd name="T73" fmla="*/ 7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7" h="160">
                <a:moveTo>
                  <a:pt x="88" y="83"/>
                </a:moveTo>
                <a:cubicBezTo>
                  <a:pt x="87" y="83"/>
                  <a:pt x="85" y="84"/>
                  <a:pt x="85" y="85"/>
                </a:cubicBezTo>
                <a:cubicBezTo>
                  <a:pt x="85" y="123"/>
                  <a:pt x="85" y="123"/>
                  <a:pt x="85" y="123"/>
                </a:cubicBezTo>
                <a:cubicBezTo>
                  <a:pt x="5" y="123"/>
                  <a:pt x="5" y="123"/>
                  <a:pt x="5" y="123"/>
                </a:cubicBezTo>
                <a:cubicBezTo>
                  <a:pt x="5" y="21"/>
                  <a:pt x="5" y="21"/>
                  <a:pt x="5" y="21"/>
                </a:cubicBezTo>
                <a:cubicBezTo>
                  <a:pt x="85" y="21"/>
                  <a:pt x="85" y="21"/>
                  <a:pt x="85" y="21"/>
                </a:cubicBezTo>
                <a:cubicBezTo>
                  <a:pt x="85" y="59"/>
                  <a:pt x="85" y="59"/>
                  <a:pt x="85" y="59"/>
                </a:cubicBezTo>
                <a:cubicBezTo>
                  <a:pt x="85" y="60"/>
                  <a:pt x="87" y="61"/>
                  <a:pt x="88" y="61"/>
                </a:cubicBezTo>
                <a:cubicBezTo>
                  <a:pt x="89" y="61"/>
                  <a:pt x="91" y="60"/>
                  <a:pt x="91" y="59"/>
                </a:cubicBezTo>
                <a:cubicBezTo>
                  <a:pt x="91" y="12"/>
                  <a:pt x="91" y="12"/>
                  <a:pt x="91" y="12"/>
                </a:cubicBezTo>
                <a:cubicBezTo>
                  <a:pt x="91" y="5"/>
                  <a:pt x="85" y="0"/>
                  <a:pt x="79" y="0"/>
                </a:cubicBez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85"/>
                  <a:pt x="91" y="85"/>
                  <a:pt x="91" y="85"/>
                </a:cubicBezTo>
                <a:cubicBezTo>
                  <a:pt x="91" y="84"/>
                  <a:pt x="89" y="83"/>
                  <a:pt x="88" y="83"/>
                </a:cubicBez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147" y="72"/>
                </a:moveTo>
                <a:cubicBezTo>
                  <a:pt x="147" y="73"/>
                  <a:pt x="145" y="75"/>
                  <a:pt x="144" y="75"/>
                </a:cubicBezTo>
                <a:cubicBezTo>
                  <a:pt x="49" y="75"/>
                  <a:pt x="49" y="75"/>
                  <a:pt x="49" y="75"/>
                </a:cubicBezTo>
                <a:cubicBezTo>
                  <a:pt x="77" y="102"/>
                  <a:pt x="77" y="102"/>
                  <a:pt x="77" y="102"/>
                </a:cubicBezTo>
                <a:cubicBezTo>
                  <a:pt x="78" y="103"/>
                  <a:pt x="78" y="105"/>
                  <a:pt x="77" y="106"/>
                </a:cubicBezTo>
                <a:cubicBezTo>
                  <a:pt x="76" y="106"/>
                  <a:pt x="75" y="107"/>
                  <a:pt x="75" y="107"/>
                </a:cubicBezTo>
                <a:cubicBezTo>
                  <a:pt x="74" y="107"/>
                  <a:pt x="73" y="106"/>
                  <a:pt x="73" y="106"/>
                </a:cubicBezTo>
                <a:cubicBezTo>
                  <a:pt x="41" y="74"/>
                  <a:pt x="41" y="74"/>
                  <a:pt x="41" y="74"/>
                </a:cubicBezTo>
                <a:cubicBezTo>
                  <a:pt x="41" y="74"/>
                  <a:pt x="40" y="73"/>
                  <a:pt x="40" y="73"/>
                </a:cubicBezTo>
                <a:cubicBezTo>
                  <a:pt x="40" y="72"/>
                  <a:pt x="40" y="72"/>
                  <a:pt x="40" y="71"/>
                </a:cubicBezTo>
                <a:cubicBezTo>
                  <a:pt x="40" y="71"/>
                  <a:pt x="41" y="70"/>
                  <a:pt x="41" y="70"/>
                </a:cubicBezTo>
                <a:cubicBezTo>
                  <a:pt x="73" y="38"/>
                  <a:pt x="73" y="38"/>
                  <a:pt x="73" y="38"/>
                </a:cubicBezTo>
                <a:cubicBezTo>
                  <a:pt x="74" y="37"/>
                  <a:pt x="76" y="37"/>
                  <a:pt x="77" y="38"/>
                </a:cubicBezTo>
                <a:cubicBezTo>
                  <a:pt x="78" y="39"/>
                  <a:pt x="78" y="41"/>
                  <a:pt x="77" y="42"/>
                </a:cubicBezTo>
                <a:cubicBezTo>
                  <a:pt x="49" y="69"/>
                  <a:pt x="49" y="69"/>
                  <a:pt x="49" y="69"/>
                </a:cubicBezTo>
                <a:cubicBezTo>
                  <a:pt x="144" y="69"/>
                  <a:pt x="144" y="69"/>
                  <a:pt x="144" y="69"/>
                </a:cubicBezTo>
                <a:cubicBezTo>
                  <a:pt x="145" y="69"/>
                  <a:pt x="147" y="71"/>
                  <a:pt x="147" y="72"/>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1380">
            <a:extLst>
              <a:ext uri="{FF2B5EF4-FFF2-40B4-BE49-F238E27FC236}">
                <a16:creationId xmlns:a16="http://schemas.microsoft.com/office/drawing/2014/main" id="{E1EA414B-5172-3041-91FF-C2685F797D22}"/>
              </a:ext>
            </a:extLst>
          </p:cNvPr>
          <p:cNvSpPr>
            <a:spLocks noEditPoints="1"/>
          </p:cNvSpPr>
          <p:nvPr/>
        </p:nvSpPr>
        <p:spPr bwMode="auto">
          <a:xfrm>
            <a:off x="9078487" y="3462338"/>
            <a:ext cx="566738" cy="549275"/>
          </a:xfrm>
          <a:custGeom>
            <a:avLst/>
            <a:gdLst>
              <a:gd name="T0" fmla="*/ 49 w 166"/>
              <a:gd name="T1" fmla="*/ 0 h 160"/>
              <a:gd name="T2" fmla="*/ 38 w 166"/>
              <a:gd name="T3" fmla="*/ 148 h 160"/>
              <a:gd name="T4" fmla="*/ 117 w 166"/>
              <a:gd name="T5" fmla="*/ 160 h 160"/>
              <a:gd name="T6" fmla="*/ 128 w 166"/>
              <a:gd name="T7" fmla="*/ 12 h 160"/>
              <a:gd name="T8" fmla="*/ 43 w 166"/>
              <a:gd name="T9" fmla="*/ 21 h 160"/>
              <a:gd name="T10" fmla="*/ 123 w 166"/>
              <a:gd name="T11" fmla="*/ 123 h 160"/>
              <a:gd name="T12" fmla="*/ 43 w 166"/>
              <a:gd name="T13" fmla="*/ 21 h 160"/>
              <a:gd name="T14" fmla="*/ 117 w 166"/>
              <a:gd name="T15" fmla="*/ 5 h 160"/>
              <a:gd name="T16" fmla="*/ 123 w 166"/>
              <a:gd name="T17" fmla="*/ 16 h 160"/>
              <a:gd name="T18" fmla="*/ 43 w 166"/>
              <a:gd name="T19" fmla="*/ 12 h 160"/>
              <a:gd name="T20" fmla="*/ 117 w 166"/>
              <a:gd name="T21" fmla="*/ 155 h 160"/>
              <a:gd name="T22" fmla="*/ 43 w 166"/>
              <a:gd name="T23" fmla="*/ 148 h 160"/>
              <a:gd name="T24" fmla="*/ 123 w 166"/>
              <a:gd name="T25" fmla="*/ 128 h 160"/>
              <a:gd name="T26" fmla="*/ 117 w 166"/>
              <a:gd name="T27" fmla="*/ 155 h 160"/>
              <a:gd name="T28" fmla="*/ 72 w 166"/>
              <a:gd name="T29" fmla="*/ 141 h 160"/>
              <a:gd name="T30" fmla="*/ 94 w 166"/>
              <a:gd name="T31" fmla="*/ 141 h 160"/>
              <a:gd name="T32" fmla="*/ 83 w 166"/>
              <a:gd name="T33" fmla="*/ 147 h 160"/>
              <a:gd name="T34" fmla="*/ 83 w 166"/>
              <a:gd name="T35" fmla="*/ 136 h 160"/>
              <a:gd name="T36" fmla="*/ 83 w 166"/>
              <a:gd name="T37" fmla="*/ 147 h 160"/>
              <a:gd name="T38" fmla="*/ 72 w 166"/>
              <a:gd name="T39" fmla="*/ 8 h 160"/>
              <a:gd name="T40" fmla="*/ 86 w 166"/>
              <a:gd name="T41" fmla="*/ 11 h 160"/>
              <a:gd name="T42" fmla="*/ 72 w 166"/>
              <a:gd name="T43" fmla="*/ 13 h 160"/>
              <a:gd name="T44" fmla="*/ 88 w 166"/>
              <a:gd name="T45" fmla="*/ 11 h 160"/>
              <a:gd name="T46" fmla="*/ 94 w 166"/>
              <a:gd name="T47" fmla="*/ 8 h 160"/>
              <a:gd name="T48" fmla="*/ 94 w 166"/>
              <a:gd name="T49" fmla="*/ 13 h 160"/>
              <a:gd name="T50" fmla="*/ 88 w 166"/>
              <a:gd name="T51" fmla="*/ 11 h 160"/>
              <a:gd name="T52" fmla="*/ 152 w 166"/>
              <a:gd name="T53" fmla="*/ 57 h 160"/>
              <a:gd name="T54" fmla="*/ 150 w 166"/>
              <a:gd name="T55" fmla="*/ 52 h 160"/>
              <a:gd name="T56" fmla="*/ 150 w 166"/>
              <a:gd name="T57" fmla="*/ 12 h 160"/>
              <a:gd name="T58" fmla="*/ 154 w 166"/>
              <a:gd name="T59" fmla="*/ 56 h 160"/>
              <a:gd name="T60" fmla="*/ 143 w 166"/>
              <a:gd name="T61" fmla="*/ 51 h 160"/>
              <a:gd name="T62" fmla="*/ 139 w 166"/>
              <a:gd name="T63" fmla="*/ 51 h 160"/>
              <a:gd name="T64" fmla="*/ 144 w 166"/>
              <a:gd name="T65" fmla="*/ 34 h 160"/>
              <a:gd name="T66" fmla="*/ 139 w 166"/>
              <a:gd name="T67" fmla="*/ 18 h 160"/>
              <a:gd name="T68" fmla="*/ 149 w 166"/>
              <a:gd name="T69" fmla="*/ 34 h 160"/>
              <a:gd name="T70" fmla="*/ 16 w 166"/>
              <a:gd name="T71" fmla="*/ 56 h 160"/>
              <a:gd name="T72" fmla="*/ 12 w 166"/>
              <a:gd name="T73" fmla="*/ 56 h 160"/>
              <a:gd name="T74" fmla="*/ 16 w 166"/>
              <a:gd name="T75" fmla="*/ 12 h 160"/>
              <a:gd name="T76" fmla="*/ 16 w 166"/>
              <a:gd name="T77" fmla="*/ 52 h 160"/>
              <a:gd name="T78" fmla="*/ 22 w 166"/>
              <a:gd name="T79" fmla="*/ 34 h 160"/>
              <a:gd name="T80" fmla="*/ 27 w 166"/>
              <a:gd name="T81" fmla="*/ 50 h 160"/>
              <a:gd name="T82" fmla="*/ 23 w 166"/>
              <a:gd name="T83" fmla="*/ 50 h 160"/>
              <a:gd name="T84" fmla="*/ 23 w 166"/>
              <a:gd name="T85" fmla="*/ 18 h 160"/>
              <a:gd name="T86" fmla="*/ 27 w 166"/>
              <a:gd name="T87" fmla="*/ 2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160">
                <a:moveTo>
                  <a:pt x="117" y="0"/>
                </a:moveTo>
                <a:cubicBezTo>
                  <a:pt x="49" y="0"/>
                  <a:pt x="49" y="0"/>
                  <a:pt x="49" y="0"/>
                </a:cubicBezTo>
                <a:cubicBezTo>
                  <a:pt x="43" y="0"/>
                  <a:pt x="38" y="5"/>
                  <a:pt x="38" y="12"/>
                </a:cubicBezTo>
                <a:cubicBezTo>
                  <a:pt x="38" y="148"/>
                  <a:pt x="38" y="148"/>
                  <a:pt x="38" y="148"/>
                </a:cubicBezTo>
                <a:cubicBezTo>
                  <a:pt x="38" y="155"/>
                  <a:pt x="43" y="160"/>
                  <a:pt x="49" y="160"/>
                </a:cubicBezTo>
                <a:cubicBezTo>
                  <a:pt x="117" y="160"/>
                  <a:pt x="117" y="160"/>
                  <a:pt x="117" y="160"/>
                </a:cubicBezTo>
                <a:cubicBezTo>
                  <a:pt x="123" y="160"/>
                  <a:pt x="128" y="155"/>
                  <a:pt x="128" y="148"/>
                </a:cubicBezTo>
                <a:cubicBezTo>
                  <a:pt x="128" y="12"/>
                  <a:pt x="128" y="12"/>
                  <a:pt x="128" y="12"/>
                </a:cubicBezTo>
                <a:cubicBezTo>
                  <a:pt x="128" y="5"/>
                  <a:pt x="123" y="0"/>
                  <a:pt x="117" y="0"/>
                </a:cubicBezTo>
                <a:close/>
                <a:moveTo>
                  <a:pt x="43" y="21"/>
                </a:moveTo>
                <a:cubicBezTo>
                  <a:pt x="123" y="21"/>
                  <a:pt x="123" y="21"/>
                  <a:pt x="123" y="21"/>
                </a:cubicBezTo>
                <a:cubicBezTo>
                  <a:pt x="123" y="123"/>
                  <a:pt x="123" y="123"/>
                  <a:pt x="123" y="123"/>
                </a:cubicBezTo>
                <a:cubicBezTo>
                  <a:pt x="43" y="123"/>
                  <a:pt x="43" y="123"/>
                  <a:pt x="43" y="123"/>
                </a:cubicBezTo>
                <a:lnTo>
                  <a:pt x="43" y="21"/>
                </a:lnTo>
                <a:close/>
                <a:moveTo>
                  <a:pt x="49" y="5"/>
                </a:moveTo>
                <a:cubicBezTo>
                  <a:pt x="117" y="5"/>
                  <a:pt x="117" y="5"/>
                  <a:pt x="117" y="5"/>
                </a:cubicBezTo>
                <a:cubicBezTo>
                  <a:pt x="120" y="5"/>
                  <a:pt x="123" y="8"/>
                  <a:pt x="123" y="12"/>
                </a:cubicBezTo>
                <a:cubicBezTo>
                  <a:pt x="123" y="16"/>
                  <a:pt x="123" y="16"/>
                  <a:pt x="123" y="16"/>
                </a:cubicBezTo>
                <a:cubicBezTo>
                  <a:pt x="43" y="16"/>
                  <a:pt x="43" y="16"/>
                  <a:pt x="43" y="16"/>
                </a:cubicBezTo>
                <a:cubicBezTo>
                  <a:pt x="43" y="12"/>
                  <a:pt x="43" y="12"/>
                  <a:pt x="43" y="12"/>
                </a:cubicBezTo>
                <a:cubicBezTo>
                  <a:pt x="43" y="8"/>
                  <a:pt x="46" y="5"/>
                  <a:pt x="49" y="5"/>
                </a:cubicBezTo>
                <a:close/>
                <a:moveTo>
                  <a:pt x="117" y="155"/>
                </a:moveTo>
                <a:cubicBezTo>
                  <a:pt x="49" y="155"/>
                  <a:pt x="49" y="155"/>
                  <a:pt x="49" y="155"/>
                </a:cubicBezTo>
                <a:cubicBezTo>
                  <a:pt x="46" y="155"/>
                  <a:pt x="43" y="152"/>
                  <a:pt x="43" y="148"/>
                </a:cubicBezTo>
                <a:cubicBezTo>
                  <a:pt x="43" y="128"/>
                  <a:pt x="43" y="128"/>
                  <a:pt x="43" y="128"/>
                </a:cubicBezTo>
                <a:cubicBezTo>
                  <a:pt x="123" y="128"/>
                  <a:pt x="123" y="128"/>
                  <a:pt x="123" y="128"/>
                </a:cubicBezTo>
                <a:cubicBezTo>
                  <a:pt x="123" y="148"/>
                  <a:pt x="123" y="148"/>
                  <a:pt x="123" y="148"/>
                </a:cubicBezTo>
                <a:cubicBezTo>
                  <a:pt x="123" y="152"/>
                  <a:pt x="120" y="155"/>
                  <a:pt x="117" y="155"/>
                </a:cubicBezTo>
                <a:close/>
                <a:moveTo>
                  <a:pt x="83" y="131"/>
                </a:moveTo>
                <a:cubicBezTo>
                  <a:pt x="77" y="131"/>
                  <a:pt x="72" y="135"/>
                  <a:pt x="72" y="141"/>
                </a:cubicBezTo>
                <a:cubicBezTo>
                  <a:pt x="72" y="147"/>
                  <a:pt x="77" y="152"/>
                  <a:pt x="83" y="152"/>
                </a:cubicBezTo>
                <a:cubicBezTo>
                  <a:pt x="89" y="152"/>
                  <a:pt x="94" y="147"/>
                  <a:pt x="94" y="141"/>
                </a:cubicBezTo>
                <a:cubicBezTo>
                  <a:pt x="94" y="135"/>
                  <a:pt x="89" y="131"/>
                  <a:pt x="83" y="131"/>
                </a:cubicBezTo>
                <a:close/>
                <a:moveTo>
                  <a:pt x="83" y="147"/>
                </a:moveTo>
                <a:cubicBezTo>
                  <a:pt x="80" y="147"/>
                  <a:pt x="78" y="144"/>
                  <a:pt x="78" y="141"/>
                </a:cubicBezTo>
                <a:cubicBezTo>
                  <a:pt x="78" y="138"/>
                  <a:pt x="80" y="136"/>
                  <a:pt x="83" y="136"/>
                </a:cubicBezTo>
                <a:cubicBezTo>
                  <a:pt x="86" y="136"/>
                  <a:pt x="88" y="138"/>
                  <a:pt x="88" y="141"/>
                </a:cubicBezTo>
                <a:cubicBezTo>
                  <a:pt x="88" y="144"/>
                  <a:pt x="86" y="147"/>
                  <a:pt x="83" y="147"/>
                </a:cubicBezTo>
                <a:close/>
                <a:moveTo>
                  <a:pt x="70" y="11"/>
                </a:moveTo>
                <a:cubicBezTo>
                  <a:pt x="70" y="9"/>
                  <a:pt x="71" y="8"/>
                  <a:pt x="72" y="8"/>
                </a:cubicBezTo>
                <a:cubicBezTo>
                  <a:pt x="83" y="8"/>
                  <a:pt x="83" y="8"/>
                  <a:pt x="83" y="8"/>
                </a:cubicBezTo>
                <a:cubicBezTo>
                  <a:pt x="84" y="8"/>
                  <a:pt x="86" y="9"/>
                  <a:pt x="86" y="11"/>
                </a:cubicBezTo>
                <a:cubicBezTo>
                  <a:pt x="86" y="12"/>
                  <a:pt x="84" y="13"/>
                  <a:pt x="83" y="13"/>
                </a:cubicBezTo>
                <a:cubicBezTo>
                  <a:pt x="72" y="13"/>
                  <a:pt x="72" y="13"/>
                  <a:pt x="72" y="13"/>
                </a:cubicBezTo>
                <a:cubicBezTo>
                  <a:pt x="71" y="13"/>
                  <a:pt x="70" y="12"/>
                  <a:pt x="70" y="11"/>
                </a:cubicBezTo>
                <a:close/>
                <a:moveTo>
                  <a:pt x="88" y="11"/>
                </a:moveTo>
                <a:cubicBezTo>
                  <a:pt x="88" y="9"/>
                  <a:pt x="90" y="8"/>
                  <a:pt x="91" y="8"/>
                </a:cubicBezTo>
                <a:cubicBezTo>
                  <a:pt x="94" y="8"/>
                  <a:pt x="94" y="8"/>
                  <a:pt x="94" y="8"/>
                </a:cubicBezTo>
                <a:cubicBezTo>
                  <a:pt x="95" y="8"/>
                  <a:pt x="96" y="9"/>
                  <a:pt x="96" y="11"/>
                </a:cubicBezTo>
                <a:cubicBezTo>
                  <a:pt x="96" y="12"/>
                  <a:pt x="95" y="13"/>
                  <a:pt x="94" y="13"/>
                </a:cubicBezTo>
                <a:cubicBezTo>
                  <a:pt x="91" y="13"/>
                  <a:pt x="91" y="13"/>
                  <a:pt x="91" y="13"/>
                </a:cubicBezTo>
                <a:cubicBezTo>
                  <a:pt x="90" y="13"/>
                  <a:pt x="88" y="12"/>
                  <a:pt x="88" y="11"/>
                </a:cubicBezTo>
                <a:close/>
                <a:moveTo>
                  <a:pt x="154" y="56"/>
                </a:moveTo>
                <a:cubicBezTo>
                  <a:pt x="153" y="56"/>
                  <a:pt x="153" y="57"/>
                  <a:pt x="152" y="57"/>
                </a:cubicBezTo>
                <a:cubicBezTo>
                  <a:pt x="151" y="57"/>
                  <a:pt x="151" y="56"/>
                  <a:pt x="150" y="56"/>
                </a:cubicBezTo>
                <a:cubicBezTo>
                  <a:pt x="149" y="55"/>
                  <a:pt x="149" y="53"/>
                  <a:pt x="150" y="52"/>
                </a:cubicBezTo>
                <a:cubicBezTo>
                  <a:pt x="160" y="42"/>
                  <a:pt x="160" y="26"/>
                  <a:pt x="150" y="16"/>
                </a:cubicBezTo>
                <a:cubicBezTo>
                  <a:pt x="149" y="15"/>
                  <a:pt x="149" y="13"/>
                  <a:pt x="150" y="12"/>
                </a:cubicBezTo>
                <a:cubicBezTo>
                  <a:pt x="151" y="11"/>
                  <a:pt x="153" y="11"/>
                  <a:pt x="154" y="12"/>
                </a:cubicBezTo>
                <a:cubicBezTo>
                  <a:pt x="166" y="24"/>
                  <a:pt x="166" y="44"/>
                  <a:pt x="154" y="56"/>
                </a:cubicBezTo>
                <a:close/>
                <a:moveTo>
                  <a:pt x="149" y="34"/>
                </a:moveTo>
                <a:cubicBezTo>
                  <a:pt x="149" y="40"/>
                  <a:pt x="147" y="46"/>
                  <a:pt x="143" y="51"/>
                </a:cubicBezTo>
                <a:cubicBezTo>
                  <a:pt x="142" y="51"/>
                  <a:pt x="142" y="51"/>
                  <a:pt x="141" y="51"/>
                </a:cubicBezTo>
                <a:cubicBezTo>
                  <a:pt x="140" y="51"/>
                  <a:pt x="139" y="51"/>
                  <a:pt x="139" y="51"/>
                </a:cubicBezTo>
                <a:cubicBezTo>
                  <a:pt x="138" y="49"/>
                  <a:pt x="138" y="48"/>
                  <a:pt x="139" y="47"/>
                </a:cubicBezTo>
                <a:cubicBezTo>
                  <a:pt x="142" y="43"/>
                  <a:pt x="144" y="39"/>
                  <a:pt x="144" y="34"/>
                </a:cubicBezTo>
                <a:cubicBezTo>
                  <a:pt x="144" y="30"/>
                  <a:pt x="142" y="25"/>
                  <a:pt x="139" y="22"/>
                </a:cubicBezTo>
                <a:cubicBezTo>
                  <a:pt x="138" y="21"/>
                  <a:pt x="138" y="19"/>
                  <a:pt x="139" y="18"/>
                </a:cubicBezTo>
                <a:cubicBezTo>
                  <a:pt x="140" y="17"/>
                  <a:pt x="142" y="17"/>
                  <a:pt x="143" y="18"/>
                </a:cubicBezTo>
                <a:cubicBezTo>
                  <a:pt x="147" y="23"/>
                  <a:pt x="149" y="28"/>
                  <a:pt x="149" y="34"/>
                </a:cubicBezTo>
                <a:close/>
                <a:moveTo>
                  <a:pt x="16" y="52"/>
                </a:moveTo>
                <a:cubicBezTo>
                  <a:pt x="17" y="53"/>
                  <a:pt x="17" y="55"/>
                  <a:pt x="16" y="56"/>
                </a:cubicBezTo>
                <a:cubicBezTo>
                  <a:pt x="15" y="56"/>
                  <a:pt x="15" y="57"/>
                  <a:pt x="14" y="57"/>
                </a:cubicBezTo>
                <a:cubicBezTo>
                  <a:pt x="13" y="57"/>
                  <a:pt x="13" y="56"/>
                  <a:pt x="12" y="56"/>
                </a:cubicBezTo>
                <a:cubicBezTo>
                  <a:pt x="0" y="44"/>
                  <a:pt x="0" y="24"/>
                  <a:pt x="12" y="12"/>
                </a:cubicBezTo>
                <a:cubicBezTo>
                  <a:pt x="13" y="11"/>
                  <a:pt x="15" y="11"/>
                  <a:pt x="16" y="12"/>
                </a:cubicBezTo>
                <a:cubicBezTo>
                  <a:pt x="17" y="13"/>
                  <a:pt x="17" y="15"/>
                  <a:pt x="16" y="16"/>
                </a:cubicBezTo>
                <a:cubicBezTo>
                  <a:pt x="6" y="26"/>
                  <a:pt x="6" y="42"/>
                  <a:pt x="16" y="52"/>
                </a:cubicBezTo>
                <a:close/>
                <a:moveTo>
                  <a:pt x="27" y="21"/>
                </a:moveTo>
                <a:cubicBezTo>
                  <a:pt x="24" y="25"/>
                  <a:pt x="22" y="29"/>
                  <a:pt x="22" y="34"/>
                </a:cubicBezTo>
                <a:cubicBezTo>
                  <a:pt x="22" y="38"/>
                  <a:pt x="24" y="43"/>
                  <a:pt x="27" y="46"/>
                </a:cubicBezTo>
                <a:cubicBezTo>
                  <a:pt x="28" y="47"/>
                  <a:pt x="28" y="49"/>
                  <a:pt x="27" y="50"/>
                </a:cubicBezTo>
                <a:cubicBezTo>
                  <a:pt x="27" y="50"/>
                  <a:pt x="26" y="51"/>
                  <a:pt x="25" y="51"/>
                </a:cubicBezTo>
                <a:cubicBezTo>
                  <a:pt x="24" y="51"/>
                  <a:pt x="24" y="50"/>
                  <a:pt x="23" y="50"/>
                </a:cubicBezTo>
                <a:cubicBezTo>
                  <a:pt x="19" y="45"/>
                  <a:pt x="17" y="40"/>
                  <a:pt x="17" y="34"/>
                </a:cubicBezTo>
                <a:cubicBezTo>
                  <a:pt x="17" y="28"/>
                  <a:pt x="19" y="22"/>
                  <a:pt x="23" y="18"/>
                </a:cubicBezTo>
                <a:cubicBezTo>
                  <a:pt x="24" y="16"/>
                  <a:pt x="26" y="16"/>
                  <a:pt x="27" y="18"/>
                </a:cubicBezTo>
                <a:cubicBezTo>
                  <a:pt x="28" y="19"/>
                  <a:pt x="28" y="20"/>
                  <a:pt x="27" y="21"/>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Freeform 1381">
            <a:extLst>
              <a:ext uri="{FF2B5EF4-FFF2-40B4-BE49-F238E27FC236}">
                <a16:creationId xmlns:a16="http://schemas.microsoft.com/office/drawing/2014/main" id="{17B1E48F-FC00-7740-8213-0CE80E267E03}"/>
              </a:ext>
            </a:extLst>
          </p:cNvPr>
          <p:cNvSpPr>
            <a:spLocks noEditPoints="1"/>
          </p:cNvSpPr>
          <p:nvPr/>
        </p:nvSpPr>
        <p:spPr bwMode="auto">
          <a:xfrm>
            <a:off x="9153100" y="4064000"/>
            <a:ext cx="415925" cy="554038"/>
          </a:xfrm>
          <a:custGeom>
            <a:avLst/>
            <a:gdLst>
              <a:gd name="T0" fmla="*/ 78 w 122"/>
              <a:gd name="T1" fmla="*/ 153 h 161"/>
              <a:gd name="T2" fmla="*/ 78 w 122"/>
              <a:gd name="T3" fmla="*/ 148 h 161"/>
              <a:gd name="T4" fmla="*/ 82 w 122"/>
              <a:gd name="T5" fmla="*/ 144 h 161"/>
              <a:gd name="T6" fmla="*/ 101 w 122"/>
              <a:gd name="T7" fmla="*/ 89 h 161"/>
              <a:gd name="T8" fmla="*/ 90 w 122"/>
              <a:gd name="T9" fmla="*/ 100 h 161"/>
              <a:gd name="T10" fmla="*/ 90 w 122"/>
              <a:gd name="T11" fmla="*/ 94 h 161"/>
              <a:gd name="T12" fmla="*/ 24 w 122"/>
              <a:gd name="T13" fmla="*/ 32 h 161"/>
              <a:gd name="T14" fmla="*/ 33 w 122"/>
              <a:gd name="T15" fmla="*/ 23 h 161"/>
              <a:gd name="T16" fmla="*/ 26 w 122"/>
              <a:gd name="T17" fmla="*/ 33 h 161"/>
              <a:gd name="T18" fmla="*/ 119 w 122"/>
              <a:gd name="T19" fmla="*/ 74 h 161"/>
              <a:gd name="T20" fmla="*/ 110 w 122"/>
              <a:gd name="T21" fmla="*/ 52 h 161"/>
              <a:gd name="T22" fmla="*/ 97 w 122"/>
              <a:gd name="T23" fmla="*/ 38 h 161"/>
              <a:gd name="T24" fmla="*/ 83 w 122"/>
              <a:gd name="T25" fmla="*/ 25 h 161"/>
              <a:gd name="T26" fmla="*/ 70 w 122"/>
              <a:gd name="T27" fmla="*/ 12 h 161"/>
              <a:gd name="T28" fmla="*/ 49 w 122"/>
              <a:gd name="T29" fmla="*/ 4 h 161"/>
              <a:gd name="T30" fmla="*/ 4 w 122"/>
              <a:gd name="T31" fmla="*/ 49 h 161"/>
              <a:gd name="T32" fmla="*/ 21 w 122"/>
              <a:gd name="T33" fmla="*/ 82 h 161"/>
              <a:gd name="T34" fmla="*/ 55 w 122"/>
              <a:gd name="T35" fmla="*/ 122 h 161"/>
              <a:gd name="T36" fmla="*/ 50 w 122"/>
              <a:gd name="T37" fmla="*/ 161 h 161"/>
              <a:gd name="T38" fmla="*/ 119 w 122"/>
              <a:gd name="T39" fmla="*/ 126 h 161"/>
              <a:gd name="T40" fmla="*/ 122 w 122"/>
              <a:gd name="T41" fmla="*/ 101 h 161"/>
              <a:gd name="T42" fmla="*/ 122 w 122"/>
              <a:gd name="T43" fmla="*/ 80 h 161"/>
              <a:gd name="T44" fmla="*/ 105 w 122"/>
              <a:gd name="T45" fmla="*/ 60 h 161"/>
              <a:gd name="T46" fmla="*/ 103 w 122"/>
              <a:gd name="T47" fmla="*/ 50 h 161"/>
              <a:gd name="T48" fmla="*/ 97 w 122"/>
              <a:gd name="T49" fmla="*/ 44 h 161"/>
              <a:gd name="T50" fmla="*/ 87 w 122"/>
              <a:gd name="T51" fmla="*/ 42 h 161"/>
              <a:gd name="T52" fmla="*/ 90 w 122"/>
              <a:gd name="T53" fmla="*/ 37 h 161"/>
              <a:gd name="T54" fmla="*/ 74 w 122"/>
              <a:gd name="T55" fmla="*/ 29 h 161"/>
              <a:gd name="T56" fmla="*/ 7 w 122"/>
              <a:gd name="T57" fmla="*/ 45 h 161"/>
              <a:gd name="T58" fmla="*/ 41 w 122"/>
              <a:gd name="T59" fmla="*/ 7 h 161"/>
              <a:gd name="T60" fmla="*/ 44 w 122"/>
              <a:gd name="T61" fmla="*/ 7 h 161"/>
              <a:gd name="T62" fmla="*/ 14 w 122"/>
              <a:gd name="T63" fmla="*/ 51 h 161"/>
              <a:gd name="T64" fmla="*/ 58 w 122"/>
              <a:gd name="T65" fmla="*/ 21 h 161"/>
              <a:gd name="T66" fmla="*/ 85 w 122"/>
              <a:gd name="T67" fmla="*/ 47 h 161"/>
              <a:gd name="T68" fmla="*/ 100 w 122"/>
              <a:gd name="T69" fmla="*/ 62 h 161"/>
              <a:gd name="T70" fmla="*/ 116 w 122"/>
              <a:gd name="T71" fmla="*/ 83 h 161"/>
              <a:gd name="T72" fmla="*/ 83 w 122"/>
              <a:gd name="T73" fmla="*/ 116 h 161"/>
              <a:gd name="T74" fmla="*/ 59 w 122"/>
              <a:gd name="T75" fmla="*/ 94 h 161"/>
              <a:gd name="T76" fmla="*/ 33 w 122"/>
              <a:gd name="T77" fmla="*/ 70 h 161"/>
              <a:gd name="T78" fmla="*/ 31 w 122"/>
              <a:gd name="T79" fmla="*/ 76 h 161"/>
              <a:gd name="T80" fmla="*/ 59 w 122"/>
              <a:gd name="T81" fmla="*/ 76 h 161"/>
              <a:gd name="T82" fmla="*/ 51 w 122"/>
              <a:gd name="T83" fmla="*/ 89 h 161"/>
              <a:gd name="T84" fmla="*/ 26 w 122"/>
              <a:gd name="T85" fmla="*/ 82 h 161"/>
              <a:gd name="T86" fmla="*/ 55 w 122"/>
              <a:gd name="T87" fmla="*/ 132 h 161"/>
              <a:gd name="T88" fmla="*/ 93 w 122"/>
              <a:gd name="T89" fmla="*/ 156 h 161"/>
              <a:gd name="T90" fmla="*/ 98 w 122"/>
              <a:gd name="T91" fmla="*/ 156 h 161"/>
              <a:gd name="T92" fmla="*/ 114 w 122"/>
              <a:gd name="T93" fmla="*/ 132 h 161"/>
              <a:gd name="T94" fmla="*/ 117 w 122"/>
              <a:gd name="T95" fmla="*/ 101 h 161"/>
              <a:gd name="T96" fmla="*/ 109 w 122"/>
              <a:gd name="T97" fmla="*/ 126 h 161"/>
              <a:gd name="T98" fmla="*/ 61 w 122"/>
              <a:gd name="T99" fmla="*/ 119 h 161"/>
              <a:gd name="T100" fmla="*/ 36 w 122"/>
              <a:gd name="T101" fmla="*/ 94 h 161"/>
              <a:gd name="T102" fmla="*/ 80 w 122"/>
              <a:gd name="T103" fmla="*/ 1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 h="161">
                <a:moveTo>
                  <a:pt x="78" y="134"/>
                </a:moveTo>
                <a:cubicBezTo>
                  <a:pt x="73" y="134"/>
                  <a:pt x="69" y="139"/>
                  <a:pt x="69" y="144"/>
                </a:cubicBezTo>
                <a:cubicBezTo>
                  <a:pt x="69" y="149"/>
                  <a:pt x="73" y="153"/>
                  <a:pt x="78" y="153"/>
                </a:cubicBezTo>
                <a:cubicBezTo>
                  <a:pt x="83" y="153"/>
                  <a:pt x="87" y="149"/>
                  <a:pt x="87" y="144"/>
                </a:cubicBezTo>
                <a:cubicBezTo>
                  <a:pt x="87" y="139"/>
                  <a:pt x="83" y="134"/>
                  <a:pt x="78" y="134"/>
                </a:cubicBezTo>
                <a:close/>
                <a:moveTo>
                  <a:pt x="78" y="148"/>
                </a:moveTo>
                <a:cubicBezTo>
                  <a:pt x="76" y="148"/>
                  <a:pt x="74" y="146"/>
                  <a:pt x="74" y="144"/>
                </a:cubicBezTo>
                <a:cubicBezTo>
                  <a:pt x="74" y="141"/>
                  <a:pt x="76" y="140"/>
                  <a:pt x="78" y="140"/>
                </a:cubicBezTo>
                <a:cubicBezTo>
                  <a:pt x="80" y="140"/>
                  <a:pt x="82" y="141"/>
                  <a:pt x="82" y="144"/>
                </a:cubicBezTo>
                <a:cubicBezTo>
                  <a:pt x="82" y="146"/>
                  <a:pt x="80" y="148"/>
                  <a:pt x="78" y="148"/>
                </a:cubicBezTo>
                <a:close/>
                <a:moveTo>
                  <a:pt x="90" y="100"/>
                </a:moveTo>
                <a:cubicBezTo>
                  <a:pt x="96" y="100"/>
                  <a:pt x="101" y="95"/>
                  <a:pt x="101" y="89"/>
                </a:cubicBezTo>
                <a:cubicBezTo>
                  <a:pt x="101" y="83"/>
                  <a:pt x="96" y="78"/>
                  <a:pt x="90" y="78"/>
                </a:cubicBezTo>
                <a:cubicBezTo>
                  <a:pt x="84" y="78"/>
                  <a:pt x="79" y="83"/>
                  <a:pt x="79" y="89"/>
                </a:cubicBezTo>
                <a:cubicBezTo>
                  <a:pt x="79" y="95"/>
                  <a:pt x="84" y="100"/>
                  <a:pt x="90" y="100"/>
                </a:cubicBezTo>
                <a:close/>
                <a:moveTo>
                  <a:pt x="90" y="84"/>
                </a:moveTo>
                <a:cubicBezTo>
                  <a:pt x="93" y="84"/>
                  <a:pt x="95" y="86"/>
                  <a:pt x="95" y="89"/>
                </a:cubicBezTo>
                <a:cubicBezTo>
                  <a:pt x="95" y="92"/>
                  <a:pt x="93" y="94"/>
                  <a:pt x="90" y="94"/>
                </a:cubicBezTo>
                <a:cubicBezTo>
                  <a:pt x="87" y="94"/>
                  <a:pt x="85" y="92"/>
                  <a:pt x="85" y="89"/>
                </a:cubicBezTo>
                <a:cubicBezTo>
                  <a:pt x="85" y="86"/>
                  <a:pt x="87" y="84"/>
                  <a:pt x="90" y="84"/>
                </a:cubicBezTo>
                <a:close/>
                <a:moveTo>
                  <a:pt x="24" y="32"/>
                </a:moveTo>
                <a:cubicBezTo>
                  <a:pt x="23" y="31"/>
                  <a:pt x="23" y="29"/>
                  <a:pt x="24" y="28"/>
                </a:cubicBezTo>
                <a:cubicBezTo>
                  <a:pt x="29" y="23"/>
                  <a:pt x="29" y="23"/>
                  <a:pt x="29" y="23"/>
                </a:cubicBezTo>
                <a:cubicBezTo>
                  <a:pt x="30" y="22"/>
                  <a:pt x="32" y="22"/>
                  <a:pt x="33" y="23"/>
                </a:cubicBezTo>
                <a:cubicBezTo>
                  <a:pt x="34" y="24"/>
                  <a:pt x="34" y="26"/>
                  <a:pt x="33" y="27"/>
                </a:cubicBezTo>
                <a:cubicBezTo>
                  <a:pt x="28" y="32"/>
                  <a:pt x="28" y="32"/>
                  <a:pt x="28" y="32"/>
                </a:cubicBezTo>
                <a:cubicBezTo>
                  <a:pt x="27" y="33"/>
                  <a:pt x="27" y="33"/>
                  <a:pt x="26" y="33"/>
                </a:cubicBezTo>
                <a:cubicBezTo>
                  <a:pt x="25" y="33"/>
                  <a:pt x="25" y="33"/>
                  <a:pt x="24" y="32"/>
                </a:cubicBezTo>
                <a:close/>
                <a:moveTo>
                  <a:pt x="122" y="80"/>
                </a:moveTo>
                <a:cubicBezTo>
                  <a:pt x="122" y="78"/>
                  <a:pt x="121" y="76"/>
                  <a:pt x="119" y="74"/>
                </a:cubicBezTo>
                <a:cubicBezTo>
                  <a:pt x="118" y="73"/>
                  <a:pt x="118" y="73"/>
                  <a:pt x="118" y="73"/>
                </a:cubicBezTo>
                <a:cubicBezTo>
                  <a:pt x="120" y="70"/>
                  <a:pt x="122" y="67"/>
                  <a:pt x="122" y="64"/>
                </a:cubicBezTo>
                <a:cubicBezTo>
                  <a:pt x="122" y="57"/>
                  <a:pt x="117" y="52"/>
                  <a:pt x="110" y="52"/>
                </a:cubicBezTo>
                <a:cubicBezTo>
                  <a:pt x="109" y="52"/>
                  <a:pt x="109" y="52"/>
                  <a:pt x="108" y="52"/>
                </a:cubicBezTo>
                <a:cubicBezTo>
                  <a:pt x="109" y="51"/>
                  <a:pt x="109" y="51"/>
                  <a:pt x="109" y="50"/>
                </a:cubicBezTo>
                <a:cubicBezTo>
                  <a:pt x="109" y="44"/>
                  <a:pt x="103" y="38"/>
                  <a:pt x="97" y="38"/>
                </a:cubicBezTo>
                <a:cubicBezTo>
                  <a:pt x="96" y="38"/>
                  <a:pt x="96" y="38"/>
                  <a:pt x="95" y="38"/>
                </a:cubicBezTo>
                <a:cubicBezTo>
                  <a:pt x="95" y="38"/>
                  <a:pt x="95" y="37"/>
                  <a:pt x="95" y="37"/>
                </a:cubicBezTo>
                <a:cubicBezTo>
                  <a:pt x="95" y="30"/>
                  <a:pt x="90" y="25"/>
                  <a:pt x="83" y="25"/>
                </a:cubicBezTo>
                <a:cubicBezTo>
                  <a:pt x="83" y="25"/>
                  <a:pt x="82" y="25"/>
                  <a:pt x="82" y="25"/>
                </a:cubicBezTo>
                <a:cubicBezTo>
                  <a:pt x="82" y="25"/>
                  <a:pt x="82" y="24"/>
                  <a:pt x="82" y="24"/>
                </a:cubicBezTo>
                <a:cubicBezTo>
                  <a:pt x="82" y="17"/>
                  <a:pt x="77" y="12"/>
                  <a:pt x="70" y="12"/>
                </a:cubicBezTo>
                <a:cubicBezTo>
                  <a:pt x="66" y="12"/>
                  <a:pt x="63" y="13"/>
                  <a:pt x="61" y="16"/>
                </a:cubicBezTo>
                <a:cubicBezTo>
                  <a:pt x="59" y="14"/>
                  <a:pt x="59" y="14"/>
                  <a:pt x="59" y="14"/>
                </a:cubicBezTo>
                <a:cubicBezTo>
                  <a:pt x="49" y="4"/>
                  <a:pt x="49" y="4"/>
                  <a:pt x="49" y="4"/>
                </a:cubicBezTo>
                <a:cubicBezTo>
                  <a:pt x="45" y="0"/>
                  <a:pt x="40" y="0"/>
                  <a:pt x="36" y="4"/>
                </a:cubicBezTo>
                <a:cubicBezTo>
                  <a:pt x="4" y="36"/>
                  <a:pt x="4" y="36"/>
                  <a:pt x="4" y="36"/>
                </a:cubicBezTo>
                <a:cubicBezTo>
                  <a:pt x="0" y="40"/>
                  <a:pt x="0" y="45"/>
                  <a:pt x="4" y="49"/>
                </a:cubicBezTo>
                <a:cubicBezTo>
                  <a:pt x="14" y="59"/>
                  <a:pt x="14" y="59"/>
                  <a:pt x="14" y="59"/>
                </a:cubicBezTo>
                <a:cubicBezTo>
                  <a:pt x="27" y="72"/>
                  <a:pt x="27" y="72"/>
                  <a:pt x="27" y="72"/>
                </a:cubicBezTo>
                <a:cubicBezTo>
                  <a:pt x="23" y="74"/>
                  <a:pt x="21" y="78"/>
                  <a:pt x="21" y="82"/>
                </a:cubicBezTo>
                <a:cubicBezTo>
                  <a:pt x="21" y="87"/>
                  <a:pt x="23" y="90"/>
                  <a:pt x="26" y="92"/>
                </a:cubicBezTo>
                <a:cubicBezTo>
                  <a:pt x="26" y="93"/>
                  <a:pt x="26" y="93"/>
                  <a:pt x="27" y="93"/>
                </a:cubicBezTo>
                <a:cubicBezTo>
                  <a:pt x="55" y="122"/>
                  <a:pt x="55" y="122"/>
                  <a:pt x="55" y="122"/>
                </a:cubicBezTo>
                <a:cubicBezTo>
                  <a:pt x="55" y="126"/>
                  <a:pt x="55" y="126"/>
                  <a:pt x="55" y="126"/>
                </a:cubicBezTo>
                <a:cubicBezTo>
                  <a:pt x="50" y="126"/>
                  <a:pt x="50" y="126"/>
                  <a:pt x="50" y="126"/>
                </a:cubicBezTo>
                <a:cubicBezTo>
                  <a:pt x="50" y="161"/>
                  <a:pt x="50" y="161"/>
                  <a:pt x="50" y="161"/>
                </a:cubicBezTo>
                <a:cubicBezTo>
                  <a:pt x="98" y="161"/>
                  <a:pt x="98" y="161"/>
                  <a:pt x="98" y="161"/>
                </a:cubicBezTo>
                <a:cubicBezTo>
                  <a:pt x="119" y="161"/>
                  <a:pt x="119" y="161"/>
                  <a:pt x="119" y="161"/>
                </a:cubicBezTo>
                <a:cubicBezTo>
                  <a:pt x="119" y="126"/>
                  <a:pt x="119" y="126"/>
                  <a:pt x="119" y="126"/>
                </a:cubicBezTo>
                <a:cubicBezTo>
                  <a:pt x="114" y="126"/>
                  <a:pt x="114" y="126"/>
                  <a:pt x="114" y="126"/>
                </a:cubicBezTo>
                <a:cubicBezTo>
                  <a:pt x="114" y="118"/>
                  <a:pt x="114" y="118"/>
                  <a:pt x="114" y="118"/>
                </a:cubicBezTo>
                <a:cubicBezTo>
                  <a:pt x="119" y="114"/>
                  <a:pt x="122" y="108"/>
                  <a:pt x="122" y="101"/>
                </a:cubicBezTo>
                <a:cubicBezTo>
                  <a:pt x="122" y="96"/>
                  <a:pt x="120" y="92"/>
                  <a:pt x="118" y="88"/>
                </a:cubicBezTo>
                <a:cubicBezTo>
                  <a:pt x="119" y="87"/>
                  <a:pt x="119" y="87"/>
                  <a:pt x="119" y="87"/>
                </a:cubicBezTo>
                <a:cubicBezTo>
                  <a:pt x="121" y="85"/>
                  <a:pt x="122" y="83"/>
                  <a:pt x="122" y="80"/>
                </a:cubicBezTo>
                <a:close/>
                <a:moveTo>
                  <a:pt x="117" y="64"/>
                </a:moveTo>
                <a:cubicBezTo>
                  <a:pt x="117" y="66"/>
                  <a:pt x="116" y="68"/>
                  <a:pt x="114" y="69"/>
                </a:cubicBezTo>
                <a:cubicBezTo>
                  <a:pt x="105" y="60"/>
                  <a:pt x="105" y="60"/>
                  <a:pt x="105" y="60"/>
                </a:cubicBezTo>
                <a:cubicBezTo>
                  <a:pt x="106" y="58"/>
                  <a:pt x="108" y="57"/>
                  <a:pt x="110" y="57"/>
                </a:cubicBezTo>
                <a:cubicBezTo>
                  <a:pt x="114" y="57"/>
                  <a:pt x="117" y="60"/>
                  <a:pt x="117" y="64"/>
                </a:cubicBezTo>
                <a:close/>
                <a:moveTo>
                  <a:pt x="103" y="50"/>
                </a:moveTo>
                <a:cubicBezTo>
                  <a:pt x="103" y="52"/>
                  <a:pt x="102" y="54"/>
                  <a:pt x="101" y="56"/>
                </a:cubicBezTo>
                <a:cubicBezTo>
                  <a:pt x="91" y="46"/>
                  <a:pt x="91" y="46"/>
                  <a:pt x="91" y="46"/>
                </a:cubicBezTo>
                <a:cubicBezTo>
                  <a:pt x="93" y="45"/>
                  <a:pt x="95" y="44"/>
                  <a:pt x="97" y="44"/>
                </a:cubicBezTo>
                <a:cubicBezTo>
                  <a:pt x="100" y="44"/>
                  <a:pt x="103" y="47"/>
                  <a:pt x="103" y="50"/>
                </a:cubicBezTo>
                <a:close/>
                <a:moveTo>
                  <a:pt x="90" y="37"/>
                </a:moveTo>
                <a:cubicBezTo>
                  <a:pt x="90" y="39"/>
                  <a:pt x="89" y="41"/>
                  <a:pt x="87" y="42"/>
                </a:cubicBezTo>
                <a:cubicBezTo>
                  <a:pt x="78" y="33"/>
                  <a:pt x="78" y="33"/>
                  <a:pt x="78" y="33"/>
                </a:cubicBezTo>
                <a:cubicBezTo>
                  <a:pt x="79" y="31"/>
                  <a:pt x="81" y="30"/>
                  <a:pt x="83" y="30"/>
                </a:cubicBezTo>
                <a:cubicBezTo>
                  <a:pt x="87" y="30"/>
                  <a:pt x="90" y="33"/>
                  <a:pt x="90" y="37"/>
                </a:cubicBezTo>
                <a:close/>
                <a:moveTo>
                  <a:pt x="70" y="17"/>
                </a:moveTo>
                <a:cubicBezTo>
                  <a:pt x="74" y="17"/>
                  <a:pt x="77" y="20"/>
                  <a:pt x="77" y="24"/>
                </a:cubicBezTo>
                <a:cubicBezTo>
                  <a:pt x="77" y="26"/>
                  <a:pt x="76" y="28"/>
                  <a:pt x="74" y="29"/>
                </a:cubicBezTo>
                <a:cubicBezTo>
                  <a:pt x="65" y="19"/>
                  <a:pt x="65" y="19"/>
                  <a:pt x="65" y="19"/>
                </a:cubicBezTo>
                <a:cubicBezTo>
                  <a:pt x="66" y="18"/>
                  <a:pt x="68" y="17"/>
                  <a:pt x="70" y="17"/>
                </a:cubicBezTo>
                <a:close/>
                <a:moveTo>
                  <a:pt x="7" y="45"/>
                </a:moveTo>
                <a:cubicBezTo>
                  <a:pt x="6" y="44"/>
                  <a:pt x="6" y="42"/>
                  <a:pt x="7" y="40"/>
                </a:cubicBezTo>
                <a:cubicBezTo>
                  <a:pt x="40" y="7"/>
                  <a:pt x="40" y="7"/>
                  <a:pt x="40" y="7"/>
                </a:cubicBezTo>
                <a:cubicBezTo>
                  <a:pt x="41" y="7"/>
                  <a:pt x="41" y="7"/>
                  <a:pt x="41" y="7"/>
                </a:cubicBezTo>
                <a:cubicBezTo>
                  <a:pt x="41" y="7"/>
                  <a:pt x="42" y="7"/>
                  <a:pt x="42" y="6"/>
                </a:cubicBezTo>
                <a:cubicBezTo>
                  <a:pt x="42" y="6"/>
                  <a:pt x="43" y="6"/>
                  <a:pt x="43" y="6"/>
                </a:cubicBezTo>
                <a:cubicBezTo>
                  <a:pt x="44" y="7"/>
                  <a:pt x="44" y="7"/>
                  <a:pt x="44" y="7"/>
                </a:cubicBezTo>
                <a:cubicBezTo>
                  <a:pt x="44" y="7"/>
                  <a:pt x="45" y="7"/>
                  <a:pt x="45" y="7"/>
                </a:cubicBezTo>
                <a:cubicBezTo>
                  <a:pt x="51" y="14"/>
                  <a:pt x="51" y="14"/>
                  <a:pt x="51" y="14"/>
                </a:cubicBezTo>
                <a:cubicBezTo>
                  <a:pt x="14" y="51"/>
                  <a:pt x="14" y="51"/>
                  <a:pt x="14" y="51"/>
                </a:cubicBezTo>
                <a:lnTo>
                  <a:pt x="7" y="45"/>
                </a:lnTo>
                <a:close/>
                <a:moveTo>
                  <a:pt x="55" y="17"/>
                </a:moveTo>
                <a:cubicBezTo>
                  <a:pt x="58" y="21"/>
                  <a:pt x="58" y="21"/>
                  <a:pt x="58" y="21"/>
                </a:cubicBezTo>
                <a:cubicBezTo>
                  <a:pt x="72" y="34"/>
                  <a:pt x="72" y="34"/>
                  <a:pt x="72" y="34"/>
                </a:cubicBezTo>
                <a:cubicBezTo>
                  <a:pt x="73" y="35"/>
                  <a:pt x="73" y="35"/>
                  <a:pt x="73" y="35"/>
                </a:cubicBezTo>
                <a:cubicBezTo>
                  <a:pt x="85" y="47"/>
                  <a:pt x="85" y="47"/>
                  <a:pt x="85" y="47"/>
                </a:cubicBezTo>
                <a:cubicBezTo>
                  <a:pt x="86" y="49"/>
                  <a:pt x="86" y="49"/>
                  <a:pt x="86" y="49"/>
                </a:cubicBezTo>
                <a:cubicBezTo>
                  <a:pt x="98" y="61"/>
                  <a:pt x="98" y="61"/>
                  <a:pt x="98" y="61"/>
                </a:cubicBezTo>
                <a:cubicBezTo>
                  <a:pt x="100" y="62"/>
                  <a:pt x="100" y="62"/>
                  <a:pt x="100" y="62"/>
                </a:cubicBezTo>
                <a:cubicBezTo>
                  <a:pt x="113" y="75"/>
                  <a:pt x="113" y="75"/>
                  <a:pt x="113" y="75"/>
                </a:cubicBezTo>
                <a:cubicBezTo>
                  <a:pt x="116" y="78"/>
                  <a:pt x="116" y="78"/>
                  <a:pt x="116" y="78"/>
                </a:cubicBezTo>
                <a:cubicBezTo>
                  <a:pt x="117" y="79"/>
                  <a:pt x="117" y="81"/>
                  <a:pt x="116" y="83"/>
                </a:cubicBezTo>
                <a:cubicBezTo>
                  <a:pt x="114" y="84"/>
                  <a:pt x="114" y="84"/>
                  <a:pt x="114" y="84"/>
                </a:cubicBezTo>
                <a:cubicBezTo>
                  <a:pt x="114" y="84"/>
                  <a:pt x="114" y="84"/>
                  <a:pt x="114" y="84"/>
                </a:cubicBezTo>
                <a:cubicBezTo>
                  <a:pt x="83" y="116"/>
                  <a:pt x="83" y="116"/>
                  <a:pt x="83" y="116"/>
                </a:cubicBezTo>
                <a:cubicBezTo>
                  <a:pt x="81" y="117"/>
                  <a:pt x="79" y="117"/>
                  <a:pt x="78" y="116"/>
                </a:cubicBezTo>
                <a:cubicBezTo>
                  <a:pt x="57" y="94"/>
                  <a:pt x="57" y="94"/>
                  <a:pt x="57" y="94"/>
                </a:cubicBezTo>
                <a:cubicBezTo>
                  <a:pt x="59" y="94"/>
                  <a:pt x="59" y="94"/>
                  <a:pt x="59" y="94"/>
                </a:cubicBezTo>
                <a:cubicBezTo>
                  <a:pt x="66" y="94"/>
                  <a:pt x="71" y="89"/>
                  <a:pt x="71" y="82"/>
                </a:cubicBezTo>
                <a:cubicBezTo>
                  <a:pt x="71" y="76"/>
                  <a:pt x="66" y="70"/>
                  <a:pt x="59" y="70"/>
                </a:cubicBezTo>
                <a:cubicBezTo>
                  <a:pt x="33" y="70"/>
                  <a:pt x="33" y="70"/>
                  <a:pt x="33" y="70"/>
                </a:cubicBezTo>
                <a:cubicBezTo>
                  <a:pt x="17" y="55"/>
                  <a:pt x="17" y="55"/>
                  <a:pt x="17" y="55"/>
                </a:cubicBezTo>
                <a:lnTo>
                  <a:pt x="55" y="17"/>
                </a:lnTo>
                <a:close/>
                <a:moveTo>
                  <a:pt x="31" y="76"/>
                </a:moveTo>
                <a:cubicBezTo>
                  <a:pt x="32" y="76"/>
                  <a:pt x="32" y="76"/>
                  <a:pt x="32" y="76"/>
                </a:cubicBezTo>
                <a:cubicBezTo>
                  <a:pt x="32" y="76"/>
                  <a:pt x="32" y="76"/>
                  <a:pt x="33" y="76"/>
                </a:cubicBezTo>
                <a:cubicBezTo>
                  <a:pt x="59" y="76"/>
                  <a:pt x="59" y="76"/>
                  <a:pt x="59" y="76"/>
                </a:cubicBezTo>
                <a:cubicBezTo>
                  <a:pt x="63" y="76"/>
                  <a:pt x="66" y="79"/>
                  <a:pt x="66" y="82"/>
                </a:cubicBezTo>
                <a:cubicBezTo>
                  <a:pt x="66" y="86"/>
                  <a:pt x="63" y="89"/>
                  <a:pt x="59" y="89"/>
                </a:cubicBezTo>
                <a:cubicBezTo>
                  <a:pt x="51" y="89"/>
                  <a:pt x="51" y="89"/>
                  <a:pt x="51" y="89"/>
                </a:cubicBezTo>
                <a:cubicBezTo>
                  <a:pt x="44" y="89"/>
                  <a:pt x="44" y="89"/>
                  <a:pt x="44" y="89"/>
                </a:cubicBezTo>
                <a:cubicBezTo>
                  <a:pt x="33" y="89"/>
                  <a:pt x="33" y="89"/>
                  <a:pt x="33" y="89"/>
                </a:cubicBezTo>
                <a:cubicBezTo>
                  <a:pt x="29" y="89"/>
                  <a:pt x="26" y="86"/>
                  <a:pt x="26" y="82"/>
                </a:cubicBezTo>
                <a:cubicBezTo>
                  <a:pt x="26" y="79"/>
                  <a:pt x="28" y="76"/>
                  <a:pt x="31" y="76"/>
                </a:cubicBezTo>
                <a:close/>
                <a:moveTo>
                  <a:pt x="55" y="156"/>
                </a:moveTo>
                <a:cubicBezTo>
                  <a:pt x="55" y="132"/>
                  <a:pt x="55" y="132"/>
                  <a:pt x="55" y="132"/>
                </a:cubicBezTo>
                <a:cubicBezTo>
                  <a:pt x="78" y="132"/>
                  <a:pt x="78" y="132"/>
                  <a:pt x="78" y="132"/>
                </a:cubicBezTo>
                <a:cubicBezTo>
                  <a:pt x="86" y="132"/>
                  <a:pt x="93" y="138"/>
                  <a:pt x="93" y="147"/>
                </a:cubicBezTo>
                <a:cubicBezTo>
                  <a:pt x="93" y="156"/>
                  <a:pt x="93" y="156"/>
                  <a:pt x="93" y="156"/>
                </a:cubicBezTo>
                <a:lnTo>
                  <a:pt x="55" y="156"/>
                </a:lnTo>
                <a:close/>
                <a:moveTo>
                  <a:pt x="114" y="156"/>
                </a:moveTo>
                <a:cubicBezTo>
                  <a:pt x="98" y="156"/>
                  <a:pt x="98" y="156"/>
                  <a:pt x="98" y="156"/>
                </a:cubicBezTo>
                <a:cubicBezTo>
                  <a:pt x="98" y="147"/>
                  <a:pt x="98" y="147"/>
                  <a:pt x="98" y="147"/>
                </a:cubicBezTo>
                <a:cubicBezTo>
                  <a:pt x="98" y="141"/>
                  <a:pt x="95" y="135"/>
                  <a:pt x="91" y="132"/>
                </a:cubicBezTo>
                <a:cubicBezTo>
                  <a:pt x="114" y="132"/>
                  <a:pt x="114" y="132"/>
                  <a:pt x="114" y="132"/>
                </a:cubicBezTo>
                <a:lnTo>
                  <a:pt x="114" y="156"/>
                </a:lnTo>
                <a:close/>
                <a:moveTo>
                  <a:pt x="114" y="92"/>
                </a:moveTo>
                <a:cubicBezTo>
                  <a:pt x="116" y="95"/>
                  <a:pt x="117" y="98"/>
                  <a:pt x="117" y="101"/>
                </a:cubicBezTo>
                <a:cubicBezTo>
                  <a:pt x="117" y="106"/>
                  <a:pt x="114" y="112"/>
                  <a:pt x="110" y="115"/>
                </a:cubicBezTo>
                <a:cubicBezTo>
                  <a:pt x="109" y="116"/>
                  <a:pt x="109" y="116"/>
                  <a:pt x="109" y="116"/>
                </a:cubicBezTo>
                <a:cubicBezTo>
                  <a:pt x="109" y="126"/>
                  <a:pt x="109" y="126"/>
                  <a:pt x="109" y="126"/>
                </a:cubicBezTo>
                <a:cubicBezTo>
                  <a:pt x="78" y="126"/>
                  <a:pt x="78" y="126"/>
                  <a:pt x="78" y="126"/>
                </a:cubicBezTo>
                <a:cubicBezTo>
                  <a:pt x="61" y="126"/>
                  <a:pt x="61" y="126"/>
                  <a:pt x="61" y="126"/>
                </a:cubicBezTo>
                <a:cubicBezTo>
                  <a:pt x="61" y="119"/>
                  <a:pt x="61" y="119"/>
                  <a:pt x="61" y="119"/>
                </a:cubicBezTo>
                <a:cubicBezTo>
                  <a:pt x="60" y="118"/>
                  <a:pt x="60" y="118"/>
                  <a:pt x="60" y="118"/>
                </a:cubicBezTo>
                <a:cubicBezTo>
                  <a:pt x="60" y="118"/>
                  <a:pt x="59" y="118"/>
                  <a:pt x="59" y="118"/>
                </a:cubicBezTo>
                <a:cubicBezTo>
                  <a:pt x="36" y="94"/>
                  <a:pt x="36" y="94"/>
                  <a:pt x="36" y="94"/>
                </a:cubicBezTo>
                <a:cubicBezTo>
                  <a:pt x="49" y="94"/>
                  <a:pt x="49" y="94"/>
                  <a:pt x="49" y="94"/>
                </a:cubicBezTo>
                <a:cubicBezTo>
                  <a:pt x="74" y="119"/>
                  <a:pt x="74" y="119"/>
                  <a:pt x="74" y="119"/>
                </a:cubicBezTo>
                <a:cubicBezTo>
                  <a:pt x="76" y="121"/>
                  <a:pt x="78" y="122"/>
                  <a:pt x="80" y="122"/>
                </a:cubicBezTo>
                <a:cubicBezTo>
                  <a:pt x="83" y="122"/>
                  <a:pt x="85" y="121"/>
                  <a:pt x="87" y="119"/>
                </a:cubicBezTo>
                <a:lnTo>
                  <a:pt x="114" y="92"/>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Freeform 1382">
            <a:extLst>
              <a:ext uri="{FF2B5EF4-FFF2-40B4-BE49-F238E27FC236}">
                <a16:creationId xmlns:a16="http://schemas.microsoft.com/office/drawing/2014/main" id="{188B9574-4F87-5F41-94A3-259B9B96E777}"/>
              </a:ext>
            </a:extLst>
          </p:cNvPr>
          <p:cNvSpPr>
            <a:spLocks noEditPoints="1"/>
          </p:cNvSpPr>
          <p:nvPr/>
        </p:nvSpPr>
        <p:spPr bwMode="auto">
          <a:xfrm>
            <a:off x="9211837" y="4700588"/>
            <a:ext cx="309563" cy="550863"/>
          </a:xfrm>
          <a:custGeom>
            <a:avLst/>
            <a:gdLst>
              <a:gd name="T0" fmla="*/ 0 w 91"/>
              <a:gd name="T1" fmla="*/ 12 h 160"/>
              <a:gd name="T2" fmla="*/ 79 w 91"/>
              <a:gd name="T3" fmla="*/ 160 h 160"/>
              <a:gd name="T4" fmla="*/ 79 w 91"/>
              <a:gd name="T5" fmla="*/ 0 h 160"/>
              <a:gd name="T6" fmla="*/ 85 w 91"/>
              <a:gd name="T7" fmla="*/ 123 h 160"/>
              <a:gd name="T8" fmla="*/ 12 w 91"/>
              <a:gd name="T9" fmla="*/ 5 h 160"/>
              <a:gd name="T10" fmla="*/ 85 w 91"/>
              <a:gd name="T11" fmla="*/ 16 h 160"/>
              <a:gd name="T12" fmla="*/ 12 w 91"/>
              <a:gd name="T13" fmla="*/ 5 h 160"/>
              <a:gd name="T14" fmla="*/ 5 w 91"/>
              <a:gd name="T15" fmla="*/ 148 h 160"/>
              <a:gd name="T16" fmla="*/ 85 w 91"/>
              <a:gd name="T17" fmla="*/ 148 h 160"/>
              <a:gd name="T18" fmla="*/ 35 w 91"/>
              <a:gd name="T19" fmla="*/ 141 h 160"/>
              <a:gd name="T20" fmla="*/ 45 w 91"/>
              <a:gd name="T21" fmla="*/ 131 h 160"/>
              <a:gd name="T22" fmla="*/ 45 w 91"/>
              <a:gd name="T23" fmla="*/ 136 h 160"/>
              <a:gd name="T24" fmla="*/ 32 w 91"/>
              <a:gd name="T25" fmla="*/ 11 h 160"/>
              <a:gd name="T26" fmla="*/ 48 w 91"/>
              <a:gd name="T27" fmla="*/ 11 h 160"/>
              <a:gd name="T28" fmla="*/ 32 w 91"/>
              <a:gd name="T29" fmla="*/ 11 h 160"/>
              <a:gd name="T30" fmla="*/ 56 w 91"/>
              <a:gd name="T31" fmla="*/ 8 h 160"/>
              <a:gd name="T32" fmla="*/ 53 w 91"/>
              <a:gd name="T33" fmla="*/ 13 h 160"/>
              <a:gd name="T34" fmla="*/ 22 w 91"/>
              <a:gd name="T35" fmla="*/ 85 h 160"/>
              <a:gd name="T36" fmla="*/ 27 w 91"/>
              <a:gd name="T37" fmla="*/ 88 h 160"/>
              <a:gd name="T38" fmla="*/ 31 w 91"/>
              <a:gd name="T39" fmla="*/ 90 h 160"/>
              <a:gd name="T40" fmla="*/ 36 w 91"/>
              <a:gd name="T41" fmla="*/ 92 h 160"/>
              <a:gd name="T42" fmla="*/ 41 w 91"/>
              <a:gd name="T43" fmla="*/ 93 h 160"/>
              <a:gd name="T44" fmla="*/ 49 w 91"/>
              <a:gd name="T45" fmla="*/ 93 h 160"/>
              <a:gd name="T46" fmla="*/ 53 w 91"/>
              <a:gd name="T47" fmla="*/ 93 h 160"/>
              <a:gd name="T48" fmla="*/ 59 w 91"/>
              <a:gd name="T49" fmla="*/ 91 h 160"/>
              <a:gd name="T50" fmla="*/ 63 w 91"/>
              <a:gd name="T51" fmla="*/ 89 h 160"/>
              <a:gd name="T52" fmla="*/ 66 w 91"/>
              <a:gd name="T53" fmla="*/ 87 h 160"/>
              <a:gd name="T54" fmla="*/ 80 w 91"/>
              <a:gd name="T55" fmla="*/ 59 h 160"/>
              <a:gd name="T56" fmla="*/ 23 w 91"/>
              <a:gd name="T57" fmla="*/ 85 h 160"/>
              <a:gd name="T58" fmla="*/ 35 w 91"/>
              <a:gd name="T59" fmla="*/ 86 h 160"/>
              <a:gd name="T60" fmla="*/ 41 w 91"/>
              <a:gd name="T61" fmla="*/ 76 h 160"/>
              <a:gd name="T62" fmla="*/ 38 w 91"/>
              <a:gd name="T63" fmla="*/ 64 h 160"/>
              <a:gd name="T64" fmla="*/ 37 w 91"/>
              <a:gd name="T65" fmla="*/ 58 h 160"/>
              <a:gd name="T66" fmla="*/ 37 w 91"/>
              <a:gd name="T67" fmla="*/ 50 h 160"/>
              <a:gd name="T68" fmla="*/ 52 w 91"/>
              <a:gd name="T69" fmla="*/ 47 h 160"/>
              <a:gd name="T70" fmla="*/ 53 w 91"/>
              <a:gd name="T71" fmla="*/ 58 h 160"/>
              <a:gd name="T72" fmla="*/ 54 w 91"/>
              <a:gd name="T73" fmla="*/ 63 h 160"/>
              <a:gd name="T74" fmla="*/ 50 w 91"/>
              <a:gd name="T75" fmla="*/ 69 h 160"/>
              <a:gd name="T76" fmla="*/ 49 w 91"/>
              <a:gd name="T77" fmla="*/ 76 h 160"/>
              <a:gd name="T78" fmla="*/ 59 w 91"/>
              <a:gd name="T79" fmla="*/ 85 h 160"/>
              <a:gd name="T80" fmla="*/ 52 w 91"/>
              <a:gd name="T81" fmla="*/ 87 h 160"/>
              <a:gd name="T82" fmla="*/ 38 w 91"/>
              <a:gd name="T83" fmla="*/ 87 h 160"/>
              <a:gd name="T84" fmla="*/ 64 w 91"/>
              <a:gd name="T85" fmla="*/ 81 h 160"/>
              <a:gd name="T86" fmla="*/ 54 w 91"/>
              <a:gd name="T87" fmla="*/ 76 h 160"/>
              <a:gd name="T88" fmla="*/ 57 w 91"/>
              <a:gd name="T89" fmla="*/ 67 h 160"/>
              <a:gd name="T90" fmla="*/ 59 w 91"/>
              <a:gd name="T91" fmla="*/ 55 h 160"/>
              <a:gd name="T92" fmla="*/ 45 w 91"/>
              <a:gd name="T93" fmla="*/ 39 h 160"/>
              <a:gd name="T94" fmla="*/ 32 w 91"/>
              <a:gd name="T95" fmla="*/ 55 h 160"/>
              <a:gd name="T96" fmla="*/ 33 w 91"/>
              <a:gd name="T97" fmla="*/ 66 h 160"/>
              <a:gd name="T98" fmla="*/ 36 w 91"/>
              <a:gd name="T99" fmla="*/ 76 h 160"/>
              <a:gd name="T100" fmla="*/ 16 w 91"/>
              <a:gd name="T101" fmla="*/ 59 h 160"/>
              <a:gd name="T102" fmla="*/ 8 w 91"/>
              <a:gd name="T103" fmla="*/ 99 h 160"/>
              <a:gd name="T104" fmla="*/ 83 w 91"/>
              <a:gd name="T105" fmla="*/ 120 h 160"/>
              <a:gd name="T106" fmla="*/ 13 w 91"/>
              <a:gd name="T107" fmla="*/ 115 h 160"/>
              <a:gd name="T108" fmla="*/ 24 w 91"/>
              <a:gd name="T109" fmla="*/ 115 h 160"/>
              <a:gd name="T110" fmla="*/ 29 w 91"/>
              <a:gd name="T111" fmla="*/ 115 h 160"/>
              <a:gd name="T112" fmla="*/ 77 w 91"/>
              <a:gd name="T113" fmla="*/ 11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 h="160">
                <a:moveTo>
                  <a:pt x="79" y="0"/>
                </a:move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12"/>
                  <a:pt x="91" y="12"/>
                  <a:pt x="91" y="12"/>
                </a:cubicBezTo>
                <a:cubicBezTo>
                  <a:pt x="91" y="5"/>
                  <a:pt x="85" y="0"/>
                  <a:pt x="79" y="0"/>
                </a:cubicBezTo>
                <a:close/>
                <a:moveTo>
                  <a:pt x="5" y="21"/>
                </a:moveTo>
                <a:cubicBezTo>
                  <a:pt x="85" y="21"/>
                  <a:pt x="85" y="21"/>
                  <a:pt x="85" y="21"/>
                </a:cubicBezTo>
                <a:cubicBezTo>
                  <a:pt x="85" y="123"/>
                  <a:pt x="85" y="123"/>
                  <a:pt x="85" y="123"/>
                </a:cubicBezTo>
                <a:cubicBezTo>
                  <a:pt x="5" y="123"/>
                  <a:pt x="5" y="123"/>
                  <a:pt x="5" y="123"/>
                </a:cubicBezTo>
                <a:lnTo>
                  <a:pt x="5" y="21"/>
                </a:ln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23" y="85"/>
                </a:moveTo>
                <a:cubicBezTo>
                  <a:pt x="22" y="85"/>
                  <a:pt x="22" y="85"/>
                  <a:pt x="22" y="85"/>
                </a:cubicBezTo>
                <a:cubicBezTo>
                  <a:pt x="25" y="87"/>
                  <a:pt x="25" y="87"/>
                  <a:pt x="25" y="87"/>
                </a:cubicBezTo>
                <a:cubicBezTo>
                  <a:pt x="25" y="87"/>
                  <a:pt x="25" y="87"/>
                  <a:pt x="25" y="87"/>
                </a:cubicBezTo>
                <a:cubicBezTo>
                  <a:pt x="26" y="87"/>
                  <a:pt x="26" y="88"/>
                  <a:pt x="27" y="88"/>
                </a:cubicBezTo>
                <a:cubicBezTo>
                  <a:pt x="27" y="88"/>
                  <a:pt x="28" y="88"/>
                  <a:pt x="28" y="89"/>
                </a:cubicBezTo>
                <a:cubicBezTo>
                  <a:pt x="28" y="89"/>
                  <a:pt x="29" y="89"/>
                  <a:pt x="29" y="89"/>
                </a:cubicBezTo>
                <a:cubicBezTo>
                  <a:pt x="30" y="90"/>
                  <a:pt x="30" y="90"/>
                  <a:pt x="31" y="90"/>
                </a:cubicBezTo>
                <a:cubicBezTo>
                  <a:pt x="31" y="90"/>
                  <a:pt x="32" y="91"/>
                  <a:pt x="32" y="91"/>
                </a:cubicBezTo>
                <a:cubicBezTo>
                  <a:pt x="33" y="91"/>
                  <a:pt x="34" y="91"/>
                  <a:pt x="35" y="92"/>
                </a:cubicBezTo>
                <a:cubicBezTo>
                  <a:pt x="35" y="92"/>
                  <a:pt x="35" y="92"/>
                  <a:pt x="36" y="92"/>
                </a:cubicBezTo>
                <a:cubicBezTo>
                  <a:pt x="36" y="92"/>
                  <a:pt x="37" y="92"/>
                  <a:pt x="38" y="93"/>
                </a:cubicBezTo>
                <a:cubicBezTo>
                  <a:pt x="38" y="93"/>
                  <a:pt x="39" y="93"/>
                  <a:pt x="39" y="93"/>
                </a:cubicBezTo>
                <a:cubicBezTo>
                  <a:pt x="40" y="93"/>
                  <a:pt x="40" y="93"/>
                  <a:pt x="41" y="93"/>
                </a:cubicBezTo>
                <a:cubicBezTo>
                  <a:pt x="41" y="93"/>
                  <a:pt x="42" y="93"/>
                  <a:pt x="42" y="93"/>
                </a:cubicBezTo>
                <a:cubicBezTo>
                  <a:pt x="43" y="93"/>
                  <a:pt x="44" y="93"/>
                  <a:pt x="45" y="93"/>
                </a:cubicBezTo>
                <a:cubicBezTo>
                  <a:pt x="46" y="93"/>
                  <a:pt x="47" y="93"/>
                  <a:pt x="49" y="93"/>
                </a:cubicBezTo>
                <a:cubicBezTo>
                  <a:pt x="49" y="93"/>
                  <a:pt x="49" y="93"/>
                  <a:pt x="50" y="93"/>
                </a:cubicBezTo>
                <a:cubicBezTo>
                  <a:pt x="50" y="93"/>
                  <a:pt x="51" y="93"/>
                  <a:pt x="52" y="93"/>
                </a:cubicBezTo>
                <a:cubicBezTo>
                  <a:pt x="52" y="93"/>
                  <a:pt x="52" y="93"/>
                  <a:pt x="53" y="93"/>
                </a:cubicBezTo>
                <a:cubicBezTo>
                  <a:pt x="53" y="92"/>
                  <a:pt x="54" y="92"/>
                  <a:pt x="55" y="92"/>
                </a:cubicBezTo>
                <a:cubicBezTo>
                  <a:pt x="55" y="92"/>
                  <a:pt x="56" y="92"/>
                  <a:pt x="56" y="92"/>
                </a:cubicBezTo>
                <a:cubicBezTo>
                  <a:pt x="57" y="91"/>
                  <a:pt x="58" y="91"/>
                  <a:pt x="59" y="91"/>
                </a:cubicBezTo>
                <a:cubicBezTo>
                  <a:pt x="59" y="91"/>
                  <a:pt x="59" y="90"/>
                  <a:pt x="60" y="90"/>
                </a:cubicBezTo>
                <a:cubicBezTo>
                  <a:pt x="60" y="90"/>
                  <a:pt x="61" y="90"/>
                  <a:pt x="61" y="89"/>
                </a:cubicBezTo>
                <a:cubicBezTo>
                  <a:pt x="62" y="89"/>
                  <a:pt x="62" y="89"/>
                  <a:pt x="63" y="89"/>
                </a:cubicBezTo>
                <a:cubicBezTo>
                  <a:pt x="63" y="88"/>
                  <a:pt x="63" y="88"/>
                  <a:pt x="64" y="88"/>
                </a:cubicBezTo>
                <a:cubicBezTo>
                  <a:pt x="64" y="88"/>
                  <a:pt x="65" y="87"/>
                  <a:pt x="65" y="87"/>
                </a:cubicBezTo>
                <a:cubicBezTo>
                  <a:pt x="65" y="87"/>
                  <a:pt x="66" y="87"/>
                  <a:pt x="66" y="87"/>
                </a:cubicBezTo>
                <a:cubicBezTo>
                  <a:pt x="68" y="85"/>
                  <a:pt x="68" y="85"/>
                  <a:pt x="68" y="85"/>
                </a:cubicBezTo>
                <a:cubicBezTo>
                  <a:pt x="68" y="85"/>
                  <a:pt x="68" y="85"/>
                  <a:pt x="68" y="85"/>
                </a:cubicBezTo>
                <a:cubicBezTo>
                  <a:pt x="75" y="78"/>
                  <a:pt x="80" y="69"/>
                  <a:pt x="80" y="59"/>
                </a:cubicBezTo>
                <a:cubicBezTo>
                  <a:pt x="80" y="40"/>
                  <a:pt x="64" y="24"/>
                  <a:pt x="45" y="24"/>
                </a:cubicBezTo>
                <a:cubicBezTo>
                  <a:pt x="26" y="24"/>
                  <a:pt x="11" y="40"/>
                  <a:pt x="11" y="59"/>
                </a:cubicBezTo>
                <a:cubicBezTo>
                  <a:pt x="11" y="69"/>
                  <a:pt x="15" y="78"/>
                  <a:pt x="23" y="85"/>
                </a:cubicBezTo>
                <a:close/>
                <a:moveTo>
                  <a:pt x="38" y="87"/>
                </a:moveTo>
                <a:cubicBezTo>
                  <a:pt x="37" y="87"/>
                  <a:pt x="36" y="86"/>
                  <a:pt x="35" y="86"/>
                </a:cubicBezTo>
                <a:cubicBezTo>
                  <a:pt x="35" y="86"/>
                  <a:pt x="35" y="86"/>
                  <a:pt x="35" y="86"/>
                </a:cubicBezTo>
                <a:cubicBezTo>
                  <a:pt x="34" y="86"/>
                  <a:pt x="33" y="85"/>
                  <a:pt x="32" y="85"/>
                </a:cubicBezTo>
                <a:cubicBezTo>
                  <a:pt x="38" y="81"/>
                  <a:pt x="38" y="81"/>
                  <a:pt x="38" y="81"/>
                </a:cubicBezTo>
                <a:cubicBezTo>
                  <a:pt x="40" y="80"/>
                  <a:pt x="41" y="78"/>
                  <a:pt x="41" y="76"/>
                </a:cubicBezTo>
                <a:cubicBezTo>
                  <a:pt x="41" y="71"/>
                  <a:pt x="41" y="71"/>
                  <a:pt x="41" y="71"/>
                </a:cubicBezTo>
                <a:cubicBezTo>
                  <a:pt x="41" y="70"/>
                  <a:pt x="41" y="70"/>
                  <a:pt x="41" y="70"/>
                </a:cubicBezTo>
                <a:cubicBezTo>
                  <a:pt x="41" y="70"/>
                  <a:pt x="39" y="68"/>
                  <a:pt x="38" y="64"/>
                </a:cubicBezTo>
                <a:cubicBezTo>
                  <a:pt x="37" y="63"/>
                  <a:pt x="37" y="63"/>
                  <a:pt x="37" y="63"/>
                </a:cubicBezTo>
                <a:cubicBezTo>
                  <a:pt x="36" y="62"/>
                  <a:pt x="36" y="62"/>
                  <a:pt x="36" y="62"/>
                </a:cubicBezTo>
                <a:cubicBezTo>
                  <a:pt x="37" y="58"/>
                  <a:pt x="37" y="58"/>
                  <a:pt x="37" y="58"/>
                </a:cubicBezTo>
                <a:cubicBezTo>
                  <a:pt x="37" y="58"/>
                  <a:pt x="37" y="58"/>
                  <a:pt x="37" y="58"/>
                </a:cubicBezTo>
                <a:cubicBezTo>
                  <a:pt x="37" y="51"/>
                  <a:pt x="37" y="51"/>
                  <a:pt x="37" y="51"/>
                </a:cubicBezTo>
                <a:cubicBezTo>
                  <a:pt x="37" y="50"/>
                  <a:pt x="37" y="50"/>
                  <a:pt x="37" y="50"/>
                </a:cubicBezTo>
                <a:cubicBezTo>
                  <a:pt x="37" y="50"/>
                  <a:pt x="37" y="48"/>
                  <a:pt x="39" y="47"/>
                </a:cubicBezTo>
                <a:cubicBezTo>
                  <a:pt x="40" y="46"/>
                  <a:pt x="42" y="45"/>
                  <a:pt x="45" y="45"/>
                </a:cubicBezTo>
                <a:cubicBezTo>
                  <a:pt x="49" y="45"/>
                  <a:pt x="51" y="46"/>
                  <a:pt x="52" y="47"/>
                </a:cubicBezTo>
                <a:cubicBezTo>
                  <a:pt x="54" y="48"/>
                  <a:pt x="53" y="50"/>
                  <a:pt x="53" y="50"/>
                </a:cubicBezTo>
                <a:cubicBezTo>
                  <a:pt x="53" y="56"/>
                  <a:pt x="53" y="56"/>
                  <a:pt x="53" y="56"/>
                </a:cubicBezTo>
                <a:cubicBezTo>
                  <a:pt x="53" y="58"/>
                  <a:pt x="53" y="58"/>
                  <a:pt x="53" y="58"/>
                </a:cubicBezTo>
                <a:cubicBezTo>
                  <a:pt x="54" y="59"/>
                  <a:pt x="54" y="59"/>
                  <a:pt x="54" y="59"/>
                </a:cubicBezTo>
                <a:cubicBezTo>
                  <a:pt x="54" y="62"/>
                  <a:pt x="54" y="62"/>
                  <a:pt x="54" y="62"/>
                </a:cubicBezTo>
                <a:cubicBezTo>
                  <a:pt x="54" y="63"/>
                  <a:pt x="54" y="63"/>
                  <a:pt x="54" y="63"/>
                </a:cubicBezTo>
                <a:cubicBezTo>
                  <a:pt x="53" y="63"/>
                  <a:pt x="53" y="63"/>
                  <a:pt x="53" y="63"/>
                </a:cubicBezTo>
                <a:cubicBezTo>
                  <a:pt x="52" y="64"/>
                  <a:pt x="52" y="64"/>
                  <a:pt x="52" y="64"/>
                </a:cubicBezTo>
                <a:cubicBezTo>
                  <a:pt x="52" y="66"/>
                  <a:pt x="51" y="68"/>
                  <a:pt x="50" y="69"/>
                </a:cubicBezTo>
                <a:cubicBezTo>
                  <a:pt x="50" y="70"/>
                  <a:pt x="49" y="70"/>
                  <a:pt x="49" y="70"/>
                </a:cubicBezTo>
                <a:cubicBezTo>
                  <a:pt x="49" y="71"/>
                  <a:pt x="49" y="71"/>
                  <a:pt x="49" y="71"/>
                </a:cubicBezTo>
                <a:cubicBezTo>
                  <a:pt x="49" y="76"/>
                  <a:pt x="49" y="76"/>
                  <a:pt x="49" y="76"/>
                </a:cubicBezTo>
                <a:cubicBezTo>
                  <a:pt x="49" y="78"/>
                  <a:pt x="50" y="80"/>
                  <a:pt x="52" y="81"/>
                </a:cubicBezTo>
                <a:cubicBezTo>
                  <a:pt x="59" y="85"/>
                  <a:pt x="59" y="85"/>
                  <a:pt x="59" y="85"/>
                </a:cubicBezTo>
                <a:cubicBezTo>
                  <a:pt x="59" y="85"/>
                  <a:pt x="59" y="85"/>
                  <a:pt x="59" y="85"/>
                </a:cubicBezTo>
                <a:cubicBezTo>
                  <a:pt x="58" y="85"/>
                  <a:pt x="57" y="86"/>
                  <a:pt x="56" y="86"/>
                </a:cubicBezTo>
                <a:cubicBezTo>
                  <a:pt x="56" y="86"/>
                  <a:pt x="55" y="86"/>
                  <a:pt x="55" y="86"/>
                </a:cubicBezTo>
                <a:cubicBezTo>
                  <a:pt x="54" y="87"/>
                  <a:pt x="53" y="87"/>
                  <a:pt x="52" y="87"/>
                </a:cubicBezTo>
                <a:cubicBezTo>
                  <a:pt x="52" y="87"/>
                  <a:pt x="52" y="87"/>
                  <a:pt x="52" y="87"/>
                </a:cubicBezTo>
                <a:cubicBezTo>
                  <a:pt x="48" y="88"/>
                  <a:pt x="43" y="88"/>
                  <a:pt x="38" y="87"/>
                </a:cubicBezTo>
                <a:cubicBezTo>
                  <a:pt x="38" y="87"/>
                  <a:pt x="38" y="87"/>
                  <a:pt x="38" y="87"/>
                </a:cubicBezTo>
                <a:close/>
                <a:moveTo>
                  <a:pt x="45" y="29"/>
                </a:moveTo>
                <a:cubicBezTo>
                  <a:pt x="62" y="29"/>
                  <a:pt x="75" y="42"/>
                  <a:pt x="75" y="59"/>
                </a:cubicBezTo>
                <a:cubicBezTo>
                  <a:pt x="75" y="68"/>
                  <a:pt x="70" y="76"/>
                  <a:pt x="64" y="81"/>
                </a:cubicBezTo>
                <a:cubicBezTo>
                  <a:pt x="64" y="81"/>
                  <a:pt x="64" y="81"/>
                  <a:pt x="64" y="81"/>
                </a:cubicBezTo>
                <a:cubicBezTo>
                  <a:pt x="54" y="76"/>
                  <a:pt x="54" y="76"/>
                  <a:pt x="54" y="76"/>
                </a:cubicBezTo>
                <a:cubicBezTo>
                  <a:pt x="54" y="76"/>
                  <a:pt x="54" y="76"/>
                  <a:pt x="54" y="76"/>
                </a:cubicBezTo>
                <a:cubicBezTo>
                  <a:pt x="54" y="73"/>
                  <a:pt x="54" y="73"/>
                  <a:pt x="54" y="73"/>
                </a:cubicBezTo>
                <a:cubicBezTo>
                  <a:pt x="54" y="73"/>
                  <a:pt x="54" y="73"/>
                  <a:pt x="54" y="73"/>
                </a:cubicBezTo>
                <a:cubicBezTo>
                  <a:pt x="55" y="71"/>
                  <a:pt x="56" y="69"/>
                  <a:pt x="57" y="67"/>
                </a:cubicBezTo>
                <a:cubicBezTo>
                  <a:pt x="59" y="66"/>
                  <a:pt x="60" y="64"/>
                  <a:pt x="60" y="62"/>
                </a:cubicBezTo>
                <a:cubicBezTo>
                  <a:pt x="60" y="59"/>
                  <a:pt x="60" y="59"/>
                  <a:pt x="60" y="59"/>
                </a:cubicBezTo>
                <a:cubicBezTo>
                  <a:pt x="60" y="57"/>
                  <a:pt x="59" y="56"/>
                  <a:pt x="59" y="55"/>
                </a:cubicBezTo>
                <a:cubicBezTo>
                  <a:pt x="59" y="51"/>
                  <a:pt x="59" y="51"/>
                  <a:pt x="59" y="51"/>
                </a:cubicBezTo>
                <a:cubicBezTo>
                  <a:pt x="59" y="50"/>
                  <a:pt x="59" y="46"/>
                  <a:pt x="56" y="43"/>
                </a:cubicBezTo>
                <a:cubicBezTo>
                  <a:pt x="54" y="41"/>
                  <a:pt x="50" y="39"/>
                  <a:pt x="45" y="39"/>
                </a:cubicBezTo>
                <a:cubicBezTo>
                  <a:pt x="41" y="39"/>
                  <a:pt x="37" y="41"/>
                  <a:pt x="35" y="43"/>
                </a:cubicBezTo>
                <a:cubicBezTo>
                  <a:pt x="32" y="46"/>
                  <a:pt x="32" y="50"/>
                  <a:pt x="32" y="51"/>
                </a:cubicBezTo>
                <a:cubicBezTo>
                  <a:pt x="32" y="55"/>
                  <a:pt x="32" y="55"/>
                  <a:pt x="32" y="55"/>
                </a:cubicBezTo>
                <a:cubicBezTo>
                  <a:pt x="31" y="56"/>
                  <a:pt x="31" y="57"/>
                  <a:pt x="31" y="59"/>
                </a:cubicBezTo>
                <a:cubicBezTo>
                  <a:pt x="31" y="62"/>
                  <a:pt x="31" y="62"/>
                  <a:pt x="31" y="62"/>
                </a:cubicBezTo>
                <a:cubicBezTo>
                  <a:pt x="31" y="64"/>
                  <a:pt x="32" y="65"/>
                  <a:pt x="33" y="66"/>
                </a:cubicBezTo>
                <a:cubicBezTo>
                  <a:pt x="34" y="69"/>
                  <a:pt x="35" y="72"/>
                  <a:pt x="36" y="73"/>
                </a:cubicBezTo>
                <a:cubicBezTo>
                  <a:pt x="36" y="76"/>
                  <a:pt x="36" y="76"/>
                  <a:pt x="36" y="76"/>
                </a:cubicBezTo>
                <a:cubicBezTo>
                  <a:pt x="36" y="76"/>
                  <a:pt x="36" y="76"/>
                  <a:pt x="36" y="76"/>
                </a:cubicBezTo>
                <a:cubicBezTo>
                  <a:pt x="27" y="81"/>
                  <a:pt x="27" y="81"/>
                  <a:pt x="27" y="81"/>
                </a:cubicBezTo>
                <a:cubicBezTo>
                  <a:pt x="27" y="81"/>
                  <a:pt x="27" y="81"/>
                  <a:pt x="27" y="81"/>
                </a:cubicBezTo>
                <a:cubicBezTo>
                  <a:pt x="20" y="76"/>
                  <a:pt x="16" y="68"/>
                  <a:pt x="16" y="59"/>
                </a:cubicBezTo>
                <a:cubicBezTo>
                  <a:pt x="16" y="42"/>
                  <a:pt x="29" y="29"/>
                  <a:pt x="45" y="29"/>
                </a:cubicBezTo>
                <a:close/>
                <a:moveTo>
                  <a:pt x="29" y="99"/>
                </a:moveTo>
                <a:cubicBezTo>
                  <a:pt x="8" y="99"/>
                  <a:pt x="8" y="99"/>
                  <a:pt x="8" y="99"/>
                </a:cubicBezTo>
                <a:cubicBezTo>
                  <a:pt x="8" y="120"/>
                  <a:pt x="8" y="120"/>
                  <a:pt x="8" y="120"/>
                </a:cubicBezTo>
                <a:cubicBezTo>
                  <a:pt x="29" y="120"/>
                  <a:pt x="29" y="120"/>
                  <a:pt x="29" y="120"/>
                </a:cubicBezTo>
                <a:cubicBezTo>
                  <a:pt x="83" y="120"/>
                  <a:pt x="83" y="120"/>
                  <a:pt x="83" y="120"/>
                </a:cubicBezTo>
                <a:cubicBezTo>
                  <a:pt x="83" y="99"/>
                  <a:pt x="83" y="99"/>
                  <a:pt x="83" y="99"/>
                </a:cubicBezTo>
                <a:lnTo>
                  <a:pt x="29" y="99"/>
                </a:lnTo>
                <a:close/>
                <a:moveTo>
                  <a:pt x="13" y="115"/>
                </a:moveTo>
                <a:cubicBezTo>
                  <a:pt x="13" y="104"/>
                  <a:pt x="13" y="104"/>
                  <a:pt x="13" y="104"/>
                </a:cubicBezTo>
                <a:cubicBezTo>
                  <a:pt x="24" y="104"/>
                  <a:pt x="24" y="104"/>
                  <a:pt x="24" y="104"/>
                </a:cubicBezTo>
                <a:cubicBezTo>
                  <a:pt x="24" y="115"/>
                  <a:pt x="24" y="115"/>
                  <a:pt x="24" y="115"/>
                </a:cubicBezTo>
                <a:lnTo>
                  <a:pt x="13" y="115"/>
                </a:lnTo>
                <a:close/>
                <a:moveTo>
                  <a:pt x="77" y="115"/>
                </a:moveTo>
                <a:cubicBezTo>
                  <a:pt x="29" y="115"/>
                  <a:pt x="29" y="115"/>
                  <a:pt x="29" y="115"/>
                </a:cubicBezTo>
                <a:cubicBezTo>
                  <a:pt x="29" y="104"/>
                  <a:pt x="29" y="104"/>
                  <a:pt x="29" y="104"/>
                </a:cubicBezTo>
                <a:cubicBezTo>
                  <a:pt x="77" y="104"/>
                  <a:pt x="77" y="104"/>
                  <a:pt x="77" y="104"/>
                </a:cubicBezTo>
                <a:lnTo>
                  <a:pt x="77" y="115"/>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Freeform 1383">
            <a:extLst>
              <a:ext uri="{FF2B5EF4-FFF2-40B4-BE49-F238E27FC236}">
                <a16:creationId xmlns:a16="http://schemas.microsoft.com/office/drawing/2014/main" id="{FA4927A5-9770-7F47-83C5-6A4829DA8F0B}"/>
              </a:ext>
            </a:extLst>
          </p:cNvPr>
          <p:cNvSpPr>
            <a:spLocks noEditPoints="1"/>
          </p:cNvSpPr>
          <p:nvPr/>
        </p:nvSpPr>
        <p:spPr bwMode="auto">
          <a:xfrm>
            <a:off x="9211837" y="5319713"/>
            <a:ext cx="309563" cy="550863"/>
          </a:xfrm>
          <a:custGeom>
            <a:avLst/>
            <a:gdLst>
              <a:gd name="T0" fmla="*/ 12 w 91"/>
              <a:gd name="T1" fmla="*/ 0 h 160"/>
              <a:gd name="T2" fmla="*/ 0 w 91"/>
              <a:gd name="T3" fmla="*/ 148 h 160"/>
              <a:gd name="T4" fmla="*/ 79 w 91"/>
              <a:gd name="T5" fmla="*/ 160 h 160"/>
              <a:gd name="T6" fmla="*/ 91 w 91"/>
              <a:gd name="T7" fmla="*/ 12 h 160"/>
              <a:gd name="T8" fmla="*/ 5 w 91"/>
              <a:gd name="T9" fmla="*/ 21 h 160"/>
              <a:gd name="T10" fmla="*/ 85 w 91"/>
              <a:gd name="T11" fmla="*/ 123 h 160"/>
              <a:gd name="T12" fmla="*/ 5 w 91"/>
              <a:gd name="T13" fmla="*/ 21 h 160"/>
              <a:gd name="T14" fmla="*/ 79 w 91"/>
              <a:gd name="T15" fmla="*/ 5 h 160"/>
              <a:gd name="T16" fmla="*/ 85 w 91"/>
              <a:gd name="T17" fmla="*/ 16 h 160"/>
              <a:gd name="T18" fmla="*/ 5 w 91"/>
              <a:gd name="T19" fmla="*/ 12 h 160"/>
              <a:gd name="T20" fmla="*/ 79 w 91"/>
              <a:gd name="T21" fmla="*/ 155 h 160"/>
              <a:gd name="T22" fmla="*/ 5 w 91"/>
              <a:gd name="T23" fmla="*/ 148 h 160"/>
              <a:gd name="T24" fmla="*/ 85 w 91"/>
              <a:gd name="T25" fmla="*/ 128 h 160"/>
              <a:gd name="T26" fmla="*/ 79 w 91"/>
              <a:gd name="T27" fmla="*/ 155 h 160"/>
              <a:gd name="T28" fmla="*/ 35 w 91"/>
              <a:gd name="T29" fmla="*/ 141 h 160"/>
              <a:gd name="T30" fmla="*/ 56 w 91"/>
              <a:gd name="T31" fmla="*/ 141 h 160"/>
              <a:gd name="T32" fmla="*/ 45 w 91"/>
              <a:gd name="T33" fmla="*/ 147 h 160"/>
              <a:gd name="T34" fmla="*/ 45 w 91"/>
              <a:gd name="T35" fmla="*/ 136 h 160"/>
              <a:gd name="T36" fmla="*/ 45 w 91"/>
              <a:gd name="T37" fmla="*/ 147 h 160"/>
              <a:gd name="T38" fmla="*/ 35 w 91"/>
              <a:gd name="T39" fmla="*/ 8 h 160"/>
              <a:gd name="T40" fmla="*/ 48 w 91"/>
              <a:gd name="T41" fmla="*/ 11 h 160"/>
              <a:gd name="T42" fmla="*/ 35 w 91"/>
              <a:gd name="T43" fmla="*/ 13 h 160"/>
              <a:gd name="T44" fmla="*/ 51 w 91"/>
              <a:gd name="T45" fmla="*/ 11 h 160"/>
              <a:gd name="T46" fmla="*/ 56 w 91"/>
              <a:gd name="T47" fmla="*/ 8 h 160"/>
              <a:gd name="T48" fmla="*/ 56 w 91"/>
              <a:gd name="T49" fmla="*/ 13 h 160"/>
              <a:gd name="T50" fmla="*/ 51 w 91"/>
              <a:gd name="T51" fmla="*/ 11 h 160"/>
              <a:gd name="T52" fmla="*/ 80 w 91"/>
              <a:gd name="T53" fmla="*/ 43 h 160"/>
              <a:gd name="T54" fmla="*/ 24 w 91"/>
              <a:gd name="T55" fmla="*/ 29 h 160"/>
              <a:gd name="T56" fmla="*/ 11 w 91"/>
              <a:gd name="T57" fmla="*/ 70 h 160"/>
              <a:gd name="T58" fmla="*/ 67 w 91"/>
              <a:gd name="T59" fmla="*/ 56 h 160"/>
              <a:gd name="T60" fmla="*/ 16 w 91"/>
              <a:gd name="T61" fmla="*/ 43 h 160"/>
              <a:gd name="T62" fmla="*/ 67 w 91"/>
              <a:gd name="T63" fmla="*/ 35 h 160"/>
              <a:gd name="T64" fmla="*/ 67 w 91"/>
              <a:gd name="T65" fmla="*/ 51 h 160"/>
              <a:gd name="T66" fmla="*/ 16 w 91"/>
              <a:gd name="T67" fmla="*/ 58 h 160"/>
              <a:gd name="T68" fmla="*/ 24 w 91"/>
              <a:gd name="T69" fmla="*/ 75 h 160"/>
              <a:gd name="T70" fmla="*/ 24 w 91"/>
              <a:gd name="T71" fmla="*/ 101 h 160"/>
              <a:gd name="T72" fmla="*/ 80 w 91"/>
              <a:gd name="T73" fmla="*/ 116 h 160"/>
              <a:gd name="T74" fmla="*/ 67 w 91"/>
              <a:gd name="T75" fmla="*/ 75 h 160"/>
              <a:gd name="T76" fmla="*/ 68 w 91"/>
              <a:gd name="T77" fmla="*/ 96 h 160"/>
              <a:gd name="T78" fmla="*/ 16 w 91"/>
              <a:gd name="T79" fmla="*/ 88 h 160"/>
              <a:gd name="T80" fmla="*/ 67 w 91"/>
              <a:gd name="T81" fmla="*/ 80 h 160"/>
              <a:gd name="T82" fmla="*/ 75 w 91"/>
              <a:gd name="T83" fmla="*/ 10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1" h="160">
                <a:moveTo>
                  <a:pt x="79" y="0"/>
                </a:move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12"/>
                  <a:pt x="91" y="12"/>
                  <a:pt x="91" y="12"/>
                </a:cubicBezTo>
                <a:cubicBezTo>
                  <a:pt x="91" y="5"/>
                  <a:pt x="85" y="0"/>
                  <a:pt x="79" y="0"/>
                </a:cubicBezTo>
                <a:close/>
                <a:moveTo>
                  <a:pt x="5" y="21"/>
                </a:moveTo>
                <a:cubicBezTo>
                  <a:pt x="85" y="21"/>
                  <a:pt x="85" y="21"/>
                  <a:pt x="85" y="21"/>
                </a:cubicBezTo>
                <a:cubicBezTo>
                  <a:pt x="85" y="123"/>
                  <a:pt x="85" y="123"/>
                  <a:pt x="85" y="123"/>
                </a:cubicBezTo>
                <a:cubicBezTo>
                  <a:pt x="5" y="123"/>
                  <a:pt x="5" y="123"/>
                  <a:pt x="5" y="123"/>
                </a:cubicBezTo>
                <a:lnTo>
                  <a:pt x="5" y="21"/>
                </a:ln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67" y="56"/>
                </a:moveTo>
                <a:cubicBezTo>
                  <a:pt x="74" y="56"/>
                  <a:pt x="80" y="50"/>
                  <a:pt x="80" y="43"/>
                </a:cubicBezTo>
                <a:cubicBezTo>
                  <a:pt x="80" y="35"/>
                  <a:pt x="74" y="29"/>
                  <a:pt x="67" y="29"/>
                </a:cubicBezTo>
                <a:cubicBezTo>
                  <a:pt x="24" y="29"/>
                  <a:pt x="24" y="29"/>
                  <a:pt x="24" y="29"/>
                </a:cubicBezTo>
                <a:cubicBezTo>
                  <a:pt x="17" y="29"/>
                  <a:pt x="11" y="35"/>
                  <a:pt x="11" y="43"/>
                </a:cubicBezTo>
                <a:cubicBezTo>
                  <a:pt x="11" y="70"/>
                  <a:pt x="11" y="70"/>
                  <a:pt x="11" y="70"/>
                </a:cubicBezTo>
                <a:cubicBezTo>
                  <a:pt x="25" y="56"/>
                  <a:pt x="25" y="56"/>
                  <a:pt x="25" y="56"/>
                </a:cubicBezTo>
                <a:lnTo>
                  <a:pt x="67" y="56"/>
                </a:lnTo>
                <a:close/>
                <a:moveTo>
                  <a:pt x="16" y="58"/>
                </a:moveTo>
                <a:cubicBezTo>
                  <a:pt x="16" y="43"/>
                  <a:pt x="16" y="43"/>
                  <a:pt x="16" y="43"/>
                </a:cubicBezTo>
                <a:cubicBezTo>
                  <a:pt x="16" y="38"/>
                  <a:pt x="20" y="35"/>
                  <a:pt x="24" y="35"/>
                </a:cubicBezTo>
                <a:cubicBezTo>
                  <a:pt x="67" y="35"/>
                  <a:pt x="67" y="35"/>
                  <a:pt x="67" y="35"/>
                </a:cubicBezTo>
                <a:cubicBezTo>
                  <a:pt x="71" y="35"/>
                  <a:pt x="75" y="38"/>
                  <a:pt x="75" y="43"/>
                </a:cubicBezTo>
                <a:cubicBezTo>
                  <a:pt x="75" y="47"/>
                  <a:pt x="71" y="51"/>
                  <a:pt x="67" y="51"/>
                </a:cubicBezTo>
                <a:cubicBezTo>
                  <a:pt x="23" y="51"/>
                  <a:pt x="23" y="51"/>
                  <a:pt x="23" y="51"/>
                </a:cubicBezTo>
                <a:lnTo>
                  <a:pt x="16" y="58"/>
                </a:lnTo>
                <a:close/>
                <a:moveTo>
                  <a:pt x="67" y="75"/>
                </a:moveTo>
                <a:cubicBezTo>
                  <a:pt x="24" y="75"/>
                  <a:pt x="24" y="75"/>
                  <a:pt x="24" y="75"/>
                </a:cubicBezTo>
                <a:cubicBezTo>
                  <a:pt x="17" y="75"/>
                  <a:pt x="11" y="81"/>
                  <a:pt x="11" y="88"/>
                </a:cubicBezTo>
                <a:cubicBezTo>
                  <a:pt x="11" y="95"/>
                  <a:pt x="17" y="101"/>
                  <a:pt x="24" y="101"/>
                </a:cubicBezTo>
                <a:cubicBezTo>
                  <a:pt x="66" y="101"/>
                  <a:pt x="66" y="101"/>
                  <a:pt x="66" y="101"/>
                </a:cubicBezTo>
                <a:cubicBezTo>
                  <a:pt x="80" y="116"/>
                  <a:pt x="80" y="116"/>
                  <a:pt x="80" y="116"/>
                </a:cubicBezTo>
                <a:cubicBezTo>
                  <a:pt x="80" y="88"/>
                  <a:pt x="80" y="88"/>
                  <a:pt x="80" y="88"/>
                </a:cubicBezTo>
                <a:cubicBezTo>
                  <a:pt x="80" y="81"/>
                  <a:pt x="74" y="75"/>
                  <a:pt x="67" y="75"/>
                </a:cubicBezTo>
                <a:close/>
                <a:moveTo>
                  <a:pt x="75" y="103"/>
                </a:moveTo>
                <a:cubicBezTo>
                  <a:pt x="68" y="96"/>
                  <a:pt x="68" y="96"/>
                  <a:pt x="68" y="96"/>
                </a:cubicBezTo>
                <a:cubicBezTo>
                  <a:pt x="24" y="96"/>
                  <a:pt x="24" y="96"/>
                  <a:pt x="24" y="96"/>
                </a:cubicBezTo>
                <a:cubicBezTo>
                  <a:pt x="20" y="96"/>
                  <a:pt x="16" y="92"/>
                  <a:pt x="16" y="88"/>
                </a:cubicBezTo>
                <a:cubicBezTo>
                  <a:pt x="16" y="84"/>
                  <a:pt x="20" y="80"/>
                  <a:pt x="24" y="80"/>
                </a:cubicBezTo>
                <a:cubicBezTo>
                  <a:pt x="67" y="80"/>
                  <a:pt x="67" y="80"/>
                  <a:pt x="67" y="80"/>
                </a:cubicBezTo>
                <a:cubicBezTo>
                  <a:pt x="71" y="80"/>
                  <a:pt x="75" y="84"/>
                  <a:pt x="75" y="88"/>
                </a:cubicBezTo>
                <a:lnTo>
                  <a:pt x="75" y="103"/>
                </a:ln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1384">
            <a:extLst>
              <a:ext uri="{FF2B5EF4-FFF2-40B4-BE49-F238E27FC236}">
                <a16:creationId xmlns:a16="http://schemas.microsoft.com/office/drawing/2014/main" id="{C2776A94-45C6-244A-98FE-C70409712860}"/>
              </a:ext>
            </a:extLst>
          </p:cNvPr>
          <p:cNvSpPr>
            <a:spLocks noEditPoints="1"/>
          </p:cNvSpPr>
          <p:nvPr/>
        </p:nvSpPr>
        <p:spPr bwMode="auto">
          <a:xfrm>
            <a:off x="9102300" y="5938838"/>
            <a:ext cx="528638" cy="550863"/>
          </a:xfrm>
          <a:custGeom>
            <a:avLst/>
            <a:gdLst>
              <a:gd name="T0" fmla="*/ 75 w 155"/>
              <a:gd name="T1" fmla="*/ 131 h 160"/>
              <a:gd name="T2" fmla="*/ 75 w 155"/>
              <a:gd name="T3" fmla="*/ 147 h 160"/>
              <a:gd name="T4" fmla="*/ 77 w 155"/>
              <a:gd name="T5" fmla="*/ 13 h 160"/>
              <a:gd name="T6" fmla="*/ 88 w 155"/>
              <a:gd name="T7" fmla="*/ 8 h 160"/>
              <a:gd name="T8" fmla="*/ 7 w 155"/>
              <a:gd name="T9" fmla="*/ 39 h 160"/>
              <a:gd name="T10" fmla="*/ 8 w 155"/>
              <a:gd name="T11" fmla="*/ 33 h 160"/>
              <a:gd name="T12" fmla="*/ 0 w 155"/>
              <a:gd name="T13" fmla="*/ 23 h 160"/>
              <a:gd name="T14" fmla="*/ 5 w 155"/>
              <a:gd name="T15" fmla="*/ 23 h 160"/>
              <a:gd name="T16" fmla="*/ 10 w 155"/>
              <a:gd name="T17" fmla="*/ 62 h 160"/>
              <a:gd name="T18" fmla="*/ 13 w 155"/>
              <a:gd name="T19" fmla="*/ 64 h 160"/>
              <a:gd name="T20" fmla="*/ 25 w 155"/>
              <a:gd name="T21" fmla="*/ 107 h 160"/>
              <a:gd name="T22" fmla="*/ 9 w 155"/>
              <a:gd name="T23" fmla="*/ 52 h 160"/>
              <a:gd name="T24" fmla="*/ 12 w 155"/>
              <a:gd name="T25" fmla="*/ 48 h 160"/>
              <a:gd name="T26" fmla="*/ 15 w 155"/>
              <a:gd name="T27" fmla="*/ 13 h 160"/>
              <a:gd name="T28" fmla="*/ 20 w 155"/>
              <a:gd name="T29" fmla="*/ 11 h 160"/>
              <a:gd name="T30" fmla="*/ 23 w 155"/>
              <a:gd name="T31" fmla="*/ 13 h 160"/>
              <a:gd name="T32" fmla="*/ 20 w 155"/>
              <a:gd name="T33" fmla="*/ 100 h 160"/>
              <a:gd name="T34" fmla="*/ 24 w 155"/>
              <a:gd name="T35" fmla="*/ 102 h 160"/>
              <a:gd name="T36" fmla="*/ 15 w 155"/>
              <a:gd name="T37" fmla="*/ 69 h 160"/>
              <a:gd name="T38" fmla="*/ 19 w 155"/>
              <a:gd name="T39" fmla="*/ 89 h 160"/>
              <a:gd name="T40" fmla="*/ 22 w 155"/>
              <a:gd name="T41" fmla="*/ 86 h 160"/>
              <a:gd name="T42" fmla="*/ 145 w 155"/>
              <a:gd name="T43" fmla="*/ 51 h 160"/>
              <a:gd name="T44" fmla="*/ 152 w 155"/>
              <a:gd name="T45" fmla="*/ 34 h 160"/>
              <a:gd name="T46" fmla="*/ 147 w 155"/>
              <a:gd name="T47" fmla="*/ 33 h 160"/>
              <a:gd name="T48" fmla="*/ 152 w 155"/>
              <a:gd name="T49" fmla="*/ 26 h 160"/>
              <a:gd name="T50" fmla="*/ 151 w 155"/>
              <a:gd name="T51" fmla="*/ 18 h 160"/>
              <a:gd name="T52" fmla="*/ 133 w 155"/>
              <a:gd name="T53" fmla="*/ 8 h 160"/>
              <a:gd name="T54" fmla="*/ 127 w 155"/>
              <a:gd name="T55" fmla="*/ 9 h 160"/>
              <a:gd name="T56" fmla="*/ 145 w 155"/>
              <a:gd name="T57" fmla="*/ 17 h 160"/>
              <a:gd name="T58" fmla="*/ 145 w 155"/>
              <a:gd name="T59" fmla="*/ 62 h 160"/>
              <a:gd name="T60" fmla="*/ 143 w 155"/>
              <a:gd name="T61" fmla="*/ 56 h 160"/>
              <a:gd name="T62" fmla="*/ 123 w 155"/>
              <a:gd name="T63" fmla="*/ 123 h 160"/>
              <a:gd name="T64" fmla="*/ 123 w 155"/>
              <a:gd name="T65" fmla="*/ 109 h 160"/>
              <a:gd name="T66" fmla="*/ 123 w 155"/>
              <a:gd name="T67" fmla="*/ 86 h 160"/>
              <a:gd name="T68" fmla="*/ 123 w 155"/>
              <a:gd name="T69" fmla="*/ 73 h 160"/>
              <a:gd name="T70" fmla="*/ 123 w 155"/>
              <a:gd name="T71" fmla="*/ 57 h 160"/>
              <a:gd name="T72" fmla="*/ 123 w 155"/>
              <a:gd name="T73" fmla="*/ 44 h 160"/>
              <a:gd name="T74" fmla="*/ 123 w 155"/>
              <a:gd name="T75" fmla="*/ 21 h 160"/>
              <a:gd name="T76" fmla="*/ 111 w 155"/>
              <a:gd name="T77" fmla="*/ 0 h 160"/>
              <a:gd name="T78" fmla="*/ 32 w 155"/>
              <a:gd name="T79" fmla="*/ 21 h 160"/>
              <a:gd name="T80" fmla="*/ 32 w 155"/>
              <a:gd name="T81" fmla="*/ 34 h 160"/>
              <a:gd name="T82" fmla="*/ 32 w 155"/>
              <a:gd name="T83" fmla="*/ 57 h 160"/>
              <a:gd name="T84" fmla="*/ 32 w 155"/>
              <a:gd name="T85" fmla="*/ 70 h 160"/>
              <a:gd name="T86" fmla="*/ 32 w 155"/>
              <a:gd name="T87" fmla="*/ 86 h 160"/>
              <a:gd name="T88" fmla="*/ 32 w 155"/>
              <a:gd name="T89" fmla="*/ 99 h 160"/>
              <a:gd name="T90" fmla="*/ 32 w 155"/>
              <a:gd name="T91" fmla="*/ 123 h 160"/>
              <a:gd name="T92" fmla="*/ 26 w 155"/>
              <a:gd name="T93" fmla="*/ 123 h 160"/>
              <a:gd name="T94" fmla="*/ 32 w 155"/>
              <a:gd name="T95" fmla="*/ 132 h 160"/>
              <a:gd name="T96" fmla="*/ 44 w 155"/>
              <a:gd name="T97" fmla="*/ 160 h 160"/>
              <a:gd name="T98" fmla="*/ 125 w 155"/>
              <a:gd name="T99" fmla="*/ 135 h 160"/>
              <a:gd name="T100" fmla="*/ 124 w 155"/>
              <a:gd name="T101" fmla="*/ 127 h 160"/>
              <a:gd name="T102" fmla="*/ 117 w 155"/>
              <a:gd name="T103" fmla="*/ 21 h 160"/>
              <a:gd name="T104" fmla="*/ 111 w 155"/>
              <a:gd name="T105" fmla="*/ 5 h 160"/>
              <a:gd name="T106" fmla="*/ 44 w 155"/>
              <a:gd name="T107" fmla="*/ 5 h 160"/>
              <a:gd name="T108" fmla="*/ 117 w 155"/>
              <a:gd name="T109" fmla="*/ 128 h 160"/>
              <a:gd name="T110" fmla="*/ 132 w 155"/>
              <a:gd name="T111" fmla="*/ 102 h 160"/>
              <a:gd name="T112" fmla="*/ 135 w 155"/>
              <a:gd name="T113" fmla="*/ 97 h 160"/>
              <a:gd name="T114" fmla="*/ 126 w 155"/>
              <a:gd name="T115" fmla="*/ 111 h 160"/>
              <a:gd name="T116" fmla="*/ 138 w 155"/>
              <a:gd name="T117" fmla="*/ 87 h 160"/>
              <a:gd name="T118" fmla="*/ 137 w 155"/>
              <a:gd name="T119" fmla="*/ 82 h 160"/>
              <a:gd name="T120" fmla="*/ 138 w 155"/>
              <a:gd name="T121" fmla="*/ 7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5" h="160">
                <a:moveTo>
                  <a:pt x="75" y="131"/>
                </a:moveTo>
                <a:cubicBezTo>
                  <a:pt x="69" y="131"/>
                  <a:pt x="64" y="135"/>
                  <a:pt x="64" y="141"/>
                </a:cubicBezTo>
                <a:cubicBezTo>
                  <a:pt x="64" y="147"/>
                  <a:pt x="69" y="152"/>
                  <a:pt x="75" y="152"/>
                </a:cubicBezTo>
                <a:cubicBezTo>
                  <a:pt x="81" y="152"/>
                  <a:pt x="85" y="147"/>
                  <a:pt x="85" y="141"/>
                </a:cubicBezTo>
                <a:cubicBezTo>
                  <a:pt x="85" y="135"/>
                  <a:pt x="81" y="131"/>
                  <a:pt x="75" y="131"/>
                </a:cubicBezTo>
                <a:close/>
                <a:moveTo>
                  <a:pt x="75" y="147"/>
                </a:moveTo>
                <a:cubicBezTo>
                  <a:pt x="72" y="147"/>
                  <a:pt x="69" y="144"/>
                  <a:pt x="69" y="141"/>
                </a:cubicBezTo>
                <a:cubicBezTo>
                  <a:pt x="69" y="138"/>
                  <a:pt x="72" y="136"/>
                  <a:pt x="75" y="136"/>
                </a:cubicBezTo>
                <a:cubicBezTo>
                  <a:pt x="78" y="136"/>
                  <a:pt x="80" y="138"/>
                  <a:pt x="80" y="141"/>
                </a:cubicBezTo>
                <a:cubicBezTo>
                  <a:pt x="80" y="144"/>
                  <a:pt x="78" y="147"/>
                  <a:pt x="75" y="147"/>
                </a:cubicBezTo>
                <a:close/>
                <a:moveTo>
                  <a:pt x="64" y="11"/>
                </a:moveTo>
                <a:cubicBezTo>
                  <a:pt x="64" y="9"/>
                  <a:pt x="65" y="8"/>
                  <a:pt x="67" y="8"/>
                </a:cubicBezTo>
                <a:cubicBezTo>
                  <a:pt x="77" y="8"/>
                  <a:pt x="77" y="8"/>
                  <a:pt x="77" y="8"/>
                </a:cubicBezTo>
                <a:cubicBezTo>
                  <a:pt x="79" y="8"/>
                  <a:pt x="80" y="9"/>
                  <a:pt x="80" y="11"/>
                </a:cubicBezTo>
                <a:cubicBezTo>
                  <a:pt x="80" y="12"/>
                  <a:pt x="79" y="13"/>
                  <a:pt x="77" y="13"/>
                </a:cubicBezTo>
                <a:cubicBezTo>
                  <a:pt x="67" y="13"/>
                  <a:pt x="67" y="13"/>
                  <a:pt x="67" y="13"/>
                </a:cubicBezTo>
                <a:cubicBezTo>
                  <a:pt x="65" y="13"/>
                  <a:pt x="64" y="12"/>
                  <a:pt x="64" y="11"/>
                </a:cubicBezTo>
                <a:close/>
                <a:moveTo>
                  <a:pt x="83" y="11"/>
                </a:moveTo>
                <a:cubicBezTo>
                  <a:pt x="83" y="9"/>
                  <a:pt x="84" y="8"/>
                  <a:pt x="85" y="8"/>
                </a:cubicBezTo>
                <a:cubicBezTo>
                  <a:pt x="88" y="8"/>
                  <a:pt x="88" y="8"/>
                  <a:pt x="88" y="8"/>
                </a:cubicBezTo>
                <a:cubicBezTo>
                  <a:pt x="89" y="8"/>
                  <a:pt x="91" y="9"/>
                  <a:pt x="91" y="11"/>
                </a:cubicBezTo>
                <a:cubicBezTo>
                  <a:pt x="91" y="12"/>
                  <a:pt x="89" y="13"/>
                  <a:pt x="88" y="13"/>
                </a:cubicBezTo>
                <a:cubicBezTo>
                  <a:pt x="85" y="13"/>
                  <a:pt x="85" y="13"/>
                  <a:pt x="85" y="13"/>
                </a:cubicBezTo>
                <a:cubicBezTo>
                  <a:pt x="84" y="13"/>
                  <a:pt x="83" y="12"/>
                  <a:pt x="83" y="11"/>
                </a:cubicBezTo>
                <a:close/>
                <a:moveTo>
                  <a:pt x="7" y="39"/>
                </a:moveTo>
                <a:cubicBezTo>
                  <a:pt x="6" y="39"/>
                  <a:pt x="6" y="39"/>
                  <a:pt x="6" y="39"/>
                </a:cubicBezTo>
                <a:cubicBezTo>
                  <a:pt x="5" y="39"/>
                  <a:pt x="4" y="38"/>
                  <a:pt x="3" y="37"/>
                </a:cubicBezTo>
                <a:cubicBezTo>
                  <a:pt x="3" y="34"/>
                  <a:pt x="3" y="34"/>
                  <a:pt x="3" y="34"/>
                </a:cubicBezTo>
                <a:cubicBezTo>
                  <a:pt x="2" y="33"/>
                  <a:pt x="3" y="32"/>
                  <a:pt x="5" y="31"/>
                </a:cubicBezTo>
                <a:cubicBezTo>
                  <a:pt x="6" y="31"/>
                  <a:pt x="7" y="32"/>
                  <a:pt x="8" y="33"/>
                </a:cubicBezTo>
                <a:cubicBezTo>
                  <a:pt x="9" y="36"/>
                  <a:pt x="9" y="36"/>
                  <a:pt x="9" y="36"/>
                </a:cubicBezTo>
                <a:cubicBezTo>
                  <a:pt x="9" y="37"/>
                  <a:pt x="8" y="38"/>
                  <a:pt x="7" y="39"/>
                </a:cubicBezTo>
                <a:close/>
                <a:moveTo>
                  <a:pt x="3" y="26"/>
                </a:moveTo>
                <a:cubicBezTo>
                  <a:pt x="1" y="26"/>
                  <a:pt x="0" y="25"/>
                  <a:pt x="0" y="24"/>
                </a:cubicBezTo>
                <a:cubicBezTo>
                  <a:pt x="0" y="24"/>
                  <a:pt x="0" y="23"/>
                  <a:pt x="0" y="23"/>
                </a:cubicBezTo>
                <a:cubicBezTo>
                  <a:pt x="0" y="22"/>
                  <a:pt x="0" y="21"/>
                  <a:pt x="0" y="21"/>
                </a:cubicBezTo>
                <a:cubicBezTo>
                  <a:pt x="0" y="19"/>
                  <a:pt x="2" y="18"/>
                  <a:pt x="3" y="18"/>
                </a:cubicBezTo>
                <a:cubicBezTo>
                  <a:pt x="5" y="19"/>
                  <a:pt x="6" y="20"/>
                  <a:pt x="5" y="22"/>
                </a:cubicBezTo>
                <a:cubicBezTo>
                  <a:pt x="5" y="22"/>
                  <a:pt x="5" y="22"/>
                  <a:pt x="5" y="23"/>
                </a:cubicBezTo>
                <a:cubicBezTo>
                  <a:pt x="5" y="23"/>
                  <a:pt x="5" y="23"/>
                  <a:pt x="5" y="23"/>
                </a:cubicBezTo>
                <a:cubicBezTo>
                  <a:pt x="6" y="25"/>
                  <a:pt x="4" y="26"/>
                  <a:pt x="3" y="26"/>
                </a:cubicBezTo>
                <a:cubicBezTo>
                  <a:pt x="3" y="26"/>
                  <a:pt x="3" y="26"/>
                  <a:pt x="3" y="26"/>
                </a:cubicBezTo>
                <a:close/>
                <a:moveTo>
                  <a:pt x="13" y="64"/>
                </a:moveTo>
                <a:cubicBezTo>
                  <a:pt x="13" y="64"/>
                  <a:pt x="13" y="64"/>
                  <a:pt x="13" y="64"/>
                </a:cubicBezTo>
                <a:cubicBezTo>
                  <a:pt x="12" y="64"/>
                  <a:pt x="10" y="63"/>
                  <a:pt x="10" y="62"/>
                </a:cubicBezTo>
                <a:cubicBezTo>
                  <a:pt x="9" y="60"/>
                  <a:pt x="9" y="60"/>
                  <a:pt x="9" y="60"/>
                </a:cubicBezTo>
                <a:cubicBezTo>
                  <a:pt x="9" y="58"/>
                  <a:pt x="10" y="57"/>
                  <a:pt x="11" y="56"/>
                </a:cubicBezTo>
                <a:cubicBezTo>
                  <a:pt x="13" y="56"/>
                  <a:pt x="14" y="57"/>
                  <a:pt x="15" y="58"/>
                </a:cubicBezTo>
                <a:cubicBezTo>
                  <a:pt x="15" y="61"/>
                  <a:pt x="15" y="61"/>
                  <a:pt x="15" y="61"/>
                </a:cubicBezTo>
                <a:cubicBezTo>
                  <a:pt x="16" y="62"/>
                  <a:pt x="15" y="64"/>
                  <a:pt x="13" y="64"/>
                </a:cubicBezTo>
                <a:close/>
                <a:moveTo>
                  <a:pt x="27" y="114"/>
                </a:moveTo>
                <a:cubicBezTo>
                  <a:pt x="27" y="114"/>
                  <a:pt x="26" y="115"/>
                  <a:pt x="26" y="115"/>
                </a:cubicBezTo>
                <a:cubicBezTo>
                  <a:pt x="25" y="115"/>
                  <a:pt x="24" y="114"/>
                  <a:pt x="24" y="113"/>
                </a:cubicBezTo>
                <a:cubicBezTo>
                  <a:pt x="23" y="110"/>
                  <a:pt x="23" y="110"/>
                  <a:pt x="23" y="110"/>
                </a:cubicBezTo>
                <a:cubicBezTo>
                  <a:pt x="23" y="109"/>
                  <a:pt x="23" y="107"/>
                  <a:pt x="25" y="107"/>
                </a:cubicBezTo>
                <a:cubicBezTo>
                  <a:pt x="26" y="106"/>
                  <a:pt x="28" y="107"/>
                  <a:pt x="28" y="109"/>
                </a:cubicBezTo>
                <a:cubicBezTo>
                  <a:pt x="29" y="111"/>
                  <a:pt x="29" y="111"/>
                  <a:pt x="29" y="111"/>
                </a:cubicBezTo>
                <a:cubicBezTo>
                  <a:pt x="29" y="113"/>
                  <a:pt x="28" y="114"/>
                  <a:pt x="27" y="114"/>
                </a:cubicBezTo>
                <a:close/>
                <a:moveTo>
                  <a:pt x="10" y="51"/>
                </a:moveTo>
                <a:cubicBezTo>
                  <a:pt x="10" y="52"/>
                  <a:pt x="10" y="52"/>
                  <a:pt x="9" y="52"/>
                </a:cubicBezTo>
                <a:cubicBezTo>
                  <a:pt x="8" y="52"/>
                  <a:pt x="7" y="51"/>
                  <a:pt x="7" y="50"/>
                </a:cubicBezTo>
                <a:cubicBezTo>
                  <a:pt x="6" y="47"/>
                  <a:pt x="6" y="47"/>
                  <a:pt x="6" y="47"/>
                </a:cubicBezTo>
                <a:cubicBezTo>
                  <a:pt x="6" y="46"/>
                  <a:pt x="7" y="44"/>
                  <a:pt x="8" y="44"/>
                </a:cubicBezTo>
                <a:cubicBezTo>
                  <a:pt x="9" y="43"/>
                  <a:pt x="11" y="44"/>
                  <a:pt x="11" y="46"/>
                </a:cubicBezTo>
                <a:cubicBezTo>
                  <a:pt x="12" y="48"/>
                  <a:pt x="12" y="48"/>
                  <a:pt x="12" y="48"/>
                </a:cubicBezTo>
                <a:cubicBezTo>
                  <a:pt x="12" y="50"/>
                  <a:pt x="11" y="51"/>
                  <a:pt x="10" y="51"/>
                </a:cubicBezTo>
                <a:close/>
                <a:moveTo>
                  <a:pt x="7" y="15"/>
                </a:moveTo>
                <a:cubicBezTo>
                  <a:pt x="7" y="13"/>
                  <a:pt x="8" y="12"/>
                  <a:pt x="9" y="11"/>
                </a:cubicBezTo>
                <a:cubicBezTo>
                  <a:pt x="11" y="11"/>
                  <a:pt x="11" y="11"/>
                  <a:pt x="11" y="11"/>
                </a:cubicBezTo>
                <a:cubicBezTo>
                  <a:pt x="13" y="10"/>
                  <a:pt x="14" y="11"/>
                  <a:pt x="15" y="13"/>
                </a:cubicBezTo>
                <a:cubicBezTo>
                  <a:pt x="15" y="14"/>
                  <a:pt x="14" y="15"/>
                  <a:pt x="13" y="16"/>
                </a:cubicBezTo>
                <a:cubicBezTo>
                  <a:pt x="10" y="17"/>
                  <a:pt x="10" y="17"/>
                  <a:pt x="10" y="17"/>
                </a:cubicBezTo>
                <a:cubicBezTo>
                  <a:pt x="10" y="17"/>
                  <a:pt x="10" y="17"/>
                  <a:pt x="10" y="17"/>
                </a:cubicBezTo>
                <a:cubicBezTo>
                  <a:pt x="8" y="17"/>
                  <a:pt x="7" y="16"/>
                  <a:pt x="7" y="15"/>
                </a:cubicBezTo>
                <a:close/>
                <a:moveTo>
                  <a:pt x="20" y="11"/>
                </a:moveTo>
                <a:cubicBezTo>
                  <a:pt x="19" y="10"/>
                  <a:pt x="20" y="8"/>
                  <a:pt x="22" y="8"/>
                </a:cubicBezTo>
                <a:cubicBezTo>
                  <a:pt x="24" y="7"/>
                  <a:pt x="24" y="7"/>
                  <a:pt x="24" y="7"/>
                </a:cubicBezTo>
                <a:cubicBezTo>
                  <a:pt x="26" y="7"/>
                  <a:pt x="27" y="8"/>
                  <a:pt x="27" y="9"/>
                </a:cubicBezTo>
                <a:cubicBezTo>
                  <a:pt x="28" y="11"/>
                  <a:pt x="27" y="12"/>
                  <a:pt x="25" y="12"/>
                </a:cubicBezTo>
                <a:cubicBezTo>
                  <a:pt x="23" y="13"/>
                  <a:pt x="23" y="13"/>
                  <a:pt x="23" y="13"/>
                </a:cubicBezTo>
                <a:cubicBezTo>
                  <a:pt x="23" y="13"/>
                  <a:pt x="22" y="13"/>
                  <a:pt x="22" y="13"/>
                </a:cubicBezTo>
                <a:cubicBezTo>
                  <a:pt x="21" y="13"/>
                  <a:pt x="20" y="12"/>
                  <a:pt x="20" y="11"/>
                </a:cubicBezTo>
                <a:close/>
                <a:moveTo>
                  <a:pt x="24" y="102"/>
                </a:moveTo>
                <a:cubicBezTo>
                  <a:pt x="23" y="102"/>
                  <a:pt x="23" y="102"/>
                  <a:pt x="23" y="102"/>
                </a:cubicBezTo>
                <a:cubicBezTo>
                  <a:pt x="22" y="102"/>
                  <a:pt x="21" y="101"/>
                  <a:pt x="20" y="100"/>
                </a:cubicBezTo>
                <a:cubicBezTo>
                  <a:pt x="20" y="97"/>
                  <a:pt x="20" y="97"/>
                  <a:pt x="20" y="97"/>
                </a:cubicBezTo>
                <a:cubicBezTo>
                  <a:pt x="19" y="96"/>
                  <a:pt x="20" y="95"/>
                  <a:pt x="21" y="94"/>
                </a:cubicBezTo>
                <a:cubicBezTo>
                  <a:pt x="23" y="94"/>
                  <a:pt x="24" y="95"/>
                  <a:pt x="25" y="96"/>
                </a:cubicBezTo>
                <a:cubicBezTo>
                  <a:pt x="25" y="99"/>
                  <a:pt x="25" y="99"/>
                  <a:pt x="25" y="99"/>
                </a:cubicBezTo>
                <a:cubicBezTo>
                  <a:pt x="26" y="100"/>
                  <a:pt x="25" y="101"/>
                  <a:pt x="24" y="102"/>
                </a:cubicBezTo>
                <a:close/>
                <a:moveTo>
                  <a:pt x="17" y="77"/>
                </a:moveTo>
                <a:cubicBezTo>
                  <a:pt x="17" y="77"/>
                  <a:pt x="16" y="77"/>
                  <a:pt x="16" y="77"/>
                </a:cubicBezTo>
                <a:cubicBezTo>
                  <a:pt x="15" y="77"/>
                  <a:pt x="14" y="76"/>
                  <a:pt x="14" y="75"/>
                </a:cubicBezTo>
                <a:cubicBezTo>
                  <a:pt x="13" y="72"/>
                  <a:pt x="13" y="72"/>
                  <a:pt x="13" y="72"/>
                </a:cubicBezTo>
                <a:cubicBezTo>
                  <a:pt x="12" y="71"/>
                  <a:pt x="13" y="69"/>
                  <a:pt x="15" y="69"/>
                </a:cubicBezTo>
                <a:cubicBezTo>
                  <a:pt x="16" y="69"/>
                  <a:pt x="18" y="69"/>
                  <a:pt x="18" y="71"/>
                </a:cubicBezTo>
                <a:cubicBezTo>
                  <a:pt x="19" y="73"/>
                  <a:pt x="19" y="73"/>
                  <a:pt x="19" y="73"/>
                </a:cubicBezTo>
                <a:cubicBezTo>
                  <a:pt x="19" y="75"/>
                  <a:pt x="18" y="76"/>
                  <a:pt x="17" y="77"/>
                </a:cubicBezTo>
                <a:close/>
                <a:moveTo>
                  <a:pt x="20" y="89"/>
                </a:moveTo>
                <a:cubicBezTo>
                  <a:pt x="20" y="89"/>
                  <a:pt x="20" y="89"/>
                  <a:pt x="19" y="89"/>
                </a:cubicBezTo>
                <a:cubicBezTo>
                  <a:pt x="18" y="89"/>
                  <a:pt x="17" y="89"/>
                  <a:pt x="17" y="87"/>
                </a:cubicBezTo>
                <a:cubicBezTo>
                  <a:pt x="16" y="85"/>
                  <a:pt x="16" y="85"/>
                  <a:pt x="16" y="85"/>
                </a:cubicBezTo>
                <a:cubicBezTo>
                  <a:pt x="16" y="83"/>
                  <a:pt x="17" y="82"/>
                  <a:pt x="18" y="82"/>
                </a:cubicBezTo>
                <a:cubicBezTo>
                  <a:pt x="20" y="81"/>
                  <a:pt x="21" y="82"/>
                  <a:pt x="21" y="83"/>
                </a:cubicBezTo>
                <a:cubicBezTo>
                  <a:pt x="22" y="86"/>
                  <a:pt x="22" y="86"/>
                  <a:pt x="22" y="86"/>
                </a:cubicBezTo>
                <a:cubicBezTo>
                  <a:pt x="22" y="87"/>
                  <a:pt x="22" y="89"/>
                  <a:pt x="20" y="89"/>
                </a:cubicBezTo>
                <a:close/>
                <a:moveTo>
                  <a:pt x="149" y="47"/>
                </a:moveTo>
                <a:cubicBezTo>
                  <a:pt x="148" y="50"/>
                  <a:pt x="148" y="50"/>
                  <a:pt x="148" y="50"/>
                </a:cubicBezTo>
                <a:cubicBezTo>
                  <a:pt x="148" y="51"/>
                  <a:pt x="147" y="52"/>
                  <a:pt x="145" y="52"/>
                </a:cubicBezTo>
                <a:cubicBezTo>
                  <a:pt x="145" y="52"/>
                  <a:pt x="145" y="52"/>
                  <a:pt x="145" y="51"/>
                </a:cubicBezTo>
                <a:cubicBezTo>
                  <a:pt x="143" y="51"/>
                  <a:pt x="142" y="50"/>
                  <a:pt x="143" y="48"/>
                </a:cubicBezTo>
                <a:cubicBezTo>
                  <a:pt x="143" y="46"/>
                  <a:pt x="143" y="46"/>
                  <a:pt x="143" y="46"/>
                </a:cubicBezTo>
                <a:cubicBezTo>
                  <a:pt x="144" y="44"/>
                  <a:pt x="145" y="43"/>
                  <a:pt x="147" y="44"/>
                </a:cubicBezTo>
                <a:cubicBezTo>
                  <a:pt x="148" y="44"/>
                  <a:pt x="149" y="46"/>
                  <a:pt x="149" y="47"/>
                </a:cubicBezTo>
                <a:close/>
                <a:moveTo>
                  <a:pt x="152" y="34"/>
                </a:moveTo>
                <a:cubicBezTo>
                  <a:pt x="151" y="37"/>
                  <a:pt x="151" y="37"/>
                  <a:pt x="151" y="37"/>
                </a:cubicBezTo>
                <a:cubicBezTo>
                  <a:pt x="151" y="38"/>
                  <a:pt x="150" y="39"/>
                  <a:pt x="149" y="39"/>
                </a:cubicBezTo>
                <a:cubicBezTo>
                  <a:pt x="149" y="39"/>
                  <a:pt x="148" y="39"/>
                  <a:pt x="148" y="39"/>
                </a:cubicBezTo>
                <a:cubicBezTo>
                  <a:pt x="147" y="38"/>
                  <a:pt x="146" y="37"/>
                  <a:pt x="146" y="36"/>
                </a:cubicBezTo>
                <a:cubicBezTo>
                  <a:pt x="147" y="33"/>
                  <a:pt x="147" y="33"/>
                  <a:pt x="147" y="33"/>
                </a:cubicBezTo>
                <a:cubicBezTo>
                  <a:pt x="147" y="32"/>
                  <a:pt x="149" y="31"/>
                  <a:pt x="150" y="31"/>
                </a:cubicBezTo>
                <a:cubicBezTo>
                  <a:pt x="152" y="32"/>
                  <a:pt x="152" y="33"/>
                  <a:pt x="152" y="34"/>
                </a:cubicBezTo>
                <a:close/>
                <a:moveTo>
                  <a:pt x="155" y="23"/>
                </a:moveTo>
                <a:cubicBezTo>
                  <a:pt x="155" y="23"/>
                  <a:pt x="155" y="24"/>
                  <a:pt x="155" y="24"/>
                </a:cubicBezTo>
                <a:cubicBezTo>
                  <a:pt x="155" y="25"/>
                  <a:pt x="153" y="26"/>
                  <a:pt x="152" y="26"/>
                </a:cubicBezTo>
                <a:cubicBezTo>
                  <a:pt x="152" y="26"/>
                  <a:pt x="152" y="26"/>
                  <a:pt x="152" y="26"/>
                </a:cubicBezTo>
                <a:cubicBezTo>
                  <a:pt x="150" y="26"/>
                  <a:pt x="149" y="25"/>
                  <a:pt x="149" y="23"/>
                </a:cubicBezTo>
                <a:cubicBezTo>
                  <a:pt x="149" y="23"/>
                  <a:pt x="149" y="23"/>
                  <a:pt x="149" y="23"/>
                </a:cubicBezTo>
                <a:cubicBezTo>
                  <a:pt x="149" y="22"/>
                  <a:pt x="149" y="22"/>
                  <a:pt x="149" y="22"/>
                </a:cubicBezTo>
                <a:cubicBezTo>
                  <a:pt x="149" y="20"/>
                  <a:pt x="150" y="19"/>
                  <a:pt x="151" y="18"/>
                </a:cubicBezTo>
                <a:cubicBezTo>
                  <a:pt x="153" y="18"/>
                  <a:pt x="154" y="19"/>
                  <a:pt x="154" y="21"/>
                </a:cubicBezTo>
                <a:cubicBezTo>
                  <a:pt x="155" y="21"/>
                  <a:pt x="155" y="22"/>
                  <a:pt x="155" y="23"/>
                </a:cubicBezTo>
                <a:close/>
                <a:moveTo>
                  <a:pt x="127" y="9"/>
                </a:moveTo>
                <a:cubicBezTo>
                  <a:pt x="128" y="8"/>
                  <a:pt x="129" y="7"/>
                  <a:pt x="131" y="7"/>
                </a:cubicBezTo>
                <a:cubicBezTo>
                  <a:pt x="133" y="8"/>
                  <a:pt x="133" y="8"/>
                  <a:pt x="133" y="8"/>
                </a:cubicBezTo>
                <a:cubicBezTo>
                  <a:pt x="135" y="8"/>
                  <a:pt x="135" y="10"/>
                  <a:pt x="135" y="11"/>
                </a:cubicBezTo>
                <a:cubicBezTo>
                  <a:pt x="135" y="12"/>
                  <a:pt x="134" y="13"/>
                  <a:pt x="132" y="13"/>
                </a:cubicBezTo>
                <a:cubicBezTo>
                  <a:pt x="132" y="13"/>
                  <a:pt x="132" y="13"/>
                  <a:pt x="132" y="13"/>
                </a:cubicBezTo>
                <a:cubicBezTo>
                  <a:pt x="129" y="12"/>
                  <a:pt x="129" y="12"/>
                  <a:pt x="129" y="12"/>
                </a:cubicBezTo>
                <a:cubicBezTo>
                  <a:pt x="128" y="12"/>
                  <a:pt x="127" y="11"/>
                  <a:pt x="127" y="9"/>
                </a:cubicBezTo>
                <a:close/>
                <a:moveTo>
                  <a:pt x="140" y="13"/>
                </a:moveTo>
                <a:cubicBezTo>
                  <a:pt x="140" y="11"/>
                  <a:pt x="142" y="10"/>
                  <a:pt x="143" y="11"/>
                </a:cubicBezTo>
                <a:cubicBezTo>
                  <a:pt x="146" y="11"/>
                  <a:pt x="146" y="11"/>
                  <a:pt x="146" y="11"/>
                </a:cubicBezTo>
                <a:cubicBezTo>
                  <a:pt x="147" y="12"/>
                  <a:pt x="148" y="13"/>
                  <a:pt x="148" y="15"/>
                </a:cubicBezTo>
                <a:cubicBezTo>
                  <a:pt x="147" y="16"/>
                  <a:pt x="146" y="17"/>
                  <a:pt x="145" y="17"/>
                </a:cubicBezTo>
                <a:cubicBezTo>
                  <a:pt x="145" y="17"/>
                  <a:pt x="145" y="17"/>
                  <a:pt x="144" y="17"/>
                </a:cubicBezTo>
                <a:cubicBezTo>
                  <a:pt x="142" y="16"/>
                  <a:pt x="142" y="16"/>
                  <a:pt x="142" y="16"/>
                </a:cubicBezTo>
                <a:cubicBezTo>
                  <a:pt x="140" y="15"/>
                  <a:pt x="140" y="14"/>
                  <a:pt x="140" y="13"/>
                </a:cubicBezTo>
                <a:close/>
                <a:moveTo>
                  <a:pt x="145" y="60"/>
                </a:moveTo>
                <a:cubicBezTo>
                  <a:pt x="145" y="62"/>
                  <a:pt x="145" y="62"/>
                  <a:pt x="145" y="62"/>
                </a:cubicBezTo>
                <a:cubicBezTo>
                  <a:pt x="144" y="63"/>
                  <a:pt x="143" y="64"/>
                  <a:pt x="142" y="64"/>
                </a:cubicBezTo>
                <a:cubicBezTo>
                  <a:pt x="142" y="64"/>
                  <a:pt x="142" y="64"/>
                  <a:pt x="141" y="64"/>
                </a:cubicBezTo>
                <a:cubicBezTo>
                  <a:pt x="140" y="64"/>
                  <a:pt x="139" y="62"/>
                  <a:pt x="139" y="61"/>
                </a:cubicBezTo>
                <a:cubicBezTo>
                  <a:pt x="140" y="58"/>
                  <a:pt x="140" y="58"/>
                  <a:pt x="140" y="58"/>
                </a:cubicBezTo>
                <a:cubicBezTo>
                  <a:pt x="140" y="57"/>
                  <a:pt x="142" y="56"/>
                  <a:pt x="143" y="56"/>
                </a:cubicBezTo>
                <a:cubicBezTo>
                  <a:pt x="145" y="57"/>
                  <a:pt x="146" y="58"/>
                  <a:pt x="145" y="60"/>
                </a:cubicBezTo>
                <a:close/>
                <a:moveTo>
                  <a:pt x="126" y="119"/>
                </a:moveTo>
                <a:cubicBezTo>
                  <a:pt x="125" y="119"/>
                  <a:pt x="124" y="120"/>
                  <a:pt x="123" y="121"/>
                </a:cubicBezTo>
                <a:cubicBezTo>
                  <a:pt x="123" y="123"/>
                  <a:pt x="123" y="123"/>
                  <a:pt x="123" y="123"/>
                </a:cubicBezTo>
                <a:cubicBezTo>
                  <a:pt x="123" y="123"/>
                  <a:pt x="123" y="123"/>
                  <a:pt x="123" y="123"/>
                </a:cubicBezTo>
                <a:cubicBezTo>
                  <a:pt x="123" y="123"/>
                  <a:pt x="123" y="123"/>
                  <a:pt x="123" y="123"/>
                </a:cubicBezTo>
                <a:cubicBezTo>
                  <a:pt x="123" y="112"/>
                  <a:pt x="123" y="112"/>
                  <a:pt x="123" y="112"/>
                </a:cubicBezTo>
                <a:cubicBezTo>
                  <a:pt x="123" y="112"/>
                  <a:pt x="123" y="112"/>
                  <a:pt x="123" y="112"/>
                </a:cubicBezTo>
                <a:cubicBezTo>
                  <a:pt x="123" y="110"/>
                  <a:pt x="123" y="110"/>
                  <a:pt x="123" y="110"/>
                </a:cubicBezTo>
                <a:cubicBezTo>
                  <a:pt x="123" y="110"/>
                  <a:pt x="123" y="110"/>
                  <a:pt x="123" y="109"/>
                </a:cubicBezTo>
                <a:cubicBezTo>
                  <a:pt x="123" y="99"/>
                  <a:pt x="123" y="99"/>
                  <a:pt x="123" y="99"/>
                </a:cubicBezTo>
                <a:cubicBezTo>
                  <a:pt x="123" y="99"/>
                  <a:pt x="123" y="99"/>
                  <a:pt x="123" y="99"/>
                </a:cubicBezTo>
                <a:cubicBezTo>
                  <a:pt x="123" y="97"/>
                  <a:pt x="123" y="97"/>
                  <a:pt x="123" y="97"/>
                </a:cubicBezTo>
                <a:cubicBezTo>
                  <a:pt x="123" y="97"/>
                  <a:pt x="123" y="97"/>
                  <a:pt x="123" y="96"/>
                </a:cubicBezTo>
                <a:cubicBezTo>
                  <a:pt x="123" y="86"/>
                  <a:pt x="123" y="86"/>
                  <a:pt x="123" y="86"/>
                </a:cubicBezTo>
                <a:cubicBezTo>
                  <a:pt x="123" y="86"/>
                  <a:pt x="123" y="86"/>
                  <a:pt x="123" y="86"/>
                </a:cubicBezTo>
                <a:cubicBezTo>
                  <a:pt x="123" y="84"/>
                  <a:pt x="123" y="84"/>
                  <a:pt x="123" y="84"/>
                </a:cubicBezTo>
                <a:cubicBezTo>
                  <a:pt x="123" y="84"/>
                  <a:pt x="123" y="83"/>
                  <a:pt x="123" y="83"/>
                </a:cubicBezTo>
                <a:cubicBezTo>
                  <a:pt x="123" y="73"/>
                  <a:pt x="123" y="73"/>
                  <a:pt x="123" y="73"/>
                </a:cubicBezTo>
                <a:cubicBezTo>
                  <a:pt x="123" y="73"/>
                  <a:pt x="123" y="73"/>
                  <a:pt x="123" y="73"/>
                </a:cubicBezTo>
                <a:cubicBezTo>
                  <a:pt x="123" y="71"/>
                  <a:pt x="123" y="71"/>
                  <a:pt x="123" y="71"/>
                </a:cubicBezTo>
                <a:cubicBezTo>
                  <a:pt x="123" y="70"/>
                  <a:pt x="123" y="70"/>
                  <a:pt x="123" y="70"/>
                </a:cubicBezTo>
                <a:cubicBezTo>
                  <a:pt x="123" y="60"/>
                  <a:pt x="123" y="60"/>
                  <a:pt x="123" y="60"/>
                </a:cubicBezTo>
                <a:cubicBezTo>
                  <a:pt x="123" y="60"/>
                  <a:pt x="123" y="60"/>
                  <a:pt x="123" y="60"/>
                </a:cubicBezTo>
                <a:cubicBezTo>
                  <a:pt x="123" y="57"/>
                  <a:pt x="123" y="57"/>
                  <a:pt x="123" y="57"/>
                </a:cubicBezTo>
                <a:cubicBezTo>
                  <a:pt x="123" y="57"/>
                  <a:pt x="123" y="57"/>
                  <a:pt x="123" y="57"/>
                </a:cubicBezTo>
                <a:cubicBezTo>
                  <a:pt x="123" y="47"/>
                  <a:pt x="123" y="47"/>
                  <a:pt x="123" y="47"/>
                </a:cubicBezTo>
                <a:cubicBezTo>
                  <a:pt x="123" y="47"/>
                  <a:pt x="123" y="47"/>
                  <a:pt x="123" y="47"/>
                </a:cubicBezTo>
                <a:cubicBezTo>
                  <a:pt x="123" y="44"/>
                  <a:pt x="123" y="44"/>
                  <a:pt x="123" y="44"/>
                </a:cubicBezTo>
                <a:cubicBezTo>
                  <a:pt x="123" y="44"/>
                  <a:pt x="123" y="44"/>
                  <a:pt x="123" y="44"/>
                </a:cubicBezTo>
                <a:cubicBezTo>
                  <a:pt x="123" y="34"/>
                  <a:pt x="123" y="34"/>
                  <a:pt x="123" y="34"/>
                </a:cubicBezTo>
                <a:cubicBezTo>
                  <a:pt x="123" y="34"/>
                  <a:pt x="123" y="34"/>
                  <a:pt x="123" y="34"/>
                </a:cubicBezTo>
                <a:cubicBezTo>
                  <a:pt x="123" y="31"/>
                  <a:pt x="123" y="31"/>
                  <a:pt x="123" y="31"/>
                </a:cubicBezTo>
                <a:cubicBezTo>
                  <a:pt x="123" y="31"/>
                  <a:pt x="123" y="31"/>
                  <a:pt x="123" y="31"/>
                </a:cubicBezTo>
                <a:cubicBezTo>
                  <a:pt x="123" y="21"/>
                  <a:pt x="123" y="21"/>
                  <a:pt x="123" y="21"/>
                </a:cubicBezTo>
                <a:cubicBezTo>
                  <a:pt x="123" y="21"/>
                  <a:pt x="123" y="21"/>
                  <a:pt x="123" y="21"/>
                </a:cubicBezTo>
                <a:cubicBezTo>
                  <a:pt x="123" y="18"/>
                  <a:pt x="123" y="18"/>
                  <a:pt x="123" y="18"/>
                </a:cubicBezTo>
                <a:cubicBezTo>
                  <a:pt x="123" y="18"/>
                  <a:pt x="123" y="18"/>
                  <a:pt x="123" y="18"/>
                </a:cubicBezTo>
                <a:cubicBezTo>
                  <a:pt x="123" y="12"/>
                  <a:pt x="123" y="12"/>
                  <a:pt x="123" y="12"/>
                </a:cubicBezTo>
                <a:cubicBezTo>
                  <a:pt x="123" y="5"/>
                  <a:pt x="117" y="0"/>
                  <a:pt x="111" y="0"/>
                </a:cubicBezTo>
                <a:cubicBezTo>
                  <a:pt x="44" y="0"/>
                  <a:pt x="44" y="0"/>
                  <a:pt x="44" y="0"/>
                </a:cubicBezTo>
                <a:cubicBezTo>
                  <a:pt x="37" y="0"/>
                  <a:pt x="32" y="5"/>
                  <a:pt x="32" y="12"/>
                </a:cubicBezTo>
                <a:cubicBezTo>
                  <a:pt x="32" y="18"/>
                  <a:pt x="32" y="18"/>
                  <a:pt x="32" y="18"/>
                </a:cubicBezTo>
                <a:cubicBezTo>
                  <a:pt x="32" y="18"/>
                  <a:pt x="32" y="18"/>
                  <a:pt x="32" y="18"/>
                </a:cubicBezTo>
                <a:cubicBezTo>
                  <a:pt x="32" y="21"/>
                  <a:pt x="32" y="21"/>
                  <a:pt x="32" y="21"/>
                </a:cubicBezTo>
                <a:cubicBezTo>
                  <a:pt x="32" y="21"/>
                  <a:pt x="32" y="21"/>
                  <a:pt x="32" y="21"/>
                </a:cubicBezTo>
                <a:cubicBezTo>
                  <a:pt x="32" y="31"/>
                  <a:pt x="32" y="31"/>
                  <a:pt x="32" y="31"/>
                </a:cubicBezTo>
                <a:cubicBezTo>
                  <a:pt x="32" y="31"/>
                  <a:pt x="32" y="31"/>
                  <a:pt x="32" y="31"/>
                </a:cubicBezTo>
                <a:cubicBezTo>
                  <a:pt x="32" y="34"/>
                  <a:pt x="32" y="34"/>
                  <a:pt x="32" y="34"/>
                </a:cubicBezTo>
                <a:cubicBezTo>
                  <a:pt x="32" y="34"/>
                  <a:pt x="32" y="34"/>
                  <a:pt x="32" y="34"/>
                </a:cubicBezTo>
                <a:cubicBezTo>
                  <a:pt x="32" y="44"/>
                  <a:pt x="32" y="44"/>
                  <a:pt x="32" y="44"/>
                </a:cubicBezTo>
                <a:cubicBezTo>
                  <a:pt x="32" y="44"/>
                  <a:pt x="32" y="44"/>
                  <a:pt x="32" y="44"/>
                </a:cubicBezTo>
                <a:cubicBezTo>
                  <a:pt x="32" y="47"/>
                  <a:pt x="32" y="47"/>
                  <a:pt x="32" y="47"/>
                </a:cubicBezTo>
                <a:cubicBezTo>
                  <a:pt x="32" y="47"/>
                  <a:pt x="32" y="47"/>
                  <a:pt x="32" y="47"/>
                </a:cubicBezTo>
                <a:cubicBezTo>
                  <a:pt x="32" y="57"/>
                  <a:pt x="32" y="57"/>
                  <a:pt x="32" y="57"/>
                </a:cubicBezTo>
                <a:cubicBezTo>
                  <a:pt x="32" y="57"/>
                  <a:pt x="32" y="57"/>
                  <a:pt x="32" y="57"/>
                </a:cubicBezTo>
                <a:cubicBezTo>
                  <a:pt x="32" y="60"/>
                  <a:pt x="32" y="60"/>
                  <a:pt x="32" y="60"/>
                </a:cubicBezTo>
                <a:cubicBezTo>
                  <a:pt x="32" y="60"/>
                  <a:pt x="32" y="60"/>
                  <a:pt x="32" y="60"/>
                </a:cubicBezTo>
                <a:cubicBezTo>
                  <a:pt x="32" y="70"/>
                  <a:pt x="32" y="70"/>
                  <a:pt x="32" y="70"/>
                </a:cubicBezTo>
                <a:cubicBezTo>
                  <a:pt x="32" y="70"/>
                  <a:pt x="32" y="70"/>
                  <a:pt x="32" y="70"/>
                </a:cubicBezTo>
                <a:cubicBezTo>
                  <a:pt x="32" y="73"/>
                  <a:pt x="32" y="73"/>
                  <a:pt x="32" y="73"/>
                </a:cubicBezTo>
                <a:cubicBezTo>
                  <a:pt x="32" y="73"/>
                  <a:pt x="32" y="73"/>
                  <a:pt x="32" y="73"/>
                </a:cubicBezTo>
                <a:cubicBezTo>
                  <a:pt x="32" y="84"/>
                  <a:pt x="32" y="84"/>
                  <a:pt x="32" y="84"/>
                </a:cubicBezTo>
                <a:cubicBezTo>
                  <a:pt x="32" y="84"/>
                  <a:pt x="32" y="84"/>
                  <a:pt x="32" y="84"/>
                </a:cubicBezTo>
                <a:cubicBezTo>
                  <a:pt x="32" y="86"/>
                  <a:pt x="32" y="86"/>
                  <a:pt x="32" y="86"/>
                </a:cubicBezTo>
                <a:cubicBezTo>
                  <a:pt x="32" y="86"/>
                  <a:pt x="32" y="86"/>
                  <a:pt x="32" y="86"/>
                </a:cubicBezTo>
                <a:cubicBezTo>
                  <a:pt x="32" y="97"/>
                  <a:pt x="32" y="97"/>
                  <a:pt x="32" y="97"/>
                </a:cubicBezTo>
                <a:cubicBezTo>
                  <a:pt x="32" y="97"/>
                  <a:pt x="32" y="97"/>
                  <a:pt x="32" y="97"/>
                </a:cubicBezTo>
                <a:cubicBezTo>
                  <a:pt x="32" y="99"/>
                  <a:pt x="32" y="99"/>
                  <a:pt x="32" y="99"/>
                </a:cubicBezTo>
                <a:cubicBezTo>
                  <a:pt x="32" y="99"/>
                  <a:pt x="32" y="99"/>
                  <a:pt x="32" y="99"/>
                </a:cubicBezTo>
                <a:cubicBezTo>
                  <a:pt x="32" y="110"/>
                  <a:pt x="32" y="110"/>
                  <a:pt x="32" y="110"/>
                </a:cubicBezTo>
                <a:cubicBezTo>
                  <a:pt x="32" y="110"/>
                  <a:pt x="32" y="110"/>
                  <a:pt x="32" y="110"/>
                </a:cubicBezTo>
                <a:cubicBezTo>
                  <a:pt x="32" y="112"/>
                  <a:pt x="32" y="112"/>
                  <a:pt x="32" y="112"/>
                </a:cubicBezTo>
                <a:cubicBezTo>
                  <a:pt x="32" y="112"/>
                  <a:pt x="32" y="112"/>
                  <a:pt x="32" y="112"/>
                </a:cubicBezTo>
                <a:cubicBezTo>
                  <a:pt x="32" y="123"/>
                  <a:pt x="32" y="123"/>
                  <a:pt x="32" y="123"/>
                </a:cubicBezTo>
                <a:cubicBezTo>
                  <a:pt x="32" y="123"/>
                  <a:pt x="32" y="123"/>
                  <a:pt x="32" y="123"/>
                </a:cubicBezTo>
                <a:cubicBezTo>
                  <a:pt x="32" y="123"/>
                  <a:pt x="32" y="123"/>
                  <a:pt x="32" y="123"/>
                </a:cubicBezTo>
                <a:cubicBezTo>
                  <a:pt x="31" y="121"/>
                  <a:pt x="31" y="121"/>
                  <a:pt x="31" y="121"/>
                </a:cubicBezTo>
                <a:cubicBezTo>
                  <a:pt x="31" y="120"/>
                  <a:pt x="30" y="119"/>
                  <a:pt x="28" y="119"/>
                </a:cubicBezTo>
                <a:cubicBezTo>
                  <a:pt x="27" y="120"/>
                  <a:pt x="26" y="121"/>
                  <a:pt x="26" y="123"/>
                </a:cubicBezTo>
                <a:cubicBezTo>
                  <a:pt x="27" y="125"/>
                  <a:pt x="27" y="125"/>
                  <a:pt x="27" y="125"/>
                </a:cubicBezTo>
                <a:cubicBezTo>
                  <a:pt x="27" y="127"/>
                  <a:pt x="29" y="127"/>
                  <a:pt x="30" y="127"/>
                </a:cubicBezTo>
                <a:cubicBezTo>
                  <a:pt x="31" y="127"/>
                  <a:pt x="32" y="126"/>
                  <a:pt x="32" y="126"/>
                </a:cubicBezTo>
                <a:cubicBezTo>
                  <a:pt x="32" y="132"/>
                  <a:pt x="32" y="132"/>
                  <a:pt x="32" y="132"/>
                </a:cubicBezTo>
                <a:cubicBezTo>
                  <a:pt x="32" y="132"/>
                  <a:pt x="32" y="132"/>
                  <a:pt x="32" y="132"/>
                </a:cubicBezTo>
                <a:cubicBezTo>
                  <a:pt x="30" y="132"/>
                  <a:pt x="29" y="134"/>
                  <a:pt x="30" y="135"/>
                </a:cubicBezTo>
                <a:cubicBezTo>
                  <a:pt x="30" y="138"/>
                  <a:pt x="30" y="138"/>
                  <a:pt x="30" y="138"/>
                </a:cubicBezTo>
                <a:cubicBezTo>
                  <a:pt x="31" y="139"/>
                  <a:pt x="31" y="139"/>
                  <a:pt x="32" y="139"/>
                </a:cubicBezTo>
                <a:cubicBezTo>
                  <a:pt x="32" y="148"/>
                  <a:pt x="32" y="148"/>
                  <a:pt x="32" y="148"/>
                </a:cubicBezTo>
                <a:cubicBezTo>
                  <a:pt x="32" y="155"/>
                  <a:pt x="37" y="160"/>
                  <a:pt x="44" y="160"/>
                </a:cubicBezTo>
                <a:cubicBezTo>
                  <a:pt x="111" y="160"/>
                  <a:pt x="111" y="160"/>
                  <a:pt x="111" y="160"/>
                </a:cubicBezTo>
                <a:cubicBezTo>
                  <a:pt x="117" y="160"/>
                  <a:pt x="123" y="155"/>
                  <a:pt x="123" y="148"/>
                </a:cubicBezTo>
                <a:cubicBezTo>
                  <a:pt x="123" y="139"/>
                  <a:pt x="123" y="139"/>
                  <a:pt x="123" y="139"/>
                </a:cubicBezTo>
                <a:cubicBezTo>
                  <a:pt x="123" y="139"/>
                  <a:pt x="124" y="139"/>
                  <a:pt x="124" y="138"/>
                </a:cubicBezTo>
                <a:cubicBezTo>
                  <a:pt x="125" y="135"/>
                  <a:pt x="125" y="135"/>
                  <a:pt x="125" y="135"/>
                </a:cubicBezTo>
                <a:cubicBezTo>
                  <a:pt x="125" y="134"/>
                  <a:pt x="125" y="132"/>
                  <a:pt x="123" y="132"/>
                </a:cubicBezTo>
                <a:cubicBezTo>
                  <a:pt x="123" y="132"/>
                  <a:pt x="123" y="132"/>
                  <a:pt x="123" y="132"/>
                </a:cubicBezTo>
                <a:cubicBezTo>
                  <a:pt x="123" y="126"/>
                  <a:pt x="123" y="126"/>
                  <a:pt x="123" y="126"/>
                </a:cubicBezTo>
                <a:cubicBezTo>
                  <a:pt x="123" y="126"/>
                  <a:pt x="123" y="126"/>
                  <a:pt x="123" y="126"/>
                </a:cubicBezTo>
                <a:cubicBezTo>
                  <a:pt x="123" y="126"/>
                  <a:pt x="124" y="127"/>
                  <a:pt x="124" y="127"/>
                </a:cubicBezTo>
                <a:cubicBezTo>
                  <a:pt x="126" y="127"/>
                  <a:pt x="127" y="127"/>
                  <a:pt x="128" y="125"/>
                </a:cubicBezTo>
                <a:cubicBezTo>
                  <a:pt x="128" y="123"/>
                  <a:pt x="128" y="123"/>
                  <a:pt x="128" y="123"/>
                </a:cubicBezTo>
                <a:cubicBezTo>
                  <a:pt x="129" y="121"/>
                  <a:pt x="128" y="120"/>
                  <a:pt x="126" y="119"/>
                </a:cubicBezTo>
                <a:close/>
                <a:moveTo>
                  <a:pt x="37" y="21"/>
                </a:moveTo>
                <a:cubicBezTo>
                  <a:pt x="117" y="21"/>
                  <a:pt x="117" y="21"/>
                  <a:pt x="117" y="21"/>
                </a:cubicBezTo>
                <a:cubicBezTo>
                  <a:pt x="117" y="123"/>
                  <a:pt x="117" y="123"/>
                  <a:pt x="117" y="123"/>
                </a:cubicBezTo>
                <a:cubicBezTo>
                  <a:pt x="37" y="123"/>
                  <a:pt x="37" y="123"/>
                  <a:pt x="37" y="123"/>
                </a:cubicBezTo>
                <a:lnTo>
                  <a:pt x="37" y="21"/>
                </a:lnTo>
                <a:close/>
                <a:moveTo>
                  <a:pt x="44" y="5"/>
                </a:moveTo>
                <a:cubicBezTo>
                  <a:pt x="111" y="5"/>
                  <a:pt x="111" y="5"/>
                  <a:pt x="111" y="5"/>
                </a:cubicBezTo>
                <a:cubicBezTo>
                  <a:pt x="114" y="5"/>
                  <a:pt x="117" y="8"/>
                  <a:pt x="117" y="12"/>
                </a:cubicBezTo>
                <a:cubicBezTo>
                  <a:pt x="117" y="16"/>
                  <a:pt x="117" y="16"/>
                  <a:pt x="117" y="16"/>
                </a:cubicBezTo>
                <a:cubicBezTo>
                  <a:pt x="37" y="16"/>
                  <a:pt x="37" y="16"/>
                  <a:pt x="37" y="16"/>
                </a:cubicBezTo>
                <a:cubicBezTo>
                  <a:pt x="37" y="12"/>
                  <a:pt x="37" y="12"/>
                  <a:pt x="37" y="12"/>
                </a:cubicBezTo>
                <a:cubicBezTo>
                  <a:pt x="37" y="8"/>
                  <a:pt x="40" y="5"/>
                  <a:pt x="44" y="5"/>
                </a:cubicBezTo>
                <a:close/>
                <a:moveTo>
                  <a:pt x="111" y="155"/>
                </a:moveTo>
                <a:cubicBezTo>
                  <a:pt x="44" y="155"/>
                  <a:pt x="44" y="155"/>
                  <a:pt x="44" y="155"/>
                </a:cubicBezTo>
                <a:cubicBezTo>
                  <a:pt x="40" y="155"/>
                  <a:pt x="37" y="152"/>
                  <a:pt x="37" y="148"/>
                </a:cubicBezTo>
                <a:cubicBezTo>
                  <a:pt x="37" y="128"/>
                  <a:pt x="37" y="128"/>
                  <a:pt x="37" y="128"/>
                </a:cubicBezTo>
                <a:cubicBezTo>
                  <a:pt x="117" y="128"/>
                  <a:pt x="117" y="128"/>
                  <a:pt x="117" y="128"/>
                </a:cubicBezTo>
                <a:cubicBezTo>
                  <a:pt x="117" y="148"/>
                  <a:pt x="117" y="148"/>
                  <a:pt x="117" y="148"/>
                </a:cubicBezTo>
                <a:cubicBezTo>
                  <a:pt x="117" y="152"/>
                  <a:pt x="114" y="155"/>
                  <a:pt x="111" y="155"/>
                </a:cubicBezTo>
                <a:close/>
                <a:moveTo>
                  <a:pt x="135" y="97"/>
                </a:moveTo>
                <a:cubicBezTo>
                  <a:pt x="134" y="100"/>
                  <a:pt x="134" y="100"/>
                  <a:pt x="134" y="100"/>
                </a:cubicBezTo>
                <a:cubicBezTo>
                  <a:pt x="134" y="101"/>
                  <a:pt x="133" y="102"/>
                  <a:pt x="132" y="102"/>
                </a:cubicBezTo>
                <a:cubicBezTo>
                  <a:pt x="132" y="102"/>
                  <a:pt x="131" y="102"/>
                  <a:pt x="131" y="102"/>
                </a:cubicBezTo>
                <a:cubicBezTo>
                  <a:pt x="130" y="101"/>
                  <a:pt x="129" y="100"/>
                  <a:pt x="129" y="99"/>
                </a:cubicBezTo>
                <a:cubicBezTo>
                  <a:pt x="130" y="96"/>
                  <a:pt x="130" y="96"/>
                  <a:pt x="130" y="96"/>
                </a:cubicBezTo>
                <a:cubicBezTo>
                  <a:pt x="130" y="95"/>
                  <a:pt x="132" y="94"/>
                  <a:pt x="133" y="94"/>
                </a:cubicBezTo>
                <a:cubicBezTo>
                  <a:pt x="135" y="95"/>
                  <a:pt x="135" y="96"/>
                  <a:pt x="135" y="97"/>
                </a:cubicBezTo>
                <a:close/>
                <a:moveTo>
                  <a:pt x="132" y="110"/>
                </a:moveTo>
                <a:cubicBezTo>
                  <a:pt x="131" y="113"/>
                  <a:pt x="131" y="113"/>
                  <a:pt x="131" y="113"/>
                </a:cubicBezTo>
                <a:cubicBezTo>
                  <a:pt x="131" y="114"/>
                  <a:pt x="130" y="115"/>
                  <a:pt x="128" y="115"/>
                </a:cubicBezTo>
                <a:cubicBezTo>
                  <a:pt x="128" y="115"/>
                  <a:pt x="128" y="114"/>
                  <a:pt x="128" y="114"/>
                </a:cubicBezTo>
                <a:cubicBezTo>
                  <a:pt x="126" y="114"/>
                  <a:pt x="126" y="113"/>
                  <a:pt x="126" y="111"/>
                </a:cubicBezTo>
                <a:cubicBezTo>
                  <a:pt x="127" y="109"/>
                  <a:pt x="127" y="109"/>
                  <a:pt x="127" y="109"/>
                </a:cubicBezTo>
                <a:cubicBezTo>
                  <a:pt x="127" y="107"/>
                  <a:pt x="128" y="106"/>
                  <a:pt x="130" y="107"/>
                </a:cubicBezTo>
                <a:cubicBezTo>
                  <a:pt x="131" y="107"/>
                  <a:pt x="132" y="109"/>
                  <a:pt x="132" y="110"/>
                </a:cubicBezTo>
                <a:close/>
                <a:moveTo>
                  <a:pt x="138" y="85"/>
                </a:moveTo>
                <a:cubicBezTo>
                  <a:pt x="138" y="87"/>
                  <a:pt x="138" y="87"/>
                  <a:pt x="138" y="87"/>
                </a:cubicBezTo>
                <a:cubicBezTo>
                  <a:pt x="137" y="89"/>
                  <a:pt x="136" y="89"/>
                  <a:pt x="135" y="89"/>
                </a:cubicBezTo>
                <a:cubicBezTo>
                  <a:pt x="135" y="89"/>
                  <a:pt x="135" y="89"/>
                  <a:pt x="135" y="89"/>
                </a:cubicBezTo>
                <a:cubicBezTo>
                  <a:pt x="133" y="89"/>
                  <a:pt x="132" y="87"/>
                  <a:pt x="133" y="86"/>
                </a:cubicBezTo>
                <a:cubicBezTo>
                  <a:pt x="133" y="83"/>
                  <a:pt x="133" y="83"/>
                  <a:pt x="133" y="83"/>
                </a:cubicBezTo>
                <a:cubicBezTo>
                  <a:pt x="134" y="82"/>
                  <a:pt x="135" y="81"/>
                  <a:pt x="137" y="82"/>
                </a:cubicBezTo>
                <a:cubicBezTo>
                  <a:pt x="138" y="82"/>
                  <a:pt x="139" y="83"/>
                  <a:pt x="138" y="85"/>
                </a:cubicBezTo>
                <a:close/>
                <a:moveTo>
                  <a:pt x="142" y="72"/>
                </a:moveTo>
                <a:cubicBezTo>
                  <a:pt x="141" y="75"/>
                  <a:pt x="141" y="75"/>
                  <a:pt x="141" y="75"/>
                </a:cubicBezTo>
                <a:cubicBezTo>
                  <a:pt x="141" y="76"/>
                  <a:pt x="140" y="77"/>
                  <a:pt x="139" y="77"/>
                </a:cubicBezTo>
                <a:cubicBezTo>
                  <a:pt x="138" y="77"/>
                  <a:pt x="138" y="77"/>
                  <a:pt x="138" y="77"/>
                </a:cubicBezTo>
                <a:cubicBezTo>
                  <a:pt x="136" y="76"/>
                  <a:pt x="136" y="75"/>
                  <a:pt x="136" y="73"/>
                </a:cubicBezTo>
                <a:cubicBezTo>
                  <a:pt x="137" y="71"/>
                  <a:pt x="137" y="71"/>
                  <a:pt x="137" y="71"/>
                </a:cubicBezTo>
                <a:cubicBezTo>
                  <a:pt x="137" y="69"/>
                  <a:pt x="139" y="69"/>
                  <a:pt x="140" y="69"/>
                </a:cubicBezTo>
                <a:cubicBezTo>
                  <a:pt x="141" y="69"/>
                  <a:pt x="142" y="71"/>
                  <a:pt x="142" y="72"/>
                </a:cubicBezTo>
                <a:close/>
              </a:path>
            </a:pathLst>
          </a:custGeom>
          <a:solidFill>
            <a:srgbClr val="000000">
              <a:alpha val="61000"/>
            </a:srgbClr>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6409275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7A3F395C-4915-A941-81FF-C0308D81269F}"/>
              </a:ext>
            </a:extLst>
          </p:cNvPr>
          <p:cNvSpPr>
            <a:spLocks noEditPoints="1"/>
          </p:cNvSpPr>
          <p:nvPr/>
        </p:nvSpPr>
        <p:spPr bwMode="auto">
          <a:xfrm>
            <a:off x="631516" y="400050"/>
            <a:ext cx="522288" cy="604838"/>
          </a:xfrm>
          <a:custGeom>
            <a:avLst/>
            <a:gdLst>
              <a:gd name="T0" fmla="*/ 32 w 139"/>
              <a:gd name="T1" fmla="*/ 141 h 160"/>
              <a:gd name="T2" fmla="*/ 53 w 139"/>
              <a:gd name="T3" fmla="*/ 141 h 160"/>
              <a:gd name="T4" fmla="*/ 43 w 139"/>
              <a:gd name="T5" fmla="*/ 147 h 160"/>
              <a:gd name="T6" fmla="*/ 43 w 139"/>
              <a:gd name="T7" fmla="*/ 136 h 160"/>
              <a:gd name="T8" fmla="*/ 43 w 139"/>
              <a:gd name="T9" fmla="*/ 147 h 160"/>
              <a:gd name="T10" fmla="*/ 35 w 139"/>
              <a:gd name="T11" fmla="*/ 8 h 160"/>
              <a:gd name="T12" fmla="*/ 48 w 139"/>
              <a:gd name="T13" fmla="*/ 11 h 160"/>
              <a:gd name="T14" fmla="*/ 35 w 139"/>
              <a:gd name="T15" fmla="*/ 13 h 160"/>
              <a:gd name="T16" fmla="*/ 51 w 139"/>
              <a:gd name="T17" fmla="*/ 11 h 160"/>
              <a:gd name="T18" fmla="*/ 56 w 139"/>
              <a:gd name="T19" fmla="*/ 8 h 160"/>
              <a:gd name="T20" fmla="*/ 56 w 139"/>
              <a:gd name="T21" fmla="*/ 13 h 160"/>
              <a:gd name="T22" fmla="*/ 51 w 139"/>
              <a:gd name="T23" fmla="*/ 11 h 160"/>
              <a:gd name="T24" fmla="*/ 91 w 139"/>
              <a:gd name="T25" fmla="*/ 32 h 160"/>
              <a:gd name="T26" fmla="*/ 79 w 139"/>
              <a:gd name="T27" fmla="*/ 0 h 160"/>
              <a:gd name="T28" fmla="*/ 0 w 139"/>
              <a:gd name="T29" fmla="*/ 12 h 160"/>
              <a:gd name="T30" fmla="*/ 12 w 139"/>
              <a:gd name="T31" fmla="*/ 160 h 160"/>
              <a:gd name="T32" fmla="*/ 91 w 139"/>
              <a:gd name="T33" fmla="*/ 148 h 160"/>
              <a:gd name="T34" fmla="*/ 139 w 139"/>
              <a:gd name="T35" fmla="*/ 88 h 160"/>
              <a:gd name="T36" fmla="*/ 12 w 139"/>
              <a:gd name="T37" fmla="*/ 5 h 160"/>
              <a:gd name="T38" fmla="*/ 85 w 139"/>
              <a:gd name="T39" fmla="*/ 12 h 160"/>
              <a:gd name="T40" fmla="*/ 5 w 139"/>
              <a:gd name="T41" fmla="*/ 16 h 160"/>
              <a:gd name="T42" fmla="*/ 12 w 139"/>
              <a:gd name="T43" fmla="*/ 5 h 160"/>
              <a:gd name="T44" fmla="*/ 12 w 139"/>
              <a:gd name="T45" fmla="*/ 155 h 160"/>
              <a:gd name="T46" fmla="*/ 5 w 139"/>
              <a:gd name="T47" fmla="*/ 128 h 160"/>
              <a:gd name="T48" fmla="*/ 85 w 139"/>
              <a:gd name="T49" fmla="*/ 148 h 160"/>
              <a:gd name="T50" fmla="*/ 85 w 139"/>
              <a:gd name="T51" fmla="*/ 123 h 160"/>
              <a:gd name="T52" fmla="*/ 5 w 139"/>
              <a:gd name="T53" fmla="*/ 21 h 160"/>
              <a:gd name="T54" fmla="*/ 85 w 139"/>
              <a:gd name="T55" fmla="*/ 32 h 160"/>
              <a:gd name="T56" fmla="*/ 37 w 139"/>
              <a:gd name="T57" fmla="*/ 88 h 160"/>
              <a:gd name="T58" fmla="*/ 48 w 139"/>
              <a:gd name="T59" fmla="*/ 107 h 160"/>
              <a:gd name="T60" fmla="*/ 85 w 139"/>
              <a:gd name="T61" fmla="*/ 88 h 160"/>
              <a:gd name="T62" fmla="*/ 133 w 139"/>
              <a:gd name="T63" fmla="*/ 83 h 160"/>
              <a:gd name="T64" fmla="*/ 71 w 139"/>
              <a:gd name="T65" fmla="*/ 83 h 160"/>
              <a:gd name="T66" fmla="*/ 53 w 139"/>
              <a:gd name="T67" fmla="*/ 83 h 160"/>
              <a:gd name="T68" fmla="*/ 43 w 139"/>
              <a:gd name="T69" fmla="*/ 37 h 160"/>
              <a:gd name="T70" fmla="*/ 133 w 139"/>
              <a:gd name="T71" fmla="*/ 37 h 160"/>
              <a:gd name="T72" fmla="*/ 53 w 139"/>
              <a:gd name="T73" fmla="*/ 53 h 160"/>
              <a:gd name="T74" fmla="*/ 83 w 139"/>
              <a:gd name="T75" fmla="*/ 51 h 160"/>
              <a:gd name="T76" fmla="*/ 83 w 139"/>
              <a:gd name="T77" fmla="*/ 56 h 160"/>
              <a:gd name="T78" fmla="*/ 53 w 139"/>
              <a:gd name="T79" fmla="*/ 53 h 160"/>
              <a:gd name="T80" fmla="*/ 120 w 139"/>
              <a:gd name="T81" fmla="*/ 64 h 160"/>
              <a:gd name="T82" fmla="*/ 120 w 139"/>
              <a:gd name="T83" fmla="*/ 69 h 160"/>
              <a:gd name="T84" fmla="*/ 53 w 139"/>
              <a:gd name="T85" fmla="*/ 6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9" h="160">
                <a:moveTo>
                  <a:pt x="43" y="131"/>
                </a:moveTo>
                <a:cubicBezTo>
                  <a:pt x="37" y="131"/>
                  <a:pt x="32" y="135"/>
                  <a:pt x="32" y="141"/>
                </a:cubicBezTo>
                <a:cubicBezTo>
                  <a:pt x="32" y="147"/>
                  <a:pt x="37" y="152"/>
                  <a:pt x="43" y="152"/>
                </a:cubicBezTo>
                <a:cubicBezTo>
                  <a:pt x="49" y="152"/>
                  <a:pt x="53" y="147"/>
                  <a:pt x="53" y="141"/>
                </a:cubicBezTo>
                <a:cubicBezTo>
                  <a:pt x="53" y="135"/>
                  <a:pt x="49" y="131"/>
                  <a:pt x="43" y="131"/>
                </a:cubicBezTo>
                <a:close/>
                <a:moveTo>
                  <a:pt x="43" y="147"/>
                </a:moveTo>
                <a:cubicBezTo>
                  <a:pt x="40" y="147"/>
                  <a:pt x="37" y="144"/>
                  <a:pt x="37" y="141"/>
                </a:cubicBezTo>
                <a:cubicBezTo>
                  <a:pt x="37" y="138"/>
                  <a:pt x="40" y="136"/>
                  <a:pt x="43" y="136"/>
                </a:cubicBezTo>
                <a:cubicBezTo>
                  <a:pt x="46" y="136"/>
                  <a:pt x="48" y="138"/>
                  <a:pt x="48" y="141"/>
                </a:cubicBezTo>
                <a:cubicBezTo>
                  <a:pt x="48" y="144"/>
                  <a:pt x="46" y="147"/>
                  <a:pt x="43"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139" y="32"/>
                </a:moveTo>
                <a:cubicBezTo>
                  <a:pt x="91" y="32"/>
                  <a:pt x="91" y="32"/>
                  <a:pt x="91" y="32"/>
                </a:cubicBezTo>
                <a:cubicBezTo>
                  <a:pt x="91" y="12"/>
                  <a:pt x="91" y="12"/>
                  <a:pt x="91" y="12"/>
                </a:cubicBezTo>
                <a:cubicBezTo>
                  <a:pt x="91" y="5"/>
                  <a:pt x="85" y="0"/>
                  <a:pt x="79" y="0"/>
                </a:cubicBez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88"/>
                  <a:pt x="91" y="88"/>
                  <a:pt x="91" y="88"/>
                </a:cubicBezTo>
                <a:cubicBezTo>
                  <a:pt x="139" y="88"/>
                  <a:pt x="139" y="88"/>
                  <a:pt x="139" y="88"/>
                </a:cubicBezTo>
                <a:lnTo>
                  <a:pt x="139" y="32"/>
                </a:ln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85" y="123"/>
                </a:moveTo>
                <a:cubicBezTo>
                  <a:pt x="5" y="123"/>
                  <a:pt x="5" y="123"/>
                  <a:pt x="5" y="123"/>
                </a:cubicBezTo>
                <a:cubicBezTo>
                  <a:pt x="5" y="21"/>
                  <a:pt x="5" y="21"/>
                  <a:pt x="5" y="21"/>
                </a:cubicBezTo>
                <a:cubicBezTo>
                  <a:pt x="85" y="21"/>
                  <a:pt x="85" y="21"/>
                  <a:pt x="85" y="21"/>
                </a:cubicBezTo>
                <a:cubicBezTo>
                  <a:pt x="85" y="32"/>
                  <a:pt x="85" y="32"/>
                  <a:pt x="85" y="32"/>
                </a:cubicBezTo>
                <a:cubicBezTo>
                  <a:pt x="37" y="32"/>
                  <a:pt x="37" y="32"/>
                  <a:pt x="37" y="32"/>
                </a:cubicBezTo>
                <a:cubicBezTo>
                  <a:pt x="37" y="88"/>
                  <a:pt x="37" y="88"/>
                  <a:pt x="37" y="88"/>
                </a:cubicBezTo>
                <a:cubicBezTo>
                  <a:pt x="48" y="88"/>
                  <a:pt x="48" y="88"/>
                  <a:pt x="48" y="88"/>
                </a:cubicBezTo>
                <a:cubicBezTo>
                  <a:pt x="48" y="107"/>
                  <a:pt x="48" y="107"/>
                  <a:pt x="48" y="107"/>
                </a:cubicBezTo>
                <a:cubicBezTo>
                  <a:pt x="73" y="88"/>
                  <a:pt x="73" y="88"/>
                  <a:pt x="73" y="88"/>
                </a:cubicBezTo>
                <a:cubicBezTo>
                  <a:pt x="85" y="88"/>
                  <a:pt x="85" y="88"/>
                  <a:pt x="85" y="88"/>
                </a:cubicBezTo>
                <a:lnTo>
                  <a:pt x="85" y="123"/>
                </a:lnTo>
                <a:close/>
                <a:moveTo>
                  <a:pt x="133" y="83"/>
                </a:moveTo>
                <a:cubicBezTo>
                  <a:pt x="91" y="83"/>
                  <a:pt x="91" y="83"/>
                  <a:pt x="91" y="83"/>
                </a:cubicBezTo>
                <a:cubicBezTo>
                  <a:pt x="71" y="83"/>
                  <a:pt x="71" y="83"/>
                  <a:pt x="71" y="83"/>
                </a:cubicBezTo>
                <a:cubicBezTo>
                  <a:pt x="53" y="96"/>
                  <a:pt x="53" y="96"/>
                  <a:pt x="53" y="96"/>
                </a:cubicBezTo>
                <a:cubicBezTo>
                  <a:pt x="53" y="83"/>
                  <a:pt x="53" y="83"/>
                  <a:pt x="53" y="83"/>
                </a:cubicBezTo>
                <a:cubicBezTo>
                  <a:pt x="43" y="83"/>
                  <a:pt x="43" y="83"/>
                  <a:pt x="43" y="83"/>
                </a:cubicBezTo>
                <a:cubicBezTo>
                  <a:pt x="43" y="37"/>
                  <a:pt x="43" y="37"/>
                  <a:pt x="43" y="37"/>
                </a:cubicBezTo>
                <a:cubicBezTo>
                  <a:pt x="91" y="37"/>
                  <a:pt x="91" y="37"/>
                  <a:pt x="91" y="37"/>
                </a:cubicBezTo>
                <a:cubicBezTo>
                  <a:pt x="133" y="37"/>
                  <a:pt x="133" y="37"/>
                  <a:pt x="133" y="37"/>
                </a:cubicBezTo>
                <a:lnTo>
                  <a:pt x="133" y="83"/>
                </a:lnTo>
                <a:close/>
                <a:moveTo>
                  <a:pt x="53" y="53"/>
                </a:moveTo>
                <a:cubicBezTo>
                  <a:pt x="53" y="52"/>
                  <a:pt x="55" y="51"/>
                  <a:pt x="56" y="51"/>
                </a:cubicBezTo>
                <a:cubicBezTo>
                  <a:pt x="83" y="51"/>
                  <a:pt x="83" y="51"/>
                  <a:pt x="83" y="51"/>
                </a:cubicBezTo>
                <a:cubicBezTo>
                  <a:pt x="84" y="51"/>
                  <a:pt x="85" y="52"/>
                  <a:pt x="85" y="53"/>
                </a:cubicBezTo>
                <a:cubicBezTo>
                  <a:pt x="85" y="55"/>
                  <a:pt x="84" y="56"/>
                  <a:pt x="83" y="56"/>
                </a:cubicBezTo>
                <a:cubicBezTo>
                  <a:pt x="56" y="56"/>
                  <a:pt x="56" y="56"/>
                  <a:pt x="56" y="56"/>
                </a:cubicBezTo>
                <a:cubicBezTo>
                  <a:pt x="55" y="56"/>
                  <a:pt x="53" y="55"/>
                  <a:pt x="53" y="53"/>
                </a:cubicBezTo>
                <a:close/>
                <a:moveTo>
                  <a:pt x="56" y="64"/>
                </a:moveTo>
                <a:cubicBezTo>
                  <a:pt x="120" y="64"/>
                  <a:pt x="120" y="64"/>
                  <a:pt x="120" y="64"/>
                </a:cubicBezTo>
                <a:cubicBezTo>
                  <a:pt x="121" y="64"/>
                  <a:pt x="123" y="65"/>
                  <a:pt x="123" y="67"/>
                </a:cubicBezTo>
                <a:cubicBezTo>
                  <a:pt x="123" y="68"/>
                  <a:pt x="121" y="69"/>
                  <a:pt x="120" y="69"/>
                </a:cubicBezTo>
                <a:cubicBezTo>
                  <a:pt x="56" y="69"/>
                  <a:pt x="56" y="69"/>
                  <a:pt x="56" y="69"/>
                </a:cubicBezTo>
                <a:cubicBezTo>
                  <a:pt x="55" y="69"/>
                  <a:pt x="53" y="68"/>
                  <a:pt x="53" y="67"/>
                </a:cubicBezTo>
                <a:cubicBezTo>
                  <a:pt x="53" y="65"/>
                  <a:pt x="55" y="64"/>
                  <a:pt x="56" y="64"/>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Freeform 6">
            <a:extLst>
              <a:ext uri="{FF2B5EF4-FFF2-40B4-BE49-F238E27FC236}">
                <a16:creationId xmlns:a16="http://schemas.microsoft.com/office/drawing/2014/main" id="{210A25D7-F9A9-8046-8E29-3A002AA6495C}"/>
              </a:ext>
            </a:extLst>
          </p:cNvPr>
          <p:cNvSpPr>
            <a:spLocks noEditPoints="1"/>
          </p:cNvSpPr>
          <p:nvPr/>
        </p:nvSpPr>
        <p:spPr bwMode="auto">
          <a:xfrm>
            <a:off x="601354" y="1081088"/>
            <a:ext cx="571500" cy="604838"/>
          </a:xfrm>
          <a:custGeom>
            <a:avLst/>
            <a:gdLst>
              <a:gd name="T0" fmla="*/ 96 w 152"/>
              <a:gd name="T1" fmla="*/ 141 h 160"/>
              <a:gd name="T2" fmla="*/ 117 w 152"/>
              <a:gd name="T3" fmla="*/ 141 h 160"/>
              <a:gd name="T4" fmla="*/ 107 w 152"/>
              <a:gd name="T5" fmla="*/ 147 h 160"/>
              <a:gd name="T6" fmla="*/ 107 w 152"/>
              <a:gd name="T7" fmla="*/ 136 h 160"/>
              <a:gd name="T8" fmla="*/ 107 w 152"/>
              <a:gd name="T9" fmla="*/ 147 h 160"/>
              <a:gd name="T10" fmla="*/ 96 w 152"/>
              <a:gd name="T11" fmla="*/ 8 h 160"/>
              <a:gd name="T12" fmla="*/ 109 w 152"/>
              <a:gd name="T13" fmla="*/ 11 h 160"/>
              <a:gd name="T14" fmla="*/ 96 w 152"/>
              <a:gd name="T15" fmla="*/ 13 h 160"/>
              <a:gd name="T16" fmla="*/ 112 w 152"/>
              <a:gd name="T17" fmla="*/ 11 h 160"/>
              <a:gd name="T18" fmla="*/ 117 w 152"/>
              <a:gd name="T19" fmla="*/ 8 h 160"/>
              <a:gd name="T20" fmla="*/ 117 w 152"/>
              <a:gd name="T21" fmla="*/ 13 h 160"/>
              <a:gd name="T22" fmla="*/ 112 w 152"/>
              <a:gd name="T23" fmla="*/ 11 h 160"/>
              <a:gd name="T24" fmla="*/ 73 w 152"/>
              <a:gd name="T25" fmla="*/ 0 h 160"/>
              <a:gd name="T26" fmla="*/ 61 w 152"/>
              <a:gd name="T27" fmla="*/ 37 h 160"/>
              <a:gd name="T28" fmla="*/ 45 w 152"/>
              <a:gd name="T29" fmla="*/ 95 h 160"/>
              <a:gd name="T30" fmla="*/ 1 w 152"/>
              <a:gd name="T31" fmla="*/ 140 h 160"/>
              <a:gd name="T32" fmla="*/ 4 w 152"/>
              <a:gd name="T33" fmla="*/ 141 h 160"/>
              <a:gd name="T34" fmla="*/ 61 w 152"/>
              <a:gd name="T35" fmla="*/ 107 h 160"/>
              <a:gd name="T36" fmla="*/ 73 w 152"/>
              <a:gd name="T37" fmla="*/ 160 h 160"/>
              <a:gd name="T38" fmla="*/ 152 w 152"/>
              <a:gd name="T39" fmla="*/ 148 h 160"/>
              <a:gd name="T40" fmla="*/ 140 w 152"/>
              <a:gd name="T41" fmla="*/ 0 h 160"/>
              <a:gd name="T42" fmla="*/ 140 w 152"/>
              <a:gd name="T43" fmla="*/ 5 h 160"/>
              <a:gd name="T44" fmla="*/ 147 w 152"/>
              <a:gd name="T45" fmla="*/ 16 h 160"/>
              <a:gd name="T46" fmla="*/ 67 w 152"/>
              <a:gd name="T47" fmla="*/ 12 h 160"/>
              <a:gd name="T48" fmla="*/ 43 w 152"/>
              <a:gd name="T49" fmla="*/ 72 h 160"/>
              <a:gd name="T50" fmla="*/ 66 w 152"/>
              <a:gd name="T51" fmla="*/ 41 h 160"/>
              <a:gd name="T52" fmla="*/ 69 w 152"/>
              <a:gd name="T53" fmla="*/ 41 h 160"/>
              <a:gd name="T54" fmla="*/ 72 w 152"/>
              <a:gd name="T55" fmla="*/ 40 h 160"/>
              <a:gd name="T56" fmla="*/ 107 w 152"/>
              <a:gd name="T57" fmla="*/ 72 h 160"/>
              <a:gd name="T58" fmla="*/ 72 w 152"/>
              <a:gd name="T59" fmla="*/ 104 h 160"/>
              <a:gd name="T60" fmla="*/ 69 w 152"/>
              <a:gd name="T61" fmla="*/ 103 h 160"/>
              <a:gd name="T62" fmla="*/ 66 w 152"/>
              <a:gd name="T63" fmla="*/ 103 h 160"/>
              <a:gd name="T64" fmla="*/ 43 w 152"/>
              <a:gd name="T65" fmla="*/ 72 h 160"/>
              <a:gd name="T66" fmla="*/ 71 w 152"/>
              <a:gd name="T67" fmla="*/ 109 h 160"/>
              <a:gd name="T68" fmla="*/ 112 w 152"/>
              <a:gd name="T69" fmla="*/ 72 h 160"/>
              <a:gd name="T70" fmla="*/ 71 w 152"/>
              <a:gd name="T71" fmla="*/ 35 h 160"/>
              <a:gd name="T72" fmla="*/ 67 w 152"/>
              <a:gd name="T73" fmla="*/ 36 h 160"/>
              <a:gd name="T74" fmla="*/ 67 w 152"/>
              <a:gd name="T75" fmla="*/ 21 h 160"/>
              <a:gd name="T76" fmla="*/ 147 w 152"/>
              <a:gd name="T77" fmla="*/ 123 h 160"/>
              <a:gd name="T78" fmla="*/ 67 w 152"/>
              <a:gd name="T79" fmla="*/ 108 h 160"/>
              <a:gd name="T80" fmla="*/ 70 w 152"/>
              <a:gd name="T81" fmla="*/ 109 h 160"/>
              <a:gd name="T82" fmla="*/ 73 w 152"/>
              <a:gd name="T83" fmla="*/ 155 h 160"/>
              <a:gd name="T84" fmla="*/ 67 w 152"/>
              <a:gd name="T85" fmla="*/ 128 h 160"/>
              <a:gd name="T86" fmla="*/ 147 w 152"/>
              <a:gd name="T87" fmla="*/ 14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160">
                <a:moveTo>
                  <a:pt x="107" y="131"/>
                </a:moveTo>
                <a:cubicBezTo>
                  <a:pt x="101" y="131"/>
                  <a:pt x="96" y="135"/>
                  <a:pt x="96" y="141"/>
                </a:cubicBezTo>
                <a:cubicBezTo>
                  <a:pt x="96" y="147"/>
                  <a:pt x="101" y="152"/>
                  <a:pt x="107" y="152"/>
                </a:cubicBezTo>
                <a:cubicBezTo>
                  <a:pt x="113" y="152"/>
                  <a:pt x="117" y="147"/>
                  <a:pt x="117" y="141"/>
                </a:cubicBezTo>
                <a:cubicBezTo>
                  <a:pt x="117" y="135"/>
                  <a:pt x="113" y="131"/>
                  <a:pt x="107" y="131"/>
                </a:cubicBezTo>
                <a:close/>
                <a:moveTo>
                  <a:pt x="107" y="147"/>
                </a:moveTo>
                <a:cubicBezTo>
                  <a:pt x="104" y="147"/>
                  <a:pt x="101" y="144"/>
                  <a:pt x="101" y="141"/>
                </a:cubicBezTo>
                <a:cubicBezTo>
                  <a:pt x="101" y="138"/>
                  <a:pt x="104" y="136"/>
                  <a:pt x="107" y="136"/>
                </a:cubicBezTo>
                <a:cubicBezTo>
                  <a:pt x="110" y="136"/>
                  <a:pt x="112" y="138"/>
                  <a:pt x="112" y="141"/>
                </a:cubicBezTo>
                <a:cubicBezTo>
                  <a:pt x="112" y="144"/>
                  <a:pt x="110" y="147"/>
                  <a:pt x="107" y="147"/>
                </a:cubicBezTo>
                <a:close/>
                <a:moveTo>
                  <a:pt x="93" y="11"/>
                </a:moveTo>
                <a:cubicBezTo>
                  <a:pt x="93" y="9"/>
                  <a:pt x="95" y="8"/>
                  <a:pt x="96" y="8"/>
                </a:cubicBezTo>
                <a:cubicBezTo>
                  <a:pt x="107" y="8"/>
                  <a:pt x="107" y="8"/>
                  <a:pt x="107" y="8"/>
                </a:cubicBezTo>
                <a:cubicBezTo>
                  <a:pt x="108" y="8"/>
                  <a:pt x="109" y="9"/>
                  <a:pt x="109" y="11"/>
                </a:cubicBezTo>
                <a:cubicBezTo>
                  <a:pt x="109" y="12"/>
                  <a:pt x="108" y="13"/>
                  <a:pt x="107" y="13"/>
                </a:cubicBezTo>
                <a:cubicBezTo>
                  <a:pt x="96" y="13"/>
                  <a:pt x="96" y="13"/>
                  <a:pt x="96" y="13"/>
                </a:cubicBezTo>
                <a:cubicBezTo>
                  <a:pt x="95" y="13"/>
                  <a:pt x="93" y="12"/>
                  <a:pt x="93" y="11"/>
                </a:cubicBezTo>
                <a:close/>
                <a:moveTo>
                  <a:pt x="112" y="11"/>
                </a:moveTo>
                <a:cubicBezTo>
                  <a:pt x="112" y="9"/>
                  <a:pt x="113" y="8"/>
                  <a:pt x="115" y="8"/>
                </a:cubicBezTo>
                <a:cubicBezTo>
                  <a:pt x="117" y="8"/>
                  <a:pt x="117" y="8"/>
                  <a:pt x="117" y="8"/>
                </a:cubicBezTo>
                <a:cubicBezTo>
                  <a:pt x="119" y="8"/>
                  <a:pt x="120" y="9"/>
                  <a:pt x="120" y="11"/>
                </a:cubicBezTo>
                <a:cubicBezTo>
                  <a:pt x="120" y="12"/>
                  <a:pt x="119" y="13"/>
                  <a:pt x="117" y="13"/>
                </a:cubicBezTo>
                <a:cubicBezTo>
                  <a:pt x="115" y="13"/>
                  <a:pt x="115" y="13"/>
                  <a:pt x="115" y="13"/>
                </a:cubicBezTo>
                <a:cubicBezTo>
                  <a:pt x="113" y="13"/>
                  <a:pt x="112" y="12"/>
                  <a:pt x="112" y="11"/>
                </a:cubicBezTo>
                <a:close/>
                <a:moveTo>
                  <a:pt x="140" y="0"/>
                </a:moveTo>
                <a:cubicBezTo>
                  <a:pt x="73" y="0"/>
                  <a:pt x="73" y="0"/>
                  <a:pt x="73" y="0"/>
                </a:cubicBezTo>
                <a:cubicBezTo>
                  <a:pt x="67" y="0"/>
                  <a:pt x="61" y="5"/>
                  <a:pt x="61" y="12"/>
                </a:cubicBezTo>
                <a:cubicBezTo>
                  <a:pt x="61" y="37"/>
                  <a:pt x="61" y="37"/>
                  <a:pt x="61" y="37"/>
                </a:cubicBezTo>
                <a:cubicBezTo>
                  <a:pt x="47" y="43"/>
                  <a:pt x="37" y="56"/>
                  <a:pt x="37" y="72"/>
                </a:cubicBezTo>
                <a:cubicBezTo>
                  <a:pt x="37" y="81"/>
                  <a:pt x="40" y="89"/>
                  <a:pt x="45" y="95"/>
                </a:cubicBezTo>
                <a:cubicBezTo>
                  <a:pt x="1" y="137"/>
                  <a:pt x="1" y="137"/>
                  <a:pt x="1" y="137"/>
                </a:cubicBezTo>
                <a:cubicBezTo>
                  <a:pt x="0" y="138"/>
                  <a:pt x="0" y="139"/>
                  <a:pt x="1" y="140"/>
                </a:cubicBezTo>
                <a:cubicBezTo>
                  <a:pt x="1" y="141"/>
                  <a:pt x="2" y="141"/>
                  <a:pt x="3" y="141"/>
                </a:cubicBezTo>
                <a:cubicBezTo>
                  <a:pt x="3" y="141"/>
                  <a:pt x="4" y="141"/>
                  <a:pt x="4" y="141"/>
                </a:cubicBezTo>
                <a:cubicBezTo>
                  <a:pt x="49" y="99"/>
                  <a:pt x="49" y="99"/>
                  <a:pt x="49" y="99"/>
                </a:cubicBezTo>
                <a:cubicBezTo>
                  <a:pt x="52" y="102"/>
                  <a:pt x="57" y="105"/>
                  <a:pt x="61" y="107"/>
                </a:cubicBezTo>
                <a:cubicBezTo>
                  <a:pt x="61" y="148"/>
                  <a:pt x="61" y="148"/>
                  <a:pt x="61" y="148"/>
                </a:cubicBezTo>
                <a:cubicBezTo>
                  <a:pt x="61" y="155"/>
                  <a:pt x="67" y="160"/>
                  <a:pt x="73" y="160"/>
                </a:cubicBezTo>
                <a:cubicBezTo>
                  <a:pt x="140" y="160"/>
                  <a:pt x="140" y="160"/>
                  <a:pt x="140" y="160"/>
                </a:cubicBezTo>
                <a:cubicBezTo>
                  <a:pt x="147" y="160"/>
                  <a:pt x="152" y="155"/>
                  <a:pt x="152" y="148"/>
                </a:cubicBezTo>
                <a:cubicBezTo>
                  <a:pt x="152" y="12"/>
                  <a:pt x="152" y="12"/>
                  <a:pt x="152" y="12"/>
                </a:cubicBezTo>
                <a:cubicBezTo>
                  <a:pt x="152" y="5"/>
                  <a:pt x="147" y="0"/>
                  <a:pt x="140" y="0"/>
                </a:cubicBezTo>
                <a:close/>
                <a:moveTo>
                  <a:pt x="73" y="5"/>
                </a:moveTo>
                <a:cubicBezTo>
                  <a:pt x="140" y="5"/>
                  <a:pt x="140" y="5"/>
                  <a:pt x="140" y="5"/>
                </a:cubicBezTo>
                <a:cubicBezTo>
                  <a:pt x="144" y="5"/>
                  <a:pt x="147" y="8"/>
                  <a:pt x="147" y="12"/>
                </a:cubicBezTo>
                <a:cubicBezTo>
                  <a:pt x="147" y="16"/>
                  <a:pt x="147" y="16"/>
                  <a:pt x="147" y="16"/>
                </a:cubicBezTo>
                <a:cubicBezTo>
                  <a:pt x="67" y="16"/>
                  <a:pt x="67" y="16"/>
                  <a:pt x="67" y="16"/>
                </a:cubicBezTo>
                <a:cubicBezTo>
                  <a:pt x="67" y="12"/>
                  <a:pt x="67" y="12"/>
                  <a:pt x="67" y="12"/>
                </a:cubicBezTo>
                <a:cubicBezTo>
                  <a:pt x="67" y="8"/>
                  <a:pt x="70" y="5"/>
                  <a:pt x="73" y="5"/>
                </a:cubicBezTo>
                <a:close/>
                <a:moveTo>
                  <a:pt x="43" y="72"/>
                </a:moveTo>
                <a:cubicBezTo>
                  <a:pt x="43" y="58"/>
                  <a:pt x="52" y="46"/>
                  <a:pt x="65" y="42"/>
                </a:cubicBezTo>
                <a:cubicBezTo>
                  <a:pt x="65" y="41"/>
                  <a:pt x="66" y="41"/>
                  <a:pt x="66" y="41"/>
                </a:cubicBezTo>
                <a:cubicBezTo>
                  <a:pt x="67" y="41"/>
                  <a:pt x="67" y="41"/>
                  <a:pt x="68" y="41"/>
                </a:cubicBezTo>
                <a:cubicBezTo>
                  <a:pt x="68" y="41"/>
                  <a:pt x="69" y="41"/>
                  <a:pt x="69" y="41"/>
                </a:cubicBezTo>
                <a:cubicBezTo>
                  <a:pt x="70" y="40"/>
                  <a:pt x="70" y="40"/>
                  <a:pt x="71" y="40"/>
                </a:cubicBezTo>
                <a:cubicBezTo>
                  <a:pt x="71" y="40"/>
                  <a:pt x="71" y="40"/>
                  <a:pt x="72" y="40"/>
                </a:cubicBezTo>
                <a:cubicBezTo>
                  <a:pt x="73" y="40"/>
                  <a:pt x="74" y="40"/>
                  <a:pt x="75" y="40"/>
                </a:cubicBezTo>
                <a:cubicBezTo>
                  <a:pt x="92" y="40"/>
                  <a:pt x="107" y="54"/>
                  <a:pt x="107" y="72"/>
                </a:cubicBezTo>
                <a:cubicBezTo>
                  <a:pt x="107" y="90"/>
                  <a:pt x="92" y="104"/>
                  <a:pt x="75" y="104"/>
                </a:cubicBezTo>
                <a:cubicBezTo>
                  <a:pt x="74" y="104"/>
                  <a:pt x="73" y="104"/>
                  <a:pt x="72" y="104"/>
                </a:cubicBezTo>
                <a:cubicBezTo>
                  <a:pt x="71" y="104"/>
                  <a:pt x="71" y="104"/>
                  <a:pt x="71" y="104"/>
                </a:cubicBezTo>
                <a:cubicBezTo>
                  <a:pt x="70" y="104"/>
                  <a:pt x="70" y="104"/>
                  <a:pt x="69" y="103"/>
                </a:cubicBezTo>
                <a:cubicBezTo>
                  <a:pt x="69" y="103"/>
                  <a:pt x="68" y="103"/>
                  <a:pt x="68" y="103"/>
                </a:cubicBezTo>
                <a:cubicBezTo>
                  <a:pt x="67" y="103"/>
                  <a:pt x="67" y="103"/>
                  <a:pt x="66" y="103"/>
                </a:cubicBezTo>
                <a:cubicBezTo>
                  <a:pt x="66" y="103"/>
                  <a:pt x="65" y="103"/>
                  <a:pt x="65" y="102"/>
                </a:cubicBezTo>
                <a:cubicBezTo>
                  <a:pt x="52" y="98"/>
                  <a:pt x="43" y="86"/>
                  <a:pt x="43" y="72"/>
                </a:cubicBezTo>
                <a:close/>
                <a:moveTo>
                  <a:pt x="70" y="109"/>
                </a:moveTo>
                <a:cubicBezTo>
                  <a:pt x="70" y="109"/>
                  <a:pt x="71" y="109"/>
                  <a:pt x="71" y="109"/>
                </a:cubicBezTo>
                <a:cubicBezTo>
                  <a:pt x="72" y="109"/>
                  <a:pt x="73" y="109"/>
                  <a:pt x="75" y="109"/>
                </a:cubicBezTo>
                <a:cubicBezTo>
                  <a:pt x="95" y="109"/>
                  <a:pt x="112" y="93"/>
                  <a:pt x="112" y="72"/>
                </a:cubicBezTo>
                <a:cubicBezTo>
                  <a:pt x="112" y="51"/>
                  <a:pt x="95" y="35"/>
                  <a:pt x="75" y="35"/>
                </a:cubicBezTo>
                <a:cubicBezTo>
                  <a:pt x="73" y="35"/>
                  <a:pt x="72" y="35"/>
                  <a:pt x="71" y="35"/>
                </a:cubicBezTo>
                <a:cubicBezTo>
                  <a:pt x="71" y="35"/>
                  <a:pt x="70" y="35"/>
                  <a:pt x="70" y="35"/>
                </a:cubicBezTo>
                <a:cubicBezTo>
                  <a:pt x="69" y="35"/>
                  <a:pt x="68" y="35"/>
                  <a:pt x="67" y="36"/>
                </a:cubicBezTo>
                <a:cubicBezTo>
                  <a:pt x="67" y="36"/>
                  <a:pt x="67" y="36"/>
                  <a:pt x="67" y="36"/>
                </a:cubicBezTo>
                <a:cubicBezTo>
                  <a:pt x="67" y="21"/>
                  <a:pt x="67" y="21"/>
                  <a:pt x="67" y="21"/>
                </a:cubicBezTo>
                <a:cubicBezTo>
                  <a:pt x="147" y="21"/>
                  <a:pt x="147" y="21"/>
                  <a:pt x="147" y="21"/>
                </a:cubicBezTo>
                <a:cubicBezTo>
                  <a:pt x="147" y="123"/>
                  <a:pt x="147" y="123"/>
                  <a:pt x="147" y="123"/>
                </a:cubicBezTo>
                <a:cubicBezTo>
                  <a:pt x="67" y="123"/>
                  <a:pt x="67" y="123"/>
                  <a:pt x="67" y="123"/>
                </a:cubicBezTo>
                <a:cubicBezTo>
                  <a:pt x="67" y="108"/>
                  <a:pt x="67" y="108"/>
                  <a:pt x="67" y="108"/>
                </a:cubicBezTo>
                <a:cubicBezTo>
                  <a:pt x="67" y="108"/>
                  <a:pt x="67" y="108"/>
                  <a:pt x="67" y="108"/>
                </a:cubicBezTo>
                <a:cubicBezTo>
                  <a:pt x="68" y="109"/>
                  <a:pt x="69" y="109"/>
                  <a:pt x="70" y="109"/>
                </a:cubicBezTo>
                <a:close/>
                <a:moveTo>
                  <a:pt x="140" y="155"/>
                </a:moveTo>
                <a:cubicBezTo>
                  <a:pt x="73" y="155"/>
                  <a:pt x="73" y="155"/>
                  <a:pt x="73" y="155"/>
                </a:cubicBezTo>
                <a:cubicBezTo>
                  <a:pt x="70" y="155"/>
                  <a:pt x="67" y="152"/>
                  <a:pt x="67" y="148"/>
                </a:cubicBezTo>
                <a:cubicBezTo>
                  <a:pt x="67" y="128"/>
                  <a:pt x="67" y="128"/>
                  <a:pt x="67" y="128"/>
                </a:cubicBezTo>
                <a:cubicBezTo>
                  <a:pt x="147" y="128"/>
                  <a:pt x="147" y="128"/>
                  <a:pt x="147" y="128"/>
                </a:cubicBezTo>
                <a:cubicBezTo>
                  <a:pt x="147" y="148"/>
                  <a:pt x="147" y="148"/>
                  <a:pt x="147" y="148"/>
                </a:cubicBezTo>
                <a:cubicBezTo>
                  <a:pt x="147" y="152"/>
                  <a:pt x="144" y="155"/>
                  <a:pt x="140" y="15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7">
            <a:extLst>
              <a:ext uri="{FF2B5EF4-FFF2-40B4-BE49-F238E27FC236}">
                <a16:creationId xmlns:a16="http://schemas.microsoft.com/office/drawing/2014/main" id="{BA97FD45-33A3-9E4A-AAE0-3696CFFDE8E8}"/>
              </a:ext>
            </a:extLst>
          </p:cNvPr>
          <p:cNvSpPr>
            <a:spLocks noEditPoints="1"/>
          </p:cNvSpPr>
          <p:nvPr/>
        </p:nvSpPr>
        <p:spPr bwMode="auto">
          <a:xfrm>
            <a:off x="587066" y="1762125"/>
            <a:ext cx="600075" cy="604838"/>
          </a:xfrm>
          <a:custGeom>
            <a:avLst/>
            <a:gdLst>
              <a:gd name="T0" fmla="*/ 92 w 160"/>
              <a:gd name="T1" fmla="*/ 20 h 160"/>
              <a:gd name="T2" fmla="*/ 84 w 160"/>
              <a:gd name="T3" fmla="*/ 20 h 160"/>
              <a:gd name="T4" fmla="*/ 83 w 160"/>
              <a:gd name="T5" fmla="*/ 20 h 160"/>
              <a:gd name="T6" fmla="*/ 48 w 160"/>
              <a:gd name="T7" fmla="*/ 53 h 160"/>
              <a:gd name="T8" fmla="*/ 46 w 160"/>
              <a:gd name="T9" fmla="*/ 53 h 160"/>
              <a:gd name="T10" fmla="*/ 24 w 160"/>
              <a:gd name="T11" fmla="*/ 53 h 160"/>
              <a:gd name="T12" fmla="*/ 16 w 160"/>
              <a:gd name="T13" fmla="*/ 62 h 160"/>
              <a:gd name="T14" fmla="*/ 16 w 160"/>
              <a:gd name="T15" fmla="*/ 96 h 160"/>
              <a:gd name="T16" fmla="*/ 24 w 160"/>
              <a:gd name="T17" fmla="*/ 104 h 160"/>
              <a:gd name="T18" fmla="*/ 46 w 160"/>
              <a:gd name="T19" fmla="*/ 104 h 160"/>
              <a:gd name="T20" fmla="*/ 48 w 160"/>
              <a:gd name="T21" fmla="*/ 104 h 160"/>
              <a:gd name="T22" fmla="*/ 83 w 160"/>
              <a:gd name="T23" fmla="*/ 137 h 160"/>
              <a:gd name="T24" fmla="*/ 84 w 160"/>
              <a:gd name="T25" fmla="*/ 138 h 160"/>
              <a:gd name="T26" fmla="*/ 88 w 160"/>
              <a:gd name="T27" fmla="*/ 139 h 160"/>
              <a:gd name="T28" fmla="*/ 92 w 160"/>
              <a:gd name="T29" fmla="*/ 138 h 160"/>
              <a:gd name="T30" fmla="*/ 96 w 160"/>
              <a:gd name="T31" fmla="*/ 130 h 160"/>
              <a:gd name="T32" fmla="*/ 96 w 160"/>
              <a:gd name="T33" fmla="*/ 27 h 160"/>
              <a:gd name="T34" fmla="*/ 92 w 160"/>
              <a:gd name="T35" fmla="*/ 20 h 160"/>
              <a:gd name="T36" fmla="*/ 91 w 160"/>
              <a:gd name="T37" fmla="*/ 130 h 160"/>
              <a:gd name="T38" fmla="*/ 89 w 160"/>
              <a:gd name="T39" fmla="*/ 133 h 160"/>
              <a:gd name="T40" fmla="*/ 86 w 160"/>
              <a:gd name="T41" fmla="*/ 133 h 160"/>
              <a:gd name="T42" fmla="*/ 51 w 160"/>
              <a:gd name="T43" fmla="*/ 100 h 160"/>
              <a:gd name="T44" fmla="*/ 51 w 160"/>
              <a:gd name="T45" fmla="*/ 100 h 160"/>
              <a:gd name="T46" fmla="*/ 46 w 160"/>
              <a:gd name="T47" fmla="*/ 99 h 160"/>
              <a:gd name="T48" fmla="*/ 24 w 160"/>
              <a:gd name="T49" fmla="*/ 99 h 160"/>
              <a:gd name="T50" fmla="*/ 21 w 160"/>
              <a:gd name="T51" fmla="*/ 96 h 160"/>
              <a:gd name="T52" fmla="*/ 21 w 160"/>
              <a:gd name="T53" fmla="*/ 62 h 160"/>
              <a:gd name="T54" fmla="*/ 24 w 160"/>
              <a:gd name="T55" fmla="*/ 59 h 160"/>
              <a:gd name="T56" fmla="*/ 46 w 160"/>
              <a:gd name="T57" fmla="*/ 59 h 160"/>
              <a:gd name="T58" fmla="*/ 51 w 160"/>
              <a:gd name="T59" fmla="*/ 58 h 160"/>
              <a:gd name="T60" fmla="*/ 51 w 160"/>
              <a:gd name="T61" fmla="*/ 57 h 160"/>
              <a:gd name="T62" fmla="*/ 86 w 160"/>
              <a:gd name="T63" fmla="*/ 24 h 160"/>
              <a:gd name="T64" fmla="*/ 89 w 160"/>
              <a:gd name="T65" fmla="*/ 24 h 160"/>
              <a:gd name="T66" fmla="*/ 91 w 160"/>
              <a:gd name="T67" fmla="*/ 27 h 160"/>
              <a:gd name="T68" fmla="*/ 91 w 160"/>
              <a:gd name="T69" fmla="*/ 130 h 160"/>
              <a:gd name="T70" fmla="*/ 115 w 160"/>
              <a:gd name="T71" fmla="*/ 46 h 160"/>
              <a:gd name="T72" fmla="*/ 115 w 160"/>
              <a:gd name="T73" fmla="*/ 114 h 160"/>
              <a:gd name="T74" fmla="*/ 113 w 160"/>
              <a:gd name="T75" fmla="*/ 115 h 160"/>
              <a:gd name="T76" fmla="*/ 112 w 160"/>
              <a:gd name="T77" fmla="*/ 114 h 160"/>
              <a:gd name="T78" fmla="*/ 112 w 160"/>
              <a:gd name="T79" fmla="*/ 110 h 160"/>
              <a:gd name="T80" fmla="*/ 112 w 160"/>
              <a:gd name="T81" fmla="*/ 50 h 160"/>
              <a:gd name="T82" fmla="*/ 112 w 160"/>
              <a:gd name="T83" fmla="*/ 46 h 160"/>
              <a:gd name="T84" fmla="*/ 115 w 160"/>
              <a:gd name="T85" fmla="*/ 46 h 160"/>
              <a:gd name="T86" fmla="*/ 106 w 160"/>
              <a:gd name="T87" fmla="*/ 103 h 160"/>
              <a:gd name="T88" fmla="*/ 104 w 160"/>
              <a:gd name="T89" fmla="*/ 104 h 160"/>
              <a:gd name="T90" fmla="*/ 102 w 160"/>
              <a:gd name="T91" fmla="*/ 103 h 160"/>
              <a:gd name="T92" fmla="*/ 102 w 160"/>
              <a:gd name="T93" fmla="*/ 99 h 160"/>
              <a:gd name="T94" fmla="*/ 102 w 160"/>
              <a:gd name="T95" fmla="*/ 58 h 160"/>
              <a:gd name="T96" fmla="*/ 102 w 160"/>
              <a:gd name="T97" fmla="*/ 54 h 160"/>
              <a:gd name="T98" fmla="*/ 106 w 160"/>
              <a:gd name="T99" fmla="*/ 54 h 160"/>
              <a:gd name="T100" fmla="*/ 106 w 160"/>
              <a:gd name="T101" fmla="*/ 103 h 160"/>
              <a:gd name="T102" fmla="*/ 80 w 160"/>
              <a:gd name="T103" fmla="*/ 0 h 160"/>
              <a:gd name="T104" fmla="*/ 0 w 160"/>
              <a:gd name="T105" fmla="*/ 80 h 160"/>
              <a:gd name="T106" fmla="*/ 80 w 160"/>
              <a:gd name="T107" fmla="*/ 160 h 160"/>
              <a:gd name="T108" fmla="*/ 160 w 160"/>
              <a:gd name="T109" fmla="*/ 80 h 160"/>
              <a:gd name="T110" fmla="*/ 80 w 160"/>
              <a:gd name="T111" fmla="*/ 0 h 160"/>
              <a:gd name="T112" fmla="*/ 80 w 160"/>
              <a:gd name="T113" fmla="*/ 155 h 160"/>
              <a:gd name="T114" fmla="*/ 5 w 160"/>
              <a:gd name="T115" fmla="*/ 80 h 160"/>
              <a:gd name="T116" fmla="*/ 80 w 160"/>
              <a:gd name="T117" fmla="*/ 5 h 160"/>
              <a:gd name="T118" fmla="*/ 155 w 160"/>
              <a:gd name="T119" fmla="*/ 80 h 160"/>
              <a:gd name="T120" fmla="*/ 80 w 160"/>
              <a:gd name="T121"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60">
                <a:moveTo>
                  <a:pt x="92" y="20"/>
                </a:moveTo>
                <a:cubicBezTo>
                  <a:pt x="89" y="18"/>
                  <a:pt x="86" y="18"/>
                  <a:pt x="84" y="20"/>
                </a:cubicBezTo>
                <a:cubicBezTo>
                  <a:pt x="83" y="20"/>
                  <a:pt x="83" y="20"/>
                  <a:pt x="83" y="20"/>
                </a:cubicBezTo>
                <a:cubicBezTo>
                  <a:pt x="48" y="53"/>
                  <a:pt x="48" y="53"/>
                  <a:pt x="48" y="53"/>
                </a:cubicBezTo>
                <a:cubicBezTo>
                  <a:pt x="47" y="53"/>
                  <a:pt x="47" y="53"/>
                  <a:pt x="46" y="53"/>
                </a:cubicBezTo>
                <a:cubicBezTo>
                  <a:pt x="24" y="53"/>
                  <a:pt x="24" y="53"/>
                  <a:pt x="24" y="53"/>
                </a:cubicBezTo>
                <a:cubicBezTo>
                  <a:pt x="20" y="53"/>
                  <a:pt x="16" y="57"/>
                  <a:pt x="16" y="62"/>
                </a:cubicBezTo>
                <a:cubicBezTo>
                  <a:pt x="16" y="96"/>
                  <a:pt x="16" y="96"/>
                  <a:pt x="16" y="96"/>
                </a:cubicBezTo>
                <a:cubicBezTo>
                  <a:pt x="16" y="100"/>
                  <a:pt x="20" y="104"/>
                  <a:pt x="24" y="104"/>
                </a:cubicBezTo>
                <a:cubicBezTo>
                  <a:pt x="46" y="104"/>
                  <a:pt x="46" y="104"/>
                  <a:pt x="46" y="104"/>
                </a:cubicBezTo>
                <a:cubicBezTo>
                  <a:pt x="47" y="104"/>
                  <a:pt x="47" y="104"/>
                  <a:pt x="48" y="104"/>
                </a:cubicBezTo>
                <a:cubicBezTo>
                  <a:pt x="83" y="137"/>
                  <a:pt x="83" y="137"/>
                  <a:pt x="83" y="137"/>
                </a:cubicBezTo>
                <a:cubicBezTo>
                  <a:pt x="83" y="137"/>
                  <a:pt x="83" y="137"/>
                  <a:pt x="84" y="138"/>
                </a:cubicBezTo>
                <a:cubicBezTo>
                  <a:pt x="85" y="138"/>
                  <a:pt x="86" y="139"/>
                  <a:pt x="88" y="139"/>
                </a:cubicBezTo>
                <a:cubicBezTo>
                  <a:pt x="89" y="139"/>
                  <a:pt x="91" y="138"/>
                  <a:pt x="92" y="138"/>
                </a:cubicBezTo>
                <a:cubicBezTo>
                  <a:pt x="94" y="136"/>
                  <a:pt x="96" y="133"/>
                  <a:pt x="96" y="130"/>
                </a:cubicBezTo>
                <a:cubicBezTo>
                  <a:pt x="96" y="27"/>
                  <a:pt x="96" y="27"/>
                  <a:pt x="96" y="27"/>
                </a:cubicBezTo>
                <a:cubicBezTo>
                  <a:pt x="96" y="24"/>
                  <a:pt x="94" y="21"/>
                  <a:pt x="92" y="20"/>
                </a:cubicBezTo>
                <a:close/>
                <a:moveTo>
                  <a:pt x="91" y="130"/>
                </a:moveTo>
                <a:cubicBezTo>
                  <a:pt x="91" y="132"/>
                  <a:pt x="90" y="133"/>
                  <a:pt x="89" y="133"/>
                </a:cubicBezTo>
                <a:cubicBezTo>
                  <a:pt x="89" y="133"/>
                  <a:pt x="88" y="134"/>
                  <a:pt x="86" y="133"/>
                </a:cubicBezTo>
                <a:cubicBezTo>
                  <a:pt x="51" y="100"/>
                  <a:pt x="51" y="100"/>
                  <a:pt x="51" y="100"/>
                </a:cubicBezTo>
                <a:cubicBezTo>
                  <a:pt x="51" y="100"/>
                  <a:pt x="51" y="100"/>
                  <a:pt x="51" y="100"/>
                </a:cubicBezTo>
                <a:cubicBezTo>
                  <a:pt x="49" y="99"/>
                  <a:pt x="48" y="99"/>
                  <a:pt x="46" y="99"/>
                </a:cubicBezTo>
                <a:cubicBezTo>
                  <a:pt x="24" y="99"/>
                  <a:pt x="24" y="99"/>
                  <a:pt x="24" y="99"/>
                </a:cubicBezTo>
                <a:cubicBezTo>
                  <a:pt x="23" y="99"/>
                  <a:pt x="21" y="97"/>
                  <a:pt x="21" y="96"/>
                </a:cubicBezTo>
                <a:cubicBezTo>
                  <a:pt x="21" y="62"/>
                  <a:pt x="21" y="62"/>
                  <a:pt x="21" y="62"/>
                </a:cubicBezTo>
                <a:cubicBezTo>
                  <a:pt x="21" y="60"/>
                  <a:pt x="23" y="59"/>
                  <a:pt x="24" y="59"/>
                </a:cubicBezTo>
                <a:cubicBezTo>
                  <a:pt x="46" y="59"/>
                  <a:pt x="46" y="59"/>
                  <a:pt x="46" y="59"/>
                </a:cubicBezTo>
                <a:cubicBezTo>
                  <a:pt x="48" y="59"/>
                  <a:pt x="49" y="58"/>
                  <a:pt x="51" y="58"/>
                </a:cubicBezTo>
                <a:cubicBezTo>
                  <a:pt x="51" y="57"/>
                  <a:pt x="51" y="57"/>
                  <a:pt x="51" y="57"/>
                </a:cubicBezTo>
                <a:cubicBezTo>
                  <a:pt x="86" y="24"/>
                  <a:pt x="86" y="24"/>
                  <a:pt x="86" y="24"/>
                </a:cubicBezTo>
                <a:cubicBezTo>
                  <a:pt x="88" y="24"/>
                  <a:pt x="89" y="24"/>
                  <a:pt x="89" y="24"/>
                </a:cubicBezTo>
                <a:cubicBezTo>
                  <a:pt x="90" y="25"/>
                  <a:pt x="91" y="25"/>
                  <a:pt x="91" y="27"/>
                </a:cubicBezTo>
                <a:lnTo>
                  <a:pt x="91" y="130"/>
                </a:lnTo>
                <a:close/>
                <a:moveTo>
                  <a:pt x="115" y="46"/>
                </a:moveTo>
                <a:cubicBezTo>
                  <a:pt x="134" y="65"/>
                  <a:pt x="134" y="95"/>
                  <a:pt x="115" y="114"/>
                </a:cubicBezTo>
                <a:cubicBezTo>
                  <a:pt x="115" y="115"/>
                  <a:pt x="114" y="115"/>
                  <a:pt x="113" y="115"/>
                </a:cubicBezTo>
                <a:cubicBezTo>
                  <a:pt x="113" y="115"/>
                  <a:pt x="112" y="115"/>
                  <a:pt x="112" y="114"/>
                </a:cubicBezTo>
                <a:cubicBezTo>
                  <a:pt x="111" y="113"/>
                  <a:pt x="111" y="111"/>
                  <a:pt x="112" y="110"/>
                </a:cubicBezTo>
                <a:cubicBezTo>
                  <a:pt x="128" y="94"/>
                  <a:pt x="128" y="67"/>
                  <a:pt x="112" y="50"/>
                </a:cubicBezTo>
                <a:cubicBezTo>
                  <a:pt x="111" y="49"/>
                  <a:pt x="111" y="47"/>
                  <a:pt x="112" y="46"/>
                </a:cubicBezTo>
                <a:cubicBezTo>
                  <a:pt x="113" y="45"/>
                  <a:pt x="114" y="45"/>
                  <a:pt x="115" y="46"/>
                </a:cubicBezTo>
                <a:close/>
                <a:moveTo>
                  <a:pt x="106" y="103"/>
                </a:moveTo>
                <a:cubicBezTo>
                  <a:pt x="105" y="104"/>
                  <a:pt x="105" y="104"/>
                  <a:pt x="104" y="104"/>
                </a:cubicBezTo>
                <a:cubicBezTo>
                  <a:pt x="103" y="104"/>
                  <a:pt x="103" y="104"/>
                  <a:pt x="102" y="103"/>
                </a:cubicBezTo>
                <a:cubicBezTo>
                  <a:pt x="101" y="102"/>
                  <a:pt x="101" y="100"/>
                  <a:pt x="102" y="99"/>
                </a:cubicBezTo>
                <a:cubicBezTo>
                  <a:pt x="114" y="88"/>
                  <a:pt x="114" y="69"/>
                  <a:pt x="102" y="58"/>
                </a:cubicBezTo>
                <a:cubicBezTo>
                  <a:pt x="101" y="57"/>
                  <a:pt x="101" y="55"/>
                  <a:pt x="102" y="54"/>
                </a:cubicBezTo>
                <a:cubicBezTo>
                  <a:pt x="103" y="53"/>
                  <a:pt x="105" y="53"/>
                  <a:pt x="106" y="54"/>
                </a:cubicBezTo>
                <a:cubicBezTo>
                  <a:pt x="119" y="68"/>
                  <a:pt x="119" y="90"/>
                  <a:pt x="106" y="103"/>
                </a:cubicBez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8">
            <a:extLst>
              <a:ext uri="{FF2B5EF4-FFF2-40B4-BE49-F238E27FC236}">
                <a16:creationId xmlns:a16="http://schemas.microsoft.com/office/drawing/2014/main" id="{CEC0C891-6D06-2844-99FA-A7D8D511001B}"/>
              </a:ext>
            </a:extLst>
          </p:cNvPr>
          <p:cNvSpPr>
            <a:spLocks noEditPoints="1"/>
          </p:cNvSpPr>
          <p:nvPr/>
        </p:nvSpPr>
        <p:spPr bwMode="auto">
          <a:xfrm>
            <a:off x="587066" y="2443163"/>
            <a:ext cx="600075" cy="604838"/>
          </a:xfrm>
          <a:custGeom>
            <a:avLst/>
            <a:gdLst>
              <a:gd name="T0" fmla="*/ 84 w 160"/>
              <a:gd name="T1" fmla="*/ 20 h 160"/>
              <a:gd name="T2" fmla="*/ 48 w 160"/>
              <a:gd name="T3" fmla="*/ 53 h 160"/>
              <a:gd name="T4" fmla="*/ 24 w 160"/>
              <a:gd name="T5" fmla="*/ 53 h 160"/>
              <a:gd name="T6" fmla="*/ 16 w 160"/>
              <a:gd name="T7" fmla="*/ 96 h 160"/>
              <a:gd name="T8" fmla="*/ 46 w 160"/>
              <a:gd name="T9" fmla="*/ 104 h 160"/>
              <a:gd name="T10" fmla="*/ 83 w 160"/>
              <a:gd name="T11" fmla="*/ 137 h 160"/>
              <a:gd name="T12" fmla="*/ 88 w 160"/>
              <a:gd name="T13" fmla="*/ 139 h 160"/>
              <a:gd name="T14" fmla="*/ 96 w 160"/>
              <a:gd name="T15" fmla="*/ 130 h 160"/>
              <a:gd name="T16" fmla="*/ 92 w 160"/>
              <a:gd name="T17" fmla="*/ 20 h 160"/>
              <a:gd name="T18" fmla="*/ 89 w 160"/>
              <a:gd name="T19" fmla="*/ 133 h 160"/>
              <a:gd name="T20" fmla="*/ 51 w 160"/>
              <a:gd name="T21" fmla="*/ 100 h 160"/>
              <a:gd name="T22" fmla="*/ 46 w 160"/>
              <a:gd name="T23" fmla="*/ 99 h 160"/>
              <a:gd name="T24" fmla="*/ 21 w 160"/>
              <a:gd name="T25" fmla="*/ 96 h 160"/>
              <a:gd name="T26" fmla="*/ 24 w 160"/>
              <a:gd name="T27" fmla="*/ 59 h 160"/>
              <a:gd name="T28" fmla="*/ 51 w 160"/>
              <a:gd name="T29" fmla="*/ 58 h 160"/>
              <a:gd name="T30" fmla="*/ 86 w 160"/>
              <a:gd name="T31" fmla="*/ 24 h 160"/>
              <a:gd name="T32" fmla="*/ 91 w 160"/>
              <a:gd name="T33" fmla="*/ 27 h 160"/>
              <a:gd name="T34" fmla="*/ 115 w 160"/>
              <a:gd name="T35" fmla="*/ 114 h 160"/>
              <a:gd name="T36" fmla="*/ 112 w 160"/>
              <a:gd name="T37" fmla="*/ 114 h 160"/>
              <a:gd name="T38" fmla="*/ 112 w 160"/>
              <a:gd name="T39" fmla="*/ 50 h 160"/>
              <a:gd name="T40" fmla="*/ 115 w 160"/>
              <a:gd name="T41" fmla="*/ 46 h 160"/>
              <a:gd name="T42" fmla="*/ 106 w 160"/>
              <a:gd name="T43" fmla="*/ 103 h 160"/>
              <a:gd name="T44" fmla="*/ 102 w 160"/>
              <a:gd name="T45" fmla="*/ 103 h 160"/>
              <a:gd name="T46" fmla="*/ 102 w 160"/>
              <a:gd name="T47" fmla="*/ 58 h 160"/>
              <a:gd name="T48" fmla="*/ 106 w 160"/>
              <a:gd name="T49" fmla="*/ 54 h 160"/>
              <a:gd name="T50" fmla="*/ 143 w 160"/>
              <a:gd name="T51" fmla="*/ 80 h 160"/>
              <a:gd name="T52" fmla="*/ 121 w 160"/>
              <a:gd name="T53" fmla="*/ 128 h 160"/>
              <a:gd name="T54" fmla="*/ 119 w 160"/>
              <a:gd name="T55" fmla="*/ 123 h 160"/>
              <a:gd name="T56" fmla="*/ 119 w 160"/>
              <a:gd name="T57" fmla="*/ 37 h 160"/>
              <a:gd name="T58" fmla="*/ 123 w 160"/>
              <a:gd name="T59" fmla="*/ 33 h 160"/>
              <a:gd name="T60" fmla="*/ 80 w 160"/>
              <a:gd name="T61" fmla="*/ 0 h 160"/>
              <a:gd name="T62" fmla="*/ 80 w 160"/>
              <a:gd name="T63" fmla="*/ 160 h 160"/>
              <a:gd name="T64" fmla="*/ 80 w 160"/>
              <a:gd name="T65" fmla="*/ 0 h 160"/>
              <a:gd name="T66" fmla="*/ 5 w 160"/>
              <a:gd name="T67" fmla="*/ 80 h 160"/>
              <a:gd name="T68" fmla="*/ 155 w 160"/>
              <a:gd name="T69"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92" y="20"/>
                </a:moveTo>
                <a:cubicBezTo>
                  <a:pt x="89" y="18"/>
                  <a:pt x="86" y="18"/>
                  <a:pt x="84" y="20"/>
                </a:cubicBezTo>
                <a:cubicBezTo>
                  <a:pt x="83" y="20"/>
                  <a:pt x="83" y="20"/>
                  <a:pt x="83" y="20"/>
                </a:cubicBezTo>
                <a:cubicBezTo>
                  <a:pt x="48" y="53"/>
                  <a:pt x="48" y="53"/>
                  <a:pt x="48" y="53"/>
                </a:cubicBezTo>
                <a:cubicBezTo>
                  <a:pt x="47" y="53"/>
                  <a:pt x="47" y="53"/>
                  <a:pt x="46" y="53"/>
                </a:cubicBezTo>
                <a:cubicBezTo>
                  <a:pt x="24" y="53"/>
                  <a:pt x="24" y="53"/>
                  <a:pt x="24" y="53"/>
                </a:cubicBezTo>
                <a:cubicBezTo>
                  <a:pt x="20" y="53"/>
                  <a:pt x="16" y="57"/>
                  <a:pt x="16" y="62"/>
                </a:cubicBezTo>
                <a:cubicBezTo>
                  <a:pt x="16" y="96"/>
                  <a:pt x="16" y="96"/>
                  <a:pt x="16" y="96"/>
                </a:cubicBezTo>
                <a:cubicBezTo>
                  <a:pt x="16" y="100"/>
                  <a:pt x="20" y="104"/>
                  <a:pt x="24" y="104"/>
                </a:cubicBezTo>
                <a:cubicBezTo>
                  <a:pt x="46" y="104"/>
                  <a:pt x="46" y="104"/>
                  <a:pt x="46" y="104"/>
                </a:cubicBezTo>
                <a:cubicBezTo>
                  <a:pt x="47" y="104"/>
                  <a:pt x="47" y="104"/>
                  <a:pt x="48" y="104"/>
                </a:cubicBezTo>
                <a:cubicBezTo>
                  <a:pt x="83" y="137"/>
                  <a:pt x="83" y="137"/>
                  <a:pt x="83" y="137"/>
                </a:cubicBezTo>
                <a:cubicBezTo>
                  <a:pt x="83" y="137"/>
                  <a:pt x="83" y="137"/>
                  <a:pt x="84" y="138"/>
                </a:cubicBezTo>
                <a:cubicBezTo>
                  <a:pt x="85" y="138"/>
                  <a:pt x="86" y="139"/>
                  <a:pt x="88" y="139"/>
                </a:cubicBezTo>
                <a:cubicBezTo>
                  <a:pt x="89" y="139"/>
                  <a:pt x="91" y="138"/>
                  <a:pt x="92" y="138"/>
                </a:cubicBezTo>
                <a:cubicBezTo>
                  <a:pt x="94" y="136"/>
                  <a:pt x="96" y="133"/>
                  <a:pt x="96" y="130"/>
                </a:cubicBezTo>
                <a:cubicBezTo>
                  <a:pt x="96" y="27"/>
                  <a:pt x="96" y="27"/>
                  <a:pt x="96" y="27"/>
                </a:cubicBezTo>
                <a:cubicBezTo>
                  <a:pt x="96" y="24"/>
                  <a:pt x="94" y="21"/>
                  <a:pt x="92" y="20"/>
                </a:cubicBezTo>
                <a:close/>
                <a:moveTo>
                  <a:pt x="91" y="130"/>
                </a:moveTo>
                <a:cubicBezTo>
                  <a:pt x="91" y="132"/>
                  <a:pt x="90" y="133"/>
                  <a:pt x="89" y="133"/>
                </a:cubicBezTo>
                <a:cubicBezTo>
                  <a:pt x="89" y="133"/>
                  <a:pt x="88" y="134"/>
                  <a:pt x="86" y="133"/>
                </a:cubicBezTo>
                <a:cubicBezTo>
                  <a:pt x="51" y="100"/>
                  <a:pt x="51" y="100"/>
                  <a:pt x="51" y="100"/>
                </a:cubicBezTo>
                <a:cubicBezTo>
                  <a:pt x="51" y="100"/>
                  <a:pt x="51" y="100"/>
                  <a:pt x="51" y="100"/>
                </a:cubicBezTo>
                <a:cubicBezTo>
                  <a:pt x="49" y="99"/>
                  <a:pt x="48" y="99"/>
                  <a:pt x="46" y="99"/>
                </a:cubicBezTo>
                <a:cubicBezTo>
                  <a:pt x="24" y="99"/>
                  <a:pt x="24" y="99"/>
                  <a:pt x="24" y="99"/>
                </a:cubicBezTo>
                <a:cubicBezTo>
                  <a:pt x="23" y="99"/>
                  <a:pt x="21" y="97"/>
                  <a:pt x="21" y="96"/>
                </a:cubicBezTo>
                <a:cubicBezTo>
                  <a:pt x="21" y="62"/>
                  <a:pt x="21" y="62"/>
                  <a:pt x="21" y="62"/>
                </a:cubicBezTo>
                <a:cubicBezTo>
                  <a:pt x="21" y="60"/>
                  <a:pt x="23" y="59"/>
                  <a:pt x="24" y="59"/>
                </a:cubicBezTo>
                <a:cubicBezTo>
                  <a:pt x="46" y="59"/>
                  <a:pt x="46" y="59"/>
                  <a:pt x="46" y="59"/>
                </a:cubicBezTo>
                <a:cubicBezTo>
                  <a:pt x="48" y="59"/>
                  <a:pt x="49" y="58"/>
                  <a:pt x="51" y="58"/>
                </a:cubicBezTo>
                <a:cubicBezTo>
                  <a:pt x="51" y="57"/>
                  <a:pt x="51" y="57"/>
                  <a:pt x="51" y="57"/>
                </a:cubicBezTo>
                <a:cubicBezTo>
                  <a:pt x="86" y="24"/>
                  <a:pt x="86" y="24"/>
                  <a:pt x="86" y="24"/>
                </a:cubicBezTo>
                <a:cubicBezTo>
                  <a:pt x="88" y="24"/>
                  <a:pt x="89" y="24"/>
                  <a:pt x="89" y="24"/>
                </a:cubicBezTo>
                <a:cubicBezTo>
                  <a:pt x="90" y="25"/>
                  <a:pt x="91" y="25"/>
                  <a:pt x="91" y="27"/>
                </a:cubicBezTo>
                <a:lnTo>
                  <a:pt x="91" y="130"/>
                </a:lnTo>
                <a:close/>
                <a:moveTo>
                  <a:pt x="115" y="114"/>
                </a:moveTo>
                <a:cubicBezTo>
                  <a:pt x="115" y="115"/>
                  <a:pt x="114" y="115"/>
                  <a:pt x="113" y="115"/>
                </a:cubicBezTo>
                <a:cubicBezTo>
                  <a:pt x="113" y="115"/>
                  <a:pt x="112" y="115"/>
                  <a:pt x="112" y="114"/>
                </a:cubicBezTo>
                <a:cubicBezTo>
                  <a:pt x="111" y="113"/>
                  <a:pt x="111" y="111"/>
                  <a:pt x="112" y="110"/>
                </a:cubicBezTo>
                <a:cubicBezTo>
                  <a:pt x="128" y="94"/>
                  <a:pt x="128" y="67"/>
                  <a:pt x="112" y="50"/>
                </a:cubicBezTo>
                <a:cubicBezTo>
                  <a:pt x="111" y="49"/>
                  <a:pt x="111" y="47"/>
                  <a:pt x="112" y="46"/>
                </a:cubicBezTo>
                <a:cubicBezTo>
                  <a:pt x="113" y="45"/>
                  <a:pt x="114" y="45"/>
                  <a:pt x="115" y="46"/>
                </a:cubicBezTo>
                <a:cubicBezTo>
                  <a:pt x="134" y="65"/>
                  <a:pt x="134" y="95"/>
                  <a:pt x="115" y="114"/>
                </a:cubicBezTo>
                <a:close/>
                <a:moveTo>
                  <a:pt x="106" y="103"/>
                </a:moveTo>
                <a:cubicBezTo>
                  <a:pt x="105" y="104"/>
                  <a:pt x="105" y="104"/>
                  <a:pt x="104" y="104"/>
                </a:cubicBezTo>
                <a:cubicBezTo>
                  <a:pt x="103" y="104"/>
                  <a:pt x="103" y="104"/>
                  <a:pt x="102" y="103"/>
                </a:cubicBezTo>
                <a:cubicBezTo>
                  <a:pt x="101" y="102"/>
                  <a:pt x="101" y="100"/>
                  <a:pt x="102" y="99"/>
                </a:cubicBezTo>
                <a:cubicBezTo>
                  <a:pt x="114" y="88"/>
                  <a:pt x="114" y="69"/>
                  <a:pt x="102" y="58"/>
                </a:cubicBezTo>
                <a:cubicBezTo>
                  <a:pt x="101" y="57"/>
                  <a:pt x="101" y="55"/>
                  <a:pt x="102" y="54"/>
                </a:cubicBezTo>
                <a:cubicBezTo>
                  <a:pt x="103" y="53"/>
                  <a:pt x="105" y="53"/>
                  <a:pt x="106" y="54"/>
                </a:cubicBezTo>
                <a:cubicBezTo>
                  <a:pt x="119" y="68"/>
                  <a:pt x="119" y="90"/>
                  <a:pt x="106" y="103"/>
                </a:cubicBezTo>
                <a:close/>
                <a:moveTo>
                  <a:pt x="143" y="80"/>
                </a:moveTo>
                <a:cubicBezTo>
                  <a:pt x="143" y="98"/>
                  <a:pt x="136" y="115"/>
                  <a:pt x="123" y="127"/>
                </a:cubicBezTo>
                <a:cubicBezTo>
                  <a:pt x="123" y="128"/>
                  <a:pt x="122" y="128"/>
                  <a:pt x="121" y="128"/>
                </a:cubicBezTo>
                <a:cubicBezTo>
                  <a:pt x="121" y="128"/>
                  <a:pt x="120" y="128"/>
                  <a:pt x="119" y="127"/>
                </a:cubicBezTo>
                <a:cubicBezTo>
                  <a:pt x="118" y="126"/>
                  <a:pt x="118" y="124"/>
                  <a:pt x="119" y="123"/>
                </a:cubicBezTo>
                <a:cubicBezTo>
                  <a:pt x="131" y="112"/>
                  <a:pt x="137" y="96"/>
                  <a:pt x="137" y="80"/>
                </a:cubicBezTo>
                <a:cubicBezTo>
                  <a:pt x="137" y="64"/>
                  <a:pt x="131" y="48"/>
                  <a:pt x="119" y="37"/>
                </a:cubicBezTo>
                <a:cubicBezTo>
                  <a:pt x="118" y="36"/>
                  <a:pt x="118" y="34"/>
                  <a:pt x="119" y="33"/>
                </a:cubicBezTo>
                <a:cubicBezTo>
                  <a:pt x="120" y="32"/>
                  <a:pt x="122" y="32"/>
                  <a:pt x="123" y="33"/>
                </a:cubicBezTo>
                <a:cubicBezTo>
                  <a:pt x="136" y="45"/>
                  <a:pt x="143" y="62"/>
                  <a:pt x="143" y="80"/>
                </a:cubicBez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9">
            <a:extLst>
              <a:ext uri="{FF2B5EF4-FFF2-40B4-BE49-F238E27FC236}">
                <a16:creationId xmlns:a16="http://schemas.microsoft.com/office/drawing/2014/main" id="{51020D05-D011-EE4A-9065-BA2A61281119}"/>
              </a:ext>
            </a:extLst>
          </p:cNvPr>
          <p:cNvSpPr>
            <a:spLocks noEditPoints="1"/>
          </p:cNvSpPr>
          <p:nvPr/>
        </p:nvSpPr>
        <p:spPr bwMode="auto">
          <a:xfrm>
            <a:off x="587066" y="3124200"/>
            <a:ext cx="600075" cy="604838"/>
          </a:xfrm>
          <a:custGeom>
            <a:avLst/>
            <a:gdLst>
              <a:gd name="T0" fmla="*/ 108 w 160"/>
              <a:gd name="T1" fmla="*/ 20 h 160"/>
              <a:gd name="T2" fmla="*/ 100 w 160"/>
              <a:gd name="T3" fmla="*/ 20 h 160"/>
              <a:gd name="T4" fmla="*/ 99 w 160"/>
              <a:gd name="T5" fmla="*/ 20 h 160"/>
              <a:gd name="T6" fmla="*/ 64 w 160"/>
              <a:gd name="T7" fmla="*/ 53 h 160"/>
              <a:gd name="T8" fmla="*/ 62 w 160"/>
              <a:gd name="T9" fmla="*/ 53 h 160"/>
              <a:gd name="T10" fmla="*/ 40 w 160"/>
              <a:gd name="T11" fmla="*/ 53 h 160"/>
              <a:gd name="T12" fmla="*/ 32 w 160"/>
              <a:gd name="T13" fmla="*/ 62 h 160"/>
              <a:gd name="T14" fmla="*/ 32 w 160"/>
              <a:gd name="T15" fmla="*/ 96 h 160"/>
              <a:gd name="T16" fmla="*/ 40 w 160"/>
              <a:gd name="T17" fmla="*/ 104 h 160"/>
              <a:gd name="T18" fmla="*/ 62 w 160"/>
              <a:gd name="T19" fmla="*/ 104 h 160"/>
              <a:gd name="T20" fmla="*/ 64 w 160"/>
              <a:gd name="T21" fmla="*/ 104 h 160"/>
              <a:gd name="T22" fmla="*/ 99 w 160"/>
              <a:gd name="T23" fmla="*/ 137 h 160"/>
              <a:gd name="T24" fmla="*/ 100 w 160"/>
              <a:gd name="T25" fmla="*/ 138 h 160"/>
              <a:gd name="T26" fmla="*/ 104 w 160"/>
              <a:gd name="T27" fmla="*/ 139 h 160"/>
              <a:gd name="T28" fmla="*/ 108 w 160"/>
              <a:gd name="T29" fmla="*/ 138 h 160"/>
              <a:gd name="T30" fmla="*/ 112 w 160"/>
              <a:gd name="T31" fmla="*/ 130 h 160"/>
              <a:gd name="T32" fmla="*/ 112 w 160"/>
              <a:gd name="T33" fmla="*/ 27 h 160"/>
              <a:gd name="T34" fmla="*/ 108 w 160"/>
              <a:gd name="T35" fmla="*/ 20 h 160"/>
              <a:gd name="T36" fmla="*/ 107 w 160"/>
              <a:gd name="T37" fmla="*/ 130 h 160"/>
              <a:gd name="T38" fmla="*/ 105 w 160"/>
              <a:gd name="T39" fmla="*/ 133 h 160"/>
              <a:gd name="T40" fmla="*/ 102 w 160"/>
              <a:gd name="T41" fmla="*/ 133 h 160"/>
              <a:gd name="T42" fmla="*/ 67 w 160"/>
              <a:gd name="T43" fmla="*/ 100 h 160"/>
              <a:gd name="T44" fmla="*/ 67 w 160"/>
              <a:gd name="T45" fmla="*/ 100 h 160"/>
              <a:gd name="T46" fmla="*/ 62 w 160"/>
              <a:gd name="T47" fmla="*/ 99 h 160"/>
              <a:gd name="T48" fmla="*/ 40 w 160"/>
              <a:gd name="T49" fmla="*/ 99 h 160"/>
              <a:gd name="T50" fmla="*/ 37 w 160"/>
              <a:gd name="T51" fmla="*/ 96 h 160"/>
              <a:gd name="T52" fmla="*/ 37 w 160"/>
              <a:gd name="T53" fmla="*/ 62 h 160"/>
              <a:gd name="T54" fmla="*/ 40 w 160"/>
              <a:gd name="T55" fmla="*/ 59 h 160"/>
              <a:gd name="T56" fmla="*/ 62 w 160"/>
              <a:gd name="T57" fmla="*/ 59 h 160"/>
              <a:gd name="T58" fmla="*/ 67 w 160"/>
              <a:gd name="T59" fmla="*/ 58 h 160"/>
              <a:gd name="T60" fmla="*/ 67 w 160"/>
              <a:gd name="T61" fmla="*/ 57 h 160"/>
              <a:gd name="T62" fmla="*/ 102 w 160"/>
              <a:gd name="T63" fmla="*/ 24 h 160"/>
              <a:gd name="T64" fmla="*/ 105 w 160"/>
              <a:gd name="T65" fmla="*/ 24 h 160"/>
              <a:gd name="T66" fmla="*/ 107 w 160"/>
              <a:gd name="T67" fmla="*/ 27 h 160"/>
              <a:gd name="T68" fmla="*/ 107 w 160"/>
              <a:gd name="T69" fmla="*/ 130 h 160"/>
              <a:gd name="T70" fmla="*/ 80 w 160"/>
              <a:gd name="T71" fmla="*/ 0 h 160"/>
              <a:gd name="T72" fmla="*/ 0 w 160"/>
              <a:gd name="T73" fmla="*/ 80 h 160"/>
              <a:gd name="T74" fmla="*/ 80 w 160"/>
              <a:gd name="T75" fmla="*/ 160 h 160"/>
              <a:gd name="T76" fmla="*/ 160 w 160"/>
              <a:gd name="T77" fmla="*/ 80 h 160"/>
              <a:gd name="T78" fmla="*/ 80 w 160"/>
              <a:gd name="T79" fmla="*/ 0 h 160"/>
              <a:gd name="T80" fmla="*/ 80 w 160"/>
              <a:gd name="T81" fmla="*/ 155 h 160"/>
              <a:gd name="T82" fmla="*/ 5 w 160"/>
              <a:gd name="T83" fmla="*/ 80 h 160"/>
              <a:gd name="T84" fmla="*/ 80 w 160"/>
              <a:gd name="T85" fmla="*/ 5 h 160"/>
              <a:gd name="T86" fmla="*/ 155 w 160"/>
              <a:gd name="T87" fmla="*/ 80 h 160"/>
              <a:gd name="T88" fmla="*/ 80 w 160"/>
              <a:gd name="T8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160">
                <a:moveTo>
                  <a:pt x="108" y="20"/>
                </a:moveTo>
                <a:cubicBezTo>
                  <a:pt x="105" y="18"/>
                  <a:pt x="102" y="18"/>
                  <a:pt x="100" y="20"/>
                </a:cubicBezTo>
                <a:cubicBezTo>
                  <a:pt x="99" y="20"/>
                  <a:pt x="99" y="20"/>
                  <a:pt x="99" y="20"/>
                </a:cubicBezTo>
                <a:cubicBezTo>
                  <a:pt x="64" y="53"/>
                  <a:pt x="64" y="53"/>
                  <a:pt x="64" y="53"/>
                </a:cubicBezTo>
                <a:cubicBezTo>
                  <a:pt x="63" y="53"/>
                  <a:pt x="63" y="53"/>
                  <a:pt x="62" y="53"/>
                </a:cubicBezTo>
                <a:cubicBezTo>
                  <a:pt x="40" y="53"/>
                  <a:pt x="40" y="53"/>
                  <a:pt x="40" y="53"/>
                </a:cubicBezTo>
                <a:cubicBezTo>
                  <a:pt x="36" y="53"/>
                  <a:pt x="32" y="57"/>
                  <a:pt x="32" y="62"/>
                </a:cubicBezTo>
                <a:cubicBezTo>
                  <a:pt x="32" y="96"/>
                  <a:pt x="32" y="96"/>
                  <a:pt x="32" y="96"/>
                </a:cubicBezTo>
                <a:cubicBezTo>
                  <a:pt x="32" y="100"/>
                  <a:pt x="36" y="104"/>
                  <a:pt x="40" y="104"/>
                </a:cubicBezTo>
                <a:cubicBezTo>
                  <a:pt x="62" y="104"/>
                  <a:pt x="62" y="104"/>
                  <a:pt x="62" y="104"/>
                </a:cubicBezTo>
                <a:cubicBezTo>
                  <a:pt x="63" y="104"/>
                  <a:pt x="63" y="104"/>
                  <a:pt x="64" y="104"/>
                </a:cubicBezTo>
                <a:cubicBezTo>
                  <a:pt x="99" y="137"/>
                  <a:pt x="99" y="137"/>
                  <a:pt x="99" y="137"/>
                </a:cubicBezTo>
                <a:cubicBezTo>
                  <a:pt x="99" y="137"/>
                  <a:pt x="99" y="137"/>
                  <a:pt x="100" y="138"/>
                </a:cubicBezTo>
                <a:cubicBezTo>
                  <a:pt x="101" y="138"/>
                  <a:pt x="102" y="139"/>
                  <a:pt x="104" y="139"/>
                </a:cubicBezTo>
                <a:cubicBezTo>
                  <a:pt x="105" y="139"/>
                  <a:pt x="107" y="138"/>
                  <a:pt x="108" y="138"/>
                </a:cubicBezTo>
                <a:cubicBezTo>
                  <a:pt x="110" y="136"/>
                  <a:pt x="112" y="133"/>
                  <a:pt x="112" y="130"/>
                </a:cubicBezTo>
                <a:cubicBezTo>
                  <a:pt x="112" y="27"/>
                  <a:pt x="112" y="27"/>
                  <a:pt x="112" y="27"/>
                </a:cubicBezTo>
                <a:cubicBezTo>
                  <a:pt x="112" y="24"/>
                  <a:pt x="110" y="21"/>
                  <a:pt x="108" y="20"/>
                </a:cubicBezTo>
                <a:close/>
                <a:moveTo>
                  <a:pt x="107" y="130"/>
                </a:moveTo>
                <a:cubicBezTo>
                  <a:pt x="107" y="132"/>
                  <a:pt x="106" y="133"/>
                  <a:pt x="105" y="133"/>
                </a:cubicBezTo>
                <a:cubicBezTo>
                  <a:pt x="105" y="133"/>
                  <a:pt x="104" y="134"/>
                  <a:pt x="102" y="133"/>
                </a:cubicBezTo>
                <a:cubicBezTo>
                  <a:pt x="67" y="100"/>
                  <a:pt x="67" y="100"/>
                  <a:pt x="67" y="100"/>
                </a:cubicBezTo>
                <a:cubicBezTo>
                  <a:pt x="67" y="100"/>
                  <a:pt x="67" y="100"/>
                  <a:pt x="67" y="100"/>
                </a:cubicBezTo>
                <a:cubicBezTo>
                  <a:pt x="65" y="99"/>
                  <a:pt x="64" y="99"/>
                  <a:pt x="62" y="99"/>
                </a:cubicBezTo>
                <a:cubicBezTo>
                  <a:pt x="40" y="99"/>
                  <a:pt x="40" y="99"/>
                  <a:pt x="40" y="99"/>
                </a:cubicBezTo>
                <a:cubicBezTo>
                  <a:pt x="39" y="99"/>
                  <a:pt x="37" y="97"/>
                  <a:pt x="37" y="96"/>
                </a:cubicBezTo>
                <a:cubicBezTo>
                  <a:pt x="37" y="62"/>
                  <a:pt x="37" y="62"/>
                  <a:pt x="37" y="62"/>
                </a:cubicBezTo>
                <a:cubicBezTo>
                  <a:pt x="37" y="60"/>
                  <a:pt x="39" y="59"/>
                  <a:pt x="40" y="59"/>
                </a:cubicBezTo>
                <a:cubicBezTo>
                  <a:pt x="62" y="59"/>
                  <a:pt x="62" y="59"/>
                  <a:pt x="62" y="59"/>
                </a:cubicBezTo>
                <a:cubicBezTo>
                  <a:pt x="64" y="59"/>
                  <a:pt x="65" y="58"/>
                  <a:pt x="67" y="58"/>
                </a:cubicBezTo>
                <a:cubicBezTo>
                  <a:pt x="67" y="57"/>
                  <a:pt x="67" y="57"/>
                  <a:pt x="67" y="57"/>
                </a:cubicBezTo>
                <a:cubicBezTo>
                  <a:pt x="102" y="24"/>
                  <a:pt x="102" y="24"/>
                  <a:pt x="102" y="24"/>
                </a:cubicBezTo>
                <a:cubicBezTo>
                  <a:pt x="104" y="24"/>
                  <a:pt x="105" y="24"/>
                  <a:pt x="105" y="24"/>
                </a:cubicBezTo>
                <a:cubicBezTo>
                  <a:pt x="106" y="25"/>
                  <a:pt x="107" y="25"/>
                  <a:pt x="107" y="27"/>
                </a:cubicBezTo>
                <a:lnTo>
                  <a:pt x="107" y="130"/>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10">
            <a:extLst>
              <a:ext uri="{FF2B5EF4-FFF2-40B4-BE49-F238E27FC236}">
                <a16:creationId xmlns:a16="http://schemas.microsoft.com/office/drawing/2014/main" id="{9E3C4434-2368-4647-9ADA-557EABD2C628}"/>
              </a:ext>
            </a:extLst>
          </p:cNvPr>
          <p:cNvSpPr>
            <a:spLocks noEditPoints="1"/>
          </p:cNvSpPr>
          <p:nvPr/>
        </p:nvSpPr>
        <p:spPr bwMode="auto">
          <a:xfrm>
            <a:off x="587066" y="3865563"/>
            <a:ext cx="600075" cy="477838"/>
          </a:xfrm>
          <a:custGeom>
            <a:avLst/>
            <a:gdLst>
              <a:gd name="T0" fmla="*/ 68 w 160"/>
              <a:gd name="T1" fmla="*/ 4 h 126"/>
              <a:gd name="T2" fmla="*/ 31 w 160"/>
              <a:gd name="T3" fmla="*/ 35 h 126"/>
              <a:gd name="T4" fmla="*/ 0 w 160"/>
              <a:gd name="T5" fmla="*/ 38 h 126"/>
              <a:gd name="T6" fmla="*/ 1 w 160"/>
              <a:gd name="T7" fmla="*/ 90 h 126"/>
              <a:gd name="T8" fmla="*/ 31 w 160"/>
              <a:gd name="T9" fmla="*/ 91 h 126"/>
              <a:gd name="T10" fmla="*/ 68 w 160"/>
              <a:gd name="T11" fmla="*/ 124 h 126"/>
              <a:gd name="T12" fmla="*/ 76 w 160"/>
              <a:gd name="T13" fmla="*/ 124 h 126"/>
              <a:gd name="T14" fmla="*/ 80 w 160"/>
              <a:gd name="T15" fmla="*/ 11 h 126"/>
              <a:gd name="T16" fmla="*/ 75 w 160"/>
              <a:gd name="T17" fmla="*/ 117 h 126"/>
              <a:gd name="T18" fmla="*/ 70 w 160"/>
              <a:gd name="T19" fmla="*/ 120 h 126"/>
              <a:gd name="T20" fmla="*/ 35 w 160"/>
              <a:gd name="T21" fmla="*/ 75 h 126"/>
              <a:gd name="T22" fmla="*/ 29 w 160"/>
              <a:gd name="T23" fmla="*/ 75 h 126"/>
              <a:gd name="T24" fmla="*/ 5 w 160"/>
              <a:gd name="T25" fmla="*/ 85 h 126"/>
              <a:gd name="T26" fmla="*/ 29 w 160"/>
              <a:gd name="T27" fmla="*/ 40 h 126"/>
              <a:gd name="T28" fmla="*/ 32 w 160"/>
              <a:gd name="T29" fmla="*/ 53 h 126"/>
              <a:gd name="T30" fmla="*/ 35 w 160"/>
              <a:gd name="T31" fmla="*/ 39 h 126"/>
              <a:gd name="T32" fmla="*/ 73 w 160"/>
              <a:gd name="T33" fmla="*/ 9 h 126"/>
              <a:gd name="T34" fmla="*/ 75 w 160"/>
              <a:gd name="T35" fmla="*/ 117 h 126"/>
              <a:gd name="T36" fmla="*/ 103 w 160"/>
              <a:gd name="T37" fmla="*/ 112 h 126"/>
              <a:gd name="T38" fmla="*/ 102 w 160"/>
              <a:gd name="T39" fmla="*/ 107 h 126"/>
              <a:gd name="T40" fmla="*/ 102 w 160"/>
              <a:gd name="T41" fmla="*/ 19 h 126"/>
              <a:gd name="T42" fmla="*/ 103 w 160"/>
              <a:gd name="T43" fmla="*/ 14 h 126"/>
              <a:gd name="T44" fmla="*/ 104 w 160"/>
              <a:gd name="T45" fmla="*/ 112 h 126"/>
              <a:gd name="T46" fmla="*/ 117 w 160"/>
              <a:gd name="T47" fmla="*/ 126 h 126"/>
              <a:gd name="T48" fmla="*/ 113 w 160"/>
              <a:gd name="T49" fmla="*/ 125 h 126"/>
              <a:gd name="T50" fmla="*/ 155 w 160"/>
              <a:gd name="T51" fmla="*/ 63 h 126"/>
              <a:gd name="T52" fmla="*/ 115 w 160"/>
              <a:gd name="T53" fmla="*/ 2 h 126"/>
              <a:gd name="T54" fmla="*/ 160 w 160"/>
              <a:gd name="T55" fmla="*/ 63 h 126"/>
              <a:gd name="T56" fmla="*/ 88 w 160"/>
              <a:gd name="T57" fmla="*/ 98 h 126"/>
              <a:gd name="T58" fmla="*/ 87 w 160"/>
              <a:gd name="T59" fmla="*/ 92 h 126"/>
              <a:gd name="T60" fmla="*/ 87 w 160"/>
              <a:gd name="T61" fmla="*/ 33 h 126"/>
              <a:gd name="T62" fmla="*/ 89 w 160"/>
              <a:gd name="T63" fmla="*/ 28 h 126"/>
              <a:gd name="T64" fmla="*/ 89 w 160"/>
              <a:gd name="T65" fmla="*/ 9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26">
                <a:moveTo>
                  <a:pt x="76" y="4"/>
                </a:moveTo>
                <a:cubicBezTo>
                  <a:pt x="73" y="2"/>
                  <a:pt x="70" y="2"/>
                  <a:pt x="68" y="4"/>
                </a:cubicBezTo>
                <a:cubicBezTo>
                  <a:pt x="67" y="4"/>
                  <a:pt x="67" y="4"/>
                  <a:pt x="67" y="4"/>
                </a:cubicBezTo>
                <a:cubicBezTo>
                  <a:pt x="31" y="35"/>
                  <a:pt x="31" y="35"/>
                  <a:pt x="31" y="35"/>
                </a:cubicBezTo>
                <a:cubicBezTo>
                  <a:pt x="3" y="35"/>
                  <a:pt x="3" y="35"/>
                  <a:pt x="3" y="35"/>
                </a:cubicBezTo>
                <a:cubicBezTo>
                  <a:pt x="1" y="35"/>
                  <a:pt x="0" y="36"/>
                  <a:pt x="0" y="38"/>
                </a:cubicBezTo>
                <a:cubicBezTo>
                  <a:pt x="0" y="88"/>
                  <a:pt x="0" y="88"/>
                  <a:pt x="0" y="88"/>
                </a:cubicBezTo>
                <a:cubicBezTo>
                  <a:pt x="0" y="89"/>
                  <a:pt x="0" y="90"/>
                  <a:pt x="1" y="90"/>
                </a:cubicBezTo>
                <a:cubicBezTo>
                  <a:pt x="1" y="91"/>
                  <a:pt x="2" y="91"/>
                  <a:pt x="3" y="91"/>
                </a:cubicBezTo>
                <a:cubicBezTo>
                  <a:pt x="31" y="91"/>
                  <a:pt x="31" y="91"/>
                  <a:pt x="31" y="91"/>
                </a:cubicBezTo>
                <a:cubicBezTo>
                  <a:pt x="67" y="124"/>
                  <a:pt x="67" y="124"/>
                  <a:pt x="67" y="124"/>
                </a:cubicBezTo>
                <a:cubicBezTo>
                  <a:pt x="67" y="124"/>
                  <a:pt x="67" y="124"/>
                  <a:pt x="68" y="124"/>
                </a:cubicBezTo>
                <a:cubicBezTo>
                  <a:pt x="69" y="125"/>
                  <a:pt x="70" y="126"/>
                  <a:pt x="72" y="126"/>
                </a:cubicBezTo>
                <a:cubicBezTo>
                  <a:pt x="73" y="126"/>
                  <a:pt x="74" y="125"/>
                  <a:pt x="76" y="124"/>
                </a:cubicBezTo>
                <a:cubicBezTo>
                  <a:pt x="78" y="123"/>
                  <a:pt x="80" y="120"/>
                  <a:pt x="80" y="117"/>
                </a:cubicBezTo>
                <a:cubicBezTo>
                  <a:pt x="80" y="11"/>
                  <a:pt x="80" y="11"/>
                  <a:pt x="80" y="11"/>
                </a:cubicBezTo>
                <a:cubicBezTo>
                  <a:pt x="80" y="8"/>
                  <a:pt x="78" y="5"/>
                  <a:pt x="76" y="4"/>
                </a:cubicBezTo>
                <a:close/>
                <a:moveTo>
                  <a:pt x="75" y="117"/>
                </a:moveTo>
                <a:cubicBezTo>
                  <a:pt x="75" y="118"/>
                  <a:pt x="74" y="119"/>
                  <a:pt x="73" y="120"/>
                </a:cubicBezTo>
                <a:cubicBezTo>
                  <a:pt x="73" y="120"/>
                  <a:pt x="72" y="120"/>
                  <a:pt x="70" y="120"/>
                </a:cubicBezTo>
                <a:cubicBezTo>
                  <a:pt x="35" y="87"/>
                  <a:pt x="35" y="87"/>
                  <a:pt x="35" y="87"/>
                </a:cubicBezTo>
                <a:cubicBezTo>
                  <a:pt x="35" y="75"/>
                  <a:pt x="35" y="75"/>
                  <a:pt x="35" y="75"/>
                </a:cubicBezTo>
                <a:cubicBezTo>
                  <a:pt x="35" y="73"/>
                  <a:pt x="33" y="72"/>
                  <a:pt x="32" y="72"/>
                </a:cubicBezTo>
                <a:cubicBezTo>
                  <a:pt x="31" y="72"/>
                  <a:pt x="29" y="73"/>
                  <a:pt x="29" y="75"/>
                </a:cubicBezTo>
                <a:cubicBezTo>
                  <a:pt x="29" y="85"/>
                  <a:pt x="29" y="85"/>
                  <a:pt x="29" y="85"/>
                </a:cubicBezTo>
                <a:cubicBezTo>
                  <a:pt x="5" y="85"/>
                  <a:pt x="5" y="85"/>
                  <a:pt x="5" y="85"/>
                </a:cubicBezTo>
                <a:cubicBezTo>
                  <a:pt x="5" y="40"/>
                  <a:pt x="5" y="40"/>
                  <a:pt x="5" y="40"/>
                </a:cubicBezTo>
                <a:cubicBezTo>
                  <a:pt x="29" y="40"/>
                  <a:pt x="29" y="40"/>
                  <a:pt x="29" y="40"/>
                </a:cubicBezTo>
                <a:cubicBezTo>
                  <a:pt x="29" y="51"/>
                  <a:pt x="29" y="51"/>
                  <a:pt x="29" y="51"/>
                </a:cubicBezTo>
                <a:cubicBezTo>
                  <a:pt x="29" y="52"/>
                  <a:pt x="31" y="53"/>
                  <a:pt x="32" y="53"/>
                </a:cubicBezTo>
                <a:cubicBezTo>
                  <a:pt x="33" y="53"/>
                  <a:pt x="35" y="52"/>
                  <a:pt x="35" y="51"/>
                </a:cubicBezTo>
                <a:cubicBezTo>
                  <a:pt x="35" y="39"/>
                  <a:pt x="35" y="39"/>
                  <a:pt x="35" y="39"/>
                </a:cubicBezTo>
                <a:cubicBezTo>
                  <a:pt x="70" y="8"/>
                  <a:pt x="70" y="8"/>
                  <a:pt x="70" y="8"/>
                </a:cubicBezTo>
                <a:cubicBezTo>
                  <a:pt x="72" y="8"/>
                  <a:pt x="73" y="8"/>
                  <a:pt x="73" y="9"/>
                </a:cubicBezTo>
                <a:cubicBezTo>
                  <a:pt x="74" y="9"/>
                  <a:pt x="75" y="10"/>
                  <a:pt x="75" y="11"/>
                </a:cubicBezTo>
                <a:lnTo>
                  <a:pt x="75" y="117"/>
                </a:lnTo>
                <a:close/>
                <a:moveTo>
                  <a:pt x="104" y="112"/>
                </a:moveTo>
                <a:cubicBezTo>
                  <a:pt x="103" y="112"/>
                  <a:pt x="103" y="112"/>
                  <a:pt x="103" y="112"/>
                </a:cubicBezTo>
                <a:cubicBezTo>
                  <a:pt x="102" y="112"/>
                  <a:pt x="101" y="111"/>
                  <a:pt x="100" y="110"/>
                </a:cubicBezTo>
                <a:cubicBezTo>
                  <a:pt x="100" y="109"/>
                  <a:pt x="100" y="107"/>
                  <a:pt x="102" y="107"/>
                </a:cubicBezTo>
                <a:cubicBezTo>
                  <a:pt x="121" y="101"/>
                  <a:pt x="133" y="83"/>
                  <a:pt x="133" y="63"/>
                </a:cubicBezTo>
                <a:cubicBezTo>
                  <a:pt x="133" y="43"/>
                  <a:pt x="121" y="25"/>
                  <a:pt x="102" y="19"/>
                </a:cubicBezTo>
                <a:cubicBezTo>
                  <a:pt x="100" y="18"/>
                  <a:pt x="100" y="17"/>
                  <a:pt x="100" y="15"/>
                </a:cubicBezTo>
                <a:cubicBezTo>
                  <a:pt x="101" y="14"/>
                  <a:pt x="102" y="13"/>
                  <a:pt x="103" y="14"/>
                </a:cubicBezTo>
                <a:cubicBezTo>
                  <a:pt x="125" y="21"/>
                  <a:pt x="139" y="41"/>
                  <a:pt x="139" y="63"/>
                </a:cubicBezTo>
                <a:cubicBezTo>
                  <a:pt x="139" y="85"/>
                  <a:pt x="125" y="105"/>
                  <a:pt x="104" y="112"/>
                </a:cubicBezTo>
                <a:close/>
                <a:moveTo>
                  <a:pt x="160" y="63"/>
                </a:moveTo>
                <a:cubicBezTo>
                  <a:pt x="160" y="91"/>
                  <a:pt x="143" y="116"/>
                  <a:pt x="117" y="126"/>
                </a:cubicBezTo>
                <a:cubicBezTo>
                  <a:pt x="116" y="126"/>
                  <a:pt x="116" y="126"/>
                  <a:pt x="116" y="126"/>
                </a:cubicBezTo>
                <a:cubicBezTo>
                  <a:pt x="115" y="126"/>
                  <a:pt x="114" y="126"/>
                  <a:pt x="113" y="125"/>
                </a:cubicBezTo>
                <a:cubicBezTo>
                  <a:pt x="113" y="123"/>
                  <a:pt x="113" y="122"/>
                  <a:pt x="115" y="121"/>
                </a:cubicBezTo>
                <a:cubicBezTo>
                  <a:pt x="139" y="112"/>
                  <a:pt x="155" y="89"/>
                  <a:pt x="155" y="63"/>
                </a:cubicBezTo>
                <a:cubicBezTo>
                  <a:pt x="155" y="38"/>
                  <a:pt x="140" y="15"/>
                  <a:pt x="116" y="5"/>
                </a:cubicBezTo>
                <a:cubicBezTo>
                  <a:pt x="115" y="5"/>
                  <a:pt x="114" y="3"/>
                  <a:pt x="115" y="2"/>
                </a:cubicBezTo>
                <a:cubicBezTo>
                  <a:pt x="116" y="0"/>
                  <a:pt x="117" y="0"/>
                  <a:pt x="119" y="0"/>
                </a:cubicBezTo>
                <a:cubicBezTo>
                  <a:pt x="144" y="11"/>
                  <a:pt x="160" y="35"/>
                  <a:pt x="160" y="63"/>
                </a:cubicBezTo>
                <a:close/>
                <a:moveTo>
                  <a:pt x="89" y="97"/>
                </a:moveTo>
                <a:cubicBezTo>
                  <a:pt x="88" y="97"/>
                  <a:pt x="88" y="98"/>
                  <a:pt x="88" y="98"/>
                </a:cubicBezTo>
                <a:cubicBezTo>
                  <a:pt x="87" y="98"/>
                  <a:pt x="86" y="97"/>
                  <a:pt x="85" y="96"/>
                </a:cubicBezTo>
                <a:cubicBezTo>
                  <a:pt x="85" y="94"/>
                  <a:pt x="86" y="93"/>
                  <a:pt x="87" y="92"/>
                </a:cubicBezTo>
                <a:cubicBezTo>
                  <a:pt x="100" y="89"/>
                  <a:pt x="109" y="76"/>
                  <a:pt x="109" y="63"/>
                </a:cubicBezTo>
                <a:cubicBezTo>
                  <a:pt x="109" y="49"/>
                  <a:pt x="100" y="37"/>
                  <a:pt x="87" y="33"/>
                </a:cubicBezTo>
                <a:cubicBezTo>
                  <a:pt x="86" y="33"/>
                  <a:pt x="85" y="32"/>
                  <a:pt x="85" y="30"/>
                </a:cubicBezTo>
                <a:cubicBezTo>
                  <a:pt x="86" y="29"/>
                  <a:pt x="87" y="28"/>
                  <a:pt x="89" y="28"/>
                </a:cubicBezTo>
                <a:cubicBezTo>
                  <a:pt x="104" y="33"/>
                  <a:pt x="115" y="47"/>
                  <a:pt x="115" y="63"/>
                </a:cubicBezTo>
                <a:cubicBezTo>
                  <a:pt x="115" y="79"/>
                  <a:pt x="104" y="93"/>
                  <a:pt x="89" y="97"/>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11">
            <a:extLst>
              <a:ext uri="{FF2B5EF4-FFF2-40B4-BE49-F238E27FC236}">
                <a16:creationId xmlns:a16="http://schemas.microsoft.com/office/drawing/2014/main" id="{D3C2137A-9F29-A944-8E51-C7F63A11C280}"/>
              </a:ext>
            </a:extLst>
          </p:cNvPr>
          <p:cNvSpPr>
            <a:spLocks noEditPoints="1"/>
          </p:cNvSpPr>
          <p:nvPr/>
        </p:nvSpPr>
        <p:spPr bwMode="auto">
          <a:xfrm>
            <a:off x="587066" y="4516438"/>
            <a:ext cx="600075" cy="534988"/>
          </a:xfrm>
          <a:custGeom>
            <a:avLst/>
            <a:gdLst>
              <a:gd name="T0" fmla="*/ 87 w 160"/>
              <a:gd name="T1" fmla="*/ 1 h 141"/>
              <a:gd name="T2" fmla="*/ 78 w 160"/>
              <a:gd name="T3" fmla="*/ 1 h 141"/>
              <a:gd name="T4" fmla="*/ 77 w 160"/>
              <a:gd name="T5" fmla="*/ 2 h 141"/>
              <a:gd name="T6" fmla="*/ 36 w 160"/>
              <a:gd name="T7" fmla="*/ 37 h 141"/>
              <a:gd name="T8" fmla="*/ 3 w 160"/>
              <a:gd name="T9" fmla="*/ 37 h 141"/>
              <a:gd name="T10" fmla="*/ 0 w 160"/>
              <a:gd name="T11" fmla="*/ 40 h 141"/>
              <a:gd name="T12" fmla="*/ 0 w 160"/>
              <a:gd name="T13" fmla="*/ 98 h 141"/>
              <a:gd name="T14" fmla="*/ 1 w 160"/>
              <a:gd name="T15" fmla="*/ 101 h 141"/>
              <a:gd name="T16" fmla="*/ 3 w 160"/>
              <a:gd name="T17" fmla="*/ 101 h 141"/>
              <a:gd name="T18" fmla="*/ 36 w 160"/>
              <a:gd name="T19" fmla="*/ 101 h 141"/>
              <a:gd name="T20" fmla="*/ 77 w 160"/>
              <a:gd name="T21" fmla="*/ 140 h 141"/>
              <a:gd name="T22" fmla="*/ 78 w 160"/>
              <a:gd name="T23" fmla="*/ 140 h 141"/>
              <a:gd name="T24" fmla="*/ 83 w 160"/>
              <a:gd name="T25" fmla="*/ 141 h 141"/>
              <a:gd name="T26" fmla="*/ 87 w 160"/>
              <a:gd name="T27" fmla="*/ 140 h 141"/>
              <a:gd name="T28" fmla="*/ 92 w 160"/>
              <a:gd name="T29" fmla="*/ 132 h 141"/>
              <a:gd name="T30" fmla="*/ 92 w 160"/>
              <a:gd name="T31" fmla="*/ 10 h 141"/>
              <a:gd name="T32" fmla="*/ 87 w 160"/>
              <a:gd name="T33" fmla="*/ 1 h 141"/>
              <a:gd name="T34" fmla="*/ 86 w 160"/>
              <a:gd name="T35" fmla="*/ 132 h 141"/>
              <a:gd name="T36" fmla="*/ 84 w 160"/>
              <a:gd name="T37" fmla="*/ 135 h 141"/>
              <a:gd name="T38" fmla="*/ 81 w 160"/>
              <a:gd name="T39" fmla="*/ 135 h 141"/>
              <a:gd name="T40" fmla="*/ 40 w 160"/>
              <a:gd name="T41" fmla="*/ 97 h 141"/>
              <a:gd name="T42" fmla="*/ 40 w 160"/>
              <a:gd name="T43" fmla="*/ 83 h 141"/>
              <a:gd name="T44" fmla="*/ 37 w 160"/>
              <a:gd name="T45" fmla="*/ 80 h 141"/>
              <a:gd name="T46" fmla="*/ 34 w 160"/>
              <a:gd name="T47" fmla="*/ 83 h 141"/>
              <a:gd name="T48" fmla="*/ 34 w 160"/>
              <a:gd name="T49" fmla="*/ 95 h 141"/>
              <a:gd name="T50" fmla="*/ 6 w 160"/>
              <a:gd name="T51" fmla="*/ 95 h 141"/>
              <a:gd name="T52" fmla="*/ 6 w 160"/>
              <a:gd name="T53" fmla="*/ 43 h 141"/>
              <a:gd name="T54" fmla="*/ 34 w 160"/>
              <a:gd name="T55" fmla="*/ 43 h 141"/>
              <a:gd name="T56" fmla="*/ 34 w 160"/>
              <a:gd name="T57" fmla="*/ 55 h 141"/>
              <a:gd name="T58" fmla="*/ 37 w 160"/>
              <a:gd name="T59" fmla="*/ 58 h 141"/>
              <a:gd name="T60" fmla="*/ 40 w 160"/>
              <a:gd name="T61" fmla="*/ 55 h 141"/>
              <a:gd name="T62" fmla="*/ 40 w 160"/>
              <a:gd name="T63" fmla="*/ 41 h 141"/>
              <a:gd name="T64" fmla="*/ 81 w 160"/>
              <a:gd name="T65" fmla="*/ 7 h 141"/>
              <a:gd name="T66" fmla="*/ 84 w 160"/>
              <a:gd name="T67" fmla="*/ 7 h 141"/>
              <a:gd name="T68" fmla="*/ 86 w 160"/>
              <a:gd name="T69" fmla="*/ 10 h 141"/>
              <a:gd name="T70" fmla="*/ 86 w 160"/>
              <a:gd name="T71" fmla="*/ 132 h 141"/>
              <a:gd name="T72" fmla="*/ 160 w 160"/>
              <a:gd name="T73" fmla="*/ 69 h 141"/>
              <a:gd name="T74" fmla="*/ 119 w 160"/>
              <a:gd name="T75" fmla="*/ 126 h 141"/>
              <a:gd name="T76" fmla="*/ 118 w 160"/>
              <a:gd name="T77" fmla="*/ 126 h 141"/>
              <a:gd name="T78" fmla="*/ 115 w 160"/>
              <a:gd name="T79" fmla="*/ 124 h 141"/>
              <a:gd name="T80" fmla="*/ 117 w 160"/>
              <a:gd name="T81" fmla="*/ 120 h 141"/>
              <a:gd name="T82" fmla="*/ 154 w 160"/>
              <a:gd name="T83" fmla="*/ 69 h 141"/>
              <a:gd name="T84" fmla="*/ 117 w 160"/>
              <a:gd name="T85" fmla="*/ 18 h 141"/>
              <a:gd name="T86" fmla="*/ 115 w 160"/>
              <a:gd name="T87" fmla="*/ 14 h 141"/>
              <a:gd name="T88" fmla="*/ 119 w 160"/>
              <a:gd name="T89" fmla="*/ 12 h 141"/>
              <a:gd name="T90" fmla="*/ 160 w 160"/>
              <a:gd name="T91" fmla="*/ 69 h 141"/>
              <a:gd name="T92" fmla="*/ 102 w 160"/>
              <a:gd name="T93" fmla="*/ 109 h 141"/>
              <a:gd name="T94" fmla="*/ 101 w 160"/>
              <a:gd name="T95" fmla="*/ 109 h 141"/>
              <a:gd name="T96" fmla="*/ 99 w 160"/>
              <a:gd name="T97" fmla="*/ 107 h 141"/>
              <a:gd name="T98" fmla="*/ 101 w 160"/>
              <a:gd name="T99" fmla="*/ 103 h 141"/>
              <a:gd name="T100" fmla="*/ 126 w 160"/>
              <a:gd name="T101" fmla="*/ 69 h 141"/>
              <a:gd name="T102" fmla="*/ 101 w 160"/>
              <a:gd name="T103" fmla="*/ 35 h 141"/>
              <a:gd name="T104" fmla="*/ 99 w 160"/>
              <a:gd name="T105" fmla="*/ 31 h 141"/>
              <a:gd name="T106" fmla="*/ 102 w 160"/>
              <a:gd name="T107" fmla="*/ 29 h 141"/>
              <a:gd name="T108" fmla="*/ 132 w 160"/>
              <a:gd name="T109" fmla="*/ 69 h 141"/>
              <a:gd name="T110" fmla="*/ 102 w 160"/>
              <a:gd name="T111" fmla="*/ 10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41">
                <a:moveTo>
                  <a:pt x="87" y="1"/>
                </a:moveTo>
                <a:cubicBezTo>
                  <a:pt x="84" y="0"/>
                  <a:pt x="81" y="0"/>
                  <a:pt x="78" y="1"/>
                </a:cubicBezTo>
                <a:cubicBezTo>
                  <a:pt x="78" y="1"/>
                  <a:pt x="78" y="2"/>
                  <a:pt x="77" y="2"/>
                </a:cubicBezTo>
                <a:cubicBezTo>
                  <a:pt x="36" y="37"/>
                  <a:pt x="36" y="37"/>
                  <a:pt x="36" y="37"/>
                </a:cubicBezTo>
                <a:cubicBezTo>
                  <a:pt x="3" y="37"/>
                  <a:pt x="3" y="37"/>
                  <a:pt x="3" y="37"/>
                </a:cubicBezTo>
                <a:cubicBezTo>
                  <a:pt x="1" y="37"/>
                  <a:pt x="0" y="38"/>
                  <a:pt x="0" y="40"/>
                </a:cubicBezTo>
                <a:cubicBezTo>
                  <a:pt x="0" y="98"/>
                  <a:pt x="0" y="98"/>
                  <a:pt x="0" y="98"/>
                </a:cubicBezTo>
                <a:cubicBezTo>
                  <a:pt x="0" y="99"/>
                  <a:pt x="0" y="100"/>
                  <a:pt x="1" y="101"/>
                </a:cubicBezTo>
                <a:cubicBezTo>
                  <a:pt x="1" y="101"/>
                  <a:pt x="2" y="101"/>
                  <a:pt x="3" y="101"/>
                </a:cubicBezTo>
                <a:cubicBezTo>
                  <a:pt x="36" y="101"/>
                  <a:pt x="36" y="101"/>
                  <a:pt x="36" y="101"/>
                </a:cubicBezTo>
                <a:cubicBezTo>
                  <a:pt x="77" y="140"/>
                  <a:pt x="77" y="140"/>
                  <a:pt x="77" y="140"/>
                </a:cubicBezTo>
                <a:cubicBezTo>
                  <a:pt x="78" y="140"/>
                  <a:pt x="78" y="140"/>
                  <a:pt x="78" y="140"/>
                </a:cubicBezTo>
                <a:cubicBezTo>
                  <a:pt x="79" y="141"/>
                  <a:pt x="81" y="141"/>
                  <a:pt x="83" y="141"/>
                </a:cubicBezTo>
                <a:cubicBezTo>
                  <a:pt x="84" y="141"/>
                  <a:pt x="86" y="141"/>
                  <a:pt x="87" y="140"/>
                </a:cubicBezTo>
                <a:cubicBezTo>
                  <a:pt x="90" y="139"/>
                  <a:pt x="92" y="135"/>
                  <a:pt x="92" y="132"/>
                </a:cubicBezTo>
                <a:cubicBezTo>
                  <a:pt x="92" y="10"/>
                  <a:pt x="92" y="10"/>
                  <a:pt x="92" y="10"/>
                </a:cubicBezTo>
                <a:cubicBezTo>
                  <a:pt x="92" y="6"/>
                  <a:pt x="90" y="3"/>
                  <a:pt x="87" y="1"/>
                </a:cubicBezTo>
                <a:close/>
                <a:moveTo>
                  <a:pt x="86" y="132"/>
                </a:moveTo>
                <a:cubicBezTo>
                  <a:pt x="86" y="133"/>
                  <a:pt x="85" y="134"/>
                  <a:pt x="84" y="135"/>
                </a:cubicBezTo>
                <a:cubicBezTo>
                  <a:pt x="84" y="135"/>
                  <a:pt x="83" y="136"/>
                  <a:pt x="81" y="135"/>
                </a:cubicBezTo>
                <a:cubicBezTo>
                  <a:pt x="40" y="97"/>
                  <a:pt x="40" y="97"/>
                  <a:pt x="40" y="97"/>
                </a:cubicBezTo>
                <a:cubicBezTo>
                  <a:pt x="40" y="83"/>
                  <a:pt x="40" y="83"/>
                  <a:pt x="40" y="83"/>
                </a:cubicBezTo>
                <a:cubicBezTo>
                  <a:pt x="40" y="81"/>
                  <a:pt x="39" y="80"/>
                  <a:pt x="37" y="80"/>
                </a:cubicBezTo>
                <a:cubicBezTo>
                  <a:pt x="35" y="80"/>
                  <a:pt x="34" y="81"/>
                  <a:pt x="34" y="83"/>
                </a:cubicBezTo>
                <a:cubicBezTo>
                  <a:pt x="34" y="95"/>
                  <a:pt x="34" y="95"/>
                  <a:pt x="34" y="95"/>
                </a:cubicBezTo>
                <a:cubicBezTo>
                  <a:pt x="6" y="95"/>
                  <a:pt x="6" y="95"/>
                  <a:pt x="6" y="95"/>
                </a:cubicBezTo>
                <a:cubicBezTo>
                  <a:pt x="6" y="43"/>
                  <a:pt x="6" y="43"/>
                  <a:pt x="6" y="43"/>
                </a:cubicBezTo>
                <a:cubicBezTo>
                  <a:pt x="34" y="43"/>
                  <a:pt x="34" y="43"/>
                  <a:pt x="34" y="43"/>
                </a:cubicBezTo>
                <a:cubicBezTo>
                  <a:pt x="34" y="55"/>
                  <a:pt x="34" y="55"/>
                  <a:pt x="34" y="55"/>
                </a:cubicBezTo>
                <a:cubicBezTo>
                  <a:pt x="34" y="57"/>
                  <a:pt x="35" y="58"/>
                  <a:pt x="37" y="58"/>
                </a:cubicBezTo>
                <a:cubicBezTo>
                  <a:pt x="39" y="58"/>
                  <a:pt x="40" y="57"/>
                  <a:pt x="40" y="55"/>
                </a:cubicBezTo>
                <a:cubicBezTo>
                  <a:pt x="40" y="41"/>
                  <a:pt x="40" y="41"/>
                  <a:pt x="40" y="41"/>
                </a:cubicBezTo>
                <a:cubicBezTo>
                  <a:pt x="81" y="7"/>
                  <a:pt x="81" y="7"/>
                  <a:pt x="81" y="7"/>
                </a:cubicBezTo>
                <a:cubicBezTo>
                  <a:pt x="83" y="6"/>
                  <a:pt x="84" y="6"/>
                  <a:pt x="84" y="7"/>
                </a:cubicBezTo>
                <a:cubicBezTo>
                  <a:pt x="85" y="7"/>
                  <a:pt x="86" y="8"/>
                  <a:pt x="86" y="10"/>
                </a:cubicBezTo>
                <a:lnTo>
                  <a:pt x="86" y="132"/>
                </a:lnTo>
                <a:close/>
                <a:moveTo>
                  <a:pt x="160" y="69"/>
                </a:moveTo>
                <a:cubicBezTo>
                  <a:pt x="160" y="95"/>
                  <a:pt x="144" y="118"/>
                  <a:pt x="119" y="126"/>
                </a:cubicBezTo>
                <a:cubicBezTo>
                  <a:pt x="119" y="126"/>
                  <a:pt x="119" y="126"/>
                  <a:pt x="118" y="126"/>
                </a:cubicBezTo>
                <a:cubicBezTo>
                  <a:pt x="117" y="126"/>
                  <a:pt x="116" y="125"/>
                  <a:pt x="115" y="124"/>
                </a:cubicBezTo>
                <a:cubicBezTo>
                  <a:pt x="115" y="122"/>
                  <a:pt x="116" y="121"/>
                  <a:pt x="117" y="120"/>
                </a:cubicBezTo>
                <a:cubicBezTo>
                  <a:pt x="139" y="113"/>
                  <a:pt x="154" y="92"/>
                  <a:pt x="154" y="69"/>
                </a:cubicBezTo>
                <a:cubicBezTo>
                  <a:pt x="154" y="46"/>
                  <a:pt x="139" y="26"/>
                  <a:pt x="117" y="18"/>
                </a:cubicBezTo>
                <a:cubicBezTo>
                  <a:pt x="116" y="18"/>
                  <a:pt x="115" y="16"/>
                  <a:pt x="115" y="14"/>
                </a:cubicBezTo>
                <a:cubicBezTo>
                  <a:pt x="116" y="13"/>
                  <a:pt x="118" y="12"/>
                  <a:pt x="119" y="12"/>
                </a:cubicBezTo>
                <a:cubicBezTo>
                  <a:pt x="144" y="21"/>
                  <a:pt x="160" y="44"/>
                  <a:pt x="160" y="69"/>
                </a:cubicBezTo>
                <a:close/>
                <a:moveTo>
                  <a:pt x="102" y="109"/>
                </a:moveTo>
                <a:cubicBezTo>
                  <a:pt x="102" y="109"/>
                  <a:pt x="102" y="109"/>
                  <a:pt x="101" y="109"/>
                </a:cubicBezTo>
                <a:cubicBezTo>
                  <a:pt x="100" y="109"/>
                  <a:pt x="99" y="108"/>
                  <a:pt x="99" y="107"/>
                </a:cubicBezTo>
                <a:cubicBezTo>
                  <a:pt x="98" y="105"/>
                  <a:pt x="99" y="104"/>
                  <a:pt x="101" y="103"/>
                </a:cubicBezTo>
                <a:cubicBezTo>
                  <a:pt x="116" y="99"/>
                  <a:pt x="126" y="85"/>
                  <a:pt x="126" y="69"/>
                </a:cubicBezTo>
                <a:cubicBezTo>
                  <a:pt x="126" y="54"/>
                  <a:pt x="116" y="40"/>
                  <a:pt x="101" y="35"/>
                </a:cubicBezTo>
                <a:cubicBezTo>
                  <a:pt x="99" y="35"/>
                  <a:pt x="98" y="33"/>
                  <a:pt x="99" y="31"/>
                </a:cubicBezTo>
                <a:cubicBezTo>
                  <a:pt x="99" y="30"/>
                  <a:pt x="101" y="29"/>
                  <a:pt x="102" y="29"/>
                </a:cubicBezTo>
                <a:cubicBezTo>
                  <a:pt x="120" y="34"/>
                  <a:pt x="132" y="51"/>
                  <a:pt x="132" y="69"/>
                </a:cubicBezTo>
                <a:cubicBezTo>
                  <a:pt x="132" y="88"/>
                  <a:pt x="120" y="104"/>
                  <a:pt x="102" y="109"/>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2">
            <a:extLst>
              <a:ext uri="{FF2B5EF4-FFF2-40B4-BE49-F238E27FC236}">
                <a16:creationId xmlns:a16="http://schemas.microsoft.com/office/drawing/2014/main" id="{3EB7BF05-E1AC-2241-B04C-A3DB37746814}"/>
              </a:ext>
            </a:extLst>
          </p:cNvPr>
          <p:cNvSpPr>
            <a:spLocks noEditPoints="1"/>
          </p:cNvSpPr>
          <p:nvPr/>
        </p:nvSpPr>
        <p:spPr bwMode="auto">
          <a:xfrm>
            <a:off x="601354" y="5164138"/>
            <a:ext cx="563563" cy="609600"/>
          </a:xfrm>
          <a:custGeom>
            <a:avLst/>
            <a:gdLst>
              <a:gd name="T0" fmla="*/ 99 w 150"/>
              <a:gd name="T1" fmla="*/ 2 h 161"/>
              <a:gd name="T2" fmla="*/ 88 w 150"/>
              <a:gd name="T3" fmla="*/ 3 h 161"/>
              <a:gd name="T4" fmla="*/ 88 w 150"/>
              <a:gd name="T5" fmla="*/ 3 h 161"/>
              <a:gd name="T6" fmla="*/ 40 w 150"/>
              <a:gd name="T7" fmla="*/ 43 h 161"/>
              <a:gd name="T8" fmla="*/ 3 w 150"/>
              <a:gd name="T9" fmla="*/ 43 h 161"/>
              <a:gd name="T10" fmla="*/ 0 w 150"/>
              <a:gd name="T11" fmla="*/ 46 h 161"/>
              <a:gd name="T12" fmla="*/ 0 w 150"/>
              <a:gd name="T13" fmla="*/ 112 h 161"/>
              <a:gd name="T14" fmla="*/ 1 w 150"/>
              <a:gd name="T15" fmla="*/ 115 h 161"/>
              <a:gd name="T16" fmla="*/ 3 w 150"/>
              <a:gd name="T17" fmla="*/ 116 h 161"/>
              <a:gd name="T18" fmla="*/ 40 w 150"/>
              <a:gd name="T19" fmla="*/ 116 h 161"/>
              <a:gd name="T20" fmla="*/ 87 w 150"/>
              <a:gd name="T21" fmla="*/ 159 h 161"/>
              <a:gd name="T22" fmla="*/ 88 w 150"/>
              <a:gd name="T23" fmla="*/ 159 h 161"/>
              <a:gd name="T24" fmla="*/ 94 w 150"/>
              <a:gd name="T25" fmla="*/ 161 h 161"/>
              <a:gd name="T26" fmla="*/ 99 w 150"/>
              <a:gd name="T27" fmla="*/ 160 h 161"/>
              <a:gd name="T28" fmla="*/ 104 w 150"/>
              <a:gd name="T29" fmla="*/ 150 h 161"/>
              <a:gd name="T30" fmla="*/ 104 w 150"/>
              <a:gd name="T31" fmla="*/ 12 h 161"/>
              <a:gd name="T32" fmla="*/ 99 w 150"/>
              <a:gd name="T33" fmla="*/ 2 h 161"/>
              <a:gd name="T34" fmla="*/ 97 w 150"/>
              <a:gd name="T35" fmla="*/ 150 h 161"/>
              <a:gd name="T36" fmla="*/ 95 w 150"/>
              <a:gd name="T37" fmla="*/ 154 h 161"/>
              <a:gd name="T38" fmla="*/ 92 w 150"/>
              <a:gd name="T39" fmla="*/ 154 h 161"/>
              <a:gd name="T40" fmla="*/ 45 w 150"/>
              <a:gd name="T41" fmla="*/ 111 h 161"/>
              <a:gd name="T42" fmla="*/ 45 w 150"/>
              <a:gd name="T43" fmla="*/ 95 h 161"/>
              <a:gd name="T44" fmla="*/ 42 w 150"/>
              <a:gd name="T45" fmla="*/ 91 h 161"/>
              <a:gd name="T46" fmla="*/ 38 w 150"/>
              <a:gd name="T47" fmla="*/ 95 h 161"/>
              <a:gd name="T48" fmla="*/ 38 w 150"/>
              <a:gd name="T49" fmla="*/ 109 h 161"/>
              <a:gd name="T50" fmla="*/ 7 w 150"/>
              <a:gd name="T51" fmla="*/ 109 h 161"/>
              <a:gd name="T52" fmla="*/ 7 w 150"/>
              <a:gd name="T53" fmla="*/ 50 h 161"/>
              <a:gd name="T54" fmla="*/ 38 w 150"/>
              <a:gd name="T55" fmla="*/ 50 h 161"/>
              <a:gd name="T56" fmla="*/ 38 w 150"/>
              <a:gd name="T57" fmla="*/ 64 h 161"/>
              <a:gd name="T58" fmla="*/ 42 w 150"/>
              <a:gd name="T59" fmla="*/ 67 h 161"/>
              <a:gd name="T60" fmla="*/ 45 w 150"/>
              <a:gd name="T61" fmla="*/ 64 h 161"/>
              <a:gd name="T62" fmla="*/ 45 w 150"/>
              <a:gd name="T63" fmla="*/ 48 h 161"/>
              <a:gd name="T64" fmla="*/ 92 w 150"/>
              <a:gd name="T65" fmla="*/ 8 h 161"/>
              <a:gd name="T66" fmla="*/ 95 w 150"/>
              <a:gd name="T67" fmla="*/ 8 h 161"/>
              <a:gd name="T68" fmla="*/ 97 w 150"/>
              <a:gd name="T69" fmla="*/ 12 h 161"/>
              <a:gd name="T70" fmla="*/ 97 w 150"/>
              <a:gd name="T71" fmla="*/ 150 h 161"/>
              <a:gd name="T72" fmla="*/ 150 w 150"/>
              <a:gd name="T73" fmla="*/ 79 h 161"/>
              <a:gd name="T74" fmla="*/ 116 w 150"/>
              <a:gd name="T75" fmla="*/ 124 h 161"/>
              <a:gd name="T76" fmla="*/ 115 w 150"/>
              <a:gd name="T77" fmla="*/ 124 h 161"/>
              <a:gd name="T78" fmla="*/ 111 w 150"/>
              <a:gd name="T79" fmla="*/ 122 h 161"/>
              <a:gd name="T80" fmla="*/ 114 w 150"/>
              <a:gd name="T81" fmla="*/ 118 h 161"/>
              <a:gd name="T82" fmla="*/ 143 w 150"/>
              <a:gd name="T83" fmla="*/ 79 h 161"/>
              <a:gd name="T84" fmla="*/ 114 w 150"/>
              <a:gd name="T85" fmla="*/ 41 h 161"/>
              <a:gd name="T86" fmla="*/ 111 w 150"/>
              <a:gd name="T87" fmla="*/ 37 h 161"/>
              <a:gd name="T88" fmla="*/ 116 w 150"/>
              <a:gd name="T89" fmla="*/ 34 h 161"/>
              <a:gd name="T90" fmla="*/ 150 w 150"/>
              <a:gd name="T91" fmla="*/ 7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0" h="161">
                <a:moveTo>
                  <a:pt x="99" y="2"/>
                </a:moveTo>
                <a:cubicBezTo>
                  <a:pt x="95" y="0"/>
                  <a:pt x="91" y="1"/>
                  <a:pt x="88" y="3"/>
                </a:cubicBezTo>
                <a:cubicBezTo>
                  <a:pt x="88" y="3"/>
                  <a:pt x="88" y="3"/>
                  <a:pt x="88" y="3"/>
                </a:cubicBezTo>
                <a:cubicBezTo>
                  <a:pt x="40" y="43"/>
                  <a:pt x="40" y="43"/>
                  <a:pt x="40" y="43"/>
                </a:cubicBezTo>
                <a:cubicBezTo>
                  <a:pt x="3" y="43"/>
                  <a:pt x="3" y="43"/>
                  <a:pt x="3" y="43"/>
                </a:cubicBezTo>
                <a:cubicBezTo>
                  <a:pt x="2" y="43"/>
                  <a:pt x="0" y="44"/>
                  <a:pt x="0" y="46"/>
                </a:cubicBezTo>
                <a:cubicBezTo>
                  <a:pt x="0" y="112"/>
                  <a:pt x="0" y="112"/>
                  <a:pt x="0" y="112"/>
                </a:cubicBezTo>
                <a:cubicBezTo>
                  <a:pt x="0" y="113"/>
                  <a:pt x="0" y="114"/>
                  <a:pt x="1" y="115"/>
                </a:cubicBezTo>
                <a:cubicBezTo>
                  <a:pt x="2" y="115"/>
                  <a:pt x="3" y="116"/>
                  <a:pt x="3" y="116"/>
                </a:cubicBezTo>
                <a:cubicBezTo>
                  <a:pt x="40" y="116"/>
                  <a:pt x="40" y="116"/>
                  <a:pt x="40" y="116"/>
                </a:cubicBezTo>
                <a:cubicBezTo>
                  <a:pt x="87" y="159"/>
                  <a:pt x="87" y="159"/>
                  <a:pt x="87" y="159"/>
                </a:cubicBezTo>
                <a:cubicBezTo>
                  <a:pt x="88" y="159"/>
                  <a:pt x="88" y="159"/>
                  <a:pt x="88" y="159"/>
                </a:cubicBezTo>
                <a:cubicBezTo>
                  <a:pt x="90" y="160"/>
                  <a:pt x="92" y="161"/>
                  <a:pt x="94" y="161"/>
                </a:cubicBezTo>
                <a:cubicBezTo>
                  <a:pt x="95" y="161"/>
                  <a:pt x="97" y="161"/>
                  <a:pt x="99" y="160"/>
                </a:cubicBezTo>
                <a:cubicBezTo>
                  <a:pt x="102" y="158"/>
                  <a:pt x="104" y="154"/>
                  <a:pt x="104" y="150"/>
                </a:cubicBezTo>
                <a:cubicBezTo>
                  <a:pt x="104" y="12"/>
                  <a:pt x="104" y="12"/>
                  <a:pt x="104" y="12"/>
                </a:cubicBezTo>
                <a:cubicBezTo>
                  <a:pt x="104" y="8"/>
                  <a:pt x="102" y="4"/>
                  <a:pt x="99" y="2"/>
                </a:cubicBezTo>
                <a:close/>
                <a:moveTo>
                  <a:pt x="97" y="150"/>
                </a:moveTo>
                <a:cubicBezTo>
                  <a:pt x="97" y="152"/>
                  <a:pt x="97" y="153"/>
                  <a:pt x="95" y="154"/>
                </a:cubicBezTo>
                <a:cubicBezTo>
                  <a:pt x="95" y="154"/>
                  <a:pt x="93" y="154"/>
                  <a:pt x="92" y="154"/>
                </a:cubicBezTo>
                <a:cubicBezTo>
                  <a:pt x="45" y="111"/>
                  <a:pt x="45" y="111"/>
                  <a:pt x="45" y="111"/>
                </a:cubicBezTo>
                <a:cubicBezTo>
                  <a:pt x="45" y="95"/>
                  <a:pt x="45" y="95"/>
                  <a:pt x="45" y="95"/>
                </a:cubicBezTo>
                <a:cubicBezTo>
                  <a:pt x="45" y="93"/>
                  <a:pt x="44" y="91"/>
                  <a:pt x="42" y="91"/>
                </a:cubicBezTo>
                <a:cubicBezTo>
                  <a:pt x="40" y="91"/>
                  <a:pt x="38" y="93"/>
                  <a:pt x="38" y="95"/>
                </a:cubicBezTo>
                <a:cubicBezTo>
                  <a:pt x="38" y="109"/>
                  <a:pt x="38" y="109"/>
                  <a:pt x="38" y="109"/>
                </a:cubicBezTo>
                <a:cubicBezTo>
                  <a:pt x="7" y="109"/>
                  <a:pt x="7" y="109"/>
                  <a:pt x="7" y="109"/>
                </a:cubicBezTo>
                <a:cubicBezTo>
                  <a:pt x="7" y="50"/>
                  <a:pt x="7" y="50"/>
                  <a:pt x="7" y="50"/>
                </a:cubicBezTo>
                <a:cubicBezTo>
                  <a:pt x="38" y="50"/>
                  <a:pt x="38" y="50"/>
                  <a:pt x="38" y="50"/>
                </a:cubicBezTo>
                <a:cubicBezTo>
                  <a:pt x="38" y="64"/>
                  <a:pt x="38" y="64"/>
                  <a:pt x="38" y="64"/>
                </a:cubicBezTo>
                <a:cubicBezTo>
                  <a:pt x="38" y="66"/>
                  <a:pt x="40" y="67"/>
                  <a:pt x="42" y="67"/>
                </a:cubicBezTo>
                <a:cubicBezTo>
                  <a:pt x="44" y="67"/>
                  <a:pt x="45" y="66"/>
                  <a:pt x="45" y="64"/>
                </a:cubicBezTo>
                <a:cubicBezTo>
                  <a:pt x="45" y="48"/>
                  <a:pt x="45" y="48"/>
                  <a:pt x="45" y="48"/>
                </a:cubicBezTo>
                <a:cubicBezTo>
                  <a:pt x="92" y="8"/>
                  <a:pt x="92" y="8"/>
                  <a:pt x="92" y="8"/>
                </a:cubicBezTo>
                <a:cubicBezTo>
                  <a:pt x="93" y="8"/>
                  <a:pt x="95" y="8"/>
                  <a:pt x="95" y="8"/>
                </a:cubicBezTo>
                <a:cubicBezTo>
                  <a:pt x="97" y="9"/>
                  <a:pt x="97" y="10"/>
                  <a:pt x="97" y="12"/>
                </a:cubicBezTo>
                <a:lnTo>
                  <a:pt x="97" y="150"/>
                </a:lnTo>
                <a:close/>
                <a:moveTo>
                  <a:pt x="150" y="79"/>
                </a:moveTo>
                <a:cubicBezTo>
                  <a:pt x="150" y="100"/>
                  <a:pt x="136" y="119"/>
                  <a:pt x="116" y="124"/>
                </a:cubicBezTo>
                <a:cubicBezTo>
                  <a:pt x="115" y="124"/>
                  <a:pt x="115" y="124"/>
                  <a:pt x="115" y="124"/>
                </a:cubicBezTo>
                <a:cubicBezTo>
                  <a:pt x="113" y="124"/>
                  <a:pt x="112" y="123"/>
                  <a:pt x="111" y="122"/>
                </a:cubicBezTo>
                <a:cubicBezTo>
                  <a:pt x="111" y="120"/>
                  <a:pt x="112" y="118"/>
                  <a:pt x="114" y="118"/>
                </a:cubicBezTo>
                <a:cubicBezTo>
                  <a:pt x="131" y="113"/>
                  <a:pt x="143" y="97"/>
                  <a:pt x="143" y="79"/>
                </a:cubicBezTo>
                <a:cubicBezTo>
                  <a:pt x="143" y="62"/>
                  <a:pt x="131" y="46"/>
                  <a:pt x="114" y="41"/>
                </a:cubicBezTo>
                <a:cubicBezTo>
                  <a:pt x="112" y="40"/>
                  <a:pt x="111" y="38"/>
                  <a:pt x="111" y="37"/>
                </a:cubicBezTo>
                <a:cubicBezTo>
                  <a:pt x="112" y="35"/>
                  <a:pt x="114" y="34"/>
                  <a:pt x="116" y="34"/>
                </a:cubicBezTo>
                <a:cubicBezTo>
                  <a:pt x="136" y="40"/>
                  <a:pt x="150" y="58"/>
                  <a:pt x="150" y="79"/>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3">
            <a:extLst>
              <a:ext uri="{FF2B5EF4-FFF2-40B4-BE49-F238E27FC236}">
                <a16:creationId xmlns:a16="http://schemas.microsoft.com/office/drawing/2014/main" id="{5069827A-4080-344C-B9FB-C037FBAB6A2A}"/>
              </a:ext>
            </a:extLst>
          </p:cNvPr>
          <p:cNvSpPr>
            <a:spLocks noEditPoints="1"/>
          </p:cNvSpPr>
          <p:nvPr/>
        </p:nvSpPr>
        <p:spPr bwMode="auto">
          <a:xfrm>
            <a:off x="691841" y="5845175"/>
            <a:ext cx="390525" cy="609600"/>
          </a:xfrm>
          <a:custGeom>
            <a:avLst/>
            <a:gdLst>
              <a:gd name="T0" fmla="*/ 99 w 104"/>
              <a:gd name="T1" fmla="*/ 2 h 161"/>
              <a:gd name="T2" fmla="*/ 88 w 104"/>
              <a:gd name="T3" fmla="*/ 3 h 161"/>
              <a:gd name="T4" fmla="*/ 88 w 104"/>
              <a:gd name="T5" fmla="*/ 3 h 161"/>
              <a:gd name="T6" fmla="*/ 40 w 104"/>
              <a:gd name="T7" fmla="*/ 43 h 161"/>
              <a:gd name="T8" fmla="*/ 3 w 104"/>
              <a:gd name="T9" fmla="*/ 43 h 161"/>
              <a:gd name="T10" fmla="*/ 0 w 104"/>
              <a:gd name="T11" fmla="*/ 46 h 161"/>
              <a:gd name="T12" fmla="*/ 0 w 104"/>
              <a:gd name="T13" fmla="*/ 112 h 161"/>
              <a:gd name="T14" fmla="*/ 1 w 104"/>
              <a:gd name="T15" fmla="*/ 115 h 161"/>
              <a:gd name="T16" fmla="*/ 3 w 104"/>
              <a:gd name="T17" fmla="*/ 116 h 161"/>
              <a:gd name="T18" fmla="*/ 40 w 104"/>
              <a:gd name="T19" fmla="*/ 116 h 161"/>
              <a:gd name="T20" fmla="*/ 87 w 104"/>
              <a:gd name="T21" fmla="*/ 159 h 161"/>
              <a:gd name="T22" fmla="*/ 88 w 104"/>
              <a:gd name="T23" fmla="*/ 159 h 161"/>
              <a:gd name="T24" fmla="*/ 94 w 104"/>
              <a:gd name="T25" fmla="*/ 161 h 161"/>
              <a:gd name="T26" fmla="*/ 99 w 104"/>
              <a:gd name="T27" fmla="*/ 160 h 161"/>
              <a:gd name="T28" fmla="*/ 104 w 104"/>
              <a:gd name="T29" fmla="*/ 150 h 161"/>
              <a:gd name="T30" fmla="*/ 104 w 104"/>
              <a:gd name="T31" fmla="*/ 12 h 161"/>
              <a:gd name="T32" fmla="*/ 99 w 104"/>
              <a:gd name="T33" fmla="*/ 2 h 161"/>
              <a:gd name="T34" fmla="*/ 97 w 104"/>
              <a:gd name="T35" fmla="*/ 150 h 161"/>
              <a:gd name="T36" fmla="*/ 95 w 104"/>
              <a:gd name="T37" fmla="*/ 154 h 161"/>
              <a:gd name="T38" fmla="*/ 92 w 104"/>
              <a:gd name="T39" fmla="*/ 154 h 161"/>
              <a:gd name="T40" fmla="*/ 45 w 104"/>
              <a:gd name="T41" fmla="*/ 111 h 161"/>
              <a:gd name="T42" fmla="*/ 45 w 104"/>
              <a:gd name="T43" fmla="*/ 95 h 161"/>
              <a:gd name="T44" fmla="*/ 42 w 104"/>
              <a:gd name="T45" fmla="*/ 91 h 161"/>
              <a:gd name="T46" fmla="*/ 38 w 104"/>
              <a:gd name="T47" fmla="*/ 95 h 161"/>
              <a:gd name="T48" fmla="*/ 38 w 104"/>
              <a:gd name="T49" fmla="*/ 109 h 161"/>
              <a:gd name="T50" fmla="*/ 7 w 104"/>
              <a:gd name="T51" fmla="*/ 109 h 161"/>
              <a:gd name="T52" fmla="*/ 7 w 104"/>
              <a:gd name="T53" fmla="*/ 50 h 161"/>
              <a:gd name="T54" fmla="*/ 38 w 104"/>
              <a:gd name="T55" fmla="*/ 50 h 161"/>
              <a:gd name="T56" fmla="*/ 38 w 104"/>
              <a:gd name="T57" fmla="*/ 64 h 161"/>
              <a:gd name="T58" fmla="*/ 42 w 104"/>
              <a:gd name="T59" fmla="*/ 67 h 161"/>
              <a:gd name="T60" fmla="*/ 45 w 104"/>
              <a:gd name="T61" fmla="*/ 64 h 161"/>
              <a:gd name="T62" fmla="*/ 45 w 104"/>
              <a:gd name="T63" fmla="*/ 48 h 161"/>
              <a:gd name="T64" fmla="*/ 92 w 104"/>
              <a:gd name="T65" fmla="*/ 8 h 161"/>
              <a:gd name="T66" fmla="*/ 95 w 104"/>
              <a:gd name="T67" fmla="*/ 8 h 161"/>
              <a:gd name="T68" fmla="*/ 97 w 104"/>
              <a:gd name="T69" fmla="*/ 12 h 161"/>
              <a:gd name="T70" fmla="*/ 97 w 104"/>
              <a:gd name="T71" fmla="*/ 15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61">
                <a:moveTo>
                  <a:pt x="99" y="2"/>
                </a:moveTo>
                <a:cubicBezTo>
                  <a:pt x="95" y="0"/>
                  <a:pt x="91" y="1"/>
                  <a:pt x="88" y="3"/>
                </a:cubicBezTo>
                <a:cubicBezTo>
                  <a:pt x="88" y="3"/>
                  <a:pt x="88" y="3"/>
                  <a:pt x="88" y="3"/>
                </a:cubicBezTo>
                <a:cubicBezTo>
                  <a:pt x="40" y="43"/>
                  <a:pt x="40" y="43"/>
                  <a:pt x="40" y="43"/>
                </a:cubicBezTo>
                <a:cubicBezTo>
                  <a:pt x="3" y="43"/>
                  <a:pt x="3" y="43"/>
                  <a:pt x="3" y="43"/>
                </a:cubicBezTo>
                <a:cubicBezTo>
                  <a:pt x="2" y="43"/>
                  <a:pt x="0" y="44"/>
                  <a:pt x="0" y="46"/>
                </a:cubicBezTo>
                <a:cubicBezTo>
                  <a:pt x="0" y="112"/>
                  <a:pt x="0" y="112"/>
                  <a:pt x="0" y="112"/>
                </a:cubicBezTo>
                <a:cubicBezTo>
                  <a:pt x="0" y="113"/>
                  <a:pt x="0" y="114"/>
                  <a:pt x="1" y="115"/>
                </a:cubicBezTo>
                <a:cubicBezTo>
                  <a:pt x="2" y="115"/>
                  <a:pt x="3" y="116"/>
                  <a:pt x="3" y="116"/>
                </a:cubicBezTo>
                <a:cubicBezTo>
                  <a:pt x="40" y="116"/>
                  <a:pt x="40" y="116"/>
                  <a:pt x="40" y="116"/>
                </a:cubicBezTo>
                <a:cubicBezTo>
                  <a:pt x="87" y="159"/>
                  <a:pt x="87" y="159"/>
                  <a:pt x="87" y="159"/>
                </a:cubicBezTo>
                <a:cubicBezTo>
                  <a:pt x="88" y="159"/>
                  <a:pt x="88" y="159"/>
                  <a:pt x="88" y="159"/>
                </a:cubicBezTo>
                <a:cubicBezTo>
                  <a:pt x="90" y="160"/>
                  <a:pt x="92" y="161"/>
                  <a:pt x="94" y="161"/>
                </a:cubicBezTo>
                <a:cubicBezTo>
                  <a:pt x="95" y="161"/>
                  <a:pt x="97" y="161"/>
                  <a:pt x="99" y="160"/>
                </a:cubicBezTo>
                <a:cubicBezTo>
                  <a:pt x="102" y="158"/>
                  <a:pt x="104" y="154"/>
                  <a:pt x="104" y="150"/>
                </a:cubicBezTo>
                <a:cubicBezTo>
                  <a:pt x="104" y="12"/>
                  <a:pt x="104" y="12"/>
                  <a:pt x="104" y="12"/>
                </a:cubicBezTo>
                <a:cubicBezTo>
                  <a:pt x="104" y="8"/>
                  <a:pt x="102" y="4"/>
                  <a:pt x="99" y="2"/>
                </a:cubicBezTo>
                <a:close/>
                <a:moveTo>
                  <a:pt x="97" y="150"/>
                </a:moveTo>
                <a:cubicBezTo>
                  <a:pt x="97" y="152"/>
                  <a:pt x="97" y="153"/>
                  <a:pt x="95" y="154"/>
                </a:cubicBezTo>
                <a:cubicBezTo>
                  <a:pt x="95" y="154"/>
                  <a:pt x="93" y="154"/>
                  <a:pt x="92" y="154"/>
                </a:cubicBezTo>
                <a:cubicBezTo>
                  <a:pt x="45" y="111"/>
                  <a:pt x="45" y="111"/>
                  <a:pt x="45" y="111"/>
                </a:cubicBezTo>
                <a:cubicBezTo>
                  <a:pt x="45" y="95"/>
                  <a:pt x="45" y="95"/>
                  <a:pt x="45" y="95"/>
                </a:cubicBezTo>
                <a:cubicBezTo>
                  <a:pt x="45" y="93"/>
                  <a:pt x="44" y="91"/>
                  <a:pt x="42" y="91"/>
                </a:cubicBezTo>
                <a:cubicBezTo>
                  <a:pt x="40" y="91"/>
                  <a:pt x="38" y="93"/>
                  <a:pt x="38" y="95"/>
                </a:cubicBezTo>
                <a:cubicBezTo>
                  <a:pt x="38" y="109"/>
                  <a:pt x="38" y="109"/>
                  <a:pt x="38" y="109"/>
                </a:cubicBezTo>
                <a:cubicBezTo>
                  <a:pt x="7" y="109"/>
                  <a:pt x="7" y="109"/>
                  <a:pt x="7" y="109"/>
                </a:cubicBezTo>
                <a:cubicBezTo>
                  <a:pt x="7" y="50"/>
                  <a:pt x="7" y="50"/>
                  <a:pt x="7" y="50"/>
                </a:cubicBezTo>
                <a:cubicBezTo>
                  <a:pt x="38" y="50"/>
                  <a:pt x="38" y="50"/>
                  <a:pt x="38" y="50"/>
                </a:cubicBezTo>
                <a:cubicBezTo>
                  <a:pt x="38" y="64"/>
                  <a:pt x="38" y="64"/>
                  <a:pt x="38" y="64"/>
                </a:cubicBezTo>
                <a:cubicBezTo>
                  <a:pt x="38" y="66"/>
                  <a:pt x="40" y="67"/>
                  <a:pt x="42" y="67"/>
                </a:cubicBezTo>
                <a:cubicBezTo>
                  <a:pt x="44" y="67"/>
                  <a:pt x="45" y="66"/>
                  <a:pt x="45" y="64"/>
                </a:cubicBezTo>
                <a:cubicBezTo>
                  <a:pt x="45" y="48"/>
                  <a:pt x="45" y="48"/>
                  <a:pt x="45" y="48"/>
                </a:cubicBezTo>
                <a:cubicBezTo>
                  <a:pt x="92" y="8"/>
                  <a:pt x="92" y="8"/>
                  <a:pt x="92" y="8"/>
                </a:cubicBezTo>
                <a:cubicBezTo>
                  <a:pt x="93" y="8"/>
                  <a:pt x="95" y="8"/>
                  <a:pt x="95" y="8"/>
                </a:cubicBezTo>
                <a:cubicBezTo>
                  <a:pt x="97" y="9"/>
                  <a:pt x="97" y="10"/>
                  <a:pt x="97" y="12"/>
                </a:cubicBezTo>
                <a:lnTo>
                  <a:pt x="97" y="150"/>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29781A16-7A81-DC42-819B-798379E3E49E}"/>
              </a:ext>
            </a:extLst>
          </p:cNvPr>
          <p:cNvSpPr>
            <a:spLocks noEditPoints="1"/>
          </p:cNvSpPr>
          <p:nvPr/>
        </p:nvSpPr>
        <p:spPr bwMode="auto">
          <a:xfrm>
            <a:off x="1637991" y="430213"/>
            <a:ext cx="601663" cy="514350"/>
          </a:xfrm>
          <a:custGeom>
            <a:avLst/>
            <a:gdLst>
              <a:gd name="T0" fmla="*/ 159 w 160"/>
              <a:gd name="T1" fmla="*/ 87 h 136"/>
              <a:gd name="T2" fmla="*/ 159 w 160"/>
              <a:gd name="T3" fmla="*/ 91 h 136"/>
              <a:gd name="T4" fmla="*/ 157 w 160"/>
              <a:gd name="T5" fmla="*/ 92 h 136"/>
              <a:gd name="T6" fmla="*/ 155 w 160"/>
              <a:gd name="T7" fmla="*/ 91 h 136"/>
              <a:gd name="T8" fmla="*/ 133 w 160"/>
              <a:gd name="T9" fmla="*/ 69 h 136"/>
              <a:gd name="T10" fmla="*/ 112 w 160"/>
              <a:gd name="T11" fmla="*/ 91 h 136"/>
              <a:gd name="T12" fmla="*/ 110 w 160"/>
              <a:gd name="T13" fmla="*/ 92 h 136"/>
              <a:gd name="T14" fmla="*/ 108 w 160"/>
              <a:gd name="T15" fmla="*/ 91 h 136"/>
              <a:gd name="T16" fmla="*/ 108 w 160"/>
              <a:gd name="T17" fmla="*/ 87 h 136"/>
              <a:gd name="T18" fmla="*/ 129 w 160"/>
              <a:gd name="T19" fmla="*/ 65 h 136"/>
              <a:gd name="T20" fmla="*/ 108 w 160"/>
              <a:gd name="T21" fmla="*/ 44 h 136"/>
              <a:gd name="T22" fmla="*/ 108 w 160"/>
              <a:gd name="T23" fmla="*/ 39 h 136"/>
              <a:gd name="T24" fmla="*/ 112 w 160"/>
              <a:gd name="T25" fmla="*/ 39 h 136"/>
              <a:gd name="T26" fmla="*/ 133 w 160"/>
              <a:gd name="T27" fmla="*/ 61 h 136"/>
              <a:gd name="T28" fmla="*/ 155 w 160"/>
              <a:gd name="T29" fmla="*/ 39 h 136"/>
              <a:gd name="T30" fmla="*/ 159 w 160"/>
              <a:gd name="T31" fmla="*/ 39 h 136"/>
              <a:gd name="T32" fmla="*/ 159 w 160"/>
              <a:gd name="T33" fmla="*/ 44 h 136"/>
              <a:gd name="T34" fmla="*/ 138 w 160"/>
              <a:gd name="T35" fmla="*/ 65 h 136"/>
              <a:gd name="T36" fmla="*/ 159 w 160"/>
              <a:gd name="T37" fmla="*/ 87 h 136"/>
              <a:gd name="T38" fmla="*/ 89 w 160"/>
              <a:gd name="T39" fmla="*/ 9 h 136"/>
              <a:gd name="T40" fmla="*/ 89 w 160"/>
              <a:gd name="T41" fmla="*/ 127 h 136"/>
              <a:gd name="T42" fmla="*/ 84 w 160"/>
              <a:gd name="T43" fmla="*/ 135 h 136"/>
              <a:gd name="T44" fmla="*/ 80 w 160"/>
              <a:gd name="T45" fmla="*/ 136 h 136"/>
              <a:gd name="T46" fmla="*/ 75 w 160"/>
              <a:gd name="T47" fmla="*/ 135 h 136"/>
              <a:gd name="T48" fmla="*/ 75 w 160"/>
              <a:gd name="T49" fmla="*/ 135 h 136"/>
              <a:gd name="T50" fmla="*/ 34 w 160"/>
              <a:gd name="T51" fmla="*/ 98 h 136"/>
              <a:gd name="T52" fmla="*/ 3 w 160"/>
              <a:gd name="T53" fmla="*/ 98 h 136"/>
              <a:gd name="T54" fmla="*/ 1 w 160"/>
              <a:gd name="T55" fmla="*/ 97 h 136"/>
              <a:gd name="T56" fmla="*/ 0 w 160"/>
              <a:gd name="T57" fmla="*/ 95 h 136"/>
              <a:gd name="T58" fmla="*/ 0 w 160"/>
              <a:gd name="T59" fmla="*/ 39 h 136"/>
              <a:gd name="T60" fmla="*/ 3 w 160"/>
              <a:gd name="T61" fmla="*/ 36 h 136"/>
              <a:gd name="T62" fmla="*/ 34 w 160"/>
              <a:gd name="T63" fmla="*/ 36 h 136"/>
              <a:gd name="T64" fmla="*/ 75 w 160"/>
              <a:gd name="T65" fmla="*/ 2 h 136"/>
              <a:gd name="T66" fmla="*/ 75 w 160"/>
              <a:gd name="T67" fmla="*/ 1 h 136"/>
              <a:gd name="T68" fmla="*/ 84 w 160"/>
              <a:gd name="T69" fmla="*/ 1 h 136"/>
              <a:gd name="T70" fmla="*/ 89 w 160"/>
              <a:gd name="T71" fmla="*/ 9 h 136"/>
              <a:gd name="T72" fmla="*/ 83 w 160"/>
              <a:gd name="T73" fmla="*/ 9 h 136"/>
              <a:gd name="T74" fmla="*/ 81 w 160"/>
              <a:gd name="T75" fmla="*/ 6 h 136"/>
              <a:gd name="T76" fmla="*/ 78 w 160"/>
              <a:gd name="T77" fmla="*/ 6 h 136"/>
              <a:gd name="T78" fmla="*/ 39 w 160"/>
              <a:gd name="T79" fmla="*/ 40 h 136"/>
              <a:gd name="T80" fmla="*/ 39 w 160"/>
              <a:gd name="T81" fmla="*/ 53 h 136"/>
              <a:gd name="T82" fmla="*/ 36 w 160"/>
              <a:gd name="T83" fmla="*/ 56 h 136"/>
              <a:gd name="T84" fmla="*/ 33 w 160"/>
              <a:gd name="T85" fmla="*/ 53 h 136"/>
              <a:gd name="T86" fmla="*/ 33 w 160"/>
              <a:gd name="T87" fmla="*/ 41 h 136"/>
              <a:gd name="T88" fmla="*/ 6 w 160"/>
              <a:gd name="T89" fmla="*/ 41 h 136"/>
              <a:gd name="T90" fmla="*/ 6 w 160"/>
              <a:gd name="T91" fmla="*/ 92 h 136"/>
              <a:gd name="T92" fmla="*/ 33 w 160"/>
              <a:gd name="T93" fmla="*/ 92 h 136"/>
              <a:gd name="T94" fmla="*/ 33 w 160"/>
              <a:gd name="T95" fmla="*/ 80 h 136"/>
              <a:gd name="T96" fmla="*/ 36 w 160"/>
              <a:gd name="T97" fmla="*/ 77 h 136"/>
              <a:gd name="T98" fmla="*/ 39 w 160"/>
              <a:gd name="T99" fmla="*/ 80 h 136"/>
              <a:gd name="T100" fmla="*/ 39 w 160"/>
              <a:gd name="T101" fmla="*/ 94 h 136"/>
              <a:gd name="T102" fmla="*/ 78 w 160"/>
              <a:gd name="T103" fmla="*/ 130 h 136"/>
              <a:gd name="T104" fmla="*/ 81 w 160"/>
              <a:gd name="T105" fmla="*/ 130 h 136"/>
              <a:gd name="T106" fmla="*/ 83 w 160"/>
              <a:gd name="T107" fmla="*/ 127 h 136"/>
              <a:gd name="T108" fmla="*/ 83 w 160"/>
              <a:gd name="T109" fmla="*/ 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36">
                <a:moveTo>
                  <a:pt x="159" y="87"/>
                </a:moveTo>
                <a:cubicBezTo>
                  <a:pt x="160" y="88"/>
                  <a:pt x="160" y="90"/>
                  <a:pt x="159" y="91"/>
                </a:cubicBezTo>
                <a:cubicBezTo>
                  <a:pt x="159" y="92"/>
                  <a:pt x="158" y="92"/>
                  <a:pt x="157" y="92"/>
                </a:cubicBezTo>
                <a:cubicBezTo>
                  <a:pt x="156" y="92"/>
                  <a:pt x="156" y="92"/>
                  <a:pt x="155" y="91"/>
                </a:cubicBezTo>
                <a:cubicBezTo>
                  <a:pt x="133" y="69"/>
                  <a:pt x="133" y="69"/>
                  <a:pt x="133" y="69"/>
                </a:cubicBezTo>
                <a:cubicBezTo>
                  <a:pt x="112" y="91"/>
                  <a:pt x="112" y="91"/>
                  <a:pt x="112" y="91"/>
                </a:cubicBezTo>
                <a:cubicBezTo>
                  <a:pt x="111" y="92"/>
                  <a:pt x="110" y="92"/>
                  <a:pt x="110" y="92"/>
                </a:cubicBezTo>
                <a:cubicBezTo>
                  <a:pt x="109" y="92"/>
                  <a:pt x="108" y="92"/>
                  <a:pt x="108" y="91"/>
                </a:cubicBezTo>
                <a:cubicBezTo>
                  <a:pt x="106" y="90"/>
                  <a:pt x="106" y="88"/>
                  <a:pt x="108" y="87"/>
                </a:cubicBezTo>
                <a:cubicBezTo>
                  <a:pt x="129" y="65"/>
                  <a:pt x="129" y="65"/>
                  <a:pt x="129" y="65"/>
                </a:cubicBezTo>
                <a:cubicBezTo>
                  <a:pt x="108" y="44"/>
                  <a:pt x="108" y="44"/>
                  <a:pt x="108" y="44"/>
                </a:cubicBezTo>
                <a:cubicBezTo>
                  <a:pt x="106" y="42"/>
                  <a:pt x="106" y="41"/>
                  <a:pt x="108" y="39"/>
                </a:cubicBezTo>
                <a:cubicBezTo>
                  <a:pt x="109" y="38"/>
                  <a:pt x="111" y="38"/>
                  <a:pt x="112" y="39"/>
                </a:cubicBezTo>
                <a:cubicBezTo>
                  <a:pt x="133" y="61"/>
                  <a:pt x="133" y="61"/>
                  <a:pt x="133" y="61"/>
                </a:cubicBezTo>
                <a:cubicBezTo>
                  <a:pt x="155" y="39"/>
                  <a:pt x="155" y="39"/>
                  <a:pt x="155" y="39"/>
                </a:cubicBezTo>
                <a:cubicBezTo>
                  <a:pt x="156" y="38"/>
                  <a:pt x="158" y="38"/>
                  <a:pt x="159" y="39"/>
                </a:cubicBezTo>
                <a:cubicBezTo>
                  <a:pt x="160" y="41"/>
                  <a:pt x="160" y="42"/>
                  <a:pt x="159" y="44"/>
                </a:cubicBezTo>
                <a:cubicBezTo>
                  <a:pt x="138" y="65"/>
                  <a:pt x="138" y="65"/>
                  <a:pt x="138" y="65"/>
                </a:cubicBezTo>
                <a:lnTo>
                  <a:pt x="159" y="87"/>
                </a:lnTo>
                <a:close/>
                <a:moveTo>
                  <a:pt x="89" y="9"/>
                </a:moveTo>
                <a:cubicBezTo>
                  <a:pt x="89" y="127"/>
                  <a:pt x="89" y="127"/>
                  <a:pt x="89" y="127"/>
                </a:cubicBezTo>
                <a:cubicBezTo>
                  <a:pt x="89" y="130"/>
                  <a:pt x="87" y="133"/>
                  <a:pt x="84" y="135"/>
                </a:cubicBezTo>
                <a:cubicBezTo>
                  <a:pt x="83" y="136"/>
                  <a:pt x="81" y="136"/>
                  <a:pt x="80" y="136"/>
                </a:cubicBezTo>
                <a:cubicBezTo>
                  <a:pt x="78" y="136"/>
                  <a:pt x="76" y="136"/>
                  <a:pt x="75" y="135"/>
                </a:cubicBezTo>
                <a:cubicBezTo>
                  <a:pt x="75" y="135"/>
                  <a:pt x="75" y="135"/>
                  <a:pt x="75" y="135"/>
                </a:cubicBezTo>
                <a:cubicBezTo>
                  <a:pt x="34" y="98"/>
                  <a:pt x="34" y="98"/>
                  <a:pt x="34" y="98"/>
                </a:cubicBezTo>
                <a:cubicBezTo>
                  <a:pt x="3" y="98"/>
                  <a:pt x="3" y="98"/>
                  <a:pt x="3" y="98"/>
                </a:cubicBezTo>
                <a:cubicBezTo>
                  <a:pt x="2" y="98"/>
                  <a:pt x="1" y="97"/>
                  <a:pt x="1" y="97"/>
                </a:cubicBezTo>
                <a:cubicBezTo>
                  <a:pt x="0" y="96"/>
                  <a:pt x="0" y="96"/>
                  <a:pt x="0" y="95"/>
                </a:cubicBezTo>
                <a:cubicBezTo>
                  <a:pt x="0" y="39"/>
                  <a:pt x="0" y="39"/>
                  <a:pt x="0" y="39"/>
                </a:cubicBezTo>
                <a:cubicBezTo>
                  <a:pt x="0" y="37"/>
                  <a:pt x="1" y="36"/>
                  <a:pt x="3" y="36"/>
                </a:cubicBezTo>
                <a:cubicBezTo>
                  <a:pt x="34" y="36"/>
                  <a:pt x="34" y="36"/>
                  <a:pt x="34" y="36"/>
                </a:cubicBezTo>
                <a:cubicBezTo>
                  <a:pt x="75" y="2"/>
                  <a:pt x="75" y="2"/>
                  <a:pt x="75" y="2"/>
                </a:cubicBezTo>
                <a:cubicBezTo>
                  <a:pt x="75" y="1"/>
                  <a:pt x="75" y="1"/>
                  <a:pt x="75" y="1"/>
                </a:cubicBezTo>
                <a:cubicBezTo>
                  <a:pt x="78" y="0"/>
                  <a:pt x="81" y="0"/>
                  <a:pt x="84" y="1"/>
                </a:cubicBezTo>
                <a:cubicBezTo>
                  <a:pt x="87" y="3"/>
                  <a:pt x="89" y="6"/>
                  <a:pt x="89" y="9"/>
                </a:cubicBezTo>
                <a:close/>
                <a:moveTo>
                  <a:pt x="83" y="9"/>
                </a:moveTo>
                <a:cubicBezTo>
                  <a:pt x="83" y="8"/>
                  <a:pt x="82" y="7"/>
                  <a:pt x="81" y="6"/>
                </a:cubicBezTo>
                <a:cubicBezTo>
                  <a:pt x="81" y="6"/>
                  <a:pt x="80" y="6"/>
                  <a:pt x="78" y="6"/>
                </a:cubicBezTo>
                <a:cubicBezTo>
                  <a:pt x="39" y="40"/>
                  <a:pt x="39" y="40"/>
                  <a:pt x="39" y="40"/>
                </a:cubicBezTo>
                <a:cubicBezTo>
                  <a:pt x="39" y="53"/>
                  <a:pt x="39" y="53"/>
                  <a:pt x="39" y="53"/>
                </a:cubicBezTo>
                <a:cubicBezTo>
                  <a:pt x="39" y="55"/>
                  <a:pt x="37" y="56"/>
                  <a:pt x="36" y="56"/>
                </a:cubicBezTo>
                <a:cubicBezTo>
                  <a:pt x="34" y="56"/>
                  <a:pt x="33" y="55"/>
                  <a:pt x="33" y="53"/>
                </a:cubicBezTo>
                <a:cubicBezTo>
                  <a:pt x="33" y="41"/>
                  <a:pt x="33" y="41"/>
                  <a:pt x="33" y="41"/>
                </a:cubicBezTo>
                <a:cubicBezTo>
                  <a:pt x="6" y="41"/>
                  <a:pt x="6" y="41"/>
                  <a:pt x="6" y="41"/>
                </a:cubicBezTo>
                <a:cubicBezTo>
                  <a:pt x="6" y="92"/>
                  <a:pt x="6" y="92"/>
                  <a:pt x="6" y="92"/>
                </a:cubicBezTo>
                <a:cubicBezTo>
                  <a:pt x="33" y="92"/>
                  <a:pt x="33" y="92"/>
                  <a:pt x="33" y="92"/>
                </a:cubicBezTo>
                <a:cubicBezTo>
                  <a:pt x="33" y="80"/>
                  <a:pt x="33" y="80"/>
                  <a:pt x="33" y="80"/>
                </a:cubicBezTo>
                <a:cubicBezTo>
                  <a:pt x="33" y="78"/>
                  <a:pt x="34" y="77"/>
                  <a:pt x="36" y="77"/>
                </a:cubicBezTo>
                <a:cubicBezTo>
                  <a:pt x="37" y="77"/>
                  <a:pt x="39" y="78"/>
                  <a:pt x="39" y="80"/>
                </a:cubicBezTo>
                <a:cubicBezTo>
                  <a:pt x="39" y="94"/>
                  <a:pt x="39" y="94"/>
                  <a:pt x="39" y="94"/>
                </a:cubicBezTo>
                <a:cubicBezTo>
                  <a:pt x="78" y="130"/>
                  <a:pt x="78" y="130"/>
                  <a:pt x="78" y="130"/>
                </a:cubicBezTo>
                <a:cubicBezTo>
                  <a:pt x="80" y="131"/>
                  <a:pt x="81" y="130"/>
                  <a:pt x="81" y="130"/>
                </a:cubicBezTo>
                <a:cubicBezTo>
                  <a:pt x="82" y="129"/>
                  <a:pt x="83" y="128"/>
                  <a:pt x="83" y="127"/>
                </a:cubicBezTo>
                <a:lnTo>
                  <a:pt x="83" y="9"/>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5">
            <a:extLst>
              <a:ext uri="{FF2B5EF4-FFF2-40B4-BE49-F238E27FC236}">
                <a16:creationId xmlns:a16="http://schemas.microsoft.com/office/drawing/2014/main" id="{D1A05C41-2834-2344-B1F5-8CE0A6094B96}"/>
              </a:ext>
            </a:extLst>
          </p:cNvPr>
          <p:cNvSpPr>
            <a:spLocks noEditPoints="1"/>
          </p:cNvSpPr>
          <p:nvPr/>
        </p:nvSpPr>
        <p:spPr bwMode="auto">
          <a:xfrm>
            <a:off x="1637991" y="1081088"/>
            <a:ext cx="601663" cy="604838"/>
          </a:xfrm>
          <a:custGeom>
            <a:avLst/>
            <a:gdLst>
              <a:gd name="T0" fmla="*/ 97 w 160"/>
              <a:gd name="T1" fmla="*/ 20 h 160"/>
              <a:gd name="T2" fmla="*/ 89 w 160"/>
              <a:gd name="T3" fmla="*/ 20 h 160"/>
              <a:gd name="T4" fmla="*/ 88 w 160"/>
              <a:gd name="T5" fmla="*/ 20 h 160"/>
              <a:gd name="T6" fmla="*/ 53 w 160"/>
              <a:gd name="T7" fmla="*/ 53 h 160"/>
              <a:gd name="T8" fmla="*/ 52 w 160"/>
              <a:gd name="T9" fmla="*/ 53 h 160"/>
              <a:gd name="T10" fmla="*/ 30 w 160"/>
              <a:gd name="T11" fmla="*/ 53 h 160"/>
              <a:gd name="T12" fmla="*/ 21 w 160"/>
              <a:gd name="T13" fmla="*/ 62 h 160"/>
              <a:gd name="T14" fmla="*/ 21 w 160"/>
              <a:gd name="T15" fmla="*/ 96 h 160"/>
              <a:gd name="T16" fmla="*/ 30 w 160"/>
              <a:gd name="T17" fmla="*/ 104 h 160"/>
              <a:gd name="T18" fmla="*/ 52 w 160"/>
              <a:gd name="T19" fmla="*/ 104 h 160"/>
              <a:gd name="T20" fmla="*/ 53 w 160"/>
              <a:gd name="T21" fmla="*/ 104 h 160"/>
              <a:gd name="T22" fmla="*/ 88 w 160"/>
              <a:gd name="T23" fmla="*/ 137 h 160"/>
              <a:gd name="T24" fmla="*/ 89 w 160"/>
              <a:gd name="T25" fmla="*/ 138 h 160"/>
              <a:gd name="T26" fmla="*/ 93 w 160"/>
              <a:gd name="T27" fmla="*/ 139 h 160"/>
              <a:gd name="T28" fmla="*/ 97 w 160"/>
              <a:gd name="T29" fmla="*/ 138 h 160"/>
              <a:gd name="T30" fmla="*/ 101 w 160"/>
              <a:gd name="T31" fmla="*/ 130 h 160"/>
              <a:gd name="T32" fmla="*/ 101 w 160"/>
              <a:gd name="T33" fmla="*/ 27 h 160"/>
              <a:gd name="T34" fmla="*/ 97 w 160"/>
              <a:gd name="T35" fmla="*/ 20 h 160"/>
              <a:gd name="T36" fmla="*/ 96 w 160"/>
              <a:gd name="T37" fmla="*/ 130 h 160"/>
              <a:gd name="T38" fmla="*/ 95 w 160"/>
              <a:gd name="T39" fmla="*/ 133 h 160"/>
              <a:gd name="T40" fmla="*/ 92 w 160"/>
              <a:gd name="T41" fmla="*/ 133 h 160"/>
              <a:gd name="T42" fmla="*/ 56 w 160"/>
              <a:gd name="T43" fmla="*/ 100 h 160"/>
              <a:gd name="T44" fmla="*/ 56 w 160"/>
              <a:gd name="T45" fmla="*/ 100 h 160"/>
              <a:gd name="T46" fmla="*/ 52 w 160"/>
              <a:gd name="T47" fmla="*/ 99 h 160"/>
              <a:gd name="T48" fmla="*/ 30 w 160"/>
              <a:gd name="T49" fmla="*/ 99 h 160"/>
              <a:gd name="T50" fmla="*/ 27 w 160"/>
              <a:gd name="T51" fmla="*/ 96 h 160"/>
              <a:gd name="T52" fmla="*/ 27 w 160"/>
              <a:gd name="T53" fmla="*/ 62 h 160"/>
              <a:gd name="T54" fmla="*/ 30 w 160"/>
              <a:gd name="T55" fmla="*/ 59 h 160"/>
              <a:gd name="T56" fmla="*/ 52 w 160"/>
              <a:gd name="T57" fmla="*/ 59 h 160"/>
              <a:gd name="T58" fmla="*/ 56 w 160"/>
              <a:gd name="T59" fmla="*/ 58 h 160"/>
              <a:gd name="T60" fmla="*/ 56 w 160"/>
              <a:gd name="T61" fmla="*/ 57 h 160"/>
              <a:gd name="T62" fmla="*/ 92 w 160"/>
              <a:gd name="T63" fmla="*/ 24 h 160"/>
              <a:gd name="T64" fmla="*/ 95 w 160"/>
              <a:gd name="T65" fmla="*/ 24 h 160"/>
              <a:gd name="T66" fmla="*/ 96 w 160"/>
              <a:gd name="T67" fmla="*/ 27 h 160"/>
              <a:gd name="T68" fmla="*/ 96 w 160"/>
              <a:gd name="T69" fmla="*/ 130 h 160"/>
              <a:gd name="T70" fmla="*/ 111 w 160"/>
              <a:gd name="T71" fmla="*/ 54 h 160"/>
              <a:gd name="T72" fmla="*/ 111 w 160"/>
              <a:gd name="T73" fmla="*/ 103 h 160"/>
              <a:gd name="T74" fmla="*/ 109 w 160"/>
              <a:gd name="T75" fmla="*/ 104 h 160"/>
              <a:gd name="T76" fmla="*/ 107 w 160"/>
              <a:gd name="T77" fmla="*/ 103 h 160"/>
              <a:gd name="T78" fmla="*/ 107 w 160"/>
              <a:gd name="T79" fmla="*/ 99 h 160"/>
              <a:gd name="T80" fmla="*/ 107 w 160"/>
              <a:gd name="T81" fmla="*/ 58 h 160"/>
              <a:gd name="T82" fmla="*/ 107 w 160"/>
              <a:gd name="T83" fmla="*/ 54 h 160"/>
              <a:gd name="T84" fmla="*/ 111 w 160"/>
              <a:gd name="T85" fmla="*/ 54 h 160"/>
              <a:gd name="T86" fmla="*/ 80 w 160"/>
              <a:gd name="T87" fmla="*/ 0 h 160"/>
              <a:gd name="T88" fmla="*/ 0 w 160"/>
              <a:gd name="T89" fmla="*/ 80 h 160"/>
              <a:gd name="T90" fmla="*/ 80 w 160"/>
              <a:gd name="T91" fmla="*/ 160 h 160"/>
              <a:gd name="T92" fmla="*/ 160 w 160"/>
              <a:gd name="T93" fmla="*/ 80 h 160"/>
              <a:gd name="T94" fmla="*/ 80 w 160"/>
              <a:gd name="T95" fmla="*/ 0 h 160"/>
              <a:gd name="T96" fmla="*/ 80 w 160"/>
              <a:gd name="T97" fmla="*/ 155 h 160"/>
              <a:gd name="T98" fmla="*/ 5 w 160"/>
              <a:gd name="T99" fmla="*/ 80 h 160"/>
              <a:gd name="T100" fmla="*/ 80 w 160"/>
              <a:gd name="T101" fmla="*/ 5 h 160"/>
              <a:gd name="T102" fmla="*/ 155 w 160"/>
              <a:gd name="T103" fmla="*/ 80 h 160"/>
              <a:gd name="T104" fmla="*/ 80 w 160"/>
              <a:gd name="T10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0" h="160">
                <a:moveTo>
                  <a:pt x="97" y="20"/>
                </a:moveTo>
                <a:cubicBezTo>
                  <a:pt x="95" y="18"/>
                  <a:pt x="91" y="18"/>
                  <a:pt x="89" y="20"/>
                </a:cubicBezTo>
                <a:cubicBezTo>
                  <a:pt x="89" y="20"/>
                  <a:pt x="89" y="20"/>
                  <a:pt x="88" y="20"/>
                </a:cubicBezTo>
                <a:cubicBezTo>
                  <a:pt x="53" y="53"/>
                  <a:pt x="53" y="53"/>
                  <a:pt x="53" y="53"/>
                </a:cubicBezTo>
                <a:cubicBezTo>
                  <a:pt x="53" y="53"/>
                  <a:pt x="52" y="53"/>
                  <a:pt x="52" y="53"/>
                </a:cubicBezTo>
                <a:cubicBezTo>
                  <a:pt x="30" y="53"/>
                  <a:pt x="30" y="53"/>
                  <a:pt x="30" y="53"/>
                </a:cubicBezTo>
                <a:cubicBezTo>
                  <a:pt x="25" y="53"/>
                  <a:pt x="21" y="57"/>
                  <a:pt x="21" y="62"/>
                </a:cubicBezTo>
                <a:cubicBezTo>
                  <a:pt x="21" y="96"/>
                  <a:pt x="21" y="96"/>
                  <a:pt x="21" y="96"/>
                </a:cubicBezTo>
                <a:cubicBezTo>
                  <a:pt x="21" y="100"/>
                  <a:pt x="25" y="104"/>
                  <a:pt x="30" y="104"/>
                </a:cubicBezTo>
                <a:cubicBezTo>
                  <a:pt x="52" y="104"/>
                  <a:pt x="52" y="104"/>
                  <a:pt x="52" y="104"/>
                </a:cubicBezTo>
                <a:cubicBezTo>
                  <a:pt x="52" y="104"/>
                  <a:pt x="53" y="104"/>
                  <a:pt x="53" y="104"/>
                </a:cubicBezTo>
                <a:cubicBezTo>
                  <a:pt x="88" y="137"/>
                  <a:pt x="88" y="137"/>
                  <a:pt x="88" y="137"/>
                </a:cubicBezTo>
                <a:cubicBezTo>
                  <a:pt x="89" y="137"/>
                  <a:pt x="89" y="137"/>
                  <a:pt x="89" y="138"/>
                </a:cubicBezTo>
                <a:cubicBezTo>
                  <a:pt x="90" y="138"/>
                  <a:pt x="92" y="139"/>
                  <a:pt x="93" y="139"/>
                </a:cubicBezTo>
                <a:cubicBezTo>
                  <a:pt x="94" y="139"/>
                  <a:pt x="96" y="138"/>
                  <a:pt x="97" y="138"/>
                </a:cubicBezTo>
                <a:cubicBezTo>
                  <a:pt x="100" y="136"/>
                  <a:pt x="101" y="133"/>
                  <a:pt x="101" y="130"/>
                </a:cubicBezTo>
                <a:cubicBezTo>
                  <a:pt x="101" y="27"/>
                  <a:pt x="101" y="27"/>
                  <a:pt x="101" y="27"/>
                </a:cubicBezTo>
                <a:cubicBezTo>
                  <a:pt x="101" y="24"/>
                  <a:pt x="100" y="21"/>
                  <a:pt x="97" y="20"/>
                </a:cubicBezTo>
                <a:close/>
                <a:moveTo>
                  <a:pt x="96" y="130"/>
                </a:moveTo>
                <a:cubicBezTo>
                  <a:pt x="96" y="132"/>
                  <a:pt x="95" y="133"/>
                  <a:pt x="95" y="133"/>
                </a:cubicBezTo>
                <a:cubicBezTo>
                  <a:pt x="94" y="133"/>
                  <a:pt x="93" y="134"/>
                  <a:pt x="92" y="133"/>
                </a:cubicBezTo>
                <a:cubicBezTo>
                  <a:pt x="56" y="100"/>
                  <a:pt x="56" y="100"/>
                  <a:pt x="56" y="100"/>
                </a:cubicBezTo>
                <a:cubicBezTo>
                  <a:pt x="56" y="100"/>
                  <a:pt x="56" y="100"/>
                  <a:pt x="56" y="100"/>
                </a:cubicBezTo>
                <a:cubicBezTo>
                  <a:pt x="55" y="99"/>
                  <a:pt x="53" y="99"/>
                  <a:pt x="52" y="99"/>
                </a:cubicBezTo>
                <a:cubicBezTo>
                  <a:pt x="30" y="99"/>
                  <a:pt x="30" y="99"/>
                  <a:pt x="30" y="99"/>
                </a:cubicBezTo>
                <a:cubicBezTo>
                  <a:pt x="28" y="99"/>
                  <a:pt x="27" y="97"/>
                  <a:pt x="27" y="96"/>
                </a:cubicBezTo>
                <a:cubicBezTo>
                  <a:pt x="27" y="62"/>
                  <a:pt x="27" y="62"/>
                  <a:pt x="27" y="62"/>
                </a:cubicBezTo>
                <a:cubicBezTo>
                  <a:pt x="27" y="60"/>
                  <a:pt x="28" y="59"/>
                  <a:pt x="30" y="59"/>
                </a:cubicBezTo>
                <a:cubicBezTo>
                  <a:pt x="52" y="59"/>
                  <a:pt x="52" y="59"/>
                  <a:pt x="52" y="59"/>
                </a:cubicBezTo>
                <a:cubicBezTo>
                  <a:pt x="53" y="59"/>
                  <a:pt x="55" y="58"/>
                  <a:pt x="56" y="58"/>
                </a:cubicBezTo>
                <a:cubicBezTo>
                  <a:pt x="56" y="57"/>
                  <a:pt x="56" y="57"/>
                  <a:pt x="56" y="57"/>
                </a:cubicBezTo>
                <a:cubicBezTo>
                  <a:pt x="92" y="24"/>
                  <a:pt x="92" y="24"/>
                  <a:pt x="92" y="24"/>
                </a:cubicBezTo>
                <a:cubicBezTo>
                  <a:pt x="93" y="24"/>
                  <a:pt x="94" y="24"/>
                  <a:pt x="95" y="24"/>
                </a:cubicBezTo>
                <a:cubicBezTo>
                  <a:pt x="95" y="25"/>
                  <a:pt x="96" y="25"/>
                  <a:pt x="96" y="27"/>
                </a:cubicBezTo>
                <a:lnTo>
                  <a:pt x="96" y="130"/>
                </a:lnTo>
                <a:close/>
                <a:moveTo>
                  <a:pt x="111" y="54"/>
                </a:moveTo>
                <a:cubicBezTo>
                  <a:pt x="125" y="68"/>
                  <a:pt x="125" y="90"/>
                  <a:pt x="111" y="103"/>
                </a:cubicBezTo>
                <a:cubicBezTo>
                  <a:pt x="111" y="104"/>
                  <a:pt x="110" y="104"/>
                  <a:pt x="109" y="104"/>
                </a:cubicBezTo>
                <a:cubicBezTo>
                  <a:pt x="109" y="104"/>
                  <a:pt x="108" y="104"/>
                  <a:pt x="107" y="103"/>
                </a:cubicBezTo>
                <a:cubicBezTo>
                  <a:pt x="106" y="102"/>
                  <a:pt x="106" y="100"/>
                  <a:pt x="107" y="99"/>
                </a:cubicBezTo>
                <a:cubicBezTo>
                  <a:pt x="119" y="88"/>
                  <a:pt x="119" y="69"/>
                  <a:pt x="107" y="58"/>
                </a:cubicBezTo>
                <a:cubicBezTo>
                  <a:pt x="106" y="57"/>
                  <a:pt x="106" y="55"/>
                  <a:pt x="107" y="54"/>
                </a:cubicBezTo>
                <a:cubicBezTo>
                  <a:pt x="108" y="53"/>
                  <a:pt x="110" y="53"/>
                  <a:pt x="111" y="54"/>
                </a:cubicBez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6">
            <a:extLst>
              <a:ext uri="{FF2B5EF4-FFF2-40B4-BE49-F238E27FC236}">
                <a16:creationId xmlns:a16="http://schemas.microsoft.com/office/drawing/2014/main" id="{C570B790-BA6D-6E4F-B875-BAE3E4D2306A}"/>
              </a:ext>
            </a:extLst>
          </p:cNvPr>
          <p:cNvSpPr>
            <a:spLocks noEditPoints="1"/>
          </p:cNvSpPr>
          <p:nvPr/>
        </p:nvSpPr>
        <p:spPr bwMode="auto">
          <a:xfrm>
            <a:off x="1637991" y="1762125"/>
            <a:ext cx="601663" cy="604838"/>
          </a:xfrm>
          <a:custGeom>
            <a:avLst/>
            <a:gdLst>
              <a:gd name="T0" fmla="*/ 157 w 160"/>
              <a:gd name="T1" fmla="*/ 25 h 160"/>
              <a:gd name="T2" fmla="*/ 160 w 160"/>
              <a:gd name="T3" fmla="*/ 17 h 160"/>
              <a:gd name="T4" fmla="*/ 88 w 160"/>
              <a:gd name="T5" fmla="*/ 15 h 160"/>
              <a:gd name="T6" fmla="*/ 72 w 160"/>
              <a:gd name="T7" fmla="*/ 15 h 160"/>
              <a:gd name="T8" fmla="*/ 0 w 160"/>
              <a:gd name="T9" fmla="*/ 17 h 160"/>
              <a:gd name="T10" fmla="*/ 4 w 160"/>
              <a:gd name="T11" fmla="*/ 26 h 160"/>
              <a:gd name="T12" fmla="*/ 1 w 160"/>
              <a:gd name="T13" fmla="*/ 159 h 160"/>
              <a:gd name="T14" fmla="*/ 80 w 160"/>
              <a:gd name="T15" fmla="*/ 93 h 160"/>
              <a:gd name="T16" fmla="*/ 159 w 160"/>
              <a:gd name="T17" fmla="*/ 159 h 160"/>
              <a:gd name="T18" fmla="*/ 124 w 160"/>
              <a:gd name="T19" fmla="*/ 5 h 160"/>
              <a:gd name="T20" fmla="*/ 155 w 160"/>
              <a:gd name="T21" fmla="*/ 17 h 160"/>
              <a:gd name="T22" fmla="*/ 153 w 160"/>
              <a:gd name="T23" fmla="*/ 21 h 160"/>
              <a:gd name="T24" fmla="*/ 141 w 160"/>
              <a:gd name="T25" fmla="*/ 27 h 160"/>
              <a:gd name="T26" fmla="*/ 137 w 160"/>
              <a:gd name="T27" fmla="*/ 28 h 160"/>
              <a:gd name="T28" fmla="*/ 133 w 160"/>
              <a:gd name="T29" fmla="*/ 29 h 160"/>
              <a:gd name="T30" fmla="*/ 128 w 160"/>
              <a:gd name="T31" fmla="*/ 29 h 160"/>
              <a:gd name="T32" fmla="*/ 93 w 160"/>
              <a:gd name="T33" fmla="*/ 17 h 160"/>
              <a:gd name="T34" fmla="*/ 67 w 160"/>
              <a:gd name="T35" fmla="*/ 17 h 160"/>
              <a:gd name="T36" fmla="*/ 32 w 160"/>
              <a:gd name="T37" fmla="*/ 29 h 160"/>
              <a:gd name="T38" fmla="*/ 27 w 160"/>
              <a:gd name="T39" fmla="*/ 29 h 160"/>
              <a:gd name="T40" fmla="*/ 23 w 160"/>
              <a:gd name="T41" fmla="*/ 28 h 160"/>
              <a:gd name="T42" fmla="*/ 19 w 160"/>
              <a:gd name="T43" fmla="*/ 27 h 160"/>
              <a:gd name="T44" fmla="*/ 7 w 160"/>
              <a:gd name="T45" fmla="*/ 21 h 160"/>
              <a:gd name="T46" fmla="*/ 36 w 160"/>
              <a:gd name="T47" fmla="*/ 5 h 160"/>
              <a:gd name="T48" fmla="*/ 32 w 160"/>
              <a:gd name="T49" fmla="*/ 35 h 160"/>
              <a:gd name="T50" fmla="*/ 41 w 160"/>
              <a:gd name="T51" fmla="*/ 35 h 160"/>
              <a:gd name="T52" fmla="*/ 46 w 160"/>
              <a:gd name="T53" fmla="*/ 34 h 160"/>
              <a:gd name="T54" fmla="*/ 50 w 160"/>
              <a:gd name="T55" fmla="*/ 33 h 160"/>
              <a:gd name="T56" fmla="*/ 56 w 160"/>
              <a:gd name="T57" fmla="*/ 32 h 160"/>
              <a:gd name="T58" fmla="*/ 59 w 160"/>
              <a:gd name="T59" fmla="*/ 31 h 160"/>
              <a:gd name="T60" fmla="*/ 64 w 160"/>
              <a:gd name="T61" fmla="*/ 29 h 160"/>
              <a:gd name="T62" fmla="*/ 66 w 160"/>
              <a:gd name="T63" fmla="*/ 27 h 160"/>
              <a:gd name="T64" fmla="*/ 69 w 160"/>
              <a:gd name="T65" fmla="*/ 25 h 160"/>
              <a:gd name="T66" fmla="*/ 77 w 160"/>
              <a:gd name="T67" fmla="*/ 33 h 160"/>
              <a:gd name="T68" fmla="*/ 19 w 160"/>
              <a:gd name="T69" fmla="*/ 33 h 160"/>
              <a:gd name="T70" fmla="*/ 82 w 160"/>
              <a:gd name="T71" fmla="*/ 35 h 160"/>
              <a:gd name="T72" fmla="*/ 91 w 160"/>
              <a:gd name="T73" fmla="*/ 24 h 160"/>
              <a:gd name="T74" fmla="*/ 93 w 160"/>
              <a:gd name="T75" fmla="*/ 26 h 160"/>
              <a:gd name="T76" fmla="*/ 96 w 160"/>
              <a:gd name="T77" fmla="*/ 28 h 160"/>
              <a:gd name="T78" fmla="*/ 99 w 160"/>
              <a:gd name="T79" fmla="*/ 30 h 160"/>
              <a:gd name="T80" fmla="*/ 103 w 160"/>
              <a:gd name="T81" fmla="*/ 32 h 160"/>
              <a:gd name="T82" fmla="*/ 107 w 160"/>
              <a:gd name="T83" fmla="*/ 33 h 160"/>
              <a:gd name="T84" fmla="*/ 113 w 160"/>
              <a:gd name="T85" fmla="*/ 34 h 160"/>
              <a:gd name="T86" fmla="*/ 117 w 160"/>
              <a:gd name="T87" fmla="*/ 34 h 160"/>
              <a:gd name="T88" fmla="*/ 124 w 160"/>
              <a:gd name="T89" fmla="*/ 35 h 160"/>
              <a:gd name="T90" fmla="*/ 141 w 160"/>
              <a:gd name="T91" fmla="*/ 33 h 160"/>
              <a:gd name="T92" fmla="*/ 78 w 160"/>
              <a:gd name="T93" fmla="*/ 87 h 160"/>
              <a:gd name="T94" fmla="*/ 60 w 160"/>
              <a:gd name="T95" fmla="*/ 71 h 160"/>
              <a:gd name="T96" fmla="*/ 146 w 160"/>
              <a:gd name="T97" fmla="*/ 1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60">
                <a:moveTo>
                  <a:pt x="106" y="70"/>
                </a:moveTo>
                <a:cubicBezTo>
                  <a:pt x="156" y="26"/>
                  <a:pt x="156" y="26"/>
                  <a:pt x="156" y="26"/>
                </a:cubicBezTo>
                <a:cubicBezTo>
                  <a:pt x="157" y="26"/>
                  <a:pt x="157" y="25"/>
                  <a:pt x="157" y="25"/>
                </a:cubicBezTo>
                <a:cubicBezTo>
                  <a:pt x="158" y="24"/>
                  <a:pt x="158" y="24"/>
                  <a:pt x="158" y="24"/>
                </a:cubicBezTo>
                <a:cubicBezTo>
                  <a:pt x="159" y="22"/>
                  <a:pt x="160" y="20"/>
                  <a:pt x="160" y="17"/>
                </a:cubicBezTo>
                <a:cubicBezTo>
                  <a:pt x="160" y="17"/>
                  <a:pt x="160" y="17"/>
                  <a:pt x="160" y="17"/>
                </a:cubicBezTo>
                <a:cubicBezTo>
                  <a:pt x="160" y="16"/>
                  <a:pt x="160" y="15"/>
                  <a:pt x="160" y="15"/>
                </a:cubicBezTo>
                <a:cubicBezTo>
                  <a:pt x="157" y="6"/>
                  <a:pt x="143" y="0"/>
                  <a:pt x="124" y="0"/>
                </a:cubicBezTo>
                <a:cubicBezTo>
                  <a:pt x="105" y="0"/>
                  <a:pt x="91" y="6"/>
                  <a:pt x="88" y="15"/>
                </a:cubicBezTo>
                <a:cubicBezTo>
                  <a:pt x="88" y="15"/>
                  <a:pt x="88" y="15"/>
                  <a:pt x="88" y="15"/>
                </a:cubicBezTo>
                <a:cubicBezTo>
                  <a:pt x="80" y="28"/>
                  <a:pt x="80" y="28"/>
                  <a:pt x="80" y="28"/>
                </a:cubicBezTo>
                <a:cubicBezTo>
                  <a:pt x="72" y="15"/>
                  <a:pt x="72" y="15"/>
                  <a:pt x="72" y="15"/>
                </a:cubicBezTo>
                <a:cubicBezTo>
                  <a:pt x="72" y="15"/>
                  <a:pt x="72" y="15"/>
                  <a:pt x="72" y="15"/>
                </a:cubicBezTo>
                <a:cubicBezTo>
                  <a:pt x="69" y="6"/>
                  <a:pt x="55" y="0"/>
                  <a:pt x="36" y="0"/>
                </a:cubicBezTo>
                <a:cubicBezTo>
                  <a:pt x="15" y="0"/>
                  <a:pt x="0" y="7"/>
                  <a:pt x="0" y="17"/>
                </a:cubicBezTo>
                <a:cubicBezTo>
                  <a:pt x="0" y="20"/>
                  <a:pt x="1" y="22"/>
                  <a:pt x="2" y="24"/>
                </a:cubicBezTo>
                <a:cubicBezTo>
                  <a:pt x="3" y="25"/>
                  <a:pt x="3" y="25"/>
                  <a:pt x="3" y="25"/>
                </a:cubicBezTo>
                <a:cubicBezTo>
                  <a:pt x="3" y="25"/>
                  <a:pt x="3" y="26"/>
                  <a:pt x="4" y="26"/>
                </a:cubicBezTo>
                <a:cubicBezTo>
                  <a:pt x="54" y="70"/>
                  <a:pt x="54" y="70"/>
                  <a:pt x="54" y="70"/>
                </a:cubicBezTo>
                <a:cubicBezTo>
                  <a:pt x="0" y="156"/>
                  <a:pt x="0" y="156"/>
                  <a:pt x="0" y="156"/>
                </a:cubicBezTo>
                <a:cubicBezTo>
                  <a:pt x="0" y="157"/>
                  <a:pt x="0" y="159"/>
                  <a:pt x="1" y="159"/>
                </a:cubicBezTo>
                <a:cubicBezTo>
                  <a:pt x="1" y="160"/>
                  <a:pt x="2" y="160"/>
                  <a:pt x="3" y="160"/>
                </a:cubicBezTo>
                <a:cubicBezTo>
                  <a:pt x="3" y="160"/>
                  <a:pt x="4" y="160"/>
                  <a:pt x="4" y="159"/>
                </a:cubicBezTo>
                <a:cubicBezTo>
                  <a:pt x="80" y="93"/>
                  <a:pt x="80" y="93"/>
                  <a:pt x="80" y="93"/>
                </a:cubicBezTo>
                <a:cubicBezTo>
                  <a:pt x="156" y="159"/>
                  <a:pt x="156" y="159"/>
                  <a:pt x="156" y="159"/>
                </a:cubicBezTo>
                <a:cubicBezTo>
                  <a:pt x="156" y="160"/>
                  <a:pt x="157" y="160"/>
                  <a:pt x="157" y="160"/>
                </a:cubicBezTo>
                <a:cubicBezTo>
                  <a:pt x="158" y="160"/>
                  <a:pt x="159" y="160"/>
                  <a:pt x="159" y="159"/>
                </a:cubicBezTo>
                <a:cubicBezTo>
                  <a:pt x="160" y="159"/>
                  <a:pt x="160" y="157"/>
                  <a:pt x="160" y="156"/>
                </a:cubicBezTo>
                <a:lnTo>
                  <a:pt x="106" y="70"/>
                </a:lnTo>
                <a:close/>
                <a:moveTo>
                  <a:pt x="124" y="5"/>
                </a:moveTo>
                <a:cubicBezTo>
                  <a:pt x="141" y="5"/>
                  <a:pt x="154" y="11"/>
                  <a:pt x="155" y="17"/>
                </a:cubicBezTo>
                <a:cubicBezTo>
                  <a:pt x="155" y="17"/>
                  <a:pt x="155" y="17"/>
                  <a:pt x="155" y="17"/>
                </a:cubicBezTo>
                <a:cubicBezTo>
                  <a:pt x="155" y="17"/>
                  <a:pt x="155" y="17"/>
                  <a:pt x="155" y="17"/>
                </a:cubicBezTo>
                <a:cubicBezTo>
                  <a:pt x="155" y="17"/>
                  <a:pt x="155" y="17"/>
                  <a:pt x="155" y="17"/>
                </a:cubicBezTo>
                <a:cubicBezTo>
                  <a:pt x="155" y="18"/>
                  <a:pt x="154" y="20"/>
                  <a:pt x="153" y="21"/>
                </a:cubicBezTo>
                <a:cubicBezTo>
                  <a:pt x="153" y="21"/>
                  <a:pt x="153" y="21"/>
                  <a:pt x="153" y="21"/>
                </a:cubicBezTo>
                <a:cubicBezTo>
                  <a:pt x="151" y="23"/>
                  <a:pt x="148" y="25"/>
                  <a:pt x="143" y="27"/>
                </a:cubicBezTo>
                <a:cubicBezTo>
                  <a:pt x="143" y="27"/>
                  <a:pt x="143" y="27"/>
                  <a:pt x="143" y="27"/>
                </a:cubicBezTo>
                <a:cubicBezTo>
                  <a:pt x="142" y="27"/>
                  <a:pt x="142" y="27"/>
                  <a:pt x="141" y="27"/>
                </a:cubicBezTo>
                <a:cubicBezTo>
                  <a:pt x="141" y="27"/>
                  <a:pt x="141" y="27"/>
                  <a:pt x="140" y="27"/>
                </a:cubicBezTo>
                <a:cubicBezTo>
                  <a:pt x="140" y="27"/>
                  <a:pt x="139" y="28"/>
                  <a:pt x="139" y="28"/>
                </a:cubicBezTo>
                <a:cubicBezTo>
                  <a:pt x="138" y="28"/>
                  <a:pt x="137" y="28"/>
                  <a:pt x="137" y="28"/>
                </a:cubicBezTo>
                <a:cubicBezTo>
                  <a:pt x="136" y="28"/>
                  <a:pt x="136" y="28"/>
                  <a:pt x="136" y="28"/>
                </a:cubicBezTo>
                <a:cubicBezTo>
                  <a:pt x="135" y="28"/>
                  <a:pt x="135" y="29"/>
                  <a:pt x="134" y="29"/>
                </a:cubicBezTo>
                <a:cubicBezTo>
                  <a:pt x="134" y="29"/>
                  <a:pt x="133" y="29"/>
                  <a:pt x="133" y="29"/>
                </a:cubicBezTo>
                <a:cubicBezTo>
                  <a:pt x="132" y="29"/>
                  <a:pt x="132" y="29"/>
                  <a:pt x="131" y="29"/>
                </a:cubicBezTo>
                <a:cubicBezTo>
                  <a:pt x="131" y="29"/>
                  <a:pt x="130" y="29"/>
                  <a:pt x="130" y="29"/>
                </a:cubicBezTo>
                <a:cubicBezTo>
                  <a:pt x="129" y="29"/>
                  <a:pt x="129" y="29"/>
                  <a:pt x="128" y="29"/>
                </a:cubicBezTo>
                <a:cubicBezTo>
                  <a:pt x="128" y="29"/>
                  <a:pt x="127" y="29"/>
                  <a:pt x="127" y="29"/>
                </a:cubicBezTo>
                <a:cubicBezTo>
                  <a:pt x="126" y="29"/>
                  <a:pt x="125" y="29"/>
                  <a:pt x="124" y="29"/>
                </a:cubicBezTo>
                <a:cubicBezTo>
                  <a:pt x="106" y="29"/>
                  <a:pt x="93" y="23"/>
                  <a:pt x="93" y="17"/>
                </a:cubicBezTo>
                <a:cubicBezTo>
                  <a:pt x="93" y="12"/>
                  <a:pt x="106" y="5"/>
                  <a:pt x="124" y="5"/>
                </a:cubicBezTo>
                <a:close/>
                <a:moveTo>
                  <a:pt x="36" y="5"/>
                </a:moveTo>
                <a:cubicBezTo>
                  <a:pt x="54" y="5"/>
                  <a:pt x="67" y="12"/>
                  <a:pt x="67" y="17"/>
                </a:cubicBezTo>
                <a:cubicBezTo>
                  <a:pt x="67" y="23"/>
                  <a:pt x="54" y="29"/>
                  <a:pt x="36" y="29"/>
                </a:cubicBezTo>
                <a:cubicBezTo>
                  <a:pt x="35" y="29"/>
                  <a:pt x="34" y="29"/>
                  <a:pt x="33" y="29"/>
                </a:cubicBezTo>
                <a:cubicBezTo>
                  <a:pt x="33" y="29"/>
                  <a:pt x="32" y="29"/>
                  <a:pt x="32" y="29"/>
                </a:cubicBezTo>
                <a:cubicBezTo>
                  <a:pt x="31" y="29"/>
                  <a:pt x="31" y="29"/>
                  <a:pt x="30" y="29"/>
                </a:cubicBezTo>
                <a:cubicBezTo>
                  <a:pt x="30" y="29"/>
                  <a:pt x="29" y="29"/>
                  <a:pt x="29" y="29"/>
                </a:cubicBezTo>
                <a:cubicBezTo>
                  <a:pt x="28" y="29"/>
                  <a:pt x="28" y="29"/>
                  <a:pt x="27" y="29"/>
                </a:cubicBezTo>
                <a:cubicBezTo>
                  <a:pt x="27" y="29"/>
                  <a:pt x="26" y="29"/>
                  <a:pt x="26" y="29"/>
                </a:cubicBezTo>
                <a:cubicBezTo>
                  <a:pt x="25" y="29"/>
                  <a:pt x="25" y="28"/>
                  <a:pt x="24" y="28"/>
                </a:cubicBezTo>
                <a:cubicBezTo>
                  <a:pt x="24" y="28"/>
                  <a:pt x="24" y="28"/>
                  <a:pt x="23" y="28"/>
                </a:cubicBezTo>
                <a:cubicBezTo>
                  <a:pt x="23" y="28"/>
                  <a:pt x="22" y="28"/>
                  <a:pt x="21" y="28"/>
                </a:cubicBezTo>
                <a:cubicBezTo>
                  <a:pt x="21" y="28"/>
                  <a:pt x="20" y="27"/>
                  <a:pt x="20" y="27"/>
                </a:cubicBezTo>
                <a:cubicBezTo>
                  <a:pt x="19" y="27"/>
                  <a:pt x="19" y="27"/>
                  <a:pt x="19" y="27"/>
                </a:cubicBezTo>
                <a:cubicBezTo>
                  <a:pt x="18" y="27"/>
                  <a:pt x="18" y="27"/>
                  <a:pt x="17" y="27"/>
                </a:cubicBezTo>
                <a:cubicBezTo>
                  <a:pt x="17" y="27"/>
                  <a:pt x="17" y="27"/>
                  <a:pt x="17" y="27"/>
                </a:cubicBezTo>
                <a:cubicBezTo>
                  <a:pt x="12" y="25"/>
                  <a:pt x="9" y="23"/>
                  <a:pt x="7" y="21"/>
                </a:cubicBezTo>
                <a:cubicBezTo>
                  <a:pt x="7" y="21"/>
                  <a:pt x="7" y="21"/>
                  <a:pt x="7" y="21"/>
                </a:cubicBezTo>
                <a:cubicBezTo>
                  <a:pt x="6" y="20"/>
                  <a:pt x="5" y="18"/>
                  <a:pt x="5" y="17"/>
                </a:cubicBezTo>
                <a:cubicBezTo>
                  <a:pt x="5" y="12"/>
                  <a:pt x="18" y="5"/>
                  <a:pt x="36" y="5"/>
                </a:cubicBezTo>
                <a:close/>
                <a:moveTo>
                  <a:pt x="19" y="33"/>
                </a:moveTo>
                <a:cubicBezTo>
                  <a:pt x="23" y="34"/>
                  <a:pt x="27" y="34"/>
                  <a:pt x="31" y="35"/>
                </a:cubicBezTo>
                <a:cubicBezTo>
                  <a:pt x="31" y="35"/>
                  <a:pt x="32" y="35"/>
                  <a:pt x="32" y="35"/>
                </a:cubicBezTo>
                <a:cubicBezTo>
                  <a:pt x="33" y="35"/>
                  <a:pt x="35" y="35"/>
                  <a:pt x="36" y="35"/>
                </a:cubicBezTo>
                <a:cubicBezTo>
                  <a:pt x="37" y="35"/>
                  <a:pt x="38" y="35"/>
                  <a:pt x="39" y="35"/>
                </a:cubicBezTo>
                <a:cubicBezTo>
                  <a:pt x="40" y="35"/>
                  <a:pt x="40" y="35"/>
                  <a:pt x="41" y="35"/>
                </a:cubicBezTo>
                <a:cubicBezTo>
                  <a:pt x="41" y="34"/>
                  <a:pt x="42" y="34"/>
                  <a:pt x="43" y="34"/>
                </a:cubicBezTo>
                <a:cubicBezTo>
                  <a:pt x="43" y="34"/>
                  <a:pt x="44" y="34"/>
                  <a:pt x="44" y="34"/>
                </a:cubicBezTo>
                <a:cubicBezTo>
                  <a:pt x="45" y="34"/>
                  <a:pt x="46" y="34"/>
                  <a:pt x="46" y="34"/>
                </a:cubicBezTo>
                <a:cubicBezTo>
                  <a:pt x="47" y="34"/>
                  <a:pt x="47" y="34"/>
                  <a:pt x="47" y="34"/>
                </a:cubicBezTo>
                <a:cubicBezTo>
                  <a:pt x="48" y="34"/>
                  <a:pt x="49" y="34"/>
                  <a:pt x="50" y="33"/>
                </a:cubicBezTo>
                <a:cubicBezTo>
                  <a:pt x="50" y="33"/>
                  <a:pt x="50" y="33"/>
                  <a:pt x="50" y="33"/>
                </a:cubicBezTo>
                <a:cubicBezTo>
                  <a:pt x="51" y="33"/>
                  <a:pt x="52" y="33"/>
                  <a:pt x="53" y="33"/>
                </a:cubicBezTo>
                <a:cubicBezTo>
                  <a:pt x="54" y="33"/>
                  <a:pt x="54" y="33"/>
                  <a:pt x="54" y="32"/>
                </a:cubicBezTo>
                <a:cubicBezTo>
                  <a:pt x="55" y="32"/>
                  <a:pt x="55" y="32"/>
                  <a:pt x="56" y="32"/>
                </a:cubicBezTo>
                <a:cubicBezTo>
                  <a:pt x="56" y="32"/>
                  <a:pt x="57" y="32"/>
                  <a:pt x="57" y="32"/>
                </a:cubicBezTo>
                <a:cubicBezTo>
                  <a:pt x="58" y="31"/>
                  <a:pt x="58" y="31"/>
                  <a:pt x="59" y="31"/>
                </a:cubicBezTo>
                <a:cubicBezTo>
                  <a:pt x="59" y="31"/>
                  <a:pt x="59" y="31"/>
                  <a:pt x="59" y="31"/>
                </a:cubicBezTo>
                <a:cubicBezTo>
                  <a:pt x="60" y="30"/>
                  <a:pt x="61" y="30"/>
                  <a:pt x="61" y="30"/>
                </a:cubicBezTo>
                <a:cubicBezTo>
                  <a:pt x="61" y="30"/>
                  <a:pt x="62" y="30"/>
                  <a:pt x="62" y="30"/>
                </a:cubicBezTo>
                <a:cubicBezTo>
                  <a:pt x="63" y="29"/>
                  <a:pt x="63" y="29"/>
                  <a:pt x="64" y="29"/>
                </a:cubicBezTo>
                <a:cubicBezTo>
                  <a:pt x="64" y="28"/>
                  <a:pt x="64" y="28"/>
                  <a:pt x="64" y="28"/>
                </a:cubicBezTo>
                <a:cubicBezTo>
                  <a:pt x="65" y="28"/>
                  <a:pt x="65" y="28"/>
                  <a:pt x="66" y="27"/>
                </a:cubicBezTo>
                <a:cubicBezTo>
                  <a:pt x="66" y="27"/>
                  <a:pt x="66" y="27"/>
                  <a:pt x="66" y="27"/>
                </a:cubicBezTo>
                <a:cubicBezTo>
                  <a:pt x="67" y="27"/>
                  <a:pt x="67" y="26"/>
                  <a:pt x="67" y="26"/>
                </a:cubicBezTo>
                <a:cubicBezTo>
                  <a:pt x="68" y="26"/>
                  <a:pt x="68" y="26"/>
                  <a:pt x="68" y="26"/>
                </a:cubicBezTo>
                <a:cubicBezTo>
                  <a:pt x="68" y="25"/>
                  <a:pt x="69" y="25"/>
                  <a:pt x="69" y="25"/>
                </a:cubicBezTo>
                <a:cubicBezTo>
                  <a:pt x="69" y="24"/>
                  <a:pt x="69" y="24"/>
                  <a:pt x="69" y="24"/>
                </a:cubicBezTo>
                <a:cubicBezTo>
                  <a:pt x="70" y="24"/>
                  <a:pt x="70" y="23"/>
                  <a:pt x="70" y="23"/>
                </a:cubicBezTo>
                <a:cubicBezTo>
                  <a:pt x="77" y="33"/>
                  <a:pt x="77" y="33"/>
                  <a:pt x="77" y="33"/>
                </a:cubicBezTo>
                <a:cubicBezTo>
                  <a:pt x="68" y="48"/>
                  <a:pt x="68" y="48"/>
                  <a:pt x="68" y="48"/>
                </a:cubicBezTo>
                <a:cubicBezTo>
                  <a:pt x="57" y="66"/>
                  <a:pt x="57" y="66"/>
                  <a:pt x="57" y="66"/>
                </a:cubicBezTo>
                <a:lnTo>
                  <a:pt x="19" y="33"/>
                </a:lnTo>
                <a:close/>
                <a:moveTo>
                  <a:pt x="60" y="71"/>
                </a:moveTo>
                <a:cubicBezTo>
                  <a:pt x="60" y="71"/>
                  <a:pt x="60" y="71"/>
                  <a:pt x="60" y="71"/>
                </a:cubicBezTo>
                <a:cubicBezTo>
                  <a:pt x="82" y="35"/>
                  <a:pt x="82" y="35"/>
                  <a:pt x="82" y="35"/>
                </a:cubicBezTo>
                <a:cubicBezTo>
                  <a:pt x="82" y="35"/>
                  <a:pt x="82" y="35"/>
                  <a:pt x="82" y="35"/>
                </a:cubicBezTo>
                <a:cubicBezTo>
                  <a:pt x="90" y="23"/>
                  <a:pt x="90" y="23"/>
                  <a:pt x="90" y="23"/>
                </a:cubicBezTo>
                <a:cubicBezTo>
                  <a:pt x="90" y="23"/>
                  <a:pt x="90" y="24"/>
                  <a:pt x="91" y="24"/>
                </a:cubicBezTo>
                <a:cubicBezTo>
                  <a:pt x="91" y="24"/>
                  <a:pt x="91" y="24"/>
                  <a:pt x="91" y="25"/>
                </a:cubicBezTo>
                <a:cubicBezTo>
                  <a:pt x="91" y="25"/>
                  <a:pt x="92" y="25"/>
                  <a:pt x="92" y="26"/>
                </a:cubicBezTo>
                <a:cubicBezTo>
                  <a:pt x="92" y="26"/>
                  <a:pt x="92" y="26"/>
                  <a:pt x="93" y="26"/>
                </a:cubicBezTo>
                <a:cubicBezTo>
                  <a:pt x="93" y="26"/>
                  <a:pt x="93" y="27"/>
                  <a:pt x="94" y="27"/>
                </a:cubicBezTo>
                <a:cubicBezTo>
                  <a:pt x="94" y="27"/>
                  <a:pt x="94" y="27"/>
                  <a:pt x="94" y="27"/>
                </a:cubicBezTo>
                <a:cubicBezTo>
                  <a:pt x="95" y="28"/>
                  <a:pt x="95" y="28"/>
                  <a:pt x="96" y="28"/>
                </a:cubicBezTo>
                <a:cubicBezTo>
                  <a:pt x="96" y="28"/>
                  <a:pt x="96" y="28"/>
                  <a:pt x="96" y="29"/>
                </a:cubicBezTo>
                <a:cubicBezTo>
                  <a:pt x="97" y="29"/>
                  <a:pt x="97" y="29"/>
                  <a:pt x="98" y="30"/>
                </a:cubicBezTo>
                <a:cubicBezTo>
                  <a:pt x="98" y="30"/>
                  <a:pt x="99" y="30"/>
                  <a:pt x="99" y="30"/>
                </a:cubicBezTo>
                <a:cubicBezTo>
                  <a:pt x="99" y="30"/>
                  <a:pt x="100" y="30"/>
                  <a:pt x="101" y="31"/>
                </a:cubicBezTo>
                <a:cubicBezTo>
                  <a:pt x="101" y="31"/>
                  <a:pt x="101" y="31"/>
                  <a:pt x="101" y="31"/>
                </a:cubicBezTo>
                <a:cubicBezTo>
                  <a:pt x="102" y="31"/>
                  <a:pt x="103" y="31"/>
                  <a:pt x="103" y="32"/>
                </a:cubicBezTo>
                <a:cubicBezTo>
                  <a:pt x="103" y="32"/>
                  <a:pt x="104" y="32"/>
                  <a:pt x="104" y="32"/>
                </a:cubicBezTo>
                <a:cubicBezTo>
                  <a:pt x="105" y="32"/>
                  <a:pt x="105" y="32"/>
                  <a:pt x="106" y="32"/>
                </a:cubicBezTo>
                <a:cubicBezTo>
                  <a:pt x="106" y="33"/>
                  <a:pt x="106" y="33"/>
                  <a:pt x="107" y="33"/>
                </a:cubicBezTo>
                <a:cubicBezTo>
                  <a:pt x="108" y="33"/>
                  <a:pt x="109" y="33"/>
                  <a:pt x="110" y="33"/>
                </a:cubicBezTo>
                <a:cubicBezTo>
                  <a:pt x="110" y="33"/>
                  <a:pt x="110" y="33"/>
                  <a:pt x="110" y="33"/>
                </a:cubicBezTo>
                <a:cubicBezTo>
                  <a:pt x="111" y="34"/>
                  <a:pt x="112" y="34"/>
                  <a:pt x="113" y="34"/>
                </a:cubicBezTo>
                <a:cubicBezTo>
                  <a:pt x="113" y="34"/>
                  <a:pt x="113" y="34"/>
                  <a:pt x="114" y="34"/>
                </a:cubicBezTo>
                <a:cubicBezTo>
                  <a:pt x="114" y="34"/>
                  <a:pt x="115" y="34"/>
                  <a:pt x="116" y="34"/>
                </a:cubicBezTo>
                <a:cubicBezTo>
                  <a:pt x="116" y="34"/>
                  <a:pt x="117" y="34"/>
                  <a:pt x="117" y="34"/>
                </a:cubicBezTo>
                <a:cubicBezTo>
                  <a:pt x="118" y="34"/>
                  <a:pt x="119" y="34"/>
                  <a:pt x="119" y="35"/>
                </a:cubicBezTo>
                <a:cubicBezTo>
                  <a:pt x="120" y="35"/>
                  <a:pt x="120" y="35"/>
                  <a:pt x="121" y="35"/>
                </a:cubicBezTo>
                <a:cubicBezTo>
                  <a:pt x="122" y="35"/>
                  <a:pt x="123" y="35"/>
                  <a:pt x="124" y="35"/>
                </a:cubicBezTo>
                <a:cubicBezTo>
                  <a:pt x="125" y="35"/>
                  <a:pt x="127" y="35"/>
                  <a:pt x="128" y="35"/>
                </a:cubicBezTo>
                <a:cubicBezTo>
                  <a:pt x="128" y="35"/>
                  <a:pt x="129" y="35"/>
                  <a:pt x="129" y="35"/>
                </a:cubicBezTo>
                <a:cubicBezTo>
                  <a:pt x="133" y="34"/>
                  <a:pt x="137" y="34"/>
                  <a:pt x="141" y="33"/>
                </a:cubicBezTo>
                <a:cubicBezTo>
                  <a:pt x="101" y="68"/>
                  <a:pt x="101" y="68"/>
                  <a:pt x="101" y="68"/>
                </a:cubicBezTo>
                <a:cubicBezTo>
                  <a:pt x="101" y="68"/>
                  <a:pt x="101" y="68"/>
                  <a:pt x="101" y="68"/>
                </a:cubicBezTo>
                <a:cubicBezTo>
                  <a:pt x="78" y="87"/>
                  <a:pt x="78" y="87"/>
                  <a:pt x="78" y="87"/>
                </a:cubicBezTo>
                <a:cubicBezTo>
                  <a:pt x="78" y="87"/>
                  <a:pt x="78" y="87"/>
                  <a:pt x="78" y="87"/>
                </a:cubicBezTo>
                <a:cubicBezTo>
                  <a:pt x="14" y="143"/>
                  <a:pt x="14" y="143"/>
                  <a:pt x="14" y="143"/>
                </a:cubicBezTo>
                <a:lnTo>
                  <a:pt x="60" y="71"/>
                </a:lnTo>
                <a:close/>
                <a:moveTo>
                  <a:pt x="84" y="90"/>
                </a:moveTo>
                <a:cubicBezTo>
                  <a:pt x="102" y="74"/>
                  <a:pt x="102" y="74"/>
                  <a:pt x="102" y="74"/>
                </a:cubicBezTo>
                <a:cubicBezTo>
                  <a:pt x="146" y="143"/>
                  <a:pt x="146" y="143"/>
                  <a:pt x="146" y="143"/>
                </a:cubicBezTo>
                <a:lnTo>
                  <a:pt x="84" y="90"/>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7">
            <a:extLst>
              <a:ext uri="{FF2B5EF4-FFF2-40B4-BE49-F238E27FC236}">
                <a16:creationId xmlns:a16="http://schemas.microsoft.com/office/drawing/2014/main" id="{FB7D9315-3460-7B45-8D71-4A93E569F590}"/>
              </a:ext>
            </a:extLst>
          </p:cNvPr>
          <p:cNvSpPr>
            <a:spLocks noEditPoints="1"/>
          </p:cNvSpPr>
          <p:nvPr/>
        </p:nvSpPr>
        <p:spPr bwMode="auto">
          <a:xfrm>
            <a:off x="1637991" y="2443163"/>
            <a:ext cx="601663" cy="579438"/>
          </a:xfrm>
          <a:custGeom>
            <a:avLst/>
            <a:gdLst>
              <a:gd name="T0" fmla="*/ 32 w 160"/>
              <a:gd name="T1" fmla="*/ 152 h 153"/>
              <a:gd name="T2" fmla="*/ 31 w 160"/>
              <a:gd name="T3" fmla="*/ 152 h 153"/>
              <a:gd name="T4" fmla="*/ 30 w 160"/>
              <a:gd name="T5" fmla="*/ 149 h 153"/>
              <a:gd name="T6" fmla="*/ 38 w 160"/>
              <a:gd name="T7" fmla="*/ 98 h 153"/>
              <a:gd name="T8" fmla="*/ 1 w 160"/>
              <a:gd name="T9" fmla="*/ 61 h 153"/>
              <a:gd name="T10" fmla="*/ 0 w 160"/>
              <a:gd name="T11" fmla="*/ 58 h 153"/>
              <a:gd name="T12" fmla="*/ 2 w 160"/>
              <a:gd name="T13" fmla="*/ 56 h 153"/>
              <a:gd name="T14" fmla="*/ 54 w 160"/>
              <a:gd name="T15" fmla="*/ 49 h 153"/>
              <a:gd name="T16" fmla="*/ 77 w 160"/>
              <a:gd name="T17" fmla="*/ 2 h 153"/>
              <a:gd name="T18" fmla="*/ 80 w 160"/>
              <a:gd name="T19" fmla="*/ 0 h 153"/>
              <a:gd name="T20" fmla="*/ 80 w 160"/>
              <a:gd name="T21" fmla="*/ 0 h 153"/>
              <a:gd name="T22" fmla="*/ 83 w 160"/>
              <a:gd name="T23" fmla="*/ 2 h 153"/>
              <a:gd name="T24" fmla="*/ 106 w 160"/>
              <a:gd name="T25" fmla="*/ 49 h 153"/>
              <a:gd name="T26" fmla="*/ 158 w 160"/>
              <a:gd name="T27" fmla="*/ 56 h 153"/>
              <a:gd name="T28" fmla="*/ 160 w 160"/>
              <a:gd name="T29" fmla="*/ 58 h 153"/>
              <a:gd name="T30" fmla="*/ 159 w 160"/>
              <a:gd name="T31" fmla="*/ 61 h 153"/>
              <a:gd name="T32" fmla="*/ 122 w 160"/>
              <a:gd name="T33" fmla="*/ 98 h 153"/>
              <a:gd name="T34" fmla="*/ 130 w 160"/>
              <a:gd name="T35" fmla="*/ 149 h 153"/>
              <a:gd name="T36" fmla="*/ 129 w 160"/>
              <a:gd name="T37" fmla="*/ 152 h 153"/>
              <a:gd name="T38" fmla="*/ 126 w 160"/>
              <a:gd name="T39" fmla="*/ 152 h 153"/>
              <a:gd name="T40" fmla="*/ 80 w 160"/>
              <a:gd name="T41" fmla="*/ 128 h 153"/>
              <a:gd name="T42" fmla="*/ 34 w 160"/>
              <a:gd name="T43" fmla="*/ 152 h 153"/>
              <a:gd name="T44" fmla="*/ 32 w 160"/>
              <a:gd name="T45" fmla="*/ 152 h 153"/>
              <a:gd name="T46" fmla="*/ 9 w 160"/>
              <a:gd name="T47" fmla="*/ 61 h 153"/>
              <a:gd name="T48" fmla="*/ 43 w 160"/>
              <a:gd name="T49" fmla="*/ 94 h 153"/>
              <a:gd name="T50" fmla="*/ 44 w 160"/>
              <a:gd name="T51" fmla="*/ 97 h 153"/>
              <a:gd name="T52" fmla="*/ 36 w 160"/>
              <a:gd name="T53" fmla="*/ 144 h 153"/>
              <a:gd name="T54" fmla="*/ 79 w 160"/>
              <a:gd name="T55" fmla="*/ 122 h 153"/>
              <a:gd name="T56" fmla="*/ 81 w 160"/>
              <a:gd name="T57" fmla="*/ 122 h 153"/>
              <a:gd name="T58" fmla="*/ 124 w 160"/>
              <a:gd name="T59" fmla="*/ 144 h 153"/>
              <a:gd name="T60" fmla="*/ 116 w 160"/>
              <a:gd name="T61" fmla="*/ 97 h 153"/>
              <a:gd name="T62" fmla="*/ 117 w 160"/>
              <a:gd name="T63" fmla="*/ 94 h 153"/>
              <a:gd name="T64" fmla="*/ 151 w 160"/>
              <a:gd name="T65" fmla="*/ 61 h 153"/>
              <a:gd name="T66" fmla="*/ 103 w 160"/>
              <a:gd name="T67" fmla="*/ 54 h 153"/>
              <a:gd name="T68" fmla="*/ 101 w 160"/>
              <a:gd name="T69" fmla="*/ 52 h 153"/>
              <a:gd name="T70" fmla="*/ 80 w 160"/>
              <a:gd name="T71" fmla="*/ 9 h 153"/>
              <a:gd name="T72" fmla="*/ 59 w 160"/>
              <a:gd name="T73" fmla="*/ 52 h 153"/>
              <a:gd name="T74" fmla="*/ 57 w 160"/>
              <a:gd name="T75" fmla="*/ 54 h 153"/>
              <a:gd name="T76" fmla="*/ 9 w 160"/>
              <a:gd name="T77"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53">
                <a:moveTo>
                  <a:pt x="32" y="152"/>
                </a:moveTo>
                <a:cubicBezTo>
                  <a:pt x="32" y="152"/>
                  <a:pt x="31" y="152"/>
                  <a:pt x="31" y="152"/>
                </a:cubicBezTo>
                <a:cubicBezTo>
                  <a:pt x="30" y="151"/>
                  <a:pt x="29" y="150"/>
                  <a:pt x="30" y="149"/>
                </a:cubicBezTo>
                <a:cubicBezTo>
                  <a:pt x="38" y="98"/>
                  <a:pt x="38" y="98"/>
                  <a:pt x="38" y="98"/>
                </a:cubicBezTo>
                <a:cubicBezTo>
                  <a:pt x="1" y="61"/>
                  <a:pt x="1" y="61"/>
                  <a:pt x="1" y="61"/>
                </a:cubicBezTo>
                <a:cubicBezTo>
                  <a:pt x="0" y="60"/>
                  <a:pt x="0" y="59"/>
                  <a:pt x="0" y="58"/>
                </a:cubicBezTo>
                <a:cubicBezTo>
                  <a:pt x="0" y="57"/>
                  <a:pt x="1" y="56"/>
                  <a:pt x="2" y="56"/>
                </a:cubicBezTo>
                <a:cubicBezTo>
                  <a:pt x="54" y="49"/>
                  <a:pt x="54" y="49"/>
                  <a:pt x="54" y="49"/>
                </a:cubicBezTo>
                <a:cubicBezTo>
                  <a:pt x="77" y="2"/>
                  <a:pt x="77" y="2"/>
                  <a:pt x="77" y="2"/>
                </a:cubicBezTo>
                <a:cubicBezTo>
                  <a:pt x="78" y="1"/>
                  <a:pt x="79" y="0"/>
                  <a:pt x="80" y="0"/>
                </a:cubicBezTo>
                <a:cubicBezTo>
                  <a:pt x="80" y="0"/>
                  <a:pt x="80" y="0"/>
                  <a:pt x="80" y="0"/>
                </a:cubicBezTo>
                <a:cubicBezTo>
                  <a:pt x="81" y="0"/>
                  <a:pt x="82" y="1"/>
                  <a:pt x="83" y="2"/>
                </a:cubicBezTo>
                <a:cubicBezTo>
                  <a:pt x="106" y="49"/>
                  <a:pt x="106" y="49"/>
                  <a:pt x="106" y="49"/>
                </a:cubicBezTo>
                <a:cubicBezTo>
                  <a:pt x="158" y="56"/>
                  <a:pt x="158" y="56"/>
                  <a:pt x="158" y="56"/>
                </a:cubicBezTo>
                <a:cubicBezTo>
                  <a:pt x="159" y="56"/>
                  <a:pt x="160" y="57"/>
                  <a:pt x="160" y="58"/>
                </a:cubicBezTo>
                <a:cubicBezTo>
                  <a:pt x="160" y="59"/>
                  <a:pt x="160" y="60"/>
                  <a:pt x="159" y="61"/>
                </a:cubicBezTo>
                <a:cubicBezTo>
                  <a:pt x="122" y="98"/>
                  <a:pt x="122" y="98"/>
                  <a:pt x="122" y="98"/>
                </a:cubicBezTo>
                <a:cubicBezTo>
                  <a:pt x="130" y="149"/>
                  <a:pt x="130" y="149"/>
                  <a:pt x="130" y="149"/>
                </a:cubicBezTo>
                <a:cubicBezTo>
                  <a:pt x="131" y="150"/>
                  <a:pt x="130" y="151"/>
                  <a:pt x="129" y="152"/>
                </a:cubicBezTo>
                <a:cubicBezTo>
                  <a:pt x="128" y="153"/>
                  <a:pt x="127" y="153"/>
                  <a:pt x="126" y="152"/>
                </a:cubicBezTo>
                <a:cubicBezTo>
                  <a:pt x="80" y="128"/>
                  <a:pt x="80" y="128"/>
                  <a:pt x="80" y="128"/>
                </a:cubicBezTo>
                <a:cubicBezTo>
                  <a:pt x="34" y="152"/>
                  <a:pt x="34" y="152"/>
                  <a:pt x="34" y="152"/>
                </a:cubicBezTo>
                <a:cubicBezTo>
                  <a:pt x="33" y="152"/>
                  <a:pt x="33" y="152"/>
                  <a:pt x="32" y="152"/>
                </a:cubicBezTo>
                <a:close/>
                <a:moveTo>
                  <a:pt x="9" y="61"/>
                </a:moveTo>
                <a:cubicBezTo>
                  <a:pt x="43" y="94"/>
                  <a:pt x="43" y="94"/>
                  <a:pt x="43" y="94"/>
                </a:cubicBezTo>
                <a:cubicBezTo>
                  <a:pt x="44" y="95"/>
                  <a:pt x="44" y="96"/>
                  <a:pt x="44" y="97"/>
                </a:cubicBezTo>
                <a:cubicBezTo>
                  <a:pt x="36" y="144"/>
                  <a:pt x="36" y="144"/>
                  <a:pt x="36" y="144"/>
                </a:cubicBezTo>
                <a:cubicBezTo>
                  <a:pt x="79" y="122"/>
                  <a:pt x="79" y="122"/>
                  <a:pt x="79" y="122"/>
                </a:cubicBezTo>
                <a:cubicBezTo>
                  <a:pt x="80" y="122"/>
                  <a:pt x="80" y="122"/>
                  <a:pt x="81" y="122"/>
                </a:cubicBezTo>
                <a:cubicBezTo>
                  <a:pt x="124" y="144"/>
                  <a:pt x="124" y="144"/>
                  <a:pt x="124" y="144"/>
                </a:cubicBezTo>
                <a:cubicBezTo>
                  <a:pt x="116" y="97"/>
                  <a:pt x="116" y="97"/>
                  <a:pt x="116" y="97"/>
                </a:cubicBezTo>
                <a:cubicBezTo>
                  <a:pt x="116" y="96"/>
                  <a:pt x="116" y="95"/>
                  <a:pt x="117" y="94"/>
                </a:cubicBezTo>
                <a:cubicBezTo>
                  <a:pt x="151" y="61"/>
                  <a:pt x="151" y="61"/>
                  <a:pt x="151" y="61"/>
                </a:cubicBezTo>
                <a:cubicBezTo>
                  <a:pt x="103" y="54"/>
                  <a:pt x="103" y="54"/>
                  <a:pt x="103" y="54"/>
                </a:cubicBezTo>
                <a:cubicBezTo>
                  <a:pt x="102" y="54"/>
                  <a:pt x="102" y="53"/>
                  <a:pt x="101" y="52"/>
                </a:cubicBezTo>
                <a:cubicBezTo>
                  <a:pt x="80" y="9"/>
                  <a:pt x="80" y="9"/>
                  <a:pt x="80" y="9"/>
                </a:cubicBezTo>
                <a:cubicBezTo>
                  <a:pt x="59" y="52"/>
                  <a:pt x="59" y="52"/>
                  <a:pt x="59" y="52"/>
                </a:cubicBezTo>
                <a:cubicBezTo>
                  <a:pt x="58" y="53"/>
                  <a:pt x="58" y="54"/>
                  <a:pt x="57" y="54"/>
                </a:cubicBezTo>
                <a:lnTo>
                  <a:pt x="9" y="61"/>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8">
            <a:extLst>
              <a:ext uri="{FF2B5EF4-FFF2-40B4-BE49-F238E27FC236}">
                <a16:creationId xmlns:a16="http://schemas.microsoft.com/office/drawing/2014/main" id="{6296D5CD-2600-F646-BC86-4740BBFD055C}"/>
              </a:ext>
            </a:extLst>
          </p:cNvPr>
          <p:cNvSpPr>
            <a:spLocks noEditPoints="1"/>
          </p:cNvSpPr>
          <p:nvPr/>
        </p:nvSpPr>
        <p:spPr bwMode="auto">
          <a:xfrm>
            <a:off x="1634816" y="3124200"/>
            <a:ext cx="608013" cy="582613"/>
          </a:xfrm>
          <a:custGeom>
            <a:avLst/>
            <a:gdLst>
              <a:gd name="T0" fmla="*/ 158 w 162"/>
              <a:gd name="T1" fmla="*/ 69 h 154"/>
              <a:gd name="T2" fmla="*/ 160 w 162"/>
              <a:gd name="T3" fmla="*/ 58 h 154"/>
              <a:gd name="T4" fmla="*/ 151 w 162"/>
              <a:gd name="T5" fmla="*/ 50 h 154"/>
              <a:gd name="T6" fmla="*/ 112 w 162"/>
              <a:gd name="T7" fmla="*/ 44 h 154"/>
              <a:gd name="T8" fmla="*/ 109 w 162"/>
              <a:gd name="T9" fmla="*/ 42 h 154"/>
              <a:gd name="T10" fmla="*/ 91 w 162"/>
              <a:gd name="T11" fmla="*/ 6 h 154"/>
              <a:gd name="T12" fmla="*/ 81 w 162"/>
              <a:gd name="T13" fmla="*/ 0 h 154"/>
              <a:gd name="T14" fmla="*/ 71 w 162"/>
              <a:gd name="T15" fmla="*/ 6 h 154"/>
              <a:gd name="T16" fmla="*/ 53 w 162"/>
              <a:gd name="T17" fmla="*/ 42 h 154"/>
              <a:gd name="T18" fmla="*/ 50 w 162"/>
              <a:gd name="T19" fmla="*/ 44 h 154"/>
              <a:gd name="T20" fmla="*/ 11 w 162"/>
              <a:gd name="T21" fmla="*/ 50 h 154"/>
              <a:gd name="T22" fmla="*/ 2 w 162"/>
              <a:gd name="T23" fmla="*/ 58 h 154"/>
              <a:gd name="T24" fmla="*/ 4 w 162"/>
              <a:gd name="T25" fmla="*/ 69 h 154"/>
              <a:gd name="T26" fmla="*/ 33 w 162"/>
              <a:gd name="T27" fmla="*/ 97 h 154"/>
              <a:gd name="T28" fmla="*/ 34 w 162"/>
              <a:gd name="T29" fmla="*/ 101 h 154"/>
              <a:gd name="T30" fmla="*/ 27 w 162"/>
              <a:gd name="T31" fmla="*/ 140 h 154"/>
              <a:gd name="T32" fmla="*/ 32 w 162"/>
              <a:gd name="T33" fmla="*/ 151 h 154"/>
              <a:gd name="T34" fmla="*/ 44 w 162"/>
              <a:gd name="T35" fmla="*/ 152 h 154"/>
              <a:gd name="T36" fmla="*/ 79 w 162"/>
              <a:gd name="T37" fmla="*/ 134 h 154"/>
              <a:gd name="T38" fmla="*/ 83 w 162"/>
              <a:gd name="T39" fmla="*/ 134 h 154"/>
              <a:gd name="T40" fmla="*/ 118 w 162"/>
              <a:gd name="T41" fmla="*/ 152 h 154"/>
              <a:gd name="T42" fmla="*/ 123 w 162"/>
              <a:gd name="T43" fmla="*/ 153 h 154"/>
              <a:gd name="T44" fmla="*/ 130 w 162"/>
              <a:gd name="T45" fmla="*/ 151 h 154"/>
              <a:gd name="T46" fmla="*/ 135 w 162"/>
              <a:gd name="T47" fmla="*/ 140 h 154"/>
              <a:gd name="T48" fmla="*/ 128 w 162"/>
              <a:gd name="T49" fmla="*/ 101 h 154"/>
              <a:gd name="T50" fmla="*/ 129 w 162"/>
              <a:gd name="T51" fmla="*/ 97 h 154"/>
              <a:gd name="T52" fmla="*/ 158 w 162"/>
              <a:gd name="T53" fmla="*/ 69 h 154"/>
              <a:gd name="T54" fmla="*/ 122 w 162"/>
              <a:gd name="T55" fmla="*/ 102 h 154"/>
              <a:gd name="T56" fmla="*/ 128 w 162"/>
              <a:gd name="T57" fmla="*/ 141 h 154"/>
              <a:gd name="T58" fmla="*/ 126 w 162"/>
              <a:gd name="T59" fmla="*/ 146 h 154"/>
              <a:gd name="T60" fmla="*/ 121 w 162"/>
              <a:gd name="T61" fmla="*/ 146 h 154"/>
              <a:gd name="T62" fmla="*/ 86 w 162"/>
              <a:gd name="T63" fmla="*/ 128 h 154"/>
              <a:gd name="T64" fmla="*/ 81 w 162"/>
              <a:gd name="T65" fmla="*/ 127 h 154"/>
              <a:gd name="T66" fmla="*/ 76 w 162"/>
              <a:gd name="T67" fmla="*/ 128 h 154"/>
              <a:gd name="T68" fmla="*/ 41 w 162"/>
              <a:gd name="T69" fmla="*/ 146 h 154"/>
              <a:gd name="T70" fmla="*/ 36 w 162"/>
              <a:gd name="T71" fmla="*/ 146 h 154"/>
              <a:gd name="T72" fmla="*/ 34 w 162"/>
              <a:gd name="T73" fmla="*/ 141 h 154"/>
              <a:gd name="T74" fmla="*/ 40 w 162"/>
              <a:gd name="T75" fmla="*/ 102 h 154"/>
              <a:gd name="T76" fmla="*/ 37 w 162"/>
              <a:gd name="T77" fmla="*/ 92 h 154"/>
              <a:gd name="T78" fmla="*/ 9 w 162"/>
              <a:gd name="T79" fmla="*/ 65 h 154"/>
              <a:gd name="T80" fmla="*/ 8 w 162"/>
              <a:gd name="T81" fmla="*/ 60 h 154"/>
              <a:gd name="T82" fmla="*/ 12 w 162"/>
              <a:gd name="T83" fmla="*/ 56 h 154"/>
              <a:gd name="T84" fmla="*/ 50 w 162"/>
              <a:gd name="T85" fmla="*/ 51 h 154"/>
              <a:gd name="T86" fmla="*/ 59 w 162"/>
              <a:gd name="T87" fmla="*/ 44 h 154"/>
              <a:gd name="T88" fmla="*/ 76 w 162"/>
              <a:gd name="T89" fmla="*/ 9 h 154"/>
              <a:gd name="T90" fmla="*/ 81 w 162"/>
              <a:gd name="T91" fmla="*/ 6 h 154"/>
              <a:gd name="T92" fmla="*/ 86 w 162"/>
              <a:gd name="T93" fmla="*/ 9 h 154"/>
              <a:gd name="T94" fmla="*/ 103 w 162"/>
              <a:gd name="T95" fmla="*/ 44 h 154"/>
              <a:gd name="T96" fmla="*/ 112 w 162"/>
              <a:gd name="T97" fmla="*/ 51 h 154"/>
              <a:gd name="T98" fmla="*/ 150 w 162"/>
              <a:gd name="T99" fmla="*/ 56 h 154"/>
              <a:gd name="T100" fmla="*/ 154 w 162"/>
              <a:gd name="T101" fmla="*/ 60 h 154"/>
              <a:gd name="T102" fmla="*/ 153 w 162"/>
              <a:gd name="T103" fmla="*/ 65 h 154"/>
              <a:gd name="T104" fmla="*/ 125 w 162"/>
              <a:gd name="T105" fmla="*/ 92 h 154"/>
              <a:gd name="T106" fmla="*/ 122 w 162"/>
              <a:gd name="T107" fmla="*/ 10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54">
                <a:moveTo>
                  <a:pt x="158" y="69"/>
                </a:moveTo>
                <a:cubicBezTo>
                  <a:pt x="161" y="66"/>
                  <a:pt x="162" y="62"/>
                  <a:pt x="160" y="58"/>
                </a:cubicBezTo>
                <a:cubicBezTo>
                  <a:pt x="159" y="54"/>
                  <a:pt x="156" y="51"/>
                  <a:pt x="151" y="50"/>
                </a:cubicBezTo>
                <a:cubicBezTo>
                  <a:pt x="112" y="44"/>
                  <a:pt x="112" y="44"/>
                  <a:pt x="112" y="44"/>
                </a:cubicBezTo>
                <a:cubicBezTo>
                  <a:pt x="111" y="44"/>
                  <a:pt x="109" y="43"/>
                  <a:pt x="109" y="42"/>
                </a:cubicBezTo>
                <a:cubicBezTo>
                  <a:pt x="91" y="6"/>
                  <a:pt x="91" y="6"/>
                  <a:pt x="91" y="6"/>
                </a:cubicBezTo>
                <a:cubicBezTo>
                  <a:pt x="89" y="2"/>
                  <a:pt x="85" y="0"/>
                  <a:pt x="81" y="0"/>
                </a:cubicBezTo>
                <a:cubicBezTo>
                  <a:pt x="77" y="0"/>
                  <a:pt x="73" y="2"/>
                  <a:pt x="71" y="6"/>
                </a:cubicBezTo>
                <a:cubicBezTo>
                  <a:pt x="53" y="42"/>
                  <a:pt x="53" y="42"/>
                  <a:pt x="53" y="42"/>
                </a:cubicBezTo>
                <a:cubicBezTo>
                  <a:pt x="53" y="43"/>
                  <a:pt x="51" y="44"/>
                  <a:pt x="50" y="44"/>
                </a:cubicBezTo>
                <a:cubicBezTo>
                  <a:pt x="11" y="50"/>
                  <a:pt x="11" y="50"/>
                  <a:pt x="11" y="50"/>
                </a:cubicBezTo>
                <a:cubicBezTo>
                  <a:pt x="6" y="51"/>
                  <a:pt x="3" y="54"/>
                  <a:pt x="2" y="58"/>
                </a:cubicBezTo>
                <a:cubicBezTo>
                  <a:pt x="0" y="62"/>
                  <a:pt x="1" y="66"/>
                  <a:pt x="4" y="69"/>
                </a:cubicBezTo>
                <a:cubicBezTo>
                  <a:pt x="33" y="97"/>
                  <a:pt x="33" y="97"/>
                  <a:pt x="33" y="97"/>
                </a:cubicBezTo>
                <a:cubicBezTo>
                  <a:pt x="34" y="98"/>
                  <a:pt x="34" y="100"/>
                  <a:pt x="34" y="101"/>
                </a:cubicBezTo>
                <a:cubicBezTo>
                  <a:pt x="27" y="140"/>
                  <a:pt x="27" y="140"/>
                  <a:pt x="27" y="140"/>
                </a:cubicBezTo>
                <a:cubicBezTo>
                  <a:pt x="27" y="144"/>
                  <a:pt x="28" y="148"/>
                  <a:pt x="32" y="151"/>
                </a:cubicBezTo>
                <a:cubicBezTo>
                  <a:pt x="35" y="154"/>
                  <a:pt x="40" y="154"/>
                  <a:pt x="44" y="152"/>
                </a:cubicBezTo>
                <a:cubicBezTo>
                  <a:pt x="79" y="134"/>
                  <a:pt x="79" y="134"/>
                  <a:pt x="79" y="134"/>
                </a:cubicBezTo>
                <a:cubicBezTo>
                  <a:pt x="80" y="133"/>
                  <a:pt x="82" y="133"/>
                  <a:pt x="83" y="134"/>
                </a:cubicBezTo>
                <a:cubicBezTo>
                  <a:pt x="118" y="152"/>
                  <a:pt x="118" y="152"/>
                  <a:pt x="118" y="152"/>
                </a:cubicBezTo>
                <a:cubicBezTo>
                  <a:pt x="120" y="153"/>
                  <a:pt x="122" y="153"/>
                  <a:pt x="123" y="153"/>
                </a:cubicBezTo>
                <a:cubicBezTo>
                  <a:pt x="126" y="153"/>
                  <a:pt x="128" y="153"/>
                  <a:pt x="130" y="151"/>
                </a:cubicBezTo>
                <a:cubicBezTo>
                  <a:pt x="134" y="148"/>
                  <a:pt x="135" y="144"/>
                  <a:pt x="135" y="140"/>
                </a:cubicBezTo>
                <a:cubicBezTo>
                  <a:pt x="128" y="101"/>
                  <a:pt x="128" y="101"/>
                  <a:pt x="128" y="101"/>
                </a:cubicBezTo>
                <a:cubicBezTo>
                  <a:pt x="128" y="100"/>
                  <a:pt x="128" y="98"/>
                  <a:pt x="129" y="97"/>
                </a:cubicBezTo>
                <a:lnTo>
                  <a:pt x="158" y="69"/>
                </a:lnTo>
                <a:close/>
                <a:moveTo>
                  <a:pt x="122" y="102"/>
                </a:moveTo>
                <a:cubicBezTo>
                  <a:pt x="128" y="141"/>
                  <a:pt x="128" y="141"/>
                  <a:pt x="128" y="141"/>
                </a:cubicBezTo>
                <a:cubicBezTo>
                  <a:pt x="129" y="143"/>
                  <a:pt x="128" y="145"/>
                  <a:pt x="126" y="146"/>
                </a:cubicBezTo>
                <a:cubicBezTo>
                  <a:pt x="125" y="147"/>
                  <a:pt x="123" y="147"/>
                  <a:pt x="121" y="146"/>
                </a:cubicBezTo>
                <a:cubicBezTo>
                  <a:pt x="86" y="128"/>
                  <a:pt x="86" y="128"/>
                  <a:pt x="86" y="128"/>
                </a:cubicBezTo>
                <a:cubicBezTo>
                  <a:pt x="85" y="127"/>
                  <a:pt x="83" y="127"/>
                  <a:pt x="81" y="127"/>
                </a:cubicBezTo>
                <a:cubicBezTo>
                  <a:pt x="79" y="127"/>
                  <a:pt x="77" y="127"/>
                  <a:pt x="76" y="128"/>
                </a:cubicBezTo>
                <a:cubicBezTo>
                  <a:pt x="41" y="146"/>
                  <a:pt x="41" y="146"/>
                  <a:pt x="41" y="146"/>
                </a:cubicBezTo>
                <a:cubicBezTo>
                  <a:pt x="39" y="147"/>
                  <a:pt x="37" y="147"/>
                  <a:pt x="36" y="146"/>
                </a:cubicBezTo>
                <a:cubicBezTo>
                  <a:pt x="34" y="145"/>
                  <a:pt x="33" y="143"/>
                  <a:pt x="34" y="141"/>
                </a:cubicBezTo>
                <a:cubicBezTo>
                  <a:pt x="40" y="102"/>
                  <a:pt x="40" y="102"/>
                  <a:pt x="40" y="102"/>
                </a:cubicBezTo>
                <a:cubicBezTo>
                  <a:pt x="41" y="99"/>
                  <a:pt x="40" y="95"/>
                  <a:pt x="37" y="92"/>
                </a:cubicBezTo>
                <a:cubicBezTo>
                  <a:pt x="9" y="65"/>
                  <a:pt x="9" y="65"/>
                  <a:pt x="9" y="65"/>
                </a:cubicBezTo>
                <a:cubicBezTo>
                  <a:pt x="8" y="64"/>
                  <a:pt x="7" y="62"/>
                  <a:pt x="8" y="60"/>
                </a:cubicBezTo>
                <a:cubicBezTo>
                  <a:pt x="8" y="58"/>
                  <a:pt x="10" y="57"/>
                  <a:pt x="12" y="56"/>
                </a:cubicBezTo>
                <a:cubicBezTo>
                  <a:pt x="50" y="51"/>
                  <a:pt x="50" y="51"/>
                  <a:pt x="50" y="51"/>
                </a:cubicBezTo>
                <a:cubicBezTo>
                  <a:pt x="54" y="50"/>
                  <a:pt x="57" y="48"/>
                  <a:pt x="59" y="44"/>
                </a:cubicBezTo>
                <a:cubicBezTo>
                  <a:pt x="76" y="9"/>
                  <a:pt x="76" y="9"/>
                  <a:pt x="76" y="9"/>
                </a:cubicBezTo>
                <a:cubicBezTo>
                  <a:pt x="77" y="7"/>
                  <a:pt x="79" y="6"/>
                  <a:pt x="81" y="6"/>
                </a:cubicBezTo>
                <a:cubicBezTo>
                  <a:pt x="83" y="6"/>
                  <a:pt x="85" y="7"/>
                  <a:pt x="86" y="9"/>
                </a:cubicBezTo>
                <a:cubicBezTo>
                  <a:pt x="103" y="44"/>
                  <a:pt x="103" y="44"/>
                  <a:pt x="103" y="44"/>
                </a:cubicBezTo>
                <a:cubicBezTo>
                  <a:pt x="105" y="48"/>
                  <a:pt x="108" y="50"/>
                  <a:pt x="112" y="51"/>
                </a:cubicBezTo>
                <a:cubicBezTo>
                  <a:pt x="150" y="56"/>
                  <a:pt x="150" y="56"/>
                  <a:pt x="150" y="56"/>
                </a:cubicBezTo>
                <a:cubicBezTo>
                  <a:pt x="152" y="57"/>
                  <a:pt x="154" y="58"/>
                  <a:pt x="154" y="60"/>
                </a:cubicBezTo>
                <a:cubicBezTo>
                  <a:pt x="155" y="62"/>
                  <a:pt x="154" y="64"/>
                  <a:pt x="153" y="65"/>
                </a:cubicBezTo>
                <a:cubicBezTo>
                  <a:pt x="125" y="92"/>
                  <a:pt x="125" y="92"/>
                  <a:pt x="125" y="92"/>
                </a:cubicBezTo>
                <a:cubicBezTo>
                  <a:pt x="122" y="95"/>
                  <a:pt x="121" y="99"/>
                  <a:pt x="122" y="102"/>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9">
            <a:extLst>
              <a:ext uri="{FF2B5EF4-FFF2-40B4-BE49-F238E27FC236}">
                <a16:creationId xmlns:a16="http://schemas.microsoft.com/office/drawing/2014/main" id="{5909037D-3B7E-F840-B3CD-0EBAFD9801FD}"/>
              </a:ext>
            </a:extLst>
          </p:cNvPr>
          <p:cNvSpPr>
            <a:spLocks noEditPoints="1"/>
          </p:cNvSpPr>
          <p:nvPr/>
        </p:nvSpPr>
        <p:spPr bwMode="auto">
          <a:xfrm>
            <a:off x="1637991" y="3805238"/>
            <a:ext cx="601663" cy="606425"/>
          </a:xfrm>
          <a:custGeom>
            <a:avLst/>
            <a:gdLst>
              <a:gd name="T0" fmla="*/ 43 w 160"/>
              <a:gd name="T1" fmla="*/ 117 h 160"/>
              <a:gd name="T2" fmla="*/ 117 w 160"/>
              <a:gd name="T3" fmla="*/ 117 h 160"/>
              <a:gd name="T4" fmla="*/ 117 w 160"/>
              <a:gd name="T5" fmla="*/ 43 h 160"/>
              <a:gd name="T6" fmla="*/ 43 w 160"/>
              <a:gd name="T7" fmla="*/ 43 h 160"/>
              <a:gd name="T8" fmla="*/ 43 w 160"/>
              <a:gd name="T9" fmla="*/ 117 h 160"/>
              <a:gd name="T10" fmla="*/ 48 w 160"/>
              <a:gd name="T11" fmla="*/ 48 h 160"/>
              <a:gd name="T12" fmla="*/ 112 w 160"/>
              <a:gd name="T13" fmla="*/ 48 h 160"/>
              <a:gd name="T14" fmla="*/ 112 w 160"/>
              <a:gd name="T15" fmla="*/ 112 h 160"/>
              <a:gd name="T16" fmla="*/ 48 w 160"/>
              <a:gd name="T17" fmla="*/ 112 h 160"/>
              <a:gd name="T18" fmla="*/ 48 w 160"/>
              <a:gd name="T19" fmla="*/ 48 h 160"/>
              <a:gd name="T20" fmla="*/ 80 w 160"/>
              <a:gd name="T21" fmla="*/ 0 h 160"/>
              <a:gd name="T22" fmla="*/ 0 w 160"/>
              <a:gd name="T23" fmla="*/ 80 h 160"/>
              <a:gd name="T24" fmla="*/ 80 w 160"/>
              <a:gd name="T25" fmla="*/ 160 h 160"/>
              <a:gd name="T26" fmla="*/ 160 w 160"/>
              <a:gd name="T27" fmla="*/ 80 h 160"/>
              <a:gd name="T28" fmla="*/ 80 w 160"/>
              <a:gd name="T29" fmla="*/ 0 h 160"/>
              <a:gd name="T30" fmla="*/ 80 w 160"/>
              <a:gd name="T31" fmla="*/ 155 h 160"/>
              <a:gd name="T32" fmla="*/ 5 w 160"/>
              <a:gd name="T33" fmla="*/ 80 h 160"/>
              <a:gd name="T34" fmla="*/ 80 w 160"/>
              <a:gd name="T35" fmla="*/ 5 h 160"/>
              <a:gd name="T36" fmla="*/ 155 w 160"/>
              <a:gd name="T37" fmla="*/ 80 h 160"/>
              <a:gd name="T38" fmla="*/ 80 w 160"/>
              <a:gd name="T3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60">
                <a:moveTo>
                  <a:pt x="43" y="117"/>
                </a:moveTo>
                <a:cubicBezTo>
                  <a:pt x="117" y="117"/>
                  <a:pt x="117" y="117"/>
                  <a:pt x="117" y="117"/>
                </a:cubicBezTo>
                <a:cubicBezTo>
                  <a:pt x="117" y="43"/>
                  <a:pt x="117" y="43"/>
                  <a:pt x="117" y="43"/>
                </a:cubicBezTo>
                <a:cubicBezTo>
                  <a:pt x="43" y="43"/>
                  <a:pt x="43" y="43"/>
                  <a:pt x="43" y="43"/>
                </a:cubicBezTo>
                <a:lnTo>
                  <a:pt x="43" y="117"/>
                </a:lnTo>
                <a:close/>
                <a:moveTo>
                  <a:pt x="48" y="48"/>
                </a:moveTo>
                <a:cubicBezTo>
                  <a:pt x="112" y="48"/>
                  <a:pt x="112" y="48"/>
                  <a:pt x="112" y="48"/>
                </a:cubicBezTo>
                <a:cubicBezTo>
                  <a:pt x="112" y="112"/>
                  <a:pt x="112" y="112"/>
                  <a:pt x="112" y="112"/>
                </a:cubicBezTo>
                <a:cubicBezTo>
                  <a:pt x="48" y="112"/>
                  <a:pt x="48" y="112"/>
                  <a:pt x="48" y="112"/>
                </a:cubicBezTo>
                <a:lnTo>
                  <a:pt x="48" y="48"/>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20">
            <a:extLst>
              <a:ext uri="{FF2B5EF4-FFF2-40B4-BE49-F238E27FC236}">
                <a16:creationId xmlns:a16="http://schemas.microsoft.com/office/drawing/2014/main" id="{B8828D5D-2803-6D40-9B9A-90FF8A7FA727}"/>
              </a:ext>
            </a:extLst>
          </p:cNvPr>
          <p:cNvSpPr>
            <a:spLocks noEditPoints="1"/>
          </p:cNvSpPr>
          <p:nvPr/>
        </p:nvSpPr>
        <p:spPr bwMode="auto">
          <a:xfrm>
            <a:off x="1637991" y="4486275"/>
            <a:ext cx="601663" cy="606425"/>
          </a:xfrm>
          <a:custGeom>
            <a:avLst/>
            <a:gdLst>
              <a:gd name="T0" fmla="*/ 156 w 160"/>
              <a:gd name="T1" fmla="*/ 0 h 160"/>
              <a:gd name="T2" fmla="*/ 4 w 160"/>
              <a:gd name="T3" fmla="*/ 0 h 160"/>
              <a:gd name="T4" fmla="*/ 0 w 160"/>
              <a:gd name="T5" fmla="*/ 4 h 160"/>
              <a:gd name="T6" fmla="*/ 0 w 160"/>
              <a:gd name="T7" fmla="*/ 156 h 160"/>
              <a:gd name="T8" fmla="*/ 4 w 160"/>
              <a:gd name="T9" fmla="*/ 160 h 160"/>
              <a:gd name="T10" fmla="*/ 156 w 160"/>
              <a:gd name="T11" fmla="*/ 160 h 160"/>
              <a:gd name="T12" fmla="*/ 160 w 160"/>
              <a:gd name="T13" fmla="*/ 156 h 160"/>
              <a:gd name="T14" fmla="*/ 160 w 160"/>
              <a:gd name="T15" fmla="*/ 4 h 160"/>
              <a:gd name="T16" fmla="*/ 156 w 160"/>
              <a:gd name="T17" fmla="*/ 0 h 160"/>
              <a:gd name="T18" fmla="*/ 151 w 160"/>
              <a:gd name="T19" fmla="*/ 151 h 160"/>
              <a:gd name="T20" fmla="*/ 9 w 160"/>
              <a:gd name="T21" fmla="*/ 151 h 160"/>
              <a:gd name="T22" fmla="*/ 9 w 160"/>
              <a:gd name="T23" fmla="*/ 9 h 160"/>
              <a:gd name="T24" fmla="*/ 151 w 160"/>
              <a:gd name="T25" fmla="*/ 9 h 160"/>
              <a:gd name="T26" fmla="*/ 151 w 160"/>
              <a:gd name="T27" fmla="*/ 15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160">
                <a:moveTo>
                  <a:pt x="156" y="0"/>
                </a:moveTo>
                <a:cubicBezTo>
                  <a:pt x="4" y="0"/>
                  <a:pt x="4" y="0"/>
                  <a:pt x="4" y="0"/>
                </a:cubicBezTo>
                <a:cubicBezTo>
                  <a:pt x="2" y="0"/>
                  <a:pt x="0" y="2"/>
                  <a:pt x="0" y="4"/>
                </a:cubicBezTo>
                <a:cubicBezTo>
                  <a:pt x="0" y="156"/>
                  <a:pt x="0" y="156"/>
                  <a:pt x="0" y="156"/>
                </a:cubicBezTo>
                <a:cubicBezTo>
                  <a:pt x="0" y="158"/>
                  <a:pt x="2" y="160"/>
                  <a:pt x="4" y="160"/>
                </a:cubicBezTo>
                <a:cubicBezTo>
                  <a:pt x="156" y="160"/>
                  <a:pt x="156" y="160"/>
                  <a:pt x="156" y="160"/>
                </a:cubicBezTo>
                <a:cubicBezTo>
                  <a:pt x="158" y="160"/>
                  <a:pt x="160" y="158"/>
                  <a:pt x="160" y="156"/>
                </a:cubicBezTo>
                <a:cubicBezTo>
                  <a:pt x="160" y="4"/>
                  <a:pt x="160" y="4"/>
                  <a:pt x="160" y="4"/>
                </a:cubicBezTo>
                <a:cubicBezTo>
                  <a:pt x="160" y="2"/>
                  <a:pt x="158" y="0"/>
                  <a:pt x="156" y="0"/>
                </a:cubicBezTo>
                <a:close/>
                <a:moveTo>
                  <a:pt x="151" y="151"/>
                </a:moveTo>
                <a:cubicBezTo>
                  <a:pt x="9" y="151"/>
                  <a:pt x="9" y="151"/>
                  <a:pt x="9" y="151"/>
                </a:cubicBezTo>
                <a:cubicBezTo>
                  <a:pt x="9" y="9"/>
                  <a:pt x="9" y="9"/>
                  <a:pt x="9" y="9"/>
                </a:cubicBezTo>
                <a:cubicBezTo>
                  <a:pt x="151" y="9"/>
                  <a:pt x="151" y="9"/>
                  <a:pt x="151" y="9"/>
                </a:cubicBezTo>
                <a:lnTo>
                  <a:pt x="151" y="151"/>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21">
            <a:extLst>
              <a:ext uri="{FF2B5EF4-FFF2-40B4-BE49-F238E27FC236}">
                <a16:creationId xmlns:a16="http://schemas.microsoft.com/office/drawing/2014/main" id="{40643758-B9EF-324B-8D70-A5160AB0F977}"/>
              </a:ext>
            </a:extLst>
          </p:cNvPr>
          <p:cNvSpPr>
            <a:spLocks noEditPoints="1"/>
          </p:cNvSpPr>
          <p:nvPr/>
        </p:nvSpPr>
        <p:spPr bwMode="auto">
          <a:xfrm>
            <a:off x="1668154" y="5167313"/>
            <a:ext cx="552450" cy="606425"/>
          </a:xfrm>
          <a:custGeom>
            <a:avLst/>
            <a:gdLst>
              <a:gd name="T0" fmla="*/ 67 w 147"/>
              <a:gd name="T1" fmla="*/ 95 h 160"/>
              <a:gd name="T2" fmla="*/ 80 w 147"/>
              <a:gd name="T3" fmla="*/ 81 h 160"/>
              <a:gd name="T4" fmla="*/ 77 w 147"/>
              <a:gd name="T5" fmla="*/ 86 h 160"/>
              <a:gd name="T6" fmla="*/ 143 w 147"/>
              <a:gd name="T7" fmla="*/ 69 h 160"/>
              <a:gd name="T8" fmla="*/ 132 w 147"/>
              <a:gd name="T9" fmla="*/ 33 h 160"/>
              <a:gd name="T10" fmla="*/ 128 w 147"/>
              <a:gd name="T11" fmla="*/ 30 h 160"/>
              <a:gd name="T12" fmla="*/ 92 w 147"/>
              <a:gd name="T13" fmla="*/ 18 h 160"/>
              <a:gd name="T14" fmla="*/ 86 w 147"/>
              <a:gd name="T15" fmla="*/ 13 h 160"/>
              <a:gd name="T16" fmla="*/ 62 w 147"/>
              <a:gd name="T17" fmla="*/ 13 h 160"/>
              <a:gd name="T18" fmla="*/ 55 w 147"/>
              <a:gd name="T19" fmla="*/ 18 h 160"/>
              <a:gd name="T20" fmla="*/ 19 w 147"/>
              <a:gd name="T21" fmla="*/ 30 h 160"/>
              <a:gd name="T22" fmla="*/ 15 w 147"/>
              <a:gd name="T23" fmla="*/ 33 h 160"/>
              <a:gd name="T24" fmla="*/ 4 w 147"/>
              <a:gd name="T25" fmla="*/ 69 h 160"/>
              <a:gd name="T26" fmla="*/ 4 w 147"/>
              <a:gd name="T27" fmla="*/ 107 h 160"/>
              <a:gd name="T28" fmla="*/ 23 w 147"/>
              <a:gd name="T29" fmla="*/ 139 h 160"/>
              <a:gd name="T30" fmla="*/ 38 w 147"/>
              <a:gd name="T31" fmla="*/ 150 h 160"/>
              <a:gd name="T32" fmla="*/ 92 w 147"/>
              <a:gd name="T33" fmla="*/ 158 h 160"/>
              <a:gd name="T34" fmla="*/ 110 w 147"/>
              <a:gd name="T35" fmla="*/ 150 h 160"/>
              <a:gd name="T36" fmla="*/ 136 w 147"/>
              <a:gd name="T37" fmla="*/ 124 h 160"/>
              <a:gd name="T38" fmla="*/ 146 w 147"/>
              <a:gd name="T39" fmla="*/ 88 h 160"/>
              <a:gd name="T40" fmla="*/ 132 w 147"/>
              <a:gd name="T41" fmla="*/ 26 h 160"/>
              <a:gd name="T42" fmla="*/ 11 w 147"/>
              <a:gd name="T43" fmla="*/ 30 h 160"/>
              <a:gd name="T44" fmla="*/ 128 w 147"/>
              <a:gd name="T45" fmla="*/ 116 h 160"/>
              <a:gd name="T46" fmla="*/ 119 w 147"/>
              <a:gd name="T47" fmla="*/ 129 h 160"/>
              <a:gd name="T48" fmla="*/ 107 w 147"/>
              <a:gd name="T49" fmla="*/ 140 h 160"/>
              <a:gd name="T50" fmla="*/ 92 w 147"/>
              <a:gd name="T51" fmla="*/ 147 h 160"/>
              <a:gd name="T52" fmla="*/ 76 w 147"/>
              <a:gd name="T53" fmla="*/ 149 h 160"/>
              <a:gd name="T54" fmla="*/ 60 w 147"/>
              <a:gd name="T55" fmla="*/ 148 h 160"/>
              <a:gd name="T56" fmla="*/ 45 w 147"/>
              <a:gd name="T57" fmla="*/ 142 h 160"/>
              <a:gd name="T58" fmla="*/ 32 w 147"/>
              <a:gd name="T59" fmla="*/ 133 h 160"/>
              <a:gd name="T60" fmla="*/ 22 w 147"/>
              <a:gd name="T61" fmla="*/ 121 h 160"/>
              <a:gd name="T62" fmla="*/ 15 w 147"/>
              <a:gd name="T63" fmla="*/ 106 h 160"/>
              <a:gd name="T64" fmla="*/ 12 w 147"/>
              <a:gd name="T65" fmla="*/ 91 h 160"/>
              <a:gd name="T66" fmla="*/ 14 w 147"/>
              <a:gd name="T67" fmla="*/ 75 h 160"/>
              <a:gd name="T68" fmla="*/ 15 w 147"/>
              <a:gd name="T69" fmla="*/ 57 h 160"/>
              <a:gd name="T70" fmla="*/ 17 w 147"/>
              <a:gd name="T71" fmla="*/ 52 h 160"/>
              <a:gd name="T72" fmla="*/ 32 w 147"/>
              <a:gd name="T73" fmla="*/ 43 h 160"/>
              <a:gd name="T74" fmla="*/ 44 w 147"/>
              <a:gd name="T75" fmla="*/ 37 h 160"/>
              <a:gd name="T76" fmla="*/ 58 w 147"/>
              <a:gd name="T77" fmla="*/ 31 h 160"/>
              <a:gd name="T78" fmla="*/ 71 w 147"/>
              <a:gd name="T79" fmla="*/ 21 h 160"/>
              <a:gd name="T80" fmla="*/ 76 w 147"/>
              <a:gd name="T81" fmla="*/ 21 h 160"/>
              <a:gd name="T82" fmla="*/ 89 w 147"/>
              <a:gd name="T83" fmla="*/ 31 h 160"/>
              <a:gd name="T84" fmla="*/ 102 w 147"/>
              <a:gd name="T85" fmla="*/ 34 h 160"/>
              <a:gd name="T86" fmla="*/ 119 w 147"/>
              <a:gd name="T87" fmla="*/ 39 h 160"/>
              <a:gd name="T88" fmla="*/ 123 w 147"/>
              <a:gd name="T89" fmla="*/ 43 h 160"/>
              <a:gd name="T90" fmla="*/ 128 w 147"/>
              <a:gd name="T91" fmla="*/ 60 h 160"/>
              <a:gd name="T92" fmla="*/ 133 w 147"/>
              <a:gd name="T93" fmla="*/ 75 h 160"/>
              <a:gd name="T94" fmla="*/ 132 w 147"/>
              <a:gd name="T95" fmla="*/ 88 h 160"/>
              <a:gd name="T96" fmla="*/ 130 w 147"/>
              <a:gd name="T97" fmla="*/ 103 h 160"/>
              <a:gd name="T98" fmla="*/ 60 w 147"/>
              <a:gd name="T99" fmla="*/ 7 h 160"/>
              <a:gd name="T100" fmla="*/ 76 w 147"/>
              <a:gd name="T101"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 h="160">
                <a:moveTo>
                  <a:pt x="80" y="81"/>
                </a:moveTo>
                <a:cubicBezTo>
                  <a:pt x="46" y="57"/>
                  <a:pt x="46" y="57"/>
                  <a:pt x="46" y="57"/>
                </a:cubicBezTo>
                <a:cubicBezTo>
                  <a:pt x="45" y="56"/>
                  <a:pt x="43" y="56"/>
                  <a:pt x="42" y="57"/>
                </a:cubicBezTo>
                <a:cubicBezTo>
                  <a:pt x="41" y="58"/>
                  <a:pt x="41" y="59"/>
                  <a:pt x="42" y="60"/>
                </a:cubicBezTo>
                <a:cubicBezTo>
                  <a:pt x="67" y="95"/>
                  <a:pt x="67" y="95"/>
                  <a:pt x="67" y="95"/>
                </a:cubicBezTo>
                <a:cubicBezTo>
                  <a:pt x="69" y="97"/>
                  <a:pt x="71" y="98"/>
                  <a:pt x="74" y="99"/>
                </a:cubicBezTo>
                <a:cubicBezTo>
                  <a:pt x="74" y="99"/>
                  <a:pt x="74" y="99"/>
                  <a:pt x="75" y="99"/>
                </a:cubicBezTo>
                <a:cubicBezTo>
                  <a:pt x="77" y="99"/>
                  <a:pt x="80" y="98"/>
                  <a:pt x="81" y="96"/>
                </a:cubicBezTo>
                <a:cubicBezTo>
                  <a:pt x="83" y="94"/>
                  <a:pt x="84" y="91"/>
                  <a:pt x="84" y="88"/>
                </a:cubicBezTo>
                <a:cubicBezTo>
                  <a:pt x="84" y="86"/>
                  <a:pt x="83" y="83"/>
                  <a:pt x="80" y="81"/>
                </a:cubicBezTo>
                <a:close/>
                <a:moveTo>
                  <a:pt x="78" y="92"/>
                </a:moveTo>
                <a:cubicBezTo>
                  <a:pt x="77" y="93"/>
                  <a:pt x="76" y="93"/>
                  <a:pt x="74" y="93"/>
                </a:cubicBezTo>
                <a:cubicBezTo>
                  <a:pt x="73" y="93"/>
                  <a:pt x="72" y="93"/>
                  <a:pt x="71" y="92"/>
                </a:cubicBezTo>
                <a:cubicBezTo>
                  <a:pt x="56" y="71"/>
                  <a:pt x="56" y="71"/>
                  <a:pt x="56" y="71"/>
                </a:cubicBezTo>
                <a:cubicBezTo>
                  <a:pt x="77" y="86"/>
                  <a:pt x="77" y="86"/>
                  <a:pt x="77" y="86"/>
                </a:cubicBezTo>
                <a:cubicBezTo>
                  <a:pt x="78" y="87"/>
                  <a:pt x="79" y="88"/>
                  <a:pt x="79" y="89"/>
                </a:cubicBezTo>
                <a:cubicBezTo>
                  <a:pt x="79" y="90"/>
                  <a:pt x="79" y="91"/>
                  <a:pt x="78" y="92"/>
                </a:cubicBezTo>
                <a:close/>
                <a:moveTo>
                  <a:pt x="143" y="69"/>
                </a:moveTo>
                <a:cubicBezTo>
                  <a:pt x="143" y="69"/>
                  <a:pt x="143" y="69"/>
                  <a:pt x="143" y="69"/>
                </a:cubicBezTo>
                <a:cubicBezTo>
                  <a:pt x="143" y="69"/>
                  <a:pt x="143" y="69"/>
                  <a:pt x="143" y="69"/>
                </a:cubicBezTo>
                <a:cubicBezTo>
                  <a:pt x="141" y="63"/>
                  <a:pt x="139" y="58"/>
                  <a:pt x="136" y="52"/>
                </a:cubicBezTo>
                <a:cubicBezTo>
                  <a:pt x="136" y="52"/>
                  <a:pt x="136" y="52"/>
                  <a:pt x="136" y="52"/>
                </a:cubicBezTo>
                <a:cubicBezTo>
                  <a:pt x="136" y="52"/>
                  <a:pt x="136" y="52"/>
                  <a:pt x="136" y="52"/>
                </a:cubicBezTo>
                <a:cubicBezTo>
                  <a:pt x="133" y="47"/>
                  <a:pt x="130" y="43"/>
                  <a:pt x="126" y="39"/>
                </a:cubicBezTo>
                <a:cubicBezTo>
                  <a:pt x="132" y="33"/>
                  <a:pt x="132" y="33"/>
                  <a:pt x="132" y="33"/>
                </a:cubicBezTo>
                <a:cubicBezTo>
                  <a:pt x="136" y="37"/>
                  <a:pt x="136" y="37"/>
                  <a:pt x="136" y="37"/>
                </a:cubicBezTo>
                <a:cubicBezTo>
                  <a:pt x="147" y="26"/>
                  <a:pt x="147" y="26"/>
                  <a:pt x="147" y="26"/>
                </a:cubicBezTo>
                <a:cubicBezTo>
                  <a:pt x="136" y="14"/>
                  <a:pt x="136" y="14"/>
                  <a:pt x="136" y="14"/>
                </a:cubicBezTo>
                <a:cubicBezTo>
                  <a:pt x="124" y="26"/>
                  <a:pt x="124" y="26"/>
                  <a:pt x="124" y="26"/>
                </a:cubicBezTo>
                <a:cubicBezTo>
                  <a:pt x="128" y="30"/>
                  <a:pt x="128" y="30"/>
                  <a:pt x="128" y="30"/>
                </a:cubicBezTo>
                <a:cubicBezTo>
                  <a:pt x="122" y="35"/>
                  <a:pt x="122" y="35"/>
                  <a:pt x="122" y="35"/>
                </a:cubicBezTo>
                <a:cubicBezTo>
                  <a:pt x="119" y="32"/>
                  <a:pt x="114" y="28"/>
                  <a:pt x="110" y="26"/>
                </a:cubicBezTo>
                <a:cubicBezTo>
                  <a:pt x="110" y="26"/>
                  <a:pt x="110" y="26"/>
                  <a:pt x="110" y="26"/>
                </a:cubicBezTo>
                <a:cubicBezTo>
                  <a:pt x="109" y="26"/>
                  <a:pt x="109" y="26"/>
                  <a:pt x="109" y="26"/>
                </a:cubicBezTo>
                <a:cubicBezTo>
                  <a:pt x="104" y="23"/>
                  <a:pt x="98" y="20"/>
                  <a:pt x="92" y="18"/>
                </a:cubicBezTo>
                <a:cubicBezTo>
                  <a:pt x="92" y="18"/>
                  <a:pt x="92" y="18"/>
                  <a:pt x="92" y="18"/>
                </a:cubicBezTo>
                <a:cubicBezTo>
                  <a:pt x="92" y="18"/>
                  <a:pt x="92" y="18"/>
                  <a:pt x="92" y="18"/>
                </a:cubicBezTo>
                <a:cubicBezTo>
                  <a:pt x="89" y="18"/>
                  <a:pt x="85" y="17"/>
                  <a:pt x="82" y="16"/>
                </a:cubicBezTo>
                <a:cubicBezTo>
                  <a:pt x="82" y="13"/>
                  <a:pt x="82" y="13"/>
                  <a:pt x="82" y="13"/>
                </a:cubicBezTo>
                <a:cubicBezTo>
                  <a:pt x="86" y="13"/>
                  <a:pt x="86" y="13"/>
                  <a:pt x="86" y="13"/>
                </a:cubicBezTo>
                <a:cubicBezTo>
                  <a:pt x="89" y="13"/>
                  <a:pt x="92" y="10"/>
                  <a:pt x="92" y="7"/>
                </a:cubicBezTo>
                <a:cubicBezTo>
                  <a:pt x="92" y="3"/>
                  <a:pt x="89" y="0"/>
                  <a:pt x="86" y="0"/>
                </a:cubicBezTo>
                <a:cubicBezTo>
                  <a:pt x="62" y="0"/>
                  <a:pt x="62" y="0"/>
                  <a:pt x="62" y="0"/>
                </a:cubicBezTo>
                <a:cubicBezTo>
                  <a:pt x="58" y="0"/>
                  <a:pt x="55" y="3"/>
                  <a:pt x="55" y="7"/>
                </a:cubicBezTo>
                <a:cubicBezTo>
                  <a:pt x="55" y="10"/>
                  <a:pt x="58" y="13"/>
                  <a:pt x="62" y="13"/>
                </a:cubicBezTo>
                <a:cubicBezTo>
                  <a:pt x="66" y="13"/>
                  <a:pt x="66" y="13"/>
                  <a:pt x="66" y="13"/>
                </a:cubicBezTo>
                <a:cubicBezTo>
                  <a:pt x="66" y="16"/>
                  <a:pt x="66" y="16"/>
                  <a:pt x="66" y="16"/>
                </a:cubicBezTo>
                <a:cubicBezTo>
                  <a:pt x="62" y="17"/>
                  <a:pt x="58" y="18"/>
                  <a:pt x="55" y="18"/>
                </a:cubicBezTo>
                <a:cubicBezTo>
                  <a:pt x="55" y="18"/>
                  <a:pt x="55" y="18"/>
                  <a:pt x="55" y="18"/>
                </a:cubicBezTo>
                <a:cubicBezTo>
                  <a:pt x="55" y="18"/>
                  <a:pt x="55" y="18"/>
                  <a:pt x="55" y="18"/>
                </a:cubicBezTo>
                <a:cubicBezTo>
                  <a:pt x="49" y="20"/>
                  <a:pt x="43" y="23"/>
                  <a:pt x="38" y="26"/>
                </a:cubicBezTo>
                <a:cubicBezTo>
                  <a:pt x="38" y="26"/>
                  <a:pt x="38" y="26"/>
                  <a:pt x="38" y="26"/>
                </a:cubicBezTo>
                <a:cubicBezTo>
                  <a:pt x="37" y="26"/>
                  <a:pt x="37" y="26"/>
                  <a:pt x="37" y="26"/>
                </a:cubicBezTo>
                <a:cubicBezTo>
                  <a:pt x="33" y="28"/>
                  <a:pt x="28" y="32"/>
                  <a:pt x="25" y="35"/>
                </a:cubicBezTo>
                <a:cubicBezTo>
                  <a:pt x="19" y="30"/>
                  <a:pt x="19" y="30"/>
                  <a:pt x="19" y="30"/>
                </a:cubicBezTo>
                <a:cubicBezTo>
                  <a:pt x="23" y="26"/>
                  <a:pt x="23" y="26"/>
                  <a:pt x="23" y="26"/>
                </a:cubicBezTo>
                <a:cubicBezTo>
                  <a:pt x="11" y="14"/>
                  <a:pt x="11" y="14"/>
                  <a:pt x="11" y="14"/>
                </a:cubicBezTo>
                <a:cubicBezTo>
                  <a:pt x="0" y="26"/>
                  <a:pt x="0" y="26"/>
                  <a:pt x="0" y="26"/>
                </a:cubicBezTo>
                <a:cubicBezTo>
                  <a:pt x="11" y="37"/>
                  <a:pt x="11" y="37"/>
                  <a:pt x="11" y="37"/>
                </a:cubicBezTo>
                <a:cubicBezTo>
                  <a:pt x="15" y="33"/>
                  <a:pt x="15" y="33"/>
                  <a:pt x="15" y="33"/>
                </a:cubicBezTo>
                <a:cubicBezTo>
                  <a:pt x="21" y="39"/>
                  <a:pt x="21" y="39"/>
                  <a:pt x="21" y="39"/>
                </a:cubicBezTo>
                <a:cubicBezTo>
                  <a:pt x="17" y="43"/>
                  <a:pt x="14" y="47"/>
                  <a:pt x="11" y="52"/>
                </a:cubicBezTo>
                <a:cubicBezTo>
                  <a:pt x="11" y="52"/>
                  <a:pt x="11" y="52"/>
                  <a:pt x="11" y="52"/>
                </a:cubicBezTo>
                <a:cubicBezTo>
                  <a:pt x="11" y="52"/>
                  <a:pt x="11" y="52"/>
                  <a:pt x="11" y="52"/>
                </a:cubicBezTo>
                <a:cubicBezTo>
                  <a:pt x="8" y="58"/>
                  <a:pt x="6" y="63"/>
                  <a:pt x="4" y="69"/>
                </a:cubicBezTo>
                <a:cubicBezTo>
                  <a:pt x="4" y="69"/>
                  <a:pt x="4" y="69"/>
                  <a:pt x="4" y="69"/>
                </a:cubicBezTo>
                <a:cubicBezTo>
                  <a:pt x="4" y="69"/>
                  <a:pt x="4" y="69"/>
                  <a:pt x="4" y="69"/>
                </a:cubicBezTo>
                <a:cubicBezTo>
                  <a:pt x="2" y="75"/>
                  <a:pt x="2" y="82"/>
                  <a:pt x="2" y="88"/>
                </a:cubicBezTo>
                <a:cubicBezTo>
                  <a:pt x="2" y="94"/>
                  <a:pt x="2" y="101"/>
                  <a:pt x="4" y="107"/>
                </a:cubicBezTo>
                <a:cubicBezTo>
                  <a:pt x="4" y="107"/>
                  <a:pt x="4" y="107"/>
                  <a:pt x="4" y="107"/>
                </a:cubicBezTo>
                <a:cubicBezTo>
                  <a:pt x="4" y="107"/>
                  <a:pt x="4" y="107"/>
                  <a:pt x="4" y="107"/>
                </a:cubicBezTo>
                <a:cubicBezTo>
                  <a:pt x="6" y="113"/>
                  <a:pt x="8" y="119"/>
                  <a:pt x="11" y="124"/>
                </a:cubicBezTo>
                <a:cubicBezTo>
                  <a:pt x="11" y="124"/>
                  <a:pt x="11" y="124"/>
                  <a:pt x="11" y="124"/>
                </a:cubicBezTo>
                <a:cubicBezTo>
                  <a:pt x="11" y="124"/>
                  <a:pt x="11" y="124"/>
                  <a:pt x="11" y="124"/>
                </a:cubicBezTo>
                <a:cubicBezTo>
                  <a:pt x="14" y="130"/>
                  <a:pt x="18" y="134"/>
                  <a:pt x="23" y="139"/>
                </a:cubicBezTo>
                <a:cubicBezTo>
                  <a:pt x="23" y="139"/>
                  <a:pt x="23" y="139"/>
                  <a:pt x="23" y="139"/>
                </a:cubicBezTo>
                <a:cubicBezTo>
                  <a:pt x="23" y="139"/>
                  <a:pt x="23" y="139"/>
                  <a:pt x="23" y="139"/>
                </a:cubicBezTo>
                <a:cubicBezTo>
                  <a:pt x="27" y="143"/>
                  <a:pt x="32" y="147"/>
                  <a:pt x="37" y="150"/>
                </a:cubicBezTo>
                <a:cubicBezTo>
                  <a:pt x="37" y="150"/>
                  <a:pt x="37" y="150"/>
                  <a:pt x="38" y="150"/>
                </a:cubicBezTo>
                <a:cubicBezTo>
                  <a:pt x="38" y="150"/>
                  <a:pt x="38" y="150"/>
                  <a:pt x="38" y="150"/>
                </a:cubicBezTo>
                <a:cubicBezTo>
                  <a:pt x="43" y="154"/>
                  <a:pt x="49" y="156"/>
                  <a:pt x="55" y="158"/>
                </a:cubicBezTo>
                <a:cubicBezTo>
                  <a:pt x="55" y="158"/>
                  <a:pt x="55" y="158"/>
                  <a:pt x="55" y="158"/>
                </a:cubicBezTo>
                <a:cubicBezTo>
                  <a:pt x="55" y="158"/>
                  <a:pt x="55" y="158"/>
                  <a:pt x="55" y="158"/>
                </a:cubicBezTo>
                <a:cubicBezTo>
                  <a:pt x="61" y="159"/>
                  <a:pt x="67" y="160"/>
                  <a:pt x="74" y="160"/>
                </a:cubicBezTo>
                <a:cubicBezTo>
                  <a:pt x="80" y="160"/>
                  <a:pt x="86" y="159"/>
                  <a:pt x="92" y="158"/>
                </a:cubicBezTo>
                <a:cubicBezTo>
                  <a:pt x="92" y="158"/>
                  <a:pt x="92" y="158"/>
                  <a:pt x="92" y="158"/>
                </a:cubicBezTo>
                <a:cubicBezTo>
                  <a:pt x="92" y="158"/>
                  <a:pt x="92" y="158"/>
                  <a:pt x="92" y="158"/>
                </a:cubicBezTo>
                <a:cubicBezTo>
                  <a:pt x="98" y="156"/>
                  <a:pt x="104" y="154"/>
                  <a:pt x="109" y="150"/>
                </a:cubicBezTo>
                <a:cubicBezTo>
                  <a:pt x="109" y="150"/>
                  <a:pt x="109" y="150"/>
                  <a:pt x="110" y="150"/>
                </a:cubicBezTo>
                <a:cubicBezTo>
                  <a:pt x="110" y="150"/>
                  <a:pt x="110" y="150"/>
                  <a:pt x="110" y="150"/>
                </a:cubicBezTo>
                <a:cubicBezTo>
                  <a:pt x="115" y="147"/>
                  <a:pt x="120" y="143"/>
                  <a:pt x="124" y="139"/>
                </a:cubicBezTo>
                <a:cubicBezTo>
                  <a:pt x="124" y="139"/>
                  <a:pt x="124" y="139"/>
                  <a:pt x="124" y="139"/>
                </a:cubicBezTo>
                <a:cubicBezTo>
                  <a:pt x="125" y="139"/>
                  <a:pt x="125" y="139"/>
                  <a:pt x="125" y="139"/>
                </a:cubicBezTo>
                <a:cubicBezTo>
                  <a:pt x="129" y="134"/>
                  <a:pt x="133" y="130"/>
                  <a:pt x="136" y="124"/>
                </a:cubicBezTo>
                <a:cubicBezTo>
                  <a:pt x="136" y="124"/>
                  <a:pt x="136" y="124"/>
                  <a:pt x="136" y="124"/>
                </a:cubicBezTo>
                <a:cubicBezTo>
                  <a:pt x="136" y="124"/>
                  <a:pt x="136" y="124"/>
                  <a:pt x="136" y="124"/>
                </a:cubicBezTo>
                <a:cubicBezTo>
                  <a:pt x="139" y="119"/>
                  <a:pt x="141" y="113"/>
                  <a:pt x="143" y="107"/>
                </a:cubicBezTo>
                <a:cubicBezTo>
                  <a:pt x="143" y="107"/>
                  <a:pt x="143" y="107"/>
                  <a:pt x="143" y="107"/>
                </a:cubicBezTo>
                <a:cubicBezTo>
                  <a:pt x="143" y="107"/>
                  <a:pt x="143" y="107"/>
                  <a:pt x="143" y="107"/>
                </a:cubicBezTo>
                <a:cubicBezTo>
                  <a:pt x="145" y="101"/>
                  <a:pt x="146" y="94"/>
                  <a:pt x="146" y="88"/>
                </a:cubicBezTo>
                <a:cubicBezTo>
                  <a:pt x="146" y="82"/>
                  <a:pt x="145" y="75"/>
                  <a:pt x="143" y="69"/>
                </a:cubicBezTo>
                <a:close/>
                <a:moveTo>
                  <a:pt x="136" y="22"/>
                </a:moveTo>
                <a:cubicBezTo>
                  <a:pt x="140" y="26"/>
                  <a:pt x="140" y="26"/>
                  <a:pt x="140" y="26"/>
                </a:cubicBezTo>
                <a:cubicBezTo>
                  <a:pt x="136" y="30"/>
                  <a:pt x="136" y="30"/>
                  <a:pt x="136" y="30"/>
                </a:cubicBezTo>
                <a:cubicBezTo>
                  <a:pt x="132" y="26"/>
                  <a:pt x="132" y="26"/>
                  <a:pt x="132" y="26"/>
                </a:cubicBezTo>
                <a:lnTo>
                  <a:pt x="136" y="22"/>
                </a:lnTo>
                <a:close/>
                <a:moveTo>
                  <a:pt x="8" y="26"/>
                </a:moveTo>
                <a:cubicBezTo>
                  <a:pt x="11" y="22"/>
                  <a:pt x="11" y="22"/>
                  <a:pt x="11" y="22"/>
                </a:cubicBezTo>
                <a:cubicBezTo>
                  <a:pt x="15" y="26"/>
                  <a:pt x="15" y="26"/>
                  <a:pt x="15" y="26"/>
                </a:cubicBezTo>
                <a:cubicBezTo>
                  <a:pt x="11" y="30"/>
                  <a:pt x="11" y="30"/>
                  <a:pt x="11" y="30"/>
                </a:cubicBezTo>
                <a:lnTo>
                  <a:pt x="8" y="26"/>
                </a:lnTo>
                <a:close/>
                <a:moveTo>
                  <a:pt x="132" y="106"/>
                </a:moveTo>
                <a:cubicBezTo>
                  <a:pt x="137" y="108"/>
                  <a:pt x="137" y="108"/>
                  <a:pt x="137" y="108"/>
                </a:cubicBezTo>
                <a:cubicBezTo>
                  <a:pt x="136" y="112"/>
                  <a:pt x="134" y="115"/>
                  <a:pt x="133" y="119"/>
                </a:cubicBezTo>
                <a:cubicBezTo>
                  <a:pt x="128" y="116"/>
                  <a:pt x="128" y="116"/>
                  <a:pt x="128" y="116"/>
                </a:cubicBezTo>
                <a:cubicBezTo>
                  <a:pt x="127" y="116"/>
                  <a:pt x="125" y="116"/>
                  <a:pt x="124" y="117"/>
                </a:cubicBezTo>
                <a:cubicBezTo>
                  <a:pt x="124" y="119"/>
                  <a:pt x="124" y="120"/>
                  <a:pt x="125" y="121"/>
                </a:cubicBezTo>
                <a:cubicBezTo>
                  <a:pt x="130" y="124"/>
                  <a:pt x="130" y="124"/>
                  <a:pt x="130" y="124"/>
                </a:cubicBezTo>
                <a:cubicBezTo>
                  <a:pt x="128" y="127"/>
                  <a:pt x="125" y="130"/>
                  <a:pt x="122" y="133"/>
                </a:cubicBezTo>
                <a:cubicBezTo>
                  <a:pt x="119" y="129"/>
                  <a:pt x="119" y="129"/>
                  <a:pt x="119" y="129"/>
                </a:cubicBezTo>
                <a:cubicBezTo>
                  <a:pt x="118" y="128"/>
                  <a:pt x="116" y="128"/>
                  <a:pt x="115" y="129"/>
                </a:cubicBezTo>
                <a:cubicBezTo>
                  <a:pt x="114" y="131"/>
                  <a:pt x="114" y="132"/>
                  <a:pt x="115" y="133"/>
                </a:cubicBezTo>
                <a:cubicBezTo>
                  <a:pt x="119" y="137"/>
                  <a:pt x="119" y="137"/>
                  <a:pt x="119" y="137"/>
                </a:cubicBezTo>
                <a:cubicBezTo>
                  <a:pt x="116" y="140"/>
                  <a:pt x="113" y="142"/>
                  <a:pt x="109" y="144"/>
                </a:cubicBezTo>
                <a:cubicBezTo>
                  <a:pt x="107" y="140"/>
                  <a:pt x="107" y="140"/>
                  <a:pt x="107" y="140"/>
                </a:cubicBezTo>
                <a:cubicBezTo>
                  <a:pt x="106" y="139"/>
                  <a:pt x="104" y="138"/>
                  <a:pt x="103" y="139"/>
                </a:cubicBezTo>
                <a:cubicBezTo>
                  <a:pt x="102" y="140"/>
                  <a:pt x="101" y="141"/>
                  <a:pt x="102" y="142"/>
                </a:cubicBezTo>
                <a:cubicBezTo>
                  <a:pt x="105" y="147"/>
                  <a:pt x="105" y="147"/>
                  <a:pt x="105" y="147"/>
                </a:cubicBezTo>
                <a:cubicBezTo>
                  <a:pt x="101" y="149"/>
                  <a:pt x="97" y="150"/>
                  <a:pt x="93" y="152"/>
                </a:cubicBezTo>
                <a:cubicBezTo>
                  <a:pt x="92" y="147"/>
                  <a:pt x="92" y="147"/>
                  <a:pt x="92" y="147"/>
                </a:cubicBezTo>
                <a:cubicBezTo>
                  <a:pt x="92" y="145"/>
                  <a:pt x="90" y="144"/>
                  <a:pt x="89" y="145"/>
                </a:cubicBezTo>
                <a:cubicBezTo>
                  <a:pt x="87" y="145"/>
                  <a:pt x="86" y="147"/>
                  <a:pt x="87" y="148"/>
                </a:cubicBezTo>
                <a:cubicBezTo>
                  <a:pt x="88" y="153"/>
                  <a:pt x="88" y="153"/>
                  <a:pt x="88" y="153"/>
                </a:cubicBezTo>
                <a:cubicBezTo>
                  <a:pt x="84" y="154"/>
                  <a:pt x="80" y="154"/>
                  <a:pt x="76" y="155"/>
                </a:cubicBezTo>
                <a:cubicBezTo>
                  <a:pt x="76" y="149"/>
                  <a:pt x="76" y="149"/>
                  <a:pt x="76" y="149"/>
                </a:cubicBezTo>
                <a:cubicBezTo>
                  <a:pt x="76" y="148"/>
                  <a:pt x="75" y="147"/>
                  <a:pt x="74" y="147"/>
                </a:cubicBezTo>
                <a:cubicBezTo>
                  <a:pt x="72" y="147"/>
                  <a:pt x="71" y="148"/>
                  <a:pt x="71" y="149"/>
                </a:cubicBezTo>
                <a:cubicBezTo>
                  <a:pt x="71" y="155"/>
                  <a:pt x="71" y="155"/>
                  <a:pt x="71" y="155"/>
                </a:cubicBezTo>
                <a:cubicBezTo>
                  <a:pt x="67" y="154"/>
                  <a:pt x="63" y="154"/>
                  <a:pt x="59" y="153"/>
                </a:cubicBezTo>
                <a:cubicBezTo>
                  <a:pt x="60" y="148"/>
                  <a:pt x="60" y="148"/>
                  <a:pt x="60" y="148"/>
                </a:cubicBezTo>
                <a:cubicBezTo>
                  <a:pt x="61" y="147"/>
                  <a:pt x="60" y="145"/>
                  <a:pt x="58" y="145"/>
                </a:cubicBezTo>
                <a:cubicBezTo>
                  <a:pt x="57" y="144"/>
                  <a:pt x="55" y="145"/>
                  <a:pt x="55" y="147"/>
                </a:cubicBezTo>
                <a:cubicBezTo>
                  <a:pt x="54" y="152"/>
                  <a:pt x="54" y="152"/>
                  <a:pt x="54" y="152"/>
                </a:cubicBezTo>
                <a:cubicBezTo>
                  <a:pt x="50" y="150"/>
                  <a:pt x="46" y="149"/>
                  <a:pt x="43" y="147"/>
                </a:cubicBezTo>
                <a:cubicBezTo>
                  <a:pt x="45" y="142"/>
                  <a:pt x="45" y="142"/>
                  <a:pt x="45" y="142"/>
                </a:cubicBezTo>
                <a:cubicBezTo>
                  <a:pt x="46" y="141"/>
                  <a:pt x="45" y="140"/>
                  <a:pt x="44" y="139"/>
                </a:cubicBezTo>
                <a:cubicBezTo>
                  <a:pt x="43" y="138"/>
                  <a:pt x="41" y="139"/>
                  <a:pt x="41" y="140"/>
                </a:cubicBezTo>
                <a:cubicBezTo>
                  <a:pt x="38" y="144"/>
                  <a:pt x="38" y="144"/>
                  <a:pt x="38" y="144"/>
                </a:cubicBezTo>
                <a:cubicBezTo>
                  <a:pt x="35" y="142"/>
                  <a:pt x="31" y="140"/>
                  <a:pt x="28" y="137"/>
                </a:cubicBezTo>
                <a:cubicBezTo>
                  <a:pt x="32" y="133"/>
                  <a:pt x="32" y="133"/>
                  <a:pt x="32" y="133"/>
                </a:cubicBezTo>
                <a:cubicBezTo>
                  <a:pt x="33" y="132"/>
                  <a:pt x="33" y="131"/>
                  <a:pt x="32" y="129"/>
                </a:cubicBezTo>
                <a:cubicBezTo>
                  <a:pt x="31" y="128"/>
                  <a:pt x="29" y="128"/>
                  <a:pt x="28" y="129"/>
                </a:cubicBezTo>
                <a:cubicBezTo>
                  <a:pt x="25" y="133"/>
                  <a:pt x="25" y="133"/>
                  <a:pt x="25" y="133"/>
                </a:cubicBezTo>
                <a:cubicBezTo>
                  <a:pt x="22" y="130"/>
                  <a:pt x="19" y="127"/>
                  <a:pt x="17" y="124"/>
                </a:cubicBezTo>
                <a:cubicBezTo>
                  <a:pt x="22" y="121"/>
                  <a:pt x="22" y="121"/>
                  <a:pt x="22" y="121"/>
                </a:cubicBezTo>
                <a:cubicBezTo>
                  <a:pt x="23" y="120"/>
                  <a:pt x="23" y="119"/>
                  <a:pt x="23" y="117"/>
                </a:cubicBezTo>
                <a:cubicBezTo>
                  <a:pt x="22" y="116"/>
                  <a:pt x="20" y="116"/>
                  <a:pt x="19" y="116"/>
                </a:cubicBezTo>
                <a:cubicBezTo>
                  <a:pt x="15" y="119"/>
                  <a:pt x="15" y="119"/>
                  <a:pt x="15" y="119"/>
                </a:cubicBezTo>
                <a:cubicBezTo>
                  <a:pt x="13" y="115"/>
                  <a:pt x="11" y="112"/>
                  <a:pt x="10" y="108"/>
                </a:cubicBezTo>
                <a:cubicBezTo>
                  <a:pt x="15" y="106"/>
                  <a:pt x="15" y="106"/>
                  <a:pt x="15" y="106"/>
                </a:cubicBezTo>
                <a:cubicBezTo>
                  <a:pt x="16" y="106"/>
                  <a:pt x="17" y="105"/>
                  <a:pt x="17" y="103"/>
                </a:cubicBezTo>
                <a:cubicBezTo>
                  <a:pt x="16" y="102"/>
                  <a:pt x="15" y="101"/>
                  <a:pt x="14" y="101"/>
                </a:cubicBezTo>
                <a:cubicBezTo>
                  <a:pt x="9" y="103"/>
                  <a:pt x="9" y="103"/>
                  <a:pt x="9" y="103"/>
                </a:cubicBezTo>
                <a:cubicBezTo>
                  <a:pt x="8" y="99"/>
                  <a:pt x="7" y="95"/>
                  <a:pt x="7" y="91"/>
                </a:cubicBezTo>
                <a:cubicBezTo>
                  <a:pt x="12" y="91"/>
                  <a:pt x="12" y="91"/>
                  <a:pt x="12" y="91"/>
                </a:cubicBezTo>
                <a:cubicBezTo>
                  <a:pt x="14" y="91"/>
                  <a:pt x="15" y="89"/>
                  <a:pt x="15" y="88"/>
                </a:cubicBezTo>
                <a:cubicBezTo>
                  <a:pt x="15" y="87"/>
                  <a:pt x="14" y="85"/>
                  <a:pt x="12" y="85"/>
                </a:cubicBezTo>
                <a:cubicBezTo>
                  <a:pt x="7" y="85"/>
                  <a:pt x="7" y="85"/>
                  <a:pt x="7" y="85"/>
                </a:cubicBezTo>
                <a:cubicBezTo>
                  <a:pt x="7" y="81"/>
                  <a:pt x="8" y="77"/>
                  <a:pt x="9" y="73"/>
                </a:cubicBezTo>
                <a:cubicBezTo>
                  <a:pt x="14" y="75"/>
                  <a:pt x="14" y="75"/>
                  <a:pt x="14" y="75"/>
                </a:cubicBezTo>
                <a:cubicBezTo>
                  <a:pt x="14" y="75"/>
                  <a:pt x="14" y="75"/>
                  <a:pt x="14" y="75"/>
                </a:cubicBezTo>
                <a:cubicBezTo>
                  <a:pt x="15" y="75"/>
                  <a:pt x="17" y="74"/>
                  <a:pt x="17" y="73"/>
                </a:cubicBezTo>
                <a:cubicBezTo>
                  <a:pt x="17" y="71"/>
                  <a:pt x="16" y="70"/>
                  <a:pt x="15" y="70"/>
                </a:cubicBezTo>
                <a:cubicBezTo>
                  <a:pt x="10" y="68"/>
                  <a:pt x="10" y="68"/>
                  <a:pt x="10" y="68"/>
                </a:cubicBezTo>
                <a:cubicBezTo>
                  <a:pt x="11" y="64"/>
                  <a:pt x="13" y="61"/>
                  <a:pt x="15" y="57"/>
                </a:cubicBezTo>
                <a:cubicBezTo>
                  <a:pt x="19" y="60"/>
                  <a:pt x="19" y="60"/>
                  <a:pt x="19" y="60"/>
                </a:cubicBezTo>
                <a:cubicBezTo>
                  <a:pt x="20" y="60"/>
                  <a:pt x="20" y="60"/>
                  <a:pt x="20" y="60"/>
                </a:cubicBezTo>
                <a:cubicBezTo>
                  <a:pt x="21" y="60"/>
                  <a:pt x="22" y="60"/>
                  <a:pt x="23" y="59"/>
                </a:cubicBezTo>
                <a:cubicBezTo>
                  <a:pt x="23" y="57"/>
                  <a:pt x="23" y="56"/>
                  <a:pt x="22" y="55"/>
                </a:cubicBezTo>
                <a:cubicBezTo>
                  <a:pt x="17" y="52"/>
                  <a:pt x="17" y="52"/>
                  <a:pt x="17" y="52"/>
                </a:cubicBezTo>
                <a:cubicBezTo>
                  <a:pt x="19" y="49"/>
                  <a:pt x="22" y="46"/>
                  <a:pt x="25" y="43"/>
                </a:cubicBezTo>
                <a:cubicBezTo>
                  <a:pt x="28" y="47"/>
                  <a:pt x="28" y="47"/>
                  <a:pt x="28" y="47"/>
                </a:cubicBezTo>
                <a:cubicBezTo>
                  <a:pt x="29" y="47"/>
                  <a:pt x="29" y="47"/>
                  <a:pt x="30" y="47"/>
                </a:cubicBezTo>
                <a:cubicBezTo>
                  <a:pt x="31" y="47"/>
                  <a:pt x="32" y="47"/>
                  <a:pt x="32" y="47"/>
                </a:cubicBezTo>
                <a:cubicBezTo>
                  <a:pt x="33" y="45"/>
                  <a:pt x="33" y="44"/>
                  <a:pt x="32" y="43"/>
                </a:cubicBezTo>
                <a:cubicBezTo>
                  <a:pt x="28" y="39"/>
                  <a:pt x="28" y="39"/>
                  <a:pt x="28" y="39"/>
                </a:cubicBezTo>
                <a:cubicBezTo>
                  <a:pt x="31" y="36"/>
                  <a:pt x="35" y="34"/>
                  <a:pt x="38" y="32"/>
                </a:cubicBezTo>
                <a:cubicBezTo>
                  <a:pt x="41" y="36"/>
                  <a:pt x="41" y="36"/>
                  <a:pt x="41" y="36"/>
                </a:cubicBezTo>
                <a:cubicBezTo>
                  <a:pt x="41" y="37"/>
                  <a:pt x="42" y="38"/>
                  <a:pt x="43" y="38"/>
                </a:cubicBezTo>
                <a:cubicBezTo>
                  <a:pt x="43" y="38"/>
                  <a:pt x="44" y="37"/>
                  <a:pt x="44" y="37"/>
                </a:cubicBezTo>
                <a:cubicBezTo>
                  <a:pt x="45" y="36"/>
                  <a:pt x="46" y="35"/>
                  <a:pt x="45" y="34"/>
                </a:cubicBezTo>
                <a:cubicBezTo>
                  <a:pt x="43" y="29"/>
                  <a:pt x="43" y="29"/>
                  <a:pt x="43" y="29"/>
                </a:cubicBezTo>
                <a:cubicBezTo>
                  <a:pt x="46" y="27"/>
                  <a:pt x="50" y="26"/>
                  <a:pt x="54" y="24"/>
                </a:cubicBezTo>
                <a:cubicBezTo>
                  <a:pt x="55" y="29"/>
                  <a:pt x="55" y="29"/>
                  <a:pt x="55" y="29"/>
                </a:cubicBezTo>
                <a:cubicBezTo>
                  <a:pt x="55" y="31"/>
                  <a:pt x="56" y="31"/>
                  <a:pt x="58" y="31"/>
                </a:cubicBezTo>
                <a:cubicBezTo>
                  <a:pt x="58" y="31"/>
                  <a:pt x="58" y="31"/>
                  <a:pt x="58" y="31"/>
                </a:cubicBezTo>
                <a:cubicBezTo>
                  <a:pt x="60" y="31"/>
                  <a:pt x="61" y="29"/>
                  <a:pt x="60" y="28"/>
                </a:cubicBezTo>
                <a:cubicBezTo>
                  <a:pt x="59" y="23"/>
                  <a:pt x="59" y="23"/>
                  <a:pt x="59" y="23"/>
                </a:cubicBezTo>
                <a:cubicBezTo>
                  <a:pt x="62" y="22"/>
                  <a:pt x="65" y="22"/>
                  <a:pt x="68" y="22"/>
                </a:cubicBezTo>
                <a:cubicBezTo>
                  <a:pt x="69" y="21"/>
                  <a:pt x="70" y="21"/>
                  <a:pt x="71" y="21"/>
                </a:cubicBezTo>
                <a:cubicBezTo>
                  <a:pt x="71" y="21"/>
                  <a:pt x="71" y="21"/>
                  <a:pt x="71" y="21"/>
                </a:cubicBezTo>
                <a:cubicBezTo>
                  <a:pt x="71" y="27"/>
                  <a:pt x="71" y="27"/>
                  <a:pt x="71" y="27"/>
                </a:cubicBezTo>
                <a:cubicBezTo>
                  <a:pt x="71" y="28"/>
                  <a:pt x="72" y="29"/>
                  <a:pt x="74" y="29"/>
                </a:cubicBezTo>
                <a:cubicBezTo>
                  <a:pt x="75" y="29"/>
                  <a:pt x="76" y="28"/>
                  <a:pt x="76" y="27"/>
                </a:cubicBezTo>
                <a:cubicBezTo>
                  <a:pt x="76" y="21"/>
                  <a:pt x="76" y="21"/>
                  <a:pt x="76" y="21"/>
                </a:cubicBezTo>
                <a:cubicBezTo>
                  <a:pt x="76" y="21"/>
                  <a:pt x="76" y="21"/>
                  <a:pt x="76" y="21"/>
                </a:cubicBezTo>
                <a:cubicBezTo>
                  <a:pt x="77" y="21"/>
                  <a:pt x="78" y="21"/>
                  <a:pt x="79" y="22"/>
                </a:cubicBezTo>
                <a:cubicBezTo>
                  <a:pt x="82" y="22"/>
                  <a:pt x="85" y="22"/>
                  <a:pt x="88" y="23"/>
                </a:cubicBezTo>
                <a:cubicBezTo>
                  <a:pt x="87" y="28"/>
                  <a:pt x="87" y="28"/>
                  <a:pt x="87" y="28"/>
                </a:cubicBezTo>
                <a:cubicBezTo>
                  <a:pt x="86" y="29"/>
                  <a:pt x="87" y="31"/>
                  <a:pt x="89" y="31"/>
                </a:cubicBezTo>
                <a:cubicBezTo>
                  <a:pt x="89" y="31"/>
                  <a:pt x="89" y="31"/>
                  <a:pt x="89" y="31"/>
                </a:cubicBezTo>
                <a:cubicBezTo>
                  <a:pt x="91" y="31"/>
                  <a:pt x="92" y="31"/>
                  <a:pt x="92" y="29"/>
                </a:cubicBezTo>
                <a:cubicBezTo>
                  <a:pt x="93" y="24"/>
                  <a:pt x="93" y="24"/>
                  <a:pt x="93" y="24"/>
                </a:cubicBezTo>
                <a:cubicBezTo>
                  <a:pt x="97" y="26"/>
                  <a:pt x="101" y="27"/>
                  <a:pt x="105" y="29"/>
                </a:cubicBezTo>
                <a:cubicBezTo>
                  <a:pt x="102" y="34"/>
                  <a:pt x="102" y="34"/>
                  <a:pt x="102" y="34"/>
                </a:cubicBezTo>
                <a:cubicBezTo>
                  <a:pt x="101" y="35"/>
                  <a:pt x="102" y="36"/>
                  <a:pt x="103" y="37"/>
                </a:cubicBezTo>
                <a:cubicBezTo>
                  <a:pt x="103" y="37"/>
                  <a:pt x="104" y="38"/>
                  <a:pt x="104" y="38"/>
                </a:cubicBezTo>
                <a:cubicBezTo>
                  <a:pt x="105" y="38"/>
                  <a:pt x="106" y="37"/>
                  <a:pt x="107" y="36"/>
                </a:cubicBezTo>
                <a:cubicBezTo>
                  <a:pt x="109" y="32"/>
                  <a:pt x="109" y="32"/>
                  <a:pt x="109" y="32"/>
                </a:cubicBezTo>
                <a:cubicBezTo>
                  <a:pt x="113" y="34"/>
                  <a:pt x="116" y="36"/>
                  <a:pt x="119" y="39"/>
                </a:cubicBezTo>
                <a:cubicBezTo>
                  <a:pt x="115" y="43"/>
                  <a:pt x="115" y="43"/>
                  <a:pt x="115" y="43"/>
                </a:cubicBezTo>
                <a:cubicBezTo>
                  <a:pt x="114" y="44"/>
                  <a:pt x="114" y="45"/>
                  <a:pt x="115" y="47"/>
                </a:cubicBezTo>
                <a:cubicBezTo>
                  <a:pt x="116" y="47"/>
                  <a:pt x="116" y="47"/>
                  <a:pt x="117" y="47"/>
                </a:cubicBezTo>
                <a:cubicBezTo>
                  <a:pt x="118" y="47"/>
                  <a:pt x="118" y="47"/>
                  <a:pt x="119" y="47"/>
                </a:cubicBezTo>
                <a:cubicBezTo>
                  <a:pt x="123" y="43"/>
                  <a:pt x="123" y="43"/>
                  <a:pt x="123" y="43"/>
                </a:cubicBezTo>
                <a:cubicBezTo>
                  <a:pt x="125" y="46"/>
                  <a:pt x="128" y="49"/>
                  <a:pt x="130" y="52"/>
                </a:cubicBezTo>
                <a:cubicBezTo>
                  <a:pt x="125" y="55"/>
                  <a:pt x="125" y="55"/>
                  <a:pt x="125" y="55"/>
                </a:cubicBezTo>
                <a:cubicBezTo>
                  <a:pt x="124" y="56"/>
                  <a:pt x="124" y="57"/>
                  <a:pt x="124" y="59"/>
                </a:cubicBezTo>
                <a:cubicBezTo>
                  <a:pt x="125" y="60"/>
                  <a:pt x="126" y="60"/>
                  <a:pt x="127" y="60"/>
                </a:cubicBezTo>
                <a:cubicBezTo>
                  <a:pt x="127" y="60"/>
                  <a:pt x="128" y="60"/>
                  <a:pt x="128" y="60"/>
                </a:cubicBezTo>
                <a:cubicBezTo>
                  <a:pt x="133" y="57"/>
                  <a:pt x="133" y="57"/>
                  <a:pt x="133" y="57"/>
                </a:cubicBezTo>
                <a:cubicBezTo>
                  <a:pt x="134" y="61"/>
                  <a:pt x="136" y="64"/>
                  <a:pt x="137" y="68"/>
                </a:cubicBezTo>
                <a:cubicBezTo>
                  <a:pt x="132" y="70"/>
                  <a:pt x="132" y="70"/>
                  <a:pt x="132" y="70"/>
                </a:cubicBezTo>
                <a:cubicBezTo>
                  <a:pt x="131" y="70"/>
                  <a:pt x="130" y="71"/>
                  <a:pt x="130" y="73"/>
                </a:cubicBezTo>
                <a:cubicBezTo>
                  <a:pt x="131" y="74"/>
                  <a:pt x="132" y="75"/>
                  <a:pt x="133" y="75"/>
                </a:cubicBezTo>
                <a:cubicBezTo>
                  <a:pt x="133" y="75"/>
                  <a:pt x="133" y="75"/>
                  <a:pt x="133" y="75"/>
                </a:cubicBezTo>
                <a:cubicBezTo>
                  <a:pt x="139" y="73"/>
                  <a:pt x="139" y="73"/>
                  <a:pt x="139" y="73"/>
                </a:cubicBezTo>
                <a:cubicBezTo>
                  <a:pt x="139" y="77"/>
                  <a:pt x="140" y="81"/>
                  <a:pt x="140" y="85"/>
                </a:cubicBezTo>
                <a:cubicBezTo>
                  <a:pt x="135" y="85"/>
                  <a:pt x="135" y="85"/>
                  <a:pt x="135" y="85"/>
                </a:cubicBezTo>
                <a:cubicBezTo>
                  <a:pt x="133" y="85"/>
                  <a:pt x="132" y="87"/>
                  <a:pt x="132" y="88"/>
                </a:cubicBezTo>
                <a:cubicBezTo>
                  <a:pt x="132" y="89"/>
                  <a:pt x="133" y="91"/>
                  <a:pt x="135" y="91"/>
                </a:cubicBezTo>
                <a:cubicBezTo>
                  <a:pt x="140" y="91"/>
                  <a:pt x="140" y="91"/>
                  <a:pt x="140" y="91"/>
                </a:cubicBezTo>
                <a:cubicBezTo>
                  <a:pt x="140" y="95"/>
                  <a:pt x="139" y="99"/>
                  <a:pt x="139" y="103"/>
                </a:cubicBezTo>
                <a:cubicBezTo>
                  <a:pt x="133" y="101"/>
                  <a:pt x="133" y="101"/>
                  <a:pt x="133" y="101"/>
                </a:cubicBezTo>
                <a:cubicBezTo>
                  <a:pt x="132" y="101"/>
                  <a:pt x="131" y="102"/>
                  <a:pt x="130" y="103"/>
                </a:cubicBezTo>
                <a:cubicBezTo>
                  <a:pt x="130" y="105"/>
                  <a:pt x="131" y="106"/>
                  <a:pt x="132" y="106"/>
                </a:cubicBezTo>
                <a:close/>
                <a:moveTo>
                  <a:pt x="71" y="16"/>
                </a:moveTo>
                <a:cubicBezTo>
                  <a:pt x="71" y="8"/>
                  <a:pt x="71" y="8"/>
                  <a:pt x="71" y="8"/>
                </a:cubicBezTo>
                <a:cubicBezTo>
                  <a:pt x="62" y="8"/>
                  <a:pt x="62" y="8"/>
                  <a:pt x="62" y="8"/>
                </a:cubicBezTo>
                <a:cubicBezTo>
                  <a:pt x="61" y="8"/>
                  <a:pt x="60" y="7"/>
                  <a:pt x="60" y="7"/>
                </a:cubicBezTo>
                <a:cubicBezTo>
                  <a:pt x="60" y="6"/>
                  <a:pt x="61" y="5"/>
                  <a:pt x="62" y="5"/>
                </a:cubicBezTo>
                <a:cubicBezTo>
                  <a:pt x="86" y="5"/>
                  <a:pt x="86" y="5"/>
                  <a:pt x="86" y="5"/>
                </a:cubicBezTo>
                <a:cubicBezTo>
                  <a:pt x="86" y="5"/>
                  <a:pt x="87" y="6"/>
                  <a:pt x="87" y="7"/>
                </a:cubicBezTo>
                <a:cubicBezTo>
                  <a:pt x="87" y="7"/>
                  <a:pt x="86" y="8"/>
                  <a:pt x="86" y="8"/>
                </a:cubicBezTo>
                <a:cubicBezTo>
                  <a:pt x="76" y="8"/>
                  <a:pt x="76" y="8"/>
                  <a:pt x="76" y="8"/>
                </a:cubicBezTo>
                <a:cubicBezTo>
                  <a:pt x="76" y="16"/>
                  <a:pt x="76" y="16"/>
                  <a:pt x="76" y="16"/>
                </a:cubicBezTo>
                <a:cubicBezTo>
                  <a:pt x="75" y="16"/>
                  <a:pt x="74" y="16"/>
                  <a:pt x="74" y="16"/>
                </a:cubicBezTo>
                <a:cubicBezTo>
                  <a:pt x="73" y="16"/>
                  <a:pt x="72" y="16"/>
                  <a:pt x="71" y="16"/>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2">
            <a:extLst>
              <a:ext uri="{FF2B5EF4-FFF2-40B4-BE49-F238E27FC236}">
                <a16:creationId xmlns:a16="http://schemas.microsoft.com/office/drawing/2014/main" id="{6E339B10-E639-4443-B05B-76FF7C3106AB}"/>
              </a:ext>
            </a:extLst>
          </p:cNvPr>
          <p:cNvSpPr>
            <a:spLocks noEditPoints="1"/>
          </p:cNvSpPr>
          <p:nvPr/>
        </p:nvSpPr>
        <p:spPr bwMode="auto">
          <a:xfrm>
            <a:off x="1637991" y="5849938"/>
            <a:ext cx="601663" cy="604838"/>
          </a:xfrm>
          <a:custGeom>
            <a:avLst/>
            <a:gdLst>
              <a:gd name="T0" fmla="*/ 160 w 160"/>
              <a:gd name="T1" fmla="*/ 80 h 160"/>
              <a:gd name="T2" fmla="*/ 80 w 160"/>
              <a:gd name="T3" fmla="*/ 160 h 160"/>
              <a:gd name="T4" fmla="*/ 0 w 160"/>
              <a:gd name="T5" fmla="*/ 80 h 160"/>
              <a:gd name="T6" fmla="*/ 23 w 160"/>
              <a:gd name="T7" fmla="*/ 24 h 160"/>
              <a:gd name="T8" fmla="*/ 27 w 160"/>
              <a:gd name="T9" fmla="*/ 24 h 160"/>
              <a:gd name="T10" fmla="*/ 27 w 160"/>
              <a:gd name="T11" fmla="*/ 27 h 160"/>
              <a:gd name="T12" fmla="*/ 5 w 160"/>
              <a:gd name="T13" fmla="*/ 80 h 160"/>
              <a:gd name="T14" fmla="*/ 80 w 160"/>
              <a:gd name="T15" fmla="*/ 155 h 160"/>
              <a:gd name="T16" fmla="*/ 155 w 160"/>
              <a:gd name="T17" fmla="*/ 80 h 160"/>
              <a:gd name="T18" fmla="*/ 83 w 160"/>
              <a:gd name="T19" fmla="*/ 5 h 160"/>
              <a:gd name="T20" fmla="*/ 83 w 160"/>
              <a:gd name="T21" fmla="*/ 38 h 160"/>
              <a:gd name="T22" fmla="*/ 80 w 160"/>
              <a:gd name="T23" fmla="*/ 41 h 160"/>
              <a:gd name="T24" fmla="*/ 77 w 160"/>
              <a:gd name="T25" fmla="*/ 38 h 160"/>
              <a:gd name="T26" fmla="*/ 77 w 160"/>
              <a:gd name="T27" fmla="*/ 3 h 160"/>
              <a:gd name="T28" fmla="*/ 80 w 160"/>
              <a:gd name="T29" fmla="*/ 0 h 160"/>
              <a:gd name="T30" fmla="*/ 160 w 160"/>
              <a:gd name="T31" fmla="*/ 80 h 160"/>
              <a:gd name="T32" fmla="*/ 51 w 160"/>
              <a:gd name="T33" fmla="*/ 55 h 160"/>
              <a:gd name="T34" fmla="*/ 51 w 160"/>
              <a:gd name="T35" fmla="*/ 51 h 160"/>
              <a:gd name="T36" fmla="*/ 55 w 160"/>
              <a:gd name="T37" fmla="*/ 51 h 160"/>
              <a:gd name="T38" fmla="*/ 89 w 160"/>
              <a:gd name="T39" fmla="*/ 76 h 160"/>
              <a:gd name="T40" fmla="*/ 93 w 160"/>
              <a:gd name="T41" fmla="*/ 83 h 160"/>
              <a:gd name="T42" fmla="*/ 91 w 160"/>
              <a:gd name="T43" fmla="*/ 91 h 160"/>
              <a:gd name="T44" fmla="*/ 84 w 160"/>
              <a:gd name="T45" fmla="*/ 93 h 160"/>
              <a:gd name="T46" fmla="*/ 83 w 160"/>
              <a:gd name="T47" fmla="*/ 93 h 160"/>
              <a:gd name="T48" fmla="*/ 76 w 160"/>
              <a:gd name="T49" fmla="*/ 89 h 160"/>
              <a:gd name="T50" fmla="*/ 51 w 160"/>
              <a:gd name="T51" fmla="*/ 55 h 160"/>
              <a:gd name="T52" fmla="*/ 65 w 160"/>
              <a:gd name="T53" fmla="*/ 65 h 160"/>
              <a:gd name="T54" fmla="*/ 80 w 160"/>
              <a:gd name="T55" fmla="*/ 86 h 160"/>
              <a:gd name="T56" fmla="*/ 84 w 160"/>
              <a:gd name="T57" fmla="*/ 88 h 160"/>
              <a:gd name="T58" fmla="*/ 87 w 160"/>
              <a:gd name="T59" fmla="*/ 87 h 160"/>
              <a:gd name="T60" fmla="*/ 88 w 160"/>
              <a:gd name="T61" fmla="*/ 84 h 160"/>
              <a:gd name="T62" fmla="*/ 86 w 160"/>
              <a:gd name="T63" fmla="*/ 80 h 160"/>
              <a:gd name="T64" fmla="*/ 65 w 160"/>
              <a:gd name="T65" fmla="*/ 6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60" y="80"/>
                </a:moveTo>
                <a:cubicBezTo>
                  <a:pt x="160" y="124"/>
                  <a:pt x="124" y="160"/>
                  <a:pt x="80" y="160"/>
                </a:cubicBezTo>
                <a:cubicBezTo>
                  <a:pt x="36" y="160"/>
                  <a:pt x="0" y="124"/>
                  <a:pt x="0" y="80"/>
                </a:cubicBezTo>
                <a:cubicBezTo>
                  <a:pt x="0" y="59"/>
                  <a:pt x="8" y="39"/>
                  <a:pt x="23" y="24"/>
                </a:cubicBezTo>
                <a:cubicBezTo>
                  <a:pt x="24" y="22"/>
                  <a:pt x="26" y="22"/>
                  <a:pt x="27" y="24"/>
                </a:cubicBezTo>
                <a:cubicBezTo>
                  <a:pt x="28" y="25"/>
                  <a:pt x="28" y="26"/>
                  <a:pt x="27" y="27"/>
                </a:cubicBezTo>
                <a:cubicBezTo>
                  <a:pt x="13" y="41"/>
                  <a:pt x="5" y="60"/>
                  <a:pt x="5" y="80"/>
                </a:cubicBezTo>
                <a:cubicBezTo>
                  <a:pt x="5" y="121"/>
                  <a:pt x="39" y="155"/>
                  <a:pt x="80" y="155"/>
                </a:cubicBezTo>
                <a:cubicBezTo>
                  <a:pt x="121" y="155"/>
                  <a:pt x="155" y="121"/>
                  <a:pt x="155" y="80"/>
                </a:cubicBezTo>
                <a:cubicBezTo>
                  <a:pt x="155" y="40"/>
                  <a:pt x="123" y="7"/>
                  <a:pt x="83" y="5"/>
                </a:cubicBezTo>
                <a:cubicBezTo>
                  <a:pt x="83" y="38"/>
                  <a:pt x="83" y="38"/>
                  <a:pt x="83" y="38"/>
                </a:cubicBezTo>
                <a:cubicBezTo>
                  <a:pt x="83" y="40"/>
                  <a:pt x="81" y="41"/>
                  <a:pt x="80" y="41"/>
                </a:cubicBezTo>
                <a:cubicBezTo>
                  <a:pt x="79" y="41"/>
                  <a:pt x="77" y="40"/>
                  <a:pt x="77" y="38"/>
                </a:cubicBezTo>
                <a:cubicBezTo>
                  <a:pt x="77" y="3"/>
                  <a:pt x="77" y="3"/>
                  <a:pt x="77" y="3"/>
                </a:cubicBezTo>
                <a:cubicBezTo>
                  <a:pt x="77" y="1"/>
                  <a:pt x="79" y="0"/>
                  <a:pt x="80" y="0"/>
                </a:cubicBezTo>
                <a:cubicBezTo>
                  <a:pt x="124" y="0"/>
                  <a:pt x="160" y="36"/>
                  <a:pt x="160" y="80"/>
                </a:cubicBezTo>
                <a:close/>
                <a:moveTo>
                  <a:pt x="51" y="55"/>
                </a:moveTo>
                <a:cubicBezTo>
                  <a:pt x="50" y="54"/>
                  <a:pt x="51" y="52"/>
                  <a:pt x="51" y="51"/>
                </a:cubicBezTo>
                <a:cubicBezTo>
                  <a:pt x="52" y="51"/>
                  <a:pt x="54" y="50"/>
                  <a:pt x="55" y="51"/>
                </a:cubicBezTo>
                <a:cubicBezTo>
                  <a:pt x="89" y="76"/>
                  <a:pt x="89" y="76"/>
                  <a:pt x="89" y="76"/>
                </a:cubicBezTo>
                <a:cubicBezTo>
                  <a:pt x="92" y="78"/>
                  <a:pt x="93" y="80"/>
                  <a:pt x="93" y="83"/>
                </a:cubicBezTo>
                <a:cubicBezTo>
                  <a:pt x="94" y="86"/>
                  <a:pt x="93" y="89"/>
                  <a:pt x="91" y="91"/>
                </a:cubicBezTo>
                <a:cubicBezTo>
                  <a:pt x="89" y="92"/>
                  <a:pt x="86" y="93"/>
                  <a:pt x="84" y="93"/>
                </a:cubicBezTo>
                <a:cubicBezTo>
                  <a:pt x="84" y="93"/>
                  <a:pt x="83" y="93"/>
                  <a:pt x="83" y="93"/>
                </a:cubicBezTo>
                <a:cubicBezTo>
                  <a:pt x="80" y="93"/>
                  <a:pt x="78" y="92"/>
                  <a:pt x="76" y="89"/>
                </a:cubicBezTo>
                <a:lnTo>
                  <a:pt x="51" y="55"/>
                </a:lnTo>
                <a:close/>
                <a:moveTo>
                  <a:pt x="65" y="65"/>
                </a:moveTo>
                <a:cubicBezTo>
                  <a:pt x="80" y="86"/>
                  <a:pt x="80" y="86"/>
                  <a:pt x="80" y="86"/>
                </a:cubicBezTo>
                <a:cubicBezTo>
                  <a:pt x="81" y="87"/>
                  <a:pt x="82" y="88"/>
                  <a:pt x="84" y="88"/>
                </a:cubicBezTo>
                <a:cubicBezTo>
                  <a:pt x="85" y="88"/>
                  <a:pt x="86" y="88"/>
                  <a:pt x="87" y="87"/>
                </a:cubicBezTo>
                <a:cubicBezTo>
                  <a:pt x="88" y="86"/>
                  <a:pt x="88" y="85"/>
                  <a:pt x="88" y="84"/>
                </a:cubicBezTo>
                <a:cubicBezTo>
                  <a:pt x="88" y="82"/>
                  <a:pt x="87" y="81"/>
                  <a:pt x="86" y="80"/>
                </a:cubicBezTo>
                <a:lnTo>
                  <a:pt x="65" y="65"/>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23">
            <a:extLst>
              <a:ext uri="{FF2B5EF4-FFF2-40B4-BE49-F238E27FC236}">
                <a16:creationId xmlns:a16="http://schemas.microsoft.com/office/drawing/2014/main" id="{54B83B45-0C08-E240-AA89-86257AF40B98}"/>
              </a:ext>
            </a:extLst>
          </p:cNvPr>
          <p:cNvSpPr>
            <a:spLocks noEditPoints="1"/>
          </p:cNvSpPr>
          <p:nvPr/>
        </p:nvSpPr>
        <p:spPr bwMode="auto">
          <a:xfrm>
            <a:off x="2688916" y="400050"/>
            <a:ext cx="601663" cy="604838"/>
          </a:xfrm>
          <a:custGeom>
            <a:avLst/>
            <a:gdLst>
              <a:gd name="T0" fmla="*/ 0 w 160"/>
              <a:gd name="T1" fmla="*/ 80 h 160"/>
              <a:gd name="T2" fmla="*/ 27 w 160"/>
              <a:gd name="T3" fmla="*/ 140 h 160"/>
              <a:gd name="T4" fmla="*/ 49 w 160"/>
              <a:gd name="T5" fmla="*/ 154 h 160"/>
              <a:gd name="T6" fmla="*/ 54 w 160"/>
              <a:gd name="T7" fmla="*/ 156 h 160"/>
              <a:gd name="T8" fmla="*/ 59 w 160"/>
              <a:gd name="T9" fmla="*/ 157 h 160"/>
              <a:gd name="T10" fmla="*/ 65 w 160"/>
              <a:gd name="T11" fmla="*/ 159 h 160"/>
              <a:gd name="T12" fmla="*/ 70 w 160"/>
              <a:gd name="T13" fmla="*/ 159 h 160"/>
              <a:gd name="T14" fmla="*/ 76 w 160"/>
              <a:gd name="T15" fmla="*/ 160 h 160"/>
              <a:gd name="T16" fmla="*/ 85 w 160"/>
              <a:gd name="T17" fmla="*/ 160 h 160"/>
              <a:gd name="T18" fmla="*/ 91 w 160"/>
              <a:gd name="T19" fmla="*/ 159 h 160"/>
              <a:gd name="T20" fmla="*/ 97 w 160"/>
              <a:gd name="T21" fmla="*/ 158 h 160"/>
              <a:gd name="T22" fmla="*/ 102 w 160"/>
              <a:gd name="T23" fmla="*/ 157 h 160"/>
              <a:gd name="T24" fmla="*/ 108 w 160"/>
              <a:gd name="T25" fmla="*/ 155 h 160"/>
              <a:gd name="T26" fmla="*/ 114 w 160"/>
              <a:gd name="T27" fmla="*/ 153 h 160"/>
              <a:gd name="T28" fmla="*/ 135 w 160"/>
              <a:gd name="T29" fmla="*/ 138 h 160"/>
              <a:gd name="T30" fmla="*/ 5 w 160"/>
              <a:gd name="T31" fmla="*/ 80 h 160"/>
              <a:gd name="T32" fmla="*/ 131 w 160"/>
              <a:gd name="T33" fmla="*/ 134 h 160"/>
              <a:gd name="T34" fmla="*/ 5 w 160"/>
              <a:gd name="T35" fmla="*/ 80 h 160"/>
              <a:gd name="T36" fmla="*/ 121 w 160"/>
              <a:gd name="T37" fmla="*/ 142 h 160"/>
              <a:gd name="T38" fmla="*/ 111 w 160"/>
              <a:gd name="T39" fmla="*/ 148 h 160"/>
              <a:gd name="T40" fmla="*/ 105 w 160"/>
              <a:gd name="T41" fmla="*/ 150 h 160"/>
              <a:gd name="T42" fmla="*/ 87 w 160"/>
              <a:gd name="T43" fmla="*/ 154 h 160"/>
              <a:gd name="T44" fmla="*/ 74 w 160"/>
              <a:gd name="T45" fmla="*/ 154 h 160"/>
              <a:gd name="T46" fmla="*/ 67 w 160"/>
              <a:gd name="T47" fmla="*/ 153 h 160"/>
              <a:gd name="T48" fmla="*/ 55 w 160"/>
              <a:gd name="T49" fmla="*/ 150 h 160"/>
              <a:gd name="T50" fmla="*/ 49 w 160"/>
              <a:gd name="T51" fmla="*/ 148 h 160"/>
              <a:gd name="T52" fmla="*/ 38 w 160"/>
              <a:gd name="T53" fmla="*/ 142 h 160"/>
              <a:gd name="T54" fmla="*/ 33 w 160"/>
              <a:gd name="T55" fmla="*/ 138 h 160"/>
              <a:gd name="T56" fmla="*/ 126 w 160"/>
              <a:gd name="T57" fmla="*/ 139 h 160"/>
              <a:gd name="T58" fmla="*/ 80 w 160"/>
              <a:gd name="T59" fmla="*/ 11 h 160"/>
              <a:gd name="T60" fmla="*/ 80 w 160"/>
              <a:gd name="T61" fmla="*/ 21 h 160"/>
              <a:gd name="T62" fmla="*/ 148 w 160"/>
              <a:gd name="T63" fmla="*/ 77 h 160"/>
              <a:gd name="T64" fmla="*/ 143 w 160"/>
              <a:gd name="T65" fmla="*/ 83 h 160"/>
              <a:gd name="T66" fmla="*/ 17 w 160"/>
              <a:gd name="T67" fmla="*/ 83 h 160"/>
              <a:gd name="T68" fmla="*/ 12 w 160"/>
              <a:gd name="T69" fmla="*/ 77 h 160"/>
              <a:gd name="T70" fmla="*/ 17 w 160"/>
              <a:gd name="T71" fmla="*/ 83 h 160"/>
              <a:gd name="T72" fmla="*/ 115 w 160"/>
              <a:gd name="T73" fmla="*/ 20 h 160"/>
              <a:gd name="T74" fmla="*/ 111 w 160"/>
              <a:gd name="T75" fmla="*/ 30 h 160"/>
              <a:gd name="T76" fmla="*/ 141 w 160"/>
              <a:gd name="T77" fmla="*/ 117 h 160"/>
              <a:gd name="T78" fmla="*/ 133 w 160"/>
              <a:gd name="T79" fmla="*/ 115 h 160"/>
              <a:gd name="T80" fmla="*/ 140 w 160"/>
              <a:gd name="T81" fmla="*/ 113 h 160"/>
              <a:gd name="T82" fmla="*/ 22 w 160"/>
              <a:gd name="T83" fmla="*/ 45 h 160"/>
              <a:gd name="T84" fmla="*/ 26 w 160"/>
              <a:gd name="T85" fmla="*/ 53 h 160"/>
              <a:gd name="T86" fmla="*/ 19 w 160"/>
              <a:gd name="T87" fmla="*/ 46 h 160"/>
              <a:gd name="T88" fmla="*/ 48 w 160"/>
              <a:gd name="T89" fmla="*/ 21 h 160"/>
              <a:gd name="T90" fmla="*/ 49 w 160"/>
              <a:gd name="T91" fmla="*/ 30 h 160"/>
              <a:gd name="T92" fmla="*/ 131 w 160"/>
              <a:gd name="T93" fmla="*/ 50 h 160"/>
              <a:gd name="T94" fmla="*/ 141 w 160"/>
              <a:gd name="T95" fmla="*/ 45 h 160"/>
              <a:gd name="T96" fmla="*/ 134 w 160"/>
              <a:gd name="T97" fmla="*/ 51 h 160"/>
              <a:gd name="T98" fmla="*/ 22 w 160"/>
              <a:gd name="T99" fmla="*/ 116 h 160"/>
              <a:gd name="T100" fmla="*/ 19 w 160"/>
              <a:gd name="T101" fmla="*/ 112 h 160"/>
              <a:gd name="T102" fmla="*/ 26 w 160"/>
              <a:gd name="T103" fmla="*/ 114 h 160"/>
              <a:gd name="T104" fmla="*/ 91 w 160"/>
              <a:gd name="T105" fmla="*/ 77 h 160"/>
              <a:gd name="T106" fmla="*/ 112 w 160"/>
              <a:gd name="T107" fmla="*/ 46 h 160"/>
              <a:gd name="T108" fmla="*/ 72 w 160"/>
              <a:gd name="T109" fmla="*/ 69 h 160"/>
              <a:gd name="T110" fmla="*/ 80 w 160"/>
              <a:gd name="T111" fmla="*/ 88 h 160"/>
              <a:gd name="T112" fmla="*/ 84 w 160"/>
              <a:gd name="T113" fmla="*/ 73 h 160"/>
              <a:gd name="T114" fmla="*/ 76 w 160"/>
              <a:gd name="T115" fmla="*/ 8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60">
                <a:moveTo>
                  <a:pt x="160" y="80"/>
                </a:moveTo>
                <a:cubicBezTo>
                  <a:pt x="160" y="36"/>
                  <a:pt x="124" y="0"/>
                  <a:pt x="80" y="0"/>
                </a:cubicBezTo>
                <a:cubicBezTo>
                  <a:pt x="36" y="0"/>
                  <a:pt x="0" y="36"/>
                  <a:pt x="0" y="80"/>
                </a:cubicBezTo>
                <a:cubicBezTo>
                  <a:pt x="0" y="103"/>
                  <a:pt x="9" y="123"/>
                  <a:pt x="25" y="138"/>
                </a:cubicBezTo>
                <a:cubicBezTo>
                  <a:pt x="25" y="138"/>
                  <a:pt x="25" y="138"/>
                  <a:pt x="25" y="138"/>
                </a:cubicBezTo>
                <a:cubicBezTo>
                  <a:pt x="27" y="140"/>
                  <a:pt x="27" y="140"/>
                  <a:pt x="27" y="140"/>
                </a:cubicBezTo>
                <a:cubicBezTo>
                  <a:pt x="32" y="145"/>
                  <a:pt x="39" y="149"/>
                  <a:pt x="45" y="152"/>
                </a:cubicBezTo>
                <a:cubicBezTo>
                  <a:pt x="46" y="152"/>
                  <a:pt x="46" y="152"/>
                  <a:pt x="46" y="152"/>
                </a:cubicBezTo>
                <a:cubicBezTo>
                  <a:pt x="47" y="153"/>
                  <a:pt x="48" y="153"/>
                  <a:pt x="49" y="154"/>
                </a:cubicBezTo>
                <a:cubicBezTo>
                  <a:pt x="49" y="154"/>
                  <a:pt x="50" y="154"/>
                  <a:pt x="50" y="154"/>
                </a:cubicBezTo>
                <a:cubicBezTo>
                  <a:pt x="51" y="154"/>
                  <a:pt x="51" y="155"/>
                  <a:pt x="52" y="155"/>
                </a:cubicBezTo>
                <a:cubicBezTo>
                  <a:pt x="53" y="155"/>
                  <a:pt x="53" y="155"/>
                  <a:pt x="54" y="156"/>
                </a:cubicBezTo>
                <a:cubicBezTo>
                  <a:pt x="54" y="156"/>
                  <a:pt x="55" y="156"/>
                  <a:pt x="55" y="156"/>
                </a:cubicBezTo>
                <a:cubicBezTo>
                  <a:pt x="56" y="156"/>
                  <a:pt x="57" y="157"/>
                  <a:pt x="58" y="157"/>
                </a:cubicBezTo>
                <a:cubicBezTo>
                  <a:pt x="58" y="157"/>
                  <a:pt x="59" y="157"/>
                  <a:pt x="59" y="157"/>
                </a:cubicBezTo>
                <a:cubicBezTo>
                  <a:pt x="60" y="157"/>
                  <a:pt x="60" y="158"/>
                  <a:pt x="61" y="158"/>
                </a:cubicBezTo>
                <a:cubicBezTo>
                  <a:pt x="62" y="158"/>
                  <a:pt x="62" y="158"/>
                  <a:pt x="63" y="158"/>
                </a:cubicBezTo>
                <a:cubicBezTo>
                  <a:pt x="63" y="158"/>
                  <a:pt x="64" y="158"/>
                  <a:pt x="65" y="159"/>
                </a:cubicBezTo>
                <a:cubicBezTo>
                  <a:pt x="65" y="159"/>
                  <a:pt x="66" y="159"/>
                  <a:pt x="66" y="159"/>
                </a:cubicBezTo>
                <a:cubicBezTo>
                  <a:pt x="67" y="159"/>
                  <a:pt x="68" y="159"/>
                  <a:pt x="69" y="159"/>
                </a:cubicBezTo>
                <a:cubicBezTo>
                  <a:pt x="69" y="159"/>
                  <a:pt x="70" y="159"/>
                  <a:pt x="70" y="159"/>
                </a:cubicBezTo>
                <a:cubicBezTo>
                  <a:pt x="71" y="159"/>
                  <a:pt x="72" y="160"/>
                  <a:pt x="72" y="160"/>
                </a:cubicBezTo>
                <a:cubicBezTo>
                  <a:pt x="73" y="160"/>
                  <a:pt x="74" y="160"/>
                  <a:pt x="75" y="160"/>
                </a:cubicBezTo>
                <a:cubicBezTo>
                  <a:pt x="75" y="160"/>
                  <a:pt x="76" y="160"/>
                  <a:pt x="76" y="160"/>
                </a:cubicBezTo>
                <a:cubicBezTo>
                  <a:pt x="77" y="160"/>
                  <a:pt x="79" y="160"/>
                  <a:pt x="80" y="160"/>
                </a:cubicBezTo>
                <a:cubicBezTo>
                  <a:pt x="81" y="160"/>
                  <a:pt x="83" y="160"/>
                  <a:pt x="84" y="160"/>
                </a:cubicBezTo>
                <a:cubicBezTo>
                  <a:pt x="84" y="160"/>
                  <a:pt x="85" y="160"/>
                  <a:pt x="85" y="160"/>
                </a:cubicBezTo>
                <a:cubicBezTo>
                  <a:pt x="86" y="160"/>
                  <a:pt x="87" y="160"/>
                  <a:pt x="88" y="160"/>
                </a:cubicBezTo>
                <a:cubicBezTo>
                  <a:pt x="88" y="160"/>
                  <a:pt x="89" y="159"/>
                  <a:pt x="90" y="159"/>
                </a:cubicBezTo>
                <a:cubicBezTo>
                  <a:pt x="90" y="159"/>
                  <a:pt x="91" y="159"/>
                  <a:pt x="91" y="159"/>
                </a:cubicBezTo>
                <a:cubicBezTo>
                  <a:pt x="92" y="159"/>
                  <a:pt x="93" y="159"/>
                  <a:pt x="94" y="159"/>
                </a:cubicBezTo>
                <a:cubicBezTo>
                  <a:pt x="94" y="159"/>
                  <a:pt x="95" y="159"/>
                  <a:pt x="95" y="159"/>
                </a:cubicBezTo>
                <a:cubicBezTo>
                  <a:pt x="96" y="158"/>
                  <a:pt x="97" y="158"/>
                  <a:pt x="97" y="158"/>
                </a:cubicBezTo>
                <a:cubicBezTo>
                  <a:pt x="98" y="158"/>
                  <a:pt x="98" y="158"/>
                  <a:pt x="99" y="158"/>
                </a:cubicBezTo>
                <a:cubicBezTo>
                  <a:pt x="99" y="158"/>
                  <a:pt x="100" y="157"/>
                  <a:pt x="101" y="157"/>
                </a:cubicBezTo>
                <a:cubicBezTo>
                  <a:pt x="101" y="157"/>
                  <a:pt x="102" y="157"/>
                  <a:pt x="102" y="157"/>
                </a:cubicBezTo>
                <a:cubicBezTo>
                  <a:pt x="103" y="157"/>
                  <a:pt x="104" y="156"/>
                  <a:pt x="105" y="156"/>
                </a:cubicBezTo>
                <a:cubicBezTo>
                  <a:pt x="105" y="156"/>
                  <a:pt x="105" y="156"/>
                  <a:pt x="106" y="156"/>
                </a:cubicBezTo>
                <a:cubicBezTo>
                  <a:pt x="107" y="155"/>
                  <a:pt x="107" y="155"/>
                  <a:pt x="108" y="155"/>
                </a:cubicBezTo>
                <a:cubicBezTo>
                  <a:pt x="109" y="155"/>
                  <a:pt x="109" y="155"/>
                  <a:pt x="110" y="154"/>
                </a:cubicBezTo>
                <a:cubicBezTo>
                  <a:pt x="110" y="154"/>
                  <a:pt x="111" y="154"/>
                  <a:pt x="111" y="154"/>
                </a:cubicBezTo>
                <a:cubicBezTo>
                  <a:pt x="112" y="153"/>
                  <a:pt x="113" y="153"/>
                  <a:pt x="114" y="153"/>
                </a:cubicBezTo>
                <a:cubicBezTo>
                  <a:pt x="114" y="152"/>
                  <a:pt x="114" y="152"/>
                  <a:pt x="115" y="152"/>
                </a:cubicBezTo>
                <a:cubicBezTo>
                  <a:pt x="121" y="149"/>
                  <a:pt x="127" y="145"/>
                  <a:pt x="133" y="140"/>
                </a:cubicBezTo>
                <a:cubicBezTo>
                  <a:pt x="135" y="138"/>
                  <a:pt x="135" y="138"/>
                  <a:pt x="135" y="138"/>
                </a:cubicBezTo>
                <a:cubicBezTo>
                  <a:pt x="135" y="138"/>
                  <a:pt x="135" y="138"/>
                  <a:pt x="135" y="138"/>
                </a:cubicBezTo>
                <a:cubicBezTo>
                  <a:pt x="150" y="123"/>
                  <a:pt x="160" y="103"/>
                  <a:pt x="160" y="80"/>
                </a:cubicBezTo>
                <a:close/>
                <a:moveTo>
                  <a:pt x="5" y="80"/>
                </a:moveTo>
                <a:cubicBezTo>
                  <a:pt x="5" y="39"/>
                  <a:pt x="39" y="5"/>
                  <a:pt x="80" y="5"/>
                </a:cubicBezTo>
                <a:cubicBezTo>
                  <a:pt x="121" y="5"/>
                  <a:pt x="155" y="39"/>
                  <a:pt x="155" y="80"/>
                </a:cubicBezTo>
                <a:cubicBezTo>
                  <a:pt x="155" y="101"/>
                  <a:pt x="146" y="121"/>
                  <a:pt x="131" y="134"/>
                </a:cubicBezTo>
                <a:cubicBezTo>
                  <a:pt x="116" y="123"/>
                  <a:pt x="99" y="117"/>
                  <a:pt x="80" y="117"/>
                </a:cubicBezTo>
                <a:cubicBezTo>
                  <a:pt x="61" y="117"/>
                  <a:pt x="44" y="123"/>
                  <a:pt x="29" y="134"/>
                </a:cubicBezTo>
                <a:cubicBezTo>
                  <a:pt x="14" y="121"/>
                  <a:pt x="5" y="101"/>
                  <a:pt x="5" y="80"/>
                </a:cubicBezTo>
                <a:close/>
                <a:moveTo>
                  <a:pt x="126" y="139"/>
                </a:moveTo>
                <a:cubicBezTo>
                  <a:pt x="125" y="140"/>
                  <a:pt x="124" y="141"/>
                  <a:pt x="122" y="141"/>
                </a:cubicBezTo>
                <a:cubicBezTo>
                  <a:pt x="122" y="142"/>
                  <a:pt x="122" y="142"/>
                  <a:pt x="121" y="142"/>
                </a:cubicBezTo>
                <a:cubicBezTo>
                  <a:pt x="120" y="143"/>
                  <a:pt x="118" y="144"/>
                  <a:pt x="117" y="145"/>
                </a:cubicBezTo>
                <a:cubicBezTo>
                  <a:pt x="117" y="145"/>
                  <a:pt x="116" y="145"/>
                  <a:pt x="116" y="145"/>
                </a:cubicBezTo>
                <a:cubicBezTo>
                  <a:pt x="114" y="146"/>
                  <a:pt x="113" y="147"/>
                  <a:pt x="111" y="148"/>
                </a:cubicBezTo>
                <a:cubicBezTo>
                  <a:pt x="111" y="148"/>
                  <a:pt x="111" y="148"/>
                  <a:pt x="110" y="148"/>
                </a:cubicBezTo>
                <a:cubicBezTo>
                  <a:pt x="109" y="149"/>
                  <a:pt x="107" y="150"/>
                  <a:pt x="105" y="150"/>
                </a:cubicBezTo>
                <a:cubicBezTo>
                  <a:pt x="105" y="150"/>
                  <a:pt x="105" y="150"/>
                  <a:pt x="105" y="150"/>
                </a:cubicBezTo>
                <a:cubicBezTo>
                  <a:pt x="101" y="152"/>
                  <a:pt x="97" y="153"/>
                  <a:pt x="93" y="153"/>
                </a:cubicBezTo>
                <a:cubicBezTo>
                  <a:pt x="93" y="154"/>
                  <a:pt x="93" y="154"/>
                  <a:pt x="92" y="154"/>
                </a:cubicBezTo>
                <a:cubicBezTo>
                  <a:pt x="91" y="154"/>
                  <a:pt x="89" y="154"/>
                  <a:pt x="87" y="154"/>
                </a:cubicBezTo>
                <a:cubicBezTo>
                  <a:pt x="86" y="154"/>
                  <a:pt x="86" y="154"/>
                  <a:pt x="86" y="154"/>
                </a:cubicBezTo>
                <a:cubicBezTo>
                  <a:pt x="84" y="155"/>
                  <a:pt x="82" y="155"/>
                  <a:pt x="80" y="155"/>
                </a:cubicBezTo>
                <a:cubicBezTo>
                  <a:pt x="78" y="155"/>
                  <a:pt x="76" y="155"/>
                  <a:pt x="74" y="154"/>
                </a:cubicBezTo>
                <a:cubicBezTo>
                  <a:pt x="74" y="154"/>
                  <a:pt x="74" y="154"/>
                  <a:pt x="73" y="154"/>
                </a:cubicBezTo>
                <a:cubicBezTo>
                  <a:pt x="71" y="154"/>
                  <a:pt x="69" y="154"/>
                  <a:pt x="68" y="154"/>
                </a:cubicBezTo>
                <a:cubicBezTo>
                  <a:pt x="67" y="154"/>
                  <a:pt x="67" y="154"/>
                  <a:pt x="67" y="153"/>
                </a:cubicBezTo>
                <a:cubicBezTo>
                  <a:pt x="65" y="153"/>
                  <a:pt x="63" y="153"/>
                  <a:pt x="61" y="152"/>
                </a:cubicBezTo>
                <a:cubicBezTo>
                  <a:pt x="61" y="152"/>
                  <a:pt x="61" y="152"/>
                  <a:pt x="61" y="152"/>
                </a:cubicBezTo>
                <a:cubicBezTo>
                  <a:pt x="59" y="152"/>
                  <a:pt x="57" y="151"/>
                  <a:pt x="55" y="150"/>
                </a:cubicBezTo>
                <a:cubicBezTo>
                  <a:pt x="55" y="150"/>
                  <a:pt x="55" y="150"/>
                  <a:pt x="55" y="150"/>
                </a:cubicBezTo>
                <a:cubicBezTo>
                  <a:pt x="53" y="150"/>
                  <a:pt x="51" y="149"/>
                  <a:pt x="50" y="148"/>
                </a:cubicBezTo>
                <a:cubicBezTo>
                  <a:pt x="49" y="148"/>
                  <a:pt x="49" y="148"/>
                  <a:pt x="49" y="148"/>
                </a:cubicBezTo>
                <a:cubicBezTo>
                  <a:pt x="47" y="147"/>
                  <a:pt x="45" y="146"/>
                  <a:pt x="44" y="145"/>
                </a:cubicBezTo>
                <a:cubicBezTo>
                  <a:pt x="44" y="145"/>
                  <a:pt x="43" y="145"/>
                  <a:pt x="43" y="145"/>
                </a:cubicBezTo>
                <a:cubicBezTo>
                  <a:pt x="41" y="144"/>
                  <a:pt x="40" y="143"/>
                  <a:pt x="38" y="142"/>
                </a:cubicBezTo>
                <a:cubicBezTo>
                  <a:pt x="38" y="142"/>
                  <a:pt x="38" y="141"/>
                  <a:pt x="37" y="141"/>
                </a:cubicBezTo>
                <a:cubicBezTo>
                  <a:pt x="36" y="140"/>
                  <a:pt x="35" y="139"/>
                  <a:pt x="34" y="139"/>
                </a:cubicBezTo>
                <a:cubicBezTo>
                  <a:pt x="33" y="138"/>
                  <a:pt x="33" y="138"/>
                  <a:pt x="33" y="138"/>
                </a:cubicBezTo>
                <a:cubicBezTo>
                  <a:pt x="47" y="128"/>
                  <a:pt x="63" y="123"/>
                  <a:pt x="80" y="123"/>
                </a:cubicBezTo>
                <a:cubicBezTo>
                  <a:pt x="97" y="123"/>
                  <a:pt x="113" y="128"/>
                  <a:pt x="127" y="138"/>
                </a:cubicBezTo>
                <a:cubicBezTo>
                  <a:pt x="127" y="138"/>
                  <a:pt x="126" y="138"/>
                  <a:pt x="126" y="139"/>
                </a:cubicBezTo>
                <a:close/>
                <a:moveTo>
                  <a:pt x="77" y="19"/>
                </a:moveTo>
                <a:cubicBezTo>
                  <a:pt x="77" y="13"/>
                  <a:pt x="77" y="13"/>
                  <a:pt x="77" y="13"/>
                </a:cubicBezTo>
                <a:cubicBezTo>
                  <a:pt x="77" y="12"/>
                  <a:pt x="79" y="11"/>
                  <a:pt x="80" y="11"/>
                </a:cubicBezTo>
                <a:cubicBezTo>
                  <a:pt x="81" y="11"/>
                  <a:pt x="83" y="12"/>
                  <a:pt x="83" y="13"/>
                </a:cubicBezTo>
                <a:cubicBezTo>
                  <a:pt x="83" y="19"/>
                  <a:pt x="83" y="19"/>
                  <a:pt x="83" y="19"/>
                </a:cubicBezTo>
                <a:cubicBezTo>
                  <a:pt x="83" y="20"/>
                  <a:pt x="81" y="21"/>
                  <a:pt x="80" y="21"/>
                </a:cubicBezTo>
                <a:cubicBezTo>
                  <a:pt x="79" y="21"/>
                  <a:pt x="77" y="20"/>
                  <a:pt x="77" y="19"/>
                </a:cubicBezTo>
                <a:close/>
                <a:moveTo>
                  <a:pt x="143" y="77"/>
                </a:moveTo>
                <a:cubicBezTo>
                  <a:pt x="148" y="77"/>
                  <a:pt x="148" y="77"/>
                  <a:pt x="148" y="77"/>
                </a:cubicBezTo>
                <a:cubicBezTo>
                  <a:pt x="149" y="77"/>
                  <a:pt x="151" y="79"/>
                  <a:pt x="151" y="80"/>
                </a:cubicBezTo>
                <a:cubicBezTo>
                  <a:pt x="151" y="81"/>
                  <a:pt x="149" y="83"/>
                  <a:pt x="148" y="83"/>
                </a:cubicBezTo>
                <a:cubicBezTo>
                  <a:pt x="143" y="83"/>
                  <a:pt x="143" y="83"/>
                  <a:pt x="143" y="83"/>
                </a:cubicBezTo>
                <a:cubicBezTo>
                  <a:pt x="141" y="83"/>
                  <a:pt x="140" y="81"/>
                  <a:pt x="140" y="80"/>
                </a:cubicBezTo>
                <a:cubicBezTo>
                  <a:pt x="140" y="79"/>
                  <a:pt x="141" y="77"/>
                  <a:pt x="143" y="77"/>
                </a:cubicBezTo>
                <a:close/>
                <a:moveTo>
                  <a:pt x="17" y="83"/>
                </a:moveTo>
                <a:cubicBezTo>
                  <a:pt x="12" y="83"/>
                  <a:pt x="12" y="83"/>
                  <a:pt x="12" y="83"/>
                </a:cubicBezTo>
                <a:cubicBezTo>
                  <a:pt x="11" y="83"/>
                  <a:pt x="9" y="81"/>
                  <a:pt x="9" y="80"/>
                </a:cubicBezTo>
                <a:cubicBezTo>
                  <a:pt x="9" y="79"/>
                  <a:pt x="11" y="77"/>
                  <a:pt x="12" y="77"/>
                </a:cubicBezTo>
                <a:cubicBezTo>
                  <a:pt x="17" y="77"/>
                  <a:pt x="17" y="77"/>
                  <a:pt x="17" y="77"/>
                </a:cubicBezTo>
                <a:cubicBezTo>
                  <a:pt x="19" y="77"/>
                  <a:pt x="20" y="79"/>
                  <a:pt x="20" y="80"/>
                </a:cubicBezTo>
                <a:cubicBezTo>
                  <a:pt x="20" y="81"/>
                  <a:pt x="19" y="83"/>
                  <a:pt x="17" y="83"/>
                </a:cubicBezTo>
                <a:close/>
                <a:moveTo>
                  <a:pt x="109" y="26"/>
                </a:moveTo>
                <a:cubicBezTo>
                  <a:pt x="112" y="21"/>
                  <a:pt x="112" y="21"/>
                  <a:pt x="112" y="21"/>
                </a:cubicBezTo>
                <a:cubicBezTo>
                  <a:pt x="112" y="20"/>
                  <a:pt x="114" y="19"/>
                  <a:pt x="115" y="20"/>
                </a:cubicBezTo>
                <a:cubicBezTo>
                  <a:pt x="117" y="21"/>
                  <a:pt x="117" y="23"/>
                  <a:pt x="116" y="24"/>
                </a:cubicBezTo>
                <a:cubicBezTo>
                  <a:pt x="114" y="28"/>
                  <a:pt x="114" y="28"/>
                  <a:pt x="114" y="28"/>
                </a:cubicBezTo>
                <a:cubicBezTo>
                  <a:pt x="113" y="29"/>
                  <a:pt x="112" y="30"/>
                  <a:pt x="111" y="30"/>
                </a:cubicBezTo>
                <a:cubicBezTo>
                  <a:pt x="111" y="30"/>
                  <a:pt x="110" y="30"/>
                  <a:pt x="110" y="29"/>
                </a:cubicBezTo>
                <a:cubicBezTo>
                  <a:pt x="109" y="29"/>
                  <a:pt x="108" y="27"/>
                  <a:pt x="109" y="26"/>
                </a:cubicBezTo>
                <a:close/>
                <a:moveTo>
                  <a:pt x="141" y="117"/>
                </a:moveTo>
                <a:cubicBezTo>
                  <a:pt x="141" y="118"/>
                  <a:pt x="140" y="118"/>
                  <a:pt x="139" y="118"/>
                </a:cubicBezTo>
                <a:cubicBezTo>
                  <a:pt x="138" y="118"/>
                  <a:pt x="138" y="118"/>
                  <a:pt x="138" y="118"/>
                </a:cubicBezTo>
                <a:cubicBezTo>
                  <a:pt x="133" y="115"/>
                  <a:pt x="133" y="115"/>
                  <a:pt x="133" y="115"/>
                </a:cubicBezTo>
                <a:cubicBezTo>
                  <a:pt x="132" y="114"/>
                  <a:pt x="131" y="113"/>
                  <a:pt x="132" y="111"/>
                </a:cubicBezTo>
                <a:cubicBezTo>
                  <a:pt x="133" y="110"/>
                  <a:pt x="134" y="110"/>
                  <a:pt x="136" y="110"/>
                </a:cubicBezTo>
                <a:cubicBezTo>
                  <a:pt x="140" y="113"/>
                  <a:pt x="140" y="113"/>
                  <a:pt x="140" y="113"/>
                </a:cubicBezTo>
                <a:cubicBezTo>
                  <a:pt x="142" y="114"/>
                  <a:pt x="142" y="115"/>
                  <a:pt x="141" y="117"/>
                </a:cubicBezTo>
                <a:close/>
                <a:moveTo>
                  <a:pt x="19" y="46"/>
                </a:moveTo>
                <a:cubicBezTo>
                  <a:pt x="20" y="45"/>
                  <a:pt x="21" y="44"/>
                  <a:pt x="22" y="45"/>
                </a:cubicBezTo>
                <a:cubicBezTo>
                  <a:pt x="27" y="48"/>
                  <a:pt x="27" y="48"/>
                  <a:pt x="27" y="48"/>
                </a:cubicBezTo>
                <a:cubicBezTo>
                  <a:pt x="28" y="48"/>
                  <a:pt x="29" y="50"/>
                  <a:pt x="28" y="51"/>
                </a:cubicBezTo>
                <a:cubicBezTo>
                  <a:pt x="28" y="52"/>
                  <a:pt x="27" y="53"/>
                  <a:pt x="26" y="53"/>
                </a:cubicBezTo>
                <a:cubicBezTo>
                  <a:pt x="25" y="53"/>
                  <a:pt x="25" y="53"/>
                  <a:pt x="24" y="52"/>
                </a:cubicBezTo>
                <a:cubicBezTo>
                  <a:pt x="20" y="50"/>
                  <a:pt x="20" y="50"/>
                  <a:pt x="20" y="50"/>
                </a:cubicBezTo>
                <a:cubicBezTo>
                  <a:pt x="19" y="49"/>
                  <a:pt x="18" y="47"/>
                  <a:pt x="19" y="46"/>
                </a:cubicBezTo>
                <a:close/>
                <a:moveTo>
                  <a:pt x="44" y="24"/>
                </a:moveTo>
                <a:cubicBezTo>
                  <a:pt x="43" y="22"/>
                  <a:pt x="43" y="21"/>
                  <a:pt x="45" y="20"/>
                </a:cubicBezTo>
                <a:cubicBezTo>
                  <a:pt x="46" y="19"/>
                  <a:pt x="48" y="20"/>
                  <a:pt x="48" y="21"/>
                </a:cubicBezTo>
                <a:cubicBezTo>
                  <a:pt x="51" y="26"/>
                  <a:pt x="51" y="26"/>
                  <a:pt x="51" y="26"/>
                </a:cubicBezTo>
                <a:cubicBezTo>
                  <a:pt x="52" y="27"/>
                  <a:pt x="51" y="29"/>
                  <a:pt x="50" y="29"/>
                </a:cubicBezTo>
                <a:cubicBezTo>
                  <a:pt x="50" y="30"/>
                  <a:pt x="49" y="30"/>
                  <a:pt x="49" y="30"/>
                </a:cubicBezTo>
                <a:cubicBezTo>
                  <a:pt x="48" y="30"/>
                  <a:pt x="47" y="29"/>
                  <a:pt x="46" y="28"/>
                </a:cubicBezTo>
                <a:lnTo>
                  <a:pt x="44" y="24"/>
                </a:lnTo>
                <a:close/>
                <a:moveTo>
                  <a:pt x="131" y="50"/>
                </a:moveTo>
                <a:cubicBezTo>
                  <a:pt x="131" y="49"/>
                  <a:pt x="131" y="47"/>
                  <a:pt x="132" y="46"/>
                </a:cubicBezTo>
                <a:cubicBezTo>
                  <a:pt x="137" y="44"/>
                  <a:pt x="137" y="44"/>
                  <a:pt x="137" y="44"/>
                </a:cubicBezTo>
                <a:cubicBezTo>
                  <a:pt x="138" y="43"/>
                  <a:pt x="140" y="43"/>
                  <a:pt x="141" y="45"/>
                </a:cubicBezTo>
                <a:cubicBezTo>
                  <a:pt x="141" y="46"/>
                  <a:pt x="141" y="48"/>
                  <a:pt x="140" y="48"/>
                </a:cubicBezTo>
                <a:cubicBezTo>
                  <a:pt x="135" y="51"/>
                  <a:pt x="135" y="51"/>
                  <a:pt x="135" y="51"/>
                </a:cubicBezTo>
                <a:cubicBezTo>
                  <a:pt x="135" y="51"/>
                  <a:pt x="134" y="51"/>
                  <a:pt x="134" y="51"/>
                </a:cubicBezTo>
                <a:cubicBezTo>
                  <a:pt x="133" y="51"/>
                  <a:pt x="132" y="51"/>
                  <a:pt x="131" y="50"/>
                </a:cubicBezTo>
                <a:close/>
                <a:moveTo>
                  <a:pt x="26" y="114"/>
                </a:moveTo>
                <a:cubicBezTo>
                  <a:pt x="22" y="116"/>
                  <a:pt x="22" y="116"/>
                  <a:pt x="22" y="116"/>
                </a:cubicBezTo>
                <a:cubicBezTo>
                  <a:pt x="21" y="117"/>
                  <a:pt x="21" y="117"/>
                  <a:pt x="20" y="117"/>
                </a:cubicBezTo>
                <a:cubicBezTo>
                  <a:pt x="20" y="117"/>
                  <a:pt x="19" y="116"/>
                  <a:pt x="18" y="115"/>
                </a:cubicBezTo>
                <a:cubicBezTo>
                  <a:pt x="17" y="114"/>
                  <a:pt x="18" y="113"/>
                  <a:pt x="19" y="112"/>
                </a:cubicBezTo>
                <a:cubicBezTo>
                  <a:pt x="24" y="109"/>
                  <a:pt x="24" y="109"/>
                  <a:pt x="24" y="109"/>
                </a:cubicBezTo>
                <a:cubicBezTo>
                  <a:pt x="25" y="108"/>
                  <a:pt x="27" y="109"/>
                  <a:pt x="27" y="110"/>
                </a:cubicBezTo>
                <a:cubicBezTo>
                  <a:pt x="28" y="111"/>
                  <a:pt x="28" y="113"/>
                  <a:pt x="26" y="114"/>
                </a:cubicBezTo>
                <a:close/>
                <a:moveTo>
                  <a:pt x="80" y="88"/>
                </a:moveTo>
                <a:cubicBezTo>
                  <a:pt x="83" y="88"/>
                  <a:pt x="86" y="87"/>
                  <a:pt x="88" y="85"/>
                </a:cubicBezTo>
                <a:cubicBezTo>
                  <a:pt x="90" y="83"/>
                  <a:pt x="91" y="80"/>
                  <a:pt x="91" y="77"/>
                </a:cubicBezTo>
                <a:cubicBezTo>
                  <a:pt x="91" y="75"/>
                  <a:pt x="90" y="74"/>
                  <a:pt x="89" y="72"/>
                </a:cubicBezTo>
                <a:cubicBezTo>
                  <a:pt x="112" y="50"/>
                  <a:pt x="112" y="50"/>
                  <a:pt x="112" y="50"/>
                </a:cubicBezTo>
                <a:cubicBezTo>
                  <a:pt x="113" y="49"/>
                  <a:pt x="113" y="47"/>
                  <a:pt x="112" y="46"/>
                </a:cubicBezTo>
                <a:cubicBezTo>
                  <a:pt x="111" y="45"/>
                  <a:pt x="109" y="45"/>
                  <a:pt x="108" y="46"/>
                </a:cubicBezTo>
                <a:cubicBezTo>
                  <a:pt x="86" y="68"/>
                  <a:pt x="86" y="68"/>
                  <a:pt x="86" y="68"/>
                </a:cubicBezTo>
                <a:cubicBezTo>
                  <a:pt x="82" y="66"/>
                  <a:pt x="76" y="66"/>
                  <a:pt x="72" y="69"/>
                </a:cubicBezTo>
                <a:cubicBezTo>
                  <a:pt x="70" y="71"/>
                  <a:pt x="69" y="74"/>
                  <a:pt x="69" y="77"/>
                </a:cubicBezTo>
                <a:cubicBezTo>
                  <a:pt x="69" y="80"/>
                  <a:pt x="70" y="83"/>
                  <a:pt x="72" y="85"/>
                </a:cubicBezTo>
                <a:cubicBezTo>
                  <a:pt x="74" y="87"/>
                  <a:pt x="77" y="88"/>
                  <a:pt x="80" y="88"/>
                </a:cubicBezTo>
                <a:close/>
                <a:moveTo>
                  <a:pt x="76" y="73"/>
                </a:moveTo>
                <a:cubicBezTo>
                  <a:pt x="77" y="72"/>
                  <a:pt x="79" y="72"/>
                  <a:pt x="80" y="72"/>
                </a:cubicBezTo>
                <a:cubicBezTo>
                  <a:pt x="81" y="72"/>
                  <a:pt x="83" y="72"/>
                  <a:pt x="84" y="73"/>
                </a:cubicBezTo>
                <a:cubicBezTo>
                  <a:pt x="85" y="74"/>
                  <a:pt x="85" y="76"/>
                  <a:pt x="85" y="77"/>
                </a:cubicBezTo>
                <a:cubicBezTo>
                  <a:pt x="85" y="78"/>
                  <a:pt x="85" y="80"/>
                  <a:pt x="84" y="81"/>
                </a:cubicBezTo>
                <a:cubicBezTo>
                  <a:pt x="82" y="83"/>
                  <a:pt x="78" y="83"/>
                  <a:pt x="76" y="81"/>
                </a:cubicBezTo>
                <a:cubicBezTo>
                  <a:pt x="75" y="80"/>
                  <a:pt x="75" y="78"/>
                  <a:pt x="75" y="77"/>
                </a:cubicBezTo>
                <a:cubicBezTo>
                  <a:pt x="75" y="76"/>
                  <a:pt x="75" y="74"/>
                  <a:pt x="76" y="73"/>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4">
            <a:extLst>
              <a:ext uri="{FF2B5EF4-FFF2-40B4-BE49-F238E27FC236}">
                <a16:creationId xmlns:a16="http://schemas.microsoft.com/office/drawing/2014/main" id="{6997B3BC-7C4E-E54F-A3CD-14C04C3C1B14}"/>
              </a:ext>
            </a:extLst>
          </p:cNvPr>
          <p:cNvSpPr>
            <a:spLocks noEditPoints="1"/>
          </p:cNvSpPr>
          <p:nvPr/>
        </p:nvSpPr>
        <p:spPr bwMode="auto">
          <a:xfrm>
            <a:off x="2704791" y="1081088"/>
            <a:ext cx="563563" cy="604838"/>
          </a:xfrm>
          <a:custGeom>
            <a:avLst/>
            <a:gdLst>
              <a:gd name="T0" fmla="*/ 111 w 150"/>
              <a:gd name="T1" fmla="*/ 63 h 160"/>
              <a:gd name="T2" fmla="*/ 73 w 150"/>
              <a:gd name="T3" fmla="*/ 84 h 160"/>
              <a:gd name="T4" fmla="*/ 79 w 150"/>
              <a:gd name="T5" fmla="*/ 101 h 160"/>
              <a:gd name="T6" fmla="*/ 76 w 150"/>
              <a:gd name="T7" fmla="*/ 88 h 160"/>
              <a:gd name="T8" fmla="*/ 79 w 150"/>
              <a:gd name="T9" fmla="*/ 96 h 160"/>
              <a:gd name="T10" fmla="*/ 139 w 150"/>
              <a:gd name="T11" fmla="*/ 52 h 160"/>
              <a:gd name="T12" fmla="*/ 130 w 150"/>
              <a:gd name="T13" fmla="*/ 39 h 160"/>
              <a:gd name="T14" fmla="*/ 150 w 150"/>
              <a:gd name="T15" fmla="*/ 26 h 160"/>
              <a:gd name="T16" fmla="*/ 132 w 150"/>
              <a:gd name="T17" fmla="*/ 30 h 160"/>
              <a:gd name="T18" fmla="*/ 113 w 150"/>
              <a:gd name="T19" fmla="*/ 26 h 160"/>
              <a:gd name="T20" fmla="*/ 85 w 150"/>
              <a:gd name="T21" fmla="*/ 13 h 160"/>
              <a:gd name="T22" fmla="*/ 89 w 150"/>
              <a:gd name="T23" fmla="*/ 0 h 160"/>
              <a:gd name="T24" fmla="*/ 65 w 150"/>
              <a:gd name="T25" fmla="*/ 13 h 160"/>
              <a:gd name="T26" fmla="*/ 61 w 150"/>
              <a:gd name="T27" fmla="*/ 18 h 160"/>
              <a:gd name="T28" fmla="*/ 69 w 150"/>
              <a:gd name="T29" fmla="*/ 22 h 160"/>
              <a:gd name="T30" fmla="*/ 75 w 150"/>
              <a:gd name="T31" fmla="*/ 27 h 160"/>
              <a:gd name="T32" fmla="*/ 80 w 150"/>
              <a:gd name="T33" fmla="*/ 21 h 160"/>
              <a:gd name="T34" fmla="*/ 106 w 150"/>
              <a:gd name="T35" fmla="*/ 37 h 160"/>
              <a:gd name="T36" fmla="*/ 112 w 150"/>
              <a:gd name="T37" fmla="*/ 32 h 160"/>
              <a:gd name="T38" fmla="*/ 128 w 150"/>
              <a:gd name="T39" fmla="*/ 59 h 160"/>
              <a:gd name="T40" fmla="*/ 136 w 150"/>
              <a:gd name="T41" fmla="*/ 57 h 160"/>
              <a:gd name="T42" fmla="*/ 136 w 150"/>
              <a:gd name="T43" fmla="*/ 88 h 160"/>
              <a:gd name="T44" fmla="*/ 136 w 150"/>
              <a:gd name="T45" fmla="*/ 119 h 160"/>
              <a:gd name="T46" fmla="*/ 129 w 150"/>
              <a:gd name="T47" fmla="*/ 121 h 160"/>
              <a:gd name="T48" fmla="*/ 110 w 150"/>
              <a:gd name="T49" fmla="*/ 140 h 160"/>
              <a:gd name="T50" fmla="*/ 108 w 150"/>
              <a:gd name="T51" fmla="*/ 147 h 160"/>
              <a:gd name="T52" fmla="*/ 77 w 150"/>
              <a:gd name="T53" fmla="*/ 147 h 160"/>
              <a:gd name="T54" fmla="*/ 62 w 150"/>
              <a:gd name="T55" fmla="*/ 153 h 160"/>
              <a:gd name="T56" fmla="*/ 77 w 150"/>
              <a:gd name="T57" fmla="*/ 160 h 160"/>
              <a:gd name="T58" fmla="*/ 77 w 150"/>
              <a:gd name="T59" fmla="*/ 160 h 160"/>
              <a:gd name="T60" fmla="*/ 113 w 150"/>
              <a:gd name="T61" fmla="*/ 150 h 160"/>
              <a:gd name="T62" fmla="*/ 139 w 150"/>
              <a:gd name="T63" fmla="*/ 124 h 160"/>
              <a:gd name="T64" fmla="*/ 139 w 150"/>
              <a:gd name="T65" fmla="*/ 22 h 160"/>
              <a:gd name="T66" fmla="*/ 135 w 150"/>
              <a:gd name="T67" fmla="*/ 26 h 160"/>
              <a:gd name="T68" fmla="*/ 75 w 150"/>
              <a:gd name="T69" fmla="*/ 8 h 160"/>
              <a:gd name="T70" fmla="*/ 65 w 150"/>
              <a:gd name="T71" fmla="*/ 5 h 160"/>
              <a:gd name="T72" fmla="*/ 89 w 150"/>
              <a:gd name="T73" fmla="*/ 8 h 160"/>
              <a:gd name="T74" fmla="*/ 77 w 150"/>
              <a:gd name="T75" fmla="*/ 16 h 160"/>
              <a:gd name="T76" fmla="*/ 76 w 150"/>
              <a:gd name="T77" fmla="*/ 16 h 160"/>
              <a:gd name="T78" fmla="*/ 53 w 150"/>
              <a:gd name="T79" fmla="*/ 43 h 160"/>
              <a:gd name="T80" fmla="*/ 40 w 150"/>
              <a:gd name="T81" fmla="*/ 37 h 160"/>
              <a:gd name="T82" fmla="*/ 56 w 150"/>
              <a:gd name="T83" fmla="*/ 59 h 160"/>
              <a:gd name="T84" fmla="*/ 24 w 150"/>
              <a:gd name="T85" fmla="*/ 59 h 160"/>
              <a:gd name="T86" fmla="*/ 56 w 150"/>
              <a:gd name="T87" fmla="*/ 59 h 160"/>
              <a:gd name="T88" fmla="*/ 13 w 150"/>
              <a:gd name="T89" fmla="*/ 80 h 160"/>
              <a:gd name="T90" fmla="*/ 53 w 150"/>
              <a:gd name="T91" fmla="*/ 75 h 160"/>
              <a:gd name="T92" fmla="*/ 53 w 150"/>
              <a:gd name="T93" fmla="*/ 99 h 160"/>
              <a:gd name="T94" fmla="*/ 3 w 150"/>
              <a:gd name="T95" fmla="*/ 93 h 160"/>
              <a:gd name="T96" fmla="*/ 56 w 150"/>
              <a:gd name="T97" fmla="*/ 115 h 160"/>
              <a:gd name="T98" fmla="*/ 16 w 150"/>
              <a:gd name="T99" fmla="*/ 115 h 160"/>
              <a:gd name="T100" fmla="*/ 56 w 150"/>
              <a:gd name="T101" fmla="*/ 115 h 160"/>
              <a:gd name="T102" fmla="*/ 35 w 150"/>
              <a:gd name="T103" fmla="*/ 136 h 160"/>
              <a:gd name="T104" fmla="*/ 53 w 150"/>
              <a:gd name="T105" fmla="*/ 13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0" h="160">
                <a:moveTo>
                  <a:pt x="80" y="101"/>
                </a:moveTo>
                <a:cubicBezTo>
                  <a:pt x="82" y="101"/>
                  <a:pt x="85" y="100"/>
                  <a:pt x="87" y="97"/>
                </a:cubicBezTo>
                <a:cubicBezTo>
                  <a:pt x="111" y="63"/>
                  <a:pt x="111" y="63"/>
                  <a:pt x="111" y="63"/>
                </a:cubicBezTo>
                <a:cubicBezTo>
                  <a:pt x="112" y="62"/>
                  <a:pt x="112" y="60"/>
                  <a:pt x="111" y="59"/>
                </a:cubicBezTo>
                <a:cubicBezTo>
                  <a:pt x="110" y="59"/>
                  <a:pt x="109" y="58"/>
                  <a:pt x="108" y="59"/>
                </a:cubicBezTo>
                <a:cubicBezTo>
                  <a:pt x="73" y="84"/>
                  <a:pt x="73" y="84"/>
                  <a:pt x="73" y="84"/>
                </a:cubicBezTo>
                <a:cubicBezTo>
                  <a:pt x="71" y="86"/>
                  <a:pt x="70" y="88"/>
                  <a:pt x="69" y="91"/>
                </a:cubicBezTo>
                <a:cubicBezTo>
                  <a:pt x="69" y="94"/>
                  <a:pt x="70" y="97"/>
                  <a:pt x="72" y="99"/>
                </a:cubicBezTo>
                <a:cubicBezTo>
                  <a:pt x="74" y="100"/>
                  <a:pt x="76" y="101"/>
                  <a:pt x="79" y="101"/>
                </a:cubicBezTo>
                <a:cubicBezTo>
                  <a:pt x="79" y="101"/>
                  <a:pt x="79" y="101"/>
                  <a:pt x="80" y="101"/>
                </a:cubicBezTo>
                <a:close/>
                <a:moveTo>
                  <a:pt x="75" y="92"/>
                </a:moveTo>
                <a:cubicBezTo>
                  <a:pt x="75" y="90"/>
                  <a:pt x="75" y="89"/>
                  <a:pt x="76" y="88"/>
                </a:cubicBezTo>
                <a:cubicBezTo>
                  <a:pt x="97" y="73"/>
                  <a:pt x="97" y="73"/>
                  <a:pt x="97" y="73"/>
                </a:cubicBezTo>
                <a:cubicBezTo>
                  <a:pt x="82" y="94"/>
                  <a:pt x="82" y="94"/>
                  <a:pt x="82" y="94"/>
                </a:cubicBezTo>
                <a:cubicBezTo>
                  <a:pt x="81" y="95"/>
                  <a:pt x="80" y="96"/>
                  <a:pt x="79" y="96"/>
                </a:cubicBezTo>
                <a:cubicBezTo>
                  <a:pt x="78" y="96"/>
                  <a:pt x="77" y="96"/>
                  <a:pt x="76" y="95"/>
                </a:cubicBezTo>
                <a:cubicBezTo>
                  <a:pt x="75" y="94"/>
                  <a:pt x="75" y="93"/>
                  <a:pt x="75" y="92"/>
                </a:cubicBezTo>
                <a:close/>
                <a:moveTo>
                  <a:pt x="139" y="52"/>
                </a:moveTo>
                <a:cubicBezTo>
                  <a:pt x="139" y="52"/>
                  <a:pt x="139" y="52"/>
                  <a:pt x="139" y="52"/>
                </a:cubicBezTo>
                <a:cubicBezTo>
                  <a:pt x="139" y="52"/>
                  <a:pt x="139" y="52"/>
                  <a:pt x="139" y="52"/>
                </a:cubicBezTo>
                <a:cubicBezTo>
                  <a:pt x="136" y="47"/>
                  <a:pt x="133" y="43"/>
                  <a:pt x="130" y="39"/>
                </a:cubicBezTo>
                <a:cubicBezTo>
                  <a:pt x="135" y="33"/>
                  <a:pt x="135" y="33"/>
                  <a:pt x="135" y="33"/>
                </a:cubicBezTo>
                <a:cubicBezTo>
                  <a:pt x="139" y="37"/>
                  <a:pt x="139" y="37"/>
                  <a:pt x="139" y="37"/>
                </a:cubicBezTo>
                <a:cubicBezTo>
                  <a:pt x="150" y="26"/>
                  <a:pt x="150" y="26"/>
                  <a:pt x="150" y="26"/>
                </a:cubicBezTo>
                <a:cubicBezTo>
                  <a:pt x="139" y="14"/>
                  <a:pt x="139" y="14"/>
                  <a:pt x="139" y="14"/>
                </a:cubicBezTo>
                <a:cubicBezTo>
                  <a:pt x="128" y="26"/>
                  <a:pt x="128" y="26"/>
                  <a:pt x="128" y="26"/>
                </a:cubicBezTo>
                <a:cubicBezTo>
                  <a:pt x="132" y="30"/>
                  <a:pt x="132" y="30"/>
                  <a:pt x="132" y="30"/>
                </a:cubicBezTo>
                <a:cubicBezTo>
                  <a:pt x="126" y="35"/>
                  <a:pt x="126" y="35"/>
                  <a:pt x="126" y="35"/>
                </a:cubicBezTo>
                <a:cubicBezTo>
                  <a:pt x="122" y="32"/>
                  <a:pt x="118" y="28"/>
                  <a:pt x="113" y="26"/>
                </a:cubicBezTo>
                <a:cubicBezTo>
                  <a:pt x="113" y="26"/>
                  <a:pt x="113" y="26"/>
                  <a:pt x="113" y="26"/>
                </a:cubicBezTo>
                <a:cubicBezTo>
                  <a:pt x="113" y="26"/>
                  <a:pt x="113" y="26"/>
                  <a:pt x="113" y="26"/>
                </a:cubicBezTo>
                <a:cubicBezTo>
                  <a:pt x="104" y="21"/>
                  <a:pt x="95" y="18"/>
                  <a:pt x="85" y="17"/>
                </a:cubicBezTo>
                <a:cubicBezTo>
                  <a:pt x="85" y="13"/>
                  <a:pt x="85" y="13"/>
                  <a:pt x="85" y="13"/>
                </a:cubicBezTo>
                <a:cubicBezTo>
                  <a:pt x="89" y="13"/>
                  <a:pt x="89" y="13"/>
                  <a:pt x="89" y="13"/>
                </a:cubicBezTo>
                <a:cubicBezTo>
                  <a:pt x="93" y="13"/>
                  <a:pt x="96" y="10"/>
                  <a:pt x="96" y="7"/>
                </a:cubicBezTo>
                <a:cubicBezTo>
                  <a:pt x="96" y="3"/>
                  <a:pt x="93" y="0"/>
                  <a:pt x="89" y="0"/>
                </a:cubicBezTo>
                <a:cubicBezTo>
                  <a:pt x="65" y="0"/>
                  <a:pt x="65" y="0"/>
                  <a:pt x="65" y="0"/>
                </a:cubicBezTo>
                <a:cubicBezTo>
                  <a:pt x="62" y="0"/>
                  <a:pt x="59" y="3"/>
                  <a:pt x="59" y="7"/>
                </a:cubicBezTo>
                <a:cubicBezTo>
                  <a:pt x="59" y="10"/>
                  <a:pt x="62" y="13"/>
                  <a:pt x="65" y="13"/>
                </a:cubicBezTo>
                <a:cubicBezTo>
                  <a:pt x="69" y="13"/>
                  <a:pt x="69" y="13"/>
                  <a:pt x="69" y="13"/>
                </a:cubicBezTo>
                <a:cubicBezTo>
                  <a:pt x="69" y="16"/>
                  <a:pt x="69" y="16"/>
                  <a:pt x="69" y="16"/>
                </a:cubicBezTo>
                <a:cubicBezTo>
                  <a:pt x="66" y="17"/>
                  <a:pt x="64" y="17"/>
                  <a:pt x="61" y="18"/>
                </a:cubicBezTo>
                <a:cubicBezTo>
                  <a:pt x="59" y="18"/>
                  <a:pt x="58" y="20"/>
                  <a:pt x="59" y="21"/>
                </a:cubicBezTo>
                <a:cubicBezTo>
                  <a:pt x="59" y="22"/>
                  <a:pt x="60" y="23"/>
                  <a:pt x="62" y="23"/>
                </a:cubicBezTo>
                <a:cubicBezTo>
                  <a:pt x="64" y="22"/>
                  <a:pt x="67" y="22"/>
                  <a:pt x="69" y="22"/>
                </a:cubicBezTo>
                <a:cubicBezTo>
                  <a:pt x="72" y="22"/>
                  <a:pt x="72" y="22"/>
                  <a:pt x="72" y="22"/>
                </a:cubicBezTo>
                <a:cubicBezTo>
                  <a:pt x="73" y="21"/>
                  <a:pt x="74" y="21"/>
                  <a:pt x="75" y="21"/>
                </a:cubicBezTo>
                <a:cubicBezTo>
                  <a:pt x="75" y="27"/>
                  <a:pt x="75" y="27"/>
                  <a:pt x="75" y="27"/>
                </a:cubicBezTo>
                <a:cubicBezTo>
                  <a:pt x="75" y="28"/>
                  <a:pt x="76" y="29"/>
                  <a:pt x="77" y="29"/>
                </a:cubicBezTo>
                <a:cubicBezTo>
                  <a:pt x="79" y="29"/>
                  <a:pt x="80" y="28"/>
                  <a:pt x="80" y="27"/>
                </a:cubicBezTo>
                <a:cubicBezTo>
                  <a:pt x="80" y="21"/>
                  <a:pt x="80" y="21"/>
                  <a:pt x="80" y="21"/>
                </a:cubicBezTo>
                <a:cubicBezTo>
                  <a:pt x="90" y="22"/>
                  <a:pt x="99" y="25"/>
                  <a:pt x="108" y="29"/>
                </a:cubicBezTo>
                <a:cubicBezTo>
                  <a:pt x="105" y="34"/>
                  <a:pt x="105" y="34"/>
                  <a:pt x="105" y="34"/>
                </a:cubicBezTo>
                <a:cubicBezTo>
                  <a:pt x="105" y="35"/>
                  <a:pt x="105" y="36"/>
                  <a:pt x="106" y="37"/>
                </a:cubicBezTo>
                <a:cubicBezTo>
                  <a:pt x="107" y="37"/>
                  <a:pt x="107" y="38"/>
                  <a:pt x="108" y="38"/>
                </a:cubicBezTo>
                <a:cubicBezTo>
                  <a:pt x="108" y="38"/>
                  <a:pt x="109" y="37"/>
                  <a:pt x="110" y="36"/>
                </a:cubicBezTo>
                <a:cubicBezTo>
                  <a:pt x="112" y="32"/>
                  <a:pt x="112" y="32"/>
                  <a:pt x="112" y="32"/>
                </a:cubicBezTo>
                <a:cubicBezTo>
                  <a:pt x="121" y="37"/>
                  <a:pt x="128" y="44"/>
                  <a:pt x="133" y="52"/>
                </a:cubicBezTo>
                <a:cubicBezTo>
                  <a:pt x="129" y="55"/>
                  <a:pt x="129" y="55"/>
                  <a:pt x="129" y="55"/>
                </a:cubicBezTo>
                <a:cubicBezTo>
                  <a:pt x="127" y="56"/>
                  <a:pt x="127" y="57"/>
                  <a:pt x="128" y="59"/>
                </a:cubicBezTo>
                <a:cubicBezTo>
                  <a:pt x="128" y="60"/>
                  <a:pt x="129" y="60"/>
                  <a:pt x="130" y="60"/>
                </a:cubicBezTo>
                <a:cubicBezTo>
                  <a:pt x="130" y="60"/>
                  <a:pt x="131" y="60"/>
                  <a:pt x="131" y="60"/>
                </a:cubicBezTo>
                <a:cubicBezTo>
                  <a:pt x="136" y="57"/>
                  <a:pt x="136" y="57"/>
                  <a:pt x="136" y="57"/>
                </a:cubicBezTo>
                <a:cubicBezTo>
                  <a:pt x="140" y="66"/>
                  <a:pt x="143" y="75"/>
                  <a:pt x="144" y="85"/>
                </a:cubicBezTo>
                <a:cubicBezTo>
                  <a:pt x="138" y="85"/>
                  <a:pt x="138" y="85"/>
                  <a:pt x="138" y="85"/>
                </a:cubicBezTo>
                <a:cubicBezTo>
                  <a:pt x="137" y="85"/>
                  <a:pt x="136" y="87"/>
                  <a:pt x="136" y="88"/>
                </a:cubicBezTo>
                <a:cubicBezTo>
                  <a:pt x="136" y="89"/>
                  <a:pt x="137" y="91"/>
                  <a:pt x="138" y="91"/>
                </a:cubicBezTo>
                <a:cubicBezTo>
                  <a:pt x="144" y="91"/>
                  <a:pt x="144" y="91"/>
                  <a:pt x="144" y="91"/>
                </a:cubicBezTo>
                <a:cubicBezTo>
                  <a:pt x="143" y="101"/>
                  <a:pt x="140" y="110"/>
                  <a:pt x="136" y="119"/>
                </a:cubicBezTo>
                <a:cubicBezTo>
                  <a:pt x="131" y="116"/>
                  <a:pt x="131" y="116"/>
                  <a:pt x="131" y="116"/>
                </a:cubicBezTo>
                <a:cubicBezTo>
                  <a:pt x="130" y="116"/>
                  <a:pt x="128" y="116"/>
                  <a:pt x="128" y="117"/>
                </a:cubicBezTo>
                <a:cubicBezTo>
                  <a:pt x="127" y="119"/>
                  <a:pt x="127" y="120"/>
                  <a:pt x="129" y="121"/>
                </a:cubicBezTo>
                <a:cubicBezTo>
                  <a:pt x="133" y="124"/>
                  <a:pt x="133" y="124"/>
                  <a:pt x="133" y="124"/>
                </a:cubicBezTo>
                <a:cubicBezTo>
                  <a:pt x="128" y="132"/>
                  <a:pt x="121" y="139"/>
                  <a:pt x="113" y="144"/>
                </a:cubicBezTo>
                <a:cubicBezTo>
                  <a:pt x="110" y="140"/>
                  <a:pt x="110" y="140"/>
                  <a:pt x="110" y="140"/>
                </a:cubicBezTo>
                <a:cubicBezTo>
                  <a:pt x="109" y="138"/>
                  <a:pt x="108" y="138"/>
                  <a:pt x="106" y="139"/>
                </a:cubicBezTo>
                <a:cubicBezTo>
                  <a:pt x="105" y="140"/>
                  <a:pt x="105" y="141"/>
                  <a:pt x="105" y="142"/>
                </a:cubicBezTo>
                <a:cubicBezTo>
                  <a:pt x="108" y="147"/>
                  <a:pt x="108" y="147"/>
                  <a:pt x="108" y="147"/>
                </a:cubicBezTo>
                <a:cubicBezTo>
                  <a:pt x="99" y="151"/>
                  <a:pt x="90" y="154"/>
                  <a:pt x="80" y="155"/>
                </a:cubicBezTo>
                <a:cubicBezTo>
                  <a:pt x="80" y="149"/>
                  <a:pt x="80" y="149"/>
                  <a:pt x="80" y="149"/>
                </a:cubicBezTo>
                <a:cubicBezTo>
                  <a:pt x="80" y="148"/>
                  <a:pt x="79" y="147"/>
                  <a:pt x="77" y="147"/>
                </a:cubicBezTo>
                <a:cubicBezTo>
                  <a:pt x="76" y="147"/>
                  <a:pt x="75" y="148"/>
                  <a:pt x="75" y="149"/>
                </a:cubicBezTo>
                <a:cubicBezTo>
                  <a:pt x="75" y="155"/>
                  <a:pt x="75" y="155"/>
                  <a:pt x="75" y="155"/>
                </a:cubicBezTo>
                <a:cubicBezTo>
                  <a:pt x="70" y="154"/>
                  <a:pt x="66" y="154"/>
                  <a:pt x="62" y="153"/>
                </a:cubicBezTo>
                <a:cubicBezTo>
                  <a:pt x="61" y="153"/>
                  <a:pt x="59" y="154"/>
                  <a:pt x="59" y="155"/>
                </a:cubicBezTo>
                <a:cubicBezTo>
                  <a:pt x="58" y="156"/>
                  <a:pt x="59" y="158"/>
                  <a:pt x="61" y="158"/>
                </a:cubicBezTo>
                <a:cubicBezTo>
                  <a:pt x="66" y="159"/>
                  <a:pt x="72" y="160"/>
                  <a:pt x="77" y="160"/>
                </a:cubicBezTo>
                <a:cubicBezTo>
                  <a:pt x="77" y="160"/>
                  <a:pt x="77" y="160"/>
                  <a:pt x="77" y="160"/>
                </a:cubicBezTo>
                <a:cubicBezTo>
                  <a:pt x="77" y="160"/>
                  <a:pt x="77" y="160"/>
                  <a:pt x="77" y="160"/>
                </a:cubicBezTo>
                <a:cubicBezTo>
                  <a:pt x="77" y="160"/>
                  <a:pt x="77" y="160"/>
                  <a:pt x="77" y="160"/>
                </a:cubicBezTo>
                <a:cubicBezTo>
                  <a:pt x="90" y="160"/>
                  <a:pt x="102" y="156"/>
                  <a:pt x="113" y="150"/>
                </a:cubicBezTo>
                <a:cubicBezTo>
                  <a:pt x="113" y="150"/>
                  <a:pt x="113" y="150"/>
                  <a:pt x="113" y="150"/>
                </a:cubicBezTo>
                <a:cubicBezTo>
                  <a:pt x="113" y="150"/>
                  <a:pt x="113" y="150"/>
                  <a:pt x="113" y="150"/>
                </a:cubicBezTo>
                <a:cubicBezTo>
                  <a:pt x="124" y="144"/>
                  <a:pt x="133" y="135"/>
                  <a:pt x="139" y="124"/>
                </a:cubicBezTo>
                <a:cubicBezTo>
                  <a:pt x="139" y="124"/>
                  <a:pt x="139" y="124"/>
                  <a:pt x="139" y="124"/>
                </a:cubicBezTo>
                <a:cubicBezTo>
                  <a:pt x="139" y="124"/>
                  <a:pt x="139" y="124"/>
                  <a:pt x="139" y="124"/>
                </a:cubicBezTo>
                <a:cubicBezTo>
                  <a:pt x="145" y="113"/>
                  <a:pt x="149" y="101"/>
                  <a:pt x="149" y="88"/>
                </a:cubicBezTo>
                <a:cubicBezTo>
                  <a:pt x="149" y="75"/>
                  <a:pt x="145" y="63"/>
                  <a:pt x="139" y="52"/>
                </a:cubicBezTo>
                <a:close/>
                <a:moveTo>
                  <a:pt x="139" y="22"/>
                </a:moveTo>
                <a:cubicBezTo>
                  <a:pt x="143" y="26"/>
                  <a:pt x="143" y="26"/>
                  <a:pt x="143" y="26"/>
                </a:cubicBezTo>
                <a:cubicBezTo>
                  <a:pt x="139" y="30"/>
                  <a:pt x="139" y="30"/>
                  <a:pt x="139" y="30"/>
                </a:cubicBezTo>
                <a:cubicBezTo>
                  <a:pt x="135" y="26"/>
                  <a:pt x="135" y="26"/>
                  <a:pt x="135" y="26"/>
                </a:cubicBezTo>
                <a:lnTo>
                  <a:pt x="139" y="22"/>
                </a:lnTo>
                <a:close/>
                <a:moveTo>
                  <a:pt x="75" y="16"/>
                </a:moveTo>
                <a:cubicBezTo>
                  <a:pt x="75" y="8"/>
                  <a:pt x="75" y="8"/>
                  <a:pt x="75" y="8"/>
                </a:cubicBezTo>
                <a:cubicBezTo>
                  <a:pt x="65" y="8"/>
                  <a:pt x="65" y="8"/>
                  <a:pt x="65" y="8"/>
                </a:cubicBezTo>
                <a:cubicBezTo>
                  <a:pt x="65" y="8"/>
                  <a:pt x="64" y="7"/>
                  <a:pt x="64" y="7"/>
                </a:cubicBezTo>
                <a:cubicBezTo>
                  <a:pt x="64" y="6"/>
                  <a:pt x="65" y="5"/>
                  <a:pt x="65" y="5"/>
                </a:cubicBezTo>
                <a:cubicBezTo>
                  <a:pt x="89" y="5"/>
                  <a:pt x="89" y="5"/>
                  <a:pt x="89" y="5"/>
                </a:cubicBezTo>
                <a:cubicBezTo>
                  <a:pt x="90" y="5"/>
                  <a:pt x="91" y="6"/>
                  <a:pt x="91" y="7"/>
                </a:cubicBezTo>
                <a:cubicBezTo>
                  <a:pt x="91" y="7"/>
                  <a:pt x="90" y="8"/>
                  <a:pt x="89" y="8"/>
                </a:cubicBezTo>
                <a:cubicBezTo>
                  <a:pt x="80" y="8"/>
                  <a:pt x="80" y="8"/>
                  <a:pt x="80" y="8"/>
                </a:cubicBezTo>
                <a:cubicBezTo>
                  <a:pt x="80" y="16"/>
                  <a:pt x="80" y="16"/>
                  <a:pt x="80" y="16"/>
                </a:cubicBezTo>
                <a:cubicBezTo>
                  <a:pt x="79" y="16"/>
                  <a:pt x="78" y="16"/>
                  <a:pt x="77" y="16"/>
                </a:cubicBezTo>
                <a:cubicBezTo>
                  <a:pt x="77" y="16"/>
                  <a:pt x="77" y="16"/>
                  <a:pt x="77" y="16"/>
                </a:cubicBezTo>
                <a:cubicBezTo>
                  <a:pt x="77" y="16"/>
                  <a:pt x="77" y="16"/>
                  <a:pt x="77" y="16"/>
                </a:cubicBezTo>
                <a:cubicBezTo>
                  <a:pt x="76" y="16"/>
                  <a:pt x="76" y="16"/>
                  <a:pt x="76" y="16"/>
                </a:cubicBezTo>
                <a:cubicBezTo>
                  <a:pt x="75" y="16"/>
                  <a:pt x="75" y="16"/>
                  <a:pt x="75" y="16"/>
                </a:cubicBezTo>
                <a:close/>
                <a:moveTo>
                  <a:pt x="56" y="40"/>
                </a:moveTo>
                <a:cubicBezTo>
                  <a:pt x="56" y="41"/>
                  <a:pt x="55" y="43"/>
                  <a:pt x="53" y="43"/>
                </a:cubicBezTo>
                <a:cubicBezTo>
                  <a:pt x="40" y="43"/>
                  <a:pt x="40" y="43"/>
                  <a:pt x="40" y="43"/>
                </a:cubicBezTo>
                <a:cubicBezTo>
                  <a:pt x="39" y="43"/>
                  <a:pt x="37" y="41"/>
                  <a:pt x="37" y="40"/>
                </a:cubicBezTo>
                <a:cubicBezTo>
                  <a:pt x="37" y="39"/>
                  <a:pt x="39" y="37"/>
                  <a:pt x="40" y="37"/>
                </a:cubicBezTo>
                <a:cubicBezTo>
                  <a:pt x="53" y="37"/>
                  <a:pt x="53" y="37"/>
                  <a:pt x="53" y="37"/>
                </a:cubicBezTo>
                <a:cubicBezTo>
                  <a:pt x="55" y="37"/>
                  <a:pt x="56" y="39"/>
                  <a:pt x="56" y="40"/>
                </a:cubicBezTo>
                <a:close/>
                <a:moveTo>
                  <a:pt x="56" y="59"/>
                </a:moveTo>
                <a:cubicBezTo>
                  <a:pt x="56" y="60"/>
                  <a:pt x="55" y="61"/>
                  <a:pt x="53" y="61"/>
                </a:cubicBezTo>
                <a:cubicBezTo>
                  <a:pt x="27" y="61"/>
                  <a:pt x="27" y="61"/>
                  <a:pt x="27" y="61"/>
                </a:cubicBezTo>
                <a:cubicBezTo>
                  <a:pt x="25" y="61"/>
                  <a:pt x="24" y="60"/>
                  <a:pt x="24" y="59"/>
                </a:cubicBezTo>
                <a:cubicBezTo>
                  <a:pt x="24" y="57"/>
                  <a:pt x="25" y="56"/>
                  <a:pt x="27" y="56"/>
                </a:cubicBezTo>
                <a:cubicBezTo>
                  <a:pt x="53" y="56"/>
                  <a:pt x="53" y="56"/>
                  <a:pt x="53" y="56"/>
                </a:cubicBezTo>
                <a:cubicBezTo>
                  <a:pt x="55" y="56"/>
                  <a:pt x="56" y="57"/>
                  <a:pt x="56" y="59"/>
                </a:cubicBezTo>
                <a:close/>
                <a:moveTo>
                  <a:pt x="56" y="77"/>
                </a:moveTo>
                <a:cubicBezTo>
                  <a:pt x="56" y="79"/>
                  <a:pt x="55" y="80"/>
                  <a:pt x="53" y="80"/>
                </a:cubicBezTo>
                <a:cubicBezTo>
                  <a:pt x="13" y="80"/>
                  <a:pt x="13" y="80"/>
                  <a:pt x="13" y="80"/>
                </a:cubicBezTo>
                <a:cubicBezTo>
                  <a:pt x="12" y="80"/>
                  <a:pt x="11" y="79"/>
                  <a:pt x="11" y="77"/>
                </a:cubicBezTo>
                <a:cubicBezTo>
                  <a:pt x="11" y="76"/>
                  <a:pt x="12" y="75"/>
                  <a:pt x="13" y="75"/>
                </a:cubicBezTo>
                <a:cubicBezTo>
                  <a:pt x="53" y="75"/>
                  <a:pt x="53" y="75"/>
                  <a:pt x="53" y="75"/>
                </a:cubicBezTo>
                <a:cubicBezTo>
                  <a:pt x="55" y="75"/>
                  <a:pt x="56" y="76"/>
                  <a:pt x="56" y="77"/>
                </a:cubicBezTo>
                <a:close/>
                <a:moveTo>
                  <a:pt x="56" y="96"/>
                </a:moveTo>
                <a:cubicBezTo>
                  <a:pt x="56" y="97"/>
                  <a:pt x="55" y="99"/>
                  <a:pt x="53" y="99"/>
                </a:cubicBezTo>
                <a:cubicBezTo>
                  <a:pt x="3" y="99"/>
                  <a:pt x="3" y="99"/>
                  <a:pt x="3" y="99"/>
                </a:cubicBezTo>
                <a:cubicBezTo>
                  <a:pt x="1" y="99"/>
                  <a:pt x="0" y="97"/>
                  <a:pt x="0" y="96"/>
                </a:cubicBezTo>
                <a:cubicBezTo>
                  <a:pt x="0" y="95"/>
                  <a:pt x="1" y="93"/>
                  <a:pt x="3" y="93"/>
                </a:cubicBezTo>
                <a:cubicBezTo>
                  <a:pt x="53" y="93"/>
                  <a:pt x="53" y="93"/>
                  <a:pt x="53" y="93"/>
                </a:cubicBezTo>
                <a:cubicBezTo>
                  <a:pt x="55" y="93"/>
                  <a:pt x="56" y="95"/>
                  <a:pt x="56" y="96"/>
                </a:cubicBezTo>
                <a:close/>
                <a:moveTo>
                  <a:pt x="56" y="115"/>
                </a:moveTo>
                <a:cubicBezTo>
                  <a:pt x="56" y="116"/>
                  <a:pt x="55" y="117"/>
                  <a:pt x="53" y="117"/>
                </a:cubicBezTo>
                <a:cubicBezTo>
                  <a:pt x="19" y="117"/>
                  <a:pt x="19" y="117"/>
                  <a:pt x="19" y="117"/>
                </a:cubicBezTo>
                <a:cubicBezTo>
                  <a:pt x="17" y="117"/>
                  <a:pt x="16" y="116"/>
                  <a:pt x="16" y="115"/>
                </a:cubicBezTo>
                <a:cubicBezTo>
                  <a:pt x="16" y="113"/>
                  <a:pt x="17" y="112"/>
                  <a:pt x="19" y="112"/>
                </a:cubicBezTo>
                <a:cubicBezTo>
                  <a:pt x="53" y="112"/>
                  <a:pt x="53" y="112"/>
                  <a:pt x="53" y="112"/>
                </a:cubicBezTo>
                <a:cubicBezTo>
                  <a:pt x="55" y="112"/>
                  <a:pt x="56" y="113"/>
                  <a:pt x="56" y="115"/>
                </a:cubicBezTo>
                <a:close/>
                <a:moveTo>
                  <a:pt x="56" y="133"/>
                </a:moveTo>
                <a:cubicBezTo>
                  <a:pt x="56" y="135"/>
                  <a:pt x="55" y="136"/>
                  <a:pt x="53" y="136"/>
                </a:cubicBezTo>
                <a:cubicBezTo>
                  <a:pt x="35" y="136"/>
                  <a:pt x="35" y="136"/>
                  <a:pt x="35" y="136"/>
                </a:cubicBezTo>
                <a:cubicBezTo>
                  <a:pt x="33" y="136"/>
                  <a:pt x="32" y="135"/>
                  <a:pt x="32" y="133"/>
                </a:cubicBezTo>
                <a:cubicBezTo>
                  <a:pt x="32" y="132"/>
                  <a:pt x="33" y="131"/>
                  <a:pt x="35" y="131"/>
                </a:cubicBezTo>
                <a:cubicBezTo>
                  <a:pt x="53" y="131"/>
                  <a:pt x="53" y="131"/>
                  <a:pt x="53" y="131"/>
                </a:cubicBezTo>
                <a:cubicBezTo>
                  <a:pt x="55" y="131"/>
                  <a:pt x="56" y="132"/>
                  <a:pt x="56" y="133"/>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25">
            <a:extLst>
              <a:ext uri="{FF2B5EF4-FFF2-40B4-BE49-F238E27FC236}">
                <a16:creationId xmlns:a16="http://schemas.microsoft.com/office/drawing/2014/main" id="{034FBE6B-3FE3-A143-A7A2-9400D2490DBB}"/>
              </a:ext>
            </a:extLst>
          </p:cNvPr>
          <p:cNvSpPr>
            <a:spLocks noEditPoints="1"/>
          </p:cNvSpPr>
          <p:nvPr/>
        </p:nvSpPr>
        <p:spPr bwMode="auto">
          <a:xfrm>
            <a:off x="2688916" y="1762125"/>
            <a:ext cx="601663" cy="604838"/>
          </a:xfrm>
          <a:custGeom>
            <a:avLst/>
            <a:gdLst>
              <a:gd name="T0" fmla="*/ 157 w 160"/>
              <a:gd name="T1" fmla="*/ 59 h 160"/>
              <a:gd name="T2" fmla="*/ 149 w 160"/>
              <a:gd name="T3" fmla="*/ 40 h 160"/>
              <a:gd name="T4" fmla="*/ 136 w 160"/>
              <a:gd name="T5" fmla="*/ 23 h 160"/>
              <a:gd name="T6" fmla="*/ 101 w 160"/>
              <a:gd name="T7" fmla="*/ 3 h 160"/>
              <a:gd name="T8" fmla="*/ 59 w 160"/>
              <a:gd name="T9" fmla="*/ 3 h 160"/>
              <a:gd name="T10" fmla="*/ 40 w 160"/>
              <a:gd name="T11" fmla="*/ 11 h 160"/>
              <a:gd name="T12" fmla="*/ 23 w 160"/>
              <a:gd name="T13" fmla="*/ 24 h 160"/>
              <a:gd name="T14" fmla="*/ 3 w 160"/>
              <a:gd name="T15" fmla="*/ 59 h 160"/>
              <a:gd name="T16" fmla="*/ 3 w 160"/>
              <a:gd name="T17" fmla="*/ 101 h 160"/>
              <a:gd name="T18" fmla="*/ 11 w 160"/>
              <a:gd name="T19" fmla="*/ 120 h 160"/>
              <a:gd name="T20" fmla="*/ 24 w 160"/>
              <a:gd name="T21" fmla="*/ 137 h 160"/>
              <a:gd name="T22" fmla="*/ 59 w 160"/>
              <a:gd name="T23" fmla="*/ 157 h 160"/>
              <a:gd name="T24" fmla="*/ 101 w 160"/>
              <a:gd name="T25" fmla="*/ 157 h 160"/>
              <a:gd name="T26" fmla="*/ 120 w 160"/>
              <a:gd name="T27" fmla="*/ 149 h 160"/>
              <a:gd name="T28" fmla="*/ 137 w 160"/>
              <a:gd name="T29" fmla="*/ 136 h 160"/>
              <a:gd name="T30" fmla="*/ 157 w 160"/>
              <a:gd name="T31" fmla="*/ 101 h 160"/>
              <a:gd name="T32" fmla="*/ 146 w 160"/>
              <a:gd name="T33" fmla="*/ 115 h 160"/>
              <a:gd name="T34" fmla="*/ 143 w 160"/>
              <a:gd name="T35" fmla="*/ 120 h 160"/>
              <a:gd name="T36" fmla="*/ 127 w 160"/>
              <a:gd name="T37" fmla="*/ 131 h 160"/>
              <a:gd name="T38" fmla="*/ 113 w 160"/>
              <a:gd name="T39" fmla="*/ 138 h 160"/>
              <a:gd name="T40" fmla="*/ 101 w 160"/>
              <a:gd name="T41" fmla="*/ 146 h 160"/>
              <a:gd name="T42" fmla="*/ 83 w 160"/>
              <a:gd name="T43" fmla="*/ 155 h 160"/>
              <a:gd name="T44" fmla="*/ 77 w 160"/>
              <a:gd name="T45" fmla="*/ 155 h 160"/>
              <a:gd name="T46" fmla="*/ 59 w 160"/>
              <a:gd name="T47" fmla="*/ 146 h 160"/>
              <a:gd name="T48" fmla="*/ 47 w 160"/>
              <a:gd name="T49" fmla="*/ 138 h 160"/>
              <a:gd name="T50" fmla="*/ 33 w 160"/>
              <a:gd name="T51" fmla="*/ 131 h 160"/>
              <a:gd name="T52" fmla="*/ 17 w 160"/>
              <a:gd name="T53" fmla="*/ 120 h 160"/>
              <a:gd name="T54" fmla="*/ 14 w 160"/>
              <a:gd name="T55" fmla="*/ 115 h 160"/>
              <a:gd name="T56" fmla="*/ 12 w 160"/>
              <a:gd name="T57" fmla="*/ 95 h 160"/>
              <a:gd name="T58" fmla="*/ 19 w 160"/>
              <a:gd name="T59" fmla="*/ 80 h 160"/>
              <a:gd name="T60" fmla="*/ 12 w 160"/>
              <a:gd name="T61" fmla="*/ 65 h 160"/>
              <a:gd name="T62" fmla="*/ 9 w 160"/>
              <a:gd name="T63" fmla="*/ 58 h 160"/>
              <a:gd name="T64" fmla="*/ 22 w 160"/>
              <a:gd name="T65" fmla="*/ 47 h 160"/>
              <a:gd name="T66" fmla="*/ 29 w 160"/>
              <a:gd name="T67" fmla="*/ 33 h 160"/>
              <a:gd name="T68" fmla="*/ 29 w 160"/>
              <a:gd name="T69" fmla="*/ 25 h 160"/>
              <a:gd name="T70" fmla="*/ 47 w 160"/>
              <a:gd name="T71" fmla="*/ 22 h 160"/>
              <a:gd name="T72" fmla="*/ 59 w 160"/>
              <a:gd name="T73" fmla="*/ 14 h 160"/>
              <a:gd name="T74" fmla="*/ 63 w 160"/>
              <a:gd name="T75" fmla="*/ 7 h 160"/>
              <a:gd name="T76" fmla="*/ 83 w 160"/>
              <a:gd name="T77" fmla="*/ 16 h 160"/>
              <a:gd name="T78" fmla="*/ 97 w 160"/>
              <a:gd name="T79" fmla="*/ 16 h 160"/>
              <a:gd name="T80" fmla="*/ 115 w 160"/>
              <a:gd name="T81" fmla="*/ 14 h 160"/>
              <a:gd name="T82" fmla="*/ 117 w 160"/>
              <a:gd name="T83" fmla="*/ 21 h 160"/>
              <a:gd name="T84" fmla="*/ 127 w 160"/>
              <a:gd name="T85" fmla="*/ 33 h 160"/>
              <a:gd name="T86" fmla="*/ 143 w 160"/>
              <a:gd name="T87" fmla="*/ 40 h 160"/>
              <a:gd name="T88" fmla="*/ 141 w 160"/>
              <a:gd name="T89" fmla="*/ 48 h 160"/>
              <a:gd name="T90" fmla="*/ 144 w 160"/>
              <a:gd name="T91" fmla="*/ 63 h 160"/>
              <a:gd name="T92" fmla="*/ 155 w 160"/>
              <a:gd name="T93" fmla="*/ 77 h 160"/>
              <a:gd name="T94" fmla="*/ 155 w 160"/>
              <a:gd name="T95" fmla="*/ 83 h 160"/>
              <a:gd name="T96" fmla="*/ 146 w 160"/>
              <a:gd name="T97" fmla="*/ 101 h 160"/>
              <a:gd name="T98" fmla="*/ 83 w 160"/>
              <a:gd name="T99" fmla="*/ 35 h 160"/>
              <a:gd name="T100" fmla="*/ 69 w 160"/>
              <a:gd name="T101" fmla="*/ 80 h 160"/>
              <a:gd name="T102" fmla="*/ 112 w 160"/>
              <a:gd name="T103" fmla="*/ 80 h 160"/>
              <a:gd name="T104" fmla="*/ 80 w 160"/>
              <a:gd name="T105" fmla="*/ 75 h 160"/>
              <a:gd name="T106" fmla="*/ 59 w 160"/>
              <a:gd name="T107" fmla="*/ 115 h 160"/>
              <a:gd name="T108" fmla="*/ 80 w 160"/>
              <a:gd name="T109" fmla="*/ 131 h 160"/>
              <a:gd name="T110" fmla="*/ 80 w 160"/>
              <a:gd name="T111" fmla="*/ 131 h 160"/>
              <a:gd name="T112" fmla="*/ 78 w 160"/>
              <a:gd name="T113" fmla="*/ 117 h 160"/>
              <a:gd name="T114" fmla="*/ 82 w 160"/>
              <a:gd name="T115" fmla="*/ 11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60">
                <a:moveTo>
                  <a:pt x="157" y="101"/>
                </a:moveTo>
                <a:cubicBezTo>
                  <a:pt x="157" y="101"/>
                  <a:pt x="157" y="101"/>
                  <a:pt x="157" y="101"/>
                </a:cubicBezTo>
                <a:cubicBezTo>
                  <a:pt x="159" y="94"/>
                  <a:pt x="160" y="87"/>
                  <a:pt x="160" y="80"/>
                </a:cubicBezTo>
                <a:cubicBezTo>
                  <a:pt x="160" y="73"/>
                  <a:pt x="159" y="66"/>
                  <a:pt x="157" y="59"/>
                </a:cubicBezTo>
                <a:cubicBezTo>
                  <a:pt x="157" y="59"/>
                  <a:pt x="157" y="59"/>
                  <a:pt x="157" y="59"/>
                </a:cubicBezTo>
                <a:cubicBezTo>
                  <a:pt x="157" y="59"/>
                  <a:pt x="157" y="59"/>
                  <a:pt x="157" y="59"/>
                </a:cubicBezTo>
                <a:cubicBezTo>
                  <a:pt x="155" y="53"/>
                  <a:pt x="153" y="46"/>
                  <a:pt x="149" y="40"/>
                </a:cubicBezTo>
                <a:cubicBezTo>
                  <a:pt x="149" y="40"/>
                  <a:pt x="149" y="40"/>
                  <a:pt x="149" y="40"/>
                </a:cubicBezTo>
                <a:cubicBezTo>
                  <a:pt x="149" y="40"/>
                  <a:pt x="149" y="40"/>
                  <a:pt x="149" y="40"/>
                </a:cubicBezTo>
                <a:cubicBezTo>
                  <a:pt x="146" y="34"/>
                  <a:pt x="142" y="28"/>
                  <a:pt x="137" y="24"/>
                </a:cubicBezTo>
                <a:cubicBezTo>
                  <a:pt x="137" y="24"/>
                  <a:pt x="137" y="23"/>
                  <a:pt x="137" y="23"/>
                </a:cubicBezTo>
                <a:cubicBezTo>
                  <a:pt x="137" y="23"/>
                  <a:pt x="136" y="23"/>
                  <a:pt x="136" y="23"/>
                </a:cubicBezTo>
                <a:cubicBezTo>
                  <a:pt x="132" y="18"/>
                  <a:pt x="126" y="14"/>
                  <a:pt x="120" y="11"/>
                </a:cubicBezTo>
                <a:cubicBezTo>
                  <a:pt x="120" y="11"/>
                  <a:pt x="120" y="11"/>
                  <a:pt x="120" y="11"/>
                </a:cubicBezTo>
                <a:cubicBezTo>
                  <a:pt x="120" y="11"/>
                  <a:pt x="120" y="11"/>
                  <a:pt x="120" y="11"/>
                </a:cubicBezTo>
                <a:cubicBezTo>
                  <a:pt x="114" y="7"/>
                  <a:pt x="107" y="5"/>
                  <a:pt x="101" y="3"/>
                </a:cubicBezTo>
                <a:cubicBezTo>
                  <a:pt x="101" y="3"/>
                  <a:pt x="101" y="3"/>
                  <a:pt x="101" y="3"/>
                </a:cubicBezTo>
                <a:cubicBezTo>
                  <a:pt x="101" y="3"/>
                  <a:pt x="101" y="3"/>
                  <a:pt x="101" y="3"/>
                </a:cubicBezTo>
                <a:cubicBezTo>
                  <a:pt x="94" y="1"/>
                  <a:pt x="87" y="0"/>
                  <a:pt x="80" y="0"/>
                </a:cubicBezTo>
                <a:cubicBezTo>
                  <a:pt x="73" y="0"/>
                  <a:pt x="66" y="1"/>
                  <a:pt x="59" y="3"/>
                </a:cubicBezTo>
                <a:cubicBezTo>
                  <a:pt x="59" y="3"/>
                  <a:pt x="59" y="3"/>
                  <a:pt x="59" y="3"/>
                </a:cubicBezTo>
                <a:cubicBezTo>
                  <a:pt x="59" y="3"/>
                  <a:pt x="59" y="3"/>
                  <a:pt x="59" y="3"/>
                </a:cubicBezTo>
                <a:cubicBezTo>
                  <a:pt x="53" y="5"/>
                  <a:pt x="46" y="7"/>
                  <a:pt x="40" y="11"/>
                </a:cubicBezTo>
                <a:cubicBezTo>
                  <a:pt x="40" y="11"/>
                  <a:pt x="40" y="11"/>
                  <a:pt x="40" y="11"/>
                </a:cubicBezTo>
                <a:cubicBezTo>
                  <a:pt x="40" y="11"/>
                  <a:pt x="40" y="11"/>
                  <a:pt x="40" y="11"/>
                </a:cubicBezTo>
                <a:cubicBezTo>
                  <a:pt x="34" y="14"/>
                  <a:pt x="28" y="18"/>
                  <a:pt x="24" y="23"/>
                </a:cubicBezTo>
                <a:cubicBezTo>
                  <a:pt x="24" y="23"/>
                  <a:pt x="23" y="23"/>
                  <a:pt x="23" y="23"/>
                </a:cubicBezTo>
                <a:cubicBezTo>
                  <a:pt x="23" y="23"/>
                  <a:pt x="23" y="24"/>
                  <a:pt x="23" y="24"/>
                </a:cubicBezTo>
                <a:cubicBezTo>
                  <a:pt x="18" y="28"/>
                  <a:pt x="14" y="34"/>
                  <a:pt x="11" y="40"/>
                </a:cubicBezTo>
                <a:cubicBezTo>
                  <a:pt x="11" y="40"/>
                  <a:pt x="11" y="40"/>
                  <a:pt x="11" y="40"/>
                </a:cubicBezTo>
                <a:cubicBezTo>
                  <a:pt x="11" y="40"/>
                  <a:pt x="11" y="40"/>
                  <a:pt x="11" y="40"/>
                </a:cubicBezTo>
                <a:cubicBezTo>
                  <a:pt x="7" y="46"/>
                  <a:pt x="5" y="53"/>
                  <a:pt x="3" y="59"/>
                </a:cubicBezTo>
                <a:cubicBezTo>
                  <a:pt x="3" y="59"/>
                  <a:pt x="3" y="59"/>
                  <a:pt x="3" y="59"/>
                </a:cubicBezTo>
                <a:cubicBezTo>
                  <a:pt x="3" y="59"/>
                  <a:pt x="3" y="59"/>
                  <a:pt x="3" y="59"/>
                </a:cubicBezTo>
                <a:cubicBezTo>
                  <a:pt x="1" y="66"/>
                  <a:pt x="0" y="73"/>
                  <a:pt x="0" y="80"/>
                </a:cubicBezTo>
                <a:cubicBezTo>
                  <a:pt x="0" y="87"/>
                  <a:pt x="1" y="94"/>
                  <a:pt x="3" y="101"/>
                </a:cubicBezTo>
                <a:cubicBezTo>
                  <a:pt x="3" y="101"/>
                  <a:pt x="3" y="101"/>
                  <a:pt x="3" y="101"/>
                </a:cubicBezTo>
                <a:cubicBezTo>
                  <a:pt x="3" y="101"/>
                  <a:pt x="3" y="101"/>
                  <a:pt x="3" y="101"/>
                </a:cubicBezTo>
                <a:cubicBezTo>
                  <a:pt x="5" y="107"/>
                  <a:pt x="7" y="114"/>
                  <a:pt x="11" y="120"/>
                </a:cubicBezTo>
                <a:cubicBezTo>
                  <a:pt x="11" y="120"/>
                  <a:pt x="11" y="120"/>
                  <a:pt x="11" y="120"/>
                </a:cubicBezTo>
                <a:cubicBezTo>
                  <a:pt x="11" y="120"/>
                  <a:pt x="11" y="120"/>
                  <a:pt x="11" y="120"/>
                </a:cubicBezTo>
                <a:cubicBezTo>
                  <a:pt x="14" y="126"/>
                  <a:pt x="19" y="132"/>
                  <a:pt x="23" y="136"/>
                </a:cubicBezTo>
                <a:cubicBezTo>
                  <a:pt x="23" y="136"/>
                  <a:pt x="23" y="137"/>
                  <a:pt x="23" y="137"/>
                </a:cubicBezTo>
                <a:cubicBezTo>
                  <a:pt x="23" y="137"/>
                  <a:pt x="24" y="137"/>
                  <a:pt x="24" y="137"/>
                </a:cubicBezTo>
                <a:cubicBezTo>
                  <a:pt x="28" y="142"/>
                  <a:pt x="34" y="146"/>
                  <a:pt x="40" y="149"/>
                </a:cubicBezTo>
                <a:cubicBezTo>
                  <a:pt x="40" y="149"/>
                  <a:pt x="40" y="149"/>
                  <a:pt x="40" y="149"/>
                </a:cubicBezTo>
                <a:cubicBezTo>
                  <a:pt x="40" y="149"/>
                  <a:pt x="40" y="149"/>
                  <a:pt x="40" y="149"/>
                </a:cubicBezTo>
                <a:cubicBezTo>
                  <a:pt x="46" y="153"/>
                  <a:pt x="53" y="155"/>
                  <a:pt x="59" y="157"/>
                </a:cubicBezTo>
                <a:cubicBezTo>
                  <a:pt x="59" y="157"/>
                  <a:pt x="59" y="157"/>
                  <a:pt x="59" y="157"/>
                </a:cubicBezTo>
                <a:cubicBezTo>
                  <a:pt x="59" y="157"/>
                  <a:pt x="59" y="157"/>
                  <a:pt x="59" y="157"/>
                </a:cubicBezTo>
                <a:cubicBezTo>
                  <a:pt x="66" y="159"/>
                  <a:pt x="73" y="160"/>
                  <a:pt x="80" y="160"/>
                </a:cubicBezTo>
                <a:cubicBezTo>
                  <a:pt x="87" y="160"/>
                  <a:pt x="94" y="159"/>
                  <a:pt x="101" y="157"/>
                </a:cubicBezTo>
                <a:cubicBezTo>
                  <a:pt x="101" y="157"/>
                  <a:pt x="101" y="157"/>
                  <a:pt x="101" y="157"/>
                </a:cubicBezTo>
                <a:cubicBezTo>
                  <a:pt x="101" y="157"/>
                  <a:pt x="101" y="157"/>
                  <a:pt x="101" y="157"/>
                </a:cubicBezTo>
                <a:cubicBezTo>
                  <a:pt x="107" y="155"/>
                  <a:pt x="114" y="153"/>
                  <a:pt x="120" y="149"/>
                </a:cubicBezTo>
                <a:cubicBezTo>
                  <a:pt x="120" y="149"/>
                  <a:pt x="120" y="149"/>
                  <a:pt x="120" y="149"/>
                </a:cubicBezTo>
                <a:cubicBezTo>
                  <a:pt x="120" y="149"/>
                  <a:pt x="120" y="149"/>
                  <a:pt x="120" y="149"/>
                </a:cubicBezTo>
                <a:cubicBezTo>
                  <a:pt x="126" y="146"/>
                  <a:pt x="132" y="142"/>
                  <a:pt x="136" y="137"/>
                </a:cubicBezTo>
                <a:cubicBezTo>
                  <a:pt x="136" y="137"/>
                  <a:pt x="137" y="137"/>
                  <a:pt x="137" y="137"/>
                </a:cubicBezTo>
                <a:cubicBezTo>
                  <a:pt x="137" y="137"/>
                  <a:pt x="137" y="136"/>
                  <a:pt x="137" y="136"/>
                </a:cubicBezTo>
                <a:cubicBezTo>
                  <a:pt x="141" y="132"/>
                  <a:pt x="146" y="126"/>
                  <a:pt x="149" y="120"/>
                </a:cubicBezTo>
                <a:cubicBezTo>
                  <a:pt x="149" y="120"/>
                  <a:pt x="149" y="120"/>
                  <a:pt x="149" y="120"/>
                </a:cubicBezTo>
                <a:cubicBezTo>
                  <a:pt x="149" y="120"/>
                  <a:pt x="149" y="120"/>
                  <a:pt x="149" y="120"/>
                </a:cubicBezTo>
                <a:cubicBezTo>
                  <a:pt x="153" y="114"/>
                  <a:pt x="155" y="107"/>
                  <a:pt x="157" y="101"/>
                </a:cubicBezTo>
                <a:cubicBezTo>
                  <a:pt x="157" y="101"/>
                  <a:pt x="157" y="101"/>
                  <a:pt x="157" y="101"/>
                </a:cubicBezTo>
                <a:close/>
                <a:moveTo>
                  <a:pt x="146" y="101"/>
                </a:moveTo>
                <a:cubicBezTo>
                  <a:pt x="151" y="102"/>
                  <a:pt x="151" y="102"/>
                  <a:pt x="151" y="102"/>
                </a:cubicBezTo>
                <a:cubicBezTo>
                  <a:pt x="150" y="106"/>
                  <a:pt x="148" y="111"/>
                  <a:pt x="146" y="115"/>
                </a:cubicBezTo>
                <a:cubicBezTo>
                  <a:pt x="141" y="112"/>
                  <a:pt x="141" y="112"/>
                  <a:pt x="141" y="112"/>
                </a:cubicBezTo>
                <a:cubicBezTo>
                  <a:pt x="140" y="112"/>
                  <a:pt x="138" y="112"/>
                  <a:pt x="138" y="113"/>
                </a:cubicBezTo>
                <a:cubicBezTo>
                  <a:pt x="137" y="115"/>
                  <a:pt x="137" y="116"/>
                  <a:pt x="139" y="117"/>
                </a:cubicBezTo>
                <a:cubicBezTo>
                  <a:pt x="143" y="120"/>
                  <a:pt x="143" y="120"/>
                  <a:pt x="143" y="120"/>
                </a:cubicBezTo>
                <a:cubicBezTo>
                  <a:pt x="141" y="124"/>
                  <a:pt x="138" y="127"/>
                  <a:pt x="135" y="131"/>
                </a:cubicBezTo>
                <a:cubicBezTo>
                  <a:pt x="131" y="127"/>
                  <a:pt x="131" y="127"/>
                  <a:pt x="131" y="127"/>
                </a:cubicBezTo>
                <a:cubicBezTo>
                  <a:pt x="130" y="126"/>
                  <a:pt x="128" y="126"/>
                  <a:pt x="127" y="127"/>
                </a:cubicBezTo>
                <a:cubicBezTo>
                  <a:pt x="126" y="128"/>
                  <a:pt x="126" y="130"/>
                  <a:pt x="127" y="131"/>
                </a:cubicBezTo>
                <a:cubicBezTo>
                  <a:pt x="131" y="135"/>
                  <a:pt x="131" y="135"/>
                  <a:pt x="131" y="135"/>
                </a:cubicBezTo>
                <a:cubicBezTo>
                  <a:pt x="127" y="138"/>
                  <a:pt x="124" y="141"/>
                  <a:pt x="120" y="143"/>
                </a:cubicBezTo>
                <a:cubicBezTo>
                  <a:pt x="117" y="139"/>
                  <a:pt x="117" y="139"/>
                  <a:pt x="117" y="139"/>
                </a:cubicBezTo>
                <a:cubicBezTo>
                  <a:pt x="116" y="137"/>
                  <a:pt x="115" y="137"/>
                  <a:pt x="113" y="138"/>
                </a:cubicBezTo>
                <a:cubicBezTo>
                  <a:pt x="112" y="138"/>
                  <a:pt x="112" y="140"/>
                  <a:pt x="112" y="141"/>
                </a:cubicBezTo>
                <a:cubicBezTo>
                  <a:pt x="115" y="146"/>
                  <a:pt x="115" y="146"/>
                  <a:pt x="115" y="146"/>
                </a:cubicBezTo>
                <a:cubicBezTo>
                  <a:pt x="111" y="148"/>
                  <a:pt x="106" y="150"/>
                  <a:pt x="102" y="151"/>
                </a:cubicBezTo>
                <a:cubicBezTo>
                  <a:pt x="101" y="146"/>
                  <a:pt x="101" y="146"/>
                  <a:pt x="101" y="146"/>
                </a:cubicBezTo>
                <a:cubicBezTo>
                  <a:pt x="100" y="145"/>
                  <a:pt x="99" y="144"/>
                  <a:pt x="97" y="144"/>
                </a:cubicBezTo>
                <a:cubicBezTo>
                  <a:pt x="96" y="145"/>
                  <a:pt x="95" y="146"/>
                  <a:pt x="95" y="148"/>
                </a:cubicBezTo>
                <a:cubicBezTo>
                  <a:pt x="97" y="153"/>
                  <a:pt x="97" y="153"/>
                  <a:pt x="97" y="153"/>
                </a:cubicBezTo>
                <a:cubicBezTo>
                  <a:pt x="92" y="154"/>
                  <a:pt x="87" y="154"/>
                  <a:pt x="83" y="155"/>
                </a:cubicBezTo>
                <a:cubicBezTo>
                  <a:pt x="83" y="144"/>
                  <a:pt x="83" y="144"/>
                  <a:pt x="83" y="144"/>
                </a:cubicBezTo>
                <a:cubicBezTo>
                  <a:pt x="83" y="143"/>
                  <a:pt x="81" y="141"/>
                  <a:pt x="80" y="141"/>
                </a:cubicBezTo>
                <a:cubicBezTo>
                  <a:pt x="79" y="141"/>
                  <a:pt x="77" y="143"/>
                  <a:pt x="77" y="144"/>
                </a:cubicBezTo>
                <a:cubicBezTo>
                  <a:pt x="77" y="155"/>
                  <a:pt x="77" y="155"/>
                  <a:pt x="77" y="155"/>
                </a:cubicBezTo>
                <a:cubicBezTo>
                  <a:pt x="73" y="154"/>
                  <a:pt x="68" y="154"/>
                  <a:pt x="63" y="153"/>
                </a:cubicBezTo>
                <a:cubicBezTo>
                  <a:pt x="65" y="148"/>
                  <a:pt x="65" y="148"/>
                  <a:pt x="65" y="148"/>
                </a:cubicBezTo>
                <a:cubicBezTo>
                  <a:pt x="65" y="146"/>
                  <a:pt x="64" y="145"/>
                  <a:pt x="63" y="144"/>
                </a:cubicBezTo>
                <a:cubicBezTo>
                  <a:pt x="61" y="144"/>
                  <a:pt x="60" y="145"/>
                  <a:pt x="59" y="146"/>
                </a:cubicBezTo>
                <a:cubicBezTo>
                  <a:pt x="58" y="151"/>
                  <a:pt x="58" y="151"/>
                  <a:pt x="58" y="151"/>
                </a:cubicBezTo>
                <a:cubicBezTo>
                  <a:pt x="54" y="150"/>
                  <a:pt x="49" y="148"/>
                  <a:pt x="45" y="146"/>
                </a:cubicBezTo>
                <a:cubicBezTo>
                  <a:pt x="48" y="141"/>
                  <a:pt x="48" y="141"/>
                  <a:pt x="48" y="141"/>
                </a:cubicBezTo>
                <a:cubicBezTo>
                  <a:pt x="48" y="140"/>
                  <a:pt x="48" y="138"/>
                  <a:pt x="47" y="138"/>
                </a:cubicBezTo>
                <a:cubicBezTo>
                  <a:pt x="45" y="137"/>
                  <a:pt x="44" y="137"/>
                  <a:pt x="43" y="139"/>
                </a:cubicBezTo>
                <a:cubicBezTo>
                  <a:pt x="40" y="143"/>
                  <a:pt x="40" y="143"/>
                  <a:pt x="40" y="143"/>
                </a:cubicBezTo>
                <a:cubicBezTo>
                  <a:pt x="36" y="141"/>
                  <a:pt x="33" y="138"/>
                  <a:pt x="29" y="135"/>
                </a:cubicBezTo>
                <a:cubicBezTo>
                  <a:pt x="33" y="131"/>
                  <a:pt x="33" y="131"/>
                  <a:pt x="33" y="131"/>
                </a:cubicBezTo>
                <a:cubicBezTo>
                  <a:pt x="34" y="130"/>
                  <a:pt x="34" y="128"/>
                  <a:pt x="33" y="127"/>
                </a:cubicBezTo>
                <a:cubicBezTo>
                  <a:pt x="32" y="126"/>
                  <a:pt x="30" y="126"/>
                  <a:pt x="29" y="127"/>
                </a:cubicBezTo>
                <a:cubicBezTo>
                  <a:pt x="25" y="131"/>
                  <a:pt x="25" y="131"/>
                  <a:pt x="25" y="131"/>
                </a:cubicBezTo>
                <a:cubicBezTo>
                  <a:pt x="22" y="127"/>
                  <a:pt x="19" y="124"/>
                  <a:pt x="17" y="120"/>
                </a:cubicBezTo>
                <a:cubicBezTo>
                  <a:pt x="21" y="117"/>
                  <a:pt x="21" y="117"/>
                  <a:pt x="21" y="117"/>
                </a:cubicBezTo>
                <a:cubicBezTo>
                  <a:pt x="23" y="116"/>
                  <a:pt x="23" y="115"/>
                  <a:pt x="22" y="113"/>
                </a:cubicBezTo>
                <a:cubicBezTo>
                  <a:pt x="22" y="112"/>
                  <a:pt x="20" y="112"/>
                  <a:pt x="19" y="112"/>
                </a:cubicBezTo>
                <a:cubicBezTo>
                  <a:pt x="14" y="115"/>
                  <a:pt x="14" y="115"/>
                  <a:pt x="14" y="115"/>
                </a:cubicBezTo>
                <a:cubicBezTo>
                  <a:pt x="12" y="111"/>
                  <a:pt x="10" y="106"/>
                  <a:pt x="9" y="102"/>
                </a:cubicBezTo>
                <a:cubicBezTo>
                  <a:pt x="14" y="101"/>
                  <a:pt x="14" y="101"/>
                  <a:pt x="14" y="101"/>
                </a:cubicBezTo>
                <a:cubicBezTo>
                  <a:pt x="15" y="100"/>
                  <a:pt x="16" y="99"/>
                  <a:pt x="16" y="97"/>
                </a:cubicBezTo>
                <a:cubicBezTo>
                  <a:pt x="15" y="96"/>
                  <a:pt x="14" y="95"/>
                  <a:pt x="12" y="95"/>
                </a:cubicBezTo>
                <a:cubicBezTo>
                  <a:pt x="7" y="97"/>
                  <a:pt x="7" y="97"/>
                  <a:pt x="7" y="97"/>
                </a:cubicBezTo>
                <a:cubicBezTo>
                  <a:pt x="6" y="92"/>
                  <a:pt x="6" y="87"/>
                  <a:pt x="5" y="83"/>
                </a:cubicBezTo>
                <a:cubicBezTo>
                  <a:pt x="16" y="83"/>
                  <a:pt x="16" y="83"/>
                  <a:pt x="16" y="83"/>
                </a:cubicBezTo>
                <a:cubicBezTo>
                  <a:pt x="17" y="83"/>
                  <a:pt x="19" y="81"/>
                  <a:pt x="19" y="80"/>
                </a:cubicBezTo>
                <a:cubicBezTo>
                  <a:pt x="19" y="79"/>
                  <a:pt x="17" y="77"/>
                  <a:pt x="16" y="77"/>
                </a:cubicBezTo>
                <a:cubicBezTo>
                  <a:pt x="5" y="77"/>
                  <a:pt x="5" y="77"/>
                  <a:pt x="5" y="77"/>
                </a:cubicBezTo>
                <a:cubicBezTo>
                  <a:pt x="6" y="73"/>
                  <a:pt x="6" y="68"/>
                  <a:pt x="7" y="63"/>
                </a:cubicBezTo>
                <a:cubicBezTo>
                  <a:pt x="12" y="65"/>
                  <a:pt x="12" y="65"/>
                  <a:pt x="12" y="65"/>
                </a:cubicBezTo>
                <a:cubicBezTo>
                  <a:pt x="13" y="65"/>
                  <a:pt x="13" y="65"/>
                  <a:pt x="13" y="65"/>
                </a:cubicBezTo>
                <a:cubicBezTo>
                  <a:pt x="14" y="65"/>
                  <a:pt x="15" y="64"/>
                  <a:pt x="16" y="63"/>
                </a:cubicBezTo>
                <a:cubicBezTo>
                  <a:pt x="16" y="61"/>
                  <a:pt x="15" y="60"/>
                  <a:pt x="14" y="59"/>
                </a:cubicBezTo>
                <a:cubicBezTo>
                  <a:pt x="9" y="58"/>
                  <a:pt x="9" y="58"/>
                  <a:pt x="9" y="58"/>
                </a:cubicBezTo>
                <a:cubicBezTo>
                  <a:pt x="10" y="54"/>
                  <a:pt x="12" y="49"/>
                  <a:pt x="14" y="45"/>
                </a:cubicBezTo>
                <a:cubicBezTo>
                  <a:pt x="19" y="48"/>
                  <a:pt x="19" y="48"/>
                  <a:pt x="19" y="48"/>
                </a:cubicBezTo>
                <a:cubicBezTo>
                  <a:pt x="19" y="48"/>
                  <a:pt x="19" y="48"/>
                  <a:pt x="20" y="48"/>
                </a:cubicBezTo>
                <a:cubicBezTo>
                  <a:pt x="21" y="48"/>
                  <a:pt x="22" y="48"/>
                  <a:pt x="22" y="47"/>
                </a:cubicBezTo>
                <a:cubicBezTo>
                  <a:pt x="23" y="45"/>
                  <a:pt x="23" y="44"/>
                  <a:pt x="21" y="43"/>
                </a:cubicBezTo>
                <a:cubicBezTo>
                  <a:pt x="17" y="40"/>
                  <a:pt x="17" y="40"/>
                  <a:pt x="17" y="40"/>
                </a:cubicBezTo>
                <a:cubicBezTo>
                  <a:pt x="19" y="36"/>
                  <a:pt x="22" y="33"/>
                  <a:pt x="25" y="29"/>
                </a:cubicBezTo>
                <a:cubicBezTo>
                  <a:pt x="29" y="33"/>
                  <a:pt x="29" y="33"/>
                  <a:pt x="29" y="33"/>
                </a:cubicBezTo>
                <a:cubicBezTo>
                  <a:pt x="30" y="33"/>
                  <a:pt x="30" y="34"/>
                  <a:pt x="31" y="34"/>
                </a:cubicBezTo>
                <a:cubicBezTo>
                  <a:pt x="32" y="34"/>
                  <a:pt x="32" y="33"/>
                  <a:pt x="33" y="33"/>
                </a:cubicBezTo>
                <a:cubicBezTo>
                  <a:pt x="34" y="32"/>
                  <a:pt x="34" y="30"/>
                  <a:pt x="33" y="29"/>
                </a:cubicBezTo>
                <a:cubicBezTo>
                  <a:pt x="29" y="25"/>
                  <a:pt x="29" y="25"/>
                  <a:pt x="29" y="25"/>
                </a:cubicBezTo>
                <a:cubicBezTo>
                  <a:pt x="33" y="22"/>
                  <a:pt x="36" y="19"/>
                  <a:pt x="40" y="17"/>
                </a:cubicBezTo>
                <a:cubicBezTo>
                  <a:pt x="43" y="21"/>
                  <a:pt x="43" y="21"/>
                  <a:pt x="43" y="21"/>
                </a:cubicBezTo>
                <a:cubicBezTo>
                  <a:pt x="44" y="22"/>
                  <a:pt x="44" y="23"/>
                  <a:pt x="45" y="23"/>
                </a:cubicBezTo>
                <a:cubicBezTo>
                  <a:pt x="46" y="23"/>
                  <a:pt x="46" y="23"/>
                  <a:pt x="47" y="22"/>
                </a:cubicBezTo>
                <a:cubicBezTo>
                  <a:pt x="48" y="22"/>
                  <a:pt x="48" y="20"/>
                  <a:pt x="48" y="19"/>
                </a:cubicBezTo>
                <a:cubicBezTo>
                  <a:pt x="45" y="14"/>
                  <a:pt x="45" y="14"/>
                  <a:pt x="45" y="14"/>
                </a:cubicBezTo>
                <a:cubicBezTo>
                  <a:pt x="49" y="12"/>
                  <a:pt x="54" y="10"/>
                  <a:pt x="58" y="9"/>
                </a:cubicBezTo>
                <a:cubicBezTo>
                  <a:pt x="59" y="14"/>
                  <a:pt x="59" y="14"/>
                  <a:pt x="59" y="14"/>
                </a:cubicBezTo>
                <a:cubicBezTo>
                  <a:pt x="60" y="15"/>
                  <a:pt x="61" y="16"/>
                  <a:pt x="62" y="16"/>
                </a:cubicBezTo>
                <a:cubicBezTo>
                  <a:pt x="62" y="16"/>
                  <a:pt x="63" y="16"/>
                  <a:pt x="63" y="16"/>
                </a:cubicBezTo>
                <a:cubicBezTo>
                  <a:pt x="64" y="15"/>
                  <a:pt x="65" y="14"/>
                  <a:pt x="65" y="12"/>
                </a:cubicBezTo>
                <a:cubicBezTo>
                  <a:pt x="63" y="7"/>
                  <a:pt x="63" y="7"/>
                  <a:pt x="63" y="7"/>
                </a:cubicBezTo>
                <a:cubicBezTo>
                  <a:pt x="68" y="6"/>
                  <a:pt x="73" y="6"/>
                  <a:pt x="77" y="5"/>
                </a:cubicBezTo>
                <a:cubicBezTo>
                  <a:pt x="77" y="16"/>
                  <a:pt x="77" y="16"/>
                  <a:pt x="77" y="16"/>
                </a:cubicBezTo>
                <a:cubicBezTo>
                  <a:pt x="77" y="17"/>
                  <a:pt x="79" y="19"/>
                  <a:pt x="80" y="19"/>
                </a:cubicBezTo>
                <a:cubicBezTo>
                  <a:pt x="81" y="19"/>
                  <a:pt x="83" y="17"/>
                  <a:pt x="83" y="16"/>
                </a:cubicBezTo>
                <a:cubicBezTo>
                  <a:pt x="83" y="5"/>
                  <a:pt x="83" y="5"/>
                  <a:pt x="83" y="5"/>
                </a:cubicBezTo>
                <a:cubicBezTo>
                  <a:pt x="87" y="6"/>
                  <a:pt x="92" y="6"/>
                  <a:pt x="97" y="7"/>
                </a:cubicBezTo>
                <a:cubicBezTo>
                  <a:pt x="95" y="12"/>
                  <a:pt x="95" y="12"/>
                  <a:pt x="95" y="12"/>
                </a:cubicBezTo>
                <a:cubicBezTo>
                  <a:pt x="95" y="14"/>
                  <a:pt x="96" y="15"/>
                  <a:pt x="97" y="16"/>
                </a:cubicBezTo>
                <a:cubicBezTo>
                  <a:pt x="97" y="16"/>
                  <a:pt x="98" y="16"/>
                  <a:pt x="98" y="16"/>
                </a:cubicBezTo>
                <a:cubicBezTo>
                  <a:pt x="99" y="16"/>
                  <a:pt x="100" y="15"/>
                  <a:pt x="101" y="14"/>
                </a:cubicBezTo>
                <a:cubicBezTo>
                  <a:pt x="102" y="9"/>
                  <a:pt x="102" y="9"/>
                  <a:pt x="102" y="9"/>
                </a:cubicBezTo>
                <a:cubicBezTo>
                  <a:pt x="106" y="10"/>
                  <a:pt x="111" y="12"/>
                  <a:pt x="115" y="14"/>
                </a:cubicBezTo>
                <a:cubicBezTo>
                  <a:pt x="112" y="19"/>
                  <a:pt x="112" y="19"/>
                  <a:pt x="112" y="19"/>
                </a:cubicBezTo>
                <a:cubicBezTo>
                  <a:pt x="112" y="20"/>
                  <a:pt x="112" y="22"/>
                  <a:pt x="113" y="22"/>
                </a:cubicBezTo>
                <a:cubicBezTo>
                  <a:pt x="114" y="23"/>
                  <a:pt x="114" y="23"/>
                  <a:pt x="115" y="23"/>
                </a:cubicBezTo>
                <a:cubicBezTo>
                  <a:pt x="116" y="23"/>
                  <a:pt x="116" y="22"/>
                  <a:pt x="117" y="21"/>
                </a:cubicBezTo>
                <a:cubicBezTo>
                  <a:pt x="120" y="17"/>
                  <a:pt x="120" y="17"/>
                  <a:pt x="120" y="17"/>
                </a:cubicBezTo>
                <a:cubicBezTo>
                  <a:pt x="124" y="19"/>
                  <a:pt x="127" y="22"/>
                  <a:pt x="131" y="25"/>
                </a:cubicBezTo>
                <a:cubicBezTo>
                  <a:pt x="127" y="29"/>
                  <a:pt x="127" y="29"/>
                  <a:pt x="127" y="29"/>
                </a:cubicBezTo>
                <a:cubicBezTo>
                  <a:pt x="126" y="30"/>
                  <a:pt x="126" y="32"/>
                  <a:pt x="127" y="33"/>
                </a:cubicBezTo>
                <a:cubicBezTo>
                  <a:pt x="128" y="33"/>
                  <a:pt x="128" y="34"/>
                  <a:pt x="129" y="34"/>
                </a:cubicBezTo>
                <a:cubicBezTo>
                  <a:pt x="130" y="34"/>
                  <a:pt x="130" y="33"/>
                  <a:pt x="131" y="33"/>
                </a:cubicBezTo>
                <a:cubicBezTo>
                  <a:pt x="135" y="29"/>
                  <a:pt x="135" y="29"/>
                  <a:pt x="135" y="29"/>
                </a:cubicBezTo>
                <a:cubicBezTo>
                  <a:pt x="138" y="33"/>
                  <a:pt x="141" y="36"/>
                  <a:pt x="143" y="40"/>
                </a:cubicBezTo>
                <a:cubicBezTo>
                  <a:pt x="139" y="43"/>
                  <a:pt x="139" y="43"/>
                  <a:pt x="139" y="43"/>
                </a:cubicBezTo>
                <a:cubicBezTo>
                  <a:pt x="137" y="44"/>
                  <a:pt x="137" y="45"/>
                  <a:pt x="138" y="47"/>
                </a:cubicBezTo>
                <a:cubicBezTo>
                  <a:pt x="138" y="48"/>
                  <a:pt x="139" y="48"/>
                  <a:pt x="140" y="48"/>
                </a:cubicBezTo>
                <a:cubicBezTo>
                  <a:pt x="141" y="48"/>
                  <a:pt x="141" y="48"/>
                  <a:pt x="141" y="48"/>
                </a:cubicBezTo>
                <a:cubicBezTo>
                  <a:pt x="146" y="45"/>
                  <a:pt x="146" y="45"/>
                  <a:pt x="146" y="45"/>
                </a:cubicBezTo>
                <a:cubicBezTo>
                  <a:pt x="148" y="49"/>
                  <a:pt x="150" y="54"/>
                  <a:pt x="151" y="58"/>
                </a:cubicBezTo>
                <a:cubicBezTo>
                  <a:pt x="146" y="59"/>
                  <a:pt x="146" y="59"/>
                  <a:pt x="146" y="59"/>
                </a:cubicBezTo>
                <a:cubicBezTo>
                  <a:pt x="145" y="60"/>
                  <a:pt x="144" y="61"/>
                  <a:pt x="144" y="63"/>
                </a:cubicBezTo>
                <a:cubicBezTo>
                  <a:pt x="145" y="64"/>
                  <a:pt x="146" y="65"/>
                  <a:pt x="147" y="65"/>
                </a:cubicBezTo>
                <a:cubicBezTo>
                  <a:pt x="147" y="65"/>
                  <a:pt x="147" y="65"/>
                  <a:pt x="148" y="65"/>
                </a:cubicBezTo>
                <a:cubicBezTo>
                  <a:pt x="153" y="63"/>
                  <a:pt x="153" y="63"/>
                  <a:pt x="153" y="63"/>
                </a:cubicBezTo>
                <a:cubicBezTo>
                  <a:pt x="154" y="68"/>
                  <a:pt x="154" y="73"/>
                  <a:pt x="155" y="77"/>
                </a:cubicBezTo>
                <a:cubicBezTo>
                  <a:pt x="144" y="77"/>
                  <a:pt x="144" y="77"/>
                  <a:pt x="144" y="77"/>
                </a:cubicBezTo>
                <a:cubicBezTo>
                  <a:pt x="143" y="77"/>
                  <a:pt x="141" y="79"/>
                  <a:pt x="141" y="80"/>
                </a:cubicBezTo>
                <a:cubicBezTo>
                  <a:pt x="141" y="81"/>
                  <a:pt x="143" y="83"/>
                  <a:pt x="144" y="83"/>
                </a:cubicBezTo>
                <a:cubicBezTo>
                  <a:pt x="155" y="83"/>
                  <a:pt x="155" y="83"/>
                  <a:pt x="155" y="83"/>
                </a:cubicBezTo>
                <a:cubicBezTo>
                  <a:pt x="154" y="87"/>
                  <a:pt x="154" y="92"/>
                  <a:pt x="153" y="97"/>
                </a:cubicBezTo>
                <a:cubicBezTo>
                  <a:pt x="148" y="95"/>
                  <a:pt x="148" y="95"/>
                  <a:pt x="148" y="95"/>
                </a:cubicBezTo>
                <a:cubicBezTo>
                  <a:pt x="146" y="95"/>
                  <a:pt x="145" y="96"/>
                  <a:pt x="144" y="97"/>
                </a:cubicBezTo>
                <a:cubicBezTo>
                  <a:pt x="144" y="99"/>
                  <a:pt x="145" y="100"/>
                  <a:pt x="146" y="101"/>
                </a:cubicBezTo>
                <a:close/>
                <a:moveTo>
                  <a:pt x="109" y="77"/>
                </a:moveTo>
                <a:cubicBezTo>
                  <a:pt x="90" y="77"/>
                  <a:pt x="90" y="77"/>
                  <a:pt x="90" y="77"/>
                </a:cubicBezTo>
                <a:cubicBezTo>
                  <a:pt x="89" y="74"/>
                  <a:pt x="86" y="71"/>
                  <a:pt x="83" y="70"/>
                </a:cubicBezTo>
                <a:cubicBezTo>
                  <a:pt x="83" y="35"/>
                  <a:pt x="83" y="35"/>
                  <a:pt x="83" y="35"/>
                </a:cubicBezTo>
                <a:cubicBezTo>
                  <a:pt x="83" y="33"/>
                  <a:pt x="81" y="32"/>
                  <a:pt x="80" y="32"/>
                </a:cubicBezTo>
                <a:cubicBezTo>
                  <a:pt x="79" y="32"/>
                  <a:pt x="77" y="33"/>
                  <a:pt x="77" y="35"/>
                </a:cubicBezTo>
                <a:cubicBezTo>
                  <a:pt x="77" y="70"/>
                  <a:pt x="77" y="70"/>
                  <a:pt x="77" y="70"/>
                </a:cubicBezTo>
                <a:cubicBezTo>
                  <a:pt x="73" y="71"/>
                  <a:pt x="69" y="75"/>
                  <a:pt x="69" y="80"/>
                </a:cubicBezTo>
                <a:cubicBezTo>
                  <a:pt x="69" y="86"/>
                  <a:pt x="74" y="91"/>
                  <a:pt x="80" y="91"/>
                </a:cubicBezTo>
                <a:cubicBezTo>
                  <a:pt x="85" y="91"/>
                  <a:pt x="89" y="87"/>
                  <a:pt x="90" y="83"/>
                </a:cubicBezTo>
                <a:cubicBezTo>
                  <a:pt x="109" y="83"/>
                  <a:pt x="109" y="83"/>
                  <a:pt x="109" y="83"/>
                </a:cubicBezTo>
                <a:cubicBezTo>
                  <a:pt x="111" y="83"/>
                  <a:pt x="112" y="81"/>
                  <a:pt x="112" y="80"/>
                </a:cubicBezTo>
                <a:cubicBezTo>
                  <a:pt x="112" y="79"/>
                  <a:pt x="111" y="77"/>
                  <a:pt x="109" y="77"/>
                </a:cubicBezTo>
                <a:close/>
                <a:moveTo>
                  <a:pt x="80" y="85"/>
                </a:moveTo>
                <a:cubicBezTo>
                  <a:pt x="77" y="85"/>
                  <a:pt x="75" y="83"/>
                  <a:pt x="75" y="80"/>
                </a:cubicBezTo>
                <a:cubicBezTo>
                  <a:pt x="75" y="77"/>
                  <a:pt x="77" y="75"/>
                  <a:pt x="80" y="75"/>
                </a:cubicBezTo>
                <a:cubicBezTo>
                  <a:pt x="83" y="75"/>
                  <a:pt x="85" y="77"/>
                  <a:pt x="85" y="80"/>
                </a:cubicBezTo>
                <a:cubicBezTo>
                  <a:pt x="85" y="83"/>
                  <a:pt x="83" y="85"/>
                  <a:pt x="80" y="85"/>
                </a:cubicBezTo>
                <a:close/>
                <a:moveTo>
                  <a:pt x="80" y="93"/>
                </a:moveTo>
                <a:cubicBezTo>
                  <a:pt x="68" y="93"/>
                  <a:pt x="59" y="103"/>
                  <a:pt x="59" y="115"/>
                </a:cubicBezTo>
                <a:cubicBezTo>
                  <a:pt x="59" y="126"/>
                  <a:pt x="68" y="136"/>
                  <a:pt x="80" y="136"/>
                </a:cubicBezTo>
                <a:cubicBezTo>
                  <a:pt x="92" y="136"/>
                  <a:pt x="101" y="126"/>
                  <a:pt x="101" y="115"/>
                </a:cubicBezTo>
                <a:cubicBezTo>
                  <a:pt x="101" y="103"/>
                  <a:pt x="92" y="93"/>
                  <a:pt x="80" y="93"/>
                </a:cubicBezTo>
                <a:close/>
                <a:moveTo>
                  <a:pt x="80" y="131"/>
                </a:moveTo>
                <a:cubicBezTo>
                  <a:pt x="71" y="131"/>
                  <a:pt x="64" y="123"/>
                  <a:pt x="64" y="115"/>
                </a:cubicBezTo>
                <a:cubicBezTo>
                  <a:pt x="64" y="106"/>
                  <a:pt x="71" y="99"/>
                  <a:pt x="80" y="99"/>
                </a:cubicBezTo>
                <a:cubicBezTo>
                  <a:pt x="89" y="99"/>
                  <a:pt x="96" y="106"/>
                  <a:pt x="96" y="115"/>
                </a:cubicBezTo>
                <a:cubicBezTo>
                  <a:pt x="96" y="123"/>
                  <a:pt x="89" y="131"/>
                  <a:pt x="80" y="131"/>
                </a:cubicBezTo>
                <a:close/>
                <a:moveTo>
                  <a:pt x="82" y="113"/>
                </a:moveTo>
                <a:cubicBezTo>
                  <a:pt x="83" y="114"/>
                  <a:pt x="83" y="116"/>
                  <a:pt x="82" y="117"/>
                </a:cubicBezTo>
                <a:cubicBezTo>
                  <a:pt x="81" y="117"/>
                  <a:pt x="81" y="117"/>
                  <a:pt x="80" y="117"/>
                </a:cubicBezTo>
                <a:cubicBezTo>
                  <a:pt x="79" y="117"/>
                  <a:pt x="79" y="117"/>
                  <a:pt x="78" y="117"/>
                </a:cubicBezTo>
                <a:cubicBezTo>
                  <a:pt x="70" y="109"/>
                  <a:pt x="70" y="109"/>
                  <a:pt x="70" y="109"/>
                </a:cubicBezTo>
                <a:cubicBezTo>
                  <a:pt x="69" y="108"/>
                  <a:pt x="69" y="106"/>
                  <a:pt x="70" y="105"/>
                </a:cubicBezTo>
                <a:cubicBezTo>
                  <a:pt x="71" y="104"/>
                  <a:pt x="73" y="104"/>
                  <a:pt x="74" y="105"/>
                </a:cubicBezTo>
                <a:lnTo>
                  <a:pt x="82" y="113"/>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26">
            <a:extLst>
              <a:ext uri="{FF2B5EF4-FFF2-40B4-BE49-F238E27FC236}">
                <a16:creationId xmlns:a16="http://schemas.microsoft.com/office/drawing/2014/main" id="{D4F2D146-D09D-634A-8478-A64F7017B227}"/>
              </a:ext>
            </a:extLst>
          </p:cNvPr>
          <p:cNvSpPr>
            <a:spLocks noEditPoints="1"/>
          </p:cNvSpPr>
          <p:nvPr/>
        </p:nvSpPr>
        <p:spPr bwMode="auto">
          <a:xfrm>
            <a:off x="2765116" y="2443163"/>
            <a:ext cx="438150" cy="604838"/>
          </a:xfrm>
          <a:custGeom>
            <a:avLst/>
            <a:gdLst>
              <a:gd name="T0" fmla="*/ 101 w 117"/>
              <a:gd name="T1" fmla="*/ 29 h 160"/>
              <a:gd name="T2" fmla="*/ 60 w 117"/>
              <a:gd name="T3" fmla="*/ 26 h 160"/>
              <a:gd name="T4" fmla="*/ 57 w 117"/>
              <a:gd name="T5" fmla="*/ 0 h 160"/>
              <a:gd name="T6" fmla="*/ 54 w 117"/>
              <a:gd name="T7" fmla="*/ 26 h 160"/>
              <a:gd name="T8" fmla="*/ 33 w 117"/>
              <a:gd name="T9" fmla="*/ 29 h 160"/>
              <a:gd name="T10" fmla="*/ 25 w 117"/>
              <a:gd name="T11" fmla="*/ 45 h 160"/>
              <a:gd name="T12" fmla="*/ 0 w 117"/>
              <a:gd name="T13" fmla="*/ 61 h 160"/>
              <a:gd name="T14" fmla="*/ 54 w 117"/>
              <a:gd name="T15" fmla="*/ 77 h 160"/>
              <a:gd name="T16" fmla="*/ 41 w 117"/>
              <a:gd name="T17" fmla="*/ 133 h 160"/>
              <a:gd name="T18" fmla="*/ 33 w 117"/>
              <a:gd name="T19" fmla="*/ 144 h 160"/>
              <a:gd name="T20" fmla="*/ 81 w 117"/>
              <a:gd name="T21" fmla="*/ 160 h 160"/>
              <a:gd name="T22" fmla="*/ 73 w 117"/>
              <a:gd name="T23" fmla="*/ 144 h 160"/>
              <a:gd name="T24" fmla="*/ 60 w 117"/>
              <a:gd name="T25" fmla="*/ 133 h 160"/>
              <a:gd name="T26" fmla="*/ 83 w 117"/>
              <a:gd name="T27" fmla="*/ 77 h 160"/>
              <a:gd name="T28" fmla="*/ 92 w 117"/>
              <a:gd name="T29" fmla="*/ 61 h 160"/>
              <a:gd name="T30" fmla="*/ 117 w 117"/>
              <a:gd name="T31" fmla="*/ 45 h 160"/>
              <a:gd name="T32" fmla="*/ 57 w 117"/>
              <a:gd name="T33" fmla="*/ 5 h 160"/>
              <a:gd name="T34" fmla="*/ 57 w 117"/>
              <a:gd name="T35" fmla="*/ 21 h 160"/>
              <a:gd name="T36" fmla="*/ 76 w 117"/>
              <a:gd name="T37" fmla="*/ 149 h 160"/>
              <a:gd name="T38" fmla="*/ 38 w 117"/>
              <a:gd name="T39" fmla="*/ 155 h 160"/>
              <a:gd name="T40" fmla="*/ 41 w 117"/>
              <a:gd name="T41" fmla="*/ 149 h 160"/>
              <a:gd name="T42" fmla="*/ 76 w 117"/>
              <a:gd name="T43" fmla="*/ 149 h 160"/>
              <a:gd name="T44" fmla="*/ 46 w 117"/>
              <a:gd name="T45" fmla="*/ 144 h 160"/>
              <a:gd name="T46" fmla="*/ 68 w 117"/>
              <a:gd name="T47" fmla="*/ 139 h 160"/>
              <a:gd name="T48" fmla="*/ 86 w 117"/>
              <a:gd name="T49" fmla="*/ 69 h 160"/>
              <a:gd name="T50" fmla="*/ 18 w 117"/>
              <a:gd name="T51" fmla="*/ 72 h 160"/>
              <a:gd name="T52" fmla="*/ 18 w 117"/>
              <a:gd name="T53" fmla="*/ 51 h 160"/>
              <a:gd name="T54" fmla="*/ 83 w 117"/>
              <a:gd name="T55" fmla="*/ 51 h 160"/>
              <a:gd name="T56" fmla="*/ 86 w 117"/>
              <a:gd name="T57" fmla="*/ 61 h 160"/>
              <a:gd name="T58" fmla="*/ 92 w 117"/>
              <a:gd name="T59" fmla="*/ 56 h 160"/>
              <a:gd name="T60" fmla="*/ 83 w 117"/>
              <a:gd name="T61" fmla="*/ 45 h 160"/>
              <a:gd name="T62" fmla="*/ 30 w 117"/>
              <a:gd name="T63" fmla="*/ 38 h 160"/>
              <a:gd name="T64" fmla="*/ 99 w 117"/>
              <a:gd name="T65" fmla="*/ 35 h 160"/>
              <a:gd name="T66" fmla="*/ 99 w 117"/>
              <a:gd name="T67" fmla="*/ 5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7" h="160">
                <a:moveTo>
                  <a:pt x="117" y="45"/>
                </a:moveTo>
                <a:cubicBezTo>
                  <a:pt x="101" y="29"/>
                  <a:pt x="101" y="29"/>
                  <a:pt x="101" y="29"/>
                </a:cubicBezTo>
                <a:cubicBezTo>
                  <a:pt x="60" y="29"/>
                  <a:pt x="60" y="29"/>
                  <a:pt x="60" y="29"/>
                </a:cubicBezTo>
                <a:cubicBezTo>
                  <a:pt x="60" y="26"/>
                  <a:pt x="60" y="26"/>
                  <a:pt x="60" y="26"/>
                </a:cubicBezTo>
                <a:cubicBezTo>
                  <a:pt x="66" y="25"/>
                  <a:pt x="70" y="20"/>
                  <a:pt x="70" y="13"/>
                </a:cubicBezTo>
                <a:cubicBezTo>
                  <a:pt x="70" y="6"/>
                  <a:pt x="64" y="0"/>
                  <a:pt x="57" y="0"/>
                </a:cubicBezTo>
                <a:cubicBezTo>
                  <a:pt x="50" y="0"/>
                  <a:pt x="44" y="6"/>
                  <a:pt x="44" y="13"/>
                </a:cubicBezTo>
                <a:cubicBezTo>
                  <a:pt x="44" y="20"/>
                  <a:pt x="48" y="25"/>
                  <a:pt x="54" y="26"/>
                </a:cubicBezTo>
                <a:cubicBezTo>
                  <a:pt x="54" y="29"/>
                  <a:pt x="54" y="29"/>
                  <a:pt x="54" y="29"/>
                </a:cubicBezTo>
                <a:cubicBezTo>
                  <a:pt x="33" y="29"/>
                  <a:pt x="33" y="29"/>
                  <a:pt x="33" y="29"/>
                </a:cubicBezTo>
                <a:cubicBezTo>
                  <a:pt x="29" y="29"/>
                  <a:pt x="25" y="33"/>
                  <a:pt x="25" y="38"/>
                </a:cubicBezTo>
                <a:cubicBezTo>
                  <a:pt x="25" y="45"/>
                  <a:pt x="25" y="45"/>
                  <a:pt x="25" y="45"/>
                </a:cubicBezTo>
                <a:cubicBezTo>
                  <a:pt x="16" y="45"/>
                  <a:pt x="16" y="45"/>
                  <a:pt x="16" y="45"/>
                </a:cubicBezTo>
                <a:cubicBezTo>
                  <a:pt x="0" y="61"/>
                  <a:pt x="0" y="61"/>
                  <a:pt x="0" y="61"/>
                </a:cubicBezTo>
                <a:cubicBezTo>
                  <a:pt x="16" y="77"/>
                  <a:pt x="16" y="77"/>
                  <a:pt x="16" y="77"/>
                </a:cubicBezTo>
                <a:cubicBezTo>
                  <a:pt x="54" y="77"/>
                  <a:pt x="54" y="77"/>
                  <a:pt x="54" y="77"/>
                </a:cubicBezTo>
                <a:cubicBezTo>
                  <a:pt x="54" y="133"/>
                  <a:pt x="54" y="133"/>
                  <a:pt x="54" y="133"/>
                </a:cubicBezTo>
                <a:cubicBezTo>
                  <a:pt x="41" y="133"/>
                  <a:pt x="41" y="133"/>
                  <a:pt x="41" y="133"/>
                </a:cubicBezTo>
                <a:cubicBezTo>
                  <a:pt x="41" y="144"/>
                  <a:pt x="41" y="144"/>
                  <a:pt x="41" y="144"/>
                </a:cubicBezTo>
                <a:cubicBezTo>
                  <a:pt x="33" y="144"/>
                  <a:pt x="33" y="144"/>
                  <a:pt x="33" y="144"/>
                </a:cubicBezTo>
                <a:cubicBezTo>
                  <a:pt x="33" y="160"/>
                  <a:pt x="33" y="160"/>
                  <a:pt x="33" y="160"/>
                </a:cubicBezTo>
                <a:cubicBezTo>
                  <a:pt x="81" y="160"/>
                  <a:pt x="81" y="160"/>
                  <a:pt x="81" y="160"/>
                </a:cubicBezTo>
                <a:cubicBezTo>
                  <a:pt x="81" y="144"/>
                  <a:pt x="81" y="144"/>
                  <a:pt x="81" y="144"/>
                </a:cubicBezTo>
                <a:cubicBezTo>
                  <a:pt x="73" y="144"/>
                  <a:pt x="73" y="144"/>
                  <a:pt x="73" y="144"/>
                </a:cubicBezTo>
                <a:cubicBezTo>
                  <a:pt x="73" y="133"/>
                  <a:pt x="73" y="133"/>
                  <a:pt x="73" y="133"/>
                </a:cubicBezTo>
                <a:cubicBezTo>
                  <a:pt x="60" y="133"/>
                  <a:pt x="60" y="133"/>
                  <a:pt x="60" y="133"/>
                </a:cubicBezTo>
                <a:cubicBezTo>
                  <a:pt x="60" y="77"/>
                  <a:pt x="60" y="77"/>
                  <a:pt x="60" y="77"/>
                </a:cubicBezTo>
                <a:cubicBezTo>
                  <a:pt x="83" y="77"/>
                  <a:pt x="83" y="77"/>
                  <a:pt x="83" y="77"/>
                </a:cubicBezTo>
                <a:cubicBezTo>
                  <a:pt x="88" y="77"/>
                  <a:pt x="92" y="74"/>
                  <a:pt x="92" y="69"/>
                </a:cubicBezTo>
                <a:cubicBezTo>
                  <a:pt x="92" y="61"/>
                  <a:pt x="92" y="61"/>
                  <a:pt x="92" y="61"/>
                </a:cubicBezTo>
                <a:cubicBezTo>
                  <a:pt x="101" y="61"/>
                  <a:pt x="101" y="61"/>
                  <a:pt x="101" y="61"/>
                </a:cubicBezTo>
                <a:lnTo>
                  <a:pt x="117" y="45"/>
                </a:lnTo>
                <a:close/>
                <a:moveTo>
                  <a:pt x="49" y="13"/>
                </a:moveTo>
                <a:cubicBezTo>
                  <a:pt x="49" y="9"/>
                  <a:pt x="53" y="5"/>
                  <a:pt x="57" y="5"/>
                </a:cubicBezTo>
                <a:cubicBezTo>
                  <a:pt x="62" y="5"/>
                  <a:pt x="65" y="9"/>
                  <a:pt x="65" y="13"/>
                </a:cubicBezTo>
                <a:cubicBezTo>
                  <a:pt x="65" y="18"/>
                  <a:pt x="62" y="21"/>
                  <a:pt x="57" y="21"/>
                </a:cubicBezTo>
                <a:cubicBezTo>
                  <a:pt x="53" y="21"/>
                  <a:pt x="49" y="18"/>
                  <a:pt x="49" y="13"/>
                </a:cubicBezTo>
                <a:close/>
                <a:moveTo>
                  <a:pt x="76" y="149"/>
                </a:moveTo>
                <a:cubicBezTo>
                  <a:pt x="76" y="155"/>
                  <a:pt x="76" y="155"/>
                  <a:pt x="76" y="155"/>
                </a:cubicBezTo>
                <a:cubicBezTo>
                  <a:pt x="38" y="155"/>
                  <a:pt x="38" y="155"/>
                  <a:pt x="38" y="155"/>
                </a:cubicBezTo>
                <a:cubicBezTo>
                  <a:pt x="38" y="149"/>
                  <a:pt x="38" y="149"/>
                  <a:pt x="38" y="149"/>
                </a:cubicBezTo>
                <a:cubicBezTo>
                  <a:pt x="41" y="149"/>
                  <a:pt x="41" y="149"/>
                  <a:pt x="41" y="149"/>
                </a:cubicBezTo>
                <a:cubicBezTo>
                  <a:pt x="73" y="149"/>
                  <a:pt x="73" y="149"/>
                  <a:pt x="73" y="149"/>
                </a:cubicBezTo>
                <a:lnTo>
                  <a:pt x="76" y="149"/>
                </a:lnTo>
                <a:close/>
                <a:moveTo>
                  <a:pt x="68" y="144"/>
                </a:moveTo>
                <a:cubicBezTo>
                  <a:pt x="46" y="144"/>
                  <a:pt x="46" y="144"/>
                  <a:pt x="46" y="144"/>
                </a:cubicBezTo>
                <a:cubicBezTo>
                  <a:pt x="46" y="139"/>
                  <a:pt x="46" y="139"/>
                  <a:pt x="46" y="139"/>
                </a:cubicBezTo>
                <a:cubicBezTo>
                  <a:pt x="68" y="139"/>
                  <a:pt x="68" y="139"/>
                  <a:pt x="68" y="139"/>
                </a:cubicBezTo>
                <a:lnTo>
                  <a:pt x="68" y="144"/>
                </a:lnTo>
                <a:close/>
                <a:moveTo>
                  <a:pt x="86" y="69"/>
                </a:moveTo>
                <a:cubicBezTo>
                  <a:pt x="86" y="71"/>
                  <a:pt x="85" y="72"/>
                  <a:pt x="83" y="72"/>
                </a:cubicBezTo>
                <a:cubicBezTo>
                  <a:pt x="18" y="72"/>
                  <a:pt x="18" y="72"/>
                  <a:pt x="18" y="72"/>
                </a:cubicBezTo>
                <a:cubicBezTo>
                  <a:pt x="8" y="61"/>
                  <a:pt x="8" y="61"/>
                  <a:pt x="8" y="61"/>
                </a:cubicBezTo>
                <a:cubicBezTo>
                  <a:pt x="18" y="51"/>
                  <a:pt x="18" y="51"/>
                  <a:pt x="18" y="51"/>
                </a:cubicBezTo>
                <a:cubicBezTo>
                  <a:pt x="25" y="51"/>
                  <a:pt x="25" y="51"/>
                  <a:pt x="25" y="51"/>
                </a:cubicBezTo>
                <a:cubicBezTo>
                  <a:pt x="83" y="51"/>
                  <a:pt x="83" y="51"/>
                  <a:pt x="83" y="51"/>
                </a:cubicBezTo>
                <a:cubicBezTo>
                  <a:pt x="85" y="51"/>
                  <a:pt x="86" y="52"/>
                  <a:pt x="86" y="54"/>
                </a:cubicBezTo>
                <a:cubicBezTo>
                  <a:pt x="86" y="61"/>
                  <a:pt x="86" y="61"/>
                  <a:pt x="86" y="61"/>
                </a:cubicBezTo>
                <a:lnTo>
                  <a:pt x="86" y="69"/>
                </a:lnTo>
                <a:close/>
                <a:moveTo>
                  <a:pt x="92" y="56"/>
                </a:moveTo>
                <a:cubicBezTo>
                  <a:pt x="92" y="54"/>
                  <a:pt x="92" y="54"/>
                  <a:pt x="92" y="54"/>
                </a:cubicBezTo>
                <a:cubicBezTo>
                  <a:pt x="92" y="49"/>
                  <a:pt x="88" y="45"/>
                  <a:pt x="83" y="45"/>
                </a:cubicBezTo>
                <a:cubicBezTo>
                  <a:pt x="30" y="45"/>
                  <a:pt x="30" y="45"/>
                  <a:pt x="30" y="45"/>
                </a:cubicBezTo>
                <a:cubicBezTo>
                  <a:pt x="30" y="38"/>
                  <a:pt x="30" y="38"/>
                  <a:pt x="30" y="38"/>
                </a:cubicBezTo>
                <a:cubicBezTo>
                  <a:pt x="30" y="36"/>
                  <a:pt x="32" y="35"/>
                  <a:pt x="33" y="35"/>
                </a:cubicBezTo>
                <a:cubicBezTo>
                  <a:pt x="99" y="35"/>
                  <a:pt x="99" y="35"/>
                  <a:pt x="99" y="35"/>
                </a:cubicBezTo>
                <a:cubicBezTo>
                  <a:pt x="109" y="45"/>
                  <a:pt x="109" y="45"/>
                  <a:pt x="109" y="45"/>
                </a:cubicBezTo>
                <a:cubicBezTo>
                  <a:pt x="99" y="56"/>
                  <a:pt x="99" y="56"/>
                  <a:pt x="99" y="56"/>
                </a:cubicBezTo>
                <a:lnTo>
                  <a:pt x="92" y="56"/>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27">
            <a:extLst>
              <a:ext uri="{FF2B5EF4-FFF2-40B4-BE49-F238E27FC236}">
                <a16:creationId xmlns:a16="http://schemas.microsoft.com/office/drawing/2014/main" id="{73F8C276-C8A0-5B4D-A623-4497B4432F49}"/>
              </a:ext>
            </a:extLst>
          </p:cNvPr>
          <p:cNvSpPr>
            <a:spLocks noEditPoints="1"/>
          </p:cNvSpPr>
          <p:nvPr/>
        </p:nvSpPr>
        <p:spPr bwMode="auto">
          <a:xfrm>
            <a:off x="2795279" y="3124200"/>
            <a:ext cx="401638" cy="604838"/>
          </a:xfrm>
          <a:custGeom>
            <a:avLst/>
            <a:gdLst>
              <a:gd name="T0" fmla="*/ 56 w 107"/>
              <a:gd name="T1" fmla="*/ 32 h 160"/>
              <a:gd name="T2" fmla="*/ 67 w 107"/>
              <a:gd name="T3" fmla="*/ 13 h 160"/>
              <a:gd name="T4" fmla="*/ 40 w 107"/>
              <a:gd name="T5" fmla="*/ 13 h 160"/>
              <a:gd name="T6" fmla="*/ 51 w 107"/>
              <a:gd name="T7" fmla="*/ 32 h 160"/>
              <a:gd name="T8" fmla="*/ 0 w 107"/>
              <a:gd name="T9" fmla="*/ 51 h 160"/>
              <a:gd name="T10" fmla="*/ 51 w 107"/>
              <a:gd name="T11" fmla="*/ 69 h 160"/>
              <a:gd name="T12" fmla="*/ 37 w 107"/>
              <a:gd name="T13" fmla="*/ 133 h 160"/>
              <a:gd name="T14" fmla="*/ 29 w 107"/>
              <a:gd name="T15" fmla="*/ 144 h 160"/>
              <a:gd name="T16" fmla="*/ 77 w 107"/>
              <a:gd name="T17" fmla="*/ 160 h 160"/>
              <a:gd name="T18" fmla="*/ 69 w 107"/>
              <a:gd name="T19" fmla="*/ 144 h 160"/>
              <a:gd name="T20" fmla="*/ 56 w 107"/>
              <a:gd name="T21" fmla="*/ 133 h 160"/>
              <a:gd name="T22" fmla="*/ 88 w 107"/>
              <a:gd name="T23" fmla="*/ 69 h 160"/>
              <a:gd name="T24" fmla="*/ 88 w 107"/>
              <a:gd name="T25" fmla="*/ 32 h 160"/>
              <a:gd name="T26" fmla="*/ 53 w 107"/>
              <a:gd name="T27" fmla="*/ 5 h 160"/>
              <a:gd name="T28" fmla="*/ 53 w 107"/>
              <a:gd name="T29" fmla="*/ 21 h 160"/>
              <a:gd name="T30" fmla="*/ 72 w 107"/>
              <a:gd name="T31" fmla="*/ 149 h 160"/>
              <a:gd name="T32" fmla="*/ 35 w 107"/>
              <a:gd name="T33" fmla="*/ 155 h 160"/>
              <a:gd name="T34" fmla="*/ 37 w 107"/>
              <a:gd name="T35" fmla="*/ 149 h 160"/>
              <a:gd name="T36" fmla="*/ 72 w 107"/>
              <a:gd name="T37" fmla="*/ 149 h 160"/>
              <a:gd name="T38" fmla="*/ 43 w 107"/>
              <a:gd name="T39" fmla="*/ 144 h 160"/>
              <a:gd name="T40" fmla="*/ 64 w 107"/>
              <a:gd name="T41" fmla="*/ 139 h 160"/>
              <a:gd name="T42" fmla="*/ 88 w 107"/>
              <a:gd name="T43" fmla="*/ 64 h 160"/>
              <a:gd name="T44" fmla="*/ 5 w 107"/>
              <a:gd name="T45" fmla="*/ 51 h 160"/>
              <a:gd name="T46" fmla="*/ 88 w 107"/>
              <a:gd name="T47" fmla="*/ 37 h 160"/>
              <a:gd name="T48" fmla="*/ 88 w 107"/>
              <a:gd name="T49" fmla="*/ 64 h 160"/>
              <a:gd name="T50" fmla="*/ 40 w 107"/>
              <a:gd name="T51" fmla="*/ 43 h 160"/>
              <a:gd name="T52" fmla="*/ 69 w 107"/>
              <a:gd name="T53" fmla="*/ 45 h 160"/>
              <a:gd name="T54" fmla="*/ 40 w 107"/>
              <a:gd name="T55" fmla="*/ 48 h 160"/>
              <a:gd name="T56" fmla="*/ 93 w 107"/>
              <a:gd name="T57" fmla="*/ 56 h 160"/>
              <a:gd name="T58" fmla="*/ 19 w 107"/>
              <a:gd name="T59" fmla="*/ 59 h 160"/>
              <a:gd name="T60" fmla="*/ 19 w 107"/>
              <a:gd name="T61" fmla="*/ 53 h 160"/>
              <a:gd name="T62" fmla="*/ 93 w 107"/>
              <a:gd name="T63" fmla="*/ 5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7" h="160">
                <a:moveTo>
                  <a:pt x="88" y="32"/>
                </a:moveTo>
                <a:cubicBezTo>
                  <a:pt x="56" y="32"/>
                  <a:pt x="56" y="32"/>
                  <a:pt x="56" y="32"/>
                </a:cubicBezTo>
                <a:cubicBezTo>
                  <a:pt x="56" y="26"/>
                  <a:pt x="56" y="26"/>
                  <a:pt x="56" y="26"/>
                </a:cubicBezTo>
                <a:cubicBezTo>
                  <a:pt x="62" y="25"/>
                  <a:pt x="67" y="20"/>
                  <a:pt x="67" y="13"/>
                </a:cubicBezTo>
                <a:cubicBezTo>
                  <a:pt x="67" y="6"/>
                  <a:pt x="61" y="0"/>
                  <a:pt x="53" y="0"/>
                </a:cubicBezTo>
                <a:cubicBezTo>
                  <a:pt x="46" y="0"/>
                  <a:pt x="40" y="6"/>
                  <a:pt x="40" y="13"/>
                </a:cubicBezTo>
                <a:cubicBezTo>
                  <a:pt x="40" y="20"/>
                  <a:pt x="45" y="25"/>
                  <a:pt x="51" y="26"/>
                </a:cubicBezTo>
                <a:cubicBezTo>
                  <a:pt x="51" y="32"/>
                  <a:pt x="51" y="32"/>
                  <a:pt x="51" y="32"/>
                </a:cubicBezTo>
                <a:cubicBezTo>
                  <a:pt x="19" y="32"/>
                  <a:pt x="19" y="32"/>
                  <a:pt x="19" y="32"/>
                </a:cubicBezTo>
                <a:cubicBezTo>
                  <a:pt x="8" y="32"/>
                  <a:pt x="0" y="40"/>
                  <a:pt x="0" y="51"/>
                </a:cubicBezTo>
                <a:cubicBezTo>
                  <a:pt x="0" y="61"/>
                  <a:pt x="8" y="69"/>
                  <a:pt x="19" y="69"/>
                </a:cubicBezTo>
                <a:cubicBezTo>
                  <a:pt x="51" y="69"/>
                  <a:pt x="51" y="69"/>
                  <a:pt x="51" y="69"/>
                </a:cubicBezTo>
                <a:cubicBezTo>
                  <a:pt x="51" y="133"/>
                  <a:pt x="51" y="133"/>
                  <a:pt x="51" y="133"/>
                </a:cubicBezTo>
                <a:cubicBezTo>
                  <a:pt x="37" y="133"/>
                  <a:pt x="37" y="133"/>
                  <a:pt x="37" y="133"/>
                </a:cubicBezTo>
                <a:cubicBezTo>
                  <a:pt x="37" y="144"/>
                  <a:pt x="37" y="144"/>
                  <a:pt x="37" y="144"/>
                </a:cubicBezTo>
                <a:cubicBezTo>
                  <a:pt x="29" y="144"/>
                  <a:pt x="29" y="144"/>
                  <a:pt x="29" y="144"/>
                </a:cubicBezTo>
                <a:cubicBezTo>
                  <a:pt x="29" y="160"/>
                  <a:pt x="29" y="160"/>
                  <a:pt x="29" y="160"/>
                </a:cubicBezTo>
                <a:cubicBezTo>
                  <a:pt x="77" y="160"/>
                  <a:pt x="77" y="160"/>
                  <a:pt x="77" y="160"/>
                </a:cubicBezTo>
                <a:cubicBezTo>
                  <a:pt x="77" y="144"/>
                  <a:pt x="77" y="144"/>
                  <a:pt x="77" y="144"/>
                </a:cubicBezTo>
                <a:cubicBezTo>
                  <a:pt x="69" y="144"/>
                  <a:pt x="69" y="144"/>
                  <a:pt x="69" y="144"/>
                </a:cubicBezTo>
                <a:cubicBezTo>
                  <a:pt x="69" y="133"/>
                  <a:pt x="69" y="133"/>
                  <a:pt x="69" y="133"/>
                </a:cubicBezTo>
                <a:cubicBezTo>
                  <a:pt x="56" y="133"/>
                  <a:pt x="56" y="133"/>
                  <a:pt x="56" y="133"/>
                </a:cubicBezTo>
                <a:cubicBezTo>
                  <a:pt x="56" y="69"/>
                  <a:pt x="56" y="69"/>
                  <a:pt x="56" y="69"/>
                </a:cubicBezTo>
                <a:cubicBezTo>
                  <a:pt x="88" y="69"/>
                  <a:pt x="88" y="69"/>
                  <a:pt x="88" y="69"/>
                </a:cubicBezTo>
                <a:cubicBezTo>
                  <a:pt x="98" y="69"/>
                  <a:pt x="107" y="61"/>
                  <a:pt x="107" y="51"/>
                </a:cubicBezTo>
                <a:cubicBezTo>
                  <a:pt x="107" y="40"/>
                  <a:pt x="98" y="32"/>
                  <a:pt x="88" y="32"/>
                </a:cubicBezTo>
                <a:close/>
                <a:moveTo>
                  <a:pt x="45" y="13"/>
                </a:moveTo>
                <a:cubicBezTo>
                  <a:pt x="45" y="9"/>
                  <a:pt x="49" y="5"/>
                  <a:pt x="53" y="5"/>
                </a:cubicBezTo>
                <a:cubicBezTo>
                  <a:pt x="58" y="5"/>
                  <a:pt x="61" y="9"/>
                  <a:pt x="61" y="13"/>
                </a:cubicBezTo>
                <a:cubicBezTo>
                  <a:pt x="61" y="18"/>
                  <a:pt x="58" y="21"/>
                  <a:pt x="53" y="21"/>
                </a:cubicBezTo>
                <a:cubicBezTo>
                  <a:pt x="49" y="21"/>
                  <a:pt x="45" y="18"/>
                  <a:pt x="45" y="13"/>
                </a:cubicBezTo>
                <a:close/>
                <a:moveTo>
                  <a:pt x="72" y="149"/>
                </a:moveTo>
                <a:cubicBezTo>
                  <a:pt x="72" y="155"/>
                  <a:pt x="72" y="155"/>
                  <a:pt x="72" y="155"/>
                </a:cubicBezTo>
                <a:cubicBezTo>
                  <a:pt x="35" y="155"/>
                  <a:pt x="35" y="155"/>
                  <a:pt x="35" y="155"/>
                </a:cubicBezTo>
                <a:cubicBezTo>
                  <a:pt x="35" y="149"/>
                  <a:pt x="35" y="149"/>
                  <a:pt x="35" y="149"/>
                </a:cubicBezTo>
                <a:cubicBezTo>
                  <a:pt x="37" y="149"/>
                  <a:pt x="37" y="149"/>
                  <a:pt x="37" y="149"/>
                </a:cubicBezTo>
                <a:cubicBezTo>
                  <a:pt x="69" y="149"/>
                  <a:pt x="69" y="149"/>
                  <a:pt x="69" y="149"/>
                </a:cubicBezTo>
                <a:lnTo>
                  <a:pt x="72" y="149"/>
                </a:lnTo>
                <a:close/>
                <a:moveTo>
                  <a:pt x="64" y="144"/>
                </a:moveTo>
                <a:cubicBezTo>
                  <a:pt x="43" y="144"/>
                  <a:pt x="43" y="144"/>
                  <a:pt x="43" y="144"/>
                </a:cubicBezTo>
                <a:cubicBezTo>
                  <a:pt x="43" y="139"/>
                  <a:pt x="43" y="139"/>
                  <a:pt x="43" y="139"/>
                </a:cubicBezTo>
                <a:cubicBezTo>
                  <a:pt x="64" y="139"/>
                  <a:pt x="64" y="139"/>
                  <a:pt x="64" y="139"/>
                </a:cubicBezTo>
                <a:lnTo>
                  <a:pt x="64" y="144"/>
                </a:lnTo>
                <a:close/>
                <a:moveTo>
                  <a:pt x="88" y="64"/>
                </a:moveTo>
                <a:cubicBezTo>
                  <a:pt x="19" y="64"/>
                  <a:pt x="19" y="64"/>
                  <a:pt x="19" y="64"/>
                </a:cubicBezTo>
                <a:cubicBezTo>
                  <a:pt x="11" y="64"/>
                  <a:pt x="5" y="58"/>
                  <a:pt x="5" y="51"/>
                </a:cubicBezTo>
                <a:cubicBezTo>
                  <a:pt x="5" y="43"/>
                  <a:pt x="11" y="37"/>
                  <a:pt x="19" y="37"/>
                </a:cubicBezTo>
                <a:cubicBezTo>
                  <a:pt x="88" y="37"/>
                  <a:pt x="88" y="37"/>
                  <a:pt x="88" y="37"/>
                </a:cubicBezTo>
                <a:cubicBezTo>
                  <a:pt x="95" y="37"/>
                  <a:pt x="101" y="43"/>
                  <a:pt x="101" y="51"/>
                </a:cubicBezTo>
                <a:cubicBezTo>
                  <a:pt x="101" y="58"/>
                  <a:pt x="95" y="64"/>
                  <a:pt x="88" y="64"/>
                </a:cubicBezTo>
                <a:close/>
                <a:moveTo>
                  <a:pt x="37" y="45"/>
                </a:moveTo>
                <a:cubicBezTo>
                  <a:pt x="37" y="44"/>
                  <a:pt x="39" y="43"/>
                  <a:pt x="40" y="43"/>
                </a:cubicBezTo>
                <a:cubicBezTo>
                  <a:pt x="67" y="43"/>
                  <a:pt x="67" y="43"/>
                  <a:pt x="67" y="43"/>
                </a:cubicBezTo>
                <a:cubicBezTo>
                  <a:pt x="68" y="43"/>
                  <a:pt x="69" y="44"/>
                  <a:pt x="69" y="45"/>
                </a:cubicBezTo>
                <a:cubicBezTo>
                  <a:pt x="69" y="47"/>
                  <a:pt x="68" y="48"/>
                  <a:pt x="67" y="48"/>
                </a:cubicBezTo>
                <a:cubicBezTo>
                  <a:pt x="40" y="48"/>
                  <a:pt x="40" y="48"/>
                  <a:pt x="40" y="48"/>
                </a:cubicBezTo>
                <a:cubicBezTo>
                  <a:pt x="39" y="48"/>
                  <a:pt x="37" y="47"/>
                  <a:pt x="37" y="45"/>
                </a:cubicBezTo>
                <a:close/>
                <a:moveTo>
                  <a:pt x="93" y="56"/>
                </a:moveTo>
                <a:cubicBezTo>
                  <a:pt x="93" y="57"/>
                  <a:pt x="92" y="59"/>
                  <a:pt x="91" y="59"/>
                </a:cubicBezTo>
                <a:cubicBezTo>
                  <a:pt x="19" y="59"/>
                  <a:pt x="19" y="59"/>
                  <a:pt x="19" y="59"/>
                </a:cubicBezTo>
                <a:cubicBezTo>
                  <a:pt x="17" y="59"/>
                  <a:pt x="16" y="57"/>
                  <a:pt x="16" y="56"/>
                </a:cubicBezTo>
                <a:cubicBezTo>
                  <a:pt x="16" y="55"/>
                  <a:pt x="17" y="53"/>
                  <a:pt x="19" y="53"/>
                </a:cubicBezTo>
                <a:cubicBezTo>
                  <a:pt x="91" y="53"/>
                  <a:pt x="91" y="53"/>
                  <a:pt x="91" y="53"/>
                </a:cubicBezTo>
                <a:cubicBezTo>
                  <a:pt x="92" y="53"/>
                  <a:pt x="93" y="55"/>
                  <a:pt x="93" y="56"/>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28">
            <a:extLst>
              <a:ext uri="{FF2B5EF4-FFF2-40B4-BE49-F238E27FC236}">
                <a16:creationId xmlns:a16="http://schemas.microsoft.com/office/drawing/2014/main" id="{E0020DFE-12BD-4B49-968E-96A28983971F}"/>
              </a:ext>
            </a:extLst>
          </p:cNvPr>
          <p:cNvSpPr>
            <a:spLocks noEditPoints="1"/>
          </p:cNvSpPr>
          <p:nvPr/>
        </p:nvSpPr>
        <p:spPr bwMode="auto">
          <a:xfrm>
            <a:off x="2688916" y="3805238"/>
            <a:ext cx="601663" cy="606425"/>
          </a:xfrm>
          <a:custGeom>
            <a:avLst/>
            <a:gdLst>
              <a:gd name="T0" fmla="*/ 0 w 379"/>
              <a:gd name="T1" fmla="*/ 0 h 382"/>
              <a:gd name="T2" fmla="*/ 0 w 379"/>
              <a:gd name="T3" fmla="*/ 382 h 382"/>
              <a:gd name="T4" fmla="*/ 379 w 379"/>
              <a:gd name="T5" fmla="*/ 382 h 382"/>
              <a:gd name="T6" fmla="*/ 379 w 379"/>
              <a:gd name="T7" fmla="*/ 0 h 382"/>
              <a:gd name="T8" fmla="*/ 0 w 379"/>
              <a:gd name="T9" fmla="*/ 0 h 382"/>
              <a:gd name="T10" fmla="*/ 367 w 379"/>
              <a:gd name="T11" fmla="*/ 370 h 382"/>
              <a:gd name="T12" fmla="*/ 12 w 379"/>
              <a:gd name="T13" fmla="*/ 370 h 382"/>
              <a:gd name="T14" fmla="*/ 12 w 379"/>
              <a:gd name="T15" fmla="*/ 12 h 382"/>
              <a:gd name="T16" fmla="*/ 367 w 379"/>
              <a:gd name="T17" fmla="*/ 12 h 382"/>
              <a:gd name="T18" fmla="*/ 367 w 379"/>
              <a:gd name="T19" fmla="*/ 370 h 382"/>
              <a:gd name="T20" fmla="*/ 57 w 379"/>
              <a:gd name="T21" fmla="*/ 184 h 382"/>
              <a:gd name="T22" fmla="*/ 322 w 379"/>
              <a:gd name="T23" fmla="*/ 184 h 382"/>
              <a:gd name="T24" fmla="*/ 322 w 379"/>
              <a:gd name="T25" fmla="*/ 198 h 382"/>
              <a:gd name="T26" fmla="*/ 57 w 379"/>
              <a:gd name="T27" fmla="*/ 198 h 382"/>
              <a:gd name="T28" fmla="*/ 57 w 379"/>
              <a:gd name="T29" fmla="*/ 18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9" h="382">
                <a:moveTo>
                  <a:pt x="0" y="0"/>
                </a:moveTo>
                <a:lnTo>
                  <a:pt x="0" y="382"/>
                </a:lnTo>
                <a:lnTo>
                  <a:pt x="379" y="382"/>
                </a:lnTo>
                <a:lnTo>
                  <a:pt x="379" y="0"/>
                </a:lnTo>
                <a:lnTo>
                  <a:pt x="0" y="0"/>
                </a:lnTo>
                <a:close/>
                <a:moveTo>
                  <a:pt x="367" y="370"/>
                </a:moveTo>
                <a:lnTo>
                  <a:pt x="12" y="370"/>
                </a:lnTo>
                <a:lnTo>
                  <a:pt x="12" y="12"/>
                </a:lnTo>
                <a:lnTo>
                  <a:pt x="367" y="12"/>
                </a:lnTo>
                <a:lnTo>
                  <a:pt x="367" y="370"/>
                </a:lnTo>
                <a:close/>
                <a:moveTo>
                  <a:pt x="57" y="184"/>
                </a:moveTo>
                <a:lnTo>
                  <a:pt x="322" y="184"/>
                </a:lnTo>
                <a:lnTo>
                  <a:pt x="322" y="198"/>
                </a:lnTo>
                <a:lnTo>
                  <a:pt x="57" y="198"/>
                </a:lnTo>
                <a:lnTo>
                  <a:pt x="57" y="184"/>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Rectangle 29">
            <a:extLst>
              <a:ext uri="{FF2B5EF4-FFF2-40B4-BE49-F238E27FC236}">
                <a16:creationId xmlns:a16="http://schemas.microsoft.com/office/drawing/2014/main" id="{A62E6799-9E2B-FC45-B3C9-E22A6179A2B6}"/>
              </a:ext>
            </a:extLst>
          </p:cNvPr>
          <p:cNvSpPr>
            <a:spLocks noChangeArrowheads="1"/>
          </p:cNvSpPr>
          <p:nvPr/>
        </p:nvSpPr>
        <p:spPr bwMode="auto">
          <a:xfrm>
            <a:off x="2688916" y="4773613"/>
            <a:ext cx="601663" cy="31750"/>
          </a:xfrm>
          <a:prstGeom prst="rect">
            <a:avLst/>
          </a:pr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30">
            <a:extLst>
              <a:ext uri="{FF2B5EF4-FFF2-40B4-BE49-F238E27FC236}">
                <a16:creationId xmlns:a16="http://schemas.microsoft.com/office/drawing/2014/main" id="{A626D2FB-44AB-1A42-A258-BE280D98F87F}"/>
              </a:ext>
            </a:extLst>
          </p:cNvPr>
          <p:cNvSpPr>
            <a:spLocks noEditPoints="1"/>
          </p:cNvSpPr>
          <p:nvPr/>
        </p:nvSpPr>
        <p:spPr bwMode="auto">
          <a:xfrm>
            <a:off x="2688916" y="5167313"/>
            <a:ext cx="601663" cy="606425"/>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122 w 160"/>
              <a:gd name="T21" fmla="*/ 47 h 160"/>
              <a:gd name="T22" fmla="*/ 122 w 160"/>
              <a:gd name="T23" fmla="*/ 51 h 160"/>
              <a:gd name="T24" fmla="*/ 73 w 160"/>
              <a:gd name="T25" fmla="*/ 107 h 160"/>
              <a:gd name="T26" fmla="*/ 71 w 160"/>
              <a:gd name="T27" fmla="*/ 108 h 160"/>
              <a:gd name="T28" fmla="*/ 69 w 160"/>
              <a:gd name="T29" fmla="*/ 107 h 160"/>
              <a:gd name="T30" fmla="*/ 38 w 160"/>
              <a:gd name="T31" fmla="*/ 82 h 160"/>
              <a:gd name="T32" fmla="*/ 38 w 160"/>
              <a:gd name="T33" fmla="*/ 78 h 160"/>
              <a:gd name="T34" fmla="*/ 42 w 160"/>
              <a:gd name="T35" fmla="*/ 78 h 160"/>
              <a:gd name="T36" fmla="*/ 70 w 160"/>
              <a:gd name="T37" fmla="*/ 100 h 160"/>
              <a:gd name="T38" fmla="*/ 118 w 160"/>
              <a:gd name="T39" fmla="*/ 47 h 160"/>
              <a:gd name="T40" fmla="*/ 122 w 160"/>
              <a:gd name="T41" fmla="*/ 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122" y="47"/>
                </a:moveTo>
                <a:cubicBezTo>
                  <a:pt x="123" y="48"/>
                  <a:pt x="123" y="50"/>
                  <a:pt x="122" y="51"/>
                </a:cubicBezTo>
                <a:cubicBezTo>
                  <a:pt x="73" y="107"/>
                  <a:pt x="73" y="107"/>
                  <a:pt x="73" y="107"/>
                </a:cubicBezTo>
                <a:cubicBezTo>
                  <a:pt x="72" y="107"/>
                  <a:pt x="72" y="108"/>
                  <a:pt x="71" y="108"/>
                </a:cubicBezTo>
                <a:cubicBezTo>
                  <a:pt x="70" y="108"/>
                  <a:pt x="69" y="107"/>
                  <a:pt x="69" y="107"/>
                </a:cubicBezTo>
                <a:cubicBezTo>
                  <a:pt x="38" y="82"/>
                  <a:pt x="38" y="82"/>
                  <a:pt x="38" y="82"/>
                </a:cubicBezTo>
                <a:cubicBezTo>
                  <a:pt x="37" y="81"/>
                  <a:pt x="37" y="79"/>
                  <a:pt x="38" y="78"/>
                </a:cubicBezTo>
                <a:cubicBezTo>
                  <a:pt x="39" y="77"/>
                  <a:pt x="41" y="77"/>
                  <a:pt x="42" y="78"/>
                </a:cubicBezTo>
                <a:cubicBezTo>
                  <a:pt x="70" y="100"/>
                  <a:pt x="70" y="100"/>
                  <a:pt x="70" y="100"/>
                </a:cubicBezTo>
                <a:cubicBezTo>
                  <a:pt x="118" y="47"/>
                  <a:pt x="118" y="47"/>
                  <a:pt x="118" y="47"/>
                </a:cubicBezTo>
                <a:cubicBezTo>
                  <a:pt x="119" y="46"/>
                  <a:pt x="121" y="46"/>
                  <a:pt x="122" y="47"/>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1">
            <a:extLst>
              <a:ext uri="{FF2B5EF4-FFF2-40B4-BE49-F238E27FC236}">
                <a16:creationId xmlns:a16="http://schemas.microsoft.com/office/drawing/2014/main" id="{F1D1FD4D-B63F-1C4B-AD0E-ECFE531B9CA6}"/>
              </a:ext>
            </a:extLst>
          </p:cNvPr>
          <p:cNvSpPr>
            <a:spLocks noEditPoints="1"/>
          </p:cNvSpPr>
          <p:nvPr/>
        </p:nvSpPr>
        <p:spPr bwMode="auto">
          <a:xfrm>
            <a:off x="2688916" y="6000750"/>
            <a:ext cx="601663" cy="284163"/>
          </a:xfrm>
          <a:custGeom>
            <a:avLst/>
            <a:gdLst>
              <a:gd name="T0" fmla="*/ 90 w 160"/>
              <a:gd name="T1" fmla="*/ 19 h 75"/>
              <a:gd name="T2" fmla="*/ 0 w 160"/>
              <a:gd name="T3" fmla="*/ 37 h 75"/>
              <a:gd name="T4" fmla="*/ 90 w 160"/>
              <a:gd name="T5" fmla="*/ 56 h 75"/>
              <a:gd name="T6" fmla="*/ 160 w 160"/>
              <a:gd name="T7" fmla="*/ 37 h 75"/>
              <a:gd name="T8" fmla="*/ 88 w 160"/>
              <a:gd name="T9" fmla="*/ 51 h 75"/>
              <a:gd name="T10" fmla="*/ 5 w 160"/>
              <a:gd name="T11" fmla="*/ 37 h 75"/>
              <a:gd name="T12" fmla="*/ 88 w 160"/>
              <a:gd name="T13" fmla="*/ 24 h 75"/>
              <a:gd name="T14" fmla="*/ 87 w 160"/>
              <a:gd name="T15" fmla="*/ 27 h 75"/>
              <a:gd name="T16" fmla="*/ 86 w 160"/>
              <a:gd name="T17" fmla="*/ 30 h 75"/>
              <a:gd name="T18" fmla="*/ 86 w 160"/>
              <a:gd name="T19" fmla="*/ 34 h 75"/>
              <a:gd name="T20" fmla="*/ 86 w 160"/>
              <a:gd name="T21" fmla="*/ 41 h 75"/>
              <a:gd name="T22" fmla="*/ 86 w 160"/>
              <a:gd name="T23" fmla="*/ 45 h 75"/>
              <a:gd name="T24" fmla="*/ 87 w 160"/>
              <a:gd name="T25" fmla="*/ 48 h 75"/>
              <a:gd name="T26" fmla="*/ 88 w 160"/>
              <a:gd name="T27" fmla="*/ 51 h 75"/>
              <a:gd name="T28" fmla="*/ 94 w 160"/>
              <a:gd name="T29" fmla="*/ 52 h 75"/>
              <a:gd name="T30" fmla="*/ 93 w 160"/>
              <a:gd name="T31" fmla="*/ 48 h 75"/>
              <a:gd name="T32" fmla="*/ 91 w 160"/>
              <a:gd name="T33" fmla="*/ 44 h 75"/>
              <a:gd name="T34" fmla="*/ 91 w 160"/>
              <a:gd name="T35" fmla="*/ 41 h 75"/>
              <a:gd name="T36" fmla="*/ 91 w 160"/>
              <a:gd name="T37" fmla="*/ 34 h 75"/>
              <a:gd name="T38" fmla="*/ 91 w 160"/>
              <a:gd name="T39" fmla="*/ 30 h 75"/>
              <a:gd name="T40" fmla="*/ 93 w 160"/>
              <a:gd name="T41" fmla="*/ 27 h 75"/>
              <a:gd name="T42" fmla="*/ 94 w 160"/>
              <a:gd name="T43" fmla="*/ 23 h 75"/>
              <a:gd name="T44" fmla="*/ 155 w 160"/>
              <a:gd name="T45" fmla="*/ 37 h 75"/>
              <a:gd name="T46" fmla="*/ 69 w 160"/>
              <a:gd name="T47" fmla="*/ 35 h 75"/>
              <a:gd name="T48" fmla="*/ 69 w 160"/>
              <a:gd name="T49" fmla="*/ 40 h 75"/>
              <a:gd name="T50" fmla="*/ 69 w 160"/>
              <a:gd name="T51" fmla="*/ 35 h 75"/>
              <a:gd name="T52" fmla="*/ 80 w 160"/>
              <a:gd name="T53" fmla="*/ 29 h 75"/>
              <a:gd name="T54" fmla="*/ 75 w 160"/>
              <a:gd name="T55" fmla="*/ 29 h 75"/>
              <a:gd name="T56" fmla="*/ 61 w 160"/>
              <a:gd name="T57" fmla="*/ 27 h 75"/>
              <a:gd name="T58" fmla="*/ 61 w 160"/>
              <a:gd name="T59" fmla="*/ 32 h 75"/>
              <a:gd name="T60" fmla="*/ 61 w 160"/>
              <a:gd name="T61" fmla="*/ 27 h 75"/>
              <a:gd name="T62" fmla="*/ 80 w 160"/>
              <a:gd name="T63" fmla="*/ 45 h 75"/>
              <a:gd name="T64" fmla="*/ 75 w 160"/>
              <a:gd name="T65" fmla="*/ 45 h 75"/>
              <a:gd name="T66" fmla="*/ 61 w 160"/>
              <a:gd name="T67" fmla="*/ 43 h 75"/>
              <a:gd name="T68" fmla="*/ 61 w 160"/>
              <a:gd name="T69" fmla="*/ 48 h 75"/>
              <a:gd name="T70" fmla="*/ 61 w 160"/>
              <a:gd name="T71" fmla="*/ 43 h 75"/>
              <a:gd name="T72" fmla="*/ 56 w 160"/>
              <a:gd name="T73" fmla="*/ 37 h 75"/>
              <a:gd name="T74" fmla="*/ 51 w 160"/>
              <a:gd name="T75" fmla="*/ 37 h 75"/>
              <a:gd name="T76" fmla="*/ 37 w 160"/>
              <a:gd name="T77" fmla="*/ 35 h 75"/>
              <a:gd name="T78" fmla="*/ 37 w 160"/>
              <a:gd name="T79" fmla="*/ 40 h 75"/>
              <a:gd name="T80" fmla="*/ 37 w 160"/>
              <a:gd name="T81" fmla="*/ 35 h 75"/>
              <a:gd name="T82" fmla="*/ 48 w 160"/>
              <a:gd name="T83" fmla="*/ 29 h 75"/>
              <a:gd name="T84" fmla="*/ 43 w 160"/>
              <a:gd name="T85" fmla="*/ 29 h 75"/>
              <a:gd name="T86" fmla="*/ 29 w 160"/>
              <a:gd name="T87" fmla="*/ 27 h 75"/>
              <a:gd name="T88" fmla="*/ 29 w 160"/>
              <a:gd name="T89" fmla="*/ 32 h 75"/>
              <a:gd name="T90" fmla="*/ 29 w 160"/>
              <a:gd name="T91" fmla="*/ 27 h 75"/>
              <a:gd name="T92" fmla="*/ 48 w 160"/>
              <a:gd name="T93" fmla="*/ 45 h 75"/>
              <a:gd name="T94" fmla="*/ 43 w 160"/>
              <a:gd name="T95" fmla="*/ 45 h 75"/>
              <a:gd name="T96" fmla="*/ 29 w 160"/>
              <a:gd name="T97" fmla="*/ 43 h 75"/>
              <a:gd name="T98" fmla="*/ 29 w 160"/>
              <a:gd name="T99" fmla="*/ 48 h 75"/>
              <a:gd name="T100" fmla="*/ 29 w 160"/>
              <a:gd name="T101" fmla="*/ 43 h 75"/>
              <a:gd name="T102" fmla="*/ 24 w 160"/>
              <a:gd name="T103" fmla="*/ 37 h 75"/>
              <a:gd name="T104" fmla="*/ 19 w 160"/>
              <a:gd name="T105" fmla="*/ 37 h 75"/>
              <a:gd name="T106" fmla="*/ 13 w 160"/>
              <a:gd name="T107" fmla="*/ 27 h 75"/>
              <a:gd name="T108" fmla="*/ 13 w 160"/>
              <a:gd name="T109" fmla="*/ 32 h 75"/>
              <a:gd name="T110" fmla="*/ 13 w 160"/>
              <a:gd name="T111" fmla="*/ 27 h 75"/>
              <a:gd name="T112" fmla="*/ 16 w 160"/>
              <a:gd name="T113" fmla="*/ 45 h 75"/>
              <a:gd name="T114" fmla="*/ 11 w 160"/>
              <a:gd name="T115" fmla="*/ 4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75">
                <a:moveTo>
                  <a:pt x="123" y="0"/>
                </a:moveTo>
                <a:cubicBezTo>
                  <a:pt x="109" y="0"/>
                  <a:pt x="97" y="8"/>
                  <a:pt x="90" y="19"/>
                </a:cubicBezTo>
                <a:cubicBezTo>
                  <a:pt x="19" y="19"/>
                  <a:pt x="19" y="19"/>
                  <a:pt x="19" y="19"/>
                </a:cubicBezTo>
                <a:cubicBezTo>
                  <a:pt x="8" y="19"/>
                  <a:pt x="0" y="27"/>
                  <a:pt x="0" y="37"/>
                </a:cubicBezTo>
                <a:cubicBezTo>
                  <a:pt x="0" y="48"/>
                  <a:pt x="8" y="56"/>
                  <a:pt x="19" y="56"/>
                </a:cubicBezTo>
                <a:cubicBezTo>
                  <a:pt x="90" y="56"/>
                  <a:pt x="90" y="56"/>
                  <a:pt x="90" y="56"/>
                </a:cubicBezTo>
                <a:cubicBezTo>
                  <a:pt x="97" y="67"/>
                  <a:pt x="109" y="75"/>
                  <a:pt x="123" y="75"/>
                </a:cubicBezTo>
                <a:cubicBezTo>
                  <a:pt x="143" y="75"/>
                  <a:pt x="160" y="58"/>
                  <a:pt x="160" y="37"/>
                </a:cubicBezTo>
                <a:cubicBezTo>
                  <a:pt x="160" y="17"/>
                  <a:pt x="143" y="0"/>
                  <a:pt x="123" y="0"/>
                </a:cubicBezTo>
                <a:close/>
                <a:moveTo>
                  <a:pt x="88" y="51"/>
                </a:moveTo>
                <a:cubicBezTo>
                  <a:pt x="19" y="51"/>
                  <a:pt x="19" y="51"/>
                  <a:pt x="19" y="51"/>
                </a:cubicBezTo>
                <a:cubicBezTo>
                  <a:pt x="11" y="51"/>
                  <a:pt x="5" y="45"/>
                  <a:pt x="5" y="37"/>
                </a:cubicBezTo>
                <a:cubicBezTo>
                  <a:pt x="5" y="30"/>
                  <a:pt x="11" y="24"/>
                  <a:pt x="19" y="24"/>
                </a:cubicBezTo>
                <a:cubicBezTo>
                  <a:pt x="88" y="24"/>
                  <a:pt x="88" y="24"/>
                  <a:pt x="88" y="24"/>
                </a:cubicBezTo>
                <a:cubicBezTo>
                  <a:pt x="88" y="24"/>
                  <a:pt x="88" y="25"/>
                  <a:pt x="87" y="25"/>
                </a:cubicBezTo>
                <a:cubicBezTo>
                  <a:pt x="87" y="26"/>
                  <a:pt x="87" y="26"/>
                  <a:pt x="87" y="27"/>
                </a:cubicBezTo>
                <a:cubicBezTo>
                  <a:pt x="87" y="27"/>
                  <a:pt x="87" y="28"/>
                  <a:pt x="86" y="29"/>
                </a:cubicBezTo>
                <a:cubicBezTo>
                  <a:pt x="86" y="29"/>
                  <a:pt x="86" y="30"/>
                  <a:pt x="86" y="30"/>
                </a:cubicBezTo>
                <a:cubicBezTo>
                  <a:pt x="86" y="31"/>
                  <a:pt x="86" y="32"/>
                  <a:pt x="86" y="33"/>
                </a:cubicBezTo>
                <a:cubicBezTo>
                  <a:pt x="86" y="33"/>
                  <a:pt x="86" y="33"/>
                  <a:pt x="86" y="34"/>
                </a:cubicBezTo>
                <a:cubicBezTo>
                  <a:pt x="85" y="35"/>
                  <a:pt x="85" y="36"/>
                  <a:pt x="85" y="37"/>
                </a:cubicBezTo>
                <a:cubicBezTo>
                  <a:pt x="85" y="39"/>
                  <a:pt x="85" y="40"/>
                  <a:pt x="86" y="41"/>
                </a:cubicBezTo>
                <a:cubicBezTo>
                  <a:pt x="86" y="41"/>
                  <a:pt x="86" y="42"/>
                  <a:pt x="86" y="42"/>
                </a:cubicBezTo>
                <a:cubicBezTo>
                  <a:pt x="86" y="43"/>
                  <a:pt x="86" y="44"/>
                  <a:pt x="86" y="45"/>
                </a:cubicBezTo>
                <a:cubicBezTo>
                  <a:pt x="86" y="45"/>
                  <a:pt x="86" y="45"/>
                  <a:pt x="86" y="46"/>
                </a:cubicBezTo>
                <a:cubicBezTo>
                  <a:pt x="87" y="47"/>
                  <a:pt x="87" y="47"/>
                  <a:pt x="87" y="48"/>
                </a:cubicBezTo>
                <a:cubicBezTo>
                  <a:pt x="87" y="48"/>
                  <a:pt x="87" y="49"/>
                  <a:pt x="87" y="50"/>
                </a:cubicBezTo>
                <a:cubicBezTo>
                  <a:pt x="88" y="50"/>
                  <a:pt x="88" y="50"/>
                  <a:pt x="88" y="51"/>
                </a:cubicBezTo>
                <a:close/>
                <a:moveTo>
                  <a:pt x="123" y="69"/>
                </a:moveTo>
                <a:cubicBezTo>
                  <a:pt x="110" y="69"/>
                  <a:pt x="99" y="62"/>
                  <a:pt x="94" y="52"/>
                </a:cubicBezTo>
                <a:cubicBezTo>
                  <a:pt x="94" y="51"/>
                  <a:pt x="93" y="50"/>
                  <a:pt x="93" y="49"/>
                </a:cubicBezTo>
                <a:cubicBezTo>
                  <a:pt x="93" y="49"/>
                  <a:pt x="93" y="48"/>
                  <a:pt x="93" y="48"/>
                </a:cubicBezTo>
                <a:cubicBezTo>
                  <a:pt x="92" y="47"/>
                  <a:pt x="92" y="46"/>
                  <a:pt x="92" y="46"/>
                </a:cubicBezTo>
                <a:cubicBezTo>
                  <a:pt x="92" y="45"/>
                  <a:pt x="92" y="45"/>
                  <a:pt x="91" y="44"/>
                </a:cubicBezTo>
                <a:cubicBezTo>
                  <a:pt x="91" y="44"/>
                  <a:pt x="91" y="43"/>
                  <a:pt x="91" y="42"/>
                </a:cubicBezTo>
                <a:cubicBezTo>
                  <a:pt x="91" y="42"/>
                  <a:pt x="91" y="41"/>
                  <a:pt x="91" y="41"/>
                </a:cubicBezTo>
                <a:cubicBezTo>
                  <a:pt x="91" y="40"/>
                  <a:pt x="91" y="39"/>
                  <a:pt x="91" y="37"/>
                </a:cubicBezTo>
                <a:cubicBezTo>
                  <a:pt x="91" y="36"/>
                  <a:pt x="91" y="35"/>
                  <a:pt x="91" y="34"/>
                </a:cubicBezTo>
                <a:cubicBezTo>
                  <a:pt x="91" y="33"/>
                  <a:pt x="91" y="33"/>
                  <a:pt x="91" y="33"/>
                </a:cubicBezTo>
                <a:cubicBezTo>
                  <a:pt x="91" y="32"/>
                  <a:pt x="91" y="31"/>
                  <a:pt x="91" y="30"/>
                </a:cubicBezTo>
                <a:cubicBezTo>
                  <a:pt x="92" y="30"/>
                  <a:pt x="92" y="29"/>
                  <a:pt x="92" y="29"/>
                </a:cubicBezTo>
                <a:cubicBezTo>
                  <a:pt x="92" y="28"/>
                  <a:pt x="92" y="27"/>
                  <a:pt x="93" y="27"/>
                </a:cubicBezTo>
                <a:cubicBezTo>
                  <a:pt x="93" y="26"/>
                  <a:pt x="93" y="26"/>
                  <a:pt x="93" y="26"/>
                </a:cubicBezTo>
                <a:cubicBezTo>
                  <a:pt x="93" y="25"/>
                  <a:pt x="94" y="24"/>
                  <a:pt x="94" y="23"/>
                </a:cubicBezTo>
                <a:cubicBezTo>
                  <a:pt x="99" y="12"/>
                  <a:pt x="110" y="5"/>
                  <a:pt x="123" y="5"/>
                </a:cubicBezTo>
                <a:cubicBezTo>
                  <a:pt x="140" y="5"/>
                  <a:pt x="155" y="20"/>
                  <a:pt x="155" y="37"/>
                </a:cubicBezTo>
                <a:cubicBezTo>
                  <a:pt x="155" y="55"/>
                  <a:pt x="140" y="69"/>
                  <a:pt x="123" y="69"/>
                </a:cubicBezTo>
                <a:close/>
                <a:moveTo>
                  <a:pt x="69" y="35"/>
                </a:moveTo>
                <a:cubicBezTo>
                  <a:pt x="71" y="35"/>
                  <a:pt x="72" y="36"/>
                  <a:pt x="72" y="37"/>
                </a:cubicBezTo>
                <a:cubicBezTo>
                  <a:pt x="72" y="39"/>
                  <a:pt x="71" y="40"/>
                  <a:pt x="69" y="40"/>
                </a:cubicBezTo>
                <a:cubicBezTo>
                  <a:pt x="68" y="40"/>
                  <a:pt x="67" y="39"/>
                  <a:pt x="67" y="37"/>
                </a:cubicBezTo>
                <a:cubicBezTo>
                  <a:pt x="67" y="36"/>
                  <a:pt x="68" y="35"/>
                  <a:pt x="69" y="35"/>
                </a:cubicBezTo>
                <a:close/>
                <a:moveTo>
                  <a:pt x="77" y="27"/>
                </a:moveTo>
                <a:cubicBezTo>
                  <a:pt x="79" y="27"/>
                  <a:pt x="80" y="28"/>
                  <a:pt x="80" y="29"/>
                </a:cubicBezTo>
                <a:cubicBezTo>
                  <a:pt x="80" y="31"/>
                  <a:pt x="79" y="32"/>
                  <a:pt x="77" y="32"/>
                </a:cubicBezTo>
                <a:cubicBezTo>
                  <a:pt x="76" y="32"/>
                  <a:pt x="75" y="31"/>
                  <a:pt x="75" y="29"/>
                </a:cubicBezTo>
                <a:cubicBezTo>
                  <a:pt x="75" y="28"/>
                  <a:pt x="76" y="27"/>
                  <a:pt x="77" y="27"/>
                </a:cubicBezTo>
                <a:close/>
                <a:moveTo>
                  <a:pt x="61" y="27"/>
                </a:moveTo>
                <a:cubicBezTo>
                  <a:pt x="63" y="27"/>
                  <a:pt x="64" y="28"/>
                  <a:pt x="64" y="29"/>
                </a:cubicBezTo>
                <a:cubicBezTo>
                  <a:pt x="64" y="31"/>
                  <a:pt x="63" y="32"/>
                  <a:pt x="61" y="32"/>
                </a:cubicBezTo>
                <a:cubicBezTo>
                  <a:pt x="60" y="32"/>
                  <a:pt x="59" y="31"/>
                  <a:pt x="59" y="29"/>
                </a:cubicBezTo>
                <a:cubicBezTo>
                  <a:pt x="59" y="28"/>
                  <a:pt x="60" y="27"/>
                  <a:pt x="61" y="27"/>
                </a:cubicBezTo>
                <a:close/>
                <a:moveTo>
                  <a:pt x="77" y="43"/>
                </a:moveTo>
                <a:cubicBezTo>
                  <a:pt x="79" y="43"/>
                  <a:pt x="80" y="44"/>
                  <a:pt x="80" y="45"/>
                </a:cubicBezTo>
                <a:cubicBezTo>
                  <a:pt x="80" y="47"/>
                  <a:pt x="79" y="48"/>
                  <a:pt x="77" y="48"/>
                </a:cubicBezTo>
                <a:cubicBezTo>
                  <a:pt x="76" y="48"/>
                  <a:pt x="75" y="47"/>
                  <a:pt x="75" y="45"/>
                </a:cubicBezTo>
                <a:cubicBezTo>
                  <a:pt x="75" y="44"/>
                  <a:pt x="76" y="43"/>
                  <a:pt x="77" y="43"/>
                </a:cubicBezTo>
                <a:close/>
                <a:moveTo>
                  <a:pt x="61" y="43"/>
                </a:moveTo>
                <a:cubicBezTo>
                  <a:pt x="63" y="43"/>
                  <a:pt x="64" y="44"/>
                  <a:pt x="64" y="45"/>
                </a:cubicBezTo>
                <a:cubicBezTo>
                  <a:pt x="64" y="47"/>
                  <a:pt x="63" y="48"/>
                  <a:pt x="61" y="48"/>
                </a:cubicBezTo>
                <a:cubicBezTo>
                  <a:pt x="60" y="48"/>
                  <a:pt x="59" y="47"/>
                  <a:pt x="59" y="45"/>
                </a:cubicBezTo>
                <a:cubicBezTo>
                  <a:pt x="59" y="44"/>
                  <a:pt x="60" y="43"/>
                  <a:pt x="61" y="43"/>
                </a:cubicBezTo>
                <a:close/>
                <a:moveTo>
                  <a:pt x="53" y="35"/>
                </a:moveTo>
                <a:cubicBezTo>
                  <a:pt x="55" y="35"/>
                  <a:pt x="56" y="36"/>
                  <a:pt x="56" y="37"/>
                </a:cubicBezTo>
                <a:cubicBezTo>
                  <a:pt x="56" y="39"/>
                  <a:pt x="55" y="40"/>
                  <a:pt x="53" y="40"/>
                </a:cubicBezTo>
                <a:cubicBezTo>
                  <a:pt x="52" y="40"/>
                  <a:pt x="51" y="39"/>
                  <a:pt x="51" y="37"/>
                </a:cubicBezTo>
                <a:cubicBezTo>
                  <a:pt x="51" y="36"/>
                  <a:pt x="52" y="35"/>
                  <a:pt x="53" y="35"/>
                </a:cubicBezTo>
                <a:close/>
                <a:moveTo>
                  <a:pt x="37" y="35"/>
                </a:moveTo>
                <a:cubicBezTo>
                  <a:pt x="39" y="35"/>
                  <a:pt x="40" y="36"/>
                  <a:pt x="40" y="37"/>
                </a:cubicBezTo>
                <a:cubicBezTo>
                  <a:pt x="40" y="39"/>
                  <a:pt x="39" y="40"/>
                  <a:pt x="37" y="40"/>
                </a:cubicBezTo>
                <a:cubicBezTo>
                  <a:pt x="36" y="40"/>
                  <a:pt x="35" y="39"/>
                  <a:pt x="35" y="37"/>
                </a:cubicBezTo>
                <a:cubicBezTo>
                  <a:pt x="35" y="36"/>
                  <a:pt x="36" y="35"/>
                  <a:pt x="37" y="35"/>
                </a:cubicBezTo>
                <a:close/>
                <a:moveTo>
                  <a:pt x="45" y="27"/>
                </a:moveTo>
                <a:cubicBezTo>
                  <a:pt x="47" y="27"/>
                  <a:pt x="48" y="28"/>
                  <a:pt x="48" y="29"/>
                </a:cubicBezTo>
                <a:cubicBezTo>
                  <a:pt x="48" y="31"/>
                  <a:pt x="47" y="32"/>
                  <a:pt x="45" y="32"/>
                </a:cubicBezTo>
                <a:cubicBezTo>
                  <a:pt x="44" y="32"/>
                  <a:pt x="43" y="31"/>
                  <a:pt x="43" y="29"/>
                </a:cubicBezTo>
                <a:cubicBezTo>
                  <a:pt x="43" y="28"/>
                  <a:pt x="44" y="27"/>
                  <a:pt x="45" y="27"/>
                </a:cubicBezTo>
                <a:close/>
                <a:moveTo>
                  <a:pt x="29" y="27"/>
                </a:moveTo>
                <a:cubicBezTo>
                  <a:pt x="31" y="27"/>
                  <a:pt x="32" y="28"/>
                  <a:pt x="32" y="29"/>
                </a:cubicBezTo>
                <a:cubicBezTo>
                  <a:pt x="32" y="31"/>
                  <a:pt x="31" y="32"/>
                  <a:pt x="29" y="32"/>
                </a:cubicBezTo>
                <a:cubicBezTo>
                  <a:pt x="28" y="32"/>
                  <a:pt x="27" y="31"/>
                  <a:pt x="27" y="29"/>
                </a:cubicBezTo>
                <a:cubicBezTo>
                  <a:pt x="27" y="28"/>
                  <a:pt x="28" y="27"/>
                  <a:pt x="29" y="27"/>
                </a:cubicBezTo>
                <a:close/>
                <a:moveTo>
                  <a:pt x="45" y="43"/>
                </a:moveTo>
                <a:cubicBezTo>
                  <a:pt x="47" y="43"/>
                  <a:pt x="48" y="44"/>
                  <a:pt x="48" y="45"/>
                </a:cubicBezTo>
                <a:cubicBezTo>
                  <a:pt x="48" y="47"/>
                  <a:pt x="47" y="48"/>
                  <a:pt x="45" y="48"/>
                </a:cubicBezTo>
                <a:cubicBezTo>
                  <a:pt x="44" y="48"/>
                  <a:pt x="43" y="47"/>
                  <a:pt x="43" y="45"/>
                </a:cubicBezTo>
                <a:cubicBezTo>
                  <a:pt x="43" y="44"/>
                  <a:pt x="44" y="43"/>
                  <a:pt x="45" y="43"/>
                </a:cubicBezTo>
                <a:close/>
                <a:moveTo>
                  <a:pt x="29" y="43"/>
                </a:moveTo>
                <a:cubicBezTo>
                  <a:pt x="31" y="43"/>
                  <a:pt x="32" y="44"/>
                  <a:pt x="32" y="45"/>
                </a:cubicBezTo>
                <a:cubicBezTo>
                  <a:pt x="32" y="47"/>
                  <a:pt x="31" y="48"/>
                  <a:pt x="29" y="48"/>
                </a:cubicBezTo>
                <a:cubicBezTo>
                  <a:pt x="28" y="48"/>
                  <a:pt x="27" y="47"/>
                  <a:pt x="27" y="45"/>
                </a:cubicBezTo>
                <a:cubicBezTo>
                  <a:pt x="27" y="44"/>
                  <a:pt x="28" y="43"/>
                  <a:pt x="29" y="43"/>
                </a:cubicBezTo>
                <a:close/>
                <a:moveTo>
                  <a:pt x="21" y="35"/>
                </a:moveTo>
                <a:cubicBezTo>
                  <a:pt x="23" y="35"/>
                  <a:pt x="24" y="36"/>
                  <a:pt x="24" y="37"/>
                </a:cubicBezTo>
                <a:cubicBezTo>
                  <a:pt x="24" y="39"/>
                  <a:pt x="23" y="40"/>
                  <a:pt x="21" y="40"/>
                </a:cubicBezTo>
                <a:cubicBezTo>
                  <a:pt x="20" y="40"/>
                  <a:pt x="19" y="39"/>
                  <a:pt x="19" y="37"/>
                </a:cubicBezTo>
                <a:cubicBezTo>
                  <a:pt x="19" y="36"/>
                  <a:pt x="20" y="35"/>
                  <a:pt x="21" y="35"/>
                </a:cubicBezTo>
                <a:close/>
                <a:moveTo>
                  <a:pt x="13" y="27"/>
                </a:moveTo>
                <a:cubicBezTo>
                  <a:pt x="15" y="27"/>
                  <a:pt x="16" y="28"/>
                  <a:pt x="16" y="29"/>
                </a:cubicBezTo>
                <a:cubicBezTo>
                  <a:pt x="16" y="31"/>
                  <a:pt x="15" y="32"/>
                  <a:pt x="13" y="32"/>
                </a:cubicBezTo>
                <a:cubicBezTo>
                  <a:pt x="12" y="32"/>
                  <a:pt x="11" y="31"/>
                  <a:pt x="11" y="29"/>
                </a:cubicBezTo>
                <a:cubicBezTo>
                  <a:pt x="11" y="28"/>
                  <a:pt x="12" y="27"/>
                  <a:pt x="13" y="27"/>
                </a:cubicBezTo>
                <a:close/>
                <a:moveTo>
                  <a:pt x="13" y="43"/>
                </a:moveTo>
                <a:cubicBezTo>
                  <a:pt x="15" y="43"/>
                  <a:pt x="16" y="44"/>
                  <a:pt x="16" y="45"/>
                </a:cubicBezTo>
                <a:cubicBezTo>
                  <a:pt x="16" y="47"/>
                  <a:pt x="15" y="48"/>
                  <a:pt x="13" y="48"/>
                </a:cubicBezTo>
                <a:cubicBezTo>
                  <a:pt x="12" y="48"/>
                  <a:pt x="11" y="47"/>
                  <a:pt x="11" y="45"/>
                </a:cubicBezTo>
                <a:cubicBezTo>
                  <a:pt x="11" y="44"/>
                  <a:pt x="12" y="43"/>
                  <a:pt x="13" y="43"/>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2">
            <a:extLst>
              <a:ext uri="{FF2B5EF4-FFF2-40B4-BE49-F238E27FC236}">
                <a16:creationId xmlns:a16="http://schemas.microsoft.com/office/drawing/2014/main" id="{C61D48A3-0026-F64C-916B-C679DC48459F}"/>
              </a:ext>
            </a:extLst>
          </p:cNvPr>
          <p:cNvSpPr>
            <a:spLocks noEditPoints="1"/>
          </p:cNvSpPr>
          <p:nvPr/>
        </p:nvSpPr>
        <p:spPr bwMode="auto">
          <a:xfrm>
            <a:off x="3741429" y="534988"/>
            <a:ext cx="600075" cy="322263"/>
          </a:xfrm>
          <a:custGeom>
            <a:avLst/>
            <a:gdLst>
              <a:gd name="T0" fmla="*/ 0 w 160"/>
              <a:gd name="T1" fmla="*/ 11 h 85"/>
              <a:gd name="T2" fmla="*/ 149 w 160"/>
              <a:gd name="T3" fmla="*/ 85 h 85"/>
              <a:gd name="T4" fmla="*/ 11 w 160"/>
              <a:gd name="T5" fmla="*/ 80 h 85"/>
              <a:gd name="T6" fmla="*/ 75 w 160"/>
              <a:gd name="T7" fmla="*/ 5 h 85"/>
              <a:gd name="T8" fmla="*/ 11 w 160"/>
              <a:gd name="T9" fmla="*/ 80 h 85"/>
              <a:gd name="T10" fmla="*/ 85 w 160"/>
              <a:gd name="T11" fmla="*/ 75 h 85"/>
              <a:gd name="T12" fmla="*/ 155 w 160"/>
              <a:gd name="T13" fmla="*/ 11 h 85"/>
              <a:gd name="T14" fmla="*/ 93 w 160"/>
              <a:gd name="T15" fmla="*/ 21 h 85"/>
              <a:gd name="T16" fmla="*/ 112 w 160"/>
              <a:gd name="T17" fmla="*/ 19 h 85"/>
              <a:gd name="T18" fmla="*/ 101 w 160"/>
              <a:gd name="T19" fmla="*/ 8 h 85"/>
              <a:gd name="T20" fmla="*/ 101 w 160"/>
              <a:gd name="T21" fmla="*/ 8 h 85"/>
              <a:gd name="T22" fmla="*/ 115 w 160"/>
              <a:gd name="T23" fmla="*/ 11 h 85"/>
              <a:gd name="T24" fmla="*/ 101 w 160"/>
              <a:gd name="T25" fmla="*/ 29 h 85"/>
              <a:gd name="T26" fmla="*/ 120 w 160"/>
              <a:gd name="T27" fmla="*/ 27 h 85"/>
              <a:gd name="T28" fmla="*/ 125 w 160"/>
              <a:gd name="T29" fmla="*/ 16 h 85"/>
              <a:gd name="T30" fmla="*/ 125 w 160"/>
              <a:gd name="T31" fmla="*/ 16 h 85"/>
              <a:gd name="T32" fmla="*/ 139 w 160"/>
              <a:gd name="T33" fmla="*/ 19 h 85"/>
              <a:gd name="T34" fmla="*/ 133 w 160"/>
              <a:gd name="T35" fmla="*/ 13 h 85"/>
              <a:gd name="T36" fmla="*/ 152 w 160"/>
              <a:gd name="T37" fmla="*/ 11 h 85"/>
              <a:gd name="T38" fmla="*/ 133 w 160"/>
              <a:gd name="T39" fmla="*/ 24 h 85"/>
              <a:gd name="T40" fmla="*/ 133 w 160"/>
              <a:gd name="T41" fmla="*/ 24 h 85"/>
              <a:gd name="T42" fmla="*/ 147 w 160"/>
              <a:gd name="T43" fmla="*/ 27 h 85"/>
              <a:gd name="T44" fmla="*/ 93 w 160"/>
              <a:gd name="T45" fmla="*/ 69 h 85"/>
              <a:gd name="T46" fmla="*/ 104 w 160"/>
              <a:gd name="T47" fmla="*/ 75 h 85"/>
              <a:gd name="T48" fmla="*/ 109 w 160"/>
              <a:gd name="T49" fmla="*/ 64 h 85"/>
              <a:gd name="T50" fmla="*/ 109 w 160"/>
              <a:gd name="T51" fmla="*/ 64 h 85"/>
              <a:gd name="T52" fmla="*/ 123 w 160"/>
              <a:gd name="T53" fmla="*/ 67 h 85"/>
              <a:gd name="T54" fmla="*/ 117 w 160"/>
              <a:gd name="T55" fmla="*/ 77 h 85"/>
              <a:gd name="T56" fmla="*/ 136 w 160"/>
              <a:gd name="T57" fmla="*/ 75 h 85"/>
              <a:gd name="T58" fmla="*/ 141 w 160"/>
              <a:gd name="T59" fmla="*/ 64 h 85"/>
              <a:gd name="T60" fmla="*/ 141 w 160"/>
              <a:gd name="T61" fmla="*/ 64 h 85"/>
              <a:gd name="T62" fmla="*/ 147 w 160"/>
              <a:gd name="T63" fmla="*/ 75 h 85"/>
              <a:gd name="T64" fmla="*/ 93 w 160"/>
              <a:gd name="T65" fmla="*/ 37 h 85"/>
              <a:gd name="T66" fmla="*/ 112 w 160"/>
              <a:gd name="T67" fmla="*/ 35 h 85"/>
              <a:gd name="T68" fmla="*/ 93 w 160"/>
              <a:gd name="T69" fmla="*/ 48 h 85"/>
              <a:gd name="T70" fmla="*/ 93 w 160"/>
              <a:gd name="T71" fmla="*/ 48 h 85"/>
              <a:gd name="T72" fmla="*/ 107 w 160"/>
              <a:gd name="T73" fmla="*/ 51 h 85"/>
              <a:gd name="T74" fmla="*/ 101 w 160"/>
              <a:gd name="T75" fmla="*/ 45 h 85"/>
              <a:gd name="T76" fmla="*/ 120 w 160"/>
              <a:gd name="T77" fmla="*/ 43 h 85"/>
              <a:gd name="T78" fmla="*/ 101 w 160"/>
              <a:gd name="T79" fmla="*/ 56 h 85"/>
              <a:gd name="T80" fmla="*/ 101 w 160"/>
              <a:gd name="T81" fmla="*/ 56 h 85"/>
              <a:gd name="T82" fmla="*/ 115 w 160"/>
              <a:gd name="T83" fmla="*/ 59 h 85"/>
              <a:gd name="T84" fmla="*/ 125 w 160"/>
              <a:gd name="T85" fmla="*/ 37 h 85"/>
              <a:gd name="T86" fmla="*/ 144 w 160"/>
              <a:gd name="T87" fmla="*/ 35 h 85"/>
              <a:gd name="T88" fmla="*/ 125 w 160"/>
              <a:gd name="T89" fmla="*/ 48 h 85"/>
              <a:gd name="T90" fmla="*/ 125 w 160"/>
              <a:gd name="T91" fmla="*/ 48 h 85"/>
              <a:gd name="T92" fmla="*/ 139 w 160"/>
              <a:gd name="T93" fmla="*/ 51 h 85"/>
              <a:gd name="T94" fmla="*/ 133 w 160"/>
              <a:gd name="T95" fmla="*/ 45 h 85"/>
              <a:gd name="T96" fmla="*/ 152 w 160"/>
              <a:gd name="T97" fmla="*/ 43 h 85"/>
              <a:gd name="T98" fmla="*/ 133 w 160"/>
              <a:gd name="T99" fmla="*/ 56 h 85"/>
              <a:gd name="T100" fmla="*/ 133 w 160"/>
              <a:gd name="T101" fmla="*/ 56 h 85"/>
              <a:gd name="T102" fmla="*/ 147 w 160"/>
              <a:gd name="T103" fmla="*/ 59 h 85"/>
              <a:gd name="T104" fmla="*/ 35 w 160"/>
              <a:gd name="T105" fmla="*/ 53 h 85"/>
              <a:gd name="T106" fmla="*/ 37 w 160"/>
              <a:gd name="T107" fmla="*/ 35 h 85"/>
              <a:gd name="T108" fmla="*/ 40 w 160"/>
              <a:gd name="T109" fmla="*/ 51 h 85"/>
              <a:gd name="T110" fmla="*/ 53 w 160"/>
              <a:gd name="T111" fmla="*/ 35 h 85"/>
              <a:gd name="T112" fmla="*/ 48 w 160"/>
              <a:gd name="T11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85">
                <a:moveTo>
                  <a:pt x="149" y="0"/>
                </a:moveTo>
                <a:cubicBezTo>
                  <a:pt x="75" y="0"/>
                  <a:pt x="75" y="0"/>
                  <a:pt x="75" y="0"/>
                </a:cubicBezTo>
                <a:cubicBezTo>
                  <a:pt x="11" y="0"/>
                  <a:pt x="11" y="0"/>
                  <a:pt x="11" y="0"/>
                </a:cubicBezTo>
                <a:cubicBezTo>
                  <a:pt x="5" y="0"/>
                  <a:pt x="0" y="5"/>
                  <a:pt x="0" y="11"/>
                </a:cubicBezTo>
                <a:cubicBezTo>
                  <a:pt x="0" y="75"/>
                  <a:pt x="0" y="75"/>
                  <a:pt x="0" y="75"/>
                </a:cubicBezTo>
                <a:cubicBezTo>
                  <a:pt x="0" y="81"/>
                  <a:pt x="5" y="85"/>
                  <a:pt x="11" y="85"/>
                </a:cubicBezTo>
                <a:cubicBezTo>
                  <a:pt x="75" y="85"/>
                  <a:pt x="75" y="85"/>
                  <a:pt x="75" y="85"/>
                </a:cubicBezTo>
                <a:cubicBezTo>
                  <a:pt x="149" y="85"/>
                  <a:pt x="149" y="85"/>
                  <a:pt x="149" y="85"/>
                </a:cubicBezTo>
                <a:cubicBezTo>
                  <a:pt x="155" y="85"/>
                  <a:pt x="160" y="81"/>
                  <a:pt x="160" y="75"/>
                </a:cubicBezTo>
                <a:cubicBezTo>
                  <a:pt x="160" y="11"/>
                  <a:pt x="160" y="11"/>
                  <a:pt x="160" y="11"/>
                </a:cubicBezTo>
                <a:cubicBezTo>
                  <a:pt x="160" y="5"/>
                  <a:pt x="155" y="0"/>
                  <a:pt x="149" y="0"/>
                </a:cubicBezTo>
                <a:close/>
                <a:moveTo>
                  <a:pt x="11" y="80"/>
                </a:moveTo>
                <a:cubicBezTo>
                  <a:pt x="8" y="80"/>
                  <a:pt x="5" y="78"/>
                  <a:pt x="5" y="75"/>
                </a:cubicBezTo>
                <a:cubicBezTo>
                  <a:pt x="5" y="11"/>
                  <a:pt x="5" y="11"/>
                  <a:pt x="5" y="11"/>
                </a:cubicBezTo>
                <a:cubicBezTo>
                  <a:pt x="5" y="8"/>
                  <a:pt x="8" y="5"/>
                  <a:pt x="11" y="5"/>
                </a:cubicBezTo>
                <a:cubicBezTo>
                  <a:pt x="75" y="5"/>
                  <a:pt x="75" y="5"/>
                  <a:pt x="75" y="5"/>
                </a:cubicBezTo>
                <a:cubicBezTo>
                  <a:pt x="78" y="5"/>
                  <a:pt x="80" y="8"/>
                  <a:pt x="80" y="11"/>
                </a:cubicBezTo>
                <a:cubicBezTo>
                  <a:pt x="80" y="75"/>
                  <a:pt x="80" y="75"/>
                  <a:pt x="80" y="75"/>
                </a:cubicBezTo>
                <a:cubicBezTo>
                  <a:pt x="80" y="78"/>
                  <a:pt x="78" y="80"/>
                  <a:pt x="75" y="80"/>
                </a:cubicBezTo>
                <a:lnTo>
                  <a:pt x="11" y="80"/>
                </a:lnTo>
                <a:close/>
                <a:moveTo>
                  <a:pt x="155" y="75"/>
                </a:moveTo>
                <a:cubicBezTo>
                  <a:pt x="155" y="78"/>
                  <a:pt x="152" y="80"/>
                  <a:pt x="149" y="80"/>
                </a:cubicBezTo>
                <a:cubicBezTo>
                  <a:pt x="84" y="80"/>
                  <a:pt x="84" y="80"/>
                  <a:pt x="84" y="80"/>
                </a:cubicBezTo>
                <a:cubicBezTo>
                  <a:pt x="85" y="78"/>
                  <a:pt x="85" y="77"/>
                  <a:pt x="85" y="75"/>
                </a:cubicBezTo>
                <a:cubicBezTo>
                  <a:pt x="85" y="11"/>
                  <a:pt x="85" y="11"/>
                  <a:pt x="85" y="11"/>
                </a:cubicBezTo>
                <a:cubicBezTo>
                  <a:pt x="85" y="9"/>
                  <a:pt x="85" y="7"/>
                  <a:pt x="84" y="5"/>
                </a:cubicBezTo>
                <a:cubicBezTo>
                  <a:pt x="149" y="5"/>
                  <a:pt x="149" y="5"/>
                  <a:pt x="149" y="5"/>
                </a:cubicBezTo>
                <a:cubicBezTo>
                  <a:pt x="152" y="5"/>
                  <a:pt x="155" y="8"/>
                  <a:pt x="155" y="11"/>
                </a:cubicBezTo>
                <a:lnTo>
                  <a:pt x="155" y="75"/>
                </a:lnTo>
                <a:close/>
                <a:moveTo>
                  <a:pt x="93" y="16"/>
                </a:moveTo>
                <a:cubicBezTo>
                  <a:pt x="95" y="16"/>
                  <a:pt x="96" y="17"/>
                  <a:pt x="96" y="19"/>
                </a:cubicBezTo>
                <a:cubicBezTo>
                  <a:pt x="96" y="20"/>
                  <a:pt x="95" y="21"/>
                  <a:pt x="93" y="21"/>
                </a:cubicBezTo>
                <a:cubicBezTo>
                  <a:pt x="92" y="21"/>
                  <a:pt x="91" y="20"/>
                  <a:pt x="91" y="19"/>
                </a:cubicBezTo>
                <a:cubicBezTo>
                  <a:pt x="91" y="17"/>
                  <a:pt x="92" y="16"/>
                  <a:pt x="93" y="16"/>
                </a:cubicBezTo>
                <a:close/>
                <a:moveTo>
                  <a:pt x="109" y="16"/>
                </a:moveTo>
                <a:cubicBezTo>
                  <a:pt x="111" y="16"/>
                  <a:pt x="112" y="17"/>
                  <a:pt x="112" y="19"/>
                </a:cubicBezTo>
                <a:cubicBezTo>
                  <a:pt x="112" y="20"/>
                  <a:pt x="111" y="21"/>
                  <a:pt x="109" y="21"/>
                </a:cubicBezTo>
                <a:cubicBezTo>
                  <a:pt x="108" y="21"/>
                  <a:pt x="107" y="20"/>
                  <a:pt x="107" y="19"/>
                </a:cubicBezTo>
                <a:cubicBezTo>
                  <a:pt x="107" y="17"/>
                  <a:pt x="108" y="16"/>
                  <a:pt x="109" y="16"/>
                </a:cubicBezTo>
                <a:close/>
                <a:moveTo>
                  <a:pt x="101" y="8"/>
                </a:moveTo>
                <a:cubicBezTo>
                  <a:pt x="103" y="8"/>
                  <a:pt x="104" y="9"/>
                  <a:pt x="104" y="11"/>
                </a:cubicBezTo>
                <a:cubicBezTo>
                  <a:pt x="104" y="12"/>
                  <a:pt x="103" y="13"/>
                  <a:pt x="101" y="13"/>
                </a:cubicBezTo>
                <a:cubicBezTo>
                  <a:pt x="100" y="13"/>
                  <a:pt x="99" y="12"/>
                  <a:pt x="99" y="11"/>
                </a:cubicBezTo>
                <a:cubicBezTo>
                  <a:pt x="99" y="9"/>
                  <a:pt x="100" y="8"/>
                  <a:pt x="101" y="8"/>
                </a:cubicBezTo>
                <a:close/>
                <a:moveTo>
                  <a:pt x="117" y="8"/>
                </a:moveTo>
                <a:cubicBezTo>
                  <a:pt x="119" y="8"/>
                  <a:pt x="120" y="9"/>
                  <a:pt x="120" y="11"/>
                </a:cubicBezTo>
                <a:cubicBezTo>
                  <a:pt x="120" y="12"/>
                  <a:pt x="119" y="13"/>
                  <a:pt x="117" y="13"/>
                </a:cubicBezTo>
                <a:cubicBezTo>
                  <a:pt x="116" y="13"/>
                  <a:pt x="115" y="12"/>
                  <a:pt x="115" y="11"/>
                </a:cubicBezTo>
                <a:cubicBezTo>
                  <a:pt x="115" y="9"/>
                  <a:pt x="116" y="8"/>
                  <a:pt x="117" y="8"/>
                </a:cubicBezTo>
                <a:close/>
                <a:moveTo>
                  <a:pt x="101" y="24"/>
                </a:moveTo>
                <a:cubicBezTo>
                  <a:pt x="103" y="24"/>
                  <a:pt x="104" y="25"/>
                  <a:pt x="104" y="27"/>
                </a:cubicBezTo>
                <a:cubicBezTo>
                  <a:pt x="104" y="28"/>
                  <a:pt x="103" y="29"/>
                  <a:pt x="101" y="29"/>
                </a:cubicBezTo>
                <a:cubicBezTo>
                  <a:pt x="100" y="29"/>
                  <a:pt x="99" y="28"/>
                  <a:pt x="99" y="27"/>
                </a:cubicBezTo>
                <a:cubicBezTo>
                  <a:pt x="99" y="25"/>
                  <a:pt x="100" y="24"/>
                  <a:pt x="101" y="24"/>
                </a:cubicBezTo>
                <a:close/>
                <a:moveTo>
                  <a:pt x="117" y="24"/>
                </a:moveTo>
                <a:cubicBezTo>
                  <a:pt x="119" y="24"/>
                  <a:pt x="120" y="25"/>
                  <a:pt x="120" y="27"/>
                </a:cubicBezTo>
                <a:cubicBezTo>
                  <a:pt x="120" y="28"/>
                  <a:pt x="119" y="29"/>
                  <a:pt x="117" y="29"/>
                </a:cubicBezTo>
                <a:cubicBezTo>
                  <a:pt x="116" y="29"/>
                  <a:pt x="115" y="28"/>
                  <a:pt x="115" y="27"/>
                </a:cubicBezTo>
                <a:cubicBezTo>
                  <a:pt x="115" y="25"/>
                  <a:pt x="116" y="24"/>
                  <a:pt x="117" y="24"/>
                </a:cubicBezTo>
                <a:close/>
                <a:moveTo>
                  <a:pt x="125" y="16"/>
                </a:moveTo>
                <a:cubicBezTo>
                  <a:pt x="127" y="16"/>
                  <a:pt x="128" y="17"/>
                  <a:pt x="128" y="19"/>
                </a:cubicBezTo>
                <a:cubicBezTo>
                  <a:pt x="128" y="20"/>
                  <a:pt x="127" y="21"/>
                  <a:pt x="125" y="21"/>
                </a:cubicBezTo>
                <a:cubicBezTo>
                  <a:pt x="124" y="21"/>
                  <a:pt x="123" y="20"/>
                  <a:pt x="123" y="19"/>
                </a:cubicBezTo>
                <a:cubicBezTo>
                  <a:pt x="123" y="17"/>
                  <a:pt x="124" y="16"/>
                  <a:pt x="125" y="16"/>
                </a:cubicBezTo>
                <a:close/>
                <a:moveTo>
                  <a:pt x="141" y="16"/>
                </a:moveTo>
                <a:cubicBezTo>
                  <a:pt x="143" y="16"/>
                  <a:pt x="144" y="17"/>
                  <a:pt x="144" y="19"/>
                </a:cubicBezTo>
                <a:cubicBezTo>
                  <a:pt x="144" y="20"/>
                  <a:pt x="143" y="21"/>
                  <a:pt x="141" y="21"/>
                </a:cubicBezTo>
                <a:cubicBezTo>
                  <a:pt x="140" y="21"/>
                  <a:pt x="139" y="20"/>
                  <a:pt x="139" y="19"/>
                </a:cubicBezTo>
                <a:cubicBezTo>
                  <a:pt x="139" y="17"/>
                  <a:pt x="140" y="16"/>
                  <a:pt x="141" y="16"/>
                </a:cubicBezTo>
                <a:close/>
                <a:moveTo>
                  <a:pt x="133" y="8"/>
                </a:moveTo>
                <a:cubicBezTo>
                  <a:pt x="135" y="8"/>
                  <a:pt x="136" y="9"/>
                  <a:pt x="136" y="11"/>
                </a:cubicBezTo>
                <a:cubicBezTo>
                  <a:pt x="136" y="12"/>
                  <a:pt x="135" y="13"/>
                  <a:pt x="133" y="13"/>
                </a:cubicBezTo>
                <a:cubicBezTo>
                  <a:pt x="132" y="13"/>
                  <a:pt x="131" y="12"/>
                  <a:pt x="131" y="11"/>
                </a:cubicBezTo>
                <a:cubicBezTo>
                  <a:pt x="131" y="9"/>
                  <a:pt x="132" y="8"/>
                  <a:pt x="133" y="8"/>
                </a:cubicBezTo>
                <a:close/>
                <a:moveTo>
                  <a:pt x="149" y="8"/>
                </a:moveTo>
                <a:cubicBezTo>
                  <a:pt x="151" y="8"/>
                  <a:pt x="152" y="9"/>
                  <a:pt x="152" y="11"/>
                </a:cubicBezTo>
                <a:cubicBezTo>
                  <a:pt x="152" y="12"/>
                  <a:pt x="151" y="13"/>
                  <a:pt x="149" y="13"/>
                </a:cubicBezTo>
                <a:cubicBezTo>
                  <a:pt x="148" y="13"/>
                  <a:pt x="147" y="12"/>
                  <a:pt x="147" y="11"/>
                </a:cubicBezTo>
                <a:cubicBezTo>
                  <a:pt x="147" y="9"/>
                  <a:pt x="148" y="8"/>
                  <a:pt x="149" y="8"/>
                </a:cubicBezTo>
                <a:close/>
                <a:moveTo>
                  <a:pt x="133" y="24"/>
                </a:moveTo>
                <a:cubicBezTo>
                  <a:pt x="135" y="24"/>
                  <a:pt x="136" y="25"/>
                  <a:pt x="136" y="27"/>
                </a:cubicBezTo>
                <a:cubicBezTo>
                  <a:pt x="136" y="28"/>
                  <a:pt x="135" y="29"/>
                  <a:pt x="133" y="29"/>
                </a:cubicBezTo>
                <a:cubicBezTo>
                  <a:pt x="132" y="29"/>
                  <a:pt x="131" y="28"/>
                  <a:pt x="131" y="27"/>
                </a:cubicBezTo>
                <a:cubicBezTo>
                  <a:pt x="131" y="25"/>
                  <a:pt x="132" y="24"/>
                  <a:pt x="133" y="24"/>
                </a:cubicBezTo>
                <a:close/>
                <a:moveTo>
                  <a:pt x="149" y="24"/>
                </a:moveTo>
                <a:cubicBezTo>
                  <a:pt x="151" y="24"/>
                  <a:pt x="152" y="25"/>
                  <a:pt x="152" y="27"/>
                </a:cubicBezTo>
                <a:cubicBezTo>
                  <a:pt x="152" y="28"/>
                  <a:pt x="151" y="29"/>
                  <a:pt x="149" y="29"/>
                </a:cubicBezTo>
                <a:cubicBezTo>
                  <a:pt x="148" y="29"/>
                  <a:pt x="147" y="28"/>
                  <a:pt x="147" y="27"/>
                </a:cubicBezTo>
                <a:cubicBezTo>
                  <a:pt x="147" y="25"/>
                  <a:pt x="148" y="24"/>
                  <a:pt x="149" y="24"/>
                </a:cubicBezTo>
                <a:close/>
                <a:moveTo>
                  <a:pt x="93" y="64"/>
                </a:moveTo>
                <a:cubicBezTo>
                  <a:pt x="95" y="64"/>
                  <a:pt x="96" y="65"/>
                  <a:pt x="96" y="67"/>
                </a:cubicBezTo>
                <a:cubicBezTo>
                  <a:pt x="96" y="68"/>
                  <a:pt x="95" y="69"/>
                  <a:pt x="93" y="69"/>
                </a:cubicBezTo>
                <a:cubicBezTo>
                  <a:pt x="92" y="69"/>
                  <a:pt x="91" y="68"/>
                  <a:pt x="91" y="67"/>
                </a:cubicBezTo>
                <a:cubicBezTo>
                  <a:pt x="91" y="65"/>
                  <a:pt x="92" y="64"/>
                  <a:pt x="93" y="64"/>
                </a:cubicBezTo>
                <a:close/>
                <a:moveTo>
                  <a:pt x="101" y="72"/>
                </a:moveTo>
                <a:cubicBezTo>
                  <a:pt x="103" y="72"/>
                  <a:pt x="104" y="73"/>
                  <a:pt x="104" y="75"/>
                </a:cubicBezTo>
                <a:cubicBezTo>
                  <a:pt x="104" y="76"/>
                  <a:pt x="103" y="77"/>
                  <a:pt x="101" y="77"/>
                </a:cubicBezTo>
                <a:cubicBezTo>
                  <a:pt x="100" y="77"/>
                  <a:pt x="99" y="76"/>
                  <a:pt x="99" y="75"/>
                </a:cubicBezTo>
                <a:cubicBezTo>
                  <a:pt x="99" y="73"/>
                  <a:pt x="100" y="72"/>
                  <a:pt x="101" y="72"/>
                </a:cubicBezTo>
                <a:close/>
                <a:moveTo>
                  <a:pt x="109" y="64"/>
                </a:moveTo>
                <a:cubicBezTo>
                  <a:pt x="111" y="64"/>
                  <a:pt x="112" y="65"/>
                  <a:pt x="112" y="67"/>
                </a:cubicBezTo>
                <a:cubicBezTo>
                  <a:pt x="112" y="68"/>
                  <a:pt x="111" y="69"/>
                  <a:pt x="109" y="69"/>
                </a:cubicBezTo>
                <a:cubicBezTo>
                  <a:pt x="108" y="69"/>
                  <a:pt x="107" y="68"/>
                  <a:pt x="107" y="67"/>
                </a:cubicBezTo>
                <a:cubicBezTo>
                  <a:pt x="107" y="65"/>
                  <a:pt x="108" y="64"/>
                  <a:pt x="109" y="64"/>
                </a:cubicBezTo>
                <a:close/>
                <a:moveTo>
                  <a:pt x="125" y="64"/>
                </a:moveTo>
                <a:cubicBezTo>
                  <a:pt x="127" y="64"/>
                  <a:pt x="128" y="65"/>
                  <a:pt x="128" y="67"/>
                </a:cubicBezTo>
                <a:cubicBezTo>
                  <a:pt x="128" y="68"/>
                  <a:pt x="127" y="69"/>
                  <a:pt x="125" y="69"/>
                </a:cubicBezTo>
                <a:cubicBezTo>
                  <a:pt x="124" y="69"/>
                  <a:pt x="123" y="68"/>
                  <a:pt x="123" y="67"/>
                </a:cubicBezTo>
                <a:cubicBezTo>
                  <a:pt x="123" y="65"/>
                  <a:pt x="124" y="64"/>
                  <a:pt x="125" y="64"/>
                </a:cubicBezTo>
                <a:close/>
                <a:moveTo>
                  <a:pt x="117" y="72"/>
                </a:moveTo>
                <a:cubicBezTo>
                  <a:pt x="119" y="72"/>
                  <a:pt x="120" y="73"/>
                  <a:pt x="120" y="75"/>
                </a:cubicBezTo>
                <a:cubicBezTo>
                  <a:pt x="120" y="76"/>
                  <a:pt x="119" y="77"/>
                  <a:pt x="117" y="77"/>
                </a:cubicBezTo>
                <a:cubicBezTo>
                  <a:pt x="116" y="77"/>
                  <a:pt x="115" y="76"/>
                  <a:pt x="115" y="75"/>
                </a:cubicBezTo>
                <a:cubicBezTo>
                  <a:pt x="115" y="73"/>
                  <a:pt x="116" y="72"/>
                  <a:pt x="117" y="72"/>
                </a:cubicBezTo>
                <a:close/>
                <a:moveTo>
                  <a:pt x="133" y="72"/>
                </a:moveTo>
                <a:cubicBezTo>
                  <a:pt x="135" y="72"/>
                  <a:pt x="136" y="73"/>
                  <a:pt x="136" y="75"/>
                </a:cubicBezTo>
                <a:cubicBezTo>
                  <a:pt x="136" y="76"/>
                  <a:pt x="135" y="77"/>
                  <a:pt x="133" y="77"/>
                </a:cubicBezTo>
                <a:cubicBezTo>
                  <a:pt x="132" y="77"/>
                  <a:pt x="131" y="76"/>
                  <a:pt x="131" y="75"/>
                </a:cubicBezTo>
                <a:cubicBezTo>
                  <a:pt x="131" y="73"/>
                  <a:pt x="132" y="72"/>
                  <a:pt x="133" y="72"/>
                </a:cubicBezTo>
                <a:close/>
                <a:moveTo>
                  <a:pt x="141" y="64"/>
                </a:moveTo>
                <a:cubicBezTo>
                  <a:pt x="143" y="64"/>
                  <a:pt x="144" y="65"/>
                  <a:pt x="144" y="67"/>
                </a:cubicBezTo>
                <a:cubicBezTo>
                  <a:pt x="144" y="68"/>
                  <a:pt x="143" y="69"/>
                  <a:pt x="141" y="69"/>
                </a:cubicBezTo>
                <a:cubicBezTo>
                  <a:pt x="140" y="69"/>
                  <a:pt x="139" y="68"/>
                  <a:pt x="139" y="67"/>
                </a:cubicBezTo>
                <a:cubicBezTo>
                  <a:pt x="139" y="65"/>
                  <a:pt x="140" y="64"/>
                  <a:pt x="141" y="64"/>
                </a:cubicBezTo>
                <a:close/>
                <a:moveTo>
                  <a:pt x="149" y="72"/>
                </a:moveTo>
                <a:cubicBezTo>
                  <a:pt x="151" y="72"/>
                  <a:pt x="152" y="73"/>
                  <a:pt x="152" y="75"/>
                </a:cubicBezTo>
                <a:cubicBezTo>
                  <a:pt x="152" y="76"/>
                  <a:pt x="151" y="77"/>
                  <a:pt x="149" y="77"/>
                </a:cubicBezTo>
                <a:cubicBezTo>
                  <a:pt x="148" y="77"/>
                  <a:pt x="147" y="76"/>
                  <a:pt x="147" y="75"/>
                </a:cubicBezTo>
                <a:cubicBezTo>
                  <a:pt x="147" y="73"/>
                  <a:pt x="148" y="72"/>
                  <a:pt x="149" y="72"/>
                </a:cubicBezTo>
                <a:close/>
                <a:moveTo>
                  <a:pt x="93" y="32"/>
                </a:moveTo>
                <a:cubicBezTo>
                  <a:pt x="95" y="32"/>
                  <a:pt x="96" y="33"/>
                  <a:pt x="96" y="35"/>
                </a:cubicBezTo>
                <a:cubicBezTo>
                  <a:pt x="96" y="36"/>
                  <a:pt x="95" y="37"/>
                  <a:pt x="93" y="37"/>
                </a:cubicBezTo>
                <a:cubicBezTo>
                  <a:pt x="92" y="37"/>
                  <a:pt x="91" y="36"/>
                  <a:pt x="91" y="35"/>
                </a:cubicBezTo>
                <a:cubicBezTo>
                  <a:pt x="91" y="33"/>
                  <a:pt x="92" y="32"/>
                  <a:pt x="93" y="32"/>
                </a:cubicBezTo>
                <a:close/>
                <a:moveTo>
                  <a:pt x="109" y="32"/>
                </a:moveTo>
                <a:cubicBezTo>
                  <a:pt x="111" y="32"/>
                  <a:pt x="112" y="33"/>
                  <a:pt x="112" y="35"/>
                </a:cubicBezTo>
                <a:cubicBezTo>
                  <a:pt x="112" y="36"/>
                  <a:pt x="111" y="37"/>
                  <a:pt x="109" y="37"/>
                </a:cubicBezTo>
                <a:cubicBezTo>
                  <a:pt x="108" y="37"/>
                  <a:pt x="107" y="36"/>
                  <a:pt x="107" y="35"/>
                </a:cubicBezTo>
                <a:cubicBezTo>
                  <a:pt x="107" y="33"/>
                  <a:pt x="108" y="32"/>
                  <a:pt x="109" y="32"/>
                </a:cubicBezTo>
                <a:close/>
                <a:moveTo>
                  <a:pt x="93" y="48"/>
                </a:moveTo>
                <a:cubicBezTo>
                  <a:pt x="95" y="48"/>
                  <a:pt x="96" y="49"/>
                  <a:pt x="96" y="51"/>
                </a:cubicBezTo>
                <a:cubicBezTo>
                  <a:pt x="96" y="52"/>
                  <a:pt x="95" y="53"/>
                  <a:pt x="93" y="53"/>
                </a:cubicBezTo>
                <a:cubicBezTo>
                  <a:pt x="92" y="53"/>
                  <a:pt x="91" y="52"/>
                  <a:pt x="91" y="51"/>
                </a:cubicBezTo>
                <a:cubicBezTo>
                  <a:pt x="91" y="49"/>
                  <a:pt x="92" y="48"/>
                  <a:pt x="93" y="48"/>
                </a:cubicBezTo>
                <a:close/>
                <a:moveTo>
                  <a:pt x="109" y="48"/>
                </a:moveTo>
                <a:cubicBezTo>
                  <a:pt x="111" y="48"/>
                  <a:pt x="112" y="49"/>
                  <a:pt x="112" y="51"/>
                </a:cubicBezTo>
                <a:cubicBezTo>
                  <a:pt x="112" y="52"/>
                  <a:pt x="111" y="53"/>
                  <a:pt x="109" y="53"/>
                </a:cubicBezTo>
                <a:cubicBezTo>
                  <a:pt x="108" y="53"/>
                  <a:pt x="107" y="52"/>
                  <a:pt x="107" y="51"/>
                </a:cubicBezTo>
                <a:cubicBezTo>
                  <a:pt x="107" y="49"/>
                  <a:pt x="108" y="48"/>
                  <a:pt x="109" y="48"/>
                </a:cubicBezTo>
                <a:close/>
                <a:moveTo>
                  <a:pt x="101" y="40"/>
                </a:moveTo>
                <a:cubicBezTo>
                  <a:pt x="103" y="40"/>
                  <a:pt x="104" y="41"/>
                  <a:pt x="104" y="43"/>
                </a:cubicBezTo>
                <a:cubicBezTo>
                  <a:pt x="104" y="44"/>
                  <a:pt x="103" y="45"/>
                  <a:pt x="101" y="45"/>
                </a:cubicBezTo>
                <a:cubicBezTo>
                  <a:pt x="100" y="45"/>
                  <a:pt x="99" y="44"/>
                  <a:pt x="99" y="43"/>
                </a:cubicBezTo>
                <a:cubicBezTo>
                  <a:pt x="99" y="41"/>
                  <a:pt x="100" y="40"/>
                  <a:pt x="101" y="40"/>
                </a:cubicBezTo>
                <a:close/>
                <a:moveTo>
                  <a:pt x="117" y="40"/>
                </a:moveTo>
                <a:cubicBezTo>
                  <a:pt x="119" y="40"/>
                  <a:pt x="120" y="41"/>
                  <a:pt x="120" y="43"/>
                </a:cubicBezTo>
                <a:cubicBezTo>
                  <a:pt x="120" y="44"/>
                  <a:pt x="119" y="45"/>
                  <a:pt x="117" y="45"/>
                </a:cubicBezTo>
                <a:cubicBezTo>
                  <a:pt x="116" y="45"/>
                  <a:pt x="115" y="44"/>
                  <a:pt x="115" y="43"/>
                </a:cubicBezTo>
                <a:cubicBezTo>
                  <a:pt x="115" y="41"/>
                  <a:pt x="116" y="40"/>
                  <a:pt x="117" y="40"/>
                </a:cubicBezTo>
                <a:close/>
                <a:moveTo>
                  <a:pt x="101" y="56"/>
                </a:moveTo>
                <a:cubicBezTo>
                  <a:pt x="103" y="56"/>
                  <a:pt x="104" y="57"/>
                  <a:pt x="104" y="59"/>
                </a:cubicBezTo>
                <a:cubicBezTo>
                  <a:pt x="104" y="60"/>
                  <a:pt x="103" y="61"/>
                  <a:pt x="101" y="61"/>
                </a:cubicBezTo>
                <a:cubicBezTo>
                  <a:pt x="100" y="61"/>
                  <a:pt x="99" y="60"/>
                  <a:pt x="99" y="59"/>
                </a:cubicBezTo>
                <a:cubicBezTo>
                  <a:pt x="99" y="57"/>
                  <a:pt x="100" y="56"/>
                  <a:pt x="101" y="56"/>
                </a:cubicBezTo>
                <a:close/>
                <a:moveTo>
                  <a:pt x="117" y="56"/>
                </a:moveTo>
                <a:cubicBezTo>
                  <a:pt x="119" y="56"/>
                  <a:pt x="120" y="57"/>
                  <a:pt x="120" y="59"/>
                </a:cubicBezTo>
                <a:cubicBezTo>
                  <a:pt x="120" y="60"/>
                  <a:pt x="119" y="61"/>
                  <a:pt x="117" y="61"/>
                </a:cubicBezTo>
                <a:cubicBezTo>
                  <a:pt x="116" y="61"/>
                  <a:pt x="115" y="60"/>
                  <a:pt x="115" y="59"/>
                </a:cubicBezTo>
                <a:cubicBezTo>
                  <a:pt x="115" y="57"/>
                  <a:pt x="116" y="56"/>
                  <a:pt x="117" y="56"/>
                </a:cubicBezTo>
                <a:close/>
                <a:moveTo>
                  <a:pt x="125" y="32"/>
                </a:moveTo>
                <a:cubicBezTo>
                  <a:pt x="127" y="32"/>
                  <a:pt x="128" y="33"/>
                  <a:pt x="128" y="35"/>
                </a:cubicBezTo>
                <a:cubicBezTo>
                  <a:pt x="128" y="36"/>
                  <a:pt x="127" y="37"/>
                  <a:pt x="125" y="37"/>
                </a:cubicBezTo>
                <a:cubicBezTo>
                  <a:pt x="124" y="37"/>
                  <a:pt x="123" y="36"/>
                  <a:pt x="123" y="35"/>
                </a:cubicBezTo>
                <a:cubicBezTo>
                  <a:pt x="123" y="33"/>
                  <a:pt x="124" y="32"/>
                  <a:pt x="125" y="32"/>
                </a:cubicBezTo>
                <a:close/>
                <a:moveTo>
                  <a:pt x="141" y="32"/>
                </a:moveTo>
                <a:cubicBezTo>
                  <a:pt x="143" y="32"/>
                  <a:pt x="144" y="33"/>
                  <a:pt x="144" y="35"/>
                </a:cubicBezTo>
                <a:cubicBezTo>
                  <a:pt x="144" y="36"/>
                  <a:pt x="143" y="37"/>
                  <a:pt x="141" y="37"/>
                </a:cubicBezTo>
                <a:cubicBezTo>
                  <a:pt x="140" y="37"/>
                  <a:pt x="139" y="36"/>
                  <a:pt x="139" y="35"/>
                </a:cubicBezTo>
                <a:cubicBezTo>
                  <a:pt x="139" y="33"/>
                  <a:pt x="140" y="32"/>
                  <a:pt x="141" y="32"/>
                </a:cubicBezTo>
                <a:close/>
                <a:moveTo>
                  <a:pt x="125" y="48"/>
                </a:moveTo>
                <a:cubicBezTo>
                  <a:pt x="127" y="48"/>
                  <a:pt x="128" y="49"/>
                  <a:pt x="128" y="51"/>
                </a:cubicBezTo>
                <a:cubicBezTo>
                  <a:pt x="128" y="52"/>
                  <a:pt x="127" y="53"/>
                  <a:pt x="125" y="53"/>
                </a:cubicBezTo>
                <a:cubicBezTo>
                  <a:pt x="124" y="53"/>
                  <a:pt x="123" y="52"/>
                  <a:pt x="123" y="51"/>
                </a:cubicBezTo>
                <a:cubicBezTo>
                  <a:pt x="123" y="49"/>
                  <a:pt x="124" y="48"/>
                  <a:pt x="125" y="48"/>
                </a:cubicBezTo>
                <a:close/>
                <a:moveTo>
                  <a:pt x="141" y="48"/>
                </a:moveTo>
                <a:cubicBezTo>
                  <a:pt x="143" y="48"/>
                  <a:pt x="144" y="49"/>
                  <a:pt x="144" y="51"/>
                </a:cubicBezTo>
                <a:cubicBezTo>
                  <a:pt x="144" y="52"/>
                  <a:pt x="143" y="53"/>
                  <a:pt x="141" y="53"/>
                </a:cubicBezTo>
                <a:cubicBezTo>
                  <a:pt x="140" y="53"/>
                  <a:pt x="139" y="52"/>
                  <a:pt x="139" y="51"/>
                </a:cubicBezTo>
                <a:cubicBezTo>
                  <a:pt x="139" y="49"/>
                  <a:pt x="140" y="48"/>
                  <a:pt x="141" y="48"/>
                </a:cubicBezTo>
                <a:close/>
                <a:moveTo>
                  <a:pt x="133" y="40"/>
                </a:moveTo>
                <a:cubicBezTo>
                  <a:pt x="135" y="40"/>
                  <a:pt x="136" y="41"/>
                  <a:pt x="136" y="43"/>
                </a:cubicBezTo>
                <a:cubicBezTo>
                  <a:pt x="136" y="44"/>
                  <a:pt x="135" y="45"/>
                  <a:pt x="133" y="45"/>
                </a:cubicBezTo>
                <a:cubicBezTo>
                  <a:pt x="132" y="45"/>
                  <a:pt x="131" y="44"/>
                  <a:pt x="131" y="43"/>
                </a:cubicBezTo>
                <a:cubicBezTo>
                  <a:pt x="131" y="41"/>
                  <a:pt x="132" y="40"/>
                  <a:pt x="133" y="40"/>
                </a:cubicBezTo>
                <a:close/>
                <a:moveTo>
                  <a:pt x="149" y="40"/>
                </a:moveTo>
                <a:cubicBezTo>
                  <a:pt x="151" y="40"/>
                  <a:pt x="152" y="41"/>
                  <a:pt x="152" y="43"/>
                </a:cubicBezTo>
                <a:cubicBezTo>
                  <a:pt x="152" y="44"/>
                  <a:pt x="151" y="45"/>
                  <a:pt x="149" y="45"/>
                </a:cubicBezTo>
                <a:cubicBezTo>
                  <a:pt x="148" y="45"/>
                  <a:pt x="147" y="44"/>
                  <a:pt x="147" y="43"/>
                </a:cubicBezTo>
                <a:cubicBezTo>
                  <a:pt x="147" y="41"/>
                  <a:pt x="148" y="40"/>
                  <a:pt x="149" y="40"/>
                </a:cubicBezTo>
                <a:close/>
                <a:moveTo>
                  <a:pt x="133" y="56"/>
                </a:moveTo>
                <a:cubicBezTo>
                  <a:pt x="135" y="56"/>
                  <a:pt x="136" y="57"/>
                  <a:pt x="136" y="59"/>
                </a:cubicBezTo>
                <a:cubicBezTo>
                  <a:pt x="136" y="60"/>
                  <a:pt x="135" y="61"/>
                  <a:pt x="133" y="61"/>
                </a:cubicBezTo>
                <a:cubicBezTo>
                  <a:pt x="132" y="61"/>
                  <a:pt x="131" y="60"/>
                  <a:pt x="131" y="59"/>
                </a:cubicBezTo>
                <a:cubicBezTo>
                  <a:pt x="131" y="57"/>
                  <a:pt x="132" y="56"/>
                  <a:pt x="133" y="56"/>
                </a:cubicBezTo>
                <a:close/>
                <a:moveTo>
                  <a:pt x="149" y="56"/>
                </a:moveTo>
                <a:cubicBezTo>
                  <a:pt x="151" y="56"/>
                  <a:pt x="152" y="57"/>
                  <a:pt x="152" y="59"/>
                </a:cubicBezTo>
                <a:cubicBezTo>
                  <a:pt x="152" y="60"/>
                  <a:pt x="151" y="61"/>
                  <a:pt x="149" y="61"/>
                </a:cubicBezTo>
                <a:cubicBezTo>
                  <a:pt x="148" y="61"/>
                  <a:pt x="147" y="60"/>
                  <a:pt x="147" y="59"/>
                </a:cubicBezTo>
                <a:cubicBezTo>
                  <a:pt x="147" y="57"/>
                  <a:pt x="148" y="56"/>
                  <a:pt x="149" y="56"/>
                </a:cubicBezTo>
                <a:close/>
                <a:moveTo>
                  <a:pt x="37" y="35"/>
                </a:moveTo>
                <a:cubicBezTo>
                  <a:pt x="37" y="51"/>
                  <a:pt x="37" y="51"/>
                  <a:pt x="37" y="51"/>
                </a:cubicBezTo>
                <a:cubicBezTo>
                  <a:pt x="37" y="52"/>
                  <a:pt x="36" y="53"/>
                  <a:pt x="35" y="53"/>
                </a:cubicBezTo>
                <a:cubicBezTo>
                  <a:pt x="33" y="53"/>
                  <a:pt x="32" y="52"/>
                  <a:pt x="32" y="51"/>
                </a:cubicBezTo>
                <a:cubicBezTo>
                  <a:pt x="32" y="35"/>
                  <a:pt x="32" y="35"/>
                  <a:pt x="32" y="35"/>
                </a:cubicBezTo>
                <a:cubicBezTo>
                  <a:pt x="32" y="33"/>
                  <a:pt x="33" y="32"/>
                  <a:pt x="35" y="32"/>
                </a:cubicBezTo>
                <a:cubicBezTo>
                  <a:pt x="36" y="32"/>
                  <a:pt x="37" y="33"/>
                  <a:pt x="37" y="35"/>
                </a:cubicBezTo>
                <a:close/>
                <a:moveTo>
                  <a:pt x="45" y="35"/>
                </a:moveTo>
                <a:cubicBezTo>
                  <a:pt x="45" y="51"/>
                  <a:pt x="45" y="51"/>
                  <a:pt x="45" y="51"/>
                </a:cubicBezTo>
                <a:cubicBezTo>
                  <a:pt x="45" y="52"/>
                  <a:pt x="44" y="53"/>
                  <a:pt x="43" y="53"/>
                </a:cubicBezTo>
                <a:cubicBezTo>
                  <a:pt x="41" y="53"/>
                  <a:pt x="40" y="52"/>
                  <a:pt x="40" y="51"/>
                </a:cubicBezTo>
                <a:cubicBezTo>
                  <a:pt x="40" y="35"/>
                  <a:pt x="40" y="35"/>
                  <a:pt x="40" y="35"/>
                </a:cubicBezTo>
                <a:cubicBezTo>
                  <a:pt x="40" y="33"/>
                  <a:pt x="41" y="32"/>
                  <a:pt x="43" y="32"/>
                </a:cubicBezTo>
                <a:cubicBezTo>
                  <a:pt x="44" y="32"/>
                  <a:pt x="45" y="33"/>
                  <a:pt x="45" y="35"/>
                </a:cubicBezTo>
                <a:close/>
                <a:moveTo>
                  <a:pt x="53" y="35"/>
                </a:moveTo>
                <a:cubicBezTo>
                  <a:pt x="53" y="51"/>
                  <a:pt x="53" y="51"/>
                  <a:pt x="53" y="51"/>
                </a:cubicBezTo>
                <a:cubicBezTo>
                  <a:pt x="53" y="52"/>
                  <a:pt x="52" y="53"/>
                  <a:pt x="51" y="53"/>
                </a:cubicBezTo>
                <a:cubicBezTo>
                  <a:pt x="49" y="53"/>
                  <a:pt x="48" y="52"/>
                  <a:pt x="48" y="51"/>
                </a:cubicBezTo>
                <a:cubicBezTo>
                  <a:pt x="48" y="35"/>
                  <a:pt x="48" y="35"/>
                  <a:pt x="48" y="35"/>
                </a:cubicBezTo>
                <a:cubicBezTo>
                  <a:pt x="48" y="33"/>
                  <a:pt x="49" y="32"/>
                  <a:pt x="51" y="32"/>
                </a:cubicBezTo>
                <a:cubicBezTo>
                  <a:pt x="52" y="32"/>
                  <a:pt x="53" y="33"/>
                  <a:pt x="53" y="3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33">
            <a:extLst>
              <a:ext uri="{FF2B5EF4-FFF2-40B4-BE49-F238E27FC236}">
                <a16:creationId xmlns:a16="http://schemas.microsoft.com/office/drawing/2014/main" id="{F83CAF8F-43D7-784A-9F18-D1ED31B7D6F9}"/>
              </a:ext>
            </a:extLst>
          </p:cNvPr>
          <p:cNvSpPr>
            <a:spLocks noEditPoints="1"/>
          </p:cNvSpPr>
          <p:nvPr/>
        </p:nvSpPr>
        <p:spPr bwMode="auto">
          <a:xfrm>
            <a:off x="3741429" y="1217613"/>
            <a:ext cx="600075" cy="320675"/>
          </a:xfrm>
          <a:custGeom>
            <a:avLst/>
            <a:gdLst>
              <a:gd name="T0" fmla="*/ 0 w 160"/>
              <a:gd name="T1" fmla="*/ 11 h 85"/>
              <a:gd name="T2" fmla="*/ 149 w 160"/>
              <a:gd name="T3" fmla="*/ 85 h 85"/>
              <a:gd name="T4" fmla="*/ 5 w 160"/>
              <a:gd name="T5" fmla="*/ 75 h 85"/>
              <a:gd name="T6" fmla="*/ 75 w 160"/>
              <a:gd name="T7" fmla="*/ 11 h 85"/>
              <a:gd name="T8" fmla="*/ 5 w 160"/>
              <a:gd name="T9" fmla="*/ 75 h 85"/>
              <a:gd name="T10" fmla="*/ 80 w 160"/>
              <a:gd name="T11" fmla="*/ 75 h 85"/>
              <a:gd name="T12" fmla="*/ 155 w 160"/>
              <a:gd name="T13" fmla="*/ 11 h 85"/>
              <a:gd name="T14" fmla="*/ 67 w 160"/>
              <a:gd name="T15" fmla="*/ 69 h 85"/>
              <a:gd name="T16" fmla="*/ 53 w 160"/>
              <a:gd name="T17" fmla="*/ 67 h 85"/>
              <a:gd name="T18" fmla="*/ 59 w 160"/>
              <a:gd name="T19" fmla="*/ 72 h 85"/>
              <a:gd name="T20" fmla="*/ 59 w 160"/>
              <a:gd name="T21" fmla="*/ 72 h 85"/>
              <a:gd name="T22" fmla="*/ 40 w 160"/>
              <a:gd name="T23" fmla="*/ 75 h 85"/>
              <a:gd name="T24" fmla="*/ 59 w 160"/>
              <a:gd name="T25" fmla="*/ 61 h 85"/>
              <a:gd name="T26" fmla="*/ 45 w 160"/>
              <a:gd name="T27" fmla="*/ 59 h 85"/>
              <a:gd name="T28" fmla="*/ 35 w 160"/>
              <a:gd name="T29" fmla="*/ 64 h 85"/>
              <a:gd name="T30" fmla="*/ 35 w 160"/>
              <a:gd name="T31" fmla="*/ 64 h 85"/>
              <a:gd name="T32" fmla="*/ 16 w 160"/>
              <a:gd name="T33" fmla="*/ 67 h 85"/>
              <a:gd name="T34" fmla="*/ 27 w 160"/>
              <a:gd name="T35" fmla="*/ 77 h 85"/>
              <a:gd name="T36" fmla="*/ 13 w 160"/>
              <a:gd name="T37" fmla="*/ 75 h 85"/>
              <a:gd name="T38" fmla="*/ 27 w 160"/>
              <a:gd name="T39" fmla="*/ 56 h 85"/>
              <a:gd name="T40" fmla="*/ 27 w 160"/>
              <a:gd name="T41" fmla="*/ 56 h 85"/>
              <a:gd name="T42" fmla="*/ 8 w 160"/>
              <a:gd name="T43" fmla="*/ 59 h 85"/>
              <a:gd name="T44" fmla="*/ 67 w 160"/>
              <a:gd name="T45" fmla="*/ 21 h 85"/>
              <a:gd name="T46" fmla="*/ 61 w 160"/>
              <a:gd name="T47" fmla="*/ 11 h 85"/>
              <a:gd name="T48" fmla="*/ 51 w 160"/>
              <a:gd name="T49" fmla="*/ 16 h 85"/>
              <a:gd name="T50" fmla="*/ 51 w 160"/>
              <a:gd name="T51" fmla="*/ 16 h 85"/>
              <a:gd name="T52" fmla="*/ 32 w 160"/>
              <a:gd name="T53" fmla="*/ 19 h 85"/>
              <a:gd name="T54" fmla="*/ 43 w 160"/>
              <a:gd name="T55" fmla="*/ 13 h 85"/>
              <a:gd name="T56" fmla="*/ 29 w 160"/>
              <a:gd name="T57" fmla="*/ 11 h 85"/>
              <a:gd name="T58" fmla="*/ 19 w 160"/>
              <a:gd name="T59" fmla="*/ 16 h 85"/>
              <a:gd name="T60" fmla="*/ 19 w 160"/>
              <a:gd name="T61" fmla="*/ 16 h 85"/>
              <a:gd name="T62" fmla="*/ 8 w 160"/>
              <a:gd name="T63" fmla="*/ 11 h 85"/>
              <a:gd name="T64" fmla="*/ 67 w 160"/>
              <a:gd name="T65" fmla="*/ 53 h 85"/>
              <a:gd name="T66" fmla="*/ 53 w 160"/>
              <a:gd name="T67" fmla="*/ 51 h 85"/>
              <a:gd name="T68" fmla="*/ 67 w 160"/>
              <a:gd name="T69" fmla="*/ 32 h 85"/>
              <a:gd name="T70" fmla="*/ 67 w 160"/>
              <a:gd name="T71" fmla="*/ 32 h 85"/>
              <a:gd name="T72" fmla="*/ 48 w 160"/>
              <a:gd name="T73" fmla="*/ 35 h 85"/>
              <a:gd name="T74" fmla="*/ 59 w 160"/>
              <a:gd name="T75" fmla="*/ 45 h 85"/>
              <a:gd name="T76" fmla="*/ 45 w 160"/>
              <a:gd name="T77" fmla="*/ 43 h 85"/>
              <a:gd name="T78" fmla="*/ 59 w 160"/>
              <a:gd name="T79" fmla="*/ 24 h 85"/>
              <a:gd name="T80" fmla="*/ 59 w 160"/>
              <a:gd name="T81" fmla="*/ 24 h 85"/>
              <a:gd name="T82" fmla="*/ 40 w 160"/>
              <a:gd name="T83" fmla="*/ 27 h 85"/>
              <a:gd name="T84" fmla="*/ 35 w 160"/>
              <a:gd name="T85" fmla="*/ 53 h 85"/>
              <a:gd name="T86" fmla="*/ 21 w 160"/>
              <a:gd name="T87" fmla="*/ 51 h 85"/>
              <a:gd name="T88" fmla="*/ 35 w 160"/>
              <a:gd name="T89" fmla="*/ 32 h 85"/>
              <a:gd name="T90" fmla="*/ 35 w 160"/>
              <a:gd name="T91" fmla="*/ 32 h 85"/>
              <a:gd name="T92" fmla="*/ 16 w 160"/>
              <a:gd name="T93" fmla="*/ 35 h 85"/>
              <a:gd name="T94" fmla="*/ 27 w 160"/>
              <a:gd name="T95" fmla="*/ 45 h 85"/>
              <a:gd name="T96" fmla="*/ 13 w 160"/>
              <a:gd name="T97" fmla="*/ 43 h 85"/>
              <a:gd name="T98" fmla="*/ 27 w 160"/>
              <a:gd name="T99" fmla="*/ 24 h 85"/>
              <a:gd name="T100" fmla="*/ 27 w 160"/>
              <a:gd name="T101" fmla="*/ 24 h 85"/>
              <a:gd name="T102" fmla="*/ 8 w 160"/>
              <a:gd name="T103" fmla="*/ 27 h 85"/>
              <a:gd name="T104" fmla="*/ 125 w 160"/>
              <a:gd name="T105" fmla="*/ 53 h 85"/>
              <a:gd name="T106" fmla="*/ 128 w 160"/>
              <a:gd name="T107" fmla="*/ 35 h 85"/>
              <a:gd name="T108" fmla="*/ 115 w 160"/>
              <a:gd name="T109" fmla="*/ 51 h 85"/>
              <a:gd name="T110" fmla="*/ 112 w 160"/>
              <a:gd name="T111" fmla="*/ 35 h 85"/>
              <a:gd name="T112" fmla="*/ 107 w 160"/>
              <a:gd name="T11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85">
                <a:moveTo>
                  <a:pt x="149" y="0"/>
                </a:moveTo>
                <a:cubicBezTo>
                  <a:pt x="85" y="0"/>
                  <a:pt x="85" y="0"/>
                  <a:pt x="85" y="0"/>
                </a:cubicBezTo>
                <a:cubicBezTo>
                  <a:pt x="11" y="0"/>
                  <a:pt x="11" y="0"/>
                  <a:pt x="11" y="0"/>
                </a:cubicBezTo>
                <a:cubicBezTo>
                  <a:pt x="5" y="0"/>
                  <a:pt x="0" y="5"/>
                  <a:pt x="0" y="11"/>
                </a:cubicBezTo>
                <a:cubicBezTo>
                  <a:pt x="0" y="75"/>
                  <a:pt x="0" y="75"/>
                  <a:pt x="0" y="75"/>
                </a:cubicBezTo>
                <a:cubicBezTo>
                  <a:pt x="0" y="81"/>
                  <a:pt x="5" y="85"/>
                  <a:pt x="11" y="85"/>
                </a:cubicBezTo>
                <a:cubicBezTo>
                  <a:pt x="85" y="85"/>
                  <a:pt x="85" y="85"/>
                  <a:pt x="85" y="85"/>
                </a:cubicBezTo>
                <a:cubicBezTo>
                  <a:pt x="149" y="85"/>
                  <a:pt x="149" y="85"/>
                  <a:pt x="149" y="85"/>
                </a:cubicBezTo>
                <a:cubicBezTo>
                  <a:pt x="155" y="85"/>
                  <a:pt x="160" y="81"/>
                  <a:pt x="160" y="75"/>
                </a:cubicBezTo>
                <a:cubicBezTo>
                  <a:pt x="160" y="11"/>
                  <a:pt x="160" y="11"/>
                  <a:pt x="160" y="11"/>
                </a:cubicBezTo>
                <a:cubicBezTo>
                  <a:pt x="160" y="5"/>
                  <a:pt x="155" y="0"/>
                  <a:pt x="149" y="0"/>
                </a:cubicBezTo>
                <a:close/>
                <a:moveTo>
                  <a:pt x="5" y="75"/>
                </a:moveTo>
                <a:cubicBezTo>
                  <a:pt x="5" y="11"/>
                  <a:pt x="5" y="11"/>
                  <a:pt x="5" y="11"/>
                </a:cubicBezTo>
                <a:cubicBezTo>
                  <a:pt x="5" y="8"/>
                  <a:pt x="8" y="5"/>
                  <a:pt x="11" y="5"/>
                </a:cubicBezTo>
                <a:cubicBezTo>
                  <a:pt x="76" y="5"/>
                  <a:pt x="76" y="5"/>
                  <a:pt x="76" y="5"/>
                </a:cubicBezTo>
                <a:cubicBezTo>
                  <a:pt x="75" y="7"/>
                  <a:pt x="75" y="9"/>
                  <a:pt x="75" y="11"/>
                </a:cubicBezTo>
                <a:cubicBezTo>
                  <a:pt x="75" y="75"/>
                  <a:pt x="75" y="75"/>
                  <a:pt x="75" y="75"/>
                </a:cubicBezTo>
                <a:cubicBezTo>
                  <a:pt x="75" y="77"/>
                  <a:pt x="75" y="78"/>
                  <a:pt x="76" y="80"/>
                </a:cubicBezTo>
                <a:cubicBezTo>
                  <a:pt x="11" y="80"/>
                  <a:pt x="11" y="80"/>
                  <a:pt x="11" y="80"/>
                </a:cubicBezTo>
                <a:cubicBezTo>
                  <a:pt x="8" y="80"/>
                  <a:pt x="5" y="78"/>
                  <a:pt x="5" y="75"/>
                </a:cubicBezTo>
                <a:close/>
                <a:moveTo>
                  <a:pt x="155" y="75"/>
                </a:moveTo>
                <a:cubicBezTo>
                  <a:pt x="155" y="78"/>
                  <a:pt x="152" y="80"/>
                  <a:pt x="149" y="80"/>
                </a:cubicBezTo>
                <a:cubicBezTo>
                  <a:pt x="85" y="80"/>
                  <a:pt x="85" y="80"/>
                  <a:pt x="85" y="80"/>
                </a:cubicBezTo>
                <a:cubicBezTo>
                  <a:pt x="82" y="80"/>
                  <a:pt x="80" y="78"/>
                  <a:pt x="80" y="75"/>
                </a:cubicBezTo>
                <a:cubicBezTo>
                  <a:pt x="80" y="11"/>
                  <a:pt x="80" y="11"/>
                  <a:pt x="80" y="11"/>
                </a:cubicBezTo>
                <a:cubicBezTo>
                  <a:pt x="80" y="8"/>
                  <a:pt x="82" y="5"/>
                  <a:pt x="85" y="5"/>
                </a:cubicBezTo>
                <a:cubicBezTo>
                  <a:pt x="149" y="5"/>
                  <a:pt x="149" y="5"/>
                  <a:pt x="149" y="5"/>
                </a:cubicBezTo>
                <a:cubicBezTo>
                  <a:pt x="152" y="5"/>
                  <a:pt x="155" y="8"/>
                  <a:pt x="155" y="11"/>
                </a:cubicBezTo>
                <a:lnTo>
                  <a:pt x="155" y="75"/>
                </a:lnTo>
                <a:close/>
                <a:moveTo>
                  <a:pt x="67" y="64"/>
                </a:moveTo>
                <a:cubicBezTo>
                  <a:pt x="68" y="64"/>
                  <a:pt x="69" y="65"/>
                  <a:pt x="69" y="67"/>
                </a:cubicBezTo>
                <a:cubicBezTo>
                  <a:pt x="69" y="68"/>
                  <a:pt x="68" y="69"/>
                  <a:pt x="67" y="69"/>
                </a:cubicBezTo>
                <a:cubicBezTo>
                  <a:pt x="65" y="69"/>
                  <a:pt x="64" y="68"/>
                  <a:pt x="64" y="67"/>
                </a:cubicBezTo>
                <a:cubicBezTo>
                  <a:pt x="64" y="65"/>
                  <a:pt x="65" y="64"/>
                  <a:pt x="67" y="64"/>
                </a:cubicBezTo>
                <a:close/>
                <a:moveTo>
                  <a:pt x="51" y="64"/>
                </a:moveTo>
                <a:cubicBezTo>
                  <a:pt x="52" y="64"/>
                  <a:pt x="53" y="65"/>
                  <a:pt x="53" y="67"/>
                </a:cubicBezTo>
                <a:cubicBezTo>
                  <a:pt x="53" y="68"/>
                  <a:pt x="52" y="69"/>
                  <a:pt x="51" y="69"/>
                </a:cubicBezTo>
                <a:cubicBezTo>
                  <a:pt x="49" y="69"/>
                  <a:pt x="48" y="68"/>
                  <a:pt x="48" y="67"/>
                </a:cubicBezTo>
                <a:cubicBezTo>
                  <a:pt x="48" y="65"/>
                  <a:pt x="49" y="64"/>
                  <a:pt x="51" y="64"/>
                </a:cubicBezTo>
                <a:close/>
                <a:moveTo>
                  <a:pt x="59" y="72"/>
                </a:moveTo>
                <a:cubicBezTo>
                  <a:pt x="60" y="72"/>
                  <a:pt x="61" y="73"/>
                  <a:pt x="61" y="75"/>
                </a:cubicBezTo>
                <a:cubicBezTo>
                  <a:pt x="61" y="76"/>
                  <a:pt x="60" y="77"/>
                  <a:pt x="59" y="77"/>
                </a:cubicBezTo>
                <a:cubicBezTo>
                  <a:pt x="57" y="77"/>
                  <a:pt x="56" y="76"/>
                  <a:pt x="56" y="75"/>
                </a:cubicBezTo>
                <a:cubicBezTo>
                  <a:pt x="56" y="73"/>
                  <a:pt x="57" y="72"/>
                  <a:pt x="59" y="72"/>
                </a:cubicBezTo>
                <a:close/>
                <a:moveTo>
                  <a:pt x="43" y="72"/>
                </a:moveTo>
                <a:cubicBezTo>
                  <a:pt x="44" y="72"/>
                  <a:pt x="45" y="73"/>
                  <a:pt x="45" y="75"/>
                </a:cubicBezTo>
                <a:cubicBezTo>
                  <a:pt x="45" y="76"/>
                  <a:pt x="44" y="77"/>
                  <a:pt x="43" y="77"/>
                </a:cubicBezTo>
                <a:cubicBezTo>
                  <a:pt x="41" y="77"/>
                  <a:pt x="40" y="76"/>
                  <a:pt x="40" y="75"/>
                </a:cubicBezTo>
                <a:cubicBezTo>
                  <a:pt x="40" y="73"/>
                  <a:pt x="41" y="72"/>
                  <a:pt x="43" y="72"/>
                </a:cubicBezTo>
                <a:close/>
                <a:moveTo>
                  <a:pt x="59" y="56"/>
                </a:moveTo>
                <a:cubicBezTo>
                  <a:pt x="60" y="56"/>
                  <a:pt x="61" y="57"/>
                  <a:pt x="61" y="59"/>
                </a:cubicBezTo>
                <a:cubicBezTo>
                  <a:pt x="61" y="60"/>
                  <a:pt x="60" y="61"/>
                  <a:pt x="59" y="61"/>
                </a:cubicBezTo>
                <a:cubicBezTo>
                  <a:pt x="57" y="61"/>
                  <a:pt x="56" y="60"/>
                  <a:pt x="56" y="59"/>
                </a:cubicBezTo>
                <a:cubicBezTo>
                  <a:pt x="56" y="57"/>
                  <a:pt x="57" y="56"/>
                  <a:pt x="59" y="56"/>
                </a:cubicBezTo>
                <a:close/>
                <a:moveTo>
                  <a:pt x="43" y="56"/>
                </a:moveTo>
                <a:cubicBezTo>
                  <a:pt x="44" y="56"/>
                  <a:pt x="45" y="57"/>
                  <a:pt x="45" y="59"/>
                </a:cubicBezTo>
                <a:cubicBezTo>
                  <a:pt x="45" y="60"/>
                  <a:pt x="44" y="61"/>
                  <a:pt x="43" y="61"/>
                </a:cubicBezTo>
                <a:cubicBezTo>
                  <a:pt x="41" y="61"/>
                  <a:pt x="40" y="60"/>
                  <a:pt x="40" y="59"/>
                </a:cubicBezTo>
                <a:cubicBezTo>
                  <a:pt x="40" y="57"/>
                  <a:pt x="41" y="56"/>
                  <a:pt x="43" y="56"/>
                </a:cubicBezTo>
                <a:close/>
                <a:moveTo>
                  <a:pt x="35" y="64"/>
                </a:moveTo>
                <a:cubicBezTo>
                  <a:pt x="36" y="64"/>
                  <a:pt x="37" y="65"/>
                  <a:pt x="37" y="67"/>
                </a:cubicBezTo>
                <a:cubicBezTo>
                  <a:pt x="37" y="68"/>
                  <a:pt x="36" y="69"/>
                  <a:pt x="35" y="69"/>
                </a:cubicBezTo>
                <a:cubicBezTo>
                  <a:pt x="33" y="69"/>
                  <a:pt x="32" y="68"/>
                  <a:pt x="32" y="67"/>
                </a:cubicBezTo>
                <a:cubicBezTo>
                  <a:pt x="32" y="65"/>
                  <a:pt x="33" y="64"/>
                  <a:pt x="35" y="64"/>
                </a:cubicBezTo>
                <a:close/>
                <a:moveTo>
                  <a:pt x="19" y="64"/>
                </a:moveTo>
                <a:cubicBezTo>
                  <a:pt x="20" y="64"/>
                  <a:pt x="21" y="65"/>
                  <a:pt x="21" y="67"/>
                </a:cubicBezTo>
                <a:cubicBezTo>
                  <a:pt x="21" y="68"/>
                  <a:pt x="20" y="69"/>
                  <a:pt x="19" y="69"/>
                </a:cubicBezTo>
                <a:cubicBezTo>
                  <a:pt x="17" y="69"/>
                  <a:pt x="16" y="68"/>
                  <a:pt x="16" y="67"/>
                </a:cubicBezTo>
                <a:cubicBezTo>
                  <a:pt x="16" y="65"/>
                  <a:pt x="17" y="64"/>
                  <a:pt x="19" y="64"/>
                </a:cubicBezTo>
                <a:close/>
                <a:moveTo>
                  <a:pt x="27" y="72"/>
                </a:moveTo>
                <a:cubicBezTo>
                  <a:pt x="28" y="72"/>
                  <a:pt x="29" y="73"/>
                  <a:pt x="29" y="75"/>
                </a:cubicBezTo>
                <a:cubicBezTo>
                  <a:pt x="29" y="76"/>
                  <a:pt x="28" y="77"/>
                  <a:pt x="27" y="77"/>
                </a:cubicBezTo>
                <a:cubicBezTo>
                  <a:pt x="25" y="77"/>
                  <a:pt x="24" y="76"/>
                  <a:pt x="24" y="75"/>
                </a:cubicBezTo>
                <a:cubicBezTo>
                  <a:pt x="24" y="73"/>
                  <a:pt x="25" y="72"/>
                  <a:pt x="27" y="72"/>
                </a:cubicBezTo>
                <a:close/>
                <a:moveTo>
                  <a:pt x="11" y="72"/>
                </a:moveTo>
                <a:cubicBezTo>
                  <a:pt x="12" y="72"/>
                  <a:pt x="13" y="73"/>
                  <a:pt x="13" y="75"/>
                </a:cubicBezTo>
                <a:cubicBezTo>
                  <a:pt x="13" y="76"/>
                  <a:pt x="12" y="77"/>
                  <a:pt x="11" y="77"/>
                </a:cubicBezTo>
                <a:cubicBezTo>
                  <a:pt x="9" y="77"/>
                  <a:pt x="8" y="76"/>
                  <a:pt x="8" y="75"/>
                </a:cubicBezTo>
                <a:cubicBezTo>
                  <a:pt x="8" y="73"/>
                  <a:pt x="9" y="72"/>
                  <a:pt x="11" y="72"/>
                </a:cubicBezTo>
                <a:close/>
                <a:moveTo>
                  <a:pt x="27" y="56"/>
                </a:moveTo>
                <a:cubicBezTo>
                  <a:pt x="28" y="56"/>
                  <a:pt x="29" y="57"/>
                  <a:pt x="29" y="59"/>
                </a:cubicBezTo>
                <a:cubicBezTo>
                  <a:pt x="29" y="60"/>
                  <a:pt x="28" y="61"/>
                  <a:pt x="27" y="61"/>
                </a:cubicBezTo>
                <a:cubicBezTo>
                  <a:pt x="25" y="61"/>
                  <a:pt x="24" y="60"/>
                  <a:pt x="24" y="59"/>
                </a:cubicBezTo>
                <a:cubicBezTo>
                  <a:pt x="24" y="57"/>
                  <a:pt x="25" y="56"/>
                  <a:pt x="27" y="56"/>
                </a:cubicBezTo>
                <a:close/>
                <a:moveTo>
                  <a:pt x="11" y="56"/>
                </a:moveTo>
                <a:cubicBezTo>
                  <a:pt x="12" y="56"/>
                  <a:pt x="13" y="57"/>
                  <a:pt x="13" y="59"/>
                </a:cubicBezTo>
                <a:cubicBezTo>
                  <a:pt x="13" y="60"/>
                  <a:pt x="12" y="61"/>
                  <a:pt x="11" y="61"/>
                </a:cubicBezTo>
                <a:cubicBezTo>
                  <a:pt x="9" y="61"/>
                  <a:pt x="8" y="60"/>
                  <a:pt x="8" y="59"/>
                </a:cubicBezTo>
                <a:cubicBezTo>
                  <a:pt x="8" y="57"/>
                  <a:pt x="9" y="56"/>
                  <a:pt x="11" y="56"/>
                </a:cubicBezTo>
                <a:close/>
                <a:moveTo>
                  <a:pt x="67" y="16"/>
                </a:moveTo>
                <a:cubicBezTo>
                  <a:pt x="68" y="16"/>
                  <a:pt x="69" y="17"/>
                  <a:pt x="69" y="19"/>
                </a:cubicBezTo>
                <a:cubicBezTo>
                  <a:pt x="69" y="20"/>
                  <a:pt x="68" y="21"/>
                  <a:pt x="67" y="21"/>
                </a:cubicBezTo>
                <a:cubicBezTo>
                  <a:pt x="65" y="21"/>
                  <a:pt x="64" y="20"/>
                  <a:pt x="64" y="19"/>
                </a:cubicBezTo>
                <a:cubicBezTo>
                  <a:pt x="64" y="17"/>
                  <a:pt x="65" y="16"/>
                  <a:pt x="67" y="16"/>
                </a:cubicBezTo>
                <a:close/>
                <a:moveTo>
                  <a:pt x="59" y="8"/>
                </a:moveTo>
                <a:cubicBezTo>
                  <a:pt x="60" y="8"/>
                  <a:pt x="61" y="9"/>
                  <a:pt x="61" y="11"/>
                </a:cubicBezTo>
                <a:cubicBezTo>
                  <a:pt x="61" y="12"/>
                  <a:pt x="60" y="13"/>
                  <a:pt x="59" y="13"/>
                </a:cubicBezTo>
                <a:cubicBezTo>
                  <a:pt x="57" y="13"/>
                  <a:pt x="56" y="12"/>
                  <a:pt x="56" y="11"/>
                </a:cubicBezTo>
                <a:cubicBezTo>
                  <a:pt x="56" y="9"/>
                  <a:pt x="57" y="8"/>
                  <a:pt x="59" y="8"/>
                </a:cubicBezTo>
                <a:close/>
                <a:moveTo>
                  <a:pt x="51" y="16"/>
                </a:moveTo>
                <a:cubicBezTo>
                  <a:pt x="52" y="16"/>
                  <a:pt x="53" y="17"/>
                  <a:pt x="53" y="19"/>
                </a:cubicBezTo>
                <a:cubicBezTo>
                  <a:pt x="53" y="20"/>
                  <a:pt x="52" y="21"/>
                  <a:pt x="51" y="21"/>
                </a:cubicBezTo>
                <a:cubicBezTo>
                  <a:pt x="49" y="21"/>
                  <a:pt x="48" y="20"/>
                  <a:pt x="48" y="19"/>
                </a:cubicBezTo>
                <a:cubicBezTo>
                  <a:pt x="48" y="17"/>
                  <a:pt x="49" y="16"/>
                  <a:pt x="51" y="16"/>
                </a:cubicBezTo>
                <a:close/>
                <a:moveTo>
                  <a:pt x="35" y="16"/>
                </a:moveTo>
                <a:cubicBezTo>
                  <a:pt x="36" y="16"/>
                  <a:pt x="37" y="17"/>
                  <a:pt x="37" y="19"/>
                </a:cubicBezTo>
                <a:cubicBezTo>
                  <a:pt x="37" y="20"/>
                  <a:pt x="36" y="21"/>
                  <a:pt x="35" y="21"/>
                </a:cubicBezTo>
                <a:cubicBezTo>
                  <a:pt x="33" y="21"/>
                  <a:pt x="32" y="20"/>
                  <a:pt x="32" y="19"/>
                </a:cubicBezTo>
                <a:cubicBezTo>
                  <a:pt x="32" y="17"/>
                  <a:pt x="33" y="16"/>
                  <a:pt x="35" y="16"/>
                </a:cubicBezTo>
                <a:close/>
                <a:moveTo>
                  <a:pt x="43" y="8"/>
                </a:moveTo>
                <a:cubicBezTo>
                  <a:pt x="44" y="8"/>
                  <a:pt x="45" y="9"/>
                  <a:pt x="45" y="11"/>
                </a:cubicBezTo>
                <a:cubicBezTo>
                  <a:pt x="45" y="12"/>
                  <a:pt x="44" y="13"/>
                  <a:pt x="43" y="13"/>
                </a:cubicBezTo>
                <a:cubicBezTo>
                  <a:pt x="41" y="13"/>
                  <a:pt x="40" y="12"/>
                  <a:pt x="40" y="11"/>
                </a:cubicBezTo>
                <a:cubicBezTo>
                  <a:pt x="40" y="9"/>
                  <a:pt x="41" y="8"/>
                  <a:pt x="43" y="8"/>
                </a:cubicBezTo>
                <a:close/>
                <a:moveTo>
                  <a:pt x="27" y="8"/>
                </a:moveTo>
                <a:cubicBezTo>
                  <a:pt x="28" y="8"/>
                  <a:pt x="29" y="9"/>
                  <a:pt x="29" y="11"/>
                </a:cubicBezTo>
                <a:cubicBezTo>
                  <a:pt x="29" y="12"/>
                  <a:pt x="28" y="13"/>
                  <a:pt x="27" y="13"/>
                </a:cubicBezTo>
                <a:cubicBezTo>
                  <a:pt x="25" y="13"/>
                  <a:pt x="24" y="12"/>
                  <a:pt x="24" y="11"/>
                </a:cubicBezTo>
                <a:cubicBezTo>
                  <a:pt x="24" y="9"/>
                  <a:pt x="25" y="8"/>
                  <a:pt x="27" y="8"/>
                </a:cubicBezTo>
                <a:close/>
                <a:moveTo>
                  <a:pt x="19" y="16"/>
                </a:moveTo>
                <a:cubicBezTo>
                  <a:pt x="20" y="16"/>
                  <a:pt x="21" y="17"/>
                  <a:pt x="21" y="19"/>
                </a:cubicBezTo>
                <a:cubicBezTo>
                  <a:pt x="21" y="20"/>
                  <a:pt x="20" y="21"/>
                  <a:pt x="19" y="21"/>
                </a:cubicBezTo>
                <a:cubicBezTo>
                  <a:pt x="17" y="21"/>
                  <a:pt x="16" y="20"/>
                  <a:pt x="16" y="19"/>
                </a:cubicBezTo>
                <a:cubicBezTo>
                  <a:pt x="16" y="17"/>
                  <a:pt x="17" y="16"/>
                  <a:pt x="19" y="16"/>
                </a:cubicBezTo>
                <a:close/>
                <a:moveTo>
                  <a:pt x="11" y="8"/>
                </a:moveTo>
                <a:cubicBezTo>
                  <a:pt x="12" y="8"/>
                  <a:pt x="13" y="9"/>
                  <a:pt x="13" y="11"/>
                </a:cubicBezTo>
                <a:cubicBezTo>
                  <a:pt x="13" y="12"/>
                  <a:pt x="12" y="13"/>
                  <a:pt x="11" y="13"/>
                </a:cubicBezTo>
                <a:cubicBezTo>
                  <a:pt x="9" y="13"/>
                  <a:pt x="8" y="12"/>
                  <a:pt x="8" y="11"/>
                </a:cubicBezTo>
                <a:cubicBezTo>
                  <a:pt x="8" y="9"/>
                  <a:pt x="9" y="8"/>
                  <a:pt x="11" y="8"/>
                </a:cubicBezTo>
                <a:close/>
                <a:moveTo>
                  <a:pt x="67" y="48"/>
                </a:moveTo>
                <a:cubicBezTo>
                  <a:pt x="68" y="48"/>
                  <a:pt x="69" y="49"/>
                  <a:pt x="69" y="51"/>
                </a:cubicBezTo>
                <a:cubicBezTo>
                  <a:pt x="69" y="52"/>
                  <a:pt x="68" y="53"/>
                  <a:pt x="67" y="53"/>
                </a:cubicBezTo>
                <a:cubicBezTo>
                  <a:pt x="65" y="53"/>
                  <a:pt x="64" y="52"/>
                  <a:pt x="64" y="51"/>
                </a:cubicBezTo>
                <a:cubicBezTo>
                  <a:pt x="64" y="49"/>
                  <a:pt x="65" y="48"/>
                  <a:pt x="67" y="48"/>
                </a:cubicBezTo>
                <a:close/>
                <a:moveTo>
                  <a:pt x="51" y="48"/>
                </a:moveTo>
                <a:cubicBezTo>
                  <a:pt x="52" y="48"/>
                  <a:pt x="53" y="49"/>
                  <a:pt x="53" y="51"/>
                </a:cubicBezTo>
                <a:cubicBezTo>
                  <a:pt x="53" y="52"/>
                  <a:pt x="52" y="53"/>
                  <a:pt x="51" y="53"/>
                </a:cubicBezTo>
                <a:cubicBezTo>
                  <a:pt x="49" y="53"/>
                  <a:pt x="48" y="52"/>
                  <a:pt x="48" y="51"/>
                </a:cubicBezTo>
                <a:cubicBezTo>
                  <a:pt x="48" y="49"/>
                  <a:pt x="49" y="48"/>
                  <a:pt x="51" y="48"/>
                </a:cubicBezTo>
                <a:close/>
                <a:moveTo>
                  <a:pt x="67" y="32"/>
                </a:moveTo>
                <a:cubicBezTo>
                  <a:pt x="68" y="32"/>
                  <a:pt x="69" y="33"/>
                  <a:pt x="69" y="35"/>
                </a:cubicBezTo>
                <a:cubicBezTo>
                  <a:pt x="69" y="36"/>
                  <a:pt x="68" y="37"/>
                  <a:pt x="67" y="37"/>
                </a:cubicBezTo>
                <a:cubicBezTo>
                  <a:pt x="65" y="37"/>
                  <a:pt x="64" y="36"/>
                  <a:pt x="64" y="35"/>
                </a:cubicBezTo>
                <a:cubicBezTo>
                  <a:pt x="64" y="33"/>
                  <a:pt x="65" y="32"/>
                  <a:pt x="67" y="32"/>
                </a:cubicBezTo>
                <a:close/>
                <a:moveTo>
                  <a:pt x="51" y="32"/>
                </a:moveTo>
                <a:cubicBezTo>
                  <a:pt x="52" y="32"/>
                  <a:pt x="53" y="33"/>
                  <a:pt x="53" y="35"/>
                </a:cubicBezTo>
                <a:cubicBezTo>
                  <a:pt x="53" y="36"/>
                  <a:pt x="52" y="37"/>
                  <a:pt x="51" y="37"/>
                </a:cubicBezTo>
                <a:cubicBezTo>
                  <a:pt x="49" y="37"/>
                  <a:pt x="48" y="36"/>
                  <a:pt x="48" y="35"/>
                </a:cubicBezTo>
                <a:cubicBezTo>
                  <a:pt x="48" y="33"/>
                  <a:pt x="49" y="32"/>
                  <a:pt x="51" y="32"/>
                </a:cubicBezTo>
                <a:close/>
                <a:moveTo>
                  <a:pt x="59" y="40"/>
                </a:moveTo>
                <a:cubicBezTo>
                  <a:pt x="60" y="40"/>
                  <a:pt x="61" y="41"/>
                  <a:pt x="61" y="43"/>
                </a:cubicBezTo>
                <a:cubicBezTo>
                  <a:pt x="61" y="44"/>
                  <a:pt x="60" y="45"/>
                  <a:pt x="59" y="45"/>
                </a:cubicBezTo>
                <a:cubicBezTo>
                  <a:pt x="57" y="45"/>
                  <a:pt x="56" y="44"/>
                  <a:pt x="56" y="43"/>
                </a:cubicBezTo>
                <a:cubicBezTo>
                  <a:pt x="56" y="41"/>
                  <a:pt x="57" y="40"/>
                  <a:pt x="59" y="40"/>
                </a:cubicBezTo>
                <a:close/>
                <a:moveTo>
                  <a:pt x="43" y="40"/>
                </a:moveTo>
                <a:cubicBezTo>
                  <a:pt x="44" y="40"/>
                  <a:pt x="45" y="41"/>
                  <a:pt x="45" y="43"/>
                </a:cubicBezTo>
                <a:cubicBezTo>
                  <a:pt x="45" y="44"/>
                  <a:pt x="44" y="45"/>
                  <a:pt x="43" y="45"/>
                </a:cubicBezTo>
                <a:cubicBezTo>
                  <a:pt x="41" y="45"/>
                  <a:pt x="40" y="44"/>
                  <a:pt x="40" y="43"/>
                </a:cubicBezTo>
                <a:cubicBezTo>
                  <a:pt x="40" y="41"/>
                  <a:pt x="41" y="40"/>
                  <a:pt x="43" y="40"/>
                </a:cubicBezTo>
                <a:close/>
                <a:moveTo>
                  <a:pt x="59" y="24"/>
                </a:moveTo>
                <a:cubicBezTo>
                  <a:pt x="60" y="24"/>
                  <a:pt x="61" y="25"/>
                  <a:pt x="61" y="27"/>
                </a:cubicBezTo>
                <a:cubicBezTo>
                  <a:pt x="61" y="28"/>
                  <a:pt x="60" y="29"/>
                  <a:pt x="59" y="29"/>
                </a:cubicBezTo>
                <a:cubicBezTo>
                  <a:pt x="57" y="29"/>
                  <a:pt x="56" y="28"/>
                  <a:pt x="56" y="27"/>
                </a:cubicBezTo>
                <a:cubicBezTo>
                  <a:pt x="56" y="25"/>
                  <a:pt x="57" y="24"/>
                  <a:pt x="59" y="24"/>
                </a:cubicBezTo>
                <a:close/>
                <a:moveTo>
                  <a:pt x="43" y="24"/>
                </a:moveTo>
                <a:cubicBezTo>
                  <a:pt x="44" y="24"/>
                  <a:pt x="45" y="25"/>
                  <a:pt x="45" y="27"/>
                </a:cubicBezTo>
                <a:cubicBezTo>
                  <a:pt x="45" y="28"/>
                  <a:pt x="44" y="29"/>
                  <a:pt x="43" y="29"/>
                </a:cubicBezTo>
                <a:cubicBezTo>
                  <a:pt x="41" y="29"/>
                  <a:pt x="40" y="28"/>
                  <a:pt x="40" y="27"/>
                </a:cubicBezTo>
                <a:cubicBezTo>
                  <a:pt x="40" y="25"/>
                  <a:pt x="41" y="24"/>
                  <a:pt x="43" y="24"/>
                </a:cubicBezTo>
                <a:close/>
                <a:moveTo>
                  <a:pt x="35" y="48"/>
                </a:moveTo>
                <a:cubicBezTo>
                  <a:pt x="36" y="48"/>
                  <a:pt x="37" y="49"/>
                  <a:pt x="37" y="51"/>
                </a:cubicBezTo>
                <a:cubicBezTo>
                  <a:pt x="37" y="52"/>
                  <a:pt x="36" y="53"/>
                  <a:pt x="35" y="53"/>
                </a:cubicBezTo>
                <a:cubicBezTo>
                  <a:pt x="33" y="53"/>
                  <a:pt x="32" y="52"/>
                  <a:pt x="32" y="51"/>
                </a:cubicBezTo>
                <a:cubicBezTo>
                  <a:pt x="32" y="49"/>
                  <a:pt x="33" y="48"/>
                  <a:pt x="35" y="48"/>
                </a:cubicBezTo>
                <a:close/>
                <a:moveTo>
                  <a:pt x="19" y="48"/>
                </a:moveTo>
                <a:cubicBezTo>
                  <a:pt x="20" y="48"/>
                  <a:pt x="21" y="49"/>
                  <a:pt x="21" y="51"/>
                </a:cubicBezTo>
                <a:cubicBezTo>
                  <a:pt x="21" y="52"/>
                  <a:pt x="20" y="53"/>
                  <a:pt x="19" y="53"/>
                </a:cubicBezTo>
                <a:cubicBezTo>
                  <a:pt x="17" y="53"/>
                  <a:pt x="16" y="52"/>
                  <a:pt x="16" y="51"/>
                </a:cubicBezTo>
                <a:cubicBezTo>
                  <a:pt x="16" y="49"/>
                  <a:pt x="17" y="48"/>
                  <a:pt x="19" y="48"/>
                </a:cubicBezTo>
                <a:close/>
                <a:moveTo>
                  <a:pt x="35" y="32"/>
                </a:moveTo>
                <a:cubicBezTo>
                  <a:pt x="36" y="32"/>
                  <a:pt x="37" y="33"/>
                  <a:pt x="37" y="35"/>
                </a:cubicBezTo>
                <a:cubicBezTo>
                  <a:pt x="37" y="36"/>
                  <a:pt x="36" y="37"/>
                  <a:pt x="35" y="37"/>
                </a:cubicBezTo>
                <a:cubicBezTo>
                  <a:pt x="33" y="37"/>
                  <a:pt x="32" y="36"/>
                  <a:pt x="32" y="35"/>
                </a:cubicBezTo>
                <a:cubicBezTo>
                  <a:pt x="32" y="33"/>
                  <a:pt x="33" y="32"/>
                  <a:pt x="35" y="32"/>
                </a:cubicBezTo>
                <a:close/>
                <a:moveTo>
                  <a:pt x="19" y="32"/>
                </a:moveTo>
                <a:cubicBezTo>
                  <a:pt x="20" y="32"/>
                  <a:pt x="21" y="33"/>
                  <a:pt x="21" y="35"/>
                </a:cubicBezTo>
                <a:cubicBezTo>
                  <a:pt x="21" y="36"/>
                  <a:pt x="20" y="37"/>
                  <a:pt x="19" y="37"/>
                </a:cubicBezTo>
                <a:cubicBezTo>
                  <a:pt x="17" y="37"/>
                  <a:pt x="16" y="36"/>
                  <a:pt x="16" y="35"/>
                </a:cubicBezTo>
                <a:cubicBezTo>
                  <a:pt x="16" y="33"/>
                  <a:pt x="17" y="32"/>
                  <a:pt x="19" y="32"/>
                </a:cubicBezTo>
                <a:close/>
                <a:moveTo>
                  <a:pt x="27" y="40"/>
                </a:moveTo>
                <a:cubicBezTo>
                  <a:pt x="28" y="40"/>
                  <a:pt x="29" y="41"/>
                  <a:pt x="29" y="43"/>
                </a:cubicBezTo>
                <a:cubicBezTo>
                  <a:pt x="29" y="44"/>
                  <a:pt x="28" y="45"/>
                  <a:pt x="27" y="45"/>
                </a:cubicBezTo>
                <a:cubicBezTo>
                  <a:pt x="25" y="45"/>
                  <a:pt x="24" y="44"/>
                  <a:pt x="24" y="43"/>
                </a:cubicBezTo>
                <a:cubicBezTo>
                  <a:pt x="24" y="41"/>
                  <a:pt x="25" y="40"/>
                  <a:pt x="27" y="40"/>
                </a:cubicBezTo>
                <a:close/>
                <a:moveTo>
                  <a:pt x="11" y="40"/>
                </a:moveTo>
                <a:cubicBezTo>
                  <a:pt x="12" y="40"/>
                  <a:pt x="13" y="41"/>
                  <a:pt x="13" y="43"/>
                </a:cubicBezTo>
                <a:cubicBezTo>
                  <a:pt x="13" y="44"/>
                  <a:pt x="12" y="45"/>
                  <a:pt x="11" y="45"/>
                </a:cubicBezTo>
                <a:cubicBezTo>
                  <a:pt x="9" y="45"/>
                  <a:pt x="8" y="44"/>
                  <a:pt x="8" y="43"/>
                </a:cubicBezTo>
                <a:cubicBezTo>
                  <a:pt x="8" y="41"/>
                  <a:pt x="9" y="40"/>
                  <a:pt x="11" y="40"/>
                </a:cubicBezTo>
                <a:close/>
                <a:moveTo>
                  <a:pt x="27" y="24"/>
                </a:moveTo>
                <a:cubicBezTo>
                  <a:pt x="28" y="24"/>
                  <a:pt x="29" y="25"/>
                  <a:pt x="29" y="27"/>
                </a:cubicBezTo>
                <a:cubicBezTo>
                  <a:pt x="29" y="28"/>
                  <a:pt x="28" y="29"/>
                  <a:pt x="27" y="29"/>
                </a:cubicBezTo>
                <a:cubicBezTo>
                  <a:pt x="25" y="29"/>
                  <a:pt x="24" y="28"/>
                  <a:pt x="24" y="27"/>
                </a:cubicBezTo>
                <a:cubicBezTo>
                  <a:pt x="24" y="25"/>
                  <a:pt x="25" y="24"/>
                  <a:pt x="27" y="24"/>
                </a:cubicBezTo>
                <a:close/>
                <a:moveTo>
                  <a:pt x="11" y="24"/>
                </a:moveTo>
                <a:cubicBezTo>
                  <a:pt x="12" y="24"/>
                  <a:pt x="13" y="25"/>
                  <a:pt x="13" y="27"/>
                </a:cubicBezTo>
                <a:cubicBezTo>
                  <a:pt x="13" y="28"/>
                  <a:pt x="12" y="29"/>
                  <a:pt x="11" y="29"/>
                </a:cubicBezTo>
                <a:cubicBezTo>
                  <a:pt x="9" y="29"/>
                  <a:pt x="8" y="28"/>
                  <a:pt x="8" y="27"/>
                </a:cubicBezTo>
                <a:cubicBezTo>
                  <a:pt x="8" y="25"/>
                  <a:pt x="9" y="24"/>
                  <a:pt x="11" y="24"/>
                </a:cubicBezTo>
                <a:close/>
                <a:moveTo>
                  <a:pt x="128" y="35"/>
                </a:moveTo>
                <a:cubicBezTo>
                  <a:pt x="128" y="51"/>
                  <a:pt x="128" y="51"/>
                  <a:pt x="128" y="51"/>
                </a:cubicBezTo>
                <a:cubicBezTo>
                  <a:pt x="128" y="52"/>
                  <a:pt x="127" y="53"/>
                  <a:pt x="125" y="53"/>
                </a:cubicBezTo>
                <a:cubicBezTo>
                  <a:pt x="124" y="53"/>
                  <a:pt x="123" y="52"/>
                  <a:pt x="123" y="51"/>
                </a:cubicBezTo>
                <a:cubicBezTo>
                  <a:pt x="123" y="35"/>
                  <a:pt x="123" y="35"/>
                  <a:pt x="123" y="35"/>
                </a:cubicBezTo>
                <a:cubicBezTo>
                  <a:pt x="123" y="33"/>
                  <a:pt x="124" y="32"/>
                  <a:pt x="125" y="32"/>
                </a:cubicBezTo>
                <a:cubicBezTo>
                  <a:pt x="127" y="32"/>
                  <a:pt x="128" y="33"/>
                  <a:pt x="128" y="35"/>
                </a:cubicBezTo>
                <a:close/>
                <a:moveTo>
                  <a:pt x="120" y="35"/>
                </a:moveTo>
                <a:cubicBezTo>
                  <a:pt x="120" y="51"/>
                  <a:pt x="120" y="51"/>
                  <a:pt x="120" y="51"/>
                </a:cubicBezTo>
                <a:cubicBezTo>
                  <a:pt x="120" y="52"/>
                  <a:pt x="119" y="53"/>
                  <a:pt x="117" y="53"/>
                </a:cubicBezTo>
                <a:cubicBezTo>
                  <a:pt x="116" y="53"/>
                  <a:pt x="115" y="52"/>
                  <a:pt x="115" y="51"/>
                </a:cubicBezTo>
                <a:cubicBezTo>
                  <a:pt x="115" y="35"/>
                  <a:pt x="115" y="35"/>
                  <a:pt x="115" y="35"/>
                </a:cubicBezTo>
                <a:cubicBezTo>
                  <a:pt x="115" y="33"/>
                  <a:pt x="116" y="32"/>
                  <a:pt x="117" y="32"/>
                </a:cubicBezTo>
                <a:cubicBezTo>
                  <a:pt x="119" y="32"/>
                  <a:pt x="120" y="33"/>
                  <a:pt x="120" y="35"/>
                </a:cubicBezTo>
                <a:close/>
                <a:moveTo>
                  <a:pt x="112" y="35"/>
                </a:moveTo>
                <a:cubicBezTo>
                  <a:pt x="112" y="51"/>
                  <a:pt x="112" y="51"/>
                  <a:pt x="112" y="51"/>
                </a:cubicBezTo>
                <a:cubicBezTo>
                  <a:pt x="112" y="52"/>
                  <a:pt x="111" y="53"/>
                  <a:pt x="109" y="53"/>
                </a:cubicBezTo>
                <a:cubicBezTo>
                  <a:pt x="108" y="53"/>
                  <a:pt x="107" y="52"/>
                  <a:pt x="107" y="51"/>
                </a:cubicBezTo>
                <a:cubicBezTo>
                  <a:pt x="107" y="35"/>
                  <a:pt x="107" y="35"/>
                  <a:pt x="107" y="35"/>
                </a:cubicBezTo>
                <a:cubicBezTo>
                  <a:pt x="107" y="33"/>
                  <a:pt x="108" y="32"/>
                  <a:pt x="109" y="32"/>
                </a:cubicBezTo>
                <a:cubicBezTo>
                  <a:pt x="111" y="32"/>
                  <a:pt x="112" y="33"/>
                  <a:pt x="112" y="3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34">
            <a:extLst>
              <a:ext uri="{FF2B5EF4-FFF2-40B4-BE49-F238E27FC236}">
                <a16:creationId xmlns:a16="http://schemas.microsoft.com/office/drawing/2014/main" id="{94FDE53C-AEF3-2E47-94AC-8D98C3719B0B}"/>
              </a:ext>
            </a:extLst>
          </p:cNvPr>
          <p:cNvSpPr>
            <a:spLocks noEditPoints="1"/>
          </p:cNvSpPr>
          <p:nvPr/>
        </p:nvSpPr>
        <p:spPr bwMode="auto">
          <a:xfrm>
            <a:off x="3741429" y="1762125"/>
            <a:ext cx="600075" cy="604838"/>
          </a:xfrm>
          <a:custGeom>
            <a:avLst/>
            <a:gdLst>
              <a:gd name="T0" fmla="*/ 0 w 160"/>
              <a:gd name="T1" fmla="*/ 20 h 160"/>
              <a:gd name="T2" fmla="*/ 140 w 160"/>
              <a:gd name="T3" fmla="*/ 160 h 160"/>
              <a:gd name="T4" fmla="*/ 140 w 160"/>
              <a:gd name="T5" fmla="*/ 0 h 160"/>
              <a:gd name="T6" fmla="*/ 20 w 160"/>
              <a:gd name="T7" fmla="*/ 155 h 160"/>
              <a:gd name="T8" fmla="*/ 20 w 160"/>
              <a:gd name="T9" fmla="*/ 5 h 160"/>
              <a:gd name="T10" fmla="*/ 155 w 160"/>
              <a:gd name="T11" fmla="*/ 140 h 160"/>
              <a:gd name="T12" fmla="*/ 13 w 160"/>
              <a:gd name="T13" fmla="*/ 45 h 160"/>
              <a:gd name="T14" fmla="*/ 147 w 160"/>
              <a:gd name="T15" fmla="*/ 45 h 160"/>
              <a:gd name="T16" fmla="*/ 19 w 160"/>
              <a:gd name="T17" fmla="*/ 45 h 160"/>
              <a:gd name="T18" fmla="*/ 88 w 160"/>
              <a:gd name="T19" fmla="*/ 45 h 160"/>
              <a:gd name="T20" fmla="*/ 117 w 160"/>
              <a:gd name="T21" fmla="*/ 69 h 160"/>
              <a:gd name="T22" fmla="*/ 141 w 160"/>
              <a:gd name="T23" fmla="*/ 45 h 160"/>
              <a:gd name="T24" fmla="*/ 43 w 160"/>
              <a:gd name="T25" fmla="*/ 85 h 160"/>
              <a:gd name="T26" fmla="*/ 117 w 160"/>
              <a:gd name="T27" fmla="*/ 144 h 160"/>
              <a:gd name="T28" fmla="*/ 19 w 160"/>
              <a:gd name="T29" fmla="*/ 115 h 160"/>
              <a:gd name="T30" fmla="*/ 43 w 160"/>
              <a:gd name="T31" fmla="*/ 139 h 160"/>
              <a:gd name="T32" fmla="*/ 141 w 160"/>
              <a:gd name="T33" fmla="*/ 115 h 160"/>
              <a:gd name="T34" fmla="*/ 136 w 160"/>
              <a:gd name="T35" fmla="*/ 120 h 160"/>
              <a:gd name="T36" fmla="*/ 125 w 160"/>
              <a:gd name="T37" fmla="*/ 137 h 160"/>
              <a:gd name="T38" fmla="*/ 120 w 160"/>
              <a:gd name="T39" fmla="*/ 136 h 160"/>
              <a:gd name="T40" fmla="*/ 107 w 160"/>
              <a:gd name="T41" fmla="*/ 139 h 160"/>
              <a:gd name="T42" fmla="*/ 59 w 160"/>
              <a:gd name="T43" fmla="*/ 139 h 160"/>
              <a:gd name="T44" fmla="*/ 69 w 160"/>
              <a:gd name="T45" fmla="*/ 96 h 160"/>
              <a:gd name="T46" fmla="*/ 59 w 160"/>
              <a:gd name="T47" fmla="*/ 91 h 160"/>
              <a:gd name="T48" fmla="*/ 128 w 160"/>
              <a:gd name="T49" fmla="*/ 96 h 160"/>
              <a:gd name="T50" fmla="*/ 137 w 160"/>
              <a:gd name="T51" fmla="*/ 102 h 160"/>
              <a:gd name="T52" fmla="*/ 140 w 160"/>
              <a:gd name="T53" fmla="*/ 106 h 160"/>
              <a:gd name="T54" fmla="*/ 75 w 160"/>
              <a:gd name="T55" fmla="*/ 107 h 160"/>
              <a:gd name="T56" fmla="*/ 83 w 160"/>
              <a:gd name="T57" fmla="*/ 93 h 160"/>
              <a:gd name="T58" fmla="*/ 80 w 160"/>
              <a:gd name="T59" fmla="*/ 96 h 160"/>
              <a:gd name="T60" fmla="*/ 101 w 160"/>
              <a:gd name="T61" fmla="*/ 96 h 160"/>
              <a:gd name="T62" fmla="*/ 99 w 160"/>
              <a:gd name="T63" fmla="*/ 93 h 160"/>
              <a:gd name="T64" fmla="*/ 91 w 160"/>
              <a:gd name="T65" fmla="*/ 107 h 160"/>
              <a:gd name="T66" fmla="*/ 107 w 160"/>
              <a:gd name="T67" fmla="*/ 101 h 160"/>
              <a:gd name="T68" fmla="*/ 104 w 160"/>
              <a:gd name="T69" fmla="*/ 104 h 160"/>
              <a:gd name="T70" fmla="*/ 117 w 160"/>
              <a:gd name="T71" fmla="*/ 96 h 160"/>
              <a:gd name="T72" fmla="*/ 115 w 160"/>
              <a:gd name="T73" fmla="*/ 93 h 160"/>
              <a:gd name="T74" fmla="*/ 123 w 160"/>
              <a:gd name="T75" fmla="*/ 107 h 160"/>
              <a:gd name="T76" fmla="*/ 75 w 160"/>
              <a:gd name="T77" fmla="*/ 117 h 160"/>
              <a:gd name="T78" fmla="*/ 72 w 160"/>
              <a:gd name="T79" fmla="*/ 120 h 160"/>
              <a:gd name="T80" fmla="*/ 77 w 160"/>
              <a:gd name="T81" fmla="*/ 136 h 160"/>
              <a:gd name="T82" fmla="*/ 75 w 160"/>
              <a:gd name="T83" fmla="*/ 133 h 160"/>
              <a:gd name="T84" fmla="*/ 83 w 160"/>
              <a:gd name="T85" fmla="*/ 115 h 160"/>
              <a:gd name="T86" fmla="*/ 99 w 160"/>
              <a:gd name="T87" fmla="*/ 109 h 160"/>
              <a:gd name="T88" fmla="*/ 96 w 160"/>
              <a:gd name="T89" fmla="*/ 112 h 160"/>
              <a:gd name="T90" fmla="*/ 85 w 160"/>
              <a:gd name="T91" fmla="*/ 128 h 160"/>
              <a:gd name="T92" fmla="*/ 83 w 160"/>
              <a:gd name="T93" fmla="*/ 125 h 160"/>
              <a:gd name="T94" fmla="*/ 99 w 160"/>
              <a:gd name="T95" fmla="*/ 131 h 160"/>
              <a:gd name="T96" fmla="*/ 91 w 160"/>
              <a:gd name="T97" fmla="*/ 117 h 160"/>
              <a:gd name="T98" fmla="*/ 88 w 160"/>
              <a:gd name="T99" fmla="*/ 120 h 160"/>
              <a:gd name="T100" fmla="*/ 109 w 160"/>
              <a:gd name="T101" fmla="*/ 120 h 160"/>
              <a:gd name="T102" fmla="*/ 107 w 160"/>
              <a:gd name="T103" fmla="*/ 117 h 160"/>
              <a:gd name="T104" fmla="*/ 91 w 160"/>
              <a:gd name="T105" fmla="*/ 139 h 160"/>
              <a:gd name="T106" fmla="*/ 107 w 160"/>
              <a:gd name="T107" fmla="*/ 133 h 160"/>
              <a:gd name="T108" fmla="*/ 104 w 160"/>
              <a:gd name="T109" fmla="*/ 136 h 160"/>
              <a:gd name="T110" fmla="*/ 117 w 160"/>
              <a:gd name="T111" fmla="*/ 112 h 160"/>
              <a:gd name="T112" fmla="*/ 115 w 160"/>
              <a:gd name="T113" fmla="*/ 109 h 160"/>
              <a:gd name="T114" fmla="*/ 131 w 160"/>
              <a:gd name="T115" fmla="*/ 115 h 160"/>
              <a:gd name="T116" fmla="*/ 115 w 160"/>
              <a:gd name="T117" fmla="*/ 125 h 160"/>
              <a:gd name="T118" fmla="*/ 112 w 160"/>
              <a:gd name="T119" fmla="*/ 128 h 160"/>
              <a:gd name="T120" fmla="*/ 133 w 160"/>
              <a:gd name="T121" fmla="*/ 128 h 160"/>
              <a:gd name="T122" fmla="*/ 131 w 160"/>
              <a:gd name="T123" fmla="*/ 125 h 160"/>
              <a:gd name="T124" fmla="*/ 123 w 160"/>
              <a:gd name="T125"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160">
                <a:moveTo>
                  <a:pt x="140" y="0"/>
                </a:moveTo>
                <a:cubicBezTo>
                  <a:pt x="20" y="0"/>
                  <a:pt x="20" y="0"/>
                  <a:pt x="20" y="0"/>
                </a:cubicBezTo>
                <a:cubicBezTo>
                  <a:pt x="9" y="0"/>
                  <a:pt x="0" y="9"/>
                  <a:pt x="0" y="20"/>
                </a:cubicBezTo>
                <a:cubicBezTo>
                  <a:pt x="0" y="140"/>
                  <a:pt x="0" y="140"/>
                  <a:pt x="0" y="140"/>
                </a:cubicBezTo>
                <a:cubicBezTo>
                  <a:pt x="0" y="151"/>
                  <a:pt x="9" y="160"/>
                  <a:pt x="20" y="160"/>
                </a:cubicBezTo>
                <a:cubicBezTo>
                  <a:pt x="140" y="160"/>
                  <a:pt x="140" y="160"/>
                  <a:pt x="140" y="160"/>
                </a:cubicBezTo>
                <a:cubicBezTo>
                  <a:pt x="151" y="160"/>
                  <a:pt x="160" y="151"/>
                  <a:pt x="160" y="140"/>
                </a:cubicBezTo>
                <a:cubicBezTo>
                  <a:pt x="160" y="20"/>
                  <a:pt x="160" y="20"/>
                  <a:pt x="160" y="20"/>
                </a:cubicBezTo>
                <a:cubicBezTo>
                  <a:pt x="160" y="9"/>
                  <a:pt x="151" y="0"/>
                  <a:pt x="140" y="0"/>
                </a:cubicBezTo>
                <a:close/>
                <a:moveTo>
                  <a:pt x="155" y="140"/>
                </a:moveTo>
                <a:cubicBezTo>
                  <a:pt x="155" y="148"/>
                  <a:pt x="148" y="155"/>
                  <a:pt x="140" y="155"/>
                </a:cubicBezTo>
                <a:cubicBezTo>
                  <a:pt x="20" y="155"/>
                  <a:pt x="20" y="155"/>
                  <a:pt x="20" y="155"/>
                </a:cubicBezTo>
                <a:cubicBezTo>
                  <a:pt x="12" y="155"/>
                  <a:pt x="5" y="148"/>
                  <a:pt x="5" y="140"/>
                </a:cubicBezTo>
                <a:cubicBezTo>
                  <a:pt x="5" y="20"/>
                  <a:pt x="5" y="20"/>
                  <a:pt x="5" y="20"/>
                </a:cubicBezTo>
                <a:cubicBezTo>
                  <a:pt x="5" y="12"/>
                  <a:pt x="12" y="5"/>
                  <a:pt x="20" y="5"/>
                </a:cubicBezTo>
                <a:cubicBezTo>
                  <a:pt x="140" y="5"/>
                  <a:pt x="140" y="5"/>
                  <a:pt x="140" y="5"/>
                </a:cubicBezTo>
                <a:cubicBezTo>
                  <a:pt x="148" y="5"/>
                  <a:pt x="155" y="12"/>
                  <a:pt x="155" y="20"/>
                </a:cubicBezTo>
                <a:lnTo>
                  <a:pt x="155" y="140"/>
                </a:lnTo>
                <a:close/>
                <a:moveTo>
                  <a:pt x="117" y="16"/>
                </a:moveTo>
                <a:cubicBezTo>
                  <a:pt x="43" y="16"/>
                  <a:pt x="43" y="16"/>
                  <a:pt x="43" y="16"/>
                </a:cubicBezTo>
                <a:cubicBezTo>
                  <a:pt x="26" y="16"/>
                  <a:pt x="13" y="29"/>
                  <a:pt x="13" y="45"/>
                </a:cubicBezTo>
                <a:cubicBezTo>
                  <a:pt x="13" y="62"/>
                  <a:pt x="26" y="75"/>
                  <a:pt x="43" y="75"/>
                </a:cubicBezTo>
                <a:cubicBezTo>
                  <a:pt x="117" y="75"/>
                  <a:pt x="117" y="75"/>
                  <a:pt x="117" y="75"/>
                </a:cubicBezTo>
                <a:cubicBezTo>
                  <a:pt x="134" y="75"/>
                  <a:pt x="147" y="62"/>
                  <a:pt x="147" y="45"/>
                </a:cubicBezTo>
                <a:cubicBezTo>
                  <a:pt x="147" y="29"/>
                  <a:pt x="134" y="16"/>
                  <a:pt x="117" y="16"/>
                </a:cubicBezTo>
                <a:close/>
                <a:moveTo>
                  <a:pt x="43" y="69"/>
                </a:moveTo>
                <a:cubicBezTo>
                  <a:pt x="29" y="69"/>
                  <a:pt x="19" y="59"/>
                  <a:pt x="19" y="45"/>
                </a:cubicBezTo>
                <a:cubicBezTo>
                  <a:pt x="19" y="32"/>
                  <a:pt x="29" y="21"/>
                  <a:pt x="43" y="21"/>
                </a:cubicBezTo>
                <a:cubicBezTo>
                  <a:pt x="101" y="21"/>
                  <a:pt x="101" y="21"/>
                  <a:pt x="101" y="21"/>
                </a:cubicBezTo>
                <a:cubicBezTo>
                  <a:pt x="93" y="27"/>
                  <a:pt x="88" y="35"/>
                  <a:pt x="88" y="45"/>
                </a:cubicBezTo>
                <a:cubicBezTo>
                  <a:pt x="88" y="55"/>
                  <a:pt x="93" y="64"/>
                  <a:pt x="101" y="69"/>
                </a:cubicBezTo>
                <a:lnTo>
                  <a:pt x="43" y="69"/>
                </a:lnTo>
                <a:close/>
                <a:moveTo>
                  <a:pt x="117" y="69"/>
                </a:moveTo>
                <a:cubicBezTo>
                  <a:pt x="104" y="69"/>
                  <a:pt x="93" y="59"/>
                  <a:pt x="93" y="45"/>
                </a:cubicBezTo>
                <a:cubicBezTo>
                  <a:pt x="93" y="32"/>
                  <a:pt x="104" y="21"/>
                  <a:pt x="117" y="21"/>
                </a:cubicBezTo>
                <a:cubicBezTo>
                  <a:pt x="131" y="21"/>
                  <a:pt x="141" y="32"/>
                  <a:pt x="141" y="45"/>
                </a:cubicBezTo>
                <a:cubicBezTo>
                  <a:pt x="141" y="59"/>
                  <a:pt x="131" y="69"/>
                  <a:pt x="117" y="69"/>
                </a:cubicBezTo>
                <a:close/>
                <a:moveTo>
                  <a:pt x="117" y="85"/>
                </a:moveTo>
                <a:cubicBezTo>
                  <a:pt x="43" y="85"/>
                  <a:pt x="43" y="85"/>
                  <a:pt x="43" y="85"/>
                </a:cubicBezTo>
                <a:cubicBezTo>
                  <a:pt x="26" y="85"/>
                  <a:pt x="13" y="98"/>
                  <a:pt x="13" y="115"/>
                </a:cubicBezTo>
                <a:cubicBezTo>
                  <a:pt x="13" y="131"/>
                  <a:pt x="26" y="144"/>
                  <a:pt x="43" y="144"/>
                </a:cubicBezTo>
                <a:cubicBezTo>
                  <a:pt x="117" y="144"/>
                  <a:pt x="117" y="144"/>
                  <a:pt x="117" y="144"/>
                </a:cubicBezTo>
                <a:cubicBezTo>
                  <a:pt x="134" y="144"/>
                  <a:pt x="147" y="131"/>
                  <a:pt x="147" y="115"/>
                </a:cubicBezTo>
                <a:cubicBezTo>
                  <a:pt x="147" y="98"/>
                  <a:pt x="134" y="85"/>
                  <a:pt x="117" y="85"/>
                </a:cubicBezTo>
                <a:close/>
                <a:moveTo>
                  <a:pt x="19" y="115"/>
                </a:moveTo>
                <a:cubicBezTo>
                  <a:pt x="19" y="101"/>
                  <a:pt x="29" y="91"/>
                  <a:pt x="43" y="91"/>
                </a:cubicBezTo>
                <a:cubicBezTo>
                  <a:pt x="56" y="91"/>
                  <a:pt x="67" y="101"/>
                  <a:pt x="67" y="115"/>
                </a:cubicBezTo>
                <a:cubicBezTo>
                  <a:pt x="67" y="128"/>
                  <a:pt x="56" y="139"/>
                  <a:pt x="43" y="139"/>
                </a:cubicBezTo>
                <a:cubicBezTo>
                  <a:pt x="29" y="139"/>
                  <a:pt x="19" y="128"/>
                  <a:pt x="19" y="115"/>
                </a:cubicBezTo>
                <a:close/>
                <a:moveTo>
                  <a:pt x="140" y="106"/>
                </a:moveTo>
                <a:cubicBezTo>
                  <a:pt x="141" y="109"/>
                  <a:pt x="141" y="112"/>
                  <a:pt x="141" y="115"/>
                </a:cubicBezTo>
                <a:cubicBezTo>
                  <a:pt x="141" y="116"/>
                  <a:pt x="141" y="117"/>
                  <a:pt x="141" y="119"/>
                </a:cubicBezTo>
                <a:cubicBezTo>
                  <a:pt x="141" y="118"/>
                  <a:pt x="140" y="117"/>
                  <a:pt x="139" y="117"/>
                </a:cubicBezTo>
                <a:cubicBezTo>
                  <a:pt x="137" y="117"/>
                  <a:pt x="136" y="119"/>
                  <a:pt x="136" y="120"/>
                </a:cubicBezTo>
                <a:cubicBezTo>
                  <a:pt x="136" y="121"/>
                  <a:pt x="137" y="123"/>
                  <a:pt x="139" y="123"/>
                </a:cubicBezTo>
                <a:cubicBezTo>
                  <a:pt x="139" y="123"/>
                  <a:pt x="140" y="122"/>
                  <a:pt x="140" y="122"/>
                </a:cubicBezTo>
                <a:cubicBezTo>
                  <a:pt x="138" y="129"/>
                  <a:pt x="132" y="135"/>
                  <a:pt x="125" y="137"/>
                </a:cubicBezTo>
                <a:cubicBezTo>
                  <a:pt x="125" y="137"/>
                  <a:pt x="125" y="137"/>
                  <a:pt x="125" y="136"/>
                </a:cubicBezTo>
                <a:cubicBezTo>
                  <a:pt x="125" y="135"/>
                  <a:pt x="124" y="133"/>
                  <a:pt x="123" y="133"/>
                </a:cubicBezTo>
                <a:cubicBezTo>
                  <a:pt x="121" y="133"/>
                  <a:pt x="120" y="135"/>
                  <a:pt x="120" y="136"/>
                </a:cubicBezTo>
                <a:cubicBezTo>
                  <a:pt x="120" y="137"/>
                  <a:pt x="121" y="138"/>
                  <a:pt x="121" y="138"/>
                </a:cubicBezTo>
                <a:cubicBezTo>
                  <a:pt x="120" y="139"/>
                  <a:pt x="119" y="139"/>
                  <a:pt x="117" y="139"/>
                </a:cubicBezTo>
                <a:cubicBezTo>
                  <a:pt x="107" y="139"/>
                  <a:pt x="107" y="139"/>
                  <a:pt x="107" y="139"/>
                </a:cubicBezTo>
                <a:cubicBezTo>
                  <a:pt x="91" y="139"/>
                  <a:pt x="91" y="139"/>
                  <a:pt x="91" y="139"/>
                </a:cubicBezTo>
                <a:cubicBezTo>
                  <a:pt x="75" y="139"/>
                  <a:pt x="75" y="139"/>
                  <a:pt x="75" y="139"/>
                </a:cubicBezTo>
                <a:cubicBezTo>
                  <a:pt x="59" y="139"/>
                  <a:pt x="59" y="139"/>
                  <a:pt x="59" y="139"/>
                </a:cubicBezTo>
                <a:cubicBezTo>
                  <a:pt x="67" y="133"/>
                  <a:pt x="72" y="125"/>
                  <a:pt x="72" y="115"/>
                </a:cubicBezTo>
                <a:cubicBezTo>
                  <a:pt x="72" y="109"/>
                  <a:pt x="70" y="103"/>
                  <a:pt x="67" y="99"/>
                </a:cubicBezTo>
                <a:cubicBezTo>
                  <a:pt x="68" y="98"/>
                  <a:pt x="69" y="97"/>
                  <a:pt x="69" y="96"/>
                </a:cubicBezTo>
                <a:cubicBezTo>
                  <a:pt x="69" y="95"/>
                  <a:pt x="68" y="93"/>
                  <a:pt x="67" y="93"/>
                </a:cubicBezTo>
                <a:cubicBezTo>
                  <a:pt x="66" y="93"/>
                  <a:pt x="65" y="94"/>
                  <a:pt x="64" y="95"/>
                </a:cubicBezTo>
                <a:cubicBezTo>
                  <a:pt x="63" y="93"/>
                  <a:pt x="61" y="92"/>
                  <a:pt x="59" y="91"/>
                </a:cubicBezTo>
                <a:cubicBezTo>
                  <a:pt x="117" y="91"/>
                  <a:pt x="117" y="91"/>
                  <a:pt x="117" y="91"/>
                </a:cubicBezTo>
                <a:cubicBezTo>
                  <a:pt x="122" y="91"/>
                  <a:pt x="126" y="92"/>
                  <a:pt x="129" y="94"/>
                </a:cubicBezTo>
                <a:cubicBezTo>
                  <a:pt x="128" y="94"/>
                  <a:pt x="128" y="95"/>
                  <a:pt x="128" y="96"/>
                </a:cubicBezTo>
                <a:cubicBezTo>
                  <a:pt x="128" y="97"/>
                  <a:pt x="129" y="99"/>
                  <a:pt x="131" y="99"/>
                </a:cubicBezTo>
                <a:cubicBezTo>
                  <a:pt x="132" y="99"/>
                  <a:pt x="133" y="98"/>
                  <a:pt x="133" y="97"/>
                </a:cubicBezTo>
                <a:cubicBezTo>
                  <a:pt x="135" y="98"/>
                  <a:pt x="136" y="100"/>
                  <a:pt x="137" y="102"/>
                </a:cubicBezTo>
                <a:cubicBezTo>
                  <a:pt x="137" y="102"/>
                  <a:pt x="136" y="103"/>
                  <a:pt x="136" y="104"/>
                </a:cubicBezTo>
                <a:cubicBezTo>
                  <a:pt x="136" y="105"/>
                  <a:pt x="137" y="107"/>
                  <a:pt x="139" y="107"/>
                </a:cubicBezTo>
                <a:cubicBezTo>
                  <a:pt x="139" y="107"/>
                  <a:pt x="139" y="107"/>
                  <a:pt x="140" y="106"/>
                </a:cubicBezTo>
                <a:close/>
                <a:moveTo>
                  <a:pt x="75" y="101"/>
                </a:moveTo>
                <a:cubicBezTo>
                  <a:pt x="76" y="101"/>
                  <a:pt x="77" y="103"/>
                  <a:pt x="77" y="104"/>
                </a:cubicBezTo>
                <a:cubicBezTo>
                  <a:pt x="77" y="105"/>
                  <a:pt x="76" y="107"/>
                  <a:pt x="75" y="107"/>
                </a:cubicBezTo>
                <a:cubicBezTo>
                  <a:pt x="73" y="107"/>
                  <a:pt x="72" y="105"/>
                  <a:pt x="72" y="104"/>
                </a:cubicBezTo>
                <a:cubicBezTo>
                  <a:pt x="72" y="103"/>
                  <a:pt x="73" y="101"/>
                  <a:pt x="75" y="101"/>
                </a:cubicBezTo>
                <a:close/>
                <a:moveTo>
                  <a:pt x="83" y="93"/>
                </a:moveTo>
                <a:cubicBezTo>
                  <a:pt x="84" y="93"/>
                  <a:pt x="85" y="95"/>
                  <a:pt x="85" y="96"/>
                </a:cubicBezTo>
                <a:cubicBezTo>
                  <a:pt x="85" y="97"/>
                  <a:pt x="84" y="99"/>
                  <a:pt x="83" y="99"/>
                </a:cubicBezTo>
                <a:cubicBezTo>
                  <a:pt x="81" y="99"/>
                  <a:pt x="80" y="97"/>
                  <a:pt x="80" y="96"/>
                </a:cubicBezTo>
                <a:cubicBezTo>
                  <a:pt x="80" y="95"/>
                  <a:pt x="81" y="93"/>
                  <a:pt x="83" y="93"/>
                </a:cubicBezTo>
                <a:close/>
                <a:moveTo>
                  <a:pt x="99" y="93"/>
                </a:moveTo>
                <a:cubicBezTo>
                  <a:pt x="100" y="93"/>
                  <a:pt x="101" y="95"/>
                  <a:pt x="101" y="96"/>
                </a:cubicBezTo>
                <a:cubicBezTo>
                  <a:pt x="101" y="97"/>
                  <a:pt x="100" y="99"/>
                  <a:pt x="99" y="99"/>
                </a:cubicBezTo>
                <a:cubicBezTo>
                  <a:pt x="97" y="99"/>
                  <a:pt x="96" y="97"/>
                  <a:pt x="96" y="96"/>
                </a:cubicBezTo>
                <a:cubicBezTo>
                  <a:pt x="96" y="95"/>
                  <a:pt x="97" y="93"/>
                  <a:pt x="99" y="93"/>
                </a:cubicBezTo>
                <a:close/>
                <a:moveTo>
                  <a:pt x="91" y="101"/>
                </a:moveTo>
                <a:cubicBezTo>
                  <a:pt x="92" y="101"/>
                  <a:pt x="93" y="103"/>
                  <a:pt x="93" y="104"/>
                </a:cubicBezTo>
                <a:cubicBezTo>
                  <a:pt x="93" y="105"/>
                  <a:pt x="92" y="107"/>
                  <a:pt x="91" y="107"/>
                </a:cubicBezTo>
                <a:cubicBezTo>
                  <a:pt x="89" y="107"/>
                  <a:pt x="88" y="105"/>
                  <a:pt x="88" y="104"/>
                </a:cubicBezTo>
                <a:cubicBezTo>
                  <a:pt x="88" y="103"/>
                  <a:pt x="89" y="101"/>
                  <a:pt x="91" y="101"/>
                </a:cubicBezTo>
                <a:close/>
                <a:moveTo>
                  <a:pt x="107" y="101"/>
                </a:moveTo>
                <a:cubicBezTo>
                  <a:pt x="108" y="101"/>
                  <a:pt x="109" y="103"/>
                  <a:pt x="109" y="104"/>
                </a:cubicBezTo>
                <a:cubicBezTo>
                  <a:pt x="109" y="105"/>
                  <a:pt x="108" y="107"/>
                  <a:pt x="107" y="107"/>
                </a:cubicBezTo>
                <a:cubicBezTo>
                  <a:pt x="105" y="107"/>
                  <a:pt x="104" y="105"/>
                  <a:pt x="104" y="104"/>
                </a:cubicBezTo>
                <a:cubicBezTo>
                  <a:pt x="104" y="103"/>
                  <a:pt x="105" y="101"/>
                  <a:pt x="107" y="101"/>
                </a:cubicBezTo>
                <a:close/>
                <a:moveTo>
                  <a:pt x="115" y="93"/>
                </a:moveTo>
                <a:cubicBezTo>
                  <a:pt x="116" y="93"/>
                  <a:pt x="117" y="95"/>
                  <a:pt x="117" y="96"/>
                </a:cubicBezTo>
                <a:cubicBezTo>
                  <a:pt x="117" y="97"/>
                  <a:pt x="116" y="99"/>
                  <a:pt x="115" y="99"/>
                </a:cubicBezTo>
                <a:cubicBezTo>
                  <a:pt x="113" y="99"/>
                  <a:pt x="112" y="97"/>
                  <a:pt x="112" y="96"/>
                </a:cubicBezTo>
                <a:cubicBezTo>
                  <a:pt x="112" y="95"/>
                  <a:pt x="113" y="93"/>
                  <a:pt x="115" y="93"/>
                </a:cubicBezTo>
                <a:close/>
                <a:moveTo>
                  <a:pt x="123" y="101"/>
                </a:moveTo>
                <a:cubicBezTo>
                  <a:pt x="124" y="101"/>
                  <a:pt x="125" y="103"/>
                  <a:pt x="125" y="104"/>
                </a:cubicBezTo>
                <a:cubicBezTo>
                  <a:pt x="125" y="105"/>
                  <a:pt x="124" y="107"/>
                  <a:pt x="123" y="107"/>
                </a:cubicBezTo>
                <a:cubicBezTo>
                  <a:pt x="121" y="107"/>
                  <a:pt x="120" y="105"/>
                  <a:pt x="120" y="104"/>
                </a:cubicBezTo>
                <a:cubicBezTo>
                  <a:pt x="120" y="103"/>
                  <a:pt x="121" y="101"/>
                  <a:pt x="123" y="101"/>
                </a:cubicBezTo>
                <a:close/>
                <a:moveTo>
                  <a:pt x="75" y="117"/>
                </a:moveTo>
                <a:cubicBezTo>
                  <a:pt x="76" y="117"/>
                  <a:pt x="77" y="119"/>
                  <a:pt x="77" y="120"/>
                </a:cubicBezTo>
                <a:cubicBezTo>
                  <a:pt x="77" y="121"/>
                  <a:pt x="76" y="123"/>
                  <a:pt x="75" y="123"/>
                </a:cubicBezTo>
                <a:cubicBezTo>
                  <a:pt x="73" y="123"/>
                  <a:pt x="72" y="121"/>
                  <a:pt x="72" y="120"/>
                </a:cubicBezTo>
                <a:cubicBezTo>
                  <a:pt x="72" y="119"/>
                  <a:pt x="73" y="117"/>
                  <a:pt x="75" y="117"/>
                </a:cubicBezTo>
                <a:close/>
                <a:moveTo>
                  <a:pt x="75" y="133"/>
                </a:moveTo>
                <a:cubicBezTo>
                  <a:pt x="76" y="133"/>
                  <a:pt x="77" y="135"/>
                  <a:pt x="77" y="136"/>
                </a:cubicBezTo>
                <a:cubicBezTo>
                  <a:pt x="77" y="137"/>
                  <a:pt x="76" y="139"/>
                  <a:pt x="75" y="139"/>
                </a:cubicBezTo>
                <a:cubicBezTo>
                  <a:pt x="73" y="139"/>
                  <a:pt x="72" y="137"/>
                  <a:pt x="72" y="136"/>
                </a:cubicBezTo>
                <a:cubicBezTo>
                  <a:pt x="72" y="135"/>
                  <a:pt x="73" y="133"/>
                  <a:pt x="75" y="133"/>
                </a:cubicBezTo>
                <a:close/>
                <a:moveTo>
                  <a:pt x="83" y="109"/>
                </a:moveTo>
                <a:cubicBezTo>
                  <a:pt x="84" y="109"/>
                  <a:pt x="85" y="111"/>
                  <a:pt x="85" y="112"/>
                </a:cubicBezTo>
                <a:cubicBezTo>
                  <a:pt x="85" y="113"/>
                  <a:pt x="84" y="115"/>
                  <a:pt x="83" y="115"/>
                </a:cubicBezTo>
                <a:cubicBezTo>
                  <a:pt x="81" y="115"/>
                  <a:pt x="80" y="113"/>
                  <a:pt x="80" y="112"/>
                </a:cubicBezTo>
                <a:cubicBezTo>
                  <a:pt x="80" y="111"/>
                  <a:pt x="81" y="109"/>
                  <a:pt x="83" y="109"/>
                </a:cubicBezTo>
                <a:close/>
                <a:moveTo>
                  <a:pt x="99" y="109"/>
                </a:moveTo>
                <a:cubicBezTo>
                  <a:pt x="100" y="109"/>
                  <a:pt x="101" y="111"/>
                  <a:pt x="101" y="112"/>
                </a:cubicBezTo>
                <a:cubicBezTo>
                  <a:pt x="101" y="113"/>
                  <a:pt x="100" y="115"/>
                  <a:pt x="99" y="115"/>
                </a:cubicBezTo>
                <a:cubicBezTo>
                  <a:pt x="97" y="115"/>
                  <a:pt x="96" y="113"/>
                  <a:pt x="96" y="112"/>
                </a:cubicBezTo>
                <a:cubicBezTo>
                  <a:pt x="96" y="111"/>
                  <a:pt x="97" y="109"/>
                  <a:pt x="99" y="109"/>
                </a:cubicBezTo>
                <a:close/>
                <a:moveTo>
                  <a:pt x="83" y="125"/>
                </a:moveTo>
                <a:cubicBezTo>
                  <a:pt x="84" y="125"/>
                  <a:pt x="85" y="127"/>
                  <a:pt x="85" y="128"/>
                </a:cubicBezTo>
                <a:cubicBezTo>
                  <a:pt x="85" y="129"/>
                  <a:pt x="84" y="131"/>
                  <a:pt x="83" y="131"/>
                </a:cubicBezTo>
                <a:cubicBezTo>
                  <a:pt x="81" y="131"/>
                  <a:pt x="80" y="129"/>
                  <a:pt x="80" y="128"/>
                </a:cubicBezTo>
                <a:cubicBezTo>
                  <a:pt x="80" y="127"/>
                  <a:pt x="81" y="125"/>
                  <a:pt x="83" y="125"/>
                </a:cubicBezTo>
                <a:close/>
                <a:moveTo>
                  <a:pt x="99" y="125"/>
                </a:moveTo>
                <a:cubicBezTo>
                  <a:pt x="100" y="125"/>
                  <a:pt x="101" y="127"/>
                  <a:pt x="101" y="128"/>
                </a:cubicBezTo>
                <a:cubicBezTo>
                  <a:pt x="101" y="129"/>
                  <a:pt x="100" y="131"/>
                  <a:pt x="99" y="131"/>
                </a:cubicBezTo>
                <a:cubicBezTo>
                  <a:pt x="97" y="131"/>
                  <a:pt x="96" y="129"/>
                  <a:pt x="96" y="128"/>
                </a:cubicBezTo>
                <a:cubicBezTo>
                  <a:pt x="96" y="127"/>
                  <a:pt x="97" y="125"/>
                  <a:pt x="99" y="125"/>
                </a:cubicBezTo>
                <a:close/>
                <a:moveTo>
                  <a:pt x="91" y="117"/>
                </a:moveTo>
                <a:cubicBezTo>
                  <a:pt x="92" y="117"/>
                  <a:pt x="93" y="119"/>
                  <a:pt x="93" y="120"/>
                </a:cubicBezTo>
                <a:cubicBezTo>
                  <a:pt x="93" y="121"/>
                  <a:pt x="92" y="123"/>
                  <a:pt x="91" y="123"/>
                </a:cubicBezTo>
                <a:cubicBezTo>
                  <a:pt x="89" y="123"/>
                  <a:pt x="88" y="121"/>
                  <a:pt x="88" y="120"/>
                </a:cubicBezTo>
                <a:cubicBezTo>
                  <a:pt x="88" y="119"/>
                  <a:pt x="89" y="117"/>
                  <a:pt x="91" y="117"/>
                </a:cubicBezTo>
                <a:close/>
                <a:moveTo>
                  <a:pt x="107" y="117"/>
                </a:moveTo>
                <a:cubicBezTo>
                  <a:pt x="108" y="117"/>
                  <a:pt x="109" y="119"/>
                  <a:pt x="109" y="120"/>
                </a:cubicBezTo>
                <a:cubicBezTo>
                  <a:pt x="109" y="121"/>
                  <a:pt x="108" y="123"/>
                  <a:pt x="107" y="123"/>
                </a:cubicBezTo>
                <a:cubicBezTo>
                  <a:pt x="105" y="123"/>
                  <a:pt x="104" y="121"/>
                  <a:pt x="104" y="120"/>
                </a:cubicBezTo>
                <a:cubicBezTo>
                  <a:pt x="104" y="119"/>
                  <a:pt x="105" y="117"/>
                  <a:pt x="107" y="117"/>
                </a:cubicBezTo>
                <a:close/>
                <a:moveTo>
                  <a:pt x="91" y="133"/>
                </a:moveTo>
                <a:cubicBezTo>
                  <a:pt x="92" y="133"/>
                  <a:pt x="93" y="135"/>
                  <a:pt x="93" y="136"/>
                </a:cubicBezTo>
                <a:cubicBezTo>
                  <a:pt x="93" y="137"/>
                  <a:pt x="92" y="139"/>
                  <a:pt x="91" y="139"/>
                </a:cubicBezTo>
                <a:cubicBezTo>
                  <a:pt x="89" y="139"/>
                  <a:pt x="88" y="137"/>
                  <a:pt x="88" y="136"/>
                </a:cubicBezTo>
                <a:cubicBezTo>
                  <a:pt x="88" y="135"/>
                  <a:pt x="89" y="133"/>
                  <a:pt x="91" y="133"/>
                </a:cubicBezTo>
                <a:close/>
                <a:moveTo>
                  <a:pt x="107" y="133"/>
                </a:moveTo>
                <a:cubicBezTo>
                  <a:pt x="108" y="133"/>
                  <a:pt x="109" y="135"/>
                  <a:pt x="109" y="136"/>
                </a:cubicBezTo>
                <a:cubicBezTo>
                  <a:pt x="109" y="137"/>
                  <a:pt x="108" y="139"/>
                  <a:pt x="107" y="139"/>
                </a:cubicBezTo>
                <a:cubicBezTo>
                  <a:pt x="105" y="139"/>
                  <a:pt x="104" y="137"/>
                  <a:pt x="104" y="136"/>
                </a:cubicBezTo>
                <a:cubicBezTo>
                  <a:pt x="104" y="135"/>
                  <a:pt x="105" y="133"/>
                  <a:pt x="107" y="133"/>
                </a:cubicBezTo>
                <a:close/>
                <a:moveTo>
                  <a:pt x="115" y="109"/>
                </a:moveTo>
                <a:cubicBezTo>
                  <a:pt x="116" y="109"/>
                  <a:pt x="117" y="111"/>
                  <a:pt x="117" y="112"/>
                </a:cubicBezTo>
                <a:cubicBezTo>
                  <a:pt x="117" y="113"/>
                  <a:pt x="116" y="115"/>
                  <a:pt x="115" y="115"/>
                </a:cubicBezTo>
                <a:cubicBezTo>
                  <a:pt x="113" y="115"/>
                  <a:pt x="112" y="113"/>
                  <a:pt x="112" y="112"/>
                </a:cubicBezTo>
                <a:cubicBezTo>
                  <a:pt x="112" y="111"/>
                  <a:pt x="113" y="109"/>
                  <a:pt x="115" y="109"/>
                </a:cubicBezTo>
                <a:close/>
                <a:moveTo>
                  <a:pt x="131" y="109"/>
                </a:moveTo>
                <a:cubicBezTo>
                  <a:pt x="132" y="109"/>
                  <a:pt x="133" y="111"/>
                  <a:pt x="133" y="112"/>
                </a:cubicBezTo>
                <a:cubicBezTo>
                  <a:pt x="133" y="113"/>
                  <a:pt x="132" y="115"/>
                  <a:pt x="131" y="115"/>
                </a:cubicBezTo>
                <a:cubicBezTo>
                  <a:pt x="129" y="115"/>
                  <a:pt x="128" y="113"/>
                  <a:pt x="128" y="112"/>
                </a:cubicBezTo>
                <a:cubicBezTo>
                  <a:pt x="128" y="111"/>
                  <a:pt x="129" y="109"/>
                  <a:pt x="131" y="109"/>
                </a:cubicBezTo>
                <a:close/>
                <a:moveTo>
                  <a:pt x="115" y="125"/>
                </a:moveTo>
                <a:cubicBezTo>
                  <a:pt x="116" y="125"/>
                  <a:pt x="117" y="127"/>
                  <a:pt x="117" y="128"/>
                </a:cubicBezTo>
                <a:cubicBezTo>
                  <a:pt x="117" y="129"/>
                  <a:pt x="116" y="131"/>
                  <a:pt x="115" y="131"/>
                </a:cubicBezTo>
                <a:cubicBezTo>
                  <a:pt x="113" y="131"/>
                  <a:pt x="112" y="129"/>
                  <a:pt x="112" y="128"/>
                </a:cubicBezTo>
                <a:cubicBezTo>
                  <a:pt x="112" y="127"/>
                  <a:pt x="113" y="125"/>
                  <a:pt x="115" y="125"/>
                </a:cubicBezTo>
                <a:close/>
                <a:moveTo>
                  <a:pt x="131" y="125"/>
                </a:moveTo>
                <a:cubicBezTo>
                  <a:pt x="132" y="125"/>
                  <a:pt x="133" y="127"/>
                  <a:pt x="133" y="128"/>
                </a:cubicBezTo>
                <a:cubicBezTo>
                  <a:pt x="133" y="129"/>
                  <a:pt x="132" y="131"/>
                  <a:pt x="131" y="131"/>
                </a:cubicBezTo>
                <a:cubicBezTo>
                  <a:pt x="129" y="131"/>
                  <a:pt x="128" y="129"/>
                  <a:pt x="128" y="128"/>
                </a:cubicBezTo>
                <a:cubicBezTo>
                  <a:pt x="128" y="127"/>
                  <a:pt x="129" y="125"/>
                  <a:pt x="131" y="125"/>
                </a:cubicBezTo>
                <a:close/>
                <a:moveTo>
                  <a:pt x="123" y="117"/>
                </a:moveTo>
                <a:cubicBezTo>
                  <a:pt x="124" y="117"/>
                  <a:pt x="125" y="119"/>
                  <a:pt x="125" y="120"/>
                </a:cubicBezTo>
                <a:cubicBezTo>
                  <a:pt x="125" y="121"/>
                  <a:pt x="124" y="123"/>
                  <a:pt x="123" y="123"/>
                </a:cubicBezTo>
                <a:cubicBezTo>
                  <a:pt x="121" y="123"/>
                  <a:pt x="120" y="121"/>
                  <a:pt x="120" y="120"/>
                </a:cubicBezTo>
                <a:cubicBezTo>
                  <a:pt x="120" y="119"/>
                  <a:pt x="121" y="117"/>
                  <a:pt x="123" y="117"/>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35">
            <a:extLst>
              <a:ext uri="{FF2B5EF4-FFF2-40B4-BE49-F238E27FC236}">
                <a16:creationId xmlns:a16="http://schemas.microsoft.com/office/drawing/2014/main" id="{302193CA-8079-ED4F-BC30-7A3F9732190C}"/>
              </a:ext>
            </a:extLst>
          </p:cNvPr>
          <p:cNvSpPr>
            <a:spLocks noEditPoints="1"/>
          </p:cNvSpPr>
          <p:nvPr/>
        </p:nvSpPr>
        <p:spPr bwMode="auto">
          <a:xfrm>
            <a:off x="3741429" y="2443163"/>
            <a:ext cx="600075" cy="604838"/>
          </a:xfrm>
          <a:custGeom>
            <a:avLst/>
            <a:gdLst>
              <a:gd name="T0" fmla="*/ 0 w 160"/>
              <a:gd name="T1" fmla="*/ 37 h 160"/>
              <a:gd name="T2" fmla="*/ 37 w 160"/>
              <a:gd name="T3" fmla="*/ 69 h 160"/>
              <a:gd name="T4" fmla="*/ 37 w 160"/>
              <a:gd name="T5" fmla="*/ 85 h 160"/>
              <a:gd name="T6" fmla="*/ 137 w 160"/>
              <a:gd name="T7" fmla="*/ 157 h 160"/>
              <a:gd name="T8" fmla="*/ 152 w 160"/>
              <a:gd name="T9" fmla="*/ 136 h 160"/>
              <a:gd name="T10" fmla="*/ 142 w 160"/>
              <a:gd name="T11" fmla="*/ 148 h 160"/>
              <a:gd name="T12" fmla="*/ 101 w 160"/>
              <a:gd name="T13" fmla="*/ 155 h 160"/>
              <a:gd name="T14" fmla="*/ 69 w 160"/>
              <a:gd name="T15" fmla="*/ 155 h 160"/>
              <a:gd name="T16" fmla="*/ 37 w 160"/>
              <a:gd name="T17" fmla="*/ 155 h 160"/>
              <a:gd name="T18" fmla="*/ 8 w 160"/>
              <a:gd name="T19" fmla="*/ 109 h 160"/>
              <a:gd name="T20" fmla="*/ 18 w 160"/>
              <a:gd name="T21" fmla="*/ 97 h 160"/>
              <a:gd name="T22" fmla="*/ 59 w 160"/>
              <a:gd name="T23" fmla="*/ 91 h 160"/>
              <a:gd name="T24" fmla="*/ 91 w 160"/>
              <a:gd name="T25" fmla="*/ 91 h 160"/>
              <a:gd name="T26" fmla="*/ 123 w 160"/>
              <a:gd name="T27" fmla="*/ 91 h 160"/>
              <a:gd name="T28" fmla="*/ 149 w 160"/>
              <a:gd name="T29" fmla="*/ 107 h 160"/>
              <a:gd name="T30" fmla="*/ 123 w 160"/>
              <a:gd name="T31" fmla="*/ 64 h 160"/>
              <a:gd name="T32" fmla="*/ 30 w 160"/>
              <a:gd name="T33" fmla="*/ 148 h 160"/>
              <a:gd name="T34" fmla="*/ 51 w 160"/>
              <a:gd name="T35" fmla="*/ 147 h 160"/>
              <a:gd name="T36" fmla="*/ 63 w 160"/>
              <a:gd name="T37" fmla="*/ 128 h 160"/>
              <a:gd name="T38" fmla="*/ 62 w 160"/>
              <a:gd name="T39" fmla="*/ 113 h 160"/>
              <a:gd name="T40" fmla="*/ 48 w 160"/>
              <a:gd name="T41" fmla="*/ 96 h 160"/>
              <a:gd name="T42" fmla="*/ 11 w 160"/>
              <a:gd name="T43" fmla="*/ 123 h 160"/>
              <a:gd name="T44" fmla="*/ 37 w 160"/>
              <a:gd name="T45" fmla="*/ 101 h 160"/>
              <a:gd name="T46" fmla="*/ 80 w 160"/>
              <a:gd name="T47" fmla="*/ 96 h 160"/>
              <a:gd name="T48" fmla="*/ 99 w 160"/>
              <a:gd name="T49" fmla="*/ 99 h 160"/>
              <a:gd name="T50" fmla="*/ 112 w 160"/>
              <a:gd name="T51" fmla="*/ 101 h 160"/>
              <a:gd name="T52" fmla="*/ 125 w 160"/>
              <a:gd name="T53" fmla="*/ 99 h 160"/>
              <a:gd name="T54" fmla="*/ 8 w 160"/>
              <a:gd name="T55" fmla="*/ 120 h 160"/>
              <a:gd name="T56" fmla="*/ 88 w 160"/>
              <a:gd name="T57" fmla="*/ 104 h 160"/>
              <a:gd name="T58" fmla="*/ 75 w 160"/>
              <a:gd name="T59" fmla="*/ 123 h 160"/>
              <a:gd name="T60" fmla="*/ 88 w 160"/>
              <a:gd name="T61" fmla="*/ 125 h 160"/>
              <a:gd name="T62" fmla="*/ 77 w 160"/>
              <a:gd name="T63" fmla="*/ 115 h 160"/>
              <a:gd name="T64" fmla="*/ 96 w 160"/>
              <a:gd name="T65" fmla="*/ 112 h 160"/>
              <a:gd name="T66" fmla="*/ 96 w 160"/>
              <a:gd name="T67" fmla="*/ 128 h 160"/>
              <a:gd name="T68" fmla="*/ 107 w 160"/>
              <a:gd name="T69" fmla="*/ 107 h 160"/>
              <a:gd name="T70" fmla="*/ 120 w 160"/>
              <a:gd name="T71" fmla="*/ 109 h 160"/>
              <a:gd name="T72" fmla="*/ 101 w 160"/>
              <a:gd name="T73" fmla="*/ 123 h 160"/>
              <a:gd name="T74" fmla="*/ 120 w 160"/>
              <a:gd name="T75" fmla="*/ 120 h 160"/>
              <a:gd name="T76" fmla="*/ 128 w 160"/>
              <a:gd name="T77" fmla="*/ 112 h 160"/>
              <a:gd name="T78" fmla="*/ 115 w 160"/>
              <a:gd name="T79" fmla="*/ 131 h 160"/>
              <a:gd name="T80" fmla="*/ 128 w 160"/>
              <a:gd name="T81" fmla="*/ 133 h 160"/>
              <a:gd name="T82" fmla="*/ 133 w 160"/>
              <a:gd name="T83" fmla="*/ 107 h 160"/>
              <a:gd name="T84" fmla="*/ 136 w 160"/>
              <a:gd name="T85" fmla="*/ 120 h 160"/>
              <a:gd name="T86" fmla="*/ 72 w 160"/>
              <a:gd name="T87" fmla="*/ 136 h 160"/>
              <a:gd name="T88" fmla="*/ 91 w 160"/>
              <a:gd name="T89" fmla="*/ 139 h 160"/>
              <a:gd name="T90" fmla="*/ 104 w 160"/>
              <a:gd name="T91" fmla="*/ 141 h 160"/>
              <a:gd name="T92" fmla="*/ 117 w 160"/>
              <a:gd name="T93" fmla="*/ 139 h 160"/>
              <a:gd name="T94" fmla="*/ 136 w 160"/>
              <a:gd name="T95" fmla="*/ 136 h 160"/>
              <a:gd name="T96" fmla="*/ 144 w 160"/>
              <a:gd name="T97" fmla="*/ 128 h 160"/>
              <a:gd name="T98" fmla="*/ 67 w 160"/>
              <a:gd name="T99" fmla="*/ 147 h 160"/>
              <a:gd name="T100" fmla="*/ 80 w 160"/>
              <a:gd name="T101" fmla="*/ 149 h 160"/>
              <a:gd name="T102" fmla="*/ 93 w 160"/>
              <a:gd name="T103" fmla="*/ 147 h 160"/>
              <a:gd name="T104" fmla="*/ 112 w 160"/>
              <a:gd name="T105"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0" h="160">
                <a:moveTo>
                  <a:pt x="37" y="75"/>
                </a:moveTo>
                <a:cubicBezTo>
                  <a:pt x="123" y="75"/>
                  <a:pt x="123" y="75"/>
                  <a:pt x="123" y="75"/>
                </a:cubicBezTo>
                <a:cubicBezTo>
                  <a:pt x="143" y="75"/>
                  <a:pt x="160" y="58"/>
                  <a:pt x="160" y="37"/>
                </a:cubicBezTo>
                <a:cubicBezTo>
                  <a:pt x="160" y="17"/>
                  <a:pt x="143" y="0"/>
                  <a:pt x="123" y="0"/>
                </a:cubicBezTo>
                <a:cubicBezTo>
                  <a:pt x="37" y="0"/>
                  <a:pt x="37" y="0"/>
                  <a:pt x="37" y="0"/>
                </a:cubicBezTo>
                <a:cubicBezTo>
                  <a:pt x="17" y="0"/>
                  <a:pt x="0" y="17"/>
                  <a:pt x="0" y="37"/>
                </a:cubicBezTo>
                <a:cubicBezTo>
                  <a:pt x="0" y="58"/>
                  <a:pt x="17" y="75"/>
                  <a:pt x="37" y="75"/>
                </a:cubicBezTo>
                <a:close/>
                <a:moveTo>
                  <a:pt x="37" y="5"/>
                </a:moveTo>
                <a:cubicBezTo>
                  <a:pt x="123" y="5"/>
                  <a:pt x="123" y="5"/>
                  <a:pt x="123" y="5"/>
                </a:cubicBezTo>
                <a:cubicBezTo>
                  <a:pt x="140" y="5"/>
                  <a:pt x="155" y="20"/>
                  <a:pt x="155" y="37"/>
                </a:cubicBezTo>
                <a:cubicBezTo>
                  <a:pt x="155" y="55"/>
                  <a:pt x="140" y="69"/>
                  <a:pt x="123" y="69"/>
                </a:cubicBezTo>
                <a:cubicBezTo>
                  <a:pt x="37" y="69"/>
                  <a:pt x="37" y="69"/>
                  <a:pt x="37" y="69"/>
                </a:cubicBezTo>
                <a:cubicBezTo>
                  <a:pt x="20" y="69"/>
                  <a:pt x="5" y="55"/>
                  <a:pt x="5" y="37"/>
                </a:cubicBezTo>
                <a:cubicBezTo>
                  <a:pt x="5" y="20"/>
                  <a:pt x="20" y="5"/>
                  <a:pt x="37" y="5"/>
                </a:cubicBezTo>
                <a:close/>
                <a:moveTo>
                  <a:pt x="137" y="88"/>
                </a:moveTo>
                <a:cubicBezTo>
                  <a:pt x="137" y="88"/>
                  <a:pt x="137" y="88"/>
                  <a:pt x="137" y="88"/>
                </a:cubicBezTo>
                <a:cubicBezTo>
                  <a:pt x="133" y="86"/>
                  <a:pt x="128" y="85"/>
                  <a:pt x="123" y="85"/>
                </a:cubicBezTo>
                <a:cubicBezTo>
                  <a:pt x="37" y="85"/>
                  <a:pt x="37" y="85"/>
                  <a:pt x="37" y="85"/>
                </a:cubicBezTo>
                <a:cubicBezTo>
                  <a:pt x="32" y="85"/>
                  <a:pt x="27" y="86"/>
                  <a:pt x="23" y="88"/>
                </a:cubicBezTo>
                <a:cubicBezTo>
                  <a:pt x="23" y="88"/>
                  <a:pt x="23" y="88"/>
                  <a:pt x="23" y="88"/>
                </a:cubicBezTo>
                <a:cubicBezTo>
                  <a:pt x="9" y="94"/>
                  <a:pt x="0" y="107"/>
                  <a:pt x="0" y="123"/>
                </a:cubicBezTo>
                <a:cubicBezTo>
                  <a:pt x="0" y="143"/>
                  <a:pt x="17" y="160"/>
                  <a:pt x="37" y="160"/>
                </a:cubicBezTo>
                <a:cubicBezTo>
                  <a:pt x="123" y="160"/>
                  <a:pt x="123" y="160"/>
                  <a:pt x="123" y="160"/>
                </a:cubicBezTo>
                <a:cubicBezTo>
                  <a:pt x="128" y="160"/>
                  <a:pt x="133" y="159"/>
                  <a:pt x="137" y="157"/>
                </a:cubicBezTo>
                <a:cubicBezTo>
                  <a:pt x="137" y="157"/>
                  <a:pt x="137" y="157"/>
                  <a:pt x="137" y="157"/>
                </a:cubicBezTo>
                <a:cubicBezTo>
                  <a:pt x="151" y="151"/>
                  <a:pt x="160" y="138"/>
                  <a:pt x="160" y="123"/>
                </a:cubicBezTo>
                <a:cubicBezTo>
                  <a:pt x="160" y="107"/>
                  <a:pt x="151" y="94"/>
                  <a:pt x="137" y="88"/>
                </a:cubicBezTo>
                <a:close/>
                <a:moveTo>
                  <a:pt x="152" y="109"/>
                </a:moveTo>
                <a:cubicBezTo>
                  <a:pt x="154" y="113"/>
                  <a:pt x="155" y="118"/>
                  <a:pt x="155" y="123"/>
                </a:cubicBezTo>
                <a:cubicBezTo>
                  <a:pt x="155" y="127"/>
                  <a:pt x="154" y="132"/>
                  <a:pt x="152" y="136"/>
                </a:cubicBezTo>
                <a:cubicBezTo>
                  <a:pt x="150" y="136"/>
                  <a:pt x="149" y="137"/>
                  <a:pt x="149" y="139"/>
                </a:cubicBezTo>
                <a:cubicBezTo>
                  <a:pt x="149" y="139"/>
                  <a:pt x="149" y="139"/>
                  <a:pt x="150" y="140"/>
                </a:cubicBezTo>
                <a:cubicBezTo>
                  <a:pt x="149" y="142"/>
                  <a:pt x="147" y="143"/>
                  <a:pt x="146" y="145"/>
                </a:cubicBezTo>
                <a:cubicBezTo>
                  <a:pt x="145" y="144"/>
                  <a:pt x="145" y="144"/>
                  <a:pt x="144" y="144"/>
                </a:cubicBezTo>
                <a:cubicBezTo>
                  <a:pt x="143" y="144"/>
                  <a:pt x="141" y="145"/>
                  <a:pt x="141" y="147"/>
                </a:cubicBezTo>
                <a:cubicBezTo>
                  <a:pt x="141" y="147"/>
                  <a:pt x="142" y="148"/>
                  <a:pt x="142" y="148"/>
                </a:cubicBezTo>
                <a:cubicBezTo>
                  <a:pt x="137" y="152"/>
                  <a:pt x="130" y="155"/>
                  <a:pt x="123" y="155"/>
                </a:cubicBezTo>
                <a:cubicBezTo>
                  <a:pt x="123" y="153"/>
                  <a:pt x="121" y="152"/>
                  <a:pt x="120" y="152"/>
                </a:cubicBezTo>
                <a:cubicBezTo>
                  <a:pt x="119" y="152"/>
                  <a:pt x="117" y="153"/>
                  <a:pt x="117" y="155"/>
                </a:cubicBezTo>
                <a:cubicBezTo>
                  <a:pt x="107" y="155"/>
                  <a:pt x="107" y="155"/>
                  <a:pt x="107" y="155"/>
                </a:cubicBezTo>
                <a:cubicBezTo>
                  <a:pt x="107" y="153"/>
                  <a:pt x="105" y="152"/>
                  <a:pt x="104" y="152"/>
                </a:cubicBezTo>
                <a:cubicBezTo>
                  <a:pt x="103" y="152"/>
                  <a:pt x="101" y="153"/>
                  <a:pt x="101" y="155"/>
                </a:cubicBezTo>
                <a:cubicBezTo>
                  <a:pt x="91" y="155"/>
                  <a:pt x="91" y="155"/>
                  <a:pt x="91" y="155"/>
                </a:cubicBezTo>
                <a:cubicBezTo>
                  <a:pt x="91" y="153"/>
                  <a:pt x="89" y="152"/>
                  <a:pt x="88" y="152"/>
                </a:cubicBezTo>
                <a:cubicBezTo>
                  <a:pt x="87" y="152"/>
                  <a:pt x="85" y="153"/>
                  <a:pt x="85" y="155"/>
                </a:cubicBezTo>
                <a:cubicBezTo>
                  <a:pt x="75" y="155"/>
                  <a:pt x="75" y="155"/>
                  <a:pt x="75" y="155"/>
                </a:cubicBezTo>
                <a:cubicBezTo>
                  <a:pt x="75" y="153"/>
                  <a:pt x="73" y="152"/>
                  <a:pt x="72" y="152"/>
                </a:cubicBezTo>
                <a:cubicBezTo>
                  <a:pt x="71" y="152"/>
                  <a:pt x="69" y="153"/>
                  <a:pt x="69" y="155"/>
                </a:cubicBezTo>
                <a:cubicBezTo>
                  <a:pt x="59" y="155"/>
                  <a:pt x="59" y="155"/>
                  <a:pt x="59" y="155"/>
                </a:cubicBezTo>
                <a:cubicBezTo>
                  <a:pt x="59" y="153"/>
                  <a:pt x="57" y="152"/>
                  <a:pt x="56" y="152"/>
                </a:cubicBezTo>
                <a:cubicBezTo>
                  <a:pt x="55" y="152"/>
                  <a:pt x="53" y="153"/>
                  <a:pt x="53" y="155"/>
                </a:cubicBezTo>
                <a:cubicBezTo>
                  <a:pt x="43" y="155"/>
                  <a:pt x="43" y="155"/>
                  <a:pt x="43" y="155"/>
                </a:cubicBezTo>
                <a:cubicBezTo>
                  <a:pt x="43" y="153"/>
                  <a:pt x="41" y="152"/>
                  <a:pt x="40" y="152"/>
                </a:cubicBezTo>
                <a:cubicBezTo>
                  <a:pt x="39" y="152"/>
                  <a:pt x="37" y="153"/>
                  <a:pt x="37" y="155"/>
                </a:cubicBezTo>
                <a:cubicBezTo>
                  <a:pt x="30" y="155"/>
                  <a:pt x="23" y="152"/>
                  <a:pt x="18" y="148"/>
                </a:cubicBezTo>
                <a:cubicBezTo>
                  <a:pt x="18" y="148"/>
                  <a:pt x="19" y="147"/>
                  <a:pt x="19" y="147"/>
                </a:cubicBezTo>
                <a:cubicBezTo>
                  <a:pt x="19" y="145"/>
                  <a:pt x="17" y="144"/>
                  <a:pt x="16" y="144"/>
                </a:cubicBezTo>
                <a:cubicBezTo>
                  <a:pt x="15" y="144"/>
                  <a:pt x="15" y="144"/>
                  <a:pt x="14" y="145"/>
                </a:cubicBezTo>
                <a:cubicBezTo>
                  <a:pt x="9" y="139"/>
                  <a:pt x="5" y="131"/>
                  <a:pt x="5" y="123"/>
                </a:cubicBezTo>
                <a:cubicBezTo>
                  <a:pt x="5" y="118"/>
                  <a:pt x="6" y="113"/>
                  <a:pt x="8" y="109"/>
                </a:cubicBezTo>
                <a:cubicBezTo>
                  <a:pt x="10" y="109"/>
                  <a:pt x="11" y="108"/>
                  <a:pt x="11" y="107"/>
                </a:cubicBezTo>
                <a:cubicBezTo>
                  <a:pt x="11" y="106"/>
                  <a:pt x="11" y="106"/>
                  <a:pt x="10" y="106"/>
                </a:cubicBezTo>
                <a:cubicBezTo>
                  <a:pt x="11" y="104"/>
                  <a:pt x="13" y="102"/>
                  <a:pt x="14" y="101"/>
                </a:cubicBezTo>
                <a:cubicBezTo>
                  <a:pt x="15" y="101"/>
                  <a:pt x="15" y="101"/>
                  <a:pt x="16" y="101"/>
                </a:cubicBezTo>
                <a:cubicBezTo>
                  <a:pt x="17" y="101"/>
                  <a:pt x="19" y="100"/>
                  <a:pt x="19" y="99"/>
                </a:cubicBezTo>
                <a:cubicBezTo>
                  <a:pt x="19" y="98"/>
                  <a:pt x="18" y="98"/>
                  <a:pt x="18" y="97"/>
                </a:cubicBezTo>
                <a:cubicBezTo>
                  <a:pt x="23" y="93"/>
                  <a:pt x="30" y="91"/>
                  <a:pt x="37" y="91"/>
                </a:cubicBezTo>
                <a:cubicBezTo>
                  <a:pt x="37" y="92"/>
                  <a:pt x="39" y="93"/>
                  <a:pt x="40" y="93"/>
                </a:cubicBezTo>
                <a:cubicBezTo>
                  <a:pt x="41" y="93"/>
                  <a:pt x="43" y="92"/>
                  <a:pt x="43" y="91"/>
                </a:cubicBezTo>
                <a:cubicBezTo>
                  <a:pt x="53" y="91"/>
                  <a:pt x="53" y="91"/>
                  <a:pt x="53" y="91"/>
                </a:cubicBezTo>
                <a:cubicBezTo>
                  <a:pt x="53" y="92"/>
                  <a:pt x="55" y="93"/>
                  <a:pt x="56" y="93"/>
                </a:cubicBezTo>
                <a:cubicBezTo>
                  <a:pt x="57" y="93"/>
                  <a:pt x="59" y="92"/>
                  <a:pt x="59" y="91"/>
                </a:cubicBezTo>
                <a:cubicBezTo>
                  <a:pt x="69" y="91"/>
                  <a:pt x="69" y="91"/>
                  <a:pt x="69" y="91"/>
                </a:cubicBezTo>
                <a:cubicBezTo>
                  <a:pt x="69" y="92"/>
                  <a:pt x="71" y="93"/>
                  <a:pt x="72" y="93"/>
                </a:cubicBezTo>
                <a:cubicBezTo>
                  <a:pt x="73" y="93"/>
                  <a:pt x="75" y="92"/>
                  <a:pt x="75" y="91"/>
                </a:cubicBezTo>
                <a:cubicBezTo>
                  <a:pt x="85" y="91"/>
                  <a:pt x="85" y="91"/>
                  <a:pt x="85" y="91"/>
                </a:cubicBezTo>
                <a:cubicBezTo>
                  <a:pt x="85" y="92"/>
                  <a:pt x="87" y="93"/>
                  <a:pt x="88" y="93"/>
                </a:cubicBezTo>
                <a:cubicBezTo>
                  <a:pt x="89" y="93"/>
                  <a:pt x="91" y="92"/>
                  <a:pt x="91" y="91"/>
                </a:cubicBezTo>
                <a:cubicBezTo>
                  <a:pt x="101" y="91"/>
                  <a:pt x="101" y="91"/>
                  <a:pt x="101" y="91"/>
                </a:cubicBezTo>
                <a:cubicBezTo>
                  <a:pt x="101" y="92"/>
                  <a:pt x="103" y="93"/>
                  <a:pt x="104" y="93"/>
                </a:cubicBezTo>
                <a:cubicBezTo>
                  <a:pt x="105" y="93"/>
                  <a:pt x="107" y="92"/>
                  <a:pt x="107" y="91"/>
                </a:cubicBezTo>
                <a:cubicBezTo>
                  <a:pt x="117" y="91"/>
                  <a:pt x="117" y="91"/>
                  <a:pt x="117" y="91"/>
                </a:cubicBezTo>
                <a:cubicBezTo>
                  <a:pt x="117" y="92"/>
                  <a:pt x="119" y="93"/>
                  <a:pt x="120" y="93"/>
                </a:cubicBezTo>
                <a:cubicBezTo>
                  <a:pt x="121" y="93"/>
                  <a:pt x="123" y="92"/>
                  <a:pt x="123" y="91"/>
                </a:cubicBezTo>
                <a:cubicBezTo>
                  <a:pt x="130" y="91"/>
                  <a:pt x="137" y="93"/>
                  <a:pt x="142" y="97"/>
                </a:cubicBezTo>
                <a:cubicBezTo>
                  <a:pt x="142" y="98"/>
                  <a:pt x="141" y="98"/>
                  <a:pt x="141" y="99"/>
                </a:cubicBezTo>
                <a:cubicBezTo>
                  <a:pt x="141" y="100"/>
                  <a:pt x="143" y="101"/>
                  <a:pt x="144" y="101"/>
                </a:cubicBezTo>
                <a:cubicBezTo>
                  <a:pt x="145" y="101"/>
                  <a:pt x="145" y="101"/>
                  <a:pt x="146" y="101"/>
                </a:cubicBezTo>
                <a:cubicBezTo>
                  <a:pt x="147" y="102"/>
                  <a:pt x="149" y="104"/>
                  <a:pt x="150" y="106"/>
                </a:cubicBezTo>
                <a:cubicBezTo>
                  <a:pt x="149" y="106"/>
                  <a:pt x="149" y="106"/>
                  <a:pt x="149" y="107"/>
                </a:cubicBezTo>
                <a:cubicBezTo>
                  <a:pt x="149" y="108"/>
                  <a:pt x="150" y="109"/>
                  <a:pt x="152" y="109"/>
                </a:cubicBezTo>
                <a:close/>
                <a:moveTo>
                  <a:pt x="123" y="64"/>
                </a:moveTo>
                <a:cubicBezTo>
                  <a:pt x="137" y="64"/>
                  <a:pt x="149" y="52"/>
                  <a:pt x="149" y="37"/>
                </a:cubicBezTo>
                <a:cubicBezTo>
                  <a:pt x="149" y="23"/>
                  <a:pt x="137" y="11"/>
                  <a:pt x="123" y="11"/>
                </a:cubicBezTo>
                <a:cubicBezTo>
                  <a:pt x="108" y="11"/>
                  <a:pt x="96" y="23"/>
                  <a:pt x="96" y="37"/>
                </a:cubicBezTo>
                <a:cubicBezTo>
                  <a:pt x="96" y="52"/>
                  <a:pt x="108" y="64"/>
                  <a:pt x="123" y="64"/>
                </a:cubicBezTo>
                <a:close/>
                <a:moveTo>
                  <a:pt x="123" y="16"/>
                </a:moveTo>
                <a:cubicBezTo>
                  <a:pt x="134" y="16"/>
                  <a:pt x="144" y="26"/>
                  <a:pt x="144" y="37"/>
                </a:cubicBezTo>
                <a:cubicBezTo>
                  <a:pt x="144" y="49"/>
                  <a:pt x="134" y="59"/>
                  <a:pt x="123" y="59"/>
                </a:cubicBezTo>
                <a:cubicBezTo>
                  <a:pt x="111" y="59"/>
                  <a:pt x="101" y="49"/>
                  <a:pt x="101" y="37"/>
                </a:cubicBezTo>
                <a:cubicBezTo>
                  <a:pt x="101" y="26"/>
                  <a:pt x="111" y="16"/>
                  <a:pt x="123" y="16"/>
                </a:cubicBezTo>
                <a:close/>
                <a:moveTo>
                  <a:pt x="30" y="148"/>
                </a:moveTo>
                <a:cubicBezTo>
                  <a:pt x="30" y="149"/>
                  <a:pt x="31" y="149"/>
                  <a:pt x="32" y="149"/>
                </a:cubicBezTo>
                <a:cubicBezTo>
                  <a:pt x="32" y="149"/>
                  <a:pt x="33" y="149"/>
                  <a:pt x="33" y="149"/>
                </a:cubicBezTo>
                <a:cubicBezTo>
                  <a:pt x="35" y="149"/>
                  <a:pt x="36" y="149"/>
                  <a:pt x="37" y="149"/>
                </a:cubicBezTo>
                <a:cubicBezTo>
                  <a:pt x="40" y="149"/>
                  <a:pt x="43" y="149"/>
                  <a:pt x="46" y="148"/>
                </a:cubicBezTo>
                <a:cubicBezTo>
                  <a:pt x="46" y="149"/>
                  <a:pt x="47" y="149"/>
                  <a:pt x="48" y="149"/>
                </a:cubicBezTo>
                <a:cubicBezTo>
                  <a:pt x="49" y="149"/>
                  <a:pt x="51" y="148"/>
                  <a:pt x="51" y="147"/>
                </a:cubicBezTo>
                <a:cubicBezTo>
                  <a:pt x="51" y="146"/>
                  <a:pt x="51" y="146"/>
                  <a:pt x="50" y="146"/>
                </a:cubicBezTo>
                <a:cubicBezTo>
                  <a:pt x="56" y="143"/>
                  <a:pt x="60" y="138"/>
                  <a:pt x="62" y="133"/>
                </a:cubicBezTo>
                <a:cubicBezTo>
                  <a:pt x="63" y="133"/>
                  <a:pt x="63" y="133"/>
                  <a:pt x="64" y="133"/>
                </a:cubicBezTo>
                <a:cubicBezTo>
                  <a:pt x="65" y="133"/>
                  <a:pt x="67" y="132"/>
                  <a:pt x="67" y="131"/>
                </a:cubicBezTo>
                <a:cubicBezTo>
                  <a:pt x="67" y="129"/>
                  <a:pt x="65" y="128"/>
                  <a:pt x="64" y="128"/>
                </a:cubicBezTo>
                <a:cubicBezTo>
                  <a:pt x="64" y="128"/>
                  <a:pt x="64" y="128"/>
                  <a:pt x="63" y="128"/>
                </a:cubicBezTo>
                <a:cubicBezTo>
                  <a:pt x="64" y="126"/>
                  <a:pt x="64" y="125"/>
                  <a:pt x="64" y="123"/>
                </a:cubicBezTo>
                <a:cubicBezTo>
                  <a:pt x="64" y="121"/>
                  <a:pt x="64" y="119"/>
                  <a:pt x="63" y="117"/>
                </a:cubicBezTo>
                <a:cubicBezTo>
                  <a:pt x="64" y="117"/>
                  <a:pt x="64" y="117"/>
                  <a:pt x="64" y="117"/>
                </a:cubicBezTo>
                <a:cubicBezTo>
                  <a:pt x="65" y="117"/>
                  <a:pt x="67" y="116"/>
                  <a:pt x="67" y="115"/>
                </a:cubicBezTo>
                <a:cubicBezTo>
                  <a:pt x="67" y="113"/>
                  <a:pt x="65" y="112"/>
                  <a:pt x="64" y="112"/>
                </a:cubicBezTo>
                <a:cubicBezTo>
                  <a:pt x="63" y="112"/>
                  <a:pt x="63" y="112"/>
                  <a:pt x="62" y="113"/>
                </a:cubicBezTo>
                <a:cubicBezTo>
                  <a:pt x="61" y="111"/>
                  <a:pt x="60" y="109"/>
                  <a:pt x="59" y="107"/>
                </a:cubicBezTo>
                <a:cubicBezTo>
                  <a:pt x="59" y="107"/>
                  <a:pt x="59" y="107"/>
                  <a:pt x="59" y="107"/>
                </a:cubicBezTo>
                <a:cubicBezTo>
                  <a:pt x="59" y="105"/>
                  <a:pt x="58" y="104"/>
                  <a:pt x="56" y="104"/>
                </a:cubicBezTo>
                <a:cubicBezTo>
                  <a:pt x="55" y="102"/>
                  <a:pt x="53" y="101"/>
                  <a:pt x="50" y="100"/>
                </a:cubicBezTo>
                <a:cubicBezTo>
                  <a:pt x="51" y="99"/>
                  <a:pt x="51" y="99"/>
                  <a:pt x="51" y="99"/>
                </a:cubicBezTo>
                <a:cubicBezTo>
                  <a:pt x="51" y="97"/>
                  <a:pt x="49" y="96"/>
                  <a:pt x="48" y="96"/>
                </a:cubicBezTo>
                <a:cubicBezTo>
                  <a:pt x="47" y="96"/>
                  <a:pt x="46" y="97"/>
                  <a:pt x="46" y="97"/>
                </a:cubicBezTo>
                <a:cubicBezTo>
                  <a:pt x="43" y="96"/>
                  <a:pt x="40" y="96"/>
                  <a:pt x="37" y="96"/>
                </a:cubicBezTo>
                <a:cubicBezTo>
                  <a:pt x="36" y="96"/>
                  <a:pt x="35" y="96"/>
                  <a:pt x="33" y="96"/>
                </a:cubicBezTo>
                <a:cubicBezTo>
                  <a:pt x="33" y="96"/>
                  <a:pt x="32" y="96"/>
                  <a:pt x="32" y="96"/>
                </a:cubicBezTo>
                <a:cubicBezTo>
                  <a:pt x="31" y="96"/>
                  <a:pt x="30" y="96"/>
                  <a:pt x="30" y="97"/>
                </a:cubicBezTo>
                <a:cubicBezTo>
                  <a:pt x="19" y="100"/>
                  <a:pt x="11" y="111"/>
                  <a:pt x="11" y="123"/>
                </a:cubicBezTo>
                <a:cubicBezTo>
                  <a:pt x="11" y="135"/>
                  <a:pt x="19" y="145"/>
                  <a:pt x="30" y="148"/>
                </a:cubicBezTo>
                <a:close/>
                <a:moveTo>
                  <a:pt x="37" y="101"/>
                </a:moveTo>
                <a:cubicBezTo>
                  <a:pt x="49" y="101"/>
                  <a:pt x="59" y="111"/>
                  <a:pt x="59" y="123"/>
                </a:cubicBezTo>
                <a:cubicBezTo>
                  <a:pt x="59" y="134"/>
                  <a:pt x="49" y="144"/>
                  <a:pt x="37" y="144"/>
                </a:cubicBezTo>
                <a:cubicBezTo>
                  <a:pt x="26" y="144"/>
                  <a:pt x="16" y="134"/>
                  <a:pt x="16" y="123"/>
                </a:cubicBezTo>
                <a:cubicBezTo>
                  <a:pt x="16" y="111"/>
                  <a:pt x="26" y="101"/>
                  <a:pt x="37" y="101"/>
                </a:cubicBezTo>
                <a:close/>
                <a:moveTo>
                  <a:pt x="64" y="96"/>
                </a:moveTo>
                <a:cubicBezTo>
                  <a:pt x="65" y="96"/>
                  <a:pt x="67" y="97"/>
                  <a:pt x="67" y="99"/>
                </a:cubicBezTo>
                <a:cubicBezTo>
                  <a:pt x="67" y="100"/>
                  <a:pt x="65" y="101"/>
                  <a:pt x="64" y="101"/>
                </a:cubicBezTo>
                <a:cubicBezTo>
                  <a:pt x="63" y="101"/>
                  <a:pt x="61" y="100"/>
                  <a:pt x="61" y="99"/>
                </a:cubicBezTo>
                <a:cubicBezTo>
                  <a:pt x="61" y="97"/>
                  <a:pt x="63" y="96"/>
                  <a:pt x="64" y="96"/>
                </a:cubicBezTo>
                <a:close/>
                <a:moveTo>
                  <a:pt x="80" y="96"/>
                </a:moveTo>
                <a:cubicBezTo>
                  <a:pt x="81" y="96"/>
                  <a:pt x="83" y="97"/>
                  <a:pt x="83" y="99"/>
                </a:cubicBezTo>
                <a:cubicBezTo>
                  <a:pt x="83" y="100"/>
                  <a:pt x="81" y="101"/>
                  <a:pt x="80" y="101"/>
                </a:cubicBezTo>
                <a:cubicBezTo>
                  <a:pt x="79" y="101"/>
                  <a:pt x="77" y="100"/>
                  <a:pt x="77" y="99"/>
                </a:cubicBezTo>
                <a:cubicBezTo>
                  <a:pt x="77" y="97"/>
                  <a:pt x="79" y="96"/>
                  <a:pt x="80" y="96"/>
                </a:cubicBezTo>
                <a:close/>
                <a:moveTo>
                  <a:pt x="96" y="96"/>
                </a:moveTo>
                <a:cubicBezTo>
                  <a:pt x="97" y="96"/>
                  <a:pt x="99" y="97"/>
                  <a:pt x="99" y="99"/>
                </a:cubicBezTo>
                <a:cubicBezTo>
                  <a:pt x="99" y="100"/>
                  <a:pt x="97" y="101"/>
                  <a:pt x="96" y="101"/>
                </a:cubicBezTo>
                <a:cubicBezTo>
                  <a:pt x="95" y="101"/>
                  <a:pt x="93" y="100"/>
                  <a:pt x="93" y="99"/>
                </a:cubicBezTo>
                <a:cubicBezTo>
                  <a:pt x="93" y="97"/>
                  <a:pt x="95" y="96"/>
                  <a:pt x="96" y="96"/>
                </a:cubicBezTo>
                <a:close/>
                <a:moveTo>
                  <a:pt x="112" y="96"/>
                </a:moveTo>
                <a:cubicBezTo>
                  <a:pt x="113" y="96"/>
                  <a:pt x="115" y="97"/>
                  <a:pt x="115" y="99"/>
                </a:cubicBezTo>
                <a:cubicBezTo>
                  <a:pt x="115" y="100"/>
                  <a:pt x="113" y="101"/>
                  <a:pt x="112" y="101"/>
                </a:cubicBezTo>
                <a:cubicBezTo>
                  <a:pt x="111" y="101"/>
                  <a:pt x="109" y="100"/>
                  <a:pt x="109" y="99"/>
                </a:cubicBezTo>
                <a:cubicBezTo>
                  <a:pt x="109" y="97"/>
                  <a:pt x="111" y="96"/>
                  <a:pt x="112" y="96"/>
                </a:cubicBezTo>
                <a:close/>
                <a:moveTo>
                  <a:pt x="128" y="96"/>
                </a:moveTo>
                <a:cubicBezTo>
                  <a:pt x="129" y="96"/>
                  <a:pt x="131" y="97"/>
                  <a:pt x="131" y="99"/>
                </a:cubicBezTo>
                <a:cubicBezTo>
                  <a:pt x="131" y="100"/>
                  <a:pt x="129" y="101"/>
                  <a:pt x="128" y="101"/>
                </a:cubicBezTo>
                <a:cubicBezTo>
                  <a:pt x="127" y="101"/>
                  <a:pt x="125" y="100"/>
                  <a:pt x="125" y="99"/>
                </a:cubicBezTo>
                <a:cubicBezTo>
                  <a:pt x="125" y="97"/>
                  <a:pt x="127" y="96"/>
                  <a:pt x="128" y="96"/>
                </a:cubicBezTo>
                <a:close/>
                <a:moveTo>
                  <a:pt x="8" y="120"/>
                </a:moveTo>
                <a:cubicBezTo>
                  <a:pt x="9" y="120"/>
                  <a:pt x="11" y="121"/>
                  <a:pt x="11" y="123"/>
                </a:cubicBezTo>
                <a:cubicBezTo>
                  <a:pt x="11" y="124"/>
                  <a:pt x="9" y="125"/>
                  <a:pt x="8" y="125"/>
                </a:cubicBezTo>
                <a:cubicBezTo>
                  <a:pt x="7" y="125"/>
                  <a:pt x="5" y="124"/>
                  <a:pt x="5" y="123"/>
                </a:cubicBezTo>
                <a:cubicBezTo>
                  <a:pt x="5" y="121"/>
                  <a:pt x="7" y="120"/>
                  <a:pt x="8" y="120"/>
                </a:cubicBezTo>
                <a:close/>
                <a:moveTo>
                  <a:pt x="72" y="104"/>
                </a:moveTo>
                <a:cubicBezTo>
                  <a:pt x="73" y="104"/>
                  <a:pt x="75" y="105"/>
                  <a:pt x="75" y="107"/>
                </a:cubicBezTo>
                <a:cubicBezTo>
                  <a:pt x="75" y="108"/>
                  <a:pt x="73" y="109"/>
                  <a:pt x="72" y="109"/>
                </a:cubicBezTo>
                <a:cubicBezTo>
                  <a:pt x="71" y="109"/>
                  <a:pt x="69" y="108"/>
                  <a:pt x="69" y="107"/>
                </a:cubicBezTo>
                <a:cubicBezTo>
                  <a:pt x="69" y="105"/>
                  <a:pt x="71" y="104"/>
                  <a:pt x="72" y="104"/>
                </a:cubicBezTo>
                <a:close/>
                <a:moveTo>
                  <a:pt x="88" y="104"/>
                </a:moveTo>
                <a:cubicBezTo>
                  <a:pt x="89" y="104"/>
                  <a:pt x="91" y="105"/>
                  <a:pt x="91" y="107"/>
                </a:cubicBezTo>
                <a:cubicBezTo>
                  <a:pt x="91" y="108"/>
                  <a:pt x="89" y="109"/>
                  <a:pt x="88" y="109"/>
                </a:cubicBezTo>
                <a:cubicBezTo>
                  <a:pt x="87" y="109"/>
                  <a:pt x="85" y="108"/>
                  <a:pt x="85" y="107"/>
                </a:cubicBezTo>
                <a:cubicBezTo>
                  <a:pt x="85" y="105"/>
                  <a:pt x="87" y="104"/>
                  <a:pt x="88" y="104"/>
                </a:cubicBezTo>
                <a:close/>
                <a:moveTo>
                  <a:pt x="72" y="120"/>
                </a:moveTo>
                <a:cubicBezTo>
                  <a:pt x="73" y="120"/>
                  <a:pt x="75" y="121"/>
                  <a:pt x="75" y="123"/>
                </a:cubicBezTo>
                <a:cubicBezTo>
                  <a:pt x="75" y="124"/>
                  <a:pt x="73" y="125"/>
                  <a:pt x="72" y="125"/>
                </a:cubicBezTo>
                <a:cubicBezTo>
                  <a:pt x="71" y="125"/>
                  <a:pt x="69" y="124"/>
                  <a:pt x="69" y="123"/>
                </a:cubicBezTo>
                <a:cubicBezTo>
                  <a:pt x="69" y="121"/>
                  <a:pt x="71" y="120"/>
                  <a:pt x="72" y="120"/>
                </a:cubicBezTo>
                <a:close/>
                <a:moveTo>
                  <a:pt x="88" y="120"/>
                </a:moveTo>
                <a:cubicBezTo>
                  <a:pt x="89" y="120"/>
                  <a:pt x="91" y="121"/>
                  <a:pt x="91" y="123"/>
                </a:cubicBezTo>
                <a:cubicBezTo>
                  <a:pt x="91" y="124"/>
                  <a:pt x="89" y="125"/>
                  <a:pt x="88" y="125"/>
                </a:cubicBezTo>
                <a:cubicBezTo>
                  <a:pt x="87" y="125"/>
                  <a:pt x="85" y="124"/>
                  <a:pt x="85" y="123"/>
                </a:cubicBezTo>
                <a:cubicBezTo>
                  <a:pt x="85" y="121"/>
                  <a:pt x="87" y="120"/>
                  <a:pt x="88" y="120"/>
                </a:cubicBezTo>
                <a:close/>
                <a:moveTo>
                  <a:pt x="80" y="112"/>
                </a:moveTo>
                <a:cubicBezTo>
                  <a:pt x="81" y="112"/>
                  <a:pt x="83" y="113"/>
                  <a:pt x="83" y="115"/>
                </a:cubicBezTo>
                <a:cubicBezTo>
                  <a:pt x="83" y="116"/>
                  <a:pt x="81" y="117"/>
                  <a:pt x="80" y="117"/>
                </a:cubicBezTo>
                <a:cubicBezTo>
                  <a:pt x="79" y="117"/>
                  <a:pt x="77" y="116"/>
                  <a:pt x="77" y="115"/>
                </a:cubicBezTo>
                <a:cubicBezTo>
                  <a:pt x="77" y="113"/>
                  <a:pt x="79" y="112"/>
                  <a:pt x="80" y="112"/>
                </a:cubicBezTo>
                <a:close/>
                <a:moveTo>
                  <a:pt x="96" y="112"/>
                </a:moveTo>
                <a:cubicBezTo>
                  <a:pt x="97" y="112"/>
                  <a:pt x="99" y="113"/>
                  <a:pt x="99" y="115"/>
                </a:cubicBezTo>
                <a:cubicBezTo>
                  <a:pt x="99" y="116"/>
                  <a:pt x="97" y="117"/>
                  <a:pt x="96" y="117"/>
                </a:cubicBezTo>
                <a:cubicBezTo>
                  <a:pt x="95" y="117"/>
                  <a:pt x="93" y="116"/>
                  <a:pt x="93" y="115"/>
                </a:cubicBezTo>
                <a:cubicBezTo>
                  <a:pt x="93" y="113"/>
                  <a:pt x="95" y="112"/>
                  <a:pt x="96" y="112"/>
                </a:cubicBezTo>
                <a:close/>
                <a:moveTo>
                  <a:pt x="80" y="128"/>
                </a:moveTo>
                <a:cubicBezTo>
                  <a:pt x="81" y="128"/>
                  <a:pt x="83" y="129"/>
                  <a:pt x="83" y="131"/>
                </a:cubicBezTo>
                <a:cubicBezTo>
                  <a:pt x="83" y="132"/>
                  <a:pt x="81" y="133"/>
                  <a:pt x="80" y="133"/>
                </a:cubicBezTo>
                <a:cubicBezTo>
                  <a:pt x="79" y="133"/>
                  <a:pt x="77" y="132"/>
                  <a:pt x="77" y="131"/>
                </a:cubicBezTo>
                <a:cubicBezTo>
                  <a:pt x="77" y="129"/>
                  <a:pt x="79" y="128"/>
                  <a:pt x="80" y="128"/>
                </a:cubicBezTo>
                <a:close/>
                <a:moveTo>
                  <a:pt x="96" y="128"/>
                </a:moveTo>
                <a:cubicBezTo>
                  <a:pt x="97" y="128"/>
                  <a:pt x="99" y="129"/>
                  <a:pt x="99" y="131"/>
                </a:cubicBezTo>
                <a:cubicBezTo>
                  <a:pt x="99" y="132"/>
                  <a:pt x="97" y="133"/>
                  <a:pt x="96" y="133"/>
                </a:cubicBezTo>
                <a:cubicBezTo>
                  <a:pt x="95" y="133"/>
                  <a:pt x="93" y="132"/>
                  <a:pt x="93" y="131"/>
                </a:cubicBezTo>
                <a:cubicBezTo>
                  <a:pt x="93" y="129"/>
                  <a:pt x="95" y="128"/>
                  <a:pt x="96" y="128"/>
                </a:cubicBezTo>
                <a:close/>
                <a:moveTo>
                  <a:pt x="104" y="104"/>
                </a:moveTo>
                <a:cubicBezTo>
                  <a:pt x="105" y="104"/>
                  <a:pt x="107" y="105"/>
                  <a:pt x="107" y="107"/>
                </a:cubicBezTo>
                <a:cubicBezTo>
                  <a:pt x="107" y="108"/>
                  <a:pt x="105" y="109"/>
                  <a:pt x="104" y="109"/>
                </a:cubicBezTo>
                <a:cubicBezTo>
                  <a:pt x="103" y="109"/>
                  <a:pt x="101" y="108"/>
                  <a:pt x="101" y="107"/>
                </a:cubicBezTo>
                <a:cubicBezTo>
                  <a:pt x="101" y="105"/>
                  <a:pt x="103" y="104"/>
                  <a:pt x="104" y="104"/>
                </a:cubicBezTo>
                <a:close/>
                <a:moveTo>
                  <a:pt x="120" y="104"/>
                </a:moveTo>
                <a:cubicBezTo>
                  <a:pt x="121" y="104"/>
                  <a:pt x="123" y="105"/>
                  <a:pt x="123" y="107"/>
                </a:cubicBezTo>
                <a:cubicBezTo>
                  <a:pt x="123" y="108"/>
                  <a:pt x="121" y="109"/>
                  <a:pt x="120" y="109"/>
                </a:cubicBezTo>
                <a:cubicBezTo>
                  <a:pt x="119" y="109"/>
                  <a:pt x="117" y="108"/>
                  <a:pt x="117" y="107"/>
                </a:cubicBezTo>
                <a:cubicBezTo>
                  <a:pt x="117" y="105"/>
                  <a:pt x="119" y="104"/>
                  <a:pt x="120" y="104"/>
                </a:cubicBezTo>
                <a:close/>
                <a:moveTo>
                  <a:pt x="104" y="120"/>
                </a:moveTo>
                <a:cubicBezTo>
                  <a:pt x="105" y="120"/>
                  <a:pt x="107" y="121"/>
                  <a:pt x="107" y="123"/>
                </a:cubicBezTo>
                <a:cubicBezTo>
                  <a:pt x="107" y="124"/>
                  <a:pt x="105" y="125"/>
                  <a:pt x="104" y="125"/>
                </a:cubicBezTo>
                <a:cubicBezTo>
                  <a:pt x="103" y="125"/>
                  <a:pt x="101" y="124"/>
                  <a:pt x="101" y="123"/>
                </a:cubicBezTo>
                <a:cubicBezTo>
                  <a:pt x="101" y="121"/>
                  <a:pt x="103" y="120"/>
                  <a:pt x="104" y="120"/>
                </a:cubicBezTo>
                <a:close/>
                <a:moveTo>
                  <a:pt x="120" y="120"/>
                </a:moveTo>
                <a:cubicBezTo>
                  <a:pt x="121" y="120"/>
                  <a:pt x="123" y="121"/>
                  <a:pt x="123" y="123"/>
                </a:cubicBezTo>
                <a:cubicBezTo>
                  <a:pt x="123" y="124"/>
                  <a:pt x="121" y="125"/>
                  <a:pt x="120" y="125"/>
                </a:cubicBezTo>
                <a:cubicBezTo>
                  <a:pt x="119" y="125"/>
                  <a:pt x="117" y="124"/>
                  <a:pt x="117" y="123"/>
                </a:cubicBezTo>
                <a:cubicBezTo>
                  <a:pt x="117" y="121"/>
                  <a:pt x="119" y="120"/>
                  <a:pt x="120" y="120"/>
                </a:cubicBezTo>
                <a:close/>
                <a:moveTo>
                  <a:pt x="112" y="112"/>
                </a:moveTo>
                <a:cubicBezTo>
                  <a:pt x="113" y="112"/>
                  <a:pt x="115" y="113"/>
                  <a:pt x="115" y="115"/>
                </a:cubicBezTo>
                <a:cubicBezTo>
                  <a:pt x="115" y="116"/>
                  <a:pt x="113" y="117"/>
                  <a:pt x="112" y="117"/>
                </a:cubicBezTo>
                <a:cubicBezTo>
                  <a:pt x="111" y="117"/>
                  <a:pt x="109" y="116"/>
                  <a:pt x="109" y="115"/>
                </a:cubicBezTo>
                <a:cubicBezTo>
                  <a:pt x="109" y="113"/>
                  <a:pt x="111" y="112"/>
                  <a:pt x="112" y="112"/>
                </a:cubicBezTo>
                <a:close/>
                <a:moveTo>
                  <a:pt x="128" y="112"/>
                </a:moveTo>
                <a:cubicBezTo>
                  <a:pt x="129" y="112"/>
                  <a:pt x="131" y="113"/>
                  <a:pt x="131" y="115"/>
                </a:cubicBezTo>
                <a:cubicBezTo>
                  <a:pt x="131" y="116"/>
                  <a:pt x="129" y="117"/>
                  <a:pt x="128" y="117"/>
                </a:cubicBezTo>
                <a:cubicBezTo>
                  <a:pt x="127" y="117"/>
                  <a:pt x="125" y="116"/>
                  <a:pt x="125" y="115"/>
                </a:cubicBezTo>
                <a:cubicBezTo>
                  <a:pt x="125" y="113"/>
                  <a:pt x="127" y="112"/>
                  <a:pt x="128" y="112"/>
                </a:cubicBezTo>
                <a:close/>
                <a:moveTo>
                  <a:pt x="112" y="128"/>
                </a:moveTo>
                <a:cubicBezTo>
                  <a:pt x="113" y="128"/>
                  <a:pt x="115" y="129"/>
                  <a:pt x="115" y="131"/>
                </a:cubicBezTo>
                <a:cubicBezTo>
                  <a:pt x="115" y="132"/>
                  <a:pt x="113" y="133"/>
                  <a:pt x="112" y="133"/>
                </a:cubicBezTo>
                <a:cubicBezTo>
                  <a:pt x="111" y="133"/>
                  <a:pt x="109" y="132"/>
                  <a:pt x="109" y="131"/>
                </a:cubicBezTo>
                <a:cubicBezTo>
                  <a:pt x="109" y="129"/>
                  <a:pt x="111" y="128"/>
                  <a:pt x="112" y="128"/>
                </a:cubicBezTo>
                <a:close/>
                <a:moveTo>
                  <a:pt x="128" y="128"/>
                </a:moveTo>
                <a:cubicBezTo>
                  <a:pt x="129" y="128"/>
                  <a:pt x="131" y="129"/>
                  <a:pt x="131" y="131"/>
                </a:cubicBezTo>
                <a:cubicBezTo>
                  <a:pt x="131" y="132"/>
                  <a:pt x="129" y="133"/>
                  <a:pt x="128" y="133"/>
                </a:cubicBezTo>
                <a:cubicBezTo>
                  <a:pt x="127" y="133"/>
                  <a:pt x="125" y="132"/>
                  <a:pt x="125" y="131"/>
                </a:cubicBezTo>
                <a:cubicBezTo>
                  <a:pt x="125" y="129"/>
                  <a:pt x="127" y="128"/>
                  <a:pt x="128" y="128"/>
                </a:cubicBezTo>
                <a:close/>
                <a:moveTo>
                  <a:pt x="136" y="104"/>
                </a:moveTo>
                <a:cubicBezTo>
                  <a:pt x="137" y="104"/>
                  <a:pt x="139" y="105"/>
                  <a:pt x="139" y="107"/>
                </a:cubicBezTo>
                <a:cubicBezTo>
                  <a:pt x="139" y="108"/>
                  <a:pt x="137" y="109"/>
                  <a:pt x="136" y="109"/>
                </a:cubicBezTo>
                <a:cubicBezTo>
                  <a:pt x="135" y="109"/>
                  <a:pt x="133" y="108"/>
                  <a:pt x="133" y="107"/>
                </a:cubicBezTo>
                <a:cubicBezTo>
                  <a:pt x="133" y="105"/>
                  <a:pt x="135" y="104"/>
                  <a:pt x="136" y="104"/>
                </a:cubicBezTo>
                <a:close/>
                <a:moveTo>
                  <a:pt x="136" y="120"/>
                </a:moveTo>
                <a:cubicBezTo>
                  <a:pt x="137" y="120"/>
                  <a:pt x="139" y="121"/>
                  <a:pt x="139" y="123"/>
                </a:cubicBezTo>
                <a:cubicBezTo>
                  <a:pt x="139" y="124"/>
                  <a:pt x="137" y="125"/>
                  <a:pt x="136" y="125"/>
                </a:cubicBezTo>
                <a:cubicBezTo>
                  <a:pt x="135" y="125"/>
                  <a:pt x="133" y="124"/>
                  <a:pt x="133" y="123"/>
                </a:cubicBezTo>
                <a:cubicBezTo>
                  <a:pt x="133" y="121"/>
                  <a:pt x="135" y="120"/>
                  <a:pt x="136" y="120"/>
                </a:cubicBezTo>
                <a:close/>
                <a:moveTo>
                  <a:pt x="152" y="120"/>
                </a:moveTo>
                <a:cubicBezTo>
                  <a:pt x="153" y="120"/>
                  <a:pt x="155" y="121"/>
                  <a:pt x="155" y="123"/>
                </a:cubicBezTo>
                <a:cubicBezTo>
                  <a:pt x="155" y="124"/>
                  <a:pt x="153" y="125"/>
                  <a:pt x="152" y="125"/>
                </a:cubicBezTo>
                <a:cubicBezTo>
                  <a:pt x="151" y="125"/>
                  <a:pt x="149" y="124"/>
                  <a:pt x="149" y="123"/>
                </a:cubicBezTo>
                <a:cubicBezTo>
                  <a:pt x="149" y="121"/>
                  <a:pt x="151" y="120"/>
                  <a:pt x="152" y="120"/>
                </a:cubicBezTo>
                <a:close/>
                <a:moveTo>
                  <a:pt x="72" y="136"/>
                </a:moveTo>
                <a:cubicBezTo>
                  <a:pt x="73" y="136"/>
                  <a:pt x="75" y="137"/>
                  <a:pt x="75" y="139"/>
                </a:cubicBezTo>
                <a:cubicBezTo>
                  <a:pt x="75" y="140"/>
                  <a:pt x="73" y="141"/>
                  <a:pt x="72" y="141"/>
                </a:cubicBezTo>
                <a:cubicBezTo>
                  <a:pt x="71" y="141"/>
                  <a:pt x="69" y="140"/>
                  <a:pt x="69" y="139"/>
                </a:cubicBezTo>
                <a:cubicBezTo>
                  <a:pt x="69" y="137"/>
                  <a:pt x="71" y="136"/>
                  <a:pt x="72" y="136"/>
                </a:cubicBezTo>
                <a:close/>
                <a:moveTo>
                  <a:pt x="88" y="136"/>
                </a:moveTo>
                <a:cubicBezTo>
                  <a:pt x="89" y="136"/>
                  <a:pt x="91" y="137"/>
                  <a:pt x="91" y="139"/>
                </a:cubicBezTo>
                <a:cubicBezTo>
                  <a:pt x="91" y="140"/>
                  <a:pt x="89" y="141"/>
                  <a:pt x="88" y="141"/>
                </a:cubicBezTo>
                <a:cubicBezTo>
                  <a:pt x="87" y="141"/>
                  <a:pt x="85" y="140"/>
                  <a:pt x="85" y="139"/>
                </a:cubicBezTo>
                <a:cubicBezTo>
                  <a:pt x="85" y="137"/>
                  <a:pt x="87" y="136"/>
                  <a:pt x="88" y="136"/>
                </a:cubicBezTo>
                <a:close/>
                <a:moveTo>
                  <a:pt x="104" y="136"/>
                </a:moveTo>
                <a:cubicBezTo>
                  <a:pt x="105" y="136"/>
                  <a:pt x="107" y="137"/>
                  <a:pt x="107" y="139"/>
                </a:cubicBezTo>
                <a:cubicBezTo>
                  <a:pt x="107" y="140"/>
                  <a:pt x="105" y="141"/>
                  <a:pt x="104" y="141"/>
                </a:cubicBezTo>
                <a:cubicBezTo>
                  <a:pt x="103" y="141"/>
                  <a:pt x="101" y="140"/>
                  <a:pt x="101" y="139"/>
                </a:cubicBezTo>
                <a:cubicBezTo>
                  <a:pt x="101" y="137"/>
                  <a:pt x="103" y="136"/>
                  <a:pt x="104" y="136"/>
                </a:cubicBezTo>
                <a:close/>
                <a:moveTo>
                  <a:pt x="120" y="136"/>
                </a:moveTo>
                <a:cubicBezTo>
                  <a:pt x="121" y="136"/>
                  <a:pt x="123" y="137"/>
                  <a:pt x="123" y="139"/>
                </a:cubicBezTo>
                <a:cubicBezTo>
                  <a:pt x="123" y="140"/>
                  <a:pt x="121" y="141"/>
                  <a:pt x="120" y="141"/>
                </a:cubicBezTo>
                <a:cubicBezTo>
                  <a:pt x="119" y="141"/>
                  <a:pt x="117" y="140"/>
                  <a:pt x="117" y="139"/>
                </a:cubicBezTo>
                <a:cubicBezTo>
                  <a:pt x="117" y="137"/>
                  <a:pt x="119" y="136"/>
                  <a:pt x="120" y="136"/>
                </a:cubicBezTo>
                <a:close/>
                <a:moveTo>
                  <a:pt x="136" y="136"/>
                </a:moveTo>
                <a:cubicBezTo>
                  <a:pt x="137" y="136"/>
                  <a:pt x="139" y="137"/>
                  <a:pt x="139" y="139"/>
                </a:cubicBezTo>
                <a:cubicBezTo>
                  <a:pt x="139" y="140"/>
                  <a:pt x="137" y="141"/>
                  <a:pt x="136" y="141"/>
                </a:cubicBezTo>
                <a:cubicBezTo>
                  <a:pt x="135" y="141"/>
                  <a:pt x="133" y="140"/>
                  <a:pt x="133" y="139"/>
                </a:cubicBezTo>
                <a:cubicBezTo>
                  <a:pt x="133" y="137"/>
                  <a:pt x="135" y="136"/>
                  <a:pt x="136" y="136"/>
                </a:cubicBezTo>
                <a:close/>
                <a:moveTo>
                  <a:pt x="144" y="112"/>
                </a:moveTo>
                <a:cubicBezTo>
                  <a:pt x="145" y="112"/>
                  <a:pt x="147" y="113"/>
                  <a:pt x="147" y="115"/>
                </a:cubicBezTo>
                <a:cubicBezTo>
                  <a:pt x="147" y="116"/>
                  <a:pt x="145" y="117"/>
                  <a:pt x="144" y="117"/>
                </a:cubicBezTo>
                <a:cubicBezTo>
                  <a:pt x="143" y="117"/>
                  <a:pt x="141" y="116"/>
                  <a:pt x="141" y="115"/>
                </a:cubicBezTo>
                <a:cubicBezTo>
                  <a:pt x="141" y="113"/>
                  <a:pt x="143" y="112"/>
                  <a:pt x="144" y="112"/>
                </a:cubicBezTo>
                <a:close/>
                <a:moveTo>
                  <a:pt x="144" y="128"/>
                </a:moveTo>
                <a:cubicBezTo>
                  <a:pt x="145" y="128"/>
                  <a:pt x="147" y="129"/>
                  <a:pt x="147" y="131"/>
                </a:cubicBezTo>
                <a:cubicBezTo>
                  <a:pt x="147" y="132"/>
                  <a:pt x="145" y="133"/>
                  <a:pt x="144" y="133"/>
                </a:cubicBezTo>
                <a:cubicBezTo>
                  <a:pt x="143" y="133"/>
                  <a:pt x="141" y="132"/>
                  <a:pt x="141" y="131"/>
                </a:cubicBezTo>
                <a:cubicBezTo>
                  <a:pt x="141" y="129"/>
                  <a:pt x="143" y="128"/>
                  <a:pt x="144" y="128"/>
                </a:cubicBezTo>
                <a:close/>
                <a:moveTo>
                  <a:pt x="64" y="144"/>
                </a:moveTo>
                <a:cubicBezTo>
                  <a:pt x="65" y="144"/>
                  <a:pt x="67" y="145"/>
                  <a:pt x="67" y="147"/>
                </a:cubicBezTo>
                <a:cubicBezTo>
                  <a:pt x="67" y="148"/>
                  <a:pt x="65" y="149"/>
                  <a:pt x="64" y="149"/>
                </a:cubicBezTo>
                <a:cubicBezTo>
                  <a:pt x="63" y="149"/>
                  <a:pt x="61" y="148"/>
                  <a:pt x="61" y="147"/>
                </a:cubicBezTo>
                <a:cubicBezTo>
                  <a:pt x="61" y="145"/>
                  <a:pt x="63" y="144"/>
                  <a:pt x="64" y="144"/>
                </a:cubicBezTo>
                <a:close/>
                <a:moveTo>
                  <a:pt x="80" y="144"/>
                </a:moveTo>
                <a:cubicBezTo>
                  <a:pt x="81" y="144"/>
                  <a:pt x="83" y="145"/>
                  <a:pt x="83" y="147"/>
                </a:cubicBezTo>
                <a:cubicBezTo>
                  <a:pt x="83" y="148"/>
                  <a:pt x="81" y="149"/>
                  <a:pt x="80" y="149"/>
                </a:cubicBezTo>
                <a:cubicBezTo>
                  <a:pt x="79" y="149"/>
                  <a:pt x="77" y="148"/>
                  <a:pt x="77" y="147"/>
                </a:cubicBezTo>
                <a:cubicBezTo>
                  <a:pt x="77" y="145"/>
                  <a:pt x="79" y="144"/>
                  <a:pt x="80" y="144"/>
                </a:cubicBezTo>
                <a:close/>
                <a:moveTo>
                  <a:pt x="96" y="144"/>
                </a:moveTo>
                <a:cubicBezTo>
                  <a:pt x="97" y="144"/>
                  <a:pt x="99" y="145"/>
                  <a:pt x="99" y="147"/>
                </a:cubicBezTo>
                <a:cubicBezTo>
                  <a:pt x="99" y="148"/>
                  <a:pt x="97" y="149"/>
                  <a:pt x="96" y="149"/>
                </a:cubicBezTo>
                <a:cubicBezTo>
                  <a:pt x="95" y="149"/>
                  <a:pt x="93" y="148"/>
                  <a:pt x="93" y="147"/>
                </a:cubicBezTo>
                <a:cubicBezTo>
                  <a:pt x="93" y="145"/>
                  <a:pt x="95" y="144"/>
                  <a:pt x="96" y="144"/>
                </a:cubicBezTo>
                <a:close/>
                <a:moveTo>
                  <a:pt x="112" y="144"/>
                </a:moveTo>
                <a:cubicBezTo>
                  <a:pt x="113" y="144"/>
                  <a:pt x="115" y="145"/>
                  <a:pt x="115" y="147"/>
                </a:cubicBezTo>
                <a:cubicBezTo>
                  <a:pt x="115" y="148"/>
                  <a:pt x="113" y="149"/>
                  <a:pt x="112" y="149"/>
                </a:cubicBezTo>
                <a:cubicBezTo>
                  <a:pt x="111" y="149"/>
                  <a:pt x="109" y="148"/>
                  <a:pt x="109" y="147"/>
                </a:cubicBezTo>
                <a:cubicBezTo>
                  <a:pt x="109" y="145"/>
                  <a:pt x="111" y="144"/>
                  <a:pt x="112" y="144"/>
                </a:cubicBezTo>
                <a:close/>
                <a:moveTo>
                  <a:pt x="128" y="144"/>
                </a:moveTo>
                <a:cubicBezTo>
                  <a:pt x="129" y="144"/>
                  <a:pt x="131" y="145"/>
                  <a:pt x="131" y="147"/>
                </a:cubicBezTo>
                <a:cubicBezTo>
                  <a:pt x="131" y="148"/>
                  <a:pt x="129" y="149"/>
                  <a:pt x="128" y="149"/>
                </a:cubicBezTo>
                <a:cubicBezTo>
                  <a:pt x="127" y="149"/>
                  <a:pt x="125" y="148"/>
                  <a:pt x="125" y="147"/>
                </a:cubicBezTo>
                <a:cubicBezTo>
                  <a:pt x="125" y="145"/>
                  <a:pt x="127" y="144"/>
                  <a:pt x="128" y="144"/>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36">
            <a:extLst>
              <a:ext uri="{FF2B5EF4-FFF2-40B4-BE49-F238E27FC236}">
                <a16:creationId xmlns:a16="http://schemas.microsoft.com/office/drawing/2014/main" id="{31C698B9-9002-4D4F-995C-434FFA6B87E4}"/>
              </a:ext>
            </a:extLst>
          </p:cNvPr>
          <p:cNvSpPr>
            <a:spLocks noEditPoints="1"/>
          </p:cNvSpPr>
          <p:nvPr/>
        </p:nvSpPr>
        <p:spPr bwMode="auto">
          <a:xfrm>
            <a:off x="3741429" y="3244850"/>
            <a:ext cx="600075" cy="363538"/>
          </a:xfrm>
          <a:custGeom>
            <a:avLst/>
            <a:gdLst>
              <a:gd name="T0" fmla="*/ 112 w 160"/>
              <a:gd name="T1" fmla="*/ 0 h 96"/>
              <a:gd name="T2" fmla="*/ 48 w 160"/>
              <a:gd name="T3" fmla="*/ 0 h 96"/>
              <a:gd name="T4" fmla="*/ 0 w 160"/>
              <a:gd name="T5" fmla="*/ 48 h 96"/>
              <a:gd name="T6" fmla="*/ 48 w 160"/>
              <a:gd name="T7" fmla="*/ 96 h 96"/>
              <a:gd name="T8" fmla="*/ 112 w 160"/>
              <a:gd name="T9" fmla="*/ 96 h 96"/>
              <a:gd name="T10" fmla="*/ 160 w 160"/>
              <a:gd name="T11" fmla="*/ 48 h 96"/>
              <a:gd name="T12" fmla="*/ 112 w 160"/>
              <a:gd name="T13" fmla="*/ 0 h 96"/>
              <a:gd name="T14" fmla="*/ 112 w 160"/>
              <a:gd name="T15" fmla="*/ 91 h 96"/>
              <a:gd name="T16" fmla="*/ 48 w 160"/>
              <a:gd name="T17" fmla="*/ 91 h 96"/>
              <a:gd name="T18" fmla="*/ 5 w 160"/>
              <a:gd name="T19" fmla="*/ 48 h 96"/>
              <a:gd name="T20" fmla="*/ 48 w 160"/>
              <a:gd name="T21" fmla="*/ 5 h 96"/>
              <a:gd name="T22" fmla="*/ 112 w 160"/>
              <a:gd name="T23" fmla="*/ 5 h 96"/>
              <a:gd name="T24" fmla="*/ 155 w 160"/>
              <a:gd name="T25" fmla="*/ 48 h 96"/>
              <a:gd name="T26" fmla="*/ 112 w 160"/>
              <a:gd name="T27" fmla="*/ 91 h 96"/>
              <a:gd name="T28" fmla="*/ 112 w 160"/>
              <a:gd name="T29" fmla="*/ 13 h 96"/>
              <a:gd name="T30" fmla="*/ 77 w 160"/>
              <a:gd name="T31" fmla="*/ 48 h 96"/>
              <a:gd name="T32" fmla="*/ 112 w 160"/>
              <a:gd name="T33" fmla="*/ 83 h 96"/>
              <a:gd name="T34" fmla="*/ 147 w 160"/>
              <a:gd name="T35" fmla="*/ 48 h 96"/>
              <a:gd name="T36" fmla="*/ 112 w 160"/>
              <a:gd name="T37" fmla="*/ 13 h 96"/>
              <a:gd name="T38" fmla="*/ 112 w 160"/>
              <a:gd name="T39" fmla="*/ 77 h 96"/>
              <a:gd name="T40" fmla="*/ 83 w 160"/>
              <a:gd name="T41" fmla="*/ 48 h 96"/>
              <a:gd name="T42" fmla="*/ 112 w 160"/>
              <a:gd name="T43" fmla="*/ 19 h 96"/>
              <a:gd name="T44" fmla="*/ 141 w 160"/>
              <a:gd name="T45" fmla="*/ 48 h 96"/>
              <a:gd name="T46" fmla="*/ 112 w 160"/>
              <a:gd name="T47" fmla="*/ 77 h 96"/>
              <a:gd name="T48" fmla="*/ 48 w 160"/>
              <a:gd name="T49" fmla="*/ 27 h 96"/>
              <a:gd name="T50" fmla="*/ 48 w 160"/>
              <a:gd name="T51" fmla="*/ 69 h 96"/>
              <a:gd name="T52" fmla="*/ 45 w 160"/>
              <a:gd name="T53" fmla="*/ 72 h 96"/>
              <a:gd name="T54" fmla="*/ 43 w 160"/>
              <a:gd name="T55" fmla="*/ 69 h 96"/>
              <a:gd name="T56" fmla="*/ 43 w 160"/>
              <a:gd name="T57" fmla="*/ 27 h 96"/>
              <a:gd name="T58" fmla="*/ 45 w 160"/>
              <a:gd name="T59" fmla="*/ 24 h 96"/>
              <a:gd name="T60" fmla="*/ 48 w 160"/>
              <a:gd name="T6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96">
                <a:moveTo>
                  <a:pt x="112" y="0"/>
                </a:moveTo>
                <a:cubicBezTo>
                  <a:pt x="48" y="0"/>
                  <a:pt x="48" y="0"/>
                  <a:pt x="48" y="0"/>
                </a:cubicBezTo>
                <a:cubicBezTo>
                  <a:pt x="22" y="0"/>
                  <a:pt x="0" y="22"/>
                  <a:pt x="0" y="48"/>
                </a:cubicBezTo>
                <a:cubicBezTo>
                  <a:pt x="0" y="74"/>
                  <a:pt x="22" y="96"/>
                  <a:pt x="48" y="96"/>
                </a:cubicBezTo>
                <a:cubicBezTo>
                  <a:pt x="112" y="96"/>
                  <a:pt x="112" y="96"/>
                  <a:pt x="112" y="96"/>
                </a:cubicBezTo>
                <a:cubicBezTo>
                  <a:pt x="138" y="96"/>
                  <a:pt x="160" y="74"/>
                  <a:pt x="160" y="48"/>
                </a:cubicBezTo>
                <a:cubicBezTo>
                  <a:pt x="160" y="22"/>
                  <a:pt x="138" y="0"/>
                  <a:pt x="112" y="0"/>
                </a:cubicBezTo>
                <a:close/>
                <a:moveTo>
                  <a:pt x="112" y="91"/>
                </a:moveTo>
                <a:cubicBezTo>
                  <a:pt x="48" y="91"/>
                  <a:pt x="48" y="91"/>
                  <a:pt x="48" y="91"/>
                </a:cubicBezTo>
                <a:cubicBezTo>
                  <a:pt x="24" y="91"/>
                  <a:pt x="5" y="72"/>
                  <a:pt x="5" y="48"/>
                </a:cubicBezTo>
                <a:cubicBezTo>
                  <a:pt x="5" y="24"/>
                  <a:pt x="24" y="5"/>
                  <a:pt x="48" y="5"/>
                </a:cubicBezTo>
                <a:cubicBezTo>
                  <a:pt x="112" y="5"/>
                  <a:pt x="112" y="5"/>
                  <a:pt x="112" y="5"/>
                </a:cubicBezTo>
                <a:cubicBezTo>
                  <a:pt x="136" y="5"/>
                  <a:pt x="155" y="24"/>
                  <a:pt x="155" y="48"/>
                </a:cubicBezTo>
                <a:cubicBezTo>
                  <a:pt x="155" y="72"/>
                  <a:pt x="136" y="91"/>
                  <a:pt x="112" y="91"/>
                </a:cubicBezTo>
                <a:close/>
                <a:moveTo>
                  <a:pt x="112" y="13"/>
                </a:moveTo>
                <a:cubicBezTo>
                  <a:pt x="93" y="13"/>
                  <a:pt x="77" y="29"/>
                  <a:pt x="77" y="48"/>
                </a:cubicBezTo>
                <a:cubicBezTo>
                  <a:pt x="77" y="67"/>
                  <a:pt x="93" y="83"/>
                  <a:pt x="112" y="83"/>
                </a:cubicBezTo>
                <a:cubicBezTo>
                  <a:pt x="131" y="83"/>
                  <a:pt x="147" y="67"/>
                  <a:pt x="147" y="48"/>
                </a:cubicBezTo>
                <a:cubicBezTo>
                  <a:pt x="147" y="29"/>
                  <a:pt x="131" y="13"/>
                  <a:pt x="112" y="13"/>
                </a:cubicBezTo>
                <a:close/>
                <a:moveTo>
                  <a:pt x="112" y="77"/>
                </a:moveTo>
                <a:cubicBezTo>
                  <a:pt x="96" y="77"/>
                  <a:pt x="83" y="64"/>
                  <a:pt x="83" y="48"/>
                </a:cubicBezTo>
                <a:cubicBezTo>
                  <a:pt x="83" y="32"/>
                  <a:pt x="96" y="19"/>
                  <a:pt x="112" y="19"/>
                </a:cubicBezTo>
                <a:cubicBezTo>
                  <a:pt x="128" y="19"/>
                  <a:pt x="141" y="32"/>
                  <a:pt x="141" y="48"/>
                </a:cubicBezTo>
                <a:cubicBezTo>
                  <a:pt x="141" y="64"/>
                  <a:pt x="128" y="77"/>
                  <a:pt x="112" y="77"/>
                </a:cubicBezTo>
                <a:close/>
                <a:moveTo>
                  <a:pt x="48" y="27"/>
                </a:moveTo>
                <a:cubicBezTo>
                  <a:pt x="48" y="69"/>
                  <a:pt x="48" y="69"/>
                  <a:pt x="48" y="69"/>
                </a:cubicBezTo>
                <a:cubicBezTo>
                  <a:pt x="48" y="71"/>
                  <a:pt x="47" y="72"/>
                  <a:pt x="45" y="72"/>
                </a:cubicBezTo>
                <a:cubicBezTo>
                  <a:pt x="44" y="72"/>
                  <a:pt x="43" y="71"/>
                  <a:pt x="43" y="69"/>
                </a:cubicBezTo>
                <a:cubicBezTo>
                  <a:pt x="43" y="27"/>
                  <a:pt x="43" y="27"/>
                  <a:pt x="43" y="27"/>
                </a:cubicBezTo>
                <a:cubicBezTo>
                  <a:pt x="43" y="25"/>
                  <a:pt x="44" y="24"/>
                  <a:pt x="45" y="24"/>
                </a:cubicBezTo>
                <a:cubicBezTo>
                  <a:pt x="47" y="24"/>
                  <a:pt x="48" y="25"/>
                  <a:pt x="48" y="27"/>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37">
            <a:extLst>
              <a:ext uri="{FF2B5EF4-FFF2-40B4-BE49-F238E27FC236}">
                <a16:creationId xmlns:a16="http://schemas.microsoft.com/office/drawing/2014/main" id="{A0C56D4C-E248-ED41-A01C-10DAE591CF7C}"/>
              </a:ext>
            </a:extLst>
          </p:cNvPr>
          <p:cNvSpPr>
            <a:spLocks noEditPoints="1"/>
          </p:cNvSpPr>
          <p:nvPr/>
        </p:nvSpPr>
        <p:spPr bwMode="auto">
          <a:xfrm>
            <a:off x="3741429" y="3925888"/>
            <a:ext cx="600075" cy="363538"/>
          </a:xfrm>
          <a:custGeom>
            <a:avLst/>
            <a:gdLst>
              <a:gd name="T0" fmla="*/ 112 w 160"/>
              <a:gd name="T1" fmla="*/ 0 h 96"/>
              <a:gd name="T2" fmla="*/ 48 w 160"/>
              <a:gd name="T3" fmla="*/ 0 h 96"/>
              <a:gd name="T4" fmla="*/ 0 w 160"/>
              <a:gd name="T5" fmla="*/ 48 h 96"/>
              <a:gd name="T6" fmla="*/ 48 w 160"/>
              <a:gd name="T7" fmla="*/ 96 h 96"/>
              <a:gd name="T8" fmla="*/ 112 w 160"/>
              <a:gd name="T9" fmla="*/ 96 h 96"/>
              <a:gd name="T10" fmla="*/ 160 w 160"/>
              <a:gd name="T11" fmla="*/ 48 h 96"/>
              <a:gd name="T12" fmla="*/ 112 w 160"/>
              <a:gd name="T13" fmla="*/ 0 h 96"/>
              <a:gd name="T14" fmla="*/ 112 w 160"/>
              <a:gd name="T15" fmla="*/ 91 h 96"/>
              <a:gd name="T16" fmla="*/ 48 w 160"/>
              <a:gd name="T17" fmla="*/ 91 h 96"/>
              <a:gd name="T18" fmla="*/ 5 w 160"/>
              <a:gd name="T19" fmla="*/ 48 h 96"/>
              <a:gd name="T20" fmla="*/ 48 w 160"/>
              <a:gd name="T21" fmla="*/ 5 h 96"/>
              <a:gd name="T22" fmla="*/ 112 w 160"/>
              <a:gd name="T23" fmla="*/ 5 h 96"/>
              <a:gd name="T24" fmla="*/ 155 w 160"/>
              <a:gd name="T25" fmla="*/ 48 h 96"/>
              <a:gd name="T26" fmla="*/ 112 w 160"/>
              <a:gd name="T27" fmla="*/ 91 h 96"/>
              <a:gd name="T28" fmla="*/ 48 w 160"/>
              <a:gd name="T29" fmla="*/ 13 h 96"/>
              <a:gd name="T30" fmla="*/ 13 w 160"/>
              <a:gd name="T31" fmla="*/ 48 h 96"/>
              <a:gd name="T32" fmla="*/ 48 w 160"/>
              <a:gd name="T33" fmla="*/ 83 h 96"/>
              <a:gd name="T34" fmla="*/ 83 w 160"/>
              <a:gd name="T35" fmla="*/ 48 h 96"/>
              <a:gd name="T36" fmla="*/ 48 w 160"/>
              <a:gd name="T37" fmla="*/ 13 h 96"/>
              <a:gd name="T38" fmla="*/ 48 w 160"/>
              <a:gd name="T39" fmla="*/ 77 h 96"/>
              <a:gd name="T40" fmla="*/ 19 w 160"/>
              <a:gd name="T41" fmla="*/ 48 h 96"/>
              <a:gd name="T42" fmla="*/ 48 w 160"/>
              <a:gd name="T43" fmla="*/ 19 h 96"/>
              <a:gd name="T44" fmla="*/ 77 w 160"/>
              <a:gd name="T45" fmla="*/ 48 h 96"/>
              <a:gd name="T46" fmla="*/ 48 w 160"/>
              <a:gd name="T47" fmla="*/ 77 h 96"/>
              <a:gd name="T48" fmla="*/ 133 w 160"/>
              <a:gd name="T49" fmla="*/ 35 h 96"/>
              <a:gd name="T50" fmla="*/ 133 w 160"/>
              <a:gd name="T51" fmla="*/ 39 h 96"/>
              <a:gd name="T52" fmla="*/ 111 w 160"/>
              <a:gd name="T53" fmla="*/ 61 h 96"/>
              <a:gd name="T54" fmla="*/ 109 w 160"/>
              <a:gd name="T55" fmla="*/ 61 h 96"/>
              <a:gd name="T56" fmla="*/ 107 w 160"/>
              <a:gd name="T57" fmla="*/ 61 h 96"/>
              <a:gd name="T58" fmla="*/ 97 w 160"/>
              <a:gd name="T59" fmla="*/ 50 h 96"/>
              <a:gd name="T60" fmla="*/ 97 w 160"/>
              <a:gd name="T61" fmla="*/ 46 h 96"/>
              <a:gd name="T62" fmla="*/ 101 w 160"/>
              <a:gd name="T63" fmla="*/ 46 h 96"/>
              <a:gd name="T64" fmla="*/ 109 w 160"/>
              <a:gd name="T65" fmla="*/ 55 h 96"/>
              <a:gd name="T66" fmla="*/ 129 w 160"/>
              <a:gd name="T67" fmla="*/ 35 h 96"/>
              <a:gd name="T68" fmla="*/ 133 w 160"/>
              <a:gd name="T6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96">
                <a:moveTo>
                  <a:pt x="112" y="0"/>
                </a:moveTo>
                <a:cubicBezTo>
                  <a:pt x="48" y="0"/>
                  <a:pt x="48" y="0"/>
                  <a:pt x="48" y="0"/>
                </a:cubicBezTo>
                <a:cubicBezTo>
                  <a:pt x="22" y="0"/>
                  <a:pt x="0" y="22"/>
                  <a:pt x="0" y="48"/>
                </a:cubicBezTo>
                <a:cubicBezTo>
                  <a:pt x="0" y="74"/>
                  <a:pt x="22" y="96"/>
                  <a:pt x="48" y="96"/>
                </a:cubicBezTo>
                <a:cubicBezTo>
                  <a:pt x="112" y="96"/>
                  <a:pt x="112" y="96"/>
                  <a:pt x="112" y="96"/>
                </a:cubicBezTo>
                <a:cubicBezTo>
                  <a:pt x="138" y="96"/>
                  <a:pt x="160" y="74"/>
                  <a:pt x="160" y="48"/>
                </a:cubicBezTo>
                <a:cubicBezTo>
                  <a:pt x="160" y="22"/>
                  <a:pt x="138" y="0"/>
                  <a:pt x="112" y="0"/>
                </a:cubicBezTo>
                <a:close/>
                <a:moveTo>
                  <a:pt x="112" y="91"/>
                </a:moveTo>
                <a:cubicBezTo>
                  <a:pt x="48" y="91"/>
                  <a:pt x="48" y="91"/>
                  <a:pt x="48" y="91"/>
                </a:cubicBezTo>
                <a:cubicBezTo>
                  <a:pt x="24" y="91"/>
                  <a:pt x="5" y="72"/>
                  <a:pt x="5" y="48"/>
                </a:cubicBezTo>
                <a:cubicBezTo>
                  <a:pt x="5" y="24"/>
                  <a:pt x="24" y="5"/>
                  <a:pt x="48" y="5"/>
                </a:cubicBezTo>
                <a:cubicBezTo>
                  <a:pt x="112" y="5"/>
                  <a:pt x="112" y="5"/>
                  <a:pt x="112" y="5"/>
                </a:cubicBezTo>
                <a:cubicBezTo>
                  <a:pt x="136" y="5"/>
                  <a:pt x="155" y="24"/>
                  <a:pt x="155" y="48"/>
                </a:cubicBezTo>
                <a:cubicBezTo>
                  <a:pt x="155" y="72"/>
                  <a:pt x="136" y="91"/>
                  <a:pt x="112" y="91"/>
                </a:cubicBezTo>
                <a:close/>
                <a:moveTo>
                  <a:pt x="48" y="13"/>
                </a:moveTo>
                <a:cubicBezTo>
                  <a:pt x="29" y="13"/>
                  <a:pt x="13" y="29"/>
                  <a:pt x="13" y="48"/>
                </a:cubicBezTo>
                <a:cubicBezTo>
                  <a:pt x="13" y="67"/>
                  <a:pt x="29" y="83"/>
                  <a:pt x="48" y="83"/>
                </a:cubicBezTo>
                <a:cubicBezTo>
                  <a:pt x="67" y="83"/>
                  <a:pt x="83" y="67"/>
                  <a:pt x="83" y="48"/>
                </a:cubicBezTo>
                <a:cubicBezTo>
                  <a:pt x="83" y="29"/>
                  <a:pt x="67" y="13"/>
                  <a:pt x="48" y="13"/>
                </a:cubicBezTo>
                <a:close/>
                <a:moveTo>
                  <a:pt x="48" y="77"/>
                </a:moveTo>
                <a:cubicBezTo>
                  <a:pt x="32" y="77"/>
                  <a:pt x="19" y="64"/>
                  <a:pt x="19" y="48"/>
                </a:cubicBezTo>
                <a:cubicBezTo>
                  <a:pt x="19" y="32"/>
                  <a:pt x="32" y="19"/>
                  <a:pt x="48" y="19"/>
                </a:cubicBezTo>
                <a:cubicBezTo>
                  <a:pt x="64" y="19"/>
                  <a:pt x="77" y="32"/>
                  <a:pt x="77" y="48"/>
                </a:cubicBezTo>
                <a:cubicBezTo>
                  <a:pt x="77" y="64"/>
                  <a:pt x="64" y="77"/>
                  <a:pt x="48" y="77"/>
                </a:cubicBezTo>
                <a:close/>
                <a:moveTo>
                  <a:pt x="133" y="35"/>
                </a:moveTo>
                <a:cubicBezTo>
                  <a:pt x="134" y="36"/>
                  <a:pt x="134" y="38"/>
                  <a:pt x="133" y="39"/>
                </a:cubicBezTo>
                <a:cubicBezTo>
                  <a:pt x="111" y="61"/>
                  <a:pt x="111" y="61"/>
                  <a:pt x="111" y="61"/>
                </a:cubicBezTo>
                <a:cubicBezTo>
                  <a:pt x="111" y="61"/>
                  <a:pt x="110" y="61"/>
                  <a:pt x="109" y="61"/>
                </a:cubicBezTo>
                <a:cubicBezTo>
                  <a:pt x="109" y="61"/>
                  <a:pt x="108" y="61"/>
                  <a:pt x="107" y="61"/>
                </a:cubicBezTo>
                <a:cubicBezTo>
                  <a:pt x="97" y="50"/>
                  <a:pt x="97" y="50"/>
                  <a:pt x="97" y="50"/>
                </a:cubicBezTo>
                <a:cubicBezTo>
                  <a:pt x="96" y="49"/>
                  <a:pt x="96" y="47"/>
                  <a:pt x="97" y="46"/>
                </a:cubicBezTo>
                <a:cubicBezTo>
                  <a:pt x="98" y="45"/>
                  <a:pt x="100" y="45"/>
                  <a:pt x="101" y="46"/>
                </a:cubicBezTo>
                <a:cubicBezTo>
                  <a:pt x="109" y="55"/>
                  <a:pt x="109" y="55"/>
                  <a:pt x="109" y="55"/>
                </a:cubicBezTo>
                <a:cubicBezTo>
                  <a:pt x="129" y="35"/>
                  <a:pt x="129" y="35"/>
                  <a:pt x="129" y="35"/>
                </a:cubicBezTo>
                <a:cubicBezTo>
                  <a:pt x="130" y="34"/>
                  <a:pt x="132" y="34"/>
                  <a:pt x="133" y="3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38">
            <a:extLst>
              <a:ext uri="{FF2B5EF4-FFF2-40B4-BE49-F238E27FC236}">
                <a16:creationId xmlns:a16="http://schemas.microsoft.com/office/drawing/2014/main" id="{993F911D-FCCB-544B-A7F1-B86C81160054}"/>
              </a:ext>
            </a:extLst>
          </p:cNvPr>
          <p:cNvSpPr>
            <a:spLocks noEditPoints="1"/>
          </p:cNvSpPr>
          <p:nvPr/>
        </p:nvSpPr>
        <p:spPr bwMode="auto">
          <a:xfrm>
            <a:off x="3741429" y="4638675"/>
            <a:ext cx="600075" cy="282575"/>
          </a:xfrm>
          <a:custGeom>
            <a:avLst/>
            <a:gdLst>
              <a:gd name="T0" fmla="*/ 70 w 160"/>
              <a:gd name="T1" fmla="*/ 19 h 75"/>
              <a:gd name="T2" fmla="*/ 0 w 160"/>
              <a:gd name="T3" fmla="*/ 37 h 75"/>
              <a:gd name="T4" fmla="*/ 70 w 160"/>
              <a:gd name="T5" fmla="*/ 56 h 75"/>
              <a:gd name="T6" fmla="*/ 160 w 160"/>
              <a:gd name="T7" fmla="*/ 37 h 75"/>
              <a:gd name="T8" fmla="*/ 37 w 160"/>
              <a:gd name="T9" fmla="*/ 69 h 75"/>
              <a:gd name="T10" fmla="*/ 37 w 160"/>
              <a:gd name="T11" fmla="*/ 5 h 75"/>
              <a:gd name="T12" fmla="*/ 67 w 160"/>
              <a:gd name="T13" fmla="*/ 26 h 75"/>
              <a:gd name="T14" fmla="*/ 68 w 160"/>
              <a:gd name="T15" fmla="*/ 29 h 75"/>
              <a:gd name="T16" fmla="*/ 69 w 160"/>
              <a:gd name="T17" fmla="*/ 33 h 75"/>
              <a:gd name="T18" fmla="*/ 69 w 160"/>
              <a:gd name="T19" fmla="*/ 37 h 75"/>
              <a:gd name="T20" fmla="*/ 69 w 160"/>
              <a:gd name="T21" fmla="*/ 42 h 75"/>
              <a:gd name="T22" fmla="*/ 68 w 160"/>
              <a:gd name="T23" fmla="*/ 46 h 75"/>
              <a:gd name="T24" fmla="*/ 67 w 160"/>
              <a:gd name="T25" fmla="*/ 49 h 75"/>
              <a:gd name="T26" fmla="*/ 37 w 160"/>
              <a:gd name="T27" fmla="*/ 69 h 75"/>
              <a:gd name="T28" fmla="*/ 72 w 160"/>
              <a:gd name="T29" fmla="*/ 51 h 75"/>
              <a:gd name="T30" fmla="*/ 73 w 160"/>
              <a:gd name="T31" fmla="*/ 48 h 75"/>
              <a:gd name="T32" fmla="*/ 74 w 160"/>
              <a:gd name="T33" fmla="*/ 45 h 75"/>
              <a:gd name="T34" fmla="*/ 74 w 160"/>
              <a:gd name="T35" fmla="*/ 41 h 75"/>
              <a:gd name="T36" fmla="*/ 74 w 160"/>
              <a:gd name="T37" fmla="*/ 34 h 75"/>
              <a:gd name="T38" fmla="*/ 74 w 160"/>
              <a:gd name="T39" fmla="*/ 30 h 75"/>
              <a:gd name="T40" fmla="*/ 73 w 160"/>
              <a:gd name="T41" fmla="*/ 27 h 75"/>
              <a:gd name="T42" fmla="*/ 72 w 160"/>
              <a:gd name="T43" fmla="*/ 24 h 75"/>
              <a:gd name="T44" fmla="*/ 155 w 160"/>
              <a:gd name="T45" fmla="*/ 37 h 75"/>
              <a:gd name="T46" fmla="*/ 91 w 160"/>
              <a:gd name="T47" fmla="*/ 35 h 75"/>
              <a:gd name="T48" fmla="*/ 91 w 160"/>
              <a:gd name="T49" fmla="*/ 40 h 75"/>
              <a:gd name="T50" fmla="*/ 91 w 160"/>
              <a:gd name="T51" fmla="*/ 35 h 75"/>
              <a:gd name="T52" fmla="*/ 85 w 160"/>
              <a:gd name="T53" fmla="*/ 29 h 75"/>
              <a:gd name="T54" fmla="*/ 80 w 160"/>
              <a:gd name="T55" fmla="*/ 29 h 75"/>
              <a:gd name="T56" fmla="*/ 99 w 160"/>
              <a:gd name="T57" fmla="*/ 27 h 75"/>
              <a:gd name="T58" fmla="*/ 99 w 160"/>
              <a:gd name="T59" fmla="*/ 32 h 75"/>
              <a:gd name="T60" fmla="*/ 99 w 160"/>
              <a:gd name="T61" fmla="*/ 27 h 75"/>
              <a:gd name="T62" fmla="*/ 85 w 160"/>
              <a:gd name="T63" fmla="*/ 45 h 75"/>
              <a:gd name="T64" fmla="*/ 80 w 160"/>
              <a:gd name="T65" fmla="*/ 45 h 75"/>
              <a:gd name="T66" fmla="*/ 99 w 160"/>
              <a:gd name="T67" fmla="*/ 43 h 75"/>
              <a:gd name="T68" fmla="*/ 99 w 160"/>
              <a:gd name="T69" fmla="*/ 48 h 75"/>
              <a:gd name="T70" fmla="*/ 99 w 160"/>
              <a:gd name="T71" fmla="*/ 43 h 75"/>
              <a:gd name="T72" fmla="*/ 109 w 160"/>
              <a:gd name="T73" fmla="*/ 37 h 75"/>
              <a:gd name="T74" fmla="*/ 104 w 160"/>
              <a:gd name="T75" fmla="*/ 37 h 75"/>
              <a:gd name="T76" fmla="*/ 123 w 160"/>
              <a:gd name="T77" fmla="*/ 35 h 75"/>
              <a:gd name="T78" fmla="*/ 123 w 160"/>
              <a:gd name="T79" fmla="*/ 40 h 75"/>
              <a:gd name="T80" fmla="*/ 123 w 160"/>
              <a:gd name="T81" fmla="*/ 35 h 75"/>
              <a:gd name="T82" fmla="*/ 117 w 160"/>
              <a:gd name="T83" fmla="*/ 29 h 75"/>
              <a:gd name="T84" fmla="*/ 112 w 160"/>
              <a:gd name="T85" fmla="*/ 29 h 75"/>
              <a:gd name="T86" fmla="*/ 131 w 160"/>
              <a:gd name="T87" fmla="*/ 27 h 75"/>
              <a:gd name="T88" fmla="*/ 131 w 160"/>
              <a:gd name="T89" fmla="*/ 32 h 75"/>
              <a:gd name="T90" fmla="*/ 131 w 160"/>
              <a:gd name="T91" fmla="*/ 27 h 75"/>
              <a:gd name="T92" fmla="*/ 117 w 160"/>
              <a:gd name="T93" fmla="*/ 45 h 75"/>
              <a:gd name="T94" fmla="*/ 112 w 160"/>
              <a:gd name="T95" fmla="*/ 45 h 75"/>
              <a:gd name="T96" fmla="*/ 131 w 160"/>
              <a:gd name="T97" fmla="*/ 43 h 75"/>
              <a:gd name="T98" fmla="*/ 131 w 160"/>
              <a:gd name="T99" fmla="*/ 48 h 75"/>
              <a:gd name="T100" fmla="*/ 131 w 160"/>
              <a:gd name="T101" fmla="*/ 43 h 75"/>
              <a:gd name="T102" fmla="*/ 141 w 160"/>
              <a:gd name="T103" fmla="*/ 37 h 75"/>
              <a:gd name="T104" fmla="*/ 136 w 160"/>
              <a:gd name="T105" fmla="*/ 37 h 75"/>
              <a:gd name="T106" fmla="*/ 147 w 160"/>
              <a:gd name="T107" fmla="*/ 27 h 75"/>
              <a:gd name="T108" fmla="*/ 147 w 160"/>
              <a:gd name="T109" fmla="*/ 32 h 75"/>
              <a:gd name="T110" fmla="*/ 147 w 160"/>
              <a:gd name="T111" fmla="*/ 27 h 75"/>
              <a:gd name="T112" fmla="*/ 149 w 160"/>
              <a:gd name="T113" fmla="*/ 45 h 75"/>
              <a:gd name="T114" fmla="*/ 144 w 160"/>
              <a:gd name="T115" fmla="*/ 4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75">
                <a:moveTo>
                  <a:pt x="141" y="19"/>
                </a:moveTo>
                <a:cubicBezTo>
                  <a:pt x="70" y="19"/>
                  <a:pt x="70" y="19"/>
                  <a:pt x="70" y="19"/>
                </a:cubicBezTo>
                <a:cubicBezTo>
                  <a:pt x="63" y="8"/>
                  <a:pt x="51" y="0"/>
                  <a:pt x="37" y="0"/>
                </a:cubicBezTo>
                <a:cubicBezTo>
                  <a:pt x="17" y="0"/>
                  <a:pt x="0" y="17"/>
                  <a:pt x="0" y="37"/>
                </a:cubicBezTo>
                <a:cubicBezTo>
                  <a:pt x="0" y="58"/>
                  <a:pt x="17" y="75"/>
                  <a:pt x="37" y="75"/>
                </a:cubicBezTo>
                <a:cubicBezTo>
                  <a:pt x="51" y="75"/>
                  <a:pt x="63" y="67"/>
                  <a:pt x="70" y="56"/>
                </a:cubicBezTo>
                <a:cubicBezTo>
                  <a:pt x="141" y="56"/>
                  <a:pt x="141" y="56"/>
                  <a:pt x="141" y="56"/>
                </a:cubicBezTo>
                <a:cubicBezTo>
                  <a:pt x="152" y="56"/>
                  <a:pt x="160" y="48"/>
                  <a:pt x="160" y="37"/>
                </a:cubicBezTo>
                <a:cubicBezTo>
                  <a:pt x="160" y="27"/>
                  <a:pt x="152" y="19"/>
                  <a:pt x="141" y="19"/>
                </a:cubicBezTo>
                <a:close/>
                <a:moveTo>
                  <a:pt x="37" y="69"/>
                </a:moveTo>
                <a:cubicBezTo>
                  <a:pt x="20" y="69"/>
                  <a:pt x="5" y="55"/>
                  <a:pt x="5" y="37"/>
                </a:cubicBezTo>
                <a:cubicBezTo>
                  <a:pt x="5" y="20"/>
                  <a:pt x="20" y="5"/>
                  <a:pt x="37" y="5"/>
                </a:cubicBezTo>
                <a:cubicBezTo>
                  <a:pt x="50" y="5"/>
                  <a:pt x="61" y="12"/>
                  <a:pt x="66" y="23"/>
                </a:cubicBezTo>
                <a:cubicBezTo>
                  <a:pt x="66" y="24"/>
                  <a:pt x="67" y="25"/>
                  <a:pt x="67" y="26"/>
                </a:cubicBezTo>
                <a:cubicBezTo>
                  <a:pt x="67" y="26"/>
                  <a:pt x="67" y="26"/>
                  <a:pt x="67" y="27"/>
                </a:cubicBezTo>
                <a:cubicBezTo>
                  <a:pt x="68" y="27"/>
                  <a:pt x="68" y="28"/>
                  <a:pt x="68" y="29"/>
                </a:cubicBezTo>
                <a:cubicBezTo>
                  <a:pt x="68" y="29"/>
                  <a:pt x="68" y="30"/>
                  <a:pt x="69" y="30"/>
                </a:cubicBezTo>
                <a:cubicBezTo>
                  <a:pt x="69" y="31"/>
                  <a:pt x="69" y="32"/>
                  <a:pt x="69" y="33"/>
                </a:cubicBezTo>
                <a:cubicBezTo>
                  <a:pt x="69" y="33"/>
                  <a:pt x="69" y="33"/>
                  <a:pt x="69" y="34"/>
                </a:cubicBezTo>
                <a:cubicBezTo>
                  <a:pt x="69" y="35"/>
                  <a:pt x="69" y="36"/>
                  <a:pt x="69" y="37"/>
                </a:cubicBezTo>
                <a:cubicBezTo>
                  <a:pt x="69" y="39"/>
                  <a:pt x="69" y="40"/>
                  <a:pt x="69" y="41"/>
                </a:cubicBezTo>
                <a:cubicBezTo>
                  <a:pt x="69" y="41"/>
                  <a:pt x="69" y="42"/>
                  <a:pt x="69" y="42"/>
                </a:cubicBezTo>
                <a:cubicBezTo>
                  <a:pt x="69" y="43"/>
                  <a:pt x="69" y="44"/>
                  <a:pt x="69" y="44"/>
                </a:cubicBezTo>
                <a:cubicBezTo>
                  <a:pt x="68" y="45"/>
                  <a:pt x="68" y="45"/>
                  <a:pt x="68" y="46"/>
                </a:cubicBezTo>
                <a:cubicBezTo>
                  <a:pt x="68" y="46"/>
                  <a:pt x="68" y="47"/>
                  <a:pt x="67" y="48"/>
                </a:cubicBezTo>
                <a:cubicBezTo>
                  <a:pt x="67" y="48"/>
                  <a:pt x="67" y="49"/>
                  <a:pt x="67" y="49"/>
                </a:cubicBezTo>
                <a:cubicBezTo>
                  <a:pt x="67" y="50"/>
                  <a:pt x="66" y="51"/>
                  <a:pt x="66" y="52"/>
                </a:cubicBezTo>
                <a:cubicBezTo>
                  <a:pt x="61" y="62"/>
                  <a:pt x="50" y="69"/>
                  <a:pt x="37" y="69"/>
                </a:cubicBezTo>
                <a:close/>
                <a:moveTo>
                  <a:pt x="141" y="51"/>
                </a:moveTo>
                <a:cubicBezTo>
                  <a:pt x="72" y="51"/>
                  <a:pt x="72" y="51"/>
                  <a:pt x="72" y="51"/>
                </a:cubicBezTo>
                <a:cubicBezTo>
                  <a:pt x="72" y="50"/>
                  <a:pt x="72" y="50"/>
                  <a:pt x="73" y="50"/>
                </a:cubicBezTo>
                <a:cubicBezTo>
                  <a:pt x="73" y="49"/>
                  <a:pt x="73" y="48"/>
                  <a:pt x="73" y="48"/>
                </a:cubicBezTo>
                <a:cubicBezTo>
                  <a:pt x="73" y="47"/>
                  <a:pt x="73" y="47"/>
                  <a:pt x="74" y="46"/>
                </a:cubicBezTo>
                <a:cubicBezTo>
                  <a:pt x="74" y="45"/>
                  <a:pt x="74" y="45"/>
                  <a:pt x="74" y="45"/>
                </a:cubicBezTo>
                <a:cubicBezTo>
                  <a:pt x="74" y="44"/>
                  <a:pt x="74" y="43"/>
                  <a:pt x="74" y="42"/>
                </a:cubicBezTo>
                <a:cubicBezTo>
                  <a:pt x="74" y="42"/>
                  <a:pt x="74" y="41"/>
                  <a:pt x="74" y="41"/>
                </a:cubicBezTo>
                <a:cubicBezTo>
                  <a:pt x="75" y="40"/>
                  <a:pt x="75" y="39"/>
                  <a:pt x="75" y="37"/>
                </a:cubicBezTo>
                <a:cubicBezTo>
                  <a:pt x="75" y="36"/>
                  <a:pt x="75" y="35"/>
                  <a:pt x="74" y="34"/>
                </a:cubicBezTo>
                <a:cubicBezTo>
                  <a:pt x="74" y="33"/>
                  <a:pt x="74" y="33"/>
                  <a:pt x="74" y="33"/>
                </a:cubicBezTo>
                <a:cubicBezTo>
                  <a:pt x="74" y="32"/>
                  <a:pt x="74" y="31"/>
                  <a:pt x="74" y="30"/>
                </a:cubicBezTo>
                <a:cubicBezTo>
                  <a:pt x="74" y="30"/>
                  <a:pt x="74" y="29"/>
                  <a:pt x="74" y="29"/>
                </a:cubicBezTo>
                <a:cubicBezTo>
                  <a:pt x="73" y="28"/>
                  <a:pt x="73" y="27"/>
                  <a:pt x="73" y="27"/>
                </a:cubicBezTo>
                <a:cubicBezTo>
                  <a:pt x="73" y="26"/>
                  <a:pt x="73" y="26"/>
                  <a:pt x="73" y="25"/>
                </a:cubicBezTo>
                <a:cubicBezTo>
                  <a:pt x="72" y="25"/>
                  <a:pt x="72" y="24"/>
                  <a:pt x="72" y="24"/>
                </a:cubicBezTo>
                <a:cubicBezTo>
                  <a:pt x="141" y="24"/>
                  <a:pt x="141" y="24"/>
                  <a:pt x="141" y="24"/>
                </a:cubicBezTo>
                <a:cubicBezTo>
                  <a:pt x="149" y="24"/>
                  <a:pt x="155" y="30"/>
                  <a:pt x="155" y="37"/>
                </a:cubicBezTo>
                <a:cubicBezTo>
                  <a:pt x="155" y="45"/>
                  <a:pt x="149" y="51"/>
                  <a:pt x="141" y="51"/>
                </a:cubicBezTo>
                <a:close/>
                <a:moveTo>
                  <a:pt x="91" y="35"/>
                </a:moveTo>
                <a:cubicBezTo>
                  <a:pt x="92" y="35"/>
                  <a:pt x="93" y="36"/>
                  <a:pt x="93" y="37"/>
                </a:cubicBezTo>
                <a:cubicBezTo>
                  <a:pt x="93" y="39"/>
                  <a:pt x="92" y="40"/>
                  <a:pt x="91" y="40"/>
                </a:cubicBezTo>
                <a:cubicBezTo>
                  <a:pt x="89" y="40"/>
                  <a:pt x="88" y="39"/>
                  <a:pt x="88" y="37"/>
                </a:cubicBezTo>
                <a:cubicBezTo>
                  <a:pt x="88" y="36"/>
                  <a:pt x="89" y="35"/>
                  <a:pt x="91" y="35"/>
                </a:cubicBezTo>
                <a:close/>
                <a:moveTo>
                  <a:pt x="83" y="27"/>
                </a:moveTo>
                <a:cubicBezTo>
                  <a:pt x="84" y="27"/>
                  <a:pt x="85" y="28"/>
                  <a:pt x="85" y="29"/>
                </a:cubicBezTo>
                <a:cubicBezTo>
                  <a:pt x="85" y="31"/>
                  <a:pt x="84" y="32"/>
                  <a:pt x="83" y="32"/>
                </a:cubicBezTo>
                <a:cubicBezTo>
                  <a:pt x="81" y="32"/>
                  <a:pt x="80" y="31"/>
                  <a:pt x="80" y="29"/>
                </a:cubicBezTo>
                <a:cubicBezTo>
                  <a:pt x="80" y="28"/>
                  <a:pt x="81" y="27"/>
                  <a:pt x="83" y="27"/>
                </a:cubicBezTo>
                <a:close/>
                <a:moveTo>
                  <a:pt x="99" y="27"/>
                </a:moveTo>
                <a:cubicBezTo>
                  <a:pt x="100" y="27"/>
                  <a:pt x="101" y="28"/>
                  <a:pt x="101" y="29"/>
                </a:cubicBezTo>
                <a:cubicBezTo>
                  <a:pt x="101" y="31"/>
                  <a:pt x="100" y="32"/>
                  <a:pt x="99" y="32"/>
                </a:cubicBezTo>
                <a:cubicBezTo>
                  <a:pt x="97" y="32"/>
                  <a:pt x="96" y="31"/>
                  <a:pt x="96" y="29"/>
                </a:cubicBezTo>
                <a:cubicBezTo>
                  <a:pt x="96" y="28"/>
                  <a:pt x="97" y="27"/>
                  <a:pt x="99" y="27"/>
                </a:cubicBezTo>
                <a:close/>
                <a:moveTo>
                  <a:pt x="83" y="43"/>
                </a:moveTo>
                <a:cubicBezTo>
                  <a:pt x="84" y="43"/>
                  <a:pt x="85" y="44"/>
                  <a:pt x="85" y="45"/>
                </a:cubicBezTo>
                <a:cubicBezTo>
                  <a:pt x="85" y="47"/>
                  <a:pt x="84" y="48"/>
                  <a:pt x="83" y="48"/>
                </a:cubicBezTo>
                <a:cubicBezTo>
                  <a:pt x="81" y="48"/>
                  <a:pt x="80" y="47"/>
                  <a:pt x="80" y="45"/>
                </a:cubicBezTo>
                <a:cubicBezTo>
                  <a:pt x="80" y="44"/>
                  <a:pt x="81" y="43"/>
                  <a:pt x="83" y="43"/>
                </a:cubicBezTo>
                <a:close/>
                <a:moveTo>
                  <a:pt x="99" y="43"/>
                </a:moveTo>
                <a:cubicBezTo>
                  <a:pt x="100" y="43"/>
                  <a:pt x="101" y="44"/>
                  <a:pt x="101" y="45"/>
                </a:cubicBezTo>
                <a:cubicBezTo>
                  <a:pt x="101" y="47"/>
                  <a:pt x="100" y="48"/>
                  <a:pt x="99" y="48"/>
                </a:cubicBezTo>
                <a:cubicBezTo>
                  <a:pt x="97" y="48"/>
                  <a:pt x="96" y="47"/>
                  <a:pt x="96" y="45"/>
                </a:cubicBezTo>
                <a:cubicBezTo>
                  <a:pt x="96" y="44"/>
                  <a:pt x="97" y="43"/>
                  <a:pt x="99" y="43"/>
                </a:cubicBezTo>
                <a:close/>
                <a:moveTo>
                  <a:pt x="107" y="35"/>
                </a:moveTo>
                <a:cubicBezTo>
                  <a:pt x="108" y="35"/>
                  <a:pt x="109" y="36"/>
                  <a:pt x="109" y="37"/>
                </a:cubicBezTo>
                <a:cubicBezTo>
                  <a:pt x="109" y="39"/>
                  <a:pt x="108" y="40"/>
                  <a:pt x="107" y="40"/>
                </a:cubicBezTo>
                <a:cubicBezTo>
                  <a:pt x="105" y="40"/>
                  <a:pt x="104" y="39"/>
                  <a:pt x="104" y="37"/>
                </a:cubicBezTo>
                <a:cubicBezTo>
                  <a:pt x="104" y="36"/>
                  <a:pt x="105" y="35"/>
                  <a:pt x="107" y="35"/>
                </a:cubicBezTo>
                <a:close/>
                <a:moveTo>
                  <a:pt x="123" y="35"/>
                </a:moveTo>
                <a:cubicBezTo>
                  <a:pt x="124" y="35"/>
                  <a:pt x="125" y="36"/>
                  <a:pt x="125" y="37"/>
                </a:cubicBezTo>
                <a:cubicBezTo>
                  <a:pt x="125" y="39"/>
                  <a:pt x="124" y="40"/>
                  <a:pt x="123" y="40"/>
                </a:cubicBezTo>
                <a:cubicBezTo>
                  <a:pt x="121" y="40"/>
                  <a:pt x="120" y="39"/>
                  <a:pt x="120" y="37"/>
                </a:cubicBezTo>
                <a:cubicBezTo>
                  <a:pt x="120" y="36"/>
                  <a:pt x="121" y="35"/>
                  <a:pt x="123" y="35"/>
                </a:cubicBezTo>
                <a:close/>
                <a:moveTo>
                  <a:pt x="115" y="27"/>
                </a:moveTo>
                <a:cubicBezTo>
                  <a:pt x="116" y="27"/>
                  <a:pt x="117" y="28"/>
                  <a:pt x="117" y="29"/>
                </a:cubicBezTo>
                <a:cubicBezTo>
                  <a:pt x="117" y="31"/>
                  <a:pt x="116" y="32"/>
                  <a:pt x="115" y="32"/>
                </a:cubicBezTo>
                <a:cubicBezTo>
                  <a:pt x="113" y="32"/>
                  <a:pt x="112" y="31"/>
                  <a:pt x="112" y="29"/>
                </a:cubicBezTo>
                <a:cubicBezTo>
                  <a:pt x="112" y="28"/>
                  <a:pt x="113" y="27"/>
                  <a:pt x="115" y="27"/>
                </a:cubicBezTo>
                <a:close/>
                <a:moveTo>
                  <a:pt x="131" y="27"/>
                </a:moveTo>
                <a:cubicBezTo>
                  <a:pt x="132" y="27"/>
                  <a:pt x="133" y="28"/>
                  <a:pt x="133" y="29"/>
                </a:cubicBezTo>
                <a:cubicBezTo>
                  <a:pt x="133" y="31"/>
                  <a:pt x="132" y="32"/>
                  <a:pt x="131" y="32"/>
                </a:cubicBezTo>
                <a:cubicBezTo>
                  <a:pt x="129" y="32"/>
                  <a:pt x="128" y="31"/>
                  <a:pt x="128" y="29"/>
                </a:cubicBezTo>
                <a:cubicBezTo>
                  <a:pt x="128" y="28"/>
                  <a:pt x="129" y="27"/>
                  <a:pt x="131" y="27"/>
                </a:cubicBezTo>
                <a:close/>
                <a:moveTo>
                  <a:pt x="115" y="43"/>
                </a:moveTo>
                <a:cubicBezTo>
                  <a:pt x="116" y="43"/>
                  <a:pt x="117" y="44"/>
                  <a:pt x="117" y="45"/>
                </a:cubicBezTo>
                <a:cubicBezTo>
                  <a:pt x="117" y="47"/>
                  <a:pt x="116" y="48"/>
                  <a:pt x="115" y="48"/>
                </a:cubicBezTo>
                <a:cubicBezTo>
                  <a:pt x="113" y="48"/>
                  <a:pt x="112" y="47"/>
                  <a:pt x="112" y="45"/>
                </a:cubicBezTo>
                <a:cubicBezTo>
                  <a:pt x="112" y="44"/>
                  <a:pt x="113" y="43"/>
                  <a:pt x="115" y="43"/>
                </a:cubicBezTo>
                <a:close/>
                <a:moveTo>
                  <a:pt x="131" y="43"/>
                </a:moveTo>
                <a:cubicBezTo>
                  <a:pt x="132" y="43"/>
                  <a:pt x="133" y="44"/>
                  <a:pt x="133" y="45"/>
                </a:cubicBezTo>
                <a:cubicBezTo>
                  <a:pt x="133" y="47"/>
                  <a:pt x="132" y="48"/>
                  <a:pt x="131" y="48"/>
                </a:cubicBezTo>
                <a:cubicBezTo>
                  <a:pt x="129" y="48"/>
                  <a:pt x="128" y="47"/>
                  <a:pt x="128" y="45"/>
                </a:cubicBezTo>
                <a:cubicBezTo>
                  <a:pt x="128" y="44"/>
                  <a:pt x="129" y="43"/>
                  <a:pt x="131" y="43"/>
                </a:cubicBezTo>
                <a:close/>
                <a:moveTo>
                  <a:pt x="139" y="35"/>
                </a:moveTo>
                <a:cubicBezTo>
                  <a:pt x="140" y="35"/>
                  <a:pt x="141" y="36"/>
                  <a:pt x="141" y="37"/>
                </a:cubicBezTo>
                <a:cubicBezTo>
                  <a:pt x="141" y="39"/>
                  <a:pt x="140" y="40"/>
                  <a:pt x="139" y="40"/>
                </a:cubicBezTo>
                <a:cubicBezTo>
                  <a:pt x="137" y="40"/>
                  <a:pt x="136" y="39"/>
                  <a:pt x="136" y="37"/>
                </a:cubicBezTo>
                <a:cubicBezTo>
                  <a:pt x="136" y="36"/>
                  <a:pt x="137" y="35"/>
                  <a:pt x="139" y="35"/>
                </a:cubicBezTo>
                <a:close/>
                <a:moveTo>
                  <a:pt x="147" y="27"/>
                </a:moveTo>
                <a:cubicBezTo>
                  <a:pt x="148" y="27"/>
                  <a:pt x="149" y="28"/>
                  <a:pt x="149" y="29"/>
                </a:cubicBezTo>
                <a:cubicBezTo>
                  <a:pt x="149" y="31"/>
                  <a:pt x="148" y="32"/>
                  <a:pt x="147" y="32"/>
                </a:cubicBezTo>
                <a:cubicBezTo>
                  <a:pt x="145" y="32"/>
                  <a:pt x="144" y="31"/>
                  <a:pt x="144" y="29"/>
                </a:cubicBezTo>
                <a:cubicBezTo>
                  <a:pt x="144" y="28"/>
                  <a:pt x="145" y="27"/>
                  <a:pt x="147" y="27"/>
                </a:cubicBezTo>
                <a:close/>
                <a:moveTo>
                  <a:pt x="147" y="43"/>
                </a:moveTo>
                <a:cubicBezTo>
                  <a:pt x="148" y="43"/>
                  <a:pt x="149" y="44"/>
                  <a:pt x="149" y="45"/>
                </a:cubicBezTo>
                <a:cubicBezTo>
                  <a:pt x="149" y="47"/>
                  <a:pt x="148" y="48"/>
                  <a:pt x="147" y="48"/>
                </a:cubicBezTo>
                <a:cubicBezTo>
                  <a:pt x="145" y="48"/>
                  <a:pt x="144" y="47"/>
                  <a:pt x="144" y="45"/>
                </a:cubicBezTo>
                <a:cubicBezTo>
                  <a:pt x="144" y="44"/>
                  <a:pt x="145" y="43"/>
                  <a:pt x="147" y="43"/>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39">
            <a:extLst>
              <a:ext uri="{FF2B5EF4-FFF2-40B4-BE49-F238E27FC236}">
                <a16:creationId xmlns:a16="http://schemas.microsoft.com/office/drawing/2014/main" id="{4339A67B-619F-5F43-8E10-5E84544E07B5}"/>
              </a:ext>
            </a:extLst>
          </p:cNvPr>
          <p:cNvSpPr>
            <a:spLocks noEditPoints="1"/>
          </p:cNvSpPr>
          <p:nvPr/>
        </p:nvSpPr>
        <p:spPr bwMode="auto">
          <a:xfrm>
            <a:off x="3741429" y="5183188"/>
            <a:ext cx="600075" cy="552450"/>
          </a:xfrm>
          <a:custGeom>
            <a:avLst/>
            <a:gdLst>
              <a:gd name="T0" fmla="*/ 137 w 160"/>
              <a:gd name="T1" fmla="*/ 140 h 146"/>
              <a:gd name="T2" fmla="*/ 86 w 160"/>
              <a:gd name="T3" fmla="*/ 140 h 146"/>
              <a:gd name="T4" fmla="*/ 34 w 160"/>
              <a:gd name="T5" fmla="*/ 140 h 146"/>
              <a:gd name="T6" fmla="*/ 9 w 160"/>
              <a:gd name="T7" fmla="*/ 23 h 146"/>
              <a:gd name="T8" fmla="*/ 146 w 160"/>
              <a:gd name="T9" fmla="*/ 14 h 146"/>
              <a:gd name="T10" fmla="*/ 26 w 160"/>
              <a:gd name="T11" fmla="*/ 6 h 146"/>
              <a:gd name="T12" fmla="*/ 131 w 160"/>
              <a:gd name="T13" fmla="*/ 66 h 146"/>
              <a:gd name="T14" fmla="*/ 143 w 160"/>
              <a:gd name="T15" fmla="*/ 71 h 146"/>
              <a:gd name="T16" fmla="*/ 149 w 160"/>
              <a:gd name="T17" fmla="*/ 60 h 146"/>
              <a:gd name="T18" fmla="*/ 131 w 160"/>
              <a:gd name="T19" fmla="*/ 77 h 146"/>
              <a:gd name="T20" fmla="*/ 137 w 160"/>
              <a:gd name="T21" fmla="*/ 89 h 146"/>
              <a:gd name="T22" fmla="*/ 149 w 160"/>
              <a:gd name="T23" fmla="*/ 83 h 146"/>
              <a:gd name="T24" fmla="*/ 134 w 160"/>
              <a:gd name="T25" fmla="*/ 114 h 146"/>
              <a:gd name="T26" fmla="*/ 140 w 160"/>
              <a:gd name="T27" fmla="*/ 120 h 146"/>
              <a:gd name="T28" fmla="*/ 149 w 160"/>
              <a:gd name="T29" fmla="*/ 111 h 146"/>
              <a:gd name="T30" fmla="*/ 77 w 160"/>
              <a:gd name="T31" fmla="*/ 46 h 146"/>
              <a:gd name="T32" fmla="*/ 89 w 160"/>
              <a:gd name="T33" fmla="*/ 57 h 146"/>
              <a:gd name="T34" fmla="*/ 100 w 160"/>
              <a:gd name="T35" fmla="*/ 46 h 146"/>
              <a:gd name="T36" fmla="*/ 97 w 160"/>
              <a:gd name="T37" fmla="*/ 60 h 146"/>
              <a:gd name="T38" fmla="*/ 114 w 160"/>
              <a:gd name="T39" fmla="*/ 60 h 146"/>
              <a:gd name="T40" fmla="*/ 120 w 160"/>
              <a:gd name="T41" fmla="*/ 54 h 146"/>
              <a:gd name="T42" fmla="*/ 123 w 160"/>
              <a:gd name="T43" fmla="*/ 74 h 146"/>
              <a:gd name="T44" fmla="*/ 83 w 160"/>
              <a:gd name="T45" fmla="*/ 97 h 146"/>
              <a:gd name="T46" fmla="*/ 89 w 160"/>
              <a:gd name="T47" fmla="*/ 103 h 146"/>
              <a:gd name="T48" fmla="*/ 97 w 160"/>
              <a:gd name="T49" fmla="*/ 77 h 146"/>
              <a:gd name="T50" fmla="*/ 94 w 160"/>
              <a:gd name="T51" fmla="*/ 97 h 146"/>
              <a:gd name="T52" fmla="*/ 106 w 160"/>
              <a:gd name="T53" fmla="*/ 91 h 146"/>
              <a:gd name="T54" fmla="*/ 109 w 160"/>
              <a:gd name="T55" fmla="*/ 106 h 146"/>
              <a:gd name="T56" fmla="*/ 80 w 160"/>
              <a:gd name="T57" fmla="*/ 111 h 146"/>
              <a:gd name="T58" fmla="*/ 80 w 160"/>
              <a:gd name="T59" fmla="*/ 129 h 146"/>
              <a:gd name="T60" fmla="*/ 94 w 160"/>
              <a:gd name="T61" fmla="*/ 114 h 146"/>
              <a:gd name="T62" fmla="*/ 97 w 160"/>
              <a:gd name="T63" fmla="*/ 134 h 146"/>
              <a:gd name="T64" fmla="*/ 109 w 160"/>
              <a:gd name="T65" fmla="*/ 123 h 146"/>
              <a:gd name="T66" fmla="*/ 63 w 160"/>
              <a:gd name="T67" fmla="*/ 43 h 146"/>
              <a:gd name="T68" fmla="*/ 63 w 160"/>
              <a:gd name="T69" fmla="*/ 60 h 146"/>
              <a:gd name="T70" fmla="*/ 69 w 160"/>
              <a:gd name="T71" fmla="*/ 71 h 146"/>
              <a:gd name="T72" fmla="*/ 63 w 160"/>
              <a:gd name="T73" fmla="*/ 100 h 146"/>
              <a:gd name="T74" fmla="*/ 74 w 160"/>
              <a:gd name="T75" fmla="*/ 106 h 146"/>
              <a:gd name="T76" fmla="*/ 63 w 160"/>
              <a:gd name="T77" fmla="*/ 129 h 146"/>
              <a:gd name="T78" fmla="*/ 71 w 160"/>
              <a:gd name="T79" fmla="*/ 120 h 146"/>
              <a:gd name="T80" fmla="*/ 9 w 160"/>
              <a:gd name="T81" fmla="*/ 63 h 146"/>
              <a:gd name="T82" fmla="*/ 20 w 160"/>
              <a:gd name="T83" fmla="*/ 74 h 146"/>
              <a:gd name="T84" fmla="*/ 49 w 160"/>
              <a:gd name="T85" fmla="*/ 46 h 146"/>
              <a:gd name="T86" fmla="*/ 46 w 160"/>
              <a:gd name="T87" fmla="*/ 60 h 146"/>
              <a:gd name="T88" fmla="*/ 37 w 160"/>
              <a:gd name="T89" fmla="*/ 51 h 146"/>
              <a:gd name="T90" fmla="*/ 34 w 160"/>
              <a:gd name="T91" fmla="*/ 71 h 146"/>
              <a:gd name="T92" fmla="*/ 11 w 160"/>
              <a:gd name="T93" fmla="*/ 83 h 146"/>
              <a:gd name="T94" fmla="*/ 23 w 160"/>
              <a:gd name="T95" fmla="*/ 89 h 146"/>
              <a:gd name="T96" fmla="*/ 29 w 160"/>
              <a:gd name="T97" fmla="*/ 77 h 146"/>
              <a:gd name="T98" fmla="*/ 46 w 160"/>
              <a:gd name="T99" fmla="*/ 77 h 146"/>
              <a:gd name="T100" fmla="*/ 43 w 160"/>
              <a:gd name="T101" fmla="*/ 97 h 146"/>
              <a:gd name="T102" fmla="*/ 54 w 160"/>
              <a:gd name="T103" fmla="*/ 91 h 146"/>
              <a:gd name="T104" fmla="*/ 57 w 160"/>
              <a:gd name="T105" fmla="*/ 106 h 146"/>
              <a:gd name="T106" fmla="*/ 11 w 160"/>
              <a:gd name="T107" fmla="*/ 129 h 146"/>
              <a:gd name="T108" fmla="*/ 20 w 160"/>
              <a:gd name="T109" fmla="*/ 120 h 146"/>
              <a:gd name="T110" fmla="*/ 43 w 160"/>
              <a:gd name="T111" fmla="*/ 114 h 146"/>
              <a:gd name="T112" fmla="*/ 46 w 160"/>
              <a:gd name="T113" fmla="*/ 134 h 146"/>
              <a:gd name="T114" fmla="*/ 57 w 160"/>
              <a:gd name="T115" fmla="*/ 12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46">
                <a:moveTo>
                  <a:pt x="0" y="34"/>
                </a:moveTo>
                <a:cubicBezTo>
                  <a:pt x="0" y="146"/>
                  <a:pt x="0" y="146"/>
                  <a:pt x="0" y="146"/>
                </a:cubicBezTo>
                <a:cubicBezTo>
                  <a:pt x="160" y="146"/>
                  <a:pt x="160" y="146"/>
                  <a:pt x="160" y="146"/>
                </a:cubicBezTo>
                <a:cubicBezTo>
                  <a:pt x="160" y="34"/>
                  <a:pt x="160" y="34"/>
                  <a:pt x="160" y="34"/>
                </a:cubicBezTo>
                <a:lnTo>
                  <a:pt x="0" y="34"/>
                </a:lnTo>
                <a:close/>
                <a:moveTo>
                  <a:pt x="154" y="140"/>
                </a:moveTo>
                <a:cubicBezTo>
                  <a:pt x="143" y="140"/>
                  <a:pt x="143" y="140"/>
                  <a:pt x="143" y="140"/>
                </a:cubicBezTo>
                <a:cubicBezTo>
                  <a:pt x="143" y="138"/>
                  <a:pt x="142" y="137"/>
                  <a:pt x="140" y="137"/>
                </a:cubicBezTo>
                <a:cubicBezTo>
                  <a:pt x="138" y="137"/>
                  <a:pt x="137" y="138"/>
                  <a:pt x="137" y="140"/>
                </a:cubicBezTo>
                <a:cubicBezTo>
                  <a:pt x="126" y="140"/>
                  <a:pt x="126" y="140"/>
                  <a:pt x="126" y="140"/>
                </a:cubicBezTo>
                <a:cubicBezTo>
                  <a:pt x="126" y="138"/>
                  <a:pt x="124" y="137"/>
                  <a:pt x="123" y="137"/>
                </a:cubicBezTo>
                <a:cubicBezTo>
                  <a:pt x="121" y="137"/>
                  <a:pt x="120" y="138"/>
                  <a:pt x="120" y="140"/>
                </a:cubicBezTo>
                <a:cubicBezTo>
                  <a:pt x="109" y="140"/>
                  <a:pt x="109" y="140"/>
                  <a:pt x="109" y="140"/>
                </a:cubicBezTo>
                <a:cubicBezTo>
                  <a:pt x="109" y="138"/>
                  <a:pt x="107" y="137"/>
                  <a:pt x="106" y="137"/>
                </a:cubicBezTo>
                <a:cubicBezTo>
                  <a:pt x="104" y="137"/>
                  <a:pt x="103" y="138"/>
                  <a:pt x="103" y="140"/>
                </a:cubicBezTo>
                <a:cubicBezTo>
                  <a:pt x="91" y="140"/>
                  <a:pt x="91" y="140"/>
                  <a:pt x="91" y="140"/>
                </a:cubicBezTo>
                <a:cubicBezTo>
                  <a:pt x="91" y="138"/>
                  <a:pt x="90" y="137"/>
                  <a:pt x="89" y="137"/>
                </a:cubicBezTo>
                <a:cubicBezTo>
                  <a:pt x="87" y="137"/>
                  <a:pt x="86" y="138"/>
                  <a:pt x="86" y="140"/>
                </a:cubicBezTo>
                <a:cubicBezTo>
                  <a:pt x="74" y="140"/>
                  <a:pt x="74" y="140"/>
                  <a:pt x="74" y="140"/>
                </a:cubicBezTo>
                <a:cubicBezTo>
                  <a:pt x="74" y="138"/>
                  <a:pt x="73" y="137"/>
                  <a:pt x="71" y="137"/>
                </a:cubicBezTo>
                <a:cubicBezTo>
                  <a:pt x="70" y="137"/>
                  <a:pt x="69" y="138"/>
                  <a:pt x="69" y="140"/>
                </a:cubicBezTo>
                <a:cubicBezTo>
                  <a:pt x="57" y="140"/>
                  <a:pt x="57" y="140"/>
                  <a:pt x="57" y="140"/>
                </a:cubicBezTo>
                <a:cubicBezTo>
                  <a:pt x="57" y="138"/>
                  <a:pt x="56" y="137"/>
                  <a:pt x="54" y="137"/>
                </a:cubicBezTo>
                <a:cubicBezTo>
                  <a:pt x="53" y="137"/>
                  <a:pt x="51" y="138"/>
                  <a:pt x="51" y="140"/>
                </a:cubicBezTo>
                <a:cubicBezTo>
                  <a:pt x="40" y="140"/>
                  <a:pt x="40" y="140"/>
                  <a:pt x="40" y="140"/>
                </a:cubicBezTo>
                <a:cubicBezTo>
                  <a:pt x="40" y="138"/>
                  <a:pt x="39" y="137"/>
                  <a:pt x="37" y="137"/>
                </a:cubicBezTo>
                <a:cubicBezTo>
                  <a:pt x="36" y="137"/>
                  <a:pt x="34" y="138"/>
                  <a:pt x="34" y="140"/>
                </a:cubicBezTo>
                <a:cubicBezTo>
                  <a:pt x="23" y="140"/>
                  <a:pt x="23" y="140"/>
                  <a:pt x="23" y="140"/>
                </a:cubicBezTo>
                <a:cubicBezTo>
                  <a:pt x="23" y="138"/>
                  <a:pt x="22" y="137"/>
                  <a:pt x="20" y="137"/>
                </a:cubicBezTo>
                <a:cubicBezTo>
                  <a:pt x="18" y="137"/>
                  <a:pt x="17" y="138"/>
                  <a:pt x="17" y="140"/>
                </a:cubicBezTo>
                <a:cubicBezTo>
                  <a:pt x="6" y="140"/>
                  <a:pt x="6" y="140"/>
                  <a:pt x="6" y="140"/>
                </a:cubicBezTo>
                <a:cubicBezTo>
                  <a:pt x="6" y="40"/>
                  <a:pt x="6" y="40"/>
                  <a:pt x="6" y="40"/>
                </a:cubicBezTo>
                <a:cubicBezTo>
                  <a:pt x="154" y="40"/>
                  <a:pt x="154" y="40"/>
                  <a:pt x="154" y="40"/>
                </a:cubicBezTo>
                <a:lnTo>
                  <a:pt x="154" y="140"/>
                </a:lnTo>
                <a:close/>
                <a:moveTo>
                  <a:pt x="6" y="26"/>
                </a:moveTo>
                <a:cubicBezTo>
                  <a:pt x="6" y="24"/>
                  <a:pt x="7" y="23"/>
                  <a:pt x="9" y="23"/>
                </a:cubicBezTo>
                <a:cubicBezTo>
                  <a:pt x="151" y="23"/>
                  <a:pt x="151" y="23"/>
                  <a:pt x="151" y="23"/>
                </a:cubicBezTo>
                <a:cubicBezTo>
                  <a:pt x="153" y="23"/>
                  <a:pt x="154" y="24"/>
                  <a:pt x="154" y="26"/>
                </a:cubicBezTo>
                <a:cubicBezTo>
                  <a:pt x="154" y="27"/>
                  <a:pt x="153" y="29"/>
                  <a:pt x="151" y="29"/>
                </a:cubicBezTo>
                <a:cubicBezTo>
                  <a:pt x="9" y="29"/>
                  <a:pt x="9" y="29"/>
                  <a:pt x="9" y="29"/>
                </a:cubicBezTo>
                <a:cubicBezTo>
                  <a:pt x="7" y="29"/>
                  <a:pt x="6" y="27"/>
                  <a:pt x="6" y="26"/>
                </a:cubicBezTo>
                <a:close/>
                <a:moveTo>
                  <a:pt x="14" y="14"/>
                </a:moveTo>
                <a:cubicBezTo>
                  <a:pt x="14" y="13"/>
                  <a:pt x="16" y="11"/>
                  <a:pt x="17" y="11"/>
                </a:cubicBezTo>
                <a:cubicBezTo>
                  <a:pt x="143" y="11"/>
                  <a:pt x="143" y="11"/>
                  <a:pt x="143" y="11"/>
                </a:cubicBezTo>
                <a:cubicBezTo>
                  <a:pt x="144" y="11"/>
                  <a:pt x="146" y="13"/>
                  <a:pt x="146" y="14"/>
                </a:cubicBezTo>
                <a:cubicBezTo>
                  <a:pt x="146" y="16"/>
                  <a:pt x="144" y="17"/>
                  <a:pt x="143" y="17"/>
                </a:cubicBezTo>
                <a:cubicBezTo>
                  <a:pt x="17" y="17"/>
                  <a:pt x="17" y="17"/>
                  <a:pt x="17" y="17"/>
                </a:cubicBezTo>
                <a:cubicBezTo>
                  <a:pt x="16" y="17"/>
                  <a:pt x="14" y="16"/>
                  <a:pt x="14" y="14"/>
                </a:cubicBezTo>
                <a:close/>
                <a:moveTo>
                  <a:pt x="23" y="3"/>
                </a:moveTo>
                <a:cubicBezTo>
                  <a:pt x="23" y="1"/>
                  <a:pt x="24" y="0"/>
                  <a:pt x="26" y="0"/>
                </a:cubicBezTo>
                <a:cubicBezTo>
                  <a:pt x="134" y="0"/>
                  <a:pt x="134" y="0"/>
                  <a:pt x="134" y="0"/>
                </a:cubicBezTo>
                <a:cubicBezTo>
                  <a:pt x="136" y="0"/>
                  <a:pt x="137" y="1"/>
                  <a:pt x="137" y="3"/>
                </a:cubicBezTo>
                <a:cubicBezTo>
                  <a:pt x="137" y="4"/>
                  <a:pt x="136" y="6"/>
                  <a:pt x="134" y="6"/>
                </a:cubicBezTo>
                <a:cubicBezTo>
                  <a:pt x="26" y="6"/>
                  <a:pt x="26" y="6"/>
                  <a:pt x="26" y="6"/>
                </a:cubicBezTo>
                <a:cubicBezTo>
                  <a:pt x="24" y="6"/>
                  <a:pt x="23" y="4"/>
                  <a:pt x="23" y="3"/>
                </a:cubicBezTo>
                <a:close/>
                <a:moveTo>
                  <a:pt x="131" y="43"/>
                </a:moveTo>
                <a:cubicBezTo>
                  <a:pt x="133" y="43"/>
                  <a:pt x="134" y="44"/>
                  <a:pt x="134" y="46"/>
                </a:cubicBezTo>
                <a:cubicBezTo>
                  <a:pt x="134" y="47"/>
                  <a:pt x="133" y="49"/>
                  <a:pt x="131" y="49"/>
                </a:cubicBezTo>
                <a:cubicBezTo>
                  <a:pt x="130" y="49"/>
                  <a:pt x="129" y="47"/>
                  <a:pt x="129" y="46"/>
                </a:cubicBezTo>
                <a:cubicBezTo>
                  <a:pt x="129" y="44"/>
                  <a:pt x="130" y="43"/>
                  <a:pt x="131" y="43"/>
                </a:cubicBezTo>
                <a:close/>
                <a:moveTo>
                  <a:pt x="131" y="60"/>
                </a:moveTo>
                <a:cubicBezTo>
                  <a:pt x="133" y="60"/>
                  <a:pt x="134" y="61"/>
                  <a:pt x="134" y="63"/>
                </a:cubicBezTo>
                <a:cubicBezTo>
                  <a:pt x="134" y="64"/>
                  <a:pt x="133" y="66"/>
                  <a:pt x="131" y="66"/>
                </a:cubicBezTo>
                <a:cubicBezTo>
                  <a:pt x="130" y="66"/>
                  <a:pt x="129" y="64"/>
                  <a:pt x="129" y="63"/>
                </a:cubicBezTo>
                <a:cubicBezTo>
                  <a:pt x="129" y="61"/>
                  <a:pt x="130" y="60"/>
                  <a:pt x="131" y="60"/>
                </a:cubicBezTo>
                <a:close/>
                <a:moveTo>
                  <a:pt x="140" y="51"/>
                </a:moveTo>
                <a:cubicBezTo>
                  <a:pt x="142" y="51"/>
                  <a:pt x="143" y="53"/>
                  <a:pt x="143" y="54"/>
                </a:cubicBezTo>
                <a:cubicBezTo>
                  <a:pt x="143" y="56"/>
                  <a:pt x="142" y="57"/>
                  <a:pt x="140" y="57"/>
                </a:cubicBezTo>
                <a:cubicBezTo>
                  <a:pt x="138" y="57"/>
                  <a:pt x="137" y="56"/>
                  <a:pt x="137" y="54"/>
                </a:cubicBezTo>
                <a:cubicBezTo>
                  <a:pt x="137" y="53"/>
                  <a:pt x="138" y="51"/>
                  <a:pt x="140" y="51"/>
                </a:cubicBezTo>
                <a:close/>
                <a:moveTo>
                  <a:pt x="140" y="69"/>
                </a:moveTo>
                <a:cubicBezTo>
                  <a:pt x="142" y="69"/>
                  <a:pt x="143" y="70"/>
                  <a:pt x="143" y="71"/>
                </a:cubicBezTo>
                <a:cubicBezTo>
                  <a:pt x="143" y="73"/>
                  <a:pt x="142" y="74"/>
                  <a:pt x="140" y="74"/>
                </a:cubicBezTo>
                <a:cubicBezTo>
                  <a:pt x="138" y="74"/>
                  <a:pt x="137" y="73"/>
                  <a:pt x="137" y="71"/>
                </a:cubicBezTo>
                <a:cubicBezTo>
                  <a:pt x="137" y="70"/>
                  <a:pt x="138" y="69"/>
                  <a:pt x="140" y="69"/>
                </a:cubicBezTo>
                <a:close/>
                <a:moveTo>
                  <a:pt x="149" y="43"/>
                </a:moveTo>
                <a:cubicBezTo>
                  <a:pt x="150" y="43"/>
                  <a:pt x="151" y="44"/>
                  <a:pt x="151" y="46"/>
                </a:cubicBezTo>
                <a:cubicBezTo>
                  <a:pt x="151" y="47"/>
                  <a:pt x="150" y="49"/>
                  <a:pt x="149" y="49"/>
                </a:cubicBezTo>
                <a:cubicBezTo>
                  <a:pt x="147" y="49"/>
                  <a:pt x="146" y="47"/>
                  <a:pt x="146" y="46"/>
                </a:cubicBezTo>
                <a:cubicBezTo>
                  <a:pt x="146" y="44"/>
                  <a:pt x="147" y="43"/>
                  <a:pt x="149" y="43"/>
                </a:cubicBezTo>
                <a:close/>
                <a:moveTo>
                  <a:pt x="149" y="60"/>
                </a:moveTo>
                <a:cubicBezTo>
                  <a:pt x="150" y="60"/>
                  <a:pt x="151" y="61"/>
                  <a:pt x="151" y="63"/>
                </a:cubicBezTo>
                <a:cubicBezTo>
                  <a:pt x="151" y="64"/>
                  <a:pt x="150" y="66"/>
                  <a:pt x="149" y="66"/>
                </a:cubicBezTo>
                <a:cubicBezTo>
                  <a:pt x="147" y="66"/>
                  <a:pt x="146" y="64"/>
                  <a:pt x="146" y="63"/>
                </a:cubicBezTo>
                <a:cubicBezTo>
                  <a:pt x="146" y="61"/>
                  <a:pt x="147" y="60"/>
                  <a:pt x="149" y="60"/>
                </a:cubicBezTo>
                <a:close/>
                <a:moveTo>
                  <a:pt x="131" y="77"/>
                </a:moveTo>
                <a:cubicBezTo>
                  <a:pt x="133" y="77"/>
                  <a:pt x="134" y="78"/>
                  <a:pt x="134" y="80"/>
                </a:cubicBezTo>
                <a:cubicBezTo>
                  <a:pt x="134" y="82"/>
                  <a:pt x="133" y="83"/>
                  <a:pt x="131" y="83"/>
                </a:cubicBezTo>
                <a:cubicBezTo>
                  <a:pt x="130" y="83"/>
                  <a:pt x="129" y="82"/>
                  <a:pt x="129" y="80"/>
                </a:cubicBezTo>
                <a:cubicBezTo>
                  <a:pt x="129" y="78"/>
                  <a:pt x="130" y="77"/>
                  <a:pt x="131" y="77"/>
                </a:cubicBezTo>
                <a:close/>
                <a:moveTo>
                  <a:pt x="131" y="94"/>
                </a:moveTo>
                <a:cubicBezTo>
                  <a:pt x="133" y="94"/>
                  <a:pt x="134" y="96"/>
                  <a:pt x="134" y="97"/>
                </a:cubicBezTo>
                <a:cubicBezTo>
                  <a:pt x="134" y="99"/>
                  <a:pt x="133" y="100"/>
                  <a:pt x="131" y="100"/>
                </a:cubicBezTo>
                <a:cubicBezTo>
                  <a:pt x="130" y="100"/>
                  <a:pt x="129" y="99"/>
                  <a:pt x="129" y="97"/>
                </a:cubicBezTo>
                <a:cubicBezTo>
                  <a:pt x="129" y="96"/>
                  <a:pt x="130" y="94"/>
                  <a:pt x="131" y="94"/>
                </a:cubicBezTo>
                <a:close/>
                <a:moveTo>
                  <a:pt x="140" y="86"/>
                </a:moveTo>
                <a:cubicBezTo>
                  <a:pt x="142" y="86"/>
                  <a:pt x="143" y="87"/>
                  <a:pt x="143" y="89"/>
                </a:cubicBezTo>
                <a:cubicBezTo>
                  <a:pt x="143" y="90"/>
                  <a:pt x="142" y="91"/>
                  <a:pt x="140" y="91"/>
                </a:cubicBezTo>
                <a:cubicBezTo>
                  <a:pt x="138" y="91"/>
                  <a:pt x="137" y="90"/>
                  <a:pt x="137" y="89"/>
                </a:cubicBezTo>
                <a:cubicBezTo>
                  <a:pt x="137" y="87"/>
                  <a:pt x="138" y="86"/>
                  <a:pt x="140" y="86"/>
                </a:cubicBezTo>
                <a:close/>
                <a:moveTo>
                  <a:pt x="140" y="103"/>
                </a:moveTo>
                <a:cubicBezTo>
                  <a:pt x="142" y="103"/>
                  <a:pt x="143" y="104"/>
                  <a:pt x="143" y="106"/>
                </a:cubicBezTo>
                <a:cubicBezTo>
                  <a:pt x="143" y="107"/>
                  <a:pt x="142" y="109"/>
                  <a:pt x="140" y="109"/>
                </a:cubicBezTo>
                <a:cubicBezTo>
                  <a:pt x="138" y="109"/>
                  <a:pt x="137" y="107"/>
                  <a:pt x="137" y="106"/>
                </a:cubicBezTo>
                <a:cubicBezTo>
                  <a:pt x="137" y="104"/>
                  <a:pt x="138" y="103"/>
                  <a:pt x="140" y="103"/>
                </a:cubicBezTo>
                <a:close/>
                <a:moveTo>
                  <a:pt x="149" y="77"/>
                </a:moveTo>
                <a:cubicBezTo>
                  <a:pt x="150" y="77"/>
                  <a:pt x="151" y="78"/>
                  <a:pt x="151" y="80"/>
                </a:cubicBezTo>
                <a:cubicBezTo>
                  <a:pt x="151" y="82"/>
                  <a:pt x="150" y="83"/>
                  <a:pt x="149" y="83"/>
                </a:cubicBezTo>
                <a:cubicBezTo>
                  <a:pt x="147" y="83"/>
                  <a:pt x="146" y="82"/>
                  <a:pt x="146" y="80"/>
                </a:cubicBezTo>
                <a:cubicBezTo>
                  <a:pt x="146" y="78"/>
                  <a:pt x="147" y="77"/>
                  <a:pt x="149" y="77"/>
                </a:cubicBezTo>
                <a:close/>
                <a:moveTo>
                  <a:pt x="149" y="94"/>
                </a:moveTo>
                <a:cubicBezTo>
                  <a:pt x="150" y="94"/>
                  <a:pt x="151" y="96"/>
                  <a:pt x="151" y="97"/>
                </a:cubicBezTo>
                <a:cubicBezTo>
                  <a:pt x="151" y="99"/>
                  <a:pt x="150" y="100"/>
                  <a:pt x="149" y="100"/>
                </a:cubicBezTo>
                <a:cubicBezTo>
                  <a:pt x="147" y="100"/>
                  <a:pt x="146" y="99"/>
                  <a:pt x="146" y="97"/>
                </a:cubicBezTo>
                <a:cubicBezTo>
                  <a:pt x="146" y="96"/>
                  <a:pt x="147" y="94"/>
                  <a:pt x="149" y="94"/>
                </a:cubicBezTo>
                <a:close/>
                <a:moveTo>
                  <a:pt x="131" y="111"/>
                </a:moveTo>
                <a:cubicBezTo>
                  <a:pt x="133" y="111"/>
                  <a:pt x="134" y="113"/>
                  <a:pt x="134" y="114"/>
                </a:cubicBezTo>
                <a:cubicBezTo>
                  <a:pt x="134" y="116"/>
                  <a:pt x="133" y="117"/>
                  <a:pt x="131" y="117"/>
                </a:cubicBezTo>
                <a:cubicBezTo>
                  <a:pt x="130" y="117"/>
                  <a:pt x="129" y="116"/>
                  <a:pt x="129" y="114"/>
                </a:cubicBezTo>
                <a:cubicBezTo>
                  <a:pt x="129" y="113"/>
                  <a:pt x="130" y="111"/>
                  <a:pt x="131" y="111"/>
                </a:cubicBezTo>
                <a:close/>
                <a:moveTo>
                  <a:pt x="131" y="129"/>
                </a:moveTo>
                <a:cubicBezTo>
                  <a:pt x="133" y="129"/>
                  <a:pt x="134" y="130"/>
                  <a:pt x="134" y="131"/>
                </a:cubicBezTo>
                <a:cubicBezTo>
                  <a:pt x="134" y="133"/>
                  <a:pt x="133" y="134"/>
                  <a:pt x="131" y="134"/>
                </a:cubicBezTo>
                <a:cubicBezTo>
                  <a:pt x="130" y="134"/>
                  <a:pt x="129" y="133"/>
                  <a:pt x="129" y="131"/>
                </a:cubicBezTo>
                <a:cubicBezTo>
                  <a:pt x="129" y="130"/>
                  <a:pt x="130" y="129"/>
                  <a:pt x="131" y="129"/>
                </a:cubicBezTo>
                <a:close/>
                <a:moveTo>
                  <a:pt x="140" y="120"/>
                </a:moveTo>
                <a:cubicBezTo>
                  <a:pt x="142" y="120"/>
                  <a:pt x="143" y="121"/>
                  <a:pt x="143" y="123"/>
                </a:cubicBezTo>
                <a:cubicBezTo>
                  <a:pt x="143" y="124"/>
                  <a:pt x="142" y="126"/>
                  <a:pt x="140" y="126"/>
                </a:cubicBezTo>
                <a:cubicBezTo>
                  <a:pt x="138" y="126"/>
                  <a:pt x="137" y="124"/>
                  <a:pt x="137" y="123"/>
                </a:cubicBezTo>
                <a:cubicBezTo>
                  <a:pt x="137" y="121"/>
                  <a:pt x="138" y="120"/>
                  <a:pt x="140" y="120"/>
                </a:cubicBezTo>
                <a:close/>
                <a:moveTo>
                  <a:pt x="149" y="111"/>
                </a:moveTo>
                <a:cubicBezTo>
                  <a:pt x="150" y="111"/>
                  <a:pt x="151" y="113"/>
                  <a:pt x="151" y="114"/>
                </a:cubicBezTo>
                <a:cubicBezTo>
                  <a:pt x="151" y="116"/>
                  <a:pt x="150" y="117"/>
                  <a:pt x="149" y="117"/>
                </a:cubicBezTo>
                <a:cubicBezTo>
                  <a:pt x="147" y="117"/>
                  <a:pt x="146" y="116"/>
                  <a:pt x="146" y="114"/>
                </a:cubicBezTo>
                <a:cubicBezTo>
                  <a:pt x="146" y="113"/>
                  <a:pt x="147" y="111"/>
                  <a:pt x="149" y="111"/>
                </a:cubicBezTo>
                <a:close/>
                <a:moveTo>
                  <a:pt x="149" y="129"/>
                </a:moveTo>
                <a:cubicBezTo>
                  <a:pt x="150" y="129"/>
                  <a:pt x="151" y="130"/>
                  <a:pt x="151" y="131"/>
                </a:cubicBezTo>
                <a:cubicBezTo>
                  <a:pt x="151" y="133"/>
                  <a:pt x="150" y="134"/>
                  <a:pt x="149" y="134"/>
                </a:cubicBezTo>
                <a:cubicBezTo>
                  <a:pt x="147" y="134"/>
                  <a:pt x="146" y="133"/>
                  <a:pt x="146" y="131"/>
                </a:cubicBezTo>
                <a:cubicBezTo>
                  <a:pt x="146" y="130"/>
                  <a:pt x="147" y="129"/>
                  <a:pt x="149" y="129"/>
                </a:cubicBezTo>
                <a:close/>
                <a:moveTo>
                  <a:pt x="80" y="43"/>
                </a:moveTo>
                <a:cubicBezTo>
                  <a:pt x="82" y="43"/>
                  <a:pt x="83" y="44"/>
                  <a:pt x="83" y="46"/>
                </a:cubicBezTo>
                <a:cubicBezTo>
                  <a:pt x="83" y="47"/>
                  <a:pt x="82" y="49"/>
                  <a:pt x="80" y="49"/>
                </a:cubicBezTo>
                <a:cubicBezTo>
                  <a:pt x="78" y="49"/>
                  <a:pt x="77" y="47"/>
                  <a:pt x="77" y="46"/>
                </a:cubicBezTo>
                <a:cubicBezTo>
                  <a:pt x="77" y="44"/>
                  <a:pt x="78" y="43"/>
                  <a:pt x="80" y="43"/>
                </a:cubicBezTo>
                <a:close/>
                <a:moveTo>
                  <a:pt x="80" y="60"/>
                </a:moveTo>
                <a:cubicBezTo>
                  <a:pt x="82" y="60"/>
                  <a:pt x="83" y="61"/>
                  <a:pt x="83" y="63"/>
                </a:cubicBezTo>
                <a:cubicBezTo>
                  <a:pt x="83" y="64"/>
                  <a:pt x="82" y="66"/>
                  <a:pt x="80" y="66"/>
                </a:cubicBezTo>
                <a:cubicBezTo>
                  <a:pt x="78" y="66"/>
                  <a:pt x="77" y="64"/>
                  <a:pt x="77" y="63"/>
                </a:cubicBezTo>
                <a:cubicBezTo>
                  <a:pt x="77" y="61"/>
                  <a:pt x="78" y="60"/>
                  <a:pt x="80" y="60"/>
                </a:cubicBezTo>
                <a:close/>
                <a:moveTo>
                  <a:pt x="89" y="51"/>
                </a:moveTo>
                <a:cubicBezTo>
                  <a:pt x="90" y="51"/>
                  <a:pt x="91" y="53"/>
                  <a:pt x="91" y="54"/>
                </a:cubicBezTo>
                <a:cubicBezTo>
                  <a:pt x="91" y="56"/>
                  <a:pt x="90" y="57"/>
                  <a:pt x="89" y="57"/>
                </a:cubicBezTo>
                <a:cubicBezTo>
                  <a:pt x="87" y="57"/>
                  <a:pt x="86" y="56"/>
                  <a:pt x="86" y="54"/>
                </a:cubicBezTo>
                <a:cubicBezTo>
                  <a:pt x="86" y="53"/>
                  <a:pt x="87" y="51"/>
                  <a:pt x="89" y="51"/>
                </a:cubicBezTo>
                <a:close/>
                <a:moveTo>
                  <a:pt x="89" y="69"/>
                </a:moveTo>
                <a:cubicBezTo>
                  <a:pt x="90" y="69"/>
                  <a:pt x="91" y="70"/>
                  <a:pt x="91" y="71"/>
                </a:cubicBezTo>
                <a:cubicBezTo>
                  <a:pt x="91" y="73"/>
                  <a:pt x="90" y="74"/>
                  <a:pt x="89" y="74"/>
                </a:cubicBezTo>
                <a:cubicBezTo>
                  <a:pt x="87" y="74"/>
                  <a:pt x="86" y="73"/>
                  <a:pt x="86" y="71"/>
                </a:cubicBezTo>
                <a:cubicBezTo>
                  <a:pt x="86" y="70"/>
                  <a:pt x="87" y="69"/>
                  <a:pt x="89" y="69"/>
                </a:cubicBezTo>
                <a:close/>
                <a:moveTo>
                  <a:pt x="97" y="43"/>
                </a:moveTo>
                <a:cubicBezTo>
                  <a:pt x="99" y="43"/>
                  <a:pt x="100" y="44"/>
                  <a:pt x="100" y="46"/>
                </a:cubicBezTo>
                <a:cubicBezTo>
                  <a:pt x="100" y="47"/>
                  <a:pt x="99" y="49"/>
                  <a:pt x="97" y="49"/>
                </a:cubicBezTo>
                <a:cubicBezTo>
                  <a:pt x="96" y="49"/>
                  <a:pt x="94" y="47"/>
                  <a:pt x="94" y="46"/>
                </a:cubicBezTo>
                <a:cubicBezTo>
                  <a:pt x="94" y="44"/>
                  <a:pt x="96" y="43"/>
                  <a:pt x="97" y="43"/>
                </a:cubicBezTo>
                <a:close/>
                <a:moveTo>
                  <a:pt x="114" y="43"/>
                </a:moveTo>
                <a:cubicBezTo>
                  <a:pt x="116" y="43"/>
                  <a:pt x="117" y="44"/>
                  <a:pt x="117" y="46"/>
                </a:cubicBezTo>
                <a:cubicBezTo>
                  <a:pt x="117" y="47"/>
                  <a:pt x="116" y="49"/>
                  <a:pt x="114" y="49"/>
                </a:cubicBezTo>
                <a:cubicBezTo>
                  <a:pt x="113" y="49"/>
                  <a:pt x="111" y="47"/>
                  <a:pt x="111" y="46"/>
                </a:cubicBezTo>
                <a:cubicBezTo>
                  <a:pt x="111" y="44"/>
                  <a:pt x="113" y="43"/>
                  <a:pt x="114" y="43"/>
                </a:cubicBezTo>
                <a:close/>
                <a:moveTo>
                  <a:pt x="97" y="60"/>
                </a:moveTo>
                <a:cubicBezTo>
                  <a:pt x="99" y="60"/>
                  <a:pt x="100" y="61"/>
                  <a:pt x="100" y="63"/>
                </a:cubicBezTo>
                <a:cubicBezTo>
                  <a:pt x="100" y="64"/>
                  <a:pt x="99" y="66"/>
                  <a:pt x="97" y="66"/>
                </a:cubicBezTo>
                <a:cubicBezTo>
                  <a:pt x="96" y="66"/>
                  <a:pt x="94" y="64"/>
                  <a:pt x="94" y="63"/>
                </a:cubicBezTo>
                <a:cubicBezTo>
                  <a:pt x="94" y="61"/>
                  <a:pt x="96" y="60"/>
                  <a:pt x="97" y="60"/>
                </a:cubicBezTo>
                <a:close/>
                <a:moveTo>
                  <a:pt x="114" y="60"/>
                </a:moveTo>
                <a:cubicBezTo>
                  <a:pt x="116" y="60"/>
                  <a:pt x="117" y="61"/>
                  <a:pt x="117" y="63"/>
                </a:cubicBezTo>
                <a:cubicBezTo>
                  <a:pt x="117" y="64"/>
                  <a:pt x="116" y="66"/>
                  <a:pt x="114" y="66"/>
                </a:cubicBezTo>
                <a:cubicBezTo>
                  <a:pt x="113" y="66"/>
                  <a:pt x="111" y="64"/>
                  <a:pt x="111" y="63"/>
                </a:cubicBezTo>
                <a:cubicBezTo>
                  <a:pt x="111" y="61"/>
                  <a:pt x="113" y="60"/>
                  <a:pt x="114" y="60"/>
                </a:cubicBezTo>
                <a:close/>
                <a:moveTo>
                  <a:pt x="106" y="51"/>
                </a:moveTo>
                <a:cubicBezTo>
                  <a:pt x="107" y="51"/>
                  <a:pt x="109" y="53"/>
                  <a:pt x="109" y="54"/>
                </a:cubicBezTo>
                <a:cubicBezTo>
                  <a:pt x="109" y="56"/>
                  <a:pt x="107" y="57"/>
                  <a:pt x="106" y="57"/>
                </a:cubicBezTo>
                <a:cubicBezTo>
                  <a:pt x="104" y="57"/>
                  <a:pt x="103" y="56"/>
                  <a:pt x="103" y="54"/>
                </a:cubicBezTo>
                <a:cubicBezTo>
                  <a:pt x="103" y="53"/>
                  <a:pt x="104" y="51"/>
                  <a:pt x="106" y="51"/>
                </a:cubicBezTo>
                <a:close/>
                <a:moveTo>
                  <a:pt x="123" y="51"/>
                </a:moveTo>
                <a:cubicBezTo>
                  <a:pt x="124" y="51"/>
                  <a:pt x="126" y="53"/>
                  <a:pt x="126" y="54"/>
                </a:cubicBezTo>
                <a:cubicBezTo>
                  <a:pt x="126" y="56"/>
                  <a:pt x="124" y="57"/>
                  <a:pt x="123" y="57"/>
                </a:cubicBezTo>
                <a:cubicBezTo>
                  <a:pt x="121" y="57"/>
                  <a:pt x="120" y="56"/>
                  <a:pt x="120" y="54"/>
                </a:cubicBezTo>
                <a:cubicBezTo>
                  <a:pt x="120" y="53"/>
                  <a:pt x="121" y="51"/>
                  <a:pt x="123" y="51"/>
                </a:cubicBezTo>
                <a:close/>
                <a:moveTo>
                  <a:pt x="106" y="69"/>
                </a:moveTo>
                <a:cubicBezTo>
                  <a:pt x="107" y="69"/>
                  <a:pt x="109" y="70"/>
                  <a:pt x="109" y="71"/>
                </a:cubicBezTo>
                <a:cubicBezTo>
                  <a:pt x="109" y="73"/>
                  <a:pt x="107" y="74"/>
                  <a:pt x="106" y="74"/>
                </a:cubicBezTo>
                <a:cubicBezTo>
                  <a:pt x="104" y="74"/>
                  <a:pt x="103" y="73"/>
                  <a:pt x="103" y="71"/>
                </a:cubicBezTo>
                <a:cubicBezTo>
                  <a:pt x="103" y="70"/>
                  <a:pt x="104" y="69"/>
                  <a:pt x="106" y="69"/>
                </a:cubicBezTo>
                <a:close/>
                <a:moveTo>
                  <a:pt x="123" y="69"/>
                </a:moveTo>
                <a:cubicBezTo>
                  <a:pt x="124" y="69"/>
                  <a:pt x="126" y="70"/>
                  <a:pt x="126" y="71"/>
                </a:cubicBezTo>
                <a:cubicBezTo>
                  <a:pt x="126" y="73"/>
                  <a:pt x="124" y="74"/>
                  <a:pt x="123" y="74"/>
                </a:cubicBezTo>
                <a:cubicBezTo>
                  <a:pt x="121" y="74"/>
                  <a:pt x="120" y="73"/>
                  <a:pt x="120" y="71"/>
                </a:cubicBezTo>
                <a:cubicBezTo>
                  <a:pt x="120" y="70"/>
                  <a:pt x="121" y="69"/>
                  <a:pt x="123" y="69"/>
                </a:cubicBezTo>
                <a:close/>
                <a:moveTo>
                  <a:pt x="80" y="77"/>
                </a:moveTo>
                <a:cubicBezTo>
                  <a:pt x="82" y="77"/>
                  <a:pt x="83" y="78"/>
                  <a:pt x="83" y="80"/>
                </a:cubicBezTo>
                <a:cubicBezTo>
                  <a:pt x="83" y="82"/>
                  <a:pt x="82" y="83"/>
                  <a:pt x="80" y="83"/>
                </a:cubicBezTo>
                <a:cubicBezTo>
                  <a:pt x="78" y="83"/>
                  <a:pt x="77" y="82"/>
                  <a:pt x="77" y="80"/>
                </a:cubicBezTo>
                <a:cubicBezTo>
                  <a:pt x="77" y="78"/>
                  <a:pt x="78" y="77"/>
                  <a:pt x="80" y="77"/>
                </a:cubicBezTo>
                <a:close/>
                <a:moveTo>
                  <a:pt x="80" y="94"/>
                </a:moveTo>
                <a:cubicBezTo>
                  <a:pt x="82" y="94"/>
                  <a:pt x="83" y="96"/>
                  <a:pt x="83" y="97"/>
                </a:cubicBezTo>
                <a:cubicBezTo>
                  <a:pt x="83" y="99"/>
                  <a:pt x="82" y="100"/>
                  <a:pt x="80" y="100"/>
                </a:cubicBezTo>
                <a:cubicBezTo>
                  <a:pt x="78" y="100"/>
                  <a:pt x="77" y="99"/>
                  <a:pt x="77" y="97"/>
                </a:cubicBezTo>
                <a:cubicBezTo>
                  <a:pt x="77" y="96"/>
                  <a:pt x="78" y="94"/>
                  <a:pt x="80" y="94"/>
                </a:cubicBezTo>
                <a:close/>
                <a:moveTo>
                  <a:pt x="89" y="86"/>
                </a:moveTo>
                <a:cubicBezTo>
                  <a:pt x="90" y="86"/>
                  <a:pt x="91" y="87"/>
                  <a:pt x="91" y="89"/>
                </a:cubicBezTo>
                <a:cubicBezTo>
                  <a:pt x="91" y="90"/>
                  <a:pt x="90" y="91"/>
                  <a:pt x="89" y="91"/>
                </a:cubicBezTo>
                <a:cubicBezTo>
                  <a:pt x="87" y="91"/>
                  <a:pt x="86" y="90"/>
                  <a:pt x="86" y="89"/>
                </a:cubicBezTo>
                <a:cubicBezTo>
                  <a:pt x="86" y="87"/>
                  <a:pt x="87" y="86"/>
                  <a:pt x="89" y="86"/>
                </a:cubicBezTo>
                <a:close/>
                <a:moveTo>
                  <a:pt x="89" y="103"/>
                </a:moveTo>
                <a:cubicBezTo>
                  <a:pt x="90" y="103"/>
                  <a:pt x="91" y="104"/>
                  <a:pt x="91" y="106"/>
                </a:cubicBezTo>
                <a:cubicBezTo>
                  <a:pt x="91" y="107"/>
                  <a:pt x="90" y="109"/>
                  <a:pt x="89" y="109"/>
                </a:cubicBezTo>
                <a:cubicBezTo>
                  <a:pt x="87" y="109"/>
                  <a:pt x="86" y="107"/>
                  <a:pt x="86" y="106"/>
                </a:cubicBezTo>
                <a:cubicBezTo>
                  <a:pt x="86" y="104"/>
                  <a:pt x="87" y="103"/>
                  <a:pt x="89" y="103"/>
                </a:cubicBezTo>
                <a:close/>
                <a:moveTo>
                  <a:pt x="97" y="77"/>
                </a:moveTo>
                <a:cubicBezTo>
                  <a:pt x="99" y="77"/>
                  <a:pt x="100" y="78"/>
                  <a:pt x="100" y="80"/>
                </a:cubicBezTo>
                <a:cubicBezTo>
                  <a:pt x="100" y="82"/>
                  <a:pt x="99" y="83"/>
                  <a:pt x="97" y="83"/>
                </a:cubicBezTo>
                <a:cubicBezTo>
                  <a:pt x="96" y="83"/>
                  <a:pt x="94" y="82"/>
                  <a:pt x="94" y="80"/>
                </a:cubicBezTo>
                <a:cubicBezTo>
                  <a:pt x="94" y="78"/>
                  <a:pt x="96" y="77"/>
                  <a:pt x="97" y="77"/>
                </a:cubicBezTo>
                <a:close/>
                <a:moveTo>
                  <a:pt x="114" y="77"/>
                </a:moveTo>
                <a:cubicBezTo>
                  <a:pt x="116" y="77"/>
                  <a:pt x="117" y="78"/>
                  <a:pt x="117" y="80"/>
                </a:cubicBezTo>
                <a:cubicBezTo>
                  <a:pt x="117" y="82"/>
                  <a:pt x="116" y="83"/>
                  <a:pt x="114" y="83"/>
                </a:cubicBezTo>
                <a:cubicBezTo>
                  <a:pt x="113" y="83"/>
                  <a:pt x="111" y="82"/>
                  <a:pt x="111" y="80"/>
                </a:cubicBezTo>
                <a:cubicBezTo>
                  <a:pt x="111" y="78"/>
                  <a:pt x="113" y="77"/>
                  <a:pt x="114" y="77"/>
                </a:cubicBezTo>
                <a:close/>
                <a:moveTo>
                  <a:pt x="97" y="94"/>
                </a:moveTo>
                <a:cubicBezTo>
                  <a:pt x="99" y="94"/>
                  <a:pt x="100" y="96"/>
                  <a:pt x="100" y="97"/>
                </a:cubicBezTo>
                <a:cubicBezTo>
                  <a:pt x="100" y="99"/>
                  <a:pt x="99" y="100"/>
                  <a:pt x="97" y="100"/>
                </a:cubicBezTo>
                <a:cubicBezTo>
                  <a:pt x="96" y="100"/>
                  <a:pt x="94" y="99"/>
                  <a:pt x="94" y="97"/>
                </a:cubicBezTo>
                <a:cubicBezTo>
                  <a:pt x="94" y="96"/>
                  <a:pt x="96" y="94"/>
                  <a:pt x="97" y="94"/>
                </a:cubicBezTo>
                <a:close/>
                <a:moveTo>
                  <a:pt x="114" y="94"/>
                </a:moveTo>
                <a:cubicBezTo>
                  <a:pt x="116" y="94"/>
                  <a:pt x="117" y="96"/>
                  <a:pt x="117" y="97"/>
                </a:cubicBezTo>
                <a:cubicBezTo>
                  <a:pt x="117" y="99"/>
                  <a:pt x="116" y="100"/>
                  <a:pt x="114" y="100"/>
                </a:cubicBezTo>
                <a:cubicBezTo>
                  <a:pt x="113" y="100"/>
                  <a:pt x="111" y="99"/>
                  <a:pt x="111" y="97"/>
                </a:cubicBezTo>
                <a:cubicBezTo>
                  <a:pt x="111" y="96"/>
                  <a:pt x="113" y="94"/>
                  <a:pt x="114" y="94"/>
                </a:cubicBezTo>
                <a:close/>
                <a:moveTo>
                  <a:pt x="106" y="86"/>
                </a:moveTo>
                <a:cubicBezTo>
                  <a:pt x="107" y="86"/>
                  <a:pt x="109" y="87"/>
                  <a:pt x="109" y="89"/>
                </a:cubicBezTo>
                <a:cubicBezTo>
                  <a:pt x="109" y="90"/>
                  <a:pt x="107" y="91"/>
                  <a:pt x="106" y="91"/>
                </a:cubicBezTo>
                <a:cubicBezTo>
                  <a:pt x="104" y="91"/>
                  <a:pt x="103" y="90"/>
                  <a:pt x="103" y="89"/>
                </a:cubicBezTo>
                <a:cubicBezTo>
                  <a:pt x="103" y="87"/>
                  <a:pt x="104" y="86"/>
                  <a:pt x="106" y="86"/>
                </a:cubicBezTo>
                <a:close/>
                <a:moveTo>
                  <a:pt x="123" y="86"/>
                </a:moveTo>
                <a:cubicBezTo>
                  <a:pt x="124" y="86"/>
                  <a:pt x="126" y="87"/>
                  <a:pt x="126" y="89"/>
                </a:cubicBezTo>
                <a:cubicBezTo>
                  <a:pt x="126" y="90"/>
                  <a:pt x="124" y="91"/>
                  <a:pt x="123" y="91"/>
                </a:cubicBezTo>
                <a:cubicBezTo>
                  <a:pt x="121" y="91"/>
                  <a:pt x="120" y="90"/>
                  <a:pt x="120" y="89"/>
                </a:cubicBezTo>
                <a:cubicBezTo>
                  <a:pt x="120" y="87"/>
                  <a:pt x="121" y="86"/>
                  <a:pt x="123" y="86"/>
                </a:cubicBezTo>
                <a:close/>
                <a:moveTo>
                  <a:pt x="106" y="103"/>
                </a:moveTo>
                <a:cubicBezTo>
                  <a:pt x="107" y="103"/>
                  <a:pt x="109" y="104"/>
                  <a:pt x="109" y="106"/>
                </a:cubicBezTo>
                <a:cubicBezTo>
                  <a:pt x="109" y="107"/>
                  <a:pt x="107" y="109"/>
                  <a:pt x="106" y="109"/>
                </a:cubicBezTo>
                <a:cubicBezTo>
                  <a:pt x="104" y="109"/>
                  <a:pt x="103" y="107"/>
                  <a:pt x="103" y="106"/>
                </a:cubicBezTo>
                <a:cubicBezTo>
                  <a:pt x="103" y="104"/>
                  <a:pt x="104" y="103"/>
                  <a:pt x="106" y="103"/>
                </a:cubicBezTo>
                <a:close/>
                <a:moveTo>
                  <a:pt x="123" y="103"/>
                </a:moveTo>
                <a:cubicBezTo>
                  <a:pt x="124" y="103"/>
                  <a:pt x="126" y="104"/>
                  <a:pt x="126" y="106"/>
                </a:cubicBezTo>
                <a:cubicBezTo>
                  <a:pt x="126" y="107"/>
                  <a:pt x="124" y="109"/>
                  <a:pt x="123" y="109"/>
                </a:cubicBezTo>
                <a:cubicBezTo>
                  <a:pt x="121" y="109"/>
                  <a:pt x="120" y="107"/>
                  <a:pt x="120" y="106"/>
                </a:cubicBezTo>
                <a:cubicBezTo>
                  <a:pt x="120" y="104"/>
                  <a:pt x="121" y="103"/>
                  <a:pt x="123" y="103"/>
                </a:cubicBezTo>
                <a:close/>
                <a:moveTo>
                  <a:pt x="80" y="111"/>
                </a:moveTo>
                <a:cubicBezTo>
                  <a:pt x="82" y="111"/>
                  <a:pt x="83" y="113"/>
                  <a:pt x="83" y="114"/>
                </a:cubicBezTo>
                <a:cubicBezTo>
                  <a:pt x="83" y="116"/>
                  <a:pt x="82" y="117"/>
                  <a:pt x="80" y="117"/>
                </a:cubicBezTo>
                <a:cubicBezTo>
                  <a:pt x="78" y="117"/>
                  <a:pt x="77" y="116"/>
                  <a:pt x="77" y="114"/>
                </a:cubicBezTo>
                <a:cubicBezTo>
                  <a:pt x="77" y="113"/>
                  <a:pt x="78" y="111"/>
                  <a:pt x="80" y="111"/>
                </a:cubicBezTo>
                <a:close/>
                <a:moveTo>
                  <a:pt x="80" y="129"/>
                </a:moveTo>
                <a:cubicBezTo>
                  <a:pt x="82" y="129"/>
                  <a:pt x="83" y="130"/>
                  <a:pt x="83" y="131"/>
                </a:cubicBezTo>
                <a:cubicBezTo>
                  <a:pt x="83" y="133"/>
                  <a:pt x="82" y="134"/>
                  <a:pt x="80" y="134"/>
                </a:cubicBezTo>
                <a:cubicBezTo>
                  <a:pt x="78" y="134"/>
                  <a:pt x="77" y="133"/>
                  <a:pt x="77" y="131"/>
                </a:cubicBezTo>
                <a:cubicBezTo>
                  <a:pt x="77" y="130"/>
                  <a:pt x="78" y="129"/>
                  <a:pt x="80" y="129"/>
                </a:cubicBezTo>
                <a:close/>
                <a:moveTo>
                  <a:pt x="89" y="120"/>
                </a:moveTo>
                <a:cubicBezTo>
                  <a:pt x="90" y="120"/>
                  <a:pt x="91" y="121"/>
                  <a:pt x="91" y="123"/>
                </a:cubicBezTo>
                <a:cubicBezTo>
                  <a:pt x="91" y="124"/>
                  <a:pt x="90" y="126"/>
                  <a:pt x="89" y="126"/>
                </a:cubicBezTo>
                <a:cubicBezTo>
                  <a:pt x="87" y="126"/>
                  <a:pt x="86" y="124"/>
                  <a:pt x="86" y="123"/>
                </a:cubicBezTo>
                <a:cubicBezTo>
                  <a:pt x="86" y="121"/>
                  <a:pt x="87" y="120"/>
                  <a:pt x="89" y="120"/>
                </a:cubicBezTo>
                <a:close/>
                <a:moveTo>
                  <a:pt x="97" y="111"/>
                </a:moveTo>
                <a:cubicBezTo>
                  <a:pt x="99" y="111"/>
                  <a:pt x="100" y="113"/>
                  <a:pt x="100" y="114"/>
                </a:cubicBezTo>
                <a:cubicBezTo>
                  <a:pt x="100" y="116"/>
                  <a:pt x="99" y="117"/>
                  <a:pt x="97" y="117"/>
                </a:cubicBezTo>
                <a:cubicBezTo>
                  <a:pt x="96" y="117"/>
                  <a:pt x="94" y="116"/>
                  <a:pt x="94" y="114"/>
                </a:cubicBezTo>
                <a:cubicBezTo>
                  <a:pt x="94" y="113"/>
                  <a:pt x="96" y="111"/>
                  <a:pt x="97" y="111"/>
                </a:cubicBezTo>
                <a:close/>
                <a:moveTo>
                  <a:pt x="114" y="111"/>
                </a:moveTo>
                <a:cubicBezTo>
                  <a:pt x="116" y="111"/>
                  <a:pt x="117" y="113"/>
                  <a:pt x="117" y="114"/>
                </a:cubicBezTo>
                <a:cubicBezTo>
                  <a:pt x="117" y="116"/>
                  <a:pt x="116" y="117"/>
                  <a:pt x="114" y="117"/>
                </a:cubicBezTo>
                <a:cubicBezTo>
                  <a:pt x="113" y="117"/>
                  <a:pt x="111" y="116"/>
                  <a:pt x="111" y="114"/>
                </a:cubicBezTo>
                <a:cubicBezTo>
                  <a:pt x="111" y="113"/>
                  <a:pt x="113" y="111"/>
                  <a:pt x="114" y="111"/>
                </a:cubicBezTo>
                <a:close/>
                <a:moveTo>
                  <a:pt x="97" y="129"/>
                </a:moveTo>
                <a:cubicBezTo>
                  <a:pt x="99" y="129"/>
                  <a:pt x="100" y="130"/>
                  <a:pt x="100" y="131"/>
                </a:cubicBezTo>
                <a:cubicBezTo>
                  <a:pt x="100" y="133"/>
                  <a:pt x="99" y="134"/>
                  <a:pt x="97" y="134"/>
                </a:cubicBezTo>
                <a:cubicBezTo>
                  <a:pt x="96" y="134"/>
                  <a:pt x="94" y="133"/>
                  <a:pt x="94" y="131"/>
                </a:cubicBezTo>
                <a:cubicBezTo>
                  <a:pt x="94" y="130"/>
                  <a:pt x="96" y="129"/>
                  <a:pt x="97" y="129"/>
                </a:cubicBezTo>
                <a:close/>
                <a:moveTo>
                  <a:pt x="114" y="129"/>
                </a:moveTo>
                <a:cubicBezTo>
                  <a:pt x="116" y="129"/>
                  <a:pt x="117" y="130"/>
                  <a:pt x="117" y="131"/>
                </a:cubicBezTo>
                <a:cubicBezTo>
                  <a:pt x="117" y="133"/>
                  <a:pt x="116" y="134"/>
                  <a:pt x="114" y="134"/>
                </a:cubicBezTo>
                <a:cubicBezTo>
                  <a:pt x="113" y="134"/>
                  <a:pt x="111" y="133"/>
                  <a:pt x="111" y="131"/>
                </a:cubicBezTo>
                <a:cubicBezTo>
                  <a:pt x="111" y="130"/>
                  <a:pt x="113" y="129"/>
                  <a:pt x="114" y="129"/>
                </a:cubicBezTo>
                <a:close/>
                <a:moveTo>
                  <a:pt x="106" y="120"/>
                </a:moveTo>
                <a:cubicBezTo>
                  <a:pt x="107" y="120"/>
                  <a:pt x="109" y="121"/>
                  <a:pt x="109" y="123"/>
                </a:cubicBezTo>
                <a:cubicBezTo>
                  <a:pt x="109" y="124"/>
                  <a:pt x="107" y="126"/>
                  <a:pt x="106" y="126"/>
                </a:cubicBezTo>
                <a:cubicBezTo>
                  <a:pt x="104" y="126"/>
                  <a:pt x="103" y="124"/>
                  <a:pt x="103" y="123"/>
                </a:cubicBezTo>
                <a:cubicBezTo>
                  <a:pt x="103" y="121"/>
                  <a:pt x="104" y="120"/>
                  <a:pt x="106" y="120"/>
                </a:cubicBezTo>
                <a:close/>
                <a:moveTo>
                  <a:pt x="123" y="120"/>
                </a:moveTo>
                <a:cubicBezTo>
                  <a:pt x="124" y="120"/>
                  <a:pt x="126" y="121"/>
                  <a:pt x="126" y="123"/>
                </a:cubicBezTo>
                <a:cubicBezTo>
                  <a:pt x="126" y="124"/>
                  <a:pt x="124" y="126"/>
                  <a:pt x="123" y="126"/>
                </a:cubicBezTo>
                <a:cubicBezTo>
                  <a:pt x="121" y="126"/>
                  <a:pt x="120" y="124"/>
                  <a:pt x="120" y="123"/>
                </a:cubicBezTo>
                <a:cubicBezTo>
                  <a:pt x="120" y="121"/>
                  <a:pt x="121" y="120"/>
                  <a:pt x="123" y="120"/>
                </a:cubicBezTo>
                <a:close/>
                <a:moveTo>
                  <a:pt x="63" y="43"/>
                </a:moveTo>
                <a:cubicBezTo>
                  <a:pt x="64" y="43"/>
                  <a:pt x="66" y="44"/>
                  <a:pt x="66" y="46"/>
                </a:cubicBezTo>
                <a:cubicBezTo>
                  <a:pt x="66" y="47"/>
                  <a:pt x="64" y="49"/>
                  <a:pt x="63" y="49"/>
                </a:cubicBezTo>
                <a:cubicBezTo>
                  <a:pt x="61" y="49"/>
                  <a:pt x="60" y="47"/>
                  <a:pt x="60" y="46"/>
                </a:cubicBezTo>
                <a:cubicBezTo>
                  <a:pt x="60" y="44"/>
                  <a:pt x="61" y="43"/>
                  <a:pt x="63" y="43"/>
                </a:cubicBezTo>
                <a:close/>
                <a:moveTo>
                  <a:pt x="63" y="60"/>
                </a:moveTo>
                <a:cubicBezTo>
                  <a:pt x="64" y="60"/>
                  <a:pt x="66" y="61"/>
                  <a:pt x="66" y="63"/>
                </a:cubicBezTo>
                <a:cubicBezTo>
                  <a:pt x="66" y="64"/>
                  <a:pt x="64" y="66"/>
                  <a:pt x="63" y="66"/>
                </a:cubicBezTo>
                <a:cubicBezTo>
                  <a:pt x="61" y="66"/>
                  <a:pt x="60" y="64"/>
                  <a:pt x="60" y="63"/>
                </a:cubicBezTo>
                <a:cubicBezTo>
                  <a:pt x="60" y="61"/>
                  <a:pt x="61" y="60"/>
                  <a:pt x="63" y="60"/>
                </a:cubicBezTo>
                <a:close/>
                <a:moveTo>
                  <a:pt x="71" y="51"/>
                </a:moveTo>
                <a:cubicBezTo>
                  <a:pt x="73" y="51"/>
                  <a:pt x="74" y="53"/>
                  <a:pt x="74" y="54"/>
                </a:cubicBezTo>
                <a:cubicBezTo>
                  <a:pt x="74" y="56"/>
                  <a:pt x="73" y="57"/>
                  <a:pt x="71" y="57"/>
                </a:cubicBezTo>
                <a:cubicBezTo>
                  <a:pt x="70" y="57"/>
                  <a:pt x="69" y="56"/>
                  <a:pt x="69" y="54"/>
                </a:cubicBezTo>
                <a:cubicBezTo>
                  <a:pt x="69" y="53"/>
                  <a:pt x="70" y="51"/>
                  <a:pt x="71" y="51"/>
                </a:cubicBezTo>
                <a:close/>
                <a:moveTo>
                  <a:pt x="71" y="69"/>
                </a:moveTo>
                <a:cubicBezTo>
                  <a:pt x="73" y="69"/>
                  <a:pt x="74" y="70"/>
                  <a:pt x="74" y="71"/>
                </a:cubicBezTo>
                <a:cubicBezTo>
                  <a:pt x="74" y="73"/>
                  <a:pt x="73" y="74"/>
                  <a:pt x="71" y="74"/>
                </a:cubicBezTo>
                <a:cubicBezTo>
                  <a:pt x="70" y="74"/>
                  <a:pt x="69" y="73"/>
                  <a:pt x="69" y="71"/>
                </a:cubicBezTo>
                <a:cubicBezTo>
                  <a:pt x="69" y="70"/>
                  <a:pt x="70" y="69"/>
                  <a:pt x="71" y="69"/>
                </a:cubicBezTo>
                <a:close/>
                <a:moveTo>
                  <a:pt x="63" y="77"/>
                </a:moveTo>
                <a:cubicBezTo>
                  <a:pt x="64" y="77"/>
                  <a:pt x="66" y="78"/>
                  <a:pt x="66" y="80"/>
                </a:cubicBezTo>
                <a:cubicBezTo>
                  <a:pt x="66" y="82"/>
                  <a:pt x="64" y="83"/>
                  <a:pt x="63" y="83"/>
                </a:cubicBezTo>
                <a:cubicBezTo>
                  <a:pt x="61" y="83"/>
                  <a:pt x="60" y="82"/>
                  <a:pt x="60" y="80"/>
                </a:cubicBezTo>
                <a:cubicBezTo>
                  <a:pt x="60" y="78"/>
                  <a:pt x="61" y="77"/>
                  <a:pt x="63" y="77"/>
                </a:cubicBezTo>
                <a:close/>
                <a:moveTo>
                  <a:pt x="63" y="94"/>
                </a:moveTo>
                <a:cubicBezTo>
                  <a:pt x="64" y="94"/>
                  <a:pt x="66" y="96"/>
                  <a:pt x="66" y="97"/>
                </a:cubicBezTo>
                <a:cubicBezTo>
                  <a:pt x="66" y="99"/>
                  <a:pt x="64" y="100"/>
                  <a:pt x="63" y="100"/>
                </a:cubicBezTo>
                <a:cubicBezTo>
                  <a:pt x="61" y="100"/>
                  <a:pt x="60" y="99"/>
                  <a:pt x="60" y="97"/>
                </a:cubicBezTo>
                <a:cubicBezTo>
                  <a:pt x="60" y="96"/>
                  <a:pt x="61" y="94"/>
                  <a:pt x="63" y="94"/>
                </a:cubicBezTo>
                <a:close/>
                <a:moveTo>
                  <a:pt x="71" y="86"/>
                </a:moveTo>
                <a:cubicBezTo>
                  <a:pt x="73" y="86"/>
                  <a:pt x="74" y="87"/>
                  <a:pt x="74" y="89"/>
                </a:cubicBezTo>
                <a:cubicBezTo>
                  <a:pt x="74" y="90"/>
                  <a:pt x="73" y="91"/>
                  <a:pt x="71" y="91"/>
                </a:cubicBezTo>
                <a:cubicBezTo>
                  <a:pt x="70" y="91"/>
                  <a:pt x="69" y="90"/>
                  <a:pt x="69" y="89"/>
                </a:cubicBezTo>
                <a:cubicBezTo>
                  <a:pt x="69" y="87"/>
                  <a:pt x="70" y="86"/>
                  <a:pt x="71" y="86"/>
                </a:cubicBezTo>
                <a:close/>
                <a:moveTo>
                  <a:pt x="71" y="103"/>
                </a:moveTo>
                <a:cubicBezTo>
                  <a:pt x="73" y="103"/>
                  <a:pt x="74" y="104"/>
                  <a:pt x="74" y="106"/>
                </a:cubicBezTo>
                <a:cubicBezTo>
                  <a:pt x="74" y="107"/>
                  <a:pt x="73" y="109"/>
                  <a:pt x="71" y="109"/>
                </a:cubicBezTo>
                <a:cubicBezTo>
                  <a:pt x="70" y="109"/>
                  <a:pt x="69" y="107"/>
                  <a:pt x="69" y="106"/>
                </a:cubicBezTo>
                <a:cubicBezTo>
                  <a:pt x="69" y="104"/>
                  <a:pt x="70" y="103"/>
                  <a:pt x="71" y="103"/>
                </a:cubicBezTo>
                <a:close/>
                <a:moveTo>
                  <a:pt x="63" y="111"/>
                </a:moveTo>
                <a:cubicBezTo>
                  <a:pt x="64" y="111"/>
                  <a:pt x="66" y="113"/>
                  <a:pt x="66" y="114"/>
                </a:cubicBezTo>
                <a:cubicBezTo>
                  <a:pt x="66" y="116"/>
                  <a:pt x="64" y="117"/>
                  <a:pt x="63" y="117"/>
                </a:cubicBezTo>
                <a:cubicBezTo>
                  <a:pt x="61" y="117"/>
                  <a:pt x="60" y="116"/>
                  <a:pt x="60" y="114"/>
                </a:cubicBezTo>
                <a:cubicBezTo>
                  <a:pt x="60" y="113"/>
                  <a:pt x="61" y="111"/>
                  <a:pt x="63" y="111"/>
                </a:cubicBezTo>
                <a:close/>
                <a:moveTo>
                  <a:pt x="63" y="129"/>
                </a:moveTo>
                <a:cubicBezTo>
                  <a:pt x="64" y="129"/>
                  <a:pt x="66" y="130"/>
                  <a:pt x="66" y="131"/>
                </a:cubicBezTo>
                <a:cubicBezTo>
                  <a:pt x="66" y="133"/>
                  <a:pt x="64" y="134"/>
                  <a:pt x="63" y="134"/>
                </a:cubicBezTo>
                <a:cubicBezTo>
                  <a:pt x="61" y="134"/>
                  <a:pt x="60" y="133"/>
                  <a:pt x="60" y="131"/>
                </a:cubicBezTo>
                <a:cubicBezTo>
                  <a:pt x="60" y="130"/>
                  <a:pt x="61" y="129"/>
                  <a:pt x="63" y="129"/>
                </a:cubicBezTo>
                <a:close/>
                <a:moveTo>
                  <a:pt x="71" y="120"/>
                </a:moveTo>
                <a:cubicBezTo>
                  <a:pt x="73" y="120"/>
                  <a:pt x="74" y="121"/>
                  <a:pt x="74" y="123"/>
                </a:cubicBezTo>
                <a:cubicBezTo>
                  <a:pt x="74" y="124"/>
                  <a:pt x="73" y="126"/>
                  <a:pt x="71" y="126"/>
                </a:cubicBezTo>
                <a:cubicBezTo>
                  <a:pt x="70" y="126"/>
                  <a:pt x="69" y="124"/>
                  <a:pt x="69" y="123"/>
                </a:cubicBezTo>
                <a:cubicBezTo>
                  <a:pt x="69" y="121"/>
                  <a:pt x="70" y="120"/>
                  <a:pt x="71" y="120"/>
                </a:cubicBezTo>
                <a:close/>
                <a:moveTo>
                  <a:pt x="11" y="43"/>
                </a:moveTo>
                <a:cubicBezTo>
                  <a:pt x="13" y="43"/>
                  <a:pt x="14" y="44"/>
                  <a:pt x="14" y="46"/>
                </a:cubicBezTo>
                <a:cubicBezTo>
                  <a:pt x="14" y="47"/>
                  <a:pt x="13" y="49"/>
                  <a:pt x="11" y="49"/>
                </a:cubicBezTo>
                <a:cubicBezTo>
                  <a:pt x="10" y="49"/>
                  <a:pt x="9" y="47"/>
                  <a:pt x="9" y="46"/>
                </a:cubicBezTo>
                <a:cubicBezTo>
                  <a:pt x="9" y="44"/>
                  <a:pt x="10" y="43"/>
                  <a:pt x="11" y="43"/>
                </a:cubicBezTo>
                <a:close/>
                <a:moveTo>
                  <a:pt x="11" y="60"/>
                </a:moveTo>
                <a:cubicBezTo>
                  <a:pt x="13" y="60"/>
                  <a:pt x="14" y="61"/>
                  <a:pt x="14" y="63"/>
                </a:cubicBezTo>
                <a:cubicBezTo>
                  <a:pt x="14" y="64"/>
                  <a:pt x="13" y="66"/>
                  <a:pt x="11" y="66"/>
                </a:cubicBezTo>
                <a:cubicBezTo>
                  <a:pt x="10" y="66"/>
                  <a:pt x="9" y="64"/>
                  <a:pt x="9" y="63"/>
                </a:cubicBezTo>
                <a:cubicBezTo>
                  <a:pt x="9" y="61"/>
                  <a:pt x="10" y="60"/>
                  <a:pt x="11" y="60"/>
                </a:cubicBezTo>
                <a:close/>
                <a:moveTo>
                  <a:pt x="20" y="51"/>
                </a:moveTo>
                <a:cubicBezTo>
                  <a:pt x="22" y="51"/>
                  <a:pt x="23" y="53"/>
                  <a:pt x="23" y="54"/>
                </a:cubicBezTo>
                <a:cubicBezTo>
                  <a:pt x="23" y="56"/>
                  <a:pt x="22" y="57"/>
                  <a:pt x="20" y="57"/>
                </a:cubicBezTo>
                <a:cubicBezTo>
                  <a:pt x="18" y="57"/>
                  <a:pt x="17" y="56"/>
                  <a:pt x="17" y="54"/>
                </a:cubicBezTo>
                <a:cubicBezTo>
                  <a:pt x="17" y="53"/>
                  <a:pt x="18" y="51"/>
                  <a:pt x="20" y="51"/>
                </a:cubicBezTo>
                <a:close/>
                <a:moveTo>
                  <a:pt x="20" y="69"/>
                </a:moveTo>
                <a:cubicBezTo>
                  <a:pt x="22" y="69"/>
                  <a:pt x="23" y="70"/>
                  <a:pt x="23" y="71"/>
                </a:cubicBezTo>
                <a:cubicBezTo>
                  <a:pt x="23" y="73"/>
                  <a:pt x="22" y="74"/>
                  <a:pt x="20" y="74"/>
                </a:cubicBezTo>
                <a:cubicBezTo>
                  <a:pt x="18" y="74"/>
                  <a:pt x="17" y="73"/>
                  <a:pt x="17" y="71"/>
                </a:cubicBezTo>
                <a:cubicBezTo>
                  <a:pt x="17" y="70"/>
                  <a:pt x="18" y="69"/>
                  <a:pt x="20" y="69"/>
                </a:cubicBezTo>
                <a:close/>
                <a:moveTo>
                  <a:pt x="29" y="43"/>
                </a:moveTo>
                <a:cubicBezTo>
                  <a:pt x="30" y="43"/>
                  <a:pt x="31" y="44"/>
                  <a:pt x="31" y="46"/>
                </a:cubicBezTo>
                <a:cubicBezTo>
                  <a:pt x="31" y="47"/>
                  <a:pt x="30" y="49"/>
                  <a:pt x="29" y="49"/>
                </a:cubicBezTo>
                <a:cubicBezTo>
                  <a:pt x="27" y="49"/>
                  <a:pt x="26" y="47"/>
                  <a:pt x="26" y="46"/>
                </a:cubicBezTo>
                <a:cubicBezTo>
                  <a:pt x="26" y="44"/>
                  <a:pt x="27" y="43"/>
                  <a:pt x="29" y="43"/>
                </a:cubicBezTo>
                <a:close/>
                <a:moveTo>
                  <a:pt x="46" y="43"/>
                </a:moveTo>
                <a:cubicBezTo>
                  <a:pt x="47" y="43"/>
                  <a:pt x="49" y="44"/>
                  <a:pt x="49" y="46"/>
                </a:cubicBezTo>
                <a:cubicBezTo>
                  <a:pt x="49" y="47"/>
                  <a:pt x="47" y="49"/>
                  <a:pt x="46" y="49"/>
                </a:cubicBezTo>
                <a:cubicBezTo>
                  <a:pt x="44" y="49"/>
                  <a:pt x="43" y="47"/>
                  <a:pt x="43" y="46"/>
                </a:cubicBezTo>
                <a:cubicBezTo>
                  <a:pt x="43" y="44"/>
                  <a:pt x="44" y="43"/>
                  <a:pt x="46" y="43"/>
                </a:cubicBezTo>
                <a:close/>
                <a:moveTo>
                  <a:pt x="29" y="60"/>
                </a:moveTo>
                <a:cubicBezTo>
                  <a:pt x="30" y="60"/>
                  <a:pt x="31" y="61"/>
                  <a:pt x="31" y="63"/>
                </a:cubicBezTo>
                <a:cubicBezTo>
                  <a:pt x="31" y="64"/>
                  <a:pt x="30" y="66"/>
                  <a:pt x="29" y="66"/>
                </a:cubicBezTo>
                <a:cubicBezTo>
                  <a:pt x="27" y="66"/>
                  <a:pt x="26" y="64"/>
                  <a:pt x="26" y="63"/>
                </a:cubicBezTo>
                <a:cubicBezTo>
                  <a:pt x="26" y="61"/>
                  <a:pt x="27" y="60"/>
                  <a:pt x="29" y="60"/>
                </a:cubicBezTo>
                <a:close/>
                <a:moveTo>
                  <a:pt x="46" y="60"/>
                </a:moveTo>
                <a:cubicBezTo>
                  <a:pt x="47" y="60"/>
                  <a:pt x="49" y="61"/>
                  <a:pt x="49" y="63"/>
                </a:cubicBezTo>
                <a:cubicBezTo>
                  <a:pt x="49" y="64"/>
                  <a:pt x="47" y="66"/>
                  <a:pt x="46" y="66"/>
                </a:cubicBezTo>
                <a:cubicBezTo>
                  <a:pt x="44" y="66"/>
                  <a:pt x="43" y="64"/>
                  <a:pt x="43" y="63"/>
                </a:cubicBezTo>
                <a:cubicBezTo>
                  <a:pt x="43" y="61"/>
                  <a:pt x="44" y="60"/>
                  <a:pt x="46" y="60"/>
                </a:cubicBezTo>
                <a:close/>
                <a:moveTo>
                  <a:pt x="37" y="51"/>
                </a:moveTo>
                <a:cubicBezTo>
                  <a:pt x="39" y="51"/>
                  <a:pt x="40" y="53"/>
                  <a:pt x="40" y="54"/>
                </a:cubicBezTo>
                <a:cubicBezTo>
                  <a:pt x="40" y="56"/>
                  <a:pt x="39" y="57"/>
                  <a:pt x="37" y="57"/>
                </a:cubicBezTo>
                <a:cubicBezTo>
                  <a:pt x="36" y="57"/>
                  <a:pt x="34" y="56"/>
                  <a:pt x="34" y="54"/>
                </a:cubicBezTo>
                <a:cubicBezTo>
                  <a:pt x="34" y="53"/>
                  <a:pt x="36" y="51"/>
                  <a:pt x="37" y="51"/>
                </a:cubicBezTo>
                <a:close/>
                <a:moveTo>
                  <a:pt x="54" y="51"/>
                </a:moveTo>
                <a:cubicBezTo>
                  <a:pt x="56" y="51"/>
                  <a:pt x="57" y="53"/>
                  <a:pt x="57" y="54"/>
                </a:cubicBezTo>
                <a:cubicBezTo>
                  <a:pt x="57" y="56"/>
                  <a:pt x="56" y="57"/>
                  <a:pt x="54" y="57"/>
                </a:cubicBezTo>
                <a:cubicBezTo>
                  <a:pt x="53" y="57"/>
                  <a:pt x="51" y="56"/>
                  <a:pt x="51" y="54"/>
                </a:cubicBezTo>
                <a:cubicBezTo>
                  <a:pt x="51" y="53"/>
                  <a:pt x="53" y="51"/>
                  <a:pt x="54" y="51"/>
                </a:cubicBezTo>
                <a:close/>
                <a:moveTo>
                  <a:pt x="37" y="69"/>
                </a:moveTo>
                <a:cubicBezTo>
                  <a:pt x="39" y="69"/>
                  <a:pt x="40" y="70"/>
                  <a:pt x="40" y="71"/>
                </a:cubicBezTo>
                <a:cubicBezTo>
                  <a:pt x="40" y="73"/>
                  <a:pt x="39" y="74"/>
                  <a:pt x="37" y="74"/>
                </a:cubicBezTo>
                <a:cubicBezTo>
                  <a:pt x="36" y="74"/>
                  <a:pt x="34" y="73"/>
                  <a:pt x="34" y="71"/>
                </a:cubicBezTo>
                <a:cubicBezTo>
                  <a:pt x="34" y="70"/>
                  <a:pt x="36" y="69"/>
                  <a:pt x="37" y="69"/>
                </a:cubicBezTo>
                <a:close/>
                <a:moveTo>
                  <a:pt x="54" y="69"/>
                </a:moveTo>
                <a:cubicBezTo>
                  <a:pt x="56" y="69"/>
                  <a:pt x="57" y="70"/>
                  <a:pt x="57" y="71"/>
                </a:cubicBezTo>
                <a:cubicBezTo>
                  <a:pt x="57" y="73"/>
                  <a:pt x="56" y="74"/>
                  <a:pt x="54" y="74"/>
                </a:cubicBezTo>
                <a:cubicBezTo>
                  <a:pt x="53" y="74"/>
                  <a:pt x="51" y="73"/>
                  <a:pt x="51" y="71"/>
                </a:cubicBezTo>
                <a:cubicBezTo>
                  <a:pt x="51" y="70"/>
                  <a:pt x="53" y="69"/>
                  <a:pt x="54" y="69"/>
                </a:cubicBezTo>
                <a:close/>
                <a:moveTo>
                  <a:pt x="11" y="77"/>
                </a:moveTo>
                <a:cubicBezTo>
                  <a:pt x="13" y="77"/>
                  <a:pt x="14" y="78"/>
                  <a:pt x="14" y="80"/>
                </a:cubicBezTo>
                <a:cubicBezTo>
                  <a:pt x="14" y="82"/>
                  <a:pt x="13" y="83"/>
                  <a:pt x="11" y="83"/>
                </a:cubicBezTo>
                <a:cubicBezTo>
                  <a:pt x="10" y="83"/>
                  <a:pt x="9" y="82"/>
                  <a:pt x="9" y="80"/>
                </a:cubicBezTo>
                <a:cubicBezTo>
                  <a:pt x="9" y="78"/>
                  <a:pt x="10" y="77"/>
                  <a:pt x="11" y="77"/>
                </a:cubicBezTo>
                <a:close/>
                <a:moveTo>
                  <a:pt x="11" y="94"/>
                </a:moveTo>
                <a:cubicBezTo>
                  <a:pt x="13" y="94"/>
                  <a:pt x="14" y="96"/>
                  <a:pt x="14" y="97"/>
                </a:cubicBezTo>
                <a:cubicBezTo>
                  <a:pt x="14" y="99"/>
                  <a:pt x="13" y="100"/>
                  <a:pt x="11" y="100"/>
                </a:cubicBezTo>
                <a:cubicBezTo>
                  <a:pt x="10" y="100"/>
                  <a:pt x="9" y="99"/>
                  <a:pt x="9" y="97"/>
                </a:cubicBezTo>
                <a:cubicBezTo>
                  <a:pt x="9" y="96"/>
                  <a:pt x="10" y="94"/>
                  <a:pt x="11" y="94"/>
                </a:cubicBezTo>
                <a:close/>
                <a:moveTo>
                  <a:pt x="20" y="86"/>
                </a:moveTo>
                <a:cubicBezTo>
                  <a:pt x="22" y="86"/>
                  <a:pt x="23" y="87"/>
                  <a:pt x="23" y="89"/>
                </a:cubicBezTo>
                <a:cubicBezTo>
                  <a:pt x="23" y="90"/>
                  <a:pt x="22" y="91"/>
                  <a:pt x="20" y="91"/>
                </a:cubicBezTo>
                <a:cubicBezTo>
                  <a:pt x="18" y="91"/>
                  <a:pt x="17" y="90"/>
                  <a:pt x="17" y="89"/>
                </a:cubicBezTo>
                <a:cubicBezTo>
                  <a:pt x="17" y="87"/>
                  <a:pt x="18" y="86"/>
                  <a:pt x="20" y="86"/>
                </a:cubicBezTo>
                <a:close/>
                <a:moveTo>
                  <a:pt x="20" y="103"/>
                </a:moveTo>
                <a:cubicBezTo>
                  <a:pt x="22" y="103"/>
                  <a:pt x="23" y="104"/>
                  <a:pt x="23" y="106"/>
                </a:cubicBezTo>
                <a:cubicBezTo>
                  <a:pt x="23" y="107"/>
                  <a:pt x="22" y="109"/>
                  <a:pt x="20" y="109"/>
                </a:cubicBezTo>
                <a:cubicBezTo>
                  <a:pt x="18" y="109"/>
                  <a:pt x="17" y="107"/>
                  <a:pt x="17" y="106"/>
                </a:cubicBezTo>
                <a:cubicBezTo>
                  <a:pt x="17" y="104"/>
                  <a:pt x="18" y="103"/>
                  <a:pt x="20" y="103"/>
                </a:cubicBezTo>
                <a:close/>
                <a:moveTo>
                  <a:pt x="29" y="77"/>
                </a:moveTo>
                <a:cubicBezTo>
                  <a:pt x="30" y="77"/>
                  <a:pt x="31" y="78"/>
                  <a:pt x="31" y="80"/>
                </a:cubicBezTo>
                <a:cubicBezTo>
                  <a:pt x="31" y="82"/>
                  <a:pt x="30" y="83"/>
                  <a:pt x="29" y="83"/>
                </a:cubicBezTo>
                <a:cubicBezTo>
                  <a:pt x="27" y="83"/>
                  <a:pt x="26" y="82"/>
                  <a:pt x="26" y="80"/>
                </a:cubicBezTo>
                <a:cubicBezTo>
                  <a:pt x="26" y="78"/>
                  <a:pt x="27" y="77"/>
                  <a:pt x="29" y="77"/>
                </a:cubicBezTo>
                <a:close/>
                <a:moveTo>
                  <a:pt x="46" y="77"/>
                </a:moveTo>
                <a:cubicBezTo>
                  <a:pt x="47" y="77"/>
                  <a:pt x="49" y="78"/>
                  <a:pt x="49" y="80"/>
                </a:cubicBezTo>
                <a:cubicBezTo>
                  <a:pt x="49" y="82"/>
                  <a:pt x="47" y="83"/>
                  <a:pt x="46" y="83"/>
                </a:cubicBezTo>
                <a:cubicBezTo>
                  <a:pt x="44" y="83"/>
                  <a:pt x="43" y="82"/>
                  <a:pt x="43" y="80"/>
                </a:cubicBezTo>
                <a:cubicBezTo>
                  <a:pt x="43" y="78"/>
                  <a:pt x="44" y="77"/>
                  <a:pt x="46" y="77"/>
                </a:cubicBezTo>
                <a:close/>
                <a:moveTo>
                  <a:pt x="29" y="94"/>
                </a:moveTo>
                <a:cubicBezTo>
                  <a:pt x="30" y="94"/>
                  <a:pt x="31" y="96"/>
                  <a:pt x="31" y="97"/>
                </a:cubicBezTo>
                <a:cubicBezTo>
                  <a:pt x="31" y="99"/>
                  <a:pt x="30" y="100"/>
                  <a:pt x="29" y="100"/>
                </a:cubicBezTo>
                <a:cubicBezTo>
                  <a:pt x="27" y="100"/>
                  <a:pt x="26" y="99"/>
                  <a:pt x="26" y="97"/>
                </a:cubicBezTo>
                <a:cubicBezTo>
                  <a:pt x="26" y="96"/>
                  <a:pt x="27" y="94"/>
                  <a:pt x="29" y="94"/>
                </a:cubicBezTo>
                <a:close/>
                <a:moveTo>
                  <a:pt x="46" y="94"/>
                </a:moveTo>
                <a:cubicBezTo>
                  <a:pt x="47" y="94"/>
                  <a:pt x="49" y="96"/>
                  <a:pt x="49" y="97"/>
                </a:cubicBezTo>
                <a:cubicBezTo>
                  <a:pt x="49" y="99"/>
                  <a:pt x="47" y="100"/>
                  <a:pt x="46" y="100"/>
                </a:cubicBezTo>
                <a:cubicBezTo>
                  <a:pt x="44" y="100"/>
                  <a:pt x="43" y="99"/>
                  <a:pt x="43" y="97"/>
                </a:cubicBezTo>
                <a:cubicBezTo>
                  <a:pt x="43" y="96"/>
                  <a:pt x="44" y="94"/>
                  <a:pt x="46" y="94"/>
                </a:cubicBezTo>
                <a:close/>
                <a:moveTo>
                  <a:pt x="37" y="86"/>
                </a:moveTo>
                <a:cubicBezTo>
                  <a:pt x="39" y="86"/>
                  <a:pt x="40" y="87"/>
                  <a:pt x="40" y="89"/>
                </a:cubicBezTo>
                <a:cubicBezTo>
                  <a:pt x="40" y="90"/>
                  <a:pt x="39" y="91"/>
                  <a:pt x="37" y="91"/>
                </a:cubicBezTo>
                <a:cubicBezTo>
                  <a:pt x="36" y="91"/>
                  <a:pt x="34" y="90"/>
                  <a:pt x="34" y="89"/>
                </a:cubicBezTo>
                <a:cubicBezTo>
                  <a:pt x="34" y="87"/>
                  <a:pt x="36" y="86"/>
                  <a:pt x="37" y="86"/>
                </a:cubicBezTo>
                <a:close/>
                <a:moveTo>
                  <a:pt x="54" y="86"/>
                </a:moveTo>
                <a:cubicBezTo>
                  <a:pt x="56" y="86"/>
                  <a:pt x="57" y="87"/>
                  <a:pt x="57" y="89"/>
                </a:cubicBezTo>
                <a:cubicBezTo>
                  <a:pt x="57" y="90"/>
                  <a:pt x="56" y="91"/>
                  <a:pt x="54" y="91"/>
                </a:cubicBezTo>
                <a:cubicBezTo>
                  <a:pt x="53" y="91"/>
                  <a:pt x="51" y="90"/>
                  <a:pt x="51" y="89"/>
                </a:cubicBezTo>
                <a:cubicBezTo>
                  <a:pt x="51" y="87"/>
                  <a:pt x="53" y="86"/>
                  <a:pt x="54" y="86"/>
                </a:cubicBezTo>
                <a:close/>
                <a:moveTo>
                  <a:pt x="37" y="103"/>
                </a:moveTo>
                <a:cubicBezTo>
                  <a:pt x="39" y="103"/>
                  <a:pt x="40" y="104"/>
                  <a:pt x="40" y="106"/>
                </a:cubicBezTo>
                <a:cubicBezTo>
                  <a:pt x="40" y="107"/>
                  <a:pt x="39" y="109"/>
                  <a:pt x="37" y="109"/>
                </a:cubicBezTo>
                <a:cubicBezTo>
                  <a:pt x="36" y="109"/>
                  <a:pt x="34" y="107"/>
                  <a:pt x="34" y="106"/>
                </a:cubicBezTo>
                <a:cubicBezTo>
                  <a:pt x="34" y="104"/>
                  <a:pt x="36" y="103"/>
                  <a:pt x="37" y="103"/>
                </a:cubicBezTo>
                <a:close/>
                <a:moveTo>
                  <a:pt x="54" y="103"/>
                </a:moveTo>
                <a:cubicBezTo>
                  <a:pt x="56" y="103"/>
                  <a:pt x="57" y="104"/>
                  <a:pt x="57" y="106"/>
                </a:cubicBezTo>
                <a:cubicBezTo>
                  <a:pt x="57" y="107"/>
                  <a:pt x="56" y="109"/>
                  <a:pt x="54" y="109"/>
                </a:cubicBezTo>
                <a:cubicBezTo>
                  <a:pt x="53" y="109"/>
                  <a:pt x="51" y="107"/>
                  <a:pt x="51" y="106"/>
                </a:cubicBezTo>
                <a:cubicBezTo>
                  <a:pt x="51" y="104"/>
                  <a:pt x="53" y="103"/>
                  <a:pt x="54" y="103"/>
                </a:cubicBezTo>
                <a:close/>
                <a:moveTo>
                  <a:pt x="11" y="111"/>
                </a:moveTo>
                <a:cubicBezTo>
                  <a:pt x="13" y="111"/>
                  <a:pt x="14" y="113"/>
                  <a:pt x="14" y="114"/>
                </a:cubicBezTo>
                <a:cubicBezTo>
                  <a:pt x="14" y="116"/>
                  <a:pt x="13" y="117"/>
                  <a:pt x="11" y="117"/>
                </a:cubicBezTo>
                <a:cubicBezTo>
                  <a:pt x="10" y="117"/>
                  <a:pt x="9" y="116"/>
                  <a:pt x="9" y="114"/>
                </a:cubicBezTo>
                <a:cubicBezTo>
                  <a:pt x="9" y="113"/>
                  <a:pt x="10" y="111"/>
                  <a:pt x="11" y="111"/>
                </a:cubicBezTo>
                <a:close/>
                <a:moveTo>
                  <a:pt x="11" y="129"/>
                </a:moveTo>
                <a:cubicBezTo>
                  <a:pt x="13" y="129"/>
                  <a:pt x="14" y="130"/>
                  <a:pt x="14" y="131"/>
                </a:cubicBezTo>
                <a:cubicBezTo>
                  <a:pt x="14" y="133"/>
                  <a:pt x="13" y="134"/>
                  <a:pt x="11" y="134"/>
                </a:cubicBezTo>
                <a:cubicBezTo>
                  <a:pt x="10" y="134"/>
                  <a:pt x="9" y="133"/>
                  <a:pt x="9" y="131"/>
                </a:cubicBezTo>
                <a:cubicBezTo>
                  <a:pt x="9" y="130"/>
                  <a:pt x="10" y="129"/>
                  <a:pt x="11" y="129"/>
                </a:cubicBezTo>
                <a:close/>
                <a:moveTo>
                  <a:pt x="20" y="120"/>
                </a:moveTo>
                <a:cubicBezTo>
                  <a:pt x="22" y="120"/>
                  <a:pt x="23" y="121"/>
                  <a:pt x="23" y="123"/>
                </a:cubicBezTo>
                <a:cubicBezTo>
                  <a:pt x="23" y="124"/>
                  <a:pt x="22" y="126"/>
                  <a:pt x="20" y="126"/>
                </a:cubicBezTo>
                <a:cubicBezTo>
                  <a:pt x="18" y="126"/>
                  <a:pt x="17" y="124"/>
                  <a:pt x="17" y="123"/>
                </a:cubicBezTo>
                <a:cubicBezTo>
                  <a:pt x="17" y="121"/>
                  <a:pt x="18" y="120"/>
                  <a:pt x="20" y="120"/>
                </a:cubicBezTo>
                <a:close/>
                <a:moveTo>
                  <a:pt x="29" y="111"/>
                </a:moveTo>
                <a:cubicBezTo>
                  <a:pt x="30" y="111"/>
                  <a:pt x="31" y="113"/>
                  <a:pt x="31" y="114"/>
                </a:cubicBezTo>
                <a:cubicBezTo>
                  <a:pt x="31" y="116"/>
                  <a:pt x="30" y="117"/>
                  <a:pt x="29" y="117"/>
                </a:cubicBezTo>
                <a:cubicBezTo>
                  <a:pt x="27" y="117"/>
                  <a:pt x="26" y="116"/>
                  <a:pt x="26" y="114"/>
                </a:cubicBezTo>
                <a:cubicBezTo>
                  <a:pt x="26" y="113"/>
                  <a:pt x="27" y="111"/>
                  <a:pt x="29" y="111"/>
                </a:cubicBezTo>
                <a:close/>
                <a:moveTo>
                  <a:pt x="46" y="111"/>
                </a:moveTo>
                <a:cubicBezTo>
                  <a:pt x="47" y="111"/>
                  <a:pt x="49" y="113"/>
                  <a:pt x="49" y="114"/>
                </a:cubicBezTo>
                <a:cubicBezTo>
                  <a:pt x="49" y="116"/>
                  <a:pt x="47" y="117"/>
                  <a:pt x="46" y="117"/>
                </a:cubicBezTo>
                <a:cubicBezTo>
                  <a:pt x="44" y="117"/>
                  <a:pt x="43" y="116"/>
                  <a:pt x="43" y="114"/>
                </a:cubicBezTo>
                <a:cubicBezTo>
                  <a:pt x="43" y="113"/>
                  <a:pt x="44" y="111"/>
                  <a:pt x="46" y="111"/>
                </a:cubicBezTo>
                <a:close/>
                <a:moveTo>
                  <a:pt x="29" y="129"/>
                </a:moveTo>
                <a:cubicBezTo>
                  <a:pt x="30" y="129"/>
                  <a:pt x="31" y="130"/>
                  <a:pt x="31" y="131"/>
                </a:cubicBezTo>
                <a:cubicBezTo>
                  <a:pt x="31" y="133"/>
                  <a:pt x="30" y="134"/>
                  <a:pt x="29" y="134"/>
                </a:cubicBezTo>
                <a:cubicBezTo>
                  <a:pt x="27" y="134"/>
                  <a:pt x="26" y="133"/>
                  <a:pt x="26" y="131"/>
                </a:cubicBezTo>
                <a:cubicBezTo>
                  <a:pt x="26" y="130"/>
                  <a:pt x="27" y="129"/>
                  <a:pt x="29" y="129"/>
                </a:cubicBezTo>
                <a:close/>
                <a:moveTo>
                  <a:pt x="46" y="129"/>
                </a:moveTo>
                <a:cubicBezTo>
                  <a:pt x="47" y="129"/>
                  <a:pt x="49" y="130"/>
                  <a:pt x="49" y="131"/>
                </a:cubicBezTo>
                <a:cubicBezTo>
                  <a:pt x="49" y="133"/>
                  <a:pt x="47" y="134"/>
                  <a:pt x="46" y="134"/>
                </a:cubicBezTo>
                <a:cubicBezTo>
                  <a:pt x="44" y="134"/>
                  <a:pt x="43" y="133"/>
                  <a:pt x="43" y="131"/>
                </a:cubicBezTo>
                <a:cubicBezTo>
                  <a:pt x="43" y="130"/>
                  <a:pt x="44" y="129"/>
                  <a:pt x="46" y="129"/>
                </a:cubicBezTo>
                <a:close/>
                <a:moveTo>
                  <a:pt x="37" y="120"/>
                </a:moveTo>
                <a:cubicBezTo>
                  <a:pt x="39" y="120"/>
                  <a:pt x="40" y="121"/>
                  <a:pt x="40" y="123"/>
                </a:cubicBezTo>
                <a:cubicBezTo>
                  <a:pt x="40" y="124"/>
                  <a:pt x="39" y="126"/>
                  <a:pt x="37" y="126"/>
                </a:cubicBezTo>
                <a:cubicBezTo>
                  <a:pt x="36" y="126"/>
                  <a:pt x="34" y="124"/>
                  <a:pt x="34" y="123"/>
                </a:cubicBezTo>
                <a:cubicBezTo>
                  <a:pt x="34" y="121"/>
                  <a:pt x="36" y="120"/>
                  <a:pt x="37" y="120"/>
                </a:cubicBezTo>
                <a:close/>
                <a:moveTo>
                  <a:pt x="54" y="120"/>
                </a:moveTo>
                <a:cubicBezTo>
                  <a:pt x="56" y="120"/>
                  <a:pt x="57" y="121"/>
                  <a:pt x="57" y="123"/>
                </a:cubicBezTo>
                <a:cubicBezTo>
                  <a:pt x="57" y="124"/>
                  <a:pt x="56" y="126"/>
                  <a:pt x="54" y="126"/>
                </a:cubicBezTo>
                <a:cubicBezTo>
                  <a:pt x="53" y="126"/>
                  <a:pt x="51" y="124"/>
                  <a:pt x="51" y="123"/>
                </a:cubicBezTo>
                <a:cubicBezTo>
                  <a:pt x="51" y="121"/>
                  <a:pt x="53" y="120"/>
                  <a:pt x="54" y="120"/>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40">
            <a:extLst>
              <a:ext uri="{FF2B5EF4-FFF2-40B4-BE49-F238E27FC236}">
                <a16:creationId xmlns:a16="http://schemas.microsoft.com/office/drawing/2014/main" id="{B449B8D1-EC56-B641-9AE0-764886E00905}"/>
              </a:ext>
            </a:extLst>
          </p:cNvPr>
          <p:cNvSpPr>
            <a:spLocks noEditPoints="1"/>
          </p:cNvSpPr>
          <p:nvPr/>
        </p:nvSpPr>
        <p:spPr bwMode="auto">
          <a:xfrm>
            <a:off x="3741429" y="5864225"/>
            <a:ext cx="600075" cy="552450"/>
          </a:xfrm>
          <a:custGeom>
            <a:avLst/>
            <a:gdLst>
              <a:gd name="T0" fmla="*/ 0 w 160"/>
              <a:gd name="T1" fmla="*/ 34 h 146"/>
              <a:gd name="T2" fmla="*/ 0 w 160"/>
              <a:gd name="T3" fmla="*/ 146 h 146"/>
              <a:gd name="T4" fmla="*/ 160 w 160"/>
              <a:gd name="T5" fmla="*/ 146 h 146"/>
              <a:gd name="T6" fmla="*/ 160 w 160"/>
              <a:gd name="T7" fmla="*/ 34 h 146"/>
              <a:gd name="T8" fmla="*/ 0 w 160"/>
              <a:gd name="T9" fmla="*/ 34 h 146"/>
              <a:gd name="T10" fmla="*/ 154 w 160"/>
              <a:gd name="T11" fmla="*/ 140 h 146"/>
              <a:gd name="T12" fmla="*/ 6 w 160"/>
              <a:gd name="T13" fmla="*/ 140 h 146"/>
              <a:gd name="T14" fmla="*/ 6 w 160"/>
              <a:gd name="T15" fmla="*/ 40 h 146"/>
              <a:gd name="T16" fmla="*/ 154 w 160"/>
              <a:gd name="T17" fmla="*/ 40 h 146"/>
              <a:gd name="T18" fmla="*/ 154 w 160"/>
              <a:gd name="T19" fmla="*/ 140 h 146"/>
              <a:gd name="T20" fmla="*/ 6 w 160"/>
              <a:gd name="T21" fmla="*/ 26 h 146"/>
              <a:gd name="T22" fmla="*/ 9 w 160"/>
              <a:gd name="T23" fmla="*/ 23 h 146"/>
              <a:gd name="T24" fmla="*/ 151 w 160"/>
              <a:gd name="T25" fmla="*/ 23 h 146"/>
              <a:gd name="T26" fmla="*/ 154 w 160"/>
              <a:gd name="T27" fmla="*/ 26 h 146"/>
              <a:gd name="T28" fmla="*/ 151 w 160"/>
              <a:gd name="T29" fmla="*/ 29 h 146"/>
              <a:gd name="T30" fmla="*/ 9 w 160"/>
              <a:gd name="T31" fmla="*/ 29 h 146"/>
              <a:gd name="T32" fmla="*/ 6 w 160"/>
              <a:gd name="T33" fmla="*/ 26 h 146"/>
              <a:gd name="T34" fmla="*/ 14 w 160"/>
              <a:gd name="T35" fmla="*/ 14 h 146"/>
              <a:gd name="T36" fmla="*/ 17 w 160"/>
              <a:gd name="T37" fmla="*/ 11 h 146"/>
              <a:gd name="T38" fmla="*/ 143 w 160"/>
              <a:gd name="T39" fmla="*/ 11 h 146"/>
              <a:gd name="T40" fmla="*/ 146 w 160"/>
              <a:gd name="T41" fmla="*/ 14 h 146"/>
              <a:gd name="T42" fmla="*/ 143 w 160"/>
              <a:gd name="T43" fmla="*/ 17 h 146"/>
              <a:gd name="T44" fmla="*/ 17 w 160"/>
              <a:gd name="T45" fmla="*/ 17 h 146"/>
              <a:gd name="T46" fmla="*/ 14 w 160"/>
              <a:gd name="T47" fmla="*/ 14 h 146"/>
              <a:gd name="T48" fmla="*/ 23 w 160"/>
              <a:gd name="T49" fmla="*/ 3 h 146"/>
              <a:gd name="T50" fmla="*/ 26 w 160"/>
              <a:gd name="T51" fmla="*/ 0 h 146"/>
              <a:gd name="T52" fmla="*/ 134 w 160"/>
              <a:gd name="T53" fmla="*/ 0 h 146"/>
              <a:gd name="T54" fmla="*/ 137 w 160"/>
              <a:gd name="T55" fmla="*/ 3 h 146"/>
              <a:gd name="T56" fmla="*/ 134 w 160"/>
              <a:gd name="T57" fmla="*/ 6 h 146"/>
              <a:gd name="T58" fmla="*/ 26 w 160"/>
              <a:gd name="T59" fmla="*/ 6 h 146"/>
              <a:gd name="T60" fmla="*/ 23 w 160"/>
              <a:gd name="T61" fmla="*/ 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146">
                <a:moveTo>
                  <a:pt x="0" y="34"/>
                </a:moveTo>
                <a:cubicBezTo>
                  <a:pt x="0" y="146"/>
                  <a:pt x="0" y="146"/>
                  <a:pt x="0" y="146"/>
                </a:cubicBezTo>
                <a:cubicBezTo>
                  <a:pt x="160" y="146"/>
                  <a:pt x="160" y="146"/>
                  <a:pt x="160" y="146"/>
                </a:cubicBezTo>
                <a:cubicBezTo>
                  <a:pt x="160" y="34"/>
                  <a:pt x="160" y="34"/>
                  <a:pt x="160" y="34"/>
                </a:cubicBezTo>
                <a:lnTo>
                  <a:pt x="0" y="34"/>
                </a:lnTo>
                <a:close/>
                <a:moveTo>
                  <a:pt x="154" y="140"/>
                </a:moveTo>
                <a:cubicBezTo>
                  <a:pt x="6" y="140"/>
                  <a:pt x="6" y="140"/>
                  <a:pt x="6" y="140"/>
                </a:cubicBezTo>
                <a:cubicBezTo>
                  <a:pt x="6" y="40"/>
                  <a:pt x="6" y="40"/>
                  <a:pt x="6" y="40"/>
                </a:cubicBezTo>
                <a:cubicBezTo>
                  <a:pt x="154" y="40"/>
                  <a:pt x="154" y="40"/>
                  <a:pt x="154" y="40"/>
                </a:cubicBezTo>
                <a:lnTo>
                  <a:pt x="154" y="140"/>
                </a:lnTo>
                <a:close/>
                <a:moveTo>
                  <a:pt x="6" y="26"/>
                </a:moveTo>
                <a:cubicBezTo>
                  <a:pt x="6" y="24"/>
                  <a:pt x="7" y="23"/>
                  <a:pt x="9" y="23"/>
                </a:cubicBezTo>
                <a:cubicBezTo>
                  <a:pt x="151" y="23"/>
                  <a:pt x="151" y="23"/>
                  <a:pt x="151" y="23"/>
                </a:cubicBezTo>
                <a:cubicBezTo>
                  <a:pt x="153" y="23"/>
                  <a:pt x="154" y="24"/>
                  <a:pt x="154" y="26"/>
                </a:cubicBezTo>
                <a:cubicBezTo>
                  <a:pt x="154" y="27"/>
                  <a:pt x="153" y="29"/>
                  <a:pt x="151" y="29"/>
                </a:cubicBezTo>
                <a:cubicBezTo>
                  <a:pt x="9" y="29"/>
                  <a:pt x="9" y="29"/>
                  <a:pt x="9" y="29"/>
                </a:cubicBezTo>
                <a:cubicBezTo>
                  <a:pt x="7" y="29"/>
                  <a:pt x="6" y="27"/>
                  <a:pt x="6" y="26"/>
                </a:cubicBezTo>
                <a:close/>
                <a:moveTo>
                  <a:pt x="14" y="14"/>
                </a:moveTo>
                <a:cubicBezTo>
                  <a:pt x="14" y="13"/>
                  <a:pt x="16" y="11"/>
                  <a:pt x="17" y="11"/>
                </a:cubicBezTo>
                <a:cubicBezTo>
                  <a:pt x="143" y="11"/>
                  <a:pt x="143" y="11"/>
                  <a:pt x="143" y="11"/>
                </a:cubicBezTo>
                <a:cubicBezTo>
                  <a:pt x="144" y="11"/>
                  <a:pt x="146" y="13"/>
                  <a:pt x="146" y="14"/>
                </a:cubicBezTo>
                <a:cubicBezTo>
                  <a:pt x="146" y="16"/>
                  <a:pt x="144" y="17"/>
                  <a:pt x="143" y="17"/>
                </a:cubicBezTo>
                <a:cubicBezTo>
                  <a:pt x="17" y="17"/>
                  <a:pt x="17" y="17"/>
                  <a:pt x="17" y="17"/>
                </a:cubicBezTo>
                <a:cubicBezTo>
                  <a:pt x="16" y="17"/>
                  <a:pt x="14" y="16"/>
                  <a:pt x="14" y="14"/>
                </a:cubicBezTo>
                <a:close/>
                <a:moveTo>
                  <a:pt x="23" y="3"/>
                </a:moveTo>
                <a:cubicBezTo>
                  <a:pt x="23" y="1"/>
                  <a:pt x="24" y="0"/>
                  <a:pt x="26" y="0"/>
                </a:cubicBezTo>
                <a:cubicBezTo>
                  <a:pt x="134" y="0"/>
                  <a:pt x="134" y="0"/>
                  <a:pt x="134" y="0"/>
                </a:cubicBezTo>
                <a:cubicBezTo>
                  <a:pt x="136" y="0"/>
                  <a:pt x="137" y="1"/>
                  <a:pt x="137" y="3"/>
                </a:cubicBezTo>
                <a:cubicBezTo>
                  <a:pt x="137" y="4"/>
                  <a:pt x="136" y="6"/>
                  <a:pt x="134" y="6"/>
                </a:cubicBezTo>
                <a:cubicBezTo>
                  <a:pt x="26" y="6"/>
                  <a:pt x="26" y="6"/>
                  <a:pt x="26" y="6"/>
                </a:cubicBezTo>
                <a:cubicBezTo>
                  <a:pt x="24" y="6"/>
                  <a:pt x="23" y="4"/>
                  <a:pt x="23" y="3"/>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41">
            <a:extLst>
              <a:ext uri="{FF2B5EF4-FFF2-40B4-BE49-F238E27FC236}">
                <a16:creationId xmlns:a16="http://schemas.microsoft.com/office/drawing/2014/main" id="{0328D175-15F6-0D4D-B732-D53B608C3A4C}"/>
              </a:ext>
            </a:extLst>
          </p:cNvPr>
          <p:cNvSpPr>
            <a:spLocks noEditPoints="1"/>
          </p:cNvSpPr>
          <p:nvPr/>
        </p:nvSpPr>
        <p:spPr bwMode="auto">
          <a:xfrm>
            <a:off x="4792354" y="400050"/>
            <a:ext cx="600075" cy="604838"/>
          </a:xfrm>
          <a:custGeom>
            <a:avLst/>
            <a:gdLst>
              <a:gd name="T0" fmla="*/ 152 w 160"/>
              <a:gd name="T1" fmla="*/ 77 h 160"/>
              <a:gd name="T2" fmla="*/ 83 w 160"/>
              <a:gd name="T3" fmla="*/ 3 h 160"/>
              <a:gd name="T4" fmla="*/ 77 w 160"/>
              <a:gd name="T5" fmla="*/ 3 h 160"/>
              <a:gd name="T6" fmla="*/ 8 w 160"/>
              <a:gd name="T7" fmla="*/ 77 h 160"/>
              <a:gd name="T8" fmla="*/ 0 w 160"/>
              <a:gd name="T9" fmla="*/ 80 h 160"/>
              <a:gd name="T10" fmla="*/ 8 w 160"/>
              <a:gd name="T11" fmla="*/ 83 h 160"/>
              <a:gd name="T12" fmla="*/ 77 w 160"/>
              <a:gd name="T13" fmla="*/ 157 h 160"/>
              <a:gd name="T14" fmla="*/ 83 w 160"/>
              <a:gd name="T15" fmla="*/ 157 h 160"/>
              <a:gd name="T16" fmla="*/ 152 w 160"/>
              <a:gd name="T17" fmla="*/ 83 h 160"/>
              <a:gd name="T18" fmla="*/ 160 w 160"/>
              <a:gd name="T19" fmla="*/ 80 h 160"/>
              <a:gd name="T20" fmla="*/ 83 w 160"/>
              <a:gd name="T21" fmla="*/ 147 h 160"/>
              <a:gd name="T22" fmla="*/ 80 w 160"/>
              <a:gd name="T23" fmla="*/ 139 h 160"/>
              <a:gd name="T24" fmla="*/ 77 w 160"/>
              <a:gd name="T25" fmla="*/ 147 h 160"/>
              <a:gd name="T26" fmla="*/ 19 w 160"/>
              <a:gd name="T27" fmla="*/ 83 h 160"/>
              <a:gd name="T28" fmla="*/ 19 w 160"/>
              <a:gd name="T29" fmla="*/ 77 h 160"/>
              <a:gd name="T30" fmla="*/ 77 w 160"/>
              <a:gd name="T31" fmla="*/ 13 h 160"/>
              <a:gd name="T32" fmla="*/ 80 w 160"/>
              <a:gd name="T33" fmla="*/ 21 h 160"/>
              <a:gd name="T34" fmla="*/ 83 w 160"/>
              <a:gd name="T35" fmla="*/ 13 h 160"/>
              <a:gd name="T36" fmla="*/ 141 w 160"/>
              <a:gd name="T37" fmla="*/ 77 h 160"/>
              <a:gd name="T38" fmla="*/ 141 w 160"/>
              <a:gd name="T39" fmla="*/ 83 h 160"/>
              <a:gd name="T40" fmla="*/ 83 w 160"/>
              <a:gd name="T41" fmla="*/ 147 h 160"/>
              <a:gd name="T42" fmla="*/ 98 w 160"/>
              <a:gd name="T43" fmla="*/ 77 h 160"/>
              <a:gd name="T44" fmla="*/ 83 w 160"/>
              <a:gd name="T45" fmla="*/ 48 h 160"/>
              <a:gd name="T46" fmla="*/ 77 w 160"/>
              <a:gd name="T47" fmla="*/ 48 h 160"/>
              <a:gd name="T48" fmla="*/ 62 w 160"/>
              <a:gd name="T49" fmla="*/ 77 h 160"/>
              <a:gd name="T50" fmla="*/ 45 w 160"/>
              <a:gd name="T51" fmla="*/ 80 h 160"/>
              <a:gd name="T52" fmla="*/ 62 w 160"/>
              <a:gd name="T53" fmla="*/ 83 h 160"/>
              <a:gd name="T54" fmla="*/ 77 w 160"/>
              <a:gd name="T55" fmla="*/ 112 h 160"/>
              <a:gd name="T56" fmla="*/ 83 w 160"/>
              <a:gd name="T57" fmla="*/ 112 h 160"/>
              <a:gd name="T58" fmla="*/ 98 w 160"/>
              <a:gd name="T59" fmla="*/ 83 h 160"/>
              <a:gd name="T60" fmla="*/ 115 w 160"/>
              <a:gd name="T61" fmla="*/ 80 h 160"/>
              <a:gd name="T62" fmla="*/ 80 w 160"/>
              <a:gd name="T63" fmla="*/ 93 h 160"/>
              <a:gd name="T64" fmla="*/ 80 w 160"/>
              <a:gd name="T65" fmla="*/ 67 h 160"/>
              <a:gd name="T66" fmla="*/ 80 w 160"/>
              <a:gd name="T67" fmla="*/ 9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60">
                <a:moveTo>
                  <a:pt x="157" y="77"/>
                </a:moveTo>
                <a:cubicBezTo>
                  <a:pt x="152" y="77"/>
                  <a:pt x="152" y="77"/>
                  <a:pt x="152" y="77"/>
                </a:cubicBezTo>
                <a:cubicBezTo>
                  <a:pt x="151" y="40"/>
                  <a:pt x="120" y="9"/>
                  <a:pt x="83" y="8"/>
                </a:cubicBezTo>
                <a:cubicBezTo>
                  <a:pt x="83" y="3"/>
                  <a:pt x="83" y="3"/>
                  <a:pt x="83" y="3"/>
                </a:cubicBezTo>
                <a:cubicBezTo>
                  <a:pt x="83" y="1"/>
                  <a:pt x="81" y="0"/>
                  <a:pt x="80" y="0"/>
                </a:cubicBezTo>
                <a:cubicBezTo>
                  <a:pt x="79" y="0"/>
                  <a:pt x="77" y="1"/>
                  <a:pt x="77" y="3"/>
                </a:cubicBezTo>
                <a:cubicBezTo>
                  <a:pt x="77" y="8"/>
                  <a:pt x="77" y="8"/>
                  <a:pt x="77" y="8"/>
                </a:cubicBezTo>
                <a:cubicBezTo>
                  <a:pt x="40" y="9"/>
                  <a:pt x="9" y="40"/>
                  <a:pt x="8" y="77"/>
                </a:cubicBezTo>
                <a:cubicBezTo>
                  <a:pt x="3" y="77"/>
                  <a:pt x="3" y="77"/>
                  <a:pt x="3" y="77"/>
                </a:cubicBezTo>
                <a:cubicBezTo>
                  <a:pt x="1" y="77"/>
                  <a:pt x="0" y="79"/>
                  <a:pt x="0" y="80"/>
                </a:cubicBezTo>
                <a:cubicBezTo>
                  <a:pt x="0" y="81"/>
                  <a:pt x="1" y="83"/>
                  <a:pt x="3" y="83"/>
                </a:cubicBezTo>
                <a:cubicBezTo>
                  <a:pt x="8" y="83"/>
                  <a:pt x="8" y="83"/>
                  <a:pt x="8" y="83"/>
                </a:cubicBezTo>
                <a:cubicBezTo>
                  <a:pt x="9" y="120"/>
                  <a:pt x="40" y="151"/>
                  <a:pt x="77" y="152"/>
                </a:cubicBezTo>
                <a:cubicBezTo>
                  <a:pt x="77" y="157"/>
                  <a:pt x="77" y="157"/>
                  <a:pt x="77" y="157"/>
                </a:cubicBezTo>
                <a:cubicBezTo>
                  <a:pt x="77" y="159"/>
                  <a:pt x="79" y="160"/>
                  <a:pt x="80" y="160"/>
                </a:cubicBezTo>
                <a:cubicBezTo>
                  <a:pt x="81" y="160"/>
                  <a:pt x="83" y="159"/>
                  <a:pt x="83" y="157"/>
                </a:cubicBezTo>
                <a:cubicBezTo>
                  <a:pt x="83" y="152"/>
                  <a:pt x="83" y="152"/>
                  <a:pt x="83" y="152"/>
                </a:cubicBezTo>
                <a:cubicBezTo>
                  <a:pt x="120" y="151"/>
                  <a:pt x="151" y="120"/>
                  <a:pt x="152" y="83"/>
                </a:cubicBezTo>
                <a:cubicBezTo>
                  <a:pt x="157" y="83"/>
                  <a:pt x="157" y="83"/>
                  <a:pt x="157" y="83"/>
                </a:cubicBezTo>
                <a:cubicBezTo>
                  <a:pt x="159" y="83"/>
                  <a:pt x="160" y="81"/>
                  <a:pt x="160" y="80"/>
                </a:cubicBezTo>
                <a:cubicBezTo>
                  <a:pt x="160" y="79"/>
                  <a:pt x="159" y="77"/>
                  <a:pt x="157" y="77"/>
                </a:cubicBezTo>
                <a:close/>
                <a:moveTo>
                  <a:pt x="83" y="147"/>
                </a:moveTo>
                <a:cubicBezTo>
                  <a:pt x="83" y="141"/>
                  <a:pt x="83" y="141"/>
                  <a:pt x="83" y="141"/>
                </a:cubicBezTo>
                <a:cubicBezTo>
                  <a:pt x="83" y="140"/>
                  <a:pt x="81" y="139"/>
                  <a:pt x="80" y="139"/>
                </a:cubicBezTo>
                <a:cubicBezTo>
                  <a:pt x="79" y="139"/>
                  <a:pt x="77" y="140"/>
                  <a:pt x="77" y="141"/>
                </a:cubicBezTo>
                <a:cubicBezTo>
                  <a:pt x="77" y="147"/>
                  <a:pt x="77" y="147"/>
                  <a:pt x="77" y="147"/>
                </a:cubicBezTo>
                <a:cubicBezTo>
                  <a:pt x="43" y="145"/>
                  <a:pt x="15" y="117"/>
                  <a:pt x="13" y="83"/>
                </a:cubicBezTo>
                <a:cubicBezTo>
                  <a:pt x="19" y="83"/>
                  <a:pt x="19" y="83"/>
                  <a:pt x="19" y="83"/>
                </a:cubicBezTo>
                <a:cubicBezTo>
                  <a:pt x="20" y="83"/>
                  <a:pt x="21" y="81"/>
                  <a:pt x="21" y="80"/>
                </a:cubicBezTo>
                <a:cubicBezTo>
                  <a:pt x="21" y="79"/>
                  <a:pt x="20" y="77"/>
                  <a:pt x="19" y="77"/>
                </a:cubicBezTo>
                <a:cubicBezTo>
                  <a:pt x="13" y="77"/>
                  <a:pt x="13" y="77"/>
                  <a:pt x="13" y="77"/>
                </a:cubicBezTo>
                <a:cubicBezTo>
                  <a:pt x="15" y="43"/>
                  <a:pt x="43" y="15"/>
                  <a:pt x="77" y="13"/>
                </a:cubicBezTo>
                <a:cubicBezTo>
                  <a:pt x="77" y="19"/>
                  <a:pt x="77" y="19"/>
                  <a:pt x="77" y="19"/>
                </a:cubicBezTo>
                <a:cubicBezTo>
                  <a:pt x="77" y="20"/>
                  <a:pt x="79" y="21"/>
                  <a:pt x="80" y="21"/>
                </a:cubicBezTo>
                <a:cubicBezTo>
                  <a:pt x="81" y="21"/>
                  <a:pt x="83" y="20"/>
                  <a:pt x="83" y="19"/>
                </a:cubicBezTo>
                <a:cubicBezTo>
                  <a:pt x="83" y="13"/>
                  <a:pt x="83" y="13"/>
                  <a:pt x="83" y="13"/>
                </a:cubicBezTo>
                <a:cubicBezTo>
                  <a:pt x="117" y="15"/>
                  <a:pt x="145" y="43"/>
                  <a:pt x="147" y="77"/>
                </a:cubicBezTo>
                <a:cubicBezTo>
                  <a:pt x="141" y="77"/>
                  <a:pt x="141" y="77"/>
                  <a:pt x="141" y="77"/>
                </a:cubicBezTo>
                <a:cubicBezTo>
                  <a:pt x="140" y="77"/>
                  <a:pt x="139" y="79"/>
                  <a:pt x="139" y="80"/>
                </a:cubicBezTo>
                <a:cubicBezTo>
                  <a:pt x="139" y="81"/>
                  <a:pt x="140" y="83"/>
                  <a:pt x="141" y="83"/>
                </a:cubicBezTo>
                <a:cubicBezTo>
                  <a:pt x="147" y="83"/>
                  <a:pt x="147" y="83"/>
                  <a:pt x="147" y="83"/>
                </a:cubicBezTo>
                <a:cubicBezTo>
                  <a:pt x="145" y="117"/>
                  <a:pt x="117" y="145"/>
                  <a:pt x="83" y="147"/>
                </a:cubicBezTo>
                <a:close/>
                <a:moveTo>
                  <a:pt x="112" y="77"/>
                </a:moveTo>
                <a:cubicBezTo>
                  <a:pt x="98" y="77"/>
                  <a:pt x="98" y="77"/>
                  <a:pt x="98" y="77"/>
                </a:cubicBezTo>
                <a:cubicBezTo>
                  <a:pt x="97" y="69"/>
                  <a:pt x="91" y="63"/>
                  <a:pt x="83" y="62"/>
                </a:cubicBezTo>
                <a:cubicBezTo>
                  <a:pt x="83" y="48"/>
                  <a:pt x="83" y="48"/>
                  <a:pt x="83" y="48"/>
                </a:cubicBezTo>
                <a:cubicBezTo>
                  <a:pt x="83" y="47"/>
                  <a:pt x="81" y="45"/>
                  <a:pt x="80" y="45"/>
                </a:cubicBezTo>
                <a:cubicBezTo>
                  <a:pt x="79" y="45"/>
                  <a:pt x="77" y="47"/>
                  <a:pt x="77" y="48"/>
                </a:cubicBezTo>
                <a:cubicBezTo>
                  <a:pt x="77" y="62"/>
                  <a:pt x="77" y="62"/>
                  <a:pt x="77" y="62"/>
                </a:cubicBezTo>
                <a:cubicBezTo>
                  <a:pt x="69" y="63"/>
                  <a:pt x="63" y="69"/>
                  <a:pt x="62" y="77"/>
                </a:cubicBezTo>
                <a:cubicBezTo>
                  <a:pt x="48" y="77"/>
                  <a:pt x="48" y="77"/>
                  <a:pt x="48" y="77"/>
                </a:cubicBezTo>
                <a:cubicBezTo>
                  <a:pt x="47" y="77"/>
                  <a:pt x="45" y="79"/>
                  <a:pt x="45" y="80"/>
                </a:cubicBezTo>
                <a:cubicBezTo>
                  <a:pt x="45" y="81"/>
                  <a:pt x="47" y="83"/>
                  <a:pt x="48" y="83"/>
                </a:cubicBezTo>
                <a:cubicBezTo>
                  <a:pt x="62" y="83"/>
                  <a:pt x="62" y="83"/>
                  <a:pt x="62" y="83"/>
                </a:cubicBezTo>
                <a:cubicBezTo>
                  <a:pt x="63" y="91"/>
                  <a:pt x="69" y="97"/>
                  <a:pt x="77" y="98"/>
                </a:cubicBezTo>
                <a:cubicBezTo>
                  <a:pt x="77" y="112"/>
                  <a:pt x="77" y="112"/>
                  <a:pt x="77" y="112"/>
                </a:cubicBezTo>
                <a:cubicBezTo>
                  <a:pt x="77" y="113"/>
                  <a:pt x="79" y="115"/>
                  <a:pt x="80" y="115"/>
                </a:cubicBezTo>
                <a:cubicBezTo>
                  <a:pt x="81" y="115"/>
                  <a:pt x="83" y="113"/>
                  <a:pt x="83" y="112"/>
                </a:cubicBezTo>
                <a:cubicBezTo>
                  <a:pt x="83" y="98"/>
                  <a:pt x="83" y="98"/>
                  <a:pt x="83" y="98"/>
                </a:cubicBezTo>
                <a:cubicBezTo>
                  <a:pt x="91" y="97"/>
                  <a:pt x="97" y="91"/>
                  <a:pt x="98" y="83"/>
                </a:cubicBezTo>
                <a:cubicBezTo>
                  <a:pt x="112" y="83"/>
                  <a:pt x="112" y="83"/>
                  <a:pt x="112" y="83"/>
                </a:cubicBezTo>
                <a:cubicBezTo>
                  <a:pt x="113" y="83"/>
                  <a:pt x="115" y="81"/>
                  <a:pt x="115" y="80"/>
                </a:cubicBezTo>
                <a:cubicBezTo>
                  <a:pt x="115" y="79"/>
                  <a:pt x="113" y="77"/>
                  <a:pt x="112" y="77"/>
                </a:cubicBezTo>
                <a:close/>
                <a:moveTo>
                  <a:pt x="80" y="93"/>
                </a:moveTo>
                <a:cubicBezTo>
                  <a:pt x="73" y="93"/>
                  <a:pt x="67" y="87"/>
                  <a:pt x="67" y="80"/>
                </a:cubicBezTo>
                <a:cubicBezTo>
                  <a:pt x="67" y="73"/>
                  <a:pt x="73" y="67"/>
                  <a:pt x="80" y="67"/>
                </a:cubicBezTo>
                <a:cubicBezTo>
                  <a:pt x="87" y="67"/>
                  <a:pt x="93" y="73"/>
                  <a:pt x="93" y="80"/>
                </a:cubicBezTo>
                <a:cubicBezTo>
                  <a:pt x="93" y="87"/>
                  <a:pt x="87" y="93"/>
                  <a:pt x="80" y="93"/>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42">
            <a:extLst>
              <a:ext uri="{FF2B5EF4-FFF2-40B4-BE49-F238E27FC236}">
                <a16:creationId xmlns:a16="http://schemas.microsoft.com/office/drawing/2014/main" id="{E1F1DFA7-F2D4-6F42-9E72-92566AD5CFA2}"/>
              </a:ext>
            </a:extLst>
          </p:cNvPr>
          <p:cNvSpPr>
            <a:spLocks noEditPoints="1"/>
          </p:cNvSpPr>
          <p:nvPr/>
        </p:nvSpPr>
        <p:spPr bwMode="auto">
          <a:xfrm>
            <a:off x="4792354" y="1141413"/>
            <a:ext cx="600075" cy="484188"/>
          </a:xfrm>
          <a:custGeom>
            <a:avLst/>
            <a:gdLst>
              <a:gd name="T0" fmla="*/ 3 w 160"/>
              <a:gd name="T1" fmla="*/ 0 h 128"/>
              <a:gd name="T2" fmla="*/ 0 w 160"/>
              <a:gd name="T3" fmla="*/ 104 h 128"/>
              <a:gd name="T4" fmla="*/ 72 w 160"/>
              <a:gd name="T5" fmla="*/ 107 h 128"/>
              <a:gd name="T6" fmla="*/ 59 w 160"/>
              <a:gd name="T7" fmla="*/ 115 h 128"/>
              <a:gd name="T8" fmla="*/ 101 w 160"/>
              <a:gd name="T9" fmla="*/ 128 h 128"/>
              <a:gd name="T10" fmla="*/ 88 w 160"/>
              <a:gd name="T11" fmla="*/ 115 h 128"/>
              <a:gd name="T12" fmla="*/ 157 w 160"/>
              <a:gd name="T13" fmla="*/ 107 h 128"/>
              <a:gd name="T14" fmla="*/ 160 w 160"/>
              <a:gd name="T15" fmla="*/ 3 h 128"/>
              <a:gd name="T16" fmla="*/ 96 w 160"/>
              <a:gd name="T17" fmla="*/ 120 h 128"/>
              <a:gd name="T18" fmla="*/ 64 w 160"/>
              <a:gd name="T19" fmla="*/ 123 h 128"/>
              <a:gd name="T20" fmla="*/ 77 w 160"/>
              <a:gd name="T21" fmla="*/ 120 h 128"/>
              <a:gd name="T22" fmla="*/ 83 w 160"/>
              <a:gd name="T23" fmla="*/ 107 h 128"/>
              <a:gd name="T24" fmla="*/ 96 w 160"/>
              <a:gd name="T25" fmla="*/ 120 h 128"/>
              <a:gd name="T26" fmla="*/ 88 w 160"/>
              <a:gd name="T27" fmla="*/ 101 h 128"/>
              <a:gd name="T28" fmla="*/ 5 w 160"/>
              <a:gd name="T29" fmla="*/ 101 h 128"/>
              <a:gd name="T30" fmla="*/ 155 w 160"/>
              <a:gd name="T31" fmla="*/ 5 h 128"/>
              <a:gd name="T32" fmla="*/ 147 w 160"/>
              <a:gd name="T33" fmla="*/ 75 h 128"/>
              <a:gd name="T34" fmla="*/ 113 w 160"/>
              <a:gd name="T35" fmla="*/ 74 h 128"/>
              <a:gd name="T36" fmla="*/ 97 w 160"/>
              <a:gd name="T37" fmla="*/ 64 h 128"/>
              <a:gd name="T38" fmla="*/ 94 w 160"/>
              <a:gd name="T39" fmla="*/ 63 h 128"/>
              <a:gd name="T40" fmla="*/ 93 w 160"/>
              <a:gd name="T41" fmla="*/ 60 h 128"/>
              <a:gd name="T42" fmla="*/ 97 w 160"/>
              <a:gd name="T43" fmla="*/ 57 h 128"/>
              <a:gd name="T44" fmla="*/ 107 w 160"/>
              <a:gd name="T45" fmla="*/ 42 h 128"/>
              <a:gd name="T46" fmla="*/ 105 w 160"/>
              <a:gd name="T47" fmla="*/ 33 h 128"/>
              <a:gd name="T48" fmla="*/ 104 w 160"/>
              <a:gd name="T49" fmla="*/ 27 h 128"/>
              <a:gd name="T50" fmla="*/ 61 w 160"/>
              <a:gd name="T51" fmla="*/ 27 h 128"/>
              <a:gd name="T52" fmla="*/ 60 w 160"/>
              <a:gd name="T53" fmla="*/ 33 h 128"/>
              <a:gd name="T54" fmla="*/ 59 w 160"/>
              <a:gd name="T55" fmla="*/ 42 h 128"/>
              <a:gd name="T56" fmla="*/ 72 w 160"/>
              <a:gd name="T57" fmla="*/ 59 h 128"/>
              <a:gd name="T58" fmla="*/ 68 w 160"/>
              <a:gd name="T59" fmla="*/ 64 h 128"/>
              <a:gd name="T60" fmla="*/ 54 w 160"/>
              <a:gd name="T61" fmla="*/ 72 h 128"/>
              <a:gd name="T62" fmla="*/ 51 w 160"/>
              <a:gd name="T63" fmla="*/ 75 h 128"/>
              <a:gd name="T64" fmla="*/ 37 w 160"/>
              <a:gd name="T65" fmla="*/ 93 h 128"/>
              <a:gd name="T66" fmla="*/ 147 w 160"/>
              <a:gd name="T67" fmla="*/ 75 h 128"/>
              <a:gd name="T68" fmla="*/ 71 w 160"/>
              <a:gd name="T69" fmla="*/ 69 h 128"/>
              <a:gd name="T70" fmla="*/ 77 w 160"/>
              <a:gd name="T71" fmla="*/ 55 h 128"/>
              <a:gd name="T72" fmla="*/ 67 w 160"/>
              <a:gd name="T73" fmla="*/ 45 h 128"/>
              <a:gd name="T74" fmla="*/ 66 w 160"/>
              <a:gd name="T75" fmla="*/ 44 h 128"/>
              <a:gd name="T76" fmla="*/ 64 w 160"/>
              <a:gd name="T77" fmla="*/ 36 h 128"/>
              <a:gd name="T78" fmla="*/ 67 w 160"/>
              <a:gd name="T79" fmla="*/ 29 h 128"/>
              <a:gd name="T80" fmla="*/ 83 w 160"/>
              <a:gd name="T81" fmla="*/ 13 h 128"/>
              <a:gd name="T82" fmla="*/ 99 w 160"/>
              <a:gd name="T83" fmla="*/ 29 h 128"/>
              <a:gd name="T84" fmla="*/ 101 w 160"/>
              <a:gd name="T85" fmla="*/ 42 h 128"/>
              <a:gd name="T86" fmla="*/ 98 w 160"/>
              <a:gd name="T87" fmla="*/ 44 h 128"/>
              <a:gd name="T88" fmla="*/ 93 w 160"/>
              <a:gd name="T89" fmla="*/ 54 h 128"/>
              <a:gd name="T90" fmla="*/ 89 w 160"/>
              <a:gd name="T91" fmla="*/ 57 h 128"/>
              <a:gd name="T92" fmla="*/ 88 w 160"/>
              <a:gd name="T93" fmla="*/ 64 h 128"/>
              <a:gd name="T94" fmla="*/ 95 w 160"/>
              <a:gd name="T95" fmla="*/ 69 h 128"/>
              <a:gd name="T96" fmla="*/ 61 w 160"/>
              <a:gd name="T97" fmla="*/ 75 h 128"/>
              <a:gd name="T98" fmla="*/ 141 w 160"/>
              <a:gd name="T99" fmla="*/ 88 h 128"/>
              <a:gd name="T100" fmla="*/ 43 w 160"/>
              <a:gd name="T101" fmla="*/ 80 h 128"/>
              <a:gd name="T102" fmla="*/ 111 w 160"/>
              <a:gd name="T103" fmla="*/ 80 h 128"/>
              <a:gd name="T104" fmla="*/ 141 w 160"/>
              <a:gd name="T105" fmla="*/ 88 h 128"/>
              <a:gd name="T106" fmla="*/ 131 w 160"/>
              <a:gd name="T107" fmla="*/ 11 h 128"/>
              <a:gd name="T108" fmla="*/ 147 w 160"/>
              <a:gd name="T109" fmla="*/ 27 h 128"/>
              <a:gd name="T110" fmla="*/ 141 w 160"/>
              <a:gd name="T111" fmla="*/ 21 h 128"/>
              <a:gd name="T112" fmla="*/ 136 w 160"/>
              <a:gd name="T113" fmla="*/ 16 h 128"/>
              <a:gd name="T114" fmla="*/ 141 w 160"/>
              <a:gd name="T115" fmla="*/ 21 h 128"/>
              <a:gd name="T116" fmla="*/ 13 w 160"/>
              <a:gd name="T117" fmla="*/ 75 h 128"/>
              <a:gd name="T118" fmla="*/ 32 w 160"/>
              <a:gd name="T119" fmla="*/ 93 h 128"/>
              <a:gd name="T120" fmla="*/ 27 w 160"/>
              <a:gd name="T121" fmla="*/ 88 h 128"/>
              <a:gd name="T122" fmla="*/ 19 w 160"/>
              <a:gd name="T123" fmla="*/ 80 h 128"/>
              <a:gd name="T124" fmla="*/ 27 w 160"/>
              <a:gd name="T125" fmla="*/ 8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128">
                <a:moveTo>
                  <a:pt x="157" y="0"/>
                </a:moveTo>
                <a:cubicBezTo>
                  <a:pt x="3" y="0"/>
                  <a:pt x="3" y="0"/>
                  <a:pt x="3" y="0"/>
                </a:cubicBezTo>
                <a:cubicBezTo>
                  <a:pt x="1" y="0"/>
                  <a:pt x="0" y="1"/>
                  <a:pt x="0" y="3"/>
                </a:cubicBezTo>
                <a:cubicBezTo>
                  <a:pt x="0" y="104"/>
                  <a:pt x="0" y="104"/>
                  <a:pt x="0" y="104"/>
                </a:cubicBezTo>
                <a:cubicBezTo>
                  <a:pt x="0" y="105"/>
                  <a:pt x="1" y="107"/>
                  <a:pt x="3" y="107"/>
                </a:cubicBezTo>
                <a:cubicBezTo>
                  <a:pt x="72" y="107"/>
                  <a:pt x="72" y="107"/>
                  <a:pt x="72" y="107"/>
                </a:cubicBezTo>
                <a:cubicBezTo>
                  <a:pt x="72" y="115"/>
                  <a:pt x="72" y="115"/>
                  <a:pt x="72" y="115"/>
                </a:cubicBezTo>
                <a:cubicBezTo>
                  <a:pt x="59" y="115"/>
                  <a:pt x="59" y="115"/>
                  <a:pt x="59" y="115"/>
                </a:cubicBezTo>
                <a:cubicBezTo>
                  <a:pt x="59" y="128"/>
                  <a:pt x="59" y="128"/>
                  <a:pt x="59" y="128"/>
                </a:cubicBezTo>
                <a:cubicBezTo>
                  <a:pt x="101" y="128"/>
                  <a:pt x="101" y="128"/>
                  <a:pt x="101" y="128"/>
                </a:cubicBezTo>
                <a:cubicBezTo>
                  <a:pt x="101" y="115"/>
                  <a:pt x="101" y="115"/>
                  <a:pt x="101" y="115"/>
                </a:cubicBezTo>
                <a:cubicBezTo>
                  <a:pt x="88" y="115"/>
                  <a:pt x="88" y="115"/>
                  <a:pt x="88" y="115"/>
                </a:cubicBezTo>
                <a:cubicBezTo>
                  <a:pt x="88" y="107"/>
                  <a:pt x="88" y="107"/>
                  <a:pt x="88" y="107"/>
                </a:cubicBezTo>
                <a:cubicBezTo>
                  <a:pt x="157" y="107"/>
                  <a:pt x="157" y="107"/>
                  <a:pt x="157" y="107"/>
                </a:cubicBezTo>
                <a:cubicBezTo>
                  <a:pt x="159" y="107"/>
                  <a:pt x="160" y="105"/>
                  <a:pt x="160" y="104"/>
                </a:cubicBezTo>
                <a:cubicBezTo>
                  <a:pt x="160" y="3"/>
                  <a:pt x="160" y="3"/>
                  <a:pt x="160" y="3"/>
                </a:cubicBezTo>
                <a:cubicBezTo>
                  <a:pt x="160" y="1"/>
                  <a:pt x="159" y="0"/>
                  <a:pt x="157" y="0"/>
                </a:cubicBezTo>
                <a:close/>
                <a:moveTo>
                  <a:pt x="96" y="120"/>
                </a:moveTo>
                <a:cubicBezTo>
                  <a:pt x="96" y="123"/>
                  <a:pt x="96" y="123"/>
                  <a:pt x="96" y="123"/>
                </a:cubicBezTo>
                <a:cubicBezTo>
                  <a:pt x="64" y="123"/>
                  <a:pt x="64" y="123"/>
                  <a:pt x="64" y="123"/>
                </a:cubicBezTo>
                <a:cubicBezTo>
                  <a:pt x="64" y="120"/>
                  <a:pt x="64" y="120"/>
                  <a:pt x="64" y="120"/>
                </a:cubicBezTo>
                <a:cubicBezTo>
                  <a:pt x="77" y="120"/>
                  <a:pt x="77" y="120"/>
                  <a:pt x="77" y="120"/>
                </a:cubicBezTo>
                <a:cubicBezTo>
                  <a:pt x="77" y="107"/>
                  <a:pt x="77" y="107"/>
                  <a:pt x="77" y="107"/>
                </a:cubicBezTo>
                <a:cubicBezTo>
                  <a:pt x="83" y="107"/>
                  <a:pt x="83" y="107"/>
                  <a:pt x="83" y="107"/>
                </a:cubicBezTo>
                <a:cubicBezTo>
                  <a:pt x="83" y="120"/>
                  <a:pt x="83" y="120"/>
                  <a:pt x="83" y="120"/>
                </a:cubicBezTo>
                <a:lnTo>
                  <a:pt x="96" y="120"/>
                </a:lnTo>
                <a:close/>
                <a:moveTo>
                  <a:pt x="155" y="101"/>
                </a:moveTo>
                <a:cubicBezTo>
                  <a:pt x="88" y="101"/>
                  <a:pt x="88" y="101"/>
                  <a:pt x="88" y="101"/>
                </a:cubicBezTo>
                <a:cubicBezTo>
                  <a:pt x="72" y="101"/>
                  <a:pt x="72" y="101"/>
                  <a:pt x="72" y="101"/>
                </a:cubicBezTo>
                <a:cubicBezTo>
                  <a:pt x="5" y="101"/>
                  <a:pt x="5" y="101"/>
                  <a:pt x="5" y="101"/>
                </a:cubicBezTo>
                <a:cubicBezTo>
                  <a:pt x="5" y="5"/>
                  <a:pt x="5" y="5"/>
                  <a:pt x="5" y="5"/>
                </a:cubicBezTo>
                <a:cubicBezTo>
                  <a:pt x="155" y="5"/>
                  <a:pt x="155" y="5"/>
                  <a:pt x="155" y="5"/>
                </a:cubicBezTo>
                <a:lnTo>
                  <a:pt x="155" y="101"/>
                </a:lnTo>
                <a:close/>
                <a:moveTo>
                  <a:pt x="147" y="75"/>
                </a:moveTo>
                <a:cubicBezTo>
                  <a:pt x="113" y="75"/>
                  <a:pt x="113" y="75"/>
                  <a:pt x="113" y="75"/>
                </a:cubicBezTo>
                <a:cubicBezTo>
                  <a:pt x="113" y="74"/>
                  <a:pt x="113" y="74"/>
                  <a:pt x="113" y="74"/>
                </a:cubicBezTo>
                <a:cubicBezTo>
                  <a:pt x="112" y="74"/>
                  <a:pt x="111" y="73"/>
                  <a:pt x="110" y="72"/>
                </a:cubicBezTo>
                <a:cubicBezTo>
                  <a:pt x="97" y="64"/>
                  <a:pt x="97" y="64"/>
                  <a:pt x="97" y="64"/>
                </a:cubicBezTo>
                <a:cubicBezTo>
                  <a:pt x="97" y="64"/>
                  <a:pt x="97" y="64"/>
                  <a:pt x="97" y="64"/>
                </a:cubicBezTo>
                <a:cubicBezTo>
                  <a:pt x="96" y="64"/>
                  <a:pt x="95" y="64"/>
                  <a:pt x="94" y="63"/>
                </a:cubicBezTo>
                <a:cubicBezTo>
                  <a:pt x="94" y="63"/>
                  <a:pt x="94" y="63"/>
                  <a:pt x="93" y="63"/>
                </a:cubicBezTo>
                <a:cubicBezTo>
                  <a:pt x="93" y="60"/>
                  <a:pt x="93" y="60"/>
                  <a:pt x="93" y="60"/>
                </a:cubicBezTo>
                <a:cubicBezTo>
                  <a:pt x="93" y="60"/>
                  <a:pt x="94" y="60"/>
                  <a:pt x="94" y="59"/>
                </a:cubicBezTo>
                <a:cubicBezTo>
                  <a:pt x="96" y="58"/>
                  <a:pt x="96" y="58"/>
                  <a:pt x="97" y="57"/>
                </a:cubicBezTo>
                <a:cubicBezTo>
                  <a:pt x="99" y="54"/>
                  <a:pt x="101" y="51"/>
                  <a:pt x="102" y="48"/>
                </a:cubicBezTo>
                <a:cubicBezTo>
                  <a:pt x="104" y="47"/>
                  <a:pt x="107" y="45"/>
                  <a:pt x="107" y="42"/>
                </a:cubicBezTo>
                <a:cubicBezTo>
                  <a:pt x="107" y="36"/>
                  <a:pt x="107" y="36"/>
                  <a:pt x="107" y="36"/>
                </a:cubicBezTo>
                <a:cubicBezTo>
                  <a:pt x="107" y="35"/>
                  <a:pt x="106" y="34"/>
                  <a:pt x="105" y="33"/>
                </a:cubicBezTo>
                <a:cubicBezTo>
                  <a:pt x="105" y="32"/>
                  <a:pt x="104" y="31"/>
                  <a:pt x="104" y="29"/>
                </a:cubicBezTo>
                <a:cubicBezTo>
                  <a:pt x="104" y="27"/>
                  <a:pt x="104" y="27"/>
                  <a:pt x="104" y="27"/>
                </a:cubicBezTo>
                <a:cubicBezTo>
                  <a:pt x="104" y="20"/>
                  <a:pt x="99" y="8"/>
                  <a:pt x="83" y="8"/>
                </a:cubicBezTo>
                <a:cubicBezTo>
                  <a:pt x="66" y="8"/>
                  <a:pt x="62" y="20"/>
                  <a:pt x="61" y="27"/>
                </a:cubicBezTo>
                <a:cubicBezTo>
                  <a:pt x="61" y="29"/>
                  <a:pt x="61" y="29"/>
                  <a:pt x="61" y="29"/>
                </a:cubicBezTo>
                <a:cubicBezTo>
                  <a:pt x="61" y="31"/>
                  <a:pt x="61" y="32"/>
                  <a:pt x="60" y="33"/>
                </a:cubicBezTo>
                <a:cubicBezTo>
                  <a:pt x="59" y="34"/>
                  <a:pt x="59" y="35"/>
                  <a:pt x="59" y="36"/>
                </a:cubicBezTo>
                <a:cubicBezTo>
                  <a:pt x="59" y="42"/>
                  <a:pt x="59" y="42"/>
                  <a:pt x="59" y="42"/>
                </a:cubicBezTo>
                <a:cubicBezTo>
                  <a:pt x="59" y="45"/>
                  <a:pt x="61" y="46"/>
                  <a:pt x="62" y="48"/>
                </a:cubicBezTo>
                <a:cubicBezTo>
                  <a:pt x="64" y="53"/>
                  <a:pt x="69" y="57"/>
                  <a:pt x="72" y="59"/>
                </a:cubicBezTo>
                <a:cubicBezTo>
                  <a:pt x="72" y="62"/>
                  <a:pt x="72" y="62"/>
                  <a:pt x="72" y="62"/>
                </a:cubicBezTo>
                <a:cubicBezTo>
                  <a:pt x="71" y="63"/>
                  <a:pt x="69" y="64"/>
                  <a:pt x="68" y="64"/>
                </a:cubicBezTo>
                <a:cubicBezTo>
                  <a:pt x="68" y="65"/>
                  <a:pt x="67" y="65"/>
                  <a:pt x="67" y="65"/>
                </a:cubicBezTo>
                <a:cubicBezTo>
                  <a:pt x="54" y="72"/>
                  <a:pt x="54" y="72"/>
                  <a:pt x="54" y="72"/>
                </a:cubicBezTo>
                <a:cubicBezTo>
                  <a:pt x="53" y="73"/>
                  <a:pt x="52" y="74"/>
                  <a:pt x="51" y="74"/>
                </a:cubicBezTo>
                <a:cubicBezTo>
                  <a:pt x="51" y="75"/>
                  <a:pt x="51" y="75"/>
                  <a:pt x="51" y="75"/>
                </a:cubicBezTo>
                <a:cubicBezTo>
                  <a:pt x="37" y="75"/>
                  <a:pt x="37" y="75"/>
                  <a:pt x="37" y="75"/>
                </a:cubicBezTo>
                <a:cubicBezTo>
                  <a:pt x="37" y="93"/>
                  <a:pt x="37" y="93"/>
                  <a:pt x="37" y="93"/>
                </a:cubicBezTo>
                <a:cubicBezTo>
                  <a:pt x="147" y="93"/>
                  <a:pt x="147" y="93"/>
                  <a:pt x="147" y="93"/>
                </a:cubicBezTo>
                <a:lnTo>
                  <a:pt x="147" y="75"/>
                </a:lnTo>
                <a:close/>
                <a:moveTo>
                  <a:pt x="69" y="70"/>
                </a:moveTo>
                <a:cubicBezTo>
                  <a:pt x="70" y="70"/>
                  <a:pt x="70" y="69"/>
                  <a:pt x="71" y="69"/>
                </a:cubicBezTo>
                <a:cubicBezTo>
                  <a:pt x="74" y="68"/>
                  <a:pt x="77" y="66"/>
                  <a:pt x="77" y="63"/>
                </a:cubicBezTo>
                <a:cubicBezTo>
                  <a:pt x="77" y="55"/>
                  <a:pt x="77" y="55"/>
                  <a:pt x="77" y="55"/>
                </a:cubicBezTo>
                <a:cubicBezTo>
                  <a:pt x="76" y="55"/>
                  <a:pt x="76" y="55"/>
                  <a:pt x="76" y="55"/>
                </a:cubicBezTo>
                <a:cubicBezTo>
                  <a:pt x="74" y="54"/>
                  <a:pt x="68" y="50"/>
                  <a:pt x="67" y="45"/>
                </a:cubicBezTo>
                <a:cubicBezTo>
                  <a:pt x="67" y="44"/>
                  <a:pt x="67" y="44"/>
                  <a:pt x="67" y="44"/>
                </a:cubicBezTo>
                <a:cubicBezTo>
                  <a:pt x="66" y="44"/>
                  <a:pt x="66" y="44"/>
                  <a:pt x="66" y="44"/>
                </a:cubicBezTo>
                <a:cubicBezTo>
                  <a:pt x="64" y="43"/>
                  <a:pt x="64" y="42"/>
                  <a:pt x="64" y="42"/>
                </a:cubicBezTo>
                <a:cubicBezTo>
                  <a:pt x="64" y="36"/>
                  <a:pt x="64" y="36"/>
                  <a:pt x="64" y="36"/>
                </a:cubicBezTo>
                <a:cubicBezTo>
                  <a:pt x="64" y="36"/>
                  <a:pt x="64" y="36"/>
                  <a:pt x="64" y="36"/>
                </a:cubicBezTo>
                <a:cubicBezTo>
                  <a:pt x="66" y="34"/>
                  <a:pt x="67" y="32"/>
                  <a:pt x="67" y="29"/>
                </a:cubicBezTo>
                <a:cubicBezTo>
                  <a:pt x="67" y="27"/>
                  <a:pt x="67" y="27"/>
                  <a:pt x="67" y="27"/>
                </a:cubicBezTo>
                <a:cubicBezTo>
                  <a:pt x="67" y="26"/>
                  <a:pt x="67" y="13"/>
                  <a:pt x="83" y="13"/>
                </a:cubicBezTo>
                <a:cubicBezTo>
                  <a:pt x="98" y="13"/>
                  <a:pt x="99" y="25"/>
                  <a:pt x="99" y="27"/>
                </a:cubicBezTo>
                <a:cubicBezTo>
                  <a:pt x="99" y="29"/>
                  <a:pt x="99" y="29"/>
                  <a:pt x="99" y="29"/>
                </a:cubicBezTo>
                <a:cubicBezTo>
                  <a:pt x="99" y="32"/>
                  <a:pt x="100" y="34"/>
                  <a:pt x="101" y="36"/>
                </a:cubicBezTo>
                <a:cubicBezTo>
                  <a:pt x="101" y="42"/>
                  <a:pt x="101" y="42"/>
                  <a:pt x="101" y="42"/>
                </a:cubicBezTo>
                <a:cubicBezTo>
                  <a:pt x="101" y="42"/>
                  <a:pt x="100" y="43"/>
                  <a:pt x="99" y="44"/>
                </a:cubicBezTo>
                <a:cubicBezTo>
                  <a:pt x="98" y="44"/>
                  <a:pt x="98" y="44"/>
                  <a:pt x="98" y="44"/>
                </a:cubicBezTo>
                <a:cubicBezTo>
                  <a:pt x="97" y="46"/>
                  <a:pt x="97" y="46"/>
                  <a:pt x="97" y="46"/>
                </a:cubicBezTo>
                <a:cubicBezTo>
                  <a:pt x="96" y="48"/>
                  <a:pt x="94" y="51"/>
                  <a:pt x="93" y="54"/>
                </a:cubicBezTo>
                <a:cubicBezTo>
                  <a:pt x="92" y="54"/>
                  <a:pt x="91" y="55"/>
                  <a:pt x="91" y="55"/>
                </a:cubicBezTo>
                <a:cubicBezTo>
                  <a:pt x="90" y="56"/>
                  <a:pt x="89" y="56"/>
                  <a:pt x="89" y="57"/>
                </a:cubicBezTo>
                <a:cubicBezTo>
                  <a:pt x="88" y="57"/>
                  <a:pt x="88" y="57"/>
                  <a:pt x="88" y="57"/>
                </a:cubicBezTo>
                <a:cubicBezTo>
                  <a:pt x="88" y="64"/>
                  <a:pt x="88" y="64"/>
                  <a:pt x="88" y="64"/>
                </a:cubicBezTo>
                <a:cubicBezTo>
                  <a:pt x="88" y="68"/>
                  <a:pt x="92" y="68"/>
                  <a:pt x="93" y="69"/>
                </a:cubicBezTo>
                <a:cubicBezTo>
                  <a:pt x="94" y="69"/>
                  <a:pt x="94" y="69"/>
                  <a:pt x="95" y="69"/>
                </a:cubicBezTo>
                <a:cubicBezTo>
                  <a:pt x="103" y="75"/>
                  <a:pt x="103" y="75"/>
                  <a:pt x="103" y="75"/>
                </a:cubicBezTo>
                <a:cubicBezTo>
                  <a:pt x="61" y="75"/>
                  <a:pt x="61" y="75"/>
                  <a:pt x="61" y="75"/>
                </a:cubicBezTo>
                <a:lnTo>
                  <a:pt x="69" y="70"/>
                </a:lnTo>
                <a:close/>
                <a:moveTo>
                  <a:pt x="141" y="88"/>
                </a:moveTo>
                <a:cubicBezTo>
                  <a:pt x="43" y="88"/>
                  <a:pt x="43" y="88"/>
                  <a:pt x="43" y="88"/>
                </a:cubicBezTo>
                <a:cubicBezTo>
                  <a:pt x="43" y="80"/>
                  <a:pt x="43" y="80"/>
                  <a:pt x="43" y="80"/>
                </a:cubicBezTo>
                <a:cubicBezTo>
                  <a:pt x="54" y="80"/>
                  <a:pt x="54" y="80"/>
                  <a:pt x="54" y="80"/>
                </a:cubicBezTo>
                <a:cubicBezTo>
                  <a:pt x="111" y="80"/>
                  <a:pt x="111" y="80"/>
                  <a:pt x="111" y="80"/>
                </a:cubicBezTo>
                <a:cubicBezTo>
                  <a:pt x="141" y="80"/>
                  <a:pt x="141" y="80"/>
                  <a:pt x="141" y="80"/>
                </a:cubicBezTo>
                <a:lnTo>
                  <a:pt x="141" y="88"/>
                </a:lnTo>
                <a:close/>
                <a:moveTo>
                  <a:pt x="147" y="11"/>
                </a:moveTo>
                <a:cubicBezTo>
                  <a:pt x="131" y="11"/>
                  <a:pt x="131" y="11"/>
                  <a:pt x="131" y="11"/>
                </a:cubicBezTo>
                <a:cubicBezTo>
                  <a:pt x="131" y="27"/>
                  <a:pt x="131" y="27"/>
                  <a:pt x="131" y="27"/>
                </a:cubicBezTo>
                <a:cubicBezTo>
                  <a:pt x="147" y="27"/>
                  <a:pt x="147" y="27"/>
                  <a:pt x="147" y="27"/>
                </a:cubicBezTo>
                <a:lnTo>
                  <a:pt x="147" y="11"/>
                </a:lnTo>
                <a:close/>
                <a:moveTo>
                  <a:pt x="141" y="21"/>
                </a:moveTo>
                <a:cubicBezTo>
                  <a:pt x="136" y="21"/>
                  <a:pt x="136" y="21"/>
                  <a:pt x="136" y="21"/>
                </a:cubicBezTo>
                <a:cubicBezTo>
                  <a:pt x="136" y="16"/>
                  <a:pt x="136" y="16"/>
                  <a:pt x="136" y="16"/>
                </a:cubicBezTo>
                <a:cubicBezTo>
                  <a:pt x="141" y="16"/>
                  <a:pt x="141" y="16"/>
                  <a:pt x="141" y="16"/>
                </a:cubicBezTo>
                <a:lnTo>
                  <a:pt x="141" y="21"/>
                </a:lnTo>
                <a:close/>
                <a:moveTo>
                  <a:pt x="32" y="75"/>
                </a:moveTo>
                <a:cubicBezTo>
                  <a:pt x="13" y="75"/>
                  <a:pt x="13" y="75"/>
                  <a:pt x="13" y="75"/>
                </a:cubicBezTo>
                <a:cubicBezTo>
                  <a:pt x="13" y="93"/>
                  <a:pt x="13" y="93"/>
                  <a:pt x="13" y="93"/>
                </a:cubicBezTo>
                <a:cubicBezTo>
                  <a:pt x="32" y="93"/>
                  <a:pt x="32" y="93"/>
                  <a:pt x="32" y="93"/>
                </a:cubicBezTo>
                <a:lnTo>
                  <a:pt x="32" y="75"/>
                </a:lnTo>
                <a:close/>
                <a:moveTo>
                  <a:pt x="27" y="88"/>
                </a:moveTo>
                <a:cubicBezTo>
                  <a:pt x="19" y="88"/>
                  <a:pt x="19" y="88"/>
                  <a:pt x="19" y="88"/>
                </a:cubicBezTo>
                <a:cubicBezTo>
                  <a:pt x="19" y="80"/>
                  <a:pt x="19" y="80"/>
                  <a:pt x="19" y="80"/>
                </a:cubicBezTo>
                <a:cubicBezTo>
                  <a:pt x="27" y="80"/>
                  <a:pt x="27" y="80"/>
                  <a:pt x="27" y="80"/>
                </a:cubicBezTo>
                <a:lnTo>
                  <a:pt x="27" y="88"/>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43">
            <a:extLst>
              <a:ext uri="{FF2B5EF4-FFF2-40B4-BE49-F238E27FC236}">
                <a16:creationId xmlns:a16="http://schemas.microsoft.com/office/drawing/2014/main" id="{209166B0-BE11-6145-BB34-318B9FD71B00}"/>
              </a:ext>
            </a:extLst>
          </p:cNvPr>
          <p:cNvSpPr>
            <a:spLocks noEditPoints="1"/>
          </p:cNvSpPr>
          <p:nvPr/>
        </p:nvSpPr>
        <p:spPr bwMode="auto">
          <a:xfrm>
            <a:off x="4792354" y="1806575"/>
            <a:ext cx="600075" cy="515938"/>
          </a:xfrm>
          <a:custGeom>
            <a:avLst/>
            <a:gdLst>
              <a:gd name="T0" fmla="*/ 49 w 160"/>
              <a:gd name="T1" fmla="*/ 136 h 136"/>
              <a:gd name="T2" fmla="*/ 111 w 160"/>
              <a:gd name="T3" fmla="*/ 136 h 136"/>
              <a:gd name="T4" fmla="*/ 80 w 160"/>
              <a:gd name="T5" fmla="*/ 86 h 136"/>
              <a:gd name="T6" fmla="*/ 49 w 160"/>
              <a:gd name="T7" fmla="*/ 136 h 136"/>
              <a:gd name="T8" fmla="*/ 58 w 160"/>
              <a:gd name="T9" fmla="*/ 131 h 136"/>
              <a:gd name="T10" fmla="*/ 80 w 160"/>
              <a:gd name="T11" fmla="*/ 96 h 136"/>
              <a:gd name="T12" fmla="*/ 102 w 160"/>
              <a:gd name="T13" fmla="*/ 131 h 136"/>
              <a:gd name="T14" fmla="*/ 58 w 160"/>
              <a:gd name="T15" fmla="*/ 131 h 136"/>
              <a:gd name="T16" fmla="*/ 160 w 160"/>
              <a:gd name="T17" fmla="*/ 0 h 136"/>
              <a:gd name="T18" fmla="*/ 160 w 160"/>
              <a:gd name="T19" fmla="*/ 107 h 136"/>
              <a:gd name="T20" fmla="*/ 101 w 160"/>
              <a:gd name="T21" fmla="*/ 107 h 136"/>
              <a:gd name="T22" fmla="*/ 99 w 160"/>
              <a:gd name="T23" fmla="*/ 104 h 136"/>
              <a:gd name="T24" fmla="*/ 101 w 160"/>
              <a:gd name="T25" fmla="*/ 101 h 136"/>
              <a:gd name="T26" fmla="*/ 155 w 160"/>
              <a:gd name="T27" fmla="*/ 101 h 136"/>
              <a:gd name="T28" fmla="*/ 155 w 160"/>
              <a:gd name="T29" fmla="*/ 5 h 136"/>
              <a:gd name="T30" fmla="*/ 5 w 160"/>
              <a:gd name="T31" fmla="*/ 5 h 136"/>
              <a:gd name="T32" fmla="*/ 5 w 160"/>
              <a:gd name="T33" fmla="*/ 101 h 136"/>
              <a:gd name="T34" fmla="*/ 59 w 160"/>
              <a:gd name="T35" fmla="*/ 101 h 136"/>
              <a:gd name="T36" fmla="*/ 61 w 160"/>
              <a:gd name="T37" fmla="*/ 104 h 136"/>
              <a:gd name="T38" fmla="*/ 59 w 160"/>
              <a:gd name="T39" fmla="*/ 107 h 136"/>
              <a:gd name="T40" fmla="*/ 0 w 160"/>
              <a:gd name="T41" fmla="*/ 107 h 136"/>
              <a:gd name="T42" fmla="*/ 0 w 160"/>
              <a:gd name="T43" fmla="*/ 0 h 136"/>
              <a:gd name="T44" fmla="*/ 160 w 160"/>
              <a:gd name="T4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136">
                <a:moveTo>
                  <a:pt x="49" y="136"/>
                </a:moveTo>
                <a:cubicBezTo>
                  <a:pt x="111" y="136"/>
                  <a:pt x="111" y="136"/>
                  <a:pt x="111" y="136"/>
                </a:cubicBezTo>
                <a:cubicBezTo>
                  <a:pt x="80" y="86"/>
                  <a:pt x="80" y="86"/>
                  <a:pt x="80" y="86"/>
                </a:cubicBezTo>
                <a:lnTo>
                  <a:pt x="49" y="136"/>
                </a:lnTo>
                <a:close/>
                <a:moveTo>
                  <a:pt x="58" y="131"/>
                </a:moveTo>
                <a:cubicBezTo>
                  <a:pt x="80" y="96"/>
                  <a:pt x="80" y="96"/>
                  <a:pt x="80" y="96"/>
                </a:cubicBezTo>
                <a:cubicBezTo>
                  <a:pt x="102" y="131"/>
                  <a:pt x="102" y="131"/>
                  <a:pt x="102" y="131"/>
                </a:cubicBezTo>
                <a:lnTo>
                  <a:pt x="58" y="131"/>
                </a:lnTo>
                <a:close/>
                <a:moveTo>
                  <a:pt x="160" y="0"/>
                </a:moveTo>
                <a:cubicBezTo>
                  <a:pt x="160" y="107"/>
                  <a:pt x="160" y="107"/>
                  <a:pt x="160" y="107"/>
                </a:cubicBezTo>
                <a:cubicBezTo>
                  <a:pt x="101" y="107"/>
                  <a:pt x="101" y="107"/>
                  <a:pt x="101" y="107"/>
                </a:cubicBezTo>
                <a:cubicBezTo>
                  <a:pt x="100" y="107"/>
                  <a:pt x="99" y="105"/>
                  <a:pt x="99" y="104"/>
                </a:cubicBezTo>
                <a:cubicBezTo>
                  <a:pt x="99" y="103"/>
                  <a:pt x="100" y="101"/>
                  <a:pt x="101" y="101"/>
                </a:cubicBezTo>
                <a:cubicBezTo>
                  <a:pt x="155" y="101"/>
                  <a:pt x="155" y="101"/>
                  <a:pt x="155" y="101"/>
                </a:cubicBezTo>
                <a:cubicBezTo>
                  <a:pt x="155" y="5"/>
                  <a:pt x="155" y="5"/>
                  <a:pt x="155" y="5"/>
                </a:cubicBezTo>
                <a:cubicBezTo>
                  <a:pt x="5" y="5"/>
                  <a:pt x="5" y="5"/>
                  <a:pt x="5" y="5"/>
                </a:cubicBezTo>
                <a:cubicBezTo>
                  <a:pt x="5" y="101"/>
                  <a:pt x="5" y="101"/>
                  <a:pt x="5" y="101"/>
                </a:cubicBezTo>
                <a:cubicBezTo>
                  <a:pt x="59" y="101"/>
                  <a:pt x="59" y="101"/>
                  <a:pt x="59" y="101"/>
                </a:cubicBezTo>
                <a:cubicBezTo>
                  <a:pt x="60" y="101"/>
                  <a:pt x="61" y="103"/>
                  <a:pt x="61" y="104"/>
                </a:cubicBezTo>
                <a:cubicBezTo>
                  <a:pt x="61" y="105"/>
                  <a:pt x="60" y="107"/>
                  <a:pt x="59" y="107"/>
                </a:cubicBezTo>
                <a:cubicBezTo>
                  <a:pt x="0" y="107"/>
                  <a:pt x="0" y="107"/>
                  <a:pt x="0" y="107"/>
                </a:cubicBezTo>
                <a:cubicBezTo>
                  <a:pt x="0" y="0"/>
                  <a:pt x="0" y="0"/>
                  <a:pt x="0" y="0"/>
                </a:cubicBezTo>
                <a:lnTo>
                  <a:pt x="160" y="0"/>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44">
            <a:extLst>
              <a:ext uri="{FF2B5EF4-FFF2-40B4-BE49-F238E27FC236}">
                <a16:creationId xmlns:a16="http://schemas.microsoft.com/office/drawing/2014/main" id="{7DF92F2E-BCFA-9942-AF7C-3F3675D624DC}"/>
              </a:ext>
            </a:extLst>
          </p:cNvPr>
          <p:cNvSpPr>
            <a:spLocks noEditPoints="1"/>
          </p:cNvSpPr>
          <p:nvPr/>
        </p:nvSpPr>
        <p:spPr bwMode="auto">
          <a:xfrm>
            <a:off x="4792354" y="2443163"/>
            <a:ext cx="600075" cy="604838"/>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5 h 160"/>
              <a:gd name="T12" fmla="*/ 5 w 160"/>
              <a:gd name="T13" fmla="*/ 80 h 160"/>
              <a:gd name="T14" fmla="*/ 80 w 160"/>
              <a:gd name="T15" fmla="*/ 5 h 160"/>
              <a:gd name="T16" fmla="*/ 155 w 160"/>
              <a:gd name="T17" fmla="*/ 80 h 160"/>
              <a:gd name="T18" fmla="*/ 80 w 160"/>
              <a:gd name="T19" fmla="*/ 155 h 160"/>
              <a:gd name="T20" fmla="*/ 83 w 160"/>
              <a:gd name="T21" fmla="*/ 19 h 160"/>
              <a:gd name="T22" fmla="*/ 83 w 160"/>
              <a:gd name="T23" fmla="*/ 83 h 160"/>
              <a:gd name="T24" fmla="*/ 80 w 160"/>
              <a:gd name="T25" fmla="*/ 85 h 160"/>
              <a:gd name="T26" fmla="*/ 37 w 160"/>
              <a:gd name="T27" fmla="*/ 85 h 160"/>
              <a:gd name="T28" fmla="*/ 35 w 160"/>
              <a:gd name="T29" fmla="*/ 83 h 160"/>
              <a:gd name="T30" fmla="*/ 37 w 160"/>
              <a:gd name="T31" fmla="*/ 80 h 160"/>
              <a:gd name="T32" fmla="*/ 77 w 160"/>
              <a:gd name="T33" fmla="*/ 80 h 160"/>
              <a:gd name="T34" fmla="*/ 77 w 160"/>
              <a:gd name="T35" fmla="*/ 19 h 160"/>
              <a:gd name="T36" fmla="*/ 80 w 160"/>
              <a:gd name="T37" fmla="*/ 16 h 160"/>
              <a:gd name="T38" fmla="*/ 83 w 160"/>
              <a:gd name="T39" fmla="*/ 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83" y="19"/>
                </a:moveTo>
                <a:cubicBezTo>
                  <a:pt x="83" y="83"/>
                  <a:pt x="83" y="83"/>
                  <a:pt x="83" y="83"/>
                </a:cubicBezTo>
                <a:cubicBezTo>
                  <a:pt x="83" y="84"/>
                  <a:pt x="81" y="85"/>
                  <a:pt x="80" y="85"/>
                </a:cubicBezTo>
                <a:cubicBezTo>
                  <a:pt x="37" y="85"/>
                  <a:pt x="37" y="85"/>
                  <a:pt x="37" y="85"/>
                </a:cubicBezTo>
                <a:cubicBezTo>
                  <a:pt x="36" y="85"/>
                  <a:pt x="35" y="84"/>
                  <a:pt x="35" y="83"/>
                </a:cubicBezTo>
                <a:cubicBezTo>
                  <a:pt x="35" y="81"/>
                  <a:pt x="36" y="80"/>
                  <a:pt x="37" y="80"/>
                </a:cubicBezTo>
                <a:cubicBezTo>
                  <a:pt x="77" y="80"/>
                  <a:pt x="77" y="80"/>
                  <a:pt x="77" y="80"/>
                </a:cubicBezTo>
                <a:cubicBezTo>
                  <a:pt x="77" y="19"/>
                  <a:pt x="77" y="19"/>
                  <a:pt x="77" y="19"/>
                </a:cubicBezTo>
                <a:cubicBezTo>
                  <a:pt x="77" y="17"/>
                  <a:pt x="79" y="16"/>
                  <a:pt x="80" y="16"/>
                </a:cubicBezTo>
                <a:cubicBezTo>
                  <a:pt x="81" y="16"/>
                  <a:pt x="83" y="17"/>
                  <a:pt x="83" y="19"/>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45">
            <a:extLst>
              <a:ext uri="{FF2B5EF4-FFF2-40B4-BE49-F238E27FC236}">
                <a16:creationId xmlns:a16="http://schemas.microsoft.com/office/drawing/2014/main" id="{BE4F94DA-9A0F-7946-8C18-38A340540A1A}"/>
              </a:ext>
            </a:extLst>
          </p:cNvPr>
          <p:cNvSpPr>
            <a:spLocks noEditPoints="1"/>
          </p:cNvSpPr>
          <p:nvPr/>
        </p:nvSpPr>
        <p:spPr bwMode="auto">
          <a:xfrm>
            <a:off x="4852679" y="3124200"/>
            <a:ext cx="487363" cy="604838"/>
          </a:xfrm>
          <a:custGeom>
            <a:avLst/>
            <a:gdLst>
              <a:gd name="T0" fmla="*/ 127 w 130"/>
              <a:gd name="T1" fmla="*/ 16 h 160"/>
              <a:gd name="T2" fmla="*/ 89 w 130"/>
              <a:gd name="T3" fmla="*/ 16 h 160"/>
              <a:gd name="T4" fmla="*/ 84 w 130"/>
              <a:gd name="T5" fmla="*/ 3 h 160"/>
              <a:gd name="T6" fmla="*/ 76 w 130"/>
              <a:gd name="T7" fmla="*/ 0 h 160"/>
              <a:gd name="T8" fmla="*/ 49 w 130"/>
              <a:gd name="T9" fmla="*/ 0 h 160"/>
              <a:gd name="T10" fmla="*/ 40 w 130"/>
              <a:gd name="T11" fmla="*/ 3 h 160"/>
              <a:gd name="T12" fmla="*/ 35 w 130"/>
              <a:gd name="T13" fmla="*/ 16 h 160"/>
              <a:gd name="T14" fmla="*/ 3 w 130"/>
              <a:gd name="T15" fmla="*/ 16 h 160"/>
              <a:gd name="T16" fmla="*/ 0 w 130"/>
              <a:gd name="T17" fmla="*/ 19 h 160"/>
              <a:gd name="T18" fmla="*/ 3 w 130"/>
              <a:gd name="T19" fmla="*/ 22 h 160"/>
              <a:gd name="T20" fmla="*/ 127 w 130"/>
              <a:gd name="T21" fmla="*/ 22 h 160"/>
              <a:gd name="T22" fmla="*/ 130 w 130"/>
              <a:gd name="T23" fmla="*/ 19 h 160"/>
              <a:gd name="T24" fmla="*/ 127 w 130"/>
              <a:gd name="T25" fmla="*/ 16 h 160"/>
              <a:gd name="T26" fmla="*/ 44 w 130"/>
              <a:gd name="T27" fmla="*/ 7 h 160"/>
              <a:gd name="T28" fmla="*/ 49 w 130"/>
              <a:gd name="T29" fmla="*/ 5 h 160"/>
              <a:gd name="T30" fmla="*/ 76 w 130"/>
              <a:gd name="T31" fmla="*/ 5 h 160"/>
              <a:gd name="T32" fmla="*/ 81 w 130"/>
              <a:gd name="T33" fmla="*/ 7 h 160"/>
              <a:gd name="T34" fmla="*/ 84 w 130"/>
              <a:gd name="T35" fmla="*/ 16 h 160"/>
              <a:gd name="T36" fmla="*/ 41 w 130"/>
              <a:gd name="T37" fmla="*/ 16 h 160"/>
              <a:gd name="T38" fmla="*/ 44 w 130"/>
              <a:gd name="T39" fmla="*/ 7 h 160"/>
              <a:gd name="T40" fmla="*/ 13 w 130"/>
              <a:gd name="T41" fmla="*/ 147 h 160"/>
              <a:gd name="T42" fmla="*/ 27 w 130"/>
              <a:gd name="T43" fmla="*/ 160 h 160"/>
              <a:gd name="T44" fmla="*/ 103 w 130"/>
              <a:gd name="T45" fmla="*/ 160 h 160"/>
              <a:gd name="T46" fmla="*/ 117 w 130"/>
              <a:gd name="T47" fmla="*/ 147 h 160"/>
              <a:gd name="T48" fmla="*/ 122 w 130"/>
              <a:gd name="T49" fmla="*/ 27 h 160"/>
              <a:gd name="T50" fmla="*/ 8 w 130"/>
              <a:gd name="T51" fmla="*/ 27 h 160"/>
              <a:gd name="T52" fmla="*/ 13 w 130"/>
              <a:gd name="T53" fmla="*/ 147 h 160"/>
              <a:gd name="T54" fmla="*/ 116 w 130"/>
              <a:gd name="T55" fmla="*/ 33 h 160"/>
              <a:gd name="T56" fmla="*/ 111 w 130"/>
              <a:gd name="T57" fmla="*/ 146 h 160"/>
              <a:gd name="T58" fmla="*/ 103 w 130"/>
              <a:gd name="T59" fmla="*/ 155 h 160"/>
              <a:gd name="T60" fmla="*/ 27 w 130"/>
              <a:gd name="T61" fmla="*/ 155 h 160"/>
              <a:gd name="T62" fmla="*/ 19 w 130"/>
              <a:gd name="T63" fmla="*/ 146 h 160"/>
              <a:gd name="T64" fmla="*/ 14 w 130"/>
              <a:gd name="T65" fmla="*/ 33 h 160"/>
              <a:gd name="T66" fmla="*/ 116 w 130"/>
              <a:gd name="T67" fmla="*/ 33 h 160"/>
              <a:gd name="T68" fmla="*/ 30 w 130"/>
              <a:gd name="T69" fmla="*/ 144 h 160"/>
              <a:gd name="T70" fmla="*/ 33 w 130"/>
              <a:gd name="T71" fmla="*/ 141 h 160"/>
              <a:gd name="T72" fmla="*/ 98 w 130"/>
              <a:gd name="T73" fmla="*/ 141 h 160"/>
              <a:gd name="T74" fmla="*/ 100 w 130"/>
              <a:gd name="T75" fmla="*/ 144 h 160"/>
              <a:gd name="T76" fmla="*/ 98 w 130"/>
              <a:gd name="T77" fmla="*/ 146 h 160"/>
              <a:gd name="T78" fmla="*/ 33 w 130"/>
              <a:gd name="T79" fmla="*/ 146 h 160"/>
              <a:gd name="T80" fmla="*/ 30 w 130"/>
              <a:gd name="T81" fmla="*/ 144 h 160"/>
              <a:gd name="T82" fmla="*/ 30 w 130"/>
              <a:gd name="T83" fmla="*/ 130 h 160"/>
              <a:gd name="T84" fmla="*/ 33 w 130"/>
              <a:gd name="T85" fmla="*/ 127 h 160"/>
              <a:gd name="T86" fmla="*/ 98 w 130"/>
              <a:gd name="T87" fmla="*/ 127 h 160"/>
              <a:gd name="T88" fmla="*/ 100 w 130"/>
              <a:gd name="T89" fmla="*/ 130 h 160"/>
              <a:gd name="T90" fmla="*/ 98 w 130"/>
              <a:gd name="T91" fmla="*/ 133 h 160"/>
              <a:gd name="T92" fmla="*/ 33 w 130"/>
              <a:gd name="T93" fmla="*/ 133 h 160"/>
              <a:gd name="T94" fmla="*/ 30 w 130"/>
              <a:gd name="T95" fmla="*/ 130 h 160"/>
              <a:gd name="T96" fmla="*/ 30 w 130"/>
              <a:gd name="T97" fmla="*/ 117 h 160"/>
              <a:gd name="T98" fmla="*/ 33 w 130"/>
              <a:gd name="T99" fmla="*/ 114 h 160"/>
              <a:gd name="T100" fmla="*/ 98 w 130"/>
              <a:gd name="T101" fmla="*/ 114 h 160"/>
              <a:gd name="T102" fmla="*/ 100 w 130"/>
              <a:gd name="T103" fmla="*/ 117 h 160"/>
              <a:gd name="T104" fmla="*/ 98 w 130"/>
              <a:gd name="T105" fmla="*/ 119 h 160"/>
              <a:gd name="T106" fmla="*/ 33 w 130"/>
              <a:gd name="T107" fmla="*/ 119 h 160"/>
              <a:gd name="T108" fmla="*/ 30 w 130"/>
              <a:gd name="T109"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 h="160">
                <a:moveTo>
                  <a:pt x="127" y="16"/>
                </a:moveTo>
                <a:cubicBezTo>
                  <a:pt x="89" y="16"/>
                  <a:pt x="89" y="16"/>
                  <a:pt x="89" y="16"/>
                </a:cubicBezTo>
                <a:cubicBezTo>
                  <a:pt x="89" y="13"/>
                  <a:pt x="88" y="7"/>
                  <a:pt x="84" y="3"/>
                </a:cubicBezTo>
                <a:cubicBezTo>
                  <a:pt x="82" y="1"/>
                  <a:pt x="79" y="0"/>
                  <a:pt x="76" y="0"/>
                </a:cubicBezTo>
                <a:cubicBezTo>
                  <a:pt x="49" y="0"/>
                  <a:pt x="49" y="0"/>
                  <a:pt x="49" y="0"/>
                </a:cubicBezTo>
                <a:cubicBezTo>
                  <a:pt x="45" y="0"/>
                  <a:pt x="43" y="1"/>
                  <a:pt x="40" y="3"/>
                </a:cubicBezTo>
                <a:cubicBezTo>
                  <a:pt x="37" y="7"/>
                  <a:pt x="36" y="13"/>
                  <a:pt x="35" y="16"/>
                </a:cubicBezTo>
                <a:cubicBezTo>
                  <a:pt x="3" y="16"/>
                  <a:pt x="3" y="16"/>
                  <a:pt x="3" y="16"/>
                </a:cubicBezTo>
                <a:cubicBezTo>
                  <a:pt x="1" y="16"/>
                  <a:pt x="0" y="17"/>
                  <a:pt x="0" y="19"/>
                </a:cubicBezTo>
                <a:cubicBezTo>
                  <a:pt x="0" y="20"/>
                  <a:pt x="1" y="22"/>
                  <a:pt x="3" y="22"/>
                </a:cubicBezTo>
                <a:cubicBezTo>
                  <a:pt x="127" y="22"/>
                  <a:pt x="127" y="22"/>
                  <a:pt x="127" y="22"/>
                </a:cubicBezTo>
                <a:cubicBezTo>
                  <a:pt x="129" y="22"/>
                  <a:pt x="130" y="20"/>
                  <a:pt x="130" y="19"/>
                </a:cubicBezTo>
                <a:cubicBezTo>
                  <a:pt x="130" y="17"/>
                  <a:pt x="129" y="16"/>
                  <a:pt x="127" y="16"/>
                </a:cubicBezTo>
                <a:close/>
                <a:moveTo>
                  <a:pt x="44" y="7"/>
                </a:moveTo>
                <a:cubicBezTo>
                  <a:pt x="45" y="6"/>
                  <a:pt x="47" y="5"/>
                  <a:pt x="49" y="5"/>
                </a:cubicBezTo>
                <a:cubicBezTo>
                  <a:pt x="76" y="5"/>
                  <a:pt x="76" y="5"/>
                  <a:pt x="76" y="5"/>
                </a:cubicBezTo>
                <a:cubicBezTo>
                  <a:pt x="78" y="5"/>
                  <a:pt x="79" y="6"/>
                  <a:pt x="81" y="7"/>
                </a:cubicBezTo>
                <a:cubicBezTo>
                  <a:pt x="83" y="10"/>
                  <a:pt x="84" y="13"/>
                  <a:pt x="84" y="16"/>
                </a:cubicBezTo>
                <a:cubicBezTo>
                  <a:pt x="41" y="16"/>
                  <a:pt x="41" y="16"/>
                  <a:pt x="41" y="16"/>
                </a:cubicBezTo>
                <a:cubicBezTo>
                  <a:pt x="41" y="13"/>
                  <a:pt x="42" y="10"/>
                  <a:pt x="44" y="7"/>
                </a:cubicBezTo>
                <a:close/>
                <a:moveTo>
                  <a:pt x="13" y="147"/>
                </a:moveTo>
                <a:cubicBezTo>
                  <a:pt x="14" y="151"/>
                  <a:pt x="16" y="160"/>
                  <a:pt x="27" y="160"/>
                </a:cubicBezTo>
                <a:cubicBezTo>
                  <a:pt x="103" y="160"/>
                  <a:pt x="103" y="160"/>
                  <a:pt x="103" y="160"/>
                </a:cubicBezTo>
                <a:cubicBezTo>
                  <a:pt x="114" y="160"/>
                  <a:pt x="117" y="151"/>
                  <a:pt x="117" y="147"/>
                </a:cubicBezTo>
                <a:cubicBezTo>
                  <a:pt x="122" y="27"/>
                  <a:pt x="122" y="27"/>
                  <a:pt x="122" y="27"/>
                </a:cubicBezTo>
                <a:cubicBezTo>
                  <a:pt x="8" y="27"/>
                  <a:pt x="8" y="27"/>
                  <a:pt x="8" y="27"/>
                </a:cubicBezTo>
                <a:lnTo>
                  <a:pt x="13" y="147"/>
                </a:lnTo>
                <a:close/>
                <a:moveTo>
                  <a:pt x="116" y="33"/>
                </a:moveTo>
                <a:cubicBezTo>
                  <a:pt x="111" y="146"/>
                  <a:pt x="111" y="146"/>
                  <a:pt x="111" y="146"/>
                </a:cubicBezTo>
                <a:cubicBezTo>
                  <a:pt x="111" y="147"/>
                  <a:pt x="111" y="155"/>
                  <a:pt x="103" y="155"/>
                </a:cubicBezTo>
                <a:cubicBezTo>
                  <a:pt x="27" y="155"/>
                  <a:pt x="27" y="155"/>
                  <a:pt x="27" y="155"/>
                </a:cubicBezTo>
                <a:cubicBezTo>
                  <a:pt x="19" y="155"/>
                  <a:pt x="19" y="147"/>
                  <a:pt x="19" y="146"/>
                </a:cubicBezTo>
                <a:cubicBezTo>
                  <a:pt x="14" y="33"/>
                  <a:pt x="14" y="33"/>
                  <a:pt x="14" y="33"/>
                </a:cubicBezTo>
                <a:lnTo>
                  <a:pt x="116" y="33"/>
                </a:lnTo>
                <a:close/>
                <a:moveTo>
                  <a:pt x="30" y="144"/>
                </a:moveTo>
                <a:cubicBezTo>
                  <a:pt x="30" y="142"/>
                  <a:pt x="31" y="141"/>
                  <a:pt x="33" y="141"/>
                </a:cubicBezTo>
                <a:cubicBezTo>
                  <a:pt x="98" y="141"/>
                  <a:pt x="98" y="141"/>
                  <a:pt x="98" y="141"/>
                </a:cubicBezTo>
                <a:cubicBezTo>
                  <a:pt x="99" y="141"/>
                  <a:pt x="100" y="142"/>
                  <a:pt x="100" y="144"/>
                </a:cubicBezTo>
                <a:cubicBezTo>
                  <a:pt x="100" y="145"/>
                  <a:pt x="99" y="146"/>
                  <a:pt x="98" y="146"/>
                </a:cubicBezTo>
                <a:cubicBezTo>
                  <a:pt x="33" y="146"/>
                  <a:pt x="33" y="146"/>
                  <a:pt x="33" y="146"/>
                </a:cubicBezTo>
                <a:cubicBezTo>
                  <a:pt x="31" y="146"/>
                  <a:pt x="30" y="145"/>
                  <a:pt x="30" y="144"/>
                </a:cubicBezTo>
                <a:close/>
                <a:moveTo>
                  <a:pt x="30" y="130"/>
                </a:moveTo>
                <a:cubicBezTo>
                  <a:pt x="30" y="129"/>
                  <a:pt x="31" y="127"/>
                  <a:pt x="33" y="127"/>
                </a:cubicBezTo>
                <a:cubicBezTo>
                  <a:pt x="98" y="127"/>
                  <a:pt x="98" y="127"/>
                  <a:pt x="98" y="127"/>
                </a:cubicBezTo>
                <a:cubicBezTo>
                  <a:pt x="99" y="127"/>
                  <a:pt x="100" y="129"/>
                  <a:pt x="100" y="130"/>
                </a:cubicBezTo>
                <a:cubicBezTo>
                  <a:pt x="100" y="132"/>
                  <a:pt x="99" y="133"/>
                  <a:pt x="98" y="133"/>
                </a:cubicBezTo>
                <a:cubicBezTo>
                  <a:pt x="33" y="133"/>
                  <a:pt x="33" y="133"/>
                  <a:pt x="33" y="133"/>
                </a:cubicBezTo>
                <a:cubicBezTo>
                  <a:pt x="31" y="133"/>
                  <a:pt x="30" y="132"/>
                  <a:pt x="30" y="130"/>
                </a:cubicBezTo>
                <a:close/>
                <a:moveTo>
                  <a:pt x="30" y="117"/>
                </a:moveTo>
                <a:cubicBezTo>
                  <a:pt x="30" y="115"/>
                  <a:pt x="31" y="114"/>
                  <a:pt x="33" y="114"/>
                </a:cubicBezTo>
                <a:cubicBezTo>
                  <a:pt x="98" y="114"/>
                  <a:pt x="98" y="114"/>
                  <a:pt x="98" y="114"/>
                </a:cubicBezTo>
                <a:cubicBezTo>
                  <a:pt x="99" y="114"/>
                  <a:pt x="100" y="115"/>
                  <a:pt x="100" y="117"/>
                </a:cubicBezTo>
                <a:cubicBezTo>
                  <a:pt x="100" y="118"/>
                  <a:pt x="99" y="119"/>
                  <a:pt x="98" y="119"/>
                </a:cubicBezTo>
                <a:cubicBezTo>
                  <a:pt x="33" y="119"/>
                  <a:pt x="33" y="119"/>
                  <a:pt x="33" y="119"/>
                </a:cubicBezTo>
                <a:cubicBezTo>
                  <a:pt x="31" y="119"/>
                  <a:pt x="30" y="118"/>
                  <a:pt x="30" y="117"/>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46">
            <a:extLst>
              <a:ext uri="{FF2B5EF4-FFF2-40B4-BE49-F238E27FC236}">
                <a16:creationId xmlns:a16="http://schemas.microsoft.com/office/drawing/2014/main" id="{38DAF7D0-709F-274F-90B6-CF8D567C9EB6}"/>
              </a:ext>
            </a:extLst>
          </p:cNvPr>
          <p:cNvSpPr>
            <a:spLocks noEditPoints="1"/>
          </p:cNvSpPr>
          <p:nvPr/>
        </p:nvSpPr>
        <p:spPr bwMode="auto">
          <a:xfrm>
            <a:off x="4836804" y="3805238"/>
            <a:ext cx="500063" cy="606425"/>
          </a:xfrm>
          <a:custGeom>
            <a:avLst/>
            <a:gdLst>
              <a:gd name="T0" fmla="*/ 133 w 133"/>
              <a:gd name="T1" fmla="*/ 75 h 160"/>
              <a:gd name="T2" fmla="*/ 69 w 133"/>
              <a:gd name="T3" fmla="*/ 8 h 160"/>
              <a:gd name="T4" fmla="*/ 67 w 133"/>
              <a:gd name="T5" fmla="*/ 0 h 160"/>
              <a:gd name="T6" fmla="*/ 64 w 133"/>
              <a:gd name="T7" fmla="*/ 8 h 160"/>
              <a:gd name="T8" fmla="*/ 0 w 133"/>
              <a:gd name="T9" fmla="*/ 75 h 160"/>
              <a:gd name="T10" fmla="*/ 0 w 133"/>
              <a:gd name="T11" fmla="*/ 76 h 160"/>
              <a:gd name="T12" fmla="*/ 1 w 133"/>
              <a:gd name="T13" fmla="*/ 77 h 160"/>
              <a:gd name="T14" fmla="*/ 1 w 133"/>
              <a:gd name="T15" fmla="*/ 77 h 160"/>
              <a:gd name="T16" fmla="*/ 2 w 133"/>
              <a:gd name="T17" fmla="*/ 77 h 160"/>
              <a:gd name="T18" fmla="*/ 3 w 133"/>
              <a:gd name="T19" fmla="*/ 77 h 160"/>
              <a:gd name="T20" fmla="*/ 4 w 133"/>
              <a:gd name="T21" fmla="*/ 77 h 160"/>
              <a:gd name="T22" fmla="*/ 5 w 133"/>
              <a:gd name="T23" fmla="*/ 76 h 160"/>
              <a:gd name="T24" fmla="*/ 19 w 133"/>
              <a:gd name="T25" fmla="*/ 69 h 160"/>
              <a:gd name="T26" fmla="*/ 33 w 133"/>
              <a:gd name="T27" fmla="*/ 77 h 160"/>
              <a:gd name="T28" fmla="*/ 33 w 133"/>
              <a:gd name="T29" fmla="*/ 77 h 160"/>
              <a:gd name="T30" fmla="*/ 34 w 133"/>
              <a:gd name="T31" fmla="*/ 77 h 160"/>
              <a:gd name="T32" fmla="*/ 35 w 133"/>
              <a:gd name="T33" fmla="*/ 77 h 160"/>
              <a:gd name="T34" fmla="*/ 36 w 133"/>
              <a:gd name="T35" fmla="*/ 77 h 160"/>
              <a:gd name="T36" fmla="*/ 36 w 133"/>
              <a:gd name="T37" fmla="*/ 77 h 160"/>
              <a:gd name="T38" fmla="*/ 37 w 133"/>
              <a:gd name="T39" fmla="*/ 76 h 160"/>
              <a:gd name="T40" fmla="*/ 64 w 133"/>
              <a:gd name="T41" fmla="*/ 76 h 160"/>
              <a:gd name="T42" fmla="*/ 56 w 133"/>
              <a:gd name="T43" fmla="*/ 155 h 160"/>
              <a:gd name="T44" fmla="*/ 45 w 133"/>
              <a:gd name="T45" fmla="*/ 144 h 160"/>
              <a:gd name="T46" fmla="*/ 56 w 133"/>
              <a:gd name="T47" fmla="*/ 160 h 160"/>
              <a:gd name="T48" fmla="*/ 69 w 133"/>
              <a:gd name="T49" fmla="*/ 76 h 160"/>
              <a:gd name="T50" fmla="*/ 97 w 133"/>
              <a:gd name="T51" fmla="*/ 76 h 160"/>
              <a:gd name="T52" fmla="*/ 97 w 133"/>
              <a:gd name="T53" fmla="*/ 77 h 160"/>
              <a:gd name="T54" fmla="*/ 98 w 133"/>
              <a:gd name="T55" fmla="*/ 77 h 160"/>
              <a:gd name="T56" fmla="*/ 99 w 133"/>
              <a:gd name="T57" fmla="*/ 77 h 160"/>
              <a:gd name="T58" fmla="*/ 99 w 133"/>
              <a:gd name="T59" fmla="*/ 77 h 160"/>
              <a:gd name="T60" fmla="*/ 100 w 133"/>
              <a:gd name="T61" fmla="*/ 77 h 160"/>
              <a:gd name="T62" fmla="*/ 101 w 133"/>
              <a:gd name="T63" fmla="*/ 77 h 160"/>
              <a:gd name="T64" fmla="*/ 115 w 133"/>
              <a:gd name="T65" fmla="*/ 69 h 160"/>
              <a:gd name="T66" fmla="*/ 129 w 133"/>
              <a:gd name="T67" fmla="*/ 76 h 160"/>
              <a:gd name="T68" fmla="*/ 130 w 133"/>
              <a:gd name="T69" fmla="*/ 77 h 160"/>
              <a:gd name="T70" fmla="*/ 131 w 133"/>
              <a:gd name="T71" fmla="*/ 77 h 160"/>
              <a:gd name="T72" fmla="*/ 132 w 133"/>
              <a:gd name="T73" fmla="*/ 77 h 160"/>
              <a:gd name="T74" fmla="*/ 132 w 133"/>
              <a:gd name="T75" fmla="*/ 77 h 160"/>
              <a:gd name="T76" fmla="*/ 133 w 133"/>
              <a:gd name="T77" fmla="*/ 76 h 160"/>
              <a:gd name="T78" fmla="*/ 133 w 133"/>
              <a:gd name="T79" fmla="*/ 75 h 160"/>
              <a:gd name="T80" fmla="*/ 99 w 133"/>
              <a:gd name="T81" fmla="*/ 71 h 160"/>
              <a:gd name="T82" fmla="*/ 67 w 133"/>
              <a:gd name="T83" fmla="*/ 71 h 160"/>
              <a:gd name="T84" fmla="*/ 35 w 133"/>
              <a:gd name="T85" fmla="*/ 71 h 160"/>
              <a:gd name="T86" fmla="*/ 6 w 133"/>
              <a:gd name="T87" fmla="*/ 68 h 160"/>
              <a:gd name="T88" fmla="*/ 128 w 133"/>
              <a:gd name="T89" fmla="*/ 6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3" h="160">
                <a:moveTo>
                  <a:pt x="133" y="75"/>
                </a:moveTo>
                <a:cubicBezTo>
                  <a:pt x="133" y="75"/>
                  <a:pt x="133" y="75"/>
                  <a:pt x="133" y="75"/>
                </a:cubicBezTo>
                <a:cubicBezTo>
                  <a:pt x="133" y="75"/>
                  <a:pt x="133" y="75"/>
                  <a:pt x="133" y="75"/>
                </a:cubicBezTo>
                <a:cubicBezTo>
                  <a:pt x="133" y="39"/>
                  <a:pt x="105" y="9"/>
                  <a:pt x="69" y="8"/>
                </a:cubicBezTo>
                <a:cubicBezTo>
                  <a:pt x="69" y="3"/>
                  <a:pt x="69" y="3"/>
                  <a:pt x="69" y="3"/>
                </a:cubicBezTo>
                <a:cubicBezTo>
                  <a:pt x="69" y="1"/>
                  <a:pt x="68" y="0"/>
                  <a:pt x="67" y="0"/>
                </a:cubicBezTo>
                <a:cubicBezTo>
                  <a:pt x="65" y="0"/>
                  <a:pt x="64" y="1"/>
                  <a:pt x="64" y="3"/>
                </a:cubicBezTo>
                <a:cubicBezTo>
                  <a:pt x="64" y="8"/>
                  <a:pt x="64" y="8"/>
                  <a:pt x="64" y="8"/>
                </a:cubicBezTo>
                <a:cubicBezTo>
                  <a:pt x="28" y="9"/>
                  <a:pt x="0" y="39"/>
                  <a:pt x="0" y="75"/>
                </a:cubicBezTo>
                <a:cubicBezTo>
                  <a:pt x="0" y="75"/>
                  <a:pt x="0" y="75"/>
                  <a:pt x="0" y="75"/>
                </a:cubicBezTo>
                <a:cubicBezTo>
                  <a:pt x="0" y="75"/>
                  <a:pt x="0" y="75"/>
                  <a:pt x="0" y="75"/>
                </a:cubicBezTo>
                <a:cubicBezTo>
                  <a:pt x="0" y="75"/>
                  <a:pt x="0" y="76"/>
                  <a:pt x="0" y="76"/>
                </a:cubicBezTo>
                <a:cubicBezTo>
                  <a:pt x="0" y="76"/>
                  <a:pt x="0" y="76"/>
                  <a:pt x="1" y="76"/>
                </a:cubicBezTo>
                <a:cubicBezTo>
                  <a:pt x="1" y="76"/>
                  <a:pt x="1" y="77"/>
                  <a:pt x="1" y="77"/>
                </a:cubicBezTo>
                <a:cubicBezTo>
                  <a:pt x="1" y="77"/>
                  <a:pt x="1" y="77"/>
                  <a:pt x="1" y="77"/>
                </a:cubicBezTo>
                <a:cubicBezTo>
                  <a:pt x="1" y="77"/>
                  <a:pt x="1" y="77"/>
                  <a:pt x="1" y="77"/>
                </a:cubicBezTo>
                <a:cubicBezTo>
                  <a:pt x="1" y="77"/>
                  <a:pt x="2" y="77"/>
                  <a:pt x="2" y="77"/>
                </a:cubicBezTo>
                <a:cubicBezTo>
                  <a:pt x="2" y="77"/>
                  <a:pt x="2" y="77"/>
                  <a:pt x="2" y="77"/>
                </a:cubicBezTo>
                <a:cubicBezTo>
                  <a:pt x="2" y="77"/>
                  <a:pt x="3" y="77"/>
                  <a:pt x="3" y="77"/>
                </a:cubicBezTo>
                <a:cubicBezTo>
                  <a:pt x="3" y="77"/>
                  <a:pt x="3" y="77"/>
                  <a:pt x="3" y="77"/>
                </a:cubicBezTo>
                <a:cubicBezTo>
                  <a:pt x="3" y="77"/>
                  <a:pt x="3" y="77"/>
                  <a:pt x="3" y="77"/>
                </a:cubicBezTo>
                <a:cubicBezTo>
                  <a:pt x="4" y="77"/>
                  <a:pt x="4" y="77"/>
                  <a:pt x="4" y="77"/>
                </a:cubicBezTo>
                <a:cubicBezTo>
                  <a:pt x="4" y="77"/>
                  <a:pt x="4" y="77"/>
                  <a:pt x="4" y="77"/>
                </a:cubicBezTo>
                <a:cubicBezTo>
                  <a:pt x="4" y="77"/>
                  <a:pt x="4" y="77"/>
                  <a:pt x="5" y="76"/>
                </a:cubicBezTo>
                <a:cubicBezTo>
                  <a:pt x="5" y="76"/>
                  <a:pt x="5" y="76"/>
                  <a:pt x="5" y="76"/>
                </a:cubicBezTo>
                <a:cubicBezTo>
                  <a:pt x="8" y="72"/>
                  <a:pt x="13" y="69"/>
                  <a:pt x="19" y="69"/>
                </a:cubicBezTo>
                <a:cubicBezTo>
                  <a:pt x="24" y="69"/>
                  <a:pt x="29" y="72"/>
                  <a:pt x="33" y="76"/>
                </a:cubicBezTo>
                <a:cubicBezTo>
                  <a:pt x="33" y="76"/>
                  <a:pt x="33" y="76"/>
                  <a:pt x="33" y="77"/>
                </a:cubicBezTo>
                <a:cubicBezTo>
                  <a:pt x="33" y="77"/>
                  <a:pt x="33" y="77"/>
                  <a:pt x="33" y="77"/>
                </a:cubicBezTo>
                <a:cubicBezTo>
                  <a:pt x="33" y="77"/>
                  <a:pt x="33" y="77"/>
                  <a:pt x="33" y="77"/>
                </a:cubicBezTo>
                <a:cubicBezTo>
                  <a:pt x="33" y="77"/>
                  <a:pt x="34" y="77"/>
                  <a:pt x="34" y="77"/>
                </a:cubicBezTo>
                <a:cubicBezTo>
                  <a:pt x="34" y="77"/>
                  <a:pt x="34" y="77"/>
                  <a:pt x="34" y="77"/>
                </a:cubicBezTo>
                <a:cubicBezTo>
                  <a:pt x="34" y="77"/>
                  <a:pt x="35" y="77"/>
                  <a:pt x="35" y="77"/>
                </a:cubicBezTo>
                <a:cubicBezTo>
                  <a:pt x="35" y="77"/>
                  <a:pt x="35" y="77"/>
                  <a:pt x="35" y="77"/>
                </a:cubicBezTo>
                <a:cubicBezTo>
                  <a:pt x="35" y="77"/>
                  <a:pt x="35" y="77"/>
                  <a:pt x="35" y="77"/>
                </a:cubicBezTo>
                <a:cubicBezTo>
                  <a:pt x="35" y="77"/>
                  <a:pt x="36" y="77"/>
                  <a:pt x="36" y="77"/>
                </a:cubicBezTo>
                <a:cubicBezTo>
                  <a:pt x="36" y="77"/>
                  <a:pt x="36" y="77"/>
                  <a:pt x="36" y="77"/>
                </a:cubicBezTo>
                <a:cubicBezTo>
                  <a:pt x="36" y="77"/>
                  <a:pt x="36" y="77"/>
                  <a:pt x="36" y="77"/>
                </a:cubicBezTo>
                <a:cubicBezTo>
                  <a:pt x="36" y="77"/>
                  <a:pt x="36" y="77"/>
                  <a:pt x="37" y="77"/>
                </a:cubicBezTo>
                <a:cubicBezTo>
                  <a:pt x="37" y="76"/>
                  <a:pt x="37" y="76"/>
                  <a:pt x="37" y="76"/>
                </a:cubicBezTo>
                <a:cubicBezTo>
                  <a:pt x="40" y="72"/>
                  <a:pt x="45" y="69"/>
                  <a:pt x="51" y="69"/>
                </a:cubicBezTo>
                <a:cubicBezTo>
                  <a:pt x="56" y="69"/>
                  <a:pt x="60" y="72"/>
                  <a:pt x="64" y="76"/>
                </a:cubicBezTo>
                <a:cubicBezTo>
                  <a:pt x="64" y="147"/>
                  <a:pt x="64" y="147"/>
                  <a:pt x="64" y="147"/>
                </a:cubicBezTo>
                <a:cubicBezTo>
                  <a:pt x="64" y="151"/>
                  <a:pt x="60" y="155"/>
                  <a:pt x="56" y="155"/>
                </a:cubicBezTo>
                <a:cubicBezTo>
                  <a:pt x="52" y="155"/>
                  <a:pt x="48" y="151"/>
                  <a:pt x="48" y="147"/>
                </a:cubicBezTo>
                <a:cubicBezTo>
                  <a:pt x="48" y="145"/>
                  <a:pt x="47" y="144"/>
                  <a:pt x="45" y="144"/>
                </a:cubicBezTo>
                <a:cubicBezTo>
                  <a:pt x="44" y="144"/>
                  <a:pt x="43" y="145"/>
                  <a:pt x="43" y="147"/>
                </a:cubicBezTo>
                <a:cubicBezTo>
                  <a:pt x="43" y="154"/>
                  <a:pt x="49" y="160"/>
                  <a:pt x="56" y="160"/>
                </a:cubicBezTo>
                <a:cubicBezTo>
                  <a:pt x="63" y="160"/>
                  <a:pt x="69" y="154"/>
                  <a:pt x="69" y="147"/>
                </a:cubicBezTo>
                <a:cubicBezTo>
                  <a:pt x="69" y="76"/>
                  <a:pt x="69" y="76"/>
                  <a:pt x="69" y="76"/>
                </a:cubicBezTo>
                <a:cubicBezTo>
                  <a:pt x="73" y="72"/>
                  <a:pt x="78" y="69"/>
                  <a:pt x="83" y="69"/>
                </a:cubicBezTo>
                <a:cubicBezTo>
                  <a:pt x="88" y="69"/>
                  <a:pt x="93" y="72"/>
                  <a:pt x="97" y="76"/>
                </a:cubicBezTo>
                <a:cubicBezTo>
                  <a:pt x="97" y="76"/>
                  <a:pt x="97" y="76"/>
                  <a:pt x="97" y="77"/>
                </a:cubicBezTo>
                <a:cubicBezTo>
                  <a:pt x="97" y="77"/>
                  <a:pt x="97" y="77"/>
                  <a:pt x="97" y="77"/>
                </a:cubicBezTo>
                <a:cubicBezTo>
                  <a:pt x="97" y="77"/>
                  <a:pt x="97" y="77"/>
                  <a:pt x="97" y="77"/>
                </a:cubicBezTo>
                <a:cubicBezTo>
                  <a:pt x="97" y="77"/>
                  <a:pt x="98" y="77"/>
                  <a:pt x="98" y="77"/>
                </a:cubicBezTo>
                <a:cubicBezTo>
                  <a:pt x="98" y="77"/>
                  <a:pt x="98" y="77"/>
                  <a:pt x="98" y="77"/>
                </a:cubicBezTo>
                <a:cubicBezTo>
                  <a:pt x="98" y="77"/>
                  <a:pt x="99" y="77"/>
                  <a:pt x="99" y="77"/>
                </a:cubicBezTo>
                <a:cubicBezTo>
                  <a:pt x="99" y="77"/>
                  <a:pt x="99" y="77"/>
                  <a:pt x="99" y="77"/>
                </a:cubicBezTo>
                <a:cubicBezTo>
                  <a:pt x="99" y="77"/>
                  <a:pt x="99" y="77"/>
                  <a:pt x="99" y="77"/>
                </a:cubicBezTo>
                <a:cubicBezTo>
                  <a:pt x="99" y="77"/>
                  <a:pt x="100" y="77"/>
                  <a:pt x="100" y="77"/>
                </a:cubicBezTo>
                <a:cubicBezTo>
                  <a:pt x="100" y="77"/>
                  <a:pt x="100" y="77"/>
                  <a:pt x="100" y="77"/>
                </a:cubicBezTo>
                <a:cubicBezTo>
                  <a:pt x="100" y="77"/>
                  <a:pt x="100" y="77"/>
                  <a:pt x="100" y="77"/>
                </a:cubicBezTo>
                <a:cubicBezTo>
                  <a:pt x="100" y="77"/>
                  <a:pt x="100" y="77"/>
                  <a:pt x="101" y="77"/>
                </a:cubicBezTo>
                <a:cubicBezTo>
                  <a:pt x="101" y="76"/>
                  <a:pt x="101" y="76"/>
                  <a:pt x="101" y="76"/>
                </a:cubicBezTo>
                <a:cubicBezTo>
                  <a:pt x="104" y="72"/>
                  <a:pt x="109" y="69"/>
                  <a:pt x="115" y="69"/>
                </a:cubicBezTo>
                <a:cubicBezTo>
                  <a:pt x="120" y="69"/>
                  <a:pt x="125" y="72"/>
                  <a:pt x="129" y="76"/>
                </a:cubicBezTo>
                <a:cubicBezTo>
                  <a:pt x="129" y="76"/>
                  <a:pt x="129" y="76"/>
                  <a:pt x="129" y="76"/>
                </a:cubicBezTo>
                <a:cubicBezTo>
                  <a:pt x="129" y="77"/>
                  <a:pt x="129" y="77"/>
                  <a:pt x="129" y="77"/>
                </a:cubicBezTo>
                <a:cubicBezTo>
                  <a:pt x="129" y="77"/>
                  <a:pt x="130" y="77"/>
                  <a:pt x="130" y="77"/>
                </a:cubicBezTo>
                <a:cubicBezTo>
                  <a:pt x="130" y="77"/>
                  <a:pt x="130" y="77"/>
                  <a:pt x="131" y="77"/>
                </a:cubicBezTo>
                <a:cubicBezTo>
                  <a:pt x="131" y="77"/>
                  <a:pt x="131" y="77"/>
                  <a:pt x="131" y="77"/>
                </a:cubicBezTo>
                <a:cubicBezTo>
                  <a:pt x="131" y="77"/>
                  <a:pt x="131" y="77"/>
                  <a:pt x="131" y="77"/>
                </a:cubicBezTo>
                <a:cubicBezTo>
                  <a:pt x="131" y="77"/>
                  <a:pt x="131" y="77"/>
                  <a:pt x="132" y="77"/>
                </a:cubicBezTo>
                <a:cubicBezTo>
                  <a:pt x="132" y="77"/>
                  <a:pt x="132" y="77"/>
                  <a:pt x="132" y="77"/>
                </a:cubicBezTo>
                <a:cubicBezTo>
                  <a:pt x="132" y="77"/>
                  <a:pt x="132" y="77"/>
                  <a:pt x="132" y="77"/>
                </a:cubicBezTo>
                <a:cubicBezTo>
                  <a:pt x="132" y="77"/>
                  <a:pt x="132" y="77"/>
                  <a:pt x="132" y="77"/>
                </a:cubicBezTo>
                <a:cubicBezTo>
                  <a:pt x="133" y="76"/>
                  <a:pt x="133" y="76"/>
                  <a:pt x="133" y="76"/>
                </a:cubicBezTo>
                <a:cubicBezTo>
                  <a:pt x="133" y="76"/>
                  <a:pt x="133" y="76"/>
                  <a:pt x="133" y="76"/>
                </a:cubicBezTo>
                <a:cubicBezTo>
                  <a:pt x="133" y="76"/>
                  <a:pt x="133" y="75"/>
                  <a:pt x="133" y="75"/>
                </a:cubicBezTo>
                <a:close/>
                <a:moveTo>
                  <a:pt x="115" y="64"/>
                </a:moveTo>
                <a:cubicBezTo>
                  <a:pt x="109" y="64"/>
                  <a:pt x="103" y="66"/>
                  <a:pt x="99" y="71"/>
                </a:cubicBezTo>
                <a:cubicBezTo>
                  <a:pt x="94" y="66"/>
                  <a:pt x="89" y="64"/>
                  <a:pt x="83" y="64"/>
                </a:cubicBezTo>
                <a:cubicBezTo>
                  <a:pt x="77" y="64"/>
                  <a:pt x="71" y="66"/>
                  <a:pt x="67" y="71"/>
                </a:cubicBezTo>
                <a:cubicBezTo>
                  <a:pt x="62" y="66"/>
                  <a:pt x="57" y="64"/>
                  <a:pt x="51" y="64"/>
                </a:cubicBezTo>
                <a:cubicBezTo>
                  <a:pt x="45" y="64"/>
                  <a:pt x="39" y="66"/>
                  <a:pt x="35" y="71"/>
                </a:cubicBezTo>
                <a:cubicBezTo>
                  <a:pt x="30" y="66"/>
                  <a:pt x="25" y="64"/>
                  <a:pt x="19" y="64"/>
                </a:cubicBezTo>
                <a:cubicBezTo>
                  <a:pt x="14" y="64"/>
                  <a:pt x="10" y="66"/>
                  <a:pt x="6" y="68"/>
                </a:cubicBezTo>
                <a:cubicBezTo>
                  <a:pt x="9" y="37"/>
                  <a:pt x="35" y="13"/>
                  <a:pt x="67" y="13"/>
                </a:cubicBezTo>
                <a:cubicBezTo>
                  <a:pt x="98" y="13"/>
                  <a:pt x="124" y="37"/>
                  <a:pt x="128" y="68"/>
                </a:cubicBezTo>
                <a:cubicBezTo>
                  <a:pt x="124" y="66"/>
                  <a:pt x="119" y="64"/>
                  <a:pt x="115" y="64"/>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47">
            <a:extLst>
              <a:ext uri="{FF2B5EF4-FFF2-40B4-BE49-F238E27FC236}">
                <a16:creationId xmlns:a16="http://schemas.microsoft.com/office/drawing/2014/main" id="{385B6EBD-1585-354F-99B5-4003A743F96B}"/>
              </a:ext>
            </a:extLst>
          </p:cNvPr>
          <p:cNvSpPr>
            <a:spLocks noEditPoints="1"/>
          </p:cNvSpPr>
          <p:nvPr/>
        </p:nvSpPr>
        <p:spPr bwMode="auto">
          <a:xfrm>
            <a:off x="4792354" y="4471988"/>
            <a:ext cx="600075" cy="620713"/>
          </a:xfrm>
          <a:custGeom>
            <a:avLst/>
            <a:gdLst>
              <a:gd name="T0" fmla="*/ 160 w 160"/>
              <a:gd name="T1" fmla="*/ 40 h 164"/>
              <a:gd name="T2" fmla="*/ 149 w 160"/>
              <a:gd name="T3" fmla="*/ 66 h 164"/>
              <a:gd name="T4" fmla="*/ 113 w 160"/>
              <a:gd name="T5" fmla="*/ 102 h 164"/>
              <a:gd name="T6" fmla="*/ 87 w 160"/>
              <a:gd name="T7" fmla="*/ 113 h 164"/>
              <a:gd name="T8" fmla="*/ 62 w 160"/>
              <a:gd name="T9" fmla="*/ 102 h 164"/>
              <a:gd name="T10" fmla="*/ 62 w 160"/>
              <a:gd name="T11" fmla="*/ 98 h 164"/>
              <a:gd name="T12" fmla="*/ 66 w 160"/>
              <a:gd name="T13" fmla="*/ 98 h 164"/>
              <a:gd name="T14" fmla="*/ 109 w 160"/>
              <a:gd name="T15" fmla="*/ 98 h 164"/>
              <a:gd name="T16" fmla="*/ 145 w 160"/>
              <a:gd name="T17" fmla="*/ 62 h 164"/>
              <a:gd name="T18" fmla="*/ 154 w 160"/>
              <a:gd name="T19" fmla="*/ 40 h 164"/>
              <a:gd name="T20" fmla="*/ 145 w 160"/>
              <a:gd name="T21" fmla="*/ 19 h 164"/>
              <a:gd name="T22" fmla="*/ 124 w 160"/>
              <a:gd name="T23" fmla="*/ 10 h 164"/>
              <a:gd name="T24" fmla="*/ 102 w 160"/>
              <a:gd name="T25" fmla="*/ 19 h 164"/>
              <a:gd name="T26" fmla="*/ 75 w 160"/>
              <a:gd name="T27" fmla="*/ 47 h 164"/>
              <a:gd name="T28" fmla="*/ 70 w 160"/>
              <a:gd name="T29" fmla="*/ 47 h 164"/>
              <a:gd name="T30" fmla="*/ 70 w 160"/>
              <a:gd name="T31" fmla="*/ 42 h 164"/>
              <a:gd name="T32" fmla="*/ 98 w 160"/>
              <a:gd name="T33" fmla="*/ 15 h 164"/>
              <a:gd name="T34" fmla="*/ 149 w 160"/>
              <a:gd name="T35" fmla="*/ 15 h 164"/>
              <a:gd name="T36" fmla="*/ 160 w 160"/>
              <a:gd name="T37" fmla="*/ 40 h 164"/>
              <a:gd name="T38" fmla="*/ 81 w 160"/>
              <a:gd name="T39" fmla="*/ 126 h 164"/>
              <a:gd name="T40" fmla="*/ 58 w 160"/>
              <a:gd name="T41" fmla="*/ 149 h 164"/>
              <a:gd name="T42" fmla="*/ 36 w 160"/>
              <a:gd name="T43" fmla="*/ 158 h 164"/>
              <a:gd name="T44" fmla="*/ 15 w 160"/>
              <a:gd name="T45" fmla="*/ 149 h 164"/>
              <a:gd name="T46" fmla="*/ 15 w 160"/>
              <a:gd name="T47" fmla="*/ 106 h 164"/>
              <a:gd name="T48" fmla="*/ 49 w 160"/>
              <a:gd name="T49" fmla="*/ 72 h 164"/>
              <a:gd name="T50" fmla="*/ 92 w 160"/>
              <a:gd name="T51" fmla="*/ 72 h 164"/>
              <a:gd name="T52" fmla="*/ 96 w 160"/>
              <a:gd name="T53" fmla="*/ 72 h 164"/>
              <a:gd name="T54" fmla="*/ 96 w 160"/>
              <a:gd name="T55" fmla="*/ 68 h 164"/>
              <a:gd name="T56" fmla="*/ 45 w 160"/>
              <a:gd name="T57" fmla="*/ 68 h 164"/>
              <a:gd name="T58" fmla="*/ 11 w 160"/>
              <a:gd name="T59" fmla="*/ 102 h 164"/>
              <a:gd name="T60" fmla="*/ 0 w 160"/>
              <a:gd name="T61" fmla="*/ 128 h 164"/>
              <a:gd name="T62" fmla="*/ 11 w 160"/>
              <a:gd name="T63" fmla="*/ 153 h 164"/>
              <a:gd name="T64" fmla="*/ 36 w 160"/>
              <a:gd name="T65" fmla="*/ 164 h 164"/>
              <a:gd name="T66" fmla="*/ 62 w 160"/>
              <a:gd name="T67" fmla="*/ 153 h 164"/>
              <a:gd name="T68" fmla="*/ 85 w 160"/>
              <a:gd name="T69" fmla="*/ 130 h 164"/>
              <a:gd name="T70" fmla="*/ 85 w 160"/>
              <a:gd name="T71" fmla="*/ 126 h 164"/>
              <a:gd name="T72" fmla="*/ 81 w 160"/>
              <a:gd name="T73" fmla="*/ 12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64">
                <a:moveTo>
                  <a:pt x="160" y="40"/>
                </a:moveTo>
                <a:cubicBezTo>
                  <a:pt x="160" y="50"/>
                  <a:pt x="156" y="59"/>
                  <a:pt x="149" y="66"/>
                </a:cubicBezTo>
                <a:cubicBezTo>
                  <a:pt x="113" y="102"/>
                  <a:pt x="113" y="102"/>
                  <a:pt x="113" y="102"/>
                </a:cubicBezTo>
                <a:cubicBezTo>
                  <a:pt x="106" y="109"/>
                  <a:pt x="97" y="113"/>
                  <a:pt x="87" y="113"/>
                </a:cubicBezTo>
                <a:cubicBezTo>
                  <a:pt x="78" y="113"/>
                  <a:pt x="69" y="109"/>
                  <a:pt x="62" y="102"/>
                </a:cubicBezTo>
                <a:cubicBezTo>
                  <a:pt x="61" y="101"/>
                  <a:pt x="61" y="99"/>
                  <a:pt x="62" y="98"/>
                </a:cubicBezTo>
                <a:cubicBezTo>
                  <a:pt x="63" y="97"/>
                  <a:pt x="65" y="97"/>
                  <a:pt x="66" y="98"/>
                </a:cubicBezTo>
                <a:cubicBezTo>
                  <a:pt x="78" y="110"/>
                  <a:pt x="97" y="110"/>
                  <a:pt x="109" y="98"/>
                </a:cubicBezTo>
                <a:cubicBezTo>
                  <a:pt x="145" y="62"/>
                  <a:pt x="145" y="62"/>
                  <a:pt x="145" y="62"/>
                </a:cubicBezTo>
                <a:cubicBezTo>
                  <a:pt x="151" y="56"/>
                  <a:pt x="154" y="48"/>
                  <a:pt x="154" y="40"/>
                </a:cubicBezTo>
                <a:cubicBezTo>
                  <a:pt x="154" y="32"/>
                  <a:pt x="151" y="25"/>
                  <a:pt x="145" y="19"/>
                </a:cubicBezTo>
                <a:cubicBezTo>
                  <a:pt x="139" y="13"/>
                  <a:pt x="132" y="10"/>
                  <a:pt x="124" y="10"/>
                </a:cubicBezTo>
                <a:cubicBezTo>
                  <a:pt x="116" y="10"/>
                  <a:pt x="108" y="13"/>
                  <a:pt x="102" y="19"/>
                </a:cubicBezTo>
                <a:cubicBezTo>
                  <a:pt x="75" y="47"/>
                  <a:pt x="75" y="47"/>
                  <a:pt x="75" y="47"/>
                </a:cubicBezTo>
                <a:cubicBezTo>
                  <a:pt x="73" y="48"/>
                  <a:pt x="72" y="48"/>
                  <a:pt x="70" y="47"/>
                </a:cubicBezTo>
                <a:cubicBezTo>
                  <a:pt x="69" y="45"/>
                  <a:pt x="69" y="44"/>
                  <a:pt x="70" y="42"/>
                </a:cubicBezTo>
                <a:cubicBezTo>
                  <a:pt x="98" y="15"/>
                  <a:pt x="98" y="15"/>
                  <a:pt x="98" y="15"/>
                </a:cubicBezTo>
                <a:cubicBezTo>
                  <a:pt x="112" y="0"/>
                  <a:pt x="135" y="0"/>
                  <a:pt x="149" y="15"/>
                </a:cubicBezTo>
                <a:cubicBezTo>
                  <a:pt x="156" y="21"/>
                  <a:pt x="160" y="31"/>
                  <a:pt x="160" y="40"/>
                </a:cubicBezTo>
                <a:close/>
                <a:moveTo>
                  <a:pt x="81" y="126"/>
                </a:moveTo>
                <a:cubicBezTo>
                  <a:pt x="58" y="149"/>
                  <a:pt x="58" y="149"/>
                  <a:pt x="58" y="149"/>
                </a:cubicBezTo>
                <a:cubicBezTo>
                  <a:pt x="52" y="155"/>
                  <a:pt x="44" y="158"/>
                  <a:pt x="36" y="158"/>
                </a:cubicBezTo>
                <a:cubicBezTo>
                  <a:pt x="28" y="158"/>
                  <a:pt x="21" y="155"/>
                  <a:pt x="15" y="149"/>
                </a:cubicBezTo>
                <a:cubicBezTo>
                  <a:pt x="3" y="137"/>
                  <a:pt x="3" y="118"/>
                  <a:pt x="15" y="106"/>
                </a:cubicBezTo>
                <a:cubicBezTo>
                  <a:pt x="49" y="72"/>
                  <a:pt x="49" y="72"/>
                  <a:pt x="49" y="72"/>
                </a:cubicBezTo>
                <a:cubicBezTo>
                  <a:pt x="61" y="60"/>
                  <a:pt x="80" y="60"/>
                  <a:pt x="92" y="72"/>
                </a:cubicBezTo>
                <a:cubicBezTo>
                  <a:pt x="93" y="73"/>
                  <a:pt x="95" y="73"/>
                  <a:pt x="96" y="72"/>
                </a:cubicBezTo>
                <a:cubicBezTo>
                  <a:pt x="97" y="71"/>
                  <a:pt x="97" y="69"/>
                  <a:pt x="96" y="68"/>
                </a:cubicBezTo>
                <a:cubicBezTo>
                  <a:pt x="82" y="54"/>
                  <a:pt x="59" y="54"/>
                  <a:pt x="45" y="68"/>
                </a:cubicBezTo>
                <a:cubicBezTo>
                  <a:pt x="11" y="102"/>
                  <a:pt x="11" y="102"/>
                  <a:pt x="11" y="102"/>
                </a:cubicBezTo>
                <a:cubicBezTo>
                  <a:pt x="4" y="109"/>
                  <a:pt x="0" y="118"/>
                  <a:pt x="0" y="128"/>
                </a:cubicBezTo>
                <a:cubicBezTo>
                  <a:pt x="0" y="138"/>
                  <a:pt x="4" y="147"/>
                  <a:pt x="11" y="153"/>
                </a:cubicBezTo>
                <a:cubicBezTo>
                  <a:pt x="17" y="160"/>
                  <a:pt x="26" y="164"/>
                  <a:pt x="36" y="164"/>
                </a:cubicBezTo>
                <a:cubicBezTo>
                  <a:pt x="46" y="164"/>
                  <a:pt x="55" y="160"/>
                  <a:pt x="62" y="153"/>
                </a:cubicBezTo>
                <a:cubicBezTo>
                  <a:pt x="85" y="130"/>
                  <a:pt x="85" y="130"/>
                  <a:pt x="85" y="130"/>
                </a:cubicBezTo>
                <a:cubicBezTo>
                  <a:pt x="87" y="129"/>
                  <a:pt x="87" y="127"/>
                  <a:pt x="85" y="126"/>
                </a:cubicBezTo>
                <a:cubicBezTo>
                  <a:pt x="84" y="124"/>
                  <a:pt x="82" y="124"/>
                  <a:pt x="81" y="126"/>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48">
            <a:extLst>
              <a:ext uri="{FF2B5EF4-FFF2-40B4-BE49-F238E27FC236}">
                <a16:creationId xmlns:a16="http://schemas.microsoft.com/office/drawing/2014/main" id="{71D53EE7-FCB6-9446-ADA6-DE2D6A814A0C}"/>
              </a:ext>
            </a:extLst>
          </p:cNvPr>
          <p:cNvSpPr>
            <a:spLocks noEditPoints="1"/>
          </p:cNvSpPr>
          <p:nvPr/>
        </p:nvSpPr>
        <p:spPr bwMode="auto">
          <a:xfrm>
            <a:off x="4852679" y="5167313"/>
            <a:ext cx="487363" cy="606425"/>
          </a:xfrm>
          <a:custGeom>
            <a:avLst/>
            <a:gdLst>
              <a:gd name="T0" fmla="*/ 113 w 130"/>
              <a:gd name="T1" fmla="*/ 60 h 160"/>
              <a:gd name="T2" fmla="*/ 113 w 130"/>
              <a:gd name="T3" fmla="*/ 43 h 160"/>
              <a:gd name="T4" fmla="*/ 65 w 130"/>
              <a:gd name="T5" fmla="*/ 0 h 160"/>
              <a:gd name="T6" fmla="*/ 18 w 130"/>
              <a:gd name="T7" fmla="*/ 43 h 160"/>
              <a:gd name="T8" fmla="*/ 21 w 130"/>
              <a:gd name="T9" fmla="*/ 46 h 160"/>
              <a:gd name="T10" fmla="*/ 24 w 130"/>
              <a:gd name="T11" fmla="*/ 43 h 160"/>
              <a:gd name="T12" fmla="*/ 65 w 130"/>
              <a:gd name="T13" fmla="*/ 6 h 160"/>
              <a:gd name="T14" fmla="*/ 107 w 130"/>
              <a:gd name="T15" fmla="*/ 43 h 160"/>
              <a:gd name="T16" fmla="*/ 107 w 130"/>
              <a:gd name="T17" fmla="*/ 59 h 160"/>
              <a:gd name="T18" fmla="*/ 21 w 130"/>
              <a:gd name="T19" fmla="*/ 59 h 160"/>
              <a:gd name="T20" fmla="*/ 0 w 130"/>
              <a:gd name="T21" fmla="*/ 81 h 160"/>
              <a:gd name="T22" fmla="*/ 0 w 130"/>
              <a:gd name="T23" fmla="*/ 139 h 160"/>
              <a:gd name="T24" fmla="*/ 21 w 130"/>
              <a:gd name="T25" fmla="*/ 160 h 160"/>
              <a:gd name="T26" fmla="*/ 109 w 130"/>
              <a:gd name="T27" fmla="*/ 160 h 160"/>
              <a:gd name="T28" fmla="*/ 130 w 130"/>
              <a:gd name="T29" fmla="*/ 139 h 160"/>
              <a:gd name="T30" fmla="*/ 130 w 130"/>
              <a:gd name="T31" fmla="*/ 81 h 160"/>
              <a:gd name="T32" fmla="*/ 113 w 130"/>
              <a:gd name="T33" fmla="*/ 60 h 160"/>
              <a:gd name="T34" fmla="*/ 124 w 130"/>
              <a:gd name="T35" fmla="*/ 139 h 160"/>
              <a:gd name="T36" fmla="*/ 109 w 130"/>
              <a:gd name="T37" fmla="*/ 154 h 160"/>
              <a:gd name="T38" fmla="*/ 21 w 130"/>
              <a:gd name="T39" fmla="*/ 154 h 160"/>
              <a:gd name="T40" fmla="*/ 6 w 130"/>
              <a:gd name="T41" fmla="*/ 139 h 160"/>
              <a:gd name="T42" fmla="*/ 6 w 130"/>
              <a:gd name="T43" fmla="*/ 81 h 160"/>
              <a:gd name="T44" fmla="*/ 21 w 130"/>
              <a:gd name="T45" fmla="*/ 65 h 160"/>
              <a:gd name="T46" fmla="*/ 109 w 130"/>
              <a:gd name="T47" fmla="*/ 65 h 160"/>
              <a:gd name="T48" fmla="*/ 124 w 130"/>
              <a:gd name="T49" fmla="*/ 81 h 160"/>
              <a:gd name="T50" fmla="*/ 124 w 130"/>
              <a:gd name="T51" fmla="*/ 139 h 160"/>
              <a:gd name="T52" fmla="*/ 65 w 130"/>
              <a:gd name="T53" fmla="*/ 83 h 160"/>
              <a:gd name="T54" fmla="*/ 53 w 130"/>
              <a:gd name="T55" fmla="*/ 95 h 160"/>
              <a:gd name="T56" fmla="*/ 53 w 130"/>
              <a:gd name="T57" fmla="*/ 113 h 160"/>
              <a:gd name="T58" fmla="*/ 65 w 130"/>
              <a:gd name="T59" fmla="*/ 124 h 160"/>
              <a:gd name="T60" fmla="*/ 77 w 130"/>
              <a:gd name="T61" fmla="*/ 113 h 160"/>
              <a:gd name="T62" fmla="*/ 77 w 130"/>
              <a:gd name="T63" fmla="*/ 95 h 160"/>
              <a:gd name="T64" fmla="*/ 65 w 130"/>
              <a:gd name="T65" fmla="*/ 83 h 160"/>
              <a:gd name="T66" fmla="*/ 71 w 130"/>
              <a:gd name="T67" fmla="*/ 113 h 160"/>
              <a:gd name="T68" fmla="*/ 65 w 130"/>
              <a:gd name="T69" fmla="*/ 119 h 160"/>
              <a:gd name="T70" fmla="*/ 59 w 130"/>
              <a:gd name="T71" fmla="*/ 113 h 160"/>
              <a:gd name="T72" fmla="*/ 59 w 130"/>
              <a:gd name="T73" fmla="*/ 95 h 160"/>
              <a:gd name="T74" fmla="*/ 65 w 130"/>
              <a:gd name="T75" fmla="*/ 89 h 160"/>
              <a:gd name="T76" fmla="*/ 71 w 130"/>
              <a:gd name="T77" fmla="*/ 95 h 160"/>
              <a:gd name="T78" fmla="*/ 71 w 130"/>
              <a:gd name="T79" fmla="*/ 11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0" h="160">
                <a:moveTo>
                  <a:pt x="113" y="60"/>
                </a:moveTo>
                <a:cubicBezTo>
                  <a:pt x="113" y="43"/>
                  <a:pt x="113" y="43"/>
                  <a:pt x="113" y="43"/>
                </a:cubicBezTo>
                <a:cubicBezTo>
                  <a:pt x="113" y="19"/>
                  <a:pt x="91" y="0"/>
                  <a:pt x="65" y="0"/>
                </a:cubicBezTo>
                <a:cubicBezTo>
                  <a:pt x="39" y="0"/>
                  <a:pt x="18" y="19"/>
                  <a:pt x="18" y="43"/>
                </a:cubicBezTo>
                <a:cubicBezTo>
                  <a:pt x="18" y="45"/>
                  <a:pt x="19" y="46"/>
                  <a:pt x="21" y="46"/>
                </a:cubicBezTo>
                <a:cubicBezTo>
                  <a:pt x="22" y="46"/>
                  <a:pt x="24" y="45"/>
                  <a:pt x="24" y="43"/>
                </a:cubicBezTo>
                <a:cubicBezTo>
                  <a:pt x="24" y="23"/>
                  <a:pt x="42" y="6"/>
                  <a:pt x="65" y="6"/>
                </a:cubicBezTo>
                <a:cubicBezTo>
                  <a:pt x="88" y="6"/>
                  <a:pt x="107" y="23"/>
                  <a:pt x="107" y="43"/>
                </a:cubicBezTo>
                <a:cubicBezTo>
                  <a:pt x="107" y="59"/>
                  <a:pt x="107" y="59"/>
                  <a:pt x="107" y="59"/>
                </a:cubicBezTo>
                <a:cubicBezTo>
                  <a:pt x="21" y="59"/>
                  <a:pt x="21" y="59"/>
                  <a:pt x="21" y="59"/>
                </a:cubicBezTo>
                <a:cubicBezTo>
                  <a:pt x="10" y="59"/>
                  <a:pt x="0" y="69"/>
                  <a:pt x="0" y="81"/>
                </a:cubicBezTo>
                <a:cubicBezTo>
                  <a:pt x="0" y="139"/>
                  <a:pt x="0" y="139"/>
                  <a:pt x="0" y="139"/>
                </a:cubicBezTo>
                <a:cubicBezTo>
                  <a:pt x="0" y="150"/>
                  <a:pt x="10" y="160"/>
                  <a:pt x="21" y="160"/>
                </a:cubicBezTo>
                <a:cubicBezTo>
                  <a:pt x="109" y="160"/>
                  <a:pt x="109" y="160"/>
                  <a:pt x="109" y="160"/>
                </a:cubicBezTo>
                <a:cubicBezTo>
                  <a:pt x="121" y="160"/>
                  <a:pt x="130" y="150"/>
                  <a:pt x="130" y="139"/>
                </a:cubicBezTo>
                <a:cubicBezTo>
                  <a:pt x="130" y="81"/>
                  <a:pt x="130" y="81"/>
                  <a:pt x="130" y="81"/>
                </a:cubicBezTo>
                <a:cubicBezTo>
                  <a:pt x="130" y="70"/>
                  <a:pt x="123" y="61"/>
                  <a:pt x="113" y="60"/>
                </a:cubicBezTo>
                <a:close/>
                <a:moveTo>
                  <a:pt x="124" y="139"/>
                </a:moveTo>
                <a:cubicBezTo>
                  <a:pt x="124" y="147"/>
                  <a:pt x="117" y="154"/>
                  <a:pt x="109" y="154"/>
                </a:cubicBezTo>
                <a:cubicBezTo>
                  <a:pt x="21" y="154"/>
                  <a:pt x="21" y="154"/>
                  <a:pt x="21" y="154"/>
                </a:cubicBezTo>
                <a:cubicBezTo>
                  <a:pt x="13" y="154"/>
                  <a:pt x="6" y="147"/>
                  <a:pt x="6" y="139"/>
                </a:cubicBezTo>
                <a:cubicBezTo>
                  <a:pt x="6" y="81"/>
                  <a:pt x="6" y="81"/>
                  <a:pt x="6" y="81"/>
                </a:cubicBezTo>
                <a:cubicBezTo>
                  <a:pt x="6" y="72"/>
                  <a:pt x="13" y="65"/>
                  <a:pt x="21" y="65"/>
                </a:cubicBezTo>
                <a:cubicBezTo>
                  <a:pt x="109" y="65"/>
                  <a:pt x="109" y="65"/>
                  <a:pt x="109" y="65"/>
                </a:cubicBezTo>
                <a:cubicBezTo>
                  <a:pt x="117" y="65"/>
                  <a:pt x="124" y="72"/>
                  <a:pt x="124" y="81"/>
                </a:cubicBezTo>
                <a:lnTo>
                  <a:pt x="124" y="139"/>
                </a:lnTo>
                <a:close/>
                <a:moveTo>
                  <a:pt x="65" y="83"/>
                </a:moveTo>
                <a:cubicBezTo>
                  <a:pt x="59" y="83"/>
                  <a:pt x="53" y="88"/>
                  <a:pt x="53" y="95"/>
                </a:cubicBezTo>
                <a:cubicBezTo>
                  <a:pt x="53" y="113"/>
                  <a:pt x="53" y="113"/>
                  <a:pt x="53" y="113"/>
                </a:cubicBezTo>
                <a:cubicBezTo>
                  <a:pt x="53" y="119"/>
                  <a:pt x="59" y="124"/>
                  <a:pt x="65" y="124"/>
                </a:cubicBezTo>
                <a:cubicBezTo>
                  <a:pt x="72" y="124"/>
                  <a:pt x="77" y="119"/>
                  <a:pt x="77" y="113"/>
                </a:cubicBezTo>
                <a:cubicBezTo>
                  <a:pt x="77" y="95"/>
                  <a:pt x="77" y="95"/>
                  <a:pt x="77" y="95"/>
                </a:cubicBezTo>
                <a:cubicBezTo>
                  <a:pt x="77" y="88"/>
                  <a:pt x="72" y="83"/>
                  <a:pt x="65" y="83"/>
                </a:cubicBezTo>
                <a:close/>
                <a:moveTo>
                  <a:pt x="71" y="113"/>
                </a:moveTo>
                <a:cubicBezTo>
                  <a:pt x="71" y="116"/>
                  <a:pt x="68" y="119"/>
                  <a:pt x="65" y="119"/>
                </a:cubicBezTo>
                <a:cubicBezTo>
                  <a:pt x="62" y="119"/>
                  <a:pt x="59" y="116"/>
                  <a:pt x="59" y="113"/>
                </a:cubicBezTo>
                <a:cubicBezTo>
                  <a:pt x="59" y="95"/>
                  <a:pt x="59" y="95"/>
                  <a:pt x="59" y="95"/>
                </a:cubicBezTo>
                <a:cubicBezTo>
                  <a:pt x="59" y="92"/>
                  <a:pt x="62" y="89"/>
                  <a:pt x="65" y="89"/>
                </a:cubicBezTo>
                <a:cubicBezTo>
                  <a:pt x="68" y="89"/>
                  <a:pt x="71" y="92"/>
                  <a:pt x="71" y="95"/>
                </a:cubicBezTo>
                <a:lnTo>
                  <a:pt x="71" y="113"/>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49">
            <a:extLst>
              <a:ext uri="{FF2B5EF4-FFF2-40B4-BE49-F238E27FC236}">
                <a16:creationId xmlns:a16="http://schemas.microsoft.com/office/drawing/2014/main" id="{70CCEB8E-F7DA-264C-B544-88F11DA013B4}"/>
              </a:ext>
            </a:extLst>
          </p:cNvPr>
          <p:cNvSpPr>
            <a:spLocks noEditPoints="1"/>
          </p:cNvSpPr>
          <p:nvPr/>
        </p:nvSpPr>
        <p:spPr bwMode="auto">
          <a:xfrm>
            <a:off x="4882841" y="5849938"/>
            <a:ext cx="412750" cy="604838"/>
          </a:xfrm>
          <a:custGeom>
            <a:avLst/>
            <a:gdLst>
              <a:gd name="T0" fmla="*/ 55 w 110"/>
              <a:gd name="T1" fmla="*/ 83 h 160"/>
              <a:gd name="T2" fmla="*/ 44 w 110"/>
              <a:gd name="T3" fmla="*/ 94 h 160"/>
              <a:gd name="T4" fmla="*/ 44 w 110"/>
              <a:gd name="T5" fmla="*/ 110 h 160"/>
              <a:gd name="T6" fmla="*/ 55 w 110"/>
              <a:gd name="T7" fmla="*/ 121 h 160"/>
              <a:gd name="T8" fmla="*/ 66 w 110"/>
              <a:gd name="T9" fmla="*/ 110 h 160"/>
              <a:gd name="T10" fmla="*/ 66 w 110"/>
              <a:gd name="T11" fmla="*/ 94 h 160"/>
              <a:gd name="T12" fmla="*/ 55 w 110"/>
              <a:gd name="T13" fmla="*/ 83 h 160"/>
              <a:gd name="T14" fmla="*/ 61 w 110"/>
              <a:gd name="T15" fmla="*/ 110 h 160"/>
              <a:gd name="T16" fmla="*/ 55 w 110"/>
              <a:gd name="T17" fmla="*/ 116 h 160"/>
              <a:gd name="T18" fmla="*/ 50 w 110"/>
              <a:gd name="T19" fmla="*/ 110 h 160"/>
              <a:gd name="T20" fmla="*/ 50 w 110"/>
              <a:gd name="T21" fmla="*/ 94 h 160"/>
              <a:gd name="T22" fmla="*/ 55 w 110"/>
              <a:gd name="T23" fmla="*/ 88 h 160"/>
              <a:gd name="T24" fmla="*/ 61 w 110"/>
              <a:gd name="T25" fmla="*/ 94 h 160"/>
              <a:gd name="T26" fmla="*/ 61 w 110"/>
              <a:gd name="T27" fmla="*/ 110 h 160"/>
              <a:gd name="T28" fmla="*/ 86 w 110"/>
              <a:gd name="T29" fmla="*/ 59 h 160"/>
              <a:gd name="T30" fmla="*/ 86 w 110"/>
              <a:gd name="T31" fmla="*/ 28 h 160"/>
              <a:gd name="T32" fmla="*/ 55 w 110"/>
              <a:gd name="T33" fmla="*/ 0 h 160"/>
              <a:gd name="T34" fmla="*/ 25 w 110"/>
              <a:gd name="T35" fmla="*/ 28 h 160"/>
              <a:gd name="T36" fmla="*/ 28 w 110"/>
              <a:gd name="T37" fmla="*/ 31 h 160"/>
              <a:gd name="T38" fmla="*/ 30 w 110"/>
              <a:gd name="T39" fmla="*/ 28 h 160"/>
              <a:gd name="T40" fmla="*/ 55 w 110"/>
              <a:gd name="T41" fmla="*/ 6 h 160"/>
              <a:gd name="T42" fmla="*/ 80 w 110"/>
              <a:gd name="T43" fmla="*/ 28 h 160"/>
              <a:gd name="T44" fmla="*/ 80 w 110"/>
              <a:gd name="T45" fmla="*/ 56 h 160"/>
              <a:gd name="T46" fmla="*/ 78 w 110"/>
              <a:gd name="T47" fmla="*/ 55 h 160"/>
              <a:gd name="T48" fmla="*/ 75 w 110"/>
              <a:gd name="T49" fmla="*/ 53 h 160"/>
              <a:gd name="T50" fmla="*/ 73 w 110"/>
              <a:gd name="T51" fmla="*/ 53 h 160"/>
              <a:gd name="T52" fmla="*/ 71 w 110"/>
              <a:gd name="T53" fmla="*/ 52 h 160"/>
              <a:gd name="T54" fmla="*/ 67 w 110"/>
              <a:gd name="T55" fmla="*/ 51 h 160"/>
              <a:gd name="T56" fmla="*/ 66 w 110"/>
              <a:gd name="T57" fmla="*/ 51 h 160"/>
              <a:gd name="T58" fmla="*/ 61 w 110"/>
              <a:gd name="T59" fmla="*/ 50 h 160"/>
              <a:gd name="T60" fmla="*/ 60 w 110"/>
              <a:gd name="T61" fmla="*/ 50 h 160"/>
              <a:gd name="T62" fmla="*/ 55 w 110"/>
              <a:gd name="T63" fmla="*/ 50 h 160"/>
              <a:gd name="T64" fmla="*/ 0 w 110"/>
              <a:gd name="T65" fmla="*/ 105 h 160"/>
              <a:gd name="T66" fmla="*/ 55 w 110"/>
              <a:gd name="T67" fmla="*/ 160 h 160"/>
              <a:gd name="T68" fmla="*/ 110 w 110"/>
              <a:gd name="T69" fmla="*/ 105 h 160"/>
              <a:gd name="T70" fmla="*/ 86 w 110"/>
              <a:gd name="T71" fmla="*/ 59 h 160"/>
              <a:gd name="T72" fmla="*/ 55 w 110"/>
              <a:gd name="T73" fmla="*/ 154 h 160"/>
              <a:gd name="T74" fmla="*/ 6 w 110"/>
              <a:gd name="T75" fmla="*/ 105 h 160"/>
              <a:gd name="T76" fmla="*/ 55 w 110"/>
              <a:gd name="T77" fmla="*/ 55 h 160"/>
              <a:gd name="T78" fmla="*/ 60 w 110"/>
              <a:gd name="T79" fmla="*/ 55 h 160"/>
              <a:gd name="T80" fmla="*/ 61 w 110"/>
              <a:gd name="T81" fmla="*/ 56 h 160"/>
              <a:gd name="T82" fmla="*/ 64 w 110"/>
              <a:gd name="T83" fmla="*/ 56 h 160"/>
              <a:gd name="T84" fmla="*/ 66 w 110"/>
              <a:gd name="T85" fmla="*/ 56 h 160"/>
              <a:gd name="T86" fmla="*/ 69 w 110"/>
              <a:gd name="T87" fmla="*/ 57 h 160"/>
              <a:gd name="T88" fmla="*/ 71 w 110"/>
              <a:gd name="T89" fmla="*/ 58 h 160"/>
              <a:gd name="T90" fmla="*/ 73 w 110"/>
              <a:gd name="T91" fmla="*/ 58 h 160"/>
              <a:gd name="T92" fmla="*/ 81 w 110"/>
              <a:gd name="T93" fmla="*/ 62 h 160"/>
              <a:gd name="T94" fmla="*/ 105 w 110"/>
              <a:gd name="T95" fmla="*/ 105 h 160"/>
              <a:gd name="T96" fmla="*/ 55 w 110"/>
              <a:gd name="T97" fmla="*/ 1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60">
                <a:moveTo>
                  <a:pt x="55" y="83"/>
                </a:moveTo>
                <a:cubicBezTo>
                  <a:pt x="49" y="83"/>
                  <a:pt x="44" y="88"/>
                  <a:pt x="44" y="94"/>
                </a:cubicBezTo>
                <a:cubicBezTo>
                  <a:pt x="44" y="110"/>
                  <a:pt x="44" y="110"/>
                  <a:pt x="44" y="110"/>
                </a:cubicBezTo>
                <a:cubicBezTo>
                  <a:pt x="44" y="116"/>
                  <a:pt x="49" y="121"/>
                  <a:pt x="55" y="121"/>
                </a:cubicBezTo>
                <a:cubicBezTo>
                  <a:pt x="61" y="121"/>
                  <a:pt x="66" y="116"/>
                  <a:pt x="66" y="110"/>
                </a:cubicBezTo>
                <a:cubicBezTo>
                  <a:pt x="66" y="94"/>
                  <a:pt x="66" y="94"/>
                  <a:pt x="66" y="94"/>
                </a:cubicBezTo>
                <a:cubicBezTo>
                  <a:pt x="66" y="88"/>
                  <a:pt x="61" y="83"/>
                  <a:pt x="55" y="83"/>
                </a:cubicBezTo>
                <a:close/>
                <a:moveTo>
                  <a:pt x="61" y="110"/>
                </a:moveTo>
                <a:cubicBezTo>
                  <a:pt x="61" y="113"/>
                  <a:pt x="58" y="116"/>
                  <a:pt x="55" y="116"/>
                </a:cubicBezTo>
                <a:cubicBezTo>
                  <a:pt x="52" y="116"/>
                  <a:pt x="50" y="113"/>
                  <a:pt x="50" y="110"/>
                </a:cubicBezTo>
                <a:cubicBezTo>
                  <a:pt x="50" y="94"/>
                  <a:pt x="50" y="94"/>
                  <a:pt x="50" y="94"/>
                </a:cubicBezTo>
                <a:cubicBezTo>
                  <a:pt x="50" y="91"/>
                  <a:pt x="52" y="88"/>
                  <a:pt x="55" y="88"/>
                </a:cubicBezTo>
                <a:cubicBezTo>
                  <a:pt x="58" y="88"/>
                  <a:pt x="61" y="91"/>
                  <a:pt x="61" y="94"/>
                </a:cubicBezTo>
                <a:lnTo>
                  <a:pt x="61" y="110"/>
                </a:lnTo>
                <a:close/>
                <a:moveTo>
                  <a:pt x="86" y="59"/>
                </a:moveTo>
                <a:cubicBezTo>
                  <a:pt x="86" y="28"/>
                  <a:pt x="86" y="28"/>
                  <a:pt x="86" y="28"/>
                </a:cubicBezTo>
                <a:cubicBezTo>
                  <a:pt x="86" y="13"/>
                  <a:pt x="72" y="0"/>
                  <a:pt x="55" y="0"/>
                </a:cubicBezTo>
                <a:cubicBezTo>
                  <a:pt x="38" y="0"/>
                  <a:pt x="25" y="13"/>
                  <a:pt x="25" y="28"/>
                </a:cubicBezTo>
                <a:cubicBezTo>
                  <a:pt x="25" y="30"/>
                  <a:pt x="26" y="31"/>
                  <a:pt x="28" y="31"/>
                </a:cubicBezTo>
                <a:cubicBezTo>
                  <a:pt x="29" y="31"/>
                  <a:pt x="30" y="30"/>
                  <a:pt x="30" y="28"/>
                </a:cubicBezTo>
                <a:cubicBezTo>
                  <a:pt x="30" y="16"/>
                  <a:pt x="41" y="6"/>
                  <a:pt x="55" y="6"/>
                </a:cubicBezTo>
                <a:cubicBezTo>
                  <a:pt x="69" y="6"/>
                  <a:pt x="80" y="16"/>
                  <a:pt x="80" y="28"/>
                </a:cubicBezTo>
                <a:cubicBezTo>
                  <a:pt x="80" y="56"/>
                  <a:pt x="80" y="56"/>
                  <a:pt x="80" y="56"/>
                </a:cubicBezTo>
                <a:cubicBezTo>
                  <a:pt x="79" y="55"/>
                  <a:pt x="79" y="55"/>
                  <a:pt x="78" y="55"/>
                </a:cubicBezTo>
                <a:cubicBezTo>
                  <a:pt x="77" y="54"/>
                  <a:pt x="76" y="54"/>
                  <a:pt x="75" y="53"/>
                </a:cubicBezTo>
                <a:cubicBezTo>
                  <a:pt x="74" y="53"/>
                  <a:pt x="74" y="53"/>
                  <a:pt x="73" y="53"/>
                </a:cubicBezTo>
                <a:cubicBezTo>
                  <a:pt x="72" y="52"/>
                  <a:pt x="72" y="52"/>
                  <a:pt x="71" y="52"/>
                </a:cubicBezTo>
                <a:cubicBezTo>
                  <a:pt x="70" y="52"/>
                  <a:pt x="68" y="51"/>
                  <a:pt x="67" y="51"/>
                </a:cubicBezTo>
                <a:cubicBezTo>
                  <a:pt x="67" y="51"/>
                  <a:pt x="66" y="51"/>
                  <a:pt x="66" y="51"/>
                </a:cubicBezTo>
                <a:cubicBezTo>
                  <a:pt x="64" y="50"/>
                  <a:pt x="63" y="50"/>
                  <a:pt x="61" y="50"/>
                </a:cubicBezTo>
                <a:cubicBezTo>
                  <a:pt x="61" y="50"/>
                  <a:pt x="61" y="50"/>
                  <a:pt x="60" y="50"/>
                </a:cubicBezTo>
                <a:cubicBezTo>
                  <a:pt x="59" y="50"/>
                  <a:pt x="57" y="50"/>
                  <a:pt x="55" y="50"/>
                </a:cubicBezTo>
                <a:cubicBezTo>
                  <a:pt x="25" y="50"/>
                  <a:pt x="0" y="74"/>
                  <a:pt x="0" y="105"/>
                </a:cubicBezTo>
                <a:cubicBezTo>
                  <a:pt x="0" y="135"/>
                  <a:pt x="25" y="160"/>
                  <a:pt x="55" y="160"/>
                </a:cubicBezTo>
                <a:cubicBezTo>
                  <a:pt x="86" y="160"/>
                  <a:pt x="110" y="135"/>
                  <a:pt x="110" y="105"/>
                </a:cubicBezTo>
                <a:cubicBezTo>
                  <a:pt x="110" y="86"/>
                  <a:pt x="100" y="69"/>
                  <a:pt x="86" y="59"/>
                </a:cubicBezTo>
                <a:close/>
                <a:moveTo>
                  <a:pt x="55" y="154"/>
                </a:moveTo>
                <a:cubicBezTo>
                  <a:pt x="28" y="154"/>
                  <a:pt x="6" y="132"/>
                  <a:pt x="6" y="105"/>
                </a:cubicBezTo>
                <a:cubicBezTo>
                  <a:pt x="6" y="77"/>
                  <a:pt x="28" y="55"/>
                  <a:pt x="55" y="55"/>
                </a:cubicBezTo>
                <a:cubicBezTo>
                  <a:pt x="57" y="55"/>
                  <a:pt x="58" y="55"/>
                  <a:pt x="60" y="55"/>
                </a:cubicBezTo>
                <a:cubicBezTo>
                  <a:pt x="60" y="55"/>
                  <a:pt x="61" y="55"/>
                  <a:pt x="61" y="56"/>
                </a:cubicBezTo>
                <a:cubicBezTo>
                  <a:pt x="62" y="56"/>
                  <a:pt x="63" y="56"/>
                  <a:pt x="64" y="56"/>
                </a:cubicBezTo>
                <a:cubicBezTo>
                  <a:pt x="65" y="56"/>
                  <a:pt x="65" y="56"/>
                  <a:pt x="66" y="56"/>
                </a:cubicBezTo>
                <a:cubicBezTo>
                  <a:pt x="67" y="57"/>
                  <a:pt x="68" y="57"/>
                  <a:pt x="69" y="57"/>
                </a:cubicBezTo>
                <a:cubicBezTo>
                  <a:pt x="70" y="57"/>
                  <a:pt x="71" y="58"/>
                  <a:pt x="71" y="58"/>
                </a:cubicBezTo>
                <a:cubicBezTo>
                  <a:pt x="72" y="58"/>
                  <a:pt x="72" y="58"/>
                  <a:pt x="73" y="58"/>
                </a:cubicBezTo>
                <a:cubicBezTo>
                  <a:pt x="76" y="60"/>
                  <a:pt x="78" y="61"/>
                  <a:pt x="81" y="62"/>
                </a:cubicBezTo>
                <a:cubicBezTo>
                  <a:pt x="95" y="71"/>
                  <a:pt x="105" y="87"/>
                  <a:pt x="105" y="105"/>
                </a:cubicBezTo>
                <a:cubicBezTo>
                  <a:pt x="105" y="132"/>
                  <a:pt x="83" y="154"/>
                  <a:pt x="55" y="154"/>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50">
            <a:extLst>
              <a:ext uri="{FF2B5EF4-FFF2-40B4-BE49-F238E27FC236}">
                <a16:creationId xmlns:a16="http://schemas.microsoft.com/office/drawing/2014/main" id="{399B0FCA-2B83-FF49-B8B0-06F4B7334B23}"/>
              </a:ext>
            </a:extLst>
          </p:cNvPr>
          <p:cNvSpPr>
            <a:spLocks noEditPoints="1"/>
          </p:cNvSpPr>
          <p:nvPr/>
        </p:nvSpPr>
        <p:spPr bwMode="auto">
          <a:xfrm>
            <a:off x="5933766" y="400050"/>
            <a:ext cx="412750" cy="604838"/>
          </a:xfrm>
          <a:custGeom>
            <a:avLst/>
            <a:gdLst>
              <a:gd name="T0" fmla="*/ 86 w 110"/>
              <a:gd name="T1" fmla="*/ 28 h 160"/>
              <a:gd name="T2" fmla="*/ 25 w 110"/>
              <a:gd name="T3" fmla="*/ 28 h 160"/>
              <a:gd name="T4" fmla="*/ 30 w 110"/>
              <a:gd name="T5" fmla="*/ 28 h 160"/>
              <a:gd name="T6" fmla="*/ 80 w 110"/>
              <a:gd name="T7" fmla="*/ 28 h 160"/>
              <a:gd name="T8" fmla="*/ 78 w 110"/>
              <a:gd name="T9" fmla="*/ 55 h 160"/>
              <a:gd name="T10" fmla="*/ 73 w 110"/>
              <a:gd name="T11" fmla="*/ 53 h 160"/>
              <a:gd name="T12" fmla="*/ 67 w 110"/>
              <a:gd name="T13" fmla="*/ 51 h 160"/>
              <a:gd name="T14" fmla="*/ 61 w 110"/>
              <a:gd name="T15" fmla="*/ 50 h 160"/>
              <a:gd name="T16" fmla="*/ 55 w 110"/>
              <a:gd name="T17" fmla="*/ 50 h 160"/>
              <a:gd name="T18" fmla="*/ 55 w 110"/>
              <a:gd name="T19" fmla="*/ 160 h 160"/>
              <a:gd name="T20" fmla="*/ 86 w 110"/>
              <a:gd name="T21" fmla="*/ 59 h 160"/>
              <a:gd name="T22" fmla="*/ 6 w 110"/>
              <a:gd name="T23" fmla="*/ 105 h 160"/>
              <a:gd name="T24" fmla="*/ 60 w 110"/>
              <a:gd name="T25" fmla="*/ 55 h 160"/>
              <a:gd name="T26" fmla="*/ 64 w 110"/>
              <a:gd name="T27" fmla="*/ 56 h 160"/>
              <a:gd name="T28" fmla="*/ 69 w 110"/>
              <a:gd name="T29" fmla="*/ 57 h 160"/>
              <a:gd name="T30" fmla="*/ 73 w 110"/>
              <a:gd name="T31" fmla="*/ 58 h 160"/>
              <a:gd name="T32" fmla="*/ 105 w 110"/>
              <a:gd name="T33" fmla="*/ 105 h 160"/>
              <a:gd name="T34" fmla="*/ 88 w 110"/>
              <a:gd name="T35" fmla="*/ 102 h 160"/>
              <a:gd name="T36" fmla="*/ 75 w 110"/>
              <a:gd name="T37" fmla="*/ 89 h 160"/>
              <a:gd name="T38" fmla="*/ 81 w 110"/>
              <a:gd name="T39" fmla="*/ 79 h 160"/>
              <a:gd name="T40" fmla="*/ 71 w 110"/>
              <a:gd name="T41" fmla="*/ 85 h 160"/>
              <a:gd name="T42" fmla="*/ 58 w 110"/>
              <a:gd name="T43" fmla="*/ 72 h 160"/>
              <a:gd name="T44" fmla="*/ 52 w 110"/>
              <a:gd name="T45" fmla="*/ 72 h 160"/>
              <a:gd name="T46" fmla="*/ 40 w 110"/>
              <a:gd name="T47" fmla="*/ 85 h 160"/>
              <a:gd name="T48" fmla="*/ 30 w 110"/>
              <a:gd name="T49" fmla="*/ 79 h 160"/>
              <a:gd name="T50" fmla="*/ 36 w 110"/>
              <a:gd name="T51" fmla="*/ 89 h 160"/>
              <a:gd name="T52" fmla="*/ 22 w 110"/>
              <a:gd name="T53" fmla="*/ 102 h 160"/>
              <a:gd name="T54" fmla="*/ 22 w 110"/>
              <a:gd name="T55" fmla="*/ 108 h 160"/>
              <a:gd name="T56" fmla="*/ 36 w 110"/>
              <a:gd name="T57" fmla="*/ 120 h 160"/>
              <a:gd name="T58" fmla="*/ 30 w 110"/>
              <a:gd name="T59" fmla="*/ 130 h 160"/>
              <a:gd name="T60" fmla="*/ 34 w 110"/>
              <a:gd name="T61" fmla="*/ 130 h 160"/>
              <a:gd name="T62" fmla="*/ 52 w 110"/>
              <a:gd name="T63" fmla="*/ 129 h 160"/>
              <a:gd name="T64" fmla="*/ 55 w 110"/>
              <a:gd name="T65" fmla="*/ 141 h 160"/>
              <a:gd name="T66" fmla="*/ 58 w 110"/>
              <a:gd name="T67" fmla="*/ 129 h 160"/>
              <a:gd name="T68" fmla="*/ 77 w 110"/>
              <a:gd name="T69" fmla="*/ 130 h 160"/>
              <a:gd name="T70" fmla="*/ 81 w 110"/>
              <a:gd name="T71" fmla="*/ 130 h 160"/>
              <a:gd name="T72" fmla="*/ 75 w 110"/>
              <a:gd name="T73" fmla="*/ 120 h 160"/>
              <a:gd name="T74" fmla="*/ 88 w 110"/>
              <a:gd name="T75" fmla="*/ 108 h 160"/>
              <a:gd name="T76" fmla="*/ 88 w 110"/>
              <a:gd name="T77" fmla="*/ 102 h 160"/>
              <a:gd name="T78" fmla="*/ 36 w 110"/>
              <a:gd name="T79" fmla="*/ 105 h 160"/>
              <a:gd name="T80" fmla="*/ 74 w 110"/>
              <a:gd name="T81" fmla="*/ 10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160">
                <a:moveTo>
                  <a:pt x="86" y="59"/>
                </a:moveTo>
                <a:cubicBezTo>
                  <a:pt x="86" y="28"/>
                  <a:pt x="86" y="28"/>
                  <a:pt x="86" y="28"/>
                </a:cubicBezTo>
                <a:cubicBezTo>
                  <a:pt x="86" y="13"/>
                  <a:pt x="72" y="0"/>
                  <a:pt x="55" y="0"/>
                </a:cubicBezTo>
                <a:cubicBezTo>
                  <a:pt x="38" y="0"/>
                  <a:pt x="25" y="13"/>
                  <a:pt x="25" y="28"/>
                </a:cubicBezTo>
                <a:cubicBezTo>
                  <a:pt x="25" y="30"/>
                  <a:pt x="26" y="31"/>
                  <a:pt x="28" y="31"/>
                </a:cubicBezTo>
                <a:cubicBezTo>
                  <a:pt x="29" y="31"/>
                  <a:pt x="30" y="30"/>
                  <a:pt x="30" y="28"/>
                </a:cubicBezTo>
                <a:cubicBezTo>
                  <a:pt x="30" y="16"/>
                  <a:pt x="41" y="6"/>
                  <a:pt x="55" y="6"/>
                </a:cubicBezTo>
                <a:cubicBezTo>
                  <a:pt x="69" y="6"/>
                  <a:pt x="80" y="16"/>
                  <a:pt x="80" y="28"/>
                </a:cubicBezTo>
                <a:cubicBezTo>
                  <a:pt x="80" y="56"/>
                  <a:pt x="80" y="56"/>
                  <a:pt x="80" y="56"/>
                </a:cubicBezTo>
                <a:cubicBezTo>
                  <a:pt x="79" y="55"/>
                  <a:pt x="79" y="55"/>
                  <a:pt x="78" y="55"/>
                </a:cubicBezTo>
                <a:cubicBezTo>
                  <a:pt x="77" y="54"/>
                  <a:pt x="76" y="54"/>
                  <a:pt x="75" y="53"/>
                </a:cubicBezTo>
                <a:cubicBezTo>
                  <a:pt x="74" y="53"/>
                  <a:pt x="74" y="53"/>
                  <a:pt x="73" y="53"/>
                </a:cubicBezTo>
                <a:cubicBezTo>
                  <a:pt x="72" y="52"/>
                  <a:pt x="72" y="52"/>
                  <a:pt x="71" y="52"/>
                </a:cubicBezTo>
                <a:cubicBezTo>
                  <a:pt x="70" y="52"/>
                  <a:pt x="68" y="51"/>
                  <a:pt x="67" y="51"/>
                </a:cubicBezTo>
                <a:cubicBezTo>
                  <a:pt x="67" y="51"/>
                  <a:pt x="66" y="51"/>
                  <a:pt x="66" y="51"/>
                </a:cubicBezTo>
                <a:cubicBezTo>
                  <a:pt x="64" y="50"/>
                  <a:pt x="63" y="50"/>
                  <a:pt x="61" y="50"/>
                </a:cubicBezTo>
                <a:cubicBezTo>
                  <a:pt x="61" y="50"/>
                  <a:pt x="61" y="50"/>
                  <a:pt x="60" y="50"/>
                </a:cubicBezTo>
                <a:cubicBezTo>
                  <a:pt x="59" y="50"/>
                  <a:pt x="57" y="50"/>
                  <a:pt x="55" y="50"/>
                </a:cubicBezTo>
                <a:cubicBezTo>
                  <a:pt x="25" y="50"/>
                  <a:pt x="0" y="74"/>
                  <a:pt x="0" y="105"/>
                </a:cubicBezTo>
                <a:cubicBezTo>
                  <a:pt x="0" y="135"/>
                  <a:pt x="25" y="160"/>
                  <a:pt x="55" y="160"/>
                </a:cubicBezTo>
                <a:cubicBezTo>
                  <a:pt x="86" y="160"/>
                  <a:pt x="110" y="135"/>
                  <a:pt x="110" y="105"/>
                </a:cubicBezTo>
                <a:cubicBezTo>
                  <a:pt x="110" y="86"/>
                  <a:pt x="100" y="69"/>
                  <a:pt x="86" y="59"/>
                </a:cubicBezTo>
                <a:close/>
                <a:moveTo>
                  <a:pt x="55" y="154"/>
                </a:moveTo>
                <a:cubicBezTo>
                  <a:pt x="28" y="154"/>
                  <a:pt x="6" y="132"/>
                  <a:pt x="6" y="105"/>
                </a:cubicBezTo>
                <a:cubicBezTo>
                  <a:pt x="6" y="77"/>
                  <a:pt x="28" y="55"/>
                  <a:pt x="55" y="55"/>
                </a:cubicBezTo>
                <a:cubicBezTo>
                  <a:pt x="57" y="55"/>
                  <a:pt x="58" y="55"/>
                  <a:pt x="60" y="55"/>
                </a:cubicBezTo>
                <a:cubicBezTo>
                  <a:pt x="60" y="55"/>
                  <a:pt x="61" y="55"/>
                  <a:pt x="61" y="56"/>
                </a:cubicBezTo>
                <a:cubicBezTo>
                  <a:pt x="62" y="56"/>
                  <a:pt x="63" y="56"/>
                  <a:pt x="64" y="56"/>
                </a:cubicBezTo>
                <a:cubicBezTo>
                  <a:pt x="65" y="56"/>
                  <a:pt x="65" y="56"/>
                  <a:pt x="66" y="56"/>
                </a:cubicBezTo>
                <a:cubicBezTo>
                  <a:pt x="67" y="57"/>
                  <a:pt x="68" y="57"/>
                  <a:pt x="69" y="57"/>
                </a:cubicBezTo>
                <a:cubicBezTo>
                  <a:pt x="70" y="57"/>
                  <a:pt x="71" y="58"/>
                  <a:pt x="71" y="58"/>
                </a:cubicBezTo>
                <a:cubicBezTo>
                  <a:pt x="72" y="58"/>
                  <a:pt x="72" y="58"/>
                  <a:pt x="73" y="58"/>
                </a:cubicBezTo>
                <a:cubicBezTo>
                  <a:pt x="76" y="60"/>
                  <a:pt x="78" y="61"/>
                  <a:pt x="81" y="62"/>
                </a:cubicBezTo>
                <a:cubicBezTo>
                  <a:pt x="95" y="71"/>
                  <a:pt x="105" y="87"/>
                  <a:pt x="105" y="105"/>
                </a:cubicBezTo>
                <a:cubicBezTo>
                  <a:pt x="105" y="132"/>
                  <a:pt x="83" y="154"/>
                  <a:pt x="55" y="154"/>
                </a:cubicBezTo>
                <a:close/>
                <a:moveTo>
                  <a:pt x="88" y="102"/>
                </a:moveTo>
                <a:cubicBezTo>
                  <a:pt x="80" y="102"/>
                  <a:pt x="80" y="102"/>
                  <a:pt x="80" y="102"/>
                </a:cubicBezTo>
                <a:cubicBezTo>
                  <a:pt x="79" y="97"/>
                  <a:pt x="77" y="93"/>
                  <a:pt x="75" y="89"/>
                </a:cubicBezTo>
                <a:cubicBezTo>
                  <a:pt x="81" y="83"/>
                  <a:pt x="81" y="83"/>
                  <a:pt x="81" y="83"/>
                </a:cubicBezTo>
                <a:cubicBezTo>
                  <a:pt x="82" y="82"/>
                  <a:pt x="82" y="81"/>
                  <a:pt x="81" y="79"/>
                </a:cubicBezTo>
                <a:cubicBezTo>
                  <a:pt x="79" y="78"/>
                  <a:pt x="78" y="78"/>
                  <a:pt x="77" y="79"/>
                </a:cubicBezTo>
                <a:cubicBezTo>
                  <a:pt x="71" y="85"/>
                  <a:pt x="71" y="85"/>
                  <a:pt x="71" y="85"/>
                </a:cubicBezTo>
                <a:cubicBezTo>
                  <a:pt x="67" y="83"/>
                  <a:pt x="63" y="81"/>
                  <a:pt x="58" y="80"/>
                </a:cubicBezTo>
                <a:cubicBezTo>
                  <a:pt x="58" y="72"/>
                  <a:pt x="58" y="72"/>
                  <a:pt x="58" y="72"/>
                </a:cubicBezTo>
                <a:cubicBezTo>
                  <a:pt x="58" y="70"/>
                  <a:pt x="57" y="69"/>
                  <a:pt x="55" y="69"/>
                </a:cubicBezTo>
                <a:cubicBezTo>
                  <a:pt x="54" y="69"/>
                  <a:pt x="52" y="70"/>
                  <a:pt x="52" y="72"/>
                </a:cubicBezTo>
                <a:cubicBezTo>
                  <a:pt x="52" y="80"/>
                  <a:pt x="52" y="80"/>
                  <a:pt x="52" y="80"/>
                </a:cubicBezTo>
                <a:cubicBezTo>
                  <a:pt x="48" y="81"/>
                  <a:pt x="43" y="83"/>
                  <a:pt x="40" y="85"/>
                </a:cubicBezTo>
                <a:cubicBezTo>
                  <a:pt x="34" y="79"/>
                  <a:pt x="34" y="79"/>
                  <a:pt x="34" y="79"/>
                </a:cubicBezTo>
                <a:cubicBezTo>
                  <a:pt x="33" y="78"/>
                  <a:pt x="31" y="78"/>
                  <a:pt x="30" y="79"/>
                </a:cubicBezTo>
                <a:cubicBezTo>
                  <a:pt x="29" y="81"/>
                  <a:pt x="29" y="82"/>
                  <a:pt x="30" y="83"/>
                </a:cubicBezTo>
                <a:cubicBezTo>
                  <a:pt x="36" y="89"/>
                  <a:pt x="36" y="89"/>
                  <a:pt x="36" y="89"/>
                </a:cubicBezTo>
                <a:cubicBezTo>
                  <a:pt x="33" y="93"/>
                  <a:pt x="31" y="97"/>
                  <a:pt x="31" y="102"/>
                </a:cubicBezTo>
                <a:cubicBezTo>
                  <a:pt x="22" y="102"/>
                  <a:pt x="22" y="102"/>
                  <a:pt x="22" y="102"/>
                </a:cubicBezTo>
                <a:cubicBezTo>
                  <a:pt x="21" y="102"/>
                  <a:pt x="19" y="103"/>
                  <a:pt x="19" y="105"/>
                </a:cubicBezTo>
                <a:cubicBezTo>
                  <a:pt x="19" y="106"/>
                  <a:pt x="21" y="108"/>
                  <a:pt x="22" y="108"/>
                </a:cubicBezTo>
                <a:cubicBezTo>
                  <a:pt x="31" y="108"/>
                  <a:pt x="31" y="108"/>
                  <a:pt x="31" y="108"/>
                </a:cubicBezTo>
                <a:cubicBezTo>
                  <a:pt x="31" y="112"/>
                  <a:pt x="33" y="117"/>
                  <a:pt x="36" y="120"/>
                </a:cubicBezTo>
                <a:cubicBezTo>
                  <a:pt x="30" y="126"/>
                  <a:pt x="30" y="126"/>
                  <a:pt x="30" y="126"/>
                </a:cubicBezTo>
                <a:cubicBezTo>
                  <a:pt x="29" y="127"/>
                  <a:pt x="29" y="129"/>
                  <a:pt x="30" y="130"/>
                </a:cubicBezTo>
                <a:cubicBezTo>
                  <a:pt x="30" y="131"/>
                  <a:pt x="31" y="131"/>
                  <a:pt x="32" y="131"/>
                </a:cubicBezTo>
                <a:cubicBezTo>
                  <a:pt x="32" y="131"/>
                  <a:pt x="33" y="131"/>
                  <a:pt x="34" y="130"/>
                </a:cubicBezTo>
                <a:cubicBezTo>
                  <a:pt x="40" y="124"/>
                  <a:pt x="40" y="124"/>
                  <a:pt x="40" y="124"/>
                </a:cubicBezTo>
                <a:cubicBezTo>
                  <a:pt x="43" y="127"/>
                  <a:pt x="48" y="129"/>
                  <a:pt x="52" y="129"/>
                </a:cubicBezTo>
                <a:cubicBezTo>
                  <a:pt x="52" y="138"/>
                  <a:pt x="52" y="138"/>
                  <a:pt x="52" y="138"/>
                </a:cubicBezTo>
                <a:cubicBezTo>
                  <a:pt x="52" y="139"/>
                  <a:pt x="54" y="141"/>
                  <a:pt x="55" y="141"/>
                </a:cubicBezTo>
                <a:cubicBezTo>
                  <a:pt x="57" y="141"/>
                  <a:pt x="58" y="139"/>
                  <a:pt x="58" y="138"/>
                </a:cubicBezTo>
                <a:cubicBezTo>
                  <a:pt x="58" y="129"/>
                  <a:pt x="58" y="129"/>
                  <a:pt x="58" y="129"/>
                </a:cubicBezTo>
                <a:cubicBezTo>
                  <a:pt x="63" y="129"/>
                  <a:pt x="67" y="127"/>
                  <a:pt x="71" y="124"/>
                </a:cubicBezTo>
                <a:cubicBezTo>
                  <a:pt x="77" y="130"/>
                  <a:pt x="77" y="130"/>
                  <a:pt x="77" y="130"/>
                </a:cubicBezTo>
                <a:cubicBezTo>
                  <a:pt x="77" y="131"/>
                  <a:pt x="78" y="131"/>
                  <a:pt x="79" y="131"/>
                </a:cubicBezTo>
                <a:cubicBezTo>
                  <a:pt x="79" y="131"/>
                  <a:pt x="80" y="131"/>
                  <a:pt x="81" y="130"/>
                </a:cubicBezTo>
                <a:cubicBezTo>
                  <a:pt x="82" y="129"/>
                  <a:pt x="82" y="127"/>
                  <a:pt x="81" y="126"/>
                </a:cubicBezTo>
                <a:cubicBezTo>
                  <a:pt x="75" y="120"/>
                  <a:pt x="75" y="120"/>
                  <a:pt x="75" y="120"/>
                </a:cubicBezTo>
                <a:cubicBezTo>
                  <a:pt x="77" y="117"/>
                  <a:pt x="79" y="112"/>
                  <a:pt x="80" y="108"/>
                </a:cubicBezTo>
                <a:cubicBezTo>
                  <a:pt x="88" y="108"/>
                  <a:pt x="88" y="108"/>
                  <a:pt x="88" y="108"/>
                </a:cubicBezTo>
                <a:cubicBezTo>
                  <a:pt x="90" y="108"/>
                  <a:pt x="91" y="106"/>
                  <a:pt x="91" y="105"/>
                </a:cubicBezTo>
                <a:cubicBezTo>
                  <a:pt x="91" y="103"/>
                  <a:pt x="90" y="102"/>
                  <a:pt x="88" y="102"/>
                </a:cubicBezTo>
                <a:close/>
                <a:moveTo>
                  <a:pt x="55" y="124"/>
                </a:moveTo>
                <a:cubicBezTo>
                  <a:pt x="45" y="124"/>
                  <a:pt x="36" y="115"/>
                  <a:pt x="36" y="105"/>
                </a:cubicBezTo>
                <a:cubicBezTo>
                  <a:pt x="36" y="94"/>
                  <a:pt x="45" y="86"/>
                  <a:pt x="55" y="86"/>
                </a:cubicBezTo>
                <a:cubicBezTo>
                  <a:pt x="66" y="86"/>
                  <a:pt x="74" y="94"/>
                  <a:pt x="74" y="105"/>
                </a:cubicBezTo>
                <a:cubicBezTo>
                  <a:pt x="74" y="115"/>
                  <a:pt x="66" y="124"/>
                  <a:pt x="55" y="124"/>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51">
            <a:extLst>
              <a:ext uri="{FF2B5EF4-FFF2-40B4-BE49-F238E27FC236}">
                <a16:creationId xmlns:a16="http://schemas.microsoft.com/office/drawing/2014/main" id="{6C60A037-AD5A-B54F-B670-62DC6B9FCA01}"/>
              </a:ext>
            </a:extLst>
          </p:cNvPr>
          <p:cNvSpPr>
            <a:spLocks noEditPoints="1"/>
          </p:cNvSpPr>
          <p:nvPr/>
        </p:nvSpPr>
        <p:spPr bwMode="auto">
          <a:xfrm>
            <a:off x="5917891" y="1065213"/>
            <a:ext cx="447675" cy="606425"/>
          </a:xfrm>
          <a:custGeom>
            <a:avLst/>
            <a:gdLst>
              <a:gd name="T0" fmla="*/ 31 w 119"/>
              <a:gd name="T1" fmla="*/ 32 h 160"/>
              <a:gd name="T2" fmla="*/ 31 w 119"/>
              <a:gd name="T3" fmla="*/ 28 h 160"/>
              <a:gd name="T4" fmla="*/ 58 w 119"/>
              <a:gd name="T5" fmla="*/ 1 h 160"/>
              <a:gd name="T6" fmla="*/ 59 w 119"/>
              <a:gd name="T7" fmla="*/ 0 h 160"/>
              <a:gd name="T8" fmla="*/ 61 w 119"/>
              <a:gd name="T9" fmla="*/ 0 h 160"/>
              <a:gd name="T10" fmla="*/ 62 w 119"/>
              <a:gd name="T11" fmla="*/ 1 h 160"/>
              <a:gd name="T12" fmla="*/ 89 w 119"/>
              <a:gd name="T13" fmla="*/ 28 h 160"/>
              <a:gd name="T14" fmla="*/ 89 w 119"/>
              <a:gd name="T15" fmla="*/ 32 h 160"/>
              <a:gd name="T16" fmla="*/ 85 w 119"/>
              <a:gd name="T17" fmla="*/ 32 h 160"/>
              <a:gd name="T18" fmla="*/ 62 w 119"/>
              <a:gd name="T19" fmla="*/ 9 h 160"/>
              <a:gd name="T20" fmla="*/ 62 w 119"/>
              <a:gd name="T21" fmla="*/ 106 h 160"/>
              <a:gd name="T22" fmla="*/ 60 w 119"/>
              <a:gd name="T23" fmla="*/ 108 h 160"/>
              <a:gd name="T24" fmla="*/ 57 w 119"/>
              <a:gd name="T25" fmla="*/ 106 h 160"/>
              <a:gd name="T26" fmla="*/ 57 w 119"/>
              <a:gd name="T27" fmla="*/ 9 h 160"/>
              <a:gd name="T28" fmla="*/ 34 w 119"/>
              <a:gd name="T29" fmla="*/ 32 h 160"/>
              <a:gd name="T30" fmla="*/ 32 w 119"/>
              <a:gd name="T31" fmla="*/ 33 h 160"/>
              <a:gd name="T32" fmla="*/ 31 w 119"/>
              <a:gd name="T33" fmla="*/ 32 h 160"/>
              <a:gd name="T34" fmla="*/ 79 w 119"/>
              <a:gd name="T35" fmla="*/ 43 h 160"/>
              <a:gd name="T36" fmla="*/ 76 w 119"/>
              <a:gd name="T37" fmla="*/ 46 h 160"/>
              <a:gd name="T38" fmla="*/ 79 w 119"/>
              <a:gd name="T39" fmla="*/ 49 h 160"/>
              <a:gd name="T40" fmla="*/ 114 w 119"/>
              <a:gd name="T41" fmla="*/ 49 h 160"/>
              <a:gd name="T42" fmla="*/ 114 w 119"/>
              <a:gd name="T43" fmla="*/ 155 h 160"/>
              <a:gd name="T44" fmla="*/ 5 w 119"/>
              <a:gd name="T45" fmla="*/ 155 h 160"/>
              <a:gd name="T46" fmla="*/ 5 w 119"/>
              <a:gd name="T47" fmla="*/ 49 h 160"/>
              <a:gd name="T48" fmla="*/ 41 w 119"/>
              <a:gd name="T49" fmla="*/ 49 h 160"/>
              <a:gd name="T50" fmla="*/ 43 w 119"/>
              <a:gd name="T51" fmla="*/ 46 h 160"/>
              <a:gd name="T52" fmla="*/ 41 w 119"/>
              <a:gd name="T53" fmla="*/ 43 h 160"/>
              <a:gd name="T54" fmla="*/ 0 w 119"/>
              <a:gd name="T55" fmla="*/ 43 h 160"/>
              <a:gd name="T56" fmla="*/ 0 w 119"/>
              <a:gd name="T57" fmla="*/ 160 h 160"/>
              <a:gd name="T58" fmla="*/ 119 w 119"/>
              <a:gd name="T59" fmla="*/ 160 h 160"/>
              <a:gd name="T60" fmla="*/ 119 w 119"/>
              <a:gd name="T61" fmla="*/ 43 h 160"/>
              <a:gd name="T62" fmla="*/ 79 w 119"/>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60">
                <a:moveTo>
                  <a:pt x="31" y="32"/>
                </a:moveTo>
                <a:cubicBezTo>
                  <a:pt x="30" y="31"/>
                  <a:pt x="30" y="29"/>
                  <a:pt x="31" y="28"/>
                </a:cubicBezTo>
                <a:cubicBezTo>
                  <a:pt x="58" y="1"/>
                  <a:pt x="58" y="1"/>
                  <a:pt x="58" y="1"/>
                </a:cubicBezTo>
                <a:cubicBezTo>
                  <a:pt x="58" y="1"/>
                  <a:pt x="58" y="0"/>
                  <a:pt x="59" y="0"/>
                </a:cubicBezTo>
                <a:cubicBezTo>
                  <a:pt x="59" y="0"/>
                  <a:pt x="60" y="0"/>
                  <a:pt x="61" y="0"/>
                </a:cubicBezTo>
                <a:cubicBezTo>
                  <a:pt x="61" y="0"/>
                  <a:pt x="61" y="1"/>
                  <a:pt x="62" y="1"/>
                </a:cubicBezTo>
                <a:cubicBezTo>
                  <a:pt x="89" y="28"/>
                  <a:pt x="89" y="28"/>
                  <a:pt x="89" y="28"/>
                </a:cubicBezTo>
                <a:cubicBezTo>
                  <a:pt x="90" y="29"/>
                  <a:pt x="90" y="31"/>
                  <a:pt x="89" y="32"/>
                </a:cubicBezTo>
                <a:cubicBezTo>
                  <a:pt x="88" y="33"/>
                  <a:pt x="86" y="33"/>
                  <a:pt x="85" y="32"/>
                </a:cubicBezTo>
                <a:cubicBezTo>
                  <a:pt x="62" y="9"/>
                  <a:pt x="62" y="9"/>
                  <a:pt x="62" y="9"/>
                </a:cubicBezTo>
                <a:cubicBezTo>
                  <a:pt x="62" y="106"/>
                  <a:pt x="62" y="106"/>
                  <a:pt x="62" y="106"/>
                </a:cubicBezTo>
                <a:cubicBezTo>
                  <a:pt x="62" y="107"/>
                  <a:pt x="61" y="108"/>
                  <a:pt x="60" y="108"/>
                </a:cubicBezTo>
                <a:cubicBezTo>
                  <a:pt x="58" y="108"/>
                  <a:pt x="57" y="107"/>
                  <a:pt x="57" y="106"/>
                </a:cubicBezTo>
                <a:cubicBezTo>
                  <a:pt x="57" y="9"/>
                  <a:pt x="57" y="9"/>
                  <a:pt x="57" y="9"/>
                </a:cubicBezTo>
                <a:cubicBezTo>
                  <a:pt x="34" y="32"/>
                  <a:pt x="34" y="32"/>
                  <a:pt x="34" y="32"/>
                </a:cubicBezTo>
                <a:cubicBezTo>
                  <a:pt x="34" y="32"/>
                  <a:pt x="33" y="33"/>
                  <a:pt x="32" y="33"/>
                </a:cubicBezTo>
                <a:cubicBezTo>
                  <a:pt x="32" y="33"/>
                  <a:pt x="31" y="32"/>
                  <a:pt x="31" y="32"/>
                </a:cubicBezTo>
                <a:close/>
                <a:moveTo>
                  <a:pt x="79" y="43"/>
                </a:moveTo>
                <a:cubicBezTo>
                  <a:pt x="77" y="43"/>
                  <a:pt x="76" y="45"/>
                  <a:pt x="76" y="46"/>
                </a:cubicBezTo>
                <a:cubicBezTo>
                  <a:pt x="76" y="48"/>
                  <a:pt x="77" y="49"/>
                  <a:pt x="79" y="49"/>
                </a:cubicBezTo>
                <a:cubicBezTo>
                  <a:pt x="114" y="49"/>
                  <a:pt x="114" y="49"/>
                  <a:pt x="114" y="49"/>
                </a:cubicBezTo>
                <a:cubicBezTo>
                  <a:pt x="114" y="155"/>
                  <a:pt x="114" y="155"/>
                  <a:pt x="114" y="155"/>
                </a:cubicBezTo>
                <a:cubicBezTo>
                  <a:pt x="5" y="155"/>
                  <a:pt x="5" y="155"/>
                  <a:pt x="5" y="155"/>
                </a:cubicBezTo>
                <a:cubicBezTo>
                  <a:pt x="5" y="49"/>
                  <a:pt x="5" y="49"/>
                  <a:pt x="5" y="49"/>
                </a:cubicBezTo>
                <a:cubicBezTo>
                  <a:pt x="41" y="49"/>
                  <a:pt x="41" y="49"/>
                  <a:pt x="41" y="49"/>
                </a:cubicBezTo>
                <a:cubicBezTo>
                  <a:pt x="42" y="49"/>
                  <a:pt x="43" y="48"/>
                  <a:pt x="43" y="46"/>
                </a:cubicBezTo>
                <a:cubicBezTo>
                  <a:pt x="43" y="45"/>
                  <a:pt x="42" y="43"/>
                  <a:pt x="41" y="43"/>
                </a:cubicBezTo>
                <a:cubicBezTo>
                  <a:pt x="0" y="43"/>
                  <a:pt x="0" y="43"/>
                  <a:pt x="0" y="43"/>
                </a:cubicBezTo>
                <a:cubicBezTo>
                  <a:pt x="0" y="160"/>
                  <a:pt x="0" y="160"/>
                  <a:pt x="0" y="160"/>
                </a:cubicBezTo>
                <a:cubicBezTo>
                  <a:pt x="119" y="160"/>
                  <a:pt x="119" y="160"/>
                  <a:pt x="119" y="160"/>
                </a:cubicBezTo>
                <a:cubicBezTo>
                  <a:pt x="119" y="43"/>
                  <a:pt x="119" y="43"/>
                  <a:pt x="119" y="43"/>
                </a:cubicBezTo>
                <a:lnTo>
                  <a:pt x="79" y="43"/>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52">
            <a:extLst>
              <a:ext uri="{FF2B5EF4-FFF2-40B4-BE49-F238E27FC236}">
                <a16:creationId xmlns:a16="http://schemas.microsoft.com/office/drawing/2014/main" id="{132116EF-3A69-3645-904E-F3092635D0FF}"/>
              </a:ext>
            </a:extLst>
          </p:cNvPr>
          <p:cNvSpPr>
            <a:spLocks noEditPoints="1"/>
          </p:cNvSpPr>
          <p:nvPr/>
        </p:nvSpPr>
        <p:spPr bwMode="auto">
          <a:xfrm>
            <a:off x="5917891" y="1762125"/>
            <a:ext cx="461963" cy="604838"/>
          </a:xfrm>
          <a:custGeom>
            <a:avLst/>
            <a:gdLst>
              <a:gd name="T0" fmla="*/ 61 w 123"/>
              <a:gd name="T1" fmla="*/ 160 h 160"/>
              <a:gd name="T2" fmla="*/ 0 w 123"/>
              <a:gd name="T3" fmla="*/ 144 h 160"/>
              <a:gd name="T4" fmla="*/ 0 w 123"/>
              <a:gd name="T5" fmla="*/ 138 h 160"/>
              <a:gd name="T6" fmla="*/ 13 w 123"/>
              <a:gd name="T7" fmla="*/ 117 h 160"/>
              <a:gd name="T8" fmla="*/ 37 w 123"/>
              <a:gd name="T9" fmla="*/ 103 h 160"/>
              <a:gd name="T10" fmla="*/ 39 w 123"/>
              <a:gd name="T11" fmla="*/ 101 h 160"/>
              <a:gd name="T12" fmla="*/ 19 w 123"/>
              <a:gd name="T13" fmla="*/ 101 h 160"/>
              <a:gd name="T14" fmla="*/ 8 w 123"/>
              <a:gd name="T15" fmla="*/ 99 h 160"/>
              <a:gd name="T16" fmla="*/ 4 w 123"/>
              <a:gd name="T17" fmla="*/ 94 h 160"/>
              <a:gd name="T18" fmla="*/ 5 w 123"/>
              <a:gd name="T19" fmla="*/ 87 h 160"/>
              <a:gd name="T20" fmla="*/ 21 w 123"/>
              <a:gd name="T21" fmla="*/ 40 h 160"/>
              <a:gd name="T22" fmla="*/ 25 w 123"/>
              <a:gd name="T23" fmla="*/ 22 h 160"/>
              <a:gd name="T24" fmla="*/ 60 w 123"/>
              <a:gd name="T25" fmla="*/ 0 h 160"/>
              <a:gd name="T26" fmla="*/ 97 w 123"/>
              <a:gd name="T27" fmla="*/ 36 h 160"/>
              <a:gd name="T28" fmla="*/ 116 w 123"/>
              <a:gd name="T29" fmla="*/ 87 h 160"/>
              <a:gd name="T30" fmla="*/ 117 w 123"/>
              <a:gd name="T31" fmla="*/ 94 h 160"/>
              <a:gd name="T32" fmla="*/ 112 w 123"/>
              <a:gd name="T33" fmla="*/ 99 h 160"/>
              <a:gd name="T34" fmla="*/ 98 w 123"/>
              <a:gd name="T35" fmla="*/ 101 h 160"/>
              <a:gd name="T36" fmla="*/ 77 w 123"/>
              <a:gd name="T37" fmla="*/ 101 h 160"/>
              <a:gd name="T38" fmla="*/ 80 w 123"/>
              <a:gd name="T39" fmla="*/ 104 h 160"/>
              <a:gd name="T40" fmla="*/ 109 w 123"/>
              <a:gd name="T41" fmla="*/ 117 h 160"/>
              <a:gd name="T42" fmla="*/ 123 w 123"/>
              <a:gd name="T43" fmla="*/ 139 h 160"/>
              <a:gd name="T44" fmla="*/ 123 w 123"/>
              <a:gd name="T45" fmla="*/ 144 h 160"/>
              <a:gd name="T46" fmla="*/ 61 w 123"/>
              <a:gd name="T47" fmla="*/ 160 h 160"/>
              <a:gd name="T48" fmla="*/ 19 w 123"/>
              <a:gd name="T49" fmla="*/ 96 h 160"/>
              <a:gd name="T50" fmla="*/ 40 w 123"/>
              <a:gd name="T51" fmla="*/ 96 h 160"/>
              <a:gd name="T52" fmla="*/ 45 w 123"/>
              <a:gd name="T53" fmla="*/ 99 h 160"/>
              <a:gd name="T54" fmla="*/ 43 w 123"/>
              <a:gd name="T55" fmla="*/ 105 h 160"/>
              <a:gd name="T56" fmla="*/ 40 w 123"/>
              <a:gd name="T57" fmla="*/ 107 h 160"/>
              <a:gd name="T58" fmla="*/ 15 w 123"/>
              <a:gd name="T59" fmla="*/ 122 h 160"/>
              <a:gd name="T60" fmla="*/ 5 w 123"/>
              <a:gd name="T61" fmla="*/ 138 h 160"/>
              <a:gd name="T62" fmla="*/ 5 w 123"/>
              <a:gd name="T63" fmla="*/ 144 h 160"/>
              <a:gd name="T64" fmla="*/ 61 w 123"/>
              <a:gd name="T65" fmla="*/ 155 h 160"/>
              <a:gd name="T66" fmla="*/ 117 w 123"/>
              <a:gd name="T67" fmla="*/ 144 h 160"/>
              <a:gd name="T68" fmla="*/ 117 w 123"/>
              <a:gd name="T69" fmla="*/ 139 h 160"/>
              <a:gd name="T70" fmla="*/ 107 w 123"/>
              <a:gd name="T71" fmla="*/ 122 h 160"/>
              <a:gd name="T72" fmla="*/ 78 w 123"/>
              <a:gd name="T73" fmla="*/ 109 h 160"/>
              <a:gd name="T74" fmla="*/ 73 w 123"/>
              <a:gd name="T75" fmla="*/ 104 h 160"/>
              <a:gd name="T76" fmla="*/ 73 w 123"/>
              <a:gd name="T77" fmla="*/ 98 h 160"/>
              <a:gd name="T78" fmla="*/ 77 w 123"/>
              <a:gd name="T79" fmla="*/ 96 h 160"/>
              <a:gd name="T80" fmla="*/ 98 w 123"/>
              <a:gd name="T81" fmla="*/ 96 h 160"/>
              <a:gd name="T82" fmla="*/ 110 w 123"/>
              <a:gd name="T83" fmla="*/ 94 h 160"/>
              <a:gd name="T84" fmla="*/ 112 w 123"/>
              <a:gd name="T85" fmla="*/ 92 h 160"/>
              <a:gd name="T86" fmla="*/ 112 w 123"/>
              <a:gd name="T87" fmla="*/ 90 h 160"/>
              <a:gd name="T88" fmla="*/ 92 w 123"/>
              <a:gd name="T89" fmla="*/ 36 h 160"/>
              <a:gd name="T90" fmla="*/ 60 w 123"/>
              <a:gd name="T91" fmla="*/ 5 h 160"/>
              <a:gd name="T92" fmla="*/ 30 w 123"/>
              <a:gd name="T93" fmla="*/ 25 h 160"/>
              <a:gd name="T94" fmla="*/ 27 w 123"/>
              <a:gd name="T95" fmla="*/ 40 h 160"/>
              <a:gd name="T96" fmla="*/ 10 w 123"/>
              <a:gd name="T97" fmla="*/ 90 h 160"/>
              <a:gd name="T98" fmla="*/ 9 w 123"/>
              <a:gd name="T99" fmla="*/ 93 h 160"/>
              <a:gd name="T100" fmla="*/ 11 w 123"/>
              <a:gd name="T101" fmla="*/ 94 h 160"/>
              <a:gd name="T102" fmla="*/ 19 w 123"/>
              <a:gd name="T103" fmla="*/ 9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3" h="160">
                <a:moveTo>
                  <a:pt x="61" y="160"/>
                </a:moveTo>
                <a:cubicBezTo>
                  <a:pt x="40" y="160"/>
                  <a:pt x="0" y="157"/>
                  <a:pt x="0" y="144"/>
                </a:cubicBezTo>
                <a:cubicBezTo>
                  <a:pt x="0" y="138"/>
                  <a:pt x="0" y="138"/>
                  <a:pt x="0" y="138"/>
                </a:cubicBezTo>
                <a:cubicBezTo>
                  <a:pt x="0" y="129"/>
                  <a:pt x="5" y="121"/>
                  <a:pt x="13" y="117"/>
                </a:cubicBezTo>
                <a:cubicBezTo>
                  <a:pt x="37" y="103"/>
                  <a:pt x="37" y="103"/>
                  <a:pt x="37" y="103"/>
                </a:cubicBezTo>
                <a:cubicBezTo>
                  <a:pt x="37" y="103"/>
                  <a:pt x="38" y="102"/>
                  <a:pt x="39" y="101"/>
                </a:cubicBezTo>
                <a:cubicBezTo>
                  <a:pt x="19" y="101"/>
                  <a:pt x="19" y="101"/>
                  <a:pt x="19" y="101"/>
                </a:cubicBezTo>
                <a:cubicBezTo>
                  <a:pt x="18" y="101"/>
                  <a:pt x="13" y="102"/>
                  <a:pt x="8" y="99"/>
                </a:cubicBezTo>
                <a:cubicBezTo>
                  <a:pt x="6" y="98"/>
                  <a:pt x="5" y="96"/>
                  <a:pt x="4" y="94"/>
                </a:cubicBezTo>
                <a:cubicBezTo>
                  <a:pt x="4" y="92"/>
                  <a:pt x="4" y="89"/>
                  <a:pt x="5" y="87"/>
                </a:cubicBezTo>
                <a:cubicBezTo>
                  <a:pt x="10" y="80"/>
                  <a:pt x="20" y="60"/>
                  <a:pt x="21" y="40"/>
                </a:cubicBezTo>
                <a:cubicBezTo>
                  <a:pt x="22" y="33"/>
                  <a:pt x="23" y="27"/>
                  <a:pt x="25" y="22"/>
                </a:cubicBezTo>
                <a:cubicBezTo>
                  <a:pt x="30" y="12"/>
                  <a:pt x="40" y="0"/>
                  <a:pt x="60" y="0"/>
                </a:cubicBezTo>
                <a:cubicBezTo>
                  <a:pt x="96" y="0"/>
                  <a:pt x="97" y="36"/>
                  <a:pt x="97" y="36"/>
                </a:cubicBezTo>
                <a:cubicBezTo>
                  <a:pt x="97" y="58"/>
                  <a:pt x="110" y="78"/>
                  <a:pt x="116" y="87"/>
                </a:cubicBezTo>
                <a:cubicBezTo>
                  <a:pt x="118" y="89"/>
                  <a:pt x="118" y="91"/>
                  <a:pt x="117" y="94"/>
                </a:cubicBezTo>
                <a:cubicBezTo>
                  <a:pt x="117" y="96"/>
                  <a:pt x="115" y="98"/>
                  <a:pt x="112" y="99"/>
                </a:cubicBezTo>
                <a:cubicBezTo>
                  <a:pt x="106" y="102"/>
                  <a:pt x="98" y="101"/>
                  <a:pt x="98" y="101"/>
                </a:cubicBezTo>
                <a:cubicBezTo>
                  <a:pt x="77" y="101"/>
                  <a:pt x="77" y="101"/>
                  <a:pt x="77" y="101"/>
                </a:cubicBezTo>
                <a:cubicBezTo>
                  <a:pt x="78" y="103"/>
                  <a:pt x="79" y="104"/>
                  <a:pt x="80" y="104"/>
                </a:cubicBezTo>
                <a:cubicBezTo>
                  <a:pt x="109" y="117"/>
                  <a:pt x="109" y="117"/>
                  <a:pt x="109" y="117"/>
                </a:cubicBezTo>
                <a:cubicBezTo>
                  <a:pt x="118" y="121"/>
                  <a:pt x="123" y="129"/>
                  <a:pt x="123" y="139"/>
                </a:cubicBezTo>
                <a:cubicBezTo>
                  <a:pt x="123" y="144"/>
                  <a:pt x="123" y="144"/>
                  <a:pt x="123" y="144"/>
                </a:cubicBezTo>
                <a:cubicBezTo>
                  <a:pt x="123" y="157"/>
                  <a:pt x="83" y="160"/>
                  <a:pt x="61" y="160"/>
                </a:cubicBezTo>
                <a:close/>
                <a:moveTo>
                  <a:pt x="19" y="96"/>
                </a:moveTo>
                <a:cubicBezTo>
                  <a:pt x="40" y="96"/>
                  <a:pt x="40" y="96"/>
                  <a:pt x="40" y="96"/>
                </a:cubicBezTo>
                <a:cubicBezTo>
                  <a:pt x="43" y="96"/>
                  <a:pt x="44" y="97"/>
                  <a:pt x="45" y="99"/>
                </a:cubicBezTo>
                <a:cubicBezTo>
                  <a:pt x="46" y="101"/>
                  <a:pt x="45" y="103"/>
                  <a:pt x="43" y="105"/>
                </a:cubicBezTo>
                <a:cubicBezTo>
                  <a:pt x="41" y="106"/>
                  <a:pt x="40" y="107"/>
                  <a:pt x="40" y="107"/>
                </a:cubicBezTo>
                <a:cubicBezTo>
                  <a:pt x="15" y="122"/>
                  <a:pt x="15" y="122"/>
                  <a:pt x="15" y="122"/>
                </a:cubicBezTo>
                <a:cubicBezTo>
                  <a:pt x="9" y="125"/>
                  <a:pt x="5" y="131"/>
                  <a:pt x="5" y="138"/>
                </a:cubicBezTo>
                <a:cubicBezTo>
                  <a:pt x="5" y="144"/>
                  <a:pt x="5" y="144"/>
                  <a:pt x="5" y="144"/>
                </a:cubicBezTo>
                <a:cubicBezTo>
                  <a:pt x="5" y="148"/>
                  <a:pt x="25" y="155"/>
                  <a:pt x="61" y="155"/>
                </a:cubicBezTo>
                <a:cubicBezTo>
                  <a:pt x="98" y="155"/>
                  <a:pt x="117" y="148"/>
                  <a:pt x="117" y="144"/>
                </a:cubicBezTo>
                <a:cubicBezTo>
                  <a:pt x="117" y="139"/>
                  <a:pt x="117" y="139"/>
                  <a:pt x="117" y="139"/>
                </a:cubicBezTo>
                <a:cubicBezTo>
                  <a:pt x="117" y="131"/>
                  <a:pt x="113" y="125"/>
                  <a:pt x="107" y="122"/>
                </a:cubicBezTo>
                <a:cubicBezTo>
                  <a:pt x="78" y="109"/>
                  <a:pt x="78" y="109"/>
                  <a:pt x="78" y="109"/>
                </a:cubicBezTo>
                <a:cubicBezTo>
                  <a:pt x="75" y="108"/>
                  <a:pt x="73" y="105"/>
                  <a:pt x="73" y="104"/>
                </a:cubicBezTo>
                <a:cubicBezTo>
                  <a:pt x="72" y="102"/>
                  <a:pt x="72" y="100"/>
                  <a:pt x="73" y="98"/>
                </a:cubicBezTo>
                <a:cubicBezTo>
                  <a:pt x="74" y="97"/>
                  <a:pt x="75" y="96"/>
                  <a:pt x="77" y="96"/>
                </a:cubicBezTo>
                <a:cubicBezTo>
                  <a:pt x="98" y="96"/>
                  <a:pt x="98" y="96"/>
                  <a:pt x="98" y="96"/>
                </a:cubicBezTo>
                <a:cubicBezTo>
                  <a:pt x="98" y="96"/>
                  <a:pt x="105" y="97"/>
                  <a:pt x="110" y="94"/>
                </a:cubicBezTo>
                <a:cubicBezTo>
                  <a:pt x="111" y="94"/>
                  <a:pt x="112" y="93"/>
                  <a:pt x="112" y="92"/>
                </a:cubicBezTo>
                <a:cubicBezTo>
                  <a:pt x="112" y="91"/>
                  <a:pt x="112" y="90"/>
                  <a:pt x="112" y="90"/>
                </a:cubicBezTo>
                <a:cubicBezTo>
                  <a:pt x="106" y="81"/>
                  <a:pt x="92" y="59"/>
                  <a:pt x="92" y="36"/>
                </a:cubicBezTo>
                <a:cubicBezTo>
                  <a:pt x="91" y="35"/>
                  <a:pt x="90" y="6"/>
                  <a:pt x="60" y="5"/>
                </a:cubicBezTo>
                <a:cubicBezTo>
                  <a:pt x="43" y="5"/>
                  <a:pt x="34" y="16"/>
                  <a:pt x="30" y="25"/>
                </a:cubicBezTo>
                <a:cubicBezTo>
                  <a:pt x="28" y="29"/>
                  <a:pt x="27" y="34"/>
                  <a:pt x="27" y="40"/>
                </a:cubicBezTo>
                <a:cubicBezTo>
                  <a:pt x="25" y="62"/>
                  <a:pt x="14" y="82"/>
                  <a:pt x="10" y="90"/>
                </a:cubicBezTo>
                <a:cubicBezTo>
                  <a:pt x="9" y="91"/>
                  <a:pt x="9" y="92"/>
                  <a:pt x="9" y="93"/>
                </a:cubicBezTo>
                <a:cubicBezTo>
                  <a:pt x="9" y="93"/>
                  <a:pt x="10" y="94"/>
                  <a:pt x="11" y="94"/>
                </a:cubicBezTo>
                <a:cubicBezTo>
                  <a:pt x="14" y="97"/>
                  <a:pt x="19" y="96"/>
                  <a:pt x="19" y="96"/>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53">
            <a:extLst>
              <a:ext uri="{FF2B5EF4-FFF2-40B4-BE49-F238E27FC236}">
                <a16:creationId xmlns:a16="http://schemas.microsoft.com/office/drawing/2014/main" id="{90ECD413-AFE8-E842-A414-94308423E84C}"/>
              </a:ext>
            </a:extLst>
          </p:cNvPr>
          <p:cNvSpPr>
            <a:spLocks noEditPoints="1"/>
          </p:cNvSpPr>
          <p:nvPr/>
        </p:nvSpPr>
        <p:spPr bwMode="auto">
          <a:xfrm>
            <a:off x="5843279" y="2443163"/>
            <a:ext cx="600075" cy="604838"/>
          </a:xfrm>
          <a:custGeom>
            <a:avLst/>
            <a:gdLst>
              <a:gd name="T0" fmla="*/ 0 w 160"/>
              <a:gd name="T1" fmla="*/ 80 h 160"/>
              <a:gd name="T2" fmla="*/ 26 w 160"/>
              <a:gd name="T3" fmla="*/ 139 h 160"/>
              <a:gd name="T4" fmla="*/ 67 w 160"/>
              <a:gd name="T5" fmla="*/ 159 h 160"/>
              <a:gd name="T6" fmla="*/ 74 w 160"/>
              <a:gd name="T7" fmla="*/ 160 h 160"/>
              <a:gd name="T8" fmla="*/ 80 w 160"/>
              <a:gd name="T9" fmla="*/ 160 h 160"/>
              <a:gd name="T10" fmla="*/ 80 w 160"/>
              <a:gd name="T11" fmla="*/ 160 h 160"/>
              <a:gd name="T12" fmla="*/ 80 w 160"/>
              <a:gd name="T13" fmla="*/ 0 h 160"/>
              <a:gd name="T14" fmla="*/ 79 w 160"/>
              <a:gd name="T15" fmla="*/ 154 h 160"/>
              <a:gd name="T16" fmla="*/ 34 w 160"/>
              <a:gd name="T17" fmla="*/ 138 h 160"/>
              <a:gd name="T18" fmla="*/ 64 w 160"/>
              <a:gd name="T19" fmla="*/ 124 h 160"/>
              <a:gd name="T20" fmla="*/ 69 w 160"/>
              <a:gd name="T21" fmla="*/ 113 h 160"/>
              <a:gd name="T22" fmla="*/ 46 w 160"/>
              <a:gd name="T23" fmla="*/ 111 h 160"/>
              <a:gd name="T24" fmla="*/ 33 w 160"/>
              <a:gd name="T25" fmla="*/ 107 h 160"/>
              <a:gd name="T26" fmla="*/ 52 w 160"/>
              <a:gd name="T27" fmla="*/ 59 h 160"/>
              <a:gd name="T28" fmla="*/ 105 w 160"/>
              <a:gd name="T29" fmla="*/ 48 h 160"/>
              <a:gd name="T30" fmla="*/ 124 w 160"/>
              <a:gd name="T31" fmla="*/ 106 h 160"/>
              <a:gd name="T32" fmla="*/ 123 w 160"/>
              <a:gd name="T33" fmla="*/ 109 h 160"/>
              <a:gd name="T34" fmla="*/ 97 w 160"/>
              <a:gd name="T35" fmla="*/ 111 h 160"/>
              <a:gd name="T36" fmla="*/ 94 w 160"/>
              <a:gd name="T37" fmla="*/ 119 h 160"/>
              <a:gd name="T38" fmla="*/ 119 w 160"/>
              <a:gd name="T39" fmla="*/ 135 h 160"/>
              <a:gd name="T40" fmla="*/ 80 w 160"/>
              <a:gd name="T41" fmla="*/ 154 h 160"/>
              <a:gd name="T42" fmla="*/ 122 w 160"/>
              <a:gd name="T43" fmla="*/ 130 h 160"/>
              <a:gd name="T44" fmla="*/ 99 w 160"/>
              <a:gd name="T45" fmla="*/ 116 h 160"/>
              <a:gd name="T46" fmla="*/ 126 w 160"/>
              <a:gd name="T47" fmla="*/ 114 h 160"/>
              <a:gd name="T48" fmla="*/ 129 w 160"/>
              <a:gd name="T49" fmla="*/ 103 h 160"/>
              <a:gd name="T50" fmla="*/ 111 w 160"/>
              <a:gd name="T51" fmla="*/ 46 h 160"/>
              <a:gd name="T52" fmla="*/ 46 w 160"/>
              <a:gd name="T53" fmla="*/ 59 h 160"/>
              <a:gd name="T54" fmla="*/ 28 w 160"/>
              <a:gd name="T55" fmla="*/ 109 h 160"/>
              <a:gd name="T56" fmla="*/ 45 w 160"/>
              <a:gd name="T57" fmla="*/ 116 h 160"/>
              <a:gd name="T58" fmla="*/ 62 w 160"/>
              <a:gd name="T59" fmla="*/ 119 h 160"/>
              <a:gd name="T60" fmla="*/ 35 w 160"/>
              <a:gd name="T61" fmla="*/ 130 h 160"/>
              <a:gd name="T62" fmla="*/ 6 w 160"/>
              <a:gd name="T63" fmla="*/ 80 h 160"/>
              <a:gd name="T64" fmla="*/ 154 w 160"/>
              <a:gd name="T65"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80" y="0"/>
                </a:moveTo>
                <a:cubicBezTo>
                  <a:pt x="36" y="0"/>
                  <a:pt x="0" y="36"/>
                  <a:pt x="0" y="80"/>
                </a:cubicBezTo>
                <a:cubicBezTo>
                  <a:pt x="0" y="103"/>
                  <a:pt x="10" y="124"/>
                  <a:pt x="26" y="139"/>
                </a:cubicBezTo>
                <a:cubicBezTo>
                  <a:pt x="26" y="139"/>
                  <a:pt x="26" y="139"/>
                  <a:pt x="26" y="139"/>
                </a:cubicBezTo>
                <a:cubicBezTo>
                  <a:pt x="28" y="141"/>
                  <a:pt x="28" y="141"/>
                  <a:pt x="28" y="141"/>
                </a:cubicBezTo>
                <a:cubicBezTo>
                  <a:pt x="39" y="151"/>
                  <a:pt x="53" y="157"/>
                  <a:pt x="67" y="159"/>
                </a:cubicBezTo>
                <a:cubicBezTo>
                  <a:pt x="68" y="159"/>
                  <a:pt x="69" y="159"/>
                  <a:pt x="71" y="159"/>
                </a:cubicBezTo>
                <a:cubicBezTo>
                  <a:pt x="72" y="160"/>
                  <a:pt x="73" y="160"/>
                  <a:pt x="74" y="160"/>
                </a:cubicBezTo>
                <a:cubicBezTo>
                  <a:pt x="76" y="160"/>
                  <a:pt x="77" y="160"/>
                  <a:pt x="79" y="160"/>
                </a:cubicBezTo>
                <a:cubicBezTo>
                  <a:pt x="79" y="160"/>
                  <a:pt x="79" y="160"/>
                  <a:pt x="80" y="160"/>
                </a:cubicBezTo>
                <a:cubicBezTo>
                  <a:pt x="80" y="160"/>
                  <a:pt x="80" y="160"/>
                  <a:pt x="80" y="160"/>
                </a:cubicBezTo>
                <a:cubicBezTo>
                  <a:pt x="80" y="160"/>
                  <a:pt x="80" y="160"/>
                  <a:pt x="80" y="160"/>
                </a:cubicBezTo>
                <a:cubicBezTo>
                  <a:pt x="124" y="160"/>
                  <a:pt x="160" y="124"/>
                  <a:pt x="160" y="80"/>
                </a:cubicBezTo>
                <a:cubicBezTo>
                  <a:pt x="160" y="36"/>
                  <a:pt x="124" y="0"/>
                  <a:pt x="80" y="0"/>
                </a:cubicBezTo>
                <a:close/>
                <a:moveTo>
                  <a:pt x="80" y="154"/>
                </a:moveTo>
                <a:cubicBezTo>
                  <a:pt x="79" y="154"/>
                  <a:pt x="79" y="154"/>
                  <a:pt x="79" y="154"/>
                </a:cubicBezTo>
                <a:cubicBezTo>
                  <a:pt x="78" y="154"/>
                  <a:pt x="76" y="154"/>
                  <a:pt x="75" y="154"/>
                </a:cubicBezTo>
                <a:cubicBezTo>
                  <a:pt x="59" y="153"/>
                  <a:pt x="45" y="147"/>
                  <a:pt x="34" y="138"/>
                </a:cubicBezTo>
                <a:cubicBezTo>
                  <a:pt x="35" y="137"/>
                  <a:pt x="36" y="136"/>
                  <a:pt x="38" y="135"/>
                </a:cubicBezTo>
                <a:cubicBezTo>
                  <a:pt x="64" y="124"/>
                  <a:pt x="64" y="124"/>
                  <a:pt x="64" y="124"/>
                </a:cubicBezTo>
                <a:cubicBezTo>
                  <a:pt x="66" y="123"/>
                  <a:pt x="68" y="121"/>
                  <a:pt x="69" y="118"/>
                </a:cubicBezTo>
                <a:cubicBezTo>
                  <a:pt x="70" y="116"/>
                  <a:pt x="70" y="115"/>
                  <a:pt x="69" y="113"/>
                </a:cubicBezTo>
                <a:cubicBezTo>
                  <a:pt x="68" y="111"/>
                  <a:pt x="66" y="111"/>
                  <a:pt x="64" y="111"/>
                </a:cubicBezTo>
                <a:cubicBezTo>
                  <a:pt x="46" y="111"/>
                  <a:pt x="46" y="111"/>
                  <a:pt x="46" y="111"/>
                </a:cubicBezTo>
                <a:cubicBezTo>
                  <a:pt x="46" y="111"/>
                  <a:pt x="39" y="110"/>
                  <a:pt x="35" y="108"/>
                </a:cubicBezTo>
                <a:cubicBezTo>
                  <a:pt x="34" y="107"/>
                  <a:pt x="33" y="107"/>
                  <a:pt x="33" y="107"/>
                </a:cubicBezTo>
                <a:cubicBezTo>
                  <a:pt x="33" y="107"/>
                  <a:pt x="33" y="107"/>
                  <a:pt x="34" y="106"/>
                </a:cubicBezTo>
                <a:cubicBezTo>
                  <a:pt x="40" y="97"/>
                  <a:pt x="51" y="78"/>
                  <a:pt x="52" y="59"/>
                </a:cubicBezTo>
                <a:cubicBezTo>
                  <a:pt x="52" y="58"/>
                  <a:pt x="53" y="32"/>
                  <a:pt x="79" y="31"/>
                </a:cubicBezTo>
                <a:cubicBezTo>
                  <a:pt x="94" y="32"/>
                  <a:pt x="102" y="41"/>
                  <a:pt x="105" y="48"/>
                </a:cubicBezTo>
                <a:cubicBezTo>
                  <a:pt x="107" y="52"/>
                  <a:pt x="108" y="57"/>
                  <a:pt x="108" y="62"/>
                </a:cubicBezTo>
                <a:cubicBezTo>
                  <a:pt x="110" y="79"/>
                  <a:pt x="117" y="96"/>
                  <a:pt x="124" y="106"/>
                </a:cubicBezTo>
                <a:cubicBezTo>
                  <a:pt x="124" y="107"/>
                  <a:pt x="124" y="107"/>
                  <a:pt x="124" y="108"/>
                </a:cubicBezTo>
                <a:cubicBezTo>
                  <a:pt x="124" y="109"/>
                  <a:pt x="124" y="109"/>
                  <a:pt x="123" y="109"/>
                </a:cubicBezTo>
                <a:cubicBezTo>
                  <a:pt x="120" y="111"/>
                  <a:pt x="116" y="111"/>
                  <a:pt x="116" y="111"/>
                </a:cubicBezTo>
                <a:cubicBezTo>
                  <a:pt x="97" y="111"/>
                  <a:pt x="97" y="111"/>
                  <a:pt x="97" y="111"/>
                </a:cubicBezTo>
                <a:cubicBezTo>
                  <a:pt x="95" y="111"/>
                  <a:pt x="93" y="112"/>
                  <a:pt x="92" y="114"/>
                </a:cubicBezTo>
                <a:cubicBezTo>
                  <a:pt x="92" y="116"/>
                  <a:pt x="92" y="118"/>
                  <a:pt x="94" y="119"/>
                </a:cubicBezTo>
                <a:cubicBezTo>
                  <a:pt x="96" y="121"/>
                  <a:pt x="97" y="122"/>
                  <a:pt x="97" y="122"/>
                </a:cubicBezTo>
                <a:cubicBezTo>
                  <a:pt x="119" y="135"/>
                  <a:pt x="119" y="135"/>
                  <a:pt x="119" y="135"/>
                </a:cubicBezTo>
                <a:cubicBezTo>
                  <a:pt x="121" y="136"/>
                  <a:pt x="123" y="138"/>
                  <a:pt x="124" y="139"/>
                </a:cubicBezTo>
                <a:cubicBezTo>
                  <a:pt x="111" y="149"/>
                  <a:pt x="96" y="154"/>
                  <a:pt x="80" y="154"/>
                </a:cubicBezTo>
                <a:close/>
                <a:moveTo>
                  <a:pt x="129" y="136"/>
                </a:moveTo>
                <a:cubicBezTo>
                  <a:pt x="127" y="133"/>
                  <a:pt x="125" y="132"/>
                  <a:pt x="122" y="130"/>
                </a:cubicBezTo>
                <a:cubicBezTo>
                  <a:pt x="100" y="117"/>
                  <a:pt x="100" y="117"/>
                  <a:pt x="100" y="117"/>
                </a:cubicBezTo>
                <a:cubicBezTo>
                  <a:pt x="100" y="117"/>
                  <a:pt x="100" y="117"/>
                  <a:pt x="99" y="116"/>
                </a:cubicBezTo>
                <a:cubicBezTo>
                  <a:pt x="115" y="116"/>
                  <a:pt x="115" y="116"/>
                  <a:pt x="115" y="116"/>
                </a:cubicBezTo>
                <a:cubicBezTo>
                  <a:pt x="117" y="117"/>
                  <a:pt x="122" y="117"/>
                  <a:pt x="126" y="114"/>
                </a:cubicBezTo>
                <a:cubicBezTo>
                  <a:pt x="128" y="113"/>
                  <a:pt x="129" y="112"/>
                  <a:pt x="130" y="109"/>
                </a:cubicBezTo>
                <a:cubicBezTo>
                  <a:pt x="130" y="107"/>
                  <a:pt x="130" y="105"/>
                  <a:pt x="129" y="103"/>
                </a:cubicBezTo>
                <a:cubicBezTo>
                  <a:pt x="123" y="93"/>
                  <a:pt x="115" y="78"/>
                  <a:pt x="114" y="62"/>
                </a:cubicBezTo>
                <a:cubicBezTo>
                  <a:pt x="114" y="56"/>
                  <a:pt x="113" y="50"/>
                  <a:pt x="111" y="46"/>
                </a:cubicBezTo>
                <a:cubicBezTo>
                  <a:pt x="106" y="37"/>
                  <a:pt x="98" y="26"/>
                  <a:pt x="79" y="26"/>
                </a:cubicBezTo>
                <a:cubicBezTo>
                  <a:pt x="47" y="26"/>
                  <a:pt x="46" y="58"/>
                  <a:pt x="46" y="59"/>
                </a:cubicBezTo>
                <a:cubicBezTo>
                  <a:pt x="46" y="77"/>
                  <a:pt x="34" y="96"/>
                  <a:pt x="29" y="103"/>
                </a:cubicBezTo>
                <a:cubicBezTo>
                  <a:pt x="28" y="105"/>
                  <a:pt x="27" y="107"/>
                  <a:pt x="28" y="109"/>
                </a:cubicBezTo>
                <a:cubicBezTo>
                  <a:pt x="28" y="111"/>
                  <a:pt x="30" y="112"/>
                  <a:pt x="32" y="113"/>
                </a:cubicBezTo>
                <a:cubicBezTo>
                  <a:pt x="38" y="116"/>
                  <a:pt x="45" y="116"/>
                  <a:pt x="45" y="116"/>
                </a:cubicBezTo>
                <a:cubicBezTo>
                  <a:pt x="63" y="116"/>
                  <a:pt x="63" y="116"/>
                  <a:pt x="63" y="116"/>
                </a:cubicBezTo>
                <a:cubicBezTo>
                  <a:pt x="63" y="117"/>
                  <a:pt x="62" y="119"/>
                  <a:pt x="62" y="119"/>
                </a:cubicBezTo>
                <a:cubicBezTo>
                  <a:pt x="35" y="130"/>
                  <a:pt x="35" y="130"/>
                  <a:pt x="35" y="130"/>
                </a:cubicBezTo>
                <a:cubicBezTo>
                  <a:pt x="35" y="130"/>
                  <a:pt x="35" y="130"/>
                  <a:pt x="35" y="130"/>
                </a:cubicBezTo>
                <a:cubicBezTo>
                  <a:pt x="33" y="131"/>
                  <a:pt x="31" y="133"/>
                  <a:pt x="29" y="134"/>
                </a:cubicBezTo>
                <a:cubicBezTo>
                  <a:pt x="15" y="121"/>
                  <a:pt x="6" y="101"/>
                  <a:pt x="6" y="80"/>
                </a:cubicBezTo>
                <a:cubicBezTo>
                  <a:pt x="6" y="39"/>
                  <a:pt x="39" y="6"/>
                  <a:pt x="80" y="6"/>
                </a:cubicBezTo>
                <a:cubicBezTo>
                  <a:pt x="121" y="6"/>
                  <a:pt x="154" y="39"/>
                  <a:pt x="154" y="80"/>
                </a:cubicBezTo>
                <a:cubicBezTo>
                  <a:pt x="154" y="102"/>
                  <a:pt x="144" y="122"/>
                  <a:pt x="129" y="136"/>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54">
            <a:extLst>
              <a:ext uri="{FF2B5EF4-FFF2-40B4-BE49-F238E27FC236}">
                <a16:creationId xmlns:a16="http://schemas.microsoft.com/office/drawing/2014/main" id="{310EBF60-8BEC-484C-8DD8-0CC895367677}"/>
              </a:ext>
            </a:extLst>
          </p:cNvPr>
          <p:cNvSpPr>
            <a:spLocks noEditPoints="1"/>
          </p:cNvSpPr>
          <p:nvPr/>
        </p:nvSpPr>
        <p:spPr bwMode="auto">
          <a:xfrm>
            <a:off x="5843279" y="3124200"/>
            <a:ext cx="600075" cy="604838"/>
          </a:xfrm>
          <a:custGeom>
            <a:avLst/>
            <a:gdLst>
              <a:gd name="T0" fmla="*/ 80 w 160"/>
              <a:gd name="T1" fmla="*/ 0 h 160"/>
              <a:gd name="T2" fmla="*/ 26 w 160"/>
              <a:gd name="T3" fmla="*/ 139 h 160"/>
              <a:gd name="T4" fmla="*/ 28 w 160"/>
              <a:gd name="T5" fmla="*/ 141 h 160"/>
              <a:gd name="T6" fmla="*/ 33 w 160"/>
              <a:gd name="T7" fmla="*/ 145 h 160"/>
              <a:gd name="T8" fmla="*/ 39 w 160"/>
              <a:gd name="T9" fmla="*/ 149 h 160"/>
              <a:gd name="T10" fmla="*/ 46 w 160"/>
              <a:gd name="T11" fmla="*/ 152 h 160"/>
              <a:gd name="T12" fmla="*/ 66 w 160"/>
              <a:gd name="T13" fmla="*/ 159 h 160"/>
              <a:gd name="T14" fmla="*/ 73 w 160"/>
              <a:gd name="T15" fmla="*/ 160 h 160"/>
              <a:gd name="T16" fmla="*/ 80 w 160"/>
              <a:gd name="T17" fmla="*/ 160 h 160"/>
              <a:gd name="T18" fmla="*/ 87 w 160"/>
              <a:gd name="T19" fmla="*/ 160 h 160"/>
              <a:gd name="T20" fmla="*/ 94 w 160"/>
              <a:gd name="T21" fmla="*/ 159 h 160"/>
              <a:gd name="T22" fmla="*/ 114 w 160"/>
              <a:gd name="T23" fmla="*/ 152 h 160"/>
              <a:gd name="T24" fmla="*/ 120 w 160"/>
              <a:gd name="T25" fmla="*/ 149 h 160"/>
              <a:gd name="T26" fmla="*/ 127 w 160"/>
              <a:gd name="T27" fmla="*/ 145 h 160"/>
              <a:gd name="T28" fmla="*/ 131 w 160"/>
              <a:gd name="T29" fmla="*/ 141 h 160"/>
              <a:gd name="T30" fmla="*/ 134 w 160"/>
              <a:gd name="T31" fmla="*/ 139 h 160"/>
              <a:gd name="T32" fmla="*/ 6 w 160"/>
              <a:gd name="T33" fmla="*/ 80 h 160"/>
              <a:gd name="T34" fmla="*/ 154 w 160"/>
              <a:gd name="T35" fmla="*/ 80 h 160"/>
              <a:gd name="T36" fmla="*/ 127 w 160"/>
              <a:gd name="T37" fmla="*/ 134 h 160"/>
              <a:gd name="T38" fmla="*/ 98 w 160"/>
              <a:gd name="T39" fmla="*/ 116 h 160"/>
              <a:gd name="T40" fmla="*/ 100 w 160"/>
              <a:gd name="T41" fmla="*/ 105 h 160"/>
              <a:gd name="T42" fmla="*/ 114 w 160"/>
              <a:gd name="T43" fmla="*/ 80 h 160"/>
              <a:gd name="T44" fmla="*/ 111 w 160"/>
              <a:gd name="T45" fmla="*/ 63 h 160"/>
              <a:gd name="T46" fmla="*/ 106 w 160"/>
              <a:gd name="T47" fmla="*/ 32 h 160"/>
              <a:gd name="T48" fmla="*/ 54 w 160"/>
              <a:gd name="T49" fmla="*/ 32 h 160"/>
              <a:gd name="T50" fmla="*/ 49 w 160"/>
              <a:gd name="T51" fmla="*/ 63 h 160"/>
              <a:gd name="T52" fmla="*/ 46 w 160"/>
              <a:gd name="T53" fmla="*/ 80 h 160"/>
              <a:gd name="T54" fmla="*/ 59 w 160"/>
              <a:gd name="T55" fmla="*/ 107 h 160"/>
              <a:gd name="T56" fmla="*/ 56 w 160"/>
              <a:gd name="T57" fmla="*/ 121 h 160"/>
              <a:gd name="T58" fmla="*/ 30 w 160"/>
              <a:gd name="T59" fmla="*/ 135 h 160"/>
              <a:gd name="T60" fmla="*/ 124 w 160"/>
              <a:gd name="T61" fmla="*/ 140 h 160"/>
              <a:gd name="T62" fmla="*/ 119 w 160"/>
              <a:gd name="T63" fmla="*/ 143 h 160"/>
              <a:gd name="T64" fmla="*/ 114 w 160"/>
              <a:gd name="T65" fmla="*/ 146 h 160"/>
              <a:gd name="T66" fmla="*/ 103 w 160"/>
              <a:gd name="T67" fmla="*/ 150 h 160"/>
              <a:gd name="T68" fmla="*/ 98 w 160"/>
              <a:gd name="T69" fmla="*/ 152 h 160"/>
              <a:gd name="T70" fmla="*/ 92 w 160"/>
              <a:gd name="T71" fmla="*/ 153 h 160"/>
              <a:gd name="T72" fmla="*/ 85 w 160"/>
              <a:gd name="T73" fmla="*/ 154 h 160"/>
              <a:gd name="T74" fmla="*/ 74 w 160"/>
              <a:gd name="T75" fmla="*/ 154 h 160"/>
              <a:gd name="T76" fmla="*/ 68 w 160"/>
              <a:gd name="T77" fmla="*/ 153 h 160"/>
              <a:gd name="T78" fmla="*/ 56 w 160"/>
              <a:gd name="T79" fmla="*/ 150 h 160"/>
              <a:gd name="T80" fmla="*/ 51 w 160"/>
              <a:gd name="T81" fmla="*/ 148 h 160"/>
              <a:gd name="T82" fmla="*/ 46 w 160"/>
              <a:gd name="T83" fmla="*/ 146 h 160"/>
              <a:gd name="T84" fmla="*/ 41 w 160"/>
              <a:gd name="T85" fmla="*/ 143 h 160"/>
              <a:gd name="T86" fmla="*/ 36 w 160"/>
              <a:gd name="T87" fmla="*/ 139 h 160"/>
              <a:gd name="T88" fmla="*/ 35 w 160"/>
              <a:gd name="T89" fmla="*/ 139 h 160"/>
              <a:gd name="T90" fmla="*/ 65 w 160"/>
              <a:gd name="T91" fmla="*/ 116 h 160"/>
              <a:gd name="T92" fmla="*/ 64 w 160"/>
              <a:gd name="T93" fmla="*/ 104 h 160"/>
              <a:gd name="T94" fmla="*/ 55 w 160"/>
              <a:gd name="T95" fmla="*/ 85 h 160"/>
              <a:gd name="T96" fmla="*/ 52 w 160"/>
              <a:gd name="T97" fmla="*/ 80 h 160"/>
              <a:gd name="T98" fmla="*/ 54 w 160"/>
              <a:gd name="T99" fmla="*/ 66 h 160"/>
              <a:gd name="T100" fmla="*/ 55 w 160"/>
              <a:gd name="T101" fmla="*/ 49 h 160"/>
              <a:gd name="T102" fmla="*/ 59 w 160"/>
              <a:gd name="T103" fmla="*/ 36 h 160"/>
              <a:gd name="T104" fmla="*/ 101 w 160"/>
              <a:gd name="T105" fmla="*/ 36 h 160"/>
              <a:gd name="T106" fmla="*/ 105 w 160"/>
              <a:gd name="T107" fmla="*/ 66 h 160"/>
              <a:gd name="T108" fmla="*/ 108 w 160"/>
              <a:gd name="T109" fmla="*/ 70 h 160"/>
              <a:gd name="T110" fmla="*/ 105 w 160"/>
              <a:gd name="T111" fmla="*/ 85 h 160"/>
              <a:gd name="T112" fmla="*/ 103 w 160"/>
              <a:gd name="T113" fmla="*/ 87 h 160"/>
              <a:gd name="T114" fmla="*/ 93 w 160"/>
              <a:gd name="T115" fmla="*/ 104 h 160"/>
              <a:gd name="T116" fmla="*/ 93 w 160"/>
              <a:gd name="T117" fmla="*/ 116 h 160"/>
              <a:gd name="T118" fmla="*/ 124 w 160"/>
              <a:gd name="T119" fmla="*/ 139 h 160"/>
              <a:gd name="T120" fmla="*/ 124 w 160"/>
              <a:gd name="T121" fmla="*/ 14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60">
                <a:moveTo>
                  <a:pt x="160" y="80"/>
                </a:moveTo>
                <a:cubicBezTo>
                  <a:pt x="160" y="36"/>
                  <a:pt x="124" y="0"/>
                  <a:pt x="80" y="0"/>
                </a:cubicBezTo>
                <a:cubicBezTo>
                  <a:pt x="36" y="0"/>
                  <a:pt x="0" y="36"/>
                  <a:pt x="0" y="80"/>
                </a:cubicBezTo>
                <a:cubicBezTo>
                  <a:pt x="0" y="103"/>
                  <a:pt x="10" y="124"/>
                  <a:pt x="26" y="139"/>
                </a:cubicBezTo>
                <a:cubicBezTo>
                  <a:pt x="26" y="139"/>
                  <a:pt x="26" y="139"/>
                  <a:pt x="26" y="139"/>
                </a:cubicBezTo>
                <a:cubicBezTo>
                  <a:pt x="28" y="141"/>
                  <a:pt x="28" y="141"/>
                  <a:pt x="28" y="141"/>
                </a:cubicBezTo>
                <a:cubicBezTo>
                  <a:pt x="29" y="141"/>
                  <a:pt x="29" y="141"/>
                  <a:pt x="29" y="142"/>
                </a:cubicBezTo>
                <a:cubicBezTo>
                  <a:pt x="30" y="143"/>
                  <a:pt x="32" y="144"/>
                  <a:pt x="33" y="145"/>
                </a:cubicBezTo>
                <a:cubicBezTo>
                  <a:pt x="34" y="145"/>
                  <a:pt x="34" y="146"/>
                  <a:pt x="35" y="146"/>
                </a:cubicBezTo>
                <a:cubicBezTo>
                  <a:pt x="36" y="147"/>
                  <a:pt x="38" y="148"/>
                  <a:pt x="39" y="149"/>
                </a:cubicBezTo>
                <a:cubicBezTo>
                  <a:pt x="40" y="149"/>
                  <a:pt x="40" y="149"/>
                  <a:pt x="41" y="150"/>
                </a:cubicBezTo>
                <a:cubicBezTo>
                  <a:pt x="42" y="151"/>
                  <a:pt x="44" y="152"/>
                  <a:pt x="46" y="152"/>
                </a:cubicBezTo>
                <a:cubicBezTo>
                  <a:pt x="46" y="152"/>
                  <a:pt x="46" y="153"/>
                  <a:pt x="46" y="153"/>
                </a:cubicBezTo>
                <a:cubicBezTo>
                  <a:pt x="52" y="155"/>
                  <a:pt x="59" y="157"/>
                  <a:pt x="66" y="159"/>
                </a:cubicBezTo>
                <a:cubicBezTo>
                  <a:pt x="66" y="159"/>
                  <a:pt x="66" y="159"/>
                  <a:pt x="66" y="159"/>
                </a:cubicBezTo>
                <a:cubicBezTo>
                  <a:pt x="68" y="159"/>
                  <a:pt x="71" y="159"/>
                  <a:pt x="73" y="160"/>
                </a:cubicBezTo>
                <a:cubicBezTo>
                  <a:pt x="73" y="160"/>
                  <a:pt x="73" y="160"/>
                  <a:pt x="73" y="160"/>
                </a:cubicBezTo>
                <a:cubicBezTo>
                  <a:pt x="76" y="160"/>
                  <a:pt x="78" y="160"/>
                  <a:pt x="80" y="160"/>
                </a:cubicBezTo>
                <a:cubicBezTo>
                  <a:pt x="82" y="160"/>
                  <a:pt x="84" y="160"/>
                  <a:pt x="86" y="160"/>
                </a:cubicBezTo>
                <a:cubicBezTo>
                  <a:pt x="87" y="160"/>
                  <a:pt x="87" y="160"/>
                  <a:pt x="87" y="160"/>
                </a:cubicBezTo>
                <a:cubicBezTo>
                  <a:pt x="89" y="159"/>
                  <a:pt x="92" y="159"/>
                  <a:pt x="94" y="159"/>
                </a:cubicBezTo>
                <a:cubicBezTo>
                  <a:pt x="94" y="159"/>
                  <a:pt x="94" y="159"/>
                  <a:pt x="94" y="159"/>
                </a:cubicBezTo>
                <a:cubicBezTo>
                  <a:pt x="101" y="158"/>
                  <a:pt x="107" y="155"/>
                  <a:pt x="113" y="153"/>
                </a:cubicBezTo>
                <a:cubicBezTo>
                  <a:pt x="113" y="153"/>
                  <a:pt x="114" y="153"/>
                  <a:pt x="114" y="152"/>
                </a:cubicBezTo>
                <a:cubicBezTo>
                  <a:pt x="116" y="152"/>
                  <a:pt x="117" y="151"/>
                  <a:pt x="119" y="150"/>
                </a:cubicBezTo>
                <a:cubicBezTo>
                  <a:pt x="120" y="149"/>
                  <a:pt x="120" y="149"/>
                  <a:pt x="120" y="149"/>
                </a:cubicBezTo>
                <a:cubicBezTo>
                  <a:pt x="122" y="148"/>
                  <a:pt x="124" y="147"/>
                  <a:pt x="125" y="146"/>
                </a:cubicBezTo>
                <a:cubicBezTo>
                  <a:pt x="126" y="146"/>
                  <a:pt x="126" y="145"/>
                  <a:pt x="127" y="145"/>
                </a:cubicBezTo>
                <a:cubicBezTo>
                  <a:pt x="128" y="144"/>
                  <a:pt x="129" y="143"/>
                  <a:pt x="130" y="142"/>
                </a:cubicBezTo>
                <a:cubicBezTo>
                  <a:pt x="131" y="142"/>
                  <a:pt x="131" y="142"/>
                  <a:pt x="131" y="141"/>
                </a:cubicBezTo>
                <a:cubicBezTo>
                  <a:pt x="134" y="139"/>
                  <a:pt x="134" y="139"/>
                  <a:pt x="134" y="139"/>
                </a:cubicBezTo>
                <a:cubicBezTo>
                  <a:pt x="134" y="139"/>
                  <a:pt x="134" y="139"/>
                  <a:pt x="134" y="139"/>
                </a:cubicBezTo>
                <a:cubicBezTo>
                  <a:pt x="150" y="125"/>
                  <a:pt x="160" y="103"/>
                  <a:pt x="160" y="80"/>
                </a:cubicBezTo>
                <a:close/>
                <a:moveTo>
                  <a:pt x="6" y="80"/>
                </a:moveTo>
                <a:cubicBezTo>
                  <a:pt x="6" y="39"/>
                  <a:pt x="39" y="6"/>
                  <a:pt x="80" y="6"/>
                </a:cubicBezTo>
                <a:cubicBezTo>
                  <a:pt x="121" y="6"/>
                  <a:pt x="154" y="39"/>
                  <a:pt x="154" y="80"/>
                </a:cubicBezTo>
                <a:cubicBezTo>
                  <a:pt x="154" y="102"/>
                  <a:pt x="145" y="122"/>
                  <a:pt x="129" y="135"/>
                </a:cubicBezTo>
                <a:cubicBezTo>
                  <a:pt x="128" y="135"/>
                  <a:pt x="127" y="134"/>
                  <a:pt x="127" y="134"/>
                </a:cubicBezTo>
                <a:cubicBezTo>
                  <a:pt x="102" y="122"/>
                  <a:pt x="102" y="122"/>
                  <a:pt x="102" y="122"/>
                </a:cubicBezTo>
                <a:cubicBezTo>
                  <a:pt x="100" y="120"/>
                  <a:pt x="98" y="118"/>
                  <a:pt x="98" y="116"/>
                </a:cubicBezTo>
                <a:cubicBezTo>
                  <a:pt x="98" y="107"/>
                  <a:pt x="98" y="107"/>
                  <a:pt x="98" y="107"/>
                </a:cubicBezTo>
                <a:cubicBezTo>
                  <a:pt x="99" y="106"/>
                  <a:pt x="100" y="106"/>
                  <a:pt x="100" y="105"/>
                </a:cubicBezTo>
                <a:cubicBezTo>
                  <a:pt x="103" y="100"/>
                  <a:pt x="106" y="95"/>
                  <a:pt x="108" y="90"/>
                </a:cubicBezTo>
                <a:cubicBezTo>
                  <a:pt x="111" y="88"/>
                  <a:pt x="114" y="84"/>
                  <a:pt x="114" y="80"/>
                </a:cubicBezTo>
                <a:cubicBezTo>
                  <a:pt x="114" y="70"/>
                  <a:pt x="114" y="70"/>
                  <a:pt x="114" y="70"/>
                </a:cubicBezTo>
                <a:cubicBezTo>
                  <a:pt x="114" y="67"/>
                  <a:pt x="113" y="65"/>
                  <a:pt x="111" y="63"/>
                </a:cubicBezTo>
                <a:cubicBezTo>
                  <a:pt x="111" y="50"/>
                  <a:pt x="111" y="50"/>
                  <a:pt x="111" y="50"/>
                </a:cubicBezTo>
                <a:cubicBezTo>
                  <a:pt x="111" y="48"/>
                  <a:pt x="112" y="40"/>
                  <a:pt x="106" y="32"/>
                </a:cubicBezTo>
                <a:cubicBezTo>
                  <a:pt x="100" y="26"/>
                  <a:pt x="92" y="23"/>
                  <a:pt x="80" y="23"/>
                </a:cubicBezTo>
                <a:cubicBezTo>
                  <a:pt x="68" y="23"/>
                  <a:pt x="60" y="26"/>
                  <a:pt x="54" y="32"/>
                </a:cubicBezTo>
                <a:cubicBezTo>
                  <a:pt x="48" y="40"/>
                  <a:pt x="49" y="48"/>
                  <a:pt x="49" y="50"/>
                </a:cubicBezTo>
                <a:cubicBezTo>
                  <a:pt x="49" y="63"/>
                  <a:pt x="49" y="63"/>
                  <a:pt x="49" y="63"/>
                </a:cubicBezTo>
                <a:cubicBezTo>
                  <a:pt x="47" y="65"/>
                  <a:pt x="46" y="67"/>
                  <a:pt x="46" y="70"/>
                </a:cubicBezTo>
                <a:cubicBezTo>
                  <a:pt x="46" y="80"/>
                  <a:pt x="46" y="80"/>
                  <a:pt x="46" y="80"/>
                </a:cubicBezTo>
                <a:cubicBezTo>
                  <a:pt x="46" y="84"/>
                  <a:pt x="48" y="87"/>
                  <a:pt x="50" y="89"/>
                </a:cubicBezTo>
                <a:cubicBezTo>
                  <a:pt x="52" y="98"/>
                  <a:pt x="57" y="105"/>
                  <a:pt x="59" y="107"/>
                </a:cubicBezTo>
                <a:cubicBezTo>
                  <a:pt x="59" y="116"/>
                  <a:pt x="59" y="116"/>
                  <a:pt x="59" y="116"/>
                </a:cubicBezTo>
                <a:cubicBezTo>
                  <a:pt x="59" y="118"/>
                  <a:pt x="58" y="120"/>
                  <a:pt x="56" y="121"/>
                </a:cubicBezTo>
                <a:cubicBezTo>
                  <a:pt x="33" y="134"/>
                  <a:pt x="33" y="134"/>
                  <a:pt x="33" y="134"/>
                </a:cubicBezTo>
                <a:cubicBezTo>
                  <a:pt x="32" y="134"/>
                  <a:pt x="31" y="135"/>
                  <a:pt x="30" y="135"/>
                </a:cubicBezTo>
                <a:cubicBezTo>
                  <a:pt x="15" y="122"/>
                  <a:pt x="6" y="102"/>
                  <a:pt x="6" y="80"/>
                </a:cubicBezTo>
                <a:close/>
                <a:moveTo>
                  <a:pt x="124" y="140"/>
                </a:moveTo>
                <a:cubicBezTo>
                  <a:pt x="123" y="141"/>
                  <a:pt x="121" y="141"/>
                  <a:pt x="120" y="142"/>
                </a:cubicBezTo>
                <a:cubicBezTo>
                  <a:pt x="120" y="142"/>
                  <a:pt x="119" y="143"/>
                  <a:pt x="119" y="143"/>
                </a:cubicBezTo>
                <a:cubicBezTo>
                  <a:pt x="118" y="144"/>
                  <a:pt x="116" y="145"/>
                  <a:pt x="115" y="146"/>
                </a:cubicBezTo>
                <a:cubicBezTo>
                  <a:pt x="114" y="146"/>
                  <a:pt x="114" y="146"/>
                  <a:pt x="114" y="146"/>
                </a:cubicBezTo>
                <a:cubicBezTo>
                  <a:pt x="111" y="148"/>
                  <a:pt x="107" y="149"/>
                  <a:pt x="104" y="150"/>
                </a:cubicBezTo>
                <a:cubicBezTo>
                  <a:pt x="104" y="150"/>
                  <a:pt x="103" y="150"/>
                  <a:pt x="103" y="150"/>
                </a:cubicBezTo>
                <a:cubicBezTo>
                  <a:pt x="101" y="151"/>
                  <a:pt x="100" y="152"/>
                  <a:pt x="98" y="152"/>
                </a:cubicBezTo>
                <a:cubicBezTo>
                  <a:pt x="98" y="152"/>
                  <a:pt x="98" y="152"/>
                  <a:pt x="98" y="152"/>
                </a:cubicBezTo>
                <a:cubicBezTo>
                  <a:pt x="96" y="152"/>
                  <a:pt x="94" y="153"/>
                  <a:pt x="92" y="153"/>
                </a:cubicBezTo>
                <a:cubicBezTo>
                  <a:pt x="92" y="153"/>
                  <a:pt x="92" y="153"/>
                  <a:pt x="92" y="153"/>
                </a:cubicBezTo>
                <a:cubicBezTo>
                  <a:pt x="90" y="154"/>
                  <a:pt x="88" y="154"/>
                  <a:pt x="86" y="154"/>
                </a:cubicBezTo>
                <a:cubicBezTo>
                  <a:pt x="86" y="154"/>
                  <a:pt x="86" y="154"/>
                  <a:pt x="85" y="154"/>
                </a:cubicBezTo>
                <a:cubicBezTo>
                  <a:pt x="84" y="154"/>
                  <a:pt x="82" y="154"/>
                  <a:pt x="80" y="154"/>
                </a:cubicBezTo>
                <a:cubicBezTo>
                  <a:pt x="78" y="154"/>
                  <a:pt x="76" y="154"/>
                  <a:pt x="74" y="154"/>
                </a:cubicBezTo>
                <a:cubicBezTo>
                  <a:pt x="74" y="154"/>
                  <a:pt x="74" y="154"/>
                  <a:pt x="74" y="154"/>
                </a:cubicBezTo>
                <a:cubicBezTo>
                  <a:pt x="72" y="154"/>
                  <a:pt x="70" y="154"/>
                  <a:pt x="68" y="153"/>
                </a:cubicBezTo>
                <a:cubicBezTo>
                  <a:pt x="68" y="153"/>
                  <a:pt x="68" y="153"/>
                  <a:pt x="68" y="153"/>
                </a:cubicBezTo>
                <a:cubicBezTo>
                  <a:pt x="64" y="153"/>
                  <a:pt x="60" y="152"/>
                  <a:pt x="56" y="150"/>
                </a:cubicBezTo>
                <a:cubicBezTo>
                  <a:pt x="56" y="150"/>
                  <a:pt x="56" y="150"/>
                  <a:pt x="56" y="150"/>
                </a:cubicBezTo>
                <a:cubicBezTo>
                  <a:pt x="54" y="150"/>
                  <a:pt x="52" y="149"/>
                  <a:pt x="51" y="148"/>
                </a:cubicBezTo>
                <a:cubicBezTo>
                  <a:pt x="51" y="148"/>
                  <a:pt x="51" y="148"/>
                  <a:pt x="51" y="148"/>
                </a:cubicBezTo>
                <a:cubicBezTo>
                  <a:pt x="49" y="147"/>
                  <a:pt x="47" y="147"/>
                  <a:pt x="46" y="146"/>
                </a:cubicBezTo>
                <a:cubicBezTo>
                  <a:pt x="46" y="146"/>
                  <a:pt x="45" y="146"/>
                  <a:pt x="45" y="145"/>
                </a:cubicBezTo>
                <a:cubicBezTo>
                  <a:pt x="44" y="145"/>
                  <a:pt x="42" y="144"/>
                  <a:pt x="41" y="143"/>
                </a:cubicBezTo>
                <a:cubicBezTo>
                  <a:pt x="40" y="143"/>
                  <a:pt x="40" y="142"/>
                  <a:pt x="39" y="142"/>
                </a:cubicBezTo>
                <a:cubicBezTo>
                  <a:pt x="38" y="141"/>
                  <a:pt x="37" y="140"/>
                  <a:pt x="36" y="139"/>
                </a:cubicBezTo>
                <a:cubicBezTo>
                  <a:pt x="35" y="139"/>
                  <a:pt x="35" y="139"/>
                  <a:pt x="35" y="139"/>
                </a:cubicBezTo>
                <a:cubicBezTo>
                  <a:pt x="35" y="139"/>
                  <a:pt x="35" y="139"/>
                  <a:pt x="35" y="139"/>
                </a:cubicBezTo>
                <a:cubicBezTo>
                  <a:pt x="58" y="126"/>
                  <a:pt x="58" y="126"/>
                  <a:pt x="58" y="126"/>
                </a:cubicBezTo>
                <a:cubicBezTo>
                  <a:pt x="62" y="124"/>
                  <a:pt x="65" y="120"/>
                  <a:pt x="65" y="116"/>
                </a:cubicBezTo>
                <a:cubicBezTo>
                  <a:pt x="65" y="105"/>
                  <a:pt x="65" y="105"/>
                  <a:pt x="65" y="105"/>
                </a:cubicBezTo>
                <a:cubicBezTo>
                  <a:pt x="64" y="104"/>
                  <a:pt x="64" y="104"/>
                  <a:pt x="64" y="104"/>
                </a:cubicBezTo>
                <a:cubicBezTo>
                  <a:pt x="64" y="104"/>
                  <a:pt x="58" y="97"/>
                  <a:pt x="55" y="86"/>
                </a:cubicBezTo>
                <a:cubicBezTo>
                  <a:pt x="55" y="85"/>
                  <a:pt x="55" y="85"/>
                  <a:pt x="55" y="85"/>
                </a:cubicBezTo>
                <a:cubicBezTo>
                  <a:pt x="54" y="84"/>
                  <a:pt x="54" y="84"/>
                  <a:pt x="54" y="84"/>
                </a:cubicBezTo>
                <a:cubicBezTo>
                  <a:pt x="53" y="83"/>
                  <a:pt x="52" y="82"/>
                  <a:pt x="52" y="80"/>
                </a:cubicBezTo>
                <a:cubicBezTo>
                  <a:pt x="52" y="70"/>
                  <a:pt x="52" y="70"/>
                  <a:pt x="52" y="70"/>
                </a:cubicBezTo>
                <a:cubicBezTo>
                  <a:pt x="52" y="69"/>
                  <a:pt x="53" y="67"/>
                  <a:pt x="54" y="66"/>
                </a:cubicBezTo>
                <a:cubicBezTo>
                  <a:pt x="55" y="66"/>
                  <a:pt x="55" y="66"/>
                  <a:pt x="55" y="66"/>
                </a:cubicBezTo>
                <a:cubicBezTo>
                  <a:pt x="55" y="49"/>
                  <a:pt x="55" y="49"/>
                  <a:pt x="55" y="49"/>
                </a:cubicBezTo>
                <a:cubicBezTo>
                  <a:pt x="55" y="49"/>
                  <a:pt x="55" y="49"/>
                  <a:pt x="55" y="49"/>
                </a:cubicBezTo>
                <a:cubicBezTo>
                  <a:pt x="55" y="49"/>
                  <a:pt x="54" y="42"/>
                  <a:pt x="59" y="36"/>
                </a:cubicBezTo>
                <a:cubicBezTo>
                  <a:pt x="63" y="32"/>
                  <a:pt x="70" y="29"/>
                  <a:pt x="80" y="29"/>
                </a:cubicBezTo>
                <a:cubicBezTo>
                  <a:pt x="90" y="29"/>
                  <a:pt x="97" y="32"/>
                  <a:pt x="101" y="36"/>
                </a:cubicBezTo>
                <a:cubicBezTo>
                  <a:pt x="106" y="42"/>
                  <a:pt x="105" y="49"/>
                  <a:pt x="105" y="49"/>
                </a:cubicBezTo>
                <a:cubicBezTo>
                  <a:pt x="105" y="66"/>
                  <a:pt x="105" y="66"/>
                  <a:pt x="105" y="66"/>
                </a:cubicBezTo>
                <a:cubicBezTo>
                  <a:pt x="106" y="66"/>
                  <a:pt x="106" y="66"/>
                  <a:pt x="106" y="66"/>
                </a:cubicBezTo>
                <a:cubicBezTo>
                  <a:pt x="107" y="67"/>
                  <a:pt x="108" y="69"/>
                  <a:pt x="108" y="70"/>
                </a:cubicBezTo>
                <a:cubicBezTo>
                  <a:pt x="108" y="80"/>
                  <a:pt x="108" y="80"/>
                  <a:pt x="108" y="80"/>
                </a:cubicBezTo>
                <a:cubicBezTo>
                  <a:pt x="108" y="82"/>
                  <a:pt x="107" y="84"/>
                  <a:pt x="105" y="85"/>
                </a:cubicBezTo>
                <a:cubicBezTo>
                  <a:pt x="103" y="85"/>
                  <a:pt x="103" y="85"/>
                  <a:pt x="103" y="85"/>
                </a:cubicBezTo>
                <a:cubicBezTo>
                  <a:pt x="103" y="87"/>
                  <a:pt x="103" y="87"/>
                  <a:pt x="103" y="87"/>
                </a:cubicBezTo>
                <a:cubicBezTo>
                  <a:pt x="101" y="92"/>
                  <a:pt x="99" y="97"/>
                  <a:pt x="95" y="101"/>
                </a:cubicBezTo>
                <a:cubicBezTo>
                  <a:pt x="95" y="103"/>
                  <a:pt x="94" y="103"/>
                  <a:pt x="93" y="104"/>
                </a:cubicBezTo>
                <a:cubicBezTo>
                  <a:pt x="93" y="105"/>
                  <a:pt x="93" y="105"/>
                  <a:pt x="93" y="105"/>
                </a:cubicBezTo>
                <a:cubicBezTo>
                  <a:pt x="93" y="116"/>
                  <a:pt x="93" y="116"/>
                  <a:pt x="93" y="116"/>
                </a:cubicBezTo>
                <a:cubicBezTo>
                  <a:pt x="93" y="120"/>
                  <a:pt x="95" y="125"/>
                  <a:pt x="99" y="127"/>
                </a:cubicBezTo>
                <a:cubicBezTo>
                  <a:pt x="124" y="139"/>
                  <a:pt x="124" y="139"/>
                  <a:pt x="124" y="139"/>
                </a:cubicBezTo>
                <a:cubicBezTo>
                  <a:pt x="124" y="139"/>
                  <a:pt x="124" y="139"/>
                  <a:pt x="124" y="139"/>
                </a:cubicBezTo>
                <a:cubicBezTo>
                  <a:pt x="124" y="140"/>
                  <a:pt x="124" y="140"/>
                  <a:pt x="124" y="140"/>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55">
            <a:extLst>
              <a:ext uri="{FF2B5EF4-FFF2-40B4-BE49-F238E27FC236}">
                <a16:creationId xmlns:a16="http://schemas.microsoft.com/office/drawing/2014/main" id="{24616DAC-7B9B-044F-A558-D7F25F5AB4A1}"/>
              </a:ext>
            </a:extLst>
          </p:cNvPr>
          <p:cNvSpPr>
            <a:spLocks noEditPoints="1"/>
          </p:cNvSpPr>
          <p:nvPr/>
        </p:nvSpPr>
        <p:spPr bwMode="auto">
          <a:xfrm>
            <a:off x="5843279" y="3805238"/>
            <a:ext cx="600075" cy="606425"/>
          </a:xfrm>
          <a:custGeom>
            <a:avLst/>
            <a:gdLst>
              <a:gd name="T0" fmla="*/ 0 w 160"/>
              <a:gd name="T1" fmla="*/ 80 h 160"/>
              <a:gd name="T2" fmla="*/ 14 w 160"/>
              <a:gd name="T3" fmla="*/ 125 h 160"/>
              <a:gd name="T4" fmla="*/ 18 w 160"/>
              <a:gd name="T5" fmla="*/ 131 h 160"/>
              <a:gd name="T6" fmla="*/ 29 w 160"/>
              <a:gd name="T7" fmla="*/ 142 h 160"/>
              <a:gd name="T8" fmla="*/ 35 w 160"/>
              <a:gd name="T9" fmla="*/ 146 h 160"/>
              <a:gd name="T10" fmla="*/ 42 w 160"/>
              <a:gd name="T11" fmla="*/ 151 h 160"/>
              <a:gd name="T12" fmla="*/ 48 w 160"/>
              <a:gd name="T13" fmla="*/ 153 h 160"/>
              <a:gd name="T14" fmla="*/ 61 w 160"/>
              <a:gd name="T15" fmla="*/ 158 h 160"/>
              <a:gd name="T16" fmla="*/ 66 w 160"/>
              <a:gd name="T17" fmla="*/ 159 h 160"/>
              <a:gd name="T18" fmla="*/ 74 w 160"/>
              <a:gd name="T19" fmla="*/ 160 h 160"/>
              <a:gd name="T20" fmla="*/ 85 w 160"/>
              <a:gd name="T21" fmla="*/ 160 h 160"/>
              <a:gd name="T22" fmla="*/ 91 w 160"/>
              <a:gd name="T23" fmla="*/ 159 h 160"/>
              <a:gd name="T24" fmla="*/ 99 w 160"/>
              <a:gd name="T25" fmla="*/ 158 h 160"/>
              <a:gd name="T26" fmla="*/ 109 w 160"/>
              <a:gd name="T27" fmla="*/ 154 h 160"/>
              <a:gd name="T28" fmla="*/ 116 w 160"/>
              <a:gd name="T29" fmla="*/ 151 h 160"/>
              <a:gd name="T30" fmla="*/ 124 w 160"/>
              <a:gd name="T31" fmla="*/ 147 h 160"/>
              <a:gd name="T32" fmla="*/ 128 w 160"/>
              <a:gd name="T33" fmla="*/ 144 h 160"/>
              <a:gd name="T34" fmla="*/ 141 w 160"/>
              <a:gd name="T35" fmla="*/ 131 h 160"/>
              <a:gd name="T36" fmla="*/ 145 w 160"/>
              <a:gd name="T37" fmla="*/ 127 h 160"/>
              <a:gd name="T38" fmla="*/ 147 w 160"/>
              <a:gd name="T39" fmla="*/ 124 h 160"/>
              <a:gd name="T40" fmla="*/ 145 w 160"/>
              <a:gd name="T41" fmla="*/ 117 h 160"/>
              <a:gd name="T42" fmla="*/ 94 w 160"/>
              <a:gd name="T43" fmla="*/ 91 h 160"/>
              <a:gd name="T44" fmla="*/ 94 w 160"/>
              <a:gd name="T45" fmla="*/ 87 h 160"/>
              <a:gd name="T46" fmla="*/ 155 w 160"/>
              <a:gd name="T47" fmla="*/ 80 h 160"/>
              <a:gd name="T48" fmla="*/ 138 w 160"/>
              <a:gd name="T49" fmla="*/ 127 h 160"/>
              <a:gd name="T50" fmla="*/ 130 w 160"/>
              <a:gd name="T51" fmla="*/ 135 h 160"/>
              <a:gd name="T52" fmla="*/ 125 w 160"/>
              <a:gd name="T53" fmla="*/ 140 h 160"/>
              <a:gd name="T54" fmla="*/ 123 w 160"/>
              <a:gd name="T55" fmla="*/ 128 h 160"/>
              <a:gd name="T56" fmla="*/ 117 w 160"/>
              <a:gd name="T57" fmla="*/ 145 h 160"/>
              <a:gd name="T58" fmla="*/ 111 w 160"/>
              <a:gd name="T59" fmla="*/ 148 h 160"/>
              <a:gd name="T60" fmla="*/ 106 w 160"/>
              <a:gd name="T61" fmla="*/ 150 h 160"/>
              <a:gd name="T62" fmla="*/ 94 w 160"/>
              <a:gd name="T63" fmla="*/ 153 h 160"/>
              <a:gd name="T64" fmla="*/ 89 w 160"/>
              <a:gd name="T65" fmla="*/ 154 h 160"/>
              <a:gd name="T66" fmla="*/ 80 w 160"/>
              <a:gd name="T67" fmla="*/ 155 h 160"/>
              <a:gd name="T68" fmla="*/ 71 w 160"/>
              <a:gd name="T69" fmla="*/ 154 h 160"/>
              <a:gd name="T70" fmla="*/ 66 w 160"/>
              <a:gd name="T71" fmla="*/ 153 h 160"/>
              <a:gd name="T72" fmla="*/ 54 w 160"/>
              <a:gd name="T73" fmla="*/ 150 h 160"/>
              <a:gd name="T74" fmla="*/ 49 w 160"/>
              <a:gd name="T75" fmla="*/ 148 h 160"/>
              <a:gd name="T76" fmla="*/ 43 w 160"/>
              <a:gd name="T77" fmla="*/ 145 h 160"/>
              <a:gd name="T78" fmla="*/ 37 w 160"/>
              <a:gd name="T79" fmla="*/ 128 h 160"/>
              <a:gd name="T80" fmla="*/ 35 w 160"/>
              <a:gd name="T81" fmla="*/ 140 h 160"/>
              <a:gd name="T82" fmla="*/ 30 w 160"/>
              <a:gd name="T83" fmla="*/ 135 h 160"/>
              <a:gd name="T84" fmla="*/ 22 w 160"/>
              <a:gd name="T85" fmla="*/ 127 h 160"/>
              <a:gd name="T86" fmla="*/ 19 w 160"/>
              <a:gd name="T87" fmla="*/ 123 h 160"/>
              <a:gd name="T88" fmla="*/ 80 w 160"/>
              <a:gd name="T89" fmla="*/ 118 h 160"/>
              <a:gd name="T90" fmla="*/ 141 w 160"/>
              <a:gd name="T91" fmla="*/ 123 h 160"/>
              <a:gd name="T92" fmla="*/ 45 w 160"/>
              <a:gd name="T93" fmla="*/ 40 h 160"/>
              <a:gd name="T94" fmla="*/ 66 w 160"/>
              <a:gd name="T95" fmla="*/ 33 h 160"/>
              <a:gd name="T96" fmla="*/ 115 w 160"/>
              <a:gd name="T97" fmla="*/ 38 h 160"/>
              <a:gd name="T98" fmla="*/ 88 w 160"/>
              <a:gd name="T99" fmla="*/ 90 h 160"/>
              <a:gd name="T100" fmla="*/ 80 w 160"/>
              <a:gd name="T101" fmla="*/ 111 h 160"/>
              <a:gd name="T102" fmla="*/ 72 w 160"/>
              <a:gd name="T103" fmla="*/ 90 h 160"/>
              <a:gd name="T104" fmla="*/ 80 w 160"/>
              <a:gd name="T105" fmla="*/ 5 h 160"/>
              <a:gd name="T106" fmla="*/ 113 w 160"/>
              <a:gd name="T107" fmla="*/ 28 h 160"/>
              <a:gd name="T108" fmla="*/ 90 w 160"/>
              <a:gd name="T109" fmla="*/ 19 h 160"/>
              <a:gd name="T110" fmla="*/ 47 w 160"/>
              <a:gd name="T111" fmla="*/ 30 h 160"/>
              <a:gd name="T112" fmla="*/ 53 w 160"/>
              <a:gd name="T113" fmla="*/ 10 h 160"/>
              <a:gd name="T114" fmla="*/ 66 w 160"/>
              <a:gd name="T115" fmla="*/ 87 h 160"/>
              <a:gd name="T116" fmla="*/ 66 w 160"/>
              <a:gd name="T117" fmla="*/ 91 h 160"/>
              <a:gd name="T118" fmla="*/ 15 w 160"/>
              <a:gd name="T119"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60">
                <a:moveTo>
                  <a:pt x="160" y="80"/>
                </a:moveTo>
                <a:cubicBezTo>
                  <a:pt x="160" y="36"/>
                  <a:pt x="124" y="0"/>
                  <a:pt x="80" y="0"/>
                </a:cubicBezTo>
                <a:cubicBezTo>
                  <a:pt x="36" y="0"/>
                  <a:pt x="0" y="36"/>
                  <a:pt x="0" y="80"/>
                </a:cubicBezTo>
                <a:cubicBezTo>
                  <a:pt x="0" y="96"/>
                  <a:pt x="5" y="112"/>
                  <a:pt x="13" y="124"/>
                </a:cubicBezTo>
                <a:cubicBezTo>
                  <a:pt x="13" y="124"/>
                  <a:pt x="13" y="124"/>
                  <a:pt x="13" y="124"/>
                </a:cubicBezTo>
                <a:cubicBezTo>
                  <a:pt x="14" y="125"/>
                  <a:pt x="14" y="125"/>
                  <a:pt x="14" y="125"/>
                </a:cubicBezTo>
                <a:cubicBezTo>
                  <a:pt x="14" y="126"/>
                  <a:pt x="15" y="127"/>
                  <a:pt x="15" y="127"/>
                </a:cubicBezTo>
                <a:cubicBezTo>
                  <a:pt x="16" y="128"/>
                  <a:pt x="16" y="128"/>
                  <a:pt x="16" y="128"/>
                </a:cubicBezTo>
                <a:cubicBezTo>
                  <a:pt x="17" y="129"/>
                  <a:pt x="17" y="130"/>
                  <a:pt x="18" y="131"/>
                </a:cubicBezTo>
                <a:cubicBezTo>
                  <a:pt x="18" y="131"/>
                  <a:pt x="18" y="131"/>
                  <a:pt x="19" y="131"/>
                </a:cubicBezTo>
                <a:cubicBezTo>
                  <a:pt x="22" y="135"/>
                  <a:pt x="25" y="138"/>
                  <a:pt x="29" y="141"/>
                </a:cubicBezTo>
                <a:cubicBezTo>
                  <a:pt x="29" y="142"/>
                  <a:pt x="29" y="142"/>
                  <a:pt x="29" y="142"/>
                </a:cubicBezTo>
                <a:cubicBezTo>
                  <a:pt x="30" y="143"/>
                  <a:pt x="31" y="143"/>
                  <a:pt x="32" y="144"/>
                </a:cubicBezTo>
                <a:cubicBezTo>
                  <a:pt x="32" y="144"/>
                  <a:pt x="32" y="144"/>
                  <a:pt x="33" y="145"/>
                </a:cubicBezTo>
                <a:cubicBezTo>
                  <a:pt x="34" y="145"/>
                  <a:pt x="34" y="146"/>
                  <a:pt x="35" y="146"/>
                </a:cubicBezTo>
                <a:cubicBezTo>
                  <a:pt x="36" y="147"/>
                  <a:pt x="36" y="147"/>
                  <a:pt x="36" y="147"/>
                </a:cubicBezTo>
                <a:cubicBezTo>
                  <a:pt x="38" y="148"/>
                  <a:pt x="39" y="148"/>
                  <a:pt x="40" y="149"/>
                </a:cubicBezTo>
                <a:cubicBezTo>
                  <a:pt x="41" y="150"/>
                  <a:pt x="41" y="150"/>
                  <a:pt x="42" y="151"/>
                </a:cubicBezTo>
                <a:cubicBezTo>
                  <a:pt x="43" y="151"/>
                  <a:pt x="43" y="151"/>
                  <a:pt x="44" y="151"/>
                </a:cubicBezTo>
                <a:cubicBezTo>
                  <a:pt x="45" y="152"/>
                  <a:pt x="45" y="152"/>
                  <a:pt x="46" y="153"/>
                </a:cubicBezTo>
                <a:cubicBezTo>
                  <a:pt x="47" y="153"/>
                  <a:pt x="47" y="153"/>
                  <a:pt x="48" y="153"/>
                </a:cubicBezTo>
                <a:cubicBezTo>
                  <a:pt x="49" y="154"/>
                  <a:pt x="50" y="154"/>
                  <a:pt x="51" y="154"/>
                </a:cubicBezTo>
                <a:cubicBezTo>
                  <a:pt x="51" y="155"/>
                  <a:pt x="51" y="155"/>
                  <a:pt x="52" y="155"/>
                </a:cubicBezTo>
                <a:cubicBezTo>
                  <a:pt x="55" y="156"/>
                  <a:pt x="58" y="157"/>
                  <a:pt x="61" y="158"/>
                </a:cubicBezTo>
                <a:cubicBezTo>
                  <a:pt x="61" y="158"/>
                  <a:pt x="61" y="158"/>
                  <a:pt x="61" y="158"/>
                </a:cubicBezTo>
                <a:cubicBezTo>
                  <a:pt x="62" y="158"/>
                  <a:pt x="64" y="158"/>
                  <a:pt x="65" y="159"/>
                </a:cubicBezTo>
                <a:cubicBezTo>
                  <a:pt x="65" y="159"/>
                  <a:pt x="66" y="159"/>
                  <a:pt x="66" y="159"/>
                </a:cubicBezTo>
                <a:cubicBezTo>
                  <a:pt x="67" y="159"/>
                  <a:pt x="68" y="159"/>
                  <a:pt x="69" y="159"/>
                </a:cubicBezTo>
                <a:cubicBezTo>
                  <a:pt x="70" y="159"/>
                  <a:pt x="70" y="159"/>
                  <a:pt x="71" y="159"/>
                </a:cubicBezTo>
                <a:cubicBezTo>
                  <a:pt x="72" y="160"/>
                  <a:pt x="73" y="160"/>
                  <a:pt x="74" y="160"/>
                </a:cubicBezTo>
                <a:cubicBezTo>
                  <a:pt x="75" y="160"/>
                  <a:pt x="75" y="160"/>
                  <a:pt x="75" y="160"/>
                </a:cubicBezTo>
                <a:cubicBezTo>
                  <a:pt x="77" y="160"/>
                  <a:pt x="78" y="160"/>
                  <a:pt x="80" y="160"/>
                </a:cubicBezTo>
                <a:cubicBezTo>
                  <a:pt x="82" y="160"/>
                  <a:pt x="83" y="160"/>
                  <a:pt x="85" y="160"/>
                </a:cubicBezTo>
                <a:cubicBezTo>
                  <a:pt x="85" y="160"/>
                  <a:pt x="85" y="160"/>
                  <a:pt x="86" y="160"/>
                </a:cubicBezTo>
                <a:cubicBezTo>
                  <a:pt x="87" y="160"/>
                  <a:pt x="88" y="160"/>
                  <a:pt x="89" y="159"/>
                </a:cubicBezTo>
                <a:cubicBezTo>
                  <a:pt x="90" y="159"/>
                  <a:pt x="90" y="159"/>
                  <a:pt x="91" y="159"/>
                </a:cubicBezTo>
                <a:cubicBezTo>
                  <a:pt x="92" y="159"/>
                  <a:pt x="93" y="159"/>
                  <a:pt x="94" y="159"/>
                </a:cubicBezTo>
                <a:cubicBezTo>
                  <a:pt x="94" y="159"/>
                  <a:pt x="95" y="159"/>
                  <a:pt x="95" y="159"/>
                </a:cubicBezTo>
                <a:cubicBezTo>
                  <a:pt x="96" y="158"/>
                  <a:pt x="98" y="158"/>
                  <a:pt x="99" y="158"/>
                </a:cubicBezTo>
                <a:cubicBezTo>
                  <a:pt x="99" y="158"/>
                  <a:pt x="99" y="158"/>
                  <a:pt x="99" y="158"/>
                </a:cubicBezTo>
                <a:cubicBezTo>
                  <a:pt x="102" y="157"/>
                  <a:pt x="105" y="156"/>
                  <a:pt x="108" y="155"/>
                </a:cubicBezTo>
                <a:cubicBezTo>
                  <a:pt x="109" y="155"/>
                  <a:pt x="109" y="155"/>
                  <a:pt x="109" y="154"/>
                </a:cubicBezTo>
                <a:cubicBezTo>
                  <a:pt x="110" y="154"/>
                  <a:pt x="111" y="154"/>
                  <a:pt x="112" y="153"/>
                </a:cubicBezTo>
                <a:cubicBezTo>
                  <a:pt x="113" y="153"/>
                  <a:pt x="113" y="153"/>
                  <a:pt x="114" y="153"/>
                </a:cubicBezTo>
                <a:cubicBezTo>
                  <a:pt x="115" y="152"/>
                  <a:pt x="115" y="152"/>
                  <a:pt x="116" y="151"/>
                </a:cubicBezTo>
                <a:cubicBezTo>
                  <a:pt x="117" y="151"/>
                  <a:pt x="117" y="151"/>
                  <a:pt x="118" y="151"/>
                </a:cubicBezTo>
                <a:cubicBezTo>
                  <a:pt x="119" y="150"/>
                  <a:pt x="119" y="150"/>
                  <a:pt x="120" y="149"/>
                </a:cubicBezTo>
                <a:cubicBezTo>
                  <a:pt x="121" y="148"/>
                  <a:pt x="122" y="148"/>
                  <a:pt x="124" y="147"/>
                </a:cubicBezTo>
                <a:cubicBezTo>
                  <a:pt x="124" y="147"/>
                  <a:pt x="124" y="147"/>
                  <a:pt x="125" y="146"/>
                </a:cubicBezTo>
                <a:cubicBezTo>
                  <a:pt x="126" y="146"/>
                  <a:pt x="126" y="145"/>
                  <a:pt x="127" y="145"/>
                </a:cubicBezTo>
                <a:cubicBezTo>
                  <a:pt x="128" y="144"/>
                  <a:pt x="128" y="144"/>
                  <a:pt x="128" y="144"/>
                </a:cubicBezTo>
                <a:cubicBezTo>
                  <a:pt x="129" y="143"/>
                  <a:pt x="130" y="143"/>
                  <a:pt x="131" y="142"/>
                </a:cubicBezTo>
                <a:cubicBezTo>
                  <a:pt x="131" y="142"/>
                  <a:pt x="131" y="142"/>
                  <a:pt x="131" y="141"/>
                </a:cubicBezTo>
                <a:cubicBezTo>
                  <a:pt x="135" y="138"/>
                  <a:pt x="138" y="135"/>
                  <a:pt x="141" y="131"/>
                </a:cubicBezTo>
                <a:cubicBezTo>
                  <a:pt x="142" y="131"/>
                  <a:pt x="142" y="131"/>
                  <a:pt x="142" y="131"/>
                </a:cubicBezTo>
                <a:cubicBezTo>
                  <a:pt x="143" y="130"/>
                  <a:pt x="143" y="129"/>
                  <a:pt x="144" y="128"/>
                </a:cubicBezTo>
                <a:cubicBezTo>
                  <a:pt x="144" y="128"/>
                  <a:pt x="144" y="128"/>
                  <a:pt x="145" y="127"/>
                </a:cubicBezTo>
                <a:cubicBezTo>
                  <a:pt x="145" y="127"/>
                  <a:pt x="146" y="126"/>
                  <a:pt x="146" y="125"/>
                </a:cubicBezTo>
                <a:cubicBezTo>
                  <a:pt x="147" y="124"/>
                  <a:pt x="147" y="124"/>
                  <a:pt x="147" y="124"/>
                </a:cubicBezTo>
                <a:cubicBezTo>
                  <a:pt x="147" y="124"/>
                  <a:pt x="147" y="124"/>
                  <a:pt x="147" y="124"/>
                </a:cubicBezTo>
                <a:cubicBezTo>
                  <a:pt x="155" y="112"/>
                  <a:pt x="160" y="96"/>
                  <a:pt x="160" y="80"/>
                </a:cubicBezTo>
                <a:close/>
                <a:moveTo>
                  <a:pt x="155" y="80"/>
                </a:moveTo>
                <a:cubicBezTo>
                  <a:pt x="155" y="93"/>
                  <a:pt x="151" y="106"/>
                  <a:pt x="145" y="117"/>
                </a:cubicBezTo>
                <a:cubicBezTo>
                  <a:pt x="141" y="101"/>
                  <a:pt x="127" y="91"/>
                  <a:pt x="110" y="91"/>
                </a:cubicBezTo>
                <a:cubicBezTo>
                  <a:pt x="108" y="91"/>
                  <a:pt x="108" y="91"/>
                  <a:pt x="108" y="91"/>
                </a:cubicBezTo>
                <a:cubicBezTo>
                  <a:pt x="94" y="91"/>
                  <a:pt x="94" y="91"/>
                  <a:pt x="94" y="91"/>
                </a:cubicBezTo>
                <a:cubicBezTo>
                  <a:pt x="94" y="91"/>
                  <a:pt x="93" y="90"/>
                  <a:pt x="93" y="90"/>
                </a:cubicBezTo>
                <a:cubicBezTo>
                  <a:pt x="93" y="88"/>
                  <a:pt x="93" y="88"/>
                  <a:pt x="93" y="88"/>
                </a:cubicBezTo>
                <a:cubicBezTo>
                  <a:pt x="93" y="87"/>
                  <a:pt x="94" y="87"/>
                  <a:pt x="94" y="87"/>
                </a:cubicBezTo>
                <a:cubicBezTo>
                  <a:pt x="111" y="81"/>
                  <a:pt x="122" y="54"/>
                  <a:pt x="120" y="35"/>
                </a:cubicBezTo>
                <a:cubicBezTo>
                  <a:pt x="119" y="25"/>
                  <a:pt x="114" y="17"/>
                  <a:pt x="107" y="10"/>
                </a:cubicBezTo>
                <a:cubicBezTo>
                  <a:pt x="135" y="21"/>
                  <a:pt x="155" y="48"/>
                  <a:pt x="155" y="80"/>
                </a:cubicBezTo>
                <a:close/>
                <a:moveTo>
                  <a:pt x="140" y="124"/>
                </a:moveTo>
                <a:cubicBezTo>
                  <a:pt x="140" y="125"/>
                  <a:pt x="140" y="125"/>
                  <a:pt x="139" y="125"/>
                </a:cubicBezTo>
                <a:cubicBezTo>
                  <a:pt x="139" y="126"/>
                  <a:pt x="138" y="127"/>
                  <a:pt x="138" y="127"/>
                </a:cubicBezTo>
                <a:cubicBezTo>
                  <a:pt x="138" y="128"/>
                  <a:pt x="138" y="128"/>
                  <a:pt x="137" y="128"/>
                </a:cubicBezTo>
                <a:cubicBezTo>
                  <a:pt x="135" y="130"/>
                  <a:pt x="133" y="133"/>
                  <a:pt x="130" y="135"/>
                </a:cubicBezTo>
                <a:cubicBezTo>
                  <a:pt x="130" y="135"/>
                  <a:pt x="130" y="135"/>
                  <a:pt x="130" y="135"/>
                </a:cubicBezTo>
                <a:cubicBezTo>
                  <a:pt x="129" y="136"/>
                  <a:pt x="129" y="137"/>
                  <a:pt x="128" y="137"/>
                </a:cubicBezTo>
                <a:cubicBezTo>
                  <a:pt x="128" y="138"/>
                  <a:pt x="127" y="138"/>
                  <a:pt x="127" y="138"/>
                </a:cubicBezTo>
                <a:cubicBezTo>
                  <a:pt x="126" y="139"/>
                  <a:pt x="126" y="139"/>
                  <a:pt x="125" y="140"/>
                </a:cubicBezTo>
                <a:cubicBezTo>
                  <a:pt x="125" y="140"/>
                  <a:pt x="124" y="140"/>
                  <a:pt x="124" y="140"/>
                </a:cubicBezTo>
                <a:cubicBezTo>
                  <a:pt x="124" y="141"/>
                  <a:pt x="123" y="141"/>
                  <a:pt x="123" y="141"/>
                </a:cubicBezTo>
                <a:cubicBezTo>
                  <a:pt x="123" y="128"/>
                  <a:pt x="123" y="128"/>
                  <a:pt x="123" y="128"/>
                </a:cubicBezTo>
                <a:cubicBezTo>
                  <a:pt x="117" y="128"/>
                  <a:pt x="117" y="128"/>
                  <a:pt x="117" y="128"/>
                </a:cubicBezTo>
                <a:cubicBezTo>
                  <a:pt x="117" y="145"/>
                  <a:pt x="117" y="145"/>
                  <a:pt x="117" y="145"/>
                </a:cubicBezTo>
                <a:cubicBezTo>
                  <a:pt x="117" y="145"/>
                  <a:pt x="117" y="145"/>
                  <a:pt x="117" y="145"/>
                </a:cubicBezTo>
                <a:cubicBezTo>
                  <a:pt x="116" y="145"/>
                  <a:pt x="116" y="146"/>
                  <a:pt x="115" y="146"/>
                </a:cubicBezTo>
                <a:cubicBezTo>
                  <a:pt x="115" y="146"/>
                  <a:pt x="114" y="146"/>
                  <a:pt x="114" y="147"/>
                </a:cubicBezTo>
                <a:cubicBezTo>
                  <a:pt x="113" y="147"/>
                  <a:pt x="112" y="147"/>
                  <a:pt x="111" y="148"/>
                </a:cubicBezTo>
                <a:cubicBezTo>
                  <a:pt x="111" y="148"/>
                  <a:pt x="110" y="148"/>
                  <a:pt x="110" y="148"/>
                </a:cubicBezTo>
                <a:cubicBezTo>
                  <a:pt x="109" y="149"/>
                  <a:pt x="108" y="149"/>
                  <a:pt x="107" y="150"/>
                </a:cubicBezTo>
                <a:cubicBezTo>
                  <a:pt x="107" y="150"/>
                  <a:pt x="106" y="150"/>
                  <a:pt x="106" y="150"/>
                </a:cubicBezTo>
                <a:cubicBezTo>
                  <a:pt x="103" y="151"/>
                  <a:pt x="101" y="152"/>
                  <a:pt x="98" y="152"/>
                </a:cubicBezTo>
                <a:cubicBezTo>
                  <a:pt x="98" y="153"/>
                  <a:pt x="98" y="153"/>
                  <a:pt x="97" y="153"/>
                </a:cubicBezTo>
                <a:cubicBezTo>
                  <a:pt x="96" y="153"/>
                  <a:pt x="95" y="153"/>
                  <a:pt x="94" y="153"/>
                </a:cubicBezTo>
                <a:cubicBezTo>
                  <a:pt x="94" y="153"/>
                  <a:pt x="93" y="153"/>
                  <a:pt x="93" y="154"/>
                </a:cubicBezTo>
                <a:cubicBezTo>
                  <a:pt x="92" y="154"/>
                  <a:pt x="91" y="154"/>
                  <a:pt x="90" y="154"/>
                </a:cubicBezTo>
                <a:cubicBezTo>
                  <a:pt x="89" y="154"/>
                  <a:pt x="89" y="154"/>
                  <a:pt x="89" y="154"/>
                </a:cubicBezTo>
                <a:cubicBezTo>
                  <a:pt x="88" y="154"/>
                  <a:pt x="86" y="154"/>
                  <a:pt x="85" y="154"/>
                </a:cubicBezTo>
                <a:cubicBezTo>
                  <a:pt x="85" y="154"/>
                  <a:pt x="85" y="155"/>
                  <a:pt x="84" y="155"/>
                </a:cubicBezTo>
                <a:cubicBezTo>
                  <a:pt x="83" y="155"/>
                  <a:pt x="81" y="155"/>
                  <a:pt x="80" y="155"/>
                </a:cubicBezTo>
                <a:cubicBezTo>
                  <a:pt x="79" y="155"/>
                  <a:pt x="77" y="155"/>
                  <a:pt x="76" y="155"/>
                </a:cubicBezTo>
                <a:cubicBezTo>
                  <a:pt x="75" y="155"/>
                  <a:pt x="75" y="154"/>
                  <a:pt x="75" y="154"/>
                </a:cubicBezTo>
                <a:cubicBezTo>
                  <a:pt x="74" y="154"/>
                  <a:pt x="73" y="154"/>
                  <a:pt x="71" y="154"/>
                </a:cubicBezTo>
                <a:cubicBezTo>
                  <a:pt x="71" y="154"/>
                  <a:pt x="71" y="154"/>
                  <a:pt x="70" y="154"/>
                </a:cubicBezTo>
                <a:cubicBezTo>
                  <a:pt x="69" y="154"/>
                  <a:pt x="68" y="154"/>
                  <a:pt x="67" y="154"/>
                </a:cubicBezTo>
                <a:cubicBezTo>
                  <a:pt x="67" y="153"/>
                  <a:pt x="66" y="153"/>
                  <a:pt x="66" y="153"/>
                </a:cubicBezTo>
                <a:cubicBezTo>
                  <a:pt x="65" y="153"/>
                  <a:pt x="64" y="153"/>
                  <a:pt x="63" y="153"/>
                </a:cubicBezTo>
                <a:cubicBezTo>
                  <a:pt x="62" y="153"/>
                  <a:pt x="62" y="153"/>
                  <a:pt x="62" y="152"/>
                </a:cubicBezTo>
                <a:cubicBezTo>
                  <a:pt x="59" y="152"/>
                  <a:pt x="57" y="151"/>
                  <a:pt x="54" y="150"/>
                </a:cubicBezTo>
                <a:cubicBezTo>
                  <a:pt x="54" y="150"/>
                  <a:pt x="53" y="150"/>
                  <a:pt x="53" y="150"/>
                </a:cubicBezTo>
                <a:cubicBezTo>
                  <a:pt x="52" y="149"/>
                  <a:pt x="51" y="149"/>
                  <a:pt x="50" y="148"/>
                </a:cubicBezTo>
                <a:cubicBezTo>
                  <a:pt x="50" y="148"/>
                  <a:pt x="49" y="148"/>
                  <a:pt x="49" y="148"/>
                </a:cubicBezTo>
                <a:cubicBezTo>
                  <a:pt x="48" y="147"/>
                  <a:pt x="47" y="147"/>
                  <a:pt x="46" y="147"/>
                </a:cubicBezTo>
                <a:cubicBezTo>
                  <a:pt x="46" y="146"/>
                  <a:pt x="46" y="146"/>
                  <a:pt x="45" y="146"/>
                </a:cubicBezTo>
                <a:cubicBezTo>
                  <a:pt x="44" y="146"/>
                  <a:pt x="44" y="145"/>
                  <a:pt x="43" y="145"/>
                </a:cubicBezTo>
                <a:cubicBezTo>
                  <a:pt x="43" y="145"/>
                  <a:pt x="43" y="145"/>
                  <a:pt x="43" y="145"/>
                </a:cubicBezTo>
                <a:cubicBezTo>
                  <a:pt x="43" y="128"/>
                  <a:pt x="43" y="128"/>
                  <a:pt x="43" y="128"/>
                </a:cubicBezTo>
                <a:cubicBezTo>
                  <a:pt x="37" y="128"/>
                  <a:pt x="37" y="128"/>
                  <a:pt x="37" y="128"/>
                </a:cubicBezTo>
                <a:cubicBezTo>
                  <a:pt x="37" y="141"/>
                  <a:pt x="37" y="141"/>
                  <a:pt x="37" y="141"/>
                </a:cubicBezTo>
                <a:cubicBezTo>
                  <a:pt x="37" y="141"/>
                  <a:pt x="36" y="141"/>
                  <a:pt x="36" y="140"/>
                </a:cubicBezTo>
                <a:cubicBezTo>
                  <a:pt x="36" y="140"/>
                  <a:pt x="35" y="140"/>
                  <a:pt x="35" y="140"/>
                </a:cubicBezTo>
                <a:cubicBezTo>
                  <a:pt x="34" y="139"/>
                  <a:pt x="34" y="139"/>
                  <a:pt x="33" y="138"/>
                </a:cubicBezTo>
                <a:cubicBezTo>
                  <a:pt x="33" y="138"/>
                  <a:pt x="32" y="138"/>
                  <a:pt x="32" y="137"/>
                </a:cubicBezTo>
                <a:cubicBezTo>
                  <a:pt x="31" y="137"/>
                  <a:pt x="31" y="136"/>
                  <a:pt x="30" y="135"/>
                </a:cubicBezTo>
                <a:cubicBezTo>
                  <a:pt x="30" y="135"/>
                  <a:pt x="30" y="135"/>
                  <a:pt x="30" y="135"/>
                </a:cubicBezTo>
                <a:cubicBezTo>
                  <a:pt x="27" y="133"/>
                  <a:pt x="25" y="130"/>
                  <a:pt x="23" y="128"/>
                </a:cubicBezTo>
                <a:cubicBezTo>
                  <a:pt x="23" y="128"/>
                  <a:pt x="22" y="128"/>
                  <a:pt x="22" y="127"/>
                </a:cubicBezTo>
                <a:cubicBezTo>
                  <a:pt x="22" y="127"/>
                  <a:pt x="21" y="126"/>
                  <a:pt x="21" y="125"/>
                </a:cubicBezTo>
                <a:cubicBezTo>
                  <a:pt x="20" y="125"/>
                  <a:pt x="20" y="125"/>
                  <a:pt x="20" y="124"/>
                </a:cubicBezTo>
                <a:cubicBezTo>
                  <a:pt x="20" y="124"/>
                  <a:pt x="19" y="123"/>
                  <a:pt x="19" y="123"/>
                </a:cubicBezTo>
                <a:cubicBezTo>
                  <a:pt x="21" y="108"/>
                  <a:pt x="34" y="96"/>
                  <a:pt x="50" y="96"/>
                </a:cubicBezTo>
                <a:cubicBezTo>
                  <a:pt x="58" y="96"/>
                  <a:pt x="58" y="96"/>
                  <a:pt x="58" y="96"/>
                </a:cubicBezTo>
                <a:cubicBezTo>
                  <a:pt x="80" y="118"/>
                  <a:pt x="80" y="118"/>
                  <a:pt x="80" y="118"/>
                </a:cubicBezTo>
                <a:cubicBezTo>
                  <a:pt x="102" y="96"/>
                  <a:pt x="102" y="96"/>
                  <a:pt x="102" y="96"/>
                </a:cubicBezTo>
                <a:cubicBezTo>
                  <a:pt x="110" y="96"/>
                  <a:pt x="110" y="96"/>
                  <a:pt x="110" y="96"/>
                </a:cubicBezTo>
                <a:cubicBezTo>
                  <a:pt x="126" y="96"/>
                  <a:pt x="139" y="108"/>
                  <a:pt x="141" y="123"/>
                </a:cubicBezTo>
                <a:cubicBezTo>
                  <a:pt x="141" y="123"/>
                  <a:pt x="140" y="124"/>
                  <a:pt x="140" y="124"/>
                </a:cubicBezTo>
                <a:close/>
                <a:moveTo>
                  <a:pt x="68" y="82"/>
                </a:moveTo>
                <a:cubicBezTo>
                  <a:pt x="55" y="77"/>
                  <a:pt x="45" y="56"/>
                  <a:pt x="45" y="40"/>
                </a:cubicBezTo>
                <a:cubicBezTo>
                  <a:pt x="45" y="40"/>
                  <a:pt x="45" y="39"/>
                  <a:pt x="45" y="39"/>
                </a:cubicBezTo>
                <a:cubicBezTo>
                  <a:pt x="47" y="37"/>
                  <a:pt x="47" y="37"/>
                  <a:pt x="47" y="37"/>
                </a:cubicBezTo>
                <a:cubicBezTo>
                  <a:pt x="52" y="31"/>
                  <a:pt x="59" y="30"/>
                  <a:pt x="66" y="33"/>
                </a:cubicBezTo>
                <a:cubicBezTo>
                  <a:pt x="69" y="34"/>
                  <a:pt x="72" y="35"/>
                  <a:pt x="75" y="35"/>
                </a:cubicBezTo>
                <a:cubicBezTo>
                  <a:pt x="83" y="35"/>
                  <a:pt x="90" y="30"/>
                  <a:pt x="93" y="24"/>
                </a:cubicBezTo>
                <a:cubicBezTo>
                  <a:pt x="102" y="26"/>
                  <a:pt x="109" y="32"/>
                  <a:pt x="115" y="38"/>
                </a:cubicBezTo>
                <a:cubicBezTo>
                  <a:pt x="115" y="54"/>
                  <a:pt x="106" y="77"/>
                  <a:pt x="92" y="82"/>
                </a:cubicBezTo>
                <a:cubicBezTo>
                  <a:pt x="90" y="83"/>
                  <a:pt x="88" y="85"/>
                  <a:pt x="88" y="88"/>
                </a:cubicBezTo>
                <a:cubicBezTo>
                  <a:pt x="88" y="90"/>
                  <a:pt x="88" y="90"/>
                  <a:pt x="88" y="90"/>
                </a:cubicBezTo>
                <a:cubicBezTo>
                  <a:pt x="88" y="93"/>
                  <a:pt x="91" y="96"/>
                  <a:pt x="94" y="96"/>
                </a:cubicBezTo>
                <a:cubicBezTo>
                  <a:pt x="95" y="96"/>
                  <a:pt x="95" y="96"/>
                  <a:pt x="95" y="96"/>
                </a:cubicBezTo>
                <a:cubicBezTo>
                  <a:pt x="80" y="111"/>
                  <a:pt x="80" y="111"/>
                  <a:pt x="80" y="111"/>
                </a:cubicBezTo>
                <a:cubicBezTo>
                  <a:pt x="65" y="96"/>
                  <a:pt x="65" y="96"/>
                  <a:pt x="65" y="96"/>
                </a:cubicBezTo>
                <a:cubicBezTo>
                  <a:pt x="66" y="96"/>
                  <a:pt x="66" y="96"/>
                  <a:pt x="66" y="96"/>
                </a:cubicBezTo>
                <a:cubicBezTo>
                  <a:pt x="69" y="96"/>
                  <a:pt x="72" y="93"/>
                  <a:pt x="72" y="90"/>
                </a:cubicBezTo>
                <a:cubicBezTo>
                  <a:pt x="72" y="88"/>
                  <a:pt x="72" y="88"/>
                  <a:pt x="72" y="88"/>
                </a:cubicBezTo>
                <a:cubicBezTo>
                  <a:pt x="72" y="85"/>
                  <a:pt x="70" y="83"/>
                  <a:pt x="68" y="82"/>
                </a:cubicBezTo>
                <a:close/>
                <a:moveTo>
                  <a:pt x="80" y="5"/>
                </a:moveTo>
                <a:cubicBezTo>
                  <a:pt x="80" y="5"/>
                  <a:pt x="80" y="5"/>
                  <a:pt x="80" y="5"/>
                </a:cubicBezTo>
                <a:cubicBezTo>
                  <a:pt x="82" y="5"/>
                  <a:pt x="83" y="5"/>
                  <a:pt x="84" y="6"/>
                </a:cubicBezTo>
                <a:cubicBezTo>
                  <a:pt x="97" y="7"/>
                  <a:pt x="108" y="16"/>
                  <a:pt x="113" y="28"/>
                </a:cubicBezTo>
                <a:cubicBezTo>
                  <a:pt x="107" y="24"/>
                  <a:pt x="100" y="20"/>
                  <a:pt x="93" y="18"/>
                </a:cubicBezTo>
                <a:cubicBezTo>
                  <a:pt x="90" y="17"/>
                  <a:pt x="90" y="17"/>
                  <a:pt x="90" y="17"/>
                </a:cubicBezTo>
                <a:cubicBezTo>
                  <a:pt x="90" y="19"/>
                  <a:pt x="90" y="19"/>
                  <a:pt x="90" y="19"/>
                </a:cubicBezTo>
                <a:cubicBezTo>
                  <a:pt x="87" y="25"/>
                  <a:pt x="81" y="29"/>
                  <a:pt x="75" y="29"/>
                </a:cubicBezTo>
                <a:cubicBezTo>
                  <a:pt x="72" y="29"/>
                  <a:pt x="70" y="29"/>
                  <a:pt x="68" y="28"/>
                </a:cubicBezTo>
                <a:cubicBezTo>
                  <a:pt x="61" y="25"/>
                  <a:pt x="53" y="26"/>
                  <a:pt x="47" y="30"/>
                </a:cubicBezTo>
                <a:cubicBezTo>
                  <a:pt x="48" y="25"/>
                  <a:pt x="51" y="20"/>
                  <a:pt x="56" y="15"/>
                </a:cubicBezTo>
                <a:cubicBezTo>
                  <a:pt x="62" y="9"/>
                  <a:pt x="71" y="5"/>
                  <a:pt x="80" y="5"/>
                </a:cubicBezTo>
                <a:close/>
                <a:moveTo>
                  <a:pt x="53" y="10"/>
                </a:moveTo>
                <a:cubicBezTo>
                  <a:pt x="53" y="11"/>
                  <a:pt x="52" y="11"/>
                  <a:pt x="52" y="12"/>
                </a:cubicBezTo>
                <a:cubicBezTo>
                  <a:pt x="44" y="19"/>
                  <a:pt x="40" y="29"/>
                  <a:pt x="40" y="40"/>
                </a:cubicBezTo>
                <a:cubicBezTo>
                  <a:pt x="40" y="58"/>
                  <a:pt x="51" y="82"/>
                  <a:pt x="66" y="87"/>
                </a:cubicBezTo>
                <a:cubicBezTo>
                  <a:pt x="66" y="87"/>
                  <a:pt x="67" y="88"/>
                  <a:pt x="67" y="88"/>
                </a:cubicBezTo>
                <a:cubicBezTo>
                  <a:pt x="67" y="90"/>
                  <a:pt x="67" y="90"/>
                  <a:pt x="67" y="90"/>
                </a:cubicBezTo>
                <a:cubicBezTo>
                  <a:pt x="67" y="90"/>
                  <a:pt x="66" y="91"/>
                  <a:pt x="66" y="91"/>
                </a:cubicBezTo>
                <a:cubicBezTo>
                  <a:pt x="52" y="91"/>
                  <a:pt x="52" y="91"/>
                  <a:pt x="52" y="91"/>
                </a:cubicBezTo>
                <a:cubicBezTo>
                  <a:pt x="50" y="91"/>
                  <a:pt x="50" y="91"/>
                  <a:pt x="50" y="91"/>
                </a:cubicBezTo>
                <a:cubicBezTo>
                  <a:pt x="33" y="91"/>
                  <a:pt x="19" y="101"/>
                  <a:pt x="15" y="117"/>
                </a:cubicBezTo>
                <a:cubicBezTo>
                  <a:pt x="9" y="106"/>
                  <a:pt x="5" y="93"/>
                  <a:pt x="5" y="80"/>
                </a:cubicBezTo>
                <a:cubicBezTo>
                  <a:pt x="5" y="48"/>
                  <a:pt x="25" y="21"/>
                  <a:pt x="53" y="10"/>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56">
            <a:extLst>
              <a:ext uri="{FF2B5EF4-FFF2-40B4-BE49-F238E27FC236}">
                <a16:creationId xmlns:a16="http://schemas.microsoft.com/office/drawing/2014/main" id="{D74F06EA-3123-A643-96C4-54593233327F}"/>
              </a:ext>
            </a:extLst>
          </p:cNvPr>
          <p:cNvSpPr>
            <a:spLocks noEditPoints="1"/>
          </p:cNvSpPr>
          <p:nvPr/>
        </p:nvSpPr>
        <p:spPr bwMode="auto">
          <a:xfrm>
            <a:off x="5843279" y="4486275"/>
            <a:ext cx="600075" cy="606425"/>
          </a:xfrm>
          <a:custGeom>
            <a:avLst/>
            <a:gdLst>
              <a:gd name="T0" fmla="*/ 78 w 160"/>
              <a:gd name="T1" fmla="*/ 0 h 160"/>
              <a:gd name="T2" fmla="*/ 75 w 160"/>
              <a:gd name="T3" fmla="*/ 0 h 160"/>
              <a:gd name="T4" fmla="*/ 11 w 160"/>
              <a:gd name="T5" fmla="*/ 121 h 160"/>
              <a:gd name="T6" fmla="*/ 13 w 160"/>
              <a:gd name="T7" fmla="*/ 124 h 160"/>
              <a:gd name="T8" fmla="*/ 16 w 160"/>
              <a:gd name="T9" fmla="*/ 128 h 160"/>
              <a:gd name="T10" fmla="*/ 71 w 160"/>
              <a:gd name="T11" fmla="*/ 159 h 160"/>
              <a:gd name="T12" fmla="*/ 80 w 160"/>
              <a:gd name="T13" fmla="*/ 160 h 160"/>
              <a:gd name="T14" fmla="*/ 89 w 160"/>
              <a:gd name="T15" fmla="*/ 160 h 160"/>
              <a:gd name="T16" fmla="*/ 96 w 160"/>
              <a:gd name="T17" fmla="*/ 158 h 160"/>
              <a:gd name="T18" fmla="*/ 100 w 160"/>
              <a:gd name="T19" fmla="*/ 157 h 160"/>
              <a:gd name="T20" fmla="*/ 141 w 160"/>
              <a:gd name="T21" fmla="*/ 131 h 160"/>
              <a:gd name="T22" fmla="*/ 144 w 160"/>
              <a:gd name="T23" fmla="*/ 128 h 160"/>
              <a:gd name="T24" fmla="*/ 155 w 160"/>
              <a:gd name="T25" fmla="*/ 80 h 160"/>
              <a:gd name="T26" fmla="*/ 117 w 160"/>
              <a:gd name="T27" fmla="*/ 40 h 160"/>
              <a:gd name="T28" fmla="*/ 117 w 160"/>
              <a:gd name="T29" fmla="*/ 35 h 160"/>
              <a:gd name="T30" fmla="*/ 138 w 160"/>
              <a:gd name="T31" fmla="*/ 127 h 160"/>
              <a:gd name="T32" fmla="*/ 120 w 160"/>
              <a:gd name="T33" fmla="*/ 131 h 160"/>
              <a:gd name="T34" fmla="*/ 99 w 160"/>
              <a:gd name="T35" fmla="*/ 152 h 160"/>
              <a:gd name="T36" fmla="*/ 94 w 160"/>
              <a:gd name="T37" fmla="*/ 153 h 160"/>
              <a:gd name="T38" fmla="*/ 88 w 160"/>
              <a:gd name="T39" fmla="*/ 154 h 160"/>
              <a:gd name="T40" fmla="*/ 80 w 160"/>
              <a:gd name="T41" fmla="*/ 155 h 160"/>
              <a:gd name="T42" fmla="*/ 71 w 160"/>
              <a:gd name="T43" fmla="*/ 154 h 160"/>
              <a:gd name="T44" fmla="*/ 65 w 160"/>
              <a:gd name="T45" fmla="*/ 153 h 160"/>
              <a:gd name="T46" fmla="*/ 40 w 160"/>
              <a:gd name="T47" fmla="*/ 131 h 160"/>
              <a:gd name="T48" fmla="*/ 18 w 160"/>
              <a:gd name="T49" fmla="*/ 122 h 160"/>
              <a:gd name="T50" fmla="*/ 27 w 160"/>
              <a:gd name="T51" fmla="*/ 103 h 160"/>
              <a:gd name="T52" fmla="*/ 139 w 160"/>
              <a:gd name="T53" fmla="*/ 126 h 160"/>
              <a:gd name="T54" fmla="*/ 43 w 160"/>
              <a:gd name="T55" fmla="*/ 64 h 160"/>
              <a:gd name="T56" fmla="*/ 45 w 160"/>
              <a:gd name="T57" fmla="*/ 68 h 160"/>
              <a:gd name="T58" fmla="*/ 49 w 160"/>
              <a:gd name="T59" fmla="*/ 75 h 160"/>
              <a:gd name="T60" fmla="*/ 52 w 160"/>
              <a:gd name="T61" fmla="*/ 79 h 160"/>
              <a:gd name="T62" fmla="*/ 57 w 160"/>
              <a:gd name="T63" fmla="*/ 83 h 160"/>
              <a:gd name="T64" fmla="*/ 60 w 160"/>
              <a:gd name="T65" fmla="*/ 86 h 160"/>
              <a:gd name="T66" fmla="*/ 64 w 160"/>
              <a:gd name="T67" fmla="*/ 90 h 160"/>
              <a:gd name="T68" fmla="*/ 43 w 160"/>
              <a:gd name="T69" fmla="*/ 91 h 160"/>
              <a:gd name="T70" fmla="*/ 43 w 160"/>
              <a:gd name="T71" fmla="*/ 96 h 160"/>
              <a:gd name="T72" fmla="*/ 63 w 160"/>
              <a:gd name="T73" fmla="*/ 96 h 160"/>
              <a:gd name="T74" fmla="*/ 65 w 160"/>
              <a:gd name="T75" fmla="*/ 82 h 160"/>
              <a:gd name="T76" fmla="*/ 44 w 160"/>
              <a:gd name="T77" fmla="*/ 37 h 160"/>
              <a:gd name="T78" fmla="*/ 90 w 160"/>
              <a:gd name="T79" fmla="*/ 24 h 160"/>
              <a:gd name="T80" fmla="*/ 112 w 160"/>
              <a:gd name="T81" fmla="*/ 39 h 160"/>
              <a:gd name="T82" fmla="*/ 94 w 160"/>
              <a:gd name="T83" fmla="*/ 80 h 160"/>
              <a:gd name="T84" fmla="*/ 85 w 160"/>
              <a:gd name="T85" fmla="*/ 88 h 160"/>
              <a:gd name="T86" fmla="*/ 107 w 160"/>
              <a:gd name="T87" fmla="*/ 96 h 160"/>
              <a:gd name="T88" fmla="*/ 114 w 160"/>
              <a:gd name="T89" fmla="*/ 97 h 160"/>
              <a:gd name="T90" fmla="*/ 80 w 160"/>
              <a:gd name="T91" fmla="*/ 136 h 160"/>
              <a:gd name="T92" fmla="*/ 101 w 160"/>
              <a:gd name="T93" fmla="*/ 109 h 160"/>
              <a:gd name="T94" fmla="*/ 51 w 160"/>
              <a:gd name="T95" fmla="*/ 112 h 160"/>
              <a:gd name="T96" fmla="*/ 75 w 160"/>
              <a:gd name="T97" fmla="*/ 138 h 160"/>
              <a:gd name="T98" fmla="*/ 73 w 160"/>
              <a:gd name="T99" fmla="*/ 6 h 160"/>
              <a:gd name="T100" fmla="*/ 78 w 160"/>
              <a:gd name="T101" fmla="*/ 5 h 160"/>
              <a:gd name="T102" fmla="*/ 89 w 160"/>
              <a:gd name="T103" fmla="*/ 18 h 160"/>
              <a:gd name="T104" fmla="*/ 71 w 160"/>
              <a:gd name="T105" fmla="*/ 29 h 160"/>
              <a:gd name="T106" fmla="*/ 73 w 160"/>
              <a:gd name="T107" fmla="*/ 6 h 160"/>
              <a:gd name="T108" fmla="*/ 107 w 160"/>
              <a:gd name="T109" fmla="*/ 91 h 160"/>
              <a:gd name="T110" fmla="*/ 91 w 160"/>
              <a:gd name="T111" fmla="*/ 88 h 160"/>
              <a:gd name="T112" fmla="*/ 112 w 160"/>
              <a:gd name="T113" fmla="*/ 64 h 160"/>
              <a:gd name="T114" fmla="*/ 37 w 160"/>
              <a:gd name="T115" fmla="*/ 40 h 160"/>
              <a:gd name="T116" fmla="*/ 5 w 160"/>
              <a:gd name="T117"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60">
                <a:moveTo>
                  <a:pt x="160" y="80"/>
                </a:moveTo>
                <a:cubicBezTo>
                  <a:pt x="160" y="36"/>
                  <a:pt x="124" y="0"/>
                  <a:pt x="80" y="0"/>
                </a:cubicBezTo>
                <a:cubicBezTo>
                  <a:pt x="79" y="0"/>
                  <a:pt x="79" y="0"/>
                  <a:pt x="78" y="0"/>
                </a:cubicBezTo>
                <a:cubicBezTo>
                  <a:pt x="78" y="0"/>
                  <a:pt x="78" y="0"/>
                  <a:pt x="78" y="0"/>
                </a:cubicBezTo>
                <a:cubicBezTo>
                  <a:pt x="78" y="0"/>
                  <a:pt x="78" y="0"/>
                  <a:pt x="78" y="0"/>
                </a:cubicBezTo>
                <a:cubicBezTo>
                  <a:pt x="77" y="0"/>
                  <a:pt x="76" y="0"/>
                  <a:pt x="75" y="0"/>
                </a:cubicBezTo>
                <a:cubicBezTo>
                  <a:pt x="74" y="0"/>
                  <a:pt x="74" y="0"/>
                  <a:pt x="73" y="0"/>
                </a:cubicBezTo>
                <a:cubicBezTo>
                  <a:pt x="32" y="4"/>
                  <a:pt x="0" y="38"/>
                  <a:pt x="0" y="80"/>
                </a:cubicBezTo>
                <a:cubicBezTo>
                  <a:pt x="0" y="95"/>
                  <a:pt x="4" y="109"/>
                  <a:pt x="11" y="121"/>
                </a:cubicBezTo>
                <a:cubicBezTo>
                  <a:pt x="11" y="121"/>
                  <a:pt x="11" y="121"/>
                  <a:pt x="11" y="121"/>
                </a:cubicBezTo>
                <a:cubicBezTo>
                  <a:pt x="12" y="122"/>
                  <a:pt x="12" y="122"/>
                  <a:pt x="12" y="122"/>
                </a:cubicBezTo>
                <a:cubicBezTo>
                  <a:pt x="12" y="123"/>
                  <a:pt x="13" y="123"/>
                  <a:pt x="13" y="124"/>
                </a:cubicBezTo>
                <a:cubicBezTo>
                  <a:pt x="13" y="124"/>
                  <a:pt x="14" y="125"/>
                  <a:pt x="14" y="125"/>
                </a:cubicBezTo>
                <a:cubicBezTo>
                  <a:pt x="14" y="126"/>
                  <a:pt x="15" y="127"/>
                  <a:pt x="16" y="128"/>
                </a:cubicBezTo>
                <a:cubicBezTo>
                  <a:pt x="16" y="128"/>
                  <a:pt x="16" y="128"/>
                  <a:pt x="16" y="128"/>
                </a:cubicBezTo>
                <a:cubicBezTo>
                  <a:pt x="28" y="144"/>
                  <a:pt x="46" y="155"/>
                  <a:pt x="66" y="159"/>
                </a:cubicBezTo>
                <a:cubicBezTo>
                  <a:pt x="67" y="159"/>
                  <a:pt x="68" y="159"/>
                  <a:pt x="69" y="159"/>
                </a:cubicBezTo>
                <a:cubicBezTo>
                  <a:pt x="69" y="159"/>
                  <a:pt x="70" y="159"/>
                  <a:pt x="71" y="159"/>
                </a:cubicBezTo>
                <a:cubicBezTo>
                  <a:pt x="72" y="160"/>
                  <a:pt x="73" y="160"/>
                  <a:pt x="74" y="160"/>
                </a:cubicBezTo>
                <a:cubicBezTo>
                  <a:pt x="74" y="160"/>
                  <a:pt x="75" y="160"/>
                  <a:pt x="75" y="160"/>
                </a:cubicBezTo>
                <a:cubicBezTo>
                  <a:pt x="77" y="160"/>
                  <a:pt x="78" y="160"/>
                  <a:pt x="80" y="160"/>
                </a:cubicBezTo>
                <a:cubicBezTo>
                  <a:pt x="81" y="160"/>
                  <a:pt x="83" y="160"/>
                  <a:pt x="84" y="160"/>
                </a:cubicBezTo>
                <a:cubicBezTo>
                  <a:pt x="85" y="160"/>
                  <a:pt x="86" y="160"/>
                  <a:pt x="86" y="160"/>
                </a:cubicBezTo>
                <a:cubicBezTo>
                  <a:pt x="87" y="160"/>
                  <a:pt x="88" y="160"/>
                  <a:pt x="89" y="160"/>
                </a:cubicBezTo>
                <a:cubicBezTo>
                  <a:pt x="89" y="159"/>
                  <a:pt x="90" y="159"/>
                  <a:pt x="91" y="159"/>
                </a:cubicBezTo>
                <a:cubicBezTo>
                  <a:pt x="92" y="159"/>
                  <a:pt x="92" y="159"/>
                  <a:pt x="93" y="159"/>
                </a:cubicBezTo>
                <a:cubicBezTo>
                  <a:pt x="94" y="159"/>
                  <a:pt x="95" y="159"/>
                  <a:pt x="96" y="158"/>
                </a:cubicBezTo>
                <a:cubicBezTo>
                  <a:pt x="96" y="158"/>
                  <a:pt x="96" y="158"/>
                  <a:pt x="97" y="158"/>
                </a:cubicBezTo>
                <a:cubicBezTo>
                  <a:pt x="98" y="158"/>
                  <a:pt x="99" y="158"/>
                  <a:pt x="100" y="157"/>
                </a:cubicBezTo>
                <a:cubicBezTo>
                  <a:pt x="100" y="157"/>
                  <a:pt x="100" y="157"/>
                  <a:pt x="100" y="157"/>
                </a:cubicBezTo>
                <a:cubicBezTo>
                  <a:pt x="115" y="154"/>
                  <a:pt x="128" y="146"/>
                  <a:pt x="139" y="134"/>
                </a:cubicBezTo>
                <a:cubicBezTo>
                  <a:pt x="139" y="134"/>
                  <a:pt x="139" y="134"/>
                  <a:pt x="139" y="134"/>
                </a:cubicBezTo>
                <a:cubicBezTo>
                  <a:pt x="140" y="133"/>
                  <a:pt x="141" y="132"/>
                  <a:pt x="141" y="131"/>
                </a:cubicBezTo>
                <a:cubicBezTo>
                  <a:pt x="142" y="131"/>
                  <a:pt x="142" y="131"/>
                  <a:pt x="142" y="130"/>
                </a:cubicBezTo>
                <a:cubicBezTo>
                  <a:pt x="143" y="130"/>
                  <a:pt x="143" y="129"/>
                  <a:pt x="143" y="129"/>
                </a:cubicBezTo>
                <a:cubicBezTo>
                  <a:pt x="144" y="128"/>
                  <a:pt x="144" y="128"/>
                  <a:pt x="144" y="128"/>
                </a:cubicBezTo>
                <a:cubicBezTo>
                  <a:pt x="144" y="128"/>
                  <a:pt x="144" y="128"/>
                  <a:pt x="144" y="128"/>
                </a:cubicBezTo>
                <a:cubicBezTo>
                  <a:pt x="154" y="115"/>
                  <a:pt x="160" y="98"/>
                  <a:pt x="160" y="80"/>
                </a:cubicBezTo>
                <a:close/>
                <a:moveTo>
                  <a:pt x="155" y="80"/>
                </a:moveTo>
                <a:cubicBezTo>
                  <a:pt x="155" y="95"/>
                  <a:pt x="150" y="108"/>
                  <a:pt x="143" y="120"/>
                </a:cubicBezTo>
                <a:cubicBezTo>
                  <a:pt x="140" y="106"/>
                  <a:pt x="130" y="96"/>
                  <a:pt x="117" y="92"/>
                </a:cubicBezTo>
                <a:cubicBezTo>
                  <a:pt x="117" y="40"/>
                  <a:pt x="117" y="40"/>
                  <a:pt x="117" y="40"/>
                </a:cubicBezTo>
                <a:cubicBezTo>
                  <a:pt x="117" y="37"/>
                  <a:pt x="117" y="37"/>
                  <a:pt x="117" y="37"/>
                </a:cubicBezTo>
                <a:cubicBezTo>
                  <a:pt x="117" y="37"/>
                  <a:pt x="117" y="37"/>
                  <a:pt x="117" y="37"/>
                </a:cubicBezTo>
                <a:cubicBezTo>
                  <a:pt x="117" y="37"/>
                  <a:pt x="117" y="36"/>
                  <a:pt x="117" y="35"/>
                </a:cubicBezTo>
                <a:cubicBezTo>
                  <a:pt x="116" y="24"/>
                  <a:pt x="110" y="15"/>
                  <a:pt x="102" y="9"/>
                </a:cubicBezTo>
                <a:cubicBezTo>
                  <a:pt x="133" y="18"/>
                  <a:pt x="155" y="47"/>
                  <a:pt x="155" y="80"/>
                </a:cubicBezTo>
                <a:close/>
                <a:moveTo>
                  <a:pt x="138" y="127"/>
                </a:moveTo>
                <a:cubicBezTo>
                  <a:pt x="138" y="127"/>
                  <a:pt x="137" y="128"/>
                  <a:pt x="137" y="128"/>
                </a:cubicBezTo>
                <a:cubicBezTo>
                  <a:pt x="132" y="134"/>
                  <a:pt x="126" y="139"/>
                  <a:pt x="120" y="143"/>
                </a:cubicBezTo>
                <a:cubicBezTo>
                  <a:pt x="120" y="131"/>
                  <a:pt x="120" y="131"/>
                  <a:pt x="120" y="131"/>
                </a:cubicBezTo>
                <a:cubicBezTo>
                  <a:pt x="115" y="131"/>
                  <a:pt x="115" y="131"/>
                  <a:pt x="115" y="131"/>
                </a:cubicBezTo>
                <a:cubicBezTo>
                  <a:pt x="115" y="146"/>
                  <a:pt x="115" y="146"/>
                  <a:pt x="115" y="146"/>
                </a:cubicBezTo>
                <a:cubicBezTo>
                  <a:pt x="110" y="149"/>
                  <a:pt x="104" y="151"/>
                  <a:pt x="99" y="152"/>
                </a:cubicBezTo>
                <a:cubicBezTo>
                  <a:pt x="99" y="152"/>
                  <a:pt x="99" y="152"/>
                  <a:pt x="98" y="152"/>
                </a:cubicBezTo>
                <a:cubicBezTo>
                  <a:pt x="97" y="153"/>
                  <a:pt x="96" y="153"/>
                  <a:pt x="95" y="153"/>
                </a:cubicBezTo>
                <a:cubicBezTo>
                  <a:pt x="95" y="153"/>
                  <a:pt x="95" y="153"/>
                  <a:pt x="94" y="153"/>
                </a:cubicBezTo>
                <a:cubicBezTo>
                  <a:pt x="94" y="153"/>
                  <a:pt x="93" y="154"/>
                  <a:pt x="92" y="154"/>
                </a:cubicBezTo>
                <a:cubicBezTo>
                  <a:pt x="91" y="154"/>
                  <a:pt x="91" y="154"/>
                  <a:pt x="90" y="154"/>
                </a:cubicBezTo>
                <a:cubicBezTo>
                  <a:pt x="89" y="154"/>
                  <a:pt x="89" y="154"/>
                  <a:pt x="88" y="154"/>
                </a:cubicBezTo>
                <a:cubicBezTo>
                  <a:pt x="87" y="154"/>
                  <a:pt x="86" y="154"/>
                  <a:pt x="86" y="154"/>
                </a:cubicBezTo>
                <a:cubicBezTo>
                  <a:pt x="85" y="154"/>
                  <a:pt x="85" y="155"/>
                  <a:pt x="84" y="155"/>
                </a:cubicBezTo>
                <a:cubicBezTo>
                  <a:pt x="83" y="155"/>
                  <a:pt x="81" y="155"/>
                  <a:pt x="80" y="155"/>
                </a:cubicBezTo>
                <a:cubicBezTo>
                  <a:pt x="79" y="155"/>
                  <a:pt x="77" y="155"/>
                  <a:pt x="76" y="155"/>
                </a:cubicBezTo>
                <a:cubicBezTo>
                  <a:pt x="75" y="155"/>
                  <a:pt x="75" y="154"/>
                  <a:pt x="74" y="154"/>
                </a:cubicBezTo>
                <a:cubicBezTo>
                  <a:pt x="73" y="154"/>
                  <a:pt x="72" y="154"/>
                  <a:pt x="71" y="154"/>
                </a:cubicBezTo>
                <a:cubicBezTo>
                  <a:pt x="71" y="154"/>
                  <a:pt x="70" y="154"/>
                  <a:pt x="69" y="154"/>
                </a:cubicBezTo>
                <a:cubicBezTo>
                  <a:pt x="69" y="154"/>
                  <a:pt x="68" y="154"/>
                  <a:pt x="67" y="154"/>
                </a:cubicBezTo>
                <a:cubicBezTo>
                  <a:pt x="67" y="153"/>
                  <a:pt x="66" y="153"/>
                  <a:pt x="65" y="153"/>
                </a:cubicBezTo>
                <a:cubicBezTo>
                  <a:pt x="65" y="153"/>
                  <a:pt x="65" y="153"/>
                  <a:pt x="65" y="153"/>
                </a:cubicBezTo>
                <a:cubicBezTo>
                  <a:pt x="56" y="151"/>
                  <a:pt x="48" y="148"/>
                  <a:pt x="40" y="143"/>
                </a:cubicBezTo>
                <a:cubicBezTo>
                  <a:pt x="40" y="131"/>
                  <a:pt x="40" y="131"/>
                  <a:pt x="40" y="131"/>
                </a:cubicBezTo>
                <a:cubicBezTo>
                  <a:pt x="35" y="131"/>
                  <a:pt x="35" y="131"/>
                  <a:pt x="35" y="131"/>
                </a:cubicBezTo>
                <a:cubicBezTo>
                  <a:pt x="35" y="139"/>
                  <a:pt x="35" y="139"/>
                  <a:pt x="35" y="139"/>
                </a:cubicBezTo>
                <a:cubicBezTo>
                  <a:pt x="28" y="134"/>
                  <a:pt x="23" y="129"/>
                  <a:pt x="18" y="122"/>
                </a:cubicBezTo>
                <a:cubicBezTo>
                  <a:pt x="18" y="122"/>
                  <a:pt x="18" y="122"/>
                  <a:pt x="18" y="121"/>
                </a:cubicBezTo>
                <a:cubicBezTo>
                  <a:pt x="18" y="121"/>
                  <a:pt x="17" y="120"/>
                  <a:pt x="17" y="120"/>
                </a:cubicBezTo>
                <a:cubicBezTo>
                  <a:pt x="19" y="113"/>
                  <a:pt x="22" y="107"/>
                  <a:pt x="27" y="103"/>
                </a:cubicBezTo>
                <a:cubicBezTo>
                  <a:pt x="77" y="148"/>
                  <a:pt x="77" y="148"/>
                  <a:pt x="77" y="148"/>
                </a:cubicBezTo>
                <a:cubicBezTo>
                  <a:pt x="127" y="103"/>
                  <a:pt x="127" y="103"/>
                  <a:pt x="127" y="103"/>
                </a:cubicBezTo>
                <a:cubicBezTo>
                  <a:pt x="134" y="109"/>
                  <a:pt x="138" y="117"/>
                  <a:pt x="139" y="126"/>
                </a:cubicBezTo>
                <a:cubicBezTo>
                  <a:pt x="138" y="126"/>
                  <a:pt x="138" y="127"/>
                  <a:pt x="138" y="127"/>
                </a:cubicBezTo>
                <a:close/>
                <a:moveTo>
                  <a:pt x="43" y="91"/>
                </a:moveTo>
                <a:cubicBezTo>
                  <a:pt x="43" y="64"/>
                  <a:pt x="43" y="64"/>
                  <a:pt x="43" y="64"/>
                </a:cubicBezTo>
                <a:cubicBezTo>
                  <a:pt x="43" y="64"/>
                  <a:pt x="43" y="64"/>
                  <a:pt x="43" y="64"/>
                </a:cubicBezTo>
                <a:cubicBezTo>
                  <a:pt x="43" y="65"/>
                  <a:pt x="44" y="66"/>
                  <a:pt x="44" y="67"/>
                </a:cubicBezTo>
                <a:cubicBezTo>
                  <a:pt x="44" y="67"/>
                  <a:pt x="44" y="67"/>
                  <a:pt x="45" y="68"/>
                </a:cubicBezTo>
                <a:cubicBezTo>
                  <a:pt x="45" y="69"/>
                  <a:pt x="46" y="70"/>
                  <a:pt x="47" y="71"/>
                </a:cubicBezTo>
                <a:cubicBezTo>
                  <a:pt x="47" y="72"/>
                  <a:pt x="47" y="72"/>
                  <a:pt x="47" y="72"/>
                </a:cubicBezTo>
                <a:cubicBezTo>
                  <a:pt x="48" y="73"/>
                  <a:pt x="48" y="74"/>
                  <a:pt x="49" y="75"/>
                </a:cubicBezTo>
                <a:cubicBezTo>
                  <a:pt x="49" y="75"/>
                  <a:pt x="49" y="75"/>
                  <a:pt x="50" y="76"/>
                </a:cubicBezTo>
                <a:cubicBezTo>
                  <a:pt x="50" y="76"/>
                  <a:pt x="51" y="77"/>
                  <a:pt x="51" y="78"/>
                </a:cubicBezTo>
                <a:cubicBezTo>
                  <a:pt x="52" y="78"/>
                  <a:pt x="52" y="79"/>
                  <a:pt x="52" y="79"/>
                </a:cubicBezTo>
                <a:cubicBezTo>
                  <a:pt x="53" y="79"/>
                  <a:pt x="53" y="80"/>
                  <a:pt x="54" y="81"/>
                </a:cubicBezTo>
                <a:cubicBezTo>
                  <a:pt x="54" y="81"/>
                  <a:pt x="54" y="81"/>
                  <a:pt x="55" y="82"/>
                </a:cubicBezTo>
                <a:cubicBezTo>
                  <a:pt x="55" y="82"/>
                  <a:pt x="56" y="83"/>
                  <a:pt x="57" y="83"/>
                </a:cubicBezTo>
                <a:cubicBezTo>
                  <a:pt x="57" y="83"/>
                  <a:pt x="57" y="84"/>
                  <a:pt x="58" y="84"/>
                </a:cubicBezTo>
                <a:cubicBezTo>
                  <a:pt x="58" y="84"/>
                  <a:pt x="59" y="85"/>
                  <a:pt x="60" y="85"/>
                </a:cubicBezTo>
                <a:cubicBezTo>
                  <a:pt x="60" y="85"/>
                  <a:pt x="60" y="86"/>
                  <a:pt x="60" y="86"/>
                </a:cubicBezTo>
                <a:cubicBezTo>
                  <a:pt x="61" y="86"/>
                  <a:pt x="62" y="87"/>
                  <a:pt x="63" y="87"/>
                </a:cubicBezTo>
                <a:cubicBezTo>
                  <a:pt x="64" y="87"/>
                  <a:pt x="64" y="88"/>
                  <a:pt x="64" y="88"/>
                </a:cubicBezTo>
                <a:cubicBezTo>
                  <a:pt x="64" y="90"/>
                  <a:pt x="64" y="90"/>
                  <a:pt x="64" y="90"/>
                </a:cubicBezTo>
                <a:cubicBezTo>
                  <a:pt x="64" y="90"/>
                  <a:pt x="64" y="91"/>
                  <a:pt x="63" y="91"/>
                </a:cubicBezTo>
                <a:cubicBezTo>
                  <a:pt x="47" y="91"/>
                  <a:pt x="47" y="91"/>
                  <a:pt x="47" y="91"/>
                </a:cubicBezTo>
                <a:cubicBezTo>
                  <a:pt x="46" y="91"/>
                  <a:pt x="44" y="91"/>
                  <a:pt x="43" y="91"/>
                </a:cubicBezTo>
                <a:cubicBezTo>
                  <a:pt x="43" y="91"/>
                  <a:pt x="43" y="91"/>
                  <a:pt x="43" y="91"/>
                </a:cubicBezTo>
                <a:close/>
                <a:moveTo>
                  <a:pt x="41" y="97"/>
                </a:moveTo>
                <a:cubicBezTo>
                  <a:pt x="42" y="96"/>
                  <a:pt x="43" y="96"/>
                  <a:pt x="43" y="96"/>
                </a:cubicBezTo>
                <a:cubicBezTo>
                  <a:pt x="44" y="96"/>
                  <a:pt x="44" y="96"/>
                  <a:pt x="44" y="96"/>
                </a:cubicBezTo>
                <a:cubicBezTo>
                  <a:pt x="45" y="96"/>
                  <a:pt x="46" y="96"/>
                  <a:pt x="47" y="96"/>
                </a:cubicBezTo>
                <a:cubicBezTo>
                  <a:pt x="63" y="96"/>
                  <a:pt x="63" y="96"/>
                  <a:pt x="63" y="96"/>
                </a:cubicBezTo>
                <a:cubicBezTo>
                  <a:pt x="67" y="96"/>
                  <a:pt x="69" y="93"/>
                  <a:pt x="69" y="90"/>
                </a:cubicBezTo>
                <a:cubicBezTo>
                  <a:pt x="69" y="88"/>
                  <a:pt x="69" y="88"/>
                  <a:pt x="69" y="88"/>
                </a:cubicBezTo>
                <a:cubicBezTo>
                  <a:pt x="69" y="85"/>
                  <a:pt x="68" y="83"/>
                  <a:pt x="65" y="82"/>
                </a:cubicBezTo>
                <a:cubicBezTo>
                  <a:pt x="53" y="77"/>
                  <a:pt x="43" y="56"/>
                  <a:pt x="43" y="40"/>
                </a:cubicBezTo>
                <a:cubicBezTo>
                  <a:pt x="43" y="39"/>
                  <a:pt x="43" y="39"/>
                  <a:pt x="43" y="38"/>
                </a:cubicBezTo>
                <a:cubicBezTo>
                  <a:pt x="44" y="37"/>
                  <a:pt x="44" y="37"/>
                  <a:pt x="44" y="37"/>
                </a:cubicBezTo>
                <a:cubicBezTo>
                  <a:pt x="48" y="31"/>
                  <a:pt x="56" y="30"/>
                  <a:pt x="63" y="33"/>
                </a:cubicBezTo>
                <a:cubicBezTo>
                  <a:pt x="65" y="34"/>
                  <a:pt x="68" y="35"/>
                  <a:pt x="71" y="35"/>
                </a:cubicBezTo>
                <a:cubicBezTo>
                  <a:pt x="79" y="35"/>
                  <a:pt x="86" y="30"/>
                  <a:pt x="90" y="24"/>
                </a:cubicBezTo>
                <a:cubicBezTo>
                  <a:pt x="99" y="26"/>
                  <a:pt x="107" y="32"/>
                  <a:pt x="112" y="39"/>
                </a:cubicBezTo>
                <a:cubicBezTo>
                  <a:pt x="112" y="39"/>
                  <a:pt x="112" y="39"/>
                  <a:pt x="112" y="39"/>
                </a:cubicBezTo>
                <a:cubicBezTo>
                  <a:pt x="112" y="39"/>
                  <a:pt x="112" y="39"/>
                  <a:pt x="112" y="39"/>
                </a:cubicBezTo>
                <a:cubicBezTo>
                  <a:pt x="112" y="40"/>
                  <a:pt x="112" y="40"/>
                  <a:pt x="112" y="40"/>
                </a:cubicBezTo>
                <a:cubicBezTo>
                  <a:pt x="112" y="54"/>
                  <a:pt x="105" y="72"/>
                  <a:pt x="94" y="79"/>
                </a:cubicBezTo>
                <a:cubicBezTo>
                  <a:pt x="94" y="80"/>
                  <a:pt x="94" y="80"/>
                  <a:pt x="94" y="80"/>
                </a:cubicBezTo>
                <a:cubicBezTo>
                  <a:pt x="93" y="80"/>
                  <a:pt x="93" y="81"/>
                  <a:pt x="92" y="81"/>
                </a:cubicBezTo>
                <a:cubicBezTo>
                  <a:pt x="91" y="81"/>
                  <a:pt x="90" y="82"/>
                  <a:pt x="90" y="82"/>
                </a:cubicBezTo>
                <a:cubicBezTo>
                  <a:pt x="87" y="83"/>
                  <a:pt x="85" y="85"/>
                  <a:pt x="85" y="88"/>
                </a:cubicBezTo>
                <a:cubicBezTo>
                  <a:pt x="85" y="90"/>
                  <a:pt x="85" y="90"/>
                  <a:pt x="85" y="90"/>
                </a:cubicBezTo>
                <a:cubicBezTo>
                  <a:pt x="85" y="93"/>
                  <a:pt x="88" y="96"/>
                  <a:pt x="92" y="96"/>
                </a:cubicBezTo>
                <a:cubicBezTo>
                  <a:pt x="107" y="96"/>
                  <a:pt x="107" y="96"/>
                  <a:pt x="107" y="96"/>
                </a:cubicBezTo>
                <a:cubicBezTo>
                  <a:pt x="109" y="96"/>
                  <a:pt x="110" y="96"/>
                  <a:pt x="111" y="96"/>
                </a:cubicBezTo>
                <a:cubicBezTo>
                  <a:pt x="111" y="96"/>
                  <a:pt x="111" y="96"/>
                  <a:pt x="111" y="96"/>
                </a:cubicBezTo>
                <a:cubicBezTo>
                  <a:pt x="112" y="96"/>
                  <a:pt x="113" y="96"/>
                  <a:pt x="114" y="97"/>
                </a:cubicBezTo>
                <a:cubicBezTo>
                  <a:pt x="117" y="97"/>
                  <a:pt x="120" y="98"/>
                  <a:pt x="123" y="100"/>
                </a:cubicBezTo>
                <a:cubicBezTo>
                  <a:pt x="80" y="138"/>
                  <a:pt x="80" y="138"/>
                  <a:pt x="80" y="138"/>
                </a:cubicBezTo>
                <a:cubicBezTo>
                  <a:pt x="80" y="136"/>
                  <a:pt x="80" y="136"/>
                  <a:pt x="80" y="136"/>
                </a:cubicBezTo>
                <a:cubicBezTo>
                  <a:pt x="80" y="124"/>
                  <a:pt x="90" y="115"/>
                  <a:pt x="101" y="115"/>
                </a:cubicBezTo>
                <a:cubicBezTo>
                  <a:pt x="103" y="115"/>
                  <a:pt x="104" y="113"/>
                  <a:pt x="104" y="112"/>
                </a:cubicBezTo>
                <a:cubicBezTo>
                  <a:pt x="104" y="111"/>
                  <a:pt x="103" y="109"/>
                  <a:pt x="101" y="109"/>
                </a:cubicBezTo>
                <a:cubicBezTo>
                  <a:pt x="91" y="109"/>
                  <a:pt x="82" y="116"/>
                  <a:pt x="77" y="124"/>
                </a:cubicBezTo>
                <a:cubicBezTo>
                  <a:pt x="73" y="116"/>
                  <a:pt x="64" y="109"/>
                  <a:pt x="53" y="109"/>
                </a:cubicBezTo>
                <a:cubicBezTo>
                  <a:pt x="52" y="109"/>
                  <a:pt x="51" y="111"/>
                  <a:pt x="51" y="112"/>
                </a:cubicBezTo>
                <a:cubicBezTo>
                  <a:pt x="51" y="113"/>
                  <a:pt x="52" y="115"/>
                  <a:pt x="53" y="115"/>
                </a:cubicBezTo>
                <a:cubicBezTo>
                  <a:pt x="65" y="115"/>
                  <a:pt x="75" y="124"/>
                  <a:pt x="75" y="136"/>
                </a:cubicBezTo>
                <a:cubicBezTo>
                  <a:pt x="75" y="138"/>
                  <a:pt x="75" y="138"/>
                  <a:pt x="75" y="138"/>
                </a:cubicBezTo>
                <a:cubicBezTo>
                  <a:pt x="32" y="100"/>
                  <a:pt x="32" y="100"/>
                  <a:pt x="32" y="100"/>
                </a:cubicBezTo>
                <a:cubicBezTo>
                  <a:pt x="35" y="98"/>
                  <a:pt x="38" y="97"/>
                  <a:pt x="41" y="97"/>
                </a:cubicBezTo>
                <a:close/>
                <a:moveTo>
                  <a:pt x="73" y="6"/>
                </a:moveTo>
                <a:cubicBezTo>
                  <a:pt x="73" y="6"/>
                  <a:pt x="74" y="6"/>
                  <a:pt x="75" y="5"/>
                </a:cubicBezTo>
                <a:cubicBezTo>
                  <a:pt x="76" y="5"/>
                  <a:pt x="77" y="5"/>
                  <a:pt x="78" y="5"/>
                </a:cubicBezTo>
                <a:cubicBezTo>
                  <a:pt x="78" y="5"/>
                  <a:pt x="78" y="5"/>
                  <a:pt x="78" y="5"/>
                </a:cubicBezTo>
                <a:cubicBezTo>
                  <a:pt x="79" y="5"/>
                  <a:pt x="80" y="5"/>
                  <a:pt x="81" y="6"/>
                </a:cubicBezTo>
                <a:cubicBezTo>
                  <a:pt x="95" y="7"/>
                  <a:pt x="106" y="17"/>
                  <a:pt x="110" y="29"/>
                </a:cubicBezTo>
                <a:cubicBezTo>
                  <a:pt x="104" y="24"/>
                  <a:pt x="97" y="20"/>
                  <a:pt x="89" y="18"/>
                </a:cubicBezTo>
                <a:cubicBezTo>
                  <a:pt x="87" y="17"/>
                  <a:pt x="87" y="17"/>
                  <a:pt x="87" y="17"/>
                </a:cubicBezTo>
                <a:cubicBezTo>
                  <a:pt x="86" y="19"/>
                  <a:pt x="86" y="19"/>
                  <a:pt x="86" y="19"/>
                </a:cubicBezTo>
                <a:cubicBezTo>
                  <a:pt x="84" y="25"/>
                  <a:pt x="78" y="29"/>
                  <a:pt x="71" y="29"/>
                </a:cubicBezTo>
                <a:cubicBezTo>
                  <a:pt x="69" y="29"/>
                  <a:pt x="67" y="29"/>
                  <a:pt x="65" y="28"/>
                </a:cubicBezTo>
                <a:cubicBezTo>
                  <a:pt x="58" y="25"/>
                  <a:pt x="50" y="26"/>
                  <a:pt x="44" y="29"/>
                </a:cubicBezTo>
                <a:cubicBezTo>
                  <a:pt x="48" y="17"/>
                  <a:pt x="59" y="8"/>
                  <a:pt x="73" y="6"/>
                </a:cubicBezTo>
                <a:close/>
                <a:moveTo>
                  <a:pt x="112" y="91"/>
                </a:moveTo>
                <a:cubicBezTo>
                  <a:pt x="112" y="91"/>
                  <a:pt x="112" y="91"/>
                  <a:pt x="112" y="91"/>
                </a:cubicBezTo>
                <a:cubicBezTo>
                  <a:pt x="110" y="91"/>
                  <a:pt x="109" y="91"/>
                  <a:pt x="107" y="91"/>
                </a:cubicBezTo>
                <a:cubicBezTo>
                  <a:pt x="92" y="91"/>
                  <a:pt x="92" y="91"/>
                  <a:pt x="92" y="91"/>
                </a:cubicBezTo>
                <a:cubicBezTo>
                  <a:pt x="91" y="91"/>
                  <a:pt x="91" y="90"/>
                  <a:pt x="91" y="90"/>
                </a:cubicBezTo>
                <a:cubicBezTo>
                  <a:pt x="91" y="88"/>
                  <a:pt x="91" y="88"/>
                  <a:pt x="91" y="88"/>
                </a:cubicBezTo>
                <a:cubicBezTo>
                  <a:pt x="91" y="87"/>
                  <a:pt x="91" y="87"/>
                  <a:pt x="91" y="87"/>
                </a:cubicBezTo>
                <a:cubicBezTo>
                  <a:pt x="91" y="87"/>
                  <a:pt x="91" y="87"/>
                  <a:pt x="91" y="87"/>
                </a:cubicBezTo>
                <a:cubicBezTo>
                  <a:pt x="100" y="84"/>
                  <a:pt x="107" y="75"/>
                  <a:pt x="112" y="64"/>
                </a:cubicBezTo>
                <a:lnTo>
                  <a:pt x="112" y="91"/>
                </a:lnTo>
                <a:close/>
                <a:moveTo>
                  <a:pt x="49" y="12"/>
                </a:moveTo>
                <a:cubicBezTo>
                  <a:pt x="42" y="20"/>
                  <a:pt x="37" y="29"/>
                  <a:pt x="37" y="40"/>
                </a:cubicBezTo>
                <a:cubicBezTo>
                  <a:pt x="37" y="92"/>
                  <a:pt x="37" y="92"/>
                  <a:pt x="37" y="92"/>
                </a:cubicBezTo>
                <a:cubicBezTo>
                  <a:pt x="27" y="95"/>
                  <a:pt x="18" y="103"/>
                  <a:pt x="13" y="114"/>
                </a:cubicBezTo>
                <a:cubicBezTo>
                  <a:pt x="8" y="103"/>
                  <a:pt x="5" y="92"/>
                  <a:pt x="5" y="80"/>
                </a:cubicBezTo>
                <a:cubicBezTo>
                  <a:pt x="5" y="50"/>
                  <a:pt x="23" y="24"/>
                  <a:pt x="49" y="12"/>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57">
            <a:extLst>
              <a:ext uri="{FF2B5EF4-FFF2-40B4-BE49-F238E27FC236}">
                <a16:creationId xmlns:a16="http://schemas.microsoft.com/office/drawing/2014/main" id="{B46BF386-6F65-B04C-9A6B-880AC3E9BE38}"/>
              </a:ext>
            </a:extLst>
          </p:cNvPr>
          <p:cNvSpPr>
            <a:spLocks noEditPoints="1"/>
          </p:cNvSpPr>
          <p:nvPr/>
        </p:nvSpPr>
        <p:spPr bwMode="auto">
          <a:xfrm>
            <a:off x="5843279" y="5167313"/>
            <a:ext cx="600075" cy="606425"/>
          </a:xfrm>
          <a:custGeom>
            <a:avLst/>
            <a:gdLst>
              <a:gd name="T0" fmla="*/ 13 w 160"/>
              <a:gd name="T1" fmla="*/ 124 h 160"/>
              <a:gd name="T2" fmla="*/ 16 w 160"/>
              <a:gd name="T3" fmla="*/ 128 h 160"/>
              <a:gd name="T4" fmla="*/ 29 w 160"/>
              <a:gd name="T5" fmla="*/ 142 h 160"/>
              <a:gd name="T6" fmla="*/ 36 w 160"/>
              <a:gd name="T7" fmla="*/ 147 h 160"/>
              <a:gd name="T8" fmla="*/ 46 w 160"/>
              <a:gd name="T9" fmla="*/ 153 h 160"/>
              <a:gd name="T10" fmla="*/ 61 w 160"/>
              <a:gd name="T11" fmla="*/ 158 h 160"/>
              <a:gd name="T12" fmla="*/ 66 w 160"/>
              <a:gd name="T13" fmla="*/ 159 h 160"/>
              <a:gd name="T14" fmla="*/ 69 w 160"/>
              <a:gd name="T15" fmla="*/ 159 h 160"/>
              <a:gd name="T16" fmla="*/ 74 w 160"/>
              <a:gd name="T17" fmla="*/ 160 h 160"/>
              <a:gd name="T18" fmla="*/ 85 w 160"/>
              <a:gd name="T19" fmla="*/ 160 h 160"/>
              <a:gd name="T20" fmla="*/ 91 w 160"/>
              <a:gd name="T21" fmla="*/ 159 h 160"/>
              <a:gd name="T22" fmla="*/ 92 w 160"/>
              <a:gd name="T23" fmla="*/ 159 h 160"/>
              <a:gd name="T24" fmla="*/ 95 w 160"/>
              <a:gd name="T25" fmla="*/ 159 h 160"/>
              <a:gd name="T26" fmla="*/ 109 w 160"/>
              <a:gd name="T27" fmla="*/ 154 h 160"/>
              <a:gd name="T28" fmla="*/ 118 w 160"/>
              <a:gd name="T29" fmla="*/ 151 h 160"/>
              <a:gd name="T30" fmla="*/ 127 w 160"/>
              <a:gd name="T31" fmla="*/ 145 h 160"/>
              <a:gd name="T32" fmla="*/ 141 w 160"/>
              <a:gd name="T33" fmla="*/ 131 h 160"/>
              <a:gd name="T34" fmla="*/ 146 w 160"/>
              <a:gd name="T35" fmla="*/ 125 h 160"/>
              <a:gd name="T36" fmla="*/ 155 w 160"/>
              <a:gd name="T37" fmla="*/ 80 h 160"/>
              <a:gd name="T38" fmla="*/ 110 w 160"/>
              <a:gd name="T39" fmla="*/ 91 h 160"/>
              <a:gd name="T40" fmla="*/ 93 w 160"/>
              <a:gd name="T41" fmla="*/ 88 h 160"/>
              <a:gd name="T42" fmla="*/ 155 w 160"/>
              <a:gd name="T43" fmla="*/ 80 h 160"/>
              <a:gd name="T44" fmla="*/ 137 w 160"/>
              <a:gd name="T45" fmla="*/ 128 h 160"/>
              <a:gd name="T46" fmla="*/ 127 w 160"/>
              <a:gd name="T47" fmla="*/ 138 h 160"/>
              <a:gd name="T48" fmla="*/ 123 w 160"/>
              <a:gd name="T49" fmla="*/ 128 h 160"/>
              <a:gd name="T50" fmla="*/ 115 w 160"/>
              <a:gd name="T51" fmla="*/ 146 h 160"/>
              <a:gd name="T52" fmla="*/ 107 w 160"/>
              <a:gd name="T53" fmla="*/ 150 h 160"/>
              <a:gd name="T54" fmla="*/ 94 w 160"/>
              <a:gd name="T55" fmla="*/ 153 h 160"/>
              <a:gd name="T56" fmla="*/ 91 w 160"/>
              <a:gd name="T57" fmla="*/ 116 h 160"/>
              <a:gd name="T58" fmla="*/ 140 w 160"/>
              <a:gd name="T59" fmla="*/ 124 h 160"/>
              <a:gd name="T60" fmla="*/ 53 w 160"/>
              <a:gd name="T61" fmla="*/ 150 h 160"/>
              <a:gd name="T62" fmla="*/ 45 w 160"/>
              <a:gd name="T63" fmla="*/ 146 h 160"/>
              <a:gd name="T64" fmla="*/ 37 w 160"/>
              <a:gd name="T65" fmla="*/ 128 h 160"/>
              <a:gd name="T66" fmla="*/ 33 w 160"/>
              <a:gd name="T67" fmla="*/ 138 h 160"/>
              <a:gd name="T68" fmla="*/ 23 w 160"/>
              <a:gd name="T69" fmla="*/ 128 h 160"/>
              <a:gd name="T70" fmla="*/ 19 w 160"/>
              <a:gd name="T71" fmla="*/ 123 h 160"/>
              <a:gd name="T72" fmla="*/ 69 w 160"/>
              <a:gd name="T73" fmla="*/ 123 h 160"/>
              <a:gd name="T74" fmla="*/ 63 w 160"/>
              <a:gd name="T75" fmla="*/ 153 h 160"/>
              <a:gd name="T76" fmla="*/ 47 w 160"/>
              <a:gd name="T77" fmla="*/ 37 h 160"/>
              <a:gd name="T78" fmla="*/ 115 w 160"/>
              <a:gd name="T79" fmla="*/ 38 h 160"/>
              <a:gd name="T80" fmla="*/ 93 w 160"/>
              <a:gd name="T81" fmla="*/ 96 h 160"/>
              <a:gd name="T82" fmla="*/ 72 w 160"/>
              <a:gd name="T83" fmla="*/ 90 h 160"/>
              <a:gd name="T84" fmla="*/ 80 w 160"/>
              <a:gd name="T85" fmla="*/ 5 h 160"/>
              <a:gd name="T86" fmla="*/ 90 w 160"/>
              <a:gd name="T87" fmla="*/ 17 h 160"/>
              <a:gd name="T88" fmla="*/ 47 w 160"/>
              <a:gd name="T89" fmla="*/ 30 h 160"/>
              <a:gd name="T90" fmla="*/ 100 w 160"/>
              <a:gd name="T91" fmla="*/ 96 h 160"/>
              <a:gd name="T92" fmla="*/ 91 w 160"/>
              <a:gd name="T93" fmla="*/ 107 h 160"/>
              <a:gd name="T94" fmla="*/ 80 w 160"/>
              <a:gd name="T95" fmla="*/ 155 h 160"/>
              <a:gd name="T96" fmla="*/ 77 w 160"/>
              <a:gd name="T97" fmla="*/ 123 h 160"/>
              <a:gd name="T98" fmla="*/ 85 w 160"/>
              <a:gd name="T99" fmla="*/ 117 h 160"/>
              <a:gd name="T100" fmla="*/ 85 w 160"/>
              <a:gd name="T101" fmla="*/ 107 h 160"/>
              <a:gd name="T102" fmla="*/ 69 w 160"/>
              <a:gd name="T103" fmla="*/ 110 h 160"/>
              <a:gd name="T104" fmla="*/ 69 w 160"/>
              <a:gd name="T105" fmla="*/ 107 h 160"/>
              <a:gd name="T106" fmla="*/ 66 w 160"/>
              <a:gd name="T107" fmla="*/ 87 h 160"/>
              <a:gd name="T108" fmla="*/ 63 w 160"/>
              <a:gd name="T109" fmla="*/ 91 h 160"/>
              <a:gd name="T110" fmla="*/ 15 w 160"/>
              <a:gd name="T111"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60">
                <a:moveTo>
                  <a:pt x="160" y="80"/>
                </a:moveTo>
                <a:cubicBezTo>
                  <a:pt x="160" y="36"/>
                  <a:pt x="124" y="0"/>
                  <a:pt x="80" y="0"/>
                </a:cubicBezTo>
                <a:cubicBezTo>
                  <a:pt x="36" y="0"/>
                  <a:pt x="0" y="36"/>
                  <a:pt x="0" y="80"/>
                </a:cubicBezTo>
                <a:cubicBezTo>
                  <a:pt x="0" y="96"/>
                  <a:pt x="5" y="112"/>
                  <a:pt x="13" y="124"/>
                </a:cubicBezTo>
                <a:cubicBezTo>
                  <a:pt x="13" y="124"/>
                  <a:pt x="13" y="124"/>
                  <a:pt x="13" y="124"/>
                </a:cubicBezTo>
                <a:cubicBezTo>
                  <a:pt x="14" y="125"/>
                  <a:pt x="14" y="125"/>
                  <a:pt x="14" y="125"/>
                </a:cubicBezTo>
                <a:cubicBezTo>
                  <a:pt x="14" y="126"/>
                  <a:pt x="15" y="127"/>
                  <a:pt x="15" y="127"/>
                </a:cubicBezTo>
                <a:cubicBezTo>
                  <a:pt x="16" y="128"/>
                  <a:pt x="16" y="128"/>
                  <a:pt x="16" y="128"/>
                </a:cubicBezTo>
                <a:cubicBezTo>
                  <a:pt x="17" y="129"/>
                  <a:pt x="17" y="130"/>
                  <a:pt x="18" y="131"/>
                </a:cubicBezTo>
                <a:cubicBezTo>
                  <a:pt x="18" y="131"/>
                  <a:pt x="18" y="131"/>
                  <a:pt x="19" y="131"/>
                </a:cubicBezTo>
                <a:cubicBezTo>
                  <a:pt x="22" y="135"/>
                  <a:pt x="25" y="138"/>
                  <a:pt x="29" y="141"/>
                </a:cubicBezTo>
                <a:cubicBezTo>
                  <a:pt x="29" y="142"/>
                  <a:pt x="29" y="142"/>
                  <a:pt x="29" y="142"/>
                </a:cubicBezTo>
                <a:cubicBezTo>
                  <a:pt x="30" y="143"/>
                  <a:pt x="31" y="143"/>
                  <a:pt x="32" y="144"/>
                </a:cubicBezTo>
                <a:cubicBezTo>
                  <a:pt x="32" y="144"/>
                  <a:pt x="32" y="144"/>
                  <a:pt x="33" y="145"/>
                </a:cubicBezTo>
                <a:cubicBezTo>
                  <a:pt x="34" y="145"/>
                  <a:pt x="34" y="146"/>
                  <a:pt x="35" y="146"/>
                </a:cubicBezTo>
                <a:cubicBezTo>
                  <a:pt x="36" y="147"/>
                  <a:pt x="36" y="147"/>
                  <a:pt x="36" y="147"/>
                </a:cubicBezTo>
                <a:cubicBezTo>
                  <a:pt x="38" y="148"/>
                  <a:pt x="39" y="148"/>
                  <a:pt x="40" y="149"/>
                </a:cubicBezTo>
                <a:cubicBezTo>
                  <a:pt x="41" y="150"/>
                  <a:pt x="41" y="150"/>
                  <a:pt x="42" y="151"/>
                </a:cubicBezTo>
                <a:cubicBezTo>
                  <a:pt x="43" y="151"/>
                  <a:pt x="43" y="151"/>
                  <a:pt x="44" y="151"/>
                </a:cubicBezTo>
                <a:cubicBezTo>
                  <a:pt x="45" y="152"/>
                  <a:pt x="45" y="152"/>
                  <a:pt x="46" y="153"/>
                </a:cubicBezTo>
                <a:cubicBezTo>
                  <a:pt x="47" y="153"/>
                  <a:pt x="47" y="153"/>
                  <a:pt x="48" y="153"/>
                </a:cubicBezTo>
                <a:cubicBezTo>
                  <a:pt x="49" y="154"/>
                  <a:pt x="50" y="154"/>
                  <a:pt x="51" y="154"/>
                </a:cubicBezTo>
                <a:cubicBezTo>
                  <a:pt x="51" y="155"/>
                  <a:pt x="51" y="155"/>
                  <a:pt x="52" y="155"/>
                </a:cubicBezTo>
                <a:cubicBezTo>
                  <a:pt x="55" y="156"/>
                  <a:pt x="58" y="157"/>
                  <a:pt x="61" y="158"/>
                </a:cubicBezTo>
                <a:cubicBezTo>
                  <a:pt x="61" y="158"/>
                  <a:pt x="61" y="158"/>
                  <a:pt x="61" y="158"/>
                </a:cubicBezTo>
                <a:cubicBezTo>
                  <a:pt x="62" y="158"/>
                  <a:pt x="64" y="158"/>
                  <a:pt x="65" y="159"/>
                </a:cubicBezTo>
                <a:cubicBezTo>
                  <a:pt x="65" y="159"/>
                  <a:pt x="66" y="159"/>
                  <a:pt x="66" y="159"/>
                </a:cubicBezTo>
                <a:cubicBezTo>
                  <a:pt x="66" y="159"/>
                  <a:pt x="66" y="159"/>
                  <a:pt x="66" y="159"/>
                </a:cubicBezTo>
                <a:cubicBezTo>
                  <a:pt x="66" y="159"/>
                  <a:pt x="66" y="159"/>
                  <a:pt x="66" y="159"/>
                </a:cubicBezTo>
                <a:cubicBezTo>
                  <a:pt x="68" y="159"/>
                  <a:pt x="68" y="159"/>
                  <a:pt x="68" y="159"/>
                </a:cubicBezTo>
                <a:cubicBezTo>
                  <a:pt x="68" y="159"/>
                  <a:pt x="68" y="159"/>
                  <a:pt x="69" y="159"/>
                </a:cubicBezTo>
                <a:cubicBezTo>
                  <a:pt x="69" y="159"/>
                  <a:pt x="69" y="159"/>
                  <a:pt x="69" y="159"/>
                </a:cubicBezTo>
                <a:cubicBezTo>
                  <a:pt x="69" y="159"/>
                  <a:pt x="69" y="159"/>
                  <a:pt x="69" y="159"/>
                </a:cubicBezTo>
                <a:cubicBezTo>
                  <a:pt x="69" y="159"/>
                  <a:pt x="69" y="159"/>
                  <a:pt x="69" y="159"/>
                </a:cubicBezTo>
                <a:cubicBezTo>
                  <a:pt x="70" y="159"/>
                  <a:pt x="70" y="159"/>
                  <a:pt x="71" y="159"/>
                </a:cubicBezTo>
                <a:cubicBezTo>
                  <a:pt x="72" y="160"/>
                  <a:pt x="73" y="160"/>
                  <a:pt x="74" y="160"/>
                </a:cubicBezTo>
                <a:cubicBezTo>
                  <a:pt x="74" y="160"/>
                  <a:pt x="74" y="160"/>
                  <a:pt x="75" y="160"/>
                </a:cubicBezTo>
                <a:cubicBezTo>
                  <a:pt x="75" y="160"/>
                  <a:pt x="75" y="160"/>
                  <a:pt x="75" y="160"/>
                </a:cubicBezTo>
                <a:cubicBezTo>
                  <a:pt x="77" y="160"/>
                  <a:pt x="78" y="160"/>
                  <a:pt x="80" y="160"/>
                </a:cubicBezTo>
                <a:cubicBezTo>
                  <a:pt x="82" y="160"/>
                  <a:pt x="83" y="160"/>
                  <a:pt x="85" y="160"/>
                </a:cubicBezTo>
                <a:cubicBezTo>
                  <a:pt x="85" y="160"/>
                  <a:pt x="85" y="160"/>
                  <a:pt x="85" y="160"/>
                </a:cubicBezTo>
                <a:cubicBezTo>
                  <a:pt x="86" y="160"/>
                  <a:pt x="86" y="160"/>
                  <a:pt x="86" y="160"/>
                </a:cubicBezTo>
                <a:cubicBezTo>
                  <a:pt x="87" y="160"/>
                  <a:pt x="88" y="160"/>
                  <a:pt x="89" y="159"/>
                </a:cubicBezTo>
                <a:cubicBezTo>
                  <a:pt x="90" y="159"/>
                  <a:pt x="90" y="159"/>
                  <a:pt x="91" y="159"/>
                </a:cubicBezTo>
                <a:cubicBezTo>
                  <a:pt x="91" y="159"/>
                  <a:pt x="91" y="159"/>
                  <a:pt x="91" y="159"/>
                </a:cubicBezTo>
                <a:cubicBezTo>
                  <a:pt x="91" y="159"/>
                  <a:pt x="91" y="159"/>
                  <a:pt x="91" y="159"/>
                </a:cubicBezTo>
                <a:cubicBezTo>
                  <a:pt x="91" y="159"/>
                  <a:pt x="91" y="159"/>
                  <a:pt x="91" y="159"/>
                </a:cubicBezTo>
                <a:cubicBezTo>
                  <a:pt x="92" y="159"/>
                  <a:pt x="92" y="159"/>
                  <a:pt x="92" y="159"/>
                </a:cubicBezTo>
                <a:cubicBezTo>
                  <a:pt x="94" y="159"/>
                  <a:pt x="94" y="159"/>
                  <a:pt x="94" y="159"/>
                </a:cubicBezTo>
                <a:cubicBezTo>
                  <a:pt x="94" y="159"/>
                  <a:pt x="94" y="159"/>
                  <a:pt x="94" y="159"/>
                </a:cubicBezTo>
                <a:cubicBezTo>
                  <a:pt x="94" y="159"/>
                  <a:pt x="94" y="159"/>
                  <a:pt x="94" y="159"/>
                </a:cubicBezTo>
                <a:cubicBezTo>
                  <a:pt x="94" y="159"/>
                  <a:pt x="95" y="159"/>
                  <a:pt x="95" y="159"/>
                </a:cubicBezTo>
                <a:cubicBezTo>
                  <a:pt x="96" y="158"/>
                  <a:pt x="98" y="158"/>
                  <a:pt x="99" y="158"/>
                </a:cubicBezTo>
                <a:cubicBezTo>
                  <a:pt x="99" y="158"/>
                  <a:pt x="99" y="158"/>
                  <a:pt x="99" y="158"/>
                </a:cubicBezTo>
                <a:cubicBezTo>
                  <a:pt x="102" y="157"/>
                  <a:pt x="105" y="156"/>
                  <a:pt x="108" y="155"/>
                </a:cubicBezTo>
                <a:cubicBezTo>
                  <a:pt x="109" y="155"/>
                  <a:pt x="109" y="155"/>
                  <a:pt x="109" y="154"/>
                </a:cubicBezTo>
                <a:cubicBezTo>
                  <a:pt x="110" y="154"/>
                  <a:pt x="111" y="154"/>
                  <a:pt x="112" y="153"/>
                </a:cubicBezTo>
                <a:cubicBezTo>
                  <a:pt x="113" y="153"/>
                  <a:pt x="113" y="153"/>
                  <a:pt x="114" y="153"/>
                </a:cubicBezTo>
                <a:cubicBezTo>
                  <a:pt x="115" y="152"/>
                  <a:pt x="115" y="152"/>
                  <a:pt x="116" y="151"/>
                </a:cubicBezTo>
                <a:cubicBezTo>
                  <a:pt x="117" y="151"/>
                  <a:pt x="117" y="151"/>
                  <a:pt x="118" y="151"/>
                </a:cubicBezTo>
                <a:cubicBezTo>
                  <a:pt x="119" y="150"/>
                  <a:pt x="119" y="150"/>
                  <a:pt x="120" y="149"/>
                </a:cubicBezTo>
                <a:cubicBezTo>
                  <a:pt x="121" y="148"/>
                  <a:pt x="122" y="148"/>
                  <a:pt x="124" y="147"/>
                </a:cubicBezTo>
                <a:cubicBezTo>
                  <a:pt x="124" y="147"/>
                  <a:pt x="124" y="147"/>
                  <a:pt x="125" y="146"/>
                </a:cubicBezTo>
                <a:cubicBezTo>
                  <a:pt x="126" y="146"/>
                  <a:pt x="126" y="145"/>
                  <a:pt x="127" y="145"/>
                </a:cubicBezTo>
                <a:cubicBezTo>
                  <a:pt x="128" y="144"/>
                  <a:pt x="128" y="144"/>
                  <a:pt x="128" y="144"/>
                </a:cubicBezTo>
                <a:cubicBezTo>
                  <a:pt x="129" y="143"/>
                  <a:pt x="130" y="143"/>
                  <a:pt x="131" y="142"/>
                </a:cubicBezTo>
                <a:cubicBezTo>
                  <a:pt x="131" y="142"/>
                  <a:pt x="131" y="142"/>
                  <a:pt x="131" y="141"/>
                </a:cubicBezTo>
                <a:cubicBezTo>
                  <a:pt x="135" y="138"/>
                  <a:pt x="138" y="135"/>
                  <a:pt x="141" y="131"/>
                </a:cubicBezTo>
                <a:cubicBezTo>
                  <a:pt x="142" y="131"/>
                  <a:pt x="142" y="131"/>
                  <a:pt x="142" y="131"/>
                </a:cubicBezTo>
                <a:cubicBezTo>
                  <a:pt x="143" y="130"/>
                  <a:pt x="143" y="129"/>
                  <a:pt x="144" y="128"/>
                </a:cubicBezTo>
                <a:cubicBezTo>
                  <a:pt x="144" y="128"/>
                  <a:pt x="144" y="128"/>
                  <a:pt x="145" y="127"/>
                </a:cubicBezTo>
                <a:cubicBezTo>
                  <a:pt x="145" y="127"/>
                  <a:pt x="146" y="126"/>
                  <a:pt x="146" y="125"/>
                </a:cubicBezTo>
                <a:cubicBezTo>
                  <a:pt x="147" y="124"/>
                  <a:pt x="147" y="124"/>
                  <a:pt x="147" y="124"/>
                </a:cubicBezTo>
                <a:cubicBezTo>
                  <a:pt x="147" y="124"/>
                  <a:pt x="147" y="124"/>
                  <a:pt x="147" y="124"/>
                </a:cubicBezTo>
                <a:cubicBezTo>
                  <a:pt x="155" y="112"/>
                  <a:pt x="160" y="96"/>
                  <a:pt x="160" y="80"/>
                </a:cubicBezTo>
                <a:close/>
                <a:moveTo>
                  <a:pt x="155" y="80"/>
                </a:moveTo>
                <a:cubicBezTo>
                  <a:pt x="155" y="93"/>
                  <a:pt x="151" y="106"/>
                  <a:pt x="145" y="117"/>
                </a:cubicBezTo>
                <a:cubicBezTo>
                  <a:pt x="141" y="102"/>
                  <a:pt x="128" y="92"/>
                  <a:pt x="113" y="91"/>
                </a:cubicBezTo>
                <a:cubicBezTo>
                  <a:pt x="113" y="91"/>
                  <a:pt x="113" y="91"/>
                  <a:pt x="113" y="91"/>
                </a:cubicBezTo>
                <a:cubicBezTo>
                  <a:pt x="110" y="91"/>
                  <a:pt x="110" y="91"/>
                  <a:pt x="110" y="91"/>
                </a:cubicBezTo>
                <a:cubicBezTo>
                  <a:pt x="97" y="91"/>
                  <a:pt x="97" y="91"/>
                  <a:pt x="97" y="91"/>
                </a:cubicBezTo>
                <a:cubicBezTo>
                  <a:pt x="94" y="91"/>
                  <a:pt x="94" y="91"/>
                  <a:pt x="94" y="91"/>
                </a:cubicBezTo>
                <a:cubicBezTo>
                  <a:pt x="94" y="91"/>
                  <a:pt x="93" y="90"/>
                  <a:pt x="93" y="90"/>
                </a:cubicBezTo>
                <a:cubicBezTo>
                  <a:pt x="93" y="88"/>
                  <a:pt x="93" y="88"/>
                  <a:pt x="93" y="88"/>
                </a:cubicBezTo>
                <a:cubicBezTo>
                  <a:pt x="93" y="87"/>
                  <a:pt x="94" y="87"/>
                  <a:pt x="94" y="87"/>
                </a:cubicBezTo>
                <a:cubicBezTo>
                  <a:pt x="111" y="81"/>
                  <a:pt x="122" y="54"/>
                  <a:pt x="120" y="35"/>
                </a:cubicBezTo>
                <a:cubicBezTo>
                  <a:pt x="119" y="25"/>
                  <a:pt x="114" y="17"/>
                  <a:pt x="107" y="10"/>
                </a:cubicBezTo>
                <a:cubicBezTo>
                  <a:pt x="135" y="21"/>
                  <a:pt x="155" y="48"/>
                  <a:pt x="155" y="80"/>
                </a:cubicBezTo>
                <a:close/>
                <a:moveTo>
                  <a:pt x="140" y="124"/>
                </a:moveTo>
                <a:cubicBezTo>
                  <a:pt x="140" y="125"/>
                  <a:pt x="140" y="125"/>
                  <a:pt x="139" y="125"/>
                </a:cubicBezTo>
                <a:cubicBezTo>
                  <a:pt x="139" y="126"/>
                  <a:pt x="138" y="127"/>
                  <a:pt x="138" y="127"/>
                </a:cubicBezTo>
                <a:cubicBezTo>
                  <a:pt x="138" y="128"/>
                  <a:pt x="138" y="128"/>
                  <a:pt x="137" y="128"/>
                </a:cubicBezTo>
                <a:cubicBezTo>
                  <a:pt x="135" y="130"/>
                  <a:pt x="133" y="133"/>
                  <a:pt x="130" y="135"/>
                </a:cubicBezTo>
                <a:cubicBezTo>
                  <a:pt x="130" y="135"/>
                  <a:pt x="130" y="135"/>
                  <a:pt x="130" y="135"/>
                </a:cubicBezTo>
                <a:cubicBezTo>
                  <a:pt x="129" y="136"/>
                  <a:pt x="129" y="137"/>
                  <a:pt x="128" y="137"/>
                </a:cubicBezTo>
                <a:cubicBezTo>
                  <a:pt x="128" y="138"/>
                  <a:pt x="127" y="138"/>
                  <a:pt x="127" y="138"/>
                </a:cubicBezTo>
                <a:cubicBezTo>
                  <a:pt x="126" y="139"/>
                  <a:pt x="126" y="139"/>
                  <a:pt x="125" y="140"/>
                </a:cubicBezTo>
                <a:cubicBezTo>
                  <a:pt x="125" y="140"/>
                  <a:pt x="124" y="140"/>
                  <a:pt x="124" y="140"/>
                </a:cubicBezTo>
                <a:cubicBezTo>
                  <a:pt x="124" y="141"/>
                  <a:pt x="123" y="141"/>
                  <a:pt x="123" y="141"/>
                </a:cubicBezTo>
                <a:cubicBezTo>
                  <a:pt x="123" y="128"/>
                  <a:pt x="123" y="128"/>
                  <a:pt x="123" y="128"/>
                </a:cubicBezTo>
                <a:cubicBezTo>
                  <a:pt x="117" y="128"/>
                  <a:pt x="117" y="128"/>
                  <a:pt x="117" y="128"/>
                </a:cubicBezTo>
                <a:cubicBezTo>
                  <a:pt x="117" y="145"/>
                  <a:pt x="117" y="145"/>
                  <a:pt x="117" y="145"/>
                </a:cubicBezTo>
                <a:cubicBezTo>
                  <a:pt x="117" y="145"/>
                  <a:pt x="117" y="145"/>
                  <a:pt x="117" y="145"/>
                </a:cubicBezTo>
                <a:cubicBezTo>
                  <a:pt x="116" y="145"/>
                  <a:pt x="116" y="146"/>
                  <a:pt x="115" y="146"/>
                </a:cubicBezTo>
                <a:cubicBezTo>
                  <a:pt x="114" y="146"/>
                  <a:pt x="114" y="146"/>
                  <a:pt x="114" y="147"/>
                </a:cubicBezTo>
                <a:cubicBezTo>
                  <a:pt x="113" y="147"/>
                  <a:pt x="112" y="147"/>
                  <a:pt x="111" y="148"/>
                </a:cubicBezTo>
                <a:cubicBezTo>
                  <a:pt x="111" y="148"/>
                  <a:pt x="110" y="148"/>
                  <a:pt x="110" y="148"/>
                </a:cubicBezTo>
                <a:cubicBezTo>
                  <a:pt x="109" y="149"/>
                  <a:pt x="108" y="149"/>
                  <a:pt x="107" y="150"/>
                </a:cubicBezTo>
                <a:cubicBezTo>
                  <a:pt x="107" y="150"/>
                  <a:pt x="106" y="150"/>
                  <a:pt x="106" y="150"/>
                </a:cubicBezTo>
                <a:cubicBezTo>
                  <a:pt x="103" y="151"/>
                  <a:pt x="101" y="152"/>
                  <a:pt x="98" y="152"/>
                </a:cubicBezTo>
                <a:cubicBezTo>
                  <a:pt x="98" y="153"/>
                  <a:pt x="98" y="153"/>
                  <a:pt x="97" y="153"/>
                </a:cubicBezTo>
                <a:cubicBezTo>
                  <a:pt x="96" y="153"/>
                  <a:pt x="95" y="153"/>
                  <a:pt x="94" y="153"/>
                </a:cubicBezTo>
                <a:cubicBezTo>
                  <a:pt x="94" y="153"/>
                  <a:pt x="93" y="153"/>
                  <a:pt x="93" y="153"/>
                </a:cubicBezTo>
                <a:cubicBezTo>
                  <a:pt x="88" y="123"/>
                  <a:pt x="88" y="123"/>
                  <a:pt x="88" y="123"/>
                </a:cubicBezTo>
                <a:cubicBezTo>
                  <a:pt x="91" y="123"/>
                  <a:pt x="91" y="123"/>
                  <a:pt x="91" y="123"/>
                </a:cubicBezTo>
                <a:cubicBezTo>
                  <a:pt x="91" y="116"/>
                  <a:pt x="91" y="116"/>
                  <a:pt x="91" y="116"/>
                </a:cubicBezTo>
                <a:cubicBezTo>
                  <a:pt x="103" y="124"/>
                  <a:pt x="103" y="124"/>
                  <a:pt x="103" y="124"/>
                </a:cubicBezTo>
                <a:cubicBezTo>
                  <a:pt x="114" y="96"/>
                  <a:pt x="114" y="96"/>
                  <a:pt x="114" y="96"/>
                </a:cubicBezTo>
                <a:cubicBezTo>
                  <a:pt x="128" y="98"/>
                  <a:pt x="139" y="109"/>
                  <a:pt x="141" y="123"/>
                </a:cubicBezTo>
                <a:cubicBezTo>
                  <a:pt x="141" y="123"/>
                  <a:pt x="140" y="124"/>
                  <a:pt x="140" y="124"/>
                </a:cubicBezTo>
                <a:close/>
                <a:moveTo>
                  <a:pt x="63" y="153"/>
                </a:moveTo>
                <a:cubicBezTo>
                  <a:pt x="62" y="153"/>
                  <a:pt x="62" y="153"/>
                  <a:pt x="62" y="152"/>
                </a:cubicBezTo>
                <a:cubicBezTo>
                  <a:pt x="59" y="152"/>
                  <a:pt x="57" y="151"/>
                  <a:pt x="54" y="150"/>
                </a:cubicBezTo>
                <a:cubicBezTo>
                  <a:pt x="54" y="150"/>
                  <a:pt x="53" y="150"/>
                  <a:pt x="53" y="150"/>
                </a:cubicBezTo>
                <a:cubicBezTo>
                  <a:pt x="52" y="149"/>
                  <a:pt x="51" y="149"/>
                  <a:pt x="50" y="148"/>
                </a:cubicBezTo>
                <a:cubicBezTo>
                  <a:pt x="50" y="148"/>
                  <a:pt x="49" y="148"/>
                  <a:pt x="49" y="148"/>
                </a:cubicBezTo>
                <a:cubicBezTo>
                  <a:pt x="48" y="147"/>
                  <a:pt x="47" y="147"/>
                  <a:pt x="46" y="147"/>
                </a:cubicBezTo>
                <a:cubicBezTo>
                  <a:pt x="46" y="146"/>
                  <a:pt x="46" y="146"/>
                  <a:pt x="45" y="146"/>
                </a:cubicBezTo>
                <a:cubicBezTo>
                  <a:pt x="44" y="146"/>
                  <a:pt x="44" y="145"/>
                  <a:pt x="43" y="145"/>
                </a:cubicBezTo>
                <a:cubicBezTo>
                  <a:pt x="43" y="145"/>
                  <a:pt x="43" y="145"/>
                  <a:pt x="43" y="145"/>
                </a:cubicBezTo>
                <a:cubicBezTo>
                  <a:pt x="43" y="128"/>
                  <a:pt x="43" y="128"/>
                  <a:pt x="43" y="128"/>
                </a:cubicBezTo>
                <a:cubicBezTo>
                  <a:pt x="37" y="128"/>
                  <a:pt x="37" y="128"/>
                  <a:pt x="37" y="128"/>
                </a:cubicBezTo>
                <a:cubicBezTo>
                  <a:pt x="37" y="141"/>
                  <a:pt x="37" y="141"/>
                  <a:pt x="37" y="141"/>
                </a:cubicBezTo>
                <a:cubicBezTo>
                  <a:pt x="37" y="141"/>
                  <a:pt x="36" y="141"/>
                  <a:pt x="36" y="140"/>
                </a:cubicBezTo>
                <a:cubicBezTo>
                  <a:pt x="36" y="140"/>
                  <a:pt x="35" y="140"/>
                  <a:pt x="35" y="140"/>
                </a:cubicBezTo>
                <a:cubicBezTo>
                  <a:pt x="34" y="139"/>
                  <a:pt x="34" y="139"/>
                  <a:pt x="33" y="138"/>
                </a:cubicBezTo>
                <a:cubicBezTo>
                  <a:pt x="33" y="138"/>
                  <a:pt x="32" y="138"/>
                  <a:pt x="32" y="137"/>
                </a:cubicBezTo>
                <a:cubicBezTo>
                  <a:pt x="31" y="137"/>
                  <a:pt x="31" y="136"/>
                  <a:pt x="30" y="135"/>
                </a:cubicBezTo>
                <a:cubicBezTo>
                  <a:pt x="30" y="135"/>
                  <a:pt x="30" y="135"/>
                  <a:pt x="30" y="135"/>
                </a:cubicBezTo>
                <a:cubicBezTo>
                  <a:pt x="27" y="133"/>
                  <a:pt x="25" y="130"/>
                  <a:pt x="23" y="128"/>
                </a:cubicBezTo>
                <a:cubicBezTo>
                  <a:pt x="22" y="128"/>
                  <a:pt x="22" y="128"/>
                  <a:pt x="22" y="127"/>
                </a:cubicBezTo>
                <a:cubicBezTo>
                  <a:pt x="22" y="127"/>
                  <a:pt x="21" y="126"/>
                  <a:pt x="21" y="125"/>
                </a:cubicBezTo>
                <a:cubicBezTo>
                  <a:pt x="20" y="125"/>
                  <a:pt x="20" y="125"/>
                  <a:pt x="20" y="124"/>
                </a:cubicBezTo>
                <a:cubicBezTo>
                  <a:pt x="20" y="124"/>
                  <a:pt x="19" y="123"/>
                  <a:pt x="19" y="123"/>
                </a:cubicBezTo>
                <a:cubicBezTo>
                  <a:pt x="21" y="109"/>
                  <a:pt x="32" y="98"/>
                  <a:pt x="46" y="96"/>
                </a:cubicBezTo>
                <a:cubicBezTo>
                  <a:pt x="57" y="124"/>
                  <a:pt x="57" y="124"/>
                  <a:pt x="57" y="124"/>
                </a:cubicBezTo>
                <a:cubicBezTo>
                  <a:pt x="69" y="116"/>
                  <a:pt x="69" y="116"/>
                  <a:pt x="69" y="116"/>
                </a:cubicBezTo>
                <a:cubicBezTo>
                  <a:pt x="69" y="123"/>
                  <a:pt x="69" y="123"/>
                  <a:pt x="69" y="123"/>
                </a:cubicBezTo>
                <a:cubicBezTo>
                  <a:pt x="72" y="123"/>
                  <a:pt x="72" y="123"/>
                  <a:pt x="72" y="123"/>
                </a:cubicBezTo>
                <a:cubicBezTo>
                  <a:pt x="67" y="154"/>
                  <a:pt x="67" y="154"/>
                  <a:pt x="67" y="154"/>
                </a:cubicBezTo>
                <a:cubicBezTo>
                  <a:pt x="67" y="153"/>
                  <a:pt x="66" y="153"/>
                  <a:pt x="66" y="153"/>
                </a:cubicBezTo>
                <a:cubicBezTo>
                  <a:pt x="65" y="153"/>
                  <a:pt x="64" y="153"/>
                  <a:pt x="63" y="153"/>
                </a:cubicBezTo>
                <a:close/>
                <a:moveTo>
                  <a:pt x="68" y="82"/>
                </a:moveTo>
                <a:cubicBezTo>
                  <a:pt x="55" y="77"/>
                  <a:pt x="45" y="56"/>
                  <a:pt x="45" y="40"/>
                </a:cubicBezTo>
                <a:cubicBezTo>
                  <a:pt x="45" y="40"/>
                  <a:pt x="45" y="39"/>
                  <a:pt x="45" y="39"/>
                </a:cubicBezTo>
                <a:cubicBezTo>
                  <a:pt x="47" y="37"/>
                  <a:pt x="47" y="37"/>
                  <a:pt x="47" y="37"/>
                </a:cubicBezTo>
                <a:cubicBezTo>
                  <a:pt x="52" y="31"/>
                  <a:pt x="59" y="30"/>
                  <a:pt x="66" y="33"/>
                </a:cubicBezTo>
                <a:cubicBezTo>
                  <a:pt x="69" y="34"/>
                  <a:pt x="72" y="35"/>
                  <a:pt x="75" y="35"/>
                </a:cubicBezTo>
                <a:cubicBezTo>
                  <a:pt x="83" y="35"/>
                  <a:pt x="90" y="30"/>
                  <a:pt x="93" y="24"/>
                </a:cubicBezTo>
                <a:cubicBezTo>
                  <a:pt x="102" y="26"/>
                  <a:pt x="109" y="32"/>
                  <a:pt x="115" y="38"/>
                </a:cubicBezTo>
                <a:cubicBezTo>
                  <a:pt x="115" y="54"/>
                  <a:pt x="106" y="77"/>
                  <a:pt x="92" y="82"/>
                </a:cubicBezTo>
                <a:cubicBezTo>
                  <a:pt x="90" y="83"/>
                  <a:pt x="88" y="85"/>
                  <a:pt x="88" y="88"/>
                </a:cubicBezTo>
                <a:cubicBezTo>
                  <a:pt x="88" y="90"/>
                  <a:pt x="88" y="90"/>
                  <a:pt x="88" y="90"/>
                </a:cubicBezTo>
                <a:cubicBezTo>
                  <a:pt x="88" y="93"/>
                  <a:pt x="90" y="95"/>
                  <a:pt x="93" y="96"/>
                </a:cubicBezTo>
                <a:cubicBezTo>
                  <a:pt x="89" y="101"/>
                  <a:pt x="89" y="101"/>
                  <a:pt x="89" y="101"/>
                </a:cubicBezTo>
                <a:cubicBezTo>
                  <a:pt x="71" y="101"/>
                  <a:pt x="71" y="101"/>
                  <a:pt x="71" y="101"/>
                </a:cubicBezTo>
                <a:cubicBezTo>
                  <a:pt x="67" y="96"/>
                  <a:pt x="67" y="96"/>
                  <a:pt x="67" y="96"/>
                </a:cubicBezTo>
                <a:cubicBezTo>
                  <a:pt x="70" y="95"/>
                  <a:pt x="72" y="93"/>
                  <a:pt x="72" y="90"/>
                </a:cubicBezTo>
                <a:cubicBezTo>
                  <a:pt x="72" y="88"/>
                  <a:pt x="72" y="88"/>
                  <a:pt x="72" y="88"/>
                </a:cubicBezTo>
                <a:cubicBezTo>
                  <a:pt x="72" y="85"/>
                  <a:pt x="70" y="83"/>
                  <a:pt x="68" y="82"/>
                </a:cubicBezTo>
                <a:close/>
                <a:moveTo>
                  <a:pt x="80" y="5"/>
                </a:moveTo>
                <a:cubicBezTo>
                  <a:pt x="80" y="5"/>
                  <a:pt x="80" y="5"/>
                  <a:pt x="80" y="5"/>
                </a:cubicBezTo>
                <a:cubicBezTo>
                  <a:pt x="82" y="5"/>
                  <a:pt x="83" y="5"/>
                  <a:pt x="84" y="6"/>
                </a:cubicBezTo>
                <a:cubicBezTo>
                  <a:pt x="97" y="7"/>
                  <a:pt x="108" y="16"/>
                  <a:pt x="113" y="28"/>
                </a:cubicBezTo>
                <a:cubicBezTo>
                  <a:pt x="107" y="24"/>
                  <a:pt x="100" y="20"/>
                  <a:pt x="93" y="18"/>
                </a:cubicBezTo>
                <a:cubicBezTo>
                  <a:pt x="90" y="17"/>
                  <a:pt x="90" y="17"/>
                  <a:pt x="90" y="17"/>
                </a:cubicBezTo>
                <a:cubicBezTo>
                  <a:pt x="90" y="19"/>
                  <a:pt x="90" y="19"/>
                  <a:pt x="90" y="19"/>
                </a:cubicBezTo>
                <a:cubicBezTo>
                  <a:pt x="87" y="25"/>
                  <a:pt x="81" y="29"/>
                  <a:pt x="75" y="29"/>
                </a:cubicBezTo>
                <a:cubicBezTo>
                  <a:pt x="72" y="29"/>
                  <a:pt x="70" y="29"/>
                  <a:pt x="68" y="28"/>
                </a:cubicBezTo>
                <a:cubicBezTo>
                  <a:pt x="61" y="25"/>
                  <a:pt x="53" y="26"/>
                  <a:pt x="47" y="30"/>
                </a:cubicBezTo>
                <a:cubicBezTo>
                  <a:pt x="48" y="25"/>
                  <a:pt x="51" y="20"/>
                  <a:pt x="56" y="15"/>
                </a:cubicBezTo>
                <a:cubicBezTo>
                  <a:pt x="62" y="9"/>
                  <a:pt x="71" y="5"/>
                  <a:pt x="80" y="5"/>
                </a:cubicBezTo>
                <a:close/>
                <a:moveTo>
                  <a:pt x="91" y="107"/>
                </a:moveTo>
                <a:cubicBezTo>
                  <a:pt x="100" y="96"/>
                  <a:pt x="100" y="96"/>
                  <a:pt x="100" y="96"/>
                </a:cubicBezTo>
                <a:cubicBezTo>
                  <a:pt x="108" y="96"/>
                  <a:pt x="108" y="96"/>
                  <a:pt x="108" y="96"/>
                </a:cubicBezTo>
                <a:cubicBezTo>
                  <a:pt x="100" y="116"/>
                  <a:pt x="100" y="116"/>
                  <a:pt x="100" y="116"/>
                </a:cubicBezTo>
                <a:cubicBezTo>
                  <a:pt x="91" y="110"/>
                  <a:pt x="91" y="110"/>
                  <a:pt x="91" y="110"/>
                </a:cubicBezTo>
                <a:lnTo>
                  <a:pt x="91" y="107"/>
                </a:lnTo>
                <a:close/>
                <a:moveTo>
                  <a:pt x="86" y="154"/>
                </a:moveTo>
                <a:cubicBezTo>
                  <a:pt x="86" y="154"/>
                  <a:pt x="85" y="155"/>
                  <a:pt x="84" y="155"/>
                </a:cubicBezTo>
                <a:cubicBezTo>
                  <a:pt x="83" y="155"/>
                  <a:pt x="81" y="155"/>
                  <a:pt x="80" y="155"/>
                </a:cubicBezTo>
                <a:cubicBezTo>
                  <a:pt x="80" y="155"/>
                  <a:pt x="80" y="155"/>
                  <a:pt x="80" y="155"/>
                </a:cubicBezTo>
                <a:cubicBezTo>
                  <a:pt x="78" y="155"/>
                  <a:pt x="77" y="155"/>
                  <a:pt x="76" y="155"/>
                </a:cubicBezTo>
                <a:cubicBezTo>
                  <a:pt x="75" y="155"/>
                  <a:pt x="74" y="154"/>
                  <a:pt x="74" y="154"/>
                </a:cubicBezTo>
                <a:cubicBezTo>
                  <a:pt x="73" y="154"/>
                  <a:pt x="73" y="154"/>
                  <a:pt x="72" y="154"/>
                </a:cubicBezTo>
                <a:cubicBezTo>
                  <a:pt x="77" y="123"/>
                  <a:pt x="77" y="123"/>
                  <a:pt x="77" y="123"/>
                </a:cubicBezTo>
                <a:cubicBezTo>
                  <a:pt x="83" y="123"/>
                  <a:pt x="83" y="123"/>
                  <a:pt x="83" y="123"/>
                </a:cubicBezTo>
                <a:cubicBezTo>
                  <a:pt x="88" y="154"/>
                  <a:pt x="88" y="154"/>
                  <a:pt x="88" y="154"/>
                </a:cubicBezTo>
                <a:cubicBezTo>
                  <a:pt x="87" y="154"/>
                  <a:pt x="87" y="154"/>
                  <a:pt x="86" y="154"/>
                </a:cubicBezTo>
                <a:close/>
                <a:moveTo>
                  <a:pt x="85" y="117"/>
                </a:moveTo>
                <a:cubicBezTo>
                  <a:pt x="75" y="117"/>
                  <a:pt x="75" y="117"/>
                  <a:pt x="75" y="117"/>
                </a:cubicBezTo>
                <a:cubicBezTo>
                  <a:pt x="75" y="113"/>
                  <a:pt x="75" y="113"/>
                  <a:pt x="75" y="113"/>
                </a:cubicBezTo>
                <a:cubicBezTo>
                  <a:pt x="75" y="107"/>
                  <a:pt x="75" y="107"/>
                  <a:pt x="75" y="107"/>
                </a:cubicBezTo>
                <a:cubicBezTo>
                  <a:pt x="85" y="107"/>
                  <a:pt x="85" y="107"/>
                  <a:pt x="85" y="107"/>
                </a:cubicBezTo>
                <a:cubicBezTo>
                  <a:pt x="85" y="113"/>
                  <a:pt x="85" y="113"/>
                  <a:pt x="85" y="113"/>
                </a:cubicBezTo>
                <a:lnTo>
                  <a:pt x="85" y="117"/>
                </a:lnTo>
                <a:close/>
                <a:moveTo>
                  <a:pt x="69" y="107"/>
                </a:moveTo>
                <a:cubicBezTo>
                  <a:pt x="69" y="110"/>
                  <a:pt x="69" y="110"/>
                  <a:pt x="69" y="110"/>
                </a:cubicBezTo>
                <a:cubicBezTo>
                  <a:pt x="60" y="116"/>
                  <a:pt x="60" y="116"/>
                  <a:pt x="60" y="116"/>
                </a:cubicBezTo>
                <a:cubicBezTo>
                  <a:pt x="52" y="96"/>
                  <a:pt x="52" y="96"/>
                  <a:pt x="52" y="96"/>
                </a:cubicBezTo>
                <a:cubicBezTo>
                  <a:pt x="60" y="96"/>
                  <a:pt x="60" y="96"/>
                  <a:pt x="60" y="96"/>
                </a:cubicBezTo>
                <a:lnTo>
                  <a:pt x="69" y="107"/>
                </a:lnTo>
                <a:close/>
                <a:moveTo>
                  <a:pt x="53" y="10"/>
                </a:moveTo>
                <a:cubicBezTo>
                  <a:pt x="53" y="11"/>
                  <a:pt x="52" y="11"/>
                  <a:pt x="52" y="12"/>
                </a:cubicBezTo>
                <a:cubicBezTo>
                  <a:pt x="44" y="19"/>
                  <a:pt x="40" y="29"/>
                  <a:pt x="40" y="40"/>
                </a:cubicBezTo>
                <a:cubicBezTo>
                  <a:pt x="40" y="58"/>
                  <a:pt x="51" y="82"/>
                  <a:pt x="66" y="87"/>
                </a:cubicBezTo>
                <a:cubicBezTo>
                  <a:pt x="66" y="87"/>
                  <a:pt x="67" y="88"/>
                  <a:pt x="67" y="88"/>
                </a:cubicBezTo>
                <a:cubicBezTo>
                  <a:pt x="67" y="90"/>
                  <a:pt x="67" y="90"/>
                  <a:pt x="67" y="90"/>
                </a:cubicBezTo>
                <a:cubicBezTo>
                  <a:pt x="67" y="90"/>
                  <a:pt x="66" y="91"/>
                  <a:pt x="66" y="91"/>
                </a:cubicBezTo>
                <a:cubicBezTo>
                  <a:pt x="63" y="91"/>
                  <a:pt x="63" y="91"/>
                  <a:pt x="63" y="91"/>
                </a:cubicBezTo>
                <a:cubicBezTo>
                  <a:pt x="50" y="91"/>
                  <a:pt x="50" y="91"/>
                  <a:pt x="50" y="91"/>
                </a:cubicBezTo>
                <a:cubicBezTo>
                  <a:pt x="48" y="91"/>
                  <a:pt x="48" y="91"/>
                  <a:pt x="48" y="91"/>
                </a:cubicBezTo>
                <a:cubicBezTo>
                  <a:pt x="48" y="91"/>
                  <a:pt x="48" y="91"/>
                  <a:pt x="48" y="91"/>
                </a:cubicBezTo>
                <a:cubicBezTo>
                  <a:pt x="32" y="92"/>
                  <a:pt x="19" y="102"/>
                  <a:pt x="15" y="117"/>
                </a:cubicBezTo>
                <a:cubicBezTo>
                  <a:pt x="9" y="106"/>
                  <a:pt x="5" y="93"/>
                  <a:pt x="5" y="80"/>
                </a:cubicBezTo>
                <a:cubicBezTo>
                  <a:pt x="5" y="48"/>
                  <a:pt x="25" y="21"/>
                  <a:pt x="53" y="10"/>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58">
            <a:extLst>
              <a:ext uri="{FF2B5EF4-FFF2-40B4-BE49-F238E27FC236}">
                <a16:creationId xmlns:a16="http://schemas.microsoft.com/office/drawing/2014/main" id="{B0B61310-B590-B34A-A8E4-7C5C10146F02}"/>
              </a:ext>
            </a:extLst>
          </p:cNvPr>
          <p:cNvSpPr>
            <a:spLocks noEditPoints="1"/>
          </p:cNvSpPr>
          <p:nvPr/>
        </p:nvSpPr>
        <p:spPr bwMode="auto">
          <a:xfrm>
            <a:off x="5843279" y="5849938"/>
            <a:ext cx="600075" cy="604838"/>
          </a:xfrm>
          <a:custGeom>
            <a:avLst/>
            <a:gdLst>
              <a:gd name="T0" fmla="*/ 13 w 160"/>
              <a:gd name="T1" fmla="*/ 124 h 160"/>
              <a:gd name="T2" fmla="*/ 16 w 160"/>
              <a:gd name="T3" fmla="*/ 128 h 160"/>
              <a:gd name="T4" fmla="*/ 29 w 160"/>
              <a:gd name="T5" fmla="*/ 142 h 160"/>
              <a:gd name="T6" fmla="*/ 36 w 160"/>
              <a:gd name="T7" fmla="*/ 147 h 160"/>
              <a:gd name="T8" fmla="*/ 46 w 160"/>
              <a:gd name="T9" fmla="*/ 153 h 160"/>
              <a:gd name="T10" fmla="*/ 61 w 160"/>
              <a:gd name="T11" fmla="*/ 158 h 160"/>
              <a:gd name="T12" fmla="*/ 69 w 160"/>
              <a:gd name="T13" fmla="*/ 159 h 160"/>
              <a:gd name="T14" fmla="*/ 80 w 160"/>
              <a:gd name="T15" fmla="*/ 160 h 160"/>
              <a:gd name="T16" fmla="*/ 91 w 160"/>
              <a:gd name="T17" fmla="*/ 159 h 160"/>
              <a:gd name="T18" fmla="*/ 99 w 160"/>
              <a:gd name="T19" fmla="*/ 158 h 160"/>
              <a:gd name="T20" fmla="*/ 114 w 160"/>
              <a:gd name="T21" fmla="*/ 153 h 160"/>
              <a:gd name="T22" fmla="*/ 124 w 160"/>
              <a:gd name="T23" fmla="*/ 147 h 160"/>
              <a:gd name="T24" fmla="*/ 131 w 160"/>
              <a:gd name="T25" fmla="*/ 142 h 160"/>
              <a:gd name="T26" fmla="*/ 144 w 160"/>
              <a:gd name="T27" fmla="*/ 128 h 160"/>
              <a:gd name="T28" fmla="*/ 147 w 160"/>
              <a:gd name="T29" fmla="*/ 124 h 160"/>
              <a:gd name="T30" fmla="*/ 112 w 160"/>
              <a:gd name="T31" fmla="*/ 91 h 160"/>
              <a:gd name="T32" fmla="*/ 94 w 160"/>
              <a:gd name="T33" fmla="*/ 91 h 160"/>
              <a:gd name="T34" fmla="*/ 120 w 160"/>
              <a:gd name="T35" fmla="*/ 35 h 160"/>
              <a:gd name="T36" fmla="*/ 139 w 160"/>
              <a:gd name="T37" fmla="*/ 125 h 160"/>
              <a:gd name="T38" fmla="*/ 130 w 160"/>
              <a:gd name="T39" fmla="*/ 135 h 160"/>
              <a:gd name="T40" fmla="*/ 124 w 160"/>
              <a:gd name="T41" fmla="*/ 140 h 160"/>
              <a:gd name="T42" fmla="*/ 112 w 160"/>
              <a:gd name="T43" fmla="*/ 96 h 160"/>
              <a:gd name="T44" fmla="*/ 114 w 160"/>
              <a:gd name="T45" fmla="*/ 147 h 160"/>
              <a:gd name="T46" fmla="*/ 106 w 160"/>
              <a:gd name="T47" fmla="*/ 150 h 160"/>
              <a:gd name="T48" fmla="*/ 93 w 160"/>
              <a:gd name="T49" fmla="*/ 154 h 160"/>
              <a:gd name="T50" fmla="*/ 84 w 160"/>
              <a:gd name="T51" fmla="*/ 155 h 160"/>
              <a:gd name="T52" fmla="*/ 71 w 160"/>
              <a:gd name="T53" fmla="*/ 154 h 160"/>
              <a:gd name="T54" fmla="*/ 63 w 160"/>
              <a:gd name="T55" fmla="*/ 153 h 160"/>
              <a:gd name="T56" fmla="*/ 50 w 160"/>
              <a:gd name="T57" fmla="*/ 148 h 160"/>
              <a:gd name="T58" fmla="*/ 43 w 160"/>
              <a:gd name="T59" fmla="*/ 145 h 160"/>
              <a:gd name="T60" fmla="*/ 64 w 160"/>
              <a:gd name="T61" fmla="*/ 117 h 160"/>
              <a:gd name="T62" fmla="*/ 117 w 160"/>
              <a:gd name="T63" fmla="*/ 145 h 160"/>
              <a:gd name="T64" fmla="*/ 33 w 160"/>
              <a:gd name="T65" fmla="*/ 138 h 160"/>
              <a:gd name="T66" fmla="*/ 23 w 160"/>
              <a:gd name="T67" fmla="*/ 128 h 160"/>
              <a:gd name="T68" fmla="*/ 19 w 160"/>
              <a:gd name="T69" fmla="*/ 123 h 160"/>
              <a:gd name="T70" fmla="*/ 37 w 160"/>
              <a:gd name="T71" fmla="*/ 141 h 160"/>
              <a:gd name="T72" fmla="*/ 45 w 160"/>
              <a:gd name="T73" fmla="*/ 40 h 160"/>
              <a:gd name="T74" fmla="*/ 75 w 160"/>
              <a:gd name="T75" fmla="*/ 35 h 160"/>
              <a:gd name="T76" fmla="*/ 88 w 160"/>
              <a:gd name="T77" fmla="*/ 88 h 160"/>
              <a:gd name="T78" fmla="*/ 96 w 160"/>
              <a:gd name="T79" fmla="*/ 112 h 160"/>
              <a:gd name="T80" fmla="*/ 72 w 160"/>
              <a:gd name="T81" fmla="*/ 90 h 160"/>
              <a:gd name="T82" fmla="*/ 80 w 160"/>
              <a:gd name="T83" fmla="*/ 5 h 160"/>
              <a:gd name="T84" fmla="*/ 90 w 160"/>
              <a:gd name="T85" fmla="*/ 17 h 160"/>
              <a:gd name="T86" fmla="*/ 47 w 160"/>
              <a:gd name="T87" fmla="*/ 30 h 160"/>
              <a:gd name="T88" fmla="*/ 101 w 160"/>
              <a:gd name="T89" fmla="*/ 112 h 160"/>
              <a:gd name="T90" fmla="*/ 59 w 160"/>
              <a:gd name="T91" fmla="*/ 112 h 160"/>
              <a:gd name="T92" fmla="*/ 59 w 160"/>
              <a:gd name="T93" fmla="*/ 112 h 160"/>
              <a:gd name="T94" fmla="*/ 66 w 160"/>
              <a:gd name="T95" fmla="*/ 87 h 160"/>
              <a:gd name="T96" fmla="*/ 64 w 160"/>
              <a:gd name="T97" fmla="*/ 91 h 160"/>
              <a:gd name="T98" fmla="*/ 15 w 160"/>
              <a:gd name="T99"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60">
                <a:moveTo>
                  <a:pt x="160" y="80"/>
                </a:moveTo>
                <a:cubicBezTo>
                  <a:pt x="160" y="36"/>
                  <a:pt x="124" y="0"/>
                  <a:pt x="80" y="0"/>
                </a:cubicBezTo>
                <a:cubicBezTo>
                  <a:pt x="36" y="0"/>
                  <a:pt x="0" y="36"/>
                  <a:pt x="0" y="80"/>
                </a:cubicBezTo>
                <a:cubicBezTo>
                  <a:pt x="0" y="96"/>
                  <a:pt x="5" y="112"/>
                  <a:pt x="13" y="124"/>
                </a:cubicBezTo>
                <a:cubicBezTo>
                  <a:pt x="13" y="124"/>
                  <a:pt x="13" y="124"/>
                  <a:pt x="13" y="124"/>
                </a:cubicBezTo>
                <a:cubicBezTo>
                  <a:pt x="14" y="125"/>
                  <a:pt x="14" y="125"/>
                  <a:pt x="14" y="125"/>
                </a:cubicBezTo>
                <a:cubicBezTo>
                  <a:pt x="14" y="126"/>
                  <a:pt x="15" y="127"/>
                  <a:pt x="15" y="127"/>
                </a:cubicBezTo>
                <a:cubicBezTo>
                  <a:pt x="16" y="128"/>
                  <a:pt x="16" y="128"/>
                  <a:pt x="16" y="128"/>
                </a:cubicBezTo>
                <a:cubicBezTo>
                  <a:pt x="17" y="129"/>
                  <a:pt x="17" y="130"/>
                  <a:pt x="18" y="131"/>
                </a:cubicBezTo>
                <a:cubicBezTo>
                  <a:pt x="18" y="131"/>
                  <a:pt x="18" y="131"/>
                  <a:pt x="19" y="131"/>
                </a:cubicBezTo>
                <a:cubicBezTo>
                  <a:pt x="22" y="135"/>
                  <a:pt x="25" y="138"/>
                  <a:pt x="29" y="141"/>
                </a:cubicBezTo>
                <a:cubicBezTo>
                  <a:pt x="29" y="142"/>
                  <a:pt x="29" y="142"/>
                  <a:pt x="29" y="142"/>
                </a:cubicBezTo>
                <a:cubicBezTo>
                  <a:pt x="30" y="143"/>
                  <a:pt x="31" y="143"/>
                  <a:pt x="32" y="144"/>
                </a:cubicBezTo>
                <a:cubicBezTo>
                  <a:pt x="32" y="144"/>
                  <a:pt x="32" y="144"/>
                  <a:pt x="33" y="145"/>
                </a:cubicBezTo>
                <a:cubicBezTo>
                  <a:pt x="34" y="145"/>
                  <a:pt x="34" y="146"/>
                  <a:pt x="35" y="146"/>
                </a:cubicBezTo>
                <a:cubicBezTo>
                  <a:pt x="36" y="147"/>
                  <a:pt x="36" y="147"/>
                  <a:pt x="36" y="147"/>
                </a:cubicBezTo>
                <a:cubicBezTo>
                  <a:pt x="38" y="148"/>
                  <a:pt x="39" y="148"/>
                  <a:pt x="40" y="149"/>
                </a:cubicBezTo>
                <a:cubicBezTo>
                  <a:pt x="41" y="150"/>
                  <a:pt x="41" y="150"/>
                  <a:pt x="42" y="151"/>
                </a:cubicBezTo>
                <a:cubicBezTo>
                  <a:pt x="43" y="151"/>
                  <a:pt x="43" y="151"/>
                  <a:pt x="44" y="151"/>
                </a:cubicBezTo>
                <a:cubicBezTo>
                  <a:pt x="45" y="152"/>
                  <a:pt x="45" y="152"/>
                  <a:pt x="46" y="153"/>
                </a:cubicBezTo>
                <a:cubicBezTo>
                  <a:pt x="47" y="153"/>
                  <a:pt x="47" y="153"/>
                  <a:pt x="48" y="153"/>
                </a:cubicBezTo>
                <a:cubicBezTo>
                  <a:pt x="49" y="154"/>
                  <a:pt x="50" y="154"/>
                  <a:pt x="51" y="154"/>
                </a:cubicBezTo>
                <a:cubicBezTo>
                  <a:pt x="51" y="155"/>
                  <a:pt x="51" y="155"/>
                  <a:pt x="52" y="155"/>
                </a:cubicBezTo>
                <a:cubicBezTo>
                  <a:pt x="55" y="156"/>
                  <a:pt x="58" y="157"/>
                  <a:pt x="61" y="158"/>
                </a:cubicBezTo>
                <a:cubicBezTo>
                  <a:pt x="61" y="158"/>
                  <a:pt x="61" y="158"/>
                  <a:pt x="61" y="158"/>
                </a:cubicBezTo>
                <a:cubicBezTo>
                  <a:pt x="62" y="158"/>
                  <a:pt x="64" y="158"/>
                  <a:pt x="65" y="159"/>
                </a:cubicBezTo>
                <a:cubicBezTo>
                  <a:pt x="65" y="159"/>
                  <a:pt x="66" y="159"/>
                  <a:pt x="66" y="159"/>
                </a:cubicBezTo>
                <a:cubicBezTo>
                  <a:pt x="67" y="159"/>
                  <a:pt x="68" y="159"/>
                  <a:pt x="69" y="159"/>
                </a:cubicBezTo>
                <a:cubicBezTo>
                  <a:pt x="70" y="159"/>
                  <a:pt x="70" y="159"/>
                  <a:pt x="71" y="159"/>
                </a:cubicBezTo>
                <a:cubicBezTo>
                  <a:pt x="72" y="160"/>
                  <a:pt x="73" y="160"/>
                  <a:pt x="74" y="160"/>
                </a:cubicBezTo>
                <a:cubicBezTo>
                  <a:pt x="75" y="160"/>
                  <a:pt x="75" y="160"/>
                  <a:pt x="75" y="160"/>
                </a:cubicBezTo>
                <a:cubicBezTo>
                  <a:pt x="77" y="160"/>
                  <a:pt x="78" y="160"/>
                  <a:pt x="80" y="160"/>
                </a:cubicBezTo>
                <a:cubicBezTo>
                  <a:pt x="82" y="160"/>
                  <a:pt x="83" y="160"/>
                  <a:pt x="85" y="160"/>
                </a:cubicBezTo>
                <a:cubicBezTo>
                  <a:pt x="85" y="160"/>
                  <a:pt x="85" y="160"/>
                  <a:pt x="86" y="160"/>
                </a:cubicBezTo>
                <a:cubicBezTo>
                  <a:pt x="87" y="160"/>
                  <a:pt x="88" y="160"/>
                  <a:pt x="89" y="159"/>
                </a:cubicBezTo>
                <a:cubicBezTo>
                  <a:pt x="90" y="159"/>
                  <a:pt x="90" y="159"/>
                  <a:pt x="91" y="159"/>
                </a:cubicBezTo>
                <a:cubicBezTo>
                  <a:pt x="92" y="159"/>
                  <a:pt x="93" y="159"/>
                  <a:pt x="94" y="159"/>
                </a:cubicBezTo>
                <a:cubicBezTo>
                  <a:pt x="94" y="159"/>
                  <a:pt x="95" y="159"/>
                  <a:pt x="95" y="159"/>
                </a:cubicBezTo>
                <a:cubicBezTo>
                  <a:pt x="96" y="158"/>
                  <a:pt x="98" y="158"/>
                  <a:pt x="99" y="158"/>
                </a:cubicBezTo>
                <a:cubicBezTo>
                  <a:pt x="99" y="158"/>
                  <a:pt x="99" y="158"/>
                  <a:pt x="99" y="158"/>
                </a:cubicBezTo>
                <a:cubicBezTo>
                  <a:pt x="102" y="157"/>
                  <a:pt x="105" y="156"/>
                  <a:pt x="108" y="155"/>
                </a:cubicBezTo>
                <a:cubicBezTo>
                  <a:pt x="109" y="155"/>
                  <a:pt x="109" y="155"/>
                  <a:pt x="109" y="154"/>
                </a:cubicBezTo>
                <a:cubicBezTo>
                  <a:pt x="110" y="154"/>
                  <a:pt x="111" y="154"/>
                  <a:pt x="112" y="153"/>
                </a:cubicBezTo>
                <a:cubicBezTo>
                  <a:pt x="113" y="153"/>
                  <a:pt x="113" y="153"/>
                  <a:pt x="114" y="153"/>
                </a:cubicBezTo>
                <a:cubicBezTo>
                  <a:pt x="115" y="152"/>
                  <a:pt x="115" y="152"/>
                  <a:pt x="116" y="151"/>
                </a:cubicBezTo>
                <a:cubicBezTo>
                  <a:pt x="117" y="151"/>
                  <a:pt x="117" y="151"/>
                  <a:pt x="118" y="151"/>
                </a:cubicBezTo>
                <a:cubicBezTo>
                  <a:pt x="119" y="150"/>
                  <a:pt x="119" y="150"/>
                  <a:pt x="120" y="149"/>
                </a:cubicBezTo>
                <a:cubicBezTo>
                  <a:pt x="121" y="148"/>
                  <a:pt x="122" y="148"/>
                  <a:pt x="124" y="147"/>
                </a:cubicBezTo>
                <a:cubicBezTo>
                  <a:pt x="124" y="147"/>
                  <a:pt x="124" y="147"/>
                  <a:pt x="125" y="146"/>
                </a:cubicBezTo>
                <a:cubicBezTo>
                  <a:pt x="126" y="146"/>
                  <a:pt x="126" y="145"/>
                  <a:pt x="127" y="145"/>
                </a:cubicBezTo>
                <a:cubicBezTo>
                  <a:pt x="128" y="144"/>
                  <a:pt x="128" y="144"/>
                  <a:pt x="128" y="144"/>
                </a:cubicBezTo>
                <a:cubicBezTo>
                  <a:pt x="129" y="143"/>
                  <a:pt x="130" y="143"/>
                  <a:pt x="131" y="142"/>
                </a:cubicBezTo>
                <a:cubicBezTo>
                  <a:pt x="131" y="142"/>
                  <a:pt x="131" y="142"/>
                  <a:pt x="131" y="141"/>
                </a:cubicBezTo>
                <a:cubicBezTo>
                  <a:pt x="135" y="138"/>
                  <a:pt x="138" y="135"/>
                  <a:pt x="141" y="131"/>
                </a:cubicBezTo>
                <a:cubicBezTo>
                  <a:pt x="142" y="131"/>
                  <a:pt x="142" y="131"/>
                  <a:pt x="142" y="131"/>
                </a:cubicBezTo>
                <a:cubicBezTo>
                  <a:pt x="143" y="130"/>
                  <a:pt x="143" y="129"/>
                  <a:pt x="144" y="128"/>
                </a:cubicBezTo>
                <a:cubicBezTo>
                  <a:pt x="144" y="128"/>
                  <a:pt x="144" y="128"/>
                  <a:pt x="145" y="127"/>
                </a:cubicBezTo>
                <a:cubicBezTo>
                  <a:pt x="145" y="127"/>
                  <a:pt x="146" y="126"/>
                  <a:pt x="146" y="125"/>
                </a:cubicBezTo>
                <a:cubicBezTo>
                  <a:pt x="147" y="124"/>
                  <a:pt x="147" y="124"/>
                  <a:pt x="147" y="124"/>
                </a:cubicBezTo>
                <a:cubicBezTo>
                  <a:pt x="147" y="124"/>
                  <a:pt x="147" y="124"/>
                  <a:pt x="147" y="124"/>
                </a:cubicBezTo>
                <a:cubicBezTo>
                  <a:pt x="155" y="112"/>
                  <a:pt x="160" y="96"/>
                  <a:pt x="160" y="80"/>
                </a:cubicBezTo>
                <a:close/>
                <a:moveTo>
                  <a:pt x="155" y="80"/>
                </a:moveTo>
                <a:cubicBezTo>
                  <a:pt x="155" y="93"/>
                  <a:pt x="151" y="106"/>
                  <a:pt x="145" y="117"/>
                </a:cubicBezTo>
                <a:cubicBezTo>
                  <a:pt x="141" y="102"/>
                  <a:pt x="128" y="92"/>
                  <a:pt x="112" y="91"/>
                </a:cubicBezTo>
                <a:cubicBezTo>
                  <a:pt x="112" y="91"/>
                  <a:pt x="112" y="91"/>
                  <a:pt x="112" y="91"/>
                </a:cubicBezTo>
                <a:cubicBezTo>
                  <a:pt x="110" y="91"/>
                  <a:pt x="110" y="91"/>
                  <a:pt x="110" y="91"/>
                </a:cubicBezTo>
                <a:cubicBezTo>
                  <a:pt x="96" y="91"/>
                  <a:pt x="96" y="91"/>
                  <a:pt x="96" y="91"/>
                </a:cubicBezTo>
                <a:cubicBezTo>
                  <a:pt x="94" y="91"/>
                  <a:pt x="94" y="91"/>
                  <a:pt x="94" y="91"/>
                </a:cubicBezTo>
                <a:cubicBezTo>
                  <a:pt x="94" y="91"/>
                  <a:pt x="93" y="90"/>
                  <a:pt x="93" y="90"/>
                </a:cubicBezTo>
                <a:cubicBezTo>
                  <a:pt x="93" y="88"/>
                  <a:pt x="93" y="88"/>
                  <a:pt x="93" y="88"/>
                </a:cubicBezTo>
                <a:cubicBezTo>
                  <a:pt x="93" y="87"/>
                  <a:pt x="94" y="87"/>
                  <a:pt x="94" y="87"/>
                </a:cubicBezTo>
                <a:cubicBezTo>
                  <a:pt x="111" y="81"/>
                  <a:pt x="122" y="54"/>
                  <a:pt x="120" y="35"/>
                </a:cubicBezTo>
                <a:cubicBezTo>
                  <a:pt x="119" y="25"/>
                  <a:pt x="114" y="17"/>
                  <a:pt x="107" y="10"/>
                </a:cubicBezTo>
                <a:cubicBezTo>
                  <a:pt x="135" y="21"/>
                  <a:pt x="155" y="48"/>
                  <a:pt x="155" y="80"/>
                </a:cubicBezTo>
                <a:close/>
                <a:moveTo>
                  <a:pt x="140" y="124"/>
                </a:moveTo>
                <a:cubicBezTo>
                  <a:pt x="140" y="125"/>
                  <a:pt x="140" y="125"/>
                  <a:pt x="139" y="125"/>
                </a:cubicBezTo>
                <a:cubicBezTo>
                  <a:pt x="139" y="126"/>
                  <a:pt x="138" y="127"/>
                  <a:pt x="138" y="127"/>
                </a:cubicBezTo>
                <a:cubicBezTo>
                  <a:pt x="138" y="128"/>
                  <a:pt x="138" y="128"/>
                  <a:pt x="137" y="128"/>
                </a:cubicBezTo>
                <a:cubicBezTo>
                  <a:pt x="135" y="130"/>
                  <a:pt x="133" y="133"/>
                  <a:pt x="130" y="135"/>
                </a:cubicBezTo>
                <a:cubicBezTo>
                  <a:pt x="130" y="135"/>
                  <a:pt x="130" y="135"/>
                  <a:pt x="130" y="135"/>
                </a:cubicBezTo>
                <a:cubicBezTo>
                  <a:pt x="129" y="136"/>
                  <a:pt x="129" y="137"/>
                  <a:pt x="128" y="137"/>
                </a:cubicBezTo>
                <a:cubicBezTo>
                  <a:pt x="128" y="138"/>
                  <a:pt x="127" y="138"/>
                  <a:pt x="127" y="138"/>
                </a:cubicBezTo>
                <a:cubicBezTo>
                  <a:pt x="126" y="139"/>
                  <a:pt x="126" y="139"/>
                  <a:pt x="125" y="140"/>
                </a:cubicBezTo>
                <a:cubicBezTo>
                  <a:pt x="125" y="140"/>
                  <a:pt x="124" y="140"/>
                  <a:pt x="124" y="140"/>
                </a:cubicBezTo>
                <a:cubicBezTo>
                  <a:pt x="124" y="141"/>
                  <a:pt x="123" y="141"/>
                  <a:pt x="123" y="141"/>
                </a:cubicBezTo>
                <a:cubicBezTo>
                  <a:pt x="123" y="112"/>
                  <a:pt x="123" y="112"/>
                  <a:pt x="123" y="112"/>
                </a:cubicBezTo>
                <a:cubicBezTo>
                  <a:pt x="112" y="112"/>
                  <a:pt x="112" y="112"/>
                  <a:pt x="112" y="112"/>
                </a:cubicBezTo>
                <a:cubicBezTo>
                  <a:pt x="112" y="96"/>
                  <a:pt x="112" y="96"/>
                  <a:pt x="112" y="96"/>
                </a:cubicBezTo>
                <a:cubicBezTo>
                  <a:pt x="127" y="97"/>
                  <a:pt x="139" y="108"/>
                  <a:pt x="141" y="123"/>
                </a:cubicBezTo>
                <a:cubicBezTo>
                  <a:pt x="141" y="123"/>
                  <a:pt x="140" y="124"/>
                  <a:pt x="140" y="124"/>
                </a:cubicBezTo>
                <a:close/>
                <a:moveTo>
                  <a:pt x="115" y="146"/>
                </a:moveTo>
                <a:cubicBezTo>
                  <a:pt x="115" y="146"/>
                  <a:pt x="114" y="146"/>
                  <a:pt x="114" y="147"/>
                </a:cubicBezTo>
                <a:cubicBezTo>
                  <a:pt x="113" y="147"/>
                  <a:pt x="112" y="147"/>
                  <a:pt x="111" y="148"/>
                </a:cubicBezTo>
                <a:cubicBezTo>
                  <a:pt x="111" y="148"/>
                  <a:pt x="110" y="148"/>
                  <a:pt x="110" y="148"/>
                </a:cubicBezTo>
                <a:cubicBezTo>
                  <a:pt x="109" y="149"/>
                  <a:pt x="108" y="149"/>
                  <a:pt x="107" y="150"/>
                </a:cubicBezTo>
                <a:cubicBezTo>
                  <a:pt x="107" y="150"/>
                  <a:pt x="106" y="150"/>
                  <a:pt x="106" y="150"/>
                </a:cubicBezTo>
                <a:cubicBezTo>
                  <a:pt x="103" y="151"/>
                  <a:pt x="101" y="152"/>
                  <a:pt x="98" y="152"/>
                </a:cubicBezTo>
                <a:cubicBezTo>
                  <a:pt x="98" y="153"/>
                  <a:pt x="98" y="153"/>
                  <a:pt x="97" y="153"/>
                </a:cubicBezTo>
                <a:cubicBezTo>
                  <a:pt x="96" y="153"/>
                  <a:pt x="95" y="153"/>
                  <a:pt x="94" y="153"/>
                </a:cubicBezTo>
                <a:cubicBezTo>
                  <a:pt x="94" y="153"/>
                  <a:pt x="93" y="153"/>
                  <a:pt x="93" y="154"/>
                </a:cubicBezTo>
                <a:cubicBezTo>
                  <a:pt x="92" y="154"/>
                  <a:pt x="91" y="154"/>
                  <a:pt x="90" y="154"/>
                </a:cubicBezTo>
                <a:cubicBezTo>
                  <a:pt x="89" y="154"/>
                  <a:pt x="89" y="154"/>
                  <a:pt x="89" y="154"/>
                </a:cubicBezTo>
                <a:cubicBezTo>
                  <a:pt x="88" y="154"/>
                  <a:pt x="86" y="154"/>
                  <a:pt x="85" y="154"/>
                </a:cubicBezTo>
                <a:cubicBezTo>
                  <a:pt x="85" y="154"/>
                  <a:pt x="85" y="155"/>
                  <a:pt x="84" y="155"/>
                </a:cubicBezTo>
                <a:cubicBezTo>
                  <a:pt x="83" y="155"/>
                  <a:pt x="81" y="155"/>
                  <a:pt x="80" y="155"/>
                </a:cubicBezTo>
                <a:cubicBezTo>
                  <a:pt x="79" y="155"/>
                  <a:pt x="77" y="155"/>
                  <a:pt x="76" y="155"/>
                </a:cubicBezTo>
                <a:cubicBezTo>
                  <a:pt x="75" y="155"/>
                  <a:pt x="75" y="154"/>
                  <a:pt x="75" y="154"/>
                </a:cubicBezTo>
                <a:cubicBezTo>
                  <a:pt x="74" y="154"/>
                  <a:pt x="73" y="154"/>
                  <a:pt x="71" y="154"/>
                </a:cubicBezTo>
                <a:cubicBezTo>
                  <a:pt x="71" y="154"/>
                  <a:pt x="71" y="154"/>
                  <a:pt x="70" y="154"/>
                </a:cubicBezTo>
                <a:cubicBezTo>
                  <a:pt x="69" y="154"/>
                  <a:pt x="68" y="154"/>
                  <a:pt x="67" y="154"/>
                </a:cubicBezTo>
                <a:cubicBezTo>
                  <a:pt x="67" y="153"/>
                  <a:pt x="66" y="153"/>
                  <a:pt x="66" y="153"/>
                </a:cubicBezTo>
                <a:cubicBezTo>
                  <a:pt x="65" y="153"/>
                  <a:pt x="64" y="153"/>
                  <a:pt x="63" y="153"/>
                </a:cubicBezTo>
                <a:cubicBezTo>
                  <a:pt x="62" y="153"/>
                  <a:pt x="62" y="153"/>
                  <a:pt x="62" y="152"/>
                </a:cubicBezTo>
                <a:cubicBezTo>
                  <a:pt x="59" y="152"/>
                  <a:pt x="57" y="151"/>
                  <a:pt x="54" y="150"/>
                </a:cubicBezTo>
                <a:cubicBezTo>
                  <a:pt x="54" y="150"/>
                  <a:pt x="53" y="150"/>
                  <a:pt x="53" y="150"/>
                </a:cubicBezTo>
                <a:cubicBezTo>
                  <a:pt x="52" y="149"/>
                  <a:pt x="51" y="149"/>
                  <a:pt x="50" y="148"/>
                </a:cubicBezTo>
                <a:cubicBezTo>
                  <a:pt x="50" y="148"/>
                  <a:pt x="49" y="148"/>
                  <a:pt x="49" y="148"/>
                </a:cubicBezTo>
                <a:cubicBezTo>
                  <a:pt x="48" y="147"/>
                  <a:pt x="47" y="147"/>
                  <a:pt x="46" y="147"/>
                </a:cubicBezTo>
                <a:cubicBezTo>
                  <a:pt x="46" y="146"/>
                  <a:pt x="46" y="146"/>
                  <a:pt x="45" y="146"/>
                </a:cubicBezTo>
                <a:cubicBezTo>
                  <a:pt x="44" y="146"/>
                  <a:pt x="44" y="145"/>
                  <a:pt x="43" y="145"/>
                </a:cubicBezTo>
                <a:cubicBezTo>
                  <a:pt x="43" y="145"/>
                  <a:pt x="43" y="145"/>
                  <a:pt x="43" y="145"/>
                </a:cubicBezTo>
                <a:cubicBezTo>
                  <a:pt x="43" y="117"/>
                  <a:pt x="43" y="117"/>
                  <a:pt x="43" y="117"/>
                </a:cubicBezTo>
                <a:cubicBezTo>
                  <a:pt x="48" y="117"/>
                  <a:pt x="48" y="117"/>
                  <a:pt x="48" y="117"/>
                </a:cubicBezTo>
                <a:cubicBezTo>
                  <a:pt x="64" y="117"/>
                  <a:pt x="64" y="117"/>
                  <a:pt x="64" y="117"/>
                </a:cubicBezTo>
                <a:cubicBezTo>
                  <a:pt x="96" y="117"/>
                  <a:pt x="96" y="117"/>
                  <a:pt x="96" y="117"/>
                </a:cubicBezTo>
                <a:cubicBezTo>
                  <a:pt x="112" y="117"/>
                  <a:pt x="112" y="117"/>
                  <a:pt x="112" y="117"/>
                </a:cubicBezTo>
                <a:cubicBezTo>
                  <a:pt x="117" y="117"/>
                  <a:pt x="117" y="117"/>
                  <a:pt x="117" y="117"/>
                </a:cubicBezTo>
                <a:cubicBezTo>
                  <a:pt x="117" y="145"/>
                  <a:pt x="117" y="145"/>
                  <a:pt x="117" y="145"/>
                </a:cubicBezTo>
                <a:cubicBezTo>
                  <a:pt x="117" y="145"/>
                  <a:pt x="117" y="145"/>
                  <a:pt x="117" y="145"/>
                </a:cubicBezTo>
                <a:cubicBezTo>
                  <a:pt x="116" y="145"/>
                  <a:pt x="116" y="146"/>
                  <a:pt x="115" y="146"/>
                </a:cubicBezTo>
                <a:close/>
                <a:moveTo>
                  <a:pt x="35" y="140"/>
                </a:moveTo>
                <a:cubicBezTo>
                  <a:pt x="34" y="139"/>
                  <a:pt x="34" y="139"/>
                  <a:pt x="33" y="138"/>
                </a:cubicBezTo>
                <a:cubicBezTo>
                  <a:pt x="33" y="138"/>
                  <a:pt x="32" y="138"/>
                  <a:pt x="32" y="137"/>
                </a:cubicBezTo>
                <a:cubicBezTo>
                  <a:pt x="31" y="137"/>
                  <a:pt x="31" y="136"/>
                  <a:pt x="30" y="135"/>
                </a:cubicBezTo>
                <a:cubicBezTo>
                  <a:pt x="30" y="135"/>
                  <a:pt x="30" y="135"/>
                  <a:pt x="30" y="135"/>
                </a:cubicBezTo>
                <a:cubicBezTo>
                  <a:pt x="27" y="133"/>
                  <a:pt x="25" y="130"/>
                  <a:pt x="23" y="128"/>
                </a:cubicBezTo>
                <a:cubicBezTo>
                  <a:pt x="23" y="128"/>
                  <a:pt x="22" y="128"/>
                  <a:pt x="22" y="127"/>
                </a:cubicBezTo>
                <a:cubicBezTo>
                  <a:pt x="22" y="127"/>
                  <a:pt x="21" y="126"/>
                  <a:pt x="21" y="125"/>
                </a:cubicBezTo>
                <a:cubicBezTo>
                  <a:pt x="20" y="125"/>
                  <a:pt x="20" y="125"/>
                  <a:pt x="20" y="124"/>
                </a:cubicBezTo>
                <a:cubicBezTo>
                  <a:pt x="20" y="124"/>
                  <a:pt x="19" y="123"/>
                  <a:pt x="19" y="123"/>
                </a:cubicBezTo>
                <a:cubicBezTo>
                  <a:pt x="21" y="108"/>
                  <a:pt x="33" y="97"/>
                  <a:pt x="48" y="96"/>
                </a:cubicBezTo>
                <a:cubicBezTo>
                  <a:pt x="48" y="112"/>
                  <a:pt x="48" y="112"/>
                  <a:pt x="48" y="112"/>
                </a:cubicBezTo>
                <a:cubicBezTo>
                  <a:pt x="37" y="112"/>
                  <a:pt x="37" y="112"/>
                  <a:pt x="37" y="112"/>
                </a:cubicBezTo>
                <a:cubicBezTo>
                  <a:pt x="37" y="141"/>
                  <a:pt x="37" y="141"/>
                  <a:pt x="37" y="141"/>
                </a:cubicBezTo>
                <a:cubicBezTo>
                  <a:pt x="37" y="141"/>
                  <a:pt x="36" y="141"/>
                  <a:pt x="36" y="140"/>
                </a:cubicBezTo>
                <a:cubicBezTo>
                  <a:pt x="36" y="140"/>
                  <a:pt x="35" y="140"/>
                  <a:pt x="35" y="140"/>
                </a:cubicBezTo>
                <a:close/>
                <a:moveTo>
                  <a:pt x="68" y="82"/>
                </a:moveTo>
                <a:cubicBezTo>
                  <a:pt x="55" y="77"/>
                  <a:pt x="45" y="56"/>
                  <a:pt x="45" y="40"/>
                </a:cubicBezTo>
                <a:cubicBezTo>
                  <a:pt x="45" y="40"/>
                  <a:pt x="45" y="39"/>
                  <a:pt x="45" y="39"/>
                </a:cubicBezTo>
                <a:cubicBezTo>
                  <a:pt x="47" y="37"/>
                  <a:pt x="47" y="37"/>
                  <a:pt x="47" y="37"/>
                </a:cubicBezTo>
                <a:cubicBezTo>
                  <a:pt x="52" y="31"/>
                  <a:pt x="59" y="30"/>
                  <a:pt x="66" y="33"/>
                </a:cubicBezTo>
                <a:cubicBezTo>
                  <a:pt x="69" y="34"/>
                  <a:pt x="72" y="35"/>
                  <a:pt x="75" y="35"/>
                </a:cubicBezTo>
                <a:cubicBezTo>
                  <a:pt x="83" y="35"/>
                  <a:pt x="90" y="30"/>
                  <a:pt x="93" y="24"/>
                </a:cubicBezTo>
                <a:cubicBezTo>
                  <a:pt x="102" y="26"/>
                  <a:pt x="109" y="32"/>
                  <a:pt x="115" y="38"/>
                </a:cubicBezTo>
                <a:cubicBezTo>
                  <a:pt x="115" y="54"/>
                  <a:pt x="106" y="77"/>
                  <a:pt x="92" y="82"/>
                </a:cubicBezTo>
                <a:cubicBezTo>
                  <a:pt x="90" y="83"/>
                  <a:pt x="88" y="85"/>
                  <a:pt x="88" y="88"/>
                </a:cubicBezTo>
                <a:cubicBezTo>
                  <a:pt x="88" y="90"/>
                  <a:pt x="88" y="90"/>
                  <a:pt x="88" y="90"/>
                </a:cubicBezTo>
                <a:cubicBezTo>
                  <a:pt x="88" y="93"/>
                  <a:pt x="91" y="96"/>
                  <a:pt x="94" y="96"/>
                </a:cubicBezTo>
                <a:cubicBezTo>
                  <a:pt x="96" y="96"/>
                  <a:pt x="96" y="96"/>
                  <a:pt x="96" y="96"/>
                </a:cubicBezTo>
                <a:cubicBezTo>
                  <a:pt x="96" y="112"/>
                  <a:pt x="96" y="112"/>
                  <a:pt x="96" y="112"/>
                </a:cubicBezTo>
                <a:cubicBezTo>
                  <a:pt x="64" y="112"/>
                  <a:pt x="64" y="112"/>
                  <a:pt x="64" y="112"/>
                </a:cubicBezTo>
                <a:cubicBezTo>
                  <a:pt x="64" y="96"/>
                  <a:pt x="64" y="96"/>
                  <a:pt x="64" y="96"/>
                </a:cubicBezTo>
                <a:cubicBezTo>
                  <a:pt x="66" y="96"/>
                  <a:pt x="66" y="96"/>
                  <a:pt x="66" y="96"/>
                </a:cubicBezTo>
                <a:cubicBezTo>
                  <a:pt x="69" y="96"/>
                  <a:pt x="72" y="93"/>
                  <a:pt x="72" y="90"/>
                </a:cubicBezTo>
                <a:cubicBezTo>
                  <a:pt x="72" y="88"/>
                  <a:pt x="72" y="88"/>
                  <a:pt x="72" y="88"/>
                </a:cubicBezTo>
                <a:cubicBezTo>
                  <a:pt x="72" y="85"/>
                  <a:pt x="70" y="83"/>
                  <a:pt x="68" y="82"/>
                </a:cubicBezTo>
                <a:close/>
                <a:moveTo>
                  <a:pt x="80" y="5"/>
                </a:moveTo>
                <a:cubicBezTo>
                  <a:pt x="80" y="5"/>
                  <a:pt x="80" y="5"/>
                  <a:pt x="80" y="5"/>
                </a:cubicBezTo>
                <a:cubicBezTo>
                  <a:pt x="82" y="5"/>
                  <a:pt x="83" y="5"/>
                  <a:pt x="84" y="6"/>
                </a:cubicBezTo>
                <a:cubicBezTo>
                  <a:pt x="97" y="7"/>
                  <a:pt x="108" y="16"/>
                  <a:pt x="113" y="28"/>
                </a:cubicBezTo>
                <a:cubicBezTo>
                  <a:pt x="107" y="24"/>
                  <a:pt x="100" y="20"/>
                  <a:pt x="93" y="18"/>
                </a:cubicBezTo>
                <a:cubicBezTo>
                  <a:pt x="90" y="17"/>
                  <a:pt x="90" y="17"/>
                  <a:pt x="90" y="17"/>
                </a:cubicBezTo>
                <a:cubicBezTo>
                  <a:pt x="90" y="19"/>
                  <a:pt x="90" y="19"/>
                  <a:pt x="90" y="19"/>
                </a:cubicBezTo>
                <a:cubicBezTo>
                  <a:pt x="87" y="25"/>
                  <a:pt x="81" y="29"/>
                  <a:pt x="75" y="29"/>
                </a:cubicBezTo>
                <a:cubicBezTo>
                  <a:pt x="72" y="29"/>
                  <a:pt x="70" y="29"/>
                  <a:pt x="68" y="28"/>
                </a:cubicBezTo>
                <a:cubicBezTo>
                  <a:pt x="61" y="25"/>
                  <a:pt x="53" y="26"/>
                  <a:pt x="47" y="30"/>
                </a:cubicBezTo>
                <a:cubicBezTo>
                  <a:pt x="48" y="25"/>
                  <a:pt x="51" y="20"/>
                  <a:pt x="56" y="15"/>
                </a:cubicBezTo>
                <a:cubicBezTo>
                  <a:pt x="62" y="9"/>
                  <a:pt x="71" y="5"/>
                  <a:pt x="80" y="5"/>
                </a:cubicBezTo>
                <a:close/>
                <a:moveTo>
                  <a:pt x="107" y="112"/>
                </a:moveTo>
                <a:cubicBezTo>
                  <a:pt x="101" y="112"/>
                  <a:pt x="101" y="112"/>
                  <a:pt x="101" y="112"/>
                </a:cubicBezTo>
                <a:cubicBezTo>
                  <a:pt x="101" y="96"/>
                  <a:pt x="101" y="96"/>
                  <a:pt x="101" y="96"/>
                </a:cubicBezTo>
                <a:cubicBezTo>
                  <a:pt x="107" y="96"/>
                  <a:pt x="107" y="96"/>
                  <a:pt x="107" y="96"/>
                </a:cubicBezTo>
                <a:lnTo>
                  <a:pt x="107" y="112"/>
                </a:lnTo>
                <a:close/>
                <a:moveTo>
                  <a:pt x="59" y="112"/>
                </a:moveTo>
                <a:cubicBezTo>
                  <a:pt x="53" y="112"/>
                  <a:pt x="53" y="112"/>
                  <a:pt x="53" y="112"/>
                </a:cubicBezTo>
                <a:cubicBezTo>
                  <a:pt x="53" y="96"/>
                  <a:pt x="53" y="96"/>
                  <a:pt x="53" y="96"/>
                </a:cubicBezTo>
                <a:cubicBezTo>
                  <a:pt x="59" y="96"/>
                  <a:pt x="59" y="96"/>
                  <a:pt x="59" y="96"/>
                </a:cubicBezTo>
                <a:lnTo>
                  <a:pt x="59" y="112"/>
                </a:lnTo>
                <a:close/>
                <a:moveTo>
                  <a:pt x="53" y="10"/>
                </a:moveTo>
                <a:cubicBezTo>
                  <a:pt x="53" y="11"/>
                  <a:pt x="52" y="11"/>
                  <a:pt x="52" y="12"/>
                </a:cubicBezTo>
                <a:cubicBezTo>
                  <a:pt x="44" y="19"/>
                  <a:pt x="40" y="29"/>
                  <a:pt x="40" y="40"/>
                </a:cubicBezTo>
                <a:cubicBezTo>
                  <a:pt x="40" y="58"/>
                  <a:pt x="51" y="82"/>
                  <a:pt x="66" y="87"/>
                </a:cubicBezTo>
                <a:cubicBezTo>
                  <a:pt x="66" y="87"/>
                  <a:pt x="67" y="88"/>
                  <a:pt x="67" y="88"/>
                </a:cubicBezTo>
                <a:cubicBezTo>
                  <a:pt x="67" y="90"/>
                  <a:pt x="67" y="90"/>
                  <a:pt x="67" y="90"/>
                </a:cubicBezTo>
                <a:cubicBezTo>
                  <a:pt x="67" y="90"/>
                  <a:pt x="66" y="91"/>
                  <a:pt x="66" y="91"/>
                </a:cubicBezTo>
                <a:cubicBezTo>
                  <a:pt x="64" y="91"/>
                  <a:pt x="64" y="91"/>
                  <a:pt x="64" y="91"/>
                </a:cubicBezTo>
                <a:cubicBezTo>
                  <a:pt x="50" y="91"/>
                  <a:pt x="50" y="91"/>
                  <a:pt x="50" y="91"/>
                </a:cubicBezTo>
                <a:cubicBezTo>
                  <a:pt x="48" y="91"/>
                  <a:pt x="48" y="91"/>
                  <a:pt x="48" y="91"/>
                </a:cubicBezTo>
                <a:cubicBezTo>
                  <a:pt x="48" y="91"/>
                  <a:pt x="48" y="91"/>
                  <a:pt x="48" y="91"/>
                </a:cubicBezTo>
                <a:cubicBezTo>
                  <a:pt x="32" y="92"/>
                  <a:pt x="19" y="102"/>
                  <a:pt x="15" y="117"/>
                </a:cubicBezTo>
                <a:cubicBezTo>
                  <a:pt x="9" y="106"/>
                  <a:pt x="5" y="93"/>
                  <a:pt x="5" y="80"/>
                </a:cubicBezTo>
                <a:cubicBezTo>
                  <a:pt x="5" y="48"/>
                  <a:pt x="25" y="21"/>
                  <a:pt x="53" y="10"/>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59">
            <a:extLst>
              <a:ext uri="{FF2B5EF4-FFF2-40B4-BE49-F238E27FC236}">
                <a16:creationId xmlns:a16="http://schemas.microsoft.com/office/drawing/2014/main" id="{D51110AF-249E-CD46-A4B3-32A036E05308}"/>
              </a:ext>
            </a:extLst>
          </p:cNvPr>
          <p:cNvSpPr>
            <a:spLocks noEditPoints="1"/>
          </p:cNvSpPr>
          <p:nvPr/>
        </p:nvSpPr>
        <p:spPr bwMode="auto">
          <a:xfrm>
            <a:off x="6970404" y="400050"/>
            <a:ext cx="460375" cy="604838"/>
          </a:xfrm>
          <a:custGeom>
            <a:avLst/>
            <a:gdLst>
              <a:gd name="T0" fmla="*/ 84 w 123"/>
              <a:gd name="T1" fmla="*/ 102 h 160"/>
              <a:gd name="T2" fmla="*/ 80 w 123"/>
              <a:gd name="T3" fmla="*/ 86 h 160"/>
              <a:gd name="T4" fmla="*/ 90 w 123"/>
              <a:gd name="T5" fmla="*/ 68 h 160"/>
              <a:gd name="T6" fmla="*/ 96 w 123"/>
              <a:gd name="T7" fmla="*/ 48 h 160"/>
              <a:gd name="T8" fmla="*/ 93 w 123"/>
              <a:gd name="T9" fmla="*/ 27 h 160"/>
              <a:gd name="T10" fmla="*/ 61 w 123"/>
              <a:gd name="T11" fmla="*/ 0 h 160"/>
              <a:gd name="T12" fmla="*/ 29 w 123"/>
              <a:gd name="T13" fmla="*/ 27 h 160"/>
              <a:gd name="T14" fmla="*/ 27 w 123"/>
              <a:gd name="T15" fmla="*/ 48 h 160"/>
              <a:gd name="T16" fmla="*/ 31 w 123"/>
              <a:gd name="T17" fmla="*/ 67 h 160"/>
              <a:gd name="T18" fmla="*/ 40 w 123"/>
              <a:gd name="T19" fmla="*/ 95 h 160"/>
              <a:gd name="T20" fmla="*/ 13 w 123"/>
              <a:gd name="T21" fmla="*/ 114 h 160"/>
              <a:gd name="T22" fmla="*/ 0 w 123"/>
              <a:gd name="T23" fmla="*/ 144 h 160"/>
              <a:gd name="T24" fmla="*/ 123 w 123"/>
              <a:gd name="T25" fmla="*/ 144 h 160"/>
              <a:gd name="T26" fmla="*/ 109 w 123"/>
              <a:gd name="T27" fmla="*/ 114 h 160"/>
              <a:gd name="T28" fmla="*/ 61 w 123"/>
              <a:gd name="T29" fmla="*/ 155 h 160"/>
              <a:gd name="T30" fmla="*/ 5 w 123"/>
              <a:gd name="T31" fmla="*/ 135 h 160"/>
              <a:gd name="T32" fmla="*/ 39 w 123"/>
              <a:gd name="T33" fmla="*/ 106 h 160"/>
              <a:gd name="T34" fmla="*/ 45 w 123"/>
              <a:gd name="T35" fmla="*/ 84 h 160"/>
              <a:gd name="T36" fmla="*/ 36 w 123"/>
              <a:gd name="T37" fmla="*/ 65 h 160"/>
              <a:gd name="T38" fmla="*/ 34 w 123"/>
              <a:gd name="T39" fmla="*/ 63 h 160"/>
              <a:gd name="T40" fmla="*/ 32 w 123"/>
              <a:gd name="T41" fmla="*/ 48 h 160"/>
              <a:gd name="T42" fmla="*/ 35 w 123"/>
              <a:gd name="T43" fmla="*/ 43 h 160"/>
              <a:gd name="T44" fmla="*/ 35 w 123"/>
              <a:gd name="T45" fmla="*/ 26 h 160"/>
              <a:gd name="T46" fmla="*/ 61 w 123"/>
              <a:gd name="T47" fmla="*/ 5 h 160"/>
              <a:gd name="T48" fmla="*/ 88 w 123"/>
              <a:gd name="T49" fmla="*/ 26 h 160"/>
              <a:gd name="T50" fmla="*/ 89 w 123"/>
              <a:gd name="T51" fmla="*/ 44 h 160"/>
              <a:gd name="T52" fmla="*/ 91 w 123"/>
              <a:gd name="T53" fmla="*/ 59 h 160"/>
              <a:gd name="T54" fmla="*/ 86 w 123"/>
              <a:gd name="T55" fmla="*/ 64 h 160"/>
              <a:gd name="T56" fmla="*/ 78 w 123"/>
              <a:gd name="T57" fmla="*/ 81 h 160"/>
              <a:gd name="T58" fmla="*/ 75 w 123"/>
              <a:gd name="T59" fmla="*/ 84 h 160"/>
              <a:gd name="T60" fmla="*/ 82 w 123"/>
              <a:gd name="T61" fmla="*/ 106 h 160"/>
              <a:gd name="T62" fmla="*/ 117 w 123"/>
              <a:gd name="T63"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3" h="160">
                <a:moveTo>
                  <a:pt x="109" y="114"/>
                </a:moveTo>
                <a:cubicBezTo>
                  <a:pt x="84" y="102"/>
                  <a:pt x="84" y="102"/>
                  <a:pt x="84" y="102"/>
                </a:cubicBezTo>
                <a:cubicBezTo>
                  <a:pt x="81" y="100"/>
                  <a:pt x="80" y="98"/>
                  <a:pt x="80" y="95"/>
                </a:cubicBezTo>
                <a:cubicBezTo>
                  <a:pt x="80" y="86"/>
                  <a:pt x="80" y="86"/>
                  <a:pt x="80" y="86"/>
                </a:cubicBezTo>
                <a:cubicBezTo>
                  <a:pt x="81" y="86"/>
                  <a:pt x="81" y="85"/>
                  <a:pt x="82" y="84"/>
                </a:cubicBezTo>
                <a:cubicBezTo>
                  <a:pt x="85" y="79"/>
                  <a:pt x="88" y="74"/>
                  <a:pt x="90" y="68"/>
                </a:cubicBezTo>
                <a:cubicBezTo>
                  <a:pt x="94" y="67"/>
                  <a:pt x="96" y="63"/>
                  <a:pt x="96" y="59"/>
                </a:cubicBezTo>
                <a:cubicBezTo>
                  <a:pt x="96" y="48"/>
                  <a:pt x="96" y="48"/>
                  <a:pt x="96" y="48"/>
                </a:cubicBezTo>
                <a:cubicBezTo>
                  <a:pt x="96" y="45"/>
                  <a:pt x="95" y="43"/>
                  <a:pt x="93" y="41"/>
                </a:cubicBezTo>
                <a:cubicBezTo>
                  <a:pt x="93" y="27"/>
                  <a:pt x="93" y="27"/>
                  <a:pt x="93" y="27"/>
                </a:cubicBezTo>
                <a:cubicBezTo>
                  <a:pt x="93" y="25"/>
                  <a:pt x="94" y="17"/>
                  <a:pt x="88" y="9"/>
                </a:cubicBezTo>
                <a:cubicBezTo>
                  <a:pt x="82" y="3"/>
                  <a:pt x="73" y="0"/>
                  <a:pt x="61" y="0"/>
                </a:cubicBezTo>
                <a:cubicBezTo>
                  <a:pt x="49" y="0"/>
                  <a:pt x="40" y="3"/>
                  <a:pt x="35" y="9"/>
                </a:cubicBezTo>
                <a:cubicBezTo>
                  <a:pt x="29" y="17"/>
                  <a:pt x="29" y="25"/>
                  <a:pt x="29" y="27"/>
                </a:cubicBezTo>
                <a:cubicBezTo>
                  <a:pt x="29" y="41"/>
                  <a:pt x="29" y="41"/>
                  <a:pt x="29" y="41"/>
                </a:cubicBezTo>
                <a:cubicBezTo>
                  <a:pt x="28" y="43"/>
                  <a:pt x="27" y="45"/>
                  <a:pt x="27" y="48"/>
                </a:cubicBezTo>
                <a:cubicBezTo>
                  <a:pt x="27" y="59"/>
                  <a:pt x="27" y="59"/>
                  <a:pt x="27" y="59"/>
                </a:cubicBezTo>
                <a:cubicBezTo>
                  <a:pt x="27" y="62"/>
                  <a:pt x="28" y="65"/>
                  <a:pt x="31" y="67"/>
                </a:cubicBezTo>
                <a:cubicBezTo>
                  <a:pt x="33" y="77"/>
                  <a:pt x="38" y="84"/>
                  <a:pt x="40" y="86"/>
                </a:cubicBezTo>
                <a:cubicBezTo>
                  <a:pt x="40" y="95"/>
                  <a:pt x="40" y="95"/>
                  <a:pt x="40" y="95"/>
                </a:cubicBezTo>
                <a:cubicBezTo>
                  <a:pt x="40" y="98"/>
                  <a:pt x="39" y="100"/>
                  <a:pt x="36" y="101"/>
                </a:cubicBezTo>
                <a:cubicBezTo>
                  <a:pt x="13" y="114"/>
                  <a:pt x="13" y="114"/>
                  <a:pt x="13" y="114"/>
                </a:cubicBezTo>
                <a:cubicBezTo>
                  <a:pt x="5" y="118"/>
                  <a:pt x="0" y="127"/>
                  <a:pt x="0" y="135"/>
                </a:cubicBezTo>
                <a:cubicBezTo>
                  <a:pt x="0" y="144"/>
                  <a:pt x="0" y="144"/>
                  <a:pt x="0" y="144"/>
                </a:cubicBezTo>
                <a:cubicBezTo>
                  <a:pt x="0" y="157"/>
                  <a:pt x="40" y="160"/>
                  <a:pt x="61" y="160"/>
                </a:cubicBezTo>
                <a:cubicBezTo>
                  <a:pt x="83" y="160"/>
                  <a:pt x="123" y="157"/>
                  <a:pt x="123" y="144"/>
                </a:cubicBezTo>
                <a:cubicBezTo>
                  <a:pt x="123" y="136"/>
                  <a:pt x="123" y="136"/>
                  <a:pt x="123" y="136"/>
                </a:cubicBezTo>
                <a:cubicBezTo>
                  <a:pt x="123" y="127"/>
                  <a:pt x="118" y="118"/>
                  <a:pt x="109" y="114"/>
                </a:cubicBezTo>
                <a:close/>
                <a:moveTo>
                  <a:pt x="117" y="144"/>
                </a:moveTo>
                <a:cubicBezTo>
                  <a:pt x="117" y="148"/>
                  <a:pt x="98" y="155"/>
                  <a:pt x="61" y="155"/>
                </a:cubicBezTo>
                <a:cubicBezTo>
                  <a:pt x="25" y="155"/>
                  <a:pt x="5" y="148"/>
                  <a:pt x="5" y="144"/>
                </a:cubicBezTo>
                <a:cubicBezTo>
                  <a:pt x="5" y="135"/>
                  <a:pt x="5" y="135"/>
                  <a:pt x="5" y="135"/>
                </a:cubicBezTo>
                <a:cubicBezTo>
                  <a:pt x="5" y="129"/>
                  <a:pt x="9" y="122"/>
                  <a:pt x="15" y="119"/>
                </a:cubicBezTo>
                <a:cubicBezTo>
                  <a:pt x="39" y="106"/>
                  <a:pt x="39" y="106"/>
                  <a:pt x="39" y="106"/>
                </a:cubicBezTo>
                <a:cubicBezTo>
                  <a:pt x="43" y="104"/>
                  <a:pt x="45" y="100"/>
                  <a:pt x="45" y="95"/>
                </a:cubicBezTo>
                <a:cubicBezTo>
                  <a:pt x="45" y="84"/>
                  <a:pt x="45" y="84"/>
                  <a:pt x="45" y="84"/>
                </a:cubicBezTo>
                <a:cubicBezTo>
                  <a:pt x="45" y="84"/>
                  <a:pt x="45" y="84"/>
                  <a:pt x="45" y="84"/>
                </a:cubicBezTo>
                <a:cubicBezTo>
                  <a:pt x="45" y="84"/>
                  <a:pt x="38" y="76"/>
                  <a:pt x="36" y="65"/>
                </a:cubicBezTo>
                <a:cubicBezTo>
                  <a:pt x="35" y="64"/>
                  <a:pt x="35" y="64"/>
                  <a:pt x="35" y="64"/>
                </a:cubicBezTo>
                <a:cubicBezTo>
                  <a:pt x="34" y="63"/>
                  <a:pt x="34" y="63"/>
                  <a:pt x="34" y="63"/>
                </a:cubicBezTo>
                <a:cubicBezTo>
                  <a:pt x="33" y="62"/>
                  <a:pt x="32" y="60"/>
                  <a:pt x="32" y="59"/>
                </a:cubicBezTo>
                <a:cubicBezTo>
                  <a:pt x="32" y="48"/>
                  <a:pt x="32" y="48"/>
                  <a:pt x="32" y="48"/>
                </a:cubicBezTo>
                <a:cubicBezTo>
                  <a:pt x="32" y="47"/>
                  <a:pt x="33" y="45"/>
                  <a:pt x="34" y="44"/>
                </a:cubicBezTo>
                <a:cubicBezTo>
                  <a:pt x="35" y="43"/>
                  <a:pt x="35" y="43"/>
                  <a:pt x="35" y="43"/>
                </a:cubicBezTo>
                <a:cubicBezTo>
                  <a:pt x="35" y="27"/>
                  <a:pt x="35" y="27"/>
                  <a:pt x="35" y="27"/>
                </a:cubicBezTo>
                <a:cubicBezTo>
                  <a:pt x="35" y="26"/>
                  <a:pt x="35" y="26"/>
                  <a:pt x="35" y="26"/>
                </a:cubicBezTo>
                <a:cubicBezTo>
                  <a:pt x="35" y="26"/>
                  <a:pt x="34" y="19"/>
                  <a:pt x="39" y="13"/>
                </a:cubicBezTo>
                <a:cubicBezTo>
                  <a:pt x="43" y="8"/>
                  <a:pt x="51" y="5"/>
                  <a:pt x="61" y="5"/>
                </a:cubicBezTo>
                <a:cubicBezTo>
                  <a:pt x="72" y="5"/>
                  <a:pt x="79" y="8"/>
                  <a:pt x="84" y="13"/>
                </a:cubicBezTo>
                <a:cubicBezTo>
                  <a:pt x="89" y="19"/>
                  <a:pt x="88" y="26"/>
                  <a:pt x="88" y="26"/>
                </a:cubicBezTo>
                <a:cubicBezTo>
                  <a:pt x="88" y="43"/>
                  <a:pt x="88" y="43"/>
                  <a:pt x="88" y="43"/>
                </a:cubicBezTo>
                <a:cubicBezTo>
                  <a:pt x="89" y="44"/>
                  <a:pt x="89" y="44"/>
                  <a:pt x="89" y="44"/>
                </a:cubicBezTo>
                <a:cubicBezTo>
                  <a:pt x="90" y="45"/>
                  <a:pt x="91" y="47"/>
                  <a:pt x="91" y="48"/>
                </a:cubicBezTo>
                <a:cubicBezTo>
                  <a:pt x="91" y="59"/>
                  <a:pt x="91" y="59"/>
                  <a:pt x="91" y="59"/>
                </a:cubicBezTo>
                <a:cubicBezTo>
                  <a:pt x="91" y="61"/>
                  <a:pt x="89" y="63"/>
                  <a:pt x="87" y="64"/>
                </a:cubicBezTo>
                <a:cubicBezTo>
                  <a:pt x="86" y="64"/>
                  <a:pt x="86" y="64"/>
                  <a:pt x="86" y="64"/>
                </a:cubicBezTo>
                <a:cubicBezTo>
                  <a:pt x="85" y="65"/>
                  <a:pt x="85" y="65"/>
                  <a:pt x="85" y="65"/>
                </a:cubicBezTo>
                <a:cubicBezTo>
                  <a:pt x="83" y="71"/>
                  <a:pt x="81" y="76"/>
                  <a:pt x="78" y="81"/>
                </a:cubicBezTo>
                <a:cubicBezTo>
                  <a:pt x="77" y="82"/>
                  <a:pt x="76" y="83"/>
                  <a:pt x="75" y="84"/>
                </a:cubicBezTo>
                <a:cubicBezTo>
                  <a:pt x="75" y="84"/>
                  <a:pt x="75" y="84"/>
                  <a:pt x="75" y="84"/>
                </a:cubicBezTo>
                <a:cubicBezTo>
                  <a:pt x="75" y="95"/>
                  <a:pt x="75" y="95"/>
                  <a:pt x="75" y="95"/>
                </a:cubicBezTo>
                <a:cubicBezTo>
                  <a:pt x="75" y="100"/>
                  <a:pt x="77" y="104"/>
                  <a:pt x="82" y="106"/>
                </a:cubicBezTo>
                <a:cubicBezTo>
                  <a:pt x="107" y="119"/>
                  <a:pt x="107" y="119"/>
                  <a:pt x="107" y="119"/>
                </a:cubicBezTo>
                <a:cubicBezTo>
                  <a:pt x="113" y="122"/>
                  <a:pt x="117" y="129"/>
                  <a:pt x="117" y="136"/>
                </a:cubicBezTo>
                <a:lnTo>
                  <a:pt x="117" y="144"/>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60">
            <a:extLst>
              <a:ext uri="{FF2B5EF4-FFF2-40B4-BE49-F238E27FC236}">
                <a16:creationId xmlns:a16="http://schemas.microsoft.com/office/drawing/2014/main" id="{C314A6E4-2461-CA40-95FD-5F323F902A9C}"/>
              </a:ext>
            </a:extLst>
          </p:cNvPr>
          <p:cNvSpPr>
            <a:spLocks noEditPoints="1"/>
          </p:cNvSpPr>
          <p:nvPr/>
        </p:nvSpPr>
        <p:spPr bwMode="auto">
          <a:xfrm>
            <a:off x="6894204" y="1095375"/>
            <a:ext cx="601663" cy="557213"/>
          </a:xfrm>
          <a:custGeom>
            <a:avLst/>
            <a:gdLst>
              <a:gd name="T0" fmla="*/ 122 w 160"/>
              <a:gd name="T1" fmla="*/ 106 h 147"/>
              <a:gd name="T2" fmla="*/ 138 w 160"/>
              <a:gd name="T3" fmla="*/ 104 h 147"/>
              <a:gd name="T4" fmla="*/ 155 w 160"/>
              <a:gd name="T5" fmla="*/ 97 h 147"/>
              <a:gd name="T6" fmla="*/ 137 w 160"/>
              <a:gd name="T7" fmla="*/ 46 h 147"/>
              <a:gd name="T8" fmla="*/ 92 w 160"/>
              <a:gd name="T9" fmla="*/ 16 h 147"/>
              <a:gd name="T10" fmla="*/ 61 w 160"/>
              <a:gd name="T11" fmla="*/ 0 h 147"/>
              <a:gd name="T12" fmla="*/ 29 w 160"/>
              <a:gd name="T13" fmla="*/ 27 h 147"/>
              <a:gd name="T14" fmla="*/ 27 w 160"/>
              <a:gd name="T15" fmla="*/ 48 h 147"/>
              <a:gd name="T16" fmla="*/ 31 w 160"/>
              <a:gd name="T17" fmla="*/ 67 h 147"/>
              <a:gd name="T18" fmla="*/ 40 w 160"/>
              <a:gd name="T19" fmla="*/ 95 h 147"/>
              <a:gd name="T20" fmla="*/ 13 w 160"/>
              <a:gd name="T21" fmla="*/ 114 h 147"/>
              <a:gd name="T22" fmla="*/ 0 w 160"/>
              <a:gd name="T23" fmla="*/ 147 h 147"/>
              <a:gd name="T24" fmla="*/ 123 w 160"/>
              <a:gd name="T25" fmla="*/ 147 h 147"/>
              <a:gd name="T26" fmla="*/ 160 w 160"/>
              <a:gd name="T27" fmla="*/ 137 h 147"/>
              <a:gd name="T28" fmla="*/ 117 w 160"/>
              <a:gd name="T29" fmla="*/ 141 h 147"/>
              <a:gd name="T30" fmla="*/ 5 w 160"/>
              <a:gd name="T31" fmla="*/ 135 h 147"/>
              <a:gd name="T32" fmla="*/ 39 w 160"/>
              <a:gd name="T33" fmla="*/ 106 h 147"/>
              <a:gd name="T34" fmla="*/ 45 w 160"/>
              <a:gd name="T35" fmla="*/ 84 h 147"/>
              <a:gd name="T36" fmla="*/ 36 w 160"/>
              <a:gd name="T37" fmla="*/ 65 h 147"/>
              <a:gd name="T38" fmla="*/ 34 w 160"/>
              <a:gd name="T39" fmla="*/ 63 h 147"/>
              <a:gd name="T40" fmla="*/ 32 w 160"/>
              <a:gd name="T41" fmla="*/ 48 h 147"/>
              <a:gd name="T42" fmla="*/ 35 w 160"/>
              <a:gd name="T43" fmla="*/ 43 h 147"/>
              <a:gd name="T44" fmla="*/ 35 w 160"/>
              <a:gd name="T45" fmla="*/ 26 h 147"/>
              <a:gd name="T46" fmla="*/ 61 w 160"/>
              <a:gd name="T47" fmla="*/ 5 h 147"/>
              <a:gd name="T48" fmla="*/ 88 w 160"/>
              <a:gd name="T49" fmla="*/ 21 h 147"/>
              <a:gd name="T50" fmla="*/ 88 w 160"/>
              <a:gd name="T51" fmla="*/ 22 h 147"/>
              <a:gd name="T52" fmla="*/ 88 w 160"/>
              <a:gd name="T53" fmla="*/ 23 h 147"/>
              <a:gd name="T54" fmla="*/ 88 w 160"/>
              <a:gd name="T55" fmla="*/ 24 h 147"/>
              <a:gd name="T56" fmla="*/ 88 w 160"/>
              <a:gd name="T57" fmla="*/ 25 h 147"/>
              <a:gd name="T58" fmla="*/ 88 w 160"/>
              <a:gd name="T59" fmla="*/ 25 h 147"/>
              <a:gd name="T60" fmla="*/ 88 w 160"/>
              <a:gd name="T61" fmla="*/ 43 h 147"/>
              <a:gd name="T62" fmla="*/ 91 w 160"/>
              <a:gd name="T63" fmla="*/ 48 h 147"/>
              <a:gd name="T64" fmla="*/ 87 w 160"/>
              <a:gd name="T65" fmla="*/ 64 h 147"/>
              <a:gd name="T66" fmla="*/ 85 w 160"/>
              <a:gd name="T67" fmla="*/ 65 h 147"/>
              <a:gd name="T68" fmla="*/ 75 w 160"/>
              <a:gd name="T69" fmla="*/ 84 h 147"/>
              <a:gd name="T70" fmla="*/ 75 w 160"/>
              <a:gd name="T71" fmla="*/ 95 h 147"/>
              <a:gd name="T72" fmla="*/ 75 w 160"/>
              <a:gd name="T73" fmla="*/ 98 h 147"/>
              <a:gd name="T74" fmla="*/ 75 w 160"/>
              <a:gd name="T75" fmla="*/ 100 h 147"/>
              <a:gd name="T76" fmla="*/ 76 w 160"/>
              <a:gd name="T77" fmla="*/ 101 h 147"/>
              <a:gd name="T78" fmla="*/ 78 w 160"/>
              <a:gd name="T79" fmla="*/ 104 h 147"/>
              <a:gd name="T80" fmla="*/ 82 w 160"/>
              <a:gd name="T81" fmla="*/ 106 h 147"/>
              <a:gd name="T82" fmla="*/ 117 w 160"/>
              <a:gd name="T83" fmla="*/ 136 h 147"/>
              <a:gd name="T84" fmla="*/ 155 w 160"/>
              <a:gd name="T85" fmla="*/ 141 h 147"/>
              <a:gd name="T86" fmla="*/ 123 w 160"/>
              <a:gd name="T87" fmla="*/ 136 h 147"/>
              <a:gd name="T88" fmla="*/ 91 w 160"/>
              <a:gd name="T89" fmla="*/ 105 h 147"/>
              <a:gd name="T90" fmla="*/ 87 w 160"/>
              <a:gd name="T91" fmla="*/ 99 h 147"/>
              <a:gd name="T92" fmla="*/ 81 w 160"/>
              <a:gd name="T93" fmla="*/ 98 h 147"/>
              <a:gd name="T94" fmla="*/ 80 w 160"/>
              <a:gd name="T95" fmla="*/ 95 h 147"/>
              <a:gd name="T96" fmla="*/ 82 w 160"/>
              <a:gd name="T97" fmla="*/ 84 h 147"/>
              <a:gd name="T98" fmla="*/ 96 w 160"/>
              <a:gd name="T99" fmla="*/ 59 h 147"/>
              <a:gd name="T100" fmla="*/ 93 w 160"/>
              <a:gd name="T101" fmla="*/ 41 h 147"/>
              <a:gd name="T102" fmla="*/ 93 w 160"/>
              <a:gd name="T103" fmla="*/ 21 h 147"/>
              <a:gd name="T104" fmla="*/ 132 w 160"/>
              <a:gd name="T105" fmla="*/ 46 h 147"/>
              <a:gd name="T106" fmla="*/ 150 w 160"/>
              <a:gd name="T107" fmla="*/ 96 h 147"/>
              <a:gd name="T108" fmla="*/ 138 w 160"/>
              <a:gd name="T109" fmla="*/ 99 h 147"/>
              <a:gd name="T110" fmla="*/ 115 w 160"/>
              <a:gd name="T111" fmla="*/ 101 h 147"/>
              <a:gd name="T112" fmla="*/ 120 w 160"/>
              <a:gd name="T113" fmla="*/ 111 h 147"/>
              <a:gd name="T114" fmla="*/ 155 w 160"/>
              <a:gd name="T115" fmla="*/ 13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47">
                <a:moveTo>
                  <a:pt x="148" y="117"/>
                </a:moveTo>
                <a:cubicBezTo>
                  <a:pt x="122" y="106"/>
                  <a:pt x="122" y="106"/>
                  <a:pt x="122" y="106"/>
                </a:cubicBezTo>
                <a:cubicBezTo>
                  <a:pt x="121" y="106"/>
                  <a:pt x="121" y="105"/>
                  <a:pt x="120" y="104"/>
                </a:cubicBezTo>
                <a:cubicBezTo>
                  <a:pt x="138" y="104"/>
                  <a:pt x="138" y="104"/>
                  <a:pt x="138" y="104"/>
                </a:cubicBezTo>
                <a:cubicBezTo>
                  <a:pt x="138" y="104"/>
                  <a:pt x="145" y="105"/>
                  <a:pt x="151" y="102"/>
                </a:cubicBezTo>
                <a:cubicBezTo>
                  <a:pt x="153" y="101"/>
                  <a:pt x="155" y="100"/>
                  <a:pt x="155" y="97"/>
                </a:cubicBezTo>
                <a:cubicBezTo>
                  <a:pt x="156" y="95"/>
                  <a:pt x="155" y="92"/>
                  <a:pt x="154" y="91"/>
                </a:cubicBezTo>
                <a:cubicBezTo>
                  <a:pt x="149" y="83"/>
                  <a:pt x="137" y="65"/>
                  <a:pt x="137" y="46"/>
                </a:cubicBezTo>
                <a:cubicBezTo>
                  <a:pt x="137" y="46"/>
                  <a:pt x="136" y="14"/>
                  <a:pt x="105" y="14"/>
                </a:cubicBezTo>
                <a:cubicBezTo>
                  <a:pt x="100" y="14"/>
                  <a:pt x="96" y="15"/>
                  <a:pt x="92" y="16"/>
                </a:cubicBezTo>
                <a:cubicBezTo>
                  <a:pt x="91" y="14"/>
                  <a:pt x="90" y="12"/>
                  <a:pt x="88" y="9"/>
                </a:cubicBezTo>
                <a:cubicBezTo>
                  <a:pt x="82" y="3"/>
                  <a:pt x="73" y="0"/>
                  <a:pt x="61" y="0"/>
                </a:cubicBezTo>
                <a:cubicBezTo>
                  <a:pt x="49" y="0"/>
                  <a:pt x="40" y="3"/>
                  <a:pt x="35" y="9"/>
                </a:cubicBezTo>
                <a:cubicBezTo>
                  <a:pt x="29" y="17"/>
                  <a:pt x="29" y="25"/>
                  <a:pt x="29" y="27"/>
                </a:cubicBezTo>
                <a:cubicBezTo>
                  <a:pt x="29" y="41"/>
                  <a:pt x="29" y="41"/>
                  <a:pt x="29" y="41"/>
                </a:cubicBezTo>
                <a:cubicBezTo>
                  <a:pt x="28" y="43"/>
                  <a:pt x="27" y="45"/>
                  <a:pt x="27" y="48"/>
                </a:cubicBezTo>
                <a:cubicBezTo>
                  <a:pt x="27" y="59"/>
                  <a:pt x="27" y="59"/>
                  <a:pt x="27" y="59"/>
                </a:cubicBezTo>
                <a:cubicBezTo>
                  <a:pt x="27" y="62"/>
                  <a:pt x="28" y="65"/>
                  <a:pt x="31" y="67"/>
                </a:cubicBezTo>
                <a:cubicBezTo>
                  <a:pt x="33" y="77"/>
                  <a:pt x="38" y="84"/>
                  <a:pt x="40" y="86"/>
                </a:cubicBezTo>
                <a:cubicBezTo>
                  <a:pt x="40" y="95"/>
                  <a:pt x="40" y="95"/>
                  <a:pt x="40" y="95"/>
                </a:cubicBezTo>
                <a:cubicBezTo>
                  <a:pt x="40" y="98"/>
                  <a:pt x="39" y="100"/>
                  <a:pt x="36" y="101"/>
                </a:cubicBezTo>
                <a:cubicBezTo>
                  <a:pt x="13" y="114"/>
                  <a:pt x="13" y="114"/>
                  <a:pt x="13" y="114"/>
                </a:cubicBezTo>
                <a:cubicBezTo>
                  <a:pt x="5" y="118"/>
                  <a:pt x="0" y="127"/>
                  <a:pt x="0" y="135"/>
                </a:cubicBezTo>
                <a:cubicBezTo>
                  <a:pt x="0" y="147"/>
                  <a:pt x="0" y="147"/>
                  <a:pt x="0" y="147"/>
                </a:cubicBezTo>
                <a:cubicBezTo>
                  <a:pt x="117" y="147"/>
                  <a:pt x="117" y="147"/>
                  <a:pt x="117" y="147"/>
                </a:cubicBezTo>
                <a:cubicBezTo>
                  <a:pt x="123" y="147"/>
                  <a:pt x="123" y="147"/>
                  <a:pt x="123" y="147"/>
                </a:cubicBezTo>
                <a:cubicBezTo>
                  <a:pt x="160" y="147"/>
                  <a:pt x="160" y="147"/>
                  <a:pt x="160" y="147"/>
                </a:cubicBezTo>
                <a:cubicBezTo>
                  <a:pt x="160" y="137"/>
                  <a:pt x="160" y="137"/>
                  <a:pt x="160" y="137"/>
                </a:cubicBezTo>
                <a:cubicBezTo>
                  <a:pt x="160" y="129"/>
                  <a:pt x="155" y="121"/>
                  <a:pt x="148" y="117"/>
                </a:cubicBezTo>
                <a:close/>
                <a:moveTo>
                  <a:pt x="117" y="141"/>
                </a:moveTo>
                <a:cubicBezTo>
                  <a:pt x="5" y="141"/>
                  <a:pt x="5" y="141"/>
                  <a:pt x="5" y="141"/>
                </a:cubicBezTo>
                <a:cubicBezTo>
                  <a:pt x="5" y="135"/>
                  <a:pt x="5" y="135"/>
                  <a:pt x="5" y="135"/>
                </a:cubicBezTo>
                <a:cubicBezTo>
                  <a:pt x="5" y="129"/>
                  <a:pt x="9" y="122"/>
                  <a:pt x="15" y="119"/>
                </a:cubicBezTo>
                <a:cubicBezTo>
                  <a:pt x="39" y="106"/>
                  <a:pt x="39" y="106"/>
                  <a:pt x="39" y="106"/>
                </a:cubicBezTo>
                <a:cubicBezTo>
                  <a:pt x="43" y="104"/>
                  <a:pt x="45" y="100"/>
                  <a:pt x="45" y="95"/>
                </a:cubicBezTo>
                <a:cubicBezTo>
                  <a:pt x="45" y="84"/>
                  <a:pt x="45" y="84"/>
                  <a:pt x="45" y="84"/>
                </a:cubicBezTo>
                <a:cubicBezTo>
                  <a:pt x="45" y="84"/>
                  <a:pt x="45" y="84"/>
                  <a:pt x="45" y="84"/>
                </a:cubicBezTo>
                <a:cubicBezTo>
                  <a:pt x="45" y="84"/>
                  <a:pt x="38" y="76"/>
                  <a:pt x="36" y="65"/>
                </a:cubicBezTo>
                <a:cubicBezTo>
                  <a:pt x="35" y="64"/>
                  <a:pt x="35" y="64"/>
                  <a:pt x="35" y="64"/>
                </a:cubicBezTo>
                <a:cubicBezTo>
                  <a:pt x="34" y="63"/>
                  <a:pt x="34" y="63"/>
                  <a:pt x="34" y="63"/>
                </a:cubicBezTo>
                <a:cubicBezTo>
                  <a:pt x="33" y="62"/>
                  <a:pt x="32" y="60"/>
                  <a:pt x="32" y="59"/>
                </a:cubicBezTo>
                <a:cubicBezTo>
                  <a:pt x="32" y="48"/>
                  <a:pt x="32" y="48"/>
                  <a:pt x="32" y="48"/>
                </a:cubicBezTo>
                <a:cubicBezTo>
                  <a:pt x="32" y="47"/>
                  <a:pt x="33" y="45"/>
                  <a:pt x="34" y="44"/>
                </a:cubicBezTo>
                <a:cubicBezTo>
                  <a:pt x="35" y="43"/>
                  <a:pt x="35" y="43"/>
                  <a:pt x="35" y="43"/>
                </a:cubicBezTo>
                <a:cubicBezTo>
                  <a:pt x="35" y="27"/>
                  <a:pt x="35" y="27"/>
                  <a:pt x="35" y="27"/>
                </a:cubicBezTo>
                <a:cubicBezTo>
                  <a:pt x="35" y="26"/>
                  <a:pt x="35" y="26"/>
                  <a:pt x="35" y="26"/>
                </a:cubicBezTo>
                <a:cubicBezTo>
                  <a:pt x="35" y="26"/>
                  <a:pt x="34" y="19"/>
                  <a:pt x="39" y="13"/>
                </a:cubicBezTo>
                <a:cubicBezTo>
                  <a:pt x="43" y="8"/>
                  <a:pt x="51" y="5"/>
                  <a:pt x="61" y="5"/>
                </a:cubicBezTo>
                <a:cubicBezTo>
                  <a:pt x="72" y="5"/>
                  <a:pt x="79" y="8"/>
                  <a:pt x="84" y="13"/>
                </a:cubicBezTo>
                <a:cubicBezTo>
                  <a:pt x="86" y="15"/>
                  <a:pt x="87" y="18"/>
                  <a:pt x="88" y="21"/>
                </a:cubicBezTo>
                <a:cubicBezTo>
                  <a:pt x="88" y="21"/>
                  <a:pt x="88" y="21"/>
                  <a:pt x="88" y="21"/>
                </a:cubicBezTo>
                <a:cubicBezTo>
                  <a:pt x="88" y="21"/>
                  <a:pt x="88" y="21"/>
                  <a:pt x="88" y="22"/>
                </a:cubicBezTo>
                <a:cubicBezTo>
                  <a:pt x="88" y="22"/>
                  <a:pt x="88" y="22"/>
                  <a:pt x="88" y="22"/>
                </a:cubicBezTo>
                <a:cubicBezTo>
                  <a:pt x="88" y="22"/>
                  <a:pt x="88" y="23"/>
                  <a:pt x="88" y="23"/>
                </a:cubicBezTo>
                <a:cubicBezTo>
                  <a:pt x="88" y="23"/>
                  <a:pt x="88" y="23"/>
                  <a:pt x="88" y="24"/>
                </a:cubicBezTo>
                <a:cubicBezTo>
                  <a:pt x="88" y="24"/>
                  <a:pt x="88" y="24"/>
                  <a:pt x="88" y="24"/>
                </a:cubicBezTo>
                <a:cubicBezTo>
                  <a:pt x="88" y="24"/>
                  <a:pt x="88" y="24"/>
                  <a:pt x="88" y="24"/>
                </a:cubicBezTo>
                <a:cubicBezTo>
                  <a:pt x="88" y="25"/>
                  <a:pt x="88" y="25"/>
                  <a:pt x="88" y="25"/>
                </a:cubicBezTo>
                <a:cubicBezTo>
                  <a:pt x="88" y="25"/>
                  <a:pt x="88" y="25"/>
                  <a:pt x="88" y="25"/>
                </a:cubicBezTo>
                <a:cubicBezTo>
                  <a:pt x="88" y="25"/>
                  <a:pt x="88" y="25"/>
                  <a:pt x="88" y="25"/>
                </a:cubicBezTo>
                <a:cubicBezTo>
                  <a:pt x="88" y="26"/>
                  <a:pt x="88" y="26"/>
                  <a:pt x="88" y="26"/>
                </a:cubicBezTo>
                <a:cubicBezTo>
                  <a:pt x="88" y="43"/>
                  <a:pt x="88" y="43"/>
                  <a:pt x="88" y="43"/>
                </a:cubicBezTo>
                <a:cubicBezTo>
                  <a:pt x="89" y="44"/>
                  <a:pt x="89" y="44"/>
                  <a:pt x="89" y="44"/>
                </a:cubicBezTo>
                <a:cubicBezTo>
                  <a:pt x="90" y="45"/>
                  <a:pt x="91" y="47"/>
                  <a:pt x="91" y="48"/>
                </a:cubicBezTo>
                <a:cubicBezTo>
                  <a:pt x="91" y="59"/>
                  <a:pt x="91" y="59"/>
                  <a:pt x="91" y="59"/>
                </a:cubicBezTo>
                <a:cubicBezTo>
                  <a:pt x="91" y="61"/>
                  <a:pt x="89" y="63"/>
                  <a:pt x="87" y="64"/>
                </a:cubicBezTo>
                <a:cubicBezTo>
                  <a:pt x="86" y="64"/>
                  <a:pt x="86" y="64"/>
                  <a:pt x="86" y="64"/>
                </a:cubicBezTo>
                <a:cubicBezTo>
                  <a:pt x="85" y="65"/>
                  <a:pt x="85" y="65"/>
                  <a:pt x="85" y="65"/>
                </a:cubicBezTo>
                <a:cubicBezTo>
                  <a:pt x="83" y="71"/>
                  <a:pt x="81" y="76"/>
                  <a:pt x="78" y="81"/>
                </a:cubicBezTo>
                <a:cubicBezTo>
                  <a:pt x="77" y="82"/>
                  <a:pt x="76" y="83"/>
                  <a:pt x="75" y="84"/>
                </a:cubicBezTo>
                <a:cubicBezTo>
                  <a:pt x="75" y="84"/>
                  <a:pt x="75" y="84"/>
                  <a:pt x="75" y="84"/>
                </a:cubicBezTo>
                <a:cubicBezTo>
                  <a:pt x="75" y="95"/>
                  <a:pt x="75" y="95"/>
                  <a:pt x="75" y="95"/>
                </a:cubicBezTo>
                <a:cubicBezTo>
                  <a:pt x="75" y="96"/>
                  <a:pt x="75" y="97"/>
                  <a:pt x="75" y="97"/>
                </a:cubicBezTo>
                <a:cubicBezTo>
                  <a:pt x="75" y="97"/>
                  <a:pt x="75" y="98"/>
                  <a:pt x="75" y="98"/>
                </a:cubicBezTo>
                <a:cubicBezTo>
                  <a:pt x="75" y="98"/>
                  <a:pt x="75" y="99"/>
                  <a:pt x="75" y="99"/>
                </a:cubicBezTo>
                <a:cubicBezTo>
                  <a:pt x="75" y="99"/>
                  <a:pt x="75" y="100"/>
                  <a:pt x="75" y="100"/>
                </a:cubicBezTo>
                <a:cubicBezTo>
                  <a:pt x="76" y="100"/>
                  <a:pt x="76" y="101"/>
                  <a:pt x="76" y="101"/>
                </a:cubicBezTo>
                <a:cubicBezTo>
                  <a:pt x="76" y="101"/>
                  <a:pt x="76" y="101"/>
                  <a:pt x="76" y="101"/>
                </a:cubicBezTo>
                <a:cubicBezTo>
                  <a:pt x="77" y="102"/>
                  <a:pt x="77" y="103"/>
                  <a:pt x="78" y="103"/>
                </a:cubicBezTo>
                <a:cubicBezTo>
                  <a:pt x="78" y="104"/>
                  <a:pt x="78" y="104"/>
                  <a:pt x="78" y="104"/>
                </a:cubicBezTo>
                <a:cubicBezTo>
                  <a:pt x="78" y="104"/>
                  <a:pt x="78" y="104"/>
                  <a:pt x="78" y="104"/>
                </a:cubicBezTo>
                <a:cubicBezTo>
                  <a:pt x="79" y="105"/>
                  <a:pt x="80" y="106"/>
                  <a:pt x="82" y="106"/>
                </a:cubicBezTo>
                <a:cubicBezTo>
                  <a:pt x="107" y="119"/>
                  <a:pt x="107" y="119"/>
                  <a:pt x="107" y="119"/>
                </a:cubicBezTo>
                <a:cubicBezTo>
                  <a:pt x="113" y="122"/>
                  <a:pt x="117" y="129"/>
                  <a:pt x="117" y="136"/>
                </a:cubicBezTo>
                <a:lnTo>
                  <a:pt x="117" y="141"/>
                </a:lnTo>
                <a:close/>
                <a:moveTo>
                  <a:pt x="155" y="141"/>
                </a:moveTo>
                <a:cubicBezTo>
                  <a:pt x="123" y="141"/>
                  <a:pt x="123" y="141"/>
                  <a:pt x="123" y="141"/>
                </a:cubicBezTo>
                <a:cubicBezTo>
                  <a:pt x="123" y="136"/>
                  <a:pt x="123" y="136"/>
                  <a:pt x="123" y="136"/>
                </a:cubicBezTo>
                <a:cubicBezTo>
                  <a:pt x="123" y="127"/>
                  <a:pt x="118" y="118"/>
                  <a:pt x="109" y="114"/>
                </a:cubicBezTo>
                <a:cubicBezTo>
                  <a:pt x="91" y="105"/>
                  <a:pt x="91" y="105"/>
                  <a:pt x="91" y="105"/>
                </a:cubicBezTo>
                <a:cubicBezTo>
                  <a:pt x="92" y="104"/>
                  <a:pt x="92" y="103"/>
                  <a:pt x="91" y="102"/>
                </a:cubicBezTo>
                <a:cubicBezTo>
                  <a:pt x="91" y="100"/>
                  <a:pt x="89" y="99"/>
                  <a:pt x="87" y="99"/>
                </a:cubicBezTo>
                <a:cubicBezTo>
                  <a:pt x="81" y="99"/>
                  <a:pt x="81" y="99"/>
                  <a:pt x="81" y="99"/>
                </a:cubicBezTo>
                <a:cubicBezTo>
                  <a:pt x="81" y="99"/>
                  <a:pt x="81" y="98"/>
                  <a:pt x="81" y="98"/>
                </a:cubicBezTo>
                <a:cubicBezTo>
                  <a:pt x="81" y="98"/>
                  <a:pt x="80" y="97"/>
                  <a:pt x="80" y="97"/>
                </a:cubicBezTo>
                <a:cubicBezTo>
                  <a:pt x="80" y="97"/>
                  <a:pt x="80" y="96"/>
                  <a:pt x="80" y="95"/>
                </a:cubicBezTo>
                <a:cubicBezTo>
                  <a:pt x="80" y="86"/>
                  <a:pt x="80" y="86"/>
                  <a:pt x="80" y="86"/>
                </a:cubicBezTo>
                <a:cubicBezTo>
                  <a:pt x="81" y="86"/>
                  <a:pt x="81" y="85"/>
                  <a:pt x="82" y="84"/>
                </a:cubicBezTo>
                <a:cubicBezTo>
                  <a:pt x="85" y="79"/>
                  <a:pt x="88" y="74"/>
                  <a:pt x="90" y="68"/>
                </a:cubicBezTo>
                <a:cubicBezTo>
                  <a:pt x="94" y="67"/>
                  <a:pt x="96" y="63"/>
                  <a:pt x="96" y="59"/>
                </a:cubicBezTo>
                <a:cubicBezTo>
                  <a:pt x="96" y="48"/>
                  <a:pt x="96" y="48"/>
                  <a:pt x="96" y="48"/>
                </a:cubicBezTo>
                <a:cubicBezTo>
                  <a:pt x="96" y="45"/>
                  <a:pt x="95" y="43"/>
                  <a:pt x="93" y="41"/>
                </a:cubicBezTo>
                <a:cubicBezTo>
                  <a:pt x="93" y="27"/>
                  <a:pt x="93" y="27"/>
                  <a:pt x="93" y="27"/>
                </a:cubicBezTo>
                <a:cubicBezTo>
                  <a:pt x="93" y="26"/>
                  <a:pt x="94" y="24"/>
                  <a:pt x="93" y="21"/>
                </a:cubicBezTo>
                <a:cubicBezTo>
                  <a:pt x="97" y="20"/>
                  <a:pt x="100" y="19"/>
                  <a:pt x="105" y="19"/>
                </a:cubicBezTo>
                <a:cubicBezTo>
                  <a:pt x="131" y="19"/>
                  <a:pt x="132" y="45"/>
                  <a:pt x="132" y="46"/>
                </a:cubicBezTo>
                <a:cubicBezTo>
                  <a:pt x="132" y="67"/>
                  <a:pt x="144" y="86"/>
                  <a:pt x="150" y="94"/>
                </a:cubicBezTo>
                <a:cubicBezTo>
                  <a:pt x="150" y="94"/>
                  <a:pt x="150" y="95"/>
                  <a:pt x="150" y="96"/>
                </a:cubicBezTo>
                <a:cubicBezTo>
                  <a:pt x="150" y="96"/>
                  <a:pt x="150" y="97"/>
                  <a:pt x="149" y="97"/>
                </a:cubicBezTo>
                <a:cubicBezTo>
                  <a:pt x="144" y="99"/>
                  <a:pt x="138" y="99"/>
                  <a:pt x="138" y="99"/>
                </a:cubicBezTo>
                <a:cubicBezTo>
                  <a:pt x="119" y="99"/>
                  <a:pt x="119" y="99"/>
                  <a:pt x="119" y="99"/>
                </a:cubicBezTo>
                <a:cubicBezTo>
                  <a:pt x="118" y="99"/>
                  <a:pt x="116" y="100"/>
                  <a:pt x="115" y="101"/>
                </a:cubicBezTo>
                <a:cubicBezTo>
                  <a:pt x="114" y="103"/>
                  <a:pt x="114" y="104"/>
                  <a:pt x="115" y="106"/>
                </a:cubicBezTo>
                <a:cubicBezTo>
                  <a:pt x="116" y="108"/>
                  <a:pt x="117" y="110"/>
                  <a:pt x="120" y="111"/>
                </a:cubicBezTo>
                <a:cubicBezTo>
                  <a:pt x="146" y="122"/>
                  <a:pt x="146" y="122"/>
                  <a:pt x="146" y="122"/>
                </a:cubicBezTo>
                <a:cubicBezTo>
                  <a:pt x="151" y="125"/>
                  <a:pt x="155" y="131"/>
                  <a:pt x="155" y="137"/>
                </a:cubicBezTo>
                <a:lnTo>
                  <a:pt x="155" y="141"/>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61">
            <a:extLst>
              <a:ext uri="{FF2B5EF4-FFF2-40B4-BE49-F238E27FC236}">
                <a16:creationId xmlns:a16="http://schemas.microsoft.com/office/drawing/2014/main" id="{C72058E1-4291-204E-8A38-9ED87D6A8CC6}"/>
              </a:ext>
            </a:extLst>
          </p:cNvPr>
          <p:cNvSpPr>
            <a:spLocks noEditPoints="1"/>
          </p:cNvSpPr>
          <p:nvPr/>
        </p:nvSpPr>
        <p:spPr bwMode="auto">
          <a:xfrm>
            <a:off x="6894204" y="1776413"/>
            <a:ext cx="601663" cy="557213"/>
          </a:xfrm>
          <a:custGeom>
            <a:avLst/>
            <a:gdLst>
              <a:gd name="T0" fmla="*/ 117 w 160"/>
              <a:gd name="T1" fmla="*/ 95 h 147"/>
              <a:gd name="T2" fmla="*/ 127 w 160"/>
              <a:gd name="T3" fmla="*/ 68 h 147"/>
              <a:gd name="T4" fmla="*/ 131 w 160"/>
              <a:gd name="T5" fmla="*/ 41 h 147"/>
              <a:gd name="T6" fmla="*/ 99 w 160"/>
              <a:gd name="T7" fmla="*/ 0 h 147"/>
              <a:gd name="T8" fmla="*/ 51 w 160"/>
              <a:gd name="T9" fmla="*/ 19 h 147"/>
              <a:gd name="T10" fmla="*/ 19 w 160"/>
              <a:gd name="T11" fmla="*/ 61 h 147"/>
              <a:gd name="T12" fmla="*/ 32 w 160"/>
              <a:gd name="T13" fmla="*/ 94 h 147"/>
              <a:gd name="T14" fmla="*/ 11 w 160"/>
              <a:gd name="T15" fmla="*/ 118 h 147"/>
              <a:gd name="T16" fmla="*/ 37 w 160"/>
              <a:gd name="T17" fmla="*/ 147 h 147"/>
              <a:gd name="T18" fmla="*/ 160 w 160"/>
              <a:gd name="T19" fmla="*/ 136 h 147"/>
              <a:gd name="T20" fmla="*/ 37 w 160"/>
              <a:gd name="T21" fmla="*/ 141 h 147"/>
              <a:gd name="T22" fmla="*/ 14 w 160"/>
              <a:gd name="T23" fmla="*/ 123 h 147"/>
              <a:gd name="T24" fmla="*/ 37 w 160"/>
              <a:gd name="T25" fmla="*/ 92 h 147"/>
              <a:gd name="T26" fmla="*/ 27 w 160"/>
              <a:gd name="T27" fmla="*/ 74 h 147"/>
              <a:gd name="T28" fmla="*/ 24 w 160"/>
              <a:gd name="T29" fmla="*/ 61 h 147"/>
              <a:gd name="T30" fmla="*/ 27 w 160"/>
              <a:gd name="T31" fmla="*/ 43 h 147"/>
              <a:gd name="T32" fmla="*/ 67 w 160"/>
              <a:gd name="T33" fmla="*/ 41 h 147"/>
              <a:gd name="T34" fmla="*/ 64 w 160"/>
              <a:gd name="T35" fmla="*/ 61 h 147"/>
              <a:gd name="T36" fmla="*/ 65 w 160"/>
              <a:gd name="T37" fmla="*/ 63 h 147"/>
              <a:gd name="T38" fmla="*/ 69 w 160"/>
              <a:gd name="T39" fmla="*/ 69 h 147"/>
              <a:gd name="T40" fmla="*/ 69 w 160"/>
              <a:gd name="T41" fmla="*/ 71 h 147"/>
              <a:gd name="T42" fmla="*/ 71 w 160"/>
              <a:gd name="T43" fmla="*/ 75 h 147"/>
              <a:gd name="T44" fmla="*/ 71 w 160"/>
              <a:gd name="T45" fmla="*/ 76 h 147"/>
              <a:gd name="T46" fmla="*/ 73 w 160"/>
              <a:gd name="T47" fmla="*/ 79 h 147"/>
              <a:gd name="T48" fmla="*/ 75 w 160"/>
              <a:gd name="T49" fmla="*/ 83 h 147"/>
              <a:gd name="T50" fmla="*/ 77 w 160"/>
              <a:gd name="T51" fmla="*/ 86 h 147"/>
              <a:gd name="T52" fmla="*/ 74 w 160"/>
              <a:gd name="T53" fmla="*/ 101 h 147"/>
              <a:gd name="T54" fmla="*/ 65 w 160"/>
              <a:gd name="T55" fmla="*/ 106 h 147"/>
              <a:gd name="T56" fmla="*/ 155 w 160"/>
              <a:gd name="T57" fmla="*/ 141 h 147"/>
              <a:gd name="T58" fmla="*/ 52 w 160"/>
              <a:gd name="T59" fmla="*/ 119 h 147"/>
              <a:gd name="T60" fmla="*/ 83 w 160"/>
              <a:gd name="T61" fmla="*/ 84 h 147"/>
              <a:gd name="T62" fmla="*/ 82 w 160"/>
              <a:gd name="T63" fmla="*/ 84 h 147"/>
              <a:gd name="T64" fmla="*/ 81 w 160"/>
              <a:gd name="T65" fmla="*/ 82 h 147"/>
              <a:gd name="T66" fmla="*/ 80 w 160"/>
              <a:gd name="T67" fmla="*/ 80 h 147"/>
              <a:gd name="T68" fmla="*/ 77 w 160"/>
              <a:gd name="T69" fmla="*/ 75 h 147"/>
              <a:gd name="T70" fmla="*/ 76 w 160"/>
              <a:gd name="T71" fmla="*/ 73 h 147"/>
              <a:gd name="T72" fmla="*/ 75 w 160"/>
              <a:gd name="T73" fmla="*/ 72 h 147"/>
              <a:gd name="T74" fmla="*/ 74 w 160"/>
              <a:gd name="T75" fmla="*/ 68 h 147"/>
              <a:gd name="T76" fmla="*/ 73 w 160"/>
              <a:gd name="T77" fmla="*/ 65 h 147"/>
              <a:gd name="T78" fmla="*/ 69 w 160"/>
              <a:gd name="T79" fmla="*/ 59 h 147"/>
              <a:gd name="T80" fmla="*/ 72 w 160"/>
              <a:gd name="T81" fmla="*/ 43 h 147"/>
              <a:gd name="T82" fmla="*/ 72 w 160"/>
              <a:gd name="T83" fmla="*/ 26 h 147"/>
              <a:gd name="T84" fmla="*/ 121 w 160"/>
              <a:gd name="T85" fmla="*/ 13 h 147"/>
              <a:gd name="T86" fmla="*/ 126 w 160"/>
              <a:gd name="T87" fmla="*/ 44 h 147"/>
              <a:gd name="T88" fmla="*/ 124 w 160"/>
              <a:gd name="T89" fmla="*/ 64 h 147"/>
              <a:gd name="T90" fmla="*/ 115 w 160"/>
              <a:gd name="T91" fmla="*/ 81 h 147"/>
              <a:gd name="T92" fmla="*/ 112 w 160"/>
              <a:gd name="T93" fmla="*/ 95 h 147"/>
              <a:gd name="T94" fmla="*/ 155 w 160"/>
              <a:gd name="T95" fmla="*/ 1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147">
                <a:moveTo>
                  <a:pt x="147" y="114"/>
                </a:moveTo>
                <a:cubicBezTo>
                  <a:pt x="121" y="102"/>
                  <a:pt x="121" y="102"/>
                  <a:pt x="121" y="102"/>
                </a:cubicBezTo>
                <a:cubicBezTo>
                  <a:pt x="119" y="100"/>
                  <a:pt x="117" y="98"/>
                  <a:pt x="117" y="95"/>
                </a:cubicBezTo>
                <a:cubicBezTo>
                  <a:pt x="117" y="86"/>
                  <a:pt x="117" y="86"/>
                  <a:pt x="117" y="86"/>
                </a:cubicBezTo>
                <a:cubicBezTo>
                  <a:pt x="118" y="86"/>
                  <a:pt x="119" y="85"/>
                  <a:pt x="119" y="84"/>
                </a:cubicBezTo>
                <a:cubicBezTo>
                  <a:pt x="123" y="79"/>
                  <a:pt x="125" y="74"/>
                  <a:pt x="127" y="68"/>
                </a:cubicBezTo>
                <a:cubicBezTo>
                  <a:pt x="131" y="67"/>
                  <a:pt x="133" y="63"/>
                  <a:pt x="133" y="59"/>
                </a:cubicBezTo>
                <a:cubicBezTo>
                  <a:pt x="133" y="48"/>
                  <a:pt x="133" y="48"/>
                  <a:pt x="133" y="48"/>
                </a:cubicBezTo>
                <a:cubicBezTo>
                  <a:pt x="133" y="45"/>
                  <a:pt x="132" y="43"/>
                  <a:pt x="131" y="41"/>
                </a:cubicBezTo>
                <a:cubicBezTo>
                  <a:pt x="131" y="27"/>
                  <a:pt x="131" y="27"/>
                  <a:pt x="131" y="27"/>
                </a:cubicBezTo>
                <a:cubicBezTo>
                  <a:pt x="131" y="25"/>
                  <a:pt x="131" y="17"/>
                  <a:pt x="125" y="9"/>
                </a:cubicBezTo>
                <a:cubicBezTo>
                  <a:pt x="120" y="3"/>
                  <a:pt x="111" y="0"/>
                  <a:pt x="99" y="0"/>
                </a:cubicBezTo>
                <a:cubicBezTo>
                  <a:pt x="87" y="0"/>
                  <a:pt x="78" y="3"/>
                  <a:pt x="72" y="9"/>
                </a:cubicBezTo>
                <a:cubicBezTo>
                  <a:pt x="68" y="14"/>
                  <a:pt x="67" y="19"/>
                  <a:pt x="67" y="22"/>
                </a:cubicBezTo>
                <a:cubicBezTo>
                  <a:pt x="62" y="20"/>
                  <a:pt x="57" y="19"/>
                  <a:pt x="51" y="19"/>
                </a:cubicBezTo>
                <a:cubicBezTo>
                  <a:pt x="23" y="19"/>
                  <a:pt x="21" y="42"/>
                  <a:pt x="21" y="43"/>
                </a:cubicBezTo>
                <a:cubicBezTo>
                  <a:pt x="21" y="55"/>
                  <a:pt x="21" y="55"/>
                  <a:pt x="21" y="55"/>
                </a:cubicBezTo>
                <a:cubicBezTo>
                  <a:pt x="20" y="57"/>
                  <a:pt x="19" y="59"/>
                  <a:pt x="19" y="61"/>
                </a:cubicBezTo>
                <a:cubicBezTo>
                  <a:pt x="19" y="70"/>
                  <a:pt x="19" y="70"/>
                  <a:pt x="19" y="70"/>
                </a:cubicBezTo>
                <a:cubicBezTo>
                  <a:pt x="19" y="73"/>
                  <a:pt x="20" y="76"/>
                  <a:pt x="22" y="78"/>
                </a:cubicBezTo>
                <a:cubicBezTo>
                  <a:pt x="24" y="86"/>
                  <a:pt x="30" y="92"/>
                  <a:pt x="32" y="94"/>
                </a:cubicBezTo>
                <a:cubicBezTo>
                  <a:pt x="32" y="102"/>
                  <a:pt x="32" y="102"/>
                  <a:pt x="32" y="102"/>
                </a:cubicBezTo>
                <a:cubicBezTo>
                  <a:pt x="32" y="104"/>
                  <a:pt x="31" y="106"/>
                  <a:pt x="29" y="107"/>
                </a:cubicBezTo>
                <a:cubicBezTo>
                  <a:pt x="11" y="118"/>
                  <a:pt x="11" y="118"/>
                  <a:pt x="11" y="118"/>
                </a:cubicBezTo>
                <a:cubicBezTo>
                  <a:pt x="4" y="122"/>
                  <a:pt x="0" y="129"/>
                  <a:pt x="0" y="137"/>
                </a:cubicBezTo>
                <a:cubicBezTo>
                  <a:pt x="0" y="147"/>
                  <a:pt x="0" y="147"/>
                  <a:pt x="0" y="147"/>
                </a:cubicBezTo>
                <a:cubicBezTo>
                  <a:pt x="37" y="147"/>
                  <a:pt x="37" y="147"/>
                  <a:pt x="37" y="147"/>
                </a:cubicBezTo>
                <a:cubicBezTo>
                  <a:pt x="43" y="147"/>
                  <a:pt x="43" y="147"/>
                  <a:pt x="43" y="147"/>
                </a:cubicBezTo>
                <a:cubicBezTo>
                  <a:pt x="160" y="147"/>
                  <a:pt x="160" y="147"/>
                  <a:pt x="160" y="147"/>
                </a:cubicBezTo>
                <a:cubicBezTo>
                  <a:pt x="160" y="136"/>
                  <a:pt x="160" y="136"/>
                  <a:pt x="160" y="136"/>
                </a:cubicBezTo>
                <a:cubicBezTo>
                  <a:pt x="160" y="127"/>
                  <a:pt x="155" y="118"/>
                  <a:pt x="147" y="114"/>
                </a:cubicBezTo>
                <a:close/>
                <a:moveTo>
                  <a:pt x="37" y="135"/>
                </a:moveTo>
                <a:cubicBezTo>
                  <a:pt x="37" y="141"/>
                  <a:pt x="37" y="141"/>
                  <a:pt x="37" y="141"/>
                </a:cubicBezTo>
                <a:cubicBezTo>
                  <a:pt x="5" y="141"/>
                  <a:pt x="5" y="141"/>
                  <a:pt x="5" y="141"/>
                </a:cubicBezTo>
                <a:cubicBezTo>
                  <a:pt x="5" y="137"/>
                  <a:pt x="5" y="137"/>
                  <a:pt x="5" y="137"/>
                </a:cubicBezTo>
                <a:cubicBezTo>
                  <a:pt x="5" y="131"/>
                  <a:pt x="8" y="125"/>
                  <a:pt x="14" y="123"/>
                </a:cubicBezTo>
                <a:cubicBezTo>
                  <a:pt x="31" y="111"/>
                  <a:pt x="31" y="111"/>
                  <a:pt x="31" y="111"/>
                </a:cubicBezTo>
                <a:cubicBezTo>
                  <a:pt x="35" y="110"/>
                  <a:pt x="37" y="106"/>
                  <a:pt x="37" y="102"/>
                </a:cubicBezTo>
                <a:cubicBezTo>
                  <a:pt x="37" y="92"/>
                  <a:pt x="37" y="92"/>
                  <a:pt x="37" y="92"/>
                </a:cubicBezTo>
                <a:cubicBezTo>
                  <a:pt x="36" y="91"/>
                  <a:pt x="36" y="91"/>
                  <a:pt x="36" y="91"/>
                </a:cubicBezTo>
                <a:cubicBezTo>
                  <a:pt x="36" y="91"/>
                  <a:pt x="29" y="85"/>
                  <a:pt x="27" y="76"/>
                </a:cubicBezTo>
                <a:cubicBezTo>
                  <a:pt x="27" y="74"/>
                  <a:pt x="27" y="74"/>
                  <a:pt x="27" y="74"/>
                </a:cubicBezTo>
                <a:cubicBezTo>
                  <a:pt x="26" y="74"/>
                  <a:pt x="26" y="74"/>
                  <a:pt x="26" y="74"/>
                </a:cubicBezTo>
                <a:cubicBezTo>
                  <a:pt x="25" y="73"/>
                  <a:pt x="24" y="72"/>
                  <a:pt x="24" y="70"/>
                </a:cubicBezTo>
                <a:cubicBezTo>
                  <a:pt x="24" y="61"/>
                  <a:pt x="24" y="61"/>
                  <a:pt x="24" y="61"/>
                </a:cubicBezTo>
                <a:cubicBezTo>
                  <a:pt x="24" y="60"/>
                  <a:pt x="25" y="59"/>
                  <a:pt x="26" y="58"/>
                </a:cubicBezTo>
                <a:cubicBezTo>
                  <a:pt x="27" y="57"/>
                  <a:pt x="27" y="57"/>
                  <a:pt x="27" y="57"/>
                </a:cubicBezTo>
                <a:cubicBezTo>
                  <a:pt x="27" y="43"/>
                  <a:pt x="27" y="43"/>
                  <a:pt x="27" y="43"/>
                </a:cubicBezTo>
                <a:cubicBezTo>
                  <a:pt x="27" y="42"/>
                  <a:pt x="28" y="24"/>
                  <a:pt x="51" y="24"/>
                </a:cubicBezTo>
                <a:cubicBezTo>
                  <a:pt x="57" y="24"/>
                  <a:pt x="62" y="25"/>
                  <a:pt x="67" y="28"/>
                </a:cubicBezTo>
                <a:cubicBezTo>
                  <a:pt x="67" y="41"/>
                  <a:pt x="67" y="41"/>
                  <a:pt x="67" y="41"/>
                </a:cubicBezTo>
                <a:cubicBezTo>
                  <a:pt x="65" y="43"/>
                  <a:pt x="64" y="45"/>
                  <a:pt x="64" y="48"/>
                </a:cubicBezTo>
                <a:cubicBezTo>
                  <a:pt x="64" y="59"/>
                  <a:pt x="64" y="59"/>
                  <a:pt x="64" y="59"/>
                </a:cubicBezTo>
                <a:cubicBezTo>
                  <a:pt x="64" y="59"/>
                  <a:pt x="64" y="60"/>
                  <a:pt x="64" y="61"/>
                </a:cubicBezTo>
                <a:cubicBezTo>
                  <a:pt x="64" y="61"/>
                  <a:pt x="64" y="62"/>
                  <a:pt x="65" y="62"/>
                </a:cubicBezTo>
                <a:cubicBezTo>
                  <a:pt x="65" y="62"/>
                  <a:pt x="65" y="63"/>
                  <a:pt x="65" y="63"/>
                </a:cubicBezTo>
                <a:cubicBezTo>
                  <a:pt x="65" y="63"/>
                  <a:pt x="65" y="63"/>
                  <a:pt x="65" y="63"/>
                </a:cubicBezTo>
                <a:cubicBezTo>
                  <a:pt x="66" y="65"/>
                  <a:pt x="67" y="66"/>
                  <a:pt x="68" y="67"/>
                </a:cubicBezTo>
                <a:cubicBezTo>
                  <a:pt x="68" y="67"/>
                  <a:pt x="68" y="67"/>
                  <a:pt x="68" y="67"/>
                </a:cubicBezTo>
                <a:cubicBezTo>
                  <a:pt x="68" y="68"/>
                  <a:pt x="68" y="68"/>
                  <a:pt x="69" y="69"/>
                </a:cubicBezTo>
                <a:cubicBezTo>
                  <a:pt x="69" y="70"/>
                  <a:pt x="69" y="70"/>
                  <a:pt x="69" y="70"/>
                </a:cubicBezTo>
                <a:cubicBezTo>
                  <a:pt x="69" y="70"/>
                  <a:pt x="69" y="70"/>
                  <a:pt x="69" y="70"/>
                </a:cubicBezTo>
                <a:cubicBezTo>
                  <a:pt x="69" y="70"/>
                  <a:pt x="69" y="71"/>
                  <a:pt x="69" y="71"/>
                </a:cubicBezTo>
                <a:cubicBezTo>
                  <a:pt x="69" y="71"/>
                  <a:pt x="69" y="72"/>
                  <a:pt x="70" y="72"/>
                </a:cubicBezTo>
                <a:cubicBezTo>
                  <a:pt x="70" y="73"/>
                  <a:pt x="70" y="73"/>
                  <a:pt x="70" y="73"/>
                </a:cubicBezTo>
                <a:cubicBezTo>
                  <a:pt x="70" y="74"/>
                  <a:pt x="70" y="74"/>
                  <a:pt x="71" y="75"/>
                </a:cubicBezTo>
                <a:cubicBezTo>
                  <a:pt x="71" y="75"/>
                  <a:pt x="71" y="75"/>
                  <a:pt x="71" y="75"/>
                </a:cubicBezTo>
                <a:cubicBezTo>
                  <a:pt x="71" y="75"/>
                  <a:pt x="71" y="75"/>
                  <a:pt x="71" y="75"/>
                </a:cubicBezTo>
                <a:cubicBezTo>
                  <a:pt x="71" y="75"/>
                  <a:pt x="71" y="76"/>
                  <a:pt x="71" y="76"/>
                </a:cubicBezTo>
                <a:cubicBezTo>
                  <a:pt x="71" y="76"/>
                  <a:pt x="72" y="77"/>
                  <a:pt x="72" y="77"/>
                </a:cubicBezTo>
                <a:cubicBezTo>
                  <a:pt x="72" y="77"/>
                  <a:pt x="72" y="78"/>
                  <a:pt x="72" y="78"/>
                </a:cubicBezTo>
                <a:cubicBezTo>
                  <a:pt x="72" y="78"/>
                  <a:pt x="72" y="78"/>
                  <a:pt x="73" y="79"/>
                </a:cubicBezTo>
                <a:cubicBezTo>
                  <a:pt x="73" y="79"/>
                  <a:pt x="73" y="80"/>
                  <a:pt x="73" y="80"/>
                </a:cubicBezTo>
                <a:cubicBezTo>
                  <a:pt x="74" y="80"/>
                  <a:pt x="74" y="81"/>
                  <a:pt x="74" y="81"/>
                </a:cubicBezTo>
                <a:cubicBezTo>
                  <a:pt x="74" y="82"/>
                  <a:pt x="75" y="82"/>
                  <a:pt x="75" y="83"/>
                </a:cubicBezTo>
                <a:cubicBezTo>
                  <a:pt x="75" y="83"/>
                  <a:pt x="75" y="83"/>
                  <a:pt x="75" y="83"/>
                </a:cubicBezTo>
                <a:cubicBezTo>
                  <a:pt x="76" y="84"/>
                  <a:pt x="76" y="85"/>
                  <a:pt x="77" y="86"/>
                </a:cubicBezTo>
                <a:cubicBezTo>
                  <a:pt x="77" y="86"/>
                  <a:pt x="77" y="86"/>
                  <a:pt x="77" y="86"/>
                </a:cubicBezTo>
                <a:cubicBezTo>
                  <a:pt x="77" y="86"/>
                  <a:pt x="77" y="86"/>
                  <a:pt x="77" y="86"/>
                </a:cubicBezTo>
                <a:cubicBezTo>
                  <a:pt x="77" y="95"/>
                  <a:pt x="77" y="95"/>
                  <a:pt x="77" y="95"/>
                </a:cubicBezTo>
                <a:cubicBezTo>
                  <a:pt x="77" y="98"/>
                  <a:pt x="76" y="100"/>
                  <a:pt x="74" y="101"/>
                </a:cubicBezTo>
                <a:cubicBezTo>
                  <a:pt x="67" y="105"/>
                  <a:pt x="67" y="105"/>
                  <a:pt x="67" y="105"/>
                </a:cubicBezTo>
                <a:cubicBezTo>
                  <a:pt x="65" y="105"/>
                  <a:pt x="65" y="105"/>
                  <a:pt x="65" y="105"/>
                </a:cubicBezTo>
                <a:cubicBezTo>
                  <a:pt x="65" y="106"/>
                  <a:pt x="65" y="106"/>
                  <a:pt x="65" y="106"/>
                </a:cubicBezTo>
                <a:cubicBezTo>
                  <a:pt x="50" y="114"/>
                  <a:pt x="50" y="114"/>
                  <a:pt x="50" y="114"/>
                </a:cubicBezTo>
                <a:cubicBezTo>
                  <a:pt x="42" y="118"/>
                  <a:pt x="37" y="127"/>
                  <a:pt x="37" y="135"/>
                </a:cubicBezTo>
                <a:close/>
                <a:moveTo>
                  <a:pt x="155" y="141"/>
                </a:moveTo>
                <a:cubicBezTo>
                  <a:pt x="43" y="141"/>
                  <a:pt x="43" y="141"/>
                  <a:pt x="43" y="141"/>
                </a:cubicBezTo>
                <a:cubicBezTo>
                  <a:pt x="43" y="135"/>
                  <a:pt x="43" y="135"/>
                  <a:pt x="43" y="135"/>
                </a:cubicBezTo>
                <a:cubicBezTo>
                  <a:pt x="43" y="129"/>
                  <a:pt x="46" y="122"/>
                  <a:pt x="52" y="119"/>
                </a:cubicBezTo>
                <a:cubicBezTo>
                  <a:pt x="76" y="106"/>
                  <a:pt x="76" y="106"/>
                  <a:pt x="76" y="106"/>
                </a:cubicBezTo>
                <a:cubicBezTo>
                  <a:pt x="80" y="104"/>
                  <a:pt x="83" y="100"/>
                  <a:pt x="83" y="95"/>
                </a:cubicBezTo>
                <a:cubicBezTo>
                  <a:pt x="83" y="84"/>
                  <a:pt x="83" y="84"/>
                  <a:pt x="83" y="84"/>
                </a:cubicBezTo>
                <a:cubicBezTo>
                  <a:pt x="83" y="84"/>
                  <a:pt x="83" y="84"/>
                  <a:pt x="83" y="84"/>
                </a:cubicBezTo>
                <a:cubicBezTo>
                  <a:pt x="82" y="84"/>
                  <a:pt x="82" y="84"/>
                  <a:pt x="82" y="84"/>
                </a:cubicBezTo>
                <a:cubicBezTo>
                  <a:pt x="82" y="84"/>
                  <a:pt x="82" y="84"/>
                  <a:pt x="82" y="84"/>
                </a:cubicBezTo>
                <a:cubicBezTo>
                  <a:pt x="82" y="84"/>
                  <a:pt x="82" y="83"/>
                  <a:pt x="82" y="83"/>
                </a:cubicBezTo>
                <a:cubicBezTo>
                  <a:pt x="82" y="83"/>
                  <a:pt x="82" y="83"/>
                  <a:pt x="82" y="83"/>
                </a:cubicBezTo>
                <a:cubicBezTo>
                  <a:pt x="81" y="83"/>
                  <a:pt x="81" y="83"/>
                  <a:pt x="81" y="82"/>
                </a:cubicBezTo>
                <a:cubicBezTo>
                  <a:pt x="81" y="82"/>
                  <a:pt x="81" y="82"/>
                  <a:pt x="81" y="82"/>
                </a:cubicBezTo>
                <a:cubicBezTo>
                  <a:pt x="81" y="82"/>
                  <a:pt x="80" y="81"/>
                  <a:pt x="80" y="80"/>
                </a:cubicBezTo>
                <a:cubicBezTo>
                  <a:pt x="80" y="80"/>
                  <a:pt x="80" y="80"/>
                  <a:pt x="80" y="80"/>
                </a:cubicBezTo>
                <a:cubicBezTo>
                  <a:pt x="79" y="80"/>
                  <a:pt x="79" y="79"/>
                  <a:pt x="79" y="79"/>
                </a:cubicBezTo>
                <a:cubicBezTo>
                  <a:pt x="79" y="79"/>
                  <a:pt x="79" y="79"/>
                  <a:pt x="79" y="79"/>
                </a:cubicBezTo>
                <a:cubicBezTo>
                  <a:pt x="78" y="78"/>
                  <a:pt x="77" y="77"/>
                  <a:pt x="77" y="75"/>
                </a:cubicBezTo>
                <a:cubicBezTo>
                  <a:pt x="77" y="75"/>
                  <a:pt x="77" y="75"/>
                  <a:pt x="77" y="75"/>
                </a:cubicBezTo>
                <a:cubicBezTo>
                  <a:pt x="76" y="75"/>
                  <a:pt x="76" y="74"/>
                  <a:pt x="76" y="73"/>
                </a:cubicBezTo>
                <a:cubicBezTo>
                  <a:pt x="76" y="73"/>
                  <a:pt x="76" y="73"/>
                  <a:pt x="76" y="73"/>
                </a:cubicBezTo>
                <a:cubicBezTo>
                  <a:pt x="76" y="73"/>
                  <a:pt x="76" y="73"/>
                  <a:pt x="76" y="73"/>
                </a:cubicBezTo>
                <a:cubicBezTo>
                  <a:pt x="76" y="73"/>
                  <a:pt x="76" y="73"/>
                  <a:pt x="76" y="73"/>
                </a:cubicBezTo>
                <a:cubicBezTo>
                  <a:pt x="76" y="72"/>
                  <a:pt x="75" y="72"/>
                  <a:pt x="75" y="72"/>
                </a:cubicBezTo>
                <a:cubicBezTo>
                  <a:pt x="75" y="72"/>
                  <a:pt x="75" y="72"/>
                  <a:pt x="75" y="71"/>
                </a:cubicBezTo>
                <a:cubicBezTo>
                  <a:pt x="75" y="71"/>
                  <a:pt x="75" y="71"/>
                  <a:pt x="75" y="70"/>
                </a:cubicBezTo>
                <a:cubicBezTo>
                  <a:pt x="74" y="70"/>
                  <a:pt x="74" y="69"/>
                  <a:pt x="74" y="68"/>
                </a:cubicBezTo>
                <a:cubicBezTo>
                  <a:pt x="74" y="68"/>
                  <a:pt x="74" y="68"/>
                  <a:pt x="74" y="68"/>
                </a:cubicBezTo>
                <a:cubicBezTo>
                  <a:pt x="74" y="67"/>
                  <a:pt x="74" y="67"/>
                  <a:pt x="74" y="67"/>
                </a:cubicBezTo>
                <a:cubicBezTo>
                  <a:pt x="73" y="67"/>
                  <a:pt x="73" y="66"/>
                  <a:pt x="73" y="65"/>
                </a:cubicBezTo>
                <a:cubicBezTo>
                  <a:pt x="73" y="64"/>
                  <a:pt x="73" y="64"/>
                  <a:pt x="73" y="64"/>
                </a:cubicBezTo>
                <a:cubicBezTo>
                  <a:pt x="72" y="63"/>
                  <a:pt x="72" y="63"/>
                  <a:pt x="72" y="63"/>
                </a:cubicBezTo>
                <a:cubicBezTo>
                  <a:pt x="70" y="62"/>
                  <a:pt x="69" y="60"/>
                  <a:pt x="69" y="59"/>
                </a:cubicBezTo>
                <a:cubicBezTo>
                  <a:pt x="69" y="48"/>
                  <a:pt x="69" y="48"/>
                  <a:pt x="69" y="48"/>
                </a:cubicBezTo>
                <a:cubicBezTo>
                  <a:pt x="69" y="47"/>
                  <a:pt x="70" y="45"/>
                  <a:pt x="71" y="44"/>
                </a:cubicBezTo>
                <a:cubicBezTo>
                  <a:pt x="72" y="43"/>
                  <a:pt x="72" y="43"/>
                  <a:pt x="72" y="43"/>
                </a:cubicBezTo>
                <a:cubicBezTo>
                  <a:pt x="72" y="27"/>
                  <a:pt x="72" y="27"/>
                  <a:pt x="72" y="27"/>
                </a:cubicBezTo>
                <a:cubicBezTo>
                  <a:pt x="72" y="26"/>
                  <a:pt x="72" y="26"/>
                  <a:pt x="72" y="26"/>
                </a:cubicBezTo>
                <a:cubicBezTo>
                  <a:pt x="72" y="26"/>
                  <a:pt x="72" y="26"/>
                  <a:pt x="72" y="26"/>
                </a:cubicBezTo>
                <a:cubicBezTo>
                  <a:pt x="72" y="24"/>
                  <a:pt x="72" y="18"/>
                  <a:pt x="76" y="13"/>
                </a:cubicBezTo>
                <a:cubicBezTo>
                  <a:pt x="81" y="8"/>
                  <a:pt x="88" y="5"/>
                  <a:pt x="99" y="5"/>
                </a:cubicBezTo>
                <a:cubicBezTo>
                  <a:pt x="109" y="5"/>
                  <a:pt x="117" y="8"/>
                  <a:pt x="121" y="13"/>
                </a:cubicBezTo>
                <a:cubicBezTo>
                  <a:pt x="126" y="19"/>
                  <a:pt x="125" y="26"/>
                  <a:pt x="125" y="26"/>
                </a:cubicBezTo>
                <a:cubicBezTo>
                  <a:pt x="125" y="43"/>
                  <a:pt x="125" y="43"/>
                  <a:pt x="125" y="43"/>
                </a:cubicBezTo>
                <a:cubicBezTo>
                  <a:pt x="126" y="44"/>
                  <a:pt x="126" y="44"/>
                  <a:pt x="126" y="44"/>
                </a:cubicBezTo>
                <a:cubicBezTo>
                  <a:pt x="127" y="45"/>
                  <a:pt x="128" y="47"/>
                  <a:pt x="128" y="48"/>
                </a:cubicBezTo>
                <a:cubicBezTo>
                  <a:pt x="128" y="59"/>
                  <a:pt x="128" y="59"/>
                  <a:pt x="128" y="59"/>
                </a:cubicBezTo>
                <a:cubicBezTo>
                  <a:pt x="128" y="61"/>
                  <a:pt x="126" y="63"/>
                  <a:pt x="124" y="64"/>
                </a:cubicBezTo>
                <a:cubicBezTo>
                  <a:pt x="123" y="64"/>
                  <a:pt x="123" y="64"/>
                  <a:pt x="123" y="64"/>
                </a:cubicBezTo>
                <a:cubicBezTo>
                  <a:pt x="122" y="65"/>
                  <a:pt x="122" y="65"/>
                  <a:pt x="122" y="65"/>
                </a:cubicBezTo>
                <a:cubicBezTo>
                  <a:pt x="121" y="71"/>
                  <a:pt x="118" y="76"/>
                  <a:pt x="115" y="81"/>
                </a:cubicBezTo>
                <a:cubicBezTo>
                  <a:pt x="114" y="82"/>
                  <a:pt x="113" y="83"/>
                  <a:pt x="113" y="84"/>
                </a:cubicBezTo>
                <a:cubicBezTo>
                  <a:pt x="112" y="84"/>
                  <a:pt x="112" y="84"/>
                  <a:pt x="112" y="84"/>
                </a:cubicBezTo>
                <a:cubicBezTo>
                  <a:pt x="112" y="95"/>
                  <a:pt x="112" y="95"/>
                  <a:pt x="112" y="95"/>
                </a:cubicBezTo>
                <a:cubicBezTo>
                  <a:pt x="112" y="100"/>
                  <a:pt x="115" y="104"/>
                  <a:pt x="119" y="106"/>
                </a:cubicBezTo>
                <a:cubicBezTo>
                  <a:pt x="144" y="119"/>
                  <a:pt x="144" y="119"/>
                  <a:pt x="144" y="119"/>
                </a:cubicBezTo>
                <a:cubicBezTo>
                  <a:pt x="151" y="122"/>
                  <a:pt x="155" y="129"/>
                  <a:pt x="155" y="136"/>
                </a:cubicBezTo>
                <a:lnTo>
                  <a:pt x="155" y="141"/>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62">
            <a:extLst>
              <a:ext uri="{FF2B5EF4-FFF2-40B4-BE49-F238E27FC236}">
                <a16:creationId xmlns:a16="http://schemas.microsoft.com/office/drawing/2014/main" id="{DAFC82D4-4A4B-BA4B-ADCD-FC1F5428E634}"/>
              </a:ext>
            </a:extLst>
          </p:cNvPr>
          <p:cNvSpPr>
            <a:spLocks noEditPoints="1"/>
          </p:cNvSpPr>
          <p:nvPr/>
        </p:nvSpPr>
        <p:spPr bwMode="auto">
          <a:xfrm>
            <a:off x="6894204" y="2473325"/>
            <a:ext cx="601663" cy="522288"/>
          </a:xfrm>
          <a:custGeom>
            <a:avLst/>
            <a:gdLst>
              <a:gd name="T0" fmla="*/ 147 w 160"/>
              <a:gd name="T1" fmla="*/ 9 h 138"/>
              <a:gd name="T2" fmla="*/ 115 w 160"/>
              <a:gd name="T3" fmla="*/ 14 h 138"/>
              <a:gd name="T4" fmla="*/ 14 w 160"/>
              <a:gd name="T5" fmla="*/ 0 h 138"/>
              <a:gd name="T6" fmla="*/ 0 w 160"/>
              <a:gd name="T7" fmla="*/ 79 h 138"/>
              <a:gd name="T8" fmla="*/ 55 w 160"/>
              <a:gd name="T9" fmla="*/ 93 h 138"/>
              <a:gd name="T10" fmla="*/ 37 w 160"/>
              <a:gd name="T11" fmla="*/ 137 h 138"/>
              <a:gd name="T12" fmla="*/ 41 w 160"/>
              <a:gd name="T13" fmla="*/ 136 h 138"/>
              <a:gd name="T14" fmla="*/ 78 w 160"/>
              <a:gd name="T15" fmla="*/ 136 h 138"/>
              <a:gd name="T16" fmla="*/ 81 w 160"/>
              <a:gd name="T17" fmla="*/ 137 h 138"/>
              <a:gd name="T18" fmla="*/ 64 w 160"/>
              <a:gd name="T19" fmla="*/ 93 h 138"/>
              <a:gd name="T20" fmla="*/ 115 w 160"/>
              <a:gd name="T21" fmla="*/ 78 h 138"/>
              <a:gd name="T22" fmla="*/ 147 w 160"/>
              <a:gd name="T23" fmla="*/ 86 h 138"/>
              <a:gd name="T24" fmla="*/ 155 w 160"/>
              <a:gd name="T25" fmla="*/ 88 h 138"/>
              <a:gd name="T26" fmla="*/ 160 w 160"/>
              <a:gd name="T27" fmla="*/ 15 h 138"/>
              <a:gd name="T28" fmla="*/ 109 w 160"/>
              <a:gd name="T29" fmla="*/ 78 h 138"/>
              <a:gd name="T30" fmla="*/ 59 w 160"/>
              <a:gd name="T31" fmla="*/ 87 h 138"/>
              <a:gd name="T32" fmla="*/ 59 w 160"/>
              <a:gd name="T33" fmla="*/ 87 h 138"/>
              <a:gd name="T34" fmla="*/ 13 w 160"/>
              <a:gd name="T35" fmla="*/ 87 h 138"/>
              <a:gd name="T36" fmla="*/ 6 w 160"/>
              <a:gd name="T37" fmla="*/ 14 h 138"/>
              <a:gd name="T38" fmla="*/ 101 w 160"/>
              <a:gd name="T39" fmla="*/ 6 h 138"/>
              <a:gd name="T40" fmla="*/ 109 w 160"/>
              <a:gd name="T41" fmla="*/ 78 h 138"/>
              <a:gd name="T42" fmla="*/ 153 w 160"/>
              <a:gd name="T43" fmla="*/ 82 h 138"/>
              <a:gd name="T44" fmla="*/ 116 w 160"/>
              <a:gd name="T45" fmla="*/ 48 h 138"/>
              <a:gd name="T46" fmla="*/ 116 w 160"/>
              <a:gd name="T47" fmla="*/ 45 h 138"/>
              <a:gd name="T48" fmla="*/ 152 w 160"/>
              <a:gd name="T49" fmla="*/ 12 h 138"/>
              <a:gd name="T50" fmla="*/ 154 w 160"/>
              <a:gd name="T51" fmla="*/ 15 h 138"/>
              <a:gd name="T52" fmla="*/ 51 w 160"/>
              <a:gd name="T53" fmla="*/ 44 h 138"/>
              <a:gd name="T54" fmla="*/ 35 w 160"/>
              <a:gd name="T55" fmla="*/ 17 h 138"/>
              <a:gd name="T56" fmla="*/ 35 w 160"/>
              <a:gd name="T57" fmla="*/ 53 h 138"/>
              <a:gd name="T58" fmla="*/ 51 w 160"/>
              <a:gd name="T59" fmla="*/ 53 h 138"/>
              <a:gd name="T60" fmla="*/ 55 w 160"/>
              <a:gd name="T61" fmla="*/ 53 h 138"/>
              <a:gd name="T62" fmla="*/ 51 w 160"/>
              <a:gd name="T63" fmla="*/ 44 h 138"/>
              <a:gd name="T64" fmla="*/ 22 w 160"/>
              <a:gd name="T65" fmla="*/ 35 h 138"/>
              <a:gd name="T66" fmla="*/ 48 w 160"/>
              <a:gd name="T67" fmla="*/ 35 h 138"/>
              <a:gd name="T68" fmla="*/ 41 w 160"/>
              <a:gd name="T69" fmla="*/ 35 h 138"/>
              <a:gd name="T70" fmla="*/ 37 w 160"/>
              <a:gd name="T71" fmla="*/ 38 h 138"/>
              <a:gd name="T72" fmla="*/ 35 w 160"/>
              <a:gd name="T73" fmla="*/ 4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38">
                <a:moveTo>
                  <a:pt x="155" y="7"/>
                </a:moveTo>
                <a:cubicBezTo>
                  <a:pt x="152" y="6"/>
                  <a:pt x="149" y="7"/>
                  <a:pt x="147" y="9"/>
                </a:cubicBezTo>
                <a:cubicBezTo>
                  <a:pt x="115" y="38"/>
                  <a:pt x="115" y="38"/>
                  <a:pt x="115" y="38"/>
                </a:cubicBezTo>
                <a:cubicBezTo>
                  <a:pt x="115" y="14"/>
                  <a:pt x="115" y="14"/>
                  <a:pt x="115" y="14"/>
                </a:cubicBezTo>
                <a:cubicBezTo>
                  <a:pt x="115" y="6"/>
                  <a:pt x="109" y="0"/>
                  <a:pt x="101" y="0"/>
                </a:cubicBezTo>
                <a:cubicBezTo>
                  <a:pt x="14" y="0"/>
                  <a:pt x="14" y="0"/>
                  <a:pt x="14" y="0"/>
                </a:cubicBezTo>
                <a:cubicBezTo>
                  <a:pt x="6" y="0"/>
                  <a:pt x="0" y="6"/>
                  <a:pt x="0" y="14"/>
                </a:cubicBezTo>
                <a:cubicBezTo>
                  <a:pt x="0" y="79"/>
                  <a:pt x="0" y="79"/>
                  <a:pt x="0" y="79"/>
                </a:cubicBezTo>
                <a:cubicBezTo>
                  <a:pt x="0" y="87"/>
                  <a:pt x="6" y="93"/>
                  <a:pt x="13" y="93"/>
                </a:cubicBezTo>
                <a:cubicBezTo>
                  <a:pt x="55" y="93"/>
                  <a:pt x="55" y="93"/>
                  <a:pt x="55" y="93"/>
                </a:cubicBezTo>
                <a:cubicBezTo>
                  <a:pt x="36" y="134"/>
                  <a:pt x="36" y="134"/>
                  <a:pt x="36" y="134"/>
                </a:cubicBezTo>
                <a:cubicBezTo>
                  <a:pt x="35" y="135"/>
                  <a:pt x="36" y="137"/>
                  <a:pt x="37" y="137"/>
                </a:cubicBezTo>
                <a:cubicBezTo>
                  <a:pt x="38" y="137"/>
                  <a:pt x="38" y="138"/>
                  <a:pt x="38" y="138"/>
                </a:cubicBezTo>
                <a:cubicBezTo>
                  <a:pt x="40" y="138"/>
                  <a:pt x="41" y="137"/>
                  <a:pt x="41" y="136"/>
                </a:cubicBezTo>
                <a:cubicBezTo>
                  <a:pt x="59" y="96"/>
                  <a:pt x="59" y="96"/>
                  <a:pt x="59" y="96"/>
                </a:cubicBezTo>
                <a:cubicBezTo>
                  <a:pt x="78" y="136"/>
                  <a:pt x="78" y="136"/>
                  <a:pt x="78" y="136"/>
                </a:cubicBezTo>
                <a:cubicBezTo>
                  <a:pt x="78" y="137"/>
                  <a:pt x="79" y="138"/>
                  <a:pt x="80" y="138"/>
                </a:cubicBezTo>
                <a:cubicBezTo>
                  <a:pt x="81" y="138"/>
                  <a:pt x="81" y="137"/>
                  <a:pt x="81" y="137"/>
                </a:cubicBezTo>
                <a:cubicBezTo>
                  <a:pt x="83" y="137"/>
                  <a:pt x="83" y="135"/>
                  <a:pt x="83" y="134"/>
                </a:cubicBezTo>
                <a:cubicBezTo>
                  <a:pt x="64" y="93"/>
                  <a:pt x="64" y="93"/>
                  <a:pt x="64" y="93"/>
                </a:cubicBezTo>
                <a:cubicBezTo>
                  <a:pt x="101" y="93"/>
                  <a:pt x="101" y="93"/>
                  <a:pt x="101" y="93"/>
                </a:cubicBezTo>
                <a:cubicBezTo>
                  <a:pt x="109" y="93"/>
                  <a:pt x="115" y="86"/>
                  <a:pt x="115" y="78"/>
                </a:cubicBezTo>
                <a:cubicBezTo>
                  <a:pt x="115" y="56"/>
                  <a:pt x="115" y="56"/>
                  <a:pt x="115" y="56"/>
                </a:cubicBezTo>
                <a:cubicBezTo>
                  <a:pt x="147" y="86"/>
                  <a:pt x="147" y="86"/>
                  <a:pt x="147" y="86"/>
                </a:cubicBezTo>
                <a:cubicBezTo>
                  <a:pt x="148" y="88"/>
                  <a:pt x="150" y="88"/>
                  <a:pt x="152" y="88"/>
                </a:cubicBezTo>
                <a:cubicBezTo>
                  <a:pt x="153" y="88"/>
                  <a:pt x="154" y="88"/>
                  <a:pt x="155" y="88"/>
                </a:cubicBezTo>
                <a:cubicBezTo>
                  <a:pt x="158" y="86"/>
                  <a:pt x="160" y="84"/>
                  <a:pt x="160" y="81"/>
                </a:cubicBezTo>
                <a:cubicBezTo>
                  <a:pt x="160" y="15"/>
                  <a:pt x="160" y="15"/>
                  <a:pt x="160" y="15"/>
                </a:cubicBezTo>
                <a:cubicBezTo>
                  <a:pt x="160" y="11"/>
                  <a:pt x="158" y="9"/>
                  <a:pt x="155" y="7"/>
                </a:cubicBezTo>
                <a:close/>
                <a:moveTo>
                  <a:pt x="109" y="78"/>
                </a:moveTo>
                <a:cubicBezTo>
                  <a:pt x="109" y="83"/>
                  <a:pt x="105" y="87"/>
                  <a:pt x="101" y="87"/>
                </a:cubicBezTo>
                <a:cubicBezTo>
                  <a:pt x="59" y="87"/>
                  <a:pt x="59" y="87"/>
                  <a:pt x="59" y="87"/>
                </a:cubicBezTo>
                <a:cubicBezTo>
                  <a:pt x="59" y="87"/>
                  <a:pt x="59" y="87"/>
                  <a:pt x="59" y="87"/>
                </a:cubicBezTo>
                <a:cubicBezTo>
                  <a:pt x="59" y="87"/>
                  <a:pt x="59" y="87"/>
                  <a:pt x="59" y="87"/>
                </a:cubicBezTo>
                <a:cubicBezTo>
                  <a:pt x="59" y="87"/>
                  <a:pt x="59" y="87"/>
                  <a:pt x="59" y="87"/>
                </a:cubicBezTo>
                <a:cubicBezTo>
                  <a:pt x="13" y="87"/>
                  <a:pt x="13" y="87"/>
                  <a:pt x="13" y="87"/>
                </a:cubicBezTo>
                <a:cubicBezTo>
                  <a:pt x="9" y="87"/>
                  <a:pt x="6" y="84"/>
                  <a:pt x="6" y="79"/>
                </a:cubicBezTo>
                <a:cubicBezTo>
                  <a:pt x="6" y="14"/>
                  <a:pt x="6" y="14"/>
                  <a:pt x="6" y="14"/>
                </a:cubicBezTo>
                <a:cubicBezTo>
                  <a:pt x="6" y="9"/>
                  <a:pt x="9" y="6"/>
                  <a:pt x="14" y="6"/>
                </a:cubicBezTo>
                <a:cubicBezTo>
                  <a:pt x="101" y="6"/>
                  <a:pt x="101" y="6"/>
                  <a:pt x="101" y="6"/>
                </a:cubicBezTo>
                <a:cubicBezTo>
                  <a:pt x="106" y="6"/>
                  <a:pt x="109" y="9"/>
                  <a:pt x="109" y="14"/>
                </a:cubicBezTo>
                <a:lnTo>
                  <a:pt x="109" y="78"/>
                </a:lnTo>
                <a:close/>
                <a:moveTo>
                  <a:pt x="154" y="81"/>
                </a:moveTo>
                <a:cubicBezTo>
                  <a:pt x="154" y="82"/>
                  <a:pt x="153" y="82"/>
                  <a:pt x="153" y="82"/>
                </a:cubicBezTo>
                <a:cubicBezTo>
                  <a:pt x="153" y="83"/>
                  <a:pt x="152" y="83"/>
                  <a:pt x="151" y="82"/>
                </a:cubicBezTo>
                <a:cubicBezTo>
                  <a:pt x="116" y="48"/>
                  <a:pt x="116" y="48"/>
                  <a:pt x="116" y="48"/>
                </a:cubicBezTo>
                <a:cubicBezTo>
                  <a:pt x="115" y="48"/>
                  <a:pt x="115" y="48"/>
                  <a:pt x="115" y="47"/>
                </a:cubicBezTo>
                <a:cubicBezTo>
                  <a:pt x="115" y="46"/>
                  <a:pt x="115" y="46"/>
                  <a:pt x="116" y="45"/>
                </a:cubicBezTo>
                <a:cubicBezTo>
                  <a:pt x="151" y="13"/>
                  <a:pt x="151" y="13"/>
                  <a:pt x="151" y="13"/>
                </a:cubicBezTo>
                <a:cubicBezTo>
                  <a:pt x="151" y="13"/>
                  <a:pt x="152" y="12"/>
                  <a:pt x="152" y="12"/>
                </a:cubicBezTo>
                <a:cubicBezTo>
                  <a:pt x="153" y="12"/>
                  <a:pt x="153" y="13"/>
                  <a:pt x="153" y="13"/>
                </a:cubicBezTo>
                <a:cubicBezTo>
                  <a:pt x="153" y="13"/>
                  <a:pt x="154" y="13"/>
                  <a:pt x="154" y="15"/>
                </a:cubicBezTo>
                <a:lnTo>
                  <a:pt x="154" y="81"/>
                </a:lnTo>
                <a:close/>
                <a:moveTo>
                  <a:pt x="51" y="44"/>
                </a:moveTo>
                <a:cubicBezTo>
                  <a:pt x="52" y="41"/>
                  <a:pt x="53" y="38"/>
                  <a:pt x="53" y="35"/>
                </a:cubicBezTo>
                <a:cubicBezTo>
                  <a:pt x="53" y="25"/>
                  <a:pt x="45" y="17"/>
                  <a:pt x="35" y="17"/>
                </a:cubicBezTo>
                <a:cubicBezTo>
                  <a:pt x="25" y="17"/>
                  <a:pt x="17" y="25"/>
                  <a:pt x="17" y="35"/>
                </a:cubicBezTo>
                <a:cubicBezTo>
                  <a:pt x="17" y="45"/>
                  <a:pt x="25" y="53"/>
                  <a:pt x="35" y="53"/>
                </a:cubicBezTo>
                <a:cubicBezTo>
                  <a:pt x="40" y="53"/>
                  <a:pt x="44" y="52"/>
                  <a:pt x="47" y="49"/>
                </a:cubicBezTo>
                <a:cubicBezTo>
                  <a:pt x="51" y="53"/>
                  <a:pt x="51" y="53"/>
                  <a:pt x="51" y="53"/>
                </a:cubicBezTo>
                <a:cubicBezTo>
                  <a:pt x="52" y="53"/>
                  <a:pt x="53" y="53"/>
                  <a:pt x="53" y="53"/>
                </a:cubicBezTo>
                <a:cubicBezTo>
                  <a:pt x="54" y="53"/>
                  <a:pt x="55" y="53"/>
                  <a:pt x="55" y="53"/>
                </a:cubicBezTo>
                <a:cubicBezTo>
                  <a:pt x="56" y="51"/>
                  <a:pt x="56" y="50"/>
                  <a:pt x="55" y="49"/>
                </a:cubicBezTo>
                <a:lnTo>
                  <a:pt x="51" y="44"/>
                </a:lnTo>
                <a:close/>
                <a:moveTo>
                  <a:pt x="35" y="48"/>
                </a:moveTo>
                <a:cubicBezTo>
                  <a:pt x="28" y="48"/>
                  <a:pt x="22" y="42"/>
                  <a:pt x="22" y="35"/>
                </a:cubicBezTo>
                <a:cubicBezTo>
                  <a:pt x="22" y="28"/>
                  <a:pt x="28" y="22"/>
                  <a:pt x="35" y="22"/>
                </a:cubicBezTo>
                <a:cubicBezTo>
                  <a:pt x="42" y="22"/>
                  <a:pt x="48" y="28"/>
                  <a:pt x="48" y="35"/>
                </a:cubicBezTo>
                <a:cubicBezTo>
                  <a:pt x="48" y="37"/>
                  <a:pt x="47" y="38"/>
                  <a:pt x="47" y="40"/>
                </a:cubicBezTo>
                <a:cubicBezTo>
                  <a:pt x="41" y="35"/>
                  <a:pt x="41" y="35"/>
                  <a:pt x="41" y="35"/>
                </a:cubicBezTo>
                <a:cubicBezTo>
                  <a:pt x="40" y="33"/>
                  <a:pt x="38" y="33"/>
                  <a:pt x="37" y="35"/>
                </a:cubicBezTo>
                <a:cubicBezTo>
                  <a:pt x="36" y="36"/>
                  <a:pt x="36" y="37"/>
                  <a:pt x="37" y="38"/>
                </a:cubicBezTo>
                <a:cubicBezTo>
                  <a:pt x="43" y="45"/>
                  <a:pt x="43" y="45"/>
                  <a:pt x="43" y="45"/>
                </a:cubicBezTo>
                <a:cubicBezTo>
                  <a:pt x="41" y="46"/>
                  <a:pt x="38" y="48"/>
                  <a:pt x="35" y="48"/>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63">
            <a:extLst>
              <a:ext uri="{FF2B5EF4-FFF2-40B4-BE49-F238E27FC236}">
                <a16:creationId xmlns:a16="http://schemas.microsoft.com/office/drawing/2014/main" id="{324994EF-E3F1-934A-9562-A6C3AAD68CC8}"/>
              </a:ext>
            </a:extLst>
          </p:cNvPr>
          <p:cNvSpPr>
            <a:spLocks noEditPoints="1"/>
          </p:cNvSpPr>
          <p:nvPr/>
        </p:nvSpPr>
        <p:spPr bwMode="auto">
          <a:xfrm>
            <a:off x="6894204" y="3200400"/>
            <a:ext cx="601663" cy="431800"/>
          </a:xfrm>
          <a:custGeom>
            <a:avLst/>
            <a:gdLst>
              <a:gd name="T0" fmla="*/ 155 w 160"/>
              <a:gd name="T1" fmla="*/ 23 h 114"/>
              <a:gd name="T2" fmla="*/ 145 w 160"/>
              <a:gd name="T3" fmla="*/ 22 h 114"/>
              <a:gd name="T4" fmla="*/ 124 w 160"/>
              <a:gd name="T5" fmla="*/ 32 h 114"/>
              <a:gd name="T6" fmla="*/ 124 w 160"/>
              <a:gd name="T7" fmla="*/ 32 h 114"/>
              <a:gd name="T8" fmla="*/ 114 w 160"/>
              <a:gd name="T9" fmla="*/ 22 h 114"/>
              <a:gd name="T10" fmla="*/ 101 w 160"/>
              <a:gd name="T11" fmla="*/ 22 h 114"/>
              <a:gd name="T12" fmla="*/ 101 w 160"/>
              <a:gd name="T13" fmla="*/ 8 h 114"/>
              <a:gd name="T14" fmla="*/ 93 w 160"/>
              <a:gd name="T15" fmla="*/ 0 h 114"/>
              <a:gd name="T16" fmla="*/ 3 w 160"/>
              <a:gd name="T17" fmla="*/ 0 h 114"/>
              <a:gd name="T18" fmla="*/ 0 w 160"/>
              <a:gd name="T19" fmla="*/ 3 h 114"/>
              <a:gd name="T20" fmla="*/ 3 w 160"/>
              <a:gd name="T21" fmla="*/ 6 h 114"/>
              <a:gd name="T22" fmla="*/ 93 w 160"/>
              <a:gd name="T23" fmla="*/ 6 h 114"/>
              <a:gd name="T24" fmla="*/ 95 w 160"/>
              <a:gd name="T25" fmla="*/ 8 h 114"/>
              <a:gd name="T26" fmla="*/ 95 w 160"/>
              <a:gd name="T27" fmla="*/ 22 h 114"/>
              <a:gd name="T28" fmla="*/ 9 w 160"/>
              <a:gd name="T29" fmla="*/ 22 h 114"/>
              <a:gd name="T30" fmla="*/ 0 w 160"/>
              <a:gd name="T31" fmla="*/ 32 h 114"/>
              <a:gd name="T32" fmla="*/ 0 w 160"/>
              <a:gd name="T33" fmla="*/ 103 h 114"/>
              <a:gd name="T34" fmla="*/ 9 w 160"/>
              <a:gd name="T35" fmla="*/ 112 h 114"/>
              <a:gd name="T36" fmla="*/ 114 w 160"/>
              <a:gd name="T37" fmla="*/ 112 h 114"/>
              <a:gd name="T38" fmla="*/ 124 w 160"/>
              <a:gd name="T39" fmla="*/ 103 h 114"/>
              <a:gd name="T40" fmla="*/ 124 w 160"/>
              <a:gd name="T41" fmla="*/ 103 h 114"/>
              <a:gd name="T42" fmla="*/ 145 w 160"/>
              <a:gd name="T43" fmla="*/ 113 h 114"/>
              <a:gd name="T44" fmla="*/ 149 w 160"/>
              <a:gd name="T45" fmla="*/ 114 h 114"/>
              <a:gd name="T46" fmla="*/ 155 w 160"/>
              <a:gd name="T47" fmla="*/ 112 h 114"/>
              <a:gd name="T48" fmla="*/ 160 w 160"/>
              <a:gd name="T49" fmla="*/ 103 h 114"/>
              <a:gd name="T50" fmla="*/ 160 w 160"/>
              <a:gd name="T51" fmla="*/ 32 h 114"/>
              <a:gd name="T52" fmla="*/ 155 w 160"/>
              <a:gd name="T53" fmla="*/ 23 h 114"/>
              <a:gd name="T54" fmla="*/ 118 w 160"/>
              <a:gd name="T55" fmla="*/ 103 h 114"/>
              <a:gd name="T56" fmla="*/ 114 w 160"/>
              <a:gd name="T57" fmla="*/ 107 h 114"/>
              <a:gd name="T58" fmla="*/ 9 w 160"/>
              <a:gd name="T59" fmla="*/ 107 h 114"/>
              <a:gd name="T60" fmla="*/ 6 w 160"/>
              <a:gd name="T61" fmla="*/ 103 h 114"/>
              <a:gd name="T62" fmla="*/ 6 w 160"/>
              <a:gd name="T63" fmla="*/ 32 h 114"/>
              <a:gd name="T64" fmla="*/ 9 w 160"/>
              <a:gd name="T65" fmla="*/ 28 h 114"/>
              <a:gd name="T66" fmla="*/ 114 w 160"/>
              <a:gd name="T67" fmla="*/ 28 h 114"/>
              <a:gd name="T68" fmla="*/ 118 w 160"/>
              <a:gd name="T69" fmla="*/ 32 h 114"/>
              <a:gd name="T70" fmla="*/ 118 w 160"/>
              <a:gd name="T71" fmla="*/ 35 h 114"/>
              <a:gd name="T72" fmla="*/ 118 w 160"/>
              <a:gd name="T73" fmla="*/ 100 h 114"/>
              <a:gd name="T74" fmla="*/ 118 w 160"/>
              <a:gd name="T75" fmla="*/ 103 h 114"/>
              <a:gd name="T76" fmla="*/ 154 w 160"/>
              <a:gd name="T77" fmla="*/ 103 h 114"/>
              <a:gd name="T78" fmla="*/ 152 w 160"/>
              <a:gd name="T79" fmla="*/ 107 h 114"/>
              <a:gd name="T80" fmla="*/ 147 w 160"/>
              <a:gd name="T81" fmla="*/ 107 h 114"/>
              <a:gd name="T82" fmla="*/ 124 w 160"/>
              <a:gd name="T83" fmla="*/ 96 h 114"/>
              <a:gd name="T84" fmla="*/ 124 w 160"/>
              <a:gd name="T85" fmla="*/ 38 h 114"/>
              <a:gd name="T86" fmla="*/ 147 w 160"/>
              <a:gd name="T87" fmla="*/ 27 h 114"/>
              <a:gd name="T88" fmla="*/ 152 w 160"/>
              <a:gd name="T89" fmla="*/ 28 h 114"/>
              <a:gd name="T90" fmla="*/ 154 w 160"/>
              <a:gd name="T91" fmla="*/ 32 h 114"/>
              <a:gd name="T92" fmla="*/ 154 w 160"/>
              <a:gd name="T93" fmla="*/ 10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14">
                <a:moveTo>
                  <a:pt x="155" y="23"/>
                </a:moveTo>
                <a:cubicBezTo>
                  <a:pt x="152" y="21"/>
                  <a:pt x="148" y="21"/>
                  <a:pt x="145" y="22"/>
                </a:cubicBezTo>
                <a:cubicBezTo>
                  <a:pt x="124" y="32"/>
                  <a:pt x="124" y="32"/>
                  <a:pt x="124" y="32"/>
                </a:cubicBezTo>
                <a:cubicBezTo>
                  <a:pt x="124" y="32"/>
                  <a:pt x="124" y="32"/>
                  <a:pt x="124" y="32"/>
                </a:cubicBezTo>
                <a:cubicBezTo>
                  <a:pt x="124" y="27"/>
                  <a:pt x="119" y="22"/>
                  <a:pt x="114" y="22"/>
                </a:cubicBezTo>
                <a:cubicBezTo>
                  <a:pt x="101" y="22"/>
                  <a:pt x="101" y="22"/>
                  <a:pt x="101" y="22"/>
                </a:cubicBezTo>
                <a:cubicBezTo>
                  <a:pt x="101" y="8"/>
                  <a:pt x="101" y="8"/>
                  <a:pt x="101" y="8"/>
                </a:cubicBezTo>
                <a:cubicBezTo>
                  <a:pt x="101" y="4"/>
                  <a:pt x="97" y="0"/>
                  <a:pt x="93" y="0"/>
                </a:cubicBezTo>
                <a:cubicBezTo>
                  <a:pt x="3" y="0"/>
                  <a:pt x="3" y="0"/>
                  <a:pt x="3" y="0"/>
                </a:cubicBezTo>
                <a:cubicBezTo>
                  <a:pt x="1" y="0"/>
                  <a:pt x="0" y="1"/>
                  <a:pt x="0" y="3"/>
                </a:cubicBezTo>
                <a:cubicBezTo>
                  <a:pt x="0" y="4"/>
                  <a:pt x="1" y="6"/>
                  <a:pt x="3" y="6"/>
                </a:cubicBezTo>
                <a:cubicBezTo>
                  <a:pt x="93" y="6"/>
                  <a:pt x="93" y="6"/>
                  <a:pt x="93" y="6"/>
                </a:cubicBezTo>
                <a:cubicBezTo>
                  <a:pt x="94" y="6"/>
                  <a:pt x="95" y="7"/>
                  <a:pt x="95" y="8"/>
                </a:cubicBezTo>
                <a:cubicBezTo>
                  <a:pt x="95" y="22"/>
                  <a:pt x="95" y="22"/>
                  <a:pt x="95" y="22"/>
                </a:cubicBezTo>
                <a:cubicBezTo>
                  <a:pt x="9" y="22"/>
                  <a:pt x="9" y="22"/>
                  <a:pt x="9" y="22"/>
                </a:cubicBezTo>
                <a:cubicBezTo>
                  <a:pt x="4" y="22"/>
                  <a:pt x="0" y="27"/>
                  <a:pt x="0" y="32"/>
                </a:cubicBezTo>
                <a:cubicBezTo>
                  <a:pt x="0" y="103"/>
                  <a:pt x="0" y="103"/>
                  <a:pt x="0" y="103"/>
                </a:cubicBezTo>
                <a:cubicBezTo>
                  <a:pt x="0" y="108"/>
                  <a:pt x="4" y="112"/>
                  <a:pt x="9" y="112"/>
                </a:cubicBezTo>
                <a:cubicBezTo>
                  <a:pt x="114" y="112"/>
                  <a:pt x="114" y="112"/>
                  <a:pt x="114" y="112"/>
                </a:cubicBezTo>
                <a:cubicBezTo>
                  <a:pt x="119" y="112"/>
                  <a:pt x="124" y="108"/>
                  <a:pt x="124" y="103"/>
                </a:cubicBezTo>
                <a:cubicBezTo>
                  <a:pt x="124" y="103"/>
                  <a:pt x="124" y="103"/>
                  <a:pt x="124" y="103"/>
                </a:cubicBezTo>
                <a:cubicBezTo>
                  <a:pt x="145" y="113"/>
                  <a:pt x="145" y="113"/>
                  <a:pt x="145" y="113"/>
                </a:cubicBezTo>
                <a:cubicBezTo>
                  <a:pt x="146" y="113"/>
                  <a:pt x="148" y="114"/>
                  <a:pt x="149" y="114"/>
                </a:cubicBezTo>
                <a:cubicBezTo>
                  <a:pt x="151" y="114"/>
                  <a:pt x="153" y="113"/>
                  <a:pt x="155" y="112"/>
                </a:cubicBezTo>
                <a:cubicBezTo>
                  <a:pt x="158" y="110"/>
                  <a:pt x="160" y="107"/>
                  <a:pt x="160" y="103"/>
                </a:cubicBezTo>
                <a:cubicBezTo>
                  <a:pt x="160" y="32"/>
                  <a:pt x="160" y="32"/>
                  <a:pt x="160" y="32"/>
                </a:cubicBezTo>
                <a:cubicBezTo>
                  <a:pt x="160" y="28"/>
                  <a:pt x="158" y="25"/>
                  <a:pt x="155" y="23"/>
                </a:cubicBezTo>
                <a:close/>
                <a:moveTo>
                  <a:pt x="118" y="103"/>
                </a:moveTo>
                <a:cubicBezTo>
                  <a:pt x="118" y="105"/>
                  <a:pt x="116" y="107"/>
                  <a:pt x="114" y="107"/>
                </a:cubicBezTo>
                <a:cubicBezTo>
                  <a:pt x="9" y="107"/>
                  <a:pt x="9" y="107"/>
                  <a:pt x="9" y="107"/>
                </a:cubicBezTo>
                <a:cubicBezTo>
                  <a:pt x="7" y="107"/>
                  <a:pt x="6" y="105"/>
                  <a:pt x="6" y="103"/>
                </a:cubicBezTo>
                <a:cubicBezTo>
                  <a:pt x="6" y="32"/>
                  <a:pt x="6" y="32"/>
                  <a:pt x="6" y="32"/>
                </a:cubicBezTo>
                <a:cubicBezTo>
                  <a:pt x="6" y="30"/>
                  <a:pt x="7" y="28"/>
                  <a:pt x="9" y="28"/>
                </a:cubicBezTo>
                <a:cubicBezTo>
                  <a:pt x="114" y="28"/>
                  <a:pt x="114" y="28"/>
                  <a:pt x="114" y="28"/>
                </a:cubicBezTo>
                <a:cubicBezTo>
                  <a:pt x="116" y="28"/>
                  <a:pt x="118" y="30"/>
                  <a:pt x="118" y="32"/>
                </a:cubicBezTo>
                <a:cubicBezTo>
                  <a:pt x="118" y="35"/>
                  <a:pt x="118" y="35"/>
                  <a:pt x="118" y="35"/>
                </a:cubicBezTo>
                <a:cubicBezTo>
                  <a:pt x="118" y="100"/>
                  <a:pt x="118" y="100"/>
                  <a:pt x="118" y="100"/>
                </a:cubicBezTo>
                <a:lnTo>
                  <a:pt x="118" y="103"/>
                </a:lnTo>
                <a:close/>
                <a:moveTo>
                  <a:pt x="154" y="103"/>
                </a:moveTo>
                <a:cubicBezTo>
                  <a:pt x="154" y="105"/>
                  <a:pt x="154" y="106"/>
                  <a:pt x="152" y="107"/>
                </a:cubicBezTo>
                <a:cubicBezTo>
                  <a:pt x="151" y="108"/>
                  <a:pt x="149" y="108"/>
                  <a:pt x="147" y="107"/>
                </a:cubicBezTo>
                <a:cubicBezTo>
                  <a:pt x="124" y="96"/>
                  <a:pt x="124" y="96"/>
                  <a:pt x="124" y="96"/>
                </a:cubicBezTo>
                <a:cubicBezTo>
                  <a:pt x="124" y="38"/>
                  <a:pt x="124" y="38"/>
                  <a:pt x="124" y="38"/>
                </a:cubicBezTo>
                <a:cubicBezTo>
                  <a:pt x="147" y="27"/>
                  <a:pt x="147" y="27"/>
                  <a:pt x="147" y="27"/>
                </a:cubicBezTo>
                <a:cubicBezTo>
                  <a:pt x="149" y="27"/>
                  <a:pt x="151" y="27"/>
                  <a:pt x="152" y="28"/>
                </a:cubicBezTo>
                <a:cubicBezTo>
                  <a:pt x="154" y="29"/>
                  <a:pt x="154" y="30"/>
                  <a:pt x="154" y="32"/>
                </a:cubicBezTo>
                <a:lnTo>
                  <a:pt x="154" y="103"/>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64">
            <a:extLst>
              <a:ext uri="{FF2B5EF4-FFF2-40B4-BE49-F238E27FC236}">
                <a16:creationId xmlns:a16="http://schemas.microsoft.com/office/drawing/2014/main" id="{52EC8C54-5A6D-274C-8AA1-8484FB3D988F}"/>
              </a:ext>
            </a:extLst>
          </p:cNvPr>
          <p:cNvSpPr>
            <a:spLocks noEditPoints="1"/>
          </p:cNvSpPr>
          <p:nvPr/>
        </p:nvSpPr>
        <p:spPr bwMode="auto">
          <a:xfrm>
            <a:off x="6894204" y="3865563"/>
            <a:ext cx="601663" cy="481013"/>
          </a:xfrm>
          <a:custGeom>
            <a:avLst/>
            <a:gdLst>
              <a:gd name="T0" fmla="*/ 130 w 160"/>
              <a:gd name="T1" fmla="*/ 0 h 127"/>
              <a:gd name="T2" fmla="*/ 3 w 160"/>
              <a:gd name="T3" fmla="*/ 0 h 127"/>
              <a:gd name="T4" fmla="*/ 0 w 160"/>
              <a:gd name="T5" fmla="*/ 33 h 127"/>
              <a:gd name="T6" fmla="*/ 0 w 160"/>
              <a:gd name="T7" fmla="*/ 94 h 127"/>
              <a:gd name="T8" fmla="*/ 3 w 160"/>
              <a:gd name="T9" fmla="*/ 127 h 127"/>
              <a:gd name="T10" fmla="*/ 130 w 160"/>
              <a:gd name="T11" fmla="*/ 127 h 127"/>
              <a:gd name="T12" fmla="*/ 160 w 160"/>
              <a:gd name="T13" fmla="*/ 124 h 127"/>
              <a:gd name="T14" fmla="*/ 160 w 160"/>
              <a:gd name="T15" fmla="*/ 63 h 127"/>
              <a:gd name="T16" fmla="*/ 160 w 160"/>
              <a:gd name="T17" fmla="*/ 3 h 127"/>
              <a:gd name="T18" fmla="*/ 154 w 160"/>
              <a:gd name="T19" fmla="*/ 61 h 127"/>
              <a:gd name="T20" fmla="*/ 132 w 160"/>
              <a:gd name="T21" fmla="*/ 36 h 127"/>
              <a:gd name="T22" fmla="*/ 154 w 160"/>
              <a:gd name="T23" fmla="*/ 61 h 127"/>
              <a:gd name="T24" fmla="*/ 127 w 160"/>
              <a:gd name="T25" fmla="*/ 61 h 127"/>
              <a:gd name="T26" fmla="*/ 33 w 160"/>
              <a:gd name="T27" fmla="*/ 33 h 127"/>
              <a:gd name="T28" fmla="*/ 127 w 160"/>
              <a:gd name="T29" fmla="*/ 6 h 127"/>
              <a:gd name="T30" fmla="*/ 28 w 160"/>
              <a:gd name="T31" fmla="*/ 61 h 127"/>
              <a:gd name="T32" fmla="*/ 6 w 160"/>
              <a:gd name="T33" fmla="*/ 36 h 127"/>
              <a:gd name="T34" fmla="*/ 28 w 160"/>
              <a:gd name="T35" fmla="*/ 61 h 127"/>
              <a:gd name="T36" fmla="*/ 28 w 160"/>
              <a:gd name="T37" fmla="*/ 66 h 127"/>
              <a:gd name="T38" fmla="*/ 6 w 160"/>
              <a:gd name="T39" fmla="*/ 91 h 127"/>
              <a:gd name="T40" fmla="*/ 33 w 160"/>
              <a:gd name="T41" fmla="*/ 94 h 127"/>
              <a:gd name="T42" fmla="*/ 127 w 160"/>
              <a:gd name="T43" fmla="*/ 66 h 127"/>
              <a:gd name="T44" fmla="*/ 127 w 160"/>
              <a:gd name="T45" fmla="*/ 121 h 127"/>
              <a:gd name="T46" fmla="*/ 33 w 160"/>
              <a:gd name="T47" fmla="*/ 94 h 127"/>
              <a:gd name="T48" fmla="*/ 154 w 160"/>
              <a:gd name="T49" fmla="*/ 66 h 127"/>
              <a:gd name="T50" fmla="*/ 132 w 160"/>
              <a:gd name="T51" fmla="*/ 91 h 127"/>
              <a:gd name="T52" fmla="*/ 154 w 160"/>
              <a:gd name="T53" fmla="*/ 6 h 127"/>
              <a:gd name="T54" fmla="*/ 132 w 160"/>
              <a:gd name="T55" fmla="*/ 30 h 127"/>
              <a:gd name="T56" fmla="*/ 154 w 160"/>
              <a:gd name="T57" fmla="*/ 6 h 127"/>
              <a:gd name="T58" fmla="*/ 28 w 160"/>
              <a:gd name="T59" fmla="*/ 6 h 127"/>
              <a:gd name="T60" fmla="*/ 6 w 160"/>
              <a:gd name="T61" fmla="*/ 30 h 127"/>
              <a:gd name="T62" fmla="*/ 6 w 160"/>
              <a:gd name="T63" fmla="*/ 121 h 127"/>
              <a:gd name="T64" fmla="*/ 28 w 160"/>
              <a:gd name="T65" fmla="*/ 97 h 127"/>
              <a:gd name="T66" fmla="*/ 6 w 160"/>
              <a:gd name="T67" fmla="*/ 121 h 127"/>
              <a:gd name="T68" fmla="*/ 132 w 160"/>
              <a:gd name="T69" fmla="*/ 121 h 127"/>
              <a:gd name="T70" fmla="*/ 154 w 160"/>
              <a:gd name="T71" fmla="*/ 9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27">
                <a:moveTo>
                  <a:pt x="157" y="0"/>
                </a:moveTo>
                <a:cubicBezTo>
                  <a:pt x="130" y="0"/>
                  <a:pt x="130" y="0"/>
                  <a:pt x="130" y="0"/>
                </a:cubicBezTo>
                <a:cubicBezTo>
                  <a:pt x="30" y="0"/>
                  <a:pt x="30" y="0"/>
                  <a:pt x="30" y="0"/>
                </a:cubicBezTo>
                <a:cubicBezTo>
                  <a:pt x="3" y="0"/>
                  <a:pt x="3" y="0"/>
                  <a:pt x="3" y="0"/>
                </a:cubicBezTo>
                <a:cubicBezTo>
                  <a:pt x="1" y="0"/>
                  <a:pt x="0" y="1"/>
                  <a:pt x="0" y="3"/>
                </a:cubicBezTo>
                <a:cubicBezTo>
                  <a:pt x="0" y="33"/>
                  <a:pt x="0" y="33"/>
                  <a:pt x="0" y="33"/>
                </a:cubicBezTo>
                <a:cubicBezTo>
                  <a:pt x="0" y="63"/>
                  <a:pt x="0" y="63"/>
                  <a:pt x="0" y="63"/>
                </a:cubicBezTo>
                <a:cubicBezTo>
                  <a:pt x="0" y="94"/>
                  <a:pt x="0" y="94"/>
                  <a:pt x="0" y="94"/>
                </a:cubicBezTo>
                <a:cubicBezTo>
                  <a:pt x="0" y="124"/>
                  <a:pt x="0" y="124"/>
                  <a:pt x="0" y="124"/>
                </a:cubicBezTo>
                <a:cubicBezTo>
                  <a:pt x="0" y="126"/>
                  <a:pt x="1" y="127"/>
                  <a:pt x="3" y="127"/>
                </a:cubicBezTo>
                <a:cubicBezTo>
                  <a:pt x="30" y="127"/>
                  <a:pt x="30" y="127"/>
                  <a:pt x="30" y="127"/>
                </a:cubicBezTo>
                <a:cubicBezTo>
                  <a:pt x="130" y="127"/>
                  <a:pt x="130" y="127"/>
                  <a:pt x="130" y="127"/>
                </a:cubicBezTo>
                <a:cubicBezTo>
                  <a:pt x="157" y="127"/>
                  <a:pt x="157" y="127"/>
                  <a:pt x="157" y="127"/>
                </a:cubicBezTo>
                <a:cubicBezTo>
                  <a:pt x="159" y="127"/>
                  <a:pt x="160" y="126"/>
                  <a:pt x="160" y="124"/>
                </a:cubicBezTo>
                <a:cubicBezTo>
                  <a:pt x="160" y="94"/>
                  <a:pt x="160" y="94"/>
                  <a:pt x="160" y="94"/>
                </a:cubicBezTo>
                <a:cubicBezTo>
                  <a:pt x="160" y="63"/>
                  <a:pt x="160" y="63"/>
                  <a:pt x="160" y="63"/>
                </a:cubicBezTo>
                <a:cubicBezTo>
                  <a:pt x="160" y="33"/>
                  <a:pt x="160" y="33"/>
                  <a:pt x="160" y="33"/>
                </a:cubicBezTo>
                <a:cubicBezTo>
                  <a:pt x="160" y="3"/>
                  <a:pt x="160" y="3"/>
                  <a:pt x="160" y="3"/>
                </a:cubicBezTo>
                <a:cubicBezTo>
                  <a:pt x="160" y="1"/>
                  <a:pt x="159" y="0"/>
                  <a:pt x="157" y="0"/>
                </a:cubicBezTo>
                <a:close/>
                <a:moveTo>
                  <a:pt x="154" y="61"/>
                </a:moveTo>
                <a:cubicBezTo>
                  <a:pt x="132" y="61"/>
                  <a:pt x="132" y="61"/>
                  <a:pt x="132" y="61"/>
                </a:cubicBezTo>
                <a:cubicBezTo>
                  <a:pt x="132" y="36"/>
                  <a:pt x="132" y="36"/>
                  <a:pt x="132" y="36"/>
                </a:cubicBezTo>
                <a:cubicBezTo>
                  <a:pt x="154" y="36"/>
                  <a:pt x="154" y="36"/>
                  <a:pt x="154" y="36"/>
                </a:cubicBezTo>
                <a:lnTo>
                  <a:pt x="154" y="61"/>
                </a:lnTo>
                <a:close/>
                <a:moveTo>
                  <a:pt x="127" y="33"/>
                </a:moveTo>
                <a:cubicBezTo>
                  <a:pt x="127" y="61"/>
                  <a:pt x="127" y="61"/>
                  <a:pt x="127" y="61"/>
                </a:cubicBezTo>
                <a:cubicBezTo>
                  <a:pt x="33" y="61"/>
                  <a:pt x="33" y="61"/>
                  <a:pt x="33" y="61"/>
                </a:cubicBezTo>
                <a:cubicBezTo>
                  <a:pt x="33" y="33"/>
                  <a:pt x="33" y="33"/>
                  <a:pt x="33" y="33"/>
                </a:cubicBezTo>
                <a:cubicBezTo>
                  <a:pt x="33" y="6"/>
                  <a:pt x="33" y="6"/>
                  <a:pt x="33" y="6"/>
                </a:cubicBezTo>
                <a:cubicBezTo>
                  <a:pt x="127" y="6"/>
                  <a:pt x="127" y="6"/>
                  <a:pt x="127" y="6"/>
                </a:cubicBezTo>
                <a:lnTo>
                  <a:pt x="127" y="33"/>
                </a:lnTo>
                <a:close/>
                <a:moveTo>
                  <a:pt x="28" y="61"/>
                </a:moveTo>
                <a:cubicBezTo>
                  <a:pt x="6" y="61"/>
                  <a:pt x="6" y="61"/>
                  <a:pt x="6" y="61"/>
                </a:cubicBezTo>
                <a:cubicBezTo>
                  <a:pt x="6" y="36"/>
                  <a:pt x="6" y="36"/>
                  <a:pt x="6" y="36"/>
                </a:cubicBezTo>
                <a:cubicBezTo>
                  <a:pt x="28" y="36"/>
                  <a:pt x="28" y="36"/>
                  <a:pt x="28" y="36"/>
                </a:cubicBezTo>
                <a:lnTo>
                  <a:pt x="28" y="61"/>
                </a:lnTo>
                <a:close/>
                <a:moveTo>
                  <a:pt x="6" y="66"/>
                </a:moveTo>
                <a:cubicBezTo>
                  <a:pt x="28" y="66"/>
                  <a:pt x="28" y="66"/>
                  <a:pt x="28" y="66"/>
                </a:cubicBezTo>
                <a:cubicBezTo>
                  <a:pt x="28" y="91"/>
                  <a:pt x="28" y="91"/>
                  <a:pt x="28" y="91"/>
                </a:cubicBezTo>
                <a:cubicBezTo>
                  <a:pt x="6" y="91"/>
                  <a:pt x="6" y="91"/>
                  <a:pt x="6" y="91"/>
                </a:cubicBezTo>
                <a:lnTo>
                  <a:pt x="6" y="66"/>
                </a:lnTo>
                <a:close/>
                <a:moveTo>
                  <a:pt x="33" y="94"/>
                </a:moveTo>
                <a:cubicBezTo>
                  <a:pt x="33" y="66"/>
                  <a:pt x="33" y="66"/>
                  <a:pt x="33" y="66"/>
                </a:cubicBezTo>
                <a:cubicBezTo>
                  <a:pt x="127" y="66"/>
                  <a:pt x="127" y="66"/>
                  <a:pt x="127" y="66"/>
                </a:cubicBezTo>
                <a:cubicBezTo>
                  <a:pt x="127" y="94"/>
                  <a:pt x="127" y="94"/>
                  <a:pt x="127" y="94"/>
                </a:cubicBezTo>
                <a:cubicBezTo>
                  <a:pt x="127" y="121"/>
                  <a:pt x="127" y="121"/>
                  <a:pt x="127" y="121"/>
                </a:cubicBezTo>
                <a:cubicBezTo>
                  <a:pt x="33" y="121"/>
                  <a:pt x="33" y="121"/>
                  <a:pt x="33" y="121"/>
                </a:cubicBezTo>
                <a:lnTo>
                  <a:pt x="33" y="94"/>
                </a:lnTo>
                <a:close/>
                <a:moveTo>
                  <a:pt x="132" y="66"/>
                </a:moveTo>
                <a:cubicBezTo>
                  <a:pt x="154" y="66"/>
                  <a:pt x="154" y="66"/>
                  <a:pt x="154" y="66"/>
                </a:cubicBezTo>
                <a:cubicBezTo>
                  <a:pt x="154" y="91"/>
                  <a:pt x="154" y="91"/>
                  <a:pt x="154" y="91"/>
                </a:cubicBezTo>
                <a:cubicBezTo>
                  <a:pt x="132" y="91"/>
                  <a:pt x="132" y="91"/>
                  <a:pt x="132" y="91"/>
                </a:cubicBezTo>
                <a:lnTo>
                  <a:pt x="132" y="66"/>
                </a:lnTo>
                <a:close/>
                <a:moveTo>
                  <a:pt x="154" y="6"/>
                </a:moveTo>
                <a:cubicBezTo>
                  <a:pt x="154" y="30"/>
                  <a:pt x="154" y="30"/>
                  <a:pt x="154" y="30"/>
                </a:cubicBezTo>
                <a:cubicBezTo>
                  <a:pt x="132" y="30"/>
                  <a:pt x="132" y="30"/>
                  <a:pt x="132" y="30"/>
                </a:cubicBezTo>
                <a:cubicBezTo>
                  <a:pt x="132" y="6"/>
                  <a:pt x="132" y="6"/>
                  <a:pt x="132" y="6"/>
                </a:cubicBezTo>
                <a:lnTo>
                  <a:pt x="154" y="6"/>
                </a:lnTo>
                <a:close/>
                <a:moveTo>
                  <a:pt x="6" y="6"/>
                </a:moveTo>
                <a:cubicBezTo>
                  <a:pt x="28" y="6"/>
                  <a:pt x="28" y="6"/>
                  <a:pt x="28" y="6"/>
                </a:cubicBezTo>
                <a:cubicBezTo>
                  <a:pt x="28" y="30"/>
                  <a:pt x="28" y="30"/>
                  <a:pt x="28" y="30"/>
                </a:cubicBezTo>
                <a:cubicBezTo>
                  <a:pt x="6" y="30"/>
                  <a:pt x="6" y="30"/>
                  <a:pt x="6" y="30"/>
                </a:cubicBezTo>
                <a:lnTo>
                  <a:pt x="6" y="6"/>
                </a:lnTo>
                <a:close/>
                <a:moveTo>
                  <a:pt x="6" y="121"/>
                </a:moveTo>
                <a:cubicBezTo>
                  <a:pt x="6" y="97"/>
                  <a:pt x="6" y="97"/>
                  <a:pt x="6" y="97"/>
                </a:cubicBezTo>
                <a:cubicBezTo>
                  <a:pt x="28" y="97"/>
                  <a:pt x="28" y="97"/>
                  <a:pt x="28" y="97"/>
                </a:cubicBezTo>
                <a:cubicBezTo>
                  <a:pt x="28" y="121"/>
                  <a:pt x="28" y="121"/>
                  <a:pt x="28" y="121"/>
                </a:cubicBezTo>
                <a:lnTo>
                  <a:pt x="6" y="121"/>
                </a:lnTo>
                <a:close/>
                <a:moveTo>
                  <a:pt x="154" y="121"/>
                </a:moveTo>
                <a:cubicBezTo>
                  <a:pt x="132" y="121"/>
                  <a:pt x="132" y="121"/>
                  <a:pt x="132" y="121"/>
                </a:cubicBezTo>
                <a:cubicBezTo>
                  <a:pt x="132" y="97"/>
                  <a:pt x="132" y="97"/>
                  <a:pt x="132" y="97"/>
                </a:cubicBezTo>
                <a:cubicBezTo>
                  <a:pt x="154" y="97"/>
                  <a:pt x="154" y="97"/>
                  <a:pt x="154" y="97"/>
                </a:cubicBezTo>
                <a:lnTo>
                  <a:pt x="154" y="121"/>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5">
            <a:extLst>
              <a:ext uri="{FF2B5EF4-FFF2-40B4-BE49-F238E27FC236}">
                <a16:creationId xmlns:a16="http://schemas.microsoft.com/office/drawing/2014/main" id="{55D6F400-4DEF-034D-808A-1D21EBEE5B86}"/>
              </a:ext>
            </a:extLst>
          </p:cNvPr>
          <p:cNvSpPr>
            <a:spLocks noEditPoints="1"/>
          </p:cNvSpPr>
          <p:nvPr/>
        </p:nvSpPr>
        <p:spPr bwMode="auto">
          <a:xfrm>
            <a:off x="6894204" y="4486275"/>
            <a:ext cx="590550" cy="606425"/>
          </a:xfrm>
          <a:custGeom>
            <a:avLst/>
            <a:gdLst>
              <a:gd name="T0" fmla="*/ 63 w 157"/>
              <a:gd name="T1" fmla="*/ 75 h 160"/>
              <a:gd name="T2" fmla="*/ 64 w 157"/>
              <a:gd name="T3" fmla="*/ 76 h 160"/>
              <a:gd name="T4" fmla="*/ 66 w 157"/>
              <a:gd name="T5" fmla="*/ 75 h 160"/>
              <a:gd name="T6" fmla="*/ 98 w 157"/>
              <a:gd name="T7" fmla="*/ 55 h 160"/>
              <a:gd name="T8" fmla="*/ 99 w 157"/>
              <a:gd name="T9" fmla="*/ 52 h 160"/>
              <a:gd name="T10" fmla="*/ 98 w 157"/>
              <a:gd name="T11" fmla="*/ 50 h 160"/>
              <a:gd name="T12" fmla="*/ 66 w 157"/>
              <a:gd name="T13" fmla="*/ 30 h 160"/>
              <a:gd name="T14" fmla="*/ 63 w 157"/>
              <a:gd name="T15" fmla="*/ 29 h 160"/>
              <a:gd name="T16" fmla="*/ 61 w 157"/>
              <a:gd name="T17" fmla="*/ 32 h 160"/>
              <a:gd name="T18" fmla="*/ 61 w 157"/>
              <a:gd name="T19" fmla="*/ 73 h 160"/>
              <a:gd name="T20" fmla="*/ 63 w 157"/>
              <a:gd name="T21" fmla="*/ 75 h 160"/>
              <a:gd name="T22" fmla="*/ 67 w 157"/>
              <a:gd name="T23" fmla="*/ 37 h 160"/>
              <a:gd name="T24" fmla="*/ 91 w 157"/>
              <a:gd name="T25" fmla="*/ 52 h 160"/>
              <a:gd name="T26" fmla="*/ 67 w 157"/>
              <a:gd name="T27" fmla="*/ 67 h 160"/>
              <a:gd name="T28" fmla="*/ 67 w 157"/>
              <a:gd name="T29" fmla="*/ 37 h 160"/>
              <a:gd name="T30" fmla="*/ 0 w 157"/>
              <a:gd name="T31" fmla="*/ 0 h 160"/>
              <a:gd name="T32" fmla="*/ 0 w 157"/>
              <a:gd name="T33" fmla="*/ 160 h 160"/>
              <a:gd name="T34" fmla="*/ 157 w 157"/>
              <a:gd name="T35" fmla="*/ 160 h 160"/>
              <a:gd name="T36" fmla="*/ 157 w 157"/>
              <a:gd name="T37" fmla="*/ 0 h 160"/>
              <a:gd name="T38" fmla="*/ 0 w 157"/>
              <a:gd name="T39" fmla="*/ 0 h 160"/>
              <a:gd name="T40" fmla="*/ 151 w 157"/>
              <a:gd name="T41" fmla="*/ 6 h 160"/>
              <a:gd name="T42" fmla="*/ 151 w 157"/>
              <a:gd name="T43" fmla="*/ 102 h 160"/>
              <a:gd name="T44" fmla="*/ 6 w 157"/>
              <a:gd name="T45" fmla="*/ 102 h 160"/>
              <a:gd name="T46" fmla="*/ 6 w 157"/>
              <a:gd name="T47" fmla="*/ 6 h 160"/>
              <a:gd name="T48" fmla="*/ 151 w 157"/>
              <a:gd name="T49" fmla="*/ 6 h 160"/>
              <a:gd name="T50" fmla="*/ 6 w 157"/>
              <a:gd name="T51" fmla="*/ 154 h 160"/>
              <a:gd name="T52" fmla="*/ 6 w 157"/>
              <a:gd name="T53" fmla="*/ 108 h 160"/>
              <a:gd name="T54" fmla="*/ 151 w 157"/>
              <a:gd name="T55" fmla="*/ 108 h 160"/>
              <a:gd name="T56" fmla="*/ 151 w 157"/>
              <a:gd name="T57" fmla="*/ 154 h 160"/>
              <a:gd name="T58" fmla="*/ 6 w 157"/>
              <a:gd name="T59" fmla="*/ 154 h 160"/>
              <a:gd name="T60" fmla="*/ 140 w 157"/>
              <a:gd name="T61" fmla="*/ 131 h 160"/>
              <a:gd name="T62" fmla="*/ 137 w 157"/>
              <a:gd name="T63" fmla="*/ 134 h 160"/>
              <a:gd name="T64" fmla="*/ 67 w 157"/>
              <a:gd name="T65" fmla="*/ 134 h 160"/>
              <a:gd name="T66" fmla="*/ 67 w 157"/>
              <a:gd name="T67" fmla="*/ 140 h 160"/>
              <a:gd name="T68" fmla="*/ 64 w 157"/>
              <a:gd name="T69" fmla="*/ 143 h 160"/>
              <a:gd name="T70" fmla="*/ 61 w 157"/>
              <a:gd name="T71" fmla="*/ 140 h 160"/>
              <a:gd name="T72" fmla="*/ 61 w 157"/>
              <a:gd name="T73" fmla="*/ 134 h 160"/>
              <a:gd name="T74" fmla="*/ 49 w 157"/>
              <a:gd name="T75" fmla="*/ 134 h 160"/>
              <a:gd name="T76" fmla="*/ 47 w 157"/>
              <a:gd name="T77" fmla="*/ 131 h 160"/>
              <a:gd name="T78" fmla="*/ 49 w 157"/>
              <a:gd name="T79" fmla="*/ 128 h 160"/>
              <a:gd name="T80" fmla="*/ 61 w 157"/>
              <a:gd name="T81" fmla="*/ 128 h 160"/>
              <a:gd name="T82" fmla="*/ 61 w 157"/>
              <a:gd name="T83" fmla="*/ 122 h 160"/>
              <a:gd name="T84" fmla="*/ 64 w 157"/>
              <a:gd name="T85" fmla="*/ 119 h 160"/>
              <a:gd name="T86" fmla="*/ 67 w 157"/>
              <a:gd name="T87" fmla="*/ 122 h 160"/>
              <a:gd name="T88" fmla="*/ 67 w 157"/>
              <a:gd name="T89" fmla="*/ 128 h 160"/>
              <a:gd name="T90" fmla="*/ 137 w 157"/>
              <a:gd name="T91" fmla="*/ 128 h 160"/>
              <a:gd name="T92" fmla="*/ 140 w 157"/>
              <a:gd name="T93" fmla="*/ 131 h 160"/>
              <a:gd name="T94" fmla="*/ 23 w 157"/>
              <a:gd name="T95" fmla="*/ 122 h 160"/>
              <a:gd name="T96" fmla="*/ 23 w 157"/>
              <a:gd name="T97" fmla="*/ 140 h 160"/>
              <a:gd name="T98" fmla="*/ 20 w 157"/>
              <a:gd name="T99" fmla="*/ 143 h 160"/>
              <a:gd name="T100" fmla="*/ 17 w 157"/>
              <a:gd name="T101" fmla="*/ 140 h 160"/>
              <a:gd name="T102" fmla="*/ 17 w 157"/>
              <a:gd name="T103" fmla="*/ 122 h 160"/>
              <a:gd name="T104" fmla="*/ 20 w 157"/>
              <a:gd name="T105" fmla="*/ 119 h 160"/>
              <a:gd name="T106" fmla="*/ 23 w 157"/>
              <a:gd name="T107" fmla="*/ 122 h 160"/>
              <a:gd name="T108" fmla="*/ 35 w 157"/>
              <a:gd name="T109" fmla="*/ 122 h 160"/>
              <a:gd name="T110" fmla="*/ 35 w 157"/>
              <a:gd name="T111" fmla="*/ 140 h 160"/>
              <a:gd name="T112" fmla="*/ 32 w 157"/>
              <a:gd name="T113" fmla="*/ 143 h 160"/>
              <a:gd name="T114" fmla="*/ 29 w 157"/>
              <a:gd name="T115" fmla="*/ 140 h 160"/>
              <a:gd name="T116" fmla="*/ 29 w 157"/>
              <a:gd name="T117" fmla="*/ 122 h 160"/>
              <a:gd name="T118" fmla="*/ 32 w 157"/>
              <a:gd name="T119" fmla="*/ 119 h 160"/>
              <a:gd name="T120" fmla="*/ 35 w 157"/>
              <a:gd name="T121" fmla="*/ 12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7" h="160">
                <a:moveTo>
                  <a:pt x="63" y="75"/>
                </a:moveTo>
                <a:cubicBezTo>
                  <a:pt x="63" y="76"/>
                  <a:pt x="64" y="76"/>
                  <a:pt x="64" y="76"/>
                </a:cubicBezTo>
                <a:cubicBezTo>
                  <a:pt x="65" y="76"/>
                  <a:pt x="65" y="75"/>
                  <a:pt x="66" y="75"/>
                </a:cubicBezTo>
                <a:cubicBezTo>
                  <a:pt x="98" y="55"/>
                  <a:pt x="98" y="55"/>
                  <a:pt x="98" y="55"/>
                </a:cubicBezTo>
                <a:cubicBezTo>
                  <a:pt x="98" y="54"/>
                  <a:pt x="99" y="53"/>
                  <a:pt x="99" y="52"/>
                </a:cubicBezTo>
                <a:cubicBezTo>
                  <a:pt x="99" y="51"/>
                  <a:pt x="98" y="50"/>
                  <a:pt x="98" y="50"/>
                </a:cubicBezTo>
                <a:cubicBezTo>
                  <a:pt x="66" y="30"/>
                  <a:pt x="66" y="30"/>
                  <a:pt x="66" y="30"/>
                </a:cubicBezTo>
                <a:cubicBezTo>
                  <a:pt x="65" y="29"/>
                  <a:pt x="64" y="29"/>
                  <a:pt x="63" y="29"/>
                </a:cubicBezTo>
                <a:cubicBezTo>
                  <a:pt x="62" y="30"/>
                  <a:pt x="61" y="31"/>
                  <a:pt x="61" y="32"/>
                </a:cubicBezTo>
                <a:cubicBezTo>
                  <a:pt x="61" y="73"/>
                  <a:pt x="61" y="73"/>
                  <a:pt x="61" y="73"/>
                </a:cubicBezTo>
                <a:cubicBezTo>
                  <a:pt x="61" y="74"/>
                  <a:pt x="62" y="75"/>
                  <a:pt x="63" y="75"/>
                </a:cubicBezTo>
                <a:close/>
                <a:moveTo>
                  <a:pt x="67" y="37"/>
                </a:moveTo>
                <a:cubicBezTo>
                  <a:pt x="91" y="52"/>
                  <a:pt x="91" y="52"/>
                  <a:pt x="91" y="52"/>
                </a:cubicBezTo>
                <a:cubicBezTo>
                  <a:pt x="67" y="67"/>
                  <a:pt x="67" y="67"/>
                  <a:pt x="67" y="67"/>
                </a:cubicBezTo>
                <a:lnTo>
                  <a:pt x="67" y="37"/>
                </a:lnTo>
                <a:close/>
                <a:moveTo>
                  <a:pt x="0" y="0"/>
                </a:moveTo>
                <a:cubicBezTo>
                  <a:pt x="0" y="160"/>
                  <a:pt x="0" y="160"/>
                  <a:pt x="0" y="160"/>
                </a:cubicBezTo>
                <a:cubicBezTo>
                  <a:pt x="157" y="160"/>
                  <a:pt x="157" y="160"/>
                  <a:pt x="157" y="160"/>
                </a:cubicBezTo>
                <a:cubicBezTo>
                  <a:pt x="157" y="0"/>
                  <a:pt x="157" y="0"/>
                  <a:pt x="157" y="0"/>
                </a:cubicBezTo>
                <a:lnTo>
                  <a:pt x="0" y="0"/>
                </a:lnTo>
                <a:close/>
                <a:moveTo>
                  <a:pt x="151" y="6"/>
                </a:moveTo>
                <a:cubicBezTo>
                  <a:pt x="151" y="102"/>
                  <a:pt x="151" y="102"/>
                  <a:pt x="151" y="102"/>
                </a:cubicBezTo>
                <a:cubicBezTo>
                  <a:pt x="6" y="102"/>
                  <a:pt x="6" y="102"/>
                  <a:pt x="6" y="102"/>
                </a:cubicBezTo>
                <a:cubicBezTo>
                  <a:pt x="6" y="6"/>
                  <a:pt x="6" y="6"/>
                  <a:pt x="6" y="6"/>
                </a:cubicBezTo>
                <a:lnTo>
                  <a:pt x="151" y="6"/>
                </a:lnTo>
                <a:close/>
                <a:moveTo>
                  <a:pt x="6" y="154"/>
                </a:moveTo>
                <a:cubicBezTo>
                  <a:pt x="6" y="108"/>
                  <a:pt x="6" y="108"/>
                  <a:pt x="6" y="108"/>
                </a:cubicBezTo>
                <a:cubicBezTo>
                  <a:pt x="151" y="108"/>
                  <a:pt x="151" y="108"/>
                  <a:pt x="151" y="108"/>
                </a:cubicBezTo>
                <a:cubicBezTo>
                  <a:pt x="151" y="154"/>
                  <a:pt x="151" y="154"/>
                  <a:pt x="151" y="154"/>
                </a:cubicBezTo>
                <a:lnTo>
                  <a:pt x="6" y="154"/>
                </a:lnTo>
                <a:close/>
                <a:moveTo>
                  <a:pt x="140" y="131"/>
                </a:moveTo>
                <a:cubicBezTo>
                  <a:pt x="140" y="133"/>
                  <a:pt x="138" y="134"/>
                  <a:pt x="137" y="134"/>
                </a:cubicBezTo>
                <a:cubicBezTo>
                  <a:pt x="67" y="134"/>
                  <a:pt x="67" y="134"/>
                  <a:pt x="67" y="134"/>
                </a:cubicBezTo>
                <a:cubicBezTo>
                  <a:pt x="67" y="140"/>
                  <a:pt x="67" y="140"/>
                  <a:pt x="67" y="140"/>
                </a:cubicBezTo>
                <a:cubicBezTo>
                  <a:pt x="67" y="141"/>
                  <a:pt x="66" y="143"/>
                  <a:pt x="64" y="143"/>
                </a:cubicBezTo>
                <a:cubicBezTo>
                  <a:pt x="62" y="143"/>
                  <a:pt x="61" y="141"/>
                  <a:pt x="61" y="140"/>
                </a:cubicBezTo>
                <a:cubicBezTo>
                  <a:pt x="61" y="134"/>
                  <a:pt x="61" y="134"/>
                  <a:pt x="61" y="134"/>
                </a:cubicBezTo>
                <a:cubicBezTo>
                  <a:pt x="49" y="134"/>
                  <a:pt x="49" y="134"/>
                  <a:pt x="49" y="134"/>
                </a:cubicBezTo>
                <a:cubicBezTo>
                  <a:pt x="48" y="134"/>
                  <a:pt x="47" y="133"/>
                  <a:pt x="47" y="131"/>
                </a:cubicBezTo>
                <a:cubicBezTo>
                  <a:pt x="47" y="129"/>
                  <a:pt x="48" y="128"/>
                  <a:pt x="49" y="128"/>
                </a:cubicBezTo>
                <a:cubicBezTo>
                  <a:pt x="61" y="128"/>
                  <a:pt x="61" y="128"/>
                  <a:pt x="61" y="128"/>
                </a:cubicBezTo>
                <a:cubicBezTo>
                  <a:pt x="61" y="122"/>
                  <a:pt x="61" y="122"/>
                  <a:pt x="61" y="122"/>
                </a:cubicBezTo>
                <a:cubicBezTo>
                  <a:pt x="61" y="121"/>
                  <a:pt x="62" y="119"/>
                  <a:pt x="64" y="119"/>
                </a:cubicBezTo>
                <a:cubicBezTo>
                  <a:pt x="66" y="119"/>
                  <a:pt x="67" y="121"/>
                  <a:pt x="67" y="122"/>
                </a:cubicBezTo>
                <a:cubicBezTo>
                  <a:pt x="67" y="128"/>
                  <a:pt x="67" y="128"/>
                  <a:pt x="67" y="128"/>
                </a:cubicBezTo>
                <a:cubicBezTo>
                  <a:pt x="137" y="128"/>
                  <a:pt x="137" y="128"/>
                  <a:pt x="137" y="128"/>
                </a:cubicBezTo>
                <a:cubicBezTo>
                  <a:pt x="138" y="128"/>
                  <a:pt x="140" y="129"/>
                  <a:pt x="140" y="131"/>
                </a:cubicBezTo>
                <a:close/>
                <a:moveTo>
                  <a:pt x="23" y="122"/>
                </a:moveTo>
                <a:cubicBezTo>
                  <a:pt x="23" y="140"/>
                  <a:pt x="23" y="140"/>
                  <a:pt x="23" y="140"/>
                </a:cubicBezTo>
                <a:cubicBezTo>
                  <a:pt x="23" y="141"/>
                  <a:pt x="22" y="143"/>
                  <a:pt x="20" y="143"/>
                </a:cubicBezTo>
                <a:cubicBezTo>
                  <a:pt x="19" y="143"/>
                  <a:pt x="17" y="141"/>
                  <a:pt x="17" y="140"/>
                </a:cubicBezTo>
                <a:cubicBezTo>
                  <a:pt x="17" y="122"/>
                  <a:pt x="17" y="122"/>
                  <a:pt x="17" y="122"/>
                </a:cubicBezTo>
                <a:cubicBezTo>
                  <a:pt x="17" y="121"/>
                  <a:pt x="19" y="119"/>
                  <a:pt x="20" y="119"/>
                </a:cubicBezTo>
                <a:cubicBezTo>
                  <a:pt x="22" y="119"/>
                  <a:pt x="23" y="121"/>
                  <a:pt x="23" y="122"/>
                </a:cubicBezTo>
                <a:close/>
                <a:moveTo>
                  <a:pt x="35" y="122"/>
                </a:moveTo>
                <a:cubicBezTo>
                  <a:pt x="35" y="140"/>
                  <a:pt x="35" y="140"/>
                  <a:pt x="35" y="140"/>
                </a:cubicBezTo>
                <a:cubicBezTo>
                  <a:pt x="35" y="141"/>
                  <a:pt x="34" y="143"/>
                  <a:pt x="32" y="143"/>
                </a:cubicBezTo>
                <a:cubicBezTo>
                  <a:pt x="30" y="143"/>
                  <a:pt x="29" y="141"/>
                  <a:pt x="29" y="140"/>
                </a:cubicBezTo>
                <a:cubicBezTo>
                  <a:pt x="29" y="122"/>
                  <a:pt x="29" y="122"/>
                  <a:pt x="29" y="122"/>
                </a:cubicBezTo>
                <a:cubicBezTo>
                  <a:pt x="29" y="121"/>
                  <a:pt x="30" y="119"/>
                  <a:pt x="32" y="119"/>
                </a:cubicBezTo>
                <a:cubicBezTo>
                  <a:pt x="34" y="119"/>
                  <a:pt x="35" y="121"/>
                  <a:pt x="35" y="122"/>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66">
            <a:extLst>
              <a:ext uri="{FF2B5EF4-FFF2-40B4-BE49-F238E27FC236}">
                <a16:creationId xmlns:a16="http://schemas.microsoft.com/office/drawing/2014/main" id="{5F73CBDE-ACD8-2749-BF93-129080722187}"/>
              </a:ext>
            </a:extLst>
          </p:cNvPr>
          <p:cNvSpPr>
            <a:spLocks noEditPoints="1"/>
          </p:cNvSpPr>
          <p:nvPr/>
        </p:nvSpPr>
        <p:spPr bwMode="auto">
          <a:xfrm>
            <a:off x="6894204" y="5229225"/>
            <a:ext cx="601663" cy="479425"/>
          </a:xfrm>
          <a:custGeom>
            <a:avLst/>
            <a:gdLst>
              <a:gd name="T0" fmla="*/ 70 w 160"/>
              <a:gd name="T1" fmla="*/ 42 h 127"/>
              <a:gd name="T2" fmla="*/ 66 w 160"/>
              <a:gd name="T3" fmla="*/ 44 h 127"/>
              <a:gd name="T4" fmla="*/ 68 w 160"/>
              <a:gd name="T5" fmla="*/ 85 h 127"/>
              <a:gd name="T6" fmla="*/ 70 w 160"/>
              <a:gd name="T7" fmla="*/ 85 h 127"/>
              <a:gd name="T8" fmla="*/ 102 w 160"/>
              <a:gd name="T9" fmla="*/ 63 h 127"/>
              <a:gd name="T10" fmla="*/ 72 w 160"/>
              <a:gd name="T11" fmla="*/ 78 h 127"/>
              <a:gd name="T12" fmla="*/ 94 w 160"/>
              <a:gd name="T13" fmla="*/ 63 h 127"/>
              <a:gd name="T14" fmla="*/ 157 w 160"/>
              <a:gd name="T15" fmla="*/ 0 h 127"/>
              <a:gd name="T16" fmla="*/ 30 w 160"/>
              <a:gd name="T17" fmla="*/ 0 h 127"/>
              <a:gd name="T18" fmla="*/ 0 w 160"/>
              <a:gd name="T19" fmla="*/ 3 h 127"/>
              <a:gd name="T20" fmla="*/ 0 w 160"/>
              <a:gd name="T21" fmla="*/ 63 h 127"/>
              <a:gd name="T22" fmla="*/ 0 w 160"/>
              <a:gd name="T23" fmla="*/ 124 h 127"/>
              <a:gd name="T24" fmla="*/ 30 w 160"/>
              <a:gd name="T25" fmla="*/ 127 h 127"/>
              <a:gd name="T26" fmla="*/ 157 w 160"/>
              <a:gd name="T27" fmla="*/ 127 h 127"/>
              <a:gd name="T28" fmla="*/ 160 w 160"/>
              <a:gd name="T29" fmla="*/ 94 h 127"/>
              <a:gd name="T30" fmla="*/ 160 w 160"/>
              <a:gd name="T31" fmla="*/ 33 h 127"/>
              <a:gd name="T32" fmla="*/ 157 w 160"/>
              <a:gd name="T33" fmla="*/ 0 h 127"/>
              <a:gd name="T34" fmla="*/ 6 w 160"/>
              <a:gd name="T35" fmla="*/ 61 h 127"/>
              <a:gd name="T36" fmla="*/ 28 w 160"/>
              <a:gd name="T37" fmla="*/ 36 h 127"/>
              <a:gd name="T38" fmla="*/ 6 w 160"/>
              <a:gd name="T39" fmla="*/ 66 h 127"/>
              <a:gd name="T40" fmla="*/ 28 w 160"/>
              <a:gd name="T41" fmla="*/ 91 h 127"/>
              <a:gd name="T42" fmla="*/ 6 w 160"/>
              <a:gd name="T43" fmla="*/ 66 h 127"/>
              <a:gd name="T44" fmla="*/ 33 w 160"/>
              <a:gd name="T45" fmla="*/ 63 h 127"/>
              <a:gd name="T46" fmla="*/ 33 w 160"/>
              <a:gd name="T47" fmla="*/ 6 h 127"/>
              <a:gd name="T48" fmla="*/ 127 w 160"/>
              <a:gd name="T49" fmla="*/ 33 h 127"/>
              <a:gd name="T50" fmla="*/ 127 w 160"/>
              <a:gd name="T51" fmla="*/ 94 h 127"/>
              <a:gd name="T52" fmla="*/ 33 w 160"/>
              <a:gd name="T53" fmla="*/ 121 h 127"/>
              <a:gd name="T54" fmla="*/ 154 w 160"/>
              <a:gd name="T55" fmla="*/ 61 h 127"/>
              <a:gd name="T56" fmla="*/ 132 w 160"/>
              <a:gd name="T57" fmla="*/ 36 h 127"/>
              <a:gd name="T58" fmla="*/ 154 w 160"/>
              <a:gd name="T59" fmla="*/ 61 h 127"/>
              <a:gd name="T60" fmla="*/ 154 w 160"/>
              <a:gd name="T61" fmla="*/ 66 h 127"/>
              <a:gd name="T62" fmla="*/ 132 w 160"/>
              <a:gd name="T63" fmla="*/ 91 h 127"/>
              <a:gd name="T64" fmla="*/ 154 w 160"/>
              <a:gd name="T65" fmla="*/ 6 h 127"/>
              <a:gd name="T66" fmla="*/ 132 w 160"/>
              <a:gd name="T67" fmla="*/ 30 h 127"/>
              <a:gd name="T68" fmla="*/ 154 w 160"/>
              <a:gd name="T69" fmla="*/ 6 h 127"/>
              <a:gd name="T70" fmla="*/ 28 w 160"/>
              <a:gd name="T71" fmla="*/ 6 h 127"/>
              <a:gd name="T72" fmla="*/ 6 w 160"/>
              <a:gd name="T73" fmla="*/ 30 h 127"/>
              <a:gd name="T74" fmla="*/ 6 w 160"/>
              <a:gd name="T75" fmla="*/ 121 h 127"/>
              <a:gd name="T76" fmla="*/ 28 w 160"/>
              <a:gd name="T77" fmla="*/ 97 h 127"/>
              <a:gd name="T78" fmla="*/ 6 w 160"/>
              <a:gd name="T79" fmla="*/ 121 h 127"/>
              <a:gd name="T80" fmla="*/ 132 w 160"/>
              <a:gd name="T81" fmla="*/ 121 h 127"/>
              <a:gd name="T82" fmla="*/ 154 w 160"/>
              <a:gd name="T83" fmla="*/ 9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27">
                <a:moveTo>
                  <a:pt x="101" y="61"/>
                </a:moveTo>
                <a:cubicBezTo>
                  <a:pt x="70" y="42"/>
                  <a:pt x="70" y="42"/>
                  <a:pt x="70" y="42"/>
                </a:cubicBezTo>
                <a:cubicBezTo>
                  <a:pt x="70" y="41"/>
                  <a:pt x="69" y="41"/>
                  <a:pt x="68" y="42"/>
                </a:cubicBezTo>
                <a:cubicBezTo>
                  <a:pt x="67" y="42"/>
                  <a:pt x="66" y="43"/>
                  <a:pt x="66" y="44"/>
                </a:cubicBezTo>
                <a:cubicBezTo>
                  <a:pt x="66" y="83"/>
                  <a:pt x="66" y="83"/>
                  <a:pt x="66" y="83"/>
                </a:cubicBezTo>
                <a:cubicBezTo>
                  <a:pt x="66" y="84"/>
                  <a:pt x="67" y="85"/>
                  <a:pt x="68" y="85"/>
                </a:cubicBezTo>
                <a:cubicBezTo>
                  <a:pt x="68" y="85"/>
                  <a:pt x="69" y="86"/>
                  <a:pt x="69" y="86"/>
                </a:cubicBezTo>
                <a:cubicBezTo>
                  <a:pt x="69" y="86"/>
                  <a:pt x="70" y="85"/>
                  <a:pt x="70" y="85"/>
                </a:cubicBezTo>
                <a:cubicBezTo>
                  <a:pt x="101" y="66"/>
                  <a:pt x="101" y="66"/>
                  <a:pt x="101" y="66"/>
                </a:cubicBezTo>
                <a:cubicBezTo>
                  <a:pt x="102" y="65"/>
                  <a:pt x="102" y="64"/>
                  <a:pt x="102" y="63"/>
                </a:cubicBezTo>
                <a:cubicBezTo>
                  <a:pt x="102" y="63"/>
                  <a:pt x="102" y="62"/>
                  <a:pt x="101" y="61"/>
                </a:cubicBezTo>
                <a:close/>
                <a:moveTo>
                  <a:pt x="72" y="78"/>
                </a:moveTo>
                <a:cubicBezTo>
                  <a:pt x="72" y="49"/>
                  <a:pt x="72" y="49"/>
                  <a:pt x="72" y="49"/>
                </a:cubicBezTo>
                <a:cubicBezTo>
                  <a:pt x="94" y="63"/>
                  <a:pt x="94" y="63"/>
                  <a:pt x="94" y="63"/>
                </a:cubicBezTo>
                <a:lnTo>
                  <a:pt x="72" y="78"/>
                </a:lnTo>
                <a:close/>
                <a:moveTo>
                  <a:pt x="157" y="0"/>
                </a:moveTo>
                <a:cubicBezTo>
                  <a:pt x="130" y="0"/>
                  <a:pt x="130" y="0"/>
                  <a:pt x="130" y="0"/>
                </a:cubicBezTo>
                <a:cubicBezTo>
                  <a:pt x="30" y="0"/>
                  <a:pt x="30" y="0"/>
                  <a:pt x="30" y="0"/>
                </a:cubicBezTo>
                <a:cubicBezTo>
                  <a:pt x="3" y="0"/>
                  <a:pt x="3" y="0"/>
                  <a:pt x="3" y="0"/>
                </a:cubicBezTo>
                <a:cubicBezTo>
                  <a:pt x="1" y="0"/>
                  <a:pt x="0" y="1"/>
                  <a:pt x="0" y="3"/>
                </a:cubicBezTo>
                <a:cubicBezTo>
                  <a:pt x="0" y="33"/>
                  <a:pt x="0" y="33"/>
                  <a:pt x="0" y="33"/>
                </a:cubicBezTo>
                <a:cubicBezTo>
                  <a:pt x="0" y="63"/>
                  <a:pt x="0" y="63"/>
                  <a:pt x="0" y="63"/>
                </a:cubicBezTo>
                <a:cubicBezTo>
                  <a:pt x="0" y="94"/>
                  <a:pt x="0" y="94"/>
                  <a:pt x="0" y="94"/>
                </a:cubicBezTo>
                <a:cubicBezTo>
                  <a:pt x="0" y="124"/>
                  <a:pt x="0" y="124"/>
                  <a:pt x="0" y="124"/>
                </a:cubicBezTo>
                <a:cubicBezTo>
                  <a:pt x="0" y="126"/>
                  <a:pt x="1" y="127"/>
                  <a:pt x="3" y="127"/>
                </a:cubicBezTo>
                <a:cubicBezTo>
                  <a:pt x="30" y="127"/>
                  <a:pt x="30" y="127"/>
                  <a:pt x="30" y="127"/>
                </a:cubicBezTo>
                <a:cubicBezTo>
                  <a:pt x="130" y="127"/>
                  <a:pt x="130" y="127"/>
                  <a:pt x="130" y="127"/>
                </a:cubicBezTo>
                <a:cubicBezTo>
                  <a:pt x="157" y="127"/>
                  <a:pt x="157" y="127"/>
                  <a:pt x="157" y="127"/>
                </a:cubicBezTo>
                <a:cubicBezTo>
                  <a:pt x="159" y="127"/>
                  <a:pt x="160" y="126"/>
                  <a:pt x="160" y="124"/>
                </a:cubicBezTo>
                <a:cubicBezTo>
                  <a:pt x="160" y="94"/>
                  <a:pt x="160" y="94"/>
                  <a:pt x="160" y="94"/>
                </a:cubicBezTo>
                <a:cubicBezTo>
                  <a:pt x="160" y="63"/>
                  <a:pt x="160" y="63"/>
                  <a:pt x="160" y="63"/>
                </a:cubicBezTo>
                <a:cubicBezTo>
                  <a:pt x="160" y="33"/>
                  <a:pt x="160" y="33"/>
                  <a:pt x="160" y="33"/>
                </a:cubicBezTo>
                <a:cubicBezTo>
                  <a:pt x="160" y="3"/>
                  <a:pt x="160" y="3"/>
                  <a:pt x="160" y="3"/>
                </a:cubicBezTo>
                <a:cubicBezTo>
                  <a:pt x="160" y="1"/>
                  <a:pt x="159" y="0"/>
                  <a:pt x="157" y="0"/>
                </a:cubicBezTo>
                <a:close/>
                <a:moveTo>
                  <a:pt x="28" y="61"/>
                </a:moveTo>
                <a:cubicBezTo>
                  <a:pt x="6" y="61"/>
                  <a:pt x="6" y="61"/>
                  <a:pt x="6" y="61"/>
                </a:cubicBezTo>
                <a:cubicBezTo>
                  <a:pt x="6" y="36"/>
                  <a:pt x="6" y="36"/>
                  <a:pt x="6" y="36"/>
                </a:cubicBezTo>
                <a:cubicBezTo>
                  <a:pt x="28" y="36"/>
                  <a:pt x="28" y="36"/>
                  <a:pt x="28" y="36"/>
                </a:cubicBezTo>
                <a:lnTo>
                  <a:pt x="28" y="61"/>
                </a:lnTo>
                <a:close/>
                <a:moveTo>
                  <a:pt x="6" y="66"/>
                </a:moveTo>
                <a:cubicBezTo>
                  <a:pt x="28" y="66"/>
                  <a:pt x="28" y="66"/>
                  <a:pt x="28" y="66"/>
                </a:cubicBezTo>
                <a:cubicBezTo>
                  <a:pt x="28" y="91"/>
                  <a:pt x="28" y="91"/>
                  <a:pt x="28" y="91"/>
                </a:cubicBezTo>
                <a:cubicBezTo>
                  <a:pt x="6" y="91"/>
                  <a:pt x="6" y="91"/>
                  <a:pt x="6" y="91"/>
                </a:cubicBezTo>
                <a:lnTo>
                  <a:pt x="6" y="66"/>
                </a:lnTo>
                <a:close/>
                <a:moveTo>
                  <a:pt x="33" y="94"/>
                </a:moveTo>
                <a:cubicBezTo>
                  <a:pt x="33" y="63"/>
                  <a:pt x="33" y="63"/>
                  <a:pt x="33" y="63"/>
                </a:cubicBezTo>
                <a:cubicBezTo>
                  <a:pt x="33" y="33"/>
                  <a:pt x="33" y="33"/>
                  <a:pt x="33" y="33"/>
                </a:cubicBezTo>
                <a:cubicBezTo>
                  <a:pt x="33" y="6"/>
                  <a:pt x="33" y="6"/>
                  <a:pt x="33" y="6"/>
                </a:cubicBezTo>
                <a:cubicBezTo>
                  <a:pt x="127" y="6"/>
                  <a:pt x="127" y="6"/>
                  <a:pt x="127" y="6"/>
                </a:cubicBezTo>
                <a:cubicBezTo>
                  <a:pt x="127" y="33"/>
                  <a:pt x="127" y="33"/>
                  <a:pt x="127" y="33"/>
                </a:cubicBezTo>
                <a:cubicBezTo>
                  <a:pt x="127" y="63"/>
                  <a:pt x="127" y="63"/>
                  <a:pt x="127" y="63"/>
                </a:cubicBezTo>
                <a:cubicBezTo>
                  <a:pt x="127" y="94"/>
                  <a:pt x="127" y="94"/>
                  <a:pt x="127" y="94"/>
                </a:cubicBezTo>
                <a:cubicBezTo>
                  <a:pt x="127" y="121"/>
                  <a:pt x="127" y="121"/>
                  <a:pt x="127" y="121"/>
                </a:cubicBezTo>
                <a:cubicBezTo>
                  <a:pt x="33" y="121"/>
                  <a:pt x="33" y="121"/>
                  <a:pt x="33" y="121"/>
                </a:cubicBezTo>
                <a:lnTo>
                  <a:pt x="33" y="94"/>
                </a:lnTo>
                <a:close/>
                <a:moveTo>
                  <a:pt x="154" y="61"/>
                </a:moveTo>
                <a:cubicBezTo>
                  <a:pt x="132" y="61"/>
                  <a:pt x="132" y="61"/>
                  <a:pt x="132" y="61"/>
                </a:cubicBezTo>
                <a:cubicBezTo>
                  <a:pt x="132" y="36"/>
                  <a:pt x="132" y="36"/>
                  <a:pt x="132" y="36"/>
                </a:cubicBezTo>
                <a:cubicBezTo>
                  <a:pt x="154" y="36"/>
                  <a:pt x="154" y="36"/>
                  <a:pt x="154" y="36"/>
                </a:cubicBezTo>
                <a:lnTo>
                  <a:pt x="154" y="61"/>
                </a:lnTo>
                <a:close/>
                <a:moveTo>
                  <a:pt x="132" y="66"/>
                </a:moveTo>
                <a:cubicBezTo>
                  <a:pt x="154" y="66"/>
                  <a:pt x="154" y="66"/>
                  <a:pt x="154" y="66"/>
                </a:cubicBezTo>
                <a:cubicBezTo>
                  <a:pt x="154" y="91"/>
                  <a:pt x="154" y="91"/>
                  <a:pt x="154" y="91"/>
                </a:cubicBezTo>
                <a:cubicBezTo>
                  <a:pt x="132" y="91"/>
                  <a:pt x="132" y="91"/>
                  <a:pt x="132" y="91"/>
                </a:cubicBezTo>
                <a:lnTo>
                  <a:pt x="132" y="66"/>
                </a:lnTo>
                <a:close/>
                <a:moveTo>
                  <a:pt x="154" y="6"/>
                </a:moveTo>
                <a:cubicBezTo>
                  <a:pt x="154" y="30"/>
                  <a:pt x="154" y="30"/>
                  <a:pt x="154" y="30"/>
                </a:cubicBezTo>
                <a:cubicBezTo>
                  <a:pt x="132" y="30"/>
                  <a:pt x="132" y="30"/>
                  <a:pt x="132" y="30"/>
                </a:cubicBezTo>
                <a:cubicBezTo>
                  <a:pt x="132" y="6"/>
                  <a:pt x="132" y="6"/>
                  <a:pt x="132" y="6"/>
                </a:cubicBezTo>
                <a:lnTo>
                  <a:pt x="154" y="6"/>
                </a:lnTo>
                <a:close/>
                <a:moveTo>
                  <a:pt x="6" y="6"/>
                </a:moveTo>
                <a:cubicBezTo>
                  <a:pt x="28" y="6"/>
                  <a:pt x="28" y="6"/>
                  <a:pt x="28" y="6"/>
                </a:cubicBezTo>
                <a:cubicBezTo>
                  <a:pt x="28" y="30"/>
                  <a:pt x="28" y="30"/>
                  <a:pt x="28" y="30"/>
                </a:cubicBezTo>
                <a:cubicBezTo>
                  <a:pt x="6" y="30"/>
                  <a:pt x="6" y="30"/>
                  <a:pt x="6" y="30"/>
                </a:cubicBezTo>
                <a:lnTo>
                  <a:pt x="6" y="6"/>
                </a:lnTo>
                <a:close/>
                <a:moveTo>
                  <a:pt x="6" y="121"/>
                </a:moveTo>
                <a:cubicBezTo>
                  <a:pt x="6" y="97"/>
                  <a:pt x="6" y="97"/>
                  <a:pt x="6" y="97"/>
                </a:cubicBezTo>
                <a:cubicBezTo>
                  <a:pt x="28" y="97"/>
                  <a:pt x="28" y="97"/>
                  <a:pt x="28" y="97"/>
                </a:cubicBezTo>
                <a:cubicBezTo>
                  <a:pt x="28" y="121"/>
                  <a:pt x="28" y="121"/>
                  <a:pt x="28" y="121"/>
                </a:cubicBezTo>
                <a:lnTo>
                  <a:pt x="6" y="121"/>
                </a:lnTo>
                <a:close/>
                <a:moveTo>
                  <a:pt x="154" y="121"/>
                </a:moveTo>
                <a:cubicBezTo>
                  <a:pt x="132" y="121"/>
                  <a:pt x="132" y="121"/>
                  <a:pt x="132" y="121"/>
                </a:cubicBezTo>
                <a:cubicBezTo>
                  <a:pt x="132" y="97"/>
                  <a:pt x="132" y="97"/>
                  <a:pt x="132" y="97"/>
                </a:cubicBezTo>
                <a:cubicBezTo>
                  <a:pt x="154" y="97"/>
                  <a:pt x="154" y="97"/>
                  <a:pt x="154" y="97"/>
                </a:cubicBezTo>
                <a:lnTo>
                  <a:pt x="154" y="121"/>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67">
            <a:extLst>
              <a:ext uri="{FF2B5EF4-FFF2-40B4-BE49-F238E27FC236}">
                <a16:creationId xmlns:a16="http://schemas.microsoft.com/office/drawing/2014/main" id="{D6EE37CF-37A6-7C43-A3CB-3FEE04CCD0C9}"/>
              </a:ext>
            </a:extLst>
          </p:cNvPr>
          <p:cNvSpPr>
            <a:spLocks noEditPoints="1"/>
          </p:cNvSpPr>
          <p:nvPr/>
        </p:nvSpPr>
        <p:spPr bwMode="auto">
          <a:xfrm>
            <a:off x="6894204" y="6015038"/>
            <a:ext cx="601663" cy="273050"/>
          </a:xfrm>
          <a:custGeom>
            <a:avLst/>
            <a:gdLst>
              <a:gd name="T0" fmla="*/ 83 w 160"/>
              <a:gd name="T1" fmla="*/ 19 h 72"/>
              <a:gd name="T2" fmla="*/ 80 w 160"/>
              <a:gd name="T3" fmla="*/ 22 h 72"/>
              <a:gd name="T4" fmla="*/ 66 w 160"/>
              <a:gd name="T5" fmla="*/ 36 h 72"/>
              <a:gd name="T6" fmla="*/ 64 w 160"/>
              <a:gd name="T7" fmla="*/ 39 h 72"/>
              <a:gd name="T8" fmla="*/ 61 w 160"/>
              <a:gd name="T9" fmla="*/ 36 h 72"/>
              <a:gd name="T10" fmla="*/ 80 w 160"/>
              <a:gd name="T11" fmla="*/ 17 h 72"/>
              <a:gd name="T12" fmla="*/ 83 w 160"/>
              <a:gd name="T13" fmla="*/ 19 h 72"/>
              <a:gd name="T14" fmla="*/ 159 w 160"/>
              <a:gd name="T15" fmla="*/ 37 h 72"/>
              <a:gd name="T16" fmla="*/ 155 w 160"/>
              <a:gd name="T17" fmla="*/ 37 h 72"/>
              <a:gd name="T18" fmla="*/ 102 w 160"/>
              <a:gd name="T19" fmla="*/ 8 h 72"/>
              <a:gd name="T20" fmla="*/ 116 w 160"/>
              <a:gd name="T21" fmla="*/ 36 h 72"/>
              <a:gd name="T22" fmla="*/ 80 w 160"/>
              <a:gd name="T23" fmla="*/ 72 h 72"/>
              <a:gd name="T24" fmla="*/ 44 w 160"/>
              <a:gd name="T25" fmla="*/ 36 h 72"/>
              <a:gd name="T26" fmla="*/ 58 w 160"/>
              <a:gd name="T27" fmla="*/ 8 h 72"/>
              <a:gd name="T28" fmla="*/ 5 w 160"/>
              <a:gd name="T29" fmla="*/ 37 h 72"/>
              <a:gd name="T30" fmla="*/ 5 w 160"/>
              <a:gd name="T31" fmla="*/ 37 h 72"/>
              <a:gd name="T32" fmla="*/ 3 w 160"/>
              <a:gd name="T33" fmla="*/ 38 h 72"/>
              <a:gd name="T34" fmla="*/ 1 w 160"/>
              <a:gd name="T35" fmla="*/ 37 h 72"/>
              <a:gd name="T36" fmla="*/ 1 w 160"/>
              <a:gd name="T37" fmla="*/ 34 h 72"/>
              <a:gd name="T38" fmla="*/ 1 w 160"/>
              <a:gd name="T39" fmla="*/ 33 h 72"/>
              <a:gd name="T40" fmla="*/ 80 w 160"/>
              <a:gd name="T41" fmla="*/ 0 h 72"/>
              <a:gd name="T42" fmla="*/ 80 w 160"/>
              <a:gd name="T43" fmla="*/ 0 h 72"/>
              <a:gd name="T44" fmla="*/ 80 w 160"/>
              <a:gd name="T45" fmla="*/ 0 h 72"/>
              <a:gd name="T46" fmla="*/ 80 w 160"/>
              <a:gd name="T47" fmla="*/ 0 h 72"/>
              <a:gd name="T48" fmla="*/ 159 w 160"/>
              <a:gd name="T49" fmla="*/ 33 h 72"/>
              <a:gd name="T50" fmla="*/ 159 w 160"/>
              <a:gd name="T51" fmla="*/ 37 h 72"/>
              <a:gd name="T52" fmla="*/ 80 w 160"/>
              <a:gd name="T53" fmla="*/ 6 h 72"/>
              <a:gd name="T54" fmla="*/ 80 w 160"/>
              <a:gd name="T55" fmla="*/ 6 h 72"/>
              <a:gd name="T56" fmla="*/ 50 w 160"/>
              <a:gd name="T57" fmla="*/ 36 h 72"/>
              <a:gd name="T58" fmla="*/ 80 w 160"/>
              <a:gd name="T59" fmla="*/ 66 h 72"/>
              <a:gd name="T60" fmla="*/ 110 w 160"/>
              <a:gd name="T61" fmla="*/ 36 h 72"/>
              <a:gd name="T62" fmla="*/ 80 w 160"/>
              <a:gd name="T63" fmla="*/ 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72">
                <a:moveTo>
                  <a:pt x="83" y="19"/>
                </a:moveTo>
                <a:cubicBezTo>
                  <a:pt x="83" y="21"/>
                  <a:pt x="82" y="22"/>
                  <a:pt x="80" y="22"/>
                </a:cubicBezTo>
                <a:cubicBezTo>
                  <a:pt x="72" y="22"/>
                  <a:pt x="66" y="28"/>
                  <a:pt x="66" y="36"/>
                </a:cubicBezTo>
                <a:cubicBezTo>
                  <a:pt x="66" y="37"/>
                  <a:pt x="65" y="39"/>
                  <a:pt x="64" y="39"/>
                </a:cubicBezTo>
                <a:cubicBezTo>
                  <a:pt x="62" y="39"/>
                  <a:pt x="61" y="37"/>
                  <a:pt x="61" y="36"/>
                </a:cubicBezTo>
                <a:cubicBezTo>
                  <a:pt x="61" y="25"/>
                  <a:pt x="69" y="17"/>
                  <a:pt x="80" y="17"/>
                </a:cubicBezTo>
                <a:cubicBezTo>
                  <a:pt x="82" y="17"/>
                  <a:pt x="83" y="18"/>
                  <a:pt x="83" y="19"/>
                </a:cubicBezTo>
                <a:close/>
                <a:moveTo>
                  <a:pt x="159" y="37"/>
                </a:moveTo>
                <a:cubicBezTo>
                  <a:pt x="158" y="38"/>
                  <a:pt x="156" y="38"/>
                  <a:pt x="155" y="37"/>
                </a:cubicBezTo>
                <a:cubicBezTo>
                  <a:pt x="141" y="22"/>
                  <a:pt x="122" y="12"/>
                  <a:pt x="102" y="8"/>
                </a:cubicBezTo>
                <a:cubicBezTo>
                  <a:pt x="111" y="14"/>
                  <a:pt x="116" y="25"/>
                  <a:pt x="116" y="36"/>
                </a:cubicBezTo>
                <a:cubicBezTo>
                  <a:pt x="116" y="56"/>
                  <a:pt x="100" y="72"/>
                  <a:pt x="80" y="72"/>
                </a:cubicBezTo>
                <a:cubicBezTo>
                  <a:pt x="60" y="72"/>
                  <a:pt x="44" y="56"/>
                  <a:pt x="44" y="36"/>
                </a:cubicBezTo>
                <a:cubicBezTo>
                  <a:pt x="44" y="25"/>
                  <a:pt x="49" y="15"/>
                  <a:pt x="58" y="8"/>
                </a:cubicBezTo>
                <a:cubicBezTo>
                  <a:pt x="38" y="12"/>
                  <a:pt x="20" y="22"/>
                  <a:pt x="5" y="37"/>
                </a:cubicBezTo>
                <a:cubicBezTo>
                  <a:pt x="5" y="37"/>
                  <a:pt x="5" y="37"/>
                  <a:pt x="5" y="37"/>
                </a:cubicBezTo>
                <a:cubicBezTo>
                  <a:pt x="4" y="38"/>
                  <a:pt x="3" y="38"/>
                  <a:pt x="3" y="38"/>
                </a:cubicBezTo>
                <a:cubicBezTo>
                  <a:pt x="2" y="38"/>
                  <a:pt x="1" y="38"/>
                  <a:pt x="1" y="37"/>
                </a:cubicBezTo>
                <a:cubicBezTo>
                  <a:pt x="0" y="36"/>
                  <a:pt x="0" y="35"/>
                  <a:pt x="1" y="34"/>
                </a:cubicBezTo>
                <a:cubicBezTo>
                  <a:pt x="1" y="33"/>
                  <a:pt x="1" y="33"/>
                  <a:pt x="1" y="33"/>
                </a:cubicBezTo>
                <a:cubicBezTo>
                  <a:pt x="22" y="12"/>
                  <a:pt x="50" y="0"/>
                  <a:pt x="80" y="0"/>
                </a:cubicBezTo>
                <a:cubicBezTo>
                  <a:pt x="80" y="0"/>
                  <a:pt x="80" y="0"/>
                  <a:pt x="80" y="0"/>
                </a:cubicBezTo>
                <a:cubicBezTo>
                  <a:pt x="80" y="0"/>
                  <a:pt x="80" y="0"/>
                  <a:pt x="80" y="0"/>
                </a:cubicBezTo>
                <a:cubicBezTo>
                  <a:pt x="80" y="0"/>
                  <a:pt x="80" y="0"/>
                  <a:pt x="80" y="0"/>
                </a:cubicBezTo>
                <a:cubicBezTo>
                  <a:pt x="110" y="0"/>
                  <a:pt x="138" y="12"/>
                  <a:pt x="159" y="33"/>
                </a:cubicBezTo>
                <a:cubicBezTo>
                  <a:pt x="160" y="34"/>
                  <a:pt x="160" y="36"/>
                  <a:pt x="159" y="37"/>
                </a:cubicBezTo>
                <a:close/>
                <a:moveTo>
                  <a:pt x="80" y="6"/>
                </a:moveTo>
                <a:cubicBezTo>
                  <a:pt x="80" y="6"/>
                  <a:pt x="80" y="6"/>
                  <a:pt x="80" y="6"/>
                </a:cubicBezTo>
                <a:cubicBezTo>
                  <a:pt x="63" y="6"/>
                  <a:pt x="50" y="19"/>
                  <a:pt x="50" y="36"/>
                </a:cubicBezTo>
                <a:cubicBezTo>
                  <a:pt x="50" y="53"/>
                  <a:pt x="63" y="66"/>
                  <a:pt x="80" y="66"/>
                </a:cubicBezTo>
                <a:cubicBezTo>
                  <a:pt x="97" y="66"/>
                  <a:pt x="110" y="53"/>
                  <a:pt x="110" y="36"/>
                </a:cubicBezTo>
                <a:cubicBezTo>
                  <a:pt x="110" y="19"/>
                  <a:pt x="97" y="6"/>
                  <a:pt x="80" y="6"/>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68">
            <a:extLst>
              <a:ext uri="{FF2B5EF4-FFF2-40B4-BE49-F238E27FC236}">
                <a16:creationId xmlns:a16="http://schemas.microsoft.com/office/drawing/2014/main" id="{B9E92526-CED1-9C4E-981A-96039C95E3B5}"/>
              </a:ext>
            </a:extLst>
          </p:cNvPr>
          <p:cNvSpPr>
            <a:spLocks noEditPoints="1"/>
          </p:cNvSpPr>
          <p:nvPr/>
        </p:nvSpPr>
        <p:spPr bwMode="auto">
          <a:xfrm>
            <a:off x="9956336" y="3260726"/>
            <a:ext cx="601663" cy="271463"/>
          </a:xfrm>
          <a:custGeom>
            <a:avLst/>
            <a:gdLst>
              <a:gd name="T0" fmla="*/ 159 w 160"/>
              <a:gd name="T1" fmla="*/ 33 h 72"/>
              <a:gd name="T2" fmla="*/ 80 w 160"/>
              <a:gd name="T3" fmla="*/ 0 h 72"/>
              <a:gd name="T4" fmla="*/ 80 w 160"/>
              <a:gd name="T5" fmla="*/ 0 h 72"/>
              <a:gd name="T6" fmla="*/ 80 w 160"/>
              <a:gd name="T7" fmla="*/ 0 h 72"/>
              <a:gd name="T8" fmla="*/ 80 w 160"/>
              <a:gd name="T9" fmla="*/ 0 h 72"/>
              <a:gd name="T10" fmla="*/ 1 w 160"/>
              <a:gd name="T11" fmla="*/ 33 h 72"/>
              <a:gd name="T12" fmla="*/ 1 w 160"/>
              <a:gd name="T13" fmla="*/ 33 h 72"/>
              <a:gd name="T14" fmla="*/ 1 w 160"/>
              <a:gd name="T15" fmla="*/ 37 h 72"/>
              <a:gd name="T16" fmla="*/ 3 w 160"/>
              <a:gd name="T17" fmla="*/ 38 h 72"/>
              <a:gd name="T18" fmla="*/ 5 w 160"/>
              <a:gd name="T19" fmla="*/ 37 h 72"/>
              <a:gd name="T20" fmla="*/ 5 w 160"/>
              <a:gd name="T21" fmla="*/ 37 h 72"/>
              <a:gd name="T22" fmla="*/ 57 w 160"/>
              <a:gd name="T23" fmla="*/ 8 h 72"/>
              <a:gd name="T24" fmla="*/ 44 w 160"/>
              <a:gd name="T25" fmla="*/ 36 h 72"/>
              <a:gd name="T26" fmla="*/ 80 w 160"/>
              <a:gd name="T27" fmla="*/ 72 h 72"/>
              <a:gd name="T28" fmla="*/ 116 w 160"/>
              <a:gd name="T29" fmla="*/ 36 h 72"/>
              <a:gd name="T30" fmla="*/ 102 w 160"/>
              <a:gd name="T31" fmla="*/ 8 h 72"/>
              <a:gd name="T32" fmla="*/ 155 w 160"/>
              <a:gd name="T33" fmla="*/ 37 h 72"/>
              <a:gd name="T34" fmla="*/ 159 w 160"/>
              <a:gd name="T35" fmla="*/ 37 h 72"/>
              <a:gd name="T36" fmla="*/ 159 w 160"/>
              <a:gd name="T37" fmla="*/ 33 h 72"/>
              <a:gd name="T38" fmla="*/ 110 w 160"/>
              <a:gd name="T39" fmla="*/ 36 h 72"/>
              <a:gd name="T40" fmla="*/ 80 w 160"/>
              <a:gd name="T41" fmla="*/ 66 h 72"/>
              <a:gd name="T42" fmla="*/ 50 w 160"/>
              <a:gd name="T43" fmla="*/ 36 h 72"/>
              <a:gd name="T44" fmla="*/ 80 w 160"/>
              <a:gd name="T45" fmla="*/ 6 h 72"/>
              <a:gd name="T46" fmla="*/ 80 w 160"/>
              <a:gd name="T47" fmla="*/ 6 h 72"/>
              <a:gd name="T48" fmla="*/ 110 w 160"/>
              <a:gd name="T49" fmla="*/ 36 h 72"/>
              <a:gd name="T50" fmla="*/ 102 w 160"/>
              <a:gd name="T51" fmla="*/ 36 h 72"/>
              <a:gd name="T52" fmla="*/ 80 w 160"/>
              <a:gd name="T53" fmla="*/ 58 h 72"/>
              <a:gd name="T54" fmla="*/ 58 w 160"/>
              <a:gd name="T55" fmla="*/ 36 h 72"/>
              <a:gd name="T56" fmla="*/ 80 w 160"/>
              <a:gd name="T57" fmla="*/ 14 h 72"/>
              <a:gd name="T58" fmla="*/ 83 w 160"/>
              <a:gd name="T59" fmla="*/ 17 h 72"/>
              <a:gd name="T60" fmla="*/ 80 w 160"/>
              <a:gd name="T61" fmla="*/ 19 h 72"/>
              <a:gd name="T62" fmla="*/ 64 w 160"/>
              <a:gd name="T63" fmla="*/ 36 h 72"/>
              <a:gd name="T64" fmla="*/ 80 w 160"/>
              <a:gd name="T65" fmla="*/ 52 h 72"/>
              <a:gd name="T66" fmla="*/ 97 w 160"/>
              <a:gd name="T67" fmla="*/ 36 h 72"/>
              <a:gd name="T68" fmla="*/ 99 w 160"/>
              <a:gd name="T69" fmla="*/ 33 h 72"/>
              <a:gd name="T70" fmla="*/ 102 w 160"/>
              <a:gd name="T71"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72">
                <a:moveTo>
                  <a:pt x="159" y="33"/>
                </a:moveTo>
                <a:cubicBezTo>
                  <a:pt x="138" y="12"/>
                  <a:pt x="110" y="0"/>
                  <a:pt x="80" y="0"/>
                </a:cubicBezTo>
                <a:cubicBezTo>
                  <a:pt x="80" y="0"/>
                  <a:pt x="80" y="0"/>
                  <a:pt x="80" y="0"/>
                </a:cubicBezTo>
                <a:cubicBezTo>
                  <a:pt x="80" y="0"/>
                  <a:pt x="80" y="0"/>
                  <a:pt x="80" y="0"/>
                </a:cubicBezTo>
                <a:cubicBezTo>
                  <a:pt x="80" y="0"/>
                  <a:pt x="80" y="0"/>
                  <a:pt x="80" y="0"/>
                </a:cubicBezTo>
                <a:cubicBezTo>
                  <a:pt x="50" y="0"/>
                  <a:pt x="22" y="12"/>
                  <a:pt x="1" y="33"/>
                </a:cubicBezTo>
                <a:cubicBezTo>
                  <a:pt x="1" y="33"/>
                  <a:pt x="1" y="33"/>
                  <a:pt x="1" y="33"/>
                </a:cubicBezTo>
                <a:cubicBezTo>
                  <a:pt x="0" y="35"/>
                  <a:pt x="0" y="36"/>
                  <a:pt x="1" y="37"/>
                </a:cubicBezTo>
                <a:cubicBezTo>
                  <a:pt x="1" y="38"/>
                  <a:pt x="2" y="38"/>
                  <a:pt x="3" y="38"/>
                </a:cubicBezTo>
                <a:cubicBezTo>
                  <a:pt x="3" y="38"/>
                  <a:pt x="4" y="38"/>
                  <a:pt x="5" y="37"/>
                </a:cubicBezTo>
                <a:cubicBezTo>
                  <a:pt x="5" y="37"/>
                  <a:pt x="5" y="37"/>
                  <a:pt x="5" y="37"/>
                </a:cubicBezTo>
                <a:cubicBezTo>
                  <a:pt x="20" y="22"/>
                  <a:pt x="38" y="12"/>
                  <a:pt x="57" y="8"/>
                </a:cubicBezTo>
                <a:cubicBezTo>
                  <a:pt x="49" y="15"/>
                  <a:pt x="44" y="25"/>
                  <a:pt x="44" y="36"/>
                </a:cubicBezTo>
                <a:cubicBezTo>
                  <a:pt x="44" y="56"/>
                  <a:pt x="60" y="72"/>
                  <a:pt x="80" y="72"/>
                </a:cubicBezTo>
                <a:cubicBezTo>
                  <a:pt x="100" y="72"/>
                  <a:pt x="116" y="56"/>
                  <a:pt x="116" y="36"/>
                </a:cubicBezTo>
                <a:cubicBezTo>
                  <a:pt x="116" y="25"/>
                  <a:pt x="111" y="14"/>
                  <a:pt x="102" y="8"/>
                </a:cubicBezTo>
                <a:cubicBezTo>
                  <a:pt x="122" y="12"/>
                  <a:pt x="141" y="22"/>
                  <a:pt x="155" y="37"/>
                </a:cubicBezTo>
                <a:cubicBezTo>
                  <a:pt x="156" y="38"/>
                  <a:pt x="158" y="38"/>
                  <a:pt x="159" y="37"/>
                </a:cubicBezTo>
                <a:cubicBezTo>
                  <a:pt x="160" y="36"/>
                  <a:pt x="160" y="34"/>
                  <a:pt x="159" y="33"/>
                </a:cubicBezTo>
                <a:close/>
                <a:moveTo>
                  <a:pt x="110" y="36"/>
                </a:moveTo>
                <a:cubicBezTo>
                  <a:pt x="110" y="53"/>
                  <a:pt x="97" y="66"/>
                  <a:pt x="80" y="66"/>
                </a:cubicBezTo>
                <a:cubicBezTo>
                  <a:pt x="63" y="66"/>
                  <a:pt x="50" y="53"/>
                  <a:pt x="50" y="36"/>
                </a:cubicBezTo>
                <a:cubicBezTo>
                  <a:pt x="50" y="19"/>
                  <a:pt x="63" y="6"/>
                  <a:pt x="80" y="6"/>
                </a:cubicBezTo>
                <a:cubicBezTo>
                  <a:pt x="80" y="6"/>
                  <a:pt x="80" y="6"/>
                  <a:pt x="80" y="6"/>
                </a:cubicBezTo>
                <a:cubicBezTo>
                  <a:pt x="97" y="6"/>
                  <a:pt x="110" y="19"/>
                  <a:pt x="110" y="36"/>
                </a:cubicBezTo>
                <a:close/>
                <a:moveTo>
                  <a:pt x="102" y="36"/>
                </a:moveTo>
                <a:cubicBezTo>
                  <a:pt x="102" y="48"/>
                  <a:pt x="92" y="58"/>
                  <a:pt x="80" y="58"/>
                </a:cubicBezTo>
                <a:cubicBezTo>
                  <a:pt x="68" y="58"/>
                  <a:pt x="58" y="48"/>
                  <a:pt x="58" y="36"/>
                </a:cubicBezTo>
                <a:cubicBezTo>
                  <a:pt x="58" y="24"/>
                  <a:pt x="68" y="14"/>
                  <a:pt x="80" y="14"/>
                </a:cubicBezTo>
                <a:cubicBezTo>
                  <a:pt x="82" y="14"/>
                  <a:pt x="83" y="15"/>
                  <a:pt x="83" y="17"/>
                </a:cubicBezTo>
                <a:cubicBezTo>
                  <a:pt x="83" y="18"/>
                  <a:pt x="82" y="19"/>
                  <a:pt x="80" y="19"/>
                </a:cubicBezTo>
                <a:cubicBezTo>
                  <a:pt x="71" y="19"/>
                  <a:pt x="64" y="27"/>
                  <a:pt x="64" y="36"/>
                </a:cubicBezTo>
                <a:cubicBezTo>
                  <a:pt x="64" y="45"/>
                  <a:pt x="71" y="52"/>
                  <a:pt x="80" y="52"/>
                </a:cubicBezTo>
                <a:cubicBezTo>
                  <a:pt x="89" y="52"/>
                  <a:pt x="97" y="45"/>
                  <a:pt x="97" y="36"/>
                </a:cubicBezTo>
                <a:cubicBezTo>
                  <a:pt x="97" y="34"/>
                  <a:pt x="98" y="33"/>
                  <a:pt x="99" y="33"/>
                </a:cubicBezTo>
                <a:cubicBezTo>
                  <a:pt x="101" y="33"/>
                  <a:pt x="102" y="34"/>
                  <a:pt x="102" y="36"/>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69">
            <a:extLst>
              <a:ext uri="{FF2B5EF4-FFF2-40B4-BE49-F238E27FC236}">
                <a16:creationId xmlns:a16="http://schemas.microsoft.com/office/drawing/2014/main" id="{823F0625-C957-B147-BB9D-80F459FF07CE}"/>
              </a:ext>
            </a:extLst>
          </p:cNvPr>
          <p:cNvSpPr>
            <a:spLocks noEditPoints="1"/>
          </p:cNvSpPr>
          <p:nvPr/>
        </p:nvSpPr>
        <p:spPr bwMode="auto">
          <a:xfrm>
            <a:off x="9956336" y="3865563"/>
            <a:ext cx="601663" cy="385763"/>
          </a:xfrm>
          <a:custGeom>
            <a:avLst/>
            <a:gdLst>
              <a:gd name="T0" fmla="*/ 138 w 160"/>
              <a:gd name="T1" fmla="*/ 32 h 102"/>
              <a:gd name="T2" fmla="*/ 21 w 160"/>
              <a:gd name="T3" fmla="*/ 32 h 102"/>
              <a:gd name="T4" fmla="*/ 0 w 160"/>
              <a:gd name="T5" fmla="*/ 54 h 102"/>
              <a:gd name="T6" fmla="*/ 22 w 160"/>
              <a:gd name="T7" fmla="*/ 76 h 102"/>
              <a:gd name="T8" fmla="*/ 80 w 160"/>
              <a:gd name="T9" fmla="*/ 100 h 102"/>
              <a:gd name="T10" fmla="*/ 139 w 160"/>
              <a:gd name="T11" fmla="*/ 76 h 102"/>
              <a:gd name="T12" fmla="*/ 160 w 160"/>
              <a:gd name="T13" fmla="*/ 54 h 102"/>
              <a:gd name="T14" fmla="*/ 138 w 160"/>
              <a:gd name="T15" fmla="*/ 32 h 102"/>
              <a:gd name="T16" fmla="*/ 135 w 160"/>
              <a:gd name="T17" fmla="*/ 72 h 102"/>
              <a:gd name="T18" fmla="*/ 26 w 160"/>
              <a:gd name="T19" fmla="*/ 72 h 102"/>
              <a:gd name="T20" fmla="*/ 8 w 160"/>
              <a:gd name="T21" fmla="*/ 54 h 102"/>
              <a:gd name="T22" fmla="*/ 25 w 160"/>
              <a:gd name="T23" fmla="*/ 36 h 102"/>
              <a:gd name="T24" fmla="*/ 134 w 160"/>
              <a:gd name="T25" fmla="*/ 36 h 102"/>
              <a:gd name="T26" fmla="*/ 152 w 160"/>
              <a:gd name="T27" fmla="*/ 54 h 102"/>
              <a:gd name="T28" fmla="*/ 135 w 160"/>
              <a:gd name="T29" fmla="*/ 72 h 102"/>
              <a:gd name="T30" fmla="*/ 80 w 160"/>
              <a:gd name="T31" fmla="*/ 35 h 102"/>
              <a:gd name="T32" fmla="*/ 77 w 160"/>
              <a:gd name="T33" fmla="*/ 38 h 102"/>
              <a:gd name="T34" fmla="*/ 64 w 160"/>
              <a:gd name="T35" fmla="*/ 51 h 102"/>
              <a:gd name="T36" fmla="*/ 61 w 160"/>
              <a:gd name="T37" fmla="*/ 54 h 102"/>
              <a:gd name="T38" fmla="*/ 58 w 160"/>
              <a:gd name="T39" fmla="*/ 51 h 102"/>
              <a:gd name="T40" fmla="*/ 77 w 160"/>
              <a:gd name="T41" fmla="*/ 32 h 102"/>
              <a:gd name="T42" fmla="*/ 80 w 160"/>
              <a:gd name="T43" fmla="*/ 35 h 102"/>
              <a:gd name="T44" fmla="*/ 80 w 160"/>
              <a:gd name="T45" fmla="*/ 19 h 102"/>
              <a:gd name="T46" fmla="*/ 45 w 160"/>
              <a:gd name="T47" fmla="*/ 54 h 102"/>
              <a:gd name="T48" fmla="*/ 80 w 160"/>
              <a:gd name="T49" fmla="*/ 89 h 102"/>
              <a:gd name="T50" fmla="*/ 115 w 160"/>
              <a:gd name="T51" fmla="*/ 54 h 102"/>
              <a:gd name="T52" fmla="*/ 80 w 160"/>
              <a:gd name="T53" fmla="*/ 19 h 102"/>
              <a:gd name="T54" fmla="*/ 80 w 160"/>
              <a:gd name="T55" fmla="*/ 83 h 102"/>
              <a:gd name="T56" fmla="*/ 50 w 160"/>
              <a:gd name="T57" fmla="*/ 54 h 102"/>
              <a:gd name="T58" fmla="*/ 80 w 160"/>
              <a:gd name="T59" fmla="*/ 24 h 102"/>
              <a:gd name="T60" fmla="*/ 110 w 160"/>
              <a:gd name="T61" fmla="*/ 54 h 102"/>
              <a:gd name="T62" fmla="*/ 80 w 160"/>
              <a:gd name="T63" fmla="*/ 8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02">
                <a:moveTo>
                  <a:pt x="138" y="32"/>
                </a:moveTo>
                <a:cubicBezTo>
                  <a:pt x="106" y="0"/>
                  <a:pt x="54" y="0"/>
                  <a:pt x="21" y="32"/>
                </a:cubicBezTo>
                <a:cubicBezTo>
                  <a:pt x="0" y="54"/>
                  <a:pt x="0" y="54"/>
                  <a:pt x="0" y="54"/>
                </a:cubicBezTo>
                <a:cubicBezTo>
                  <a:pt x="22" y="76"/>
                  <a:pt x="22" y="76"/>
                  <a:pt x="22" y="76"/>
                </a:cubicBezTo>
                <a:cubicBezTo>
                  <a:pt x="38" y="92"/>
                  <a:pt x="59" y="100"/>
                  <a:pt x="80" y="100"/>
                </a:cubicBezTo>
                <a:cubicBezTo>
                  <a:pt x="101" y="100"/>
                  <a:pt x="122" y="92"/>
                  <a:pt x="139" y="76"/>
                </a:cubicBezTo>
                <a:cubicBezTo>
                  <a:pt x="160" y="54"/>
                  <a:pt x="160" y="54"/>
                  <a:pt x="160" y="54"/>
                </a:cubicBezTo>
                <a:lnTo>
                  <a:pt x="138" y="32"/>
                </a:lnTo>
                <a:close/>
                <a:moveTo>
                  <a:pt x="135" y="72"/>
                </a:moveTo>
                <a:cubicBezTo>
                  <a:pt x="105" y="102"/>
                  <a:pt x="56" y="102"/>
                  <a:pt x="26" y="72"/>
                </a:cubicBezTo>
                <a:cubicBezTo>
                  <a:pt x="8" y="54"/>
                  <a:pt x="8" y="54"/>
                  <a:pt x="8" y="54"/>
                </a:cubicBezTo>
                <a:cubicBezTo>
                  <a:pt x="25" y="36"/>
                  <a:pt x="25" y="36"/>
                  <a:pt x="25" y="36"/>
                </a:cubicBezTo>
                <a:cubicBezTo>
                  <a:pt x="55" y="6"/>
                  <a:pt x="104" y="6"/>
                  <a:pt x="134" y="36"/>
                </a:cubicBezTo>
                <a:cubicBezTo>
                  <a:pt x="152" y="54"/>
                  <a:pt x="152" y="54"/>
                  <a:pt x="152" y="54"/>
                </a:cubicBezTo>
                <a:lnTo>
                  <a:pt x="135" y="72"/>
                </a:lnTo>
                <a:close/>
                <a:moveTo>
                  <a:pt x="80" y="35"/>
                </a:moveTo>
                <a:cubicBezTo>
                  <a:pt x="80" y="36"/>
                  <a:pt x="79" y="38"/>
                  <a:pt x="77" y="38"/>
                </a:cubicBezTo>
                <a:cubicBezTo>
                  <a:pt x="70" y="38"/>
                  <a:pt x="64" y="44"/>
                  <a:pt x="64" y="51"/>
                </a:cubicBezTo>
                <a:cubicBezTo>
                  <a:pt x="64" y="53"/>
                  <a:pt x="62" y="54"/>
                  <a:pt x="61" y="54"/>
                </a:cubicBezTo>
                <a:cubicBezTo>
                  <a:pt x="60" y="54"/>
                  <a:pt x="58" y="53"/>
                  <a:pt x="58" y="51"/>
                </a:cubicBezTo>
                <a:cubicBezTo>
                  <a:pt x="58" y="41"/>
                  <a:pt x="67" y="32"/>
                  <a:pt x="77" y="32"/>
                </a:cubicBezTo>
                <a:cubicBezTo>
                  <a:pt x="79" y="32"/>
                  <a:pt x="80" y="33"/>
                  <a:pt x="80" y="35"/>
                </a:cubicBezTo>
                <a:close/>
                <a:moveTo>
                  <a:pt x="80" y="19"/>
                </a:moveTo>
                <a:cubicBezTo>
                  <a:pt x="61" y="19"/>
                  <a:pt x="45" y="34"/>
                  <a:pt x="45" y="54"/>
                </a:cubicBezTo>
                <a:cubicBezTo>
                  <a:pt x="45" y="73"/>
                  <a:pt x="61" y="89"/>
                  <a:pt x="80" y="89"/>
                </a:cubicBezTo>
                <a:cubicBezTo>
                  <a:pt x="99" y="89"/>
                  <a:pt x="115" y="73"/>
                  <a:pt x="115" y="54"/>
                </a:cubicBezTo>
                <a:cubicBezTo>
                  <a:pt x="115" y="34"/>
                  <a:pt x="99" y="19"/>
                  <a:pt x="80" y="19"/>
                </a:cubicBezTo>
                <a:close/>
                <a:moveTo>
                  <a:pt x="80" y="83"/>
                </a:moveTo>
                <a:cubicBezTo>
                  <a:pt x="64" y="83"/>
                  <a:pt x="50" y="70"/>
                  <a:pt x="50" y="54"/>
                </a:cubicBezTo>
                <a:cubicBezTo>
                  <a:pt x="50" y="37"/>
                  <a:pt x="64" y="24"/>
                  <a:pt x="80" y="24"/>
                </a:cubicBezTo>
                <a:cubicBezTo>
                  <a:pt x="96" y="24"/>
                  <a:pt x="110" y="37"/>
                  <a:pt x="110" y="54"/>
                </a:cubicBezTo>
                <a:cubicBezTo>
                  <a:pt x="110" y="70"/>
                  <a:pt x="96" y="83"/>
                  <a:pt x="80" y="83"/>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70">
            <a:extLst>
              <a:ext uri="{FF2B5EF4-FFF2-40B4-BE49-F238E27FC236}">
                <a16:creationId xmlns:a16="http://schemas.microsoft.com/office/drawing/2014/main" id="{2CC2FF6E-6C78-584C-AFE9-62C17BA313FF}"/>
              </a:ext>
            </a:extLst>
          </p:cNvPr>
          <p:cNvSpPr>
            <a:spLocks noEditPoints="1"/>
          </p:cNvSpPr>
          <p:nvPr/>
        </p:nvSpPr>
        <p:spPr bwMode="auto">
          <a:xfrm>
            <a:off x="9956336" y="4456113"/>
            <a:ext cx="601663" cy="596900"/>
          </a:xfrm>
          <a:custGeom>
            <a:avLst/>
            <a:gdLst>
              <a:gd name="T0" fmla="*/ 43 w 160"/>
              <a:gd name="T1" fmla="*/ 68 h 158"/>
              <a:gd name="T2" fmla="*/ 43 w 160"/>
              <a:gd name="T3" fmla="*/ 143 h 158"/>
              <a:gd name="T4" fmla="*/ 117 w 160"/>
              <a:gd name="T5" fmla="*/ 143 h 158"/>
              <a:gd name="T6" fmla="*/ 117 w 160"/>
              <a:gd name="T7" fmla="*/ 68 h 158"/>
              <a:gd name="T8" fmla="*/ 113 w 160"/>
              <a:gd name="T9" fmla="*/ 139 h 158"/>
              <a:gd name="T10" fmla="*/ 47 w 160"/>
              <a:gd name="T11" fmla="*/ 139 h 158"/>
              <a:gd name="T12" fmla="*/ 47 w 160"/>
              <a:gd name="T13" fmla="*/ 73 h 158"/>
              <a:gd name="T14" fmla="*/ 111 w 160"/>
              <a:gd name="T15" fmla="*/ 71 h 158"/>
              <a:gd name="T16" fmla="*/ 78 w 160"/>
              <a:gd name="T17" fmla="*/ 108 h 158"/>
              <a:gd name="T18" fmla="*/ 82 w 160"/>
              <a:gd name="T19" fmla="*/ 108 h 158"/>
              <a:gd name="T20" fmla="*/ 127 w 160"/>
              <a:gd name="T21" fmla="*/ 106 h 158"/>
              <a:gd name="T22" fmla="*/ 77 w 160"/>
              <a:gd name="T23" fmla="*/ 22 h 158"/>
              <a:gd name="T24" fmla="*/ 80 w 160"/>
              <a:gd name="T25" fmla="*/ 0 h 158"/>
              <a:gd name="T26" fmla="*/ 83 w 160"/>
              <a:gd name="T27" fmla="*/ 22 h 158"/>
              <a:gd name="T28" fmla="*/ 77 w 160"/>
              <a:gd name="T29" fmla="*/ 22 h 158"/>
              <a:gd name="T30" fmla="*/ 146 w 160"/>
              <a:gd name="T31" fmla="*/ 50 h 158"/>
              <a:gd name="T32" fmla="*/ 142 w 160"/>
              <a:gd name="T33" fmla="*/ 50 h 158"/>
              <a:gd name="T34" fmla="*/ 155 w 160"/>
              <a:gd name="T35" fmla="*/ 33 h 158"/>
              <a:gd name="T36" fmla="*/ 159 w 160"/>
              <a:gd name="T37" fmla="*/ 37 h 158"/>
              <a:gd name="T38" fmla="*/ 18 w 160"/>
              <a:gd name="T39" fmla="*/ 50 h 158"/>
              <a:gd name="T40" fmla="*/ 14 w 160"/>
              <a:gd name="T41" fmla="*/ 50 h 158"/>
              <a:gd name="T42" fmla="*/ 1 w 160"/>
              <a:gd name="T43" fmla="*/ 33 h 158"/>
              <a:gd name="T44" fmla="*/ 18 w 160"/>
              <a:gd name="T45" fmla="*/ 46 h 158"/>
              <a:gd name="T46" fmla="*/ 105 w 160"/>
              <a:gd name="T47" fmla="*/ 6 h 158"/>
              <a:gd name="T48" fmla="*/ 111 w 160"/>
              <a:gd name="T49" fmla="*/ 8 h 158"/>
              <a:gd name="T50" fmla="*/ 103 w 160"/>
              <a:gd name="T51" fmla="*/ 28 h 158"/>
              <a:gd name="T52" fmla="*/ 100 w 160"/>
              <a:gd name="T53" fmla="*/ 24 h 158"/>
              <a:gd name="T54" fmla="*/ 51 w 160"/>
              <a:gd name="T55" fmla="*/ 4 h 158"/>
              <a:gd name="T56" fmla="*/ 60 w 160"/>
              <a:gd name="T57" fmla="*/ 24 h 158"/>
              <a:gd name="T58" fmla="*/ 57 w 160"/>
              <a:gd name="T59" fmla="*/ 28 h 158"/>
              <a:gd name="T60" fmla="*/ 49 w 160"/>
              <a:gd name="T61" fmla="*/ 8 h 158"/>
              <a:gd name="T62" fmla="*/ 128 w 160"/>
              <a:gd name="T63" fmla="*/ 35 h 158"/>
              <a:gd name="T64" fmla="*/ 123 w 160"/>
              <a:gd name="T65" fmla="*/ 37 h 158"/>
              <a:gd name="T66" fmla="*/ 132 w 160"/>
              <a:gd name="T67" fmla="*/ 16 h 158"/>
              <a:gd name="T68" fmla="*/ 137 w 160"/>
              <a:gd name="T69" fmla="*/ 19 h 158"/>
              <a:gd name="T70" fmla="*/ 23 w 160"/>
              <a:gd name="T71" fmla="*/ 19 h 158"/>
              <a:gd name="T72" fmla="*/ 28 w 160"/>
              <a:gd name="T73" fmla="*/ 16 h 158"/>
              <a:gd name="T74" fmla="*/ 37 w 160"/>
              <a:gd name="T75" fmla="*/ 37 h 158"/>
              <a:gd name="T76" fmla="*/ 32 w 160"/>
              <a:gd name="T77" fmla="*/ 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58">
                <a:moveTo>
                  <a:pt x="80" y="53"/>
                </a:moveTo>
                <a:cubicBezTo>
                  <a:pt x="66" y="53"/>
                  <a:pt x="53" y="58"/>
                  <a:pt x="43" y="68"/>
                </a:cubicBezTo>
                <a:cubicBezTo>
                  <a:pt x="33" y="78"/>
                  <a:pt x="27" y="92"/>
                  <a:pt x="27" y="106"/>
                </a:cubicBezTo>
                <a:cubicBezTo>
                  <a:pt x="27" y="120"/>
                  <a:pt x="33" y="133"/>
                  <a:pt x="43" y="143"/>
                </a:cubicBezTo>
                <a:cubicBezTo>
                  <a:pt x="53" y="153"/>
                  <a:pt x="66" y="158"/>
                  <a:pt x="80" y="158"/>
                </a:cubicBezTo>
                <a:cubicBezTo>
                  <a:pt x="94" y="158"/>
                  <a:pt x="107" y="153"/>
                  <a:pt x="117" y="143"/>
                </a:cubicBezTo>
                <a:cubicBezTo>
                  <a:pt x="127" y="133"/>
                  <a:pt x="133" y="120"/>
                  <a:pt x="133" y="106"/>
                </a:cubicBezTo>
                <a:cubicBezTo>
                  <a:pt x="133" y="92"/>
                  <a:pt x="127" y="78"/>
                  <a:pt x="117" y="68"/>
                </a:cubicBezTo>
                <a:cubicBezTo>
                  <a:pt x="107" y="58"/>
                  <a:pt x="94" y="53"/>
                  <a:pt x="80" y="53"/>
                </a:cubicBezTo>
                <a:close/>
                <a:moveTo>
                  <a:pt x="113" y="139"/>
                </a:moveTo>
                <a:cubicBezTo>
                  <a:pt x="104" y="147"/>
                  <a:pt x="92" y="152"/>
                  <a:pt x="80" y="152"/>
                </a:cubicBezTo>
                <a:cubicBezTo>
                  <a:pt x="68" y="152"/>
                  <a:pt x="56" y="147"/>
                  <a:pt x="47" y="139"/>
                </a:cubicBezTo>
                <a:cubicBezTo>
                  <a:pt x="38" y="130"/>
                  <a:pt x="33" y="118"/>
                  <a:pt x="33" y="106"/>
                </a:cubicBezTo>
                <a:cubicBezTo>
                  <a:pt x="33" y="93"/>
                  <a:pt x="38" y="81"/>
                  <a:pt x="47" y="73"/>
                </a:cubicBezTo>
                <a:cubicBezTo>
                  <a:pt x="56" y="64"/>
                  <a:pt x="68" y="59"/>
                  <a:pt x="80" y="59"/>
                </a:cubicBezTo>
                <a:cubicBezTo>
                  <a:pt x="91" y="59"/>
                  <a:pt x="102" y="63"/>
                  <a:pt x="111" y="71"/>
                </a:cubicBezTo>
                <a:cubicBezTo>
                  <a:pt x="78" y="103"/>
                  <a:pt x="78" y="103"/>
                  <a:pt x="78" y="103"/>
                </a:cubicBezTo>
                <a:cubicBezTo>
                  <a:pt x="77" y="105"/>
                  <a:pt x="77" y="107"/>
                  <a:pt x="78" y="108"/>
                </a:cubicBezTo>
                <a:cubicBezTo>
                  <a:pt x="78" y="108"/>
                  <a:pt x="79" y="109"/>
                  <a:pt x="80" y="109"/>
                </a:cubicBezTo>
                <a:cubicBezTo>
                  <a:pt x="81" y="109"/>
                  <a:pt x="82" y="108"/>
                  <a:pt x="82" y="108"/>
                </a:cubicBezTo>
                <a:cubicBezTo>
                  <a:pt x="115" y="75"/>
                  <a:pt x="115" y="75"/>
                  <a:pt x="115" y="75"/>
                </a:cubicBezTo>
                <a:cubicBezTo>
                  <a:pt x="122" y="83"/>
                  <a:pt x="127" y="94"/>
                  <a:pt x="127" y="106"/>
                </a:cubicBezTo>
                <a:cubicBezTo>
                  <a:pt x="127" y="118"/>
                  <a:pt x="122" y="130"/>
                  <a:pt x="113" y="139"/>
                </a:cubicBezTo>
                <a:close/>
                <a:moveTo>
                  <a:pt x="77" y="22"/>
                </a:moveTo>
                <a:cubicBezTo>
                  <a:pt x="77" y="3"/>
                  <a:pt x="77" y="3"/>
                  <a:pt x="77" y="3"/>
                </a:cubicBezTo>
                <a:cubicBezTo>
                  <a:pt x="77" y="1"/>
                  <a:pt x="78" y="0"/>
                  <a:pt x="80" y="0"/>
                </a:cubicBezTo>
                <a:cubicBezTo>
                  <a:pt x="82" y="0"/>
                  <a:pt x="83" y="1"/>
                  <a:pt x="83" y="3"/>
                </a:cubicBezTo>
                <a:cubicBezTo>
                  <a:pt x="83" y="22"/>
                  <a:pt x="83" y="22"/>
                  <a:pt x="83" y="22"/>
                </a:cubicBezTo>
                <a:cubicBezTo>
                  <a:pt x="83" y="23"/>
                  <a:pt x="82" y="25"/>
                  <a:pt x="80" y="25"/>
                </a:cubicBezTo>
                <a:cubicBezTo>
                  <a:pt x="78" y="25"/>
                  <a:pt x="77" y="23"/>
                  <a:pt x="77" y="22"/>
                </a:cubicBezTo>
                <a:close/>
                <a:moveTo>
                  <a:pt x="159" y="37"/>
                </a:moveTo>
                <a:cubicBezTo>
                  <a:pt x="146" y="50"/>
                  <a:pt x="146" y="50"/>
                  <a:pt x="146" y="50"/>
                </a:cubicBezTo>
                <a:cubicBezTo>
                  <a:pt x="145" y="51"/>
                  <a:pt x="145" y="51"/>
                  <a:pt x="144" y="51"/>
                </a:cubicBezTo>
                <a:cubicBezTo>
                  <a:pt x="143" y="51"/>
                  <a:pt x="142" y="51"/>
                  <a:pt x="142" y="50"/>
                </a:cubicBezTo>
                <a:cubicBezTo>
                  <a:pt x="140" y="49"/>
                  <a:pt x="140" y="47"/>
                  <a:pt x="142" y="46"/>
                </a:cubicBezTo>
                <a:cubicBezTo>
                  <a:pt x="155" y="33"/>
                  <a:pt x="155" y="33"/>
                  <a:pt x="155" y="33"/>
                </a:cubicBezTo>
                <a:cubicBezTo>
                  <a:pt x="156" y="32"/>
                  <a:pt x="158" y="32"/>
                  <a:pt x="159" y="33"/>
                </a:cubicBezTo>
                <a:cubicBezTo>
                  <a:pt x="160" y="34"/>
                  <a:pt x="160" y="36"/>
                  <a:pt x="159" y="37"/>
                </a:cubicBezTo>
                <a:close/>
                <a:moveTo>
                  <a:pt x="18" y="46"/>
                </a:moveTo>
                <a:cubicBezTo>
                  <a:pt x="20" y="47"/>
                  <a:pt x="20" y="49"/>
                  <a:pt x="18" y="50"/>
                </a:cubicBezTo>
                <a:cubicBezTo>
                  <a:pt x="18" y="51"/>
                  <a:pt x="17" y="51"/>
                  <a:pt x="16" y="51"/>
                </a:cubicBezTo>
                <a:cubicBezTo>
                  <a:pt x="15" y="51"/>
                  <a:pt x="15" y="51"/>
                  <a:pt x="14" y="50"/>
                </a:cubicBezTo>
                <a:cubicBezTo>
                  <a:pt x="1" y="37"/>
                  <a:pt x="1" y="37"/>
                  <a:pt x="1" y="37"/>
                </a:cubicBezTo>
                <a:cubicBezTo>
                  <a:pt x="0" y="36"/>
                  <a:pt x="0" y="34"/>
                  <a:pt x="1" y="33"/>
                </a:cubicBezTo>
                <a:cubicBezTo>
                  <a:pt x="2" y="32"/>
                  <a:pt x="4" y="32"/>
                  <a:pt x="5" y="33"/>
                </a:cubicBezTo>
                <a:lnTo>
                  <a:pt x="18" y="46"/>
                </a:lnTo>
                <a:close/>
                <a:moveTo>
                  <a:pt x="100" y="24"/>
                </a:moveTo>
                <a:cubicBezTo>
                  <a:pt x="105" y="6"/>
                  <a:pt x="105" y="6"/>
                  <a:pt x="105" y="6"/>
                </a:cubicBezTo>
                <a:cubicBezTo>
                  <a:pt x="106" y="4"/>
                  <a:pt x="107" y="3"/>
                  <a:pt x="109" y="4"/>
                </a:cubicBezTo>
                <a:cubicBezTo>
                  <a:pt x="111" y="4"/>
                  <a:pt x="112" y="6"/>
                  <a:pt x="111" y="8"/>
                </a:cubicBezTo>
                <a:cubicBezTo>
                  <a:pt x="106" y="26"/>
                  <a:pt x="106" y="26"/>
                  <a:pt x="106" y="26"/>
                </a:cubicBezTo>
                <a:cubicBezTo>
                  <a:pt x="106" y="27"/>
                  <a:pt x="105" y="28"/>
                  <a:pt x="103" y="28"/>
                </a:cubicBezTo>
                <a:cubicBezTo>
                  <a:pt x="103" y="28"/>
                  <a:pt x="103" y="28"/>
                  <a:pt x="103" y="28"/>
                </a:cubicBezTo>
                <a:cubicBezTo>
                  <a:pt x="101" y="27"/>
                  <a:pt x="100" y="26"/>
                  <a:pt x="100" y="24"/>
                </a:cubicBezTo>
                <a:close/>
                <a:moveTo>
                  <a:pt x="49" y="8"/>
                </a:moveTo>
                <a:cubicBezTo>
                  <a:pt x="48" y="6"/>
                  <a:pt x="49" y="4"/>
                  <a:pt x="51" y="4"/>
                </a:cubicBezTo>
                <a:cubicBezTo>
                  <a:pt x="53" y="3"/>
                  <a:pt x="54" y="4"/>
                  <a:pt x="55" y="6"/>
                </a:cubicBezTo>
                <a:cubicBezTo>
                  <a:pt x="60" y="24"/>
                  <a:pt x="60" y="24"/>
                  <a:pt x="60" y="24"/>
                </a:cubicBezTo>
                <a:cubicBezTo>
                  <a:pt x="60" y="26"/>
                  <a:pt x="59" y="27"/>
                  <a:pt x="57" y="28"/>
                </a:cubicBezTo>
                <a:cubicBezTo>
                  <a:pt x="57" y="28"/>
                  <a:pt x="57" y="28"/>
                  <a:pt x="57" y="28"/>
                </a:cubicBezTo>
                <a:cubicBezTo>
                  <a:pt x="55" y="28"/>
                  <a:pt x="54" y="27"/>
                  <a:pt x="54" y="26"/>
                </a:cubicBezTo>
                <a:lnTo>
                  <a:pt x="49" y="8"/>
                </a:lnTo>
                <a:close/>
                <a:moveTo>
                  <a:pt x="137" y="19"/>
                </a:moveTo>
                <a:cubicBezTo>
                  <a:pt x="128" y="35"/>
                  <a:pt x="128" y="35"/>
                  <a:pt x="128" y="35"/>
                </a:cubicBezTo>
                <a:cubicBezTo>
                  <a:pt x="127" y="36"/>
                  <a:pt x="126" y="37"/>
                  <a:pt x="125" y="37"/>
                </a:cubicBezTo>
                <a:cubicBezTo>
                  <a:pt x="125" y="37"/>
                  <a:pt x="124" y="37"/>
                  <a:pt x="123" y="37"/>
                </a:cubicBezTo>
                <a:cubicBezTo>
                  <a:pt x="122" y="36"/>
                  <a:pt x="122" y="34"/>
                  <a:pt x="122" y="32"/>
                </a:cubicBezTo>
                <a:cubicBezTo>
                  <a:pt x="132" y="16"/>
                  <a:pt x="132" y="16"/>
                  <a:pt x="132" y="16"/>
                </a:cubicBezTo>
                <a:cubicBezTo>
                  <a:pt x="133" y="15"/>
                  <a:pt x="134" y="14"/>
                  <a:pt x="136" y="15"/>
                </a:cubicBezTo>
                <a:cubicBezTo>
                  <a:pt x="137" y="16"/>
                  <a:pt x="138" y="18"/>
                  <a:pt x="137" y="19"/>
                </a:cubicBezTo>
                <a:close/>
                <a:moveTo>
                  <a:pt x="32" y="35"/>
                </a:moveTo>
                <a:cubicBezTo>
                  <a:pt x="23" y="19"/>
                  <a:pt x="23" y="19"/>
                  <a:pt x="23" y="19"/>
                </a:cubicBezTo>
                <a:cubicBezTo>
                  <a:pt x="22" y="18"/>
                  <a:pt x="23" y="16"/>
                  <a:pt x="24" y="15"/>
                </a:cubicBezTo>
                <a:cubicBezTo>
                  <a:pt x="26" y="14"/>
                  <a:pt x="27" y="15"/>
                  <a:pt x="28" y="16"/>
                </a:cubicBezTo>
                <a:cubicBezTo>
                  <a:pt x="38" y="32"/>
                  <a:pt x="38" y="32"/>
                  <a:pt x="38" y="32"/>
                </a:cubicBezTo>
                <a:cubicBezTo>
                  <a:pt x="39" y="34"/>
                  <a:pt x="38" y="36"/>
                  <a:pt x="37" y="37"/>
                </a:cubicBezTo>
                <a:cubicBezTo>
                  <a:pt x="36" y="37"/>
                  <a:pt x="35" y="37"/>
                  <a:pt x="35" y="37"/>
                </a:cubicBezTo>
                <a:cubicBezTo>
                  <a:pt x="34" y="37"/>
                  <a:pt x="33" y="36"/>
                  <a:pt x="32" y="3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71">
            <a:extLst>
              <a:ext uri="{FF2B5EF4-FFF2-40B4-BE49-F238E27FC236}">
                <a16:creationId xmlns:a16="http://schemas.microsoft.com/office/drawing/2014/main" id="{F58F47B5-1C5E-B247-A435-9E9F96E1F62D}"/>
              </a:ext>
            </a:extLst>
          </p:cNvPr>
          <p:cNvSpPr>
            <a:spLocks noEditPoints="1"/>
          </p:cNvSpPr>
          <p:nvPr/>
        </p:nvSpPr>
        <p:spPr bwMode="auto">
          <a:xfrm>
            <a:off x="9956336" y="5197476"/>
            <a:ext cx="601663" cy="484188"/>
          </a:xfrm>
          <a:custGeom>
            <a:avLst/>
            <a:gdLst>
              <a:gd name="T0" fmla="*/ 160 w 160"/>
              <a:gd name="T1" fmla="*/ 80 h 128"/>
              <a:gd name="T2" fmla="*/ 157 w 160"/>
              <a:gd name="T3" fmla="*/ 83 h 128"/>
              <a:gd name="T4" fmla="*/ 155 w 160"/>
              <a:gd name="T5" fmla="*/ 80 h 128"/>
              <a:gd name="T6" fmla="*/ 80 w 160"/>
              <a:gd name="T7" fmla="*/ 5 h 128"/>
              <a:gd name="T8" fmla="*/ 5 w 160"/>
              <a:gd name="T9" fmla="*/ 80 h 128"/>
              <a:gd name="T10" fmla="*/ 3 w 160"/>
              <a:gd name="T11" fmla="*/ 83 h 128"/>
              <a:gd name="T12" fmla="*/ 0 w 160"/>
              <a:gd name="T13" fmla="*/ 80 h 128"/>
              <a:gd name="T14" fmla="*/ 80 w 160"/>
              <a:gd name="T15" fmla="*/ 0 h 128"/>
              <a:gd name="T16" fmla="*/ 160 w 160"/>
              <a:gd name="T17" fmla="*/ 80 h 128"/>
              <a:gd name="T18" fmla="*/ 112 w 160"/>
              <a:gd name="T19" fmla="*/ 51 h 128"/>
              <a:gd name="T20" fmla="*/ 125 w 160"/>
              <a:gd name="T21" fmla="*/ 83 h 128"/>
              <a:gd name="T22" fmla="*/ 112 w 160"/>
              <a:gd name="T23" fmla="*/ 115 h 128"/>
              <a:gd name="T24" fmla="*/ 80 w 160"/>
              <a:gd name="T25" fmla="*/ 128 h 128"/>
              <a:gd name="T26" fmla="*/ 48 w 160"/>
              <a:gd name="T27" fmla="*/ 115 h 128"/>
              <a:gd name="T28" fmla="*/ 35 w 160"/>
              <a:gd name="T29" fmla="*/ 83 h 128"/>
              <a:gd name="T30" fmla="*/ 48 w 160"/>
              <a:gd name="T31" fmla="*/ 51 h 128"/>
              <a:gd name="T32" fmla="*/ 80 w 160"/>
              <a:gd name="T33" fmla="*/ 37 h 128"/>
              <a:gd name="T34" fmla="*/ 112 w 160"/>
              <a:gd name="T35" fmla="*/ 51 h 128"/>
              <a:gd name="T36" fmla="*/ 120 w 160"/>
              <a:gd name="T37" fmla="*/ 83 h 128"/>
              <a:gd name="T38" fmla="*/ 110 w 160"/>
              <a:gd name="T39" fmla="*/ 56 h 128"/>
              <a:gd name="T40" fmla="*/ 82 w 160"/>
              <a:gd name="T41" fmla="*/ 85 h 128"/>
              <a:gd name="T42" fmla="*/ 80 w 160"/>
              <a:gd name="T43" fmla="*/ 85 h 128"/>
              <a:gd name="T44" fmla="*/ 78 w 160"/>
              <a:gd name="T45" fmla="*/ 85 h 128"/>
              <a:gd name="T46" fmla="*/ 78 w 160"/>
              <a:gd name="T47" fmla="*/ 81 h 128"/>
              <a:gd name="T48" fmla="*/ 106 w 160"/>
              <a:gd name="T49" fmla="*/ 53 h 128"/>
              <a:gd name="T50" fmla="*/ 80 w 160"/>
              <a:gd name="T51" fmla="*/ 43 h 128"/>
              <a:gd name="T52" fmla="*/ 52 w 160"/>
              <a:gd name="T53" fmla="*/ 54 h 128"/>
              <a:gd name="T54" fmla="*/ 40 w 160"/>
              <a:gd name="T55" fmla="*/ 83 h 128"/>
              <a:gd name="T56" fmla="*/ 52 w 160"/>
              <a:gd name="T57" fmla="*/ 111 h 128"/>
              <a:gd name="T58" fmla="*/ 80 w 160"/>
              <a:gd name="T59" fmla="*/ 123 h 128"/>
              <a:gd name="T60" fmla="*/ 108 w 160"/>
              <a:gd name="T61" fmla="*/ 111 h 128"/>
              <a:gd name="T62" fmla="*/ 120 w 160"/>
              <a:gd name="T63" fmla="*/ 8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28">
                <a:moveTo>
                  <a:pt x="160" y="80"/>
                </a:moveTo>
                <a:cubicBezTo>
                  <a:pt x="160" y="81"/>
                  <a:pt x="159" y="83"/>
                  <a:pt x="157" y="83"/>
                </a:cubicBezTo>
                <a:cubicBezTo>
                  <a:pt x="156" y="83"/>
                  <a:pt x="155" y="81"/>
                  <a:pt x="155" y="80"/>
                </a:cubicBezTo>
                <a:cubicBezTo>
                  <a:pt x="155" y="39"/>
                  <a:pt x="121" y="5"/>
                  <a:pt x="80" y="5"/>
                </a:cubicBezTo>
                <a:cubicBezTo>
                  <a:pt x="39" y="5"/>
                  <a:pt x="5" y="39"/>
                  <a:pt x="5" y="80"/>
                </a:cubicBezTo>
                <a:cubicBezTo>
                  <a:pt x="5" y="81"/>
                  <a:pt x="4" y="83"/>
                  <a:pt x="3" y="83"/>
                </a:cubicBezTo>
                <a:cubicBezTo>
                  <a:pt x="1" y="83"/>
                  <a:pt x="0" y="81"/>
                  <a:pt x="0" y="80"/>
                </a:cubicBezTo>
                <a:cubicBezTo>
                  <a:pt x="0" y="36"/>
                  <a:pt x="36" y="0"/>
                  <a:pt x="80" y="0"/>
                </a:cubicBezTo>
                <a:cubicBezTo>
                  <a:pt x="124" y="0"/>
                  <a:pt x="160" y="36"/>
                  <a:pt x="160" y="80"/>
                </a:cubicBezTo>
                <a:close/>
                <a:moveTo>
                  <a:pt x="112" y="51"/>
                </a:moveTo>
                <a:cubicBezTo>
                  <a:pt x="121" y="59"/>
                  <a:pt x="125" y="71"/>
                  <a:pt x="125" y="83"/>
                </a:cubicBezTo>
                <a:cubicBezTo>
                  <a:pt x="125" y="95"/>
                  <a:pt x="121" y="106"/>
                  <a:pt x="112" y="115"/>
                </a:cubicBezTo>
                <a:cubicBezTo>
                  <a:pt x="103" y="123"/>
                  <a:pt x="92" y="128"/>
                  <a:pt x="80" y="128"/>
                </a:cubicBezTo>
                <a:cubicBezTo>
                  <a:pt x="68" y="128"/>
                  <a:pt x="57" y="123"/>
                  <a:pt x="48" y="115"/>
                </a:cubicBezTo>
                <a:cubicBezTo>
                  <a:pt x="39" y="106"/>
                  <a:pt x="35" y="95"/>
                  <a:pt x="35" y="83"/>
                </a:cubicBezTo>
                <a:cubicBezTo>
                  <a:pt x="35" y="71"/>
                  <a:pt x="39" y="59"/>
                  <a:pt x="48" y="51"/>
                </a:cubicBezTo>
                <a:cubicBezTo>
                  <a:pt x="57" y="42"/>
                  <a:pt x="68" y="37"/>
                  <a:pt x="80" y="37"/>
                </a:cubicBezTo>
                <a:cubicBezTo>
                  <a:pt x="92" y="37"/>
                  <a:pt x="103" y="42"/>
                  <a:pt x="112" y="51"/>
                </a:cubicBezTo>
                <a:close/>
                <a:moveTo>
                  <a:pt x="120" y="83"/>
                </a:moveTo>
                <a:cubicBezTo>
                  <a:pt x="120" y="73"/>
                  <a:pt x="116" y="64"/>
                  <a:pt x="110" y="56"/>
                </a:cubicBezTo>
                <a:cubicBezTo>
                  <a:pt x="82" y="85"/>
                  <a:pt x="82" y="85"/>
                  <a:pt x="82" y="85"/>
                </a:cubicBezTo>
                <a:cubicBezTo>
                  <a:pt x="81" y="85"/>
                  <a:pt x="81" y="85"/>
                  <a:pt x="80" y="85"/>
                </a:cubicBezTo>
                <a:cubicBezTo>
                  <a:pt x="79" y="85"/>
                  <a:pt x="79" y="85"/>
                  <a:pt x="78" y="85"/>
                </a:cubicBezTo>
                <a:cubicBezTo>
                  <a:pt x="77" y="84"/>
                  <a:pt x="77" y="82"/>
                  <a:pt x="78" y="81"/>
                </a:cubicBezTo>
                <a:cubicBezTo>
                  <a:pt x="106" y="53"/>
                  <a:pt x="106" y="53"/>
                  <a:pt x="106" y="53"/>
                </a:cubicBezTo>
                <a:cubicBezTo>
                  <a:pt x="99" y="46"/>
                  <a:pt x="90" y="43"/>
                  <a:pt x="80" y="43"/>
                </a:cubicBezTo>
                <a:cubicBezTo>
                  <a:pt x="69" y="43"/>
                  <a:pt x="59" y="47"/>
                  <a:pt x="52" y="54"/>
                </a:cubicBezTo>
                <a:cubicBezTo>
                  <a:pt x="44" y="62"/>
                  <a:pt x="40" y="72"/>
                  <a:pt x="40" y="83"/>
                </a:cubicBezTo>
                <a:cubicBezTo>
                  <a:pt x="40" y="93"/>
                  <a:pt x="44" y="103"/>
                  <a:pt x="52" y="111"/>
                </a:cubicBezTo>
                <a:cubicBezTo>
                  <a:pt x="59" y="119"/>
                  <a:pt x="69" y="123"/>
                  <a:pt x="80" y="123"/>
                </a:cubicBezTo>
                <a:cubicBezTo>
                  <a:pt x="91" y="123"/>
                  <a:pt x="101" y="119"/>
                  <a:pt x="108" y="111"/>
                </a:cubicBezTo>
                <a:cubicBezTo>
                  <a:pt x="116" y="103"/>
                  <a:pt x="120" y="93"/>
                  <a:pt x="120" y="83"/>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72">
            <a:extLst>
              <a:ext uri="{FF2B5EF4-FFF2-40B4-BE49-F238E27FC236}">
                <a16:creationId xmlns:a16="http://schemas.microsoft.com/office/drawing/2014/main" id="{6C45561C-C40C-5C45-A1B8-B53A46FBAC4E}"/>
              </a:ext>
            </a:extLst>
          </p:cNvPr>
          <p:cNvSpPr>
            <a:spLocks noEditPoints="1"/>
          </p:cNvSpPr>
          <p:nvPr/>
        </p:nvSpPr>
        <p:spPr bwMode="auto">
          <a:xfrm>
            <a:off x="7945129" y="3124200"/>
            <a:ext cx="601663" cy="604838"/>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83 w 160"/>
              <a:gd name="T21" fmla="*/ 34 h 160"/>
              <a:gd name="T22" fmla="*/ 83 w 160"/>
              <a:gd name="T23" fmla="*/ 102 h 160"/>
              <a:gd name="T24" fmla="*/ 80 w 160"/>
              <a:gd name="T25" fmla="*/ 105 h 160"/>
              <a:gd name="T26" fmla="*/ 77 w 160"/>
              <a:gd name="T27" fmla="*/ 102 h 160"/>
              <a:gd name="T28" fmla="*/ 77 w 160"/>
              <a:gd name="T29" fmla="*/ 34 h 160"/>
              <a:gd name="T30" fmla="*/ 80 w 160"/>
              <a:gd name="T31" fmla="*/ 31 h 160"/>
              <a:gd name="T32" fmla="*/ 83 w 160"/>
              <a:gd name="T33" fmla="*/ 34 h 160"/>
              <a:gd name="T34" fmla="*/ 83 w 160"/>
              <a:gd name="T35" fmla="*/ 117 h 160"/>
              <a:gd name="T36" fmla="*/ 83 w 160"/>
              <a:gd name="T37" fmla="*/ 123 h 160"/>
              <a:gd name="T38" fmla="*/ 80 w 160"/>
              <a:gd name="T39" fmla="*/ 126 h 160"/>
              <a:gd name="T40" fmla="*/ 77 w 160"/>
              <a:gd name="T41" fmla="*/ 123 h 160"/>
              <a:gd name="T42" fmla="*/ 77 w 160"/>
              <a:gd name="T43" fmla="*/ 117 h 160"/>
              <a:gd name="T44" fmla="*/ 80 w 160"/>
              <a:gd name="T45" fmla="*/ 114 h 160"/>
              <a:gd name="T46" fmla="*/ 83 w 160"/>
              <a:gd name="T47"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83" y="34"/>
                </a:moveTo>
                <a:cubicBezTo>
                  <a:pt x="83" y="102"/>
                  <a:pt x="83" y="102"/>
                  <a:pt x="83" y="102"/>
                </a:cubicBezTo>
                <a:cubicBezTo>
                  <a:pt x="83" y="103"/>
                  <a:pt x="82" y="105"/>
                  <a:pt x="80" y="105"/>
                </a:cubicBezTo>
                <a:cubicBezTo>
                  <a:pt x="78" y="105"/>
                  <a:pt x="77" y="103"/>
                  <a:pt x="77" y="102"/>
                </a:cubicBezTo>
                <a:cubicBezTo>
                  <a:pt x="77" y="34"/>
                  <a:pt x="77" y="34"/>
                  <a:pt x="77" y="34"/>
                </a:cubicBezTo>
                <a:cubicBezTo>
                  <a:pt x="77" y="32"/>
                  <a:pt x="78" y="31"/>
                  <a:pt x="80" y="31"/>
                </a:cubicBezTo>
                <a:cubicBezTo>
                  <a:pt x="82" y="31"/>
                  <a:pt x="83" y="32"/>
                  <a:pt x="83" y="34"/>
                </a:cubicBezTo>
                <a:close/>
                <a:moveTo>
                  <a:pt x="83" y="117"/>
                </a:moveTo>
                <a:cubicBezTo>
                  <a:pt x="83" y="123"/>
                  <a:pt x="83" y="123"/>
                  <a:pt x="83" y="123"/>
                </a:cubicBezTo>
                <a:cubicBezTo>
                  <a:pt x="83" y="125"/>
                  <a:pt x="82" y="126"/>
                  <a:pt x="80" y="126"/>
                </a:cubicBezTo>
                <a:cubicBezTo>
                  <a:pt x="78" y="126"/>
                  <a:pt x="77" y="125"/>
                  <a:pt x="77" y="123"/>
                </a:cubicBezTo>
                <a:cubicBezTo>
                  <a:pt x="77" y="117"/>
                  <a:pt x="77" y="117"/>
                  <a:pt x="77" y="117"/>
                </a:cubicBezTo>
                <a:cubicBezTo>
                  <a:pt x="77" y="115"/>
                  <a:pt x="78" y="114"/>
                  <a:pt x="80" y="114"/>
                </a:cubicBezTo>
                <a:cubicBezTo>
                  <a:pt x="82" y="114"/>
                  <a:pt x="83" y="115"/>
                  <a:pt x="83" y="117"/>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73">
            <a:extLst>
              <a:ext uri="{FF2B5EF4-FFF2-40B4-BE49-F238E27FC236}">
                <a16:creationId xmlns:a16="http://schemas.microsoft.com/office/drawing/2014/main" id="{EAC8CD3C-74A6-5C47-B056-85053A97D6E0}"/>
              </a:ext>
            </a:extLst>
          </p:cNvPr>
          <p:cNvSpPr>
            <a:spLocks noEditPoints="1"/>
          </p:cNvSpPr>
          <p:nvPr/>
        </p:nvSpPr>
        <p:spPr bwMode="auto">
          <a:xfrm>
            <a:off x="7916554" y="3790950"/>
            <a:ext cx="619125" cy="604838"/>
          </a:xfrm>
          <a:custGeom>
            <a:avLst/>
            <a:gdLst>
              <a:gd name="T0" fmla="*/ 35 w 165"/>
              <a:gd name="T1" fmla="*/ 112 h 160"/>
              <a:gd name="T2" fmla="*/ 31 w 165"/>
              <a:gd name="T3" fmla="*/ 112 h 160"/>
              <a:gd name="T4" fmla="*/ 35 w 165"/>
              <a:gd name="T5" fmla="*/ 1 h 160"/>
              <a:gd name="T6" fmla="*/ 35 w 165"/>
              <a:gd name="T7" fmla="*/ 108 h 160"/>
              <a:gd name="T8" fmla="*/ 138 w 165"/>
              <a:gd name="T9" fmla="*/ 1 h 160"/>
              <a:gd name="T10" fmla="*/ 160 w 165"/>
              <a:gd name="T11" fmla="*/ 56 h 160"/>
              <a:gd name="T12" fmla="*/ 138 w 165"/>
              <a:gd name="T13" fmla="*/ 112 h 160"/>
              <a:gd name="T14" fmla="*/ 142 w 165"/>
              <a:gd name="T15" fmla="*/ 112 h 160"/>
              <a:gd name="T16" fmla="*/ 142 w 165"/>
              <a:gd name="T17" fmla="*/ 1 h 160"/>
              <a:gd name="T18" fmla="*/ 46 w 165"/>
              <a:gd name="T19" fmla="*/ 12 h 160"/>
              <a:gd name="T20" fmla="*/ 43 w 165"/>
              <a:gd name="T21" fmla="*/ 101 h 160"/>
              <a:gd name="T22" fmla="*/ 46 w 165"/>
              <a:gd name="T23" fmla="*/ 101 h 160"/>
              <a:gd name="T24" fmla="*/ 46 w 165"/>
              <a:gd name="T25" fmla="*/ 16 h 160"/>
              <a:gd name="T26" fmla="*/ 127 w 165"/>
              <a:gd name="T27" fmla="*/ 12 h 160"/>
              <a:gd name="T28" fmla="*/ 127 w 165"/>
              <a:gd name="T29" fmla="*/ 97 h 160"/>
              <a:gd name="T30" fmla="*/ 129 w 165"/>
              <a:gd name="T31" fmla="*/ 101 h 160"/>
              <a:gd name="T32" fmla="*/ 131 w 165"/>
              <a:gd name="T33" fmla="*/ 12 h 160"/>
              <a:gd name="T34" fmla="*/ 54 w 165"/>
              <a:gd name="T35" fmla="*/ 24 h 160"/>
              <a:gd name="T36" fmla="*/ 54 w 165"/>
              <a:gd name="T37" fmla="*/ 89 h 160"/>
              <a:gd name="T38" fmla="*/ 58 w 165"/>
              <a:gd name="T39" fmla="*/ 89 h 160"/>
              <a:gd name="T40" fmla="*/ 58 w 165"/>
              <a:gd name="T41" fmla="*/ 28 h 160"/>
              <a:gd name="T42" fmla="*/ 119 w 165"/>
              <a:gd name="T43" fmla="*/ 24 h 160"/>
              <a:gd name="T44" fmla="*/ 115 w 165"/>
              <a:gd name="T45" fmla="*/ 28 h 160"/>
              <a:gd name="T46" fmla="*/ 115 w 165"/>
              <a:gd name="T47" fmla="*/ 89 h 160"/>
              <a:gd name="T48" fmla="*/ 119 w 165"/>
              <a:gd name="T49" fmla="*/ 89 h 160"/>
              <a:gd name="T50" fmla="*/ 119 w 165"/>
              <a:gd name="T51" fmla="*/ 24 h 160"/>
              <a:gd name="T52" fmla="*/ 89 w 165"/>
              <a:gd name="T53" fmla="*/ 76 h 160"/>
              <a:gd name="T54" fmla="*/ 87 w 165"/>
              <a:gd name="T55" fmla="*/ 160 h 160"/>
              <a:gd name="T56" fmla="*/ 84 w 165"/>
              <a:gd name="T57" fmla="*/ 76 h 160"/>
              <a:gd name="T58" fmla="*/ 87 w 165"/>
              <a:gd name="T59" fmla="*/ 38 h 160"/>
              <a:gd name="T60" fmla="*/ 100 w 165"/>
              <a:gd name="T61" fmla="*/ 57 h 160"/>
              <a:gd name="T62" fmla="*/ 73 w 165"/>
              <a:gd name="T63" fmla="*/ 57 h 160"/>
              <a:gd name="T64" fmla="*/ 100 w 165"/>
              <a:gd name="T65" fmla="*/ 5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60">
                <a:moveTo>
                  <a:pt x="35" y="108"/>
                </a:moveTo>
                <a:cubicBezTo>
                  <a:pt x="36" y="109"/>
                  <a:pt x="36" y="111"/>
                  <a:pt x="35" y="112"/>
                </a:cubicBezTo>
                <a:cubicBezTo>
                  <a:pt x="34" y="113"/>
                  <a:pt x="34" y="113"/>
                  <a:pt x="33" y="113"/>
                </a:cubicBezTo>
                <a:cubicBezTo>
                  <a:pt x="32" y="113"/>
                  <a:pt x="32" y="113"/>
                  <a:pt x="31" y="112"/>
                </a:cubicBezTo>
                <a:cubicBezTo>
                  <a:pt x="0" y="81"/>
                  <a:pt x="0" y="31"/>
                  <a:pt x="31" y="1"/>
                </a:cubicBezTo>
                <a:cubicBezTo>
                  <a:pt x="32" y="0"/>
                  <a:pt x="34" y="0"/>
                  <a:pt x="35" y="1"/>
                </a:cubicBezTo>
                <a:cubicBezTo>
                  <a:pt x="36" y="2"/>
                  <a:pt x="36" y="4"/>
                  <a:pt x="35" y="5"/>
                </a:cubicBezTo>
                <a:cubicBezTo>
                  <a:pt x="6" y="33"/>
                  <a:pt x="6" y="80"/>
                  <a:pt x="35" y="108"/>
                </a:cubicBezTo>
                <a:close/>
                <a:moveTo>
                  <a:pt x="142" y="1"/>
                </a:moveTo>
                <a:cubicBezTo>
                  <a:pt x="141" y="0"/>
                  <a:pt x="139" y="0"/>
                  <a:pt x="138" y="1"/>
                </a:cubicBezTo>
                <a:cubicBezTo>
                  <a:pt x="137" y="2"/>
                  <a:pt x="137" y="4"/>
                  <a:pt x="138" y="5"/>
                </a:cubicBezTo>
                <a:cubicBezTo>
                  <a:pt x="152" y="18"/>
                  <a:pt x="160" y="37"/>
                  <a:pt x="160" y="56"/>
                </a:cubicBezTo>
                <a:cubicBezTo>
                  <a:pt x="160" y="76"/>
                  <a:pt x="152" y="94"/>
                  <a:pt x="138" y="108"/>
                </a:cubicBezTo>
                <a:cubicBezTo>
                  <a:pt x="137" y="109"/>
                  <a:pt x="137" y="111"/>
                  <a:pt x="138" y="112"/>
                </a:cubicBezTo>
                <a:cubicBezTo>
                  <a:pt x="139" y="113"/>
                  <a:pt x="140" y="113"/>
                  <a:pt x="140" y="113"/>
                </a:cubicBezTo>
                <a:cubicBezTo>
                  <a:pt x="141" y="113"/>
                  <a:pt x="142" y="113"/>
                  <a:pt x="142" y="112"/>
                </a:cubicBezTo>
                <a:cubicBezTo>
                  <a:pt x="157" y="97"/>
                  <a:pt x="165" y="77"/>
                  <a:pt x="165" y="56"/>
                </a:cubicBezTo>
                <a:cubicBezTo>
                  <a:pt x="165" y="35"/>
                  <a:pt x="157" y="16"/>
                  <a:pt x="142" y="1"/>
                </a:cubicBezTo>
                <a:close/>
                <a:moveTo>
                  <a:pt x="46" y="16"/>
                </a:moveTo>
                <a:cubicBezTo>
                  <a:pt x="47" y="15"/>
                  <a:pt x="47" y="13"/>
                  <a:pt x="46" y="12"/>
                </a:cubicBezTo>
                <a:cubicBezTo>
                  <a:pt x="45" y="11"/>
                  <a:pt x="44" y="11"/>
                  <a:pt x="43" y="12"/>
                </a:cubicBezTo>
                <a:cubicBezTo>
                  <a:pt x="18" y="37"/>
                  <a:pt x="18" y="76"/>
                  <a:pt x="43" y="101"/>
                </a:cubicBezTo>
                <a:cubicBezTo>
                  <a:pt x="43" y="101"/>
                  <a:pt x="44" y="101"/>
                  <a:pt x="44" y="101"/>
                </a:cubicBezTo>
                <a:cubicBezTo>
                  <a:pt x="45" y="101"/>
                  <a:pt x="46" y="101"/>
                  <a:pt x="46" y="101"/>
                </a:cubicBezTo>
                <a:cubicBezTo>
                  <a:pt x="47" y="99"/>
                  <a:pt x="47" y="98"/>
                  <a:pt x="46" y="97"/>
                </a:cubicBezTo>
                <a:cubicBezTo>
                  <a:pt x="24" y="74"/>
                  <a:pt x="24" y="38"/>
                  <a:pt x="46" y="16"/>
                </a:cubicBezTo>
                <a:close/>
                <a:moveTo>
                  <a:pt x="131" y="12"/>
                </a:moveTo>
                <a:cubicBezTo>
                  <a:pt x="130" y="11"/>
                  <a:pt x="128" y="11"/>
                  <a:pt x="127" y="12"/>
                </a:cubicBezTo>
                <a:cubicBezTo>
                  <a:pt x="126" y="13"/>
                  <a:pt x="126" y="15"/>
                  <a:pt x="127" y="16"/>
                </a:cubicBezTo>
                <a:cubicBezTo>
                  <a:pt x="149" y="38"/>
                  <a:pt x="149" y="74"/>
                  <a:pt x="127" y="97"/>
                </a:cubicBezTo>
                <a:cubicBezTo>
                  <a:pt x="126" y="98"/>
                  <a:pt x="126" y="99"/>
                  <a:pt x="127" y="101"/>
                </a:cubicBezTo>
                <a:cubicBezTo>
                  <a:pt x="127" y="101"/>
                  <a:pt x="128" y="101"/>
                  <a:pt x="129" y="101"/>
                </a:cubicBezTo>
                <a:cubicBezTo>
                  <a:pt x="129" y="101"/>
                  <a:pt x="130" y="101"/>
                  <a:pt x="131" y="101"/>
                </a:cubicBezTo>
                <a:cubicBezTo>
                  <a:pt x="155" y="76"/>
                  <a:pt x="155" y="37"/>
                  <a:pt x="131" y="12"/>
                </a:cubicBezTo>
                <a:close/>
                <a:moveTo>
                  <a:pt x="58" y="24"/>
                </a:moveTo>
                <a:cubicBezTo>
                  <a:pt x="57" y="23"/>
                  <a:pt x="55" y="23"/>
                  <a:pt x="54" y="24"/>
                </a:cubicBezTo>
                <a:cubicBezTo>
                  <a:pt x="45" y="33"/>
                  <a:pt x="41" y="44"/>
                  <a:pt x="41" y="56"/>
                </a:cubicBezTo>
                <a:cubicBezTo>
                  <a:pt x="41" y="69"/>
                  <a:pt x="45" y="80"/>
                  <a:pt x="54" y="89"/>
                </a:cubicBezTo>
                <a:cubicBezTo>
                  <a:pt x="55" y="90"/>
                  <a:pt x="55" y="90"/>
                  <a:pt x="56" y="90"/>
                </a:cubicBezTo>
                <a:cubicBezTo>
                  <a:pt x="57" y="90"/>
                  <a:pt x="57" y="90"/>
                  <a:pt x="58" y="89"/>
                </a:cubicBezTo>
                <a:cubicBezTo>
                  <a:pt x="59" y="88"/>
                  <a:pt x="59" y="86"/>
                  <a:pt x="58" y="85"/>
                </a:cubicBezTo>
                <a:cubicBezTo>
                  <a:pt x="42" y="69"/>
                  <a:pt x="42" y="44"/>
                  <a:pt x="58" y="28"/>
                </a:cubicBezTo>
                <a:cubicBezTo>
                  <a:pt x="59" y="27"/>
                  <a:pt x="59" y="25"/>
                  <a:pt x="58" y="24"/>
                </a:cubicBezTo>
                <a:close/>
                <a:moveTo>
                  <a:pt x="119" y="24"/>
                </a:moveTo>
                <a:cubicBezTo>
                  <a:pt x="118" y="23"/>
                  <a:pt x="116" y="23"/>
                  <a:pt x="115" y="24"/>
                </a:cubicBezTo>
                <a:cubicBezTo>
                  <a:pt x="114" y="25"/>
                  <a:pt x="114" y="27"/>
                  <a:pt x="115" y="28"/>
                </a:cubicBezTo>
                <a:cubicBezTo>
                  <a:pt x="131" y="44"/>
                  <a:pt x="131" y="69"/>
                  <a:pt x="115" y="85"/>
                </a:cubicBezTo>
                <a:cubicBezTo>
                  <a:pt x="114" y="86"/>
                  <a:pt x="114" y="88"/>
                  <a:pt x="115" y="89"/>
                </a:cubicBezTo>
                <a:cubicBezTo>
                  <a:pt x="116" y="90"/>
                  <a:pt x="117" y="90"/>
                  <a:pt x="117" y="90"/>
                </a:cubicBezTo>
                <a:cubicBezTo>
                  <a:pt x="118" y="90"/>
                  <a:pt x="119" y="90"/>
                  <a:pt x="119" y="89"/>
                </a:cubicBezTo>
                <a:cubicBezTo>
                  <a:pt x="128" y="80"/>
                  <a:pt x="133" y="69"/>
                  <a:pt x="133" y="56"/>
                </a:cubicBezTo>
                <a:cubicBezTo>
                  <a:pt x="133" y="44"/>
                  <a:pt x="128" y="33"/>
                  <a:pt x="119" y="24"/>
                </a:cubicBezTo>
                <a:close/>
                <a:moveTo>
                  <a:pt x="106" y="57"/>
                </a:moveTo>
                <a:cubicBezTo>
                  <a:pt x="106" y="66"/>
                  <a:pt x="99" y="74"/>
                  <a:pt x="89" y="76"/>
                </a:cubicBezTo>
                <a:cubicBezTo>
                  <a:pt x="89" y="157"/>
                  <a:pt x="89" y="157"/>
                  <a:pt x="89" y="157"/>
                </a:cubicBezTo>
                <a:cubicBezTo>
                  <a:pt x="89" y="159"/>
                  <a:pt x="88" y="160"/>
                  <a:pt x="87" y="160"/>
                </a:cubicBezTo>
                <a:cubicBezTo>
                  <a:pt x="85" y="160"/>
                  <a:pt x="84" y="159"/>
                  <a:pt x="84" y="157"/>
                </a:cubicBezTo>
                <a:cubicBezTo>
                  <a:pt x="84" y="76"/>
                  <a:pt x="84" y="76"/>
                  <a:pt x="84" y="76"/>
                </a:cubicBezTo>
                <a:cubicBezTo>
                  <a:pt x="75" y="74"/>
                  <a:pt x="68" y="66"/>
                  <a:pt x="68" y="57"/>
                </a:cubicBezTo>
                <a:cubicBezTo>
                  <a:pt x="68" y="46"/>
                  <a:pt x="76" y="38"/>
                  <a:pt x="87" y="38"/>
                </a:cubicBezTo>
                <a:cubicBezTo>
                  <a:pt x="97" y="38"/>
                  <a:pt x="106" y="46"/>
                  <a:pt x="106" y="57"/>
                </a:cubicBezTo>
                <a:close/>
                <a:moveTo>
                  <a:pt x="100" y="57"/>
                </a:moveTo>
                <a:cubicBezTo>
                  <a:pt x="100" y="49"/>
                  <a:pt x="94" y="43"/>
                  <a:pt x="87" y="43"/>
                </a:cubicBezTo>
                <a:cubicBezTo>
                  <a:pt x="79" y="43"/>
                  <a:pt x="73" y="49"/>
                  <a:pt x="73" y="57"/>
                </a:cubicBezTo>
                <a:cubicBezTo>
                  <a:pt x="73" y="64"/>
                  <a:pt x="79" y="71"/>
                  <a:pt x="87" y="71"/>
                </a:cubicBezTo>
                <a:cubicBezTo>
                  <a:pt x="94" y="71"/>
                  <a:pt x="100" y="64"/>
                  <a:pt x="100" y="57"/>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74">
            <a:extLst>
              <a:ext uri="{FF2B5EF4-FFF2-40B4-BE49-F238E27FC236}">
                <a16:creationId xmlns:a16="http://schemas.microsoft.com/office/drawing/2014/main" id="{219BAF6F-16DE-7D46-A2AD-D735B0D7EE44}"/>
              </a:ext>
            </a:extLst>
          </p:cNvPr>
          <p:cNvSpPr>
            <a:spLocks noEditPoints="1"/>
          </p:cNvSpPr>
          <p:nvPr/>
        </p:nvSpPr>
        <p:spPr bwMode="auto">
          <a:xfrm>
            <a:off x="7945129" y="4562475"/>
            <a:ext cx="601663" cy="431800"/>
          </a:xfrm>
          <a:custGeom>
            <a:avLst/>
            <a:gdLst>
              <a:gd name="T0" fmla="*/ 159 w 160"/>
              <a:gd name="T1" fmla="*/ 37 h 114"/>
              <a:gd name="T2" fmla="*/ 157 w 160"/>
              <a:gd name="T3" fmla="*/ 38 h 114"/>
              <a:gd name="T4" fmla="*/ 155 w 160"/>
              <a:gd name="T5" fmla="*/ 37 h 114"/>
              <a:gd name="T6" fmla="*/ 80 w 160"/>
              <a:gd name="T7" fmla="*/ 6 h 114"/>
              <a:gd name="T8" fmla="*/ 5 w 160"/>
              <a:gd name="T9" fmla="*/ 37 h 114"/>
              <a:gd name="T10" fmla="*/ 1 w 160"/>
              <a:gd name="T11" fmla="*/ 37 h 114"/>
              <a:gd name="T12" fmla="*/ 1 w 160"/>
              <a:gd name="T13" fmla="*/ 33 h 114"/>
              <a:gd name="T14" fmla="*/ 80 w 160"/>
              <a:gd name="T15" fmla="*/ 0 h 114"/>
              <a:gd name="T16" fmla="*/ 159 w 160"/>
              <a:gd name="T17" fmla="*/ 33 h 114"/>
              <a:gd name="T18" fmla="*/ 159 w 160"/>
              <a:gd name="T19" fmla="*/ 37 h 114"/>
              <a:gd name="T20" fmla="*/ 18 w 160"/>
              <a:gd name="T21" fmla="*/ 50 h 114"/>
              <a:gd name="T22" fmla="*/ 18 w 160"/>
              <a:gd name="T23" fmla="*/ 54 h 114"/>
              <a:gd name="T24" fmla="*/ 20 w 160"/>
              <a:gd name="T25" fmla="*/ 55 h 114"/>
              <a:gd name="T26" fmla="*/ 22 w 160"/>
              <a:gd name="T27" fmla="*/ 54 h 114"/>
              <a:gd name="T28" fmla="*/ 138 w 160"/>
              <a:gd name="T29" fmla="*/ 54 h 114"/>
              <a:gd name="T30" fmla="*/ 142 w 160"/>
              <a:gd name="T31" fmla="*/ 54 h 114"/>
              <a:gd name="T32" fmla="*/ 142 w 160"/>
              <a:gd name="T33" fmla="*/ 50 h 114"/>
              <a:gd name="T34" fmla="*/ 18 w 160"/>
              <a:gd name="T35" fmla="*/ 50 h 114"/>
              <a:gd name="T36" fmla="*/ 80 w 160"/>
              <a:gd name="T37" fmla="*/ 48 h 114"/>
              <a:gd name="T38" fmla="*/ 35 w 160"/>
              <a:gd name="T39" fmla="*/ 67 h 114"/>
              <a:gd name="T40" fmla="*/ 35 w 160"/>
              <a:gd name="T41" fmla="*/ 71 h 114"/>
              <a:gd name="T42" fmla="*/ 39 w 160"/>
              <a:gd name="T43" fmla="*/ 71 h 114"/>
              <a:gd name="T44" fmla="*/ 80 w 160"/>
              <a:gd name="T45" fmla="*/ 54 h 114"/>
              <a:gd name="T46" fmla="*/ 121 w 160"/>
              <a:gd name="T47" fmla="*/ 71 h 114"/>
              <a:gd name="T48" fmla="*/ 123 w 160"/>
              <a:gd name="T49" fmla="*/ 72 h 114"/>
              <a:gd name="T50" fmla="*/ 125 w 160"/>
              <a:gd name="T51" fmla="*/ 71 h 114"/>
              <a:gd name="T52" fmla="*/ 125 w 160"/>
              <a:gd name="T53" fmla="*/ 67 h 114"/>
              <a:gd name="T54" fmla="*/ 80 w 160"/>
              <a:gd name="T55" fmla="*/ 48 h 114"/>
              <a:gd name="T56" fmla="*/ 99 w 160"/>
              <a:gd name="T57" fmla="*/ 95 h 114"/>
              <a:gd name="T58" fmla="*/ 80 w 160"/>
              <a:gd name="T59" fmla="*/ 114 h 114"/>
              <a:gd name="T60" fmla="*/ 61 w 160"/>
              <a:gd name="T61" fmla="*/ 95 h 114"/>
              <a:gd name="T62" fmla="*/ 80 w 160"/>
              <a:gd name="T63" fmla="*/ 76 h 114"/>
              <a:gd name="T64" fmla="*/ 99 w 160"/>
              <a:gd name="T65" fmla="*/ 95 h 114"/>
              <a:gd name="T66" fmla="*/ 93 w 160"/>
              <a:gd name="T67" fmla="*/ 95 h 114"/>
              <a:gd name="T68" fmla="*/ 80 w 160"/>
              <a:gd name="T69" fmla="*/ 82 h 114"/>
              <a:gd name="T70" fmla="*/ 67 w 160"/>
              <a:gd name="T71" fmla="*/ 95 h 114"/>
              <a:gd name="T72" fmla="*/ 80 w 160"/>
              <a:gd name="T73" fmla="*/ 108 h 114"/>
              <a:gd name="T74" fmla="*/ 93 w 160"/>
              <a:gd name="T75"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14">
                <a:moveTo>
                  <a:pt x="159" y="37"/>
                </a:moveTo>
                <a:cubicBezTo>
                  <a:pt x="159" y="37"/>
                  <a:pt x="158" y="38"/>
                  <a:pt x="157" y="38"/>
                </a:cubicBezTo>
                <a:cubicBezTo>
                  <a:pt x="156" y="38"/>
                  <a:pt x="156" y="37"/>
                  <a:pt x="155" y="37"/>
                </a:cubicBezTo>
                <a:cubicBezTo>
                  <a:pt x="135" y="17"/>
                  <a:pt x="108" y="6"/>
                  <a:pt x="80" y="6"/>
                </a:cubicBezTo>
                <a:cubicBezTo>
                  <a:pt x="52" y="6"/>
                  <a:pt x="25" y="17"/>
                  <a:pt x="5" y="37"/>
                </a:cubicBezTo>
                <a:cubicBezTo>
                  <a:pt x="4" y="38"/>
                  <a:pt x="2" y="38"/>
                  <a:pt x="1" y="37"/>
                </a:cubicBezTo>
                <a:cubicBezTo>
                  <a:pt x="0" y="36"/>
                  <a:pt x="0" y="34"/>
                  <a:pt x="1" y="33"/>
                </a:cubicBezTo>
                <a:cubicBezTo>
                  <a:pt x="22" y="12"/>
                  <a:pt x="50" y="0"/>
                  <a:pt x="80" y="0"/>
                </a:cubicBezTo>
                <a:cubicBezTo>
                  <a:pt x="110" y="0"/>
                  <a:pt x="138" y="12"/>
                  <a:pt x="159" y="33"/>
                </a:cubicBezTo>
                <a:cubicBezTo>
                  <a:pt x="160" y="34"/>
                  <a:pt x="160" y="36"/>
                  <a:pt x="159" y="37"/>
                </a:cubicBezTo>
                <a:close/>
                <a:moveTo>
                  <a:pt x="18" y="50"/>
                </a:moveTo>
                <a:cubicBezTo>
                  <a:pt x="17" y="51"/>
                  <a:pt x="17" y="53"/>
                  <a:pt x="18" y="54"/>
                </a:cubicBezTo>
                <a:cubicBezTo>
                  <a:pt x="19" y="55"/>
                  <a:pt x="19" y="55"/>
                  <a:pt x="20" y="55"/>
                </a:cubicBezTo>
                <a:cubicBezTo>
                  <a:pt x="21" y="55"/>
                  <a:pt x="22" y="55"/>
                  <a:pt x="22" y="54"/>
                </a:cubicBezTo>
                <a:cubicBezTo>
                  <a:pt x="54" y="22"/>
                  <a:pt x="106" y="22"/>
                  <a:pt x="138" y="54"/>
                </a:cubicBezTo>
                <a:cubicBezTo>
                  <a:pt x="139" y="55"/>
                  <a:pt x="141" y="55"/>
                  <a:pt x="142" y="54"/>
                </a:cubicBezTo>
                <a:cubicBezTo>
                  <a:pt x="143" y="53"/>
                  <a:pt x="143" y="51"/>
                  <a:pt x="142" y="50"/>
                </a:cubicBezTo>
                <a:cubicBezTo>
                  <a:pt x="108" y="16"/>
                  <a:pt x="52" y="16"/>
                  <a:pt x="18" y="50"/>
                </a:cubicBezTo>
                <a:close/>
                <a:moveTo>
                  <a:pt x="80" y="48"/>
                </a:moveTo>
                <a:cubicBezTo>
                  <a:pt x="63" y="48"/>
                  <a:pt x="47" y="55"/>
                  <a:pt x="35" y="67"/>
                </a:cubicBezTo>
                <a:cubicBezTo>
                  <a:pt x="34" y="68"/>
                  <a:pt x="34" y="70"/>
                  <a:pt x="35" y="71"/>
                </a:cubicBezTo>
                <a:cubicBezTo>
                  <a:pt x="36" y="72"/>
                  <a:pt x="38" y="72"/>
                  <a:pt x="39" y="71"/>
                </a:cubicBezTo>
                <a:cubicBezTo>
                  <a:pt x="50" y="60"/>
                  <a:pt x="65" y="54"/>
                  <a:pt x="80" y="54"/>
                </a:cubicBezTo>
                <a:cubicBezTo>
                  <a:pt x="95" y="54"/>
                  <a:pt x="110" y="60"/>
                  <a:pt x="121" y="71"/>
                </a:cubicBezTo>
                <a:cubicBezTo>
                  <a:pt x="121" y="72"/>
                  <a:pt x="122" y="72"/>
                  <a:pt x="123" y="72"/>
                </a:cubicBezTo>
                <a:cubicBezTo>
                  <a:pt x="124" y="72"/>
                  <a:pt x="124" y="72"/>
                  <a:pt x="125" y="71"/>
                </a:cubicBezTo>
                <a:cubicBezTo>
                  <a:pt x="126" y="70"/>
                  <a:pt x="126" y="68"/>
                  <a:pt x="125" y="67"/>
                </a:cubicBezTo>
                <a:cubicBezTo>
                  <a:pt x="113" y="55"/>
                  <a:pt x="97" y="48"/>
                  <a:pt x="80" y="48"/>
                </a:cubicBezTo>
                <a:close/>
                <a:moveTo>
                  <a:pt x="99" y="95"/>
                </a:moveTo>
                <a:cubicBezTo>
                  <a:pt x="99" y="105"/>
                  <a:pt x="91" y="114"/>
                  <a:pt x="80" y="114"/>
                </a:cubicBezTo>
                <a:cubicBezTo>
                  <a:pt x="69" y="114"/>
                  <a:pt x="61" y="105"/>
                  <a:pt x="61" y="95"/>
                </a:cubicBezTo>
                <a:cubicBezTo>
                  <a:pt x="61" y="84"/>
                  <a:pt x="69" y="76"/>
                  <a:pt x="80" y="76"/>
                </a:cubicBezTo>
                <a:cubicBezTo>
                  <a:pt x="91" y="76"/>
                  <a:pt x="99" y="84"/>
                  <a:pt x="99" y="95"/>
                </a:cubicBezTo>
                <a:close/>
                <a:moveTo>
                  <a:pt x="93" y="95"/>
                </a:moveTo>
                <a:cubicBezTo>
                  <a:pt x="93" y="88"/>
                  <a:pt x="87" y="82"/>
                  <a:pt x="80" y="82"/>
                </a:cubicBezTo>
                <a:cubicBezTo>
                  <a:pt x="73" y="82"/>
                  <a:pt x="67" y="88"/>
                  <a:pt x="67" y="95"/>
                </a:cubicBezTo>
                <a:cubicBezTo>
                  <a:pt x="67" y="102"/>
                  <a:pt x="73" y="108"/>
                  <a:pt x="80" y="108"/>
                </a:cubicBezTo>
                <a:cubicBezTo>
                  <a:pt x="87" y="108"/>
                  <a:pt x="93" y="102"/>
                  <a:pt x="93" y="9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75">
            <a:extLst>
              <a:ext uri="{FF2B5EF4-FFF2-40B4-BE49-F238E27FC236}">
                <a16:creationId xmlns:a16="http://schemas.microsoft.com/office/drawing/2014/main" id="{CE3740C2-2CD5-6C4A-8E88-C3E18EF6E7B3}"/>
              </a:ext>
            </a:extLst>
          </p:cNvPr>
          <p:cNvSpPr>
            <a:spLocks noEditPoints="1"/>
          </p:cNvSpPr>
          <p:nvPr/>
        </p:nvSpPr>
        <p:spPr bwMode="auto">
          <a:xfrm>
            <a:off x="7945129" y="5229225"/>
            <a:ext cx="601663" cy="484188"/>
          </a:xfrm>
          <a:custGeom>
            <a:avLst/>
            <a:gdLst>
              <a:gd name="T0" fmla="*/ 334 w 379"/>
              <a:gd name="T1" fmla="*/ 88 h 305"/>
              <a:gd name="T2" fmla="*/ 334 w 379"/>
              <a:gd name="T3" fmla="*/ 45 h 305"/>
              <a:gd name="T4" fmla="*/ 291 w 379"/>
              <a:gd name="T5" fmla="*/ 45 h 305"/>
              <a:gd name="T6" fmla="*/ 291 w 379"/>
              <a:gd name="T7" fmla="*/ 0 h 305"/>
              <a:gd name="T8" fmla="*/ 0 w 379"/>
              <a:gd name="T9" fmla="*/ 0 h 305"/>
              <a:gd name="T10" fmla="*/ 0 w 379"/>
              <a:gd name="T11" fmla="*/ 217 h 305"/>
              <a:gd name="T12" fmla="*/ 45 w 379"/>
              <a:gd name="T13" fmla="*/ 217 h 305"/>
              <a:gd name="T14" fmla="*/ 45 w 379"/>
              <a:gd name="T15" fmla="*/ 259 h 305"/>
              <a:gd name="T16" fmla="*/ 88 w 379"/>
              <a:gd name="T17" fmla="*/ 259 h 305"/>
              <a:gd name="T18" fmla="*/ 88 w 379"/>
              <a:gd name="T19" fmla="*/ 305 h 305"/>
              <a:gd name="T20" fmla="*/ 379 w 379"/>
              <a:gd name="T21" fmla="*/ 305 h 305"/>
              <a:gd name="T22" fmla="*/ 379 w 379"/>
              <a:gd name="T23" fmla="*/ 88 h 305"/>
              <a:gd name="T24" fmla="*/ 334 w 379"/>
              <a:gd name="T25" fmla="*/ 88 h 305"/>
              <a:gd name="T26" fmla="*/ 12 w 379"/>
              <a:gd name="T27" fmla="*/ 202 h 305"/>
              <a:gd name="T28" fmla="*/ 12 w 379"/>
              <a:gd name="T29" fmla="*/ 11 h 305"/>
              <a:gd name="T30" fmla="*/ 277 w 379"/>
              <a:gd name="T31" fmla="*/ 11 h 305"/>
              <a:gd name="T32" fmla="*/ 277 w 379"/>
              <a:gd name="T33" fmla="*/ 45 h 305"/>
              <a:gd name="T34" fmla="*/ 45 w 379"/>
              <a:gd name="T35" fmla="*/ 45 h 305"/>
              <a:gd name="T36" fmla="*/ 45 w 379"/>
              <a:gd name="T37" fmla="*/ 202 h 305"/>
              <a:gd name="T38" fmla="*/ 12 w 379"/>
              <a:gd name="T39" fmla="*/ 202 h 305"/>
              <a:gd name="T40" fmla="*/ 57 w 379"/>
              <a:gd name="T41" fmla="*/ 248 h 305"/>
              <a:gd name="T42" fmla="*/ 57 w 379"/>
              <a:gd name="T43" fmla="*/ 217 h 305"/>
              <a:gd name="T44" fmla="*/ 57 w 379"/>
              <a:gd name="T45" fmla="*/ 57 h 305"/>
              <a:gd name="T46" fmla="*/ 291 w 379"/>
              <a:gd name="T47" fmla="*/ 57 h 305"/>
              <a:gd name="T48" fmla="*/ 322 w 379"/>
              <a:gd name="T49" fmla="*/ 57 h 305"/>
              <a:gd name="T50" fmla="*/ 322 w 379"/>
              <a:gd name="T51" fmla="*/ 88 h 305"/>
              <a:gd name="T52" fmla="*/ 88 w 379"/>
              <a:gd name="T53" fmla="*/ 88 h 305"/>
              <a:gd name="T54" fmla="*/ 88 w 379"/>
              <a:gd name="T55" fmla="*/ 248 h 305"/>
              <a:gd name="T56" fmla="*/ 57 w 379"/>
              <a:gd name="T57" fmla="*/ 248 h 305"/>
              <a:gd name="T58" fmla="*/ 367 w 379"/>
              <a:gd name="T59" fmla="*/ 293 h 305"/>
              <a:gd name="T60" fmla="*/ 102 w 379"/>
              <a:gd name="T61" fmla="*/ 293 h 305"/>
              <a:gd name="T62" fmla="*/ 102 w 379"/>
              <a:gd name="T63" fmla="*/ 259 h 305"/>
              <a:gd name="T64" fmla="*/ 102 w 379"/>
              <a:gd name="T65" fmla="*/ 102 h 305"/>
              <a:gd name="T66" fmla="*/ 334 w 379"/>
              <a:gd name="T67" fmla="*/ 102 h 305"/>
              <a:gd name="T68" fmla="*/ 367 w 379"/>
              <a:gd name="T69" fmla="*/ 102 h 305"/>
              <a:gd name="T70" fmla="*/ 367 w 379"/>
              <a:gd name="T71" fmla="*/ 29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9" h="305">
                <a:moveTo>
                  <a:pt x="334" y="88"/>
                </a:moveTo>
                <a:lnTo>
                  <a:pt x="334" y="45"/>
                </a:lnTo>
                <a:lnTo>
                  <a:pt x="291" y="45"/>
                </a:lnTo>
                <a:lnTo>
                  <a:pt x="291" y="0"/>
                </a:lnTo>
                <a:lnTo>
                  <a:pt x="0" y="0"/>
                </a:lnTo>
                <a:lnTo>
                  <a:pt x="0" y="217"/>
                </a:lnTo>
                <a:lnTo>
                  <a:pt x="45" y="217"/>
                </a:lnTo>
                <a:lnTo>
                  <a:pt x="45" y="259"/>
                </a:lnTo>
                <a:lnTo>
                  <a:pt x="88" y="259"/>
                </a:lnTo>
                <a:lnTo>
                  <a:pt x="88" y="305"/>
                </a:lnTo>
                <a:lnTo>
                  <a:pt x="379" y="305"/>
                </a:lnTo>
                <a:lnTo>
                  <a:pt x="379" y="88"/>
                </a:lnTo>
                <a:lnTo>
                  <a:pt x="334" y="88"/>
                </a:lnTo>
                <a:close/>
                <a:moveTo>
                  <a:pt x="12" y="202"/>
                </a:moveTo>
                <a:lnTo>
                  <a:pt x="12" y="11"/>
                </a:lnTo>
                <a:lnTo>
                  <a:pt x="277" y="11"/>
                </a:lnTo>
                <a:lnTo>
                  <a:pt x="277" y="45"/>
                </a:lnTo>
                <a:lnTo>
                  <a:pt x="45" y="45"/>
                </a:lnTo>
                <a:lnTo>
                  <a:pt x="45" y="202"/>
                </a:lnTo>
                <a:lnTo>
                  <a:pt x="12" y="202"/>
                </a:lnTo>
                <a:close/>
                <a:moveTo>
                  <a:pt x="57" y="248"/>
                </a:moveTo>
                <a:lnTo>
                  <a:pt x="57" y="217"/>
                </a:lnTo>
                <a:lnTo>
                  <a:pt x="57" y="57"/>
                </a:lnTo>
                <a:lnTo>
                  <a:pt x="291" y="57"/>
                </a:lnTo>
                <a:lnTo>
                  <a:pt x="322" y="57"/>
                </a:lnTo>
                <a:lnTo>
                  <a:pt x="322" y="88"/>
                </a:lnTo>
                <a:lnTo>
                  <a:pt x="88" y="88"/>
                </a:lnTo>
                <a:lnTo>
                  <a:pt x="88" y="248"/>
                </a:lnTo>
                <a:lnTo>
                  <a:pt x="57" y="248"/>
                </a:lnTo>
                <a:close/>
                <a:moveTo>
                  <a:pt x="367" y="293"/>
                </a:moveTo>
                <a:lnTo>
                  <a:pt x="102" y="293"/>
                </a:lnTo>
                <a:lnTo>
                  <a:pt x="102" y="259"/>
                </a:lnTo>
                <a:lnTo>
                  <a:pt x="102" y="102"/>
                </a:lnTo>
                <a:lnTo>
                  <a:pt x="334" y="102"/>
                </a:lnTo>
                <a:lnTo>
                  <a:pt x="367" y="102"/>
                </a:lnTo>
                <a:lnTo>
                  <a:pt x="367" y="293"/>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76">
            <a:extLst>
              <a:ext uri="{FF2B5EF4-FFF2-40B4-BE49-F238E27FC236}">
                <a16:creationId xmlns:a16="http://schemas.microsoft.com/office/drawing/2014/main" id="{765585C7-0E57-6441-8C50-4470516AD558}"/>
              </a:ext>
            </a:extLst>
          </p:cNvPr>
          <p:cNvSpPr>
            <a:spLocks noEditPoints="1"/>
          </p:cNvSpPr>
          <p:nvPr/>
        </p:nvSpPr>
        <p:spPr bwMode="auto">
          <a:xfrm>
            <a:off x="7945129" y="5894388"/>
            <a:ext cx="601663" cy="500063"/>
          </a:xfrm>
          <a:custGeom>
            <a:avLst/>
            <a:gdLst>
              <a:gd name="T0" fmla="*/ 379 w 379"/>
              <a:gd name="T1" fmla="*/ 53 h 315"/>
              <a:gd name="T2" fmla="*/ 353 w 379"/>
              <a:gd name="T3" fmla="*/ 53 h 315"/>
              <a:gd name="T4" fmla="*/ 353 w 379"/>
              <a:gd name="T5" fmla="*/ 26 h 315"/>
              <a:gd name="T6" fmla="*/ 327 w 379"/>
              <a:gd name="T7" fmla="*/ 26 h 315"/>
              <a:gd name="T8" fmla="*/ 327 w 379"/>
              <a:gd name="T9" fmla="*/ 0 h 315"/>
              <a:gd name="T10" fmla="*/ 52 w 379"/>
              <a:gd name="T11" fmla="*/ 0 h 315"/>
              <a:gd name="T12" fmla="*/ 52 w 379"/>
              <a:gd name="T13" fmla="*/ 26 h 315"/>
              <a:gd name="T14" fmla="*/ 26 w 379"/>
              <a:gd name="T15" fmla="*/ 26 h 315"/>
              <a:gd name="T16" fmla="*/ 26 w 379"/>
              <a:gd name="T17" fmla="*/ 53 h 315"/>
              <a:gd name="T18" fmla="*/ 0 w 379"/>
              <a:gd name="T19" fmla="*/ 53 h 315"/>
              <a:gd name="T20" fmla="*/ 0 w 379"/>
              <a:gd name="T21" fmla="*/ 262 h 315"/>
              <a:gd name="T22" fmla="*/ 26 w 379"/>
              <a:gd name="T23" fmla="*/ 262 h 315"/>
              <a:gd name="T24" fmla="*/ 26 w 379"/>
              <a:gd name="T25" fmla="*/ 289 h 315"/>
              <a:gd name="T26" fmla="*/ 52 w 379"/>
              <a:gd name="T27" fmla="*/ 289 h 315"/>
              <a:gd name="T28" fmla="*/ 52 w 379"/>
              <a:gd name="T29" fmla="*/ 315 h 315"/>
              <a:gd name="T30" fmla="*/ 327 w 379"/>
              <a:gd name="T31" fmla="*/ 315 h 315"/>
              <a:gd name="T32" fmla="*/ 327 w 379"/>
              <a:gd name="T33" fmla="*/ 289 h 315"/>
              <a:gd name="T34" fmla="*/ 353 w 379"/>
              <a:gd name="T35" fmla="*/ 289 h 315"/>
              <a:gd name="T36" fmla="*/ 353 w 379"/>
              <a:gd name="T37" fmla="*/ 262 h 315"/>
              <a:gd name="T38" fmla="*/ 379 w 379"/>
              <a:gd name="T39" fmla="*/ 262 h 315"/>
              <a:gd name="T40" fmla="*/ 379 w 379"/>
              <a:gd name="T41" fmla="*/ 53 h 315"/>
              <a:gd name="T42" fmla="*/ 15 w 379"/>
              <a:gd name="T43" fmla="*/ 250 h 315"/>
              <a:gd name="T44" fmla="*/ 15 w 379"/>
              <a:gd name="T45" fmla="*/ 67 h 315"/>
              <a:gd name="T46" fmla="*/ 26 w 379"/>
              <a:gd name="T47" fmla="*/ 67 h 315"/>
              <a:gd name="T48" fmla="*/ 26 w 379"/>
              <a:gd name="T49" fmla="*/ 250 h 315"/>
              <a:gd name="T50" fmla="*/ 15 w 379"/>
              <a:gd name="T51" fmla="*/ 250 h 315"/>
              <a:gd name="T52" fmla="*/ 41 w 379"/>
              <a:gd name="T53" fmla="*/ 277 h 315"/>
              <a:gd name="T54" fmla="*/ 41 w 379"/>
              <a:gd name="T55" fmla="*/ 262 h 315"/>
              <a:gd name="T56" fmla="*/ 41 w 379"/>
              <a:gd name="T57" fmla="*/ 53 h 315"/>
              <a:gd name="T58" fmla="*/ 41 w 379"/>
              <a:gd name="T59" fmla="*/ 41 h 315"/>
              <a:gd name="T60" fmla="*/ 52 w 379"/>
              <a:gd name="T61" fmla="*/ 41 h 315"/>
              <a:gd name="T62" fmla="*/ 52 w 379"/>
              <a:gd name="T63" fmla="*/ 277 h 315"/>
              <a:gd name="T64" fmla="*/ 41 w 379"/>
              <a:gd name="T65" fmla="*/ 277 h 315"/>
              <a:gd name="T66" fmla="*/ 313 w 379"/>
              <a:gd name="T67" fmla="*/ 303 h 315"/>
              <a:gd name="T68" fmla="*/ 67 w 379"/>
              <a:gd name="T69" fmla="*/ 303 h 315"/>
              <a:gd name="T70" fmla="*/ 67 w 379"/>
              <a:gd name="T71" fmla="*/ 289 h 315"/>
              <a:gd name="T72" fmla="*/ 67 w 379"/>
              <a:gd name="T73" fmla="*/ 26 h 315"/>
              <a:gd name="T74" fmla="*/ 67 w 379"/>
              <a:gd name="T75" fmla="*/ 14 h 315"/>
              <a:gd name="T76" fmla="*/ 313 w 379"/>
              <a:gd name="T77" fmla="*/ 14 h 315"/>
              <a:gd name="T78" fmla="*/ 313 w 379"/>
              <a:gd name="T79" fmla="*/ 26 h 315"/>
              <a:gd name="T80" fmla="*/ 313 w 379"/>
              <a:gd name="T81" fmla="*/ 289 h 315"/>
              <a:gd name="T82" fmla="*/ 313 w 379"/>
              <a:gd name="T83" fmla="*/ 303 h 315"/>
              <a:gd name="T84" fmla="*/ 339 w 379"/>
              <a:gd name="T85" fmla="*/ 277 h 315"/>
              <a:gd name="T86" fmla="*/ 327 w 379"/>
              <a:gd name="T87" fmla="*/ 277 h 315"/>
              <a:gd name="T88" fmla="*/ 327 w 379"/>
              <a:gd name="T89" fmla="*/ 41 h 315"/>
              <a:gd name="T90" fmla="*/ 339 w 379"/>
              <a:gd name="T91" fmla="*/ 41 h 315"/>
              <a:gd name="T92" fmla="*/ 339 w 379"/>
              <a:gd name="T93" fmla="*/ 53 h 315"/>
              <a:gd name="T94" fmla="*/ 339 w 379"/>
              <a:gd name="T95" fmla="*/ 262 h 315"/>
              <a:gd name="T96" fmla="*/ 339 w 379"/>
              <a:gd name="T97" fmla="*/ 277 h 315"/>
              <a:gd name="T98" fmla="*/ 365 w 379"/>
              <a:gd name="T99" fmla="*/ 250 h 315"/>
              <a:gd name="T100" fmla="*/ 353 w 379"/>
              <a:gd name="T101" fmla="*/ 250 h 315"/>
              <a:gd name="T102" fmla="*/ 353 w 379"/>
              <a:gd name="T103" fmla="*/ 67 h 315"/>
              <a:gd name="T104" fmla="*/ 365 w 379"/>
              <a:gd name="T105" fmla="*/ 67 h 315"/>
              <a:gd name="T106" fmla="*/ 365 w 379"/>
              <a:gd name="T107" fmla="*/ 25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9" h="315">
                <a:moveTo>
                  <a:pt x="379" y="53"/>
                </a:moveTo>
                <a:lnTo>
                  <a:pt x="353" y="53"/>
                </a:lnTo>
                <a:lnTo>
                  <a:pt x="353" y="26"/>
                </a:lnTo>
                <a:lnTo>
                  <a:pt x="327" y="26"/>
                </a:lnTo>
                <a:lnTo>
                  <a:pt x="327" y="0"/>
                </a:lnTo>
                <a:lnTo>
                  <a:pt x="52" y="0"/>
                </a:lnTo>
                <a:lnTo>
                  <a:pt x="52" y="26"/>
                </a:lnTo>
                <a:lnTo>
                  <a:pt x="26" y="26"/>
                </a:lnTo>
                <a:lnTo>
                  <a:pt x="26" y="53"/>
                </a:lnTo>
                <a:lnTo>
                  <a:pt x="0" y="53"/>
                </a:lnTo>
                <a:lnTo>
                  <a:pt x="0" y="262"/>
                </a:lnTo>
                <a:lnTo>
                  <a:pt x="26" y="262"/>
                </a:lnTo>
                <a:lnTo>
                  <a:pt x="26" y="289"/>
                </a:lnTo>
                <a:lnTo>
                  <a:pt x="52" y="289"/>
                </a:lnTo>
                <a:lnTo>
                  <a:pt x="52" y="315"/>
                </a:lnTo>
                <a:lnTo>
                  <a:pt x="327" y="315"/>
                </a:lnTo>
                <a:lnTo>
                  <a:pt x="327" y="289"/>
                </a:lnTo>
                <a:lnTo>
                  <a:pt x="353" y="289"/>
                </a:lnTo>
                <a:lnTo>
                  <a:pt x="353" y="262"/>
                </a:lnTo>
                <a:lnTo>
                  <a:pt x="379" y="262"/>
                </a:lnTo>
                <a:lnTo>
                  <a:pt x="379" y="53"/>
                </a:lnTo>
                <a:close/>
                <a:moveTo>
                  <a:pt x="15" y="250"/>
                </a:moveTo>
                <a:lnTo>
                  <a:pt x="15" y="67"/>
                </a:lnTo>
                <a:lnTo>
                  <a:pt x="26" y="67"/>
                </a:lnTo>
                <a:lnTo>
                  <a:pt x="26" y="250"/>
                </a:lnTo>
                <a:lnTo>
                  <a:pt x="15" y="250"/>
                </a:lnTo>
                <a:close/>
                <a:moveTo>
                  <a:pt x="41" y="277"/>
                </a:moveTo>
                <a:lnTo>
                  <a:pt x="41" y="262"/>
                </a:lnTo>
                <a:lnTo>
                  <a:pt x="41" y="53"/>
                </a:lnTo>
                <a:lnTo>
                  <a:pt x="41" y="41"/>
                </a:lnTo>
                <a:lnTo>
                  <a:pt x="52" y="41"/>
                </a:lnTo>
                <a:lnTo>
                  <a:pt x="52" y="277"/>
                </a:lnTo>
                <a:lnTo>
                  <a:pt x="41" y="277"/>
                </a:lnTo>
                <a:close/>
                <a:moveTo>
                  <a:pt x="313" y="303"/>
                </a:moveTo>
                <a:lnTo>
                  <a:pt x="67" y="303"/>
                </a:lnTo>
                <a:lnTo>
                  <a:pt x="67" y="289"/>
                </a:lnTo>
                <a:lnTo>
                  <a:pt x="67" y="26"/>
                </a:lnTo>
                <a:lnTo>
                  <a:pt x="67" y="14"/>
                </a:lnTo>
                <a:lnTo>
                  <a:pt x="313" y="14"/>
                </a:lnTo>
                <a:lnTo>
                  <a:pt x="313" y="26"/>
                </a:lnTo>
                <a:lnTo>
                  <a:pt x="313" y="289"/>
                </a:lnTo>
                <a:lnTo>
                  <a:pt x="313" y="303"/>
                </a:lnTo>
                <a:close/>
                <a:moveTo>
                  <a:pt x="339" y="277"/>
                </a:moveTo>
                <a:lnTo>
                  <a:pt x="327" y="277"/>
                </a:lnTo>
                <a:lnTo>
                  <a:pt x="327" y="41"/>
                </a:lnTo>
                <a:lnTo>
                  <a:pt x="339" y="41"/>
                </a:lnTo>
                <a:lnTo>
                  <a:pt x="339" y="53"/>
                </a:lnTo>
                <a:lnTo>
                  <a:pt x="339" y="262"/>
                </a:lnTo>
                <a:lnTo>
                  <a:pt x="339" y="277"/>
                </a:lnTo>
                <a:close/>
                <a:moveTo>
                  <a:pt x="365" y="250"/>
                </a:moveTo>
                <a:lnTo>
                  <a:pt x="353" y="250"/>
                </a:lnTo>
                <a:lnTo>
                  <a:pt x="353" y="67"/>
                </a:lnTo>
                <a:lnTo>
                  <a:pt x="365" y="67"/>
                </a:lnTo>
                <a:lnTo>
                  <a:pt x="365" y="250"/>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77">
            <a:extLst>
              <a:ext uri="{FF2B5EF4-FFF2-40B4-BE49-F238E27FC236}">
                <a16:creationId xmlns:a16="http://schemas.microsoft.com/office/drawing/2014/main" id="{CEFB2573-2E89-6F4A-BC1C-5C185FA796F8}"/>
              </a:ext>
            </a:extLst>
          </p:cNvPr>
          <p:cNvSpPr>
            <a:spLocks noEditPoints="1"/>
          </p:cNvSpPr>
          <p:nvPr/>
        </p:nvSpPr>
        <p:spPr bwMode="auto">
          <a:xfrm>
            <a:off x="11008848" y="3154363"/>
            <a:ext cx="600075" cy="484188"/>
          </a:xfrm>
          <a:custGeom>
            <a:avLst/>
            <a:gdLst>
              <a:gd name="T0" fmla="*/ 37 w 160"/>
              <a:gd name="T1" fmla="*/ 19 h 128"/>
              <a:gd name="T2" fmla="*/ 0 w 160"/>
              <a:gd name="T3" fmla="*/ 37 h 128"/>
              <a:gd name="T4" fmla="*/ 123 w 160"/>
              <a:gd name="T5" fmla="*/ 109 h 128"/>
              <a:gd name="T6" fmla="*/ 160 w 160"/>
              <a:gd name="T7" fmla="*/ 91 h 128"/>
              <a:gd name="T8" fmla="*/ 5 w 160"/>
              <a:gd name="T9" fmla="*/ 123 h 128"/>
              <a:gd name="T10" fmla="*/ 19 w 160"/>
              <a:gd name="T11" fmla="*/ 109 h 128"/>
              <a:gd name="T12" fmla="*/ 136 w 160"/>
              <a:gd name="T13" fmla="*/ 104 h 128"/>
              <a:gd name="T14" fmla="*/ 91 w 160"/>
              <a:gd name="T15" fmla="*/ 104 h 128"/>
              <a:gd name="T16" fmla="*/ 43 w 160"/>
              <a:gd name="T17" fmla="*/ 104 h 128"/>
              <a:gd name="T18" fmla="*/ 24 w 160"/>
              <a:gd name="T19" fmla="*/ 101 h 128"/>
              <a:gd name="T20" fmla="*/ 24 w 160"/>
              <a:gd name="T21" fmla="*/ 53 h 128"/>
              <a:gd name="T22" fmla="*/ 37 w 160"/>
              <a:gd name="T23" fmla="*/ 24 h 128"/>
              <a:gd name="T24" fmla="*/ 37 w 160"/>
              <a:gd name="T25" fmla="*/ 61 h 128"/>
              <a:gd name="T26" fmla="*/ 51 w 160"/>
              <a:gd name="T27" fmla="*/ 91 h 128"/>
              <a:gd name="T28" fmla="*/ 99 w 160"/>
              <a:gd name="T29" fmla="*/ 91 h 128"/>
              <a:gd name="T30" fmla="*/ 136 w 160"/>
              <a:gd name="T31" fmla="*/ 91 h 128"/>
              <a:gd name="T32" fmla="*/ 141 w 160"/>
              <a:gd name="T33" fmla="*/ 85 h 128"/>
              <a:gd name="T34" fmla="*/ 43 w 160"/>
              <a:gd name="T35" fmla="*/ 5 h 128"/>
              <a:gd name="T36" fmla="*/ 91 w 160"/>
              <a:gd name="T37" fmla="*/ 99 h 128"/>
              <a:gd name="T38" fmla="*/ 88 w 160"/>
              <a:gd name="T39" fmla="*/ 101 h 128"/>
              <a:gd name="T40" fmla="*/ 101 w 160"/>
              <a:gd name="T41" fmla="*/ 93 h 128"/>
              <a:gd name="T42" fmla="*/ 99 w 160"/>
              <a:gd name="T43" fmla="*/ 91 h 128"/>
              <a:gd name="T44" fmla="*/ 107 w 160"/>
              <a:gd name="T45" fmla="*/ 104 h 128"/>
              <a:gd name="T46" fmla="*/ 123 w 160"/>
              <a:gd name="T47" fmla="*/ 99 h 128"/>
              <a:gd name="T48" fmla="*/ 120 w 160"/>
              <a:gd name="T49" fmla="*/ 101 h 128"/>
              <a:gd name="T50" fmla="*/ 117 w 160"/>
              <a:gd name="T51" fmla="*/ 93 h 128"/>
              <a:gd name="T52" fmla="*/ 115 w 160"/>
              <a:gd name="T53" fmla="*/ 91 h 128"/>
              <a:gd name="T54" fmla="*/ 131 w 160"/>
              <a:gd name="T55" fmla="*/ 96 h 128"/>
              <a:gd name="T56" fmla="*/ 75 w 160"/>
              <a:gd name="T57" fmla="*/ 99 h 128"/>
              <a:gd name="T58" fmla="*/ 72 w 160"/>
              <a:gd name="T59" fmla="*/ 101 h 128"/>
              <a:gd name="T60" fmla="*/ 85 w 160"/>
              <a:gd name="T61" fmla="*/ 93 h 128"/>
              <a:gd name="T62" fmla="*/ 83 w 160"/>
              <a:gd name="T63" fmla="*/ 91 h 128"/>
              <a:gd name="T64" fmla="*/ 27 w 160"/>
              <a:gd name="T65" fmla="*/ 104 h 128"/>
              <a:gd name="T66" fmla="*/ 27 w 160"/>
              <a:gd name="T67" fmla="*/ 83 h 128"/>
              <a:gd name="T68" fmla="*/ 24 w 160"/>
              <a:gd name="T69" fmla="*/ 85 h 128"/>
              <a:gd name="T70" fmla="*/ 37 w 160"/>
              <a:gd name="T71" fmla="*/ 93 h 128"/>
              <a:gd name="T72" fmla="*/ 35 w 160"/>
              <a:gd name="T73" fmla="*/ 91 h 128"/>
              <a:gd name="T74" fmla="*/ 35 w 160"/>
              <a:gd name="T75" fmla="*/ 80 h 128"/>
              <a:gd name="T76" fmla="*/ 43 w 160"/>
              <a:gd name="T77" fmla="*/ 99 h 128"/>
              <a:gd name="T78" fmla="*/ 40 w 160"/>
              <a:gd name="T79" fmla="*/ 101 h 128"/>
              <a:gd name="T80" fmla="*/ 61 w 160"/>
              <a:gd name="T81" fmla="*/ 101 h 128"/>
              <a:gd name="T82" fmla="*/ 59 w 160"/>
              <a:gd name="T83" fmla="*/ 99 h 128"/>
              <a:gd name="T84" fmla="*/ 51 w 160"/>
              <a:gd name="T85" fmla="*/ 96 h 128"/>
              <a:gd name="T86" fmla="*/ 67 w 160"/>
              <a:gd name="T87" fmla="*/ 91 h 128"/>
              <a:gd name="T88" fmla="*/ 64 w 160"/>
              <a:gd name="T89" fmla="*/ 93 h 128"/>
              <a:gd name="T90" fmla="*/ 29 w 160"/>
              <a:gd name="T91" fmla="*/ 69 h 128"/>
              <a:gd name="T92" fmla="*/ 27 w 160"/>
              <a:gd name="T93" fmla="*/ 67 h 128"/>
              <a:gd name="T94" fmla="*/ 27 w 160"/>
              <a:gd name="T95" fmla="*/ 56 h 128"/>
              <a:gd name="T96" fmla="*/ 35 w 160"/>
              <a:gd name="T97" fmla="*/ 59 h 128"/>
              <a:gd name="T98" fmla="*/ 32 w 160"/>
              <a:gd name="T99" fmla="*/ 61 h 128"/>
              <a:gd name="T100" fmla="*/ 37 w 160"/>
              <a:gd name="T101" fmla="*/ 45 h 128"/>
              <a:gd name="T102" fmla="*/ 35 w 160"/>
              <a:gd name="T103" fmla="*/ 43 h 128"/>
              <a:gd name="T104" fmla="*/ 27 w 160"/>
              <a:gd name="T105" fmla="*/ 40 h 128"/>
              <a:gd name="T106" fmla="*/ 35 w 160"/>
              <a:gd name="T107" fmla="*/ 27 h 128"/>
              <a:gd name="T108" fmla="*/ 32 w 160"/>
              <a:gd name="T109" fmla="*/ 2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28">
                <a:moveTo>
                  <a:pt x="160" y="0"/>
                </a:moveTo>
                <a:cubicBezTo>
                  <a:pt x="37" y="0"/>
                  <a:pt x="37" y="0"/>
                  <a:pt x="37" y="0"/>
                </a:cubicBezTo>
                <a:cubicBezTo>
                  <a:pt x="37" y="19"/>
                  <a:pt x="37" y="19"/>
                  <a:pt x="37" y="19"/>
                </a:cubicBezTo>
                <a:cubicBezTo>
                  <a:pt x="19" y="19"/>
                  <a:pt x="19" y="19"/>
                  <a:pt x="19" y="19"/>
                </a:cubicBezTo>
                <a:cubicBezTo>
                  <a:pt x="19" y="37"/>
                  <a:pt x="19" y="37"/>
                  <a:pt x="19" y="37"/>
                </a:cubicBezTo>
                <a:cubicBezTo>
                  <a:pt x="0" y="37"/>
                  <a:pt x="0" y="37"/>
                  <a:pt x="0" y="37"/>
                </a:cubicBezTo>
                <a:cubicBezTo>
                  <a:pt x="0" y="128"/>
                  <a:pt x="0" y="128"/>
                  <a:pt x="0" y="128"/>
                </a:cubicBezTo>
                <a:cubicBezTo>
                  <a:pt x="123" y="128"/>
                  <a:pt x="123" y="128"/>
                  <a:pt x="123" y="128"/>
                </a:cubicBezTo>
                <a:cubicBezTo>
                  <a:pt x="123" y="109"/>
                  <a:pt x="123" y="109"/>
                  <a:pt x="123" y="109"/>
                </a:cubicBezTo>
                <a:cubicBezTo>
                  <a:pt x="141" y="109"/>
                  <a:pt x="141" y="109"/>
                  <a:pt x="141" y="109"/>
                </a:cubicBezTo>
                <a:cubicBezTo>
                  <a:pt x="141" y="91"/>
                  <a:pt x="141" y="91"/>
                  <a:pt x="141" y="91"/>
                </a:cubicBezTo>
                <a:cubicBezTo>
                  <a:pt x="160" y="91"/>
                  <a:pt x="160" y="91"/>
                  <a:pt x="160" y="91"/>
                </a:cubicBezTo>
                <a:lnTo>
                  <a:pt x="160" y="0"/>
                </a:lnTo>
                <a:close/>
                <a:moveTo>
                  <a:pt x="117" y="123"/>
                </a:moveTo>
                <a:cubicBezTo>
                  <a:pt x="5" y="123"/>
                  <a:pt x="5" y="123"/>
                  <a:pt x="5" y="123"/>
                </a:cubicBezTo>
                <a:cubicBezTo>
                  <a:pt x="5" y="43"/>
                  <a:pt x="5" y="43"/>
                  <a:pt x="5" y="43"/>
                </a:cubicBezTo>
                <a:cubicBezTo>
                  <a:pt x="19" y="43"/>
                  <a:pt x="19" y="43"/>
                  <a:pt x="19" y="43"/>
                </a:cubicBezTo>
                <a:cubicBezTo>
                  <a:pt x="19" y="109"/>
                  <a:pt x="19" y="109"/>
                  <a:pt x="19" y="109"/>
                </a:cubicBezTo>
                <a:cubicBezTo>
                  <a:pt x="117" y="109"/>
                  <a:pt x="117" y="109"/>
                  <a:pt x="117" y="109"/>
                </a:cubicBezTo>
                <a:lnTo>
                  <a:pt x="117" y="123"/>
                </a:lnTo>
                <a:close/>
                <a:moveTo>
                  <a:pt x="136" y="104"/>
                </a:moveTo>
                <a:cubicBezTo>
                  <a:pt x="123" y="104"/>
                  <a:pt x="123" y="104"/>
                  <a:pt x="123" y="104"/>
                </a:cubicBezTo>
                <a:cubicBezTo>
                  <a:pt x="107" y="104"/>
                  <a:pt x="107" y="104"/>
                  <a:pt x="107" y="104"/>
                </a:cubicBezTo>
                <a:cubicBezTo>
                  <a:pt x="91" y="104"/>
                  <a:pt x="91" y="104"/>
                  <a:pt x="91" y="104"/>
                </a:cubicBezTo>
                <a:cubicBezTo>
                  <a:pt x="75" y="104"/>
                  <a:pt x="75" y="104"/>
                  <a:pt x="75" y="104"/>
                </a:cubicBezTo>
                <a:cubicBezTo>
                  <a:pt x="59" y="104"/>
                  <a:pt x="59" y="104"/>
                  <a:pt x="59" y="104"/>
                </a:cubicBezTo>
                <a:cubicBezTo>
                  <a:pt x="43" y="104"/>
                  <a:pt x="43" y="104"/>
                  <a:pt x="43" y="104"/>
                </a:cubicBezTo>
                <a:cubicBezTo>
                  <a:pt x="27" y="104"/>
                  <a:pt x="27" y="104"/>
                  <a:pt x="27" y="104"/>
                </a:cubicBezTo>
                <a:cubicBezTo>
                  <a:pt x="24" y="104"/>
                  <a:pt x="24" y="104"/>
                  <a:pt x="24" y="104"/>
                </a:cubicBezTo>
                <a:cubicBezTo>
                  <a:pt x="24" y="101"/>
                  <a:pt x="24" y="101"/>
                  <a:pt x="24" y="101"/>
                </a:cubicBezTo>
                <a:cubicBezTo>
                  <a:pt x="24" y="85"/>
                  <a:pt x="24" y="85"/>
                  <a:pt x="24" y="85"/>
                </a:cubicBezTo>
                <a:cubicBezTo>
                  <a:pt x="24" y="69"/>
                  <a:pt x="24" y="69"/>
                  <a:pt x="24" y="69"/>
                </a:cubicBezTo>
                <a:cubicBezTo>
                  <a:pt x="24" y="53"/>
                  <a:pt x="24" y="53"/>
                  <a:pt x="24" y="53"/>
                </a:cubicBezTo>
                <a:cubicBezTo>
                  <a:pt x="24" y="37"/>
                  <a:pt x="24" y="37"/>
                  <a:pt x="24" y="37"/>
                </a:cubicBezTo>
                <a:cubicBezTo>
                  <a:pt x="24" y="24"/>
                  <a:pt x="24" y="24"/>
                  <a:pt x="24" y="24"/>
                </a:cubicBezTo>
                <a:cubicBezTo>
                  <a:pt x="37" y="24"/>
                  <a:pt x="37" y="24"/>
                  <a:pt x="37" y="24"/>
                </a:cubicBezTo>
                <a:cubicBezTo>
                  <a:pt x="37" y="29"/>
                  <a:pt x="37" y="29"/>
                  <a:pt x="37" y="29"/>
                </a:cubicBezTo>
                <a:cubicBezTo>
                  <a:pt x="37" y="45"/>
                  <a:pt x="37" y="45"/>
                  <a:pt x="37" y="45"/>
                </a:cubicBezTo>
                <a:cubicBezTo>
                  <a:pt x="37" y="61"/>
                  <a:pt x="37" y="61"/>
                  <a:pt x="37" y="61"/>
                </a:cubicBezTo>
                <a:cubicBezTo>
                  <a:pt x="37" y="77"/>
                  <a:pt x="37" y="77"/>
                  <a:pt x="37" y="77"/>
                </a:cubicBezTo>
                <a:cubicBezTo>
                  <a:pt x="37" y="91"/>
                  <a:pt x="37" y="91"/>
                  <a:pt x="37" y="91"/>
                </a:cubicBezTo>
                <a:cubicBezTo>
                  <a:pt x="51" y="91"/>
                  <a:pt x="51" y="91"/>
                  <a:pt x="51" y="91"/>
                </a:cubicBezTo>
                <a:cubicBezTo>
                  <a:pt x="67" y="91"/>
                  <a:pt x="67" y="91"/>
                  <a:pt x="67" y="91"/>
                </a:cubicBezTo>
                <a:cubicBezTo>
                  <a:pt x="83" y="91"/>
                  <a:pt x="83" y="91"/>
                  <a:pt x="83" y="91"/>
                </a:cubicBezTo>
                <a:cubicBezTo>
                  <a:pt x="99" y="91"/>
                  <a:pt x="99" y="91"/>
                  <a:pt x="99" y="91"/>
                </a:cubicBezTo>
                <a:cubicBezTo>
                  <a:pt x="115" y="91"/>
                  <a:pt x="115" y="91"/>
                  <a:pt x="115" y="91"/>
                </a:cubicBezTo>
                <a:cubicBezTo>
                  <a:pt x="131" y="91"/>
                  <a:pt x="131" y="91"/>
                  <a:pt x="131" y="91"/>
                </a:cubicBezTo>
                <a:cubicBezTo>
                  <a:pt x="136" y="91"/>
                  <a:pt x="136" y="91"/>
                  <a:pt x="136" y="91"/>
                </a:cubicBezTo>
                <a:lnTo>
                  <a:pt x="136" y="104"/>
                </a:lnTo>
                <a:close/>
                <a:moveTo>
                  <a:pt x="155" y="85"/>
                </a:moveTo>
                <a:cubicBezTo>
                  <a:pt x="141" y="85"/>
                  <a:pt x="141" y="85"/>
                  <a:pt x="141" y="85"/>
                </a:cubicBezTo>
                <a:cubicBezTo>
                  <a:pt x="43" y="85"/>
                  <a:pt x="43" y="85"/>
                  <a:pt x="43" y="85"/>
                </a:cubicBezTo>
                <a:cubicBezTo>
                  <a:pt x="43" y="19"/>
                  <a:pt x="43" y="19"/>
                  <a:pt x="43" y="19"/>
                </a:cubicBezTo>
                <a:cubicBezTo>
                  <a:pt x="43" y="5"/>
                  <a:pt x="43" y="5"/>
                  <a:pt x="43" y="5"/>
                </a:cubicBezTo>
                <a:cubicBezTo>
                  <a:pt x="155" y="5"/>
                  <a:pt x="155" y="5"/>
                  <a:pt x="155" y="5"/>
                </a:cubicBezTo>
                <a:lnTo>
                  <a:pt x="155" y="85"/>
                </a:lnTo>
                <a:close/>
                <a:moveTo>
                  <a:pt x="91" y="99"/>
                </a:moveTo>
                <a:cubicBezTo>
                  <a:pt x="92" y="99"/>
                  <a:pt x="93" y="100"/>
                  <a:pt x="93" y="101"/>
                </a:cubicBezTo>
                <a:cubicBezTo>
                  <a:pt x="93" y="103"/>
                  <a:pt x="92" y="104"/>
                  <a:pt x="91" y="104"/>
                </a:cubicBezTo>
                <a:cubicBezTo>
                  <a:pt x="89" y="104"/>
                  <a:pt x="88" y="103"/>
                  <a:pt x="88" y="101"/>
                </a:cubicBezTo>
                <a:cubicBezTo>
                  <a:pt x="88" y="100"/>
                  <a:pt x="89" y="99"/>
                  <a:pt x="91" y="99"/>
                </a:cubicBezTo>
                <a:close/>
                <a:moveTo>
                  <a:pt x="99" y="91"/>
                </a:moveTo>
                <a:cubicBezTo>
                  <a:pt x="100" y="91"/>
                  <a:pt x="101" y="92"/>
                  <a:pt x="101" y="93"/>
                </a:cubicBezTo>
                <a:cubicBezTo>
                  <a:pt x="101" y="95"/>
                  <a:pt x="100" y="96"/>
                  <a:pt x="99" y="96"/>
                </a:cubicBezTo>
                <a:cubicBezTo>
                  <a:pt x="97" y="96"/>
                  <a:pt x="96" y="95"/>
                  <a:pt x="96" y="93"/>
                </a:cubicBezTo>
                <a:cubicBezTo>
                  <a:pt x="96" y="92"/>
                  <a:pt x="97" y="91"/>
                  <a:pt x="99" y="91"/>
                </a:cubicBezTo>
                <a:close/>
                <a:moveTo>
                  <a:pt x="107" y="99"/>
                </a:moveTo>
                <a:cubicBezTo>
                  <a:pt x="108" y="99"/>
                  <a:pt x="109" y="100"/>
                  <a:pt x="109" y="101"/>
                </a:cubicBezTo>
                <a:cubicBezTo>
                  <a:pt x="109" y="103"/>
                  <a:pt x="108" y="104"/>
                  <a:pt x="107" y="104"/>
                </a:cubicBezTo>
                <a:cubicBezTo>
                  <a:pt x="105" y="104"/>
                  <a:pt x="104" y="103"/>
                  <a:pt x="104" y="101"/>
                </a:cubicBezTo>
                <a:cubicBezTo>
                  <a:pt x="104" y="100"/>
                  <a:pt x="105" y="99"/>
                  <a:pt x="107" y="99"/>
                </a:cubicBezTo>
                <a:close/>
                <a:moveTo>
                  <a:pt x="123" y="99"/>
                </a:moveTo>
                <a:cubicBezTo>
                  <a:pt x="124" y="99"/>
                  <a:pt x="125" y="100"/>
                  <a:pt x="125" y="101"/>
                </a:cubicBezTo>
                <a:cubicBezTo>
                  <a:pt x="125" y="103"/>
                  <a:pt x="124" y="104"/>
                  <a:pt x="123" y="104"/>
                </a:cubicBezTo>
                <a:cubicBezTo>
                  <a:pt x="121" y="104"/>
                  <a:pt x="120" y="103"/>
                  <a:pt x="120" y="101"/>
                </a:cubicBezTo>
                <a:cubicBezTo>
                  <a:pt x="120" y="100"/>
                  <a:pt x="121" y="99"/>
                  <a:pt x="123" y="99"/>
                </a:cubicBezTo>
                <a:close/>
                <a:moveTo>
                  <a:pt x="115" y="91"/>
                </a:moveTo>
                <a:cubicBezTo>
                  <a:pt x="116" y="91"/>
                  <a:pt x="117" y="92"/>
                  <a:pt x="117" y="93"/>
                </a:cubicBezTo>
                <a:cubicBezTo>
                  <a:pt x="117" y="95"/>
                  <a:pt x="116" y="96"/>
                  <a:pt x="115" y="96"/>
                </a:cubicBezTo>
                <a:cubicBezTo>
                  <a:pt x="113" y="96"/>
                  <a:pt x="112" y="95"/>
                  <a:pt x="112" y="93"/>
                </a:cubicBezTo>
                <a:cubicBezTo>
                  <a:pt x="112" y="92"/>
                  <a:pt x="113" y="91"/>
                  <a:pt x="115" y="91"/>
                </a:cubicBezTo>
                <a:close/>
                <a:moveTo>
                  <a:pt x="131" y="91"/>
                </a:moveTo>
                <a:cubicBezTo>
                  <a:pt x="132" y="91"/>
                  <a:pt x="133" y="92"/>
                  <a:pt x="133" y="93"/>
                </a:cubicBezTo>
                <a:cubicBezTo>
                  <a:pt x="133" y="95"/>
                  <a:pt x="132" y="96"/>
                  <a:pt x="131" y="96"/>
                </a:cubicBezTo>
                <a:cubicBezTo>
                  <a:pt x="129" y="96"/>
                  <a:pt x="128" y="95"/>
                  <a:pt x="128" y="93"/>
                </a:cubicBezTo>
                <a:cubicBezTo>
                  <a:pt x="128" y="92"/>
                  <a:pt x="129" y="91"/>
                  <a:pt x="131" y="91"/>
                </a:cubicBezTo>
                <a:close/>
                <a:moveTo>
                  <a:pt x="75" y="99"/>
                </a:moveTo>
                <a:cubicBezTo>
                  <a:pt x="76" y="99"/>
                  <a:pt x="77" y="100"/>
                  <a:pt x="77" y="101"/>
                </a:cubicBezTo>
                <a:cubicBezTo>
                  <a:pt x="77" y="103"/>
                  <a:pt x="76" y="104"/>
                  <a:pt x="75" y="104"/>
                </a:cubicBezTo>
                <a:cubicBezTo>
                  <a:pt x="73" y="104"/>
                  <a:pt x="72" y="103"/>
                  <a:pt x="72" y="101"/>
                </a:cubicBezTo>
                <a:cubicBezTo>
                  <a:pt x="72" y="100"/>
                  <a:pt x="73" y="99"/>
                  <a:pt x="75" y="99"/>
                </a:cubicBezTo>
                <a:close/>
                <a:moveTo>
                  <a:pt x="83" y="91"/>
                </a:moveTo>
                <a:cubicBezTo>
                  <a:pt x="84" y="91"/>
                  <a:pt x="85" y="92"/>
                  <a:pt x="85" y="93"/>
                </a:cubicBezTo>
                <a:cubicBezTo>
                  <a:pt x="85" y="95"/>
                  <a:pt x="84" y="96"/>
                  <a:pt x="83" y="96"/>
                </a:cubicBezTo>
                <a:cubicBezTo>
                  <a:pt x="81" y="96"/>
                  <a:pt x="80" y="95"/>
                  <a:pt x="80" y="93"/>
                </a:cubicBezTo>
                <a:cubicBezTo>
                  <a:pt x="80" y="92"/>
                  <a:pt x="81" y="91"/>
                  <a:pt x="83" y="91"/>
                </a:cubicBezTo>
                <a:close/>
                <a:moveTo>
                  <a:pt x="27" y="99"/>
                </a:moveTo>
                <a:cubicBezTo>
                  <a:pt x="28" y="99"/>
                  <a:pt x="29" y="100"/>
                  <a:pt x="29" y="101"/>
                </a:cubicBezTo>
                <a:cubicBezTo>
                  <a:pt x="29" y="103"/>
                  <a:pt x="28" y="104"/>
                  <a:pt x="27" y="104"/>
                </a:cubicBezTo>
                <a:cubicBezTo>
                  <a:pt x="25" y="104"/>
                  <a:pt x="24" y="103"/>
                  <a:pt x="24" y="101"/>
                </a:cubicBezTo>
                <a:cubicBezTo>
                  <a:pt x="24" y="100"/>
                  <a:pt x="25" y="99"/>
                  <a:pt x="27" y="99"/>
                </a:cubicBezTo>
                <a:close/>
                <a:moveTo>
                  <a:pt x="27" y="83"/>
                </a:moveTo>
                <a:cubicBezTo>
                  <a:pt x="28" y="83"/>
                  <a:pt x="29" y="84"/>
                  <a:pt x="29" y="85"/>
                </a:cubicBezTo>
                <a:cubicBezTo>
                  <a:pt x="29" y="87"/>
                  <a:pt x="28" y="88"/>
                  <a:pt x="27" y="88"/>
                </a:cubicBezTo>
                <a:cubicBezTo>
                  <a:pt x="25" y="88"/>
                  <a:pt x="24" y="87"/>
                  <a:pt x="24" y="85"/>
                </a:cubicBezTo>
                <a:cubicBezTo>
                  <a:pt x="24" y="84"/>
                  <a:pt x="25" y="83"/>
                  <a:pt x="27" y="83"/>
                </a:cubicBezTo>
                <a:close/>
                <a:moveTo>
                  <a:pt x="35" y="91"/>
                </a:moveTo>
                <a:cubicBezTo>
                  <a:pt x="36" y="91"/>
                  <a:pt x="37" y="92"/>
                  <a:pt x="37" y="93"/>
                </a:cubicBezTo>
                <a:cubicBezTo>
                  <a:pt x="37" y="95"/>
                  <a:pt x="36" y="96"/>
                  <a:pt x="35" y="96"/>
                </a:cubicBezTo>
                <a:cubicBezTo>
                  <a:pt x="33" y="96"/>
                  <a:pt x="32" y="95"/>
                  <a:pt x="32" y="93"/>
                </a:cubicBezTo>
                <a:cubicBezTo>
                  <a:pt x="32" y="92"/>
                  <a:pt x="33" y="91"/>
                  <a:pt x="35" y="91"/>
                </a:cubicBezTo>
                <a:close/>
                <a:moveTo>
                  <a:pt x="35" y="75"/>
                </a:moveTo>
                <a:cubicBezTo>
                  <a:pt x="36" y="75"/>
                  <a:pt x="37" y="76"/>
                  <a:pt x="37" y="77"/>
                </a:cubicBezTo>
                <a:cubicBezTo>
                  <a:pt x="37" y="79"/>
                  <a:pt x="36" y="80"/>
                  <a:pt x="35" y="80"/>
                </a:cubicBezTo>
                <a:cubicBezTo>
                  <a:pt x="33" y="80"/>
                  <a:pt x="32" y="79"/>
                  <a:pt x="32" y="77"/>
                </a:cubicBezTo>
                <a:cubicBezTo>
                  <a:pt x="32" y="76"/>
                  <a:pt x="33" y="75"/>
                  <a:pt x="35" y="75"/>
                </a:cubicBezTo>
                <a:close/>
                <a:moveTo>
                  <a:pt x="43" y="99"/>
                </a:moveTo>
                <a:cubicBezTo>
                  <a:pt x="44" y="99"/>
                  <a:pt x="45" y="100"/>
                  <a:pt x="45" y="101"/>
                </a:cubicBezTo>
                <a:cubicBezTo>
                  <a:pt x="45" y="103"/>
                  <a:pt x="44" y="104"/>
                  <a:pt x="43" y="104"/>
                </a:cubicBezTo>
                <a:cubicBezTo>
                  <a:pt x="41" y="104"/>
                  <a:pt x="40" y="103"/>
                  <a:pt x="40" y="101"/>
                </a:cubicBezTo>
                <a:cubicBezTo>
                  <a:pt x="40" y="100"/>
                  <a:pt x="41" y="99"/>
                  <a:pt x="43" y="99"/>
                </a:cubicBezTo>
                <a:close/>
                <a:moveTo>
                  <a:pt x="59" y="99"/>
                </a:moveTo>
                <a:cubicBezTo>
                  <a:pt x="60" y="99"/>
                  <a:pt x="61" y="100"/>
                  <a:pt x="61" y="101"/>
                </a:cubicBezTo>
                <a:cubicBezTo>
                  <a:pt x="61" y="103"/>
                  <a:pt x="60" y="104"/>
                  <a:pt x="59" y="104"/>
                </a:cubicBezTo>
                <a:cubicBezTo>
                  <a:pt x="57" y="104"/>
                  <a:pt x="56" y="103"/>
                  <a:pt x="56" y="101"/>
                </a:cubicBezTo>
                <a:cubicBezTo>
                  <a:pt x="56" y="100"/>
                  <a:pt x="57" y="99"/>
                  <a:pt x="59" y="99"/>
                </a:cubicBezTo>
                <a:close/>
                <a:moveTo>
                  <a:pt x="51" y="91"/>
                </a:moveTo>
                <a:cubicBezTo>
                  <a:pt x="52" y="91"/>
                  <a:pt x="53" y="92"/>
                  <a:pt x="53" y="93"/>
                </a:cubicBezTo>
                <a:cubicBezTo>
                  <a:pt x="53" y="95"/>
                  <a:pt x="52" y="96"/>
                  <a:pt x="51" y="96"/>
                </a:cubicBezTo>
                <a:cubicBezTo>
                  <a:pt x="49" y="96"/>
                  <a:pt x="48" y="95"/>
                  <a:pt x="48" y="93"/>
                </a:cubicBezTo>
                <a:cubicBezTo>
                  <a:pt x="48" y="92"/>
                  <a:pt x="49" y="91"/>
                  <a:pt x="51" y="91"/>
                </a:cubicBezTo>
                <a:close/>
                <a:moveTo>
                  <a:pt x="67" y="91"/>
                </a:moveTo>
                <a:cubicBezTo>
                  <a:pt x="68" y="91"/>
                  <a:pt x="69" y="92"/>
                  <a:pt x="69" y="93"/>
                </a:cubicBezTo>
                <a:cubicBezTo>
                  <a:pt x="69" y="95"/>
                  <a:pt x="68" y="96"/>
                  <a:pt x="67" y="96"/>
                </a:cubicBezTo>
                <a:cubicBezTo>
                  <a:pt x="65" y="96"/>
                  <a:pt x="64" y="95"/>
                  <a:pt x="64" y="93"/>
                </a:cubicBezTo>
                <a:cubicBezTo>
                  <a:pt x="64" y="92"/>
                  <a:pt x="65" y="91"/>
                  <a:pt x="67" y="91"/>
                </a:cubicBezTo>
                <a:close/>
                <a:moveTo>
                  <a:pt x="27" y="67"/>
                </a:moveTo>
                <a:cubicBezTo>
                  <a:pt x="28" y="67"/>
                  <a:pt x="29" y="68"/>
                  <a:pt x="29" y="69"/>
                </a:cubicBezTo>
                <a:cubicBezTo>
                  <a:pt x="29" y="71"/>
                  <a:pt x="28" y="72"/>
                  <a:pt x="27" y="72"/>
                </a:cubicBezTo>
                <a:cubicBezTo>
                  <a:pt x="25" y="72"/>
                  <a:pt x="24" y="71"/>
                  <a:pt x="24" y="69"/>
                </a:cubicBezTo>
                <a:cubicBezTo>
                  <a:pt x="24" y="68"/>
                  <a:pt x="25" y="67"/>
                  <a:pt x="27" y="67"/>
                </a:cubicBezTo>
                <a:close/>
                <a:moveTo>
                  <a:pt x="27" y="51"/>
                </a:moveTo>
                <a:cubicBezTo>
                  <a:pt x="28" y="51"/>
                  <a:pt x="29" y="52"/>
                  <a:pt x="29" y="53"/>
                </a:cubicBezTo>
                <a:cubicBezTo>
                  <a:pt x="29" y="55"/>
                  <a:pt x="28" y="56"/>
                  <a:pt x="27" y="56"/>
                </a:cubicBezTo>
                <a:cubicBezTo>
                  <a:pt x="25" y="56"/>
                  <a:pt x="24" y="55"/>
                  <a:pt x="24" y="53"/>
                </a:cubicBezTo>
                <a:cubicBezTo>
                  <a:pt x="24" y="52"/>
                  <a:pt x="25" y="51"/>
                  <a:pt x="27" y="51"/>
                </a:cubicBezTo>
                <a:close/>
                <a:moveTo>
                  <a:pt x="35" y="59"/>
                </a:moveTo>
                <a:cubicBezTo>
                  <a:pt x="36" y="59"/>
                  <a:pt x="37" y="60"/>
                  <a:pt x="37" y="61"/>
                </a:cubicBezTo>
                <a:cubicBezTo>
                  <a:pt x="37" y="63"/>
                  <a:pt x="36" y="64"/>
                  <a:pt x="35" y="64"/>
                </a:cubicBezTo>
                <a:cubicBezTo>
                  <a:pt x="33" y="64"/>
                  <a:pt x="32" y="63"/>
                  <a:pt x="32" y="61"/>
                </a:cubicBezTo>
                <a:cubicBezTo>
                  <a:pt x="32" y="60"/>
                  <a:pt x="33" y="59"/>
                  <a:pt x="35" y="59"/>
                </a:cubicBezTo>
                <a:close/>
                <a:moveTo>
                  <a:pt x="35" y="43"/>
                </a:moveTo>
                <a:cubicBezTo>
                  <a:pt x="36" y="43"/>
                  <a:pt x="37" y="44"/>
                  <a:pt x="37" y="45"/>
                </a:cubicBezTo>
                <a:cubicBezTo>
                  <a:pt x="37" y="47"/>
                  <a:pt x="36" y="48"/>
                  <a:pt x="35" y="48"/>
                </a:cubicBezTo>
                <a:cubicBezTo>
                  <a:pt x="33" y="48"/>
                  <a:pt x="32" y="47"/>
                  <a:pt x="32" y="45"/>
                </a:cubicBezTo>
                <a:cubicBezTo>
                  <a:pt x="32" y="44"/>
                  <a:pt x="33" y="43"/>
                  <a:pt x="35" y="43"/>
                </a:cubicBezTo>
                <a:close/>
                <a:moveTo>
                  <a:pt x="27" y="35"/>
                </a:moveTo>
                <a:cubicBezTo>
                  <a:pt x="28" y="35"/>
                  <a:pt x="29" y="36"/>
                  <a:pt x="29" y="37"/>
                </a:cubicBezTo>
                <a:cubicBezTo>
                  <a:pt x="29" y="39"/>
                  <a:pt x="28" y="40"/>
                  <a:pt x="27" y="40"/>
                </a:cubicBezTo>
                <a:cubicBezTo>
                  <a:pt x="25" y="40"/>
                  <a:pt x="24" y="39"/>
                  <a:pt x="24" y="37"/>
                </a:cubicBezTo>
                <a:cubicBezTo>
                  <a:pt x="24" y="36"/>
                  <a:pt x="25" y="35"/>
                  <a:pt x="27" y="35"/>
                </a:cubicBezTo>
                <a:close/>
                <a:moveTo>
                  <a:pt x="35" y="27"/>
                </a:moveTo>
                <a:cubicBezTo>
                  <a:pt x="36" y="27"/>
                  <a:pt x="37" y="28"/>
                  <a:pt x="37" y="29"/>
                </a:cubicBezTo>
                <a:cubicBezTo>
                  <a:pt x="37" y="31"/>
                  <a:pt x="36" y="32"/>
                  <a:pt x="35" y="32"/>
                </a:cubicBezTo>
                <a:cubicBezTo>
                  <a:pt x="33" y="32"/>
                  <a:pt x="32" y="31"/>
                  <a:pt x="32" y="29"/>
                </a:cubicBezTo>
                <a:cubicBezTo>
                  <a:pt x="32" y="28"/>
                  <a:pt x="33" y="27"/>
                  <a:pt x="35" y="27"/>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78">
            <a:extLst>
              <a:ext uri="{FF2B5EF4-FFF2-40B4-BE49-F238E27FC236}">
                <a16:creationId xmlns:a16="http://schemas.microsoft.com/office/drawing/2014/main" id="{8AEA2374-9A22-D64C-A2F1-3988D6D65E5F}"/>
              </a:ext>
            </a:extLst>
          </p:cNvPr>
          <p:cNvSpPr>
            <a:spLocks noEditPoints="1"/>
          </p:cNvSpPr>
          <p:nvPr/>
        </p:nvSpPr>
        <p:spPr bwMode="auto">
          <a:xfrm>
            <a:off x="11008848" y="3835401"/>
            <a:ext cx="600075" cy="484188"/>
          </a:xfrm>
          <a:custGeom>
            <a:avLst/>
            <a:gdLst>
              <a:gd name="T0" fmla="*/ 123 w 160"/>
              <a:gd name="T1" fmla="*/ 19 h 128"/>
              <a:gd name="T2" fmla="*/ 0 w 160"/>
              <a:gd name="T3" fmla="*/ 91 h 128"/>
              <a:gd name="T4" fmla="*/ 37 w 160"/>
              <a:gd name="T5" fmla="*/ 109 h 128"/>
              <a:gd name="T6" fmla="*/ 160 w 160"/>
              <a:gd name="T7" fmla="*/ 37 h 128"/>
              <a:gd name="T8" fmla="*/ 5 w 160"/>
              <a:gd name="T9" fmla="*/ 5 h 128"/>
              <a:gd name="T10" fmla="*/ 19 w 160"/>
              <a:gd name="T11" fmla="*/ 19 h 128"/>
              <a:gd name="T12" fmla="*/ 24 w 160"/>
              <a:gd name="T13" fmla="*/ 104 h 128"/>
              <a:gd name="T14" fmla="*/ 24 w 160"/>
              <a:gd name="T15" fmla="*/ 59 h 128"/>
              <a:gd name="T16" fmla="*/ 24 w 160"/>
              <a:gd name="T17" fmla="*/ 24 h 128"/>
              <a:gd name="T18" fmla="*/ 59 w 160"/>
              <a:gd name="T19" fmla="*/ 24 h 128"/>
              <a:gd name="T20" fmla="*/ 107 w 160"/>
              <a:gd name="T21" fmla="*/ 24 h 128"/>
              <a:gd name="T22" fmla="*/ 136 w 160"/>
              <a:gd name="T23" fmla="*/ 37 h 128"/>
              <a:gd name="T24" fmla="*/ 99 w 160"/>
              <a:gd name="T25" fmla="*/ 37 h 128"/>
              <a:gd name="T26" fmla="*/ 51 w 160"/>
              <a:gd name="T27" fmla="*/ 37 h 128"/>
              <a:gd name="T28" fmla="*/ 37 w 160"/>
              <a:gd name="T29" fmla="*/ 67 h 128"/>
              <a:gd name="T30" fmla="*/ 37 w 160"/>
              <a:gd name="T31" fmla="*/ 104 h 128"/>
              <a:gd name="T32" fmla="*/ 43 w 160"/>
              <a:gd name="T33" fmla="*/ 123 h 128"/>
              <a:gd name="T34" fmla="*/ 141 w 160"/>
              <a:gd name="T35" fmla="*/ 43 h 128"/>
              <a:gd name="T36" fmla="*/ 91 w 160"/>
              <a:gd name="T37" fmla="*/ 24 h 128"/>
              <a:gd name="T38" fmla="*/ 88 w 160"/>
              <a:gd name="T39" fmla="*/ 27 h 128"/>
              <a:gd name="T40" fmla="*/ 101 w 160"/>
              <a:gd name="T41" fmla="*/ 35 h 128"/>
              <a:gd name="T42" fmla="*/ 99 w 160"/>
              <a:gd name="T43" fmla="*/ 32 h 128"/>
              <a:gd name="T44" fmla="*/ 107 w 160"/>
              <a:gd name="T45" fmla="*/ 29 h 128"/>
              <a:gd name="T46" fmla="*/ 123 w 160"/>
              <a:gd name="T47" fmla="*/ 24 h 128"/>
              <a:gd name="T48" fmla="*/ 120 w 160"/>
              <a:gd name="T49" fmla="*/ 27 h 128"/>
              <a:gd name="T50" fmla="*/ 117 w 160"/>
              <a:gd name="T51" fmla="*/ 35 h 128"/>
              <a:gd name="T52" fmla="*/ 115 w 160"/>
              <a:gd name="T53" fmla="*/ 32 h 128"/>
              <a:gd name="T54" fmla="*/ 131 w 160"/>
              <a:gd name="T55" fmla="*/ 37 h 128"/>
              <a:gd name="T56" fmla="*/ 75 w 160"/>
              <a:gd name="T57" fmla="*/ 24 h 128"/>
              <a:gd name="T58" fmla="*/ 72 w 160"/>
              <a:gd name="T59" fmla="*/ 27 h 128"/>
              <a:gd name="T60" fmla="*/ 85 w 160"/>
              <a:gd name="T61" fmla="*/ 35 h 128"/>
              <a:gd name="T62" fmla="*/ 83 w 160"/>
              <a:gd name="T63" fmla="*/ 32 h 128"/>
              <a:gd name="T64" fmla="*/ 27 w 160"/>
              <a:gd name="T65" fmla="*/ 29 h 128"/>
              <a:gd name="T66" fmla="*/ 27 w 160"/>
              <a:gd name="T67" fmla="*/ 40 h 128"/>
              <a:gd name="T68" fmla="*/ 24 w 160"/>
              <a:gd name="T69" fmla="*/ 43 h 128"/>
              <a:gd name="T70" fmla="*/ 37 w 160"/>
              <a:gd name="T71" fmla="*/ 35 h 128"/>
              <a:gd name="T72" fmla="*/ 35 w 160"/>
              <a:gd name="T73" fmla="*/ 32 h 128"/>
              <a:gd name="T74" fmla="*/ 35 w 160"/>
              <a:gd name="T75" fmla="*/ 53 h 128"/>
              <a:gd name="T76" fmla="*/ 43 w 160"/>
              <a:gd name="T77" fmla="*/ 24 h 128"/>
              <a:gd name="T78" fmla="*/ 40 w 160"/>
              <a:gd name="T79" fmla="*/ 27 h 128"/>
              <a:gd name="T80" fmla="*/ 61 w 160"/>
              <a:gd name="T81" fmla="*/ 27 h 128"/>
              <a:gd name="T82" fmla="*/ 59 w 160"/>
              <a:gd name="T83" fmla="*/ 24 h 128"/>
              <a:gd name="T84" fmla="*/ 51 w 160"/>
              <a:gd name="T85" fmla="*/ 37 h 128"/>
              <a:gd name="T86" fmla="*/ 67 w 160"/>
              <a:gd name="T87" fmla="*/ 32 h 128"/>
              <a:gd name="T88" fmla="*/ 64 w 160"/>
              <a:gd name="T89" fmla="*/ 35 h 128"/>
              <a:gd name="T90" fmla="*/ 29 w 160"/>
              <a:gd name="T91" fmla="*/ 59 h 128"/>
              <a:gd name="T92" fmla="*/ 27 w 160"/>
              <a:gd name="T93" fmla="*/ 56 h 128"/>
              <a:gd name="T94" fmla="*/ 27 w 160"/>
              <a:gd name="T95" fmla="*/ 77 h 128"/>
              <a:gd name="T96" fmla="*/ 35 w 160"/>
              <a:gd name="T97" fmla="*/ 64 h 128"/>
              <a:gd name="T98" fmla="*/ 32 w 160"/>
              <a:gd name="T99" fmla="*/ 67 h 128"/>
              <a:gd name="T100" fmla="*/ 37 w 160"/>
              <a:gd name="T101" fmla="*/ 83 h 128"/>
              <a:gd name="T102" fmla="*/ 35 w 160"/>
              <a:gd name="T103" fmla="*/ 80 h 128"/>
              <a:gd name="T104" fmla="*/ 27 w 160"/>
              <a:gd name="T105" fmla="*/ 93 h 128"/>
              <a:gd name="T106" fmla="*/ 35 w 160"/>
              <a:gd name="T107" fmla="*/ 96 h 128"/>
              <a:gd name="T108" fmla="*/ 32 w 160"/>
              <a:gd name="T109" fmla="*/ 9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28">
                <a:moveTo>
                  <a:pt x="141" y="37"/>
                </a:moveTo>
                <a:cubicBezTo>
                  <a:pt x="141" y="19"/>
                  <a:pt x="141" y="19"/>
                  <a:pt x="141" y="19"/>
                </a:cubicBezTo>
                <a:cubicBezTo>
                  <a:pt x="123" y="19"/>
                  <a:pt x="123" y="19"/>
                  <a:pt x="123" y="19"/>
                </a:cubicBezTo>
                <a:cubicBezTo>
                  <a:pt x="123" y="0"/>
                  <a:pt x="123" y="0"/>
                  <a:pt x="123" y="0"/>
                </a:cubicBezTo>
                <a:cubicBezTo>
                  <a:pt x="0" y="0"/>
                  <a:pt x="0" y="0"/>
                  <a:pt x="0" y="0"/>
                </a:cubicBezTo>
                <a:cubicBezTo>
                  <a:pt x="0" y="91"/>
                  <a:pt x="0" y="91"/>
                  <a:pt x="0" y="91"/>
                </a:cubicBezTo>
                <a:cubicBezTo>
                  <a:pt x="19" y="91"/>
                  <a:pt x="19" y="91"/>
                  <a:pt x="19" y="91"/>
                </a:cubicBezTo>
                <a:cubicBezTo>
                  <a:pt x="19" y="109"/>
                  <a:pt x="19" y="109"/>
                  <a:pt x="19" y="109"/>
                </a:cubicBezTo>
                <a:cubicBezTo>
                  <a:pt x="37" y="109"/>
                  <a:pt x="37" y="109"/>
                  <a:pt x="37" y="109"/>
                </a:cubicBezTo>
                <a:cubicBezTo>
                  <a:pt x="37" y="128"/>
                  <a:pt x="37" y="128"/>
                  <a:pt x="37" y="128"/>
                </a:cubicBezTo>
                <a:cubicBezTo>
                  <a:pt x="160" y="128"/>
                  <a:pt x="160" y="128"/>
                  <a:pt x="160" y="128"/>
                </a:cubicBezTo>
                <a:cubicBezTo>
                  <a:pt x="160" y="37"/>
                  <a:pt x="160" y="37"/>
                  <a:pt x="160" y="37"/>
                </a:cubicBezTo>
                <a:lnTo>
                  <a:pt x="141" y="37"/>
                </a:lnTo>
                <a:close/>
                <a:moveTo>
                  <a:pt x="5" y="85"/>
                </a:moveTo>
                <a:cubicBezTo>
                  <a:pt x="5" y="5"/>
                  <a:pt x="5" y="5"/>
                  <a:pt x="5" y="5"/>
                </a:cubicBezTo>
                <a:cubicBezTo>
                  <a:pt x="117" y="5"/>
                  <a:pt x="117" y="5"/>
                  <a:pt x="117" y="5"/>
                </a:cubicBezTo>
                <a:cubicBezTo>
                  <a:pt x="117" y="19"/>
                  <a:pt x="117" y="19"/>
                  <a:pt x="117" y="19"/>
                </a:cubicBezTo>
                <a:cubicBezTo>
                  <a:pt x="19" y="19"/>
                  <a:pt x="19" y="19"/>
                  <a:pt x="19" y="19"/>
                </a:cubicBezTo>
                <a:cubicBezTo>
                  <a:pt x="19" y="85"/>
                  <a:pt x="19" y="85"/>
                  <a:pt x="19" y="85"/>
                </a:cubicBezTo>
                <a:lnTo>
                  <a:pt x="5" y="85"/>
                </a:lnTo>
                <a:close/>
                <a:moveTo>
                  <a:pt x="24" y="104"/>
                </a:moveTo>
                <a:cubicBezTo>
                  <a:pt x="24" y="91"/>
                  <a:pt x="24" y="91"/>
                  <a:pt x="24" y="91"/>
                </a:cubicBezTo>
                <a:cubicBezTo>
                  <a:pt x="24" y="75"/>
                  <a:pt x="24" y="75"/>
                  <a:pt x="24" y="75"/>
                </a:cubicBezTo>
                <a:cubicBezTo>
                  <a:pt x="24" y="59"/>
                  <a:pt x="24" y="59"/>
                  <a:pt x="24" y="59"/>
                </a:cubicBezTo>
                <a:cubicBezTo>
                  <a:pt x="24" y="43"/>
                  <a:pt x="24" y="43"/>
                  <a:pt x="24" y="43"/>
                </a:cubicBezTo>
                <a:cubicBezTo>
                  <a:pt x="24" y="27"/>
                  <a:pt x="24" y="27"/>
                  <a:pt x="24" y="27"/>
                </a:cubicBezTo>
                <a:cubicBezTo>
                  <a:pt x="24" y="24"/>
                  <a:pt x="24" y="24"/>
                  <a:pt x="24" y="24"/>
                </a:cubicBezTo>
                <a:cubicBezTo>
                  <a:pt x="27" y="24"/>
                  <a:pt x="27" y="24"/>
                  <a:pt x="27" y="24"/>
                </a:cubicBezTo>
                <a:cubicBezTo>
                  <a:pt x="43" y="24"/>
                  <a:pt x="43" y="24"/>
                  <a:pt x="43" y="24"/>
                </a:cubicBezTo>
                <a:cubicBezTo>
                  <a:pt x="59" y="24"/>
                  <a:pt x="59" y="24"/>
                  <a:pt x="59" y="24"/>
                </a:cubicBezTo>
                <a:cubicBezTo>
                  <a:pt x="75" y="24"/>
                  <a:pt x="75" y="24"/>
                  <a:pt x="75" y="24"/>
                </a:cubicBezTo>
                <a:cubicBezTo>
                  <a:pt x="91" y="24"/>
                  <a:pt x="91" y="24"/>
                  <a:pt x="91" y="24"/>
                </a:cubicBezTo>
                <a:cubicBezTo>
                  <a:pt x="107" y="24"/>
                  <a:pt x="107" y="24"/>
                  <a:pt x="107" y="24"/>
                </a:cubicBezTo>
                <a:cubicBezTo>
                  <a:pt x="123" y="24"/>
                  <a:pt x="123" y="24"/>
                  <a:pt x="123" y="24"/>
                </a:cubicBezTo>
                <a:cubicBezTo>
                  <a:pt x="136" y="24"/>
                  <a:pt x="136" y="24"/>
                  <a:pt x="136" y="24"/>
                </a:cubicBezTo>
                <a:cubicBezTo>
                  <a:pt x="136" y="37"/>
                  <a:pt x="136" y="37"/>
                  <a:pt x="136" y="37"/>
                </a:cubicBezTo>
                <a:cubicBezTo>
                  <a:pt x="131" y="37"/>
                  <a:pt x="131" y="37"/>
                  <a:pt x="131" y="37"/>
                </a:cubicBezTo>
                <a:cubicBezTo>
                  <a:pt x="115" y="37"/>
                  <a:pt x="115" y="37"/>
                  <a:pt x="115" y="37"/>
                </a:cubicBezTo>
                <a:cubicBezTo>
                  <a:pt x="99" y="37"/>
                  <a:pt x="99" y="37"/>
                  <a:pt x="99" y="37"/>
                </a:cubicBezTo>
                <a:cubicBezTo>
                  <a:pt x="83" y="37"/>
                  <a:pt x="83" y="37"/>
                  <a:pt x="83" y="37"/>
                </a:cubicBezTo>
                <a:cubicBezTo>
                  <a:pt x="67" y="37"/>
                  <a:pt x="67" y="37"/>
                  <a:pt x="67" y="37"/>
                </a:cubicBezTo>
                <a:cubicBezTo>
                  <a:pt x="51" y="37"/>
                  <a:pt x="51" y="37"/>
                  <a:pt x="51" y="37"/>
                </a:cubicBezTo>
                <a:cubicBezTo>
                  <a:pt x="37" y="37"/>
                  <a:pt x="37" y="37"/>
                  <a:pt x="37" y="37"/>
                </a:cubicBezTo>
                <a:cubicBezTo>
                  <a:pt x="37" y="51"/>
                  <a:pt x="37" y="51"/>
                  <a:pt x="37" y="51"/>
                </a:cubicBezTo>
                <a:cubicBezTo>
                  <a:pt x="37" y="67"/>
                  <a:pt x="37" y="67"/>
                  <a:pt x="37" y="67"/>
                </a:cubicBezTo>
                <a:cubicBezTo>
                  <a:pt x="37" y="83"/>
                  <a:pt x="37" y="83"/>
                  <a:pt x="37" y="83"/>
                </a:cubicBezTo>
                <a:cubicBezTo>
                  <a:pt x="37" y="99"/>
                  <a:pt x="37" y="99"/>
                  <a:pt x="37" y="99"/>
                </a:cubicBezTo>
                <a:cubicBezTo>
                  <a:pt x="37" y="104"/>
                  <a:pt x="37" y="104"/>
                  <a:pt x="37" y="104"/>
                </a:cubicBezTo>
                <a:lnTo>
                  <a:pt x="24" y="104"/>
                </a:lnTo>
                <a:close/>
                <a:moveTo>
                  <a:pt x="155" y="123"/>
                </a:moveTo>
                <a:cubicBezTo>
                  <a:pt x="43" y="123"/>
                  <a:pt x="43" y="123"/>
                  <a:pt x="43" y="123"/>
                </a:cubicBezTo>
                <a:cubicBezTo>
                  <a:pt x="43" y="109"/>
                  <a:pt x="43" y="109"/>
                  <a:pt x="43" y="109"/>
                </a:cubicBezTo>
                <a:cubicBezTo>
                  <a:pt x="43" y="43"/>
                  <a:pt x="43" y="43"/>
                  <a:pt x="43" y="43"/>
                </a:cubicBezTo>
                <a:cubicBezTo>
                  <a:pt x="141" y="43"/>
                  <a:pt x="141" y="43"/>
                  <a:pt x="141" y="43"/>
                </a:cubicBezTo>
                <a:cubicBezTo>
                  <a:pt x="155" y="43"/>
                  <a:pt x="155" y="43"/>
                  <a:pt x="155" y="43"/>
                </a:cubicBezTo>
                <a:lnTo>
                  <a:pt x="155" y="123"/>
                </a:lnTo>
                <a:close/>
                <a:moveTo>
                  <a:pt x="91" y="24"/>
                </a:moveTo>
                <a:cubicBezTo>
                  <a:pt x="92" y="24"/>
                  <a:pt x="93" y="25"/>
                  <a:pt x="93" y="27"/>
                </a:cubicBezTo>
                <a:cubicBezTo>
                  <a:pt x="93" y="28"/>
                  <a:pt x="92" y="29"/>
                  <a:pt x="91" y="29"/>
                </a:cubicBezTo>
                <a:cubicBezTo>
                  <a:pt x="89" y="29"/>
                  <a:pt x="88" y="28"/>
                  <a:pt x="88" y="27"/>
                </a:cubicBezTo>
                <a:cubicBezTo>
                  <a:pt x="88" y="25"/>
                  <a:pt x="89" y="24"/>
                  <a:pt x="91" y="24"/>
                </a:cubicBezTo>
                <a:close/>
                <a:moveTo>
                  <a:pt x="99" y="32"/>
                </a:moveTo>
                <a:cubicBezTo>
                  <a:pt x="100" y="32"/>
                  <a:pt x="101" y="33"/>
                  <a:pt x="101" y="35"/>
                </a:cubicBezTo>
                <a:cubicBezTo>
                  <a:pt x="101" y="36"/>
                  <a:pt x="100" y="37"/>
                  <a:pt x="99" y="37"/>
                </a:cubicBezTo>
                <a:cubicBezTo>
                  <a:pt x="97" y="37"/>
                  <a:pt x="96" y="36"/>
                  <a:pt x="96" y="35"/>
                </a:cubicBezTo>
                <a:cubicBezTo>
                  <a:pt x="96" y="33"/>
                  <a:pt x="97" y="32"/>
                  <a:pt x="99" y="32"/>
                </a:cubicBezTo>
                <a:close/>
                <a:moveTo>
                  <a:pt x="107" y="24"/>
                </a:moveTo>
                <a:cubicBezTo>
                  <a:pt x="108" y="24"/>
                  <a:pt x="109" y="25"/>
                  <a:pt x="109" y="27"/>
                </a:cubicBezTo>
                <a:cubicBezTo>
                  <a:pt x="109" y="28"/>
                  <a:pt x="108" y="29"/>
                  <a:pt x="107" y="29"/>
                </a:cubicBezTo>
                <a:cubicBezTo>
                  <a:pt x="105" y="29"/>
                  <a:pt x="104" y="28"/>
                  <a:pt x="104" y="27"/>
                </a:cubicBezTo>
                <a:cubicBezTo>
                  <a:pt x="104" y="25"/>
                  <a:pt x="105" y="24"/>
                  <a:pt x="107" y="24"/>
                </a:cubicBezTo>
                <a:close/>
                <a:moveTo>
                  <a:pt x="123" y="24"/>
                </a:moveTo>
                <a:cubicBezTo>
                  <a:pt x="124" y="24"/>
                  <a:pt x="125" y="25"/>
                  <a:pt x="125" y="27"/>
                </a:cubicBezTo>
                <a:cubicBezTo>
                  <a:pt x="125" y="28"/>
                  <a:pt x="124" y="29"/>
                  <a:pt x="123" y="29"/>
                </a:cubicBezTo>
                <a:cubicBezTo>
                  <a:pt x="121" y="29"/>
                  <a:pt x="120" y="28"/>
                  <a:pt x="120" y="27"/>
                </a:cubicBezTo>
                <a:cubicBezTo>
                  <a:pt x="120" y="25"/>
                  <a:pt x="121" y="24"/>
                  <a:pt x="123" y="24"/>
                </a:cubicBezTo>
                <a:close/>
                <a:moveTo>
                  <a:pt x="115" y="32"/>
                </a:moveTo>
                <a:cubicBezTo>
                  <a:pt x="116" y="32"/>
                  <a:pt x="117" y="33"/>
                  <a:pt x="117" y="35"/>
                </a:cubicBezTo>
                <a:cubicBezTo>
                  <a:pt x="117" y="36"/>
                  <a:pt x="116" y="37"/>
                  <a:pt x="115" y="37"/>
                </a:cubicBezTo>
                <a:cubicBezTo>
                  <a:pt x="113" y="37"/>
                  <a:pt x="112" y="36"/>
                  <a:pt x="112" y="35"/>
                </a:cubicBezTo>
                <a:cubicBezTo>
                  <a:pt x="112" y="33"/>
                  <a:pt x="113" y="32"/>
                  <a:pt x="115" y="32"/>
                </a:cubicBezTo>
                <a:close/>
                <a:moveTo>
                  <a:pt x="131" y="32"/>
                </a:moveTo>
                <a:cubicBezTo>
                  <a:pt x="132" y="32"/>
                  <a:pt x="133" y="33"/>
                  <a:pt x="133" y="35"/>
                </a:cubicBezTo>
                <a:cubicBezTo>
                  <a:pt x="133" y="36"/>
                  <a:pt x="132" y="37"/>
                  <a:pt x="131" y="37"/>
                </a:cubicBezTo>
                <a:cubicBezTo>
                  <a:pt x="129" y="37"/>
                  <a:pt x="128" y="36"/>
                  <a:pt x="128" y="35"/>
                </a:cubicBezTo>
                <a:cubicBezTo>
                  <a:pt x="128" y="33"/>
                  <a:pt x="129" y="32"/>
                  <a:pt x="131" y="32"/>
                </a:cubicBezTo>
                <a:close/>
                <a:moveTo>
                  <a:pt x="75" y="24"/>
                </a:moveTo>
                <a:cubicBezTo>
                  <a:pt x="76" y="24"/>
                  <a:pt x="77" y="25"/>
                  <a:pt x="77" y="27"/>
                </a:cubicBezTo>
                <a:cubicBezTo>
                  <a:pt x="77" y="28"/>
                  <a:pt x="76" y="29"/>
                  <a:pt x="75" y="29"/>
                </a:cubicBezTo>
                <a:cubicBezTo>
                  <a:pt x="73" y="29"/>
                  <a:pt x="72" y="28"/>
                  <a:pt x="72" y="27"/>
                </a:cubicBezTo>
                <a:cubicBezTo>
                  <a:pt x="72" y="25"/>
                  <a:pt x="73" y="24"/>
                  <a:pt x="75" y="24"/>
                </a:cubicBezTo>
                <a:close/>
                <a:moveTo>
                  <a:pt x="83" y="32"/>
                </a:moveTo>
                <a:cubicBezTo>
                  <a:pt x="84" y="32"/>
                  <a:pt x="85" y="33"/>
                  <a:pt x="85" y="35"/>
                </a:cubicBezTo>
                <a:cubicBezTo>
                  <a:pt x="85" y="36"/>
                  <a:pt x="84" y="37"/>
                  <a:pt x="83" y="37"/>
                </a:cubicBezTo>
                <a:cubicBezTo>
                  <a:pt x="81" y="37"/>
                  <a:pt x="80" y="36"/>
                  <a:pt x="80" y="35"/>
                </a:cubicBezTo>
                <a:cubicBezTo>
                  <a:pt x="80" y="33"/>
                  <a:pt x="81" y="32"/>
                  <a:pt x="83" y="32"/>
                </a:cubicBezTo>
                <a:close/>
                <a:moveTo>
                  <a:pt x="27" y="24"/>
                </a:moveTo>
                <a:cubicBezTo>
                  <a:pt x="28" y="24"/>
                  <a:pt x="29" y="25"/>
                  <a:pt x="29" y="27"/>
                </a:cubicBezTo>
                <a:cubicBezTo>
                  <a:pt x="29" y="28"/>
                  <a:pt x="28" y="29"/>
                  <a:pt x="27" y="29"/>
                </a:cubicBezTo>
                <a:cubicBezTo>
                  <a:pt x="25" y="29"/>
                  <a:pt x="24" y="28"/>
                  <a:pt x="24" y="27"/>
                </a:cubicBezTo>
                <a:cubicBezTo>
                  <a:pt x="24" y="25"/>
                  <a:pt x="25" y="24"/>
                  <a:pt x="27" y="24"/>
                </a:cubicBezTo>
                <a:close/>
                <a:moveTo>
                  <a:pt x="27" y="40"/>
                </a:moveTo>
                <a:cubicBezTo>
                  <a:pt x="28" y="40"/>
                  <a:pt x="29" y="41"/>
                  <a:pt x="29" y="43"/>
                </a:cubicBezTo>
                <a:cubicBezTo>
                  <a:pt x="29" y="44"/>
                  <a:pt x="28" y="45"/>
                  <a:pt x="27" y="45"/>
                </a:cubicBezTo>
                <a:cubicBezTo>
                  <a:pt x="25" y="45"/>
                  <a:pt x="24" y="44"/>
                  <a:pt x="24" y="43"/>
                </a:cubicBezTo>
                <a:cubicBezTo>
                  <a:pt x="24" y="41"/>
                  <a:pt x="25" y="40"/>
                  <a:pt x="27" y="40"/>
                </a:cubicBezTo>
                <a:close/>
                <a:moveTo>
                  <a:pt x="35" y="32"/>
                </a:moveTo>
                <a:cubicBezTo>
                  <a:pt x="36" y="32"/>
                  <a:pt x="37" y="33"/>
                  <a:pt x="37" y="35"/>
                </a:cubicBezTo>
                <a:cubicBezTo>
                  <a:pt x="37" y="36"/>
                  <a:pt x="36" y="37"/>
                  <a:pt x="35" y="37"/>
                </a:cubicBezTo>
                <a:cubicBezTo>
                  <a:pt x="33" y="37"/>
                  <a:pt x="32" y="36"/>
                  <a:pt x="32" y="35"/>
                </a:cubicBezTo>
                <a:cubicBezTo>
                  <a:pt x="32" y="33"/>
                  <a:pt x="33" y="32"/>
                  <a:pt x="35" y="32"/>
                </a:cubicBezTo>
                <a:close/>
                <a:moveTo>
                  <a:pt x="35" y="48"/>
                </a:moveTo>
                <a:cubicBezTo>
                  <a:pt x="36" y="48"/>
                  <a:pt x="37" y="49"/>
                  <a:pt x="37" y="51"/>
                </a:cubicBezTo>
                <a:cubicBezTo>
                  <a:pt x="37" y="52"/>
                  <a:pt x="36" y="53"/>
                  <a:pt x="35" y="53"/>
                </a:cubicBezTo>
                <a:cubicBezTo>
                  <a:pt x="33" y="53"/>
                  <a:pt x="32" y="52"/>
                  <a:pt x="32" y="51"/>
                </a:cubicBezTo>
                <a:cubicBezTo>
                  <a:pt x="32" y="49"/>
                  <a:pt x="33" y="48"/>
                  <a:pt x="35" y="48"/>
                </a:cubicBezTo>
                <a:close/>
                <a:moveTo>
                  <a:pt x="43" y="24"/>
                </a:moveTo>
                <a:cubicBezTo>
                  <a:pt x="44" y="24"/>
                  <a:pt x="45" y="25"/>
                  <a:pt x="45" y="27"/>
                </a:cubicBezTo>
                <a:cubicBezTo>
                  <a:pt x="45" y="28"/>
                  <a:pt x="44" y="29"/>
                  <a:pt x="43" y="29"/>
                </a:cubicBezTo>
                <a:cubicBezTo>
                  <a:pt x="41" y="29"/>
                  <a:pt x="40" y="28"/>
                  <a:pt x="40" y="27"/>
                </a:cubicBezTo>
                <a:cubicBezTo>
                  <a:pt x="40" y="25"/>
                  <a:pt x="41" y="24"/>
                  <a:pt x="43" y="24"/>
                </a:cubicBezTo>
                <a:close/>
                <a:moveTo>
                  <a:pt x="59" y="24"/>
                </a:moveTo>
                <a:cubicBezTo>
                  <a:pt x="60" y="24"/>
                  <a:pt x="61" y="25"/>
                  <a:pt x="61" y="27"/>
                </a:cubicBezTo>
                <a:cubicBezTo>
                  <a:pt x="61" y="28"/>
                  <a:pt x="60" y="29"/>
                  <a:pt x="59" y="29"/>
                </a:cubicBezTo>
                <a:cubicBezTo>
                  <a:pt x="57" y="29"/>
                  <a:pt x="56" y="28"/>
                  <a:pt x="56" y="27"/>
                </a:cubicBezTo>
                <a:cubicBezTo>
                  <a:pt x="56" y="25"/>
                  <a:pt x="57" y="24"/>
                  <a:pt x="59" y="24"/>
                </a:cubicBezTo>
                <a:close/>
                <a:moveTo>
                  <a:pt x="51" y="32"/>
                </a:moveTo>
                <a:cubicBezTo>
                  <a:pt x="52" y="32"/>
                  <a:pt x="53" y="33"/>
                  <a:pt x="53" y="35"/>
                </a:cubicBezTo>
                <a:cubicBezTo>
                  <a:pt x="53" y="36"/>
                  <a:pt x="52" y="37"/>
                  <a:pt x="51" y="37"/>
                </a:cubicBezTo>
                <a:cubicBezTo>
                  <a:pt x="49" y="37"/>
                  <a:pt x="48" y="36"/>
                  <a:pt x="48" y="35"/>
                </a:cubicBezTo>
                <a:cubicBezTo>
                  <a:pt x="48" y="33"/>
                  <a:pt x="49" y="32"/>
                  <a:pt x="51" y="32"/>
                </a:cubicBezTo>
                <a:close/>
                <a:moveTo>
                  <a:pt x="67" y="32"/>
                </a:moveTo>
                <a:cubicBezTo>
                  <a:pt x="68" y="32"/>
                  <a:pt x="69" y="33"/>
                  <a:pt x="69" y="35"/>
                </a:cubicBezTo>
                <a:cubicBezTo>
                  <a:pt x="69" y="36"/>
                  <a:pt x="68" y="37"/>
                  <a:pt x="67" y="37"/>
                </a:cubicBezTo>
                <a:cubicBezTo>
                  <a:pt x="65" y="37"/>
                  <a:pt x="64" y="36"/>
                  <a:pt x="64" y="35"/>
                </a:cubicBezTo>
                <a:cubicBezTo>
                  <a:pt x="64" y="33"/>
                  <a:pt x="65" y="32"/>
                  <a:pt x="67" y="32"/>
                </a:cubicBezTo>
                <a:close/>
                <a:moveTo>
                  <a:pt x="27" y="56"/>
                </a:moveTo>
                <a:cubicBezTo>
                  <a:pt x="28" y="56"/>
                  <a:pt x="29" y="57"/>
                  <a:pt x="29" y="59"/>
                </a:cubicBezTo>
                <a:cubicBezTo>
                  <a:pt x="29" y="60"/>
                  <a:pt x="28" y="61"/>
                  <a:pt x="27" y="61"/>
                </a:cubicBezTo>
                <a:cubicBezTo>
                  <a:pt x="25" y="61"/>
                  <a:pt x="24" y="60"/>
                  <a:pt x="24" y="59"/>
                </a:cubicBezTo>
                <a:cubicBezTo>
                  <a:pt x="24" y="57"/>
                  <a:pt x="25" y="56"/>
                  <a:pt x="27" y="56"/>
                </a:cubicBezTo>
                <a:close/>
                <a:moveTo>
                  <a:pt x="27" y="72"/>
                </a:moveTo>
                <a:cubicBezTo>
                  <a:pt x="28" y="72"/>
                  <a:pt x="29" y="73"/>
                  <a:pt x="29" y="75"/>
                </a:cubicBezTo>
                <a:cubicBezTo>
                  <a:pt x="29" y="76"/>
                  <a:pt x="28" y="77"/>
                  <a:pt x="27" y="77"/>
                </a:cubicBezTo>
                <a:cubicBezTo>
                  <a:pt x="25" y="77"/>
                  <a:pt x="24" y="76"/>
                  <a:pt x="24" y="75"/>
                </a:cubicBezTo>
                <a:cubicBezTo>
                  <a:pt x="24" y="73"/>
                  <a:pt x="25" y="72"/>
                  <a:pt x="27" y="72"/>
                </a:cubicBezTo>
                <a:close/>
                <a:moveTo>
                  <a:pt x="35" y="64"/>
                </a:moveTo>
                <a:cubicBezTo>
                  <a:pt x="36" y="64"/>
                  <a:pt x="37" y="65"/>
                  <a:pt x="37" y="67"/>
                </a:cubicBezTo>
                <a:cubicBezTo>
                  <a:pt x="37" y="68"/>
                  <a:pt x="36" y="69"/>
                  <a:pt x="35" y="69"/>
                </a:cubicBezTo>
                <a:cubicBezTo>
                  <a:pt x="33" y="69"/>
                  <a:pt x="32" y="68"/>
                  <a:pt x="32" y="67"/>
                </a:cubicBezTo>
                <a:cubicBezTo>
                  <a:pt x="32" y="65"/>
                  <a:pt x="33" y="64"/>
                  <a:pt x="35" y="64"/>
                </a:cubicBezTo>
                <a:close/>
                <a:moveTo>
                  <a:pt x="35" y="80"/>
                </a:moveTo>
                <a:cubicBezTo>
                  <a:pt x="36" y="80"/>
                  <a:pt x="37" y="81"/>
                  <a:pt x="37" y="83"/>
                </a:cubicBezTo>
                <a:cubicBezTo>
                  <a:pt x="37" y="84"/>
                  <a:pt x="36" y="85"/>
                  <a:pt x="35" y="85"/>
                </a:cubicBezTo>
                <a:cubicBezTo>
                  <a:pt x="33" y="85"/>
                  <a:pt x="32" y="84"/>
                  <a:pt x="32" y="83"/>
                </a:cubicBezTo>
                <a:cubicBezTo>
                  <a:pt x="32" y="81"/>
                  <a:pt x="33" y="80"/>
                  <a:pt x="35" y="80"/>
                </a:cubicBezTo>
                <a:close/>
                <a:moveTo>
                  <a:pt x="27" y="88"/>
                </a:moveTo>
                <a:cubicBezTo>
                  <a:pt x="28" y="88"/>
                  <a:pt x="29" y="89"/>
                  <a:pt x="29" y="91"/>
                </a:cubicBezTo>
                <a:cubicBezTo>
                  <a:pt x="29" y="92"/>
                  <a:pt x="28" y="93"/>
                  <a:pt x="27" y="93"/>
                </a:cubicBezTo>
                <a:cubicBezTo>
                  <a:pt x="25" y="93"/>
                  <a:pt x="24" y="92"/>
                  <a:pt x="24" y="91"/>
                </a:cubicBezTo>
                <a:cubicBezTo>
                  <a:pt x="24" y="89"/>
                  <a:pt x="25" y="88"/>
                  <a:pt x="27" y="88"/>
                </a:cubicBezTo>
                <a:close/>
                <a:moveTo>
                  <a:pt x="35" y="96"/>
                </a:moveTo>
                <a:cubicBezTo>
                  <a:pt x="36" y="96"/>
                  <a:pt x="37" y="97"/>
                  <a:pt x="37" y="99"/>
                </a:cubicBezTo>
                <a:cubicBezTo>
                  <a:pt x="37" y="100"/>
                  <a:pt x="36" y="101"/>
                  <a:pt x="35" y="101"/>
                </a:cubicBezTo>
                <a:cubicBezTo>
                  <a:pt x="33" y="101"/>
                  <a:pt x="32" y="100"/>
                  <a:pt x="32" y="99"/>
                </a:cubicBezTo>
                <a:cubicBezTo>
                  <a:pt x="32" y="97"/>
                  <a:pt x="33" y="96"/>
                  <a:pt x="35" y="96"/>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79">
            <a:extLst>
              <a:ext uri="{FF2B5EF4-FFF2-40B4-BE49-F238E27FC236}">
                <a16:creationId xmlns:a16="http://schemas.microsoft.com/office/drawing/2014/main" id="{67A3AFFD-7A47-4145-BB2C-FAE0D95D896F}"/>
              </a:ext>
            </a:extLst>
          </p:cNvPr>
          <p:cNvSpPr>
            <a:spLocks noEditPoints="1"/>
          </p:cNvSpPr>
          <p:nvPr/>
        </p:nvSpPr>
        <p:spPr bwMode="auto">
          <a:xfrm>
            <a:off x="11008848" y="4516438"/>
            <a:ext cx="600075" cy="484188"/>
          </a:xfrm>
          <a:custGeom>
            <a:avLst/>
            <a:gdLst>
              <a:gd name="T0" fmla="*/ 378 w 378"/>
              <a:gd name="T1" fmla="*/ 0 h 305"/>
              <a:gd name="T2" fmla="*/ 87 w 378"/>
              <a:gd name="T3" fmla="*/ 0 h 305"/>
              <a:gd name="T4" fmla="*/ 87 w 378"/>
              <a:gd name="T5" fmla="*/ 45 h 305"/>
              <a:gd name="T6" fmla="*/ 45 w 378"/>
              <a:gd name="T7" fmla="*/ 45 h 305"/>
              <a:gd name="T8" fmla="*/ 45 w 378"/>
              <a:gd name="T9" fmla="*/ 88 h 305"/>
              <a:gd name="T10" fmla="*/ 0 w 378"/>
              <a:gd name="T11" fmla="*/ 88 h 305"/>
              <a:gd name="T12" fmla="*/ 0 w 378"/>
              <a:gd name="T13" fmla="*/ 305 h 305"/>
              <a:gd name="T14" fmla="*/ 291 w 378"/>
              <a:gd name="T15" fmla="*/ 305 h 305"/>
              <a:gd name="T16" fmla="*/ 291 w 378"/>
              <a:gd name="T17" fmla="*/ 260 h 305"/>
              <a:gd name="T18" fmla="*/ 333 w 378"/>
              <a:gd name="T19" fmla="*/ 260 h 305"/>
              <a:gd name="T20" fmla="*/ 333 w 378"/>
              <a:gd name="T21" fmla="*/ 217 h 305"/>
              <a:gd name="T22" fmla="*/ 378 w 378"/>
              <a:gd name="T23" fmla="*/ 217 h 305"/>
              <a:gd name="T24" fmla="*/ 378 w 378"/>
              <a:gd name="T25" fmla="*/ 0 h 305"/>
              <a:gd name="T26" fmla="*/ 276 w 378"/>
              <a:gd name="T27" fmla="*/ 293 h 305"/>
              <a:gd name="T28" fmla="*/ 11 w 378"/>
              <a:gd name="T29" fmla="*/ 293 h 305"/>
              <a:gd name="T30" fmla="*/ 11 w 378"/>
              <a:gd name="T31" fmla="*/ 102 h 305"/>
              <a:gd name="T32" fmla="*/ 45 w 378"/>
              <a:gd name="T33" fmla="*/ 102 h 305"/>
              <a:gd name="T34" fmla="*/ 45 w 378"/>
              <a:gd name="T35" fmla="*/ 260 h 305"/>
              <a:gd name="T36" fmla="*/ 276 w 378"/>
              <a:gd name="T37" fmla="*/ 260 h 305"/>
              <a:gd name="T38" fmla="*/ 276 w 378"/>
              <a:gd name="T39" fmla="*/ 293 h 305"/>
              <a:gd name="T40" fmla="*/ 321 w 378"/>
              <a:gd name="T41" fmla="*/ 248 h 305"/>
              <a:gd name="T42" fmla="*/ 291 w 378"/>
              <a:gd name="T43" fmla="*/ 248 h 305"/>
              <a:gd name="T44" fmla="*/ 56 w 378"/>
              <a:gd name="T45" fmla="*/ 248 h 305"/>
              <a:gd name="T46" fmla="*/ 56 w 378"/>
              <a:gd name="T47" fmla="*/ 88 h 305"/>
              <a:gd name="T48" fmla="*/ 56 w 378"/>
              <a:gd name="T49" fmla="*/ 57 h 305"/>
              <a:gd name="T50" fmla="*/ 87 w 378"/>
              <a:gd name="T51" fmla="*/ 57 h 305"/>
              <a:gd name="T52" fmla="*/ 87 w 378"/>
              <a:gd name="T53" fmla="*/ 217 h 305"/>
              <a:gd name="T54" fmla="*/ 321 w 378"/>
              <a:gd name="T55" fmla="*/ 217 h 305"/>
              <a:gd name="T56" fmla="*/ 321 w 378"/>
              <a:gd name="T57" fmla="*/ 248 h 305"/>
              <a:gd name="T58" fmla="*/ 366 w 378"/>
              <a:gd name="T59" fmla="*/ 203 h 305"/>
              <a:gd name="T60" fmla="*/ 333 w 378"/>
              <a:gd name="T61" fmla="*/ 203 h 305"/>
              <a:gd name="T62" fmla="*/ 101 w 378"/>
              <a:gd name="T63" fmla="*/ 203 h 305"/>
              <a:gd name="T64" fmla="*/ 101 w 378"/>
              <a:gd name="T65" fmla="*/ 45 h 305"/>
              <a:gd name="T66" fmla="*/ 101 w 378"/>
              <a:gd name="T67" fmla="*/ 12 h 305"/>
              <a:gd name="T68" fmla="*/ 366 w 378"/>
              <a:gd name="T69" fmla="*/ 12 h 305"/>
              <a:gd name="T70" fmla="*/ 366 w 378"/>
              <a:gd name="T71" fmla="*/ 20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8" h="305">
                <a:moveTo>
                  <a:pt x="378" y="0"/>
                </a:moveTo>
                <a:lnTo>
                  <a:pt x="87" y="0"/>
                </a:lnTo>
                <a:lnTo>
                  <a:pt x="87" y="45"/>
                </a:lnTo>
                <a:lnTo>
                  <a:pt x="45" y="45"/>
                </a:lnTo>
                <a:lnTo>
                  <a:pt x="45" y="88"/>
                </a:lnTo>
                <a:lnTo>
                  <a:pt x="0" y="88"/>
                </a:lnTo>
                <a:lnTo>
                  <a:pt x="0" y="305"/>
                </a:lnTo>
                <a:lnTo>
                  <a:pt x="291" y="305"/>
                </a:lnTo>
                <a:lnTo>
                  <a:pt x="291" y="260"/>
                </a:lnTo>
                <a:lnTo>
                  <a:pt x="333" y="260"/>
                </a:lnTo>
                <a:lnTo>
                  <a:pt x="333" y="217"/>
                </a:lnTo>
                <a:lnTo>
                  <a:pt x="378" y="217"/>
                </a:lnTo>
                <a:lnTo>
                  <a:pt x="378" y="0"/>
                </a:lnTo>
                <a:close/>
                <a:moveTo>
                  <a:pt x="276" y="293"/>
                </a:moveTo>
                <a:lnTo>
                  <a:pt x="11" y="293"/>
                </a:lnTo>
                <a:lnTo>
                  <a:pt x="11" y="102"/>
                </a:lnTo>
                <a:lnTo>
                  <a:pt x="45" y="102"/>
                </a:lnTo>
                <a:lnTo>
                  <a:pt x="45" y="260"/>
                </a:lnTo>
                <a:lnTo>
                  <a:pt x="276" y="260"/>
                </a:lnTo>
                <a:lnTo>
                  <a:pt x="276" y="293"/>
                </a:lnTo>
                <a:close/>
                <a:moveTo>
                  <a:pt x="321" y="248"/>
                </a:moveTo>
                <a:lnTo>
                  <a:pt x="291" y="248"/>
                </a:lnTo>
                <a:lnTo>
                  <a:pt x="56" y="248"/>
                </a:lnTo>
                <a:lnTo>
                  <a:pt x="56" y="88"/>
                </a:lnTo>
                <a:lnTo>
                  <a:pt x="56" y="57"/>
                </a:lnTo>
                <a:lnTo>
                  <a:pt x="87" y="57"/>
                </a:lnTo>
                <a:lnTo>
                  <a:pt x="87" y="217"/>
                </a:lnTo>
                <a:lnTo>
                  <a:pt x="321" y="217"/>
                </a:lnTo>
                <a:lnTo>
                  <a:pt x="321" y="248"/>
                </a:lnTo>
                <a:close/>
                <a:moveTo>
                  <a:pt x="366" y="203"/>
                </a:moveTo>
                <a:lnTo>
                  <a:pt x="333" y="203"/>
                </a:lnTo>
                <a:lnTo>
                  <a:pt x="101" y="203"/>
                </a:lnTo>
                <a:lnTo>
                  <a:pt x="101" y="45"/>
                </a:lnTo>
                <a:lnTo>
                  <a:pt x="101" y="12"/>
                </a:lnTo>
                <a:lnTo>
                  <a:pt x="366" y="12"/>
                </a:lnTo>
                <a:lnTo>
                  <a:pt x="366" y="203"/>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80">
            <a:extLst>
              <a:ext uri="{FF2B5EF4-FFF2-40B4-BE49-F238E27FC236}">
                <a16:creationId xmlns:a16="http://schemas.microsoft.com/office/drawing/2014/main" id="{47AE4F15-BB0C-B045-A52F-33E5B1A6B7DA}"/>
              </a:ext>
            </a:extLst>
          </p:cNvPr>
          <p:cNvSpPr>
            <a:spLocks noEditPoints="1"/>
          </p:cNvSpPr>
          <p:nvPr/>
        </p:nvSpPr>
        <p:spPr bwMode="auto">
          <a:xfrm>
            <a:off x="11008848" y="5151438"/>
            <a:ext cx="600075" cy="568325"/>
          </a:xfrm>
          <a:custGeom>
            <a:avLst/>
            <a:gdLst>
              <a:gd name="T0" fmla="*/ 69 w 160"/>
              <a:gd name="T1" fmla="*/ 80 h 150"/>
              <a:gd name="T2" fmla="*/ 91 w 160"/>
              <a:gd name="T3" fmla="*/ 80 h 150"/>
              <a:gd name="T4" fmla="*/ 80 w 160"/>
              <a:gd name="T5" fmla="*/ 85 h 150"/>
              <a:gd name="T6" fmla="*/ 80 w 160"/>
              <a:gd name="T7" fmla="*/ 75 h 150"/>
              <a:gd name="T8" fmla="*/ 80 w 160"/>
              <a:gd name="T9" fmla="*/ 85 h 150"/>
              <a:gd name="T10" fmla="*/ 92 w 160"/>
              <a:gd name="T11" fmla="*/ 101 h 150"/>
              <a:gd name="T12" fmla="*/ 89 w 160"/>
              <a:gd name="T13" fmla="*/ 100 h 150"/>
              <a:gd name="T14" fmla="*/ 99 w 160"/>
              <a:gd name="T15" fmla="*/ 80 h 150"/>
              <a:gd name="T16" fmla="*/ 61 w 160"/>
              <a:gd name="T17" fmla="*/ 80 h 150"/>
              <a:gd name="T18" fmla="*/ 71 w 160"/>
              <a:gd name="T19" fmla="*/ 100 h 150"/>
              <a:gd name="T20" fmla="*/ 56 w 160"/>
              <a:gd name="T21" fmla="*/ 80 h 150"/>
              <a:gd name="T22" fmla="*/ 104 w 160"/>
              <a:gd name="T23" fmla="*/ 80 h 150"/>
              <a:gd name="T24" fmla="*/ 121 w 160"/>
              <a:gd name="T25" fmla="*/ 149 h 150"/>
              <a:gd name="T26" fmla="*/ 118 w 160"/>
              <a:gd name="T27" fmla="*/ 144 h 150"/>
              <a:gd name="T28" fmla="*/ 80 w 160"/>
              <a:gd name="T29" fmla="*/ 5 h 150"/>
              <a:gd name="T30" fmla="*/ 42 w 160"/>
              <a:gd name="T31" fmla="*/ 144 h 150"/>
              <a:gd name="T32" fmla="*/ 41 w 160"/>
              <a:gd name="T33" fmla="*/ 149 h 150"/>
              <a:gd name="T34" fmla="*/ 0 w 160"/>
              <a:gd name="T35" fmla="*/ 80 h 150"/>
              <a:gd name="T36" fmla="*/ 160 w 160"/>
              <a:gd name="T37" fmla="*/ 80 h 150"/>
              <a:gd name="T38" fmla="*/ 107 w 160"/>
              <a:gd name="T39" fmla="*/ 132 h 150"/>
              <a:gd name="T40" fmla="*/ 136 w 160"/>
              <a:gd name="T41" fmla="*/ 80 h 150"/>
              <a:gd name="T42" fmla="*/ 24 w 160"/>
              <a:gd name="T43" fmla="*/ 80 h 150"/>
              <a:gd name="T44" fmla="*/ 53 w 160"/>
              <a:gd name="T45" fmla="*/ 132 h 150"/>
              <a:gd name="T46" fmla="*/ 49 w 160"/>
              <a:gd name="T47" fmla="*/ 133 h 150"/>
              <a:gd name="T48" fmla="*/ 80 w 160"/>
              <a:gd name="T49" fmla="*/ 19 h 150"/>
              <a:gd name="T50" fmla="*/ 111 w 160"/>
              <a:gd name="T51" fmla="*/ 133 h 150"/>
              <a:gd name="T52" fmla="*/ 100 w 160"/>
              <a:gd name="T53" fmla="*/ 117 h 150"/>
              <a:gd name="T54" fmla="*/ 99 w 160"/>
              <a:gd name="T55" fmla="*/ 112 h 150"/>
              <a:gd name="T56" fmla="*/ 80 w 160"/>
              <a:gd name="T57" fmla="*/ 43 h 150"/>
              <a:gd name="T58" fmla="*/ 61 w 160"/>
              <a:gd name="T59" fmla="*/ 112 h 150"/>
              <a:gd name="T60" fmla="*/ 58 w 160"/>
              <a:gd name="T61" fmla="*/ 117 h 150"/>
              <a:gd name="T62" fmla="*/ 80 w 160"/>
              <a:gd name="T63" fmla="*/ 37 h 150"/>
              <a:gd name="T64" fmla="*/ 102 w 160"/>
              <a:gd name="T65" fmla="*/ 11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50">
                <a:moveTo>
                  <a:pt x="80" y="69"/>
                </a:moveTo>
                <a:cubicBezTo>
                  <a:pt x="74" y="69"/>
                  <a:pt x="69" y="74"/>
                  <a:pt x="69" y="80"/>
                </a:cubicBezTo>
                <a:cubicBezTo>
                  <a:pt x="69" y="86"/>
                  <a:pt x="74" y="91"/>
                  <a:pt x="80" y="91"/>
                </a:cubicBezTo>
                <a:cubicBezTo>
                  <a:pt x="86" y="91"/>
                  <a:pt x="91" y="86"/>
                  <a:pt x="91" y="80"/>
                </a:cubicBezTo>
                <a:cubicBezTo>
                  <a:pt x="91" y="74"/>
                  <a:pt x="86" y="69"/>
                  <a:pt x="80" y="69"/>
                </a:cubicBezTo>
                <a:close/>
                <a:moveTo>
                  <a:pt x="80" y="85"/>
                </a:moveTo>
                <a:cubicBezTo>
                  <a:pt x="77" y="85"/>
                  <a:pt x="75" y="83"/>
                  <a:pt x="75" y="80"/>
                </a:cubicBezTo>
                <a:cubicBezTo>
                  <a:pt x="75" y="77"/>
                  <a:pt x="77" y="75"/>
                  <a:pt x="80" y="75"/>
                </a:cubicBezTo>
                <a:cubicBezTo>
                  <a:pt x="83" y="75"/>
                  <a:pt x="85" y="77"/>
                  <a:pt x="85" y="80"/>
                </a:cubicBezTo>
                <a:cubicBezTo>
                  <a:pt x="85" y="83"/>
                  <a:pt x="83" y="85"/>
                  <a:pt x="80" y="85"/>
                </a:cubicBezTo>
                <a:close/>
                <a:moveTo>
                  <a:pt x="104" y="80"/>
                </a:moveTo>
                <a:cubicBezTo>
                  <a:pt x="104" y="88"/>
                  <a:pt x="99" y="96"/>
                  <a:pt x="92" y="101"/>
                </a:cubicBezTo>
                <a:cubicBezTo>
                  <a:pt x="92" y="101"/>
                  <a:pt x="91" y="101"/>
                  <a:pt x="91" y="101"/>
                </a:cubicBezTo>
                <a:cubicBezTo>
                  <a:pt x="90" y="101"/>
                  <a:pt x="89" y="101"/>
                  <a:pt x="89" y="100"/>
                </a:cubicBezTo>
                <a:cubicBezTo>
                  <a:pt x="88" y="98"/>
                  <a:pt x="88" y="97"/>
                  <a:pt x="89" y="96"/>
                </a:cubicBezTo>
                <a:cubicBezTo>
                  <a:pt x="95" y="93"/>
                  <a:pt x="99" y="87"/>
                  <a:pt x="99" y="80"/>
                </a:cubicBezTo>
                <a:cubicBezTo>
                  <a:pt x="99" y="70"/>
                  <a:pt x="90" y="61"/>
                  <a:pt x="80" y="61"/>
                </a:cubicBezTo>
                <a:cubicBezTo>
                  <a:pt x="70" y="61"/>
                  <a:pt x="61" y="70"/>
                  <a:pt x="61" y="80"/>
                </a:cubicBezTo>
                <a:cubicBezTo>
                  <a:pt x="61" y="87"/>
                  <a:pt x="65" y="93"/>
                  <a:pt x="71" y="96"/>
                </a:cubicBezTo>
                <a:cubicBezTo>
                  <a:pt x="72" y="97"/>
                  <a:pt x="72" y="98"/>
                  <a:pt x="71" y="100"/>
                </a:cubicBezTo>
                <a:cubicBezTo>
                  <a:pt x="71" y="101"/>
                  <a:pt x="69" y="101"/>
                  <a:pt x="68" y="101"/>
                </a:cubicBezTo>
                <a:cubicBezTo>
                  <a:pt x="61" y="96"/>
                  <a:pt x="56" y="88"/>
                  <a:pt x="56" y="80"/>
                </a:cubicBezTo>
                <a:cubicBezTo>
                  <a:pt x="56" y="67"/>
                  <a:pt x="67" y="56"/>
                  <a:pt x="80" y="56"/>
                </a:cubicBezTo>
                <a:cubicBezTo>
                  <a:pt x="93" y="56"/>
                  <a:pt x="104" y="67"/>
                  <a:pt x="104" y="80"/>
                </a:cubicBezTo>
                <a:close/>
                <a:moveTo>
                  <a:pt x="160" y="80"/>
                </a:moveTo>
                <a:cubicBezTo>
                  <a:pt x="160" y="108"/>
                  <a:pt x="145" y="135"/>
                  <a:pt x="121" y="149"/>
                </a:cubicBezTo>
                <a:cubicBezTo>
                  <a:pt x="119" y="150"/>
                  <a:pt x="118" y="149"/>
                  <a:pt x="117" y="148"/>
                </a:cubicBezTo>
                <a:cubicBezTo>
                  <a:pt x="116" y="147"/>
                  <a:pt x="117" y="145"/>
                  <a:pt x="118" y="144"/>
                </a:cubicBezTo>
                <a:cubicBezTo>
                  <a:pt x="141" y="131"/>
                  <a:pt x="155" y="106"/>
                  <a:pt x="155" y="80"/>
                </a:cubicBezTo>
                <a:cubicBezTo>
                  <a:pt x="155" y="39"/>
                  <a:pt x="121" y="5"/>
                  <a:pt x="80" y="5"/>
                </a:cubicBezTo>
                <a:cubicBezTo>
                  <a:pt x="39" y="5"/>
                  <a:pt x="5" y="39"/>
                  <a:pt x="5" y="80"/>
                </a:cubicBezTo>
                <a:cubicBezTo>
                  <a:pt x="5" y="106"/>
                  <a:pt x="19" y="131"/>
                  <a:pt x="42" y="144"/>
                </a:cubicBezTo>
                <a:cubicBezTo>
                  <a:pt x="43" y="145"/>
                  <a:pt x="44" y="147"/>
                  <a:pt x="43" y="148"/>
                </a:cubicBezTo>
                <a:cubicBezTo>
                  <a:pt x="43" y="149"/>
                  <a:pt x="42" y="149"/>
                  <a:pt x="41" y="149"/>
                </a:cubicBezTo>
                <a:cubicBezTo>
                  <a:pt x="40" y="149"/>
                  <a:pt x="40" y="149"/>
                  <a:pt x="39" y="149"/>
                </a:cubicBezTo>
                <a:cubicBezTo>
                  <a:pt x="15" y="135"/>
                  <a:pt x="0" y="108"/>
                  <a:pt x="0" y="80"/>
                </a:cubicBezTo>
                <a:cubicBezTo>
                  <a:pt x="0" y="36"/>
                  <a:pt x="36" y="0"/>
                  <a:pt x="80" y="0"/>
                </a:cubicBezTo>
                <a:cubicBezTo>
                  <a:pt x="124" y="0"/>
                  <a:pt x="160" y="36"/>
                  <a:pt x="160" y="80"/>
                </a:cubicBezTo>
                <a:close/>
                <a:moveTo>
                  <a:pt x="111" y="133"/>
                </a:moveTo>
                <a:cubicBezTo>
                  <a:pt x="110" y="134"/>
                  <a:pt x="108" y="133"/>
                  <a:pt x="107" y="132"/>
                </a:cubicBezTo>
                <a:cubicBezTo>
                  <a:pt x="107" y="131"/>
                  <a:pt x="107" y="129"/>
                  <a:pt x="108" y="128"/>
                </a:cubicBezTo>
                <a:cubicBezTo>
                  <a:pt x="125" y="118"/>
                  <a:pt x="136" y="100"/>
                  <a:pt x="136" y="80"/>
                </a:cubicBezTo>
                <a:cubicBezTo>
                  <a:pt x="136" y="49"/>
                  <a:pt x="111" y="24"/>
                  <a:pt x="80" y="24"/>
                </a:cubicBezTo>
                <a:cubicBezTo>
                  <a:pt x="49" y="24"/>
                  <a:pt x="24" y="49"/>
                  <a:pt x="24" y="80"/>
                </a:cubicBezTo>
                <a:cubicBezTo>
                  <a:pt x="24" y="100"/>
                  <a:pt x="35" y="118"/>
                  <a:pt x="52" y="128"/>
                </a:cubicBezTo>
                <a:cubicBezTo>
                  <a:pt x="53" y="129"/>
                  <a:pt x="53" y="131"/>
                  <a:pt x="53" y="132"/>
                </a:cubicBezTo>
                <a:cubicBezTo>
                  <a:pt x="52" y="133"/>
                  <a:pt x="51" y="133"/>
                  <a:pt x="50" y="133"/>
                </a:cubicBezTo>
                <a:cubicBezTo>
                  <a:pt x="50" y="133"/>
                  <a:pt x="49" y="133"/>
                  <a:pt x="49" y="133"/>
                </a:cubicBezTo>
                <a:cubicBezTo>
                  <a:pt x="30" y="122"/>
                  <a:pt x="19" y="102"/>
                  <a:pt x="19" y="80"/>
                </a:cubicBezTo>
                <a:cubicBezTo>
                  <a:pt x="19" y="46"/>
                  <a:pt x="46" y="19"/>
                  <a:pt x="80" y="19"/>
                </a:cubicBezTo>
                <a:cubicBezTo>
                  <a:pt x="114" y="19"/>
                  <a:pt x="141" y="46"/>
                  <a:pt x="141" y="80"/>
                </a:cubicBezTo>
                <a:cubicBezTo>
                  <a:pt x="141" y="102"/>
                  <a:pt x="130" y="122"/>
                  <a:pt x="111" y="133"/>
                </a:cubicBezTo>
                <a:close/>
                <a:moveTo>
                  <a:pt x="102" y="117"/>
                </a:moveTo>
                <a:cubicBezTo>
                  <a:pt x="101" y="117"/>
                  <a:pt x="101" y="117"/>
                  <a:pt x="100" y="117"/>
                </a:cubicBezTo>
                <a:cubicBezTo>
                  <a:pt x="99" y="117"/>
                  <a:pt x="98" y="117"/>
                  <a:pt x="98" y="116"/>
                </a:cubicBezTo>
                <a:cubicBezTo>
                  <a:pt x="97" y="115"/>
                  <a:pt x="98" y="113"/>
                  <a:pt x="99" y="112"/>
                </a:cubicBezTo>
                <a:cubicBezTo>
                  <a:pt x="110" y="105"/>
                  <a:pt x="117" y="93"/>
                  <a:pt x="117" y="80"/>
                </a:cubicBezTo>
                <a:cubicBezTo>
                  <a:pt x="117" y="59"/>
                  <a:pt x="101" y="43"/>
                  <a:pt x="80" y="43"/>
                </a:cubicBezTo>
                <a:cubicBezTo>
                  <a:pt x="59" y="43"/>
                  <a:pt x="43" y="59"/>
                  <a:pt x="43" y="80"/>
                </a:cubicBezTo>
                <a:cubicBezTo>
                  <a:pt x="43" y="93"/>
                  <a:pt x="50" y="105"/>
                  <a:pt x="61" y="112"/>
                </a:cubicBezTo>
                <a:cubicBezTo>
                  <a:pt x="62" y="113"/>
                  <a:pt x="63" y="115"/>
                  <a:pt x="62" y="116"/>
                </a:cubicBezTo>
                <a:cubicBezTo>
                  <a:pt x="61" y="117"/>
                  <a:pt x="60" y="117"/>
                  <a:pt x="58" y="117"/>
                </a:cubicBezTo>
                <a:cubicBezTo>
                  <a:pt x="45" y="109"/>
                  <a:pt x="37" y="95"/>
                  <a:pt x="37" y="80"/>
                </a:cubicBezTo>
                <a:cubicBezTo>
                  <a:pt x="37" y="56"/>
                  <a:pt x="56" y="37"/>
                  <a:pt x="80" y="37"/>
                </a:cubicBezTo>
                <a:cubicBezTo>
                  <a:pt x="104" y="37"/>
                  <a:pt x="123" y="56"/>
                  <a:pt x="123" y="80"/>
                </a:cubicBezTo>
                <a:cubicBezTo>
                  <a:pt x="123" y="95"/>
                  <a:pt x="115" y="109"/>
                  <a:pt x="102" y="117"/>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81">
            <a:extLst>
              <a:ext uri="{FF2B5EF4-FFF2-40B4-BE49-F238E27FC236}">
                <a16:creationId xmlns:a16="http://schemas.microsoft.com/office/drawing/2014/main" id="{1C7F5871-20EA-1F40-8D35-8351B765EC94}"/>
              </a:ext>
            </a:extLst>
          </p:cNvPr>
          <p:cNvSpPr>
            <a:spLocks noEditPoints="1"/>
          </p:cNvSpPr>
          <p:nvPr/>
        </p:nvSpPr>
        <p:spPr bwMode="auto">
          <a:xfrm>
            <a:off x="9072254" y="3124200"/>
            <a:ext cx="461963" cy="604838"/>
          </a:xfrm>
          <a:custGeom>
            <a:avLst/>
            <a:gdLst>
              <a:gd name="T0" fmla="*/ 98 w 123"/>
              <a:gd name="T1" fmla="*/ 10 h 160"/>
              <a:gd name="T2" fmla="*/ 97 w 123"/>
              <a:gd name="T3" fmla="*/ 9 h 160"/>
              <a:gd name="T4" fmla="*/ 89 w 123"/>
              <a:gd name="T5" fmla="*/ 5 h 160"/>
              <a:gd name="T6" fmla="*/ 83 w 123"/>
              <a:gd name="T7" fmla="*/ 2 h 160"/>
              <a:gd name="T8" fmla="*/ 73 w 123"/>
              <a:gd name="T9" fmla="*/ 0 h 160"/>
              <a:gd name="T10" fmla="*/ 61 w 123"/>
              <a:gd name="T11" fmla="*/ 0 h 160"/>
              <a:gd name="T12" fmla="*/ 55 w 123"/>
              <a:gd name="T13" fmla="*/ 1 h 160"/>
              <a:gd name="T14" fmla="*/ 40 w 123"/>
              <a:gd name="T15" fmla="*/ 7 h 160"/>
              <a:gd name="T16" fmla="*/ 34 w 123"/>
              <a:gd name="T17" fmla="*/ 10 h 160"/>
              <a:gd name="T18" fmla="*/ 21 w 123"/>
              <a:gd name="T19" fmla="*/ 7 h 160"/>
              <a:gd name="T20" fmla="*/ 19 w 123"/>
              <a:gd name="T21" fmla="*/ 103 h 160"/>
              <a:gd name="T22" fmla="*/ 37 w 123"/>
              <a:gd name="T23" fmla="*/ 147 h 160"/>
              <a:gd name="T24" fmla="*/ 96 w 123"/>
              <a:gd name="T25" fmla="*/ 147 h 160"/>
              <a:gd name="T26" fmla="*/ 114 w 123"/>
              <a:gd name="T27" fmla="*/ 103 h 160"/>
              <a:gd name="T28" fmla="*/ 123 w 123"/>
              <a:gd name="T29" fmla="*/ 56 h 160"/>
              <a:gd name="T30" fmla="*/ 47 w 123"/>
              <a:gd name="T31" fmla="*/ 9 h 160"/>
              <a:gd name="T32" fmla="*/ 56 w 123"/>
              <a:gd name="T33" fmla="*/ 6 h 160"/>
              <a:gd name="T34" fmla="*/ 62 w 123"/>
              <a:gd name="T35" fmla="*/ 6 h 160"/>
              <a:gd name="T36" fmla="*/ 72 w 123"/>
              <a:gd name="T37" fmla="*/ 6 h 160"/>
              <a:gd name="T38" fmla="*/ 81 w 123"/>
              <a:gd name="T39" fmla="*/ 7 h 160"/>
              <a:gd name="T40" fmla="*/ 87 w 123"/>
              <a:gd name="T41" fmla="*/ 10 h 160"/>
              <a:gd name="T42" fmla="*/ 92 w 123"/>
              <a:gd name="T43" fmla="*/ 12 h 160"/>
              <a:gd name="T44" fmla="*/ 72 w 123"/>
              <a:gd name="T45" fmla="*/ 26 h 160"/>
              <a:gd name="T46" fmla="*/ 57 w 123"/>
              <a:gd name="T47" fmla="*/ 32 h 160"/>
              <a:gd name="T48" fmla="*/ 62 w 123"/>
              <a:gd name="T49" fmla="*/ 39 h 160"/>
              <a:gd name="T50" fmla="*/ 54 w 123"/>
              <a:gd name="T51" fmla="*/ 38 h 160"/>
              <a:gd name="T52" fmla="*/ 39 w 123"/>
              <a:gd name="T53" fmla="*/ 13 h 160"/>
              <a:gd name="T54" fmla="*/ 70 w 123"/>
              <a:gd name="T55" fmla="*/ 49 h 160"/>
              <a:gd name="T56" fmla="*/ 70 w 123"/>
              <a:gd name="T57" fmla="*/ 44 h 160"/>
              <a:gd name="T58" fmla="*/ 80 w 123"/>
              <a:gd name="T59" fmla="*/ 48 h 160"/>
              <a:gd name="T60" fmla="*/ 92 w 123"/>
              <a:gd name="T61" fmla="*/ 56 h 160"/>
              <a:gd name="T62" fmla="*/ 96 w 123"/>
              <a:gd name="T63" fmla="*/ 74 h 160"/>
              <a:gd name="T64" fmla="*/ 75 w 123"/>
              <a:gd name="T65" fmla="*/ 93 h 160"/>
              <a:gd name="T66" fmla="*/ 63 w 123"/>
              <a:gd name="T67" fmla="*/ 33 h 160"/>
              <a:gd name="T68" fmla="*/ 63 w 123"/>
              <a:gd name="T69" fmla="*/ 32 h 160"/>
              <a:gd name="T70" fmla="*/ 66 w 123"/>
              <a:gd name="T71" fmla="*/ 32 h 160"/>
              <a:gd name="T72" fmla="*/ 69 w 123"/>
              <a:gd name="T73" fmla="*/ 34 h 160"/>
              <a:gd name="T74" fmla="*/ 67 w 123"/>
              <a:gd name="T75" fmla="*/ 34 h 160"/>
              <a:gd name="T76" fmla="*/ 65 w 123"/>
              <a:gd name="T77" fmla="*/ 41 h 160"/>
              <a:gd name="T78" fmla="*/ 66 w 123"/>
              <a:gd name="T79" fmla="*/ 40 h 160"/>
              <a:gd name="T80" fmla="*/ 34 w 123"/>
              <a:gd name="T81" fmla="*/ 17 h 160"/>
              <a:gd name="T82" fmla="*/ 58 w 123"/>
              <a:gd name="T83" fmla="*/ 44 h 160"/>
              <a:gd name="T84" fmla="*/ 64 w 123"/>
              <a:gd name="T85" fmla="*/ 49 h 160"/>
              <a:gd name="T86" fmla="*/ 74 w 123"/>
              <a:gd name="T87" fmla="*/ 76 h 160"/>
              <a:gd name="T88" fmla="*/ 75 w 123"/>
              <a:gd name="T89" fmla="*/ 98 h 160"/>
              <a:gd name="T90" fmla="*/ 94 w 123"/>
              <a:gd name="T91" fmla="*/ 84 h 160"/>
              <a:gd name="T92" fmla="*/ 101 w 123"/>
              <a:gd name="T93" fmla="*/ 76 h 160"/>
              <a:gd name="T94" fmla="*/ 97 w 123"/>
              <a:gd name="T95" fmla="*/ 53 h 160"/>
              <a:gd name="T96" fmla="*/ 85 w 123"/>
              <a:gd name="T97" fmla="*/ 44 h 160"/>
              <a:gd name="T98" fmla="*/ 75 w 123"/>
              <a:gd name="T99" fmla="*/ 43 h 160"/>
              <a:gd name="T100" fmla="*/ 72 w 123"/>
              <a:gd name="T101" fmla="*/ 37 h 160"/>
              <a:gd name="T102" fmla="*/ 78 w 123"/>
              <a:gd name="T103" fmla="*/ 29 h 160"/>
              <a:gd name="T104" fmla="*/ 117 w 123"/>
              <a:gd name="T105" fmla="*/ 56 h 160"/>
              <a:gd name="T106" fmla="*/ 34 w 123"/>
              <a:gd name="T107" fmla="*/ 17 h 160"/>
              <a:gd name="T108" fmla="*/ 43 w 123"/>
              <a:gd name="T109" fmla="*/ 155 h 160"/>
              <a:gd name="T110" fmla="*/ 108 w 123"/>
              <a:gd name="T111" fmla="*/ 101 h 160"/>
              <a:gd name="T112" fmla="*/ 21 w 123"/>
              <a:gd name="T113" fmla="*/ 15 h 160"/>
              <a:gd name="T114" fmla="*/ 67 w 123"/>
              <a:gd name="T115" fmla="*/ 11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 h="160">
                <a:moveTo>
                  <a:pt x="123" y="56"/>
                </a:moveTo>
                <a:cubicBezTo>
                  <a:pt x="123" y="37"/>
                  <a:pt x="113" y="20"/>
                  <a:pt x="98" y="10"/>
                </a:cubicBezTo>
                <a:cubicBezTo>
                  <a:pt x="98" y="10"/>
                  <a:pt x="98" y="10"/>
                  <a:pt x="98" y="10"/>
                </a:cubicBezTo>
                <a:cubicBezTo>
                  <a:pt x="98" y="10"/>
                  <a:pt x="98" y="10"/>
                  <a:pt x="98" y="10"/>
                </a:cubicBezTo>
                <a:cubicBezTo>
                  <a:pt x="98" y="10"/>
                  <a:pt x="98" y="10"/>
                  <a:pt x="98" y="10"/>
                </a:cubicBezTo>
                <a:cubicBezTo>
                  <a:pt x="97" y="9"/>
                  <a:pt x="97" y="9"/>
                  <a:pt x="97" y="9"/>
                </a:cubicBezTo>
                <a:cubicBezTo>
                  <a:pt x="96" y="8"/>
                  <a:pt x="95" y="8"/>
                  <a:pt x="94" y="7"/>
                </a:cubicBezTo>
                <a:cubicBezTo>
                  <a:pt x="93" y="7"/>
                  <a:pt x="93" y="6"/>
                  <a:pt x="92" y="6"/>
                </a:cubicBezTo>
                <a:cubicBezTo>
                  <a:pt x="91" y="6"/>
                  <a:pt x="90" y="5"/>
                  <a:pt x="89" y="5"/>
                </a:cubicBezTo>
                <a:cubicBezTo>
                  <a:pt x="89" y="5"/>
                  <a:pt x="88" y="4"/>
                  <a:pt x="88" y="4"/>
                </a:cubicBezTo>
                <a:cubicBezTo>
                  <a:pt x="86" y="4"/>
                  <a:pt x="85" y="3"/>
                  <a:pt x="84" y="3"/>
                </a:cubicBezTo>
                <a:cubicBezTo>
                  <a:pt x="84" y="3"/>
                  <a:pt x="83" y="3"/>
                  <a:pt x="83" y="2"/>
                </a:cubicBezTo>
                <a:cubicBezTo>
                  <a:pt x="81" y="2"/>
                  <a:pt x="80" y="2"/>
                  <a:pt x="78" y="1"/>
                </a:cubicBezTo>
                <a:cubicBezTo>
                  <a:pt x="78" y="1"/>
                  <a:pt x="77" y="1"/>
                  <a:pt x="77" y="1"/>
                </a:cubicBezTo>
                <a:cubicBezTo>
                  <a:pt x="76" y="1"/>
                  <a:pt x="74" y="1"/>
                  <a:pt x="73" y="0"/>
                </a:cubicBezTo>
                <a:cubicBezTo>
                  <a:pt x="73" y="0"/>
                  <a:pt x="72" y="0"/>
                  <a:pt x="72" y="0"/>
                </a:cubicBezTo>
                <a:cubicBezTo>
                  <a:pt x="70" y="0"/>
                  <a:pt x="68" y="0"/>
                  <a:pt x="67" y="0"/>
                </a:cubicBezTo>
                <a:cubicBezTo>
                  <a:pt x="65" y="0"/>
                  <a:pt x="63" y="0"/>
                  <a:pt x="61" y="0"/>
                </a:cubicBezTo>
                <a:cubicBezTo>
                  <a:pt x="61" y="0"/>
                  <a:pt x="61" y="0"/>
                  <a:pt x="60" y="0"/>
                </a:cubicBezTo>
                <a:cubicBezTo>
                  <a:pt x="59" y="1"/>
                  <a:pt x="57" y="1"/>
                  <a:pt x="56" y="1"/>
                </a:cubicBezTo>
                <a:cubicBezTo>
                  <a:pt x="56" y="1"/>
                  <a:pt x="55" y="1"/>
                  <a:pt x="55" y="1"/>
                </a:cubicBezTo>
                <a:cubicBezTo>
                  <a:pt x="52" y="2"/>
                  <a:pt x="48" y="3"/>
                  <a:pt x="45" y="4"/>
                </a:cubicBezTo>
                <a:cubicBezTo>
                  <a:pt x="45" y="4"/>
                  <a:pt x="45" y="5"/>
                  <a:pt x="44" y="5"/>
                </a:cubicBezTo>
                <a:cubicBezTo>
                  <a:pt x="43" y="5"/>
                  <a:pt x="42" y="6"/>
                  <a:pt x="40" y="7"/>
                </a:cubicBezTo>
                <a:cubicBezTo>
                  <a:pt x="40" y="7"/>
                  <a:pt x="40" y="7"/>
                  <a:pt x="40" y="7"/>
                </a:cubicBezTo>
                <a:cubicBezTo>
                  <a:pt x="38" y="8"/>
                  <a:pt x="37" y="9"/>
                  <a:pt x="35" y="10"/>
                </a:cubicBezTo>
                <a:cubicBezTo>
                  <a:pt x="34" y="10"/>
                  <a:pt x="34" y="10"/>
                  <a:pt x="34" y="10"/>
                </a:cubicBezTo>
                <a:cubicBezTo>
                  <a:pt x="34" y="11"/>
                  <a:pt x="34" y="11"/>
                  <a:pt x="34" y="11"/>
                </a:cubicBezTo>
                <a:cubicBezTo>
                  <a:pt x="32" y="12"/>
                  <a:pt x="31" y="13"/>
                  <a:pt x="29" y="15"/>
                </a:cubicBezTo>
                <a:cubicBezTo>
                  <a:pt x="21" y="7"/>
                  <a:pt x="21" y="7"/>
                  <a:pt x="21" y="7"/>
                </a:cubicBezTo>
                <a:cubicBezTo>
                  <a:pt x="19" y="9"/>
                  <a:pt x="19" y="9"/>
                  <a:pt x="19" y="9"/>
                </a:cubicBezTo>
                <a:cubicBezTo>
                  <a:pt x="7" y="21"/>
                  <a:pt x="0" y="38"/>
                  <a:pt x="0" y="56"/>
                </a:cubicBezTo>
                <a:cubicBezTo>
                  <a:pt x="0" y="74"/>
                  <a:pt x="7" y="91"/>
                  <a:pt x="19" y="103"/>
                </a:cubicBezTo>
                <a:cubicBezTo>
                  <a:pt x="31" y="115"/>
                  <a:pt x="47" y="122"/>
                  <a:pt x="64" y="123"/>
                </a:cubicBezTo>
                <a:cubicBezTo>
                  <a:pt x="64" y="147"/>
                  <a:pt x="64" y="147"/>
                  <a:pt x="64" y="147"/>
                </a:cubicBezTo>
                <a:cubicBezTo>
                  <a:pt x="37" y="147"/>
                  <a:pt x="37" y="147"/>
                  <a:pt x="37" y="147"/>
                </a:cubicBezTo>
                <a:cubicBezTo>
                  <a:pt x="37" y="160"/>
                  <a:pt x="37" y="160"/>
                  <a:pt x="37" y="160"/>
                </a:cubicBezTo>
                <a:cubicBezTo>
                  <a:pt x="96" y="160"/>
                  <a:pt x="96" y="160"/>
                  <a:pt x="96" y="160"/>
                </a:cubicBezTo>
                <a:cubicBezTo>
                  <a:pt x="96" y="147"/>
                  <a:pt x="96" y="147"/>
                  <a:pt x="96" y="147"/>
                </a:cubicBezTo>
                <a:cubicBezTo>
                  <a:pt x="69" y="147"/>
                  <a:pt x="69" y="147"/>
                  <a:pt x="69" y="147"/>
                </a:cubicBezTo>
                <a:cubicBezTo>
                  <a:pt x="69" y="123"/>
                  <a:pt x="69" y="123"/>
                  <a:pt x="69" y="123"/>
                </a:cubicBezTo>
                <a:cubicBezTo>
                  <a:pt x="86" y="122"/>
                  <a:pt x="102" y="115"/>
                  <a:pt x="114" y="103"/>
                </a:cubicBezTo>
                <a:cubicBezTo>
                  <a:pt x="116" y="101"/>
                  <a:pt x="116" y="101"/>
                  <a:pt x="116" y="101"/>
                </a:cubicBezTo>
                <a:cubicBezTo>
                  <a:pt x="108" y="94"/>
                  <a:pt x="108" y="94"/>
                  <a:pt x="108" y="94"/>
                </a:cubicBezTo>
                <a:cubicBezTo>
                  <a:pt x="117" y="84"/>
                  <a:pt x="123" y="70"/>
                  <a:pt x="123" y="56"/>
                </a:cubicBezTo>
                <a:close/>
                <a:moveTo>
                  <a:pt x="39" y="13"/>
                </a:moveTo>
                <a:cubicBezTo>
                  <a:pt x="42" y="12"/>
                  <a:pt x="44" y="11"/>
                  <a:pt x="47" y="9"/>
                </a:cubicBezTo>
                <a:cubicBezTo>
                  <a:pt x="47" y="9"/>
                  <a:pt x="47" y="9"/>
                  <a:pt x="47" y="9"/>
                </a:cubicBezTo>
                <a:cubicBezTo>
                  <a:pt x="49" y="9"/>
                  <a:pt x="50" y="8"/>
                  <a:pt x="51" y="8"/>
                </a:cubicBezTo>
                <a:cubicBezTo>
                  <a:pt x="51" y="8"/>
                  <a:pt x="52" y="8"/>
                  <a:pt x="52" y="8"/>
                </a:cubicBezTo>
                <a:cubicBezTo>
                  <a:pt x="53" y="7"/>
                  <a:pt x="55" y="7"/>
                  <a:pt x="56" y="6"/>
                </a:cubicBezTo>
                <a:cubicBezTo>
                  <a:pt x="56" y="6"/>
                  <a:pt x="57" y="6"/>
                  <a:pt x="57" y="6"/>
                </a:cubicBezTo>
                <a:cubicBezTo>
                  <a:pt x="58" y="6"/>
                  <a:pt x="60" y="6"/>
                  <a:pt x="61" y="6"/>
                </a:cubicBezTo>
                <a:cubicBezTo>
                  <a:pt x="61" y="6"/>
                  <a:pt x="62" y="6"/>
                  <a:pt x="62" y="6"/>
                </a:cubicBezTo>
                <a:cubicBezTo>
                  <a:pt x="64" y="5"/>
                  <a:pt x="65" y="5"/>
                  <a:pt x="67" y="5"/>
                </a:cubicBezTo>
                <a:cubicBezTo>
                  <a:pt x="68" y="5"/>
                  <a:pt x="70" y="5"/>
                  <a:pt x="71" y="6"/>
                </a:cubicBezTo>
                <a:cubicBezTo>
                  <a:pt x="72" y="6"/>
                  <a:pt x="72" y="6"/>
                  <a:pt x="72" y="6"/>
                </a:cubicBezTo>
                <a:cubicBezTo>
                  <a:pt x="74" y="6"/>
                  <a:pt x="75" y="6"/>
                  <a:pt x="77" y="6"/>
                </a:cubicBezTo>
                <a:cubicBezTo>
                  <a:pt x="77" y="6"/>
                  <a:pt x="77" y="6"/>
                  <a:pt x="77" y="7"/>
                </a:cubicBezTo>
                <a:cubicBezTo>
                  <a:pt x="79" y="7"/>
                  <a:pt x="80" y="7"/>
                  <a:pt x="81" y="7"/>
                </a:cubicBezTo>
                <a:cubicBezTo>
                  <a:pt x="81" y="8"/>
                  <a:pt x="82" y="8"/>
                  <a:pt x="82" y="8"/>
                </a:cubicBezTo>
                <a:cubicBezTo>
                  <a:pt x="84" y="8"/>
                  <a:pt x="85" y="9"/>
                  <a:pt x="86" y="9"/>
                </a:cubicBezTo>
                <a:cubicBezTo>
                  <a:pt x="86" y="9"/>
                  <a:pt x="87" y="10"/>
                  <a:pt x="87" y="10"/>
                </a:cubicBezTo>
                <a:cubicBezTo>
                  <a:pt x="88" y="10"/>
                  <a:pt x="89" y="11"/>
                  <a:pt x="90" y="11"/>
                </a:cubicBezTo>
                <a:cubicBezTo>
                  <a:pt x="90" y="11"/>
                  <a:pt x="91" y="12"/>
                  <a:pt x="91" y="12"/>
                </a:cubicBezTo>
                <a:cubicBezTo>
                  <a:pt x="92" y="12"/>
                  <a:pt x="92" y="12"/>
                  <a:pt x="92" y="12"/>
                </a:cubicBezTo>
                <a:cubicBezTo>
                  <a:pt x="84" y="15"/>
                  <a:pt x="79" y="19"/>
                  <a:pt x="74" y="26"/>
                </a:cubicBezTo>
                <a:cubicBezTo>
                  <a:pt x="73" y="26"/>
                  <a:pt x="73" y="27"/>
                  <a:pt x="73" y="27"/>
                </a:cubicBezTo>
                <a:cubicBezTo>
                  <a:pt x="72" y="27"/>
                  <a:pt x="72" y="27"/>
                  <a:pt x="72" y="26"/>
                </a:cubicBezTo>
                <a:cubicBezTo>
                  <a:pt x="70" y="25"/>
                  <a:pt x="67" y="25"/>
                  <a:pt x="64" y="26"/>
                </a:cubicBezTo>
                <a:cubicBezTo>
                  <a:pt x="64" y="27"/>
                  <a:pt x="64" y="27"/>
                  <a:pt x="64" y="27"/>
                </a:cubicBezTo>
                <a:cubicBezTo>
                  <a:pt x="60" y="27"/>
                  <a:pt x="58" y="27"/>
                  <a:pt x="57" y="32"/>
                </a:cubicBezTo>
                <a:cubicBezTo>
                  <a:pt x="57" y="34"/>
                  <a:pt x="59" y="37"/>
                  <a:pt x="61" y="38"/>
                </a:cubicBezTo>
                <a:cubicBezTo>
                  <a:pt x="61" y="38"/>
                  <a:pt x="61" y="38"/>
                  <a:pt x="62" y="38"/>
                </a:cubicBezTo>
                <a:cubicBezTo>
                  <a:pt x="62" y="38"/>
                  <a:pt x="62" y="39"/>
                  <a:pt x="62" y="39"/>
                </a:cubicBezTo>
                <a:cubicBezTo>
                  <a:pt x="63" y="40"/>
                  <a:pt x="63" y="40"/>
                  <a:pt x="63" y="40"/>
                </a:cubicBezTo>
                <a:cubicBezTo>
                  <a:pt x="61" y="39"/>
                  <a:pt x="60" y="39"/>
                  <a:pt x="59" y="39"/>
                </a:cubicBezTo>
                <a:cubicBezTo>
                  <a:pt x="57" y="39"/>
                  <a:pt x="56" y="38"/>
                  <a:pt x="54" y="38"/>
                </a:cubicBezTo>
                <a:cubicBezTo>
                  <a:pt x="48" y="36"/>
                  <a:pt x="44" y="26"/>
                  <a:pt x="41" y="19"/>
                </a:cubicBezTo>
                <a:cubicBezTo>
                  <a:pt x="40" y="18"/>
                  <a:pt x="40" y="16"/>
                  <a:pt x="39" y="15"/>
                </a:cubicBezTo>
                <a:cubicBezTo>
                  <a:pt x="39" y="14"/>
                  <a:pt x="39" y="14"/>
                  <a:pt x="39" y="13"/>
                </a:cubicBezTo>
                <a:close/>
                <a:moveTo>
                  <a:pt x="77" y="72"/>
                </a:moveTo>
                <a:cubicBezTo>
                  <a:pt x="72" y="68"/>
                  <a:pt x="70" y="62"/>
                  <a:pt x="72" y="57"/>
                </a:cubicBezTo>
                <a:cubicBezTo>
                  <a:pt x="73" y="54"/>
                  <a:pt x="72" y="51"/>
                  <a:pt x="70" y="49"/>
                </a:cubicBezTo>
                <a:cubicBezTo>
                  <a:pt x="69" y="49"/>
                  <a:pt x="69" y="48"/>
                  <a:pt x="69" y="48"/>
                </a:cubicBezTo>
                <a:cubicBezTo>
                  <a:pt x="69" y="47"/>
                  <a:pt x="69" y="45"/>
                  <a:pt x="68" y="43"/>
                </a:cubicBezTo>
                <a:cubicBezTo>
                  <a:pt x="69" y="44"/>
                  <a:pt x="69" y="44"/>
                  <a:pt x="70" y="44"/>
                </a:cubicBezTo>
                <a:cubicBezTo>
                  <a:pt x="70" y="44"/>
                  <a:pt x="70" y="44"/>
                  <a:pt x="70" y="45"/>
                </a:cubicBezTo>
                <a:cubicBezTo>
                  <a:pt x="71" y="47"/>
                  <a:pt x="72" y="49"/>
                  <a:pt x="74" y="49"/>
                </a:cubicBezTo>
                <a:cubicBezTo>
                  <a:pt x="76" y="50"/>
                  <a:pt x="79" y="49"/>
                  <a:pt x="80" y="48"/>
                </a:cubicBezTo>
                <a:cubicBezTo>
                  <a:pt x="81" y="48"/>
                  <a:pt x="81" y="48"/>
                  <a:pt x="83" y="49"/>
                </a:cubicBezTo>
                <a:cubicBezTo>
                  <a:pt x="84" y="49"/>
                  <a:pt x="86" y="50"/>
                  <a:pt x="89" y="50"/>
                </a:cubicBezTo>
                <a:cubicBezTo>
                  <a:pt x="90" y="52"/>
                  <a:pt x="91" y="54"/>
                  <a:pt x="92" y="56"/>
                </a:cubicBezTo>
                <a:cubicBezTo>
                  <a:pt x="94" y="59"/>
                  <a:pt x="96" y="61"/>
                  <a:pt x="99" y="63"/>
                </a:cubicBezTo>
                <a:cubicBezTo>
                  <a:pt x="99" y="64"/>
                  <a:pt x="99" y="67"/>
                  <a:pt x="97" y="72"/>
                </a:cubicBezTo>
                <a:cubicBezTo>
                  <a:pt x="96" y="73"/>
                  <a:pt x="96" y="73"/>
                  <a:pt x="96" y="74"/>
                </a:cubicBezTo>
                <a:cubicBezTo>
                  <a:pt x="93" y="76"/>
                  <a:pt x="92" y="78"/>
                  <a:pt x="90" y="81"/>
                </a:cubicBezTo>
                <a:cubicBezTo>
                  <a:pt x="89" y="83"/>
                  <a:pt x="87" y="85"/>
                  <a:pt x="85" y="87"/>
                </a:cubicBezTo>
                <a:cubicBezTo>
                  <a:pt x="81" y="90"/>
                  <a:pt x="78" y="92"/>
                  <a:pt x="75" y="93"/>
                </a:cubicBezTo>
                <a:cubicBezTo>
                  <a:pt x="79" y="86"/>
                  <a:pt x="83" y="77"/>
                  <a:pt x="77" y="72"/>
                </a:cubicBezTo>
                <a:close/>
                <a:moveTo>
                  <a:pt x="65" y="32"/>
                </a:moveTo>
                <a:cubicBezTo>
                  <a:pt x="63" y="33"/>
                  <a:pt x="63" y="33"/>
                  <a:pt x="63" y="33"/>
                </a:cubicBezTo>
                <a:cubicBezTo>
                  <a:pt x="63" y="33"/>
                  <a:pt x="63" y="33"/>
                  <a:pt x="63" y="33"/>
                </a:cubicBezTo>
                <a:cubicBezTo>
                  <a:pt x="63" y="33"/>
                  <a:pt x="63" y="33"/>
                  <a:pt x="63" y="33"/>
                </a:cubicBezTo>
                <a:cubicBezTo>
                  <a:pt x="63" y="33"/>
                  <a:pt x="63" y="32"/>
                  <a:pt x="63" y="32"/>
                </a:cubicBezTo>
                <a:cubicBezTo>
                  <a:pt x="63" y="32"/>
                  <a:pt x="63" y="32"/>
                  <a:pt x="63" y="32"/>
                </a:cubicBezTo>
                <a:cubicBezTo>
                  <a:pt x="63" y="32"/>
                  <a:pt x="64" y="32"/>
                  <a:pt x="65" y="32"/>
                </a:cubicBezTo>
                <a:cubicBezTo>
                  <a:pt x="66" y="32"/>
                  <a:pt x="66" y="32"/>
                  <a:pt x="66" y="32"/>
                </a:cubicBezTo>
                <a:cubicBezTo>
                  <a:pt x="66" y="31"/>
                  <a:pt x="66" y="31"/>
                  <a:pt x="66" y="31"/>
                </a:cubicBezTo>
                <a:cubicBezTo>
                  <a:pt x="68" y="31"/>
                  <a:pt x="69" y="31"/>
                  <a:pt x="69" y="31"/>
                </a:cubicBezTo>
                <a:cubicBezTo>
                  <a:pt x="69" y="31"/>
                  <a:pt x="69" y="31"/>
                  <a:pt x="69" y="34"/>
                </a:cubicBezTo>
                <a:cubicBezTo>
                  <a:pt x="69" y="35"/>
                  <a:pt x="69" y="35"/>
                  <a:pt x="69" y="35"/>
                </a:cubicBezTo>
                <a:cubicBezTo>
                  <a:pt x="69" y="35"/>
                  <a:pt x="68" y="34"/>
                  <a:pt x="67" y="34"/>
                </a:cubicBezTo>
                <a:cubicBezTo>
                  <a:pt x="67" y="34"/>
                  <a:pt x="67" y="34"/>
                  <a:pt x="67" y="34"/>
                </a:cubicBezTo>
                <a:lnTo>
                  <a:pt x="65" y="32"/>
                </a:lnTo>
                <a:close/>
                <a:moveTo>
                  <a:pt x="67" y="41"/>
                </a:moveTo>
                <a:cubicBezTo>
                  <a:pt x="66" y="41"/>
                  <a:pt x="66" y="41"/>
                  <a:pt x="65" y="41"/>
                </a:cubicBezTo>
                <a:cubicBezTo>
                  <a:pt x="65" y="40"/>
                  <a:pt x="64" y="40"/>
                  <a:pt x="64" y="40"/>
                </a:cubicBezTo>
                <a:cubicBezTo>
                  <a:pt x="65" y="40"/>
                  <a:pt x="65" y="40"/>
                  <a:pt x="65" y="40"/>
                </a:cubicBezTo>
                <a:cubicBezTo>
                  <a:pt x="65" y="40"/>
                  <a:pt x="66" y="40"/>
                  <a:pt x="66" y="40"/>
                </a:cubicBezTo>
                <a:cubicBezTo>
                  <a:pt x="66" y="40"/>
                  <a:pt x="66" y="41"/>
                  <a:pt x="67" y="41"/>
                </a:cubicBezTo>
                <a:close/>
                <a:moveTo>
                  <a:pt x="34" y="17"/>
                </a:moveTo>
                <a:cubicBezTo>
                  <a:pt x="34" y="17"/>
                  <a:pt x="34" y="17"/>
                  <a:pt x="34" y="17"/>
                </a:cubicBezTo>
                <a:cubicBezTo>
                  <a:pt x="35" y="18"/>
                  <a:pt x="36" y="20"/>
                  <a:pt x="36" y="21"/>
                </a:cubicBezTo>
                <a:cubicBezTo>
                  <a:pt x="40" y="29"/>
                  <a:pt x="44" y="40"/>
                  <a:pt x="52" y="43"/>
                </a:cubicBezTo>
                <a:cubicBezTo>
                  <a:pt x="54" y="44"/>
                  <a:pt x="56" y="44"/>
                  <a:pt x="58" y="44"/>
                </a:cubicBezTo>
                <a:cubicBezTo>
                  <a:pt x="60" y="44"/>
                  <a:pt x="61" y="45"/>
                  <a:pt x="63" y="45"/>
                </a:cubicBezTo>
                <a:cubicBezTo>
                  <a:pt x="63" y="45"/>
                  <a:pt x="63" y="45"/>
                  <a:pt x="63" y="45"/>
                </a:cubicBezTo>
                <a:cubicBezTo>
                  <a:pt x="64" y="46"/>
                  <a:pt x="64" y="47"/>
                  <a:pt x="64" y="49"/>
                </a:cubicBezTo>
                <a:cubicBezTo>
                  <a:pt x="64" y="51"/>
                  <a:pt x="65" y="53"/>
                  <a:pt x="67" y="54"/>
                </a:cubicBezTo>
                <a:cubicBezTo>
                  <a:pt x="67" y="54"/>
                  <a:pt x="67" y="54"/>
                  <a:pt x="67" y="55"/>
                </a:cubicBezTo>
                <a:cubicBezTo>
                  <a:pt x="64" y="62"/>
                  <a:pt x="67" y="70"/>
                  <a:pt x="74" y="76"/>
                </a:cubicBezTo>
                <a:cubicBezTo>
                  <a:pt x="75" y="77"/>
                  <a:pt x="76" y="80"/>
                  <a:pt x="70" y="90"/>
                </a:cubicBezTo>
                <a:cubicBezTo>
                  <a:pt x="69" y="92"/>
                  <a:pt x="69" y="95"/>
                  <a:pt x="71" y="96"/>
                </a:cubicBezTo>
                <a:cubicBezTo>
                  <a:pt x="72" y="98"/>
                  <a:pt x="73" y="98"/>
                  <a:pt x="75" y="98"/>
                </a:cubicBezTo>
                <a:cubicBezTo>
                  <a:pt x="76" y="98"/>
                  <a:pt x="76" y="98"/>
                  <a:pt x="77" y="98"/>
                </a:cubicBezTo>
                <a:cubicBezTo>
                  <a:pt x="81" y="97"/>
                  <a:pt x="84" y="95"/>
                  <a:pt x="88" y="91"/>
                </a:cubicBezTo>
                <a:cubicBezTo>
                  <a:pt x="91" y="89"/>
                  <a:pt x="93" y="86"/>
                  <a:pt x="94" y="84"/>
                </a:cubicBezTo>
                <a:cubicBezTo>
                  <a:pt x="96" y="82"/>
                  <a:pt x="97" y="80"/>
                  <a:pt x="100" y="78"/>
                </a:cubicBezTo>
                <a:cubicBezTo>
                  <a:pt x="101" y="77"/>
                  <a:pt x="101" y="77"/>
                  <a:pt x="101" y="77"/>
                </a:cubicBezTo>
                <a:cubicBezTo>
                  <a:pt x="101" y="76"/>
                  <a:pt x="101" y="76"/>
                  <a:pt x="101" y="76"/>
                </a:cubicBezTo>
                <a:cubicBezTo>
                  <a:pt x="101" y="76"/>
                  <a:pt x="101" y="75"/>
                  <a:pt x="102" y="74"/>
                </a:cubicBezTo>
                <a:cubicBezTo>
                  <a:pt x="104" y="69"/>
                  <a:pt x="107" y="61"/>
                  <a:pt x="101" y="58"/>
                </a:cubicBezTo>
                <a:cubicBezTo>
                  <a:pt x="99" y="57"/>
                  <a:pt x="98" y="55"/>
                  <a:pt x="97" y="53"/>
                </a:cubicBezTo>
                <a:cubicBezTo>
                  <a:pt x="96" y="51"/>
                  <a:pt x="94" y="49"/>
                  <a:pt x="92" y="47"/>
                </a:cubicBezTo>
                <a:cubicBezTo>
                  <a:pt x="92" y="46"/>
                  <a:pt x="90" y="45"/>
                  <a:pt x="89" y="45"/>
                </a:cubicBezTo>
                <a:cubicBezTo>
                  <a:pt x="88" y="45"/>
                  <a:pt x="86" y="44"/>
                  <a:pt x="85" y="44"/>
                </a:cubicBezTo>
                <a:cubicBezTo>
                  <a:pt x="83" y="43"/>
                  <a:pt x="80" y="41"/>
                  <a:pt x="77" y="44"/>
                </a:cubicBezTo>
                <a:cubicBezTo>
                  <a:pt x="77" y="44"/>
                  <a:pt x="76" y="44"/>
                  <a:pt x="76" y="44"/>
                </a:cubicBezTo>
                <a:cubicBezTo>
                  <a:pt x="76" y="44"/>
                  <a:pt x="76" y="44"/>
                  <a:pt x="75" y="43"/>
                </a:cubicBezTo>
                <a:cubicBezTo>
                  <a:pt x="75" y="41"/>
                  <a:pt x="74" y="40"/>
                  <a:pt x="71" y="39"/>
                </a:cubicBezTo>
                <a:cubicBezTo>
                  <a:pt x="72" y="38"/>
                  <a:pt x="72" y="37"/>
                  <a:pt x="71" y="37"/>
                </a:cubicBezTo>
                <a:cubicBezTo>
                  <a:pt x="72" y="37"/>
                  <a:pt x="72" y="37"/>
                  <a:pt x="72" y="37"/>
                </a:cubicBezTo>
                <a:cubicBezTo>
                  <a:pt x="74" y="37"/>
                  <a:pt x="76" y="36"/>
                  <a:pt x="77" y="35"/>
                </a:cubicBezTo>
                <a:cubicBezTo>
                  <a:pt x="78" y="34"/>
                  <a:pt x="78" y="32"/>
                  <a:pt x="78" y="29"/>
                </a:cubicBezTo>
                <a:cubicBezTo>
                  <a:pt x="78" y="29"/>
                  <a:pt x="78" y="29"/>
                  <a:pt x="78" y="29"/>
                </a:cubicBezTo>
                <a:cubicBezTo>
                  <a:pt x="83" y="22"/>
                  <a:pt x="87" y="20"/>
                  <a:pt x="95" y="17"/>
                </a:cubicBezTo>
                <a:cubicBezTo>
                  <a:pt x="96" y="17"/>
                  <a:pt x="96" y="16"/>
                  <a:pt x="97" y="16"/>
                </a:cubicBezTo>
                <a:cubicBezTo>
                  <a:pt x="109" y="25"/>
                  <a:pt x="117" y="39"/>
                  <a:pt x="117" y="56"/>
                </a:cubicBezTo>
                <a:cubicBezTo>
                  <a:pt x="117" y="84"/>
                  <a:pt x="95" y="107"/>
                  <a:pt x="67" y="107"/>
                </a:cubicBezTo>
                <a:cubicBezTo>
                  <a:pt x="39" y="107"/>
                  <a:pt x="16" y="84"/>
                  <a:pt x="16" y="56"/>
                </a:cubicBezTo>
                <a:cubicBezTo>
                  <a:pt x="16" y="40"/>
                  <a:pt x="23" y="26"/>
                  <a:pt x="34" y="17"/>
                </a:cubicBezTo>
                <a:close/>
                <a:moveTo>
                  <a:pt x="91" y="152"/>
                </a:moveTo>
                <a:cubicBezTo>
                  <a:pt x="91" y="155"/>
                  <a:pt x="91" y="155"/>
                  <a:pt x="91" y="155"/>
                </a:cubicBezTo>
                <a:cubicBezTo>
                  <a:pt x="43" y="155"/>
                  <a:pt x="43" y="155"/>
                  <a:pt x="43" y="155"/>
                </a:cubicBezTo>
                <a:cubicBezTo>
                  <a:pt x="43" y="152"/>
                  <a:pt x="43" y="152"/>
                  <a:pt x="43" y="152"/>
                </a:cubicBezTo>
                <a:lnTo>
                  <a:pt x="91" y="152"/>
                </a:lnTo>
                <a:close/>
                <a:moveTo>
                  <a:pt x="108" y="101"/>
                </a:moveTo>
                <a:cubicBezTo>
                  <a:pt x="84" y="123"/>
                  <a:pt x="47" y="123"/>
                  <a:pt x="23" y="99"/>
                </a:cubicBezTo>
                <a:cubicBezTo>
                  <a:pt x="12" y="88"/>
                  <a:pt x="5" y="72"/>
                  <a:pt x="5" y="56"/>
                </a:cubicBezTo>
                <a:cubicBezTo>
                  <a:pt x="5" y="40"/>
                  <a:pt x="11" y="26"/>
                  <a:pt x="21" y="15"/>
                </a:cubicBezTo>
                <a:cubicBezTo>
                  <a:pt x="25" y="18"/>
                  <a:pt x="25" y="18"/>
                  <a:pt x="25" y="18"/>
                </a:cubicBezTo>
                <a:cubicBezTo>
                  <a:pt x="16" y="28"/>
                  <a:pt x="11" y="42"/>
                  <a:pt x="11" y="56"/>
                </a:cubicBezTo>
                <a:cubicBezTo>
                  <a:pt x="11" y="87"/>
                  <a:pt x="36" y="112"/>
                  <a:pt x="67" y="112"/>
                </a:cubicBezTo>
                <a:cubicBezTo>
                  <a:pt x="81" y="112"/>
                  <a:pt x="94" y="106"/>
                  <a:pt x="104" y="97"/>
                </a:cubicBezTo>
                <a:lnTo>
                  <a:pt x="108" y="101"/>
                </a:ln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82">
            <a:extLst>
              <a:ext uri="{FF2B5EF4-FFF2-40B4-BE49-F238E27FC236}">
                <a16:creationId xmlns:a16="http://schemas.microsoft.com/office/drawing/2014/main" id="{A5E18B93-DE78-1E44-84B9-8A5582F95482}"/>
              </a:ext>
            </a:extLst>
          </p:cNvPr>
          <p:cNvSpPr>
            <a:spLocks noEditPoints="1"/>
          </p:cNvSpPr>
          <p:nvPr/>
        </p:nvSpPr>
        <p:spPr bwMode="auto">
          <a:xfrm>
            <a:off x="8997641" y="3805238"/>
            <a:ext cx="600075" cy="606425"/>
          </a:xfrm>
          <a:custGeom>
            <a:avLst/>
            <a:gdLst>
              <a:gd name="T0" fmla="*/ 122 w 160"/>
              <a:gd name="T1" fmla="*/ 12 h 160"/>
              <a:gd name="T2" fmla="*/ 116 w 160"/>
              <a:gd name="T3" fmla="*/ 9 h 160"/>
              <a:gd name="T4" fmla="*/ 107 w 160"/>
              <a:gd name="T5" fmla="*/ 5 h 160"/>
              <a:gd name="T6" fmla="*/ 101 w 160"/>
              <a:gd name="T7" fmla="*/ 3 h 160"/>
              <a:gd name="T8" fmla="*/ 91 w 160"/>
              <a:gd name="T9" fmla="*/ 1 h 160"/>
              <a:gd name="T10" fmla="*/ 85 w 160"/>
              <a:gd name="T11" fmla="*/ 0 h 160"/>
              <a:gd name="T12" fmla="*/ 73 w 160"/>
              <a:gd name="T13" fmla="*/ 0 h 160"/>
              <a:gd name="T14" fmla="*/ 63 w 160"/>
              <a:gd name="T15" fmla="*/ 2 h 160"/>
              <a:gd name="T16" fmla="*/ 55 w 160"/>
              <a:gd name="T17" fmla="*/ 4 h 160"/>
              <a:gd name="T18" fmla="*/ 45 w 160"/>
              <a:gd name="T19" fmla="*/ 8 h 160"/>
              <a:gd name="T20" fmla="*/ 39 w 160"/>
              <a:gd name="T21" fmla="*/ 11 h 160"/>
              <a:gd name="T22" fmla="*/ 33 w 160"/>
              <a:gd name="T23" fmla="*/ 15 h 160"/>
              <a:gd name="T24" fmla="*/ 80 w 160"/>
              <a:gd name="T25" fmla="*/ 160 h 160"/>
              <a:gd name="T26" fmla="*/ 40 w 160"/>
              <a:gd name="T27" fmla="*/ 17 h 160"/>
              <a:gd name="T28" fmla="*/ 48 w 160"/>
              <a:gd name="T29" fmla="*/ 13 h 160"/>
              <a:gd name="T30" fmla="*/ 54 w 160"/>
              <a:gd name="T31" fmla="*/ 10 h 160"/>
              <a:gd name="T32" fmla="*/ 63 w 160"/>
              <a:gd name="T33" fmla="*/ 7 h 160"/>
              <a:gd name="T34" fmla="*/ 70 w 160"/>
              <a:gd name="T35" fmla="*/ 6 h 160"/>
              <a:gd name="T36" fmla="*/ 80 w 160"/>
              <a:gd name="T37" fmla="*/ 5 h 160"/>
              <a:gd name="T38" fmla="*/ 88 w 160"/>
              <a:gd name="T39" fmla="*/ 6 h 160"/>
              <a:gd name="T40" fmla="*/ 94 w 160"/>
              <a:gd name="T41" fmla="*/ 7 h 160"/>
              <a:gd name="T42" fmla="*/ 102 w 160"/>
              <a:gd name="T43" fmla="*/ 9 h 160"/>
              <a:gd name="T44" fmla="*/ 107 w 160"/>
              <a:gd name="T45" fmla="*/ 11 h 160"/>
              <a:gd name="T46" fmla="*/ 113 w 160"/>
              <a:gd name="T47" fmla="*/ 13 h 160"/>
              <a:gd name="T48" fmla="*/ 89 w 160"/>
              <a:gd name="T49" fmla="*/ 37 h 160"/>
              <a:gd name="T50" fmla="*/ 76 w 160"/>
              <a:gd name="T51" fmla="*/ 34 h 160"/>
              <a:gd name="T52" fmla="*/ 73 w 160"/>
              <a:gd name="T53" fmla="*/ 49 h 160"/>
              <a:gd name="T54" fmla="*/ 77 w 160"/>
              <a:gd name="T55" fmla="*/ 51 h 160"/>
              <a:gd name="T56" fmla="*/ 84 w 160"/>
              <a:gd name="T57" fmla="*/ 57 h 160"/>
              <a:gd name="T58" fmla="*/ 99 w 160"/>
              <a:gd name="T59" fmla="*/ 63 h 160"/>
              <a:gd name="T60" fmla="*/ 113 w 160"/>
              <a:gd name="T61" fmla="*/ 66 h 160"/>
              <a:gd name="T62" fmla="*/ 125 w 160"/>
              <a:gd name="T63" fmla="*/ 100 h 160"/>
              <a:gd name="T64" fmla="*/ 107 w 160"/>
              <a:gd name="T65" fmla="*/ 122 h 160"/>
              <a:gd name="T66" fmla="*/ 91 w 160"/>
              <a:gd name="T67" fmla="*/ 129 h 160"/>
              <a:gd name="T68" fmla="*/ 83 w 160"/>
              <a:gd name="T69" fmla="*/ 67 h 160"/>
              <a:gd name="T70" fmla="*/ 77 w 160"/>
              <a:gd name="T71" fmla="*/ 54 h 160"/>
              <a:gd name="T72" fmla="*/ 41 w 160"/>
              <a:gd name="T73" fmla="*/ 22 h 160"/>
              <a:gd name="T74" fmla="*/ 80 w 160"/>
              <a:gd name="T75" fmla="*/ 155 h 160"/>
              <a:gd name="T76" fmla="*/ 36 w 160"/>
              <a:gd name="T77" fmla="*/ 24 h 160"/>
              <a:gd name="T78" fmla="*/ 75 w 160"/>
              <a:gd name="T79" fmla="*/ 59 h 160"/>
              <a:gd name="T80" fmla="*/ 80 w 160"/>
              <a:gd name="T81" fmla="*/ 71 h 160"/>
              <a:gd name="T82" fmla="*/ 86 w 160"/>
              <a:gd name="T83" fmla="*/ 126 h 160"/>
              <a:gd name="T84" fmla="*/ 94 w 160"/>
              <a:gd name="T85" fmla="*/ 136 h 160"/>
              <a:gd name="T86" fmla="*/ 127 w 160"/>
              <a:gd name="T87" fmla="*/ 106 h 160"/>
              <a:gd name="T88" fmla="*/ 129 w 160"/>
              <a:gd name="T89" fmla="*/ 80 h 160"/>
              <a:gd name="T90" fmla="*/ 112 w 160"/>
              <a:gd name="T91" fmla="*/ 61 h 160"/>
              <a:gd name="T92" fmla="*/ 93 w 160"/>
              <a:gd name="T93" fmla="*/ 59 h 160"/>
              <a:gd name="T94" fmla="*/ 86 w 160"/>
              <a:gd name="T95" fmla="*/ 51 h 160"/>
              <a:gd name="T96" fmla="*/ 80 w 160"/>
              <a:gd name="T97" fmla="*/ 45 h 160"/>
              <a:gd name="T98" fmla="*/ 76 w 160"/>
              <a:gd name="T99" fmla="*/ 43 h 160"/>
              <a:gd name="T100" fmla="*/ 73 w 160"/>
              <a:gd name="T101" fmla="*/ 39 h 160"/>
              <a:gd name="T102" fmla="*/ 79 w 160"/>
              <a:gd name="T103" fmla="*/ 39 h 160"/>
              <a:gd name="T104" fmla="*/ 85 w 160"/>
              <a:gd name="T105" fmla="*/ 46 h 160"/>
              <a:gd name="T106" fmla="*/ 95 w 160"/>
              <a:gd name="T107" fmla="*/ 37 h 160"/>
              <a:gd name="T108" fmla="*/ 155 w 160"/>
              <a:gd name="T109"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60">
                <a:moveTo>
                  <a:pt x="125" y="14"/>
                </a:moveTo>
                <a:cubicBezTo>
                  <a:pt x="125" y="14"/>
                  <a:pt x="125" y="14"/>
                  <a:pt x="125" y="14"/>
                </a:cubicBezTo>
                <a:cubicBezTo>
                  <a:pt x="122" y="12"/>
                  <a:pt x="122" y="12"/>
                  <a:pt x="122" y="12"/>
                </a:cubicBezTo>
                <a:cubicBezTo>
                  <a:pt x="122" y="12"/>
                  <a:pt x="122" y="12"/>
                  <a:pt x="121" y="12"/>
                </a:cubicBezTo>
                <a:cubicBezTo>
                  <a:pt x="120" y="11"/>
                  <a:pt x="119" y="10"/>
                  <a:pt x="118" y="10"/>
                </a:cubicBezTo>
                <a:cubicBezTo>
                  <a:pt x="117" y="9"/>
                  <a:pt x="117" y="9"/>
                  <a:pt x="116" y="9"/>
                </a:cubicBezTo>
                <a:cubicBezTo>
                  <a:pt x="115" y="8"/>
                  <a:pt x="114" y="8"/>
                  <a:pt x="113" y="7"/>
                </a:cubicBezTo>
                <a:cubicBezTo>
                  <a:pt x="113" y="7"/>
                  <a:pt x="112" y="7"/>
                  <a:pt x="112" y="7"/>
                </a:cubicBezTo>
                <a:cubicBezTo>
                  <a:pt x="110" y="6"/>
                  <a:pt x="109" y="5"/>
                  <a:pt x="107" y="5"/>
                </a:cubicBezTo>
                <a:cubicBezTo>
                  <a:pt x="107" y="5"/>
                  <a:pt x="107" y="5"/>
                  <a:pt x="106" y="4"/>
                </a:cubicBezTo>
                <a:cubicBezTo>
                  <a:pt x="105" y="4"/>
                  <a:pt x="104" y="4"/>
                  <a:pt x="102" y="3"/>
                </a:cubicBezTo>
                <a:cubicBezTo>
                  <a:pt x="102" y="3"/>
                  <a:pt x="102" y="3"/>
                  <a:pt x="101" y="3"/>
                </a:cubicBezTo>
                <a:cubicBezTo>
                  <a:pt x="100" y="2"/>
                  <a:pt x="98" y="2"/>
                  <a:pt x="97" y="2"/>
                </a:cubicBezTo>
                <a:cubicBezTo>
                  <a:pt x="97" y="2"/>
                  <a:pt x="97" y="2"/>
                  <a:pt x="96" y="2"/>
                </a:cubicBezTo>
                <a:cubicBezTo>
                  <a:pt x="95" y="1"/>
                  <a:pt x="93" y="1"/>
                  <a:pt x="91" y="1"/>
                </a:cubicBezTo>
                <a:cubicBezTo>
                  <a:pt x="91" y="1"/>
                  <a:pt x="91" y="1"/>
                  <a:pt x="90" y="1"/>
                </a:cubicBezTo>
                <a:cubicBezTo>
                  <a:pt x="89" y="1"/>
                  <a:pt x="88" y="0"/>
                  <a:pt x="86" y="0"/>
                </a:cubicBezTo>
                <a:cubicBezTo>
                  <a:pt x="86" y="0"/>
                  <a:pt x="85" y="0"/>
                  <a:pt x="85" y="0"/>
                </a:cubicBezTo>
                <a:cubicBezTo>
                  <a:pt x="83" y="0"/>
                  <a:pt x="82" y="0"/>
                  <a:pt x="80" y="0"/>
                </a:cubicBezTo>
                <a:cubicBezTo>
                  <a:pt x="78" y="0"/>
                  <a:pt x="76" y="0"/>
                  <a:pt x="75" y="0"/>
                </a:cubicBezTo>
                <a:cubicBezTo>
                  <a:pt x="74" y="0"/>
                  <a:pt x="74" y="0"/>
                  <a:pt x="73" y="0"/>
                </a:cubicBezTo>
                <a:cubicBezTo>
                  <a:pt x="72" y="0"/>
                  <a:pt x="70" y="1"/>
                  <a:pt x="68" y="1"/>
                </a:cubicBezTo>
                <a:cubicBezTo>
                  <a:pt x="68" y="1"/>
                  <a:pt x="68" y="1"/>
                  <a:pt x="68" y="1"/>
                </a:cubicBezTo>
                <a:cubicBezTo>
                  <a:pt x="66" y="1"/>
                  <a:pt x="64" y="2"/>
                  <a:pt x="63" y="2"/>
                </a:cubicBezTo>
                <a:cubicBezTo>
                  <a:pt x="62" y="2"/>
                  <a:pt x="62" y="2"/>
                  <a:pt x="61" y="2"/>
                </a:cubicBezTo>
                <a:cubicBezTo>
                  <a:pt x="60" y="3"/>
                  <a:pt x="58" y="3"/>
                  <a:pt x="57" y="3"/>
                </a:cubicBezTo>
                <a:cubicBezTo>
                  <a:pt x="56" y="4"/>
                  <a:pt x="56" y="4"/>
                  <a:pt x="55" y="4"/>
                </a:cubicBezTo>
                <a:cubicBezTo>
                  <a:pt x="54" y="4"/>
                  <a:pt x="53" y="5"/>
                  <a:pt x="51" y="5"/>
                </a:cubicBezTo>
                <a:cubicBezTo>
                  <a:pt x="51" y="6"/>
                  <a:pt x="50" y="6"/>
                  <a:pt x="50" y="6"/>
                </a:cubicBezTo>
                <a:cubicBezTo>
                  <a:pt x="48" y="7"/>
                  <a:pt x="47" y="7"/>
                  <a:pt x="45" y="8"/>
                </a:cubicBezTo>
                <a:cubicBezTo>
                  <a:pt x="45" y="8"/>
                  <a:pt x="44" y="8"/>
                  <a:pt x="44" y="9"/>
                </a:cubicBezTo>
                <a:cubicBezTo>
                  <a:pt x="43" y="9"/>
                  <a:pt x="42" y="10"/>
                  <a:pt x="41" y="10"/>
                </a:cubicBezTo>
                <a:cubicBezTo>
                  <a:pt x="40" y="11"/>
                  <a:pt x="40" y="11"/>
                  <a:pt x="39" y="11"/>
                </a:cubicBezTo>
                <a:cubicBezTo>
                  <a:pt x="38" y="12"/>
                  <a:pt x="36" y="13"/>
                  <a:pt x="35" y="14"/>
                </a:cubicBezTo>
                <a:cubicBezTo>
                  <a:pt x="35" y="14"/>
                  <a:pt x="35" y="14"/>
                  <a:pt x="34" y="14"/>
                </a:cubicBezTo>
                <a:cubicBezTo>
                  <a:pt x="33" y="15"/>
                  <a:pt x="33" y="15"/>
                  <a:pt x="33" y="15"/>
                </a:cubicBezTo>
                <a:cubicBezTo>
                  <a:pt x="33" y="15"/>
                  <a:pt x="33" y="15"/>
                  <a:pt x="33" y="15"/>
                </a:cubicBezTo>
                <a:cubicBezTo>
                  <a:pt x="13" y="30"/>
                  <a:pt x="0" y="53"/>
                  <a:pt x="0" y="80"/>
                </a:cubicBezTo>
                <a:cubicBezTo>
                  <a:pt x="0" y="124"/>
                  <a:pt x="36" y="160"/>
                  <a:pt x="80" y="160"/>
                </a:cubicBezTo>
                <a:cubicBezTo>
                  <a:pt x="124" y="160"/>
                  <a:pt x="160" y="124"/>
                  <a:pt x="160" y="80"/>
                </a:cubicBezTo>
                <a:cubicBezTo>
                  <a:pt x="160" y="53"/>
                  <a:pt x="146" y="29"/>
                  <a:pt x="125" y="14"/>
                </a:cubicBezTo>
                <a:close/>
                <a:moveTo>
                  <a:pt x="40" y="17"/>
                </a:moveTo>
                <a:cubicBezTo>
                  <a:pt x="41" y="16"/>
                  <a:pt x="42" y="16"/>
                  <a:pt x="43" y="15"/>
                </a:cubicBezTo>
                <a:cubicBezTo>
                  <a:pt x="43" y="15"/>
                  <a:pt x="44" y="15"/>
                  <a:pt x="44" y="14"/>
                </a:cubicBezTo>
                <a:cubicBezTo>
                  <a:pt x="46" y="14"/>
                  <a:pt x="47" y="13"/>
                  <a:pt x="48" y="13"/>
                </a:cubicBezTo>
                <a:cubicBezTo>
                  <a:pt x="49" y="12"/>
                  <a:pt x="49" y="12"/>
                  <a:pt x="50" y="12"/>
                </a:cubicBezTo>
                <a:cubicBezTo>
                  <a:pt x="51" y="11"/>
                  <a:pt x="52" y="11"/>
                  <a:pt x="53" y="11"/>
                </a:cubicBezTo>
                <a:cubicBezTo>
                  <a:pt x="53" y="10"/>
                  <a:pt x="54" y="10"/>
                  <a:pt x="54" y="10"/>
                </a:cubicBezTo>
                <a:cubicBezTo>
                  <a:pt x="55" y="9"/>
                  <a:pt x="57" y="9"/>
                  <a:pt x="58" y="9"/>
                </a:cubicBezTo>
                <a:cubicBezTo>
                  <a:pt x="59" y="8"/>
                  <a:pt x="59" y="8"/>
                  <a:pt x="60" y="8"/>
                </a:cubicBezTo>
                <a:cubicBezTo>
                  <a:pt x="61" y="8"/>
                  <a:pt x="62" y="8"/>
                  <a:pt x="63" y="7"/>
                </a:cubicBezTo>
                <a:cubicBezTo>
                  <a:pt x="63" y="7"/>
                  <a:pt x="64" y="7"/>
                  <a:pt x="64" y="7"/>
                </a:cubicBezTo>
                <a:cubicBezTo>
                  <a:pt x="66" y="7"/>
                  <a:pt x="67" y="6"/>
                  <a:pt x="69" y="6"/>
                </a:cubicBezTo>
                <a:cubicBezTo>
                  <a:pt x="69" y="6"/>
                  <a:pt x="70" y="6"/>
                  <a:pt x="70" y="6"/>
                </a:cubicBezTo>
                <a:cubicBezTo>
                  <a:pt x="71" y="6"/>
                  <a:pt x="73" y="6"/>
                  <a:pt x="74" y="6"/>
                </a:cubicBezTo>
                <a:cubicBezTo>
                  <a:pt x="74" y="6"/>
                  <a:pt x="75" y="6"/>
                  <a:pt x="75" y="6"/>
                </a:cubicBezTo>
                <a:cubicBezTo>
                  <a:pt x="77" y="5"/>
                  <a:pt x="78" y="5"/>
                  <a:pt x="80" y="5"/>
                </a:cubicBezTo>
                <a:cubicBezTo>
                  <a:pt x="81" y="5"/>
                  <a:pt x="83" y="5"/>
                  <a:pt x="84" y="5"/>
                </a:cubicBezTo>
                <a:cubicBezTo>
                  <a:pt x="85" y="5"/>
                  <a:pt x="85" y="6"/>
                  <a:pt x="85" y="6"/>
                </a:cubicBezTo>
                <a:cubicBezTo>
                  <a:pt x="86" y="6"/>
                  <a:pt x="87" y="6"/>
                  <a:pt x="88" y="6"/>
                </a:cubicBezTo>
                <a:cubicBezTo>
                  <a:pt x="89" y="6"/>
                  <a:pt x="89" y="6"/>
                  <a:pt x="90" y="6"/>
                </a:cubicBezTo>
                <a:cubicBezTo>
                  <a:pt x="91" y="6"/>
                  <a:pt x="92" y="6"/>
                  <a:pt x="93" y="6"/>
                </a:cubicBezTo>
                <a:cubicBezTo>
                  <a:pt x="93" y="7"/>
                  <a:pt x="94" y="7"/>
                  <a:pt x="94" y="7"/>
                </a:cubicBezTo>
                <a:cubicBezTo>
                  <a:pt x="95" y="7"/>
                  <a:pt x="96" y="7"/>
                  <a:pt x="97" y="7"/>
                </a:cubicBezTo>
                <a:cubicBezTo>
                  <a:pt x="97" y="7"/>
                  <a:pt x="98" y="7"/>
                  <a:pt x="98" y="8"/>
                </a:cubicBezTo>
                <a:cubicBezTo>
                  <a:pt x="99" y="8"/>
                  <a:pt x="101" y="8"/>
                  <a:pt x="102" y="9"/>
                </a:cubicBezTo>
                <a:cubicBezTo>
                  <a:pt x="102" y="9"/>
                  <a:pt x="102" y="9"/>
                  <a:pt x="102" y="9"/>
                </a:cubicBezTo>
                <a:cubicBezTo>
                  <a:pt x="103" y="9"/>
                  <a:pt x="105" y="10"/>
                  <a:pt x="106" y="10"/>
                </a:cubicBezTo>
                <a:cubicBezTo>
                  <a:pt x="106" y="10"/>
                  <a:pt x="107" y="10"/>
                  <a:pt x="107" y="11"/>
                </a:cubicBezTo>
                <a:cubicBezTo>
                  <a:pt x="108" y="11"/>
                  <a:pt x="109" y="11"/>
                  <a:pt x="110" y="11"/>
                </a:cubicBezTo>
                <a:cubicBezTo>
                  <a:pt x="110" y="12"/>
                  <a:pt x="111" y="12"/>
                  <a:pt x="112" y="12"/>
                </a:cubicBezTo>
                <a:cubicBezTo>
                  <a:pt x="112" y="13"/>
                  <a:pt x="113" y="13"/>
                  <a:pt x="113" y="13"/>
                </a:cubicBezTo>
                <a:cubicBezTo>
                  <a:pt x="114" y="13"/>
                  <a:pt x="114" y="14"/>
                  <a:pt x="114" y="14"/>
                </a:cubicBezTo>
                <a:cubicBezTo>
                  <a:pt x="104" y="18"/>
                  <a:pt x="98" y="23"/>
                  <a:pt x="91" y="32"/>
                </a:cubicBezTo>
                <a:cubicBezTo>
                  <a:pt x="90" y="33"/>
                  <a:pt x="89" y="35"/>
                  <a:pt x="89" y="37"/>
                </a:cubicBezTo>
                <a:cubicBezTo>
                  <a:pt x="89" y="35"/>
                  <a:pt x="88" y="34"/>
                  <a:pt x="87" y="33"/>
                </a:cubicBezTo>
                <a:cubicBezTo>
                  <a:pt x="84" y="32"/>
                  <a:pt x="81" y="32"/>
                  <a:pt x="77" y="34"/>
                </a:cubicBezTo>
                <a:cubicBezTo>
                  <a:pt x="76" y="34"/>
                  <a:pt x="76" y="34"/>
                  <a:pt x="76" y="34"/>
                </a:cubicBezTo>
                <a:cubicBezTo>
                  <a:pt x="71" y="34"/>
                  <a:pt x="68" y="35"/>
                  <a:pt x="67" y="40"/>
                </a:cubicBezTo>
                <a:cubicBezTo>
                  <a:pt x="67" y="43"/>
                  <a:pt x="69" y="46"/>
                  <a:pt x="71" y="48"/>
                </a:cubicBezTo>
                <a:cubicBezTo>
                  <a:pt x="72" y="48"/>
                  <a:pt x="73" y="48"/>
                  <a:pt x="73" y="49"/>
                </a:cubicBezTo>
                <a:cubicBezTo>
                  <a:pt x="74" y="49"/>
                  <a:pt x="74" y="49"/>
                  <a:pt x="74" y="49"/>
                </a:cubicBezTo>
                <a:cubicBezTo>
                  <a:pt x="75" y="51"/>
                  <a:pt x="75" y="51"/>
                  <a:pt x="75" y="51"/>
                </a:cubicBezTo>
                <a:cubicBezTo>
                  <a:pt x="77" y="51"/>
                  <a:pt x="77" y="51"/>
                  <a:pt x="77" y="51"/>
                </a:cubicBezTo>
                <a:cubicBezTo>
                  <a:pt x="78" y="50"/>
                  <a:pt x="79" y="50"/>
                  <a:pt x="80" y="50"/>
                </a:cubicBezTo>
                <a:cubicBezTo>
                  <a:pt x="80" y="52"/>
                  <a:pt x="80" y="53"/>
                  <a:pt x="81" y="54"/>
                </a:cubicBezTo>
                <a:cubicBezTo>
                  <a:pt x="82" y="55"/>
                  <a:pt x="83" y="56"/>
                  <a:pt x="84" y="57"/>
                </a:cubicBezTo>
                <a:cubicBezTo>
                  <a:pt x="86" y="57"/>
                  <a:pt x="86" y="58"/>
                  <a:pt x="86" y="58"/>
                </a:cubicBezTo>
                <a:cubicBezTo>
                  <a:pt x="87" y="61"/>
                  <a:pt x="89" y="64"/>
                  <a:pt x="92" y="64"/>
                </a:cubicBezTo>
                <a:cubicBezTo>
                  <a:pt x="94" y="65"/>
                  <a:pt x="97" y="65"/>
                  <a:pt x="99" y="63"/>
                </a:cubicBezTo>
                <a:cubicBezTo>
                  <a:pt x="100" y="62"/>
                  <a:pt x="101" y="62"/>
                  <a:pt x="104" y="64"/>
                </a:cubicBezTo>
                <a:cubicBezTo>
                  <a:pt x="106" y="65"/>
                  <a:pt x="108" y="66"/>
                  <a:pt x="112" y="66"/>
                </a:cubicBezTo>
                <a:cubicBezTo>
                  <a:pt x="112" y="66"/>
                  <a:pt x="112" y="66"/>
                  <a:pt x="113" y="66"/>
                </a:cubicBezTo>
                <a:cubicBezTo>
                  <a:pt x="115" y="69"/>
                  <a:pt x="116" y="72"/>
                  <a:pt x="118" y="74"/>
                </a:cubicBezTo>
                <a:cubicBezTo>
                  <a:pt x="120" y="78"/>
                  <a:pt x="123" y="82"/>
                  <a:pt x="127" y="85"/>
                </a:cubicBezTo>
                <a:cubicBezTo>
                  <a:pt x="130" y="86"/>
                  <a:pt x="126" y="95"/>
                  <a:pt x="125" y="100"/>
                </a:cubicBezTo>
                <a:cubicBezTo>
                  <a:pt x="124" y="101"/>
                  <a:pt x="124" y="101"/>
                  <a:pt x="124" y="102"/>
                </a:cubicBezTo>
                <a:cubicBezTo>
                  <a:pt x="120" y="105"/>
                  <a:pt x="117" y="109"/>
                  <a:pt x="115" y="112"/>
                </a:cubicBezTo>
                <a:cubicBezTo>
                  <a:pt x="113" y="115"/>
                  <a:pt x="110" y="119"/>
                  <a:pt x="107" y="122"/>
                </a:cubicBezTo>
                <a:cubicBezTo>
                  <a:pt x="102" y="126"/>
                  <a:pt x="97" y="129"/>
                  <a:pt x="92" y="131"/>
                </a:cubicBezTo>
                <a:cubicBezTo>
                  <a:pt x="91" y="131"/>
                  <a:pt x="91" y="130"/>
                  <a:pt x="91" y="130"/>
                </a:cubicBezTo>
                <a:cubicBezTo>
                  <a:pt x="90" y="130"/>
                  <a:pt x="90" y="129"/>
                  <a:pt x="91" y="129"/>
                </a:cubicBezTo>
                <a:cubicBezTo>
                  <a:pt x="96" y="119"/>
                  <a:pt x="102" y="106"/>
                  <a:pt x="94" y="99"/>
                </a:cubicBezTo>
                <a:cubicBezTo>
                  <a:pt x="86" y="93"/>
                  <a:pt x="83" y="84"/>
                  <a:pt x="87" y="76"/>
                </a:cubicBezTo>
                <a:cubicBezTo>
                  <a:pt x="88" y="72"/>
                  <a:pt x="86" y="69"/>
                  <a:pt x="83" y="67"/>
                </a:cubicBezTo>
                <a:cubicBezTo>
                  <a:pt x="83" y="66"/>
                  <a:pt x="83" y="65"/>
                  <a:pt x="82" y="64"/>
                </a:cubicBezTo>
                <a:cubicBezTo>
                  <a:pt x="82" y="62"/>
                  <a:pt x="82" y="59"/>
                  <a:pt x="80" y="56"/>
                </a:cubicBezTo>
                <a:cubicBezTo>
                  <a:pt x="79" y="55"/>
                  <a:pt x="78" y="54"/>
                  <a:pt x="77" y="54"/>
                </a:cubicBezTo>
                <a:cubicBezTo>
                  <a:pt x="74" y="52"/>
                  <a:pt x="71" y="52"/>
                  <a:pt x="68" y="52"/>
                </a:cubicBezTo>
                <a:cubicBezTo>
                  <a:pt x="65" y="51"/>
                  <a:pt x="63" y="51"/>
                  <a:pt x="61" y="50"/>
                </a:cubicBezTo>
                <a:cubicBezTo>
                  <a:pt x="52" y="47"/>
                  <a:pt x="46" y="32"/>
                  <a:pt x="41" y="22"/>
                </a:cubicBezTo>
                <a:cubicBezTo>
                  <a:pt x="41" y="20"/>
                  <a:pt x="40" y="19"/>
                  <a:pt x="39" y="17"/>
                </a:cubicBezTo>
                <a:cubicBezTo>
                  <a:pt x="40" y="17"/>
                  <a:pt x="40" y="17"/>
                  <a:pt x="40" y="17"/>
                </a:cubicBezTo>
                <a:close/>
                <a:moveTo>
                  <a:pt x="80" y="155"/>
                </a:moveTo>
                <a:cubicBezTo>
                  <a:pt x="39" y="155"/>
                  <a:pt x="5" y="121"/>
                  <a:pt x="5" y="80"/>
                </a:cubicBezTo>
                <a:cubicBezTo>
                  <a:pt x="5" y="56"/>
                  <a:pt x="17" y="34"/>
                  <a:pt x="35" y="21"/>
                </a:cubicBezTo>
                <a:cubicBezTo>
                  <a:pt x="35" y="22"/>
                  <a:pt x="36" y="23"/>
                  <a:pt x="36" y="24"/>
                </a:cubicBezTo>
                <a:cubicBezTo>
                  <a:pt x="42" y="36"/>
                  <a:pt x="48" y="51"/>
                  <a:pt x="59" y="55"/>
                </a:cubicBezTo>
                <a:cubicBezTo>
                  <a:pt x="62" y="56"/>
                  <a:pt x="65" y="56"/>
                  <a:pt x="67" y="57"/>
                </a:cubicBezTo>
                <a:cubicBezTo>
                  <a:pt x="70" y="57"/>
                  <a:pt x="72" y="58"/>
                  <a:pt x="75" y="59"/>
                </a:cubicBezTo>
                <a:cubicBezTo>
                  <a:pt x="75" y="59"/>
                  <a:pt x="76" y="59"/>
                  <a:pt x="76" y="59"/>
                </a:cubicBezTo>
                <a:cubicBezTo>
                  <a:pt x="77" y="61"/>
                  <a:pt x="77" y="63"/>
                  <a:pt x="77" y="65"/>
                </a:cubicBezTo>
                <a:cubicBezTo>
                  <a:pt x="77" y="67"/>
                  <a:pt x="78" y="70"/>
                  <a:pt x="80" y="71"/>
                </a:cubicBezTo>
                <a:cubicBezTo>
                  <a:pt x="81" y="72"/>
                  <a:pt x="82" y="73"/>
                  <a:pt x="82" y="74"/>
                </a:cubicBezTo>
                <a:cubicBezTo>
                  <a:pt x="78" y="84"/>
                  <a:pt x="81" y="96"/>
                  <a:pt x="91" y="103"/>
                </a:cubicBezTo>
                <a:cubicBezTo>
                  <a:pt x="93" y="105"/>
                  <a:pt x="94" y="111"/>
                  <a:pt x="86" y="126"/>
                </a:cubicBezTo>
                <a:cubicBezTo>
                  <a:pt x="84" y="128"/>
                  <a:pt x="85" y="131"/>
                  <a:pt x="87" y="134"/>
                </a:cubicBezTo>
                <a:cubicBezTo>
                  <a:pt x="88" y="135"/>
                  <a:pt x="90" y="136"/>
                  <a:pt x="92" y="136"/>
                </a:cubicBezTo>
                <a:cubicBezTo>
                  <a:pt x="93" y="136"/>
                  <a:pt x="93" y="136"/>
                  <a:pt x="94" y="136"/>
                </a:cubicBezTo>
                <a:cubicBezTo>
                  <a:pt x="100" y="134"/>
                  <a:pt x="105" y="131"/>
                  <a:pt x="110" y="126"/>
                </a:cubicBezTo>
                <a:cubicBezTo>
                  <a:pt x="114" y="122"/>
                  <a:pt x="117" y="119"/>
                  <a:pt x="119" y="115"/>
                </a:cubicBezTo>
                <a:cubicBezTo>
                  <a:pt x="122" y="112"/>
                  <a:pt x="124" y="109"/>
                  <a:pt x="127" y="106"/>
                </a:cubicBezTo>
                <a:cubicBezTo>
                  <a:pt x="128" y="106"/>
                  <a:pt x="128" y="105"/>
                  <a:pt x="129" y="105"/>
                </a:cubicBezTo>
                <a:cubicBezTo>
                  <a:pt x="129" y="104"/>
                  <a:pt x="129" y="103"/>
                  <a:pt x="130" y="102"/>
                </a:cubicBezTo>
                <a:cubicBezTo>
                  <a:pt x="132" y="94"/>
                  <a:pt x="137" y="84"/>
                  <a:pt x="129" y="80"/>
                </a:cubicBezTo>
                <a:cubicBezTo>
                  <a:pt x="127" y="78"/>
                  <a:pt x="125" y="75"/>
                  <a:pt x="123" y="72"/>
                </a:cubicBezTo>
                <a:cubicBezTo>
                  <a:pt x="121" y="69"/>
                  <a:pt x="119" y="65"/>
                  <a:pt x="116" y="63"/>
                </a:cubicBezTo>
                <a:cubicBezTo>
                  <a:pt x="115" y="62"/>
                  <a:pt x="114" y="61"/>
                  <a:pt x="112" y="61"/>
                </a:cubicBezTo>
                <a:cubicBezTo>
                  <a:pt x="110" y="61"/>
                  <a:pt x="108" y="60"/>
                  <a:pt x="106" y="59"/>
                </a:cubicBezTo>
                <a:cubicBezTo>
                  <a:pt x="103" y="57"/>
                  <a:pt x="100" y="56"/>
                  <a:pt x="96" y="59"/>
                </a:cubicBezTo>
                <a:cubicBezTo>
                  <a:pt x="95" y="59"/>
                  <a:pt x="94" y="60"/>
                  <a:pt x="93" y="59"/>
                </a:cubicBezTo>
                <a:cubicBezTo>
                  <a:pt x="92" y="59"/>
                  <a:pt x="92" y="58"/>
                  <a:pt x="91" y="57"/>
                </a:cubicBezTo>
                <a:cubicBezTo>
                  <a:pt x="91" y="55"/>
                  <a:pt x="90" y="53"/>
                  <a:pt x="86" y="52"/>
                </a:cubicBezTo>
                <a:cubicBezTo>
                  <a:pt x="86" y="52"/>
                  <a:pt x="86" y="52"/>
                  <a:pt x="86" y="51"/>
                </a:cubicBezTo>
                <a:cubicBezTo>
                  <a:pt x="85" y="51"/>
                  <a:pt x="85" y="51"/>
                  <a:pt x="86" y="51"/>
                </a:cubicBezTo>
                <a:cubicBezTo>
                  <a:pt x="86" y="49"/>
                  <a:pt x="86" y="48"/>
                  <a:pt x="85" y="47"/>
                </a:cubicBezTo>
                <a:cubicBezTo>
                  <a:pt x="84" y="46"/>
                  <a:pt x="82" y="45"/>
                  <a:pt x="80" y="45"/>
                </a:cubicBezTo>
                <a:cubicBezTo>
                  <a:pt x="80" y="45"/>
                  <a:pt x="80" y="44"/>
                  <a:pt x="79" y="44"/>
                </a:cubicBezTo>
                <a:cubicBezTo>
                  <a:pt x="78" y="42"/>
                  <a:pt x="78" y="42"/>
                  <a:pt x="78" y="42"/>
                </a:cubicBezTo>
                <a:cubicBezTo>
                  <a:pt x="76" y="43"/>
                  <a:pt x="76" y="43"/>
                  <a:pt x="76" y="43"/>
                </a:cubicBezTo>
                <a:cubicBezTo>
                  <a:pt x="75" y="44"/>
                  <a:pt x="75" y="44"/>
                  <a:pt x="74" y="43"/>
                </a:cubicBezTo>
                <a:cubicBezTo>
                  <a:pt x="73" y="43"/>
                  <a:pt x="73" y="42"/>
                  <a:pt x="73" y="41"/>
                </a:cubicBezTo>
                <a:cubicBezTo>
                  <a:pt x="73" y="40"/>
                  <a:pt x="73" y="40"/>
                  <a:pt x="73" y="39"/>
                </a:cubicBezTo>
                <a:cubicBezTo>
                  <a:pt x="73" y="39"/>
                  <a:pt x="75" y="39"/>
                  <a:pt x="77" y="39"/>
                </a:cubicBezTo>
                <a:cubicBezTo>
                  <a:pt x="78" y="39"/>
                  <a:pt x="78" y="39"/>
                  <a:pt x="78" y="39"/>
                </a:cubicBezTo>
                <a:cubicBezTo>
                  <a:pt x="79" y="39"/>
                  <a:pt x="79" y="39"/>
                  <a:pt x="79" y="39"/>
                </a:cubicBezTo>
                <a:cubicBezTo>
                  <a:pt x="81" y="37"/>
                  <a:pt x="83" y="37"/>
                  <a:pt x="84" y="38"/>
                </a:cubicBezTo>
                <a:cubicBezTo>
                  <a:pt x="84" y="38"/>
                  <a:pt x="85" y="39"/>
                  <a:pt x="85" y="43"/>
                </a:cubicBezTo>
                <a:cubicBezTo>
                  <a:pt x="85" y="46"/>
                  <a:pt x="85" y="46"/>
                  <a:pt x="85" y="46"/>
                </a:cubicBezTo>
                <a:cubicBezTo>
                  <a:pt x="87" y="46"/>
                  <a:pt x="87" y="46"/>
                  <a:pt x="87" y="46"/>
                </a:cubicBezTo>
                <a:cubicBezTo>
                  <a:pt x="90" y="46"/>
                  <a:pt x="93" y="46"/>
                  <a:pt x="94" y="44"/>
                </a:cubicBezTo>
                <a:cubicBezTo>
                  <a:pt x="95" y="42"/>
                  <a:pt x="96" y="40"/>
                  <a:pt x="95" y="37"/>
                </a:cubicBezTo>
                <a:cubicBezTo>
                  <a:pt x="95" y="36"/>
                  <a:pt x="95" y="36"/>
                  <a:pt x="95" y="35"/>
                </a:cubicBezTo>
                <a:cubicBezTo>
                  <a:pt x="102" y="26"/>
                  <a:pt x="109" y="21"/>
                  <a:pt x="120" y="17"/>
                </a:cubicBezTo>
                <a:cubicBezTo>
                  <a:pt x="141" y="31"/>
                  <a:pt x="155" y="54"/>
                  <a:pt x="155" y="80"/>
                </a:cubicBezTo>
                <a:cubicBezTo>
                  <a:pt x="155" y="121"/>
                  <a:pt x="121" y="155"/>
                  <a:pt x="80" y="155"/>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83">
            <a:extLst>
              <a:ext uri="{FF2B5EF4-FFF2-40B4-BE49-F238E27FC236}">
                <a16:creationId xmlns:a16="http://schemas.microsoft.com/office/drawing/2014/main" id="{B2BF8EDE-A55B-5C4A-9234-F4B018BD801B}"/>
              </a:ext>
            </a:extLst>
          </p:cNvPr>
          <p:cNvSpPr>
            <a:spLocks noEditPoints="1"/>
          </p:cNvSpPr>
          <p:nvPr/>
        </p:nvSpPr>
        <p:spPr bwMode="auto">
          <a:xfrm>
            <a:off x="9011929" y="4486275"/>
            <a:ext cx="577850" cy="606425"/>
          </a:xfrm>
          <a:custGeom>
            <a:avLst/>
            <a:gdLst>
              <a:gd name="T0" fmla="*/ 88 w 154"/>
              <a:gd name="T1" fmla="*/ 63 h 160"/>
              <a:gd name="T2" fmla="*/ 85 w 154"/>
              <a:gd name="T3" fmla="*/ 66 h 160"/>
              <a:gd name="T4" fmla="*/ 66 w 154"/>
              <a:gd name="T5" fmla="*/ 66 h 160"/>
              <a:gd name="T6" fmla="*/ 66 w 154"/>
              <a:gd name="T7" fmla="*/ 85 h 160"/>
              <a:gd name="T8" fmla="*/ 63 w 154"/>
              <a:gd name="T9" fmla="*/ 88 h 160"/>
              <a:gd name="T10" fmla="*/ 60 w 154"/>
              <a:gd name="T11" fmla="*/ 85 h 160"/>
              <a:gd name="T12" fmla="*/ 60 w 154"/>
              <a:gd name="T13" fmla="*/ 66 h 160"/>
              <a:gd name="T14" fmla="*/ 42 w 154"/>
              <a:gd name="T15" fmla="*/ 66 h 160"/>
              <a:gd name="T16" fmla="*/ 39 w 154"/>
              <a:gd name="T17" fmla="*/ 63 h 160"/>
              <a:gd name="T18" fmla="*/ 42 w 154"/>
              <a:gd name="T19" fmla="*/ 60 h 160"/>
              <a:gd name="T20" fmla="*/ 60 w 154"/>
              <a:gd name="T21" fmla="*/ 60 h 160"/>
              <a:gd name="T22" fmla="*/ 60 w 154"/>
              <a:gd name="T23" fmla="*/ 42 h 160"/>
              <a:gd name="T24" fmla="*/ 63 w 154"/>
              <a:gd name="T25" fmla="*/ 39 h 160"/>
              <a:gd name="T26" fmla="*/ 66 w 154"/>
              <a:gd name="T27" fmla="*/ 42 h 160"/>
              <a:gd name="T28" fmla="*/ 66 w 154"/>
              <a:gd name="T29" fmla="*/ 60 h 160"/>
              <a:gd name="T30" fmla="*/ 85 w 154"/>
              <a:gd name="T31" fmla="*/ 60 h 160"/>
              <a:gd name="T32" fmla="*/ 88 w 154"/>
              <a:gd name="T33" fmla="*/ 63 h 160"/>
              <a:gd name="T34" fmla="*/ 153 w 154"/>
              <a:gd name="T35" fmla="*/ 159 h 160"/>
              <a:gd name="T36" fmla="*/ 151 w 154"/>
              <a:gd name="T37" fmla="*/ 160 h 160"/>
              <a:gd name="T38" fmla="*/ 149 w 154"/>
              <a:gd name="T39" fmla="*/ 159 h 160"/>
              <a:gd name="T40" fmla="*/ 104 w 154"/>
              <a:gd name="T41" fmla="*/ 112 h 160"/>
              <a:gd name="T42" fmla="*/ 63 w 154"/>
              <a:gd name="T43" fmla="*/ 127 h 160"/>
              <a:gd name="T44" fmla="*/ 0 w 154"/>
              <a:gd name="T45" fmla="*/ 63 h 160"/>
              <a:gd name="T46" fmla="*/ 63 w 154"/>
              <a:gd name="T47" fmla="*/ 0 h 160"/>
              <a:gd name="T48" fmla="*/ 127 w 154"/>
              <a:gd name="T49" fmla="*/ 63 h 160"/>
              <a:gd name="T50" fmla="*/ 108 w 154"/>
              <a:gd name="T51" fmla="*/ 108 h 160"/>
              <a:gd name="T52" fmla="*/ 153 w 154"/>
              <a:gd name="T53" fmla="*/ 155 h 160"/>
              <a:gd name="T54" fmla="*/ 153 w 154"/>
              <a:gd name="T55" fmla="*/ 159 h 160"/>
              <a:gd name="T56" fmla="*/ 63 w 154"/>
              <a:gd name="T57" fmla="*/ 121 h 160"/>
              <a:gd name="T58" fmla="*/ 121 w 154"/>
              <a:gd name="T59" fmla="*/ 63 h 160"/>
              <a:gd name="T60" fmla="*/ 63 w 154"/>
              <a:gd name="T61" fmla="*/ 6 h 160"/>
              <a:gd name="T62" fmla="*/ 6 w 154"/>
              <a:gd name="T63" fmla="*/ 63 h 160"/>
              <a:gd name="T64" fmla="*/ 63 w 154"/>
              <a:gd name="T65" fmla="*/ 12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 h="160">
                <a:moveTo>
                  <a:pt x="88" y="63"/>
                </a:moveTo>
                <a:cubicBezTo>
                  <a:pt x="88" y="65"/>
                  <a:pt x="86" y="66"/>
                  <a:pt x="85" y="66"/>
                </a:cubicBezTo>
                <a:cubicBezTo>
                  <a:pt x="66" y="66"/>
                  <a:pt x="66" y="66"/>
                  <a:pt x="66" y="66"/>
                </a:cubicBezTo>
                <a:cubicBezTo>
                  <a:pt x="66" y="85"/>
                  <a:pt x="66" y="85"/>
                  <a:pt x="66" y="85"/>
                </a:cubicBezTo>
                <a:cubicBezTo>
                  <a:pt x="66" y="86"/>
                  <a:pt x="65" y="88"/>
                  <a:pt x="63" y="88"/>
                </a:cubicBezTo>
                <a:cubicBezTo>
                  <a:pt x="62" y="88"/>
                  <a:pt x="60" y="86"/>
                  <a:pt x="60" y="85"/>
                </a:cubicBezTo>
                <a:cubicBezTo>
                  <a:pt x="60" y="66"/>
                  <a:pt x="60" y="66"/>
                  <a:pt x="60" y="66"/>
                </a:cubicBezTo>
                <a:cubicBezTo>
                  <a:pt x="42" y="66"/>
                  <a:pt x="42" y="66"/>
                  <a:pt x="42" y="66"/>
                </a:cubicBezTo>
                <a:cubicBezTo>
                  <a:pt x="41" y="66"/>
                  <a:pt x="39" y="65"/>
                  <a:pt x="39" y="63"/>
                </a:cubicBezTo>
                <a:cubicBezTo>
                  <a:pt x="39" y="62"/>
                  <a:pt x="41" y="60"/>
                  <a:pt x="42" y="60"/>
                </a:cubicBezTo>
                <a:cubicBezTo>
                  <a:pt x="60" y="60"/>
                  <a:pt x="60" y="60"/>
                  <a:pt x="60" y="60"/>
                </a:cubicBezTo>
                <a:cubicBezTo>
                  <a:pt x="60" y="42"/>
                  <a:pt x="60" y="42"/>
                  <a:pt x="60" y="42"/>
                </a:cubicBezTo>
                <a:cubicBezTo>
                  <a:pt x="60" y="41"/>
                  <a:pt x="62" y="39"/>
                  <a:pt x="63" y="39"/>
                </a:cubicBezTo>
                <a:cubicBezTo>
                  <a:pt x="65" y="39"/>
                  <a:pt x="66" y="41"/>
                  <a:pt x="66" y="42"/>
                </a:cubicBezTo>
                <a:cubicBezTo>
                  <a:pt x="66" y="60"/>
                  <a:pt x="66" y="60"/>
                  <a:pt x="66" y="60"/>
                </a:cubicBezTo>
                <a:cubicBezTo>
                  <a:pt x="85" y="60"/>
                  <a:pt x="85" y="60"/>
                  <a:pt x="85" y="60"/>
                </a:cubicBezTo>
                <a:cubicBezTo>
                  <a:pt x="86" y="60"/>
                  <a:pt x="88" y="62"/>
                  <a:pt x="88" y="63"/>
                </a:cubicBezTo>
                <a:close/>
                <a:moveTo>
                  <a:pt x="153" y="159"/>
                </a:moveTo>
                <a:cubicBezTo>
                  <a:pt x="153" y="160"/>
                  <a:pt x="152" y="160"/>
                  <a:pt x="151" y="160"/>
                </a:cubicBezTo>
                <a:cubicBezTo>
                  <a:pt x="150" y="160"/>
                  <a:pt x="149" y="160"/>
                  <a:pt x="149" y="159"/>
                </a:cubicBezTo>
                <a:cubicBezTo>
                  <a:pt x="104" y="112"/>
                  <a:pt x="104" y="112"/>
                  <a:pt x="104" y="112"/>
                </a:cubicBezTo>
                <a:cubicBezTo>
                  <a:pt x="93" y="121"/>
                  <a:pt x="79" y="127"/>
                  <a:pt x="63" y="127"/>
                </a:cubicBezTo>
                <a:cubicBezTo>
                  <a:pt x="28" y="127"/>
                  <a:pt x="0" y="98"/>
                  <a:pt x="0" y="63"/>
                </a:cubicBezTo>
                <a:cubicBezTo>
                  <a:pt x="0" y="28"/>
                  <a:pt x="28" y="0"/>
                  <a:pt x="63" y="0"/>
                </a:cubicBezTo>
                <a:cubicBezTo>
                  <a:pt x="98" y="0"/>
                  <a:pt x="127" y="28"/>
                  <a:pt x="127" y="63"/>
                </a:cubicBezTo>
                <a:cubicBezTo>
                  <a:pt x="127" y="81"/>
                  <a:pt x="120" y="97"/>
                  <a:pt x="108" y="108"/>
                </a:cubicBezTo>
                <a:cubicBezTo>
                  <a:pt x="153" y="155"/>
                  <a:pt x="153" y="155"/>
                  <a:pt x="153" y="155"/>
                </a:cubicBezTo>
                <a:cubicBezTo>
                  <a:pt x="154" y="156"/>
                  <a:pt x="154" y="158"/>
                  <a:pt x="153" y="159"/>
                </a:cubicBezTo>
                <a:close/>
                <a:moveTo>
                  <a:pt x="63" y="121"/>
                </a:moveTo>
                <a:cubicBezTo>
                  <a:pt x="95" y="121"/>
                  <a:pt x="121" y="95"/>
                  <a:pt x="121" y="63"/>
                </a:cubicBezTo>
                <a:cubicBezTo>
                  <a:pt x="121" y="32"/>
                  <a:pt x="95" y="6"/>
                  <a:pt x="63" y="6"/>
                </a:cubicBezTo>
                <a:cubicBezTo>
                  <a:pt x="32" y="6"/>
                  <a:pt x="6" y="32"/>
                  <a:pt x="6" y="63"/>
                </a:cubicBezTo>
                <a:cubicBezTo>
                  <a:pt x="6" y="95"/>
                  <a:pt x="32" y="121"/>
                  <a:pt x="63" y="121"/>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84">
            <a:extLst>
              <a:ext uri="{FF2B5EF4-FFF2-40B4-BE49-F238E27FC236}">
                <a16:creationId xmlns:a16="http://schemas.microsoft.com/office/drawing/2014/main" id="{1EE282A8-ADB8-5F4D-AC66-8F07BC979C1F}"/>
              </a:ext>
            </a:extLst>
          </p:cNvPr>
          <p:cNvSpPr>
            <a:spLocks noEditPoints="1"/>
          </p:cNvSpPr>
          <p:nvPr/>
        </p:nvSpPr>
        <p:spPr bwMode="auto">
          <a:xfrm>
            <a:off x="9011929" y="5167313"/>
            <a:ext cx="577850" cy="606425"/>
          </a:xfrm>
          <a:custGeom>
            <a:avLst/>
            <a:gdLst>
              <a:gd name="T0" fmla="*/ 88 w 154"/>
              <a:gd name="T1" fmla="*/ 63 h 160"/>
              <a:gd name="T2" fmla="*/ 85 w 154"/>
              <a:gd name="T3" fmla="*/ 66 h 160"/>
              <a:gd name="T4" fmla="*/ 42 w 154"/>
              <a:gd name="T5" fmla="*/ 66 h 160"/>
              <a:gd name="T6" fmla="*/ 39 w 154"/>
              <a:gd name="T7" fmla="*/ 63 h 160"/>
              <a:gd name="T8" fmla="*/ 42 w 154"/>
              <a:gd name="T9" fmla="*/ 60 h 160"/>
              <a:gd name="T10" fmla="*/ 85 w 154"/>
              <a:gd name="T11" fmla="*/ 60 h 160"/>
              <a:gd name="T12" fmla="*/ 88 w 154"/>
              <a:gd name="T13" fmla="*/ 63 h 160"/>
              <a:gd name="T14" fmla="*/ 153 w 154"/>
              <a:gd name="T15" fmla="*/ 159 h 160"/>
              <a:gd name="T16" fmla="*/ 151 w 154"/>
              <a:gd name="T17" fmla="*/ 160 h 160"/>
              <a:gd name="T18" fmla="*/ 149 w 154"/>
              <a:gd name="T19" fmla="*/ 159 h 160"/>
              <a:gd name="T20" fmla="*/ 104 w 154"/>
              <a:gd name="T21" fmla="*/ 112 h 160"/>
              <a:gd name="T22" fmla="*/ 63 w 154"/>
              <a:gd name="T23" fmla="*/ 127 h 160"/>
              <a:gd name="T24" fmla="*/ 0 w 154"/>
              <a:gd name="T25" fmla="*/ 63 h 160"/>
              <a:gd name="T26" fmla="*/ 63 w 154"/>
              <a:gd name="T27" fmla="*/ 0 h 160"/>
              <a:gd name="T28" fmla="*/ 127 w 154"/>
              <a:gd name="T29" fmla="*/ 63 h 160"/>
              <a:gd name="T30" fmla="*/ 108 w 154"/>
              <a:gd name="T31" fmla="*/ 108 h 160"/>
              <a:gd name="T32" fmla="*/ 153 w 154"/>
              <a:gd name="T33" fmla="*/ 155 h 160"/>
              <a:gd name="T34" fmla="*/ 153 w 154"/>
              <a:gd name="T35" fmla="*/ 159 h 160"/>
              <a:gd name="T36" fmla="*/ 63 w 154"/>
              <a:gd name="T37" fmla="*/ 121 h 160"/>
              <a:gd name="T38" fmla="*/ 121 w 154"/>
              <a:gd name="T39" fmla="*/ 63 h 160"/>
              <a:gd name="T40" fmla="*/ 63 w 154"/>
              <a:gd name="T41" fmla="*/ 6 h 160"/>
              <a:gd name="T42" fmla="*/ 6 w 154"/>
              <a:gd name="T43" fmla="*/ 63 h 160"/>
              <a:gd name="T44" fmla="*/ 63 w 154"/>
              <a:gd name="T45" fmla="*/ 12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4" h="160">
                <a:moveTo>
                  <a:pt x="88" y="63"/>
                </a:moveTo>
                <a:cubicBezTo>
                  <a:pt x="88" y="65"/>
                  <a:pt x="86" y="66"/>
                  <a:pt x="85" y="66"/>
                </a:cubicBezTo>
                <a:cubicBezTo>
                  <a:pt x="42" y="66"/>
                  <a:pt x="42" y="66"/>
                  <a:pt x="42" y="66"/>
                </a:cubicBezTo>
                <a:cubicBezTo>
                  <a:pt x="41" y="66"/>
                  <a:pt x="39" y="65"/>
                  <a:pt x="39" y="63"/>
                </a:cubicBezTo>
                <a:cubicBezTo>
                  <a:pt x="39" y="62"/>
                  <a:pt x="41" y="60"/>
                  <a:pt x="42" y="60"/>
                </a:cubicBezTo>
                <a:cubicBezTo>
                  <a:pt x="85" y="60"/>
                  <a:pt x="85" y="60"/>
                  <a:pt x="85" y="60"/>
                </a:cubicBezTo>
                <a:cubicBezTo>
                  <a:pt x="86" y="60"/>
                  <a:pt x="88" y="62"/>
                  <a:pt x="88" y="63"/>
                </a:cubicBezTo>
                <a:close/>
                <a:moveTo>
                  <a:pt x="153" y="159"/>
                </a:moveTo>
                <a:cubicBezTo>
                  <a:pt x="153" y="160"/>
                  <a:pt x="152" y="160"/>
                  <a:pt x="151" y="160"/>
                </a:cubicBezTo>
                <a:cubicBezTo>
                  <a:pt x="150" y="160"/>
                  <a:pt x="149" y="160"/>
                  <a:pt x="149" y="159"/>
                </a:cubicBezTo>
                <a:cubicBezTo>
                  <a:pt x="104" y="112"/>
                  <a:pt x="104" y="112"/>
                  <a:pt x="104" y="112"/>
                </a:cubicBezTo>
                <a:cubicBezTo>
                  <a:pt x="93" y="121"/>
                  <a:pt x="79" y="127"/>
                  <a:pt x="63" y="127"/>
                </a:cubicBezTo>
                <a:cubicBezTo>
                  <a:pt x="28" y="127"/>
                  <a:pt x="0" y="98"/>
                  <a:pt x="0" y="63"/>
                </a:cubicBezTo>
                <a:cubicBezTo>
                  <a:pt x="0" y="28"/>
                  <a:pt x="28" y="0"/>
                  <a:pt x="63" y="0"/>
                </a:cubicBezTo>
                <a:cubicBezTo>
                  <a:pt x="98" y="0"/>
                  <a:pt x="127" y="28"/>
                  <a:pt x="127" y="63"/>
                </a:cubicBezTo>
                <a:cubicBezTo>
                  <a:pt x="127" y="81"/>
                  <a:pt x="120" y="97"/>
                  <a:pt x="108" y="108"/>
                </a:cubicBezTo>
                <a:cubicBezTo>
                  <a:pt x="153" y="155"/>
                  <a:pt x="153" y="155"/>
                  <a:pt x="153" y="155"/>
                </a:cubicBezTo>
                <a:cubicBezTo>
                  <a:pt x="154" y="156"/>
                  <a:pt x="154" y="158"/>
                  <a:pt x="153" y="159"/>
                </a:cubicBezTo>
                <a:close/>
                <a:moveTo>
                  <a:pt x="63" y="121"/>
                </a:moveTo>
                <a:cubicBezTo>
                  <a:pt x="95" y="121"/>
                  <a:pt x="121" y="95"/>
                  <a:pt x="121" y="63"/>
                </a:cubicBezTo>
                <a:cubicBezTo>
                  <a:pt x="121" y="32"/>
                  <a:pt x="95" y="6"/>
                  <a:pt x="63" y="6"/>
                </a:cubicBezTo>
                <a:cubicBezTo>
                  <a:pt x="32" y="6"/>
                  <a:pt x="6" y="32"/>
                  <a:pt x="6" y="63"/>
                </a:cubicBezTo>
                <a:cubicBezTo>
                  <a:pt x="6" y="95"/>
                  <a:pt x="32" y="121"/>
                  <a:pt x="63" y="121"/>
                </a:cubicBezTo>
                <a:close/>
              </a:path>
            </a:pathLst>
          </a:custGeom>
          <a:solidFill>
            <a:srgbClr val="000000">
              <a:alpha val="59000"/>
            </a:srgbClr>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898352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8" name="RBC_Template_deck copy.png" descr="RBC_Template_deck copy.png"/>
          <p:cNvPicPr>
            <a:picLocks noChangeAspect="1"/>
          </p:cNvPicPr>
          <p:nvPr/>
        </p:nvPicPr>
        <p:blipFill>
          <a:blip r:embed="rId2">
            <a:alphaModFix amt="0"/>
          </a:blip>
          <a:stretch>
            <a:fillRect/>
          </a:stretch>
        </p:blipFill>
        <p:spPr>
          <a:xfrm>
            <a:off x="0" y="0"/>
            <a:ext cx="12192000" cy="6858000"/>
          </a:xfrm>
          <a:prstGeom prst="rect">
            <a:avLst/>
          </a:prstGeom>
          <a:ln w="3175">
            <a:miter lim="400000"/>
          </a:ln>
        </p:spPr>
      </p:pic>
      <p:sp>
        <p:nvSpPr>
          <p:cNvPr id="919" name="Rectangle"/>
          <p:cNvSpPr/>
          <p:nvPr/>
        </p:nvSpPr>
        <p:spPr>
          <a:xfrm>
            <a:off x="0" y="2"/>
            <a:ext cx="12192000" cy="6857999"/>
          </a:xfrm>
          <a:prstGeom prst="rect">
            <a:avLst/>
          </a:prstGeom>
          <a:solidFill>
            <a:srgbClr val="016AC3"/>
          </a:solidFill>
          <a:ln w="3175">
            <a:miter lim="400000"/>
          </a:ln>
        </p:spPr>
        <p:txBody>
          <a:bodyPr lIns="35719" tIns="35719" rIns="35719" bIns="35719" anchor="ctr"/>
          <a:lstStyle/>
          <a:p>
            <a:pPr>
              <a:defRPr sz="3000">
                <a:solidFill>
                  <a:srgbClr val="FFFFFF"/>
                </a:solidFill>
              </a:defRPr>
            </a:pPr>
            <a:endParaRPr sz="1500"/>
          </a:p>
        </p:txBody>
      </p:sp>
      <p:sp>
        <p:nvSpPr>
          <p:cNvPr id="921" name="Icon Library White #FFFFFF /  Icon Library"/>
          <p:cNvSpPr txBox="1"/>
          <p:nvPr/>
        </p:nvSpPr>
        <p:spPr>
          <a:xfrm>
            <a:off x="473064" y="286421"/>
            <a:ext cx="4547777" cy="30296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719" tIns="35719" rIns="35719" bIns="35719">
            <a:spAutoFit/>
          </a:bodyPr>
          <a:lstStyle/>
          <a:p>
            <a:pPr algn="l">
              <a:defRPr sz="3000">
                <a:solidFill>
                  <a:srgbClr val="FFFFFF"/>
                </a:solidFill>
                <a:latin typeface="Helvetica"/>
                <a:ea typeface="Helvetica"/>
                <a:cs typeface="Helvetica"/>
                <a:sym typeface="Helvetica"/>
              </a:defRPr>
            </a:pPr>
            <a:r>
              <a:rPr sz="1500" dirty="0">
                <a:latin typeface="Roboto Regular" panose="02000000000000000000" pitchFamily="2" charset="0"/>
                <a:ea typeface="Roboto Regular" panose="02000000000000000000" pitchFamily="2" charset="0"/>
                <a:sym typeface="Fira Sans Regular"/>
              </a:rPr>
              <a:t>Icon Library White #FFFFFF </a:t>
            </a:r>
            <a:r>
              <a:rPr sz="900" i="1" dirty="0">
                <a:latin typeface="Georgia"/>
                <a:ea typeface="Georgia"/>
                <a:cs typeface="Georgia"/>
                <a:sym typeface="Georgia"/>
              </a:rPr>
              <a:t>/  Icon Library </a:t>
            </a:r>
          </a:p>
        </p:txBody>
      </p:sp>
      <p:pic>
        <p:nvPicPr>
          <p:cNvPr id="922" name="Image" descr="Image"/>
          <p:cNvPicPr>
            <a:picLocks noChangeAspect="1"/>
          </p:cNvPicPr>
          <p:nvPr/>
        </p:nvPicPr>
        <p:blipFill>
          <a:blip r:embed="rId3"/>
          <a:stretch>
            <a:fillRect/>
          </a:stretch>
        </p:blipFill>
        <p:spPr>
          <a:xfrm>
            <a:off x="538473" y="1048324"/>
            <a:ext cx="487672" cy="487672"/>
          </a:xfrm>
          <a:prstGeom prst="rect">
            <a:avLst/>
          </a:prstGeom>
          <a:ln w="3175">
            <a:miter lim="400000"/>
          </a:ln>
        </p:spPr>
      </p:pic>
      <p:pic>
        <p:nvPicPr>
          <p:cNvPr id="923" name="Image" descr="Image"/>
          <p:cNvPicPr>
            <a:picLocks noChangeAspect="1"/>
          </p:cNvPicPr>
          <p:nvPr/>
        </p:nvPicPr>
        <p:blipFill>
          <a:blip r:embed="rId4"/>
          <a:stretch>
            <a:fillRect/>
          </a:stretch>
        </p:blipFill>
        <p:spPr>
          <a:xfrm>
            <a:off x="1537655" y="1048325"/>
            <a:ext cx="487672" cy="487672"/>
          </a:xfrm>
          <a:prstGeom prst="rect">
            <a:avLst/>
          </a:prstGeom>
          <a:ln w="3175">
            <a:miter lim="400000"/>
          </a:ln>
        </p:spPr>
      </p:pic>
      <p:pic>
        <p:nvPicPr>
          <p:cNvPr id="924" name="Image" descr="Image"/>
          <p:cNvPicPr>
            <a:picLocks noChangeAspect="1"/>
          </p:cNvPicPr>
          <p:nvPr/>
        </p:nvPicPr>
        <p:blipFill>
          <a:blip r:embed="rId5"/>
          <a:stretch>
            <a:fillRect/>
          </a:stretch>
        </p:blipFill>
        <p:spPr>
          <a:xfrm>
            <a:off x="2549508" y="1048325"/>
            <a:ext cx="487680" cy="487672"/>
          </a:xfrm>
          <a:prstGeom prst="rect">
            <a:avLst/>
          </a:prstGeom>
          <a:ln w="3175">
            <a:miter lim="400000"/>
          </a:ln>
        </p:spPr>
      </p:pic>
      <p:pic>
        <p:nvPicPr>
          <p:cNvPr id="925" name="Image" descr="Image"/>
          <p:cNvPicPr>
            <a:picLocks noChangeAspect="1"/>
          </p:cNvPicPr>
          <p:nvPr/>
        </p:nvPicPr>
        <p:blipFill>
          <a:blip r:embed="rId6"/>
          <a:stretch>
            <a:fillRect/>
          </a:stretch>
        </p:blipFill>
        <p:spPr>
          <a:xfrm>
            <a:off x="3666603" y="1048325"/>
            <a:ext cx="289555" cy="487672"/>
          </a:xfrm>
          <a:prstGeom prst="rect">
            <a:avLst/>
          </a:prstGeom>
          <a:ln w="3175">
            <a:miter lim="400000"/>
          </a:ln>
        </p:spPr>
      </p:pic>
      <p:pic>
        <p:nvPicPr>
          <p:cNvPr id="926" name="Image" descr="Image"/>
          <p:cNvPicPr>
            <a:picLocks noChangeAspect="1"/>
          </p:cNvPicPr>
          <p:nvPr/>
        </p:nvPicPr>
        <p:blipFill>
          <a:blip r:embed="rId7"/>
          <a:stretch>
            <a:fillRect/>
          </a:stretch>
        </p:blipFill>
        <p:spPr>
          <a:xfrm>
            <a:off x="4581469" y="1084520"/>
            <a:ext cx="487672" cy="415283"/>
          </a:xfrm>
          <a:prstGeom prst="rect">
            <a:avLst/>
          </a:prstGeom>
          <a:ln w="3175">
            <a:miter lim="400000"/>
          </a:ln>
        </p:spPr>
      </p:pic>
      <p:pic>
        <p:nvPicPr>
          <p:cNvPr id="927" name="Image" descr="Image"/>
          <p:cNvPicPr>
            <a:picLocks noChangeAspect="1"/>
          </p:cNvPicPr>
          <p:nvPr/>
        </p:nvPicPr>
        <p:blipFill>
          <a:blip r:embed="rId8"/>
          <a:stretch>
            <a:fillRect/>
          </a:stretch>
        </p:blipFill>
        <p:spPr>
          <a:xfrm>
            <a:off x="5602616" y="1048325"/>
            <a:ext cx="487672" cy="487672"/>
          </a:xfrm>
          <a:prstGeom prst="rect">
            <a:avLst/>
          </a:prstGeom>
          <a:ln w="3175">
            <a:miter lim="400000"/>
          </a:ln>
        </p:spPr>
      </p:pic>
      <p:pic>
        <p:nvPicPr>
          <p:cNvPr id="928" name="Image" descr="Image"/>
          <p:cNvPicPr>
            <a:picLocks noChangeAspect="1"/>
          </p:cNvPicPr>
          <p:nvPr/>
        </p:nvPicPr>
        <p:blipFill>
          <a:blip r:embed="rId9"/>
          <a:stretch>
            <a:fillRect/>
          </a:stretch>
        </p:blipFill>
        <p:spPr>
          <a:xfrm>
            <a:off x="6611975" y="1058900"/>
            <a:ext cx="487672" cy="466523"/>
          </a:xfrm>
          <a:prstGeom prst="rect">
            <a:avLst/>
          </a:prstGeom>
          <a:ln w="3175">
            <a:miter lim="400000"/>
          </a:ln>
        </p:spPr>
      </p:pic>
      <p:pic>
        <p:nvPicPr>
          <p:cNvPr id="929" name="Image" descr="Image"/>
          <p:cNvPicPr>
            <a:picLocks noChangeAspect="1"/>
          </p:cNvPicPr>
          <p:nvPr/>
        </p:nvPicPr>
        <p:blipFill>
          <a:blip r:embed="rId10"/>
          <a:stretch>
            <a:fillRect/>
          </a:stretch>
        </p:blipFill>
        <p:spPr>
          <a:xfrm>
            <a:off x="7624821" y="1058898"/>
            <a:ext cx="487672" cy="466527"/>
          </a:xfrm>
          <a:prstGeom prst="rect">
            <a:avLst/>
          </a:prstGeom>
          <a:ln w="3175">
            <a:miter lim="400000"/>
          </a:ln>
        </p:spPr>
      </p:pic>
      <p:pic>
        <p:nvPicPr>
          <p:cNvPr id="930" name="Image" descr="Image"/>
          <p:cNvPicPr>
            <a:picLocks noChangeAspect="1"/>
          </p:cNvPicPr>
          <p:nvPr/>
        </p:nvPicPr>
        <p:blipFill>
          <a:blip r:embed="rId11"/>
          <a:stretch>
            <a:fillRect/>
          </a:stretch>
        </p:blipFill>
        <p:spPr>
          <a:xfrm>
            <a:off x="8635379" y="1048325"/>
            <a:ext cx="487672" cy="487672"/>
          </a:xfrm>
          <a:prstGeom prst="rect">
            <a:avLst/>
          </a:prstGeom>
          <a:ln w="3175">
            <a:miter lim="400000"/>
          </a:ln>
        </p:spPr>
      </p:pic>
      <p:pic>
        <p:nvPicPr>
          <p:cNvPr id="931" name="Image" descr="Image"/>
          <p:cNvPicPr>
            <a:picLocks noChangeAspect="1"/>
          </p:cNvPicPr>
          <p:nvPr/>
        </p:nvPicPr>
        <p:blipFill>
          <a:blip r:embed="rId12"/>
          <a:stretch>
            <a:fillRect/>
          </a:stretch>
        </p:blipFill>
        <p:spPr>
          <a:xfrm>
            <a:off x="9662132" y="1048325"/>
            <a:ext cx="487672" cy="487672"/>
          </a:xfrm>
          <a:prstGeom prst="rect">
            <a:avLst/>
          </a:prstGeom>
          <a:ln w="3175">
            <a:miter lim="400000"/>
          </a:ln>
        </p:spPr>
      </p:pic>
      <p:pic>
        <p:nvPicPr>
          <p:cNvPr id="932" name="Image" descr="Image"/>
          <p:cNvPicPr>
            <a:picLocks noChangeAspect="1"/>
          </p:cNvPicPr>
          <p:nvPr/>
        </p:nvPicPr>
        <p:blipFill>
          <a:blip r:embed="rId13"/>
          <a:stretch>
            <a:fillRect/>
          </a:stretch>
        </p:blipFill>
        <p:spPr>
          <a:xfrm>
            <a:off x="10734056" y="1048325"/>
            <a:ext cx="379793" cy="487672"/>
          </a:xfrm>
          <a:prstGeom prst="rect">
            <a:avLst/>
          </a:prstGeom>
          <a:ln w="3175">
            <a:miter lim="400000"/>
          </a:ln>
        </p:spPr>
      </p:pic>
      <p:pic>
        <p:nvPicPr>
          <p:cNvPr id="933" name="Image" descr="Image"/>
          <p:cNvPicPr>
            <a:picLocks noChangeAspect="1"/>
          </p:cNvPicPr>
          <p:nvPr/>
        </p:nvPicPr>
        <p:blipFill>
          <a:blip r:embed="rId14"/>
          <a:stretch>
            <a:fillRect/>
          </a:stretch>
        </p:blipFill>
        <p:spPr>
          <a:xfrm>
            <a:off x="528949" y="1991319"/>
            <a:ext cx="506721" cy="506725"/>
          </a:xfrm>
          <a:prstGeom prst="rect">
            <a:avLst/>
          </a:prstGeom>
          <a:ln w="3175">
            <a:miter lim="400000"/>
          </a:ln>
        </p:spPr>
      </p:pic>
      <p:pic>
        <p:nvPicPr>
          <p:cNvPr id="934" name="Image" descr="Image"/>
          <p:cNvPicPr>
            <a:picLocks noChangeAspect="1"/>
          </p:cNvPicPr>
          <p:nvPr/>
        </p:nvPicPr>
        <p:blipFill>
          <a:blip r:embed="rId15"/>
          <a:stretch>
            <a:fillRect/>
          </a:stretch>
        </p:blipFill>
        <p:spPr>
          <a:xfrm>
            <a:off x="1537655" y="2077044"/>
            <a:ext cx="487672" cy="335275"/>
          </a:xfrm>
          <a:prstGeom prst="rect">
            <a:avLst/>
          </a:prstGeom>
          <a:ln w="3175">
            <a:miter lim="400000"/>
          </a:ln>
        </p:spPr>
      </p:pic>
      <p:pic>
        <p:nvPicPr>
          <p:cNvPr id="935" name="Image" descr="Image"/>
          <p:cNvPicPr>
            <a:picLocks noChangeAspect="1"/>
          </p:cNvPicPr>
          <p:nvPr/>
        </p:nvPicPr>
        <p:blipFill>
          <a:blip r:embed="rId16"/>
          <a:stretch>
            <a:fillRect/>
          </a:stretch>
        </p:blipFill>
        <p:spPr>
          <a:xfrm>
            <a:off x="2549513" y="2031361"/>
            <a:ext cx="487672" cy="426644"/>
          </a:xfrm>
          <a:prstGeom prst="rect">
            <a:avLst/>
          </a:prstGeom>
          <a:ln w="3175">
            <a:miter lim="400000"/>
          </a:ln>
        </p:spPr>
      </p:pic>
      <p:pic>
        <p:nvPicPr>
          <p:cNvPr id="936" name="Image" descr="Image"/>
          <p:cNvPicPr>
            <a:picLocks noChangeAspect="1"/>
          </p:cNvPicPr>
          <p:nvPr/>
        </p:nvPicPr>
        <p:blipFill>
          <a:blip r:embed="rId17"/>
          <a:stretch>
            <a:fillRect/>
          </a:stretch>
        </p:blipFill>
        <p:spPr>
          <a:xfrm>
            <a:off x="3567545" y="2031325"/>
            <a:ext cx="487672" cy="426712"/>
          </a:xfrm>
          <a:prstGeom prst="rect">
            <a:avLst/>
          </a:prstGeom>
          <a:ln w="3175">
            <a:miter lim="400000"/>
          </a:ln>
        </p:spPr>
      </p:pic>
      <p:pic>
        <p:nvPicPr>
          <p:cNvPr id="937" name="Image" descr="Image"/>
          <p:cNvPicPr>
            <a:picLocks noChangeAspect="1"/>
          </p:cNvPicPr>
          <p:nvPr/>
        </p:nvPicPr>
        <p:blipFill>
          <a:blip r:embed="rId18"/>
          <a:stretch>
            <a:fillRect/>
          </a:stretch>
        </p:blipFill>
        <p:spPr>
          <a:xfrm>
            <a:off x="4581469" y="2015330"/>
            <a:ext cx="487672" cy="458708"/>
          </a:xfrm>
          <a:prstGeom prst="rect">
            <a:avLst/>
          </a:prstGeom>
          <a:ln w="3175">
            <a:miter lim="400000"/>
          </a:ln>
        </p:spPr>
      </p:pic>
      <p:pic>
        <p:nvPicPr>
          <p:cNvPr id="938" name="Image" descr="Image"/>
          <p:cNvPicPr>
            <a:picLocks noChangeAspect="1"/>
          </p:cNvPicPr>
          <p:nvPr/>
        </p:nvPicPr>
        <p:blipFill>
          <a:blip r:embed="rId19"/>
          <a:stretch>
            <a:fillRect/>
          </a:stretch>
        </p:blipFill>
        <p:spPr>
          <a:xfrm>
            <a:off x="5602616" y="2016085"/>
            <a:ext cx="487672" cy="457192"/>
          </a:xfrm>
          <a:prstGeom prst="rect">
            <a:avLst/>
          </a:prstGeom>
          <a:ln w="3175">
            <a:miter lim="400000"/>
          </a:ln>
        </p:spPr>
      </p:pic>
      <p:pic>
        <p:nvPicPr>
          <p:cNvPr id="939" name="Image" descr="Image"/>
          <p:cNvPicPr>
            <a:picLocks noChangeAspect="1"/>
          </p:cNvPicPr>
          <p:nvPr/>
        </p:nvPicPr>
        <p:blipFill>
          <a:blip r:embed="rId20"/>
          <a:stretch>
            <a:fillRect/>
          </a:stretch>
        </p:blipFill>
        <p:spPr>
          <a:xfrm>
            <a:off x="6614743" y="2002840"/>
            <a:ext cx="482140" cy="483683"/>
          </a:xfrm>
          <a:prstGeom prst="rect">
            <a:avLst/>
          </a:prstGeom>
          <a:ln w="3175">
            <a:miter lim="400000"/>
          </a:ln>
        </p:spPr>
      </p:pic>
      <p:pic>
        <p:nvPicPr>
          <p:cNvPr id="940" name="Image" descr="Image"/>
          <p:cNvPicPr>
            <a:picLocks noChangeAspect="1"/>
          </p:cNvPicPr>
          <p:nvPr/>
        </p:nvPicPr>
        <p:blipFill>
          <a:blip r:embed="rId21"/>
          <a:stretch>
            <a:fillRect/>
          </a:stretch>
        </p:blipFill>
        <p:spPr>
          <a:xfrm>
            <a:off x="7624821" y="2000845"/>
            <a:ext cx="487672" cy="487672"/>
          </a:xfrm>
          <a:prstGeom prst="rect">
            <a:avLst/>
          </a:prstGeom>
          <a:ln w="3175">
            <a:miter lim="400000"/>
          </a:ln>
        </p:spPr>
      </p:pic>
      <p:pic>
        <p:nvPicPr>
          <p:cNvPr id="941" name="Image" descr="Image"/>
          <p:cNvPicPr>
            <a:picLocks noChangeAspect="1"/>
          </p:cNvPicPr>
          <p:nvPr/>
        </p:nvPicPr>
        <p:blipFill>
          <a:blip r:embed="rId22"/>
          <a:stretch>
            <a:fillRect/>
          </a:stretch>
        </p:blipFill>
        <p:spPr>
          <a:xfrm>
            <a:off x="8677288" y="2000845"/>
            <a:ext cx="403853" cy="487672"/>
          </a:xfrm>
          <a:prstGeom prst="rect">
            <a:avLst/>
          </a:prstGeom>
          <a:ln w="3175">
            <a:miter lim="400000"/>
          </a:ln>
        </p:spPr>
      </p:pic>
      <p:pic>
        <p:nvPicPr>
          <p:cNvPr id="942" name="Image" descr="Image"/>
          <p:cNvPicPr>
            <a:picLocks noChangeAspect="1"/>
          </p:cNvPicPr>
          <p:nvPr/>
        </p:nvPicPr>
        <p:blipFill>
          <a:blip r:embed="rId23"/>
          <a:stretch>
            <a:fillRect/>
          </a:stretch>
        </p:blipFill>
        <p:spPr>
          <a:xfrm>
            <a:off x="9672609" y="2000845"/>
            <a:ext cx="466716" cy="487672"/>
          </a:xfrm>
          <a:prstGeom prst="rect">
            <a:avLst/>
          </a:prstGeom>
          <a:ln w="3175">
            <a:miter lim="400000"/>
          </a:ln>
        </p:spPr>
      </p:pic>
      <p:pic>
        <p:nvPicPr>
          <p:cNvPr id="943" name="Image" descr="Image"/>
          <p:cNvPicPr>
            <a:picLocks noChangeAspect="1"/>
          </p:cNvPicPr>
          <p:nvPr/>
        </p:nvPicPr>
        <p:blipFill>
          <a:blip r:embed="rId24"/>
          <a:stretch>
            <a:fillRect/>
          </a:stretch>
        </p:blipFill>
        <p:spPr>
          <a:xfrm>
            <a:off x="10680117" y="2029726"/>
            <a:ext cx="487672" cy="429913"/>
          </a:xfrm>
          <a:prstGeom prst="rect">
            <a:avLst/>
          </a:prstGeom>
          <a:ln w="3175">
            <a:miter lim="400000"/>
          </a:ln>
        </p:spPr>
      </p:pic>
      <p:pic>
        <p:nvPicPr>
          <p:cNvPr id="944" name="Image" descr="Image"/>
          <p:cNvPicPr>
            <a:picLocks noChangeAspect="1"/>
          </p:cNvPicPr>
          <p:nvPr/>
        </p:nvPicPr>
        <p:blipFill>
          <a:blip r:embed="rId25"/>
          <a:stretch>
            <a:fillRect/>
          </a:stretch>
        </p:blipFill>
        <p:spPr>
          <a:xfrm>
            <a:off x="538473" y="2990301"/>
            <a:ext cx="487672" cy="405919"/>
          </a:xfrm>
          <a:prstGeom prst="rect">
            <a:avLst/>
          </a:prstGeom>
          <a:ln w="3175">
            <a:miter lim="400000"/>
          </a:ln>
        </p:spPr>
      </p:pic>
      <p:pic>
        <p:nvPicPr>
          <p:cNvPr id="945" name="Image" descr="Image"/>
          <p:cNvPicPr>
            <a:picLocks noChangeAspect="1"/>
          </p:cNvPicPr>
          <p:nvPr/>
        </p:nvPicPr>
        <p:blipFill>
          <a:blip r:embed="rId26"/>
          <a:stretch>
            <a:fillRect/>
          </a:stretch>
        </p:blipFill>
        <p:spPr>
          <a:xfrm>
            <a:off x="1537655" y="2990302"/>
            <a:ext cx="487672" cy="405919"/>
          </a:xfrm>
          <a:prstGeom prst="rect">
            <a:avLst/>
          </a:prstGeom>
          <a:ln w="3175">
            <a:miter lim="400000"/>
          </a:ln>
        </p:spPr>
      </p:pic>
      <p:pic>
        <p:nvPicPr>
          <p:cNvPr id="946" name="Image" descr="Image"/>
          <p:cNvPicPr>
            <a:picLocks noChangeAspect="1"/>
          </p:cNvPicPr>
          <p:nvPr/>
        </p:nvPicPr>
        <p:blipFill>
          <a:blip r:embed="rId27"/>
          <a:stretch>
            <a:fillRect/>
          </a:stretch>
        </p:blipFill>
        <p:spPr>
          <a:xfrm>
            <a:off x="2549513" y="2949425"/>
            <a:ext cx="487672" cy="487672"/>
          </a:xfrm>
          <a:prstGeom prst="rect">
            <a:avLst/>
          </a:prstGeom>
          <a:ln w="3175">
            <a:miter lim="400000"/>
          </a:ln>
        </p:spPr>
      </p:pic>
      <p:pic>
        <p:nvPicPr>
          <p:cNvPr id="947" name="Image" descr="Image"/>
          <p:cNvPicPr>
            <a:picLocks noChangeAspect="1"/>
          </p:cNvPicPr>
          <p:nvPr/>
        </p:nvPicPr>
        <p:blipFill>
          <a:blip r:embed="rId28"/>
          <a:stretch>
            <a:fillRect/>
          </a:stretch>
        </p:blipFill>
        <p:spPr>
          <a:xfrm>
            <a:off x="3567545" y="2949425"/>
            <a:ext cx="487672" cy="487672"/>
          </a:xfrm>
          <a:prstGeom prst="rect">
            <a:avLst/>
          </a:prstGeom>
          <a:ln w="3175">
            <a:miter lim="400000"/>
          </a:ln>
        </p:spPr>
      </p:pic>
      <p:pic>
        <p:nvPicPr>
          <p:cNvPr id="948" name="Image" descr="Image"/>
          <p:cNvPicPr>
            <a:picLocks noChangeAspect="1"/>
          </p:cNvPicPr>
          <p:nvPr/>
        </p:nvPicPr>
        <p:blipFill>
          <a:blip r:embed="rId29"/>
          <a:stretch>
            <a:fillRect/>
          </a:stretch>
        </p:blipFill>
        <p:spPr>
          <a:xfrm>
            <a:off x="4636681" y="2949776"/>
            <a:ext cx="377248" cy="486971"/>
          </a:xfrm>
          <a:prstGeom prst="rect">
            <a:avLst/>
          </a:prstGeom>
          <a:ln w="3175">
            <a:miter lim="400000"/>
          </a:ln>
        </p:spPr>
      </p:pic>
      <p:pic>
        <p:nvPicPr>
          <p:cNvPr id="949" name="Image" descr="Image"/>
          <p:cNvPicPr>
            <a:picLocks noChangeAspect="1"/>
          </p:cNvPicPr>
          <p:nvPr/>
        </p:nvPicPr>
        <p:blipFill>
          <a:blip r:embed="rId30"/>
          <a:stretch>
            <a:fillRect/>
          </a:stretch>
        </p:blipFill>
        <p:spPr>
          <a:xfrm>
            <a:off x="5602616" y="2960249"/>
            <a:ext cx="487672" cy="466028"/>
          </a:xfrm>
          <a:prstGeom prst="rect">
            <a:avLst/>
          </a:prstGeom>
          <a:ln w="3175">
            <a:miter lim="400000"/>
          </a:ln>
        </p:spPr>
      </p:pic>
      <p:pic>
        <p:nvPicPr>
          <p:cNvPr id="950" name="Image" descr="Image"/>
          <p:cNvPicPr>
            <a:picLocks noChangeAspect="1"/>
          </p:cNvPicPr>
          <p:nvPr/>
        </p:nvPicPr>
        <p:blipFill>
          <a:blip r:embed="rId31"/>
          <a:stretch>
            <a:fillRect/>
          </a:stretch>
        </p:blipFill>
        <p:spPr>
          <a:xfrm>
            <a:off x="6611975" y="2950172"/>
            <a:ext cx="487672" cy="486179"/>
          </a:xfrm>
          <a:prstGeom prst="rect">
            <a:avLst/>
          </a:prstGeom>
          <a:ln w="3175">
            <a:miter lim="400000"/>
          </a:ln>
        </p:spPr>
      </p:pic>
      <p:pic>
        <p:nvPicPr>
          <p:cNvPr id="951" name="Image" descr="Image"/>
          <p:cNvPicPr>
            <a:picLocks noChangeAspect="1"/>
          </p:cNvPicPr>
          <p:nvPr/>
        </p:nvPicPr>
        <p:blipFill>
          <a:blip r:embed="rId32"/>
          <a:stretch>
            <a:fillRect/>
          </a:stretch>
        </p:blipFill>
        <p:spPr>
          <a:xfrm>
            <a:off x="7624821" y="3010385"/>
            <a:ext cx="487672" cy="365753"/>
          </a:xfrm>
          <a:prstGeom prst="rect">
            <a:avLst/>
          </a:prstGeom>
          <a:ln w="3175">
            <a:miter lim="400000"/>
          </a:ln>
        </p:spPr>
      </p:pic>
      <p:pic>
        <p:nvPicPr>
          <p:cNvPr id="952" name="Image" descr="Image"/>
          <p:cNvPicPr>
            <a:picLocks noChangeAspect="1"/>
          </p:cNvPicPr>
          <p:nvPr/>
        </p:nvPicPr>
        <p:blipFill>
          <a:blip r:embed="rId33"/>
          <a:stretch>
            <a:fillRect/>
          </a:stretch>
        </p:blipFill>
        <p:spPr>
          <a:xfrm>
            <a:off x="8669670" y="2949425"/>
            <a:ext cx="419093" cy="487672"/>
          </a:xfrm>
          <a:prstGeom prst="rect">
            <a:avLst/>
          </a:prstGeom>
          <a:ln w="3175">
            <a:miter lim="400000"/>
          </a:ln>
        </p:spPr>
      </p:pic>
      <p:pic>
        <p:nvPicPr>
          <p:cNvPr id="953" name="Image" descr="Image"/>
          <p:cNvPicPr>
            <a:picLocks noChangeAspect="1"/>
          </p:cNvPicPr>
          <p:nvPr/>
        </p:nvPicPr>
        <p:blipFill>
          <a:blip r:embed="rId34"/>
          <a:stretch>
            <a:fillRect/>
          </a:stretch>
        </p:blipFill>
        <p:spPr>
          <a:xfrm>
            <a:off x="9662132" y="2998954"/>
            <a:ext cx="487672" cy="388613"/>
          </a:xfrm>
          <a:prstGeom prst="rect">
            <a:avLst/>
          </a:prstGeom>
          <a:ln w="3175">
            <a:miter lim="400000"/>
          </a:ln>
        </p:spPr>
      </p:pic>
      <p:pic>
        <p:nvPicPr>
          <p:cNvPr id="954" name="Image" descr="Image"/>
          <p:cNvPicPr>
            <a:picLocks noChangeAspect="1"/>
          </p:cNvPicPr>
          <p:nvPr/>
        </p:nvPicPr>
        <p:blipFill>
          <a:blip r:embed="rId35"/>
          <a:stretch>
            <a:fillRect/>
          </a:stretch>
        </p:blipFill>
        <p:spPr>
          <a:xfrm>
            <a:off x="10680117" y="3029973"/>
            <a:ext cx="487672" cy="326577"/>
          </a:xfrm>
          <a:prstGeom prst="rect">
            <a:avLst/>
          </a:prstGeom>
          <a:ln w="3175">
            <a:miter lim="400000"/>
          </a:ln>
        </p:spPr>
      </p:pic>
      <p:pic>
        <p:nvPicPr>
          <p:cNvPr id="955" name="Image" descr="Image"/>
          <p:cNvPicPr>
            <a:picLocks noChangeAspect="1"/>
          </p:cNvPicPr>
          <p:nvPr/>
        </p:nvPicPr>
        <p:blipFill>
          <a:blip r:embed="rId36"/>
          <a:stretch>
            <a:fillRect/>
          </a:stretch>
        </p:blipFill>
        <p:spPr>
          <a:xfrm>
            <a:off x="538473" y="3921661"/>
            <a:ext cx="487672" cy="468623"/>
          </a:xfrm>
          <a:prstGeom prst="rect">
            <a:avLst/>
          </a:prstGeom>
          <a:ln w="3175">
            <a:miter lim="400000"/>
          </a:ln>
        </p:spPr>
      </p:pic>
      <p:pic>
        <p:nvPicPr>
          <p:cNvPr id="956" name="Image" descr="Image"/>
          <p:cNvPicPr>
            <a:picLocks noChangeAspect="1"/>
          </p:cNvPicPr>
          <p:nvPr/>
        </p:nvPicPr>
        <p:blipFill>
          <a:blip r:embed="rId37"/>
          <a:stretch>
            <a:fillRect/>
          </a:stretch>
        </p:blipFill>
        <p:spPr>
          <a:xfrm>
            <a:off x="1537655" y="4028341"/>
            <a:ext cx="487672" cy="255265"/>
          </a:xfrm>
          <a:prstGeom prst="rect">
            <a:avLst/>
          </a:prstGeom>
          <a:ln w="3175">
            <a:miter lim="400000"/>
          </a:ln>
        </p:spPr>
      </p:pic>
      <p:pic>
        <p:nvPicPr>
          <p:cNvPr id="957" name="Image" descr="Image"/>
          <p:cNvPicPr>
            <a:picLocks noChangeAspect="1"/>
          </p:cNvPicPr>
          <p:nvPr/>
        </p:nvPicPr>
        <p:blipFill>
          <a:blip r:embed="rId38"/>
          <a:stretch>
            <a:fillRect/>
          </a:stretch>
        </p:blipFill>
        <p:spPr>
          <a:xfrm>
            <a:off x="2549513" y="3928485"/>
            <a:ext cx="487672" cy="454971"/>
          </a:xfrm>
          <a:prstGeom prst="rect">
            <a:avLst/>
          </a:prstGeom>
          <a:ln w="3175">
            <a:miter lim="400000"/>
          </a:ln>
        </p:spPr>
      </p:pic>
      <p:pic>
        <p:nvPicPr>
          <p:cNvPr id="958" name="Image" descr="Image"/>
          <p:cNvPicPr>
            <a:picLocks noChangeAspect="1"/>
          </p:cNvPicPr>
          <p:nvPr/>
        </p:nvPicPr>
        <p:blipFill>
          <a:blip r:embed="rId39"/>
          <a:stretch>
            <a:fillRect/>
          </a:stretch>
        </p:blipFill>
        <p:spPr>
          <a:xfrm>
            <a:off x="3567669" y="3984747"/>
            <a:ext cx="487424" cy="342452"/>
          </a:xfrm>
          <a:prstGeom prst="rect">
            <a:avLst/>
          </a:prstGeom>
          <a:ln w="3175">
            <a:miter lim="400000"/>
          </a:ln>
        </p:spPr>
      </p:pic>
      <p:pic>
        <p:nvPicPr>
          <p:cNvPr id="959" name="Image" descr="Image"/>
          <p:cNvPicPr>
            <a:picLocks noChangeAspect="1"/>
          </p:cNvPicPr>
          <p:nvPr/>
        </p:nvPicPr>
        <p:blipFill>
          <a:blip r:embed="rId40"/>
          <a:stretch>
            <a:fillRect/>
          </a:stretch>
        </p:blipFill>
        <p:spPr>
          <a:xfrm>
            <a:off x="4581469" y="3912135"/>
            <a:ext cx="487672" cy="487672"/>
          </a:xfrm>
          <a:prstGeom prst="rect">
            <a:avLst/>
          </a:prstGeom>
          <a:ln w="3175">
            <a:miter lim="400000"/>
          </a:ln>
        </p:spPr>
      </p:pic>
      <p:pic>
        <p:nvPicPr>
          <p:cNvPr id="960" name="Image" descr="Image"/>
          <p:cNvPicPr>
            <a:picLocks noChangeAspect="1"/>
          </p:cNvPicPr>
          <p:nvPr/>
        </p:nvPicPr>
        <p:blipFill>
          <a:blip r:embed="rId41"/>
          <a:stretch>
            <a:fillRect/>
          </a:stretch>
        </p:blipFill>
        <p:spPr>
          <a:xfrm>
            <a:off x="5617870" y="3929664"/>
            <a:ext cx="457161" cy="452616"/>
          </a:xfrm>
          <a:prstGeom prst="rect">
            <a:avLst/>
          </a:prstGeom>
          <a:ln w="3175">
            <a:miter lim="400000"/>
          </a:ln>
        </p:spPr>
      </p:pic>
      <p:pic>
        <p:nvPicPr>
          <p:cNvPr id="961" name="Image" descr="Image"/>
          <p:cNvPicPr>
            <a:picLocks noChangeAspect="1"/>
          </p:cNvPicPr>
          <p:nvPr/>
        </p:nvPicPr>
        <p:blipFill>
          <a:blip r:embed="rId42"/>
          <a:stretch>
            <a:fillRect/>
          </a:stretch>
        </p:blipFill>
        <p:spPr>
          <a:xfrm>
            <a:off x="6611975" y="3949773"/>
            <a:ext cx="487672" cy="412395"/>
          </a:xfrm>
          <a:prstGeom prst="rect">
            <a:avLst/>
          </a:prstGeom>
          <a:ln w="3175">
            <a:miter lim="400000"/>
          </a:ln>
        </p:spPr>
      </p:pic>
      <p:pic>
        <p:nvPicPr>
          <p:cNvPr id="962" name="Image" descr="Image"/>
          <p:cNvPicPr>
            <a:picLocks noChangeAspect="1"/>
          </p:cNvPicPr>
          <p:nvPr/>
        </p:nvPicPr>
        <p:blipFill>
          <a:blip r:embed="rId43"/>
          <a:stretch>
            <a:fillRect/>
          </a:stretch>
        </p:blipFill>
        <p:spPr>
          <a:xfrm>
            <a:off x="7625720" y="3913032"/>
            <a:ext cx="485873" cy="485877"/>
          </a:xfrm>
          <a:prstGeom prst="rect">
            <a:avLst/>
          </a:prstGeom>
          <a:ln w="3175">
            <a:miter lim="400000"/>
          </a:ln>
        </p:spPr>
      </p:pic>
      <p:pic>
        <p:nvPicPr>
          <p:cNvPr id="963" name="Image" descr="Image"/>
          <p:cNvPicPr>
            <a:picLocks noChangeAspect="1"/>
          </p:cNvPicPr>
          <p:nvPr/>
        </p:nvPicPr>
        <p:blipFill>
          <a:blip r:embed="rId44"/>
          <a:stretch>
            <a:fillRect/>
          </a:stretch>
        </p:blipFill>
        <p:spPr>
          <a:xfrm>
            <a:off x="8635926" y="3942935"/>
            <a:ext cx="486583" cy="426076"/>
          </a:xfrm>
          <a:prstGeom prst="rect">
            <a:avLst/>
          </a:prstGeom>
          <a:ln w="3175">
            <a:miter lim="400000"/>
          </a:ln>
        </p:spPr>
      </p:pic>
      <p:pic>
        <p:nvPicPr>
          <p:cNvPr id="964" name="Image" descr="Image"/>
          <p:cNvPicPr>
            <a:picLocks noChangeAspect="1"/>
          </p:cNvPicPr>
          <p:nvPr/>
        </p:nvPicPr>
        <p:blipFill>
          <a:blip r:embed="rId45"/>
          <a:stretch>
            <a:fillRect/>
          </a:stretch>
        </p:blipFill>
        <p:spPr>
          <a:xfrm>
            <a:off x="10680117" y="3937852"/>
            <a:ext cx="487672" cy="436237"/>
          </a:xfrm>
          <a:prstGeom prst="rect">
            <a:avLst/>
          </a:prstGeom>
          <a:ln w="3175">
            <a:miter lim="400000"/>
          </a:ln>
        </p:spPr>
      </p:pic>
      <p:pic>
        <p:nvPicPr>
          <p:cNvPr id="965" name="Image" descr="Image"/>
          <p:cNvPicPr>
            <a:picLocks noChangeAspect="1"/>
          </p:cNvPicPr>
          <p:nvPr/>
        </p:nvPicPr>
        <p:blipFill>
          <a:blip r:embed="rId46"/>
          <a:stretch>
            <a:fillRect/>
          </a:stretch>
        </p:blipFill>
        <p:spPr>
          <a:xfrm>
            <a:off x="604461" y="4867503"/>
            <a:ext cx="355697" cy="473031"/>
          </a:xfrm>
          <a:prstGeom prst="rect">
            <a:avLst/>
          </a:prstGeom>
          <a:ln w="3175">
            <a:miter lim="400000"/>
          </a:ln>
        </p:spPr>
      </p:pic>
      <p:pic>
        <p:nvPicPr>
          <p:cNvPr id="966" name="Image" descr="Image"/>
          <p:cNvPicPr>
            <a:picLocks noChangeAspect="1"/>
          </p:cNvPicPr>
          <p:nvPr/>
        </p:nvPicPr>
        <p:blipFill>
          <a:blip r:embed="rId47"/>
          <a:stretch>
            <a:fillRect/>
          </a:stretch>
        </p:blipFill>
        <p:spPr>
          <a:xfrm>
            <a:off x="1537655" y="4860183"/>
            <a:ext cx="487672" cy="487672"/>
          </a:xfrm>
          <a:prstGeom prst="rect">
            <a:avLst/>
          </a:prstGeom>
          <a:ln w="3175">
            <a:miter lim="400000"/>
          </a:ln>
        </p:spPr>
      </p:pic>
      <p:pic>
        <p:nvPicPr>
          <p:cNvPr id="967" name="Image" descr="Image"/>
          <p:cNvPicPr>
            <a:picLocks noChangeAspect="1"/>
          </p:cNvPicPr>
          <p:nvPr/>
        </p:nvPicPr>
        <p:blipFill>
          <a:blip r:embed="rId48"/>
          <a:stretch>
            <a:fillRect/>
          </a:stretch>
        </p:blipFill>
        <p:spPr>
          <a:xfrm>
            <a:off x="2615497" y="4867505"/>
            <a:ext cx="355699" cy="473031"/>
          </a:xfrm>
          <a:prstGeom prst="rect">
            <a:avLst/>
          </a:prstGeom>
          <a:ln w="3175">
            <a:miter lim="400000"/>
          </a:ln>
        </p:spPr>
      </p:pic>
      <p:pic>
        <p:nvPicPr>
          <p:cNvPr id="968" name="Image" descr="Image"/>
          <p:cNvPicPr>
            <a:picLocks noChangeAspect="1"/>
          </p:cNvPicPr>
          <p:nvPr/>
        </p:nvPicPr>
        <p:blipFill>
          <a:blip r:embed="rId49"/>
          <a:stretch>
            <a:fillRect/>
          </a:stretch>
        </p:blipFill>
        <p:spPr>
          <a:xfrm>
            <a:off x="3567545" y="4860183"/>
            <a:ext cx="487672" cy="487672"/>
          </a:xfrm>
          <a:prstGeom prst="rect">
            <a:avLst/>
          </a:prstGeom>
          <a:ln w="3175">
            <a:miter lim="400000"/>
          </a:ln>
        </p:spPr>
      </p:pic>
      <p:pic>
        <p:nvPicPr>
          <p:cNvPr id="969" name="Image" descr="Image"/>
          <p:cNvPicPr>
            <a:picLocks noChangeAspect="1"/>
          </p:cNvPicPr>
          <p:nvPr/>
        </p:nvPicPr>
        <p:blipFill>
          <a:blip r:embed="rId50"/>
          <a:stretch>
            <a:fillRect/>
          </a:stretch>
        </p:blipFill>
        <p:spPr>
          <a:xfrm>
            <a:off x="4587300" y="4866012"/>
            <a:ext cx="476013" cy="476017"/>
          </a:xfrm>
          <a:prstGeom prst="rect">
            <a:avLst/>
          </a:prstGeom>
          <a:ln w="3175">
            <a:miter lim="400000"/>
          </a:ln>
        </p:spPr>
      </p:pic>
      <p:pic>
        <p:nvPicPr>
          <p:cNvPr id="970" name="Image" descr="Image"/>
          <p:cNvPicPr>
            <a:picLocks noChangeAspect="1"/>
          </p:cNvPicPr>
          <p:nvPr/>
        </p:nvPicPr>
        <p:blipFill>
          <a:blip r:embed="rId51"/>
          <a:stretch>
            <a:fillRect/>
          </a:stretch>
        </p:blipFill>
        <p:spPr>
          <a:xfrm>
            <a:off x="5602616" y="4860183"/>
            <a:ext cx="487672" cy="487672"/>
          </a:xfrm>
          <a:prstGeom prst="rect">
            <a:avLst/>
          </a:prstGeom>
          <a:ln w="3175">
            <a:miter lim="400000"/>
          </a:ln>
        </p:spPr>
      </p:pic>
      <p:pic>
        <p:nvPicPr>
          <p:cNvPr id="971" name="Image" descr="Image"/>
          <p:cNvPicPr>
            <a:picLocks noChangeAspect="1"/>
          </p:cNvPicPr>
          <p:nvPr/>
        </p:nvPicPr>
        <p:blipFill>
          <a:blip r:embed="rId52"/>
          <a:stretch>
            <a:fillRect/>
          </a:stretch>
        </p:blipFill>
        <p:spPr>
          <a:xfrm>
            <a:off x="6644357" y="4860183"/>
            <a:ext cx="422911" cy="487672"/>
          </a:xfrm>
          <a:prstGeom prst="rect">
            <a:avLst/>
          </a:prstGeom>
          <a:ln w="3175">
            <a:miter lim="400000"/>
          </a:ln>
        </p:spPr>
      </p:pic>
      <p:pic>
        <p:nvPicPr>
          <p:cNvPr id="972" name="Image" descr="Image"/>
          <p:cNvPicPr>
            <a:picLocks noChangeAspect="1"/>
          </p:cNvPicPr>
          <p:nvPr/>
        </p:nvPicPr>
        <p:blipFill>
          <a:blip r:embed="rId53"/>
          <a:stretch>
            <a:fillRect/>
          </a:stretch>
        </p:blipFill>
        <p:spPr>
          <a:xfrm>
            <a:off x="7657190" y="4860183"/>
            <a:ext cx="422933" cy="487672"/>
          </a:xfrm>
          <a:prstGeom prst="rect">
            <a:avLst/>
          </a:prstGeom>
          <a:ln w="3175">
            <a:miter lim="400000"/>
          </a:ln>
        </p:spPr>
      </p:pic>
      <p:pic>
        <p:nvPicPr>
          <p:cNvPr id="973" name="Image" descr="Image"/>
          <p:cNvPicPr>
            <a:picLocks noChangeAspect="1"/>
          </p:cNvPicPr>
          <p:nvPr/>
        </p:nvPicPr>
        <p:blipFill>
          <a:blip r:embed="rId54"/>
          <a:stretch>
            <a:fillRect/>
          </a:stretch>
        </p:blipFill>
        <p:spPr>
          <a:xfrm>
            <a:off x="8640141" y="4860183"/>
            <a:ext cx="478147" cy="487672"/>
          </a:xfrm>
          <a:prstGeom prst="rect">
            <a:avLst/>
          </a:prstGeom>
          <a:ln w="3175">
            <a:miter lim="400000"/>
          </a:ln>
        </p:spPr>
      </p:pic>
      <p:pic>
        <p:nvPicPr>
          <p:cNvPr id="974" name="Image" descr="Image"/>
          <p:cNvPicPr>
            <a:picLocks noChangeAspect="1"/>
          </p:cNvPicPr>
          <p:nvPr/>
        </p:nvPicPr>
        <p:blipFill>
          <a:blip r:embed="rId55"/>
          <a:stretch>
            <a:fillRect/>
          </a:stretch>
        </p:blipFill>
        <p:spPr>
          <a:xfrm>
            <a:off x="9661594" y="4860183"/>
            <a:ext cx="488749" cy="487672"/>
          </a:xfrm>
          <a:prstGeom prst="rect">
            <a:avLst/>
          </a:prstGeom>
          <a:ln w="3175">
            <a:miter lim="400000"/>
          </a:ln>
        </p:spPr>
      </p:pic>
      <p:pic>
        <p:nvPicPr>
          <p:cNvPr id="975" name="Image" descr="Image"/>
          <p:cNvPicPr>
            <a:picLocks noChangeAspect="1"/>
          </p:cNvPicPr>
          <p:nvPr/>
        </p:nvPicPr>
        <p:blipFill>
          <a:blip r:embed="rId56"/>
          <a:stretch>
            <a:fillRect/>
          </a:stretch>
        </p:blipFill>
        <p:spPr>
          <a:xfrm>
            <a:off x="9682710" y="3937230"/>
            <a:ext cx="446513" cy="437487"/>
          </a:xfrm>
          <a:prstGeom prst="rect">
            <a:avLst/>
          </a:prstGeom>
          <a:ln w="3175">
            <a:miter lim="400000"/>
          </a:ln>
        </p:spPr>
      </p:pic>
      <p:pic>
        <p:nvPicPr>
          <p:cNvPr id="976" name="Image" descr="Image"/>
          <p:cNvPicPr>
            <a:picLocks noChangeAspect="1"/>
          </p:cNvPicPr>
          <p:nvPr/>
        </p:nvPicPr>
        <p:blipFill>
          <a:blip r:embed="rId57"/>
          <a:stretch>
            <a:fillRect/>
          </a:stretch>
        </p:blipFill>
        <p:spPr>
          <a:xfrm>
            <a:off x="10685040" y="4867084"/>
            <a:ext cx="473805" cy="473805"/>
          </a:xfrm>
          <a:prstGeom prst="rect">
            <a:avLst/>
          </a:prstGeom>
          <a:ln w="3175">
            <a:miter lim="400000"/>
          </a:ln>
        </p:spPr>
      </p:pic>
      <p:pic>
        <p:nvPicPr>
          <p:cNvPr id="977" name="Image" descr="Image"/>
          <p:cNvPicPr>
            <a:picLocks noChangeAspect="1"/>
          </p:cNvPicPr>
          <p:nvPr/>
        </p:nvPicPr>
        <p:blipFill>
          <a:blip r:embed="rId58"/>
          <a:stretch>
            <a:fillRect/>
          </a:stretch>
        </p:blipFill>
        <p:spPr>
          <a:xfrm>
            <a:off x="508125" y="5814110"/>
            <a:ext cx="548368" cy="548785"/>
          </a:xfrm>
          <a:prstGeom prst="rect">
            <a:avLst/>
          </a:prstGeom>
          <a:ln w="3175">
            <a:miter lim="400000"/>
          </a:ln>
        </p:spPr>
      </p:pic>
      <p:pic>
        <p:nvPicPr>
          <p:cNvPr id="978" name="Image" descr="Image"/>
          <p:cNvPicPr>
            <a:picLocks noChangeAspect="1"/>
          </p:cNvPicPr>
          <p:nvPr/>
        </p:nvPicPr>
        <p:blipFill>
          <a:blip r:embed="rId59"/>
          <a:stretch>
            <a:fillRect/>
          </a:stretch>
        </p:blipFill>
        <p:spPr>
          <a:xfrm>
            <a:off x="1557026" y="5811034"/>
            <a:ext cx="448935" cy="551863"/>
          </a:xfrm>
          <a:prstGeom prst="rect">
            <a:avLst/>
          </a:prstGeom>
          <a:ln w="3175">
            <a:miter lim="400000"/>
          </a:ln>
        </p:spPr>
      </p:pic>
      <p:pic>
        <p:nvPicPr>
          <p:cNvPr id="979" name="Image" descr="Image"/>
          <p:cNvPicPr>
            <a:picLocks noChangeAspect="1"/>
          </p:cNvPicPr>
          <p:nvPr/>
        </p:nvPicPr>
        <p:blipFill>
          <a:blip r:embed="rId60"/>
          <a:stretch>
            <a:fillRect/>
          </a:stretch>
        </p:blipFill>
        <p:spPr>
          <a:xfrm>
            <a:off x="2593847" y="5812827"/>
            <a:ext cx="399004" cy="550071"/>
          </a:xfrm>
          <a:prstGeom prst="rect">
            <a:avLst/>
          </a:prstGeom>
          <a:ln w="3175">
            <a:miter lim="400000"/>
          </a:ln>
        </p:spPr>
      </p:pic>
      <p:pic>
        <p:nvPicPr>
          <p:cNvPr id="980" name="Image" descr="Image"/>
          <p:cNvPicPr>
            <a:picLocks noChangeAspect="1"/>
          </p:cNvPicPr>
          <p:nvPr/>
        </p:nvPicPr>
        <p:blipFill>
          <a:blip r:embed="rId61"/>
          <a:stretch>
            <a:fillRect/>
          </a:stretch>
        </p:blipFill>
        <p:spPr>
          <a:xfrm>
            <a:off x="3555246" y="5849991"/>
            <a:ext cx="512901" cy="512904"/>
          </a:xfrm>
          <a:prstGeom prst="rect">
            <a:avLst/>
          </a:prstGeom>
          <a:ln w="3175">
            <a:miter lim="400000"/>
          </a:ln>
        </p:spPr>
      </p:pic>
      <p:pic>
        <p:nvPicPr>
          <p:cNvPr id="981" name="Image" descr="Image"/>
          <p:cNvPicPr>
            <a:picLocks noChangeAspect="1"/>
          </p:cNvPicPr>
          <p:nvPr/>
        </p:nvPicPr>
        <p:blipFill>
          <a:blip r:embed="rId62"/>
          <a:stretch>
            <a:fillRect/>
          </a:stretch>
        </p:blipFill>
        <p:spPr>
          <a:xfrm>
            <a:off x="4569022" y="5859415"/>
            <a:ext cx="512572" cy="503480"/>
          </a:xfrm>
          <a:prstGeom prst="rect">
            <a:avLst/>
          </a:prstGeom>
          <a:ln w="3175">
            <a:miter lim="400000"/>
          </a:ln>
        </p:spPr>
      </p:pic>
      <p:pic>
        <p:nvPicPr>
          <p:cNvPr id="982" name="Image" descr="Image"/>
          <p:cNvPicPr>
            <a:picLocks noChangeAspect="1"/>
          </p:cNvPicPr>
          <p:nvPr/>
        </p:nvPicPr>
        <p:blipFill>
          <a:blip r:embed="rId63"/>
          <a:stretch>
            <a:fillRect/>
          </a:stretch>
        </p:blipFill>
        <p:spPr>
          <a:xfrm>
            <a:off x="5597591" y="5867308"/>
            <a:ext cx="497723" cy="495587"/>
          </a:xfrm>
          <a:prstGeom prst="rect">
            <a:avLst/>
          </a:prstGeom>
          <a:ln w="3175">
            <a:miter lim="400000"/>
          </a:ln>
        </p:spPr>
      </p:pic>
      <p:pic>
        <p:nvPicPr>
          <p:cNvPr id="983" name="Image" descr="Image"/>
          <p:cNvPicPr>
            <a:picLocks noChangeAspect="1"/>
          </p:cNvPicPr>
          <p:nvPr/>
        </p:nvPicPr>
        <p:blipFill>
          <a:blip r:embed="rId64"/>
          <a:stretch>
            <a:fillRect/>
          </a:stretch>
        </p:blipFill>
        <p:spPr>
          <a:xfrm>
            <a:off x="6635426" y="5922123"/>
            <a:ext cx="440775" cy="440775"/>
          </a:xfrm>
          <a:prstGeom prst="rect">
            <a:avLst/>
          </a:prstGeom>
          <a:ln w="3175">
            <a:miter lim="400000"/>
          </a:ln>
        </p:spPr>
      </p:pic>
      <p:pic>
        <p:nvPicPr>
          <p:cNvPr id="984" name="Image" descr="Image"/>
          <p:cNvPicPr>
            <a:picLocks noChangeAspect="1"/>
          </p:cNvPicPr>
          <p:nvPr/>
        </p:nvPicPr>
        <p:blipFill>
          <a:blip r:embed="rId65"/>
          <a:stretch>
            <a:fillRect/>
          </a:stretch>
        </p:blipFill>
        <p:spPr>
          <a:xfrm>
            <a:off x="7612207" y="5849995"/>
            <a:ext cx="512900" cy="512901"/>
          </a:xfrm>
          <a:prstGeom prst="rect">
            <a:avLst/>
          </a:prstGeom>
          <a:ln w="3175">
            <a:miter lim="400000"/>
          </a:ln>
        </p:spPr>
      </p:pic>
      <p:pic>
        <p:nvPicPr>
          <p:cNvPr id="985" name="Image" descr="Image"/>
          <p:cNvPicPr>
            <a:picLocks noChangeAspect="1"/>
          </p:cNvPicPr>
          <p:nvPr/>
        </p:nvPicPr>
        <p:blipFill>
          <a:blip r:embed="rId66"/>
          <a:stretch>
            <a:fillRect/>
          </a:stretch>
        </p:blipFill>
        <p:spPr>
          <a:xfrm>
            <a:off x="8622764" y="5919813"/>
            <a:ext cx="512901" cy="443083"/>
          </a:xfrm>
          <a:prstGeom prst="rect">
            <a:avLst/>
          </a:prstGeom>
          <a:ln w="3175">
            <a:miter lim="400000"/>
          </a:ln>
        </p:spPr>
      </p:pic>
      <p:pic>
        <p:nvPicPr>
          <p:cNvPr id="986" name="Image" descr="Image"/>
          <p:cNvPicPr>
            <a:picLocks noChangeAspect="1"/>
          </p:cNvPicPr>
          <p:nvPr/>
        </p:nvPicPr>
        <p:blipFill>
          <a:blip r:embed="rId67"/>
          <a:stretch>
            <a:fillRect/>
          </a:stretch>
        </p:blipFill>
        <p:spPr>
          <a:xfrm>
            <a:off x="9649516" y="5849995"/>
            <a:ext cx="512901" cy="512901"/>
          </a:xfrm>
          <a:prstGeom prst="rect">
            <a:avLst/>
          </a:prstGeom>
          <a:ln w="3175">
            <a:miter lim="400000"/>
          </a:ln>
        </p:spPr>
      </p:pic>
      <p:pic>
        <p:nvPicPr>
          <p:cNvPr id="987" name="Image" descr="Image"/>
          <p:cNvPicPr>
            <a:picLocks noChangeAspect="1"/>
          </p:cNvPicPr>
          <p:nvPr/>
        </p:nvPicPr>
        <p:blipFill>
          <a:blip r:embed="rId68"/>
          <a:stretch>
            <a:fillRect/>
          </a:stretch>
        </p:blipFill>
        <p:spPr>
          <a:xfrm>
            <a:off x="10665311" y="5850112"/>
            <a:ext cx="528552" cy="512785"/>
          </a:xfrm>
          <a:prstGeom prst="rect">
            <a:avLst/>
          </a:prstGeom>
          <a:ln w="3175">
            <a:miter lim="400000"/>
          </a:ln>
        </p:spPr>
      </p:pic>
    </p:spTree>
    <p:extLst>
      <p:ext uri="{BB962C8B-B14F-4D97-AF65-F5344CB8AC3E}">
        <p14:creationId xmlns:p14="http://schemas.microsoft.com/office/powerpoint/2010/main" val="337761743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Rectangle"/>
          <p:cNvSpPr/>
          <p:nvPr/>
        </p:nvSpPr>
        <p:spPr>
          <a:xfrm>
            <a:off x="2" y="2"/>
            <a:ext cx="12191999" cy="6857999"/>
          </a:xfrm>
          <a:prstGeom prst="rect">
            <a:avLst/>
          </a:prstGeom>
          <a:solidFill>
            <a:srgbClr val="016AC3"/>
          </a:solidFill>
          <a:ln w="3175">
            <a:noFill/>
            <a:miter lim="400000"/>
          </a:ln>
        </p:spPr>
        <p:txBody>
          <a:bodyPr lIns="35719" tIns="35719" rIns="35719" bIns="35719" anchor="ctr"/>
          <a:lstStyle/>
          <a:p>
            <a:pPr>
              <a:defRPr sz="3000">
                <a:solidFill>
                  <a:srgbClr val="FFFFFF"/>
                </a:solidFill>
              </a:defRPr>
            </a:pPr>
            <a:endParaRPr sz="1500"/>
          </a:p>
        </p:txBody>
      </p:sp>
      <p:sp>
        <p:nvSpPr>
          <p:cNvPr id="1050" name="Icon Library White #FFFFFF /  Icon Library"/>
          <p:cNvSpPr txBox="1"/>
          <p:nvPr/>
        </p:nvSpPr>
        <p:spPr>
          <a:xfrm>
            <a:off x="473064" y="286421"/>
            <a:ext cx="4547777" cy="30296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719" tIns="35719" rIns="35719" bIns="35719">
            <a:spAutoFit/>
          </a:bodyPr>
          <a:lstStyle/>
          <a:p>
            <a:pPr algn="l">
              <a:defRPr sz="3000">
                <a:solidFill>
                  <a:srgbClr val="FFFFFF"/>
                </a:solidFill>
                <a:latin typeface="Helvetica"/>
                <a:ea typeface="Helvetica"/>
                <a:cs typeface="Helvetica"/>
                <a:sym typeface="Helvetica"/>
              </a:defRPr>
            </a:pPr>
            <a:r>
              <a:rPr sz="1500" dirty="0">
                <a:latin typeface="Roboto Regular" panose="02000000000000000000" pitchFamily="2" charset="0"/>
                <a:ea typeface="Roboto Regular" panose="02000000000000000000" pitchFamily="2" charset="0"/>
                <a:sym typeface="Fira Sans Regular"/>
              </a:rPr>
              <a:t>Icon Library White #FFFFFF </a:t>
            </a:r>
            <a:r>
              <a:rPr sz="900" i="1" dirty="0">
                <a:latin typeface="Georgia"/>
                <a:ea typeface="Georgia"/>
                <a:cs typeface="Georgia"/>
                <a:sym typeface="Georgia"/>
              </a:rPr>
              <a:t>/  Icon Library </a:t>
            </a:r>
          </a:p>
        </p:txBody>
      </p:sp>
      <p:pic>
        <p:nvPicPr>
          <p:cNvPr id="1051" name="Image" descr="Image"/>
          <p:cNvPicPr>
            <a:picLocks noChangeAspect="1"/>
          </p:cNvPicPr>
          <p:nvPr/>
        </p:nvPicPr>
        <p:blipFill>
          <a:blip r:embed="rId2"/>
          <a:stretch>
            <a:fillRect/>
          </a:stretch>
        </p:blipFill>
        <p:spPr>
          <a:xfrm>
            <a:off x="507950" y="1034719"/>
            <a:ext cx="513501" cy="513500"/>
          </a:xfrm>
          <a:prstGeom prst="rect">
            <a:avLst/>
          </a:prstGeom>
          <a:ln w="3175">
            <a:miter lim="400000"/>
          </a:ln>
        </p:spPr>
      </p:pic>
      <p:pic>
        <p:nvPicPr>
          <p:cNvPr id="1052" name="Image" descr="Image"/>
          <p:cNvPicPr>
            <a:picLocks noChangeAspect="1"/>
          </p:cNvPicPr>
          <p:nvPr/>
        </p:nvPicPr>
        <p:blipFill>
          <a:blip r:embed="rId3"/>
          <a:stretch>
            <a:fillRect/>
          </a:stretch>
        </p:blipFill>
        <p:spPr>
          <a:xfrm>
            <a:off x="1561718" y="1052447"/>
            <a:ext cx="432876" cy="478044"/>
          </a:xfrm>
          <a:prstGeom prst="rect">
            <a:avLst/>
          </a:prstGeom>
          <a:ln w="3175">
            <a:miter lim="400000"/>
          </a:ln>
        </p:spPr>
      </p:pic>
      <p:pic>
        <p:nvPicPr>
          <p:cNvPr id="1053" name="Image" descr="Image"/>
          <p:cNvPicPr>
            <a:picLocks noChangeAspect="1"/>
          </p:cNvPicPr>
          <p:nvPr/>
        </p:nvPicPr>
        <p:blipFill>
          <a:blip r:embed="rId4"/>
          <a:stretch>
            <a:fillRect/>
          </a:stretch>
        </p:blipFill>
        <p:spPr>
          <a:xfrm>
            <a:off x="2531765" y="1064517"/>
            <a:ext cx="536271" cy="453908"/>
          </a:xfrm>
          <a:prstGeom prst="rect">
            <a:avLst/>
          </a:prstGeom>
          <a:ln w="3175">
            <a:miter lim="400000"/>
          </a:ln>
        </p:spPr>
      </p:pic>
      <p:pic>
        <p:nvPicPr>
          <p:cNvPr id="1054" name="Image" descr="Image"/>
          <p:cNvPicPr>
            <a:picLocks noChangeAspect="1"/>
          </p:cNvPicPr>
          <p:nvPr/>
        </p:nvPicPr>
        <p:blipFill>
          <a:blip r:embed="rId5"/>
          <a:stretch>
            <a:fillRect/>
          </a:stretch>
        </p:blipFill>
        <p:spPr>
          <a:xfrm>
            <a:off x="3543893" y="1023333"/>
            <a:ext cx="536272" cy="536272"/>
          </a:xfrm>
          <a:prstGeom prst="rect">
            <a:avLst/>
          </a:prstGeom>
          <a:ln w="3175">
            <a:miter lim="400000"/>
          </a:ln>
        </p:spPr>
      </p:pic>
      <p:pic>
        <p:nvPicPr>
          <p:cNvPr id="1055" name="Image" descr="Image"/>
          <p:cNvPicPr>
            <a:picLocks noChangeAspect="1"/>
          </p:cNvPicPr>
          <p:nvPr/>
        </p:nvPicPr>
        <p:blipFill>
          <a:blip r:embed="rId6"/>
          <a:stretch>
            <a:fillRect/>
          </a:stretch>
        </p:blipFill>
        <p:spPr>
          <a:xfrm>
            <a:off x="4690783" y="1205582"/>
            <a:ext cx="268136" cy="171775"/>
          </a:xfrm>
          <a:prstGeom prst="rect">
            <a:avLst/>
          </a:prstGeom>
          <a:ln w="3175">
            <a:miter lim="400000"/>
          </a:ln>
        </p:spPr>
      </p:pic>
      <p:pic>
        <p:nvPicPr>
          <p:cNvPr id="1056" name="Image" descr="Image"/>
          <p:cNvPicPr>
            <a:picLocks noChangeAspect="1"/>
          </p:cNvPicPr>
          <p:nvPr/>
        </p:nvPicPr>
        <p:blipFill>
          <a:blip r:embed="rId7"/>
          <a:stretch>
            <a:fillRect/>
          </a:stretch>
        </p:blipFill>
        <p:spPr>
          <a:xfrm>
            <a:off x="5570965" y="1023333"/>
            <a:ext cx="536271" cy="536272"/>
          </a:xfrm>
          <a:prstGeom prst="rect">
            <a:avLst/>
          </a:prstGeom>
          <a:ln w="3175">
            <a:miter lim="400000"/>
          </a:ln>
        </p:spPr>
      </p:pic>
      <p:pic>
        <p:nvPicPr>
          <p:cNvPr id="1057" name="Image" descr="Image"/>
          <p:cNvPicPr>
            <a:picLocks noChangeAspect="1"/>
          </p:cNvPicPr>
          <p:nvPr/>
        </p:nvPicPr>
        <p:blipFill>
          <a:blip r:embed="rId8"/>
          <a:stretch>
            <a:fillRect/>
          </a:stretch>
        </p:blipFill>
        <p:spPr>
          <a:xfrm>
            <a:off x="6589165" y="1023333"/>
            <a:ext cx="536271" cy="536272"/>
          </a:xfrm>
          <a:prstGeom prst="rect">
            <a:avLst/>
          </a:prstGeom>
          <a:ln w="3175">
            <a:miter lim="400000"/>
          </a:ln>
        </p:spPr>
      </p:pic>
      <p:pic>
        <p:nvPicPr>
          <p:cNvPr id="1058" name="Image" descr="Image"/>
          <p:cNvPicPr>
            <a:picLocks noChangeAspect="1"/>
          </p:cNvPicPr>
          <p:nvPr/>
        </p:nvPicPr>
        <p:blipFill>
          <a:blip r:embed="rId9"/>
          <a:stretch>
            <a:fillRect/>
          </a:stretch>
        </p:blipFill>
        <p:spPr>
          <a:xfrm>
            <a:off x="7616278" y="1023333"/>
            <a:ext cx="536271" cy="536272"/>
          </a:xfrm>
          <a:prstGeom prst="rect">
            <a:avLst/>
          </a:prstGeom>
          <a:ln w="3175">
            <a:miter lim="400000"/>
          </a:ln>
        </p:spPr>
      </p:pic>
      <p:pic>
        <p:nvPicPr>
          <p:cNvPr id="1059" name="Image" descr="Image"/>
          <p:cNvPicPr>
            <a:picLocks noChangeAspect="1"/>
          </p:cNvPicPr>
          <p:nvPr/>
        </p:nvPicPr>
        <p:blipFill>
          <a:blip r:embed="rId10"/>
          <a:stretch>
            <a:fillRect/>
          </a:stretch>
        </p:blipFill>
        <p:spPr>
          <a:xfrm>
            <a:off x="8677468" y="1023333"/>
            <a:ext cx="425448" cy="536272"/>
          </a:xfrm>
          <a:prstGeom prst="rect">
            <a:avLst/>
          </a:prstGeom>
          <a:ln w="3175">
            <a:miter lim="400000"/>
          </a:ln>
        </p:spPr>
      </p:pic>
      <p:pic>
        <p:nvPicPr>
          <p:cNvPr id="1060" name="Image" descr="Image"/>
          <p:cNvPicPr>
            <a:picLocks noChangeAspect="1"/>
          </p:cNvPicPr>
          <p:nvPr/>
        </p:nvPicPr>
        <p:blipFill>
          <a:blip r:embed="rId11"/>
          <a:stretch>
            <a:fillRect/>
          </a:stretch>
        </p:blipFill>
        <p:spPr>
          <a:xfrm>
            <a:off x="9708629" y="1023329"/>
            <a:ext cx="402219" cy="536284"/>
          </a:xfrm>
          <a:prstGeom prst="rect">
            <a:avLst/>
          </a:prstGeom>
          <a:ln w="3175">
            <a:miter lim="400000"/>
          </a:ln>
        </p:spPr>
      </p:pic>
      <p:pic>
        <p:nvPicPr>
          <p:cNvPr id="1061" name="Image" descr="Image"/>
          <p:cNvPicPr>
            <a:picLocks noChangeAspect="1"/>
          </p:cNvPicPr>
          <p:nvPr/>
        </p:nvPicPr>
        <p:blipFill>
          <a:blip r:embed="rId12"/>
          <a:stretch>
            <a:fillRect/>
          </a:stretch>
        </p:blipFill>
        <p:spPr>
          <a:xfrm>
            <a:off x="10712276" y="1023329"/>
            <a:ext cx="402219" cy="536284"/>
          </a:xfrm>
          <a:prstGeom prst="rect">
            <a:avLst/>
          </a:prstGeom>
          <a:ln w="3175">
            <a:miter lim="400000"/>
          </a:ln>
        </p:spPr>
      </p:pic>
      <p:pic>
        <p:nvPicPr>
          <p:cNvPr id="1062" name="Image" descr="Image"/>
          <p:cNvPicPr>
            <a:picLocks noChangeAspect="1"/>
          </p:cNvPicPr>
          <p:nvPr/>
        </p:nvPicPr>
        <p:blipFill>
          <a:blip r:embed="rId13"/>
          <a:stretch>
            <a:fillRect/>
          </a:stretch>
        </p:blipFill>
        <p:spPr>
          <a:xfrm>
            <a:off x="563591" y="2021167"/>
            <a:ext cx="402219" cy="536284"/>
          </a:xfrm>
          <a:prstGeom prst="rect">
            <a:avLst/>
          </a:prstGeom>
          <a:ln w="3175">
            <a:miter lim="400000"/>
          </a:ln>
        </p:spPr>
      </p:pic>
      <p:pic>
        <p:nvPicPr>
          <p:cNvPr id="1063" name="Image" descr="Image"/>
          <p:cNvPicPr>
            <a:picLocks noChangeAspect="1"/>
          </p:cNvPicPr>
          <p:nvPr/>
        </p:nvPicPr>
        <p:blipFill>
          <a:blip r:embed="rId14"/>
          <a:stretch>
            <a:fillRect/>
          </a:stretch>
        </p:blipFill>
        <p:spPr>
          <a:xfrm>
            <a:off x="1577045" y="2021169"/>
            <a:ext cx="402219" cy="536284"/>
          </a:xfrm>
          <a:prstGeom prst="rect">
            <a:avLst/>
          </a:prstGeom>
          <a:ln w="3175">
            <a:miter lim="400000"/>
          </a:ln>
        </p:spPr>
      </p:pic>
      <p:pic>
        <p:nvPicPr>
          <p:cNvPr id="1064" name="Image" descr="Image"/>
          <p:cNvPicPr>
            <a:picLocks noChangeAspect="1"/>
          </p:cNvPicPr>
          <p:nvPr/>
        </p:nvPicPr>
        <p:blipFill>
          <a:blip r:embed="rId15"/>
          <a:stretch>
            <a:fillRect/>
          </a:stretch>
        </p:blipFill>
        <p:spPr>
          <a:xfrm>
            <a:off x="2598789" y="2021169"/>
            <a:ext cx="402219" cy="536284"/>
          </a:xfrm>
          <a:prstGeom prst="rect">
            <a:avLst/>
          </a:prstGeom>
          <a:ln w="3175">
            <a:miter lim="400000"/>
          </a:ln>
        </p:spPr>
      </p:pic>
      <p:pic>
        <p:nvPicPr>
          <p:cNvPr id="1065" name="Image" descr="Image"/>
          <p:cNvPicPr>
            <a:picLocks noChangeAspect="1"/>
          </p:cNvPicPr>
          <p:nvPr/>
        </p:nvPicPr>
        <p:blipFill>
          <a:blip r:embed="rId16"/>
          <a:stretch>
            <a:fillRect/>
          </a:stretch>
        </p:blipFill>
        <p:spPr>
          <a:xfrm>
            <a:off x="3610919" y="2021169"/>
            <a:ext cx="402219" cy="536284"/>
          </a:xfrm>
          <a:prstGeom prst="rect">
            <a:avLst/>
          </a:prstGeom>
          <a:ln w="3175">
            <a:miter lim="400000"/>
          </a:ln>
        </p:spPr>
      </p:pic>
      <p:pic>
        <p:nvPicPr>
          <p:cNvPr id="1066" name="Image" descr="Image"/>
          <p:cNvPicPr>
            <a:picLocks noChangeAspect="1"/>
          </p:cNvPicPr>
          <p:nvPr/>
        </p:nvPicPr>
        <p:blipFill>
          <a:blip r:embed="rId17"/>
          <a:stretch>
            <a:fillRect/>
          </a:stretch>
        </p:blipFill>
        <p:spPr>
          <a:xfrm>
            <a:off x="4556690" y="2021169"/>
            <a:ext cx="536325" cy="536284"/>
          </a:xfrm>
          <a:prstGeom prst="rect">
            <a:avLst/>
          </a:prstGeom>
          <a:ln w="3175">
            <a:miter lim="400000"/>
          </a:ln>
        </p:spPr>
      </p:pic>
      <p:pic>
        <p:nvPicPr>
          <p:cNvPr id="1067" name="Image" descr="Image"/>
          <p:cNvPicPr>
            <a:picLocks noChangeAspect="1"/>
          </p:cNvPicPr>
          <p:nvPr/>
        </p:nvPicPr>
        <p:blipFill>
          <a:blip r:embed="rId18"/>
          <a:stretch>
            <a:fillRect/>
          </a:stretch>
        </p:blipFill>
        <p:spPr>
          <a:xfrm>
            <a:off x="5570965" y="2021175"/>
            <a:ext cx="536271" cy="536271"/>
          </a:xfrm>
          <a:prstGeom prst="rect">
            <a:avLst/>
          </a:prstGeom>
          <a:ln w="3175">
            <a:miter lim="400000"/>
          </a:ln>
        </p:spPr>
      </p:pic>
      <p:pic>
        <p:nvPicPr>
          <p:cNvPr id="1068" name="Image" descr="Image"/>
          <p:cNvPicPr>
            <a:picLocks noChangeAspect="1"/>
          </p:cNvPicPr>
          <p:nvPr/>
        </p:nvPicPr>
        <p:blipFill>
          <a:blip r:embed="rId19"/>
          <a:stretch>
            <a:fillRect/>
          </a:stretch>
        </p:blipFill>
        <p:spPr>
          <a:xfrm>
            <a:off x="6589165" y="2021175"/>
            <a:ext cx="536271" cy="536271"/>
          </a:xfrm>
          <a:prstGeom prst="rect">
            <a:avLst/>
          </a:prstGeom>
          <a:ln w="3175">
            <a:miter lim="400000"/>
          </a:ln>
        </p:spPr>
      </p:pic>
      <p:pic>
        <p:nvPicPr>
          <p:cNvPr id="1069" name="Image" descr="Image"/>
          <p:cNvPicPr>
            <a:picLocks noChangeAspect="1"/>
          </p:cNvPicPr>
          <p:nvPr/>
        </p:nvPicPr>
        <p:blipFill>
          <a:blip r:embed="rId20"/>
          <a:stretch>
            <a:fillRect/>
          </a:stretch>
        </p:blipFill>
        <p:spPr>
          <a:xfrm>
            <a:off x="7616278" y="2021175"/>
            <a:ext cx="536271" cy="536271"/>
          </a:xfrm>
          <a:prstGeom prst="rect">
            <a:avLst/>
          </a:prstGeom>
          <a:ln w="3175">
            <a:miter lim="400000"/>
          </a:ln>
        </p:spPr>
      </p:pic>
      <p:pic>
        <p:nvPicPr>
          <p:cNvPr id="1070" name="Image" descr="Image"/>
          <p:cNvPicPr>
            <a:picLocks noChangeAspect="1"/>
          </p:cNvPicPr>
          <p:nvPr/>
        </p:nvPicPr>
        <p:blipFill>
          <a:blip r:embed="rId21"/>
          <a:stretch>
            <a:fillRect/>
          </a:stretch>
        </p:blipFill>
        <p:spPr>
          <a:xfrm>
            <a:off x="8622058" y="2021175"/>
            <a:ext cx="536271" cy="536271"/>
          </a:xfrm>
          <a:prstGeom prst="rect">
            <a:avLst/>
          </a:prstGeom>
          <a:ln w="3175">
            <a:miter lim="400000"/>
          </a:ln>
        </p:spPr>
      </p:pic>
      <p:pic>
        <p:nvPicPr>
          <p:cNvPr id="1071" name="Image" descr="Image"/>
          <p:cNvPicPr>
            <a:picLocks noChangeAspect="1"/>
          </p:cNvPicPr>
          <p:nvPr/>
        </p:nvPicPr>
        <p:blipFill>
          <a:blip r:embed="rId22"/>
          <a:stretch>
            <a:fillRect/>
          </a:stretch>
        </p:blipFill>
        <p:spPr>
          <a:xfrm>
            <a:off x="9641606" y="2021175"/>
            <a:ext cx="536271" cy="536271"/>
          </a:xfrm>
          <a:prstGeom prst="rect">
            <a:avLst/>
          </a:prstGeom>
          <a:ln w="3175">
            <a:miter lim="400000"/>
          </a:ln>
        </p:spPr>
      </p:pic>
      <p:pic>
        <p:nvPicPr>
          <p:cNvPr id="1072" name="Image" descr="Image"/>
          <p:cNvPicPr>
            <a:picLocks noChangeAspect="1"/>
          </p:cNvPicPr>
          <p:nvPr/>
        </p:nvPicPr>
        <p:blipFill>
          <a:blip r:embed="rId23"/>
          <a:stretch>
            <a:fillRect/>
          </a:stretch>
        </p:blipFill>
        <p:spPr>
          <a:xfrm>
            <a:off x="10645253" y="2021175"/>
            <a:ext cx="536271" cy="536271"/>
          </a:xfrm>
          <a:prstGeom prst="rect">
            <a:avLst/>
          </a:prstGeom>
          <a:ln w="3175">
            <a:miter lim="400000"/>
          </a:ln>
        </p:spPr>
      </p:pic>
      <p:pic>
        <p:nvPicPr>
          <p:cNvPr id="1073" name="Image" descr="Image"/>
          <p:cNvPicPr>
            <a:picLocks noChangeAspect="1"/>
          </p:cNvPicPr>
          <p:nvPr/>
        </p:nvPicPr>
        <p:blipFill>
          <a:blip r:embed="rId24"/>
          <a:stretch>
            <a:fillRect/>
          </a:stretch>
        </p:blipFill>
        <p:spPr>
          <a:xfrm>
            <a:off x="536366" y="3136110"/>
            <a:ext cx="456668" cy="372892"/>
          </a:xfrm>
          <a:prstGeom prst="rect">
            <a:avLst/>
          </a:prstGeom>
          <a:ln w="3175">
            <a:miter lim="400000"/>
          </a:ln>
        </p:spPr>
      </p:pic>
      <p:pic>
        <p:nvPicPr>
          <p:cNvPr id="1074" name="Image" descr="Image"/>
          <p:cNvPicPr>
            <a:picLocks noChangeAspect="1"/>
          </p:cNvPicPr>
          <p:nvPr/>
        </p:nvPicPr>
        <p:blipFill>
          <a:blip r:embed="rId25"/>
          <a:stretch>
            <a:fillRect/>
          </a:stretch>
        </p:blipFill>
        <p:spPr>
          <a:xfrm>
            <a:off x="1549822" y="3136111"/>
            <a:ext cx="456668" cy="372892"/>
          </a:xfrm>
          <a:prstGeom prst="rect">
            <a:avLst/>
          </a:prstGeom>
          <a:ln w="3175">
            <a:miter lim="400000"/>
          </a:ln>
        </p:spPr>
      </p:pic>
      <p:pic>
        <p:nvPicPr>
          <p:cNvPr id="1075" name="Image" descr="Image"/>
          <p:cNvPicPr>
            <a:picLocks noChangeAspect="1"/>
          </p:cNvPicPr>
          <p:nvPr/>
        </p:nvPicPr>
        <p:blipFill>
          <a:blip r:embed="rId26"/>
          <a:stretch>
            <a:fillRect/>
          </a:stretch>
        </p:blipFill>
        <p:spPr>
          <a:xfrm>
            <a:off x="2531765" y="3054420"/>
            <a:ext cx="536271" cy="536272"/>
          </a:xfrm>
          <a:prstGeom prst="rect">
            <a:avLst/>
          </a:prstGeom>
          <a:ln w="3175">
            <a:miter lim="400000"/>
          </a:ln>
        </p:spPr>
      </p:pic>
      <p:pic>
        <p:nvPicPr>
          <p:cNvPr id="1076" name="Image" descr="Image"/>
          <p:cNvPicPr>
            <a:picLocks noChangeAspect="1"/>
          </p:cNvPicPr>
          <p:nvPr/>
        </p:nvPicPr>
        <p:blipFill>
          <a:blip r:embed="rId27"/>
          <a:stretch>
            <a:fillRect/>
          </a:stretch>
        </p:blipFill>
        <p:spPr>
          <a:xfrm>
            <a:off x="3543893" y="3312083"/>
            <a:ext cx="536272" cy="20948"/>
          </a:xfrm>
          <a:prstGeom prst="rect">
            <a:avLst/>
          </a:prstGeom>
          <a:ln w="3175">
            <a:miter lim="400000"/>
          </a:ln>
        </p:spPr>
      </p:pic>
      <p:pic>
        <p:nvPicPr>
          <p:cNvPr id="1077" name="Image" descr="Image"/>
          <p:cNvPicPr>
            <a:picLocks noChangeAspect="1"/>
          </p:cNvPicPr>
          <p:nvPr/>
        </p:nvPicPr>
        <p:blipFill>
          <a:blip r:embed="rId28"/>
          <a:stretch>
            <a:fillRect/>
          </a:stretch>
        </p:blipFill>
        <p:spPr>
          <a:xfrm>
            <a:off x="4556718" y="3054420"/>
            <a:ext cx="536271" cy="536272"/>
          </a:xfrm>
          <a:prstGeom prst="rect">
            <a:avLst/>
          </a:prstGeom>
          <a:ln w="3175">
            <a:miter lim="400000"/>
          </a:ln>
        </p:spPr>
      </p:pic>
      <p:pic>
        <p:nvPicPr>
          <p:cNvPr id="1078" name="Image" descr="Image"/>
          <p:cNvPicPr>
            <a:picLocks noChangeAspect="1"/>
          </p:cNvPicPr>
          <p:nvPr/>
        </p:nvPicPr>
        <p:blipFill>
          <a:blip r:embed="rId29"/>
          <a:stretch>
            <a:fillRect/>
          </a:stretch>
        </p:blipFill>
        <p:spPr>
          <a:xfrm>
            <a:off x="5570965" y="3133775"/>
            <a:ext cx="536271" cy="377564"/>
          </a:xfrm>
          <a:prstGeom prst="rect">
            <a:avLst/>
          </a:prstGeom>
          <a:ln w="3175">
            <a:miter lim="400000"/>
          </a:ln>
        </p:spPr>
      </p:pic>
      <p:pic>
        <p:nvPicPr>
          <p:cNvPr id="1079" name="Image" descr="Image"/>
          <p:cNvPicPr>
            <a:picLocks noChangeAspect="1"/>
          </p:cNvPicPr>
          <p:nvPr/>
        </p:nvPicPr>
        <p:blipFill>
          <a:blip r:embed="rId30"/>
          <a:stretch>
            <a:fillRect/>
          </a:stretch>
        </p:blipFill>
        <p:spPr>
          <a:xfrm>
            <a:off x="6706460" y="3054420"/>
            <a:ext cx="301681" cy="536272"/>
          </a:xfrm>
          <a:prstGeom prst="rect">
            <a:avLst/>
          </a:prstGeom>
          <a:ln w="3175">
            <a:miter lim="400000"/>
          </a:ln>
        </p:spPr>
      </p:pic>
      <p:pic>
        <p:nvPicPr>
          <p:cNvPr id="1080" name="Image" descr="Image"/>
          <p:cNvPicPr>
            <a:picLocks noChangeAspect="1"/>
          </p:cNvPicPr>
          <p:nvPr/>
        </p:nvPicPr>
        <p:blipFill>
          <a:blip r:embed="rId31"/>
          <a:stretch>
            <a:fillRect/>
          </a:stretch>
        </p:blipFill>
        <p:spPr>
          <a:xfrm>
            <a:off x="7616278" y="3183279"/>
            <a:ext cx="536271" cy="278556"/>
          </a:xfrm>
          <a:prstGeom prst="rect">
            <a:avLst/>
          </a:prstGeom>
          <a:ln w="3175">
            <a:miter lim="400000"/>
          </a:ln>
        </p:spPr>
      </p:pic>
      <p:pic>
        <p:nvPicPr>
          <p:cNvPr id="1081" name="Image" descr="Image"/>
          <p:cNvPicPr>
            <a:picLocks noChangeAspect="1"/>
          </p:cNvPicPr>
          <p:nvPr/>
        </p:nvPicPr>
        <p:blipFill>
          <a:blip r:embed="rId32"/>
          <a:stretch>
            <a:fillRect/>
          </a:stretch>
        </p:blipFill>
        <p:spPr>
          <a:xfrm>
            <a:off x="8750915" y="3054420"/>
            <a:ext cx="278557" cy="536272"/>
          </a:xfrm>
          <a:prstGeom prst="rect">
            <a:avLst/>
          </a:prstGeom>
          <a:ln w="3175">
            <a:miter lim="400000"/>
          </a:ln>
        </p:spPr>
      </p:pic>
      <p:pic>
        <p:nvPicPr>
          <p:cNvPr id="1082" name="Image" descr="Image"/>
          <p:cNvPicPr>
            <a:picLocks noChangeAspect="1"/>
          </p:cNvPicPr>
          <p:nvPr/>
        </p:nvPicPr>
        <p:blipFill>
          <a:blip r:embed="rId33"/>
          <a:stretch>
            <a:fillRect/>
          </a:stretch>
        </p:blipFill>
        <p:spPr>
          <a:xfrm>
            <a:off x="9641606" y="3183279"/>
            <a:ext cx="536271" cy="278556"/>
          </a:xfrm>
          <a:prstGeom prst="rect">
            <a:avLst/>
          </a:prstGeom>
          <a:ln w="3175">
            <a:miter lim="400000"/>
          </a:ln>
        </p:spPr>
      </p:pic>
      <p:pic>
        <p:nvPicPr>
          <p:cNvPr id="1083" name="Image" descr="Image"/>
          <p:cNvPicPr>
            <a:picLocks noChangeAspect="1"/>
          </p:cNvPicPr>
          <p:nvPr/>
        </p:nvPicPr>
        <p:blipFill>
          <a:blip r:embed="rId34"/>
          <a:stretch>
            <a:fillRect/>
          </a:stretch>
        </p:blipFill>
        <p:spPr>
          <a:xfrm>
            <a:off x="10774107" y="3054420"/>
            <a:ext cx="278557" cy="536272"/>
          </a:xfrm>
          <a:prstGeom prst="rect">
            <a:avLst/>
          </a:prstGeom>
          <a:ln w="3175">
            <a:miter lim="400000"/>
          </a:ln>
        </p:spPr>
      </p:pic>
      <p:pic>
        <p:nvPicPr>
          <p:cNvPr id="1084" name="Image" descr="Image"/>
          <p:cNvPicPr>
            <a:picLocks noChangeAspect="1"/>
          </p:cNvPicPr>
          <p:nvPr/>
        </p:nvPicPr>
        <p:blipFill>
          <a:blip r:embed="rId35"/>
          <a:stretch>
            <a:fillRect/>
          </a:stretch>
        </p:blipFill>
        <p:spPr>
          <a:xfrm>
            <a:off x="496565" y="4028715"/>
            <a:ext cx="536271" cy="536272"/>
          </a:xfrm>
          <a:prstGeom prst="rect">
            <a:avLst/>
          </a:prstGeom>
          <a:ln w="3175">
            <a:miter lim="400000"/>
          </a:ln>
        </p:spPr>
      </p:pic>
      <p:pic>
        <p:nvPicPr>
          <p:cNvPr id="1085" name="Image" descr="Image"/>
          <p:cNvPicPr>
            <a:picLocks noChangeAspect="1"/>
          </p:cNvPicPr>
          <p:nvPr/>
        </p:nvPicPr>
        <p:blipFill>
          <a:blip r:embed="rId36"/>
          <a:stretch>
            <a:fillRect/>
          </a:stretch>
        </p:blipFill>
        <p:spPr>
          <a:xfrm>
            <a:off x="1510021" y="4028715"/>
            <a:ext cx="536271" cy="536272"/>
          </a:xfrm>
          <a:prstGeom prst="rect">
            <a:avLst/>
          </a:prstGeom>
          <a:ln w="3175">
            <a:miter lim="400000"/>
          </a:ln>
        </p:spPr>
      </p:pic>
      <p:pic>
        <p:nvPicPr>
          <p:cNvPr id="1086" name="Image" descr="Image"/>
          <p:cNvPicPr>
            <a:picLocks noChangeAspect="1"/>
          </p:cNvPicPr>
          <p:nvPr/>
        </p:nvPicPr>
        <p:blipFill>
          <a:blip r:embed="rId37"/>
          <a:stretch>
            <a:fillRect/>
          </a:stretch>
        </p:blipFill>
        <p:spPr>
          <a:xfrm>
            <a:off x="2531765" y="4028715"/>
            <a:ext cx="536271" cy="536272"/>
          </a:xfrm>
          <a:prstGeom prst="rect">
            <a:avLst/>
          </a:prstGeom>
          <a:ln w="3175">
            <a:miter lim="400000"/>
          </a:ln>
        </p:spPr>
      </p:pic>
      <p:pic>
        <p:nvPicPr>
          <p:cNvPr id="1087" name="Image" descr="Image"/>
          <p:cNvPicPr>
            <a:picLocks noChangeAspect="1"/>
          </p:cNvPicPr>
          <p:nvPr/>
        </p:nvPicPr>
        <p:blipFill>
          <a:blip r:embed="rId38"/>
          <a:stretch>
            <a:fillRect/>
          </a:stretch>
        </p:blipFill>
        <p:spPr>
          <a:xfrm>
            <a:off x="3543893" y="4028715"/>
            <a:ext cx="536272" cy="536272"/>
          </a:xfrm>
          <a:prstGeom prst="rect">
            <a:avLst/>
          </a:prstGeom>
          <a:ln w="3175">
            <a:miter lim="400000"/>
          </a:ln>
        </p:spPr>
      </p:pic>
      <p:pic>
        <p:nvPicPr>
          <p:cNvPr id="1088" name="Image" descr="Image"/>
          <p:cNvPicPr>
            <a:picLocks noChangeAspect="1"/>
          </p:cNvPicPr>
          <p:nvPr/>
        </p:nvPicPr>
        <p:blipFill>
          <a:blip r:embed="rId39"/>
          <a:stretch>
            <a:fillRect/>
          </a:stretch>
        </p:blipFill>
        <p:spPr>
          <a:xfrm>
            <a:off x="4556718" y="4028715"/>
            <a:ext cx="536271" cy="536272"/>
          </a:xfrm>
          <a:prstGeom prst="rect">
            <a:avLst/>
          </a:prstGeom>
          <a:ln w="3175">
            <a:miter lim="400000"/>
          </a:ln>
        </p:spPr>
      </p:pic>
      <p:pic>
        <p:nvPicPr>
          <p:cNvPr id="1089" name="Image" descr="Image"/>
          <p:cNvPicPr>
            <a:picLocks noChangeAspect="1"/>
          </p:cNvPicPr>
          <p:nvPr/>
        </p:nvPicPr>
        <p:blipFill>
          <a:blip r:embed="rId40"/>
          <a:stretch>
            <a:fillRect/>
          </a:stretch>
        </p:blipFill>
        <p:spPr>
          <a:xfrm>
            <a:off x="5570965" y="4028715"/>
            <a:ext cx="536271" cy="536272"/>
          </a:xfrm>
          <a:prstGeom prst="rect">
            <a:avLst/>
          </a:prstGeom>
          <a:ln w="3175">
            <a:miter lim="400000"/>
          </a:ln>
        </p:spPr>
      </p:pic>
      <p:pic>
        <p:nvPicPr>
          <p:cNvPr id="1090" name="Image" descr="Image"/>
          <p:cNvPicPr>
            <a:picLocks noChangeAspect="1"/>
          </p:cNvPicPr>
          <p:nvPr/>
        </p:nvPicPr>
        <p:blipFill>
          <a:blip r:embed="rId41"/>
          <a:stretch>
            <a:fillRect/>
          </a:stretch>
        </p:blipFill>
        <p:spPr>
          <a:xfrm>
            <a:off x="6589165" y="4028715"/>
            <a:ext cx="536271" cy="536272"/>
          </a:xfrm>
          <a:prstGeom prst="rect">
            <a:avLst/>
          </a:prstGeom>
          <a:ln w="3175">
            <a:miter lim="400000"/>
          </a:ln>
        </p:spPr>
      </p:pic>
      <p:pic>
        <p:nvPicPr>
          <p:cNvPr id="1091" name="Image" descr="Image"/>
          <p:cNvPicPr>
            <a:picLocks noChangeAspect="1"/>
          </p:cNvPicPr>
          <p:nvPr/>
        </p:nvPicPr>
        <p:blipFill>
          <a:blip r:embed="rId42"/>
          <a:stretch>
            <a:fillRect/>
          </a:stretch>
        </p:blipFill>
        <p:spPr>
          <a:xfrm>
            <a:off x="7616278" y="4028715"/>
            <a:ext cx="536271" cy="536272"/>
          </a:xfrm>
          <a:prstGeom prst="rect">
            <a:avLst/>
          </a:prstGeom>
          <a:ln w="3175">
            <a:miter lim="400000"/>
          </a:ln>
        </p:spPr>
      </p:pic>
      <p:pic>
        <p:nvPicPr>
          <p:cNvPr id="1092" name="Image" descr="Image"/>
          <p:cNvPicPr>
            <a:picLocks noChangeAspect="1"/>
          </p:cNvPicPr>
          <p:nvPr/>
        </p:nvPicPr>
        <p:blipFill>
          <a:blip r:embed="rId43"/>
          <a:stretch>
            <a:fillRect/>
          </a:stretch>
        </p:blipFill>
        <p:spPr>
          <a:xfrm>
            <a:off x="8622058" y="4028715"/>
            <a:ext cx="536271" cy="536272"/>
          </a:xfrm>
          <a:prstGeom prst="rect">
            <a:avLst/>
          </a:prstGeom>
          <a:ln w="3175">
            <a:miter lim="400000"/>
          </a:ln>
        </p:spPr>
      </p:pic>
      <p:pic>
        <p:nvPicPr>
          <p:cNvPr id="1093" name="Image" descr="Image"/>
          <p:cNvPicPr>
            <a:picLocks noChangeAspect="1"/>
          </p:cNvPicPr>
          <p:nvPr/>
        </p:nvPicPr>
        <p:blipFill>
          <a:blip r:embed="rId44"/>
          <a:stretch>
            <a:fillRect/>
          </a:stretch>
        </p:blipFill>
        <p:spPr>
          <a:xfrm>
            <a:off x="9641627" y="4028736"/>
            <a:ext cx="536272" cy="536272"/>
          </a:xfrm>
          <a:prstGeom prst="rect">
            <a:avLst/>
          </a:prstGeom>
          <a:ln w="3175">
            <a:miter lim="400000"/>
          </a:ln>
        </p:spPr>
      </p:pic>
      <p:pic>
        <p:nvPicPr>
          <p:cNvPr id="1094" name="Image" descr="Image"/>
          <p:cNvPicPr>
            <a:picLocks noChangeAspect="1"/>
          </p:cNvPicPr>
          <p:nvPr/>
        </p:nvPicPr>
        <p:blipFill>
          <a:blip r:embed="rId45"/>
          <a:stretch>
            <a:fillRect/>
          </a:stretch>
        </p:blipFill>
        <p:spPr>
          <a:xfrm>
            <a:off x="10645253" y="4028715"/>
            <a:ext cx="536271" cy="536272"/>
          </a:xfrm>
          <a:prstGeom prst="rect">
            <a:avLst/>
          </a:prstGeom>
          <a:ln w="3175">
            <a:miter lim="400000"/>
          </a:ln>
        </p:spPr>
      </p:pic>
      <p:pic>
        <p:nvPicPr>
          <p:cNvPr id="1095" name="Image" descr="Image"/>
          <p:cNvPicPr>
            <a:picLocks noChangeAspect="1"/>
          </p:cNvPicPr>
          <p:nvPr/>
        </p:nvPicPr>
        <p:blipFill>
          <a:blip r:embed="rId46"/>
          <a:stretch>
            <a:fillRect/>
          </a:stretch>
        </p:blipFill>
        <p:spPr>
          <a:xfrm>
            <a:off x="496728" y="6031437"/>
            <a:ext cx="535944" cy="535944"/>
          </a:xfrm>
          <a:prstGeom prst="rect">
            <a:avLst/>
          </a:prstGeom>
          <a:ln w="3175">
            <a:miter lim="400000"/>
          </a:ln>
        </p:spPr>
      </p:pic>
      <p:pic>
        <p:nvPicPr>
          <p:cNvPr id="1096" name="Image" descr="Image"/>
          <p:cNvPicPr>
            <a:picLocks noChangeAspect="1"/>
          </p:cNvPicPr>
          <p:nvPr/>
        </p:nvPicPr>
        <p:blipFill>
          <a:blip r:embed="rId47"/>
          <a:stretch>
            <a:fillRect/>
          </a:stretch>
        </p:blipFill>
        <p:spPr>
          <a:xfrm>
            <a:off x="495671" y="6030381"/>
            <a:ext cx="538059" cy="538059"/>
          </a:xfrm>
          <a:prstGeom prst="rect">
            <a:avLst/>
          </a:prstGeom>
          <a:ln w="3175">
            <a:miter lim="400000"/>
          </a:ln>
        </p:spPr>
      </p:pic>
      <p:pic>
        <p:nvPicPr>
          <p:cNvPr id="1097" name="Image" descr="Image"/>
          <p:cNvPicPr>
            <a:picLocks noChangeAspect="1"/>
          </p:cNvPicPr>
          <p:nvPr/>
        </p:nvPicPr>
        <p:blipFill>
          <a:blip r:embed="rId48"/>
          <a:stretch>
            <a:fillRect/>
          </a:stretch>
        </p:blipFill>
        <p:spPr>
          <a:xfrm>
            <a:off x="1511185" y="6067096"/>
            <a:ext cx="533939" cy="464627"/>
          </a:xfrm>
          <a:prstGeom prst="rect">
            <a:avLst/>
          </a:prstGeom>
          <a:ln w="3175">
            <a:miter lim="400000"/>
          </a:ln>
        </p:spPr>
      </p:pic>
      <p:pic>
        <p:nvPicPr>
          <p:cNvPr id="1098" name="Image" descr="Image"/>
          <p:cNvPicPr>
            <a:picLocks noChangeAspect="1"/>
          </p:cNvPicPr>
          <p:nvPr/>
        </p:nvPicPr>
        <p:blipFill>
          <a:blip r:embed="rId49"/>
          <a:stretch>
            <a:fillRect/>
          </a:stretch>
        </p:blipFill>
        <p:spPr>
          <a:xfrm>
            <a:off x="496958" y="5039369"/>
            <a:ext cx="535447" cy="535447"/>
          </a:xfrm>
          <a:prstGeom prst="rect">
            <a:avLst/>
          </a:prstGeom>
          <a:ln w="3175">
            <a:miter lim="400000"/>
          </a:ln>
        </p:spPr>
      </p:pic>
      <p:pic>
        <p:nvPicPr>
          <p:cNvPr id="1099" name="Image" descr="Image"/>
          <p:cNvPicPr>
            <a:picLocks noChangeAspect="1"/>
          </p:cNvPicPr>
          <p:nvPr/>
        </p:nvPicPr>
        <p:blipFill>
          <a:blip r:embed="rId50"/>
          <a:stretch>
            <a:fillRect/>
          </a:stretch>
        </p:blipFill>
        <p:spPr>
          <a:xfrm>
            <a:off x="1509125" y="5038080"/>
            <a:ext cx="538059" cy="538059"/>
          </a:xfrm>
          <a:prstGeom prst="rect">
            <a:avLst/>
          </a:prstGeom>
          <a:ln w="3175">
            <a:miter lim="400000"/>
          </a:ln>
        </p:spPr>
      </p:pic>
      <p:pic>
        <p:nvPicPr>
          <p:cNvPr id="1100" name="Image" descr="Image"/>
          <p:cNvPicPr>
            <a:picLocks noChangeAspect="1"/>
          </p:cNvPicPr>
          <p:nvPr/>
        </p:nvPicPr>
        <p:blipFill>
          <a:blip r:embed="rId51"/>
          <a:stretch>
            <a:fillRect/>
          </a:stretch>
        </p:blipFill>
        <p:spPr>
          <a:xfrm>
            <a:off x="2530869" y="5038080"/>
            <a:ext cx="538059" cy="538059"/>
          </a:xfrm>
          <a:prstGeom prst="rect">
            <a:avLst/>
          </a:prstGeom>
          <a:ln w="3175">
            <a:miter lim="400000"/>
          </a:ln>
        </p:spPr>
      </p:pic>
      <p:pic>
        <p:nvPicPr>
          <p:cNvPr id="1101" name="Image" descr="Image"/>
          <p:cNvPicPr>
            <a:picLocks noChangeAspect="1"/>
          </p:cNvPicPr>
          <p:nvPr/>
        </p:nvPicPr>
        <p:blipFill>
          <a:blip r:embed="rId52"/>
          <a:stretch>
            <a:fillRect/>
          </a:stretch>
        </p:blipFill>
        <p:spPr>
          <a:xfrm>
            <a:off x="3542999" y="5038080"/>
            <a:ext cx="538059" cy="538059"/>
          </a:xfrm>
          <a:prstGeom prst="rect">
            <a:avLst/>
          </a:prstGeom>
          <a:ln w="3175">
            <a:miter lim="400000"/>
          </a:ln>
        </p:spPr>
      </p:pic>
      <p:pic>
        <p:nvPicPr>
          <p:cNvPr id="1102" name="Image" descr="Image"/>
          <p:cNvPicPr>
            <a:picLocks noChangeAspect="1"/>
          </p:cNvPicPr>
          <p:nvPr/>
        </p:nvPicPr>
        <p:blipFill>
          <a:blip r:embed="rId53"/>
          <a:stretch>
            <a:fillRect/>
          </a:stretch>
        </p:blipFill>
        <p:spPr>
          <a:xfrm>
            <a:off x="4555821" y="5038080"/>
            <a:ext cx="538059" cy="538059"/>
          </a:xfrm>
          <a:prstGeom prst="rect">
            <a:avLst/>
          </a:prstGeom>
          <a:ln w="3175">
            <a:miter lim="400000"/>
          </a:ln>
        </p:spPr>
      </p:pic>
      <p:pic>
        <p:nvPicPr>
          <p:cNvPr id="1103" name="Image" descr="Image"/>
          <p:cNvPicPr>
            <a:picLocks noChangeAspect="1"/>
          </p:cNvPicPr>
          <p:nvPr/>
        </p:nvPicPr>
        <p:blipFill>
          <a:blip r:embed="rId54"/>
          <a:stretch>
            <a:fillRect/>
          </a:stretch>
        </p:blipFill>
        <p:spPr>
          <a:xfrm>
            <a:off x="5570069" y="5038080"/>
            <a:ext cx="538059" cy="538059"/>
          </a:xfrm>
          <a:prstGeom prst="rect">
            <a:avLst/>
          </a:prstGeom>
          <a:ln w="3175">
            <a:miter lim="400000"/>
          </a:ln>
        </p:spPr>
      </p:pic>
      <p:pic>
        <p:nvPicPr>
          <p:cNvPr id="1104" name="Image" descr="Image"/>
          <p:cNvPicPr>
            <a:picLocks noChangeAspect="1"/>
          </p:cNvPicPr>
          <p:nvPr/>
        </p:nvPicPr>
        <p:blipFill>
          <a:blip r:embed="rId55"/>
          <a:stretch>
            <a:fillRect/>
          </a:stretch>
        </p:blipFill>
        <p:spPr>
          <a:xfrm>
            <a:off x="6588269" y="5038080"/>
            <a:ext cx="538059" cy="538059"/>
          </a:xfrm>
          <a:prstGeom prst="rect">
            <a:avLst/>
          </a:prstGeom>
          <a:ln w="3175">
            <a:miter lim="400000"/>
          </a:ln>
        </p:spPr>
      </p:pic>
      <p:pic>
        <p:nvPicPr>
          <p:cNvPr id="1105" name="Image" descr="Image"/>
          <p:cNvPicPr>
            <a:picLocks noChangeAspect="1"/>
          </p:cNvPicPr>
          <p:nvPr/>
        </p:nvPicPr>
        <p:blipFill>
          <a:blip r:embed="rId56"/>
          <a:stretch>
            <a:fillRect/>
          </a:stretch>
        </p:blipFill>
        <p:spPr>
          <a:xfrm>
            <a:off x="7615385" y="5038080"/>
            <a:ext cx="538059" cy="538059"/>
          </a:xfrm>
          <a:prstGeom prst="rect">
            <a:avLst/>
          </a:prstGeom>
          <a:ln w="3175">
            <a:miter lim="400000"/>
          </a:ln>
        </p:spPr>
      </p:pic>
      <p:pic>
        <p:nvPicPr>
          <p:cNvPr id="1106" name="Image" descr="Image"/>
          <p:cNvPicPr>
            <a:picLocks noChangeAspect="1"/>
          </p:cNvPicPr>
          <p:nvPr/>
        </p:nvPicPr>
        <p:blipFill>
          <a:blip r:embed="rId57"/>
          <a:stretch>
            <a:fillRect/>
          </a:stretch>
        </p:blipFill>
        <p:spPr>
          <a:xfrm>
            <a:off x="8621163" y="5038080"/>
            <a:ext cx="538059" cy="538059"/>
          </a:xfrm>
          <a:prstGeom prst="rect">
            <a:avLst/>
          </a:prstGeom>
          <a:ln w="3175">
            <a:miter lim="400000"/>
          </a:ln>
        </p:spPr>
      </p:pic>
      <p:pic>
        <p:nvPicPr>
          <p:cNvPr id="1107" name="Image" descr="Image"/>
          <p:cNvPicPr>
            <a:picLocks noChangeAspect="1"/>
          </p:cNvPicPr>
          <p:nvPr/>
        </p:nvPicPr>
        <p:blipFill>
          <a:blip r:embed="rId58"/>
          <a:stretch>
            <a:fillRect/>
          </a:stretch>
        </p:blipFill>
        <p:spPr>
          <a:xfrm>
            <a:off x="9640711" y="5038080"/>
            <a:ext cx="538059" cy="538059"/>
          </a:xfrm>
          <a:prstGeom prst="rect">
            <a:avLst/>
          </a:prstGeom>
          <a:ln w="3175">
            <a:miter lim="400000"/>
          </a:ln>
        </p:spPr>
      </p:pic>
      <p:pic>
        <p:nvPicPr>
          <p:cNvPr id="1108" name="Image" descr="Image"/>
          <p:cNvPicPr>
            <a:picLocks noChangeAspect="1"/>
          </p:cNvPicPr>
          <p:nvPr/>
        </p:nvPicPr>
        <p:blipFill>
          <a:blip r:embed="rId59"/>
          <a:stretch>
            <a:fillRect/>
          </a:stretch>
        </p:blipFill>
        <p:spPr>
          <a:xfrm>
            <a:off x="10644356" y="5038080"/>
            <a:ext cx="538059" cy="538059"/>
          </a:xfrm>
          <a:prstGeom prst="rect">
            <a:avLst/>
          </a:prstGeom>
          <a:ln w="3175">
            <a:miter lim="400000"/>
          </a:ln>
        </p:spPr>
      </p:pic>
    </p:spTree>
    <p:extLst>
      <p:ext uri="{BB962C8B-B14F-4D97-AF65-F5344CB8AC3E}">
        <p14:creationId xmlns:p14="http://schemas.microsoft.com/office/powerpoint/2010/main" val="30336828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3" name="Picture Placeholder 2"/>
          <p:cNvSpPr>
            <a:spLocks noGrp="1"/>
          </p:cNvSpPr>
          <p:nvPr>
            <p:ph type="pic" sz="quarter" idx="13"/>
          </p:nvPr>
        </p:nvSpPr>
        <p:spPr/>
        <p:txBody>
          <a:bodyPr/>
          <a:lstStyle/>
          <a:p>
            <a:endParaRPr lang="en-CA"/>
          </a:p>
        </p:txBody>
      </p:sp>
      <p:sp>
        <p:nvSpPr>
          <p:cNvPr id="4" name="Title 3"/>
          <p:cNvSpPr>
            <a:spLocks noGrp="1"/>
          </p:cNvSpPr>
          <p:nvPr>
            <p:ph type="title"/>
          </p:nvPr>
        </p:nvSpPr>
        <p:spPr/>
        <p:txBody>
          <a:bodyPr/>
          <a:lstStyle/>
          <a:p>
            <a:r>
              <a:rPr lang="en-US" dirty="0"/>
              <a:t>Hello!</a:t>
            </a:r>
          </a:p>
        </p:txBody>
      </p:sp>
      <p:sp>
        <p:nvSpPr>
          <p:cNvPr id="10" name="TextBox 9"/>
          <p:cNvSpPr txBox="1"/>
          <p:nvPr/>
        </p:nvSpPr>
        <p:spPr>
          <a:xfrm>
            <a:off x="913016" y="3241941"/>
            <a:ext cx="2502213" cy="2554545"/>
          </a:xfrm>
          <a:prstGeom prst="rect">
            <a:avLst/>
          </a:prstGeom>
          <a:noFill/>
        </p:spPr>
        <p:txBody>
          <a:bodyPr wrap="square" lIns="0" rIns="0" rtlCol="0">
            <a:spAutoFit/>
          </a:bodyPr>
          <a:lstStyle/>
          <a:p>
            <a:r>
              <a:rPr lang="en-US" sz="20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1" name="Rectangle 10"/>
          <p:cNvSpPr/>
          <p:nvPr/>
        </p:nvSpPr>
        <p:spPr>
          <a:xfrm>
            <a:off x="6676222" y="4208442"/>
            <a:ext cx="661011" cy="661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2" name="Rectangle 11"/>
          <p:cNvSpPr/>
          <p:nvPr/>
        </p:nvSpPr>
        <p:spPr>
          <a:xfrm>
            <a:off x="7337233" y="4208442"/>
            <a:ext cx="661011" cy="66101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3" name="Rectangle 12"/>
          <p:cNvSpPr/>
          <p:nvPr/>
        </p:nvSpPr>
        <p:spPr>
          <a:xfrm>
            <a:off x="7553133" y="5097588"/>
            <a:ext cx="4854765" cy="1989012"/>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4" name="Freeform 13">
            <a:extLst>
              <a:ext uri="{FF2B5EF4-FFF2-40B4-BE49-F238E27FC236}">
                <a16:creationId xmlns:a16="http://schemas.microsoft.com/office/drawing/2014/main" id="{45506306-FF73-4696-BAFB-A6A7AE49A7B5}"/>
              </a:ext>
            </a:extLst>
          </p:cNvPr>
          <p:cNvSpPr>
            <a:spLocks/>
          </p:cNvSpPr>
          <p:nvPr/>
        </p:nvSpPr>
        <p:spPr bwMode="auto">
          <a:xfrm>
            <a:off x="6846217" y="4406748"/>
            <a:ext cx="327773" cy="263934"/>
          </a:xfrm>
          <a:custGeom>
            <a:avLst/>
            <a:gdLst>
              <a:gd name="T0" fmla="*/ 160 w 160"/>
              <a:gd name="T1" fmla="*/ 64 h 128"/>
              <a:gd name="T2" fmla="*/ 158 w 160"/>
              <a:gd name="T3" fmla="*/ 66 h 128"/>
              <a:gd name="T4" fmla="*/ 8 w 160"/>
              <a:gd name="T5" fmla="*/ 66 h 128"/>
              <a:gd name="T6" fmla="*/ 66 w 160"/>
              <a:gd name="T7" fmla="*/ 124 h 128"/>
              <a:gd name="T8" fmla="*/ 66 w 160"/>
              <a:gd name="T9" fmla="*/ 127 h 128"/>
              <a:gd name="T10" fmla="*/ 64 w 160"/>
              <a:gd name="T11" fmla="*/ 128 h 128"/>
              <a:gd name="T12" fmla="*/ 62 w 160"/>
              <a:gd name="T13" fmla="*/ 127 h 128"/>
              <a:gd name="T14" fmla="*/ 1 w 160"/>
              <a:gd name="T15" fmla="*/ 66 h 128"/>
              <a:gd name="T16" fmla="*/ 0 w 160"/>
              <a:gd name="T17" fmla="*/ 65 h 128"/>
              <a:gd name="T18" fmla="*/ 0 w 160"/>
              <a:gd name="T19" fmla="*/ 64 h 128"/>
              <a:gd name="T20" fmla="*/ 0 w 160"/>
              <a:gd name="T21" fmla="*/ 64 h 128"/>
              <a:gd name="T22" fmla="*/ 0 w 160"/>
              <a:gd name="T23" fmla="*/ 64 h 128"/>
              <a:gd name="T24" fmla="*/ 0 w 160"/>
              <a:gd name="T25" fmla="*/ 64 h 128"/>
              <a:gd name="T26" fmla="*/ 1 w 160"/>
              <a:gd name="T27" fmla="*/ 62 h 128"/>
              <a:gd name="T28" fmla="*/ 62 w 160"/>
              <a:gd name="T29" fmla="*/ 1 h 128"/>
              <a:gd name="T30" fmla="*/ 66 w 160"/>
              <a:gd name="T31" fmla="*/ 1 h 128"/>
              <a:gd name="T32" fmla="*/ 66 w 160"/>
              <a:gd name="T33" fmla="*/ 4 h 128"/>
              <a:gd name="T34" fmla="*/ 8 w 160"/>
              <a:gd name="T35" fmla="*/ 61 h 128"/>
              <a:gd name="T36" fmla="*/ 158 w 160"/>
              <a:gd name="T37" fmla="*/ 61 h 128"/>
              <a:gd name="T38" fmla="*/ 160 w 160"/>
              <a:gd name="T3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28">
                <a:moveTo>
                  <a:pt x="160" y="64"/>
                </a:moveTo>
                <a:cubicBezTo>
                  <a:pt x="160" y="65"/>
                  <a:pt x="159" y="66"/>
                  <a:pt x="158" y="66"/>
                </a:cubicBezTo>
                <a:cubicBezTo>
                  <a:pt x="8" y="66"/>
                  <a:pt x="8" y="66"/>
                  <a:pt x="8" y="66"/>
                </a:cubicBezTo>
                <a:cubicBezTo>
                  <a:pt x="66" y="124"/>
                  <a:pt x="66" y="124"/>
                  <a:pt x="66" y="124"/>
                </a:cubicBezTo>
                <a:cubicBezTo>
                  <a:pt x="67" y="125"/>
                  <a:pt x="67" y="126"/>
                  <a:pt x="66" y="127"/>
                </a:cubicBezTo>
                <a:cubicBezTo>
                  <a:pt x="65" y="128"/>
                  <a:pt x="65" y="128"/>
                  <a:pt x="64" y="128"/>
                </a:cubicBezTo>
                <a:cubicBezTo>
                  <a:pt x="63" y="128"/>
                  <a:pt x="63" y="128"/>
                  <a:pt x="62" y="127"/>
                </a:cubicBezTo>
                <a:cubicBezTo>
                  <a:pt x="1" y="66"/>
                  <a:pt x="1" y="66"/>
                  <a:pt x="1" y="66"/>
                </a:cubicBezTo>
                <a:cubicBezTo>
                  <a:pt x="0" y="65"/>
                  <a:pt x="0" y="65"/>
                  <a:pt x="0" y="65"/>
                </a:cubicBezTo>
                <a:cubicBezTo>
                  <a:pt x="0" y="65"/>
                  <a:pt x="0" y="65"/>
                  <a:pt x="0" y="64"/>
                </a:cubicBezTo>
                <a:cubicBezTo>
                  <a:pt x="0" y="64"/>
                  <a:pt x="0" y="64"/>
                  <a:pt x="0" y="64"/>
                </a:cubicBezTo>
                <a:cubicBezTo>
                  <a:pt x="0" y="64"/>
                  <a:pt x="0" y="64"/>
                  <a:pt x="0" y="64"/>
                </a:cubicBezTo>
                <a:cubicBezTo>
                  <a:pt x="0" y="64"/>
                  <a:pt x="0" y="64"/>
                  <a:pt x="0" y="64"/>
                </a:cubicBezTo>
                <a:cubicBezTo>
                  <a:pt x="0" y="63"/>
                  <a:pt x="0" y="63"/>
                  <a:pt x="1" y="62"/>
                </a:cubicBezTo>
                <a:cubicBezTo>
                  <a:pt x="62" y="1"/>
                  <a:pt x="62" y="1"/>
                  <a:pt x="62" y="1"/>
                </a:cubicBezTo>
                <a:cubicBezTo>
                  <a:pt x="63" y="0"/>
                  <a:pt x="65" y="0"/>
                  <a:pt x="66" y="1"/>
                </a:cubicBezTo>
                <a:cubicBezTo>
                  <a:pt x="67" y="2"/>
                  <a:pt x="67" y="3"/>
                  <a:pt x="66" y="4"/>
                </a:cubicBezTo>
                <a:cubicBezTo>
                  <a:pt x="8" y="61"/>
                  <a:pt x="8" y="61"/>
                  <a:pt x="8" y="61"/>
                </a:cubicBezTo>
                <a:cubicBezTo>
                  <a:pt x="158" y="61"/>
                  <a:pt x="158" y="61"/>
                  <a:pt x="158" y="61"/>
                </a:cubicBezTo>
                <a:cubicBezTo>
                  <a:pt x="159" y="61"/>
                  <a:pt x="160" y="63"/>
                  <a:pt x="160"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6" name="Freeform 15">
            <a:extLst>
              <a:ext uri="{FF2B5EF4-FFF2-40B4-BE49-F238E27FC236}">
                <a16:creationId xmlns:a16="http://schemas.microsoft.com/office/drawing/2014/main" id="{45506306-FF73-4696-BAFB-A6A7AE49A7B5}"/>
              </a:ext>
            </a:extLst>
          </p:cNvPr>
          <p:cNvSpPr>
            <a:spLocks/>
          </p:cNvSpPr>
          <p:nvPr/>
        </p:nvSpPr>
        <p:spPr bwMode="auto">
          <a:xfrm flipH="1">
            <a:off x="7503851" y="4406748"/>
            <a:ext cx="327773" cy="263934"/>
          </a:xfrm>
          <a:custGeom>
            <a:avLst/>
            <a:gdLst>
              <a:gd name="T0" fmla="*/ 160 w 160"/>
              <a:gd name="T1" fmla="*/ 64 h 128"/>
              <a:gd name="T2" fmla="*/ 158 w 160"/>
              <a:gd name="T3" fmla="*/ 66 h 128"/>
              <a:gd name="T4" fmla="*/ 8 w 160"/>
              <a:gd name="T5" fmla="*/ 66 h 128"/>
              <a:gd name="T6" fmla="*/ 66 w 160"/>
              <a:gd name="T7" fmla="*/ 124 h 128"/>
              <a:gd name="T8" fmla="*/ 66 w 160"/>
              <a:gd name="T9" fmla="*/ 127 h 128"/>
              <a:gd name="T10" fmla="*/ 64 w 160"/>
              <a:gd name="T11" fmla="*/ 128 h 128"/>
              <a:gd name="T12" fmla="*/ 62 w 160"/>
              <a:gd name="T13" fmla="*/ 127 h 128"/>
              <a:gd name="T14" fmla="*/ 1 w 160"/>
              <a:gd name="T15" fmla="*/ 66 h 128"/>
              <a:gd name="T16" fmla="*/ 0 w 160"/>
              <a:gd name="T17" fmla="*/ 65 h 128"/>
              <a:gd name="T18" fmla="*/ 0 w 160"/>
              <a:gd name="T19" fmla="*/ 64 h 128"/>
              <a:gd name="T20" fmla="*/ 0 w 160"/>
              <a:gd name="T21" fmla="*/ 64 h 128"/>
              <a:gd name="T22" fmla="*/ 0 w 160"/>
              <a:gd name="T23" fmla="*/ 64 h 128"/>
              <a:gd name="T24" fmla="*/ 0 w 160"/>
              <a:gd name="T25" fmla="*/ 64 h 128"/>
              <a:gd name="T26" fmla="*/ 1 w 160"/>
              <a:gd name="T27" fmla="*/ 62 h 128"/>
              <a:gd name="T28" fmla="*/ 62 w 160"/>
              <a:gd name="T29" fmla="*/ 1 h 128"/>
              <a:gd name="T30" fmla="*/ 66 w 160"/>
              <a:gd name="T31" fmla="*/ 1 h 128"/>
              <a:gd name="T32" fmla="*/ 66 w 160"/>
              <a:gd name="T33" fmla="*/ 4 h 128"/>
              <a:gd name="T34" fmla="*/ 8 w 160"/>
              <a:gd name="T35" fmla="*/ 61 h 128"/>
              <a:gd name="T36" fmla="*/ 158 w 160"/>
              <a:gd name="T37" fmla="*/ 61 h 128"/>
              <a:gd name="T38" fmla="*/ 160 w 160"/>
              <a:gd name="T3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28">
                <a:moveTo>
                  <a:pt x="160" y="64"/>
                </a:moveTo>
                <a:cubicBezTo>
                  <a:pt x="160" y="65"/>
                  <a:pt x="159" y="66"/>
                  <a:pt x="158" y="66"/>
                </a:cubicBezTo>
                <a:cubicBezTo>
                  <a:pt x="8" y="66"/>
                  <a:pt x="8" y="66"/>
                  <a:pt x="8" y="66"/>
                </a:cubicBezTo>
                <a:cubicBezTo>
                  <a:pt x="66" y="124"/>
                  <a:pt x="66" y="124"/>
                  <a:pt x="66" y="124"/>
                </a:cubicBezTo>
                <a:cubicBezTo>
                  <a:pt x="67" y="125"/>
                  <a:pt x="67" y="126"/>
                  <a:pt x="66" y="127"/>
                </a:cubicBezTo>
                <a:cubicBezTo>
                  <a:pt x="65" y="128"/>
                  <a:pt x="65" y="128"/>
                  <a:pt x="64" y="128"/>
                </a:cubicBezTo>
                <a:cubicBezTo>
                  <a:pt x="63" y="128"/>
                  <a:pt x="63" y="128"/>
                  <a:pt x="62" y="127"/>
                </a:cubicBezTo>
                <a:cubicBezTo>
                  <a:pt x="1" y="66"/>
                  <a:pt x="1" y="66"/>
                  <a:pt x="1" y="66"/>
                </a:cubicBezTo>
                <a:cubicBezTo>
                  <a:pt x="0" y="65"/>
                  <a:pt x="0" y="65"/>
                  <a:pt x="0" y="65"/>
                </a:cubicBezTo>
                <a:cubicBezTo>
                  <a:pt x="0" y="65"/>
                  <a:pt x="0" y="65"/>
                  <a:pt x="0" y="64"/>
                </a:cubicBezTo>
                <a:cubicBezTo>
                  <a:pt x="0" y="64"/>
                  <a:pt x="0" y="64"/>
                  <a:pt x="0" y="64"/>
                </a:cubicBezTo>
                <a:cubicBezTo>
                  <a:pt x="0" y="64"/>
                  <a:pt x="0" y="64"/>
                  <a:pt x="0" y="64"/>
                </a:cubicBezTo>
                <a:cubicBezTo>
                  <a:pt x="0" y="64"/>
                  <a:pt x="0" y="64"/>
                  <a:pt x="0" y="64"/>
                </a:cubicBezTo>
                <a:cubicBezTo>
                  <a:pt x="0" y="63"/>
                  <a:pt x="0" y="63"/>
                  <a:pt x="1" y="62"/>
                </a:cubicBezTo>
                <a:cubicBezTo>
                  <a:pt x="62" y="1"/>
                  <a:pt x="62" y="1"/>
                  <a:pt x="62" y="1"/>
                </a:cubicBezTo>
                <a:cubicBezTo>
                  <a:pt x="63" y="0"/>
                  <a:pt x="65" y="0"/>
                  <a:pt x="66" y="1"/>
                </a:cubicBezTo>
                <a:cubicBezTo>
                  <a:pt x="67" y="2"/>
                  <a:pt x="67" y="3"/>
                  <a:pt x="66" y="4"/>
                </a:cubicBezTo>
                <a:cubicBezTo>
                  <a:pt x="8" y="61"/>
                  <a:pt x="8" y="61"/>
                  <a:pt x="8" y="61"/>
                </a:cubicBezTo>
                <a:cubicBezTo>
                  <a:pt x="158" y="61"/>
                  <a:pt x="158" y="61"/>
                  <a:pt x="158" y="61"/>
                </a:cubicBezTo>
                <a:cubicBezTo>
                  <a:pt x="159" y="61"/>
                  <a:pt x="160" y="63"/>
                  <a:pt x="160"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Tree>
    <p:extLst>
      <p:ext uri="{BB962C8B-B14F-4D97-AF65-F5344CB8AC3E}">
        <p14:creationId xmlns:p14="http://schemas.microsoft.com/office/powerpoint/2010/main" val="165428960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Rectangle"/>
          <p:cNvSpPr/>
          <p:nvPr/>
        </p:nvSpPr>
        <p:spPr>
          <a:xfrm>
            <a:off x="2" y="2"/>
            <a:ext cx="12191999" cy="6857999"/>
          </a:xfrm>
          <a:prstGeom prst="rect">
            <a:avLst/>
          </a:prstGeom>
          <a:solidFill>
            <a:srgbClr val="016AC3"/>
          </a:solidFill>
          <a:ln w="3175">
            <a:noFill/>
            <a:miter lim="400000"/>
          </a:ln>
        </p:spPr>
        <p:txBody>
          <a:bodyPr lIns="35719" tIns="35719" rIns="35719" bIns="35719" anchor="ctr"/>
          <a:lstStyle/>
          <a:p>
            <a:pPr>
              <a:defRPr sz="3000">
                <a:solidFill>
                  <a:srgbClr val="FFFFFF"/>
                </a:solidFill>
              </a:defRPr>
            </a:pPr>
            <a:endParaRPr sz="1500"/>
          </a:p>
        </p:txBody>
      </p:sp>
      <p:sp>
        <p:nvSpPr>
          <p:cNvPr id="62" name="Freeform 843">
            <a:extLst>
              <a:ext uri="{FF2B5EF4-FFF2-40B4-BE49-F238E27FC236}">
                <a16:creationId xmlns:a16="http://schemas.microsoft.com/office/drawing/2014/main" id="{5AE7F5BA-2124-DD4A-8174-3AE5EEEB70EC}"/>
              </a:ext>
            </a:extLst>
          </p:cNvPr>
          <p:cNvSpPr>
            <a:spLocks noEditPoints="1"/>
          </p:cNvSpPr>
          <p:nvPr/>
        </p:nvSpPr>
        <p:spPr bwMode="auto">
          <a:xfrm>
            <a:off x="576145" y="365125"/>
            <a:ext cx="546100" cy="550863"/>
          </a:xfrm>
          <a:custGeom>
            <a:avLst/>
            <a:gdLst>
              <a:gd name="T0" fmla="*/ 80 w 160"/>
              <a:gd name="T1" fmla="*/ 160 h 160"/>
              <a:gd name="T2" fmla="*/ 58 w 160"/>
              <a:gd name="T3" fmla="*/ 138 h 160"/>
              <a:gd name="T4" fmla="*/ 58 w 160"/>
              <a:gd name="T5" fmla="*/ 102 h 160"/>
              <a:gd name="T6" fmla="*/ 22 w 160"/>
              <a:gd name="T7" fmla="*/ 102 h 160"/>
              <a:gd name="T8" fmla="*/ 0 w 160"/>
              <a:gd name="T9" fmla="*/ 80 h 160"/>
              <a:gd name="T10" fmla="*/ 22 w 160"/>
              <a:gd name="T11" fmla="*/ 58 h 160"/>
              <a:gd name="T12" fmla="*/ 58 w 160"/>
              <a:gd name="T13" fmla="*/ 58 h 160"/>
              <a:gd name="T14" fmla="*/ 58 w 160"/>
              <a:gd name="T15" fmla="*/ 22 h 160"/>
              <a:gd name="T16" fmla="*/ 80 w 160"/>
              <a:gd name="T17" fmla="*/ 0 h 160"/>
              <a:gd name="T18" fmla="*/ 102 w 160"/>
              <a:gd name="T19" fmla="*/ 22 h 160"/>
              <a:gd name="T20" fmla="*/ 102 w 160"/>
              <a:gd name="T21" fmla="*/ 58 h 160"/>
              <a:gd name="T22" fmla="*/ 138 w 160"/>
              <a:gd name="T23" fmla="*/ 58 h 160"/>
              <a:gd name="T24" fmla="*/ 160 w 160"/>
              <a:gd name="T25" fmla="*/ 80 h 160"/>
              <a:gd name="T26" fmla="*/ 138 w 160"/>
              <a:gd name="T27" fmla="*/ 102 h 160"/>
              <a:gd name="T28" fmla="*/ 102 w 160"/>
              <a:gd name="T29" fmla="*/ 102 h 160"/>
              <a:gd name="T30" fmla="*/ 102 w 160"/>
              <a:gd name="T31" fmla="*/ 138 h 160"/>
              <a:gd name="T32" fmla="*/ 80 w 160"/>
              <a:gd name="T33" fmla="*/ 160 h 160"/>
              <a:gd name="T34" fmla="*/ 22 w 160"/>
              <a:gd name="T35" fmla="*/ 65 h 160"/>
              <a:gd name="T36" fmla="*/ 7 w 160"/>
              <a:gd name="T37" fmla="*/ 80 h 160"/>
              <a:gd name="T38" fmla="*/ 22 w 160"/>
              <a:gd name="T39" fmla="*/ 95 h 160"/>
              <a:gd name="T40" fmla="*/ 65 w 160"/>
              <a:gd name="T41" fmla="*/ 95 h 160"/>
              <a:gd name="T42" fmla="*/ 65 w 160"/>
              <a:gd name="T43" fmla="*/ 138 h 160"/>
              <a:gd name="T44" fmla="*/ 80 w 160"/>
              <a:gd name="T45" fmla="*/ 153 h 160"/>
              <a:gd name="T46" fmla="*/ 95 w 160"/>
              <a:gd name="T47" fmla="*/ 138 h 160"/>
              <a:gd name="T48" fmla="*/ 95 w 160"/>
              <a:gd name="T49" fmla="*/ 95 h 160"/>
              <a:gd name="T50" fmla="*/ 138 w 160"/>
              <a:gd name="T51" fmla="*/ 95 h 160"/>
              <a:gd name="T52" fmla="*/ 153 w 160"/>
              <a:gd name="T53" fmla="*/ 80 h 160"/>
              <a:gd name="T54" fmla="*/ 138 w 160"/>
              <a:gd name="T55" fmla="*/ 65 h 160"/>
              <a:gd name="T56" fmla="*/ 95 w 160"/>
              <a:gd name="T57" fmla="*/ 65 h 160"/>
              <a:gd name="T58" fmla="*/ 95 w 160"/>
              <a:gd name="T59" fmla="*/ 22 h 160"/>
              <a:gd name="T60" fmla="*/ 80 w 160"/>
              <a:gd name="T61" fmla="*/ 7 h 160"/>
              <a:gd name="T62" fmla="*/ 65 w 160"/>
              <a:gd name="T63" fmla="*/ 22 h 160"/>
              <a:gd name="T64" fmla="*/ 65 w 160"/>
              <a:gd name="T65" fmla="*/ 65 h 160"/>
              <a:gd name="T66" fmla="*/ 22 w 160"/>
              <a:gd name="T67" fmla="*/ 6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60">
                <a:moveTo>
                  <a:pt x="80" y="160"/>
                </a:moveTo>
                <a:cubicBezTo>
                  <a:pt x="68" y="160"/>
                  <a:pt x="58" y="150"/>
                  <a:pt x="58" y="138"/>
                </a:cubicBezTo>
                <a:cubicBezTo>
                  <a:pt x="58" y="102"/>
                  <a:pt x="58" y="102"/>
                  <a:pt x="58" y="102"/>
                </a:cubicBezTo>
                <a:cubicBezTo>
                  <a:pt x="22" y="102"/>
                  <a:pt x="22" y="102"/>
                  <a:pt x="22" y="102"/>
                </a:cubicBezTo>
                <a:cubicBezTo>
                  <a:pt x="10" y="102"/>
                  <a:pt x="0" y="92"/>
                  <a:pt x="0" y="80"/>
                </a:cubicBezTo>
                <a:cubicBezTo>
                  <a:pt x="0" y="68"/>
                  <a:pt x="10" y="58"/>
                  <a:pt x="22" y="58"/>
                </a:cubicBezTo>
                <a:cubicBezTo>
                  <a:pt x="58" y="58"/>
                  <a:pt x="58" y="58"/>
                  <a:pt x="58" y="58"/>
                </a:cubicBezTo>
                <a:cubicBezTo>
                  <a:pt x="58" y="22"/>
                  <a:pt x="58" y="22"/>
                  <a:pt x="58" y="22"/>
                </a:cubicBezTo>
                <a:cubicBezTo>
                  <a:pt x="58" y="10"/>
                  <a:pt x="68" y="0"/>
                  <a:pt x="80" y="0"/>
                </a:cubicBezTo>
                <a:cubicBezTo>
                  <a:pt x="92" y="0"/>
                  <a:pt x="102" y="10"/>
                  <a:pt x="102" y="22"/>
                </a:cubicBezTo>
                <a:cubicBezTo>
                  <a:pt x="102" y="58"/>
                  <a:pt x="102" y="58"/>
                  <a:pt x="102" y="58"/>
                </a:cubicBezTo>
                <a:cubicBezTo>
                  <a:pt x="138" y="58"/>
                  <a:pt x="138" y="58"/>
                  <a:pt x="138" y="58"/>
                </a:cubicBezTo>
                <a:cubicBezTo>
                  <a:pt x="150" y="58"/>
                  <a:pt x="160" y="68"/>
                  <a:pt x="160" y="80"/>
                </a:cubicBezTo>
                <a:cubicBezTo>
                  <a:pt x="160" y="92"/>
                  <a:pt x="150" y="102"/>
                  <a:pt x="138" y="102"/>
                </a:cubicBezTo>
                <a:cubicBezTo>
                  <a:pt x="102" y="102"/>
                  <a:pt x="102" y="102"/>
                  <a:pt x="102" y="102"/>
                </a:cubicBezTo>
                <a:cubicBezTo>
                  <a:pt x="102" y="138"/>
                  <a:pt x="102" y="138"/>
                  <a:pt x="102" y="138"/>
                </a:cubicBezTo>
                <a:cubicBezTo>
                  <a:pt x="102" y="150"/>
                  <a:pt x="92" y="160"/>
                  <a:pt x="80" y="160"/>
                </a:cubicBezTo>
                <a:close/>
                <a:moveTo>
                  <a:pt x="22" y="65"/>
                </a:moveTo>
                <a:cubicBezTo>
                  <a:pt x="14" y="65"/>
                  <a:pt x="7" y="72"/>
                  <a:pt x="7" y="80"/>
                </a:cubicBezTo>
                <a:cubicBezTo>
                  <a:pt x="7" y="88"/>
                  <a:pt x="14" y="95"/>
                  <a:pt x="22" y="95"/>
                </a:cubicBezTo>
                <a:cubicBezTo>
                  <a:pt x="65" y="95"/>
                  <a:pt x="65" y="95"/>
                  <a:pt x="65" y="95"/>
                </a:cubicBezTo>
                <a:cubicBezTo>
                  <a:pt x="65" y="138"/>
                  <a:pt x="65" y="138"/>
                  <a:pt x="65" y="138"/>
                </a:cubicBezTo>
                <a:cubicBezTo>
                  <a:pt x="65" y="146"/>
                  <a:pt x="72" y="153"/>
                  <a:pt x="80" y="153"/>
                </a:cubicBezTo>
                <a:cubicBezTo>
                  <a:pt x="88" y="153"/>
                  <a:pt x="95" y="146"/>
                  <a:pt x="95" y="138"/>
                </a:cubicBezTo>
                <a:cubicBezTo>
                  <a:pt x="95" y="95"/>
                  <a:pt x="95" y="95"/>
                  <a:pt x="95" y="95"/>
                </a:cubicBezTo>
                <a:cubicBezTo>
                  <a:pt x="138" y="95"/>
                  <a:pt x="138" y="95"/>
                  <a:pt x="138" y="95"/>
                </a:cubicBezTo>
                <a:cubicBezTo>
                  <a:pt x="146" y="95"/>
                  <a:pt x="153" y="88"/>
                  <a:pt x="153" y="80"/>
                </a:cubicBezTo>
                <a:cubicBezTo>
                  <a:pt x="153" y="72"/>
                  <a:pt x="146" y="65"/>
                  <a:pt x="138" y="65"/>
                </a:cubicBezTo>
                <a:cubicBezTo>
                  <a:pt x="95" y="65"/>
                  <a:pt x="95" y="65"/>
                  <a:pt x="95" y="65"/>
                </a:cubicBezTo>
                <a:cubicBezTo>
                  <a:pt x="95" y="22"/>
                  <a:pt x="95" y="22"/>
                  <a:pt x="95" y="22"/>
                </a:cubicBezTo>
                <a:cubicBezTo>
                  <a:pt x="95" y="14"/>
                  <a:pt x="88" y="7"/>
                  <a:pt x="80" y="7"/>
                </a:cubicBezTo>
                <a:cubicBezTo>
                  <a:pt x="72" y="7"/>
                  <a:pt x="65" y="14"/>
                  <a:pt x="65" y="22"/>
                </a:cubicBezTo>
                <a:cubicBezTo>
                  <a:pt x="65" y="65"/>
                  <a:pt x="65" y="65"/>
                  <a:pt x="65" y="65"/>
                </a:cubicBezTo>
                <a:lnTo>
                  <a:pt x="22" y="6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844">
            <a:extLst>
              <a:ext uri="{FF2B5EF4-FFF2-40B4-BE49-F238E27FC236}">
                <a16:creationId xmlns:a16="http://schemas.microsoft.com/office/drawing/2014/main" id="{A1F20A32-8A85-DD43-9E05-A17512A068F2}"/>
              </a:ext>
            </a:extLst>
          </p:cNvPr>
          <p:cNvSpPr>
            <a:spLocks noEditPoints="1"/>
          </p:cNvSpPr>
          <p:nvPr/>
        </p:nvSpPr>
        <p:spPr bwMode="auto">
          <a:xfrm>
            <a:off x="576145" y="984250"/>
            <a:ext cx="546100" cy="550863"/>
          </a:xfrm>
          <a:custGeom>
            <a:avLst/>
            <a:gdLst>
              <a:gd name="T0" fmla="*/ 0 w 344"/>
              <a:gd name="T1" fmla="*/ 0 h 347"/>
              <a:gd name="T2" fmla="*/ 0 w 344"/>
              <a:gd name="T3" fmla="*/ 347 h 347"/>
              <a:gd name="T4" fmla="*/ 344 w 344"/>
              <a:gd name="T5" fmla="*/ 347 h 347"/>
              <a:gd name="T6" fmla="*/ 344 w 344"/>
              <a:gd name="T7" fmla="*/ 0 h 347"/>
              <a:gd name="T8" fmla="*/ 0 w 344"/>
              <a:gd name="T9" fmla="*/ 0 h 347"/>
              <a:gd name="T10" fmla="*/ 333 w 344"/>
              <a:gd name="T11" fmla="*/ 336 h 347"/>
              <a:gd name="T12" fmla="*/ 11 w 344"/>
              <a:gd name="T13" fmla="*/ 336 h 347"/>
              <a:gd name="T14" fmla="*/ 11 w 344"/>
              <a:gd name="T15" fmla="*/ 11 h 347"/>
              <a:gd name="T16" fmla="*/ 333 w 344"/>
              <a:gd name="T17" fmla="*/ 11 h 347"/>
              <a:gd name="T18" fmla="*/ 333 w 344"/>
              <a:gd name="T19" fmla="*/ 336 h 347"/>
              <a:gd name="T20" fmla="*/ 166 w 344"/>
              <a:gd name="T21" fmla="*/ 180 h 347"/>
              <a:gd name="T22" fmla="*/ 52 w 344"/>
              <a:gd name="T23" fmla="*/ 180 h 347"/>
              <a:gd name="T24" fmla="*/ 52 w 344"/>
              <a:gd name="T25" fmla="*/ 167 h 347"/>
              <a:gd name="T26" fmla="*/ 166 w 344"/>
              <a:gd name="T27" fmla="*/ 167 h 347"/>
              <a:gd name="T28" fmla="*/ 166 w 344"/>
              <a:gd name="T29" fmla="*/ 52 h 347"/>
              <a:gd name="T30" fmla="*/ 178 w 344"/>
              <a:gd name="T31" fmla="*/ 52 h 347"/>
              <a:gd name="T32" fmla="*/ 178 w 344"/>
              <a:gd name="T33" fmla="*/ 167 h 347"/>
              <a:gd name="T34" fmla="*/ 292 w 344"/>
              <a:gd name="T35" fmla="*/ 167 h 347"/>
              <a:gd name="T36" fmla="*/ 292 w 344"/>
              <a:gd name="T37" fmla="*/ 180 h 347"/>
              <a:gd name="T38" fmla="*/ 178 w 344"/>
              <a:gd name="T39" fmla="*/ 180 h 347"/>
              <a:gd name="T40" fmla="*/ 178 w 344"/>
              <a:gd name="T41" fmla="*/ 295 h 347"/>
              <a:gd name="T42" fmla="*/ 166 w 344"/>
              <a:gd name="T43" fmla="*/ 295 h 347"/>
              <a:gd name="T44" fmla="*/ 166 w 344"/>
              <a:gd name="T45" fmla="*/ 18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347">
                <a:moveTo>
                  <a:pt x="0" y="0"/>
                </a:moveTo>
                <a:lnTo>
                  <a:pt x="0" y="347"/>
                </a:lnTo>
                <a:lnTo>
                  <a:pt x="344" y="347"/>
                </a:lnTo>
                <a:lnTo>
                  <a:pt x="344" y="0"/>
                </a:lnTo>
                <a:lnTo>
                  <a:pt x="0" y="0"/>
                </a:lnTo>
                <a:close/>
                <a:moveTo>
                  <a:pt x="333" y="336"/>
                </a:moveTo>
                <a:lnTo>
                  <a:pt x="11" y="336"/>
                </a:lnTo>
                <a:lnTo>
                  <a:pt x="11" y="11"/>
                </a:lnTo>
                <a:lnTo>
                  <a:pt x="333" y="11"/>
                </a:lnTo>
                <a:lnTo>
                  <a:pt x="333" y="336"/>
                </a:lnTo>
                <a:close/>
                <a:moveTo>
                  <a:pt x="166" y="180"/>
                </a:moveTo>
                <a:lnTo>
                  <a:pt x="52" y="180"/>
                </a:lnTo>
                <a:lnTo>
                  <a:pt x="52" y="167"/>
                </a:lnTo>
                <a:lnTo>
                  <a:pt x="166" y="167"/>
                </a:lnTo>
                <a:lnTo>
                  <a:pt x="166" y="52"/>
                </a:lnTo>
                <a:lnTo>
                  <a:pt x="178" y="52"/>
                </a:lnTo>
                <a:lnTo>
                  <a:pt x="178" y="167"/>
                </a:lnTo>
                <a:lnTo>
                  <a:pt x="292" y="167"/>
                </a:lnTo>
                <a:lnTo>
                  <a:pt x="292" y="180"/>
                </a:lnTo>
                <a:lnTo>
                  <a:pt x="178" y="180"/>
                </a:lnTo>
                <a:lnTo>
                  <a:pt x="178" y="295"/>
                </a:lnTo>
                <a:lnTo>
                  <a:pt x="166" y="295"/>
                </a:lnTo>
                <a:lnTo>
                  <a:pt x="166" y="1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845">
            <a:extLst>
              <a:ext uri="{FF2B5EF4-FFF2-40B4-BE49-F238E27FC236}">
                <a16:creationId xmlns:a16="http://schemas.microsoft.com/office/drawing/2014/main" id="{6DBBF277-B1D9-1C49-923A-28546220FCBC}"/>
              </a:ext>
            </a:extLst>
          </p:cNvPr>
          <p:cNvSpPr>
            <a:spLocks noEditPoints="1"/>
          </p:cNvSpPr>
          <p:nvPr/>
        </p:nvSpPr>
        <p:spPr bwMode="auto">
          <a:xfrm>
            <a:off x="576145" y="1603375"/>
            <a:ext cx="546100" cy="539750"/>
          </a:xfrm>
          <a:custGeom>
            <a:avLst/>
            <a:gdLst>
              <a:gd name="T0" fmla="*/ 143 w 160"/>
              <a:gd name="T1" fmla="*/ 23 h 157"/>
              <a:gd name="T2" fmla="*/ 143 w 160"/>
              <a:gd name="T3" fmla="*/ 0 h 157"/>
              <a:gd name="T4" fmla="*/ 0 w 160"/>
              <a:gd name="T5" fmla="*/ 0 h 157"/>
              <a:gd name="T6" fmla="*/ 0 w 160"/>
              <a:gd name="T7" fmla="*/ 137 h 157"/>
              <a:gd name="T8" fmla="*/ 20 w 160"/>
              <a:gd name="T9" fmla="*/ 137 h 157"/>
              <a:gd name="T10" fmla="*/ 20 w 160"/>
              <a:gd name="T11" fmla="*/ 157 h 157"/>
              <a:gd name="T12" fmla="*/ 160 w 160"/>
              <a:gd name="T13" fmla="*/ 157 h 157"/>
              <a:gd name="T14" fmla="*/ 160 w 160"/>
              <a:gd name="T15" fmla="*/ 23 h 157"/>
              <a:gd name="T16" fmla="*/ 143 w 160"/>
              <a:gd name="T17" fmla="*/ 23 h 157"/>
              <a:gd name="T18" fmla="*/ 6 w 160"/>
              <a:gd name="T19" fmla="*/ 131 h 157"/>
              <a:gd name="T20" fmla="*/ 6 w 160"/>
              <a:gd name="T21" fmla="*/ 6 h 157"/>
              <a:gd name="T22" fmla="*/ 137 w 160"/>
              <a:gd name="T23" fmla="*/ 6 h 157"/>
              <a:gd name="T24" fmla="*/ 137 w 160"/>
              <a:gd name="T25" fmla="*/ 23 h 157"/>
              <a:gd name="T26" fmla="*/ 20 w 160"/>
              <a:gd name="T27" fmla="*/ 23 h 157"/>
              <a:gd name="T28" fmla="*/ 20 w 160"/>
              <a:gd name="T29" fmla="*/ 131 h 157"/>
              <a:gd name="T30" fmla="*/ 6 w 160"/>
              <a:gd name="T31" fmla="*/ 131 h 157"/>
              <a:gd name="T32" fmla="*/ 154 w 160"/>
              <a:gd name="T33" fmla="*/ 151 h 157"/>
              <a:gd name="T34" fmla="*/ 26 w 160"/>
              <a:gd name="T35" fmla="*/ 151 h 157"/>
              <a:gd name="T36" fmla="*/ 26 w 160"/>
              <a:gd name="T37" fmla="*/ 137 h 157"/>
              <a:gd name="T38" fmla="*/ 26 w 160"/>
              <a:gd name="T39" fmla="*/ 29 h 157"/>
              <a:gd name="T40" fmla="*/ 143 w 160"/>
              <a:gd name="T41" fmla="*/ 29 h 157"/>
              <a:gd name="T42" fmla="*/ 154 w 160"/>
              <a:gd name="T43" fmla="*/ 29 h 157"/>
              <a:gd name="T44" fmla="*/ 154 w 160"/>
              <a:gd name="T45" fmla="*/ 151 h 157"/>
              <a:gd name="T46" fmla="*/ 125 w 160"/>
              <a:gd name="T47" fmla="*/ 90 h 157"/>
              <a:gd name="T48" fmla="*/ 122 w 160"/>
              <a:gd name="T49" fmla="*/ 93 h 157"/>
              <a:gd name="T50" fmla="*/ 93 w 160"/>
              <a:gd name="T51" fmla="*/ 93 h 157"/>
              <a:gd name="T52" fmla="*/ 93 w 160"/>
              <a:gd name="T53" fmla="*/ 122 h 157"/>
              <a:gd name="T54" fmla="*/ 90 w 160"/>
              <a:gd name="T55" fmla="*/ 125 h 157"/>
              <a:gd name="T56" fmla="*/ 87 w 160"/>
              <a:gd name="T57" fmla="*/ 122 h 157"/>
              <a:gd name="T58" fmla="*/ 87 w 160"/>
              <a:gd name="T59" fmla="*/ 93 h 157"/>
              <a:gd name="T60" fmla="*/ 58 w 160"/>
              <a:gd name="T61" fmla="*/ 93 h 157"/>
              <a:gd name="T62" fmla="*/ 55 w 160"/>
              <a:gd name="T63" fmla="*/ 90 h 157"/>
              <a:gd name="T64" fmla="*/ 58 w 160"/>
              <a:gd name="T65" fmla="*/ 87 h 157"/>
              <a:gd name="T66" fmla="*/ 87 w 160"/>
              <a:gd name="T67" fmla="*/ 87 h 157"/>
              <a:gd name="T68" fmla="*/ 87 w 160"/>
              <a:gd name="T69" fmla="*/ 58 h 157"/>
              <a:gd name="T70" fmla="*/ 90 w 160"/>
              <a:gd name="T71" fmla="*/ 55 h 157"/>
              <a:gd name="T72" fmla="*/ 93 w 160"/>
              <a:gd name="T73" fmla="*/ 58 h 157"/>
              <a:gd name="T74" fmla="*/ 93 w 160"/>
              <a:gd name="T75" fmla="*/ 87 h 157"/>
              <a:gd name="T76" fmla="*/ 122 w 160"/>
              <a:gd name="T77" fmla="*/ 87 h 157"/>
              <a:gd name="T78" fmla="*/ 125 w 160"/>
              <a:gd name="T79" fmla="*/ 9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57">
                <a:moveTo>
                  <a:pt x="143" y="23"/>
                </a:moveTo>
                <a:cubicBezTo>
                  <a:pt x="143" y="0"/>
                  <a:pt x="143" y="0"/>
                  <a:pt x="143" y="0"/>
                </a:cubicBezTo>
                <a:cubicBezTo>
                  <a:pt x="0" y="0"/>
                  <a:pt x="0" y="0"/>
                  <a:pt x="0" y="0"/>
                </a:cubicBezTo>
                <a:cubicBezTo>
                  <a:pt x="0" y="137"/>
                  <a:pt x="0" y="137"/>
                  <a:pt x="0" y="137"/>
                </a:cubicBezTo>
                <a:cubicBezTo>
                  <a:pt x="20" y="137"/>
                  <a:pt x="20" y="137"/>
                  <a:pt x="20" y="137"/>
                </a:cubicBezTo>
                <a:cubicBezTo>
                  <a:pt x="20" y="157"/>
                  <a:pt x="20" y="157"/>
                  <a:pt x="20" y="157"/>
                </a:cubicBezTo>
                <a:cubicBezTo>
                  <a:pt x="160" y="157"/>
                  <a:pt x="160" y="157"/>
                  <a:pt x="160" y="157"/>
                </a:cubicBezTo>
                <a:cubicBezTo>
                  <a:pt x="160" y="23"/>
                  <a:pt x="160" y="23"/>
                  <a:pt x="160" y="23"/>
                </a:cubicBezTo>
                <a:lnTo>
                  <a:pt x="143" y="23"/>
                </a:lnTo>
                <a:close/>
                <a:moveTo>
                  <a:pt x="6" y="131"/>
                </a:moveTo>
                <a:cubicBezTo>
                  <a:pt x="6" y="6"/>
                  <a:pt x="6" y="6"/>
                  <a:pt x="6" y="6"/>
                </a:cubicBezTo>
                <a:cubicBezTo>
                  <a:pt x="137" y="6"/>
                  <a:pt x="137" y="6"/>
                  <a:pt x="137" y="6"/>
                </a:cubicBezTo>
                <a:cubicBezTo>
                  <a:pt x="137" y="23"/>
                  <a:pt x="137" y="23"/>
                  <a:pt x="137" y="23"/>
                </a:cubicBezTo>
                <a:cubicBezTo>
                  <a:pt x="20" y="23"/>
                  <a:pt x="20" y="23"/>
                  <a:pt x="20" y="23"/>
                </a:cubicBezTo>
                <a:cubicBezTo>
                  <a:pt x="20" y="131"/>
                  <a:pt x="20" y="131"/>
                  <a:pt x="20" y="131"/>
                </a:cubicBezTo>
                <a:lnTo>
                  <a:pt x="6" y="131"/>
                </a:lnTo>
                <a:close/>
                <a:moveTo>
                  <a:pt x="154" y="151"/>
                </a:moveTo>
                <a:cubicBezTo>
                  <a:pt x="26" y="151"/>
                  <a:pt x="26" y="151"/>
                  <a:pt x="26" y="151"/>
                </a:cubicBezTo>
                <a:cubicBezTo>
                  <a:pt x="26" y="137"/>
                  <a:pt x="26" y="137"/>
                  <a:pt x="26" y="137"/>
                </a:cubicBezTo>
                <a:cubicBezTo>
                  <a:pt x="26" y="29"/>
                  <a:pt x="26" y="29"/>
                  <a:pt x="26" y="29"/>
                </a:cubicBezTo>
                <a:cubicBezTo>
                  <a:pt x="143" y="29"/>
                  <a:pt x="143" y="29"/>
                  <a:pt x="143" y="29"/>
                </a:cubicBezTo>
                <a:cubicBezTo>
                  <a:pt x="154" y="29"/>
                  <a:pt x="154" y="29"/>
                  <a:pt x="154" y="29"/>
                </a:cubicBezTo>
                <a:lnTo>
                  <a:pt x="154" y="151"/>
                </a:lnTo>
                <a:close/>
                <a:moveTo>
                  <a:pt x="125" y="90"/>
                </a:moveTo>
                <a:cubicBezTo>
                  <a:pt x="125" y="92"/>
                  <a:pt x="124" y="93"/>
                  <a:pt x="122" y="93"/>
                </a:cubicBezTo>
                <a:cubicBezTo>
                  <a:pt x="93" y="93"/>
                  <a:pt x="93" y="93"/>
                  <a:pt x="93" y="93"/>
                </a:cubicBezTo>
                <a:cubicBezTo>
                  <a:pt x="93" y="122"/>
                  <a:pt x="93" y="122"/>
                  <a:pt x="93" y="122"/>
                </a:cubicBezTo>
                <a:cubicBezTo>
                  <a:pt x="93" y="124"/>
                  <a:pt x="92" y="125"/>
                  <a:pt x="90" y="125"/>
                </a:cubicBezTo>
                <a:cubicBezTo>
                  <a:pt x="89" y="125"/>
                  <a:pt x="87" y="124"/>
                  <a:pt x="87" y="122"/>
                </a:cubicBezTo>
                <a:cubicBezTo>
                  <a:pt x="87" y="93"/>
                  <a:pt x="87" y="93"/>
                  <a:pt x="87" y="93"/>
                </a:cubicBezTo>
                <a:cubicBezTo>
                  <a:pt x="58" y="93"/>
                  <a:pt x="58" y="93"/>
                  <a:pt x="58" y="93"/>
                </a:cubicBezTo>
                <a:cubicBezTo>
                  <a:pt x="57" y="93"/>
                  <a:pt x="55" y="92"/>
                  <a:pt x="55" y="90"/>
                </a:cubicBezTo>
                <a:cubicBezTo>
                  <a:pt x="55" y="89"/>
                  <a:pt x="57" y="87"/>
                  <a:pt x="58" y="87"/>
                </a:cubicBezTo>
                <a:cubicBezTo>
                  <a:pt x="87" y="87"/>
                  <a:pt x="87" y="87"/>
                  <a:pt x="87" y="87"/>
                </a:cubicBezTo>
                <a:cubicBezTo>
                  <a:pt x="87" y="58"/>
                  <a:pt x="87" y="58"/>
                  <a:pt x="87" y="58"/>
                </a:cubicBezTo>
                <a:cubicBezTo>
                  <a:pt x="87" y="57"/>
                  <a:pt x="89" y="55"/>
                  <a:pt x="90" y="55"/>
                </a:cubicBezTo>
                <a:cubicBezTo>
                  <a:pt x="92" y="55"/>
                  <a:pt x="93" y="57"/>
                  <a:pt x="93" y="58"/>
                </a:cubicBezTo>
                <a:cubicBezTo>
                  <a:pt x="93" y="87"/>
                  <a:pt x="93" y="87"/>
                  <a:pt x="93" y="87"/>
                </a:cubicBezTo>
                <a:cubicBezTo>
                  <a:pt x="122" y="87"/>
                  <a:pt x="122" y="87"/>
                  <a:pt x="122" y="87"/>
                </a:cubicBezTo>
                <a:cubicBezTo>
                  <a:pt x="124" y="87"/>
                  <a:pt x="125" y="89"/>
                  <a:pt x="125" y="9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846">
            <a:extLst>
              <a:ext uri="{FF2B5EF4-FFF2-40B4-BE49-F238E27FC236}">
                <a16:creationId xmlns:a16="http://schemas.microsoft.com/office/drawing/2014/main" id="{C836352A-AA5F-3745-8779-FAA275BA95D6}"/>
              </a:ext>
            </a:extLst>
          </p:cNvPr>
          <p:cNvSpPr>
            <a:spLocks/>
          </p:cNvSpPr>
          <p:nvPr/>
        </p:nvSpPr>
        <p:spPr bwMode="auto">
          <a:xfrm>
            <a:off x="576145" y="2222500"/>
            <a:ext cx="546100" cy="550863"/>
          </a:xfrm>
          <a:custGeom>
            <a:avLst/>
            <a:gdLst>
              <a:gd name="T0" fmla="*/ 344 w 344"/>
              <a:gd name="T1" fmla="*/ 182 h 347"/>
              <a:gd name="T2" fmla="*/ 181 w 344"/>
              <a:gd name="T3" fmla="*/ 182 h 347"/>
              <a:gd name="T4" fmla="*/ 181 w 344"/>
              <a:gd name="T5" fmla="*/ 347 h 347"/>
              <a:gd name="T6" fmla="*/ 163 w 344"/>
              <a:gd name="T7" fmla="*/ 347 h 347"/>
              <a:gd name="T8" fmla="*/ 163 w 344"/>
              <a:gd name="T9" fmla="*/ 182 h 347"/>
              <a:gd name="T10" fmla="*/ 0 w 344"/>
              <a:gd name="T11" fmla="*/ 182 h 347"/>
              <a:gd name="T12" fmla="*/ 0 w 344"/>
              <a:gd name="T13" fmla="*/ 165 h 347"/>
              <a:gd name="T14" fmla="*/ 163 w 344"/>
              <a:gd name="T15" fmla="*/ 165 h 347"/>
              <a:gd name="T16" fmla="*/ 163 w 344"/>
              <a:gd name="T17" fmla="*/ 0 h 347"/>
              <a:gd name="T18" fmla="*/ 181 w 344"/>
              <a:gd name="T19" fmla="*/ 0 h 347"/>
              <a:gd name="T20" fmla="*/ 181 w 344"/>
              <a:gd name="T21" fmla="*/ 165 h 347"/>
              <a:gd name="T22" fmla="*/ 344 w 344"/>
              <a:gd name="T23" fmla="*/ 165 h 347"/>
              <a:gd name="T24" fmla="*/ 344 w 344"/>
              <a:gd name="T25" fmla="*/ 18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347">
                <a:moveTo>
                  <a:pt x="344" y="182"/>
                </a:moveTo>
                <a:lnTo>
                  <a:pt x="181" y="182"/>
                </a:lnTo>
                <a:lnTo>
                  <a:pt x="181" y="347"/>
                </a:lnTo>
                <a:lnTo>
                  <a:pt x="163" y="347"/>
                </a:lnTo>
                <a:lnTo>
                  <a:pt x="163" y="182"/>
                </a:lnTo>
                <a:lnTo>
                  <a:pt x="0" y="182"/>
                </a:lnTo>
                <a:lnTo>
                  <a:pt x="0" y="165"/>
                </a:lnTo>
                <a:lnTo>
                  <a:pt x="163" y="165"/>
                </a:lnTo>
                <a:lnTo>
                  <a:pt x="163" y="0"/>
                </a:lnTo>
                <a:lnTo>
                  <a:pt x="181" y="0"/>
                </a:lnTo>
                <a:lnTo>
                  <a:pt x="181" y="165"/>
                </a:lnTo>
                <a:lnTo>
                  <a:pt x="344" y="165"/>
                </a:lnTo>
                <a:lnTo>
                  <a:pt x="344" y="18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847">
            <a:extLst>
              <a:ext uri="{FF2B5EF4-FFF2-40B4-BE49-F238E27FC236}">
                <a16:creationId xmlns:a16="http://schemas.microsoft.com/office/drawing/2014/main" id="{36998FFC-AB54-4E42-8FE2-1F81C4E92987}"/>
              </a:ext>
            </a:extLst>
          </p:cNvPr>
          <p:cNvSpPr>
            <a:spLocks noEditPoints="1"/>
          </p:cNvSpPr>
          <p:nvPr/>
        </p:nvSpPr>
        <p:spPr bwMode="auto">
          <a:xfrm>
            <a:off x="644408" y="2841625"/>
            <a:ext cx="409575" cy="550863"/>
          </a:xfrm>
          <a:custGeom>
            <a:avLst/>
            <a:gdLst>
              <a:gd name="T0" fmla="*/ 4 w 120"/>
              <a:gd name="T1" fmla="*/ 5 h 160"/>
              <a:gd name="T2" fmla="*/ 0 w 120"/>
              <a:gd name="T3" fmla="*/ 16 h 160"/>
              <a:gd name="T4" fmla="*/ 13 w 120"/>
              <a:gd name="T5" fmla="*/ 160 h 160"/>
              <a:gd name="T6" fmla="*/ 120 w 120"/>
              <a:gd name="T7" fmla="*/ 29 h 160"/>
              <a:gd name="T8" fmla="*/ 120 w 120"/>
              <a:gd name="T9" fmla="*/ 0 h 160"/>
              <a:gd name="T10" fmla="*/ 5 w 120"/>
              <a:gd name="T11" fmla="*/ 147 h 160"/>
              <a:gd name="T12" fmla="*/ 13 w 120"/>
              <a:gd name="T13" fmla="*/ 29 h 160"/>
              <a:gd name="T14" fmla="*/ 5 w 120"/>
              <a:gd name="T15" fmla="*/ 147 h 160"/>
              <a:gd name="T16" fmla="*/ 19 w 120"/>
              <a:gd name="T17" fmla="*/ 155 h 160"/>
              <a:gd name="T18" fmla="*/ 27 w 120"/>
              <a:gd name="T19" fmla="*/ 29 h 160"/>
              <a:gd name="T20" fmla="*/ 30 w 120"/>
              <a:gd name="T21" fmla="*/ 100 h 160"/>
              <a:gd name="T22" fmla="*/ 31 w 120"/>
              <a:gd name="T23" fmla="*/ 101 h 160"/>
              <a:gd name="T24" fmla="*/ 32 w 120"/>
              <a:gd name="T25" fmla="*/ 100 h 160"/>
              <a:gd name="T26" fmla="*/ 33 w 120"/>
              <a:gd name="T27" fmla="*/ 100 h 160"/>
              <a:gd name="T28" fmla="*/ 34 w 120"/>
              <a:gd name="T29" fmla="*/ 99 h 160"/>
              <a:gd name="T30" fmla="*/ 57 w 120"/>
              <a:gd name="T31" fmla="*/ 99 h 160"/>
              <a:gd name="T32" fmla="*/ 61 w 120"/>
              <a:gd name="T33" fmla="*/ 100 h 160"/>
              <a:gd name="T34" fmla="*/ 64 w 120"/>
              <a:gd name="T35" fmla="*/ 29 h 160"/>
              <a:gd name="T36" fmla="*/ 115 w 120"/>
              <a:gd name="T37" fmla="*/ 155 h 160"/>
              <a:gd name="T38" fmla="*/ 59 w 120"/>
              <a:gd name="T39" fmla="*/ 25 h 160"/>
              <a:gd name="T40" fmla="*/ 59 w 120"/>
              <a:gd name="T41" fmla="*/ 26 h 160"/>
              <a:gd name="T42" fmla="*/ 59 w 120"/>
              <a:gd name="T43" fmla="*/ 27 h 160"/>
              <a:gd name="T44" fmla="*/ 59 w 120"/>
              <a:gd name="T45" fmla="*/ 92 h 160"/>
              <a:gd name="T46" fmla="*/ 32 w 120"/>
              <a:gd name="T47" fmla="*/ 92 h 160"/>
              <a:gd name="T48" fmla="*/ 36 w 120"/>
              <a:gd name="T49" fmla="*/ 19 h 160"/>
              <a:gd name="T50" fmla="*/ 59 w 120"/>
              <a:gd name="T51" fmla="*/ 25 h 160"/>
              <a:gd name="T52" fmla="*/ 71 w 120"/>
              <a:gd name="T53" fmla="*/ 13 h 160"/>
              <a:gd name="T54" fmla="*/ 28 w 120"/>
              <a:gd name="T55" fmla="*/ 24 h 160"/>
              <a:gd name="T56" fmla="*/ 5 w 120"/>
              <a:gd name="T57" fmla="*/ 16 h 160"/>
              <a:gd name="T58" fmla="*/ 15 w 120"/>
              <a:gd name="T59" fmla="*/ 5 h 160"/>
              <a:gd name="T60" fmla="*/ 115 w 120"/>
              <a:gd name="T61" fmla="*/ 8 h 160"/>
              <a:gd name="T62" fmla="*/ 99 w 120"/>
              <a:gd name="T63" fmla="*/ 11 h 160"/>
              <a:gd name="T64" fmla="*/ 115 w 120"/>
              <a:gd name="T65" fmla="*/ 13 h 160"/>
              <a:gd name="T66" fmla="*/ 104 w 120"/>
              <a:gd name="T67" fmla="*/ 16 h 160"/>
              <a:gd name="T68" fmla="*/ 104 w 120"/>
              <a:gd name="T69" fmla="*/ 21 h 160"/>
              <a:gd name="T70" fmla="*/ 115 w 120"/>
              <a:gd name="T71" fmla="*/ 2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60">
                <a:moveTo>
                  <a:pt x="15" y="0"/>
                </a:moveTo>
                <a:cubicBezTo>
                  <a:pt x="11" y="0"/>
                  <a:pt x="7" y="2"/>
                  <a:pt x="4" y="5"/>
                </a:cubicBezTo>
                <a:cubicBezTo>
                  <a:pt x="1" y="8"/>
                  <a:pt x="0" y="12"/>
                  <a:pt x="0" y="16"/>
                </a:cubicBezTo>
                <a:cubicBezTo>
                  <a:pt x="0" y="16"/>
                  <a:pt x="0" y="16"/>
                  <a:pt x="0" y="16"/>
                </a:cubicBezTo>
                <a:cubicBezTo>
                  <a:pt x="0" y="147"/>
                  <a:pt x="0" y="147"/>
                  <a:pt x="0" y="147"/>
                </a:cubicBezTo>
                <a:cubicBezTo>
                  <a:pt x="0" y="154"/>
                  <a:pt x="6" y="160"/>
                  <a:pt x="13" y="160"/>
                </a:cubicBezTo>
                <a:cubicBezTo>
                  <a:pt x="120" y="160"/>
                  <a:pt x="120" y="160"/>
                  <a:pt x="120" y="160"/>
                </a:cubicBezTo>
                <a:cubicBezTo>
                  <a:pt x="120" y="29"/>
                  <a:pt x="120" y="29"/>
                  <a:pt x="120" y="29"/>
                </a:cubicBezTo>
                <a:cubicBezTo>
                  <a:pt x="120" y="24"/>
                  <a:pt x="120" y="24"/>
                  <a:pt x="120" y="24"/>
                </a:cubicBezTo>
                <a:cubicBezTo>
                  <a:pt x="120" y="0"/>
                  <a:pt x="120" y="0"/>
                  <a:pt x="120" y="0"/>
                </a:cubicBezTo>
                <a:lnTo>
                  <a:pt x="15" y="0"/>
                </a:lnTo>
                <a:close/>
                <a:moveTo>
                  <a:pt x="5" y="147"/>
                </a:moveTo>
                <a:cubicBezTo>
                  <a:pt x="5" y="27"/>
                  <a:pt x="5" y="27"/>
                  <a:pt x="5" y="27"/>
                </a:cubicBezTo>
                <a:cubicBezTo>
                  <a:pt x="8" y="28"/>
                  <a:pt x="10" y="29"/>
                  <a:pt x="13" y="29"/>
                </a:cubicBezTo>
                <a:cubicBezTo>
                  <a:pt x="13" y="155"/>
                  <a:pt x="13" y="155"/>
                  <a:pt x="13" y="155"/>
                </a:cubicBezTo>
                <a:cubicBezTo>
                  <a:pt x="9" y="155"/>
                  <a:pt x="5" y="151"/>
                  <a:pt x="5" y="147"/>
                </a:cubicBezTo>
                <a:close/>
                <a:moveTo>
                  <a:pt x="115" y="155"/>
                </a:moveTo>
                <a:cubicBezTo>
                  <a:pt x="19" y="155"/>
                  <a:pt x="19" y="155"/>
                  <a:pt x="19" y="155"/>
                </a:cubicBezTo>
                <a:cubicBezTo>
                  <a:pt x="19" y="29"/>
                  <a:pt x="19" y="29"/>
                  <a:pt x="19" y="29"/>
                </a:cubicBezTo>
                <a:cubicBezTo>
                  <a:pt x="27" y="29"/>
                  <a:pt x="27" y="29"/>
                  <a:pt x="27" y="29"/>
                </a:cubicBezTo>
                <a:cubicBezTo>
                  <a:pt x="27" y="97"/>
                  <a:pt x="27" y="97"/>
                  <a:pt x="27" y="97"/>
                </a:cubicBezTo>
                <a:cubicBezTo>
                  <a:pt x="27" y="98"/>
                  <a:pt x="28" y="100"/>
                  <a:pt x="30" y="100"/>
                </a:cubicBezTo>
                <a:cubicBezTo>
                  <a:pt x="30" y="100"/>
                  <a:pt x="30" y="101"/>
                  <a:pt x="31" y="101"/>
                </a:cubicBezTo>
                <a:cubicBezTo>
                  <a:pt x="31" y="101"/>
                  <a:pt x="31" y="101"/>
                  <a:pt x="31" y="101"/>
                </a:cubicBezTo>
                <a:cubicBezTo>
                  <a:pt x="31" y="101"/>
                  <a:pt x="31" y="100"/>
                  <a:pt x="31" y="100"/>
                </a:cubicBezTo>
                <a:cubicBezTo>
                  <a:pt x="31" y="100"/>
                  <a:pt x="32" y="100"/>
                  <a:pt x="32" y="100"/>
                </a:cubicBezTo>
                <a:cubicBezTo>
                  <a:pt x="32" y="100"/>
                  <a:pt x="32" y="100"/>
                  <a:pt x="32" y="100"/>
                </a:cubicBezTo>
                <a:cubicBezTo>
                  <a:pt x="33" y="100"/>
                  <a:pt x="33" y="100"/>
                  <a:pt x="33" y="100"/>
                </a:cubicBezTo>
                <a:cubicBezTo>
                  <a:pt x="33" y="100"/>
                  <a:pt x="33" y="100"/>
                  <a:pt x="33" y="100"/>
                </a:cubicBezTo>
                <a:cubicBezTo>
                  <a:pt x="34" y="99"/>
                  <a:pt x="34" y="99"/>
                  <a:pt x="34" y="99"/>
                </a:cubicBezTo>
                <a:cubicBezTo>
                  <a:pt x="45" y="80"/>
                  <a:pt x="45" y="80"/>
                  <a:pt x="45" y="80"/>
                </a:cubicBezTo>
                <a:cubicBezTo>
                  <a:pt x="57" y="99"/>
                  <a:pt x="57" y="99"/>
                  <a:pt x="57" y="99"/>
                </a:cubicBezTo>
                <a:cubicBezTo>
                  <a:pt x="57" y="100"/>
                  <a:pt x="59" y="101"/>
                  <a:pt x="61" y="100"/>
                </a:cubicBezTo>
                <a:cubicBezTo>
                  <a:pt x="61" y="100"/>
                  <a:pt x="61" y="100"/>
                  <a:pt x="61" y="100"/>
                </a:cubicBezTo>
                <a:cubicBezTo>
                  <a:pt x="63" y="100"/>
                  <a:pt x="64" y="98"/>
                  <a:pt x="64" y="97"/>
                </a:cubicBezTo>
                <a:cubicBezTo>
                  <a:pt x="64" y="29"/>
                  <a:pt x="64" y="29"/>
                  <a:pt x="64" y="29"/>
                </a:cubicBezTo>
                <a:cubicBezTo>
                  <a:pt x="115" y="29"/>
                  <a:pt x="115" y="29"/>
                  <a:pt x="115" y="29"/>
                </a:cubicBezTo>
                <a:cubicBezTo>
                  <a:pt x="115" y="155"/>
                  <a:pt x="115" y="155"/>
                  <a:pt x="115" y="155"/>
                </a:cubicBezTo>
                <a:close/>
                <a:moveTo>
                  <a:pt x="59" y="25"/>
                </a:moveTo>
                <a:cubicBezTo>
                  <a:pt x="59" y="25"/>
                  <a:pt x="59" y="25"/>
                  <a:pt x="59" y="25"/>
                </a:cubicBezTo>
                <a:cubicBezTo>
                  <a:pt x="59" y="26"/>
                  <a:pt x="59" y="26"/>
                  <a:pt x="59" y="26"/>
                </a:cubicBezTo>
                <a:cubicBezTo>
                  <a:pt x="59" y="26"/>
                  <a:pt x="59" y="26"/>
                  <a:pt x="59" y="26"/>
                </a:cubicBezTo>
                <a:cubicBezTo>
                  <a:pt x="58" y="27"/>
                  <a:pt x="58" y="27"/>
                  <a:pt x="58" y="27"/>
                </a:cubicBezTo>
                <a:cubicBezTo>
                  <a:pt x="59" y="27"/>
                  <a:pt x="59" y="27"/>
                  <a:pt x="59" y="27"/>
                </a:cubicBezTo>
                <a:cubicBezTo>
                  <a:pt x="59" y="27"/>
                  <a:pt x="59" y="27"/>
                  <a:pt x="59" y="27"/>
                </a:cubicBezTo>
                <a:cubicBezTo>
                  <a:pt x="59" y="92"/>
                  <a:pt x="59" y="92"/>
                  <a:pt x="59" y="92"/>
                </a:cubicBezTo>
                <a:cubicBezTo>
                  <a:pt x="45" y="69"/>
                  <a:pt x="45" y="69"/>
                  <a:pt x="45" y="69"/>
                </a:cubicBezTo>
                <a:cubicBezTo>
                  <a:pt x="32" y="92"/>
                  <a:pt x="32" y="92"/>
                  <a:pt x="32" y="92"/>
                </a:cubicBezTo>
                <a:cubicBezTo>
                  <a:pt x="32" y="27"/>
                  <a:pt x="32" y="27"/>
                  <a:pt x="32" y="27"/>
                </a:cubicBezTo>
                <a:cubicBezTo>
                  <a:pt x="36" y="19"/>
                  <a:pt x="36" y="19"/>
                  <a:pt x="36" y="19"/>
                </a:cubicBezTo>
                <a:cubicBezTo>
                  <a:pt x="62" y="19"/>
                  <a:pt x="62" y="19"/>
                  <a:pt x="62" y="19"/>
                </a:cubicBezTo>
                <a:lnTo>
                  <a:pt x="59" y="25"/>
                </a:lnTo>
                <a:close/>
                <a:moveTo>
                  <a:pt x="66" y="24"/>
                </a:moveTo>
                <a:cubicBezTo>
                  <a:pt x="71" y="13"/>
                  <a:pt x="71" y="13"/>
                  <a:pt x="71" y="13"/>
                </a:cubicBezTo>
                <a:cubicBezTo>
                  <a:pt x="33" y="13"/>
                  <a:pt x="33" y="13"/>
                  <a:pt x="33" y="13"/>
                </a:cubicBezTo>
                <a:cubicBezTo>
                  <a:pt x="28" y="24"/>
                  <a:pt x="28" y="24"/>
                  <a:pt x="28" y="24"/>
                </a:cubicBezTo>
                <a:cubicBezTo>
                  <a:pt x="15" y="24"/>
                  <a:pt x="15" y="24"/>
                  <a:pt x="15" y="24"/>
                </a:cubicBezTo>
                <a:cubicBezTo>
                  <a:pt x="10" y="24"/>
                  <a:pt x="6" y="20"/>
                  <a:pt x="5" y="16"/>
                </a:cubicBezTo>
                <a:cubicBezTo>
                  <a:pt x="5" y="13"/>
                  <a:pt x="6" y="10"/>
                  <a:pt x="8" y="8"/>
                </a:cubicBezTo>
                <a:cubicBezTo>
                  <a:pt x="10" y="6"/>
                  <a:pt x="12" y="5"/>
                  <a:pt x="15" y="5"/>
                </a:cubicBezTo>
                <a:cubicBezTo>
                  <a:pt x="115" y="5"/>
                  <a:pt x="115" y="5"/>
                  <a:pt x="115" y="5"/>
                </a:cubicBezTo>
                <a:cubicBezTo>
                  <a:pt x="115" y="8"/>
                  <a:pt x="115" y="8"/>
                  <a:pt x="115" y="8"/>
                </a:cubicBezTo>
                <a:cubicBezTo>
                  <a:pt x="101" y="8"/>
                  <a:pt x="101" y="8"/>
                  <a:pt x="101" y="8"/>
                </a:cubicBezTo>
                <a:cubicBezTo>
                  <a:pt x="100" y="8"/>
                  <a:pt x="99" y="9"/>
                  <a:pt x="99" y="11"/>
                </a:cubicBezTo>
                <a:cubicBezTo>
                  <a:pt x="99" y="12"/>
                  <a:pt x="100" y="13"/>
                  <a:pt x="101" y="13"/>
                </a:cubicBezTo>
                <a:cubicBezTo>
                  <a:pt x="115" y="13"/>
                  <a:pt x="115" y="13"/>
                  <a:pt x="115" y="13"/>
                </a:cubicBezTo>
                <a:cubicBezTo>
                  <a:pt x="115" y="16"/>
                  <a:pt x="115" y="16"/>
                  <a:pt x="115" y="16"/>
                </a:cubicBezTo>
                <a:cubicBezTo>
                  <a:pt x="104" y="16"/>
                  <a:pt x="104" y="16"/>
                  <a:pt x="104" y="16"/>
                </a:cubicBezTo>
                <a:cubicBezTo>
                  <a:pt x="103" y="16"/>
                  <a:pt x="101" y="17"/>
                  <a:pt x="101" y="19"/>
                </a:cubicBezTo>
                <a:cubicBezTo>
                  <a:pt x="101" y="20"/>
                  <a:pt x="103" y="21"/>
                  <a:pt x="104" y="21"/>
                </a:cubicBezTo>
                <a:cubicBezTo>
                  <a:pt x="115" y="21"/>
                  <a:pt x="115" y="21"/>
                  <a:pt x="115" y="21"/>
                </a:cubicBezTo>
                <a:cubicBezTo>
                  <a:pt x="115" y="24"/>
                  <a:pt x="115" y="24"/>
                  <a:pt x="115" y="24"/>
                </a:cubicBezTo>
                <a:lnTo>
                  <a:pt x="66" y="2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848">
            <a:extLst>
              <a:ext uri="{FF2B5EF4-FFF2-40B4-BE49-F238E27FC236}">
                <a16:creationId xmlns:a16="http://schemas.microsoft.com/office/drawing/2014/main" id="{26CCCFA2-1EDA-674C-AC7B-AC61EEA2B89A}"/>
              </a:ext>
            </a:extLst>
          </p:cNvPr>
          <p:cNvSpPr>
            <a:spLocks noEditPoints="1"/>
          </p:cNvSpPr>
          <p:nvPr/>
        </p:nvSpPr>
        <p:spPr bwMode="auto">
          <a:xfrm>
            <a:off x="576145" y="3475038"/>
            <a:ext cx="546100" cy="506413"/>
          </a:xfrm>
          <a:custGeom>
            <a:avLst/>
            <a:gdLst>
              <a:gd name="T0" fmla="*/ 125 w 160"/>
              <a:gd name="T1" fmla="*/ 53 h 147"/>
              <a:gd name="T2" fmla="*/ 93 w 160"/>
              <a:gd name="T3" fmla="*/ 15 h 147"/>
              <a:gd name="T4" fmla="*/ 80 w 160"/>
              <a:gd name="T5" fmla="*/ 0 h 147"/>
              <a:gd name="T6" fmla="*/ 67 w 160"/>
              <a:gd name="T7" fmla="*/ 15 h 147"/>
              <a:gd name="T8" fmla="*/ 35 w 160"/>
              <a:gd name="T9" fmla="*/ 53 h 147"/>
              <a:gd name="T10" fmla="*/ 17 w 160"/>
              <a:gd name="T11" fmla="*/ 121 h 147"/>
              <a:gd name="T12" fmla="*/ 18 w 160"/>
              <a:gd name="T13" fmla="*/ 125 h 147"/>
              <a:gd name="T14" fmla="*/ 57 w 160"/>
              <a:gd name="T15" fmla="*/ 132 h 147"/>
              <a:gd name="T16" fmla="*/ 104 w 160"/>
              <a:gd name="T17" fmla="*/ 132 h 147"/>
              <a:gd name="T18" fmla="*/ 143 w 160"/>
              <a:gd name="T19" fmla="*/ 125 h 147"/>
              <a:gd name="T20" fmla="*/ 144 w 160"/>
              <a:gd name="T21" fmla="*/ 121 h 147"/>
              <a:gd name="T22" fmla="*/ 72 w 160"/>
              <a:gd name="T23" fmla="*/ 13 h 147"/>
              <a:gd name="T24" fmla="*/ 88 w 160"/>
              <a:gd name="T25" fmla="*/ 13 h 147"/>
              <a:gd name="T26" fmla="*/ 72 w 160"/>
              <a:gd name="T27" fmla="*/ 14 h 147"/>
              <a:gd name="T28" fmla="*/ 80 w 160"/>
              <a:gd name="T29" fmla="*/ 141 h 147"/>
              <a:gd name="T30" fmla="*/ 80 w 160"/>
              <a:gd name="T31" fmla="*/ 133 h 147"/>
              <a:gd name="T32" fmla="*/ 80 w 160"/>
              <a:gd name="T33" fmla="*/ 141 h 147"/>
              <a:gd name="T34" fmla="*/ 102 w 160"/>
              <a:gd name="T35" fmla="*/ 127 h 147"/>
              <a:gd name="T36" fmla="*/ 97 w 160"/>
              <a:gd name="T37" fmla="*/ 127 h 147"/>
              <a:gd name="T38" fmla="*/ 91 w 160"/>
              <a:gd name="T39" fmla="*/ 128 h 147"/>
              <a:gd name="T40" fmla="*/ 86 w 160"/>
              <a:gd name="T41" fmla="*/ 128 h 147"/>
              <a:gd name="T42" fmla="*/ 76 w 160"/>
              <a:gd name="T43" fmla="*/ 128 h 147"/>
              <a:gd name="T44" fmla="*/ 70 w 160"/>
              <a:gd name="T45" fmla="*/ 128 h 147"/>
              <a:gd name="T46" fmla="*/ 65 w 160"/>
              <a:gd name="T47" fmla="*/ 127 h 147"/>
              <a:gd name="T48" fmla="*/ 59 w 160"/>
              <a:gd name="T49" fmla="*/ 127 h 147"/>
              <a:gd name="T50" fmla="*/ 44 w 160"/>
              <a:gd name="T51" fmla="*/ 124 h 147"/>
              <a:gd name="T52" fmla="*/ 40 w 160"/>
              <a:gd name="T53" fmla="*/ 77 h 147"/>
              <a:gd name="T54" fmla="*/ 61 w 160"/>
              <a:gd name="T55" fmla="*/ 23 h 147"/>
              <a:gd name="T56" fmla="*/ 70 w 160"/>
              <a:gd name="T57" fmla="*/ 20 h 147"/>
              <a:gd name="T58" fmla="*/ 90 w 160"/>
              <a:gd name="T59" fmla="*/ 20 h 147"/>
              <a:gd name="T60" fmla="*/ 120 w 160"/>
              <a:gd name="T61" fmla="*/ 53 h 147"/>
              <a:gd name="T62" fmla="*/ 137 w 160"/>
              <a:gd name="T63" fmla="*/ 121 h 147"/>
              <a:gd name="T64" fmla="*/ 98 w 160"/>
              <a:gd name="T65" fmla="*/ 34 h 147"/>
              <a:gd name="T66" fmla="*/ 66 w 160"/>
              <a:gd name="T67" fmla="*/ 35 h 147"/>
              <a:gd name="T68" fmla="*/ 51 w 160"/>
              <a:gd name="T69" fmla="*/ 56 h 147"/>
              <a:gd name="T70" fmla="*/ 48 w 160"/>
              <a:gd name="T71" fmla="*/ 53 h 147"/>
              <a:gd name="T72" fmla="*/ 97 w 160"/>
              <a:gd name="T73" fmla="*/ 30 h 147"/>
              <a:gd name="T74" fmla="*/ 13 w 160"/>
              <a:gd name="T75" fmla="*/ 58 h 147"/>
              <a:gd name="T76" fmla="*/ 13 w 160"/>
              <a:gd name="T77" fmla="*/ 94 h 147"/>
              <a:gd name="T78" fmla="*/ 11 w 160"/>
              <a:gd name="T79" fmla="*/ 99 h 147"/>
              <a:gd name="T80" fmla="*/ 0 w 160"/>
              <a:gd name="T81" fmla="*/ 76 h 147"/>
              <a:gd name="T82" fmla="*/ 13 w 160"/>
              <a:gd name="T83" fmla="*/ 54 h 147"/>
              <a:gd name="T84" fmla="*/ 20 w 160"/>
              <a:gd name="T85" fmla="*/ 92 h 147"/>
              <a:gd name="T86" fmla="*/ 24 w 160"/>
              <a:gd name="T87" fmla="*/ 59 h 147"/>
              <a:gd name="T88" fmla="*/ 24 w 160"/>
              <a:gd name="T89" fmla="*/ 88 h 147"/>
              <a:gd name="T90" fmla="*/ 22 w 160"/>
              <a:gd name="T91" fmla="*/ 93 h 147"/>
              <a:gd name="T92" fmla="*/ 160 w 160"/>
              <a:gd name="T93" fmla="*/ 76 h 147"/>
              <a:gd name="T94" fmla="*/ 149 w 160"/>
              <a:gd name="T95" fmla="*/ 99 h 147"/>
              <a:gd name="T96" fmla="*/ 147 w 160"/>
              <a:gd name="T97" fmla="*/ 94 h 147"/>
              <a:gd name="T98" fmla="*/ 147 w 160"/>
              <a:gd name="T99" fmla="*/ 58 h 147"/>
              <a:gd name="T100" fmla="*/ 151 w 160"/>
              <a:gd name="T101" fmla="*/ 54 h 147"/>
              <a:gd name="T102" fmla="*/ 140 w 160"/>
              <a:gd name="T103" fmla="*/ 59 h 147"/>
              <a:gd name="T104" fmla="*/ 138 w 160"/>
              <a:gd name="T105" fmla="*/ 93 h 147"/>
              <a:gd name="T106" fmla="*/ 136 w 160"/>
              <a:gd name="T107" fmla="*/ 88 h 147"/>
              <a:gd name="T108" fmla="*/ 136 w 160"/>
              <a:gd name="T109"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47">
                <a:moveTo>
                  <a:pt x="125" y="77"/>
                </a:moveTo>
                <a:cubicBezTo>
                  <a:pt x="125" y="53"/>
                  <a:pt x="125" y="53"/>
                  <a:pt x="125" y="53"/>
                </a:cubicBezTo>
                <a:cubicBezTo>
                  <a:pt x="126" y="35"/>
                  <a:pt x="113" y="23"/>
                  <a:pt x="103" y="18"/>
                </a:cubicBezTo>
                <a:cubicBezTo>
                  <a:pt x="100" y="17"/>
                  <a:pt x="97" y="16"/>
                  <a:pt x="93" y="15"/>
                </a:cubicBezTo>
                <a:cubicBezTo>
                  <a:pt x="93" y="13"/>
                  <a:pt x="93" y="13"/>
                  <a:pt x="93" y="13"/>
                </a:cubicBezTo>
                <a:cubicBezTo>
                  <a:pt x="93" y="6"/>
                  <a:pt x="87" y="0"/>
                  <a:pt x="80" y="0"/>
                </a:cubicBezTo>
                <a:cubicBezTo>
                  <a:pt x="73" y="0"/>
                  <a:pt x="67" y="6"/>
                  <a:pt x="67" y="13"/>
                </a:cubicBezTo>
                <a:cubicBezTo>
                  <a:pt x="67" y="15"/>
                  <a:pt x="67" y="15"/>
                  <a:pt x="67" y="15"/>
                </a:cubicBezTo>
                <a:cubicBezTo>
                  <a:pt x="64" y="16"/>
                  <a:pt x="61" y="17"/>
                  <a:pt x="58" y="18"/>
                </a:cubicBezTo>
                <a:cubicBezTo>
                  <a:pt x="47" y="24"/>
                  <a:pt x="35" y="36"/>
                  <a:pt x="35" y="53"/>
                </a:cubicBezTo>
                <a:cubicBezTo>
                  <a:pt x="35" y="77"/>
                  <a:pt x="35" y="77"/>
                  <a:pt x="35" y="77"/>
                </a:cubicBezTo>
                <a:cubicBezTo>
                  <a:pt x="35" y="94"/>
                  <a:pt x="29" y="109"/>
                  <a:pt x="17" y="121"/>
                </a:cubicBezTo>
                <a:cubicBezTo>
                  <a:pt x="16" y="121"/>
                  <a:pt x="16" y="123"/>
                  <a:pt x="16" y="123"/>
                </a:cubicBezTo>
                <a:cubicBezTo>
                  <a:pt x="16" y="124"/>
                  <a:pt x="17" y="125"/>
                  <a:pt x="18" y="125"/>
                </a:cubicBezTo>
                <a:cubicBezTo>
                  <a:pt x="44" y="130"/>
                  <a:pt x="44" y="130"/>
                  <a:pt x="44" y="130"/>
                </a:cubicBezTo>
                <a:cubicBezTo>
                  <a:pt x="48" y="130"/>
                  <a:pt x="53" y="131"/>
                  <a:pt x="57" y="132"/>
                </a:cubicBezTo>
                <a:cubicBezTo>
                  <a:pt x="61" y="141"/>
                  <a:pt x="71" y="147"/>
                  <a:pt x="80" y="147"/>
                </a:cubicBezTo>
                <a:cubicBezTo>
                  <a:pt x="90" y="147"/>
                  <a:pt x="100" y="141"/>
                  <a:pt x="104" y="132"/>
                </a:cubicBezTo>
                <a:cubicBezTo>
                  <a:pt x="108" y="131"/>
                  <a:pt x="113" y="130"/>
                  <a:pt x="117" y="130"/>
                </a:cubicBezTo>
                <a:cubicBezTo>
                  <a:pt x="143" y="125"/>
                  <a:pt x="143" y="125"/>
                  <a:pt x="143" y="125"/>
                </a:cubicBezTo>
                <a:cubicBezTo>
                  <a:pt x="144" y="125"/>
                  <a:pt x="144" y="124"/>
                  <a:pt x="145" y="123"/>
                </a:cubicBezTo>
                <a:cubicBezTo>
                  <a:pt x="145" y="123"/>
                  <a:pt x="145" y="121"/>
                  <a:pt x="144" y="121"/>
                </a:cubicBezTo>
                <a:cubicBezTo>
                  <a:pt x="132" y="108"/>
                  <a:pt x="125" y="94"/>
                  <a:pt x="125" y="77"/>
                </a:cubicBezTo>
                <a:close/>
                <a:moveTo>
                  <a:pt x="72" y="13"/>
                </a:moveTo>
                <a:cubicBezTo>
                  <a:pt x="72" y="9"/>
                  <a:pt x="76" y="5"/>
                  <a:pt x="80" y="5"/>
                </a:cubicBezTo>
                <a:cubicBezTo>
                  <a:pt x="84" y="5"/>
                  <a:pt x="88" y="9"/>
                  <a:pt x="88" y="13"/>
                </a:cubicBezTo>
                <a:cubicBezTo>
                  <a:pt x="88" y="14"/>
                  <a:pt x="88" y="14"/>
                  <a:pt x="88" y="14"/>
                </a:cubicBezTo>
                <a:cubicBezTo>
                  <a:pt x="83" y="13"/>
                  <a:pt x="77" y="13"/>
                  <a:pt x="72" y="14"/>
                </a:cubicBezTo>
                <a:lnTo>
                  <a:pt x="72" y="13"/>
                </a:lnTo>
                <a:close/>
                <a:moveTo>
                  <a:pt x="80" y="141"/>
                </a:moveTo>
                <a:cubicBezTo>
                  <a:pt x="74" y="141"/>
                  <a:pt x="67" y="138"/>
                  <a:pt x="63" y="132"/>
                </a:cubicBezTo>
                <a:cubicBezTo>
                  <a:pt x="69" y="133"/>
                  <a:pt x="75" y="133"/>
                  <a:pt x="80" y="133"/>
                </a:cubicBezTo>
                <a:cubicBezTo>
                  <a:pt x="86" y="133"/>
                  <a:pt x="92" y="133"/>
                  <a:pt x="98" y="132"/>
                </a:cubicBezTo>
                <a:cubicBezTo>
                  <a:pt x="94" y="138"/>
                  <a:pt x="87" y="141"/>
                  <a:pt x="80" y="141"/>
                </a:cubicBezTo>
                <a:close/>
                <a:moveTo>
                  <a:pt x="116" y="124"/>
                </a:moveTo>
                <a:cubicBezTo>
                  <a:pt x="111" y="125"/>
                  <a:pt x="107" y="126"/>
                  <a:pt x="102" y="127"/>
                </a:cubicBezTo>
                <a:cubicBezTo>
                  <a:pt x="102" y="127"/>
                  <a:pt x="102" y="127"/>
                  <a:pt x="102" y="127"/>
                </a:cubicBezTo>
                <a:cubicBezTo>
                  <a:pt x="100" y="127"/>
                  <a:pt x="98" y="127"/>
                  <a:pt x="97" y="127"/>
                </a:cubicBezTo>
                <a:cubicBezTo>
                  <a:pt x="96" y="127"/>
                  <a:pt x="96" y="127"/>
                  <a:pt x="96" y="127"/>
                </a:cubicBezTo>
                <a:cubicBezTo>
                  <a:pt x="95" y="127"/>
                  <a:pt x="93" y="128"/>
                  <a:pt x="91" y="128"/>
                </a:cubicBezTo>
                <a:cubicBezTo>
                  <a:pt x="91" y="128"/>
                  <a:pt x="91" y="128"/>
                  <a:pt x="91" y="128"/>
                </a:cubicBezTo>
                <a:cubicBezTo>
                  <a:pt x="89" y="128"/>
                  <a:pt x="88" y="128"/>
                  <a:pt x="86" y="128"/>
                </a:cubicBezTo>
                <a:cubicBezTo>
                  <a:pt x="86" y="128"/>
                  <a:pt x="86" y="128"/>
                  <a:pt x="85" y="128"/>
                </a:cubicBezTo>
                <a:cubicBezTo>
                  <a:pt x="82" y="128"/>
                  <a:pt x="79" y="128"/>
                  <a:pt x="76" y="128"/>
                </a:cubicBezTo>
                <a:cubicBezTo>
                  <a:pt x="75" y="128"/>
                  <a:pt x="75" y="128"/>
                  <a:pt x="75" y="128"/>
                </a:cubicBezTo>
                <a:cubicBezTo>
                  <a:pt x="73" y="128"/>
                  <a:pt x="72" y="128"/>
                  <a:pt x="70" y="128"/>
                </a:cubicBezTo>
                <a:cubicBezTo>
                  <a:pt x="70" y="128"/>
                  <a:pt x="70" y="128"/>
                  <a:pt x="69" y="128"/>
                </a:cubicBezTo>
                <a:cubicBezTo>
                  <a:pt x="68" y="128"/>
                  <a:pt x="66" y="127"/>
                  <a:pt x="65" y="127"/>
                </a:cubicBezTo>
                <a:cubicBezTo>
                  <a:pt x="65" y="127"/>
                  <a:pt x="64" y="127"/>
                  <a:pt x="64" y="127"/>
                </a:cubicBezTo>
                <a:cubicBezTo>
                  <a:pt x="63" y="127"/>
                  <a:pt x="61" y="127"/>
                  <a:pt x="59" y="127"/>
                </a:cubicBezTo>
                <a:cubicBezTo>
                  <a:pt x="59" y="127"/>
                  <a:pt x="59" y="127"/>
                  <a:pt x="59" y="127"/>
                </a:cubicBezTo>
                <a:cubicBezTo>
                  <a:pt x="54" y="126"/>
                  <a:pt x="50" y="125"/>
                  <a:pt x="44" y="124"/>
                </a:cubicBezTo>
                <a:cubicBezTo>
                  <a:pt x="24" y="121"/>
                  <a:pt x="24" y="121"/>
                  <a:pt x="24" y="121"/>
                </a:cubicBezTo>
                <a:cubicBezTo>
                  <a:pt x="35" y="109"/>
                  <a:pt x="40" y="94"/>
                  <a:pt x="40" y="77"/>
                </a:cubicBezTo>
                <a:cubicBezTo>
                  <a:pt x="40" y="53"/>
                  <a:pt x="40" y="53"/>
                  <a:pt x="40" y="53"/>
                </a:cubicBezTo>
                <a:cubicBezTo>
                  <a:pt x="40" y="39"/>
                  <a:pt x="50" y="28"/>
                  <a:pt x="61" y="23"/>
                </a:cubicBezTo>
                <a:cubicBezTo>
                  <a:pt x="64" y="22"/>
                  <a:pt x="67" y="21"/>
                  <a:pt x="70" y="20"/>
                </a:cubicBezTo>
                <a:cubicBezTo>
                  <a:pt x="70" y="20"/>
                  <a:pt x="70" y="20"/>
                  <a:pt x="70" y="20"/>
                </a:cubicBezTo>
                <a:cubicBezTo>
                  <a:pt x="76" y="18"/>
                  <a:pt x="83" y="18"/>
                  <a:pt x="90" y="20"/>
                </a:cubicBezTo>
                <a:cubicBezTo>
                  <a:pt x="90" y="20"/>
                  <a:pt x="90" y="20"/>
                  <a:pt x="90" y="20"/>
                </a:cubicBezTo>
                <a:cubicBezTo>
                  <a:pt x="94" y="20"/>
                  <a:pt x="97" y="21"/>
                  <a:pt x="100" y="23"/>
                </a:cubicBezTo>
                <a:cubicBezTo>
                  <a:pt x="110" y="27"/>
                  <a:pt x="120" y="39"/>
                  <a:pt x="120" y="53"/>
                </a:cubicBezTo>
                <a:cubicBezTo>
                  <a:pt x="120" y="77"/>
                  <a:pt x="120" y="77"/>
                  <a:pt x="120" y="77"/>
                </a:cubicBezTo>
                <a:cubicBezTo>
                  <a:pt x="120" y="93"/>
                  <a:pt x="126" y="108"/>
                  <a:pt x="137" y="121"/>
                </a:cubicBezTo>
                <a:lnTo>
                  <a:pt x="116" y="124"/>
                </a:lnTo>
                <a:close/>
                <a:moveTo>
                  <a:pt x="98" y="34"/>
                </a:moveTo>
                <a:cubicBezTo>
                  <a:pt x="98" y="35"/>
                  <a:pt x="96" y="36"/>
                  <a:pt x="95" y="35"/>
                </a:cubicBezTo>
                <a:cubicBezTo>
                  <a:pt x="86" y="31"/>
                  <a:pt x="75" y="31"/>
                  <a:pt x="66" y="35"/>
                </a:cubicBezTo>
                <a:cubicBezTo>
                  <a:pt x="61" y="37"/>
                  <a:pt x="53" y="44"/>
                  <a:pt x="53" y="53"/>
                </a:cubicBezTo>
                <a:cubicBezTo>
                  <a:pt x="53" y="55"/>
                  <a:pt x="52" y="56"/>
                  <a:pt x="51" y="56"/>
                </a:cubicBezTo>
                <a:cubicBezTo>
                  <a:pt x="51" y="56"/>
                  <a:pt x="51" y="56"/>
                  <a:pt x="51" y="56"/>
                </a:cubicBezTo>
                <a:cubicBezTo>
                  <a:pt x="49" y="56"/>
                  <a:pt x="48" y="55"/>
                  <a:pt x="48" y="53"/>
                </a:cubicBezTo>
                <a:cubicBezTo>
                  <a:pt x="48" y="41"/>
                  <a:pt x="58" y="33"/>
                  <a:pt x="64" y="30"/>
                </a:cubicBezTo>
                <a:cubicBezTo>
                  <a:pt x="74" y="26"/>
                  <a:pt x="87" y="26"/>
                  <a:pt x="97" y="30"/>
                </a:cubicBezTo>
                <a:cubicBezTo>
                  <a:pt x="98" y="31"/>
                  <a:pt x="99" y="32"/>
                  <a:pt x="98" y="34"/>
                </a:cubicBezTo>
                <a:close/>
                <a:moveTo>
                  <a:pt x="13" y="58"/>
                </a:moveTo>
                <a:cubicBezTo>
                  <a:pt x="8" y="63"/>
                  <a:pt x="5" y="69"/>
                  <a:pt x="5" y="76"/>
                </a:cubicBezTo>
                <a:cubicBezTo>
                  <a:pt x="5" y="83"/>
                  <a:pt x="8" y="89"/>
                  <a:pt x="13" y="94"/>
                </a:cubicBezTo>
                <a:cubicBezTo>
                  <a:pt x="14" y="95"/>
                  <a:pt x="14" y="97"/>
                  <a:pt x="13" y="98"/>
                </a:cubicBezTo>
                <a:cubicBezTo>
                  <a:pt x="12" y="98"/>
                  <a:pt x="12" y="99"/>
                  <a:pt x="11" y="99"/>
                </a:cubicBezTo>
                <a:cubicBezTo>
                  <a:pt x="10" y="99"/>
                  <a:pt x="10" y="98"/>
                  <a:pt x="9" y="98"/>
                </a:cubicBezTo>
                <a:cubicBezTo>
                  <a:pt x="3" y="92"/>
                  <a:pt x="0" y="84"/>
                  <a:pt x="0" y="76"/>
                </a:cubicBezTo>
                <a:cubicBezTo>
                  <a:pt x="0" y="68"/>
                  <a:pt x="3" y="60"/>
                  <a:pt x="9" y="54"/>
                </a:cubicBezTo>
                <a:cubicBezTo>
                  <a:pt x="10" y="53"/>
                  <a:pt x="12" y="53"/>
                  <a:pt x="13" y="54"/>
                </a:cubicBezTo>
                <a:cubicBezTo>
                  <a:pt x="14" y="55"/>
                  <a:pt x="14" y="57"/>
                  <a:pt x="13" y="58"/>
                </a:cubicBezTo>
                <a:close/>
                <a:moveTo>
                  <a:pt x="20" y="92"/>
                </a:moveTo>
                <a:cubicBezTo>
                  <a:pt x="11" y="83"/>
                  <a:pt x="11" y="68"/>
                  <a:pt x="20" y="59"/>
                </a:cubicBezTo>
                <a:cubicBezTo>
                  <a:pt x="21" y="58"/>
                  <a:pt x="23" y="58"/>
                  <a:pt x="24" y="59"/>
                </a:cubicBezTo>
                <a:cubicBezTo>
                  <a:pt x="25" y="60"/>
                  <a:pt x="25" y="62"/>
                  <a:pt x="24" y="63"/>
                </a:cubicBezTo>
                <a:cubicBezTo>
                  <a:pt x="17" y="70"/>
                  <a:pt x="17" y="81"/>
                  <a:pt x="24" y="88"/>
                </a:cubicBezTo>
                <a:cubicBezTo>
                  <a:pt x="25" y="89"/>
                  <a:pt x="25" y="91"/>
                  <a:pt x="24" y="92"/>
                </a:cubicBezTo>
                <a:cubicBezTo>
                  <a:pt x="24" y="92"/>
                  <a:pt x="23" y="93"/>
                  <a:pt x="22" y="93"/>
                </a:cubicBezTo>
                <a:cubicBezTo>
                  <a:pt x="21" y="93"/>
                  <a:pt x="21" y="92"/>
                  <a:pt x="20" y="92"/>
                </a:cubicBezTo>
                <a:close/>
                <a:moveTo>
                  <a:pt x="160" y="76"/>
                </a:moveTo>
                <a:cubicBezTo>
                  <a:pt x="160" y="84"/>
                  <a:pt x="157" y="92"/>
                  <a:pt x="151" y="98"/>
                </a:cubicBezTo>
                <a:cubicBezTo>
                  <a:pt x="150" y="98"/>
                  <a:pt x="150" y="99"/>
                  <a:pt x="149" y="99"/>
                </a:cubicBezTo>
                <a:cubicBezTo>
                  <a:pt x="148" y="99"/>
                  <a:pt x="148" y="98"/>
                  <a:pt x="147" y="98"/>
                </a:cubicBezTo>
                <a:cubicBezTo>
                  <a:pt x="146" y="97"/>
                  <a:pt x="146" y="95"/>
                  <a:pt x="147" y="94"/>
                </a:cubicBezTo>
                <a:cubicBezTo>
                  <a:pt x="152" y="89"/>
                  <a:pt x="155" y="83"/>
                  <a:pt x="155" y="76"/>
                </a:cubicBezTo>
                <a:cubicBezTo>
                  <a:pt x="155" y="69"/>
                  <a:pt x="152" y="63"/>
                  <a:pt x="147" y="58"/>
                </a:cubicBezTo>
                <a:cubicBezTo>
                  <a:pt x="146" y="57"/>
                  <a:pt x="146" y="55"/>
                  <a:pt x="147" y="54"/>
                </a:cubicBezTo>
                <a:cubicBezTo>
                  <a:pt x="148" y="53"/>
                  <a:pt x="150" y="53"/>
                  <a:pt x="151" y="54"/>
                </a:cubicBezTo>
                <a:cubicBezTo>
                  <a:pt x="157" y="60"/>
                  <a:pt x="160" y="68"/>
                  <a:pt x="160" y="76"/>
                </a:cubicBezTo>
                <a:close/>
                <a:moveTo>
                  <a:pt x="140" y="59"/>
                </a:moveTo>
                <a:cubicBezTo>
                  <a:pt x="149" y="68"/>
                  <a:pt x="149" y="83"/>
                  <a:pt x="140" y="92"/>
                </a:cubicBezTo>
                <a:cubicBezTo>
                  <a:pt x="139" y="92"/>
                  <a:pt x="139" y="93"/>
                  <a:pt x="138" y="93"/>
                </a:cubicBezTo>
                <a:cubicBezTo>
                  <a:pt x="137" y="93"/>
                  <a:pt x="136" y="92"/>
                  <a:pt x="136" y="92"/>
                </a:cubicBezTo>
                <a:cubicBezTo>
                  <a:pt x="135" y="91"/>
                  <a:pt x="135" y="89"/>
                  <a:pt x="136" y="88"/>
                </a:cubicBezTo>
                <a:cubicBezTo>
                  <a:pt x="143" y="81"/>
                  <a:pt x="143" y="70"/>
                  <a:pt x="136" y="63"/>
                </a:cubicBezTo>
                <a:cubicBezTo>
                  <a:pt x="135" y="62"/>
                  <a:pt x="135" y="60"/>
                  <a:pt x="136" y="59"/>
                </a:cubicBezTo>
                <a:cubicBezTo>
                  <a:pt x="137" y="58"/>
                  <a:pt x="139" y="58"/>
                  <a:pt x="140" y="5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849">
            <a:extLst>
              <a:ext uri="{FF2B5EF4-FFF2-40B4-BE49-F238E27FC236}">
                <a16:creationId xmlns:a16="http://schemas.microsoft.com/office/drawing/2014/main" id="{2A7AB2FA-1406-9A48-B0BE-CDF32DADAA31}"/>
              </a:ext>
            </a:extLst>
          </p:cNvPr>
          <p:cNvSpPr>
            <a:spLocks noEditPoints="1"/>
          </p:cNvSpPr>
          <p:nvPr/>
        </p:nvSpPr>
        <p:spPr bwMode="auto">
          <a:xfrm>
            <a:off x="569795" y="4073525"/>
            <a:ext cx="558800" cy="558800"/>
          </a:xfrm>
          <a:custGeom>
            <a:avLst/>
            <a:gdLst>
              <a:gd name="T0" fmla="*/ 85 w 164"/>
              <a:gd name="T1" fmla="*/ 74 h 162"/>
              <a:gd name="T2" fmla="*/ 79 w 164"/>
              <a:gd name="T3" fmla="*/ 46 h 162"/>
              <a:gd name="T4" fmla="*/ 82 w 164"/>
              <a:gd name="T5" fmla="*/ 96 h 162"/>
              <a:gd name="T6" fmla="*/ 115 w 164"/>
              <a:gd name="T7" fmla="*/ 85 h 162"/>
              <a:gd name="T8" fmla="*/ 76 w 164"/>
              <a:gd name="T9" fmla="*/ 85 h 162"/>
              <a:gd name="T10" fmla="*/ 82 w 164"/>
              <a:gd name="T11" fmla="*/ 90 h 162"/>
              <a:gd name="T12" fmla="*/ 153 w 164"/>
              <a:gd name="T13" fmla="*/ 41 h 162"/>
              <a:gd name="T14" fmla="*/ 123 w 164"/>
              <a:gd name="T15" fmla="*/ 9 h 162"/>
              <a:gd name="T16" fmla="*/ 136 w 164"/>
              <a:gd name="T17" fmla="*/ 25 h 162"/>
              <a:gd name="T18" fmla="*/ 32 w 164"/>
              <a:gd name="T19" fmla="*/ 30 h 162"/>
              <a:gd name="T20" fmla="*/ 41 w 164"/>
              <a:gd name="T21" fmla="*/ 10 h 162"/>
              <a:gd name="T22" fmla="*/ 9 w 164"/>
              <a:gd name="T23" fmla="*/ 40 h 162"/>
              <a:gd name="T24" fmla="*/ 24 w 164"/>
              <a:gd name="T25" fmla="*/ 29 h 162"/>
              <a:gd name="T26" fmla="*/ 44 w 164"/>
              <a:gd name="T27" fmla="*/ 149 h 162"/>
              <a:gd name="T28" fmla="*/ 38 w 164"/>
              <a:gd name="T29" fmla="*/ 162 h 162"/>
              <a:gd name="T30" fmla="*/ 82 w 164"/>
              <a:gd name="T31" fmla="*/ 159 h 162"/>
              <a:gd name="T32" fmla="*/ 126 w 164"/>
              <a:gd name="T33" fmla="*/ 162 h 162"/>
              <a:gd name="T34" fmla="*/ 119 w 164"/>
              <a:gd name="T35" fmla="*/ 149 h 162"/>
              <a:gd name="T36" fmla="*/ 140 w 164"/>
              <a:gd name="T37" fmla="*/ 29 h 162"/>
              <a:gd name="T38" fmla="*/ 129 w 164"/>
              <a:gd name="T39" fmla="*/ 11 h 162"/>
              <a:gd name="T40" fmla="*/ 12 w 164"/>
              <a:gd name="T41" fmla="*/ 12 h 162"/>
              <a:gd name="T42" fmla="*/ 82 w 164"/>
              <a:gd name="T43" fmla="*/ 154 h 162"/>
              <a:gd name="T44" fmla="*/ 151 w 164"/>
              <a:gd name="T45" fmla="*/ 85 h 162"/>
              <a:gd name="T46" fmla="*/ 114 w 164"/>
              <a:gd name="T47" fmla="*/ 30 h 162"/>
              <a:gd name="T48" fmla="*/ 82 w 164"/>
              <a:gd name="T49" fmla="*/ 22 h 162"/>
              <a:gd name="T50" fmla="*/ 50 w 164"/>
              <a:gd name="T51" fmla="*/ 30 h 162"/>
              <a:gd name="T52" fmla="*/ 27 w 164"/>
              <a:gd name="T53" fmla="*/ 53 h 162"/>
              <a:gd name="T54" fmla="*/ 27 w 164"/>
              <a:gd name="T55" fmla="*/ 117 h 162"/>
              <a:gd name="T56" fmla="*/ 50 w 164"/>
              <a:gd name="T57" fmla="*/ 140 h 162"/>
              <a:gd name="T58" fmla="*/ 113 w 164"/>
              <a:gd name="T59" fmla="*/ 140 h 162"/>
              <a:gd name="T60" fmla="*/ 136 w 164"/>
              <a:gd name="T61" fmla="*/ 117 h 162"/>
              <a:gd name="T62" fmla="*/ 145 w 164"/>
              <a:gd name="T63" fmla="*/ 85 h 162"/>
              <a:gd name="T64" fmla="*/ 136 w 164"/>
              <a:gd name="T65" fmla="*/ 53 h 162"/>
              <a:gd name="T66" fmla="*/ 108 w 164"/>
              <a:gd name="T67" fmla="*/ 130 h 162"/>
              <a:gd name="T68" fmla="*/ 85 w 164"/>
              <a:gd name="T69" fmla="*/ 143 h 162"/>
              <a:gd name="T70" fmla="*/ 79 w 164"/>
              <a:gd name="T71" fmla="*/ 140 h 162"/>
              <a:gd name="T72" fmla="*/ 57 w 164"/>
              <a:gd name="T73" fmla="*/ 134 h 162"/>
              <a:gd name="T74" fmla="*/ 51 w 164"/>
              <a:gd name="T75" fmla="*/ 134 h 162"/>
              <a:gd name="T76" fmla="*/ 37 w 164"/>
              <a:gd name="T77" fmla="*/ 111 h 162"/>
              <a:gd name="T78" fmla="*/ 24 w 164"/>
              <a:gd name="T79" fmla="*/ 88 h 162"/>
              <a:gd name="T80" fmla="*/ 27 w 164"/>
              <a:gd name="T81" fmla="*/ 82 h 162"/>
              <a:gd name="T82" fmla="*/ 33 w 164"/>
              <a:gd name="T83" fmla="*/ 60 h 162"/>
              <a:gd name="T84" fmla="*/ 36 w 164"/>
              <a:gd name="T85" fmla="*/ 55 h 162"/>
              <a:gd name="T86" fmla="*/ 52 w 164"/>
              <a:gd name="T87" fmla="*/ 39 h 162"/>
              <a:gd name="T88" fmla="*/ 57 w 164"/>
              <a:gd name="T89" fmla="*/ 36 h 162"/>
              <a:gd name="T90" fmla="*/ 79 w 164"/>
              <a:gd name="T91" fmla="*/ 30 h 162"/>
              <a:gd name="T92" fmla="*/ 85 w 164"/>
              <a:gd name="T93" fmla="*/ 27 h 162"/>
              <a:gd name="T94" fmla="*/ 108 w 164"/>
              <a:gd name="T95" fmla="*/ 40 h 162"/>
              <a:gd name="T96" fmla="*/ 113 w 164"/>
              <a:gd name="T97" fmla="*/ 36 h 162"/>
              <a:gd name="T98" fmla="*/ 127 w 164"/>
              <a:gd name="T99" fmla="*/ 59 h 162"/>
              <a:gd name="T100" fmla="*/ 133 w 164"/>
              <a:gd name="T101" fmla="*/ 59 h 162"/>
              <a:gd name="T102" fmla="*/ 134 w 164"/>
              <a:gd name="T103" fmla="*/ 85 h 162"/>
              <a:gd name="T104" fmla="*/ 133 w 164"/>
              <a:gd name="T105" fmla="*/ 111 h 162"/>
              <a:gd name="T106" fmla="*/ 128 w 164"/>
              <a:gd name="T107" fmla="*/ 11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4" h="162">
                <a:moveTo>
                  <a:pt x="112" y="82"/>
                </a:moveTo>
                <a:cubicBezTo>
                  <a:pt x="92" y="82"/>
                  <a:pt x="92" y="82"/>
                  <a:pt x="92" y="82"/>
                </a:cubicBezTo>
                <a:cubicBezTo>
                  <a:pt x="91" y="78"/>
                  <a:pt x="88" y="75"/>
                  <a:pt x="85" y="74"/>
                </a:cubicBezTo>
                <a:cubicBezTo>
                  <a:pt x="85" y="46"/>
                  <a:pt x="85" y="46"/>
                  <a:pt x="85" y="46"/>
                </a:cubicBezTo>
                <a:cubicBezTo>
                  <a:pt x="85" y="45"/>
                  <a:pt x="83" y="44"/>
                  <a:pt x="82" y="44"/>
                </a:cubicBezTo>
                <a:cubicBezTo>
                  <a:pt x="80" y="44"/>
                  <a:pt x="79" y="45"/>
                  <a:pt x="79" y="46"/>
                </a:cubicBezTo>
                <a:cubicBezTo>
                  <a:pt x="79" y="74"/>
                  <a:pt x="79" y="74"/>
                  <a:pt x="79" y="74"/>
                </a:cubicBezTo>
                <a:cubicBezTo>
                  <a:pt x="74" y="76"/>
                  <a:pt x="71" y="80"/>
                  <a:pt x="71" y="85"/>
                </a:cubicBezTo>
                <a:cubicBezTo>
                  <a:pt x="71" y="91"/>
                  <a:pt x="76" y="96"/>
                  <a:pt x="82" y="96"/>
                </a:cubicBezTo>
                <a:cubicBezTo>
                  <a:pt x="87" y="96"/>
                  <a:pt x="91" y="92"/>
                  <a:pt x="92" y="88"/>
                </a:cubicBezTo>
                <a:cubicBezTo>
                  <a:pt x="112" y="88"/>
                  <a:pt x="112" y="88"/>
                  <a:pt x="112" y="88"/>
                </a:cubicBezTo>
                <a:cubicBezTo>
                  <a:pt x="114" y="88"/>
                  <a:pt x="115" y="86"/>
                  <a:pt x="115" y="85"/>
                </a:cubicBezTo>
                <a:cubicBezTo>
                  <a:pt x="115" y="83"/>
                  <a:pt x="114" y="82"/>
                  <a:pt x="112" y="82"/>
                </a:cubicBezTo>
                <a:close/>
                <a:moveTo>
                  <a:pt x="82" y="90"/>
                </a:moveTo>
                <a:cubicBezTo>
                  <a:pt x="79" y="90"/>
                  <a:pt x="76" y="88"/>
                  <a:pt x="76" y="85"/>
                </a:cubicBezTo>
                <a:cubicBezTo>
                  <a:pt x="76" y="82"/>
                  <a:pt x="79" y="79"/>
                  <a:pt x="82" y="79"/>
                </a:cubicBezTo>
                <a:cubicBezTo>
                  <a:pt x="85" y="79"/>
                  <a:pt x="87" y="82"/>
                  <a:pt x="87" y="85"/>
                </a:cubicBezTo>
                <a:cubicBezTo>
                  <a:pt x="87" y="88"/>
                  <a:pt x="85" y="90"/>
                  <a:pt x="82" y="90"/>
                </a:cubicBezTo>
                <a:close/>
                <a:moveTo>
                  <a:pt x="140" y="29"/>
                </a:moveTo>
                <a:cubicBezTo>
                  <a:pt x="151" y="40"/>
                  <a:pt x="151" y="40"/>
                  <a:pt x="151" y="40"/>
                </a:cubicBezTo>
                <a:cubicBezTo>
                  <a:pt x="152" y="41"/>
                  <a:pt x="152" y="41"/>
                  <a:pt x="153" y="41"/>
                </a:cubicBezTo>
                <a:cubicBezTo>
                  <a:pt x="154" y="41"/>
                  <a:pt x="155" y="41"/>
                  <a:pt x="155" y="40"/>
                </a:cubicBezTo>
                <a:cubicBezTo>
                  <a:pt x="164" y="31"/>
                  <a:pt x="164" y="17"/>
                  <a:pt x="155" y="9"/>
                </a:cubicBezTo>
                <a:cubicBezTo>
                  <a:pt x="146" y="0"/>
                  <a:pt x="132" y="0"/>
                  <a:pt x="123" y="9"/>
                </a:cubicBezTo>
                <a:cubicBezTo>
                  <a:pt x="123" y="9"/>
                  <a:pt x="123" y="10"/>
                  <a:pt x="123" y="10"/>
                </a:cubicBezTo>
                <a:cubicBezTo>
                  <a:pt x="123" y="11"/>
                  <a:pt x="123" y="12"/>
                  <a:pt x="123" y="12"/>
                </a:cubicBezTo>
                <a:cubicBezTo>
                  <a:pt x="136" y="25"/>
                  <a:pt x="136" y="25"/>
                  <a:pt x="136" y="25"/>
                </a:cubicBezTo>
                <a:cubicBezTo>
                  <a:pt x="131" y="30"/>
                  <a:pt x="131" y="30"/>
                  <a:pt x="131" y="30"/>
                </a:cubicBezTo>
                <a:cubicBezTo>
                  <a:pt x="118" y="18"/>
                  <a:pt x="101" y="11"/>
                  <a:pt x="82" y="11"/>
                </a:cubicBezTo>
                <a:cubicBezTo>
                  <a:pt x="63" y="11"/>
                  <a:pt x="45" y="18"/>
                  <a:pt x="32" y="30"/>
                </a:cubicBezTo>
                <a:cubicBezTo>
                  <a:pt x="28" y="25"/>
                  <a:pt x="28" y="25"/>
                  <a:pt x="28" y="25"/>
                </a:cubicBezTo>
                <a:cubicBezTo>
                  <a:pt x="40" y="12"/>
                  <a:pt x="40" y="12"/>
                  <a:pt x="40" y="12"/>
                </a:cubicBezTo>
                <a:cubicBezTo>
                  <a:pt x="41" y="12"/>
                  <a:pt x="41" y="11"/>
                  <a:pt x="41" y="10"/>
                </a:cubicBezTo>
                <a:cubicBezTo>
                  <a:pt x="41" y="10"/>
                  <a:pt x="41" y="9"/>
                  <a:pt x="40" y="9"/>
                </a:cubicBezTo>
                <a:cubicBezTo>
                  <a:pt x="31" y="0"/>
                  <a:pt x="17" y="0"/>
                  <a:pt x="9" y="9"/>
                </a:cubicBezTo>
                <a:cubicBezTo>
                  <a:pt x="0" y="17"/>
                  <a:pt x="0" y="31"/>
                  <a:pt x="9" y="40"/>
                </a:cubicBezTo>
                <a:cubicBezTo>
                  <a:pt x="9" y="41"/>
                  <a:pt x="10" y="41"/>
                  <a:pt x="10" y="41"/>
                </a:cubicBezTo>
                <a:cubicBezTo>
                  <a:pt x="11" y="41"/>
                  <a:pt x="12" y="41"/>
                  <a:pt x="12" y="40"/>
                </a:cubicBezTo>
                <a:cubicBezTo>
                  <a:pt x="24" y="29"/>
                  <a:pt x="24" y="29"/>
                  <a:pt x="24" y="29"/>
                </a:cubicBezTo>
                <a:cubicBezTo>
                  <a:pt x="28" y="33"/>
                  <a:pt x="28" y="33"/>
                  <a:pt x="28" y="33"/>
                </a:cubicBezTo>
                <a:cubicBezTo>
                  <a:pt x="15" y="47"/>
                  <a:pt x="7" y="65"/>
                  <a:pt x="7" y="85"/>
                </a:cubicBezTo>
                <a:cubicBezTo>
                  <a:pt x="7" y="112"/>
                  <a:pt x="22" y="136"/>
                  <a:pt x="44" y="149"/>
                </a:cubicBezTo>
                <a:cubicBezTo>
                  <a:pt x="36" y="157"/>
                  <a:pt x="36" y="157"/>
                  <a:pt x="36" y="157"/>
                </a:cubicBezTo>
                <a:cubicBezTo>
                  <a:pt x="35" y="158"/>
                  <a:pt x="35" y="160"/>
                  <a:pt x="36" y="161"/>
                </a:cubicBezTo>
                <a:cubicBezTo>
                  <a:pt x="36" y="162"/>
                  <a:pt x="37" y="162"/>
                  <a:pt x="38" y="162"/>
                </a:cubicBezTo>
                <a:cubicBezTo>
                  <a:pt x="38" y="162"/>
                  <a:pt x="39" y="162"/>
                  <a:pt x="40" y="161"/>
                </a:cubicBezTo>
                <a:cubicBezTo>
                  <a:pt x="49" y="152"/>
                  <a:pt x="49" y="152"/>
                  <a:pt x="49" y="152"/>
                </a:cubicBezTo>
                <a:cubicBezTo>
                  <a:pt x="59" y="157"/>
                  <a:pt x="70" y="159"/>
                  <a:pt x="82" y="159"/>
                </a:cubicBezTo>
                <a:cubicBezTo>
                  <a:pt x="93" y="159"/>
                  <a:pt x="105" y="157"/>
                  <a:pt x="114" y="152"/>
                </a:cubicBezTo>
                <a:cubicBezTo>
                  <a:pt x="124" y="161"/>
                  <a:pt x="124" y="161"/>
                  <a:pt x="124" y="161"/>
                </a:cubicBezTo>
                <a:cubicBezTo>
                  <a:pt x="124" y="162"/>
                  <a:pt x="125" y="162"/>
                  <a:pt x="126" y="162"/>
                </a:cubicBezTo>
                <a:cubicBezTo>
                  <a:pt x="127" y="162"/>
                  <a:pt x="127" y="162"/>
                  <a:pt x="128" y="161"/>
                </a:cubicBezTo>
                <a:cubicBezTo>
                  <a:pt x="129" y="160"/>
                  <a:pt x="129" y="158"/>
                  <a:pt x="128" y="157"/>
                </a:cubicBezTo>
                <a:cubicBezTo>
                  <a:pt x="119" y="149"/>
                  <a:pt x="119" y="149"/>
                  <a:pt x="119" y="149"/>
                </a:cubicBezTo>
                <a:cubicBezTo>
                  <a:pt x="141" y="136"/>
                  <a:pt x="156" y="112"/>
                  <a:pt x="156" y="85"/>
                </a:cubicBezTo>
                <a:cubicBezTo>
                  <a:pt x="156" y="65"/>
                  <a:pt x="148" y="47"/>
                  <a:pt x="135" y="33"/>
                </a:cubicBezTo>
                <a:lnTo>
                  <a:pt x="140" y="29"/>
                </a:lnTo>
                <a:close/>
                <a:moveTo>
                  <a:pt x="151" y="12"/>
                </a:moveTo>
                <a:cubicBezTo>
                  <a:pt x="157" y="18"/>
                  <a:pt x="158" y="28"/>
                  <a:pt x="153" y="34"/>
                </a:cubicBezTo>
                <a:cubicBezTo>
                  <a:pt x="129" y="11"/>
                  <a:pt x="129" y="11"/>
                  <a:pt x="129" y="11"/>
                </a:cubicBezTo>
                <a:cubicBezTo>
                  <a:pt x="136" y="6"/>
                  <a:pt x="145" y="7"/>
                  <a:pt x="151" y="12"/>
                </a:cubicBezTo>
                <a:close/>
                <a:moveTo>
                  <a:pt x="11" y="34"/>
                </a:moveTo>
                <a:cubicBezTo>
                  <a:pt x="6" y="28"/>
                  <a:pt x="7" y="18"/>
                  <a:pt x="12" y="12"/>
                </a:cubicBezTo>
                <a:cubicBezTo>
                  <a:pt x="18" y="7"/>
                  <a:pt x="28" y="6"/>
                  <a:pt x="34" y="11"/>
                </a:cubicBezTo>
                <a:lnTo>
                  <a:pt x="11" y="34"/>
                </a:lnTo>
                <a:close/>
                <a:moveTo>
                  <a:pt x="82" y="154"/>
                </a:moveTo>
                <a:cubicBezTo>
                  <a:pt x="44" y="154"/>
                  <a:pt x="13" y="123"/>
                  <a:pt x="13" y="85"/>
                </a:cubicBezTo>
                <a:cubicBezTo>
                  <a:pt x="13" y="47"/>
                  <a:pt x="44" y="16"/>
                  <a:pt x="82" y="16"/>
                </a:cubicBezTo>
                <a:cubicBezTo>
                  <a:pt x="120" y="16"/>
                  <a:pt x="151" y="47"/>
                  <a:pt x="151" y="85"/>
                </a:cubicBezTo>
                <a:cubicBezTo>
                  <a:pt x="151" y="123"/>
                  <a:pt x="120" y="154"/>
                  <a:pt x="82" y="154"/>
                </a:cubicBezTo>
                <a:close/>
                <a:moveTo>
                  <a:pt x="136" y="53"/>
                </a:moveTo>
                <a:cubicBezTo>
                  <a:pt x="131" y="44"/>
                  <a:pt x="123" y="36"/>
                  <a:pt x="114" y="30"/>
                </a:cubicBezTo>
                <a:cubicBezTo>
                  <a:pt x="113" y="30"/>
                  <a:pt x="113" y="30"/>
                  <a:pt x="113" y="30"/>
                </a:cubicBezTo>
                <a:cubicBezTo>
                  <a:pt x="113" y="30"/>
                  <a:pt x="113" y="30"/>
                  <a:pt x="113" y="30"/>
                </a:cubicBezTo>
                <a:cubicBezTo>
                  <a:pt x="104" y="25"/>
                  <a:pt x="93" y="22"/>
                  <a:pt x="82" y="22"/>
                </a:cubicBezTo>
                <a:cubicBezTo>
                  <a:pt x="70" y="22"/>
                  <a:pt x="60" y="25"/>
                  <a:pt x="50" y="30"/>
                </a:cubicBezTo>
                <a:cubicBezTo>
                  <a:pt x="50" y="30"/>
                  <a:pt x="50" y="30"/>
                  <a:pt x="50" y="30"/>
                </a:cubicBezTo>
                <a:cubicBezTo>
                  <a:pt x="50" y="30"/>
                  <a:pt x="50" y="30"/>
                  <a:pt x="50" y="30"/>
                </a:cubicBezTo>
                <a:cubicBezTo>
                  <a:pt x="41" y="36"/>
                  <a:pt x="33" y="44"/>
                  <a:pt x="27" y="53"/>
                </a:cubicBezTo>
                <a:cubicBezTo>
                  <a:pt x="27" y="53"/>
                  <a:pt x="27" y="53"/>
                  <a:pt x="27" y="53"/>
                </a:cubicBezTo>
                <a:cubicBezTo>
                  <a:pt x="27" y="53"/>
                  <a:pt x="27" y="53"/>
                  <a:pt x="27" y="53"/>
                </a:cubicBezTo>
                <a:cubicBezTo>
                  <a:pt x="22" y="63"/>
                  <a:pt x="19" y="74"/>
                  <a:pt x="19" y="85"/>
                </a:cubicBezTo>
                <a:cubicBezTo>
                  <a:pt x="19" y="96"/>
                  <a:pt x="22" y="107"/>
                  <a:pt x="27" y="116"/>
                </a:cubicBezTo>
                <a:cubicBezTo>
                  <a:pt x="27" y="117"/>
                  <a:pt x="27" y="117"/>
                  <a:pt x="27" y="117"/>
                </a:cubicBezTo>
                <a:cubicBezTo>
                  <a:pt x="27" y="117"/>
                  <a:pt x="27" y="117"/>
                  <a:pt x="27" y="117"/>
                </a:cubicBezTo>
                <a:cubicBezTo>
                  <a:pt x="33" y="126"/>
                  <a:pt x="41" y="134"/>
                  <a:pt x="50" y="140"/>
                </a:cubicBezTo>
                <a:cubicBezTo>
                  <a:pt x="50" y="140"/>
                  <a:pt x="50" y="140"/>
                  <a:pt x="50" y="140"/>
                </a:cubicBezTo>
                <a:cubicBezTo>
                  <a:pt x="50" y="140"/>
                  <a:pt x="50" y="140"/>
                  <a:pt x="50" y="140"/>
                </a:cubicBezTo>
                <a:cubicBezTo>
                  <a:pt x="60" y="145"/>
                  <a:pt x="70" y="148"/>
                  <a:pt x="82" y="148"/>
                </a:cubicBezTo>
                <a:cubicBezTo>
                  <a:pt x="93" y="148"/>
                  <a:pt x="104" y="145"/>
                  <a:pt x="113" y="140"/>
                </a:cubicBezTo>
                <a:cubicBezTo>
                  <a:pt x="113" y="140"/>
                  <a:pt x="113" y="140"/>
                  <a:pt x="113" y="140"/>
                </a:cubicBezTo>
                <a:cubicBezTo>
                  <a:pt x="113" y="140"/>
                  <a:pt x="113" y="140"/>
                  <a:pt x="114" y="140"/>
                </a:cubicBezTo>
                <a:cubicBezTo>
                  <a:pt x="123" y="134"/>
                  <a:pt x="131" y="126"/>
                  <a:pt x="136" y="117"/>
                </a:cubicBezTo>
                <a:cubicBezTo>
                  <a:pt x="136" y="117"/>
                  <a:pt x="137" y="117"/>
                  <a:pt x="137" y="117"/>
                </a:cubicBezTo>
                <a:cubicBezTo>
                  <a:pt x="137" y="117"/>
                  <a:pt x="137" y="117"/>
                  <a:pt x="137" y="116"/>
                </a:cubicBezTo>
                <a:cubicBezTo>
                  <a:pt x="142" y="107"/>
                  <a:pt x="145" y="96"/>
                  <a:pt x="145" y="85"/>
                </a:cubicBezTo>
                <a:cubicBezTo>
                  <a:pt x="145" y="74"/>
                  <a:pt x="142" y="63"/>
                  <a:pt x="137" y="53"/>
                </a:cubicBezTo>
                <a:cubicBezTo>
                  <a:pt x="137" y="53"/>
                  <a:pt x="137" y="53"/>
                  <a:pt x="137" y="53"/>
                </a:cubicBezTo>
                <a:cubicBezTo>
                  <a:pt x="137" y="53"/>
                  <a:pt x="137" y="53"/>
                  <a:pt x="136" y="53"/>
                </a:cubicBezTo>
                <a:close/>
                <a:moveTo>
                  <a:pt x="113" y="134"/>
                </a:moveTo>
                <a:cubicBezTo>
                  <a:pt x="112" y="131"/>
                  <a:pt x="112" y="131"/>
                  <a:pt x="112" y="131"/>
                </a:cubicBezTo>
                <a:cubicBezTo>
                  <a:pt x="111" y="130"/>
                  <a:pt x="109" y="129"/>
                  <a:pt x="108" y="130"/>
                </a:cubicBezTo>
                <a:cubicBezTo>
                  <a:pt x="107" y="131"/>
                  <a:pt x="106" y="133"/>
                  <a:pt x="107" y="134"/>
                </a:cubicBezTo>
                <a:cubicBezTo>
                  <a:pt x="108" y="136"/>
                  <a:pt x="108" y="136"/>
                  <a:pt x="108" y="136"/>
                </a:cubicBezTo>
                <a:cubicBezTo>
                  <a:pt x="101" y="140"/>
                  <a:pt x="93" y="142"/>
                  <a:pt x="85" y="143"/>
                </a:cubicBezTo>
                <a:cubicBezTo>
                  <a:pt x="85" y="140"/>
                  <a:pt x="85" y="140"/>
                  <a:pt x="85" y="140"/>
                </a:cubicBezTo>
                <a:cubicBezTo>
                  <a:pt x="85" y="138"/>
                  <a:pt x="83" y="137"/>
                  <a:pt x="82" y="137"/>
                </a:cubicBezTo>
                <a:cubicBezTo>
                  <a:pt x="80" y="137"/>
                  <a:pt x="79" y="138"/>
                  <a:pt x="79" y="140"/>
                </a:cubicBezTo>
                <a:cubicBezTo>
                  <a:pt x="79" y="143"/>
                  <a:pt x="79" y="143"/>
                  <a:pt x="79" y="143"/>
                </a:cubicBezTo>
                <a:cubicBezTo>
                  <a:pt x="71" y="142"/>
                  <a:pt x="62" y="140"/>
                  <a:pt x="55" y="136"/>
                </a:cubicBezTo>
                <a:cubicBezTo>
                  <a:pt x="57" y="134"/>
                  <a:pt x="57" y="134"/>
                  <a:pt x="57" y="134"/>
                </a:cubicBezTo>
                <a:cubicBezTo>
                  <a:pt x="57" y="133"/>
                  <a:pt x="57" y="131"/>
                  <a:pt x="56" y="130"/>
                </a:cubicBezTo>
                <a:cubicBezTo>
                  <a:pt x="54" y="129"/>
                  <a:pt x="53" y="130"/>
                  <a:pt x="52" y="131"/>
                </a:cubicBezTo>
                <a:cubicBezTo>
                  <a:pt x="51" y="134"/>
                  <a:pt x="51" y="134"/>
                  <a:pt x="51" y="134"/>
                </a:cubicBezTo>
                <a:cubicBezTo>
                  <a:pt x="44" y="129"/>
                  <a:pt x="38" y="123"/>
                  <a:pt x="33" y="116"/>
                </a:cubicBezTo>
                <a:cubicBezTo>
                  <a:pt x="36" y="115"/>
                  <a:pt x="36" y="115"/>
                  <a:pt x="36" y="115"/>
                </a:cubicBezTo>
                <a:cubicBezTo>
                  <a:pt x="37" y="114"/>
                  <a:pt x="37" y="112"/>
                  <a:pt x="37" y="111"/>
                </a:cubicBezTo>
                <a:cubicBezTo>
                  <a:pt x="36" y="110"/>
                  <a:pt x="34" y="109"/>
                  <a:pt x="33" y="110"/>
                </a:cubicBezTo>
                <a:cubicBezTo>
                  <a:pt x="30" y="111"/>
                  <a:pt x="30" y="111"/>
                  <a:pt x="30" y="111"/>
                </a:cubicBezTo>
                <a:cubicBezTo>
                  <a:pt x="27" y="104"/>
                  <a:pt x="25" y="96"/>
                  <a:pt x="24" y="88"/>
                </a:cubicBezTo>
                <a:cubicBezTo>
                  <a:pt x="27" y="88"/>
                  <a:pt x="27" y="88"/>
                  <a:pt x="27" y="88"/>
                </a:cubicBezTo>
                <a:cubicBezTo>
                  <a:pt x="28" y="88"/>
                  <a:pt x="30" y="86"/>
                  <a:pt x="30" y="85"/>
                </a:cubicBezTo>
                <a:cubicBezTo>
                  <a:pt x="30" y="83"/>
                  <a:pt x="28" y="82"/>
                  <a:pt x="27" y="82"/>
                </a:cubicBezTo>
                <a:cubicBezTo>
                  <a:pt x="24" y="82"/>
                  <a:pt x="24" y="82"/>
                  <a:pt x="24" y="82"/>
                </a:cubicBezTo>
                <a:cubicBezTo>
                  <a:pt x="25" y="74"/>
                  <a:pt x="27" y="66"/>
                  <a:pt x="30" y="59"/>
                </a:cubicBezTo>
                <a:cubicBezTo>
                  <a:pt x="33" y="60"/>
                  <a:pt x="33" y="60"/>
                  <a:pt x="33" y="60"/>
                </a:cubicBezTo>
                <a:cubicBezTo>
                  <a:pt x="33" y="60"/>
                  <a:pt x="34" y="60"/>
                  <a:pt x="34" y="60"/>
                </a:cubicBezTo>
                <a:cubicBezTo>
                  <a:pt x="35" y="60"/>
                  <a:pt x="36" y="60"/>
                  <a:pt x="37" y="59"/>
                </a:cubicBezTo>
                <a:cubicBezTo>
                  <a:pt x="37" y="58"/>
                  <a:pt x="37" y="56"/>
                  <a:pt x="36" y="55"/>
                </a:cubicBezTo>
                <a:cubicBezTo>
                  <a:pt x="33" y="54"/>
                  <a:pt x="33" y="54"/>
                  <a:pt x="33" y="54"/>
                </a:cubicBezTo>
                <a:cubicBezTo>
                  <a:pt x="38" y="47"/>
                  <a:pt x="44" y="41"/>
                  <a:pt x="51" y="36"/>
                </a:cubicBezTo>
                <a:cubicBezTo>
                  <a:pt x="52" y="39"/>
                  <a:pt x="52" y="39"/>
                  <a:pt x="52" y="39"/>
                </a:cubicBezTo>
                <a:cubicBezTo>
                  <a:pt x="52" y="40"/>
                  <a:pt x="53" y="40"/>
                  <a:pt x="54" y="40"/>
                </a:cubicBezTo>
                <a:cubicBezTo>
                  <a:pt x="55" y="40"/>
                  <a:pt x="55" y="40"/>
                  <a:pt x="56" y="40"/>
                </a:cubicBezTo>
                <a:cubicBezTo>
                  <a:pt x="57" y="39"/>
                  <a:pt x="57" y="37"/>
                  <a:pt x="57" y="36"/>
                </a:cubicBezTo>
                <a:cubicBezTo>
                  <a:pt x="55" y="34"/>
                  <a:pt x="55" y="34"/>
                  <a:pt x="55" y="34"/>
                </a:cubicBezTo>
                <a:cubicBezTo>
                  <a:pt x="62" y="30"/>
                  <a:pt x="71" y="28"/>
                  <a:pt x="79" y="27"/>
                </a:cubicBezTo>
                <a:cubicBezTo>
                  <a:pt x="79" y="30"/>
                  <a:pt x="79" y="30"/>
                  <a:pt x="79" y="30"/>
                </a:cubicBezTo>
                <a:cubicBezTo>
                  <a:pt x="79" y="31"/>
                  <a:pt x="80" y="33"/>
                  <a:pt x="82" y="33"/>
                </a:cubicBezTo>
                <a:cubicBezTo>
                  <a:pt x="83" y="33"/>
                  <a:pt x="85" y="31"/>
                  <a:pt x="85" y="30"/>
                </a:cubicBezTo>
                <a:cubicBezTo>
                  <a:pt x="85" y="27"/>
                  <a:pt x="85" y="27"/>
                  <a:pt x="85" y="27"/>
                </a:cubicBezTo>
                <a:cubicBezTo>
                  <a:pt x="93" y="28"/>
                  <a:pt x="101" y="30"/>
                  <a:pt x="108" y="34"/>
                </a:cubicBezTo>
                <a:cubicBezTo>
                  <a:pt x="107" y="36"/>
                  <a:pt x="107" y="36"/>
                  <a:pt x="107" y="36"/>
                </a:cubicBezTo>
                <a:cubicBezTo>
                  <a:pt x="106" y="37"/>
                  <a:pt x="107" y="39"/>
                  <a:pt x="108" y="40"/>
                </a:cubicBezTo>
                <a:cubicBezTo>
                  <a:pt x="108" y="40"/>
                  <a:pt x="109" y="40"/>
                  <a:pt x="109" y="40"/>
                </a:cubicBezTo>
                <a:cubicBezTo>
                  <a:pt x="110" y="40"/>
                  <a:pt x="111" y="40"/>
                  <a:pt x="112" y="39"/>
                </a:cubicBezTo>
                <a:cubicBezTo>
                  <a:pt x="113" y="36"/>
                  <a:pt x="113" y="36"/>
                  <a:pt x="113" y="36"/>
                </a:cubicBezTo>
                <a:cubicBezTo>
                  <a:pt x="120" y="41"/>
                  <a:pt x="126" y="47"/>
                  <a:pt x="130" y="54"/>
                </a:cubicBezTo>
                <a:cubicBezTo>
                  <a:pt x="128" y="55"/>
                  <a:pt x="128" y="55"/>
                  <a:pt x="128" y="55"/>
                </a:cubicBezTo>
                <a:cubicBezTo>
                  <a:pt x="127" y="56"/>
                  <a:pt x="126" y="58"/>
                  <a:pt x="127" y="59"/>
                </a:cubicBezTo>
                <a:cubicBezTo>
                  <a:pt x="128" y="60"/>
                  <a:pt x="128" y="60"/>
                  <a:pt x="129" y="60"/>
                </a:cubicBezTo>
                <a:cubicBezTo>
                  <a:pt x="130" y="60"/>
                  <a:pt x="130" y="60"/>
                  <a:pt x="131" y="60"/>
                </a:cubicBezTo>
                <a:cubicBezTo>
                  <a:pt x="133" y="59"/>
                  <a:pt x="133" y="59"/>
                  <a:pt x="133" y="59"/>
                </a:cubicBezTo>
                <a:cubicBezTo>
                  <a:pt x="137" y="66"/>
                  <a:pt x="139" y="74"/>
                  <a:pt x="139" y="82"/>
                </a:cubicBezTo>
                <a:cubicBezTo>
                  <a:pt x="137" y="82"/>
                  <a:pt x="137" y="82"/>
                  <a:pt x="137" y="82"/>
                </a:cubicBezTo>
                <a:cubicBezTo>
                  <a:pt x="135" y="82"/>
                  <a:pt x="134" y="83"/>
                  <a:pt x="134" y="85"/>
                </a:cubicBezTo>
                <a:cubicBezTo>
                  <a:pt x="134" y="86"/>
                  <a:pt x="135" y="88"/>
                  <a:pt x="137" y="88"/>
                </a:cubicBezTo>
                <a:cubicBezTo>
                  <a:pt x="139" y="88"/>
                  <a:pt x="139" y="88"/>
                  <a:pt x="139" y="88"/>
                </a:cubicBezTo>
                <a:cubicBezTo>
                  <a:pt x="139" y="96"/>
                  <a:pt x="137" y="104"/>
                  <a:pt x="133" y="111"/>
                </a:cubicBezTo>
                <a:cubicBezTo>
                  <a:pt x="131" y="110"/>
                  <a:pt x="131" y="110"/>
                  <a:pt x="131" y="110"/>
                </a:cubicBezTo>
                <a:cubicBezTo>
                  <a:pt x="129" y="109"/>
                  <a:pt x="128" y="110"/>
                  <a:pt x="127" y="111"/>
                </a:cubicBezTo>
                <a:cubicBezTo>
                  <a:pt x="126" y="112"/>
                  <a:pt x="127" y="114"/>
                  <a:pt x="128" y="115"/>
                </a:cubicBezTo>
                <a:cubicBezTo>
                  <a:pt x="130" y="116"/>
                  <a:pt x="130" y="116"/>
                  <a:pt x="130" y="116"/>
                </a:cubicBezTo>
                <a:cubicBezTo>
                  <a:pt x="126" y="123"/>
                  <a:pt x="120" y="129"/>
                  <a:pt x="113" y="13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850">
            <a:extLst>
              <a:ext uri="{FF2B5EF4-FFF2-40B4-BE49-F238E27FC236}">
                <a16:creationId xmlns:a16="http://schemas.microsoft.com/office/drawing/2014/main" id="{A9AAD695-DBE3-324F-ADCF-B817D01C53CB}"/>
              </a:ext>
            </a:extLst>
          </p:cNvPr>
          <p:cNvSpPr>
            <a:spLocks noEditPoints="1"/>
          </p:cNvSpPr>
          <p:nvPr/>
        </p:nvSpPr>
        <p:spPr bwMode="auto">
          <a:xfrm>
            <a:off x="569795" y="4694238"/>
            <a:ext cx="558800" cy="557213"/>
          </a:xfrm>
          <a:custGeom>
            <a:avLst/>
            <a:gdLst>
              <a:gd name="T0" fmla="*/ 85 w 164"/>
              <a:gd name="T1" fmla="*/ 74 h 162"/>
              <a:gd name="T2" fmla="*/ 79 w 164"/>
              <a:gd name="T3" fmla="*/ 46 h 162"/>
              <a:gd name="T4" fmla="*/ 82 w 164"/>
              <a:gd name="T5" fmla="*/ 96 h 162"/>
              <a:gd name="T6" fmla="*/ 115 w 164"/>
              <a:gd name="T7" fmla="*/ 85 h 162"/>
              <a:gd name="T8" fmla="*/ 76 w 164"/>
              <a:gd name="T9" fmla="*/ 85 h 162"/>
              <a:gd name="T10" fmla="*/ 82 w 164"/>
              <a:gd name="T11" fmla="*/ 90 h 162"/>
              <a:gd name="T12" fmla="*/ 153 w 164"/>
              <a:gd name="T13" fmla="*/ 41 h 162"/>
              <a:gd name="T14" fmla="*/ 123 w 164"/>
              <a:gd name="T15" fmla="*/ 9 h 162"/>
              <a:gd name="T16" fmla="*/ 136 w 164"/>
              <a:gd name="T17" fmla="*/ 25 h 162"/>
              <a:gd name="T18" fmla="*/ 32 w 164"/>
              <a:gd name="T19" fmla="*/ 30 h 162"/>
              <a:gd name="T20" fmla="*/ 41 w 164"/>
              <a:gd name="T21" fmla="*/ 10 h 162"/>
              <a:gd name="T22" fmla="*/ 9 w 164"/>
              <a:gd name="T23" fmla="*/ 40 h 162"/>
              <a:gd name="T24" fmla="*/ 24 w 164"/>
              <a:gd name="T25" fmla="*/ 29 h 162"/>
              <a:gd name="T26" fmla="*/ 44 w 164"/>
              <a:gd name="T27" fmla="*/ 149 h 162"/>
              <a:gd name="T28" fmla="*/ 38 w 164"/>
              <a:gd name="T29" fmla="*/ 162 h 162"/>
              <a:gd name="T30" fmla="*/ 82 w 164"/>
              <a:gd name="T31" fmla="*/ 159 h 162"/>
              <a:gd name="T32" fmla="*/ 126 w 164"/>
              <a:gd name="T33" fmla="*/ 162 h 162"/>
              <a:gd name="T34" fmla="*/ 119 w 164"/>
              <a:gd name="T35" fmla="*/ 149 h 162"/>
              <a:gd name="T36" fmla="*/ 140 w 164"/>
              <a:gd name="T37" fmla="*/ 29 h 162"/>
              <a:gd name="T38" fmla="*/ 129 w 164"/>
              <a:gd name="T39" fmla="*/ 11 h 162"/>
              <a:gd name="T40" fmla="*/ 12 w 164"/>
              <a:gd name="T41" fmla="*/ 12 h 162"/>
              <a:gd name="T42" fmla="*/ 82 w 164"/>
              <a:gd name="T43" fmla="*/ 154 h 162"/>
              <a:gd name="T44" fmla="*/ 151 w 164"/>
              <a:gd name="T45" fmla="*/ 85 h 162"/>
              <a:gd name="T46" fmla="*/ 79 w 164"/>
              <a:gd name="T47" fmla="*/ 24 h 162"/>
              <a:gd name="T48" fmla="*/ 85 w 164"/>
              <a:gd name="T49" fmla="*/ 27 h 162"/>
              <a:gd name="T50" fmla="*/ 85 w 164"/>
              <a:gd name="T51" fmla="*/ 142 h 162"/>
              <a:gd name="T52" fmla="*/ 79 w 164"/>
              <a:gd name="T53" fmla="*/ 145 h 162"/>
              <a:gd name="T54" fmla="*/ 85 w 164"/>
              <a:gd name="T55" fmla="*/ 142 h 162"/>
              <a:gd name="T56" fmla="*/ 142 w 164"/>
              <a:gd name="T57" fmla="*/ 82 h 162"/>
              <a:gd name="T58" fmla="*/ 140 w 164"/>
              <a:gd name="T59" fmla="*/ 87 h 162"/>
              <a:gd name="T60" fmla="*/ 24 w 164"/>
              <a:gd name="T61" fmla="*/ 87 h 162"/>
              <a:gd name="T62" fmla="*/ 21 w 164"/>
              <a:gd name="T63" fmla="*/ 82 h 162"/>
              <a:gd name="T64" fmla="*/ 127 w 164"/>
              <a:gd name="T65" fmla="*/ 40 h 162"/>
              <a:gd name="T66" fmla="*/ 123 w 164"/>
              <a:gd name="T67" fmla="*/ 47 h 162"/>
              <a:gd name="T68" fmla="*/ 123 w 164"/>
              <a:gd name="T69" fmla="*/ 40 h 162"/>
              <a:gd name="T70" fmla="*/ 43 w 164"/>
              <a:gd name="T71" fmla="*/ 127 h 162"/>
              <a:gd name="T72" fmla="*/ 37 w 164"/>
              <a:gd name="T73" fmla="*/ 129 h 162"/>
              <a:gd name="T74" fmla="*/ 43 w 164"/>
              <a:gd name="T75" fmla="*/ 124 h 162"/>
              <a:gd name="T76" fmla="*/ 125 w 164"/>
              <a:gd name="T77" fmla="*/ 130 h 162"/>
              <a:gd name="T78" fmla="*/ 121 w 164"/>
              <a:gd name="T79" fmla="*/ 124 h 162"/>
              <a:gd name="T80" fmla="*/ 43 w 164"/>
              <a:gd name="T81" fmla="*/ 42 h 162"/>
              <a:gd name="T82" fmla="*/ 39 w 164"/>
              <a:gd name="T83" fmla="*/ 46 h 162"/>
              <a:gd name="T84" fmla="*/ 41 w 164"/>
              <a:gd name="T85" fmla="*/ 4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4" h="162">
                <a:moveTo>
                  <a:pt x="112" y="82"/>
                </a:moveTo>
                <a:cubicBezTo>
                  <a:pt x="92" y="82"/>
                  <a:pt x="92" y="82"/>
                  <a:pt x="92" y="82"/>
                </a:cubicBezTo>
                <a:cubicBezTo>
                  <a:pt x="91" y="78"/>
                  <a:pt x="88" y="75"/>
                  <a:pt x="85" y="74"/>
                </a:cubicBezTo>
                <a:cubicBezTo>
                  <a:pt x="85" y="46"/>
                  <a:pt x="85" y="46"/>
                  <a:pt x="85" y="46"/>
                </a:cubicBezTo>
                <a:cubicBezTo>
                  <a:pt x="85" y="45"/>
                  <a:pt x="83" y="44"/>
                  <a:pt x="82" y="44"/>
                </a:cubicBezTo>
                <a:cubicBezTo>
                  <a:pt x="80" y="44"/>
                  <a:pt x="79" y="45"/>
                  <a:pt x="79" y="46"/>
                </a:cubicBezTo>
                <a:cubicBezTo>
                  <a:pt x="79" y="74"/>
                  <a:pt x="79" y="74"/>
                  <a:pt x="79" y="74"/>
                </a:cubicBezTo>
                <a:cubicBezTo>
                  <a:pt x="74" y="76"/>
                  <a:pt x="71" y="80"/>
                  <a:pt x="71" y="85"/>
                </a:cubicBezTo>
                <a:cubicBezTo>
                  <a:pt x="71" y="91"/>
                  <a:pt x="76" y="96"/>
                  <a:pt x="82" y="96"/>
                </a:cubicBezTo>
                <a:cubicBezTo>
                  <a:pt x="87" y="96"/>
                  <a:pt x="91" y="92"/>
                  <a:pt x="92" y="88"/>
                </a:cubicBezTo>
                <a:cubicBezTo>
                  <a:pt x="112" y="88"/>
                  <a:pt x="112" y="88"/>
                  <a:pt x="112" y="88"/>
                </a:cubicBezTo>
                <a:cubicBezTo>
                  <a:pt x="114" y="88"/>
                  <a:pt x="115" y="86"/>
                  <a:pt x="115" y="85"/>
                </a:cubicBezTo>
                <a:cubicBezTo>
                  <a:pt x="115" y="83"/>
                  <a:pt x="114" y="82"/>
                  <a:pt x="112" y="82"/>
                </a:cubicBezTo>
                <a:close/>
                <a:moveTo>
                  <a:pt x="82" y="90"/>
                </a:moveTo>
                <a:cubicBezTo>
                  <a:pt x="79" y="90"/>
                  <a:pt x="76" y="88"/>
                  <a:pt x="76" y="85"/>
                </a:cubicBezTo>
                <a:cubicBezTo>
                  <a:pt x="76" y="82"/>
                  <a:pt x="79" y="79"/>
                  <a:pt x="82" y="79"/>
                </a:cubicBezTo>
                <a:cubicBezTo>
                  <a:pt x="85" y="79"/>
                  <a:pt x="87" y="82"/>
                  <a:pt x="87" y="85"/>
                </a:cubicBezTo>
                <a:cubicBezTo>
                  <a:pt x="87" y="88"/>
                  <a:pt x="85" y="90"/>
                  <a:pt x="82" y="90"/>
                </a:cubicBezTo>
                <a:close/>
                <a:moveTo>
                  <a:pt x="140" y="29"/>
                </a:moveTo>
                <a:cubicBezTo>
                  <a:pt x="151" y="40"/>
                  <a:pt x="151" y="40"/>
                  <a:pt x="151" y="40"/>
                </a:cubicBezTo>
                <a:cubicBezTo>
                  <a:pt x="152" y="41"/>
                  <a:pt x="152" y="41"/>
                  <a:pt x="153" y="41"/>
                </a:cubicBezTo>
                <a:cubicBezTo>
                  <a:pt x="154" y="41"/>
                  <a:pt x="155" y="41"/>
                  <a:pt x="155" y="40"/>
                </a:cubicBezTo>
                <a:cubicBezTo>
                  <a:pt x="164" y="31"/>
                  <a:pt x="164" y="17"/>
                  <a:pt x="155" y="9"/>
                </a:cubicBezTo>
                <a:cubicBezTo>
                  <a:pt x="146" y="0"/>
                  <a:pt x="132" y="0"/>
                  <a:pt x="123" y="9"/>
                </a:cubicBezTo>
                <a:cubicBezTo>
                  <a:pt x="123" y="9"/>
                  <a:pt x="123" y="10"/>
                  <a:pt x="123" y="10"/>
                </a:cubicBezTo>
                <a:cubicBezTo>
                  <a:pt x="123" y="11"/>
                  <a:pt x="123" y="12"/>
                  <a:pt x="123" y="12"/>
                </a:cubicBezTo>
                <a:cubicBezTo>
                  <a:pt x="136" y="25"/>
                  <a:pt x="136" y="25"/>
                  <a:pt x="136" y="25"/>
                </a:cubicBezTo>
                <a:cubicBezTo>
                  <a:pt x="131" y="30"/>
                  <a:pt x="131" y="30"/>
                  <a:pt x="131" y="30"/>
                </a:cubicBezTo>
                <a:cubicBezTo>
                  <a:pt x="118" y="18"/>
                  <a:pt x="101" y="11"/>
                  <a:pt x="82" y="11"/>
                </a:cubicBezTo>
                <a:cubicBezTo>
                  <a:pt x="63" y="11"/>
                  <a:pt x="45" y="18"/>
                  <a:pt x="32" y="30"/>
                </a:cubicBezTo>
                <a:cubicBezTo>
                  <a:pt x="28" y="25"/>
                  <a:pt x="28" y="25"/>
                  <a:pt x="28" y="25"/>
                </a:cubicBezTo>
                <a:cubicBezTo>
                  <a:pt x="40" y="12"/>
                  <a:pt x="40" y="12"/>
                  <a:pt x="40" y="12"/>
                </a:cubicBezTo>
                <a:cubicBezTo>
                  <a:pt x="41" y="12"/>
                  <a:pt x="41" y="11"/>
                  <a:pt x="41" y="10"/>
                </a:cubicBezTo>
                <a:cubicBezTo>
                  <a:pt x="41" y="10"/>
                  <a:pt x="41" y="9"/>
                  <a:pt x="40" y="9"/>
                </a:cubicBezTo>
                <a:cubicBezTo>
                  <a:pt x="31" y="0"/>
                  <a:pt x="17" y="0"/>
                  <a:pt x="9" y="9"/>
                </a:cubicBezTo>
                <a:cubicBezTo>
                  <a:pt x="0" y="17"/>
                  <a:pt x="0" y="31"/>
                  <a:pt x="9" y="40"/>
                </a:cubicBezTo>
                <a:cubicBezTo>
                  <a:pt x="9" y="41"/>
                  <a:pt x="10" y="41"/>
                  <a:pt x="10" y="41"/>
                </a:cubicBezTo>
                <a:cubicBezTo>
                  <a:pt x="11" y="41"/>
                  <a:pt x="12" y="41"/>
                  <a:pt x="12" y="40"/>
                </a:cubicBezTo>
                <a:cubicBezTo>
                  <a:pt x="24" y="29"/>
                  <a:pt x="24" y="29"/>
                  <a:pt x="24" y="29"/>
                </a:cubicBezTo>
                <a:cubicBezTo>
                  <a:pt x="28" y="33"/>
                  <a:pt x="28" y="33"/>
                  <a:pt x="28" y="33"/>
                </a:cubicBezTo>
                <a:cubicBezTo>
                  <a:pt x="15" y="47"/>
                  <a:pt x="7" y="65"/>
                  <a:pt x="7" y="85"/>
                </a:cubicBezTo>
                <a:cubicBezTo>
                  <a:pt x="7" y="112"/>
                  <a:pt x="22" y="136"/>
                  <a:pt x="44" y="149"/>
                </a:cubicBezTo>
                <a:cubicBezTo>
                  <a:pt x="36" y="157"/>
                  <a:pt x="36" y="157"/>
                  <a:pt x="36" y="157"/>
                </a:cubicBezTo>
                <a:cubicBezTo>
                  <a:pt x="35" y="158"/>
                  <a:pt x="35" y="160"/>
                  <a:pt x="36" y="161"/>
                </a:cubicBezTo>
                <a:cubicBezTo>
                  <a:pt x="36" y="162"/>
                  <a:pt x="37" y="162"/>
                  <a:pt x="38" y="162"/>
                </a:cubicBezTo>
                <a:cubicBezTo>
                  <a:pt x="38" y="162"/>
                  <a:pt x="39" y="162"/>
                  <a:pt x="40" y="161"/>
                </a:cubicBezTo>
                <a:cubicBezTo>
                  <a:pt x="49" y="152"/>
                  <a:pt x="49" y="152"/>
                  <a:pt x="49" y="152"/>
                </a:cubicBezTo>
                <a:cubicBezTo>
                  <a:pt x="59" y="157"/>
                  <a:pt x="70" y="159"/>
                  <a:pt x="82" y="159"/>
                </a:cubicBezTo>
                <a:cubicBezTo>
                  <a:pt x="93" y="159"/>
                  <a:pt x="105" y="157"/>
                  <a:pt x="114" y="152"/>
                </a:cubicBezTo>
                <a:cubicBezTo>
                  <a:pt x="124" y="161"/>
                  <a:pt x="124" y="161"/>
                  <a:pt x="124" y="161"/>
                </a:cubicBezTo>
                <a:cubicBezTo>
                  <a:pt x="124" y="162"/>
                  <a:pt x="125" y="162"/>
                  <a:pt x="126" y="162"/>
                </a:cubicBezTo>
                <a:cubicBezTo>
                  <a:pt x="127" y="162"/>
                  <a:pt x="127" y="162"/>
                  <a:pt x="128" y="161"/>
                </a:cubicBezTo>
                <a:cubicBezTo>
                  <a:pt x="129" y="160"/>
                  <a:pt x="129" y="158"/>
                  <a:pt x="128" y="157"/>
                </a:cubicBezTo>
                <a:cubicBezTo>
                  <a:pt x="119" y="149"/>
                  <a:pt x="119" y="149"/>
                  <a:pt x="119" y="149"/>
                </a:cubicBezTo>
                <a:cubicBezTo>
                  <a:pt x="141" y="136"/>
                  <a:pt x="156" y="112"/>
                  <a:pt x="156" y="85"/>
                </a:cubicBezTo>
                <a:cubicBezTo>
                  <a:pt x="156" y="65"/>
                  <a:pt x="148" y="47"/>
                  <a:pt x="135" y="33"/>
                </a:cubicBezTo>
                <a:lnTo>
                  <a:pt x="140" y="29"/>
                </a:lnTo>
                <a:close/>
                <a:moveTo>
                  <a:pt x="151" y="12"/>
                </a:moveTo>
                <a:cubicBezTo>
                  <a:pt x="157" y="18"/>
                  <a:pt x="158" y="28"/>
                  <a:pt x="153" y="34"/>
                </a:cubicBezTo>
                <a:cubicBezTo>
                  <a:pt x="129" y="11"/>
                  <a:pt x="129" y="11"/>
                  <a:pt x="129" y="11"/>
                </a:cubicBezTo>
                <a:cubicBezTo>
                  <a:pt x="136" y="6"/>
                  <a:pt x="145" y="7"/>
                  <a:pt x="151" y="12"/>
                </a:cubicBezTo>
                <a:close/>
                <a:moveTo>
                  <a:pt x="11" y="34"/>
                </a:moveTo>
                <a:cubicBezTo>
                  <a:pt x="6" y="28"/>
                  <a:pt x="7" y="18"/>
                  <a:pt x="12" y="12"/>
                </a:cubicBezTo>
                <a:cubicBezTo>
                  <a:pt x="18" y="7"/>
                  <a:pt x="28" y="6"/>
                  <a:pt x="34" y="11"/>
                </a:cubicBezTo>
                <a:lnTo>
                  <a:pt x="11" y="34"/>
                </a:lnTo>
                <a:close/>
                <a:moveTo>
                  <a:pt x="82" y="154"/>
                </a:moveTo>
                <a:cubicBezTo>
                  <a:pt x="44" y="154"/>
                  <a:pt x="13" y="123"/>
                  <a:pt x="13" y="85"/>
                </a:cubicBezTo>
                <a:cubicBezTo>
                  <a:pt x="13" y="47"/>
                  <a:pt x="44" y="16"/>
                  <a:pt x="82" y="16"/>
                </a:cubicBezTo>
                <a:cubicBezTo>
                  <a:pt x="120" y="16"/>
                  <a:pt x="151" y="47"/>
                  <a:pt x="151" y="85"/>
                </a:cubicBezTo>
                <a:cubicBezTo>
                  <a:pt x="151" y="123"/>
                  <a:pt x="120" y="154"/>
                  <a:pt x="82" y="154"/>
                </a:cubicBezTo>
                <a:close/>
                <a:moveTo>
                  <a:pt x="79" y="27"/>
                </a:moveTo>
                <a:cubicBezTo>
                  <a:pt x="79" y="24"/>
                  <a:pt x="79" y="24"/>
                  <a:pt x="79" y="24"/>
                </a:cubicBezTo>
                <a:cubicBezTo>
                  <a:pt x="79" y="23"/>
                  <a:pt x="80" y="21"/>
                  <a:pt x="82" y="21"/>
                </a:cubicBezTo>
                <a:cubicBezTo>
                  <a:pt x="83" y="21"/>
                  <a:pt x="85" y="23"/>
                  <a:pt x="85" y="24"/>
                </a:cubicBezTo>
                <a:cubicBezTo>
                  <a:pt x="85" y="27"/>
                  <a:pt x="85" y="27"/>
                  <a:pt x="85" y="27"/>
                </a:cubicBezTo>
                <a:cubicBezTo>
                  <a:pt x="85" y="28"/>
                  <a:pt x="83" y="30"/>
                  <a:pt x="82" y="30"/>
                </a:cubicBezTo>
                <a:cubicBezTo>
                  <a:pt x="80" y="30"/>
                  <a:pt x="79" y="28"/>
                  <a:pt x="79" y="27"/>
                </a:cubicBezTo>
                <a:close/>
                <a:moveTo>
                  <a:pt x="85" y="142"/>
                </a:moveTo>
                <a:cubicBezTo>
                  <a:pt x="85" y="145"/>
                  <a:pt x="85" y="145"/>
                  <a:pt x="85" y="145"/>
                </a:cubicBezTo>
                <a:cubicBezTo>
                  <a:pt x="85" y="147"/>
                  <a:pt x="83" y="148"/>
                  <a:pt x="82" y="148"/>
                </a:cubicBezTo>
                <a:cubicBezTo>
                  <a:pt x="80" y="148"/>
                  <a:pt x="79" y="147"/>
                  <a:pt x="79" y="145"/>
                </a:cubicBezTo>
                <a:cubicBezTo>
                  <a:pt x="79" y="142"/>
                  <a:pt x="79" y="142"/>
                  <a:pt x="79" y="142"/>
                </a:cubicBezTo>
                <a:cubicBezTo>
                  <a:pt x="79" y="141"/>
                  <a:pt x="80" y="140"/>
                  <a:pt x="82" y="140"/>
                </a:cubicBezTo>
                <a:cubicBezTo>
                  <a:pt x="83" y="140"/>
                  <a:pt x="85" y="141"/>
                  <a:pt x="85" y="142"/>
                </a:cubicBezTo>
                <a:close/>
                <a:moveTo>
                  <a:pt x="137" y="85"/>
                </a:moveTo>
                <a:cubicBezTo>
                  <a:pt x="137" y="83"/>
                  <a:pt x="138" y="82"/>
                  <a:pt x="140" y="82"/>
                </a:cubicBezTo>
                <a:cubicBezTo>
                  <a:pt x="142" y="82"/>
                  <a:pt x="142" y="82"/>
                  <a:pt x="142" y="82"/>
                </a:cubicBezTo>
                <a:cubicBezTo>
                  <a:pt x="144" y="82"/>
                  <a:pt x="145" y="83"/>
                  <a:pt x="145" y="85"/>
                </a:cubicBezTo>
                <a:cubicBezTo>
                  <a:pt x="145" y="86"/>
                  <a:pt x="144" y="87"/>
                  <a:pt x="142" y="87"/>
                </a:cubicBezTo>
                <a:cubicBezTo>
                  <a:pt x="140" y="87"/>
                  <a:pt x="140" y="87"/>
                  <a:pt x="140" y="87"/>
                </a:cubicBezTo>
                <a:cubicBezTo>
                  <a:pt x="138" y="87"/>
                  <a:pt x="137" y="86"/>
                  <a:pt x="137" y="85"/>
                </a:cubicBezTo>
                <a:close/>
                <a:moveTo>
                  <a:pt x="27" y="85"/>
                </a:moveTo>
                <a:cubicBezTo>
                  <a:pt x="27" y="86"/>
                  <a:pt x="26" y="87"/>
                  <a:pt x="24" y="87"/>
                </a:cubicBezTo>
                <a:cubicBezTo>
                  <a:pt x="21" y="87"/>
                  <a:pt x="21" y="87"/>
                  <a:pt x="21" y="87"/>
                </a:cubicBezTo>
                <a:cubicBezTo>
                  <a:pt x="20" y="87"/>
                  <a:pt x="18" y="86"/>
                  <a:pt x="18" y="85"/>
                </a:cubicBezTo>
                <a:cubicBezTo>
                  <a:pt x="18" y="83"/>
                  <a:pt x="20" y="82"/>
                  <a:pt x="21" y="82"/>
                </a:cubicBezTo>
                <a:cubicBezTo>
                  <a:pt x="24" y="82"/>
                  <a:pt x="24" y="82"/>
                  <a:pt x="24" y="82"/>
                </a:cubicBezTo>
                <a:cubicBezTo>
                  <a:pt x="26" y="82"/>
                  <a:pt x="27" y="83"/>
                  <a:pt x="27" y="85"/>
                </a:cubicBezTo>
                <a:close/>
                <a:moveTo>
                  <a:pt x="127" y="40"/>
                </a:moveTo>
                <a:cubicBezTo>
                  <a:pt x="128" y="41"/>
                  <a:pt x="128" y="43"/>
                  <a:pt x="127" y="44"/>
                </a:cubicBezTo>
                <a:cubicBezTo>
                  <a:pt x="125" y="46"/>
                  <a:pt x="125" y="46"/>
                  <a:pt x="125" y="46"/>
                </a:cubicBezTo>
                <a:cubicBezTo>
                  <a:pt x="124" y="46"/>
                  <a:pt x="123" y="47"/>
                  <a:pt x="123" y="47"/>
                </a:cubicBezTo>
                <a:cubicBezTo>
                  <a:pt x="122" y="47"/>
                  <a:pt x="121" y="46"/>
                  <a:pt x="121" y="46"/>
                </a:cubicBezTo>
                <a:cubicBezTo>
                  <a:pt x="120" y="45"/>
                  <a:pt x="120" y="43"/>
                  <a:pt x="121" y="42"/>
                </a:cubicBezTo>
                <a:cubicBezTo>
                  <a:pt x="123" y="40"/>
                  <a:pt x="123" y="40"/>
                  <a:pt x="123" y="40"/>
                </a:cubicBezTo>
                <a:cubicBezTo>
                  <a:pt x="124" y="39"/>
                  <a:pt x="125" y="39"/>
                  <a:pt x="127" y="40"/>
                </a:cubicBezTo>
                <a:close/>
                <a:moveTo>
                  <a:pt x="43" y="124"/>
                </a:moveTo>
                <a:cubicBezTo>
                  <a:pt x="44" y="125"/>
                  <a:pt x="44" y="126"/>
                  <a:pt x="43" y="127"/>
                </a:cubicBezTo>
                <a:cubicBezTo>
                  <a:pt x="41" y="129"/>
                  <a:pt x="41" y="129"/>
                  <a:pt x="41" y="129"/>
                </a:cubicBezTo>
                <a:cubicBezTo>
                  <a:pt x="40" y="130"/>
                  <a:pt x="40" y="130"/>
                  <a:pt x="39" y="130"/>
                </a:cubicBezTo>
                <a:cubicBezTo>
                  <a:pt x="38" y="130"/>
                  <a:pt x="38" y="130"/>
                  <a:pt x="37" y="129"/>
                </a:cubicBezTo>
                <a:cubicBezTo>
                  <a:pt x="36" y="128"/>
                  <a:pt x="36" y="127"/>
                  <a:pt x="37" y="125"/>
                </a:cubicBezTo>
                <a:cubicBezTo>
                  <a:pt x="39" y="124"/>
                  <a:pt x="39" y="124"/>
                  <a:pt x="39" y="124"/>
                </a:cubicBezTo>
                <a:cubicBezTo>
                  <a:pt x="40" y="122"/>
                  <a:pt x="42" y="122"/>
                  <a:pt x="43" y="124"/>
                </a:cubicBezTo>
                <a:close/>
                <a:moveTo>
                  <a:pt x="127" y="125"/>
                </a:moveTo>
                <a:cubicBezTo>
                  <a:pt x="128" y="127"/>
                  <a:pt x="128" y="128"/>
                  <a:pt x="127" y="129"/>
                </a:cubicBezTo>
                <a:cubicBezTo>
                  <a:pt x="126" y="130"/>
                  <a:pt x="125" y="130"/>
                  <a:pt x="125" y="130"/>
                </a:cubicBezTo>
                <a:cubicBezTo>
                  <a:pt x="124" y="130"/>
                  <a:pt x="123" y="130"/>
                  <a:pt x="123" y="129"/>
                </a:cubicBezTo>
                <a:cubicBezTo>
                  <a:pt x="121" y="127"/>
                  <a:pt x="121" y="127"/>
                  <a:pt x="121" y="127"/>
                </a:cubicBezTo>
                <a:cubicBezTo>
                  <a:pt x="120" y="126"/>
                  <a:pt x="120" y="125"/>
                  <a:pt x="121" y="124"/>
                </a:cubicBezTo>
                <a:cubicBezTo>
                  <a:pt x="122" y="122"/>
                  <a:pt x="124" y="122"/>
                  <a:pt x="125" y="124"/>
                </a:cubicBezTo>
                <a:lnTo>
                  <a:pt x="127" y="125"/>
                </a:lnTo>
                <a:close/>
                <a:moveTo>
                  <a:pt x="43" y="42"/>
                </a:moveTo>
                <a:cubicBezTo>
                  <a:pt x="44" y="43"/>
                  <a:pt x="44" y="45"/>
                  <a:pt x="43" y="46"/>
                </a:cubicBezTo>
                <a:cubicBezTo>
                  <a:pt x="42" y="46"/>
                  <a:pt x="42" y="47"/>
                  <a:pt x="41" y="47"/>
                </a:cubicBezTo>
                <a:cubicBezTo>
                  <a:pt x="40" y="47"/>
                  <a:pt x="40" y="46"/>
                  <a:pt x="39" y="46"/>
                </a:cubicBezTo>
                <a:cubicBezTo>
                  <a:pt x="37" y="44"/>
                  <a:pt x="37" y="44"/>
                  <a:pt x="37" y="44"/>
                </a:cubicBezTo>
                <a:cubicBezTo>
                  <a:pt x="36" y="43"/>
                  <a:pt x="36" y="41"/>
                  <a:pt x="37" y="40"/>
                </a:cubicBezTo>
                <a:cubicBezTo>
                  <a:pt x="38" y="39"/>
                  <a:pt x="40" y="39"/>
                  <a:pt x="41" y="40"/>
                </a:cubicBezTo>
                <a:lnTo>
                  <a:pt x="43" y="4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851">
            <a:extLst>
              <a:ext uri="{FF2B5EF4-FFF2-40B4-BE49-F238E27FC236}">
                <a16:creationId xmlns:a16="http://schemas.microsoft.com/office/drawing/2014/main" id="{F6530A82-C755-7643-91AA-8986C5A93748}"/>
              </a:ext>
            </a:extLst>
          </p:cNvPr>
          <p:cNvSpPr>
            <a:spLocks noEditPoints="1"/>
          </p:cNvSpPr>
          <p:nvPr/>
        </p:nvSpPr>
        <p:spPr bwMode="auto">
          <a:xfrm>
            <a:off x="603133" y="5319713"/>
            <a:ext cx="481013" cy="550863"/>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1" name="Group 70">
            <a:extLst>
              <a:ext uri="{FF2B5EF4-FFF2-40B4-BE49-F238E27FC236}">
                <a16:creationId xmlns:a16="http://schemas.microsoft.com/office/drawing/2014/main" id="{913207E1-5506-1A47-83F5-2CD01A90D096}"/>
              </a:ext>
            </a:extLst>
          </p:cNvPr>
          <p:cNvGrpSpPr/>
          <p:nvPr/>
        </p:nvGrpSpPr>
        <p:grpSpPr>
          <a:xfrm>
            <a:off x="576145" y="5980113"/>
            <a:ext cx="546100" cy="454025"/>
            <a:chOff x="1524000" y="5980113"/>
            <a:chExt cx="546100" cy="454025"/>
          </a:xfrm>
          <a:solidFill>
            <a:srgbClr val="FFFFFF"/>
          </a:solidFill>
        </p:grpSpPr>
        <p:sp>
          <p:nvSpPr>
            <p:cNvPr id="72" name="Freeform 852">
              <a:extLst>
                <a:ext uri="{FF2B5EF4-FFF2-40B4-BE49-F238E27FC236}">
                  <a16:creationId xmlns:a16="http://schemas.microsoft.com/office/drawing/2014/main" id="{CB11F2B3-6F87-0B4A-8CED-0ABCB005F153}"/>
                </a:ext>
              </a:extLst>
            </p:cNvPr>
            <p:cNvSpPr>
              <a:spLocks noEditPoints="1"/>
            </p:cNvSpPr>
            <p:nvPr/>
          </p:nvSpPr>
          <p:spPr bwMode="auto">
            <a:xfrm>
              <a:off x="1524000" y="5980113"/>
              <a:ext cx="546100" cy="454025"/>
            </a:xfrm>
            <a:custGeom>
              <a:avLst/>
              <a:gdLst>
                <a:gd name="T0" fmla="*/ 344 w 344"/>
                <a:gd name="T1" fmla="*/ 48 h 286"/>
                <a:gd name="T2" fmla="*/ 320 w 344"/>
                <a:gd name="T3" fmla="*/ 48 h 286"/>
                <a:gd name="T4" fmla="*/ 320 w 344"/>
                <a:gd name="T5" fmla="*/ 24 h 286"/>
                <a:gd name="T6" fmla="*/ 297 w 344"/>
                <a:gd name="T7" fmla="*/ 24 h 286"/>
                <a:gd name="T8" fmla="*/ 297 w 344"/>
                <a:gd name="T9" fmla="*/ 0 h 286"/>
                <a:gd name="T10" fmla="*/ 47 w 344"/>
                <a:gd name="T11" fmla="*/ 0 h 286"/>
                <a:gd name="T12" fmla="*/ 47 w 344"/>
                <a:gd name="T13" fmla="*/ 24 h 286"/>
                <a:gd name="T14" fmla="*/ 24 w 344"/>
                <a:gd name="T15" fmla="*/ 24 h 286"/>
                <a:gd name="T16" fmla="*/ 24 w 344"/>
                <a:gd name="T17" fmla="*/ 48 h 286"/>
                <a:gd name="T18" fmla="*/ 0 w 344"/>
                <a:gd name="T19" fmla="*/ 48 h 286"/>
                <a:gd name="T20" fmla="*/ 0 w 344"/>
                <a:gd name="T21" fmla="*/ 239 h 286"/>
                <a:gd name="T22" fmla="*/ 24 w 344"/>
                <a:gd name="T23" fmla="*/ 239 h 286"/>
                <a:gd name="T24" fmla="*/ 24 w 344"/>
                <a:gd name="T25" fmla="*/ 262 h 286"/>
                <a:gd name="T26" fmla="*/ 47 w 344"/>
                <a:gd name="T27" fmla="*/ 262 h 286"/>
                <a:gd name="T28" fmla="*/ 47 w 344"/>
                <a:gd name="T29" fmla="*/ 286 h 286"/>
                <a:gd name="T30" fmla="*/ 297 w 344"/>
                <a:gd name="T31" fmla="*/ 286 h 286"/>
                <a:gd name="T32" fmla="*/ 297 w 344"/>
                <a:gd name="T33" fmla="*/ 262 h 286"/>
                <a:gd name="T34" fmla="*/ 320 w 344"/>
                <a:gd name="T35" fmla="*/ 262 h 286"/>
                <a:gd name="T36" fmla="*/ 320 w 344"/>
                <a:gd name="T37" fmla="*/ 239 h 286"/>
                <a:gd name="T38" fmla="*/ 344 w 344"/>
                <a:gd name="T39" fmla="*/ 239 h 286"/>
                <a:gd name="T40" fmla="*/ 344 w 344"/>
                <a:gd name="T41" fmla="*/ 48 h 286"/>
                <a:gd name="T42" fmla="*/ 13 w 344"/>
                <a:gd name="T43" fmla="*/ 228 h 286"/>
                <a:gd name="T44" fmla="*/ 13 w 344"/>
                <a:gd name="T45" fmla="*/ 61 h 286"/>
                <a:gd name="T46" fmla="*/ 24 w 344"/>
                <a:gd name="T47" fmla="*/ 61 h 286"/>
                <a:gd name="T48" fmla="*/ 24 w 344"/>
                <a:gd name="T49" fmla="*/ 228 h 286"/>
                <a:gd name="T50" fmla="*/ 13 w 344"/>
                <a:gd name="T51" fmla="*/ 228 h 286"/>
                <a:gd name="T52" fmla="*/ 37 w 344"/>
                <a:gd name="T53" fmla="*/ 252 h 286"/>
                <a:gd name="T54" fmla="*/ 37 w 344"/>
                <a:gd name="T55" fmla="*/ 239 h 286"/>
                <a:gd name="T56" fmla="*/ 37 w 344"/>
                <a:gd name="T57" fmla="*/ 48 h 286"/>
                <a:gd name="T58" fmla="*/ 37 w 344"/>
                <a:gd name="T59" fmla="*/ 37 h 286"/>
                <a:gd name="T60" fmla="*/ 47 w 344"/>
                <a:gd name="T61" fmla="*/ 37 h 286"/>
                <a:gd name="T62" fmla="*/ 47 w 344"/>
                <a:gd name="T63" fmla="*/ 252 h 286"/>
                <a:gd name="T64" fmla="*/ 37 w 344"/>
                <a:gd name="T65" fmla="*/ 252 h 286"/>
                <a:gd name="T66" fmla="*/ 284 w 344"/>
                <a:gd name="T67" fmla="*/ 275 h 286"/>
                <a:gd name="T68" fmla="*/ 60 w 344"/>
                <a:gd name="T69" fmla="*/ 275 h 286"/>
                <a:gd name="T70" fmla="*/ 60 w 344"/>
                <a:gd name="T71" fmla="*/ 262 h 286"/>
                <a:gd name="T72" fmla="*/ 60 w 344"/>
                <a:gd name="T73" fmla="*/ 24 h 286"/>
                <a:gd name="T74" fmla="*/ 60 w 344"/>
                <a:gd name="T75" fmla="*/ 13 h 286"/>
                <a:gd name="T76" fmla="*/ 284 w 344"/>
                <a:gd name="T77" fmla="*/ 13 h 286"/>
                <a:gd name="T78" fmla="*/ 284 w 344"/>
                <a:gd name="T79" fmla="*/ 24 h 286"/>
                <a:gd name="T80" fmla="*/ 284 w 344"/>
                <a:gd name="T81" fmla="*/ 262 h 286"/>
                <a:gd name="T82" fmla="*/ 284 w 344"/>
                <a:gd name="T83" fmla="*/ 275 h 286"/>
                <a:gd name="T84" fmla="*/ 307 w 344"/>
                <a:gd name="T85" fmla="*/ 252 h 286"/>
                <a:gd name="T86" fmla="*/ 297 w 344"/>
                <a:gd name="T87" fmla="*/ 252 h 286"/>
                <a:gd name="T88" fmla="*/ 297 w 344"/>
                <a:gd name="T89" fmla="*/ 37 h 286"/>
                <a:gd name="T90" fmla="*/ 307 w 344"/>
                <a:gd name="T91" fmla="*/ 37 h 286"/>
                <a:gd name="T92" fmla="*/ 307 w 344"/>
                <a:gd name="T93" fmla="*/ 48 h 286"/>
                <a:gd name="T94" fmla="*/ 307 w 344"/>
                <a:gd name="T95" fmla="*/ 239 h 286"/>
                <a:gd name="T96" fmla="*/ 307 w 344"/>
                <a:gd name="T97" fmla="*/ 252 h 286"/>
                <a:gd name="T98" fmla="*/ 331 w 344"/>
                <a:gd name="T99" fmla="*/ 228 h 286"/>
                <a:gd name="T100" fmla="*/ 320 w 344"/>
                <a:gd name="T101" fmla="*/ 228 h 286"/>
                <a:gd name="T102" fmla="*/ 320 w 344"/>
                <a:gd name="T103" fmla="*/ 61 h 286"/>
                <a:gd name="T104" fmla="*/ 331 w 344"/>
                <a:gd name="T105" fmla="*/ 61 h 286"/>
                <a:gd name="T106" fmla="*/ 331 w 344"/>
                <a:gd name="T107" fmla="*/ 22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4" h="286">
                  <a:moveTo>
                    <a:pt x="344" y="48"/>
                  </a:moveTo>
                  <a:lnTo>
                    <a:pt x="320" y="48"/>
                  </a:lnTo>
                  <a:lnTo>
                    <a:pt x="320" y="24"/>
                  </a:lnTo>
                  <a:lnTo>
                    <a:pt x="297" y="24"/>
                  </a:lnTo>
                  <a:lnTo>
                    <a:pt x="297" y="0"/>
                  </a:lnTo>
                  <a:lnTo>
                    <a:pt x="47" y="0"/>
                  </a:lnTo>
                  <a:lnTo>
                    <a:pt x="47" y="24"/>
                  </a:lnTo>
                  <a:lnTo>
                    <a:pt x="24" y="24"/>
                  </a:lnTo>
                  <a:lnTo>
                    <a:pt x="24" y="48"/>
                  </a:lnTo>
                  <a:lnTo>
                    <a:pt x="0" y="48"/>
                  </a:lnTo>
                  <a:lnTo>
                    <a:pt x="0" y="239"/>
                  </a:lnTo>
                  <a:lnTo>
                    <a:pt x="24" y="239"/>
                  </a:lnTo>
                  <a:lnTo>
                    <a:pt x="24" y="262"/>
                  </a:lnTo>
                  <a:lnTo>
                    <a:pt x="47" y="262"/>
                  </a:lnTo>
                  <a:lnTo>
                    <a:pt x="47" y="286"/>
                  </a:lnTo>
                  <a:lnTo>
                    <a:pt x="297" y="286"/>
                  </a:lnTo>
                  <a:lnTo>
                    <a:pt x="297" y="262"/>
                  </a:lnTo>
                  <a:lnTo>
                    <a:pt x="320" y="262"/>
                  </a:lnTo>
                  <a:lnTo>
                    <a:pt x="320" y="239"/>
                  </a:lnTo>
                  <a:lnTo>
                    <a:pt x="344" y="239"/>
                  </a:lnTo>
                  <a:lnTo>
                    <a:pt x="344" y="48"/>
                  </a:lnTo>
                  <a:close/>
                  <a:moveTo>
                    <a:pt x="13" y="228"/>
                  </a:moveTo>
                  <a:lnTo>
                    <a:pt x="13" y="61"/>
                  </a:lnTo>
                  <a:lnTo>
                    <a:pt x="24" y="61"/>
                  </a:lnTo>
                  <a:lnTo>
                    <a:pt x="24" y="228"/>
                  </a:lnTo>
                  <a:lnTo>
                    <a:pt x="13" y="228"/>
                  </a:lnTo>
                  <a:close/>
                  <a:moveTo>
                    <a:pt x="37" y="252"/>
                  </a:moveTo>
                  <a:lnTo>
                    <a:pt x="37" y="239"/>
                  </a:lnTo>
                  <a:lnTo>
                    <a:pt x="37" y="48"/>
                  </a:lnTo>
                  <a:lnTo>
                    <a:pt x="37" y="37"/>
                  </a:lnTo>
                  <a:lnTo>
                    <a:pt x="47" y="37"/>
                  </a:lnTo>
                  <a:lnTo>
                    <a:pt x="47" y="252"/>
                  </a:lnTo>
                  <a:lnTo>
                    <a:pt x="37" y="252"/>
                  </a:lnTo>
                  <a:close/>
                  <a:moveTo>
                    <a:pt x="284" y="275"/>
                  </a:moveTo>
                  <a:lnTo>
                    <a:pt x="60" y="275"/>
                  </a:lnTo>
                  <a:lnTo>
                    <a:pt x="60" y="262"/>
                  </a:lnTo>
                  <a:lnTo>
                    <a:pt x="60" y="24"/>
                  </a:lnTo>
                  <a:lnTo>
                    <a:pt x="60" y="13"/>
                  </a:lnTo>
                  <a:lnTo>
                    <a:pt x="284" y="13"/>
                  </a:lnTo>
                  <a:lnTo>
                    <a:pt x="284" y="24"/>
                  </a:lnTo>
                  <a:lnTo>
                    <a:pt x="284" y="262"/>
                  </a:lnTo>
                  <a:lnTo>
                    <a:pt x="284" y="275"/>
                  </a:lnTo>
                  <a:close/>
                  <a:moveTo>
                    <a:pt x="307" y="252"/>
                  </a:moveTo>
                  <a:lnTo>
                    <a:pt x="297" y="252"/>
                  </a:lnTo>
                  <a:lnTo>
                    <a:pt x="297" y="37"/>
                  </a:lnTo>
                  <a:lnTo>
                    <a:pt x="307" y="37"/>
                  </a:lnTo>
                  <a:lnTo>
                    <a:pt x="307" y="48"/>
                  </a:lnTo>
                  <a:lnTo>
                    <a:pt x="307" y="239"/>
                  </a:lnTo>
                  <a:lnTo>
                    <a:pt x="307" y="252"/>
                  </a:lnTo>
                  <a:close/>
                  <a:moveTo>
                    <a:pt x="331" y="228"/>
                  </a:moveTo>
                  <a:lnTo>
                    <a:pt x="320" y="228"/>
                  </a:lnTo>
                  <a:lnTo>
                    <a:pt x="320" y="61"/>
                  </a:lnTo>
                  <a:lnTo>
                    <a:pt x="331" y="61"/>
                  </a:lnTo>
                  <a:lnTo>
                    <a:pt x="331" y="2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Oval 853">
              <a:extLst>
                <a:ext uri="{FF2B5EF4-FFF2-40B4-BE49-F238E27FC236}">
                  <a16:creationId xmlns:a16="http://schemas.microsoft.com/office/drawing/2014/main" id="{CAA2F198-8226-6046-A5B2-4286704B790C}"/>
                </a:ext>
              </a:extLst>
            </p:cNvPr>
            <p:cNvSpPr>
              <a:spLocks noChangeArrowheads="1"/>
            </p:cNvSpPr>
            <p:nvPr/>
          </p:nvSpPr>
          <p:spPr bwMode="auto">
            <a:xfrm>
              <a:off x="1674813" y="6056313"/>
              <a:ext cx="20638"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Oval 854">
              <a:extLst>
                <a:ext uri="{FF2B5EF4-FFF2-40B4-BE49-F238E27FC236}">
                  <a16:creationId xmlns:a16="http://schemas.microsoft.com/office/drawing/2014/main" id="{0A2458D6-8B34-D144-BDB8-A88BCB17F08A}"/>
                </a:ext>
              </a:extLst>
            </p:cNvPr>
            <p:cNvSpPr>
              <a:spLocks noChangeArrowheads="1"/>
            </p:cNvSpPr>
            <p:nvPr/>
          </p:nvSpPr>
          <p:spPr bwMode="auto">
            <a:xfrm>
              <a:off x="1646238" y="6029325"/>
              <a:ext cx="17463" cy="158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Oval 855">
              <a:extLst>
                <a:ext uri="{FF2B5EF4-FFF2-40B4-BE49-F238E27FC236}">
                  <a16:creationId xmlns:a16="http://schemas.microsoft.com/office/drawing/2014/main" id="{CB003F0E-2174-C843-B83F-BEB77FFC0EE8}"/>
                </a:ext>
              </a:extLst>
            </p:cNvPr>
            <p:cNvSpPr>
              <a:spLocks noChangeArrowheads="1"/>
            </p:cNvSpPr>
            <p:nvPr/>
          </p:nvSpPr>
          <p:spPr bwMode="auto">
            <a:xfrm>
              <a:off x="1701800" y="6029325"/>
              <a:ext cx="20638" cy="158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Oval 856">
              <a:extLst>
                <a:ext uri="{FF2B5EF4-FFF2-40B4-BE49-F238E27FC236}">
                  <a16:creationId xmlns:a16="http://schemas.microsoft.com/office/drawing/2014/main" id="{55B68097-8494-2046-B6D6-238217227DAA}"/>
                </a:ext>
              </a:extLst>
            </p:cNvPr>
            <p:cNvSpPr>
              <a:spLocks noChangeArrowheads="1"/>
            </p:cNvSpPr>
            <p:nvPr/>
          </p:nvSpPr>
          <p:spPr bwMode="auto">
            <a:xfrm>
              <a:off x="1646238" y="60833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Oval 857">
              <a:extLst>
                <a:ext uri="{FF2B5EF4-FFF2-40B4-BE49-F238E27FC236}">
                  <a16:creationId xmlns:a16="http://schemas.microsoft.com/office/drawing/2014/main" id="{38963F50-61BD-C04D-B2A8-E1FBF1471657}"/>
                </a:ext>
              </a:extLst>
            </p:cNvPr>
            <p:cNvSpPr>
              <a:spLocks noChangeArrowheads="1"/>
            </p:cNvSpPr>
            <p:nvPr/>
          </p:nvSpPr>
          <p:spPr bwMode="auto">
            <a:xfrm>
              <a:off x="1701800" y="6083300"/>
              <a:ext cx="20638"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Oval 858">
              <a:extLst>
                <a:ext uri="{FF2B5EF4-FFF2-40B4-BE49-F238E27FC236}">
                  <a16:creationId xmlns:a16="http://schemas.microsoft.com/office/drawing/2014/main" id="{99172168-5A55-C442-BA60-C35CB25B44C4}"/>
                </a:ext>
              </a:extLst>
            </p:cNvPr>
            <p:cNvSpPr>
              <a:spLocks noChangeArrowheads="1"/>
            </p:cNvSpPr>
            <p:nvPr/>
          </p:nvSpPr>
          <p:spPr bwMode="auto">
            <a:xfrm>
              <a:off x="1731963" y="6056313"/>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Oval 859">
              <a:extLst>
                <a:ext uri="{FF2B5EF4-FFF2-40B4-BE49-F238E27FC236}">
                  <a16:creationId xmlns:a16="http://schemas.microsoft.com/office/drawing/2014/main" id="{C4A170AF-937C-A942-8215-BB91014D6DA9}"/>
                </a:ext>
              </a:extLst>
            </p:cNvPr>
            <p:cNvSpPr>
              <a:spLocks noChangeArrowheads="1"/>
            </p:cNvSpPr>
            <p:nvPr/>
          </p:nvSpPr>
          <p:spPr bwMode="auto">
            <a:xfrm>
              <a:off x="1787525" y="6056313"/>
              <a:ext cx="19050"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Oval 860">
              <a:extLst>
                <a:ext uri="{FF2B5EF4-FFF2-40B4-BE49-F238E27FC236}">
                  <a16:creationId xmlns:a16="http://schemas.microsoft.com/office/drawing/2014/main" id="{D1884DDE-DBE7-1B40-9A85-79DFB8BE992E}"/>
                </a:ext>
              </a:extLst>
            </p:cNvPr>
            <p:cNvSpPr>
              <a:spLocks noChangeArrowheads="1"/>
            </p:cNvSpPr>
            <p:nvPr/>
          </p:nvSpPr>
          <p:spPr bwMode="auto">
            <a:xfrm>
              <a:off x="1758950" y="6029325"/>
              <a:ext cx="17463" cy="158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Oval 861">
              <a:extLst>
                <a:ext uri="{FF2B5EF4-FFF2-40B4-BE49-F238E27FC236}">
                  <a16:creationId xmlns:a16="http://schemas.microsoft.com/office/drawing/2014/main" id="{1CB0AAB7-4007-0043-86BA-4022A70908E7}"/>
                </a:ext>
              </a:extLst>
            </p:cNvPr>
            <p:cNvSpPr>
              <a:spLocks noChangeArrowheads="1"/>
            </p:cNvSpPr>
            <p:nvPr/>
          </p:nvSpPr>
          <p:spPr bwMode="auto">
            <a:xfrm>
              <a:off x="1817688" y="6029325"/>
              <a:ext cx="17463" cy="158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Oval 862">
              <a:extLst>
                <a:ext uri="{FF2B5EF4-FFF2-40B4-BE49-F238E27FC236}">
                  <a16:creationId xmlns:a16="http://schemas.microsoft.com/office/drawing/2014/main" id="{F002B7AB-8829-3B44-9731-4C04D4E3083E}"/>
                </a:ext>
              </a:extLst>
            </p:cNvPr>
            <p:cNvSpPr>
              <a:spLocks noChangeArrowheads="1"/>
            </p:cNvSpPr>
            <p:nvPr/>
          </p:nvSpPr>
          <p:spPr bwMode="auto">
            <a:xfrm>
              <a:off x="1758950" y="60833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Oval 863">
              <a:extLst>
                <a:ext uri="{FF2B5EF4-FFF2-40B4-BE49-F238E27FC236}">
                  <a16:creationId xmlns:a16="http://schemas.microsoft.com/office/drawing/2014/main" id="{E6657B11-44E1-1249-85BC-35C88AA156D7}"/>
                </a:ext>
              </a:extLst>
            </p:cNvPr>
            <p:cNvSpPr>
              <a:spLocks noChangeArrowheads="1"/>
            </p:cNvSpPr>
            <p:nvPr/>
          </p:nvSpPr>
          <p:spPr bwMode="auto">
            <a:xfrm>
              <a:off x="1817688" y="60833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Oval 864">
              <a:extLst>
                <a:ext uri="{FF2B5EF4-FFF2-40B4-BE49-F238E27FC236}">
                  <a16:creationId xmlns:a16="http://schemas.microsoft.com/office/drawing/2014/main" id="{3D3CB499-35C5-EB47-95A0-FDCFA116C99E}"/>
                </a:ext>
              </a:extLst>
            </p:cNvPr>
            <p:cNvSpPr>
              <a:spLocks noChangeArrowheads="1"/>
            </p:cNvSpPr>
            <p:nvPr/>
          </p:nvSpPr>
          <p:spPr bwMode="auto">
            <a:xfrm>
              <a:off x="1844675" y="6056313"/>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Oval 865">
              <a:extLst>
                <a:ext uri="{FF2B5EF4-FFF2-40B4-BE49-F238E27FC236}">
                  <a16:creationId xmlns:a16="http://schemas.microsoft.com/office/drawing/2014/main" id="{128041C3-522D-0E40-8DAA-F04F9DAC71B9}"/>
                </a:ext>
              </a:extLst>
            </p:cNvPr>
            <p:cNvSpPr>
              <a:spLocks noChangeArrowheads="1"/>
            </p:cNvSpPr>
            <p:nvPr/>
          </p:nvSpPr>
          <p:spPr bwMode="auto">
            <a:xfrm>
              <a:off x="1900238" y="6056313"/>
              <a:ext cx="19050"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Oval 866">
              <a:extLst>
                <a:ext uri="{FF2B5EF4-FFF2-40B4-BE49-F238E27FC236}">
                  <a16:creationId xmlns:a16="http://schemas.microsoft.com/office/drawing/2014/main" id="{2CECCF9C-71D6-D745-A2DF-7F02C14FFB6D}"/>
                </a:ext>
              </a:extLst>
            </p:cNvPr>
            <p:cNvSpPr>
              <a:spLocks noChangeArrowheads="1"/>
            </p:cNvSpPr>
            <p:nvPr/>
          </p:nvSpPr>
          <p:spPr bwMode="auto">
            <a:xfrm>
              <a:off x="1871663" y="6029325"/>
              <a:ext cx="20638" cy="158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Oval 867">
              <a:extLst>
                <a:ext uri="{FF2B5EF4-FFF2-40B4-BE49-F238E27FC236}">
                  <a16:creationId xmlns:a16="http://schemas.microsoft.com/office/drawing/2014/main" id="{011AC86B-6E6B-EC47-82B7-7E4BD56648C4}"/>
                </a:ext>
              </a:extLst>
            </p:cNvPr>
            <p:cNvSpPr>
              <a:spLocks noChangeArrowheads="1"/>
            </p:cNvSpPr>
            <p:nvPr/>
          </p:nvSpPr>
          <p:spPr bwMode="auto">
            <a:xfrm>
              <a:off x="1930400" y="6029325"/>
              <a:ext cx="17463" cy="158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Oval 868">
              <a:extLst>
                <a:ext uri="{FF2B5EF4-FFF2-40B4-BE49-F238E27FC236}">
                  <a16:creationId xmlns:a16="http://schemas.microsoft.com/office/drawing/2014/main" id="{F1419148-0669-EF42-98A0-4A572DA295AB}"/>
                </a:ext>
              </a:extLst>
            </p:cNvPr>
            <p:cNvSpPr>
              <a:spLocks noChangeArrowheads="1"/>
            </p:cNvSpPr>
            <p:nvPr/>
          </p:nvSpPr>
          <p:spPr bwMode="auto">
            <a:xfrm>
              <a:off x="1871663" y="6083300"/>
              <a:ext cx="20638"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Oval 869">
              <a:extLst>
                <a:ext uri="{FF2B5EF4-FFF2-40B4-BE49-F238E27FC236}">
                  <a16:creationId xmlns:a16="http://schemas.microsoft.com/office/drawing/2014/main" id="{4FB1DA04-F516-B042-ACDD-8A53F6873AA4}"/>
                </a:ext>
              </a:extLst>
            </p:cNvPr>
            <p:cNvSpPr>
              <a:spLocks noChangeArrowheads="1"/>
            </p:cNvSpPr>
            <p:nvPr/>
          </p:nvSpPr>
          <p:spPr bwMode="auto">
            <a:xfrm>
              <a:off x="1930400" y="60833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Oval 870">
              <a:extLst>
                <a:ext uri="{FF2B5EF4-FFF2-40B4-BE49-F238E27FC236}">
                  <a16:creationId xmlns:a16="http://schemas.microsoft.com/office/drawing/2014/main" id="{F83C865C-0591-7041-B823-CEB8E37029BC}"/>
                </a:ext>
              </a:extLst>
            </p:cNvPr>
            <p:cNvSpPr>
              <a:spLocks noChangeArrowheads="1"/>
            </p:cNvSpPr>
            <p:nvPr/>
          </p:nvSpPr>
          <p:spPr bwMode="auto">
            <a:xfrm>
              <a:off x="1674813" y="6115050"/>
              <a:ext cx="20638"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Oval 871">
              <a:extLst>
                <a:ext uri="{FF2B5EF4-FFF2-40B4-BE49-F238E27FC236}">
                  <a16:creationId xmlns:a16="http://schemas.microsoft.com/office/drawing/2014/main" id="{C2DB5A20-C985-F243-977B-A3187AF03A20}"/>
                </a:ext>
              </a:extLst>
            </p:cNvPr>
            <p:cNvSpPr>
              <a:spLocks noChangeArrowheads="1"/>
            </p:cNvSpPr>
            <p:nvPr/>
          </p:nvSpPr>
          <p:spPr bwMode="auto">
            <a:xfrm>
              <a:off x="1674813" y="6169025"/>
              <a:ext cx="20638"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Oval 872">
              <a:extLst>
                <a:ext uri="{FF2B5EF4-FFF2-40B4-BE49-F238E27FC236}">
                  <a16:creationId xmlns:a16="http://schemas.microsoft.com/office/drawing/2014/main" id="{608F17F2-DEE4-F74B-B900-B0D32B21FD4E}"/>
                </a:ext>
              </a:extLst>
            </p:cNvPr>
            <p:cNvSpPr>
              <a:spLocks noChangeArrowheads="1"/>
            </p:cNvSpPr>
            <p:nvPr/>
          </p:nvSpPr>
          <p:spPr bwMode="auto">
            <a:xfrm>
              <a:off x="1646238" y="6142038"/>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Oval 873">
              <a:extLst>
                <a:ext uri="{FF2B5EF4-FFF2-40B4-BE49-F238E27FC236}">
                  <a16:creationId xmlns:a16="http://schemas.microsoft.com/office/drawing/2014/main" id="{E42E89F4-E4DA-974C-8532-4CB405365456}"/>
                </a:ext>
              </a:extLst>
            </p:cNvPr>
            <p:cNvSpPr>
              <a:spLocks noChangeArrowheads="1"/>
            </p:cNvSpPr>
            <p:nvPr/>
          </p:nvSpPr>
          <p:spPr bwMode="auto">
            <a:xfrm>
              <a:off x="1701800" y="6142038"/>
              <a:ext cx="20638"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Oval 874">
              <a:extLst>
                <a:ext uri="{FF2B5EF4-FFF2-40B4-BE49-F238E27FC236}">
                  <a16:creationId xmlns:a16="http://schemas.microsoft.com/office/drawing/2014/main" id="{C0239FA3-5553-4F42-9645-ED95C3A0559C}"/>
                </a:ext>
              </a:extLst>
            </p:cNvPr>
            <p:cNvSpPr>
              <a:spLocks noChangeArrowheads="1"/>
            </p:cNvSpPr>
            <p:nvPr/>
          </p:nvSpPr>
          <p:spPr bwMode="auto">
            <a:xfrm>
              <a:off x="1646238" y="61976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Oval 875">
              <a:extLst>
                <a:ext uri="{FF2B5EF4-FFF2-40B4-BE49-F238E27FC236}">
                  <a16:creationId xmlns:a16="http://schemas.microsoft.com/office/drawing/2014/main" id="{9A9B8D39-FAD9-2845-BD5B-7CDE2E015E1F}"/>
                </a:ext>
              </a:extLst>
            </p:cNvPr>
            <p:cNvSpPr>
              <a:spLocks noChangeArrowheads="1"/>
            </p:cNvSpPr>
            <p:nvPr/>
          </p:nvSpPr>
          <p:spPr bwMode="auto">
            <a:xfrm>
              <a:off x="1701800" y="6197600"/>
              <a:ext cx="20638"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Oval 876">
              <a:extLst>
                <a:ext uri="{FF2B5EF4-FFF2-40B4-BE49-F238E27FC236}">
                  <a16:creationId xmlns:a16="http://schemas.microsoft.com/office/drawing/2014/main" id="{9CCE8670-A02B-6642-BFB1-2544FFF9D735}"/>
                </a:ext>
              </a:extLst>
            </p:cNvPr>
            <p:cNvSpPr>
              <a:spLocks noChangeArrowheads="1"/>
            </p:cNvSpPr>
            <p:nvPr/>
          </p:nvSpPr>
          <p:spPr bwMode="auto">
            <a:xfrm>
              <a:off x="1731963" y="6115050"/>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Oval 877">
              <a:extLst>
                <a:ext uri="{FF2B5EF4-FFF2-40B4-BE49-F238E27FC236}">
                  <a16:creationId xmlns:a16="http://schemas.microsoft.com/office/drawing/2014/main" id="{E13F90D4-93FF-1A4B-96DB-1C4B515A3B36}"/>
                </a:ext>
              </a:extLst>
            </p:cNvPr>
            <p:cNvSpPr>
              <a:spLocks noChangeArrowheads="1"/>
            </p:cNvSpPr>
            <p:nvPr/>
          </p:nvSpPr>
          <p:spPr bwMode="auto">
            <a:xfrm>
              <a:off x="1787525" y="6115050"/>
              <a:ext cx="19050"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Oval 878">
              <a:extLst>
                <a:ext uri="{FF2B5EF4-FFF2-40B4-BE49-F238E27FC236}">
                  <a16:creationId xmlns:a16="http://schemas.microsoft.com/office/drawing/2014/main" id="{1283962F-998C-BB47-8D0C-4C2E39A51148}"/>
                </a:ext>
              </a:extLst>
            </p:cNvPr>
            <p:cNvSpPr>
              <a:spLocks noChangeArrowheads="1"/>
            </p:cNvSpPr>
            <p:nvPr/>
          </p:nvSpPr>
          <p:spPr bwMode="auto">
            <a:xfrm>
              <a:off x="1731963" y="61690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Oval 879">
              <a:extLst>
                <a:ext uri="{FF2B5EF4-FFF2-40B4-BE49-F238E27FC236}">
                  <a16:creationId xmlns:a16="http://schemas.microsoft.com/office/drawing/2014/main" id="{D45DAFE2-369F-684C-B6CC-D7898C4FF6DC}"/>
                </a:ext>
              </a:extLst>
            </p:cNvPr>
            <p:cNvSpPr>
              <a:spLocks noChangeArrowheads="1"/>
            </p:cNvSpPr>
            <p:nvPr/>
          </p:nvSpPr>
          <p:spPr bwMode="auto">
            <a:xfrm>
              <a:off x="1787525" y="6169025"/>
              <a:ext cx="19050"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Oval 880">
              <a:extLst>
                <a:ext uri="{FF2B5EF4-FFF2-40B4-BE49-F238E27FC236}">
                  <a16:creationId xmlns:a16="http://schemas.microsoft.com/office/drawing/2014/main" id="{054ED057-0D1E-2547-940D-4D1272819D4E}"/>
                </a:ext>
              </a:extLst>
            </p:cNvPr>
            <p:cNvSpPr>
              <a:spLocks noChangeArrowheads="1"/>
            </p:cNvSpPr>
            <p:nvPr/>
          </p:nvSpPr>
          <p:spPr bwMode="auto">
            <a:xfrm>
              <a:off x="1758950" y="6142038"/>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Oval 881">
              <a:extLst>
                <a:ext uri="{FF2B5EF4-FFF2-40B4-BE49-F238E27FC236}">
                  <a16:creationId xmlns:a16="http://schemas.microsoft.com/office/drawing/2014/main" id="{23BCD538-C191-3041-9942-1EAA02B1ED8F}"/>
                </a:ext>
              </a:extLst>
            </p:cNvPr>
            <p:cNvSpPr>
              <a:spLocks noChangeArrowheads="1"/>
            </p:cNvSpPr>
            <p:nvPr/>
          </p:nvSpPr>
          <p:spPr bwMode="auto">
            <a:xfrm>
              <a:off x="1817688" y="6142038"/>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Oval 882">
              <a:extLst>
                <a:ext uri="{FF2B5EF4-FFF2-40B4-BE49-F238E27FC236}">
                  <a16:creationId xmlns:a16="http://schemas.microsoft.com/office/drawing/2014/main" id="{42E5BA34-6C3D-0E4E-90EF-E0A84983C08B}"/>
                </a:ext>
              </a:extLst>
            </p:cNvPr>
            <p:cNvSpPr>
              <a:spLocks noChangeArrowheads="1"/>
            </p:cNvSpPr>
            <p:nvPr/>
          </p:nvSpPr>
          <p:spPr bwMode="auto">
            <a:xfrm>
              <a:off x="1758950" y="61976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Oval 883">
              <a:extLst>
                <a:ext uri="{FF2B5EF4-FFF2-40B4-BE49-F238E27FC236}">
                  <a16:creationId xmlns:a16="http://schemas.microsoft.com/office/drawing/2014/main" id="{63ED3709-FABF-104F-9182-3D2A2E476343}"/>
                </a:ext>
              </a:extLst>
            </p:cNvPr>
            <p:cNvSpPr>
              <a:spLocks noChangeArrowheads="1"/>
            </p:cNvSpPr>
            <p:nvPr/>
          </p:nvSpPr>
          <p:spPr bwMode="auto">
            <a:xfrm>
              <a:off x="1817688" y="61976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Oval 884">
              <a:extLst>
                <a:ext uri="{FF2B5EF4-FFF2-40B4-BE49-F238E27FC236}">
                  <a16:creationId xmlns:a16="http://schemas.microsoft.com/office/drawing/2014/main" id="{604C4FFE-992E-4D42-B64D-556A85D6367C}"/>
                </a:ext>
              </a:extLst>
            </p:cNvPr>
            <p:cNvSpPr>
              <a:spLocks noChangeArrowheads="1"/>
            </p:cNvSpPr>
            <p:nvPr/>
          </p:nvSpPr>
          <p:spPr bwMode="auto">
            <a:xfrm>
              <a:off x="1844675" y="6115050"/>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Oval 885">
              <a:extLst>
                <a:ext uri="{FF2B5EF4-FFF2-40B4-BE49-F238E27FC236}">
                  <a16:creationId xmlns:a16="http://schemas.microsoft.com/office/drawing/2014/main" id="{73F18F77-0536-9140-93D6-2CF4419A4C54}"/>
                </a:ext>
              </a:extLst>
            </p:cNvPr>
            <p:cNvSpPr>
              <a:spLocks noChangeArrowheads="1"/>
            </p:cNvSpPr>
            <p:nvPr/>
          </p:nvSpPr>
          <p:spPr bwMode="auto">
            <a:xfrm>
              <a:off x="1900238" y="6115050"/>
              <a:ext cx="19050"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Oval 886">
              <a:extLst>
                <a:ext uri="{FF2B5EF4-FFF2-40B4-BE49-F238E27FC236}">
                  <a16:creationId xmlns:a16="http://schemas.microsoft.com/office/drawing/2014/main" id="{02479198-1069-9441-873E-19EE922F2310}"/>
                </a:ext>
              </a:extLst>
            </p:cNvPr>
            <p:cNvSpPr>
              <a:spLocks noChangeArrowheads="1"/>
            </p:cNvSpPr>
            <p:nvPr/>
          </p:nvSpPr>
          <p:spPr bwMode="auto">
            <a:xfrm>
              <a:off x="1844675" y="61690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Oval 887">
              <a:extLst>
                <a:ext uri="{FF2B5EF4-FFF2-40B4-BE49-F238E27FC236}">
                  <a16:creationId xmlns:a16="http://schemas.microsoft.com/office/drawing/2014/main" id="{88A81B48-A005-604D-929C-B00FF332A31E}"/>
                </a:ext>
              </a:extLst>
            </p:cNvPr>
            <p:cNvSpPr>
              <a:spLocks noChangeArrowheads="1"/>
            </p:cNvSpPr>
            <p:nvPr/>
          </p:nvSpPr>
          <p:spPr bwMode="auto">
            <a:xfrm>
              <a:off x="1900238" y="6169025"/>
              <a:ext cx="19050"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Oval 888">
              <a:extLst>
                <a:ext uri="{FF2B5EF4-FFF2-40B4-BE49-F238E27FC236}">
                  <a16:creationId xmlns:a16="http://schemas.microsoft.com/office/drawing/2014/main" id="{14AA83D7-1242-3B49-AB5F-691170331CF0}"/>
                </a:ext>
              </a:extLst>
            </p:cNvPr>
            <p:cNvSpPr>
              <a:spLocks noChangeArrowheads="1"/>
            </p:cNvSpPr>
            <p:nvPr/>
          </p:nvSpPr>
          <p:spPr bwMode="auto">
            <a:xfrm>
              <a:off x="1871663" y="6142038"/>
              <a:ext cx="20638"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Oval 889">
              <a:extLst>
                <a:ext uri="{FF2B5EF4-FFF2-40B4-BE49-F238E27FC236}">
                  <a16:creationId xmlns:a16="http://schemas.microsoft.com/office/drawing/2014/main" id="{E787EC12-C722-BA41-AC64-205E589FD43F}"/>
                </a:ext>
              </a:extLst>
            </p:cNvPr>
            <p:cNvSpPr>
              <a:spLocks noChangeArrowheads="1"/>
            </p:cNvSpPr>
            <p:nvPr/>
          </p:nvSpPr>
          <p:spPr bwMode="auto">
            <a:xfrm>
              <a:off x="1930400" y="6142038"/>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Oval 890">
              <a:extLst>
                <a:ext uri="{FF2B5EF4-FFF2-40B4-BE49-F238E27FC236}">
                  <a16:creationId xmlns:a16="http://schemas.microsoft.com/office/drawing/2014/main" id="{DF970D09-C824-E048-BFB1-B1900C9ED77D}"/>
                </a:ext>
              </a:extLst>
            </p:cNvPr>
            <p:cNvSpPr>
              <a:spLocks noChangeArrowheads="1"/>
            </p:cNvSpPr>
            <p:nvPr/>
          </p:nvSpPr>
          <p:spPr bwMode="auto">
            <a:xfrm>
              <a:off x="1871663" y="6197600"/>
              <a:ext cx="20638"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Oval 891">
              <a:extLst>
                <a:ext uri="{FF2B5EF4-FFF2-40B4-BE49-F238E27FC236}">
                  <a16:creationId xmlns:a16="http://schemas.microsoft.com/office/drawing/2014/main" id="{09632513-3159-6D4F-B239-F06749AF1CC1}"/>
                </a:ext>
              </a:extLst>
            </p:cNvPr>
            <p:cNvSpPr>
              <a:spLocks noChangeArrowheads="1"/>
            </p:cNvSpPr>
            <p:nvPr/>
          </p:nvSpPr>
          <p:spPr bwMode="auto">
            <a:xfrm>
              <a:off x="1930400" y="61976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Oval 892">
              <a:extLst>
                <a:ext uri="{FF2B5EF4-FFF2-40B4-BE49-F238E27FC236}">
                  <a16:creationId xmlns:a16="http://schemas.microsoft.com/office/drawing/2014/main" id="{0621A969-9D59-3249-B207-0AC70835F235}"/>
                </a:ext>
              </a:extLst>
            </p:cNvPr>
            <p:cNvSpPr>
              <a:spLocks noChangeArrowheads="1"/>
            </p:cNvSpPr>
            <p:nvPr/>
          </p:nvSpPr>
          <p:spPr bwMode="auto">
            <a:xfrm>
              <a:off x="1674813" y="6227763"/>
              <a:ext cx="20638"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Oval 893">
              <a:extLst>
                <a:ext uri="{FF2B5EF4-FFF2-40B4-BE49-F238E27FC236}">
                  <a16:creationId xmlns:a16="http://schemas.microsoft.com/office/drawing/2014/main" id="{2DD1AD03-DDDC-BD47-9A47-5301FAABEF7D}"/>
                </a:ext>
              </a:extLst>
            </p:cNvPr>
            <p:cNvSpPr>
              <a:spLocks noChangeArrowheads="1"/>
            </p:cNvSpPr>
            <p:nvPr/>
          </p:nvSpPr>
          <p:spPr bwMode="auto">
            <a:xfrm>
              <a:off x="1674813" y="6283325"/>
              <a:ext cx="20638"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Oval 894">
              <a:extLst>
                <a:ext uri="{FF2B5EF4-FFF2-40B4-BE49-F238E27FC236}">
                  <a16:creationId xmlns:a16="http://schemas.microsoft.com/office/drawing/2014/main" id="{214B41E3-640E-1C4F-A41D-50EDC783DB30}"/>
                </a:ext>
              </a:extLst>
            </p:cNvPr>
            <p:cNvSpPr>
              <a:spLocks noChangeArrowheads="1"/>
            </p:cNvSpPr>
            <p:nvPr/>
          </p:nvSpPr>
          <p:spPr bwMode="auto">
            <a:xfrm>
              <a:off x="1646238" y="62563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Oval 895">
              <a:extLst>
                <a:ext uri="{FF2B5EF4-FFF2-40B4-BE49-F238E27FC236}">
                  <a16:creationId xmlns:a16="http://schemas.microsoft.com/office/drawing/2014/main" id="{9969C375-FD2C-1140-983A-9F94B9C31E71}"/>
                </a:ext>
              </a:extLst>
            </p:cNvPr>
            <p:cNvSpPr>
              <a:spLocks noChangeArrowheads="1"/>
            </p:cNvSpPr>
            <p:nvPr/>
          </p:nvSpPr>
          <p:spPr bwMode="auto">
            <a:xfrm>
              <a:off x="1701800" y="6256338"/>
              <a:ext cx="20638"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Oval 896">
              <a:extLst>
                <a:ext uri="{FF2B5EF4-FFF2-40B4-BE49-F238E27FC236}">
                  <a16:creationId xmlns:a16="http://schemas.microsoft.com/office/drawing/2014/main" id="{FDA36838-C50F-7848-83F6-98022344AD93}"/>
                </a:ext>
              </a:extLst>
            </p:cNvPr>
            <p:cNvSpPr>
              <a:spLocks noChangeArrowheads="1"/>
            </p:cNvSpPr>
            <p:nvPr/>
          </p:nvSpPr>
          <p:spPr bwMode="auto">
            <a:xfrm>
              <a:off x="1646238" y="6313488"/>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Oval 897">
              <a:extLst>
                <a:ext uri="{FF2B5EF4-FFF2-40B4-BE49-F238E27FC236}">
                  <a16:creationId xmlns:a16="http://schemas.microsoft.com/office/drawing/2014/main" id="{44CC8F0F-8E32-D240-80DB-8FDE16094B37}"/>
                </a:ext>
              </a:extLst>
            </p:cNvPr>
            <p:cNvSpPr>
              <a:spLocks noChangeArrowheads="1"/>
            </p:cNvSpPr>
            <p:nvPr/>
          </p:nvSpPr>
          <p:spPr bwMode="auto">
            <a:xfrm>
              <a:off x="1701800" y="6313488"/>
              <a:ext cx="20638"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Oval 898">
              <a:extLst>
                <a:ext uri="{FF2B5EF4-FFF2-40B4-BE49-F238E27FC236}">
                  <a16:creationId xmlns:a16="http://schemas.microsoft.com/office/drawing/2014/main" id="{D727AEC6-5A14-6744-840C-A93169FE60A6}"/>
                </a:ext>
              </a:extLst>
            </p:cNvPr>
            <p:cNvSpPr>
              <a:spLocks noChangeArrowheads="1"/>
            </p:cNvSpPr>
            <p:nvPr/>
          </p:nvSpPr>
          <p:spPr bwMode="auto">
            <a:xfrm>
              <a:off x="1731963" y="6227763"/>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Oval 899">
              <a:extLst>
                <a:ext uri="{FF2B5EF4-FFF2-40B4-BE49-F238E27FC236}">
                  <a16:creationId xmlns:a16="http://schemas.microsoft.com/office/drawing/2014/main" id="{DB6AF2C1-9750-F44F-99FC-2262F1EB7C9E}"/>
                </a:ext>
              </a:extLst>
            </p:cNvPr>
            <p:cNvSpPr>
              <a:spLocks noChangeArrowheads="1"/>
            </p:cNvSpPr>
            <p:nvPr/>
          </p:nvSpPr>
          <p:spPr bwMode="auto">
            <a:xfrm>
              <a:off x="1787525" y="6227763"/>
              <a:ext cx="19050"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Oval 900">
              <a:extLst>
                <a:ext uri="{FF2B5EF4-FFF2-40B4-BE49-F238E27FC236}">
                  <a16:creationId xmlns:a16="http://schemas.microsoft.com/office/drawing/2014/main" id="{FA9538DE-30FF-E346-BEDA-DE9704F09C5E}"/>
                </a:ext>
              </a:extLst>
            </p:cNvPr>
            <p:cNvSpPr>
              <a:spLocks noChangeArrowheads="1"/>
            </p:cNvSpPr>
            <p:nvPr/>
          </p:nvSpPr>
          <p:spPr bwMode="auto">
            <a:xfrm>
              <a:off x="1731963" y="62833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Oval 901">
              <a:extLst>
                <a:ext uri="{FF2B5EF4-FFF2-40B4-BE49-F238E27FC236}">
                  <a16:creationId xmlns:a16="http://schemas.microsoft.com/office/drawing/2014/main" id="{08AF1026-E0D0-704E-A35D-D86C002AF7DB}"/>
                </a:ext>
              </a:extLst>
            </p:cNvPr>
            <p:cNvSpPr>
              <a:spLocks noChangeArrowheads="1"/>
            </p:cNvSpPr>
            <p:nvPr/>
          </p:nvSpPr>
          <p:spPr bwMode="auto">
            <a:xfrm>
              <a:off x="1787525" y="6283325"/>
              <a:ext cx="19050"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Oval 902">
              <a:extLst>
                <a:ext uri="{FF2B5EF4-FFF2-40B4-BE49-F238E27FC236}">
                  <a16:creationId xmlns:a16="http://schemas.microsoft.com/office/drawing/2014/main" id="{793710E3-6327-0A42-9E78-A065595D78CE}"/>
                </a:ext>
              </a:extLst>
            </p:cNvPr>
            <p:cNvSpPr>
              <a:spLocks noChangeArrowheads="1"/>
            </p:cNvSpPr>
            <p:nvPr/>
          </p:nvSpPr>
          <p:spPr bwMode="auto">
            <a:xfrm>
              <a:off x="1758950" y="62563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Oval 903">
              <a:extLst>
                <a:ext uri="{FF2B5EF4-FFF2-40B4-BE49-F238E27FC236}">
                  <a16:creationId xmlns:a16="http://schemas.microsoft.com/office/drawing/2014/main" id="{F9E356BE-240D-3B40-930A-6233AB5F49A8}"/>
                </a:ext>
              </a:extLst>
            </p:cNvPr>
            <p:cNvSpPr>
              <a:spLocks noChangeArrowheads="1"/>
            </p:cNvSpPr>
            <p:nvPr/>
          </p:nvSpPr>
          <p:spPr bwMode="auto">
            <a:xfrm>
              <a:off x="1817688" y="62563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Oval 904">
              <a:extLst>
                <a:ext uri="{FF2B5EF4-FFF2-40B4-BE49-F238E27FC236}">
                  <a16:creationId xmlns:a16="http://schemas.microsoft.com/office/drawing/2014/main" id="{44D27DC5-54BC-404F-952D-87E046F12D10}"/>
                </a:ext>
              </a:extLst>
            </p:cNvPr>
            <p:cNvSpPr>
              <a:spLocks noChangeArrowheads="1"/>
            </p:cNvSpPr>
            <p:nvPr/>
          </p:nvSpPr>
          <p:spPr bwMode="auto">
            <a:xfrm>
              <a:off x="1758950" y="6313488"/>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Oval 905">
              <a:extLst>
                <a:ext uri="{FF2B5EF4-FFF2-40B4-BE49-F238E27FC236}">
                  <a16:creationId xmlns:a16="http://schemas.microsoft.com/office/drawing/2014/main" id="{BE5C825C-4292-D74D-A256-420574DB362E}"/>
                </a:ext>
              </a:extLst>
            </p:cNvPr>
            <p:cNvSpPr>
              <a:spLocks noChangeArrowheads="1"/>
            </p:cNvSpPr>
            <p:nvPr/>
          </p:nvSpPr>
          <p:spPr bwMode="auto">
            <a:xfrm>
              <a:off x="1817688" y="6313488"/>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Oval 906">
              <a:extLst>
                <a:ext uri="{FF2B5EF4-FFF2-40B4-BE49-F238E27FC236}">
                  <a16:creationId xmlns:a16="http://schemas.microsoft.com/office/drawing/2014/main" id="{35D82A09-DECA-F747-AD79-5C9712EF18DE}"/>
                </a:ext>
              </a:extLst>
            </p:cNvPr>
            <p:cNvSpPr>
              <a:spLocks noChangeArrowheads="1"/>
            </p:cNvSpPr>
            <p:nvPr/>
          </p:nvSpPr>
          <p:spPr bwMode="auto">
            <a:xfrm>
              <a:off x="1844675" y="6227763"/>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Oval 907">
              <a:extLst>
                <a:ext uri="{FF2B5EF4-FFF2-40B4-BE49-F238E27FC236}">
                  <a16:creationId xmlns:a16="http://schemas.microsoft.com/office/drawing/2014/main" id="{39E5D247-C08C-254C-AB4A-05F32AB29E6F}"/>
                </a:ext>
              </a:extLst>
            </p:cNvPr>
            <p:cNvSpPr>
              <a:spLocks noChangeArrowheads="1"/>
            </p:cNvSpPr>
            <p:nvPr/>
          </p:nvSpPr>
          <p:spPr bwMode="auto">
            <a:xfrm>
              <a:off x="1900238" y="6227763"/>
              <a:ext cx="19050"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Oval 908">
              <a:extLst>
                <a:ext uri="{FF2B5EF4-FFF2-40B4-BE49-F238E27FC236}">
                  <a16:creationId xmlns:a16="http://schemas.microsoft.com/office/drawing/2014/main" id="{ED546089-BB37-9848-B687-5EF126D6EA12}"/>
                </a:ext>
              </a:extLst>
            </p:cNvPr>
            <p:cNvSpPr>
              <a:spLocks noChangeArrowheads="1"/>
            </p:cNvSpPr>
            <p:nvPr/>
          </p:nvSpPr>
          <p:spPr bwMode="auto">
            <a:xfrm>
              <a:off x="1844675" y="62833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Oval 909">
              <a:extLst>
                <a:ext uri="{FF2B5EF4-FFF2-40B4-BE49-F238E27FC236}">
                  <a16:creationId xmlns:a16="http://schemas.microsoft.com/office/drawing/2014/main" id="{94302BEC-C3AF-B046-978A-5055B366FF1B}"/>
                </a:ext>
              </a:extLst>
            </p:cNvPr>
            <p:cNvSpPr>
              <a:spLocks noChangeArrowheads="1"/>
            </p:cNvSpPr>
            <p:nvPr/>
          </p:nvSpPr>
          <p:spPr bwMode="auto">
            <a:xfrm>
              <a:off x="1900238" y="6283325"/>
              <a:ext cx="19050"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Oval 910">
              <a:extLst>
                <a:ext uri="{FF2B5EF4-FFF2-40B4-BE49-F238E27FC236}">
                  <a16:creationId xmlns:a16="http://schemas.microsoft.com/office/drawing/2014/main" id="{A7F082DA-DC49-D74F-AE4F-A542A00211B3}"/>
                </a:ext>
              </a:extLst>
            </p:cNvPr>
            <p:cNvSpPr>
              <a:spLocks noChangeArrowheads="1"/>
            </p:cNvSpPr>
            <p:nvPr/>
          </p:nvSpPr>
          <p:spPr bwMode="auto">
            <a:xfrm>
              <a:off x="1871663" y="6256338"/>
              <a:ext cx="20638"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Oval 911">
              <a:extLst>
                <a:ext uri="{FF2B5EF4-FFF2-40B4-BE49-F238E27FC236}">
                  <a16:creationId xmlns:a16="http://schemas.microsoft.com/office/drawing/2014/main" id="{84AEC1C3-F27B-2C48-B363-B83B0D393164}"/>
                </a:ext>
              </a:extLst>
            </p:cNvPr>
            <p:cNvSpPr>
              <a:spLocks noChangeArrowheads="1"/>
            </p:cNvSpPr>
            <p:nvPr/>
          </p:nvSpPr>
          <p:spPr bwMode="auto">
            <a:xfrm>
              <a:off x="1930400" y="62563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Oval 912">
              <a:extLst>
                <a:ext uri="{FF2B5EF4-FFF2-40B4-BE49-F238E27FC236}">
                  <a16:creationId xmlns:a16="http://schemas.microsoft.com/office/drawing/2014/main" id="{F4E3830D-01AE-9B41-833C-054C94269EDE}"/>
                </a:ext>
              </a:extLst>
            </p:cNvPr>
            <p:cNvSpPr>
              <a:spLocks noChangeArrowheads="1"/>
            </p:cNvSpPr>
            <p:nvPr/>
          </p:nvSpPr>
          <p:spPr bwMode="auto">
            <a:xfrm>
              <a:off x="1871663" y="6313488"/>
              <a:ext cx="20638"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Oval 913">
              <a:extLst>
                <a:ext uri="{FF2B5EF4-FFF2-40B4-BE49-F238E27FC236}">
                  <a16:creationId xmlns:a16="http://schemas.microsoft.com/office/drawing/2014/main" id="{9EC0E92B-256D-DF47-9C6B-5A19D935E171}"/>
                </a:ext>
              </a:extLst>
            </p:cNvPr>
            <p:cNvSpPr>
              <a:spLocks noChangeArrowheads="1"/>
            </p:cNvSpPr>
            <p:nvPr/>
          </p:nvSpPr>
          <p:spPr bwMode="auto">
            <a:xfrm>
              <a:off x="1930400" y="6313488"/>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Oval 914">
              <a:extLst>
                <a:ext uri="{FF2B5EF4-FFF2-40B4-BE49-F238E27FC236}">
                  <a16:creationId xmlns:a16="http://schemas.microsoft.com/office/drawing/2014/main" id="{5C8F8E9E-A0EB-734F-8C19-113B22CD6171}"/>
                </a:ext>
              </a:extLst>
            </p:cNvPr>
            <p:cNvSpPr>
              <a:spLocks noChangeArrowheads="1"/>
            </p:cNvSpPr>
            <p:nvPr/>
          </p:nvSpPr>
          <p:spPr bwMode="auto">
            <a:xfrm>
              <a:off x="1674813" y="6342063"/>
              <a:ext cx="20638"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Oval 915">
              <a:extLst>
                <a:ext uri="{FF2B5EF4-FFF2-40B4-BE49-F238E27FC236}">
                  <a16:creationId xmlns:a16="http://schemas.microsoft.com/office/drawing/2014/main" id="{572AA023-BEA7-EE44-868E-EB17DDC9911E}"/>
                </a:ext>
              </a:extLst>
            </p:cNvPr>
            <p:cNvSpPr>
              <a:spLocks noChangeArrowheads="1"/>
            </p:cNvSpPr>
            <p:nvPr/>
          </p:nvSpPr>
          <p:spPr bwMode="auto">
            <a:xfrm>
              <a:off x="1646238" y="63690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Oval 916">
              <a:extLst>
                <a:ext uri="{FF2B5EF4-FFF2-40B4-BE49-F238E27FC236}">
                  <a16:creationId xmlns:a16="http://schemas.microsoft.com/office/drawing/2014/main" id="{61BE1B77-FB43-9C46-9038-190BCEC1DEC4}"/>
                </a:ext>
              </a:extLst>
            </p:cNvPr>
            <p:cNvSpPr>
              <a:spLocks noChangeArrowheads="1"/>
            </p:cNvSpPr>
            <p:nvPr/>
          </p:nvSpPr>
          <p:spPr bwMode="auto">
            <a:xfrm>
              <a:off x="1701800" y="6369050"/>
              <a:ext cx="20638"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Oval 917">
              <a:extLst>
                <a:ext uri="{FF2B5EF4-FFF2-40B4-BE49-F238E27FC236}">
                  <a16:creationId xmlns:a16="http://schemas.microsoft.com/office/drawing/2014/main" id="{4960E5D8-F122-2347-BC55-4D50D9A385DD}"/>
                </a:ext>
              </a:extLst>
            </p:cNvPr>
            <p:cNvSpPr>
              <a:spLocks noChangeArrowheads="1"/>
            </p:cNvSpPr>
            <p:nvPr/>
          </p:nvSpPr>
          <p:spPr bwMode="auto">
            <a:xfrm>
              <a:off x="1731963" y="6342063"/>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Oval 918">
              <a:extLst>
                <a:ext uri="{FF2B5EF4-FFF2-40B4-BE49-F238E27FC236}">
                  <a16:creationId xmlns:a16="http://schemas.microsoft.com/office/drawing/2014/main" id="{77127B5D-9182-D24A-970F-9855B26A70CA}"/>
                </a:ext>
              </a:extLst>
            </p:cNvPr>
            <p:cNvSpPr>
              <a:spLocks noChangeArrowheads="1"/>
            </p:cNvSpPr>
            <p:nvPr/>
          </p:nvSpPr>
          <p:spPr bwMode="auto">
            <a:xfrm>
              <a:off x="1787525" y="6342063"/>
              <a:ext cx="19050"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Oval 919">
              <a:extLst>
                <a:ext uri="{FF2B5EF4-FFF2-40B4-BE49-F238E27FC236}">
                  <a16:creationId xmlns:a16="http://schemas.microsoft.com/office/drawing/2014/main" id="{51B3CF8E-44D6-684F-A65C-42033899BC92}"/>
                </a:ext>
              </a:extLst>
            </p:cNvPr>
            <p:cNvSpPr>
              <a:spLocks noChangeArrowheads="1"/>
            </p:cNvSpPr>
            <p:nvPr/>
          </p:nvSpPr>
          <p:spPr bwMode="auto">
            <a:xfrm>
              <a:off x="1758950" y="63690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Oval 920">
              <a:extLst>
                <a:ext uri="{FF2B5EF4-FFF2-40B4-BE49-F238E27FC236}">
                  <a16:creationId xmlns:a16="http://schemas.microsoft.com/office/drawing/2014/main" id="{A81EE9C2-F226-A149-8A04-62D74FFFF8C3}"/>
                </a:ext>
              </a:extLst>
            </p:cNvPr>
            <p:cNvSpPr>
              <a:spLocks noChangeArrowheads="1"/>
            </p:cNvSpPr>
            <p:nvPr/>
          </p:nvSpPr>
          <p:spPr bwMode="auto">
            <a:xfrm>
              <a:off x="1817688" y="63690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Oval 921">
              <a:extLst>
                <a:ext uri="{FF2B5EF4-FFF2-40B4-BE49-F238E27FC236}">
                  <a16:creationId xmlns:a16="http://schemas.microsoft.com/office/drawing/2014/main" id="{9F747F56-C874-2340-98C5-D1AE2CEE8DFE}"/>
                </a:ext>
              </a:extLst>
            </p:cNvPr>
            <p:cNvSpPr>
              <a:spLocks noChangeArrowheads="1"/>
            </p:cNvSpPr>
            <p:nvPr/>
          </p:nvSpPr>
          <p:spPr bwMode="auto">
            <a:xfrm>
              <a:off x="1844675" y="6342063"/>
              <a:ext cx="17463"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Oval 922">
              <a:extLst>
                <a:ext uri="{FF2B5EF4-FFF2-40B4-BE49-F238E27FC236}">
                  <a16:creationId xmlns:a16="http://schemas.microsoft.com/office/drawing/2014/main" id="{0CD756E7-D5F6-1941-B474-E47D34389F4E}"/>
                </a:ext>
              </a:extLst>
            </p:cNvPr>
            <p:cNvSpPr>
              <a:spLocks noChangeArrowheads="1"/>
            </p:cNvSpPr>
            <p:nvPr/>
          </p:nvSpPr>
          <p:spPr bwMode="auto">
            <a:xfrm>
              <a:off x="1900238" y="6342063"/>
              <a:ext cx="19050" cy="174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Oval 923">
              <a:extLst>
                <a:ext uri="{FF2B5EF4-FFF2-40B4-BE49-F238E27FC236}">
                  <a16:creationId xmlns:a16="http://schemas.microsoft.com/office/drawing/2014/main" id="{B1FB65F4-2607-4A45-B6D6-49DA84D821C0}"/>
                </a:ext>
              </a:extLst>
            </p:cNvPr>
            <p:cNvSpPr>
              <a:spLocks noChangeArrowheads="1"/>
            </p:cNvSpPr>
            <p:nvPr/>
          </p:nvSpPr>
          <p:spPr bwMode="auto">
            <a:xfrm>
              <a:off x="1871663" y="6369050"/>
              <a:ext cx="20638"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Oval 924">
              <a:extLst>
                <a:ext uri="{FF2B5EF4-FFF2-40B4-BE49-F238E27FC236}">
                  <a16:creationId xmlns:a16="http://schemas.microsoft.com/office/drawing/2014/main" id="{F9010942-EAF0-5D40-88E1-59777363C9F0}"/>
                </a:ext>
              </a:extLst>
            </p:cNvPr>
            <p:cNvSpPr>
              <a:spLocks noChangeArrowheads="1"/>
            </p:cNvSpPr>
            <p:nvPr/>
          </p:nvSpPr>
          <p:spPr bwMode="auto">
            <a:xfrm>
              <a:off x="1930400" y="63690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5" name="Freeform 925">
            <a:extLst>
              <a:ext uri="{FF2B5EF4-FFF2-40B4-BE49-F238E27FC236}">
                <a16:creationId xmlns:a16="http://schemas.microsoft.com/office/drawing/2014/main" id="{C7AF439F-8E96-364E-B0C8-CBAF434F46FF}"/>
              </a:ext>
            </a:extLst>
          </p:cNvPr>
          <p:cNvSpPr>
            <a:spLocks noEditPoints="1"/>
          </p:cNvSpPr>
          <p:nvPr/>
        </p:nvSpPr>
        <p:spPr bwMode="auto">
          <a:xfrm>
            <a:off x="1531820" y="365125"/>
            <a:ext cx="546100" cy="550863"/>
          </a:xfrm>
          <a:custGeom>
            <a:avLst/>
            <a:gdLst>
              <a:gd name="T0" fmla="*/ 10 w 160"/>
              <a:gd name="T1" fmla="*/ 0 h 160"/>
              <a:gd name="T2" fmla="*/ 0 w 160"/>
              <a:gd name="T3" fmla="*/ 65 h 160"/>
              <a:gd name="T4" fmla="*/ 65 w 160"/>
              <a:gd name="T5" fmla="*/ 74 h 160"/>
              <a:gd name="T6" fmla="*/ 74 w 160"/>
              <a:gd name="T7" fmla="*/ 10 h 160"/>
              <a:gd name="T8" fmla="*/ 69 w 160"/>
              <a:gd name="T9" fmla="*/ 65 h 160"/>
              <a:gd name="T10" fmla="*/ 10 w 160"/>
              <a:gd name="T11" fmla="*/ 69 h 160"/>
              <a:gd name="T12" fmla="*/ 6 w 160"/>
              <a:gd name="T13" fmla="*/ 10 h 160"/>
              <a:gd name="T14" fmla="*/ 65 w 160"/>
              <a:gd name="T15" fmla="*/ 6 h 160"/>
              <a:gd name="T16" fmla="*/ 69 w 160"/>
              <a:gd name="T17" fmla="*/ 65 h 160"/>
              <a:gd name="T18" fmla="*/ 95 w 160"/>
              <a:gd name="T19" fmla="*/ 0 h 160"/>
              <a:gd name="T20" fmla="*/ 86 w 160"/>
              <a:gd name="T21" fmla="*/ 65 h 160"/>
              <a:gd name="T22" fmla="*/ 150 w 160"/>
              <a:gd name="T23" fmla="*/ 74 h 160"/>
              <a:gd name="T24" fmla="*/ 160 w 160"/>
              <a:gd name="T25" fmla="*/ 10 h 160"/>
              <a:gd name="T26" fmla="*/ 154 w 160"/>
              <a:gd name="T27" fmla="*/ 65 h 160"/>
              <a:gd name="T28" fmla="*/ 95 w 160"/>
              <a:gd name="T29" fmla="*/ 69 h 160"/>
              <a:gd name="T30" fmla="*/ 91 w 160"/>
              <a:gd name="T31" fmla="*/ 10 h 160"/>
              <a:gd name="T32" fmla="*/ 150 w 160"/>
              <a:gd name="T33" fmla="*/ 6 h 160"/>
              <a:gd name="T34" fmla="*/ 154 w 160"/>
              <a:gd name="T35" fmla="*/ 65 h 160"/>
              <a:gd name="T36" fmla="*/ 10 w 160"/>
              <a:gd name="T37" fmla="*/ 86 h 160"/>
              <a:gd name="T38" fmla="*/ 0 w 160"/>
              <a:gd name="T39" fmla="*/ 150 h 160"/>
              <a:gd name="T40" fmla="*/ 65 w 160"/>
              <a:gd name="T41" fmla="*/ 160 h 160"/>
              <a:gd name="T42" fmla="*/ 74 w 160"/>
              <a:gd name="T43" fmla="*/ 95 h 160"/>
              <a:gd name="T44" fmla="*/ 69 w 160"/>
              <a:gd name="T45" fmla="*/ 150 h 160"/>
              <a:gd name="T46" fmla="*/ 10 w 160"/>
              <a:gd name="T47" fmla="*/ 154 h 160"/>
              <a:gd name="T48" fmla="*/ 6 w 160"/>
              <a:gd name="T49" fmla="*/ 95 h 160"/>
              <a:gd name="T50" fmla="*/ 65 w 160"/>
              <a:gd name="T51" fmla="*/ 91 h 160"/>
              <a:gd name="T52" fmla="*/ 69 w 160"/>
              <a:gd name="T53" fmla="*/ 150 h 160"/>
              <a:gd name="T54" fmla="*/ 157 w 160"/>
              <a:gd name="T55" fmla="*/ 126 h 160"/>
              <a:gd name="T56" fmla="*/ 126 w 160"/>
              <a:gd name="T57" fmla="*/ 157 h 160"/>
              <a:gd name="T58" fmla="*/ 120 w 160"/>
              <a:gd name="T59" fmla="*/ 157 h 160"/>
              <a:gd name="T60" fmla="*/ 89 w 160"/>
              <a:gd name="T61" fmla="*/ 126 h 160"/>
              <a:gd name="T62" fmla="*/ 89 w 160"/>
              <a:gd name="T63" fmla="*/ 120 h 160"/>
              <a:gd name="T64" fmla="*/ 120 w 160"/>
              <a:gd name="T65" fmla="*/ 89 h 160"/>
              <a:gd name="T66" fmla="*/ 126 w 160"/>
              <a:gd name="T67" fmla="*/ 89 h 160"/>
              <a:gd name="T68" fmla="*/ 157 w 160"/>
              <a:gd name="T69"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65" y="0"/>
                </a:moveTo>
                <a:cubicBezTo>
                  <a:pt x="10" y="0"/>
                  <a:pt x="10" y="0"/>
                  <a:pt x="10" y="0"/>
                </a:cubicBezTo>
                <a:cubicBezTo>
                  <a:pt x="4" y="0"/>
                  <a:pt x="0" y="4"/>
                  <a:pt x="0" y="10"/>
                </a:cubicBezTo>
                <a:cubicBezTo>
                  <a:pt x="0" y="65"/>
                  <a:pt x="0" y="65"/>
                  <a:pt x="0" y="65"/>
                </a:cubicBezTo>
                <a:cubicBezTo>
                  <a:pt x="0" y="70"/>
                  <a:pt x="4" y="74"/>
                  <a:pt x="10" y="74"/>
                </a:cubicBezTo>
                <a:cubicBezTo>
                  <a:pt x="65" y="74"/>
                  <a:pt x="65" y="74"/>
                  <a:pt x="65" y="74"/>
                </a:cubicBezTo>
                <a:cubicBezTo>
                  <a:pt x="70" y="74"/>
                  <a:pt x="74" y="70"/>
                  <a:pt x="74" y="65"/>
                </a:cubicBezTo>
                <a:cubicBezTo>
                  <a:pt x="74" y="10"/>
                  <a:pt x="74" y="10"/>
                  <a:pt x="74" y="10"/>
                </a:cubicBezTo>
                <a:cubicBezTo>
                  <a:pt x="74" y="4"/>
                  <a:pt x="70" y="0"/>
                  <a:pt x="65" y="0"/>
                </a:cubicBezTo>
                <a:close/>
                <a:moveTo>
                  <a:pt x="69" y="65"/>
                </a:moveTo>
                <a:cubicBezTo>
                  <a:pt x="69" y="67"/>
                  <a:pt x="67" y="69"/>
                  <a:pt x="65" y="69"/>
                </a:cubicBezTo>
                <a:cubicBezTo>
                  <a:pt x="10" y="69"/>
                  <a:pt x="10" y="69"/>
                  <a:pt x="10" y="69"/>
                </a:cubicBezTo>
                <a:cubicBezTo>
                  <a:pt x="7" y="69"/>
                  <a:pt x="6" y="67"/>
                  <a:pt x="6" y="65"/>
                </a:cubicBezTo>
                <a:cubicBezTo>
                  <a:pt x="6" y="10"/>
                  <a:pt x="6" y="10"/>
                  <a:pt x="6" y="10"/>
                </a:cubicBezTo>
                <a:cubicBezTo>
                  <a:pt x="6" y="7"/>
                  <a:pt x="7" y="6"/>
                  <a:pt x="10" y="6"/>
                </a:cubicBezTo>
                <a:cubicBezTo>
                  <a:pt x="65" y="6"/>
                  <a:pt x="65" y="6"/>
                  <a:pt x="65" y="6"/>
                </a:cubicBezTo>
                <a:cubicBezTo>
                  <a:pt x="67" y="6"/>
                  <a:pt x="69" y="7"/>
                  <a:pt x="69" y="10"/>
                </a:cubicBezTo>
                <a:lnTo>
                  <a:pt x="69" y="65"/>
                </a:lnTo>
                <a:close/>
                <a:moveTo>
                  <a:pt x="150" y="0"/>
                </a:moveTo>
                <a:cubicBezTo>
                  <a:pt x="95" y="0"/>
                  <a:pt x="95" y="0"/>
                  <a:pt x="95" y="0"/>
                </a:cubicBezTo>
                <a:cubicBezTo>
                  <a:pt x="90" y="0"/>
                  <a:pt x="86" y="4"/>
                  <a:pt x="86" y="10"/>
                </a:cubicBezTo>
                <a:cubicBezTo>
                  <a:pt x="86" y="65"/>
                  <a:pt x="86" y="65"/>
                  <a:pt x="86" y="65"/>
                </a:cubicBezTo>
                <a:cubicBezTo>
                  <a:pt x="86" y="70"/>
                  <a:pt x="90" y="74"/>
                  <a:pt x="95" y="74"/>
                </a:cubicBezTo>
                <a:cubicBezTo>
                  <a:pt x="150" y="74"/>
                  <a:pt x="150" y="74"/>
                  <a:pt x="150" y="74"/>
                </a:cubicBezTo>
                <a:cubicBezTo>
                  <a:pt x="156" y="74"/>
                  <a:pt x="160" y="70"/>
                  <a:pt x="160" y="65"/>
                </a:cubicBezTo>
                <a:cubicBezTo>
                  <a:pt x="160" y="10"/>
                  <a:pt x="160" y="10"/>
                  <a:pt x="160" y="10"/>
                </a:cubicBezTo>
                <a:cubicBezTo>
                  <a:pt x="160" y="4"/>
                  <a:pt x="156" y="0"/>
                  <a:pt x="150" y="0"/>
                </a:cubicBezTo>
                <a:close/>
                <a:moveTo>
                  <a:pt x="154" y="65"/>
                </a:moveTo>
                <a:cubicBezTo>
                  <a:pt x="154" y="67"/>
                  <a:pt x="153" y="69"/>
                  <a:pt x="150" y="69"/>
                </a:cubicBezTo>
                <a:cubicBezTo>
                  <a:pt x="95" y="69"/>
                  <a:pt x="95" y="69"/>
                  <a:pt x="95" y="69"/>
                </a:cubicBezTo>
                <a:cubicBezTo>
                  <a:pt x="93" y="69"/>
                  <a:pt x="91" y="67"/>
                  <a:pt x="91" y="65"/>
                </a:cubicBezTo>
                <a:cubicBezTo>
                  <a:pt x="91" y="10"/>
                  <a:pt x="91" y="10"/>
                  <a:pt x="91" y="10"/>
                </a:cubicBezTo>
                <a:cubicBezTo>
                  <a:pt x="91" y="7"/>
                  <a:pt x="93" y="6"/>
                  <a:pt x="95" y="6"/>
                </a:cubicBezTo>
                <a:cubicBezTo>
                  <a:pt x="150" y="6"/>
                  <a:pt x="150" y="6"/>
                  <a:pt x="150" y="6"/>
                </a:cubicBezTo>
                <a:cubicBezTo>
                  <a:pt x="153" y="6"/>
                  <a:pt x="154" y="7"/>
                  <a:pt x="154" y="10"/>
                </a:cubicBezTo>
                <a:lnTo>
                  <a:pt x="154" y="65"/>
                </a:lnTo>
                <a:close/>
                <a:moveTo>
                  <a:pt x="65" y="86"/>
                </a:moveTo>
                <a:cubicBezTo>
                  <a:pt x="10" y="86"/>
                  <a:pt x="10" y="86"/>
                  <a:pt x="10" y="86"/>
                </a:cubicBezTo>
                <a:cubicBezTo>
                  <a:pt x="4" y="86"/>
                  <a:pt x="0" y="90"/>
                  <a:pt x="0" y="95"/>
                </a:cubicBezTo>
                <a:cubicBezTo>
                  <a:pt x="0" y="150"/>
                  <a:pt x="0" y="150"/>
                  <a:pt x="0" y="150"/>
                </a:cubicBezTo>
                <a:cubicBezTo>
                  <a:pt x="0" y="156"/>
                  <a:pt x="4" y="160"/>
                  <a:pt x="10" y="160"/>
                </a:cubicBezTo>
                <a:cubicBezTo>
                  <a:pt x="65" y="160"/>
                  <a:pt x="65" y="160"/>
                  <a:pt x="65" y="160"/>
                </a:cubicBezTo>
                <a:cubicBezTo>
                  <a:pt x="70" y="160"/>
                  <a:pt x="74" y="156"/>
                  <a:pt x="74" y="150"/>
                </a:cubicBezTo>
                <a:cubicBezTo>
                  <a:pt x="74" y="95"/>
                  <a:pt x="74" y="95"/>
                  <a:pt x="74" y="95"/>
                </a:cubicBezTo>
                <a:cubicBezTo>
                  <a:pt x="74" y="90"/>
                  <a:pt x="70" y="86"/>
                  <a:pt x="65" y="86"/>
                </a:cubicBezTo>
                <a:close/>
                <a:moveTo>
                  <a:pt x="69" y="150"/>
                </a:moveTo>
                <a:cubicBezTo>
                  <a:pt x="69" y="153"/>
                  <a:pt x="67" y="154"/>
                  <a:pt x="65" y="154"/>
                </a:cubicBezTo>
                <a:cubicBezTo>
                  <a:pt x="10" y="154"/>
                  <a:pt x="10" y="154"/>
                  <a:pt x="10" y="154"/>
                </a:cubicBezTo>
                <a:cubicBezTo>
                  <a:pt x="7" y="154"/>
                  <a:pt x="6" y="153"/>
                  <a:pt x="6" y="150"/>
                </a:cubicBezTo>
                <a:cubicBezTo>
                  <a:pt x="6" y="95"/>
                  <a:pt x="6" y="95"/>
                  <a:pt x="6" y="95"/>
                </a:cubicBezTo>
                <a:cubicBezTo>
                  <a:pt x="6" y="93"/>
                  <a:pt x="7" y="91"/>
                  <a:pt x="10" y="91"/>
                </a:cubicBezTo>
                <a:cubicBezTo>
                  <a:pt x="65" y="91"/>
                  <a:pt x="65" y="91"/>
                  <a:pt x="65" y="91"/>
                </a:cubicBezTo>
                <a:cubicBezTo>
                  <a:pt x="67" y="91"/>
                  <a:pt x="69" y="93"/>
                  <a:pt x="69" y="95"/>
                </a:cubicBezTo>
                <a:lnTo>
                  <a:pt x="69" y="150"/>
                </a:lnTo>
                <a:close/>
                <a:moveTo>
                  <a:pt x="160" y="123"/>
                </a:moveTo>
                <a:cubicBezTo>
                  <a:pt x="160" y="124"/>
                  <a:pt x="159" y="126"/>
                  <a:pt x="157" y="126"/>
                </a:cubicBezTo>
                <a:cubicBezTo>
                  <a:pt x="126" y="126"/>
                  <a:pt x="126" y="126"/>
                  <a:pt x="126" y="126"/>
                </a:cubicBezTo>
                <a:cubicBezTo>
                  <a:pt x="126" y="157"/>
                  <a:pt x="126" y="157"/>
                  <a:pt x="126" y="157"/>
                </a:cubicBezTo>
                <a:cubicBezTo>
                  <a:pt x="126" y="159"/>
                  <a:pt x="124" y="160"/>
                  <a:pt x="123" y="160"/>
                </a:cubicBezTo>
                <a:cubicBezTo>
                  <a:pt x="121" y="160"/>
                  <a:pt x="120" y="159"/>
                  <a:pt x="120" y="157"/>
                </a:cubicBezTo>
                <a:cubicBezTo>
                  <a:pt x="120" y="126"/>
                  <a:pt x="120" y="126"/>
                  <a:pt x="120" y="126"/>
                </a:cubicBezTo>
                <a:cubicBezTo>
                  <a:pt x="89" y="126"/>
                  <a:pt x="89" y="126"/>
                  <a:pt x="89" y="126"/>
                </a:cubicBezTo>
                <a:cubicBezTo>
                  <a:pt x="87" y="126"/>
                  <a:pt x="86" y="124"/>
                  <a:pt x="86" y="123"/>
                </a:cubicBezTo>
                <a:cubicBezTo>
                  <a:pt x="86" y="121"/>
                  <a:pt x="87" y="120"/>
                  <a:pt x="89" y="120"/>
                </a:cubicBezTo>
                <a:cubicBezTo>
                  <a:pt x="120" y="120"/>
                  <a:pt x="120" y="120"/>
                  <a:pt x="120" y="120"/>
                </a:cubicBezTo>
                <a:cubicBezTo>
                  <a:pt x="120" y="89"/>
                  <a:pt x="120" y="89"/>
                  <a:pt x="120" y="89"/>
                </a:cubicBezTo>
                <a:cubicBezTo>
                  <a:pt x="120" y="87"/>
                  <a:pt x="121" y="86"/>
                  <a:pt x="123" y="86"/>
                </a:cubicBezTo>
                <a:cubicBezTo>
                  <a:pt x="124" y="86"/>
                  <a:pt x="126" y="87"/>
                  <a:pt x="126" y="89"/>
                </a:cubicBezTo>
                <a:cubicBezTo>
                  <a:pt x="126" y="120"/>
                  <a:pt x="126" y="120"/>
                  <a:pt x="126" y="120"/>
                </a:cubicBezTo>
                <a:cubicBezTo>
                  <a:pt x="157" y="120"/>
                  <a:pt x="157" y="120"/>
                  <a:pt x="157" y="120"/>
                </a:cubicBezTo>
                <a:cubicBezTo>
                  <a:pt x="159" y="120"/>
                  <a:pt x="160" y="121"/>
                  <a:pt x="160" y="1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46" name="Freeform 926">
            <a:extLst>
              <a:ext uri="{FF2B5EF4-FFF2-40B4-BE49-F238E27FC236}">
                <a16:creationId xmlns:a16="http://schemas.microsoft.com/office/drawing/2014/main" id="{95112D01-0DD4-F548-B81F-B39B2C9C2077}"/>
              </a:ext>
            </a:extLst>
          </p:cNvPr>
          <p:cNvSpPr>
            <a:spLocks noEditPoints="1"/>
          </p:cNvSpPr>
          <p:nvPr/>
        </p:nvSpPr>
        <p:spPr bwMode="auto">
          <a:xfrm>
            <a:off x="1558808" y="984250"/>
            <a:ext cx="492125" cy="550863"/>
          </a:xfrm>
          <a:custGeom>
            <a:avLst/>
            <a:gdLst>
              <a:gd name="T0" fmla="*/ 136 w 144"/>
              <a:gd name="T1" fmla="*/ 0 h 160"/>
              <a:gd name="T2" fmla="*/ 8 w 144"/>
              <a:gd name="T3" fmla="*/ 0 h 160"/>
              <a:gd name="T4" fmla="*/ 0 w 144"/>
              <a:gd name="T5" fmla="*/ 8 h 160"/>
              <a:gd name="T6" fmla="*/ 0 w 144"/>
              <a:gd name="T7" fmla="*/ 152 h 160"/>
              <a:gd name="T8" fmla="*/ 8 w 144"/>
              <a:gd name="T9" fmla="*/ 160 h 160"/>
              <a:gd name="T10" fmla="*/ 136 w 144"/>
              <a:gd name="T11" fmla="*/ 160 h 160"/>
              <a:gd name="T12" fmla="*/ 144 w 144"/>
              <a:gd name="T13" fmla="*/ 152 h 160"/>
              <a:gd name="T14" fmla="*/ 144 w 144"/>
              <a:gd name="T15" fmla="*/ 8 h 160"/>
              <a:gd name="T16" fmla="*/ 136 w 144"/>
              <a:gd name="T17" fmla="*/ 0 h 160"/>
              <a:gd name="T18" fmla="*/ 8 w 144"/>
              <a:gd name="T19" fmla="*/ 5 h 160"/>
              <a:gd name="T20" fmla="*/ 136 w 144"/>
              <a:gd name="T21" fmla="*/ 5 h 160"/>
              <a:gd name="T22" fmla="*/ 139 w 144"/>
              <a:gd name="T23" fmla="*/ 8 h 160"/>
              <a:gd name="T24" fmla="*/ 139 w 144"/>
              <a:gd name="T25" fmla="*/ 77 h 160"/>
              <a:gd name="T26" fmla="*/ 5 w 144"/>
              <a:gd name="T27" fmla="*/ 77 h 160"/>
              <a:gd name="T28" fmla="*/ 5 w 144"/>
              <a:gd name="T29" fmla="*/ 8 h 160"/>
              <a:gd name="T30" fmla="*/ 8 w 144"/>
              <a:gd name="T31" fmla="*/ 5 h 160"/>
              <a:gd name="T32" fmla="*/ 136 w 144"/>
              <a:gd name="T33" fmla="*/ 155 h 160"/>
              <a:gd name="T34" fmla="*/ 8 w 144"/>
              <a:gd name="T35" fmla="*/ 155 h 160"/>
              <a:gd name="T36" fmla="*/ 5 w 144"/>
              <a:gd name="T37" fmla="*/ 152 h 160"/>
              <a:gd name="T38" fmla="*/ 5 w 144"/>
              <a:gd name="T39" fmla="*/ 83 h 160"/>
              <a:gd name="T40" fmla="*/ 139 w 144"/>
              <a:gd name="T41" fmla="*/ 83 h 160"/>
              <a:gd name="T42" fmla="*/ 139 w 144"/>
              <a:gd name="T43" fmla="*/ 152 h 160"/>
              <a:gd name="T44" fmla="*/ 136 w 144"/>
              <a:gd name="T45" fmla="*/ 155 h 160"/>
              <a:gd name="T46" fmla="*/ 48 w 144"/>
              <a:gd name="T47" fmla="*/ 39 h 160"/>
              <a:gd name="T48" fmla="*/ 48 w 144"/>
              <a:gd name="T49" fmla="*/ 35 h 160"/>
              <a:gd name="T50" fmla="*/ 51 w 144"/>
              <a:gd name="T51" fmla="*/ 32 h 160"/>
              <a:gd name="T52" fmla="*/ 53 w 144"/>
              <a:gd name="T53" fmla="*/ 35 h 160"/>
              <a:gd name="T54" fmla="*/ 53 w 144"/>
              <a:gd name="T55" fmla="*/ 39 h 160"/>
              <a:gd name="T56" fmla="*/ 57 w 144"/>
              <a:gd name="T57" fmla="*/ 43 h 160"/>
              <a:gd name="T58" fmla="*/ 87 w 144"/>
              <a:gd name="T59" fmla="*/ 43 h 160"/>
              <a:gd name="T60" fmla="*/ 91 w 144"/>
              <a:gd name="T61" fmla="*/ 39 h 160"/>
              <a:gd name="T62" fmla="*/ 91 w 144"/>
              <a:gd name="T63" fmla="*/ 35 h 160"/>
              <a:gd name="T64" fmla="*/ 93 w 144"/>
              <a:gd name="T65" fmla="*/ 32 h 160"/>
              <a:gd name="T66" fmla="*/ 96 w 144"/>
              <a:gd name="T67" fmla="*/ 35 h 160"/>
              <a:gd name="T68" fmla="*/ 96 w 144"/>
              <a:gd name="T69" fmla="*/ 39 h 160"/>
              <a:gd name="T70" fmla="*/ 87 w 144"/>
              <a:gd name="T71" fmla="*/ 48 h 160"/>
              <a:gd name="T72" fmla="*/ 57 w 144"/>
              <a:gd name="T73" fmla="*/ 48 h 160"/>
              <a:gd name="T74" fmla="*/ 48 w 144"/>
              <a:gd name="T75" fmla="*/ 39 h 160"/>
              <a:gd name="T76" fmla="*/ 96 w 144"/>
              <a:gd name="T77" fmla="*/ 112 h 160"/>
              <a:gd name="T78" fmla="*/ 96 w 144"/>
              <a:gd name="T79" fmla="*/ 116 h 160"/>
              <a:gd name="T80" fmla="*/ 87 w 144"/>
              <a:gd name="T81" fmla="*/ 125 h 160"/>
              <a:gd name="T82" fmla="*/ 57 w 144"/>
              <a:gd name="T83" fmla="*/ 125 h 160"/>
              <a:gd name="T84" fmla="*/ 48 w 144"/>
              <a:gd name="T85" fmla="*/ 116 h 160"/>
              <a:gd name="T86" fmla="*/ 48 w 144"/>
              <a:gd name="T87" fmla="*/ 112 h 160"/>
              <a:gd name="T88" fmla="*/ 51 w 144"/>
              <a:gd name="T89" fmla="*/ 109 h 160"/>
              <a:gd name="T90" fmla="*/ 53 w 144"/>
              <a:gd name="T91" fmla="*/ 112 h 160"/>
              <a:gd name="T92" fmla="*/ 53 w 144"/>
              <a:gd name="T93" fmla="*/ 116 h 160"/>
              <a:gd name="T94" fmla="*/ 57 w 144"/>
              <a:gd name="T95" fmla="*/ 120 h 160"/>
              <a:gd name="T96" fmla="*/ 87 w 144"/>
              <a:gd name="T97" fmla="*/ 120 h 160"/>
              <a:gd name="T98" fmla="*/ 91 w 144"/>
              <a:gd name="T99" fmla="*/ 116 h 160"/>
              <a:gd name="T100" fmla="*/ 91 w 144"/>
              <a:gd name="T101" fmla="*/ 112 h 160"/>
              <a:gd name="T102" fmla="*/ 93 w 144"/>
              <a:gd name="T103" fmla="*/ 109 h 160"/>
              <a:gd name="T104" fmla="*/ 96 w 144"/>
              <a:gd name="T105" fmla="*/ 11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160">
                <a:moveTo>
                  <a:pt x="136" y="0"/>
                </a:moveTo>
                <a:cubicBezTo>
                  <a:pt x="8" y="0"/>
                  <a:pt x="8" y="0"/>
                  <a:pt x="8" y="0"/>
                </a:cubicBezTo>
                <a:cubicBezTo>
                  <a:pt x="3" y="0"/>
                  <a:pt x="0" y="3"/>
                  <a:pt x="0" y="8"/>
                </a:cubicBezTo>
                <a:cubicBezTo>
                  <a:pt x="0" y="152"/>
                  <a:pt x="0" y="152"/>
                  <a:pt x="0" y="152"/>
                </a:cubicBezTo>
                <a:cubicBezTo>
                  <a:pt x="0" y="157"/>
                  <a:pt x="3" y="160"/>
                  <a:pt x="8" y="160"/>
                </a:cubicBezTo>
                <a:cubicBezTo>
                  <a:pt x="136" y="160"/>
                  <a:pt x="136" y="160"/>
                  <a:pt x="136" y="160"/>
                </a:cubicBezTo>
                <a:cubicBezTo>
                  <a:pt x="141" y="160"/>
                  <a:pt x="144" y="157"/>
                  <a:pt x="144" y="152"/>
                </a:cubicBezTo>
                <a:cubicBezTo>
                  <a:pt x="144" y="8"/>
                  <a:pt x="144" y="8"/>
                  <a:pt x="144" y="8"/>
                </a:cubicBezTo>
                <a:cubicBezTo>
                  <a:pt x="144" y="3"/>
                  <a:pt x="141" y="0"/>
                  <a:pt x="136" y="0"/>
                </a:cubicBezTo>
                <a:close/>
                <a:moveTo>
                  <a:pt x="8" y="5"/>
                </a:moveTo>
                <a:cubicBezTo>
                  <a:pt x="136" y="5"/>
                  <a:pt x="136" y="5"/>
                  <a:pt x="136" y="5"/>
                </a:cubicBezTo>
                <a:cubicBezTo>
                  <a:pt x="138" y="5"/>
                  <a:pt x="139" y="6"/>
                  <a:pt x="139" y="8"/>
                </a:cubicBezTo>
                <a:cubicBezTo>
                  <a:pt x="139" y="77"/>
                  <a:pt x="139" y="77"/>
                  <a:pt x="139" y="77"/>
                </a:cubicBezTo>
                <a:cubicBezTo>
                  <a:pt x="5" y="77"/>
                  <a:pt x="5" y="77"/>
                  <a:pt x="5" y="77"/>
                </a:cubicBezTo>
                <a:cubicBezTo>
                  <a:pt x="5" y="8"/>
                  <a:pt x="5" y="8"/>
                  <a:pt x="5" y="8"/>
                </a:cubicBezTo>
                <a:cubicBezTo>
                  <a:pt x="5" y="6"/>
                  <a:pt x="6" y="5"/>
                  <a:pt x="8" y="5"/>
                </a:cubicBezTo>
                <a:close/>
                <a:moveTo>
                  <a:pt x="136" y="155"/>
                </a:moveTo>
                <a:cubicBezTo>
                  <a:pt x="8" y="155"/>
                  <a:pt x="8" y="155"/>
                  <a:pt x="8" y="155"/>
                </a:cubicBezTo>
                <a:cubicBezTo>
                  <a:pt x="6" y="155"/>
                  <a:pt x="5" y="154"/>
                  <a:pt x="5" y="152"/>
                </a:cubicBezTo>
                <a:cubicBezTo>
                  <a:pt x="5" y="83"/>
                  <a:pt x="5" y="83"/>
                  <a:pt x="5" y="83"/>
                </a:cubicBezTo>
                <a:cubicBezTo>
                  <a:pt x="139" y="83"/>
                  <a:pt x="139" y="83"/>
                  <a:pt x="139" y="83"/>
                </a:cubicBezTo>
                <a:cubicBezTo>
                  <a:pt x="139" y="152"/>
                  <a:pt x="139" y="152"/>
                  <a:pt x="139" y="152"/>
                </a:cubicBezTo>
                <a:cubicBezTo>
                  <a:pt x="139" y="154"/>
                  <a:pt x="138" y="155"/>
                  <a:pt x="136" y="155"/>
                </a:cubicBezTo>
                <a:close/>
                <a:moveTo>
                  <a:pt x="48" y="39"/>
                </a:moveTo>
                <a:cubicBezTo>
                  <a:pt x="48" y="35"/>
                  <a:pt x="48" y="35"/>
                  <a:pt x="48" y="35"/>
                </a:cubicBezTo>
                <a:cubicBezTo>
                  <a:pt x="48" y="33"/>
                  <a:pt x="49" y="32"/>
                  <a:pt x="51" y="32"/>
                </a:cubicBezTo>
                <a:cubicBezTo>
                  <a:pt x="52" y="32"/>
                  <a:pt x="53" y="33"/>
                  <a:pt x="53" y="35"/>
                </a:cubicBezTo>
                <a:cubicBezTo>
                  <a:pt x="53" y="39"/>
                  <a:pt x="53" y="39"/>
                  <a:pt x="53" y="39"/>
                </a:cubicBezTo>
                <a:cubicBezTo>
                  <a:pt x="53" y="41"/>
                  <a:pt x="55" y="43"/>
                  <a:pt x="57" y="43"/>
                </a:cubicBezTo>
                <a:cubicBezTo>
                  <a:pt x="87" y="43"/>
                  <a:pt x="87" y="43"/>
                  <a:pt x="87" y="43"/>
                </a:cubicBezTo>
                <a:cubicBezTo>
                  <a:pt x="89" y="43"/>
                  <a:pt x="91" y="41"/>
                  <a:pt x="91" y="39"/>
                </a:cubicBezTo>
                <a:cubicBezTo>
                  <a:pt x="91" y="35"/>
                  <a:pt x="91" y="35"/>
                  <a:pt x="91" y="35"/>
                </a:cubicBezTo>
                <a:cubicBezTo>
                  <a:pt x="91" y="33"/>
                  <a:pt x="92" y="32"/>
                  <a:pt x="93" y="32"/>
                </a:cubicBezTo>
                <a:cubicBezTo>
                  <a:pt x="95" y="32"/>
                  <a:pt x="96" y="33"/>
                  <a:pt x="96" y="35"/>
                </a:cubicBezTo>
                <a:cubicBezTo>
                  <a:pt x="96" y="39"/>
                  <a:pt x="96" y="39"/>
                  <a:pt x="96" y="39"/>
                </a:cubicBezTo>
                <a:cubicBezTo>
                  <a:pt x="96" y="44"/>
                  <a:pt x="92" y="48"/>
                  <a:pt x="87" y="48"/>
                </a:cubicBezTo>
                <a:cubicBezTo>
                  <a:pt x="57" y="48"/>
                  <a:pt x="57" y="48"/>
                  <a:pt x="57" y="48"/>
                </a:cubicBezTo>
                <a:cubicBezTo>
                  <a:pt x="52" y="48"/>
                  <a:pt x="48" y="44"/>
                  <a:pt x="48" y="39"/>
                </a:cubicBezTo>
                <a:close/>
                <a:moveTo>
                  <a:pt x="96" y="112"/>
                </a:moveTo>
                <a:cubicBezTo>
                  <a:pt x="96" y="116"/>
                  <a:pt x="96" y="116"/>
                  <a:pt x="96" y="116"/>
                </a:cubicBezTo>
                <a:cubicBezTo>
                  <a:pt x="96" y="121"/>
                  <a:pt x="92" y="125"/>
                  <a:pt x="87" y="125"/>
                </a:cubicBezTo>
                <a:cubicBezTo>
                  <a:pt x="57" y="125"/>
                  <a:pt x="57" y="125"/>
                  <a:pt x="57" y="125"/>
                </a:cubicBezTo>
                <a:cubicBezTo>
                  <a:pt x="52" y="125"/>
                  <a:pt x="48" y="121"/>
                  <a:pt x="48" y="116"/>
                </a:cubicBezTo>
                <a:cubicBezTo>
                  <a:pt x="48" y="112"/>
                  <a:pt x="48" y="112"/>
                  <a:pt x="48" y="112"/>
                </a:cubicBezTo>
                <a:cubicBezTo>
                  <a:pt x="48" y="111"/>
                  <a:pt x="49" y="109"/>
                  <a:pt x="51" y="109"/>
                </a:cubicBezTo>
                <a:cubicBezTo>
                  <a:pt x="52" y="109"/>
                  <a:pt x="53" y="111"/>
                  <a:pt x="53" y="112"/>
                </a:cubicBezTo>
                <a:cubicBezTo>
                  <a:pt x="53" y="116"/>
                  <a:pt x="53" y="116"/>
                  <a:pt x="53" y="116"/>
                </a:cubicBezTo>
                <a:cubicBezTo>
                  <a:pt x="53" y="118"/>
                  <a:pt x="55" y="120"/>
                  <a:pt x="57" y="120"/>
                </a:cubicBezTo>
                <a:cubicBezTo>
                  <a:pt x="87" y="120"/>
                  <a:pt x="87" y="120"/>
                  <a:pt x="87" y="120"/>
                </a:cubicBezTo>
                <a:cubicBezTo>
                  <a:pt x="89" y="120"/>
                  <a:pt x="91" y="118"/>
                  <a:pt x="91" y="116"/>
                </a:cubicBezTo>
                <a:cubicBezTo>
                  <a:pt x="91" y="112"/>
                  <a:pt x="91" y="112"/>
                  <a:pt x="91" y="112"/>
                </a:cubicBezTo>
                <a:cubicBezTo>
                  <a:pt x="91" y="111"/>
                  <a:pt x="92" y="109"/>
                  <a:pt x="93" y="109"/>
                </a:cubicBezTo>
                <a:cubicBezTo>
                  <a:pt x="95" y="109"/>
                  <a:pt x="96" y="111"/>
                  <a:pt x="96" y="11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7" name="Group 146">
            <a:extLst>
              <a:ext uri="{FF2B5EF4-FFF2-40B4-BE49-F238E27FC236}">
                <a16:creationId xmlns:a16="http://schemas.microsoft.com/office/drawing/2014/main" id="{730827AD-882A-EA49-9820-0003557A9945}"/>
              </a:ext>
            </a:extLst>
          </p:cNvPr>
          <p:cNvGrpSpPr/>
          <p:nvPr/>
        </p:nvGrpSpPr>
        <p:grpSpPr>
          <a:xfrm>
            <a:off x="1531820" y="1603375"/>
            <a:ext cx="546100" cy="533400"/>
            <a:chOff x="2479675" y="1603375"/>
            <a:chExt cx="546100" cy="533400"/>
          </a:xfrm>
          <a:solidFill>
            <a:srgbClr val="FFFFFF"/>
          </a:solidFill>
        </p:grpSpPr>
        <p:sp>
          <p:nvSpPr>
            <p:cNvPr id="148" name="Freeform 927">
              <a:extLst>
                <a:ext uri="{FF2B5EF4-FFF2-40B4-BE49-F238E27FC236}">
                  <a16:creationId xmlns:a16="http://schemas.microsoft.com/office/drawing/2014/main" id="{A09183B7-AF04-E24B-AF2E-6B57733D17C1}"/>
                </a:ext>
              </a:extLst>
            </p:cNvPr>
            <p:cNvSpPr>
              <a:spLocks noEditPoints="1"/>
            </p:cNvSpPr>
            <p:nvPr/>
          </p:nvSpPr>
          <p:spPr bwMode="auto">
            <a:xfrm>
              <a:off x="2479675" y="1603375"/>
              <a:ext cx="546100" cy="533400"/>
            </a:xfrm>
            <a:custGeom>
              <a:avLst/>
              <a:gdLst>
                <a:gd name="T0" fmla="*/ 152 w 160"/>
                <a:gd name="T1" fmla="*/ 0 h 155"/>
                <a:gd name="T2" fmla="*/ 8 w 160"/>
                <a:gd name="T3" fmla="*/ 0 h 155"/>
                <a:gd name="T4" fmla="*/ 0 w 160"/>
                <a:gd name="T5" fmla="*/ 8 h 155"/>
                <a:gd name="T6" fmla="*/ 0 w 160"/>
                <a:gd name="T7" fmla="*/ 45 h 155"/>
                <a:gd name="T8" fmla="*/ 3 w 160"/>
                <a:gd name="T9" fmla="*/ 48 h 155"/>
                <a:gd name="T10" fmla="*/ 8 w 160"/>
                <a:gd name="T11" fmla="*/ 48 h 155"/>
                <a:gd name="T12" fmla="*/ 8 w 160"/>
                <a:gd name="T13" fmla="*/ 139 h 155"/>
                <a:gd name="T14" fmla="*/ 8 w 160"/>
                <a:gd name="T15" fmla="*/ 152 h 155"/>
                <a:gd name="T16" fmla="*/ 11 w 160"/>
                <a:gd name="T17" fmla="*/ 155 h 155"/>
                <a:gd name="T18" fmla="*/ 149 w 160"/>
                <a:gd name="T19" fmla="*/ 155 h 155"/>
                <a:gd name="T20" fmla="*/ 152 w 160"/>
                <a:gd name="T21" fmla="*/ 152 h 155"/>
                <a:gd name="T22" fmla="*/ 152 w 160"/>
                <a:gd name="T23" fmla="*/ 139 h 155"/>
                <a:gd name="T24" fmla="*/ 152 w 160"/>
                <a:gd name="T25" fmla="*/ 48 h 155"/>
                <a:gd name="T26" fmla="*/ 157 w 160"/>
                <a:gd name="T27" fmla="*/ 48 h 155"/>
                <a:gd name="T28" fmla="*/ 160 w 160"/>
                <a:gd name="T29" fmla="*/ 45 h 155"/>
                <a:gd name="T30" fmla="*/ 160 w 160"/>
                <a:gd name="T31" fmla="*/ 8 h 155"/>
                <a:gd name="T32" fmla="*/ 152 w 160"/>
                <a:gd name="T33" fmla="*/ 0 h 155"/>
                <a:gd name="T34" fmla="*/ 147 w 160"/>
                <a:gd name="T35" fmla="*/ 149 h 155"/>
                <a:gd name="T36" fmla="*/ 13 w 160"/>
                <a:gd name="T37" fmla="*/ 149 h 155"/>
                <a:gd name="T38" fmla="*/ 13 w 160"/>
                <a:gd name="T39" fmla="*/ 141 h 155"/>
                <a:gd name="T40" fmla="*/ 147 w 160"/>
                <a:gd name="T41" fmla="*/ 141 h 155"/>
                <a:gd name="T42" fmla="*/ 147 w 160"/>
                <a:gd name="T43" fmla="*/ 149 h 155"/>
                <a:gd name="T44" fmla="*/ 147 w 160"/>
                <a:gd name="T45" fmla="*/ 136 h 155"/>
                <a:gd name="T46" fmla="*/ 13 w 160"/>
                <a:gd name="T47" fmla="*/ 136 h 155"/>
                <a:gd name="T48" fmla="*/ 13 w 160"/>
                <a:gd name="T49" fmla="*/ 48 h 155"/>
                <a:gd name="T50" fmla="*/ 147 w 160"/>
                <a:gd name="T51" fmla="*/ 48 h 155"/>
                <a:gd name="T52" fmla="*/ 147 w 160"/>
                <a:gd name="T53" fmla="*/ 136 h 155"/>
                <a:gd name="T54" fmla="*/ 155 w 160"/>
                <a:gd name="T55" fmla="*/ 43 h 155"/>
                <a:gd name="T56" fmla="*/ 149 w 160"/>
                <a:gd name="T57" fmla="*/ 43 h 155"/>
                <a:gd name="T58" fmla="*/ 11 w 160"/>
                <a:gd name="T59" fmla="*/ 43 h 155"/>
                <a:gd name="T60" fmla="*/ 5 w 160"/>
                <a:gd name="T61" fmla="*/ 43 h 155"/>
                <a:gd name="T62" fmla="*/ 5 w 160"/>
                <a:gd name="T63" fmla="*/ 8 h 155"/>
                <a:gd name="T64" fmla="*/ 8 w 160"/>
                <a:gd name="T65" fmla="*/ 5 h 155"/>
                <a:gd name="T66" fmla="*/ 152 w 160"/>
                <a:gd name="T67" fmla="*/ 5 h 155"/>
                <a:gd name="T68" fmla="*/ 155 w 160"/>
                <a:gd name="T69" fmla="*/ 8 h 155"/>
                <a:gd name="T70" fmla="*/ 155 w 160"/>
                <a:gd name="T71" fmla="*/ 4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5">
                  <a:moveTo>
                    <a:pt x="152" y="0"/>
                  </a:moveTo>
                  <a:cubicBezTo>
                    <a:pt x="8" y="0"/>
                    <a:pt x="8" y="0"/>
                    <a:pt x="8" y="0"/>
                  </a:cubicBezTo>
                  <a:cubicBezTo>
                    <a:pt x="4" y="0"/>
                    <a:pt x="0" y="4"/>
                    <a:pt x="0" y="8"/>
                  </a:cubicBezTo>
                  <a:cubicBezTo>
                    <a:pt x="0" y="45"/>
                    <a:pt x="0" y="45"/>
                    <a:pt x="0" y="45"/>
                  </a:cubicBezTo>
                  <a:cubicBezTo>
                    <a:pt x="0" y="47"/>
                    <a:pt x="1" y="48"/>
                    <a:pt x="3" y="48"/>
                  </a:cubicBezTo>
                  <a:cubicBezTo>
                    <a:pt x="8" y="48"/>
                    <a:pt x="8" y="48"/>
                    <a:pt x="8" y="48"/>
                  </a:cubicBezTo>
                  <a:cubicBezTo>
                    <a:pt x="8" y="139"/>
                    <a:pt x="8" y="139"/>
                    <a:pt x="8" y="139"/>
                  </a:cubicBezTo>
                  <a:cubicBezTo>
                    <a:pt x="8" y="152"/>
                    <a:pt x="8" y="152"/>
                    <a:pt x="8" y="152"/>
                  </a:cubicBezTo>
                  <a:cubicBezTo>
                    <a:pt x="8" y="153"/>
                    <a:pt x="9" y="155"/>
                    <a:pt x="11" y="155"/>
                  </a:cubicBezTo>
                  <a:cubicBezTo>
                    <a:pt x="149" y="155"/>
                    <a:pt x="149" y="155"/>
                    <a:pt x="149" y="155"/>
                  </a:cubicBezTo>
                  <a:cubicBezTo>
                    <a:pt x="151" y="155"/>
                    <a:pt x="152" y="153"/>
                    <a:pt x="152" y="152"/>
                  </a:cubicBezTo>
                  <a:cubicBezTo>
                    <a:pt x="152" y="139"/>
                    <a:pt x="152" y="139"/>
                    <a:pt x="152" y="139"/>
                  </a:cubicBezTo>
                  <a:cubicBezTo>
                    <a:pt x="152" y="48"/>
                    <a:pt x="152" y="48"/>
                    <a:pt x="152" y="48"/>
                  </a:cubicBezTo>
                  <a:cubicBezTo>
                    <a:pt x="157" y="48"/>
                    <a:pt x="157" y="48"/>
                    <a:pt x="157" y="48"/>
                  </a:cubicBezTo>
                  <a:cubicBezTo>
                    <a:pt x="159" y="48"/>
                    <a:pt x="160" y="47"/>
                    <a:pt x="160" y="45"/>
                  </a:cubicBezTo>
                  <a:cubicBezTo>
                    <a:pt x="160" y="8"/>
                    <a:pt x="160" y="8"/>
                    <a:pt x="160" y="8"/>
                  </a:cubicBezTo>
                  <a:cubicBezTo>
                    <a:pt x="160" y="4"/>
                    <a:pt x="156" y="0"/>
                    <a:pt x="152" y="0"/>
                  </a:cubicBezTo>
                  <a:close/>
                  <a:moveTo>
                    <a:pt x="147" y="149"/>
                  </a:moveTo>
                  <a:cubicBezTo>
                    <a:pt x="13" y="149"/>
                    <a:pt x="13" y="149"/>
                    <a:pt x="13" y="149"/>
                  </a:cubicBezTo>
                  <a:cubicBezTo>
                    <a:pt x="13" y="141"/>
                    <a:pt x="13" y="141"/>
                    <a:pt x="13" y="141"/>
                  </a:cubicBezTo>
                  <a:cubicBezTo>
                    <a:pt x="147" y="141"/>
                    <a:pt x="147" y="141"/>
                    <a:pt x="147" y="141"/>
                  </a:cubicBezTo>
                  <a:lnTo>
                    <a:pt x="147" y="149"/>
                  </a:lnTo>
                  <a:close/>
                  <a:moveTo>
                    <a:pt x="147" y="136"/>
                  </a:moveTo>
                  <a:cubicBezTo>
                    <a:pt x="13" y="136"/>
                    <a:pt x="13" y="136"/>
                    <a:pt x="13" y="136"/>
                  </a:cubicBezTo>
                  <a:cubicBezTo>
                    <a:pt x="13" y="48"/>
                    <a:pt x="13" y="48"/>
                    <a:pt x="13" y="48"/>
                  </a:cubicBezTo>
                  <a:cubicBezTo>
                    <a:pt x="147" y="48"/>
                    <a:pt x="147" y="48"/>
                    <a:pt x="147" y="48"/>
                  </a:cubicBezTo>
                  <a:lnTo>
                    <a:pt x="147" y="136"/>
                  </a:lnTo>
                  <a:close/>
                  <a:moveTo>
                    <a:pt x="155" y="43"/>
                  </a:moveTo>
                  <a:cubicBezTo>
                    <a:pt x="149" y="43"/>
                    <a:pt x="149" y="43"/>
                    <a:pt x="149" y="43"/>
                  </a:cubicBezTo>
                  <a:cubicBezTo>
                    <a:pt x="11" y="43"/>
                    <a:pt x="11" y="43"/>
                    <a:pt x="11" y="43"/>
                  </a:cubicBezTo>
                  <a:cubicBezTo>
                    <a:pt x="5" y="43"/>
                    <a:pt x="5" y="43"/>
                    <a:pt x="5" y="43"/>
                  </a:cubicBezTo>
                  <a:cubicBezTo>
                    <a:pt x="5" y="8"/>
                    <a:pt x="5" y="8"/>
                    <a:pt x="5" y="8"/>
                  </a:cubicBezTo>
                  <a:cubicBezTo>
                    <a:pt x="5" y="7"/>
                    <a:pt x="7" y="5"/>
                    <a:pt x="8" y="5"/>
                  </a:cubicBezTo>
                  <a:cubicBezTo>
                    <a:pt x="152" y="5"/>
                    <a:pt x="152" y="5"/>
                    <a:pt x="152" y="5"/>
                  </a:cubicBezTo>
                  <a:cubicBezTo>
                    <a:pt x="153" y="5"/>
                    <a:pt x="155" y="7"/>
                    <a:pt x="155" y="8"/>
                  </a:cubicBezTo>
                  <a:lnTo>
                    <a:pt x="155" y="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928">
              <a:extLst>
                <a:ext uri="{FF2B5EF4-FFF2-40B4-BE49-F238E27FC236}">
                  <a16:creationId xmlns:a16="http://schemas.microsoft.com/office/drawing/2014/main" id="{77CE27D8-F013-8C46-BEEF-E232039249FA}"/>
                </a:ext>
              </a:extLst>
            </p:cNvPr>
            <p:cNvSpPr>
              <a:spLocks noEditPoints="1"/>
            </p:cNvSpPr>
            <p:nvPr/>
          </p:nvSpPr>
          <p:spPr bwMode="auto">
            <a:xfrm>
              <a:off x="2616200" y="1824038"/>
              <a:ext cx="273050" cy="147638"/>
            </a:xfrm>
            <a:custGeom>
              <a:avLst/>
              <a:gdLst>
                <a:gd name="T0" fmla="*/ 3 w 80"/>
                <a:gd name="T1" fmla="*/ 43 h 43"/>
                <a:gd name="T2" fmla="*/ 77 w 80"/>
                <a:gd name="T3" fmla="*/ 43 h 43"/>
                <a:gd name="T4" fmla="*/ 80 w 80"/>
                <a:gd name="T5" fmla="*/ 40 h 43"/>
                <a:gd name="T6" fmla="*/ 80 w 80"/>
                <a:gd name="T7" fmla="*/ 3 h 43"/>
                <a:gd name="T8" fmla="*/ 77 w 80"/>
                <a:gd name="T9" fmla="*/ 0 h 43"/>
                <a:gd name="T10" fmla="*/ 3 w 80"/>
                <a:gd name="T11" fmla="*/ 0 h 43"/>
                <a:gd name="T12" fmla="*/ 0 w 80"/>
                <a:gd name="T13" fmla="*/ 3 h 43"/>
                <a:gd name="T14" fmla="*/ 0 w 80"/>
                <a:gd name="T15" fmla="*/ 40 h 43"/>
                <a:gd name="T16" fmla="*/ 3 w 80"/>
                <a:gd name="T17" fmla="*/ 43 h 43"/>
                <a:gd name="T18" fmla="*/ 5 w 80"/>
                <a:gd name="T19" fmla="*/ 5 h 43"/>
                <a:gd name="T20" fmla="*/ 75 w 80"/>
                <a:gd name="T21" fmla="*/ 5 h 43"/>
                <a:gd name="T22" fmla="*/ 75 w 80"/>
                <a:gd name="T23" fmla="*/ 37 h 43"/>
                <a:gd name="T24" fmla="*/ 5 w 80"/>
                <a:gd name="T25" fmla="*/ 37 h 43"/>
                <a:gd name="T26" fmla="*/ 5 w 80"/>
                <a:gd name="T27"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 y="43"/>
                  </a:moveTo>
                  <a:cubicBezTo>
                    <a:pt x="77" y="43"/>
                    <a:pt x="77" y="43"/>
                    <a:pt x="77" y="43"/>
                  </a:cubicBezTo>
                  <a:cubicBezTo>
                    <a:pt x="79" y="43"/>
                    <a:pt x="80" y="41"/>
                    <a:pt x="80" y="40"/>
                  </a:cubicBezTo>
                  <a:cubicBezTo>
                    <a:pt x="80" y="3"/>
                    <a:pt x="80" y="3"/>
                    <a:pt x="80" y="3"/>
                  </a:cubicBezTo>
                  <a:cubicBezTo>
                    <a:pt x="80" y="1"/>
                    <a:pt x="79" y="0"/>
                    <a:pt x="77" y="0"/>
                  </a:cubicBezTo>
                  <a:cubicBezTo>
                    <a:pt x="3" y="0"/>
                    <a:pt x="3" y="0"/>
                    <a:pt x="3" y="0"/>
                  </a:cubicBezTo>
                  <a:cubicBezTo>
                    <a:pt x="1" y="0"/>
                    <a:pt x="0" y="1"/>
                    <a:pt x="0" y="3"/>
                  </a:cubicBezTo>
                  <a:cubicBezTo>
                    <a:pt x="0" y="40"/>
                    <a:pt x="0" y="40"/>
                    <a:pt x="0" y="40"/>
                  </a:cubicBezTo>
                  <a:cubicBezTo>
                    <a:pt x="0" y="41"/>
                    <a:pt x="1" y="43"/>
                    <a:pt x="3" y="43"/>
                  </a:cubicBezTo>
                  <a:close/>
                  <a:moveTo>
                    <a:pt x="5" y="5"/>
                  </a:moveTo>
                  <a:cubicBezTo>
                    <a:pt x="75" y="5"/>
                    <a:pt x="75" y="5"/>
                    <a:pt x="75" y="5"/>
                  </a:cubicBezTo>
                  <a:cubicBezTo>
                    <a:pt x="75" y="37"/>
                    <a:pt x="75" y="37"/>
                    <a:pt x="75" y="37"/>
                  </a:cubicBezTo>
                  <a:cubicBezTo>
                    <a:pt x="5" y="37"/>
                    <a:pt x="5" y="37"/>
                    <a:pt x="5" y="37"/>
                  </a:cubicBezTo>
                  <a:lnTo>
                    <a:pt x="5"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929">
              <a:extLst>
                <a:ext uri="{FF2B5EF4-FFF2-40B4-BE49-F238E27FC236}">
                  <a16:creationId xmlns:a16="http://schemas.microsoft.com/office/drawing/2014/main" id="{4E8D4601-6D50-2548-A737-EE4C30B66134}"/>
                </a:ext>
              </a:extLst>
            </p:cNvPr>
            <p:cNvSpPr>
              <a:spLocks/>
            </p:cNvSpPr>
            <p:nvPr/>
          </p:nvSpPr>
          <p:spPr bwMode="auto">
            <a:xfrm>
              <a:off x="2654300" y="1868488"/>
              <a:ext cx="71438" cy="20638"/>
            </a:xfrm>
            <a:custGeom>
              <a:avLst/>
              <a:gdLst>
                <a:gd name="T0" fmla="*/ 2 w 21"/>
                <a:gd name="T1" fmla="*/ 6 h 6"/>
                <a:gd name="T2" fmla="*/ 18 w 21"/>
                <a:gd name="T3" fmla="*/ 6 h 6"/>
                <a:gd name="T4" fmla="*/ 21 w 21"/>
                <a:gd name="T5" fmla="*/ 3 h 6"/>
                <a:gd name="T6" fmla="*/ 18 w 21"/>
                <a:gd name="T7" fmla="*/ 0 h 6"/>
                <a:gd name="T8" fmla="*/ 2 w 21"/>
                <a:gd name="T9" fmla="*/ 0 h 6"/>
                <a:gd name="T10" fmla="*/ 0 w 21"/>
                <a:gd name="T11" fmla="*/ 3 h 6"/>
                <a:gd name="T12" fmla="*/ 2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2" y="6"/>
                  </a:moveTo>
                  <a:cubicBezTo>
                    <a:pt x="18" y="6"/>
                    <a:pt x="18" y="6"/>
                    <a:pt x="18" y="6"/>
                  </a:cubicBezTo>
                  <a:cubicBezTo>
                    <a:pt x="20" y="6"/>
                    <a:pt x="21" y="4"/>
                    <a:pt x="21" y="3"/>
                  </a:cubicBezTo>
                  <a:cubicBezTo>
                    <a:pt x="21" y="2"/>
                    <a:pt x="20" y="0"/>
                    <a:pt x="18" y="0"/>
                  </a:cubicBezTo>
                  <a:cubicBezTo>
                    <a:pt x="2" y="0"/>
                    <a:pt x="2" y="0"/>
                    <a:pt x="2" y="0"/>
                  </a:cubicBezTo>
                  <a:cubicBezTo>
                    <a:pt x="1" y="0"/>
                    <a:pt x="0" y="2"/>
                    <a:pt x="0" y="3"/>
                  </a:cubicBezTo>
                  <a:cubicBezTo>
                    <a:pt x="0" y="4"/>
                    <a:pt x="1" y="6"/>
                    <a:pt x="2"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930">
              <a:extLst>
                <a:ext uri="{FF2B5EF4-FFF2-40B4-BE49-F238E27FC236}">
                  <a16:creationId xmlns:a16="http://schemas.microsoft.com/office/drawing/2014/main" id="{E2297BEB-CC41-2241-809D-BA74FF6395FB}"/>
                </a:ext>
              </a:extLst>
            </p:cNvPr>
            <p:cNvSpPr>
              <a:spLocks/>
            </p:cNvSpPr>
            <p:nvPr/>
          </p:nvSpPr>
          <p:spPr bwMode="auto">
            <a:xfrm>
              <a:off x="2743200" y="1868488"/>
              <a:ext cx="19050" cy="20638"/>
            </a:xfrm>
            <a:custGeom>
              <a:avLst/>
              <a:gdLst>
                <a:gd name="T0" fmla="*/ 3 w 6"/>
                <a:gd name="T1" fmla="*/ 6 h 6"/>
                <a:gd name="T2" fmla="*/ 5 w 6"/>
                <a:gd name="T3" fmla="*/ 5 h 6"/>
                <a:gd name="T4" fmla="*/ 6 w 6"/>
                <a:gd name="T5" fmla="*/ 3 h 6"/>
                <a:gd name="T6" fmla="*/ 5 w 6"/>
                <a:gd name="T7" fmla="*/ 1 h 6"/>
                <a:gd name="T8" fmla="*/ 1 w 6"/>
                <a:gd name="T9" fmla="*/ 1 h 6"/>
                <a:gd name="T10" fmla="*/ 0 w 6"/>
                <a:gd name="T11" fmla="*/ 3 h 6"/>
                <a:gd name="T12" fmla="*/ 1 w 6"/>
                <a:gd name="T13" fmla="*/ 5 h 6"/>
                <a:gd name="T14" fmla="*/ 3 w 6"/>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3" y="6"/>
                  </a:moveTo>
                  <a:cubicBezTo>
                    <a:pt x="4" y="6"/>
                    <a:pt x="4" y="5"/>
                    <a:pt x="5" y="5"/>
                  </a:cubicBezTo>
                  <a:cubicBezTo>
                    <a:pt x="5" y="4"/>
                    <a:pt x="6" y="4"/>
                    <a:pt x="6" y="3"/>
                  </a:cubicBezTo>
                  <a:cubicBezTo>
                    <a:pt x="6" y="2"/>
                    <a:pt x="5" y="2"/>
                    <a:pt x="5" y="1"/>
                  </a:cubicBezTo>
                  <a:cubicBezTo>
                    <a:pt x="4" y="0"/>
                    <a:pt x="2" y="0"/>
                    <a:pt x="1" y="1"/>
                  </a:cubicBezTo>
                  <a:cubicBezTo>
                    <a:pt x="1" y="2"/>
                    <a:pt x="0" y="2"/>
                    <a:pt x="0" y="3"/>
                  </a:cubicBezTo>
                  <a:cubicBezTo>
                    <a:pt x="0" y="4"/>
                    <a:pt x="1" y="4"/>
                    <a:pt x="1" y="5"/>
                  </a:cubicBezTo>
                  <a:cubicBezTo>
                    <a:pt x="2" y="5"/>
                    <a:pt x="2" y="6"/>
                    <a:pt x="3"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931">
              <a:extLst>
                <a:ext uri="{FF2B5EF4-FFF2-40B4-BE49-F238E27FC236}">
                  <a16:creationId xmlns:a16="http://schemas.microsoft.com/office/drawing/2014/main" id="{C17293A8-961D-5243-99CE-1D249B88837C}"/>
                </a:ext>
              </a:extLst>
            </p:cNvPr>
            <p:cNvSpPr>
              <a:spLocks/>
            </p:cNvSpPr>
            <p:nvPr/>
          </p:nvSpPr>
          <p:spPr bwMode="auto">
            <a:xfrm>
              <a:off x="2687638" y="1906588"/>
              <a:ext cx="163513" cy="17463"/>
            </a:xfrm>
            <a:custGeom>
              <a:avLst/>
              <a:gdLst>
                <a:gd name="T0" fmla="*/ 46 w 48"/>
                <a:gd name="T1" fmla="*/ 0 h 5"/>
                <a:gd name="T2" fmla="*/ 3 w 48"/>
                <a:gd name="T3" fmla="*/ 0 h 5"/>
                <a:gd name="T4" fmla="*/ 0 w 48"/>
                <a:gd name="T5" fmla="*/ 3 h 5"/>
                <a:gd name="T6" fmla="*/ 3 w 48"/>
                <a:gd name="T7" fmla="*/ 5 h 5"/>
                <a:gd name="T8" fmla="*/ 46 w 48"/>
                <a:gd name="T9" fmla="*/ 5 h 5"/>
                <a:gd name="T10" fmla="*/ 48 w 48"/>
                <a:gd name="T11" fmla="*/ 3 h 5"/>
                <a:gd name="T12" fmla="*/ 46 w 4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8" h="5">
                  <a:moveTo>
                    <a:pt x="46" y="0"/>
                  </a:moveTo>
                  <a:cubicBezTo>
                    <a:pt x="3" y="0"/>
                    <a:pt x="3" y="0"/>
                    <a:pt x="3" y="0"/>
                  </a:cubicBezTo>
                  <a:cubicBezTo>
                    <a:pt x="2" y="0"/>
                    <a:pt x="0" y="1"/>
                    <a:pt x="0" y="3"/>
                  </a:cubicBezTo>
                  <a:cubicBezTo>
                    <a:pt x="0" y="4"/>
                    <a:pt x="2" y="5"/>
                    <a:pt x="3" y="5"/>
                  </a:cubicBezTo>
                  <a:cubicBezTo>
                    <a:pt x="46" y="5"/>
                    <a:pt x="46" y="5"/>
                    <a:pt x="46" y="5"/>
                  </a:cubicBezTo>
                  <a:cubicBezTo>
                    <a:pt x="47" y="5"/>
                    <a:pt x="48" y="4"/>
                    <a:pt x="48" y="3"/>
                  </a:cubicBezTo>
                  <a:cubicBezTo>
                    <a:pt x="48" y="1"/>
                    <a:pt x="47" y="0"/>
                    <a:pt x="4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932">
              <a:extLst>
                <a:ext uri="{FF2B5EF4-FFF2-40B4-BE49-F238E27FC236}">
                  <a16:creationId xmlns:a16="http://schemas.microsoft.com/office/drawing/2014/main" id="{FBDE80E5-4130-D943-8A04-E21D794F4E0B}"/>
                </a:ext>
              </a:extLst>
            </p:cNvPr>
            <p:cNvSpPr>
              <a:spLocks/>
            </p:cNvSpPr>
            <p:nvPr/>
          </p:nvSpPr>
          <p:spPr bwMode="auto">
            <a:xfrm>
              <a:off x="2654300" y="1906588"/>
              <a:ext cx="15875" cy="17463"/>
            </a:xfrm>
            <a:custGeom>
              <a:avLst/>
              <a:gdLst>
                <a:gd name="T0" fmla="*/ 0 w 5"/>
                <a:gd name="T1" fmla="*/ 1 h 5"/>
                <a:gd name="T2" fmla="*/ 0 w 5"/>
                <a:gd name="T3" fmla="*/ 3 h 5"/>
                <a:gd name="T4" fmla="*/ 0 w 5"/>
                <a:gd name="T5" fmla="*/ 5 h 5"/>
                <a:gd name="T6" fmla="*/ 2 w 5"/>
                <a:gd name="T7" fmla="*/ 5 h 5"/>
                <a:gd name="T8" fmla="*/ 4 w 5"/>
                <a:gd name="T9" fmla="*/ 5 h 5"/>
                <a:gd name="T10" fmla="*/ 5 w 5"/>
                <a:gd name="T11" fmla="*/ 3 h 5"/>
                <a:gd name="T12" fmla="*/ 4 w 5"/>
                <a:gd name="T13" fmla="*/ 1 h 5"/>
                <a:gd name="T14" fmla="*/ 0 w 5"/>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0" y="1"/>
                  </a:moveTo>
                  <a:cubicBezTo>
                    <a:pt x="0" y="1"/>
                    <a:pt x="0" y="2"/>
                    <a:pt x="0" y="3"/>
                  </a:cubicBezTo>
                  <a:cubicBezTo>
                    <a:pt x="0" y="3"/>
                    <a:pt x="0" y="4"/>
                    <a:pt x="0" y="5"/>
                  </a:cubicBezTo>
                  <a:cubicBezTo>
                    <a:pt x="1" y="5"/>
                    <a:pt x="2" y="5"/>
                    <a:pt x="2" y="5"/>
                  </a:cubicBezTo>
                  <a:cubicBezTo>
                    <a:pt x="3" y="5"/>
                    <a:pt x="4" y="5"/>
                    <a:pt x="4" y="5"/>
                  </a:cubicBezTo>
                  <a:cubicBezTo>
                    <a:pt x="5" y="4"/>
                    <a:pt x="5" y="3"/>
                    <a:pt x="5" y="3"/>
                  </a:cubicBezTo>
                  <a:cubicBezTo>
                    <a:pt x="5" y="2"/>
                    <a:pt x="5" y="1"/>
                    <a:pt x="4" y="1"/>
                  </a:cubicBezTo>
                  <a:cubicBezTo>
                    <a:pt x="3" y="0"/>
                    <a:pt x="1" y="0"/>
                    <a:pt x="0"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933">
              <a:extLst>
                <a:ext uri="{FF2B5EF4-FFF2-40B4-BE49-F238E27FC236}">
                  <a16:creationId xmlns:a16="http://schemas.microsoft.com/office/drawing/2014/main" id="{5054BD71-438C-7641-89B0-E9BE50D76DFF}"/>
                </a:ext>
              </a:extLst>
            </p:cNvPr>
            <p:cNvSpPr>
              <a:spLocks noEditPoints="1"/>
            </p:cNvSpPr>
            <p:nvPr/>
          </p:nvSpPr>
          <p:spPr bwMode="auto">
            <a:xfrm>
              <a:off x="2625725" y="1641475"/>
              <a:ext cx="254000" cy="88900"/>
            </a:xfrm>
            <a:custGeom>
              <a:avLst/>
              <a:gdLst>
                <a:gd name="T0" fmla="*/ 61 w 74"/>
                <a:gd name="T1" fmla="*/ 0 h 26"/>
                <a:gd name="T2" fmla="*/ 13 w 74"/>
                <a:gd name="T3" fmla="*/ 0 h 26"/>
                <a:gd name="T4" fmla="*/ 0 w 74"/>
                <a:gd name="T5" fmla="*/ 13 h 26"/>
                <a:gd name="T6" fmla="*/ 13 w 74"/>
                <a:gd name="T7" fmla="*/ 26 h 26"/>
                <a:gd name="T8" fmla="*/ 61 w 74"/>
                <a:gd name="T9" fmla="*/ 26 h 26"/>
                <a:gd name="T10" fmla="*/ 74 w 74"/>
                <a:gd name="T11" fmla="*/ 13 h 26"/>
                <a:gd name="T12" fmla="*/ 61 w 74"/>
                <a:gd name="T13" fmla="*/ 0 h 26"/>
                <a:gd name="T14" fmla="*/ 61 w 74"/>
                <a:gd name="T15" fmla="*/ 21 h 26"/>
                <a:gd name="T16" fmla="*/ 13 w 74"/>
                <a:gd name="T17" fmla="*/ 21 h 26"/>
                <a:gd name="T18" fmla="*/ 5 w 74"/>
                <a:gd name="T19" fmla="*/ 13 h 26"/>
                <a:gd name="T20" fmla="*/ 13 w 74"/>
                <a:gd name="T21" fmla="*/ 5 h 26"/>
                <a:gd name="T22" fmla="*/ 61 w 74"/>
                <a:gd name="T23" fmla="*/ 5 h 26"/>
                <a:gd name="T24" fmla="*/ 69 w 74"/>
                <a:gd name="T25" fmla="*/ 13 h 26"/>
                <a:gd name="T26" fmla="*/ 61 w 74"/>
                <a:gd name="T27"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26">
                  <a:moveTo>
                    <a:pt x="61" y="0"/>
                  </a:moveTo>
                  <a:cubicBezTo>
                    <a:pt x="13" y="0"/>
                    <a:pt x="13" y="0"/>
                    <a:pt x="13" y="0"/>
                  </a:cubicBezTo>
                  <a:cubicBezTo>
                    <a:pt x="6" y="0"/>
                    <a:pt x="0" y="6"/>
                    <a:pt x="0" y="13"/>
                  </a:cubicBezTo>
                  <a:cubicBezTo>
                    <a:pt x="0" y="20"/>
                    <a:pt x="6" y="26"/>
                    <a:pt x="13" y="26"/>
                  </a:cubicBezTo>
                  <a:cubicBezTo>
                    <a:pt x="61" y="26"/>
                    <a:pt x="61" y="26"/>
                    <a:pt x="61" y="26"/>
                  </a:cubicBezTo>
                  <a:cubicBezTo>
                    <a:pt x="68" y="26"/>
                    <a:pt x="74" y="20"/>
                    <a:pt x="74" y="13"/>
                  </a:cubicBezTo>
                  <a:cubicBezTo>
                    <a:pt x="74" y="6"/>
                    <a:pt x="68" y="0"/>
                    <a:pt x="61" y="0"/>
                  </a:cubicBezTo>
                  <a:close/>
                  <a:moveTo>
                    <a:pt x="61" y="21"/>
                  </a:moveTo>
                  <a:cubicBezTo>
                    <a:pt x="13" y="21"/>
                    <a:pt x="13" y="21"/>
                    <a:pt x="13" y="21"/>
                  </a:cubicBezTo>
                  <a:cubicBezTo>
                    <a:pt x="9" y="21"/>
                    <a:pt x="5" y="17"/>
                    <a:pt x="5" y="13"/>
                  </a:cubicBezTo>
                  <a:cubicBezTo>
                    <a:pt x="5" y="9"/>
                    <a:pt x="9" y="5"/>
                    <a:pt x="13" y="5"/>
                  </a:cubicBezTo>
                  <a:cubicBezTo>
                    <a:pt x="61" y="5"/>
                    <a:pt x="61" y="5"/>
                    <a:pt x="61" y="5"/>
                  </a:cubicBezTo>
                  <a:cubicBezTo>
                    <a:pt x="65" y="5"/>
                    <a:pt x="69" y="9"/>
                    <a:pt x="69" y="13"/>
                  </a:cubicBezTo>
                  <a:cubicBezTo>
                    <a:pt x="69" y="17"/>
                    <a:pt x="65" y="21"/>
                    <a:pt x="6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5" name="Freeform 934">
            <a:extLst>
              <a:ext uri="{FF2B5EF4-FFF2-40B4-BE49-F238E27FC236}">
                <a16:creationId xmlns:a16="http://schemas.microsoft.com/office/drawing/2014/main" id="{5BF7B4E2-19BB-9B46-A03F-E9120BB4F1C3}"/>
              </a:ext>
            </a:extLst>
          </p:cNvPr>
          <p:cNvSpPr>
            <a:spLocks noEditPoints="1"/>
          </p:cNvSpPr>
          <p:nvPr/>
        </p:nvSpPr>
        <p:spPr bwMode="auto">
          <a:xfrm>
            <a:off x="1531820" y="2236788"/>
            <a:ext cx="546100" cy="512763"/>
          </a:xfrm>
          <a:custGeom>
            <a:avLst/>
            <a:gdLst>
              <a:gd name="T0" fmla="*/ 6 w 160"/>
              <a:gd name="T1" fmla="*/ 0 h 149"/>
              <a:gd name="T2" fmla="*/ 8 w 160"/>
              <a:gd name="T3" fmla="*/ 37 h 149"/>
              <a:gd name="T4" fmla="*/ 20 w 160"/>
              <a:gd name="T5" fmla="*/ 149 h 149"/>
              <a:gd name="T6" fmla="*/ 140 w 160"/>
              <a:gd name="T7" fmla="*/ 149 h 149"/>
              <a:gd name="T8" fmla="*/ 152 w 160"/>
              <a:gd name="T9" fmla="*/ 37 h 149"/>
              <a:gd name="T10" fmla="*/ 20 w 160"/>
              <a:gd name="T11" fmla="*/ 144 h 149"/>
              <a:gd name="T12" fmla="*/ 35 w 160"/>
              <a:gd name="T13" fmla="*/ 144 h 149"/>
              <a:gd name="T14" fmla="*/ 140 w 160"/>
              <a:gd name="T15" fmla="*/ 144 h 149"/>
              <a:gd name="T16" fmla="*/ 147 w 160"/>
              <a:gd name="T17" fmla="*/ 138 h 149"/>
              <a:gd name="T18" fmla="*/ 40 w 160"/>
              <a:gd name="T19" fmla="*/ 144 h 149"/>
              <a:gd name="T20" fmla="*/ 147 w 160"/>
              <a:gd name="T21" fmla="*/ 37 h 149"/>
              <a:gd name="T22" fmla="*/ 152 w 160"/>
              <a:gd name="T23" fmla="*/ 32 h 149"/>
              <a:gd name="T24" fmla="*/ 5 w 160"/>
              <a:gd name="T25" fmla="*/ 6 h 149"/>
              <a:gd name="T26" fmla="*/ 155 w 160"/>
              <a:gd name="T27" fmla="*/ 6 h 149"/>
              <a:gd name="T28" fmla="*/ 27 w 160"/>
              <a:gd name="T29" fmla="*/ 19 h 149"/>
              <a:gd name="T30" fmla="*/ 24 w 160"/>
              <a:gd name="T31" fmla="*/ 16 h 149"/>
              <a:gd name="T32" fmla="*/ 16 w 160"/>
              <a:gd name="T33" fmla="*/ 13 h 149"/>
              <a:gd name="T34" fmla="*/ 32 w 160"/>
              <a:gd name="T35" fmla="*/ 8 h 149"/>
              <a:gd name="T36" fmla="*/ 29 w 160"/>
              <a:gd name="T37" fmla="*/ 11 h 149"/>
              <a:gd name="T38" fmla="*/ 19 w 160"/>
              <a:gd name="T39" fmla="*/ 27 h 149"/>
              <a:gd name="T40" fmla="*/ 16 w 160"/>
              <a:gd name="T41" fmla="*/ 24 h 149"/>
              <a:gd name="T42" fmla="*/ 32 w 160"/>
              <a:gd name="T43" fmla="*/ 29 h 149"/>
              <a:gd name="T44" fmla="*/ 40 w 160"/>
              <a:gd name="T45" fmla="*/ 16 h 149"/>
              <a:gd name="T46" fmla="*/ 37 w 160"/>
              <a:gd name="T47" fmla="*/ 19 h 149"/>
              <a:gd name="T48" fmla="*/ 59 w 160"/>
              <a:gd name="T49" fmla="*/ 19 h 149"/>
              <a:gd name="T50" fmla="*/ 56 w 160"/>
              <a:gd name="T51" fmla="*/ 16 h 149"/>
              <a:gd name="T52" fmla="*/ 48 w 160"/>
              <a:gd name="T53" fmla="*/ 13 h 149"/>
              <a:gd name="T54" fmla="*/ 64 w 160"/>
              <a:gd name="T55" fmla="*/ 8 h 149"/>
              <a:gd name="T56" fmla="*/ 61 w 160"/>
              <a:gd name="T57" fmla="*/ 11 h 149"/>
              <a:gd name="T58" fmla="*/ 51 w 160"/>
              <a:gd name="T59" fmla="*/ 27 h 149"/>
              <a:gd name="T60" fmla="*/ 48 w 160"/>
              <a:gd name="T61" fmla="*/ 24 h 149"/>
              <a:gd name="T62" fmla="*/ 64 w 160"/>
              <a:gd name="T63" fmla="*/ 29 h 149"/>
              <a:gd name="T64" fmla="*/ 72 w 160"/>
              <a:gd name="T65" fmla="*/ 16 h 149"/>
              <a:gd name="T66" fmla="*/ 69 w 160"/>
              <a:gd name="T67" fmla="*/ 19 h 149"/>
              <a:gd name="T68" fmla="*/ 91 w 160"/>
              <a:gd name="T69" fmla="*/ 19 h 149"/>
              <a:gd name="T70" fmla="*/ 88 w 160"/>
              <a:gd name="T71" fmla="*/ 16 h 149"/>
              <a:gd name="T72" fmla="*/ 80 w 160"/>
              <a:gd name="T73" fmla="*/ 13 h 149"/>
              <a:gd name="T74" fmla="*/ 96 w 160"/>
              <a:gd name="T75" fmla="*/ 8 h 149"/>
              <a:gd name="T76" fmla="*/ 93 w 160"/>
              <a:gd name="T77" fmla="*/ 11 h 149"/>
              <a:gd name="T78" fmla="*/ 83 w 160"/>
              <a:gd name="T79" fmla="*/ 27 h 149"/>
              <a:gd name="T80" fmla="*/ 80 w 160"/>
              <a:gd name="T81" fmla="*/ 24 h 149"/>
              <a:gd name="T82" fmla="*/ 96 w 160"/>
              <a:gd name="T83" fmla="*/ 29 h 149"/>
              <a:gd name="T84" fmla="*/ 104 w 160"/>
              <a:gd name="T85" fmla="*/ 16 h 149"/>
              <a:gd name="T86" fmla="*/ 101 w 160"/>
              <a:gd name="T87" fmla="*/ 19 h 149"/>
              <a:gd name="T88" fmla="*/ 123 w 160"/>
              <a:gd name="T89" fmla="*/ 19 h 149"/>
              <a:gd name="T90" fmla="*/ 120 w 160"/>
              <a:gd name="T91" fmla="*/ 16 h 149"/>
              <a:gd name="T92" fmla="*/ 112 w 160"/>
              <a:gd name="T93" fmla="*/ 13 h 149"/>
              <a:gd name="T94" fmla="*/ 128 w 160"/>
              <a:gd name="T95" fmla="*/ 8 h 149"/>
              <a:gd name="T96" fmla="*/ 125 w 160"/>
              <a:gd name="T97" fmla="*/ 11 h 149"/>
              <a:gd name="T98" fmla="*/ 115 w 160"/>
              <a:gd name="T99" fmla="*/ 27 h 149"/>
              <a:gd name="T100" fmla="*/ 112 w 160"/>
              <a:gd name="T101" fmla="*/ 24 h 149"/>
              <a:gd name="T102" fmla="*/ 128 w 160"/>
              <a:gd name="T103" fmla="*/ 29 h 149"/>
              <a:gd name="T104" fmla="*/ 136 w 160"/>
              <a:gd name="T105" fmla="*/ 16 h 149"/>
              <a:gd name="T106" fmla="*/ 133 w 160"/>
              <a:gd name="T107" fmla="*/ 19 h 149"/>
              <a:gd name="T108" fmla="*/ 147 w 160"/>
              <a:gd name="T109" fmla="*/ 11 h 149"/>
              <a:gd name="T110" fmla="*/ 144 w 160"/>
              <a:gd name="T111" fmla="*/ 8 h 149"/>
              <a:gd name="T112" fmla="*/ 144 w 160"/>
              <a:gd name="T113" fmla="*/ 29 h 149"/>
              <a:gd name="T114" fmla="*/ 56 w 160"/>
              <a:gd name="T115" fmla="*/ 68 h 149"/>
              <a:gd name="T116" fmla="*/ 61 w 160"/>
              <a:gd name="T117" fmla="*/ 64 h 149"/>
              <a:gd name="T118" fmla="*/ 95 w 160"/>
              <a:gd name="T119" fmla="*/ 72 h 149"/>
              <a:gd name="T120" fmla="*/ 101 w 160"/>
              <a:gd name="T121" fmla="*/ 61 h 149"/>
              <a:gd name="T122" fmla="*/ 95 w 160"/>
              <a:gd name="T123" fmla="*/ 7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 h="149">
                <a:moveTo>
                  <a:pt x="160" y="6"/>
                </a:moveTo>
                <a:cubicBezTo>
                  <a:pt x="160" y="3"/>
                  <a:pt x="157" y="0"/>
                  <a:pt x="154" y="0"/>
                </a:cubicBezTo>
                <a:cubicBezTo>
                  <a:pt x="6" y="0"/>
                  <a:pt x="6" y="0"/>
                  <a:pt x="6" y="0"/>
                </a:cubicBezTo>
                <a:cubicBezTo>
                  <a:pt x="3" y="0"/>
                  <a:pt x="0" y="3"/>
                  <a:pt x="0" y="6"/>
                </a:cubicBezTo>
                <a:cubicBezTo>
                  <a:pt x="0" y="37"/>
                  <a:pt x="0" y="37"/>
                  <a:pt x="0" y="37"/>
                </a:cubicBezTo>
                <a:cubicBezTo>
                  <a:pt x="8" y="37"/>
                  <a:pt x="8" y="37"/>
                  <a:pt x="8" y="37"/>
                </a:cubicBezTo>
                <a:cubicBezTo>
                  <a:pt x="8" y="117"/>
                  <a:pt x="8" y="117"/>
                  <a:pt x="8" y="117"/>
                </a:cubicBezTo>
                <a:cubicBezTo>
                  <a:pt x="8" y="138"/>
                  <a:pt x="8" y="138"/>
                  <a:pt x="8" y="138"/>
                </a:cubicBezTo>
                <a:cubicBezTo>
                  <a:pt x="8" y="144"/>
                  <a:pt x="13" y="149"/>
                  <a:pt x="20" y="149"/>
                </a:cubicBezTo>
                <a:cubicBezTo>
                  <a:pt x="40" y="149"/>
                  <a:pt x="40" y="149"/>
                  <a:pt x="40" y="149"/>
                </a:cubicBezTo>
                <a:cubicBezTo>
                  <a:pt x="120" y="149"/>
                  <a:pt x="120" y="149"/>
                  <a:pt x="120" y="149"/>
                </a:cubicBezTo>
                <a:cubicBezTo>
                  <a:pt x="140" y="149"/>
                  <a:pt x="140" y="149"/>
                  <a:pt x="140" y="149"/>
                </a:cubicBezTo>
                <a:cubicBezTo>
                  <a:pt x="147" y="149"/>
                  <a:pt x="152" y="144"/>
                  <a:pt x="152" y="138"/>
                </a:cubicBezTo>
                <a:cubicBezTo>
                  <a:pt x="152" y="117"/>
                  <a:pt x="152" y="117"/>
                  <a:pt x="152" y="117"/>
                </a:cubicBezTo>
                <a:cubicBezTo>
                  <a:pt x="152" y="37"/>
                  <a:pt x="152" y="37"/>
                  <a:pt x="152" y="37"/>
                </a:cubicBezTo>
                <a:cubicBezTo>
                  <a:pt x="160" y="37"/>
                  <a:pt x="160" y="37"/>
                  <a:pt x="160" y="37"/>
                </a:cubicBezTo>
                <a:lnTo>
                  <a:pt x="160" y="6"/>
                </a:lnTo>
                <a:close/>
                <a:moveTo>
                  <a:pt x="20" y="144"/>
                </a:moveTo>
                <a:cubicBezTo>
                  <a:pt x="16" y="144"/>
                  <a:pt x="13" y="141"/>
                  <a:pt x="13" y="138"/>
                </a:cubicBezTo>
                <a:cubicBezTo>
                  <a:pt x="13" y="123"/>
                  <a:pt x="13" y="123"/>
                  <a:pt x="13" y="123"/>
                </a:cubicBezTo>
                <a:cubicBezTo>
                  <a:pt x="24" y="124"/>
                  <a:pt x="33" y="133"/>
                  <a:pt x="35" y="144"/>
                </a:cubicBezTo>
                <a:lnTo>
                  <a:pt x="20" y="144"/>
                </a:lnTo>
                <a:close/>
                <a:moveTo>
                  <a:pt x="147" y="138"/>
                </a:moveTo>
                <a:cubicBezTo>
                  <a:pt x="147" y="141"/>
                  <a:pt x="144" y="144"/>
                  <a:pt x="140" y="144"/>
                </a:cubicBezTo>
                <a:cubicBezTo>
                  <a:pt x="125" y="144"/>
                  <a:pt x="125" y="144"/>
                  <a:pt x="125" y="144"/>
                </a:cubicBezTo>
                <a:cubicBezTo>
                  <a:pt x="127" y="133"/>
                  <a:pt x="136" y="124"/>
                  <a:pt x="147" y="123"/>
                </a:cubicBezTo>
                <a:lnTo>
                  <a:pt x="147" y="138"/>
                </a:lnTo>
                <a:close/>
                <a:moveTo>
                  <a:pt x="147" y="117"/>
                </a:moveTo>
                <a:cubicBezTo>
                  <a:pt x="133" y="119"/>
                  <a:pt x="121" y="130"/>
                  <a:pt x="120" y="144"/>
                </a:cubicBezTo>
                <a:cubicBezTo>
                  <a:pt x="40" y="144"/>
                  <a:pt x="40" y="144"/>
                  <a:pt x="40" y="144"/>
                </a:cubicBezTo>
                <a:cubicBezTo>
                  <a:pt x="39" y="130"/>
                  <a:pt x="27" y="119"/>
                  <a:pt x="13" y="117"/>
                </a:cubicBezTo>
                <a:cubicBezTo>
                  <a:pt x="13" y="37"/>
                  <a:pt x="13" y="37"/>
                  <a:pt x="13" y="37"/>
                </a:cubicBezTo>
                <a:cubicBezTo>
                  <a:pt x="147" y="37"/>
                  <a:pt x="147" y="37"/>
                  <a:pt x="147" y="37"/>
                </a:cubicBezTo>
                <a:lnTo>
                  <a:pt x="147" y="117"/>
                </a:lnTo>
                <a:close/>
                <a:moveTo>
                  <a:pt x="155" y="32"/>
                </a:moveTo>
                <a:cubicBezTo>
                  <a:pt x="152" y="32"/>
                  <a:pt x="152" y="32"/>
                  <a:pt x="152" y="32"/>
                </a:cubicBezTo>
                <a:cubicBezTo>
                  <a:pt x="8" y="32"/>
                  <a:pt x="8" y="32"/>
                  <a:pt x="8" y="32"/>
                </a:cubicBezTo>
                <a:cubicBezTo>
                  <a:pt x="5" y="32"/>
                  <a:pt x="5" y="32"/>
                  <a:pt x="5" y="32"/>
                </a:cubicBezTo>
                <a:cubicBezTo>
                  <a:pt x="5" y="6"/>
                  <a:pt x="5" y="6"/>
                  <a:pt x="5" y="6"/>
                </a:cubicBezTo>
                <a:cubicBezTo>
                  <a:pt x="5" y="6"/>
                  <a:pt x="6" y="5"/>
                  <a:pt x="6" y="5"/>
                </a:cubicBezTo>
                <a:cubicBezTo>
                  <a:pt x="154" y="5"/>
                  <a:pt x="154" y="5"/>
                  <a:pt x="154" y="5"/>
                </a:cubicBezTo>
                <a:cubicBezTo>
                  <a:pt x="154" y="5"/>
                  <a:pt x="155" y="6"/>
                  <a:pt x="155" y="6"/>
                </a:cubicBezTo>
                <a:lnTo>
                  <a:pt x="155" y="32"/>
                </a:lnTo>
                <a:close/>
                <a:moveTo>
                  <a:pt x="24" y="16"/>
                </a:moveTo>
                <a:cubicBezTo>
                  <a:pt x="25" y="16"/>
                  <a:pt x="27" y="17"/>
                  <a:pt x="27" y="19"/>
                </a:cubicBezTo>
                <a:cubicBezTo>
                  <a:pt x="27" y="20"/>
                  <a:pt x="25" y="21"/>
                  <a:pt x="24" y="21"/>
                </a:cubicBezTo>
                <a:cubicBezTo>
                  <a:pt x="23" y="21"/>
                  <a:pt x="21" y="20"/>
                  <a:pt x="21" y="19"/>
                </a:cubicBezTo>
                <a:cubicBezTo>
                  <a:pt x="21" y="17"/>
                  <a:pt x="23" y="16"/>
                  <a:pt x="24" y="16"/>
                </a:cubicBezTo>
                <a:close/>
                <a:moveTo>
                  <a:pt x="16" y="8"/>
                </a:moveTo>
                <a:cubicBezTo>
                  <a:pt x="17" y="8"/>
                  <a:pt x="19" y="9"/>
                  <a:pt x="19" y="11"/>
                </a:cubicBezTo>
                <a:cubicBezTo>
                  <a:pt x="19" y="12"/>
                  <a:pt x="17" y="13"/>
                  <a:pt x="16" y="13"/>
                </a:cubicBezTo>
                <a:cubicBezTo>
                  <a:pt x="15" y="13"/>
                  <a:pt x="13" y="12"/>
                  <a:pt x="13" y="11"/>
                </a:cubicBezTo>
                <a:cubicBezTo>
                  <a:pt x="13" y="9"/>
                  <a:pt x="15" y="8"/>
                  <a:pt x="16" y="8"/>
                </a:cubicBezTo>
                <a:close/>
                <a:moveTo>
                  <a:pt x="32" y="8"/>
                </a:moveTo>
                <a:cubicBezTo>
                  <a:pt x="33" y="8"/>
                  <a:pt x="35" y="9"/>
                  <a:pt x="35" y="11"/>
                </a:cubicBezTo>
                <a:cubicBezTo>
                  <a:pt x="35" y="12"/>
                  <a:pt x="33" y="13"/>
                  <a:pt x="32" y="13"/>
                </a:cubicBezTo>
                <a:cubicBezTo>
                  <a:pt x="31" y="13"/>
                  <a:pt x="29" y="12"/>
                  <a:pt x="29" y="11"/>
                </a:cubicBezTo>
                <a:cubicBezTo>
                  <a:pt x="29" y="9"/>
                  <a:pt x="31" y="8"/>
                  <a:pt x="32" y="8"/>
                </a:cubicBezTo>
                <a:close/>
                <a:moveTo>
                  <a:pt x="16" y="24"/>
                </a:moveTo>
                <a:cubicBezTo>
                  <a:pt x="17" y="24"/>
                  <a:pt x="19" y="25"/>
                  <a:pt x="19" y="27"/>
                </a:cubicBezTo>
                <a:cubicBezTo>
                  <a:pt x="19" y="28"/>
                  <a:pt x="17" y="29"/>
                  <a:pt x="16" y="29"/>
                </a:cubicBezTo>
                <a:cubicBezTo>
                  <a:pt x="15" y="29"/>
                  <a:pt x="13" y="28"/>
                  <a:pt x="13" y="27"/>
                </a:cubicBezTo>
                <a:cubicBezTo>
                  <a:pt x="13" y="25"/>
                  <a:pt x="15" y="24"/>
                  <a:pt x="16" y="24"/>
                </a:cubicBezTo>
                <a:close/>
                <a:moveTo>
                  <a:pt x="32" y="24"/>
                </a:moveTo>
                <a:cubicBezTo>
                  <a:pt x="33" y="24"/>
                  <a:pt x="35" y="25"/>
                  <a:pt x="35" y="27"/>
                </a:cubicBezTo>
                <a:cubicBezTo>
                  <a:pt x="35" y="28"/>
                  <a:pt x="33" y="29"/>
                  <a:pt x="32" y="29"/>
                </a:cubicBezTo>
                <a:cubicBezTo>
                  <a:pt x="31" y="29"/>
                  <a:pt x="29" y="28"/>
                  <a:pt x="29" y="27"/>
                </a:cubicBezTo>
                <a:cubicBezTo>
                  <a:pt x="29" y="25"/>
                  <a:pt x="31" y="24"/>
                  <a:pt x="32" y="24"/>
                </a:cubicBezTo>
                <a:close/>
                <a:moveTo>
                  <a:pt x="40" y="16"/>
                </a:moveTo>
                <a:cubicBezTo>
                  <a:pt x="41" y="16"/>
                  <a:pt x="43" y="17"/>
                  <a:pt x="43" y="19"/>
                </a:cubicBezTo>
                <a:cubicBezTo>
                  <a:pt x="43" y="20"/>
                  <a:pt x="41" y="21"/>
                  <a:pt x="40" y="21"/>
                </a:cubicBezTo>
                <a:cubicBezTo>
                  <a:pt x="39" y="21"/>
                  <a:pt x="37" y="20"/>
                  <a:pt x="37" y="19"/>
                </a:cubicBezTo>
                <a:cubicBezTo>
                  <a:pt x="37" y="17"/>
                  <a:pt x="39" y="16"/>
                  <a:pt x="40" y="16"/>
                </a:cubicBezTo>
                <a:close/>
                <a:moveTo>
                  <a:pt x="56" y="16"/>
                </a:moveTo>
                <a:cubicBezTo>
                  <a:pt x="57" y="16"/>
                  <a:pt x="59" y="17"/>
                  <a:pt x="59" y="19"/>
                </a:cubicBezTo>
                <a:cubicBezTo>
                  <a:pt x="59" y="20"/>
                  <a:pt x="57" y="21"/>
                  <a:pt x="56" y="21"/>
                </a:cubicBezTo>
                <a:cubicBezTo>
                  <a:pt x="55" y="21"/>
                  <a:pt x="53" y="20"/>
                  <a:pt x="53" y="19"/>
                </a:cubicBezTo>
                <a:cubicBezTo>
                  <a:pt x="53" y="17"/>
                  <a:pt x="55" y="16"/>
                  <a:pt x="56" y="16"/>
                </a:cubicBezTo>
                <a:close/>
                <a:moveTo>
                  <a:pt x="48" y="8"/>
                </a:moveTo>
                <a:cubicBezTo>
                  <a:pt x="49" y="8"/>
                  <a:pt x="51" y="9"/>
                  <a:pt x="51" y="11"/>
                </a:cubicBezTo>
                <a:cubicBezTo>
                  <a:pt x="51" y="12"/>
                  <a:pt x="49" y="13"/>
                  <a:pt x="48" y="13"/>
                </a:cubicBezTo>
                <a:cubicBezTo>
                  <a:pt x="47" y="13"/>
                  <a:pt x="45" y="12"/>
                  <a:pt x="45" y="11"/>
                </a:cubicBezTo>
                <a:cubicBezTo>
                  <a:pt x="45" y="9"/>
                  <a:pt x="47" y="8"/>
                  <a:pt x="48" y="8"/>
                </a:cubicBezTo>
                <a:close/>
                <a:moveTo>
                  <a:pt x="64" y="8"/>
                </a:moveTo>
                <a:cubicBezTo>
                  <a:pt x="65" y="8"/>
                  <a:pt x="67" y="9"/>
                  <a:pt x="67" y="11"/>
                </a:cubicBezTo>
                <a:cubicBezTo>
                  <a:pt x="67" y="12"/>
                  <a:pt x="65" y="13"/>
                  <a:pt x="64" y="13"/>
                </a:cubicBezTo>
                <a:cubicBezTo>
                  <a:pt x="63" y="13"/>
                  <a:pt x="61" y="12"/>
                  <a:pt x="61" y="11"/>
                </a:cubicBezTo>
                <a:cubicBezTo>
                  <a:pt x="61" y="9"/>
                  <a:pt x="63" y="8"/>
                  <a:pt x="64" y="8"/>
                </a:cubicBezTo>
                <a:close/>
                <a:moveTo>
                  <a:pt x="48" y="24"/>
                </a:moveTo>
                <a:cubicBezTo>
                  <a:pt x="49" y="24"/>
                  <a:pt x="51" y="25"/>
                  <a:pt x="51" y="27"/>
                </a:cubicBezTo>
                <a:cubicBezTo>
                  <a:pt x="51" y="28"/>
                  <a:pt x="49" y="29"/>
                  <a:pt x="48" y="29"/>
                </a:cubicBezTo>
                <a:cubicBezTo>
                  <a:pt x="47" y="29"/>
                  <a:pt x="45" y="28"/>
                  <a:pt x="45" y="27"/>
                </a:cubicBezTo>
                <a:cubicBezTo>
                  <a:pt x="45" y="25"/>
                  <a:pt x="47" y="24"/>
                  <a:pt x="48" y="24"/>
                </a:cubicBezTo>
                <a:close/>
                <a:moveTo>
                  <a:pt x="64" y="24"/>
                </a:moveTo>
                <a:cubicBezTo>
                  <a:pt x="65" y="24"/>
                  <a:pt x="67" y="25"/>
                  <a:pt x="67" y="27"/>
                </a:cubicBezTo>
                <a:cubicBezTo>
                  <a:pt x="67" y="28"/>
                  <a:pt x="65" y="29"/>
                  <a:pt x="64" y="29"/>
                </a:cubicBezTo>
                <a:cubicBezTo>
                  <a:pt x="63" y="29"/>
                  <a:pt x="61" y="28"/>
                  <a:pt x="61" y="27"/>
                </a:cubicBezTo>
                <a:cubicBezTo>
                  <a:pt x="61" y="25"/>
                  <a:pt x="63" y="24"/>
                  <a:pt x="64" y="24"/>
                </a:cubicBezTo>
                <a:close/>
                <a:moveTo>
                  <a:pt x="72" y="16"/>
                </a:moveTo>
                <a:cubicBezTo>
                  <a:pt x="73" y="16"/>
                  <a:pt x="75" y="17"/>
                  <a:pt x="75" y="19"/>
                </a:cubicBezTo>
                <a:cubicBezTo>
                  <a:pt x="75" y="20"/>
                  <a:pt x="73" y="21"/>
                  <a:pt x="72" y="21"/>
                </a:cubicBezTo>
                <a:cubicBezTo>
                  <a:pt x="71" y="21"/>
                  <a:pt x="69" y="20"/>
                  <a:pt x="69" y="19"/>
                </a:cubicBezTo>
                <a:cubicBezTo>
                  <a:pt x="69" y="17"/>
                  <a:pt x="71" y="16"/>
                  <a:pt x="72" y="16"/>
                </a:cubicBezTo>
                <a:close/>
                <a:moveTo>
                  <a:pt x="88" y="16"/>
                </a:moveTo>
                <a:cubicBezTo>
                  <a:pt x="89" y="16"/>
                  <a:pt x="91" y="17"/>
                  <a:pt x="91" y="19"/>
                </a:cubicBezTo>
                <a:cubicBezTo>
                  <a:pt x="91" y="20"/>
                  <a:pt x="89" y="21"/>
                  <a:pt x="88" y="21"/>
                </a:cubicBezTo>
                <a:cubicBezTo>
                  <a:pt x="87" y="21"/>
                  <a:pt x="85" y="20"/>
                  <a:pt x="85" y="19"/>
                </a:cubicBezTo>
                <a:cubicBezTo>
                  <a:pt x="85" y="17"/>
                  <a:pt x="87" y="16"/>
                  <a:pt x="88" y="16"/>
                </a:cubicBezTo>
                <a:close/>
                <a:moveTo>
                  <a:pt x="80" y="8"/>
                </a:moveTo>
                <a:cubicBezTo>
                  <a:pt x="81" y="8"/>
                  <a:pt x="83" y="9"/>
                  <a:pt x="83" y="11"/>
                </a:cubicBezTo>
                <a:cubicBezTo>
                  <a:pt x="83" y="12"/>
                  <a:pt x="81" y="13"/>
                  <a:pt x="80" y="13"/>
                </a:cubicBezTo>
                <a:cubicBezTo>
                  <a:pt x="79" y="13"/>
                  <a:pt x="77" y="12"/>
                  <a:pt x="77" y="11"/>
                </a:cubicBezTo>
                <a:cubicBezTo>
                  <a:pt x="77" y="9"/>
                  <a:pt x="79" y="8"/>
                  <a:pt x="80" y="8"/>
                </a:cubicBezTo>
                <a:close/>
                <a:moveTo>
                  <a:pt x="96" y="8"/>
                </a:moveTo>
                <a:cubicBezTo>
                  <a:pt x="97" y="8"/>
                  <a:pt x="99" y="9"/>
                  <a:pt x="99" y="11"/>
                </a:cubicBezTo>
                <a:cubicBezTo>
                  <a:pt x="99" y="12"/>
                  <a:pt x="97" y="13"/>
                  <a:pt x="96" y="13"/>
                </a:cubicBezTo>
                <a:cubicBezTo>
                  <a:pt x="95" y="13"/>
                  <a:pt x="93" y="12"/>
                  <a:pt x="93" y="11"/>
                </a:cubicBezTo>
                <a:cubicBezTo>
                  <a:pt x="93" y="9"/>
                  <a:pt x="95" y="8"/>
                  <a:pt x="96" y="8"/>
                </a:cubicBezTo>
                <a:close/>
                <a:moveTo>
                  <a:pt x="80" y="24"/>
                </a:moveTo>
                <a:cubicBezTo>
                  <a:pt x="81" y="24"/>
                  <a:pt x="83" y="25"/>
                  <a:pt x="83" y="27"/>
                </a:cubicBezTo>
                <a:cubicBezTo>
                  <a:pt x="83" y="28"/>
                  <a:pt x="81" y="29"/>
                  <a:pt x="80" y="29"/>
                </a:cubicBezTo>
                <a:cubicBezTo>
                  <a:pt x="79" y="29"/>
                  <a:pt x="77" y="28"/>
                  <a:pt x="77" y="27"/>
                </a:cubicBezTo>
                <a:cubicBezTo>
                  <a:pt x="77" y="25"/>
                  <a:pt x="79" y="24"/>
                  <a:pt x="80" y="24"/>
                </a:cubicBezTo>
                <a:close/>
                <a:moveTo>
                  <a:pt x="96" y="24"/>
                </a:moveTo>
                <a:cubicBezTo>
                  <a:pt x="97" y="24"/>
                  <a:pt x="99" y="25"/>
                  <a:pt x="99" y="27"/>
                </a:cubicBezTo>
                <a:cubicBezTo>
                  <a:pt x="99" y="28"/>
                  <a:pt x="97" y="29"/>
                  <a:pt x="96" y="29"/>
                </a:cubicBezTo>
                <a:cubicBezTo>
                  <a:pt x="95" y="29"/>
                  <a:pt x="93" y="28"/>
                  <a:pt x="93" y="27"/>
                </a:cubicBezTo>
                <a:cubicBezTo>
                  <a:pt x="93" y="25"/>
                  <a:pt x="95" y="24"/>
                  <a:pt x="96" y="24"/>
                </a:cubicBezTo>
                <a:close/>
                <a:moveTo>
                  <a:pt x="104" y="16"/>
                </a:moveTo>
                <a:cubicBezTo>
                  <a:pt x="105" y="16"/>
                  <a:pt x="107" y="17"/>
                  <a:pt x="107" y="19"/>
                </a:cubicBezTo>
                <a:cubicBezTo>
                  <a:pt x="107" y="20"/>
                  <a:pt x="105" y="21"/>
                  <a:pt x="104" y="21"/>
                </a:cubicBezTo>
                <a:cubicBezTo>
                  <a:pt x="103" y="21"/>
                  <a:pt x="101" y="20"/>
                  <a:pt x="101" y="19"/>
                </a:cubicBezTo>
                <a:cubicBezTo>
                  <a:pt x="101" y="17"/>
                  <a:pt x="103" y="16"/>
                  <a:pt x="104" y="16"/>
                </a:cubicBezTo>
                <a:close/>
                <a:moveTo>
                  <a:pt x="120" y="16"/>
                </a:moveTo>
                <a:cubicBezTo>
                  <a:pt x="121" y="16"/>
                  <a:pt x="123" y="17"/>
                  <a:pt x="123" y="19"/>
                </a:cubicBezTo>
                <a:cubicBezTo>
                  <a:pt x="123" y="20"/>
                  <a:pt x="121" y="21"/>
                  <a:pt x="120" y="21"/>
                </a:cubicBezTo>
                <a:cubicBezTo>
                  <a:pt x="119" y="21"/>
                  <a:pt x="117" y="20"/>
                  <a:pt x="117" y="19"/>
                </a:cubicBezTo>
                <a:cubicBezTo>
                  <a:pt x="117" y="17"/>
                  <a:pt x="119" y="16"/>
                  <a:pt x="120" y="16"/>
                </a:cubicBezTo>
                <a:close/>
                <a:moveTo>
                  <a:pt x="112" y="8"/>
                </a:moveTo>
                <a:cubicBezTo>
                  <a:pt x="113" y="8"/>
                  <a:pt x="115" y="9"/>
                  <a:pt x="115" y="11"/>
                </a:cubicBezTo>
                <a:cubicBezTo>
                  <a:pt x="115" y="12"/>
                  <a:pt x="113" y="13"/>
                  <a:pt x="112" y="13"/>
                </a:cubicBezTo>
                <a:cubicBezTo>
                  <a:pt x="111" y="13"/>
                  <a:pt x="109" y="12"/>
                  <a:pt x="109" y="11"/>
                </a:cubicBezTo>
                <a:cubicBezTo>
                  <a:pt x="109" y="9"/>
                  <a:pt x="111" y="8"/>
                  <a:pt x="112" y="8"/>
                </a:cubicBezTo>
                <a:close/>
                <a:moveTo>
                  <a:pt x="128" y="8"/>
                </a:moveTo>
                <a:cubicBezTo>
                  <a:pt x="129" y="8"/>
                  <a:pt x="131" y="9"/>
                  <a:pt x="131" y="11"/>
                </a:cubicBezTo>
                <a:cubicBezTo>
                  <a:pt x="131" y="12"/>
                  <a:pt x="129" y="13"/>
                  <a:pt x="128" y="13"/>
                </a:cubicBezTo>
                <a:cubicBezTo>
                  <a:pt x="127" y="13"/>
                  <a:pt x="125" y="12"/>
                  <a:pt x="125" y="11"/>
                </a:cubicBezTo>
                <a:cubicBezTo>
                  <a:pt x="125" y="9"/>
                  <a:pt x="127" y="8"/>
                  <a:pt x="128" y="8"/>
                </a:cubicBezTo>
                <a:close/>
                <a:moveTo>
                  <a:pt x="112" y="24"/>
                </a:moveTo>
                <a:cubicBezTo>
                  <a:pt x="113" y="24"/>
                  <a:pt x="115" y="25"/>
                  <a:pt x="115" y="27"/>
                </a:cubicBezTo>
                <a:cubicBezTo>
                  <a:pt x="115" y="28"/>
                  <a:pt x="113" y="29"/>
                  <a:pt x="112" y="29"/>
                </a:cubicBezTo>
                <a:cubicBezTo>
                  <a:pt x="111" y="29"/>
                  <a:pt x="109" y="28"/>
                  <a:pt x="109" y="27"/>
                </a:cubicBezTo>
                <a:cubicBezTo>
                  <a:pt x="109" y="25"/>
                  <a:pt x="111" y="24"/>
                  <a:pt x="112" y="24"/>
                </a:cubicBezTo>
                <a:close/>
                <a:moveTo>
                  <a:pt x="128" y="24"/>
                </a:moveTo>
                <a:cubicBezTo>
                  <a:pt x="129" y="24"/>
                  <a:pt x="131" y="25"/>
                  <a:pt x="131" y="27"/>
                </a:cubicBezTo>
                <a:cubicBezTo>
                  <a:pt x="131" y="28"/>
                  <a:pt x="129" y="29"/>
                  <a:pt x="128" y="29"/>
                </a:cubicBezTo>
                <a:cubicBezTo>
                  <a:pt x="127" y="29"/>
                  <a:pt x="125" y="28"/>
                  <a:pt x="125" y="27"/>
                </a:cubicBezTo>
                <a:cubicBezTo>
                  <a:pt x="125" y="25"/>
                  <a:pt x="127" y="24"/>
                  <a:pt x="128" y="24"/>
                </a:cubicBezTo>
                <a:close/>
                <a:moveTo>
                  <a:pt x="136" y="16"/>
                </a:moveTo>
                <a:cubicBezTo>
                  <a:pt x="137" y="16"/>
                  <a:pt x="139" y="17"/>
                  <a:pt x="139" y="19"/>
                </a:cubicBezTo>
                <a:cubicBezTo>
                  <a:pt x="139" y="20"/>
                  <a:pt x="137" y="21"/>
                  <a:pt x="136" y="21"/>
                </a:cubicBezTo>
                <a:cubicBezTo>
                  <a:pt x="135" y="21"/>
                  <a:pt x="133" y="20"/>
                  <a:pt x="133" y="19"/>
                </a:cubicBezTo>
                <a:cubicBezTo>
                  <a:pt x="133" y="17"/>
                  <a:pt x="135" y="16"/>
                  <a:pt x="136" y="16"/>
                </a:cubicBezTo>
                <a:close/>
                <a:moveTo>
                  <a:pt x="144" y="8"/>
                </a:moveTo>
                <a:cubicBezTo>
                  <a:pt x="145" y="8"/>
                  <a:pt x="147" y="9"/>
                  <a:pt x="147" y="11"/>
                </a:cubicBezTo>
                <a:cubicBezTo>
                  <a:pt x="147" y="12"/>
                  <a:pt x="145" y="13"/>
                  <a:pt x="144" y="13"/>
                </a:cubicBezTo>
                <a:cubicBezTo>
                  <a:pt x="143" y="13"/>
                  <a:pt x="141" y="12"/>
                  <a:pt x="141" y="11"/>
                </a:cubicBezTo>
                <a:cubicBezTo>
                  <a:pt x="141" y="9"/>
                  <a:pt x="143" y="8"/>
                  <a:pt x="144" y="8"/>
                </a:cubicBezTo>
                <a:close/>
                <a:moveTo>
                  <a:pt x="144" y="24"/>
                </a:moveTo>
                <a:cubicBezTo>
                  <a:pt x="145" y="24"/>
                  <a:pt x="147" y="25"/>
                  <a:pt x="147" y="27"/>
                </a:cubicBezTo>
                <a:cubicBezTo>
                  <a:pt x="147" y="28"/>
                  <a:pt x="145" y="29"/>
                  <a:pt x="144" y="29"/>
                </a:cubicBezTo>
                <a:cubicBezTo>
                  <a:pt x="143" y="29"/>
                  <a:pt x="141" y="28"/>
                  <a:pt x="141" y="27"/>
                </a:cubicBezTo>
                <a:cubicBezTo>
                  <a:pt x="141" y="25"/>
                  <a:pt x="143" y="24"/>
                  <a:pt x="144" y="24"/>
                </a:cubicBezTo>
                <a:close/>
                <a:moveTo>
                  <a:pt x="56" y="68"/>
                </a:moveTo>
                <a:cubicBezTo>
                  <a:pt x="56" y="64"/>
                  <a:pt x="56" y="64"/>
                  <a:pt x="56" y="64"/>
                </a:cubicBezTo>
                <a:cubicBezTo>
                  <a:pt x="56" y="63"/>
                  <a:pt x="57" y="61"/>
                  <a:pt x="59" y="61"/>
                </a:cubicBezTo>
                <a:cubicBezTo>
                  <a:pt x="60" y="61"/>
                  <a:pt x="61" y="63"/>
                  <a:pt x="61" y="64"/>
                </a:cubicBezTo>
                <a:cubicBezTo>
                  <a:pt x="61" y="68"/>
                  <a:pt x="61" y="68"/>
                  <a:pt x="61" y="68"/>
                </a:cubicBezTo>
                <a:cubicBezTo>
                  <a:pt x="61" y="70"/>
                  <a:pt x="63" y="72"/>
                  <a:pt x="65" y="72"/>
                </a:cubicBezTo>
                <a:cubicBezTo>
                  <a:pt x="95" y="72"/>
                  <a:pt x="95" y="72"/>
                  <a:pt x="95" y="72"/>
                </a:cubicBezTo>
                <a:cubicBezTo>
                  <a:pt x="97" y="72"/>
                  <a:pt x="99" y="70"/>
                  <a:pt x="99" y="68"/>
                </a:cubicBezTo>
                <a:cubicBezTo>
                  <a:pt x="99" y="64"/>
                  <a:pt x="99" y="64"/>
                  <a:pt x="99" y="64"/>
                </a:cubicBezTo>
                <a:cubicBezTo>
                  <a:pt x="99" y="63"/>
                  <a:pt x="100" y="61"/>
                  <a:pt x="101" y="61"/>
                </a:cubicBezTo>
                <a:cubicBezTo>
                  <a:pt x="103" y="61"/>
                  <a:pt x="104" y="63"/>
                  <a:pt x="104" y="64"/>
                </a:cubicBezTo>
                <a:cubicBezTo>
                  <a:pt x="104" y="68"/>
                  <a:pt x="104" y="68"/>
                  <a:pt x="104" y="68"/>
                </a:cubicBezTo>
                <a:cubicBezTo>
                  <a:pt x="104" y="73"/>
                  <a:pt x="100" y="77"/>
                  <a:pt x="95" y="77"/>
                </a:cubicBezTo>
                <a:cubicBezTo>
                  <a:pt x="65" y="77"/>
                  <a:pt x="65" y="77"/>
                  <a:pt x="65" y="77"/>
                </a:cubicBezTo>
                <a:cubicBezTo>
                  <a:pt x="60" y="77"/>
                  <a:pt x="56" y="73"/>
                  <a:pt x="56" y="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56" name="Group 155">
            <a:extLst>
              <a:ext uri="{FF2B5EF4-FFF2-40B4-BE49-F238E27FC236}">
                <a16:creationId xmlns:a16="http://schemas.microsoft.com/office/drawing/2014/main" id="{0C9558EC-D763-CB4D-9145-D907A7B263AE}"/>
              </a:ext>
            </a:extLst>
          </p:cNvPr>
          <p:cNvGrpSpPr/>
          <p:nvPr/>
        </p:nvGrpSpPr>
        <p:grpSpPr>
          <a:xfrm>
            <a:off x="1531820" y="2841625"/>
            <a:ext cx="546100" cy="550863"/>
            <a:chOff x="2479675" y="2841625"/>
            <a:chExt cx="546100" cy="550863"/>
          </a:xfrm>
          <a:solidFill>
            <a:srgbClr val="FFFFFF"/>
          </a:solidFill>
        </p:grpSpPr>
        <p:sp>
          <p:nvSpPr>
            <p:cNvPr id="157" name="Freeform 935">
              <a:extLst>
                <a:ext uri="{FF2B5EF4-FFF2-40B4-BE49-F238E27FC236}">
                  <a16:creationId xmlns:a16="http://schemas.microsoft.com/office/drawing/2014/main" id="{A48853D5-FFB3-2C47-AD55-0B1155352D63}"/>
                </a:ext>
              </a:extLst>
            </p:cNvPr>
            <p:cNvSpPr>
              <a:spLocks noEditPoints="1"/>
            </p:cNvSpPr>
            <p:nvPr/>
          </p:nvSpPr>
          <p:spPr bwMode="auto">
            <a:xfrm>
              <a:off x="2479675" y="2841625"/>
              <a:ext cx="546100" cy="550863"/>
            </a:xfrm>
            <a:custGeom>
              <a:avLst/>
              <a:gdLst>
                <a:gd name="T0" fmla="*/ 160 w 160"/>
                <a:gd name="T1" fmla="*/ 22 h 160"/>
                <a:gd name="T2" fmla="*/ 160 w 160"/>
                <a:gd name="T3" fmla="*/ 21 h 160"/>
                <a:gd name="T4" fmla="*/ 159 w 160"/>
                <a:gd name="T5" fmla="*/ 19 h 160"/>
                <a:gd name="T6" fmla="*/ 143 w 160"/>
                <a:gd name="T7" fmla="*/ 0 h 160"/>
                <a:gd name="T8" fmla="*/ 17 w 160"/>
                <a:gd name="T9" fmla="*/ 0 h 160"/>
                <a:gd name="T10" fmla="*/ 1 w 160"/>
                <a:gd name="T11" fmla="*/ 19 h 160"/>
                <a:gd name="T12" fmla="*/ 0 w 160"/>
                <a:gd name="T13" fmla="*/ 21 h 160"/>
                <a:gd name="T14" fmla="*/ 0 w 160"/>
                <a:gd name="T15" fmla="*/ 22 h 160"/>
                <a:gd name="T16" fmla="*/ 0 w 160"/>
                <a:gd name="T17" fmla="*/ 51 h 160"/>
                <a:gd name="T18" fmla="*/ 8 w 160"/>
                <a:gd name="T19" fmla="*/ 51 h 160"/>
                <a:gd name="T20" fmla="*/ 8 w 160"/>
                <a:gd name="T21" fmla="*/ 160 h 160"/>
                <a:gd name="T22" fmla="*/ 152 w 160"/>
                <a:gd name="T23" fmla="*/ 160 h 160"/>
                <a:gd name="T24" fmla="*/ 152 w 160"/>
                <a:gd name="T25" fmla="*/ 51 h 160"/>
                <a:gd name="T26" fmla="*/ 160 w 160"/>
                <a:gd name="T27" fmla="*/ 51 h 160"/>
                <a:gd name="T28" fmla="*/ 160 w 160"/>
                <a:gd name="T29" fmla="*/ 22 h 160"/>
                <a:gd name="T30" fmla="*/ 20 w 160"/>
                <a:gd name="T31" fmla="*/ 5 h 160"/>
                <a:gd name="T32" fmla="*/ 140 w 160"/>
                <a:gd name="T33" fmla="*/ 5 h 160"/>
                <a:gd name="T34" fmla="*/ 152 w 160"/>
                <a:gd name="T35" fmla="*/ 19 h 160"/>
                <a:gd name="T36" fmla="*/ 8 w 160"/>
                <a:gd name="T37" fmla="*/ 19 h 160"/>
                <a:gd name="T38" fmla="*/ 20 w 160"/>
                <a:gd name="T39" fmla="*/ 5 h 160"/>
                <a:gd name="T40" fmla="*/ 147 w 160"/>
                <a:gd name="T41" fmla="*/ 155 h 160"/>
                <a:gd name="T42" fmla="*/ 13 w 160"/>
                <a:gd name="T43" fmla="*/ 155 h 160"/>
                <a:gd name="T44" fmla="*/ 13 w 160"/>
                <a:gd name="T45" fmla="*/ 51 h 160"/>
                <a:gd name="T46" fmla="*/ 147 w 160"/>
                <a:gd name="T47" fmla="*/ 51 h 160"/>
                <a:gd name="T48" fmla="*/ 147 w 160"/>
                <a:gd name="T49" fmla="*/ 155 h 160"/>
                <a:gd name="T50" fmla="*/ 155 w 160"/>
                <a:gd name="T51" fmla="*/ 45 h 160"/>
                <a:gd name="T52" fmla="*/ 152 w 160"/>
                <a:gd name="T53" fmla="*/ 45 h 160"/>
                <a:gd name="T54" fmla="*/ 8 w 160"/>
                <a:gd name="T55" fmla="*/ 45 h 160"/>
                <a:gd name="T56" fmla="*/ 5 w 160"/>
                <a:gd name="T57" fmla="*/ 45 h 160"/>
                <a:gd name="T58" fmla="*/ 5 w 160"/>
                <a:gd name="T59" fmla="*/ 24 h 160"/>
                <a:gd name="T60" fmla="*/ 155 w 160"/>
                <a:gd name="T61" fmla="*/ 24 h 160"/>
                <a:gd name="T62" fmla="*/ 155 w 160"/>
                <a:gd name="T63" fmla="*/ 4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60">
                  <a:moveTo>
                    <a:pt x="160" y="22"/>
                  </a:moveTo>
                  <a:cubicBezTo>
                    <a:pt x="160" y="22"/>
                    <a:pt x="160" y="21"/>
                    <a:pt x="160" y="21"/>
                  </a:cubicBezTo>
                  <a:cubicBezTo>
                    <a:pt x="160" y="20"/>
                    <a:pt x="159" y="20"/>
                    <a:pt x="159" y="19"/>
                  </a:cubicBezTo>
                  <a:cubicBezTo>
                    <a:pt x="143" y="0"/>
                    <a:pt x="143" y="0"/>
                    <a:pt x="143" y="0"/>
                  </a:cubicBezTo>
                  <a:cubicBezTo>
                    <a:pt x="17" y="0"/>
                    <a:pt x="17" y="0"/>
                    <a:pt x="17" y="0"/>
                  </a:cubicBezTo>
                  <a:cubicBezTo>
                    <a:pt x="1" y="19"/>
                    <a:pt x="1" y="19"/>
                    <a:pt x="1" y="19"/>
                  </a:cubicBezTo>
                  <a:cubicBezTo>
                    <a:pt x="1" y="20"/>
                    <a:pt x="0" y="20"/>
                    <a:pt x="0" y="21"/>
                  </a:cubicBezTo>
                  <a:cubicBezTo>
                    <a:pt x="0" y="21"/>
                    <a:pt x="0" y="22"/>
                    <a:pt x="0" y="22"/>
                  </a:cubicBezTo>
                  <a:cubicBezTo>
                    <a:pt x="0" y="51"/>
                    <a:pt x="0" y="51"/>
                    <a:pt x="0" y="51"/>
                  </a:cubicBezTo>
                  <a:cubicBezTo>
                    <a:pt x="8" y="51"/>
                    <a:pt x="8" y="51"/>
                    <a:pt x="8" y="51"/>
                  </a:cubicBezTo>
                  <a:cubicBezTo>
                    <a:pt x="8" y="160"/>
                    <a:pt x="8" y="160"/>
                    <a:pt x="8" y="160"/>
                  </a:cubicBezTo>
                  <a:cubicBezTo>
                    <a:pt x="152" y="160"/>
                    <a:pt x="152" y="160"/>
                    <a:pt x="152" y="160"/>
                  </a:cubicBezTo>
                  <a:cubicBezTo>
                    <a:pt x="152" y="51"/>
                    <a:pt x="152" y="51"/>
                    <a:pt x="152" y="51"/>
                  </a:cubicBezTo>
                  <a:cubicBezTo>
                    <a:pt x="160" y="51"/>
                    <a:pt x="160" y="51"/>
                    <a:pt x="160" y="51"/>
                  </a:cubicBezTo>
                  <a:lnTo>
                    <a:pt x="160" y="22"/>
                  </a:lnTo>
                  <a:close/>
                  <a:moveTo>
                    <a:pt x="20" y="5"/>
                  </a:moveTo>
                  <a:cubicBezTo>
                    <a:pt x="140" y="5"/>
                    <a:pt x="140" y="5"/>
                    <a:pt x="140" y="5"/>
                  </a:cubicBezTo>
                  <a:cubicBezTo>
                    <a:pt x="152" y="19"/>
                    <a:pt x="152" y="19"/>
                    <a:pt x="152" y="19"/>
                  </a:cubicBezTo>
                  <a:cubicBezTo>
                    <a:pt x="8" y="19"/>
                    <a:pt x="8" y="19"/>
                    <a:pt x="8" y="19"/>
                  </a:cubicBezTo>
                  <a:lnTo>
                    <a:pt x="20" y="5"/>
                  </a:lnTo>
                  <a:close/>
                  <a:moveTo>
                    <a:pt x="147" y="155"/>
                  </a:moveTo>
                  <a:cubicBezTo>
                    <a:pt x="13" y="155"/>
                    <a:pt x="13" y="155"/>
                    <a:pt x="13" y="155"/>
                  </a:cubicBezTo>
                  <a:cubicBezTo>
                    <a:pt x="13" y="51"/>
                    <a:pt x="13" y="51"/>
                    <a:pt x="13" y="51"/>
                  </a:cubicBezTo>
                  <a:cubicBezTo>
                    <a:pt x="147" y="51"/>
                    <a:pt x="147" y="51"/>
                    <a:pt x="147" y="51"/>
                  </a:cubicBezTo>
                  <a:lnTo>
                    <a:pt x="147" y="155"/>
                  </a:lnTo>
                  <a:close/>
                  <a:moveTo>
                    <a:pt x="155" y="45"/>
                  </a:moveTo>
                  <a:cubicBezTo>
                    <a:pt x="152" y="45"/>
                    <a:pt x="152" y="45"/>
                    <a:pt x="152" y="45"/>
                  </a:cubicBezTo>
                  <a:cubicBezTo>
                    <a:pt x="8" y="45"/>
                    <a:pt x="8" y="45"/>
                    <a:pt x="8" y="45"/>
                  </a:cubicBezTo>
                  <a:cubicBezTo>
                    <a:pt x="5" y="45"/>
                    <a:pt x="5" y="45"/>
                    <a:pt x="5" y="45"/>
                  </a:cubicBezTo>
                  <a:cubicBezTo>
                    <a:pt x="5" y="24"/>
                    <a:pt x="5" y="24"/>
                    <a:pt x="5" y="24"/>
                  </a:cubicBezTo>
                  <a:cubicBezTo>
                    <a:pt x="155" y="24"/>
                    <a:pt x="155" y="24"/>
                    <a:pt x="155" y="24"/>
                  </a:cubicBezTo>
                  <a:lnTo>
                    <a:pt x="155"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936">
              <a:extLst>
                <a:ext uri="{FF2B5EF4-FFF2-40B4-BE49-F238E27FC236}">
                  <a16:creationId xmlns:a16="http://schemas.microsoft.com/office/drawing/2014/main" id="{DCDAF352-3CBC-864A-8A03-17D9C781E04F}"/>
                </a:ext>
              </a:extLst>
            </p:cNvPr>
            <p:cNvSpPr>
              <a:spLocks noEditPoints="1"/>
            </p:cNvSpPr>
            <p:nvPr/>
          </p:nvSpPr>
          <p:spPr bwMode="auto">
            <a:xfrm>
              <a:off x="2643188" y="3052763"/>
              <a:ext cx="219075" cy="92075"/>
            </a:xfrm>
            <a:custGeom>
              <a:avLst/>
              <a:gdLst>
                <a:gd name="T0" fmla="*/ 138 w 138"/>
                <a:gd name="T1" fmla="*/ 0 h 58"/>
                <a:gd name="T2" fmla="*/ 0 w 138"/>
                <a:gd name="T3" fmla="*/ 0 h 58"/>
                <a:gd name="T4" fmla="*/ 0 w 138"/>
                <a:gd name="T5" fmla="*/ 58 h 58"/>
                <a:gd name="T6" fmla="*/ 138 w 138"/>
                <a:gd name="T7" fmla="*/ 58 h 58"/>
                <a:gd name="T8" fmla="*/ 138 w 138"/>
                <a:gd name="T9" fmla="*/ 0 h 58"/>
                <a:gd name="T10" fmla="*/ 127 w 138"/>
                <a:gd name="T11" fmla="*/ 47 h 58"/>
                <a:gd name="T12" fmla="*/ 11 w 138"/>
                <a:gd name="T13" fmla="*/ 47 h 58"/>
                <a:gd name="T14" fmla="*/ 11 w 138"/>
                <a:gd name="T15" fmla="*/ 13 h 58"/>
                <a:gd name="T16" fmla="*/ 127 w 138"/>
                <a:gd name="T17" fmla="*/ 13 h 58"/>
                <a:gd name="T18" fmla="*/ 127 w 138"/>
                <a:gd name="T19" fmla="*/ 4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58">
                  <a:moveTo>
                    <a:pt x="138" y="0"/>
                  </a:moveTo>
                  <a:lnTo>
                    <a:pt x="0" y="0"/>
                  </a:lnTo>
                  <a:lnTo>
                    <a:pt x="0" y="58"/>
                  </a:lnTo>
                  <a:lnTo>
                    <a:pt x="138" y="58"/>
                  </a:lnTo>
                  <a:lnTo>
                    <a:pt x="138" y="0"/>
                  </a:lnTo>
                  <a:close/>
                  <a:moveTo>
                    <a:pt x="127" y="47"/>
                  </a:moveTo>
                  <a:lnTo>
                    <a:pt x="11" y="47"/>
                  </a:lnTo>
                  <a:lnTo>
                    <a:pt x="11" y="13"/>
                  </a:lnTo>
                  <a:lnTo>
                    <a:pt x="127" y="13"/>
                  </a:lnTo>
                  <a:lnTo>
                    <a:pt x="127"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937">
              <a:extLst>
                <a:ext uri="{FF2B5EF4-FFF2-40B4-BE49-F238E27FC236}">
                  <a16:creationId xmlns:a16="http://schemas.microsoft.com/office/drawing/2014/main" id="{6AEAFA7E-DA4F-6245-B24F-4E540C51C78E}"/>
                </a:ext>
              </a:extLst>
            </p:cNvPr>
            <p:cNvSpPr>
              <a:spLocks noEditPoints="1"/>
            </p:cNvSpPr>
            <p:nvPr/>
          </p:nvSpPr>
          <p:spPr bwMode="auto">
            <a:xfrm>
              <a:off x="2616200" y="3189288"/>
              <a:ext cx="273050" cy="131763"/>
            </a:xfrm>
            <a:custGeom>
              <a:avLst/>
              <a:gdLst>
                <a:gd name="T0" fmla="*/ 172 w 172"/>
                <a:gd name="T1" fmla="*/ 0 h 83"/>
                <a:gd name="T2" fmla="*/ 0 w 172"/>
                <a:gd name="T3" fmla="*/ 0 h 83"/>
                <a:gd name="T4" fmla="*/ 0 w 172"/>
                <a:gd name="T5" fmla="*/ 83 h 83"/>
                <a:gd name="T6" fmla="*/ 172 w 172"/>
                <a:gd name="T7" fmla="*/ 83 h 83"/>
                <a:gd name="T8" fmla="*/ 172 w 172"/>
                <a:gd name="T9" fmla="*/ 0 h 83"/>
                <a:gd name="T10" fmla="*/ 161 w 172"/>
                <a:gd name="T11" fmla="*/ 70 h 83"/>
                <a:gd name="T12" fmla="*/ 11 w 172"/>
                <a:gd name="T13" fmla="*/ 70 h 83"/>
                <a:gd name="T14" fmla="*/ 11 w 172"/>
                <a:gd name="T15" fmla="*/ 13 h 83"/>
                <a:gd name="T16" fmla="*/ 161 w 172"/>
                <a:gd name="T17" fmla="*/ 13 h 83"/>
                <a:gd name="T18" fmla="*/ 161 w 172"/>
                <a:gd name="T19" fmla="*/ 7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83">
                  <a:moveTo>
                    <a:pt x="172" y="0"/>
                  </a:moveTo>
                  <a:lnTo>
                    <a:pt x="0" y="0"/>
                  </a:lnTo>
                  <a:lnTo>
                    <a:pt x="0" y="83"/>
                  </a:lnTo>
                  <a:lnTo>
                    <a:pt x="172" y="83"/>
                  </a:lnTo>
                  <a:lnTo>
                    <a:pt x="172" y="0"/>
                  </a:lnTo>
                  <a:close/>
                  <a:moveTo>
                    <a:pt x="161" y="70"/>
                  </a:moveTo>
                  <a:lnTo>
                    <a:pt x="11" y="70"/>
                  </a:lnTo>
                  <a:lnTo>
                    <a:pt x="11" y="13"/>
                  </a:lnTo>
                  <a:lnTo>
                    <a:pt x="161" y="13"/>
                  </a:lnTo>
                  <a:lnTo>
                    <a:pt x="161" y="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938">
              <a:extLst>
                <a:ext uri="{FF2B5EF4-FFF2-40B4-BE49-F238E27FC236}">
                  <a16:creationId xmlns:a16="http://schemas.microsoft.com/office/drawing/2014/main" id="{99FA3A87-CCAD-1246-AB7B-3E981E694D8E}"/>
                </a:ext>
              </a:extLst>
            </p:cNvPr>
            <p:cNvSpPr>
              <a:spLocks/>
            </p:cNvSpPr>
            <p:nvPr/>
          </p:nvSpPr>
          <p:spPr bwMode="auto">
            <a:xfrm>
              <a:off x="2670175" y="3265488"/>
              <a:ext cx="65088" cy="17463"/>
            </a:xfrm>
            <a:custGeom>
              <a:avLst/>
              <a:gdLst>
                <a:gd name="T0" fmla="*/ 3 w 19"/>
                <a:gd name="T1" fmla="*/ 5 h 5"/>
                <a:gd name="T2" fmla="*/ 16 w 19"/>
                <a:gd name="T3" fmla="*/ 5 h 5"/>
                <a:gd name="T4" fmla="*/ 19 w 19"/>
                <a:gd name="T5" fmla="*/ 2 h 5"/>
                <a:gd name="T6" fmla="*/ 16 w 19"/>
                <a:gd name="T7" fmla="*/ 0 h 5"/>
                <a:gd name="T8" fmla="*/ 3 w 19"/>
                <a:gd name="T9" fmla="*/ 0 h 5"/>
                <a:gd name="T10" fmla="*/ 0 w 19"/>
                <a:gd name="T11" fmla="*/ 2 h 5"/>
                <a:gd name="T12" fmla="*/ 3 w 1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9" h="5">
                  <a:moveTo>
                    <a:pt x="3" y="5"/>
                  </a:moveTo>
                  <a:cubicBezTo>
                    <a:pt x="16" y="5"/>
                    <a:pt x="16" y="5"/>
                    <a:pt x="16" y="5"/>
                  </a:cubicBezTo>
                  <a:cubicBezTo>
                    <a:pt x="17" y="5"/>
                    <a:pt x="19" y="4"/>
                    <a:pt x="19" y="2"/>
                  </a:cubicBezTo>
                  <a:cubicBezTo>
                    <a:pt x="19" y="1"/>
                    <a:pt x="17" y="0"/>
                    <a:pt x="16" y="0"/>
                  </a:cubicBezTo>
                  <a:cubicBezTo>
                    <a:pt x="3" y="0"/>
                    <a:pt x="3" y="0"/>
                    <a:pt x="3" y="0"/>
                  </a:cubicBezTo>
                  <a:cubicBezTo>
                    <a:pt x="1" y="0"/>
                    <a:pt x="0" y="1"/>
                    <a:pt x="0" y="2"/>
                  </a:cubicBezTo>
                  <a:cubicBezTo>
                    <a:pt x="0" y="4"/>
                    <a:pt x="1" y="5"/>
                    <a:pt x="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939">
              <a:extLst>
                <a:ext uri="{FF2B5EF4-FFF2-40B4-BE49-F238E27FC236}">
                  <a16:creationId xmlns:a16="http://schemas.microsoft.com/office/drawing/2014/main" id="{52990BD6-B0D3-8142-A5A4-97E062F8F98A}"/>
                </a:ext>
              </a:extLst>
            </p:cNvPr>
            <p:cNvSpPr>
              <a:spLocks/>
            </p:cNvSpPr>
            <p:nvPr/>
          </p:nvSpPr>
          <p:spPr bwMode="auto">
            <a:xfrm>
              <a:off x="2714625" y="3227388"/>
              <a:ext cx="120650" cy="17463"/>
            </a:xfrm>
            <a:custGeom>
              <a:avLst/>
              <a:gdLst>
                <a:gd name="T0" fmla="*/ 3 w 35"/>
                <a:gd name="T1" fmla="*/ 5 h 5"/>
                <a:gd name="T2" fmla="*/ 32 w 35"/>
                <a:gd name="T3" fmla="*/ 5 h 5"/>
                <a:gd name="T4" fmla="*/ 35 w 35"/>
                <a:gd name="T5" fmla="*/ 3 h 5"/>
                <a:gd name="T6" fmla="*/ 32 w 35"/>
                <a:gd name="T7" fmla="*/ 0 h 5"/>
                <a:gd name="T8" fmla="*/ 3 w 35"/>
                <a:gd name="T9" fmla="*/ 0 h 5"/>
                <a:gd name="T10" fmla="*/ 0 w 35"/>
                <a:gd name="T11" fmla="*/ 3 h 5"/>
                <a:gd name="T12" fmla="*/ 3 w 3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35" h="5">
                  <a:moveTo>
                    <a:pt x="3" y="5"/>
                  </a:moveTo>
                  <a:cubicBezTo>
                    <a:pt x="32" y="5"/>
                    <a:pt x="32" y="5"/>
                    <a:pt x="32" y="5"/>
                  </a:cubicBezTo>
                  <a:cubicBezTo>
                    <a:pt x="34" y="5"/>
                    <a:pt x="35" y="4"/>
                    <a:pt x="35" y="3"/>
                  </a:cubicBezTo>
                  <a:cubicBezTo>
                    <a:pt x="35" y="1"/>
                    <a:pt x="34" y="0"/>
                    <a:pt x="32" y="0"/>
                  </a:cubicBezTo>
                  <a:cubicBezTo>
                    <a:pt x="3" y="0"/>
                    <a:pt x="3" y="0"/>
                    <a:pt x="3" y="0"/>
                  </a:cubicBezTo>
                  <a:cubicBezTo>
                    <a:pt x="2" y="0"/>
                    <a:pt x="0" y="1"/>
                    <a:pt x="0" y="3"/>
                  </a:cubicBezTo>
                  <a:cubicBezTo>
                    <a:pt x="0" y="4"/>
                    <a:pt x="2" y="5"/>
                    <a:pt x="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940">
              <a:extLst>
                <a:ext uri="{FF2B5EF4-FFF2-40B4-BE49-F238E27FC236}">
                  <a16:creationId xmlns:a16="http://schemas.microsoft.com/office/drawing/2014/main" id="{76B31E61-6D1A-D342-837B-08E7B8EEE0CA}"/>
                </a:ext>
              </a:extLst>
            </p:cNvPr>
            <p:cNvSpPr>
              <a:spLocks/>
            </p:cNvSpPr>
            <p:nvPr/>
          </p:nvSpPr>
          <p:spPr bwMode="auto">
            <a:xfrm>
              <a:off x="2670175" y="3227388"/>
              <a:ext cx="17463" cy="17463"/>
            </a:xfrm>
            <a:custGeom>
              <a:avLst/>
              <a:gdLst>
                <a:gd name="T0" fmla="*/ 3 w 5"/>
                <a:gd name="T1" fmla="*/ 5 h 5"/>
                <a:gd name="T2" fmla="*/ 5 w 5"/>
                <a:gd name="T3" fmla="*/ 5 h 5"/>
                <a:gd name="T4" fmla="*/ 5 w 5"/>
                <a:gd name="T5" fmla="*/ 3 h 5"/>
                <a:gd name="T6" fmla="*/ 5 w 5"/>
                <a:gd name="T7" fmla="*/ 1 h 5"/>
                <a:gd name="T8" fmla="*/ 1 w 5"/>
                <a:gd name="T9" fmla="*/ 1 h 5"/>
                <a:gd name="T10" fmla="*/ 0 w 5"/>
                <a:gd name="T11" fmla="*/ 3 h 5"/>
                <a:gd name="T12" fmla="*/ 1 w 5"/>
                <a:gd name="T13" fmla="*/ 5 h 5"/>
                <a:gd name="T14" fmla="*/ 3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3" y="5"/>
                  </a:moveTo>
                  <a:cubicBezTo>
                    <a:pt x="3" y="5"/>
                    <a:pt x="4" y="5"/>
                    <a:pt x="5" y="5"/>
                  </a:cubicBezTo>
                  <a:cubicBezTo>
                    <a:pt x="5" y="4"/>
                    <a:pt x="5" y="3"/>
                    <a:pt x="5" y="3"/>
                  </a:cubicBezTo>
                  <a:cubicBezTo>
                    <a:pt x="5" y="2"/>
                    <a:pt x="5" y="1"/>
                    <a:pt x="5" y="1"/>
                  </a:cubicBezTo>
                  <a:cubicBezTo>
                    <a:pt x="4" y="0"/>
                    <a:pt x="2" y="0"/>
                    <a:pt x="1" y="1"/>
                  </a:cubicBezTo>
                  <a:cubicBezTo>
                    <a:pt x="0" y="1"/>
                    <a:pt x="0" y="2"/>
                    <a:pt x="0" y="3"/>
                  </a:cubicBezTo>
                  <a:cubicBezTo>
                    <a:pt x="0" y="3"/>
                    <a:pt x="0" y="4"/>
                    <a:pt x="1" y="5"/>
                  </a:cubicBezTo>
                  <a:cubicBezTo>
                    <a:pt x="1" y="5"/>
                    <a:pt x="2" y="5"/>
                    <a:pt x="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941">
              <a:extLst>
                <a:ext uri="{FF2B5EF4-FFF2-40B4-BE49-F238E27FC236}">
                  <a16:creationId xmlns:a16="http://schemas.microsoft.com/office/drawing/2014/main" id="{16219FE3-345A-8445-B6F8-965D17B071A4}"/>
                </a:ext>
              </a:extLst>
            </p:cNvPr>
            <p:cNvSpPr>
              <a:spLocks/>
            </p:cNvSpPr>
            <p:nvPr/>
          </p:nvSpPr>
          <p:spPr bwMode="auto">
            <a:xfrm>
              <a:off x="2762250" y="3262313"/>
              <a:ext cx="17463" cy="20638"/>
            </a:xfrm>
            <a:custGeom>
              <a:avLst/>
              <a:gdLst>
                <a:gd name="T0" fmla="*/ 0 w 5"/>
                <a:gd name="T1" fmla="*/ 1 h 6"/>
                <a:gd name="T2" fmla="*/ 0 w 5"/>
                <a:gd name="T3" fmla="*/ 3 h 6"/>
                <a:gd name="T4" fmla="*/ 0 w 5"/>
                <a:gd name="T5" fmla="*/ 5 h 6"/>
                <a:gd name="T6" fmla="*/ 2 w 5"/>
                <a:gd name="T7" fmla="*/ 6 h 6"/>
                <a:gd name="T8" fmla="*/ 4 w 5"/>
                <a:gd name="T9" fmla="*/ 5 h 6"/>
                <a:gd name="T10" fmla="*/ 5 w 5"/>
                <a:gd name="T11" fmla="*/ 3 h 6"/>
                <a:gd name="T12" fmla="*/ 4 w 5"/>
                <a:gd name="T13" fmla="*/ 1 h 6"/>
                <a:gd name="T14" fmla="*/ 0 w 5"/>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0" y="1"/>
                  </a:moveTo>
                  <a:cubicBezTo>
                    <a:pt x="0" y="2"/>
                    <a:pt x="0" y="3"/>
                    <a:pt x="0" y="3"/>
                  </a:cubicBezTo>
                  <a:cubicBezTo>
                    <a:pt x="0" y="4"/>
                    <a:pt x="0" y="5"/>
                    <a:pt x="0" y="5"/>
                  </a:cubicBezTo>
                  <a:cubicBezTo>
                    <a:pt x="1" y="6"/>
                    <a:pt x="2" y="6"/>
                    <a:pt x="2" y="6"/>
                  </a:cubicBezTo>
                  <a:cubicBezTo>
                    <a:pt x="3" y="6"/>
                    <a:pt x="4" y="6"/>
                    <a:pt x="4" y="5"/>
                  </a:cubicBezTo>
                  <a:cubicBezTo>
                    <a:pt x="5" y="5"/>
                    <a:pt x="5" y="4"/>
                    <a:pt x="5" y="3"/>
                  </a:cubicBezTo>
                  <a:cubicBezTo>
                    <a:pt x="5" y="3"/>
                    <a:pt x="5" y="2"/>
                    <a:pt x="4" y="1"/>
                  </a:cubicBezTo>
                  <a:cubicBezTo>
                    <a:pt x="3" y="0"/>
                    <a:pt x="1" y="0"/>
                    <a:pt x="0"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942">
              <a:extLst>
                <a:ext uri="{FF2B5EF4-FFF2-40B4-BE49-F238E27FC236}">
                  <a16:creationId xmlns:a16="http://schemas.microsoft.com/office/drawing/2014/main" id="{4C239EF5-148F-8F44-897D-F97453E23065}"/>
                </a:ext>
              </a:extLst>
            </p:cNvPr>
            <p:cNvSpPr>
              <a:spLocks/>
            </p:cNvSpPr>
            <p:nvPr/>
          </p:nvSpPr>
          <p:spPr bwMode="auto">
            <a:xfrm>
              <a:off x="2806700" y="3265488"/>
              <a:ext cx="28575" cy="17463"/>
            </a:xfrm>
            <a:custGeom>
              <a:avLst/>
              <a:gdLst>
                <a:gd name="T0" fmla="*/ 5 w 8"/>
                <a:gd name="T1" fmla="*/ 0 h 5"/>
                <a:gd name="T2" fmla="*/ 3 w 8"/>
                <a:gd name="T3" fmla="*/ 0 h 5"/>
                <a:gd name="T4" fmla="*/ 0 w 8"/>
                <a:gd name="T5" fmla="*/ 2 h 5"/>
                <a:gd name="T6" fmla="*/ 3 w 8"/>
                <a:gd name="T7" fmla="*/ 5 h 5"/>
                <a:gd name="T8" fmla="*/ 5 w 8"/>
                <a:gd name="T9" fmla="*/ 5 h 5"/>
                <a:gd name="T10" fmla="*/ 8 w 8"/>
                <a:gd name="T11" fmla="*/ 2 h 5"/>
                <a:gd name="T12" fmla="*/ 5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5" y="0"/>
                  </a:moveTo>
                  <a:cubicBezTo>
                    <a:pt x="3" y="0"/>
                    <a:pt x="3" y="0"/>
                    <a:pt x="3" y="0"/>
                  </a:cubicBezTo>
                  <a:cubicBezTo>
                    <a:pt x="1" y="0"/>
                    <a:pt x="0" y="1"/>
                    <a:pt x="0" y="2"/>
                  </a:cubicBezTo>
                  <a:cubicBezTo>
                    <a:pt x="0" y="4"/>
                    <a:pt x="1" y="5"/>
                    <a:pt x="3" y="5"/>
                  </a:cubicBezTo>
                  <a:cubicBezTo>
                    <a:pt x="5" y="5"/>
                    <a:pt x="5" y="5"/>
                    <a:pt x="5" y="5"/>
                  </a:cubicBezTo>
                  <a:cubicBezTo>
                    <a:pt x="7" y="5"/>
                    <a:pt x="8" y="4"/>
                    <a:pt x="8" y="2"/>
                  </a:cubicBezTo>
                  <a:cubicBezTo>
                    <a:pt x="8" y="1"/>
                    <a:pt x="7" y="0"/>
                    <a:pt x="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5" name="Freeform 943">
            <a:extLst>
              <a:ext uri="{FF2B5EF4-FFF2-40B4-BE49-F238E27FC236}">
                <a16:creationId xmlns:a16="http://schemas.microsoft.com/office/drawing/2014/main" id="{B19BC74A-C289-2845-BED9-FB1F517868BB}"/>
              </a:ext>
            </a:extLst>
          </p:cNvPr>
          <p:cNvSpPr>
            <a:spLocks/>
          </p:cNvSpPr>
          <p:nvPr/>
        </p:nvSpPr>
        <p:spPr bwMode="auto">
          <a:xfrm>
            <a:off x="1546108" y="3436938"/>
            <a:ext cx="522288" cy="561975"/>
          </a:xfrm>
          <a:custGeom>
            <a:avLst/>
            <a:gdLst>
              <a:gd name="T0" fmla="*/ 152 w 153"/>
              <a:gd name="T1" fmla="*/ 67 h 163"/>
              <a:gd name="T2" fmla="*/ 67 w 153"/>
              <a:gd name="T3" fmla="*/ 152 h 163"/>
              <a:gd name="T4" fmla="*/ 39 w 153"/>
              <a:gd name="T5" fmla="*/ 163 h 163"/>
              <a:gd name="T6" fmla="*/ 11 w 153"/>
              <a:gd name="T7" fmla="*/ 152 h 163"/>
              <a:gd name="T8" fmla="*/ 0 w 153"/>
              <a:gd name="T9" fmla="*/ 124 h 163"/>
              <a:gd name="T10" fmla="*/ 11 w 153"/>
              <a:gd name="T11" fmla="*/ 96 h 163"/>
              <a:gd name="T12" fmla="*/ 96 w 153"/>
              <a:gd name="T13" fmla="*/ 11 h 163"/>
              <a:gd name="T14" fmla="*/ 138 w 153"/>
              <a:gd name="T15" fmla="*/ 13 h 163"/>
              <a:gd name="T16" fmla="*/ 139 w 153"/>
              <a:gd name="T17" fmla="*/ 54 h 163"/>
              <a:gd name="T18" fmla="*/ 59 w 153"/>
              <a:gd name="T19" fmla="*/ 134 h 163"/>
              <a:gd name="T20" fmla="*/ 35 w 153"/>
              <a:gd name="T21" fmla="*/ 134 h 163"/>
              <a:gd name="T22" fmla="*/ 35 w 153"/>
              <a:gd name="T23" fmla="*/ 109 h 163"/>
              <a:gd name="T24" fmla="*/ 88 w 153"/>
              <a:gd name="T25" fmla="*/ 55 h 163"/>
              <a:gd name="T26" fmla="*/ 93 w 153"/>
              <a:gd name="T27" fmla="*/ 55 h 163"/>
              <a:gd name="T28" fmla="*/ 93 w 153"/>
              <a:gd name="T29" fmla="*/ 59 h 163"/>
              <a:gd name="T30" fmla="*/ 39 w 153"/>
              <a:gd name="T31" fmla="*/ 113 h 163"/>
              <a:gd name="T32" fmla="*/ 39 w 153"/>
              <a:gd name="T33" fmla="*/ 129 h 163"/>
              <a:gd name="T34" fmla="*/ 55 w 153"/>
              <a:gd name="T35" fmla="*/ 129 h 163"/>
              <a:gd name="T36" fmla="*/ 135 w 153"/>
              <a:gd name="T37" fmla="*/ 50 h 163"/>
              <a:gd name="T38" fmla="*/ 133 w 153"/>
              <a:gd name="T39" fmla="*/ 17 h 163"/>
              <a:gd name="T40" fmla="*/ 100 w 153"/>
              <a:gd name="T41" fmla="*/ 16 h 163"/>
              <a:gd name="T42" fmla="*/ 16 w 153"/>
              <a:gd name="T43" fmla="*/ 100 h 163"/>
              <a:gd name="T44" fmla="*/ 6 w 153"/>
              <a:gd name="T45" fmla="*/ 124 h 163"/>
              <a:gd name="T46" fmla="*/ 16 w 153"/>
              <a:gd name="T47" fmla="*/ 147 h 163"/>
              <a:gd name="T48" fmla="*/ 39 w 153"/>
              <a:gd name="T49" fmla="*/ 157 h 163"/>
              <a:gd name="T50" fmla="*/ 63 w 153"/>
              <a:gd name="T51" fmla="*/ 147 h 163"/>
              <a:gd name="T52" fmla="*/ 147 w 153"/>
              <a:gd name="T53" fmla="*/ 63 h 163"/>
              <a:gd name="T54" fmla="*/ 152 w 153"/>
              <a:gd name="T55" fmla="*/ 63 h 163"/>
              <a:gd name="T56" fmla="*/ 152 w 153"/>
              <a:gd name="T57" fmla="*/ 6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3" h="163">
                <a:moveTo>
                  <a:pt x="152" y="67"/>
                </a:moveTo>
                <a:cubicBezTo>
                  <a:pt x="67" y="152"/>
                  <a:pt x="67" y="152"/>
                  <a:pt x="67" y="152"/>
                </a:cubicBezTo>
                <a:cubicBezTo>
                  <a:pt x="60" y="159"/>
                  <a:pt x="50" y="163"/>
                  <a:pt x="39" y="163"/>
                </a:cubicBezTo>
                <a:cubicBezTo>
                  <a:pt x="29" y="163"/>
                  <a:pt x="19" y="159"/>
                  <a:pt x="11" y="152"/>
                </a:cubicBezTo>
                <a:cubicBezTo>
                  <a:pt x="4" y="144"/>
                  <a:pt x="0" y="134"/>
                  <a:pt x="0" y="124"/>
                </a:cubicBezTo>
                <a:cubicBezTo>
                  <a:pt x="0" y="113"/>
                  <a:pt x="4" y="103"/>
                  <a:pt x="11" y="96"/>
                </a:cubicBezTo>
                <a:cubicBezTo>
                  <a:pt x="96" y="11"/>
                  <a:pt x="96" y="11"/>
                  <a:pt x="96" y="11"/>
                </a:cubicBezTo>
                <a:cubicBezTo>
                  <a:pt x="108" y="0"/>
                  <a:pt x="125" y="0"/>
                  <a:pt x="138" y="13"/>
                </a:cubicBezTo>
                <a:cubicBezTo>
                  <a:pt x="150" y="25"/>
                  <a:pt x="150" y="43"/>
                  <a:pt x="139" y="54"/>
                </a:cubicBezTo>
                <a:cubicBezTo>
                  <a:pt x="59" y="134"/>
                  <a:pt x="59" y="134"/>
                  <a:pt x="59" y="134"/>
                </a:cubicBezTo>
                <a:cubicBezTo>
                  <a:pt x="53" y="140"/>
                  <a:pt x="41" y="140"/>
                  <a:pt x="35" y="134"/>
                </a:cubicBezTo>
                <a:cubicBezTo>
                  <a:pt x="28" y="127"/>
                  <a:pt x="28" y="116"/>
                  <a:pt x="35" y="109"/>
                </a:cubicBezTo>
                <a:cubicBezTo>
                  <a:pt x="88" y="55"/>
                  <a:pt x="88" y="55"/>
                  <a:pt x="88" y="55"/>
                </a:cubicBezTo>
                <a:cubicBezTo>
                  <a:pt x="90" y="54"/>
                  <a:pt x="92" y="54"/>
                  <a:pt x="93" y="55"/>
                </a:cubicBezTo>
                <a:cubicBezTo>
                  <a:pt x="94" y="56"/>
                  <a:pt x="94" y="58"/>
                  <a:pt x="93" y="59"/>
                </a:cubicBezTo>
                <a:cubicBezTo>
                  <a:pt x="39" y="113"/>
                  <a:pt x="39" y="113"/>
                  <a:pt x="39" y="113"/>
                </a:cubicBezTo>
                <a:cubicBezTo>
                  <a:pt x="34" y="118"/>
                  <a:pt x="34" y="125"/>
                  <a:pt x="39" y="129"/>
                </a:cubicBezTo>
                <a:cubicBezTo>
                  <a:pt x="43" y="134"/>
                  <a:pt x="51" y="134"/>
                  <a:pt x="55" y="129"/>
                </a:cubicBezTo>
                <a:cubicBezTo>
                  <a:pt x="135" y="50"/>
                  <a:pt x="135" y="50"/>
                  <a:pt x="135" y="50"/>
                </a:cubicBezTo>
                <a:cubicBezTo>
                  <a:pt x="144" y="41"/>
                  <a:pt x="143" y="27"/>
                  <a:pt x="133" y="17"/>
                </a:cubicBezTo>
                <a:cubicBezTo>
                  <a:pt x="124" y="7"/>
                  <a:pt x="109" y="7"/>
                  <a:pt x="100" y="16"/>
                </a:cubicBezTo>
                <a:cubicBezTo>
                  <a:pt x="16" y="100"/>
                  <a:pt x="16" y="100"/>
                  <a:pt x="16" y="100"/>
                </a:cubicBezTo>
                <a:cubicBezTo>
                  <a:pt x="10" y="106"/>
                  <a:pt x="6" y="115"/>
                  <a:pt x="6" y="124"/>
                </a:cubicBezTo>
                <a:cubicBezTo>
                  <a:pt x="6" y="133"/>
                  <a:pt x="10" y="141"/>
                  <a:pt x="16" y="147"/>
                </a:cubicBezTo>
                <a:cubicBezTo>
                  <a:pt x="22" y="153"/>
                  <a:pt x="30" y="157"/>
                  <a:pt x="39" y="157"/>
                </a:cubicBezTo>
                <a:cubicBezTo>
                  <a:pt x="48" y="157"/>
                  <a:pt x="57" y="153"/>
                  <a:pt x="63" y="147"/>
                </a:cubicBezTo>
                <a:cubicBezTo>
                  <a:pt x="147" y="63"/>
                  <a:pt x="147" y="63"/>
                  <a:pt x="147" y="63"/>
                </a:cubicBezTo>
                <a:cubicBezTo>
                  <a:pt x="149" y="61"/>
                  <a:pt x="151" y="61"/>
                  <a:pt x="152" y="63"/>
                </a:cubicBezTo>
                <a:cubicBezTo>
                  <a:pt x="153" y="64"/>
                  <a:pt x="153" y="66"/>
                  <a:pt x="152" y="6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6" name="Freeform 944">
            <a:extLst>
              <a:ext uri="{FF2B5EF4-FFF2-40B4-BE49-F238E27FC236}">
                <a16:creationId xmlns:a16="http://schemas.microsoft.com/office/drawing/2014/main" id="{D55A4B5A-9DF6-5245-8F41-01C510D636CE}"/>
              </a:ext>
            </a:extLst>
          </p:cNvPr>
          <p:cNvSpPr>
            <a:spLocks noEditPoints="1"/>
          </p:cNvSpPr>
          <p:nvPr/>
        </p:nvSpPr>
        <p:spPr bwMode="auto">
          <a:xfrm>
            <a:off x="1600083" y="4081463"/>
            <a:ext cx="403225" cy="550863"/>
          </a:xfrm>
          <a:custGeom>
            <a:avLst/>
            <a:gdLst>
              <a:gd name="T0" fmla="*/ 116 w 118"/>
              <a:gd name="T1" fmla="*/ 0 h 160"/>
              <a:gd name="T2" fmla="*/ 112 w 118"/>
              <a:gd name="T3" fmla="*/ 1 h 160"/>
              <a:gd name="T4" fmla="*/ 8 w 118"/>
              <a:gd name="T5" fmla="*/ 73 h 160"/>
              <a:gd name="T6" fmla="*/ 8 w 118"/>
              <a:gd name="T7" fmla="*/ 4 h 160"/>
              <a:gd name="T8" fmla="*/ 4 w 118"/>
              <a:gd name="T9" fmla="*/ 0 h 160"/>
              <a:gd name="T10" fmla="*/ 0 w 118"/>
              <a:gd name="T11" fmla="*/ 4 h 160"/>
              <a:gd name="T12" fmla="*/ 0 w 118"/>
              <a:gd name="T13" fmla="*/ 156 h 160"/>
              <a:gd name="T14" fmla="*/ 4 w 118"/>
              <a:gd name="T15" fmla="*/ 160 h 160"/>
              <a:gd name="T16" fmla="*/ 8 w 118"/>
              <a:gd name="T17" fmla="*/ 156 h 160"/>
              <a:gd name="T18" fmla="*/ 8 w 118"/>
              <a:gd name="T19" fmla="*/ 87 h 160"/>
              <a:gd name="T20" fmla="*/ 112 w 118"/>
              <a:gd name="T21" fmla="*/ 159 h 160"/>
              <a:gd name="T22" fmla="*/ 114 w 118"/>
              <a:gd name="T23" fmla="*/ 160 h 160"/>
              <a:gd name="T24" fmla="*/ 116 w 118"/>
              <a:gd name="T25" fmla="*/ 160 h 160"/>
              <a:gd name="T26" fmla="*/ 118 w 118"/>
              <a:gd name="T27" fmla="*/ 156 h 160"/>
              <a:gd name="T28" fmla="*/ 118 w 118"/>
              <a:gd name="T29" fmla="*/ 4 h 160"/>
              <a:gd name="T30" fmla="*/ 116 w 118"/>
              <a:gd name="T31" fmla="*/ 0 h 160"/>
              <a:gd name="T32" fmla="*/ 110 w 118"/>
              <a:gd name="T33" fmla="*/ 149 h 160"/>
              <a:gd name="T34" fmla="*/ 11 w 118"/>
              <a:gd name="T35" fmla="*/ 80 h 160"/>
              <a:gd name="T36" fmla="*/ 110 w 118"/>
              <a:gd name="T37" fmla="*/ 11 h 160"/>
              <a:gd name="T38" fmla="*/ 110 w 118"/>
              <a:gd name="T39"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60">
                <a:moveTo>
                  <a:pt x="116" y="0"/>
                </a:moveTo>
                <a:cubicBezTo>
                  <a:pt x="115" y="0"/>
                  <a:pt x="113" y="0"/>
                  <a:pt x="112" y="1"/>
                </a:cubicBezTo>
                <a:cubicBezTo>
                  <a:pt x="8" y="73"/>
                  <a:pt x="8" y="73"/>
                  <a:pt x="8" y="73"/>
                </a:cubicBezTo>
                <a:cubicBezTo>
                  <a:pt x="8" y="4"/>
                  <a:pt x="8" y="4"/>
                  <a:pt x="8" y="4"/>
                </a:cubicBezTo>
                <a:cubicBezTo>
                  <a:pt x="8" y="2"/>
                  <a:pt x="6" y="0"/>
                  <a:pt x="4" y="0"/>
                </a:cubicBezTo>
                <a:cubicBezTo>
                  <a:pt x="2" y="0"/>
                  <a:pt x="0" y="2"/>
                  <a:pt x="0" y="4"/>
                </a:cubicBezTo>
                <a:cubicBezTo>
                  <a:pt x="0" y="156"/>
                  <a:pt x="0" y="156"/>
                  <a:pt x="0" y="156"/>
                </a:cubicBezTo>
                <a:cubicBezTo>
                  <a:pt x="0" y="158"/>
                  <a:pt x="2" y="160"/>
                  <a:pt x="4" y="160"/>
                </a:cubicBezTo>
                <a:cubicBezTo>
                  <a:pt x="6" y="160"/>
                  <a:pt x="8" y="158"/>
                  <a:pt x="8" y="156"/>
                </a:cubicBezTo>
                <a:cubicBezTo>
                  <a:pt x="8" y="87"/>
                  <a:pt x="8" y="87"/>
                  <a:pt x="8" y="87"/>
                </a:cubicBezTo>
                <a:cubicBezTo>
                  <a:pt x="112" y="159"/>
                  <a:pt x="112" y="159"/>
                  <a:pt x="112" y="159"/>
                </a:cubicBezTo>
                <a:cubicBezTo>
                  <a:pt x="113" y="160"/>
                  <a:pt x="114" y="160"/>
                  <a:pt x="114" y="160"/>
                </a:cubicBezTo>
                <a:cubicBezTo>
                  <a:pt x="115" y="160"/>
                  <a:pt x="116" y="160"/>
                  <a:pt x="116" y="160"/>
                </a:cubicBezTo>
                <a:cubicBezTo>
                  <a:pt x="117" y="159"/>
                  <a:pt x="118" y="158"/>
                  <a:pt x="118" y="156"/>
                </a:cubicBezTo>
                <a:cubicBezTo>
                  <a:pt x="118" y="4"/>
                  <a:pt x="118" y="4"/>
                  <a:pt x="118" y="4"/>
                </a:cubicBezTo>
                <a:cubicBezTo>
                  <a:pt x="118" y="2"/>
                  <a:pt x="117" y="1"/>
                  <a:pt x="116" y="0"/>
                </a:cubicBezTo>
                <a:close/>
                <a:moveTo>
                  <a:pt x="110" y="149"/>
                </a:moveTo>
                <a:cubicBezTo>
                  <a:pt x="11" y="80"/>
                  <a:pt x="11" y="80"/>
                  <a:pt x="11" y="80"/>
                </a:cubicBezTo>
                <a:cubicBezTo>
                  <a:pt x="110" y="11"/>
                  <a:pt x="110" y="11"/>
                  <a:pt x="110" y="11"/>
                </a:cubicBezTo>
                <a:lnTo>
                  <a:pt x="110" y="14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7" name="Oval 952">
            <a:extLst>
              <a:ext uri="{FF2B5EF4-FFF2-40B4-BE49-F238E27FC236}">
                <a16:creationId xmlns:a16="http://schemas.microsoft.com/office/drawing/2014/main" id="{690A67D6-0510-214F-8461-E533CF95C928}"/>
              </a:ext>
            </a:extLst>
          </p:cNvPr>
          <p:cNvSpPr>
            <a:spLocks noChangeArrowheads="1"/>
          </p:cNvSpPr>
          <p:nvPr/>
        </p:nvSpPr>
        <p:spPr bwMode="auto">
          <a:xfrm>
            <a:off x="1828683" y="4772025"/>
            <a:ext cx="17463" cy="20638"/>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68" name="Group 167">
            <a:extLst>
              <a:ext uri="{FF2B5EF4-FFF2-40B4-BE49-F238E27FC236}">
                <a16:creationId xmlns:a16="http://schemas.microsoft.com/office/drawing/2014/main" id="{C9C7EFDA-97CF-EB46-BC18-C866B3885946}"/>
              </a:ext>
            </a:extLst>
          </p:cNvPr>
          <p:cNvGrpSpPr/>
          <p:nvPr/>
        </p:nvGrpSpPr>
        <p:grpSpPr>
          <a:xfrm>
            <a:off x="1654058" y="4700588"/>
            <a:ext cx="290513" cy="550863"/>
            <a:chOff x="2601913" y="4700588"/>
            <a:chExt cx="290513" cy="550863"/>
          </a:xfrm>
          <a:solidFill>
            <a:srgbClr val="FFFFFF"/>
          </a:solidFill>
        </p:grpSpPr>
        <p:sp>
          <p:nvSpPr>
            <p:cNvPr id="169" name="Freeform 945">
              <a:extLst>
                <a:ext uri="{FF2B5EF4-FFF2-40B4-BE49-F238E27FC236}">
                  <a16:creationId xmlns:a16="http://schemas.microsoft.com/office/drawing/2014/main" id="{B82624D3-2C2C-004E-B9A1-7798DA91045A}"/>
                </a:ext>
              </a:extLst>
            </p:cNvPr>
            <p:cNvSpPr>
              <a:spLocks noEditPoints="1"/>
            </p:cNvSpPr>
            <p:nvPr/>
          </p:nvSpPr>
          <p:spPr bwMode="auto">
            <a:xfrm>
              <a:off x="2601913" y="4700588"/>
              <a:ext cx="290513" cy="550863"/>
            </a:xfrm>
            <a:custGeom>
              <a:avLst/>
              <a:gdLst>
                <a:gd name="T0" fmla="*/ 59 w 85"/>
                <a:gd name="T1" fmla="*/ 11 h 160"/>
                <a:gd name="T2" fmla="*/ 27 w 85"/>
                <a:gd name="T3" fmla="*/ 0 h 160"/>
                <a:gd name="T4" fmla="*/ 9 w 85"/>
                <a:gd name="T5" fmla="*/ 11 h 160"/>
                <a:gd name="T6" fmla="*/ 0 w 85"/>
                <a:gd name="T7" fmla="*/ 151 h 160"/>
                <a:gd name="T8" fmla="*/ 76 w 85"/>
                <a:gd name="T9" fmla="*/ 160 h 160"/>
                <a:gd name="T10" fmla="*/ 85 w 85"/>
                <a:gd name="T11" fmla="*/ 20 h 160"/>
                <a:gd name="T12" fmla="*/ 32 w 85"/>
                <a:gd name="T13" fmla="*/ 5 h 160"/>
                <a:gd name="T14" fmla="*/ 53 w 85"/>
                <a:gd name="T15" fmla="*/ 11 h 160"/>
                <a:gd name="T16" fmla="*/ 32 w 85"/>
                <a:gd name="T17" fmla="*/ 5 h 160"/>
                <a:gd name="T18" fmla="*/ 80 w 85"/>
                <a:gd name="T19" fmla="*/ 48 h 160"/>
                <a:gd name="T20" fmla="*/ 80 w 85"/>
                <a:gd name="T21" fmla="*/ 80 h 160"/>
                <a:gd name="T22" fmla="*/ 80 w 85"/>
                <a:gd name="T23" fmla="*/ 112 h 160"/>
                <a:gd name="T24" fmla="*/ 80 w 85"/>
                <a:gd name="T25" fmla="*/ 144 h 160"/>
                <a:gd name="T26" fmla="*/ 76 w 85"/>
                <a:gd name="T27" fmla="*/ 155 h 160"/>
                <a:gd name="T28" fmla="*/ 53 w 85"/>
                <a:gd name="T29" fmla="*/ 155 h 160"/>
                <a:gd name="T30" fmla="*/ 21 w 85"/>
                <a:gd name="T31" fmla="*/ 155 h 160"/>
                <a:gd name="T32" fmla="*/ 7 w 85"/>
                <a:gd name="T33" fmla="*/ 154 h 160"/>
                <a:gd name="T34" fmla="*/ 5 w 85"/>
                <a:gd name="T35" fmla="*/ 149 h 160"/>
                <a:gd name="T36" fmla="*/ 8 w 85"/>
                <a:gd name="T37" fmla="*/ 136 h 160"/>
                <a:gd name="T38" fmla="*/ 5 w 85"/>
                <a:gd name="T39" fmla="*/ 123 h 160"/>
                <a:gd name="T40" fmla="*/ 5 w 85"/>
                <a:gd name="T41" fmla="*/ 117 h 160"/>
                <a:gd name="T42" fmla="*/ 8 w 85"/>
                <a:gd name="T43" fmla="*/ 104 h 160"/>
                <a:gd name="T44" fmla="*/ 5 w 85"/>
                <a:gd name="T45" fmla="*/ 91 h 160"/>
                <a:gd name="T46" fmla="*/ 5 w 85"/>
                <a:gd name="T47" fmla="*/ 85 h 160"/>
                <a:gd name="T48" fmla="*/ 8 w 85"/>
                <a:gd name="T49" fmla="*/ 72 h 160"/>
                <a:gd name="T50" fmla="*/ 5 w 85"/>
                <a:gd name="T51" fmla="*/ 59 h 160"/>
                <a:gd name="T52" fmla="*/ 5 w 85"/>
                <a:gd name="T53" fmla="*/ 53 h 160"/>
                <a:gd name="T54" fmla="*/ 8 w 85"/>
                <a:gd name="T55" fmla="*/ 40 h 160"/>
                <a:gd name="T56" fmla="*/ 5 w 85"/>
                <a:gd name="T57" fmla="*/ 27 h 160"/>
                <a:gd name="T58" fmla="*/ 5 w 85"/>
                <a:gd name="T59" fmla="*/ 21 h 160"/>
                <a:gd name="T60" fmla="*/ 9 w 85"/>
                <a:gd name="T61" fmla="*/ 16 h 160"/>
                <a:gd name="T62" fmla="*/ 13 w 85"/>
                <a:gd name="T63" fmla="*/ 19 h 160"/>
                <a:gd name="T64" fmla="*/ 27 w 85"/>
                <a:gd name="T65" fmla="*/ 16 h 160"/>
                <a:gd name="T66" fmla="*/ 32 w 85"/>
                <a:gd name="T67" fmla="*/ 16 h 160"/>
                <a:gd name="T68" fmla="*/ 45 w 85"/>
                <a:gd name="T69" fmla="*/ 19 h 160"/>
                <a:gd name="T70" fmla="*/ 59 w 85"/>
                <a:gd name="T71" fmla="*/ 16 h 160"/>
                <a:gd name="T72" fmla="*/ 64 w 85"/>
                <a:gd name="T73" fmla="*/ 16 h 160"/>
                <a:gd name="T74" fmla="*/ 77 w 85"/>
                <a:gd name="T75" fmla="*/ 19 h 160"/>
                <a:gd name="T76" fmla="*/ 80 w 85"/>
                <a:gd name="T77" fmla="*/ 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80" y="32"/>
                  </a:moveTo>
                  <a:cubicBezTo>
                    <a:pt x="80" y="48"/>
                    <a:pt x="80" y="48"/>
                    <a:pt x="80" y="48"/>
                  </a:cubicBezTo>
                  <a:cubicBezTo>
                    <a:pt x="80" y="64"/>
                    <a:pt x="80" y="64"/>
                    <a:pt x="80" y="64"/>
                  </a:cubicBezTo>
                  <a:cubicBezTo>
                    <a:pt x="80" y="80"/>
                    <a:pt x="80" y="80"/>
                    <a:pt x="80" y="80"/>
                  </a:cubicBezTo>
                  <a:cubicBezTo>
                    <a:pt x="80" y="96"/>
                    <a:pt x="80" y="96"/>
                    <a:pt x="80" y="96"/>
                  </a:cubicBezTo>
                  <a:cubicBezTo>
                    <a:pt x="80" y="112"/>
                    <a:pt x="80" y="112"/>
                    <a:pt x="80" y="112"/>
                  </a:cubicBezTo>
                  <a:cubicBezTo>
                    <a:pt x="80" y="128"/>
                    <a:pt x="80" y="128"/>
                    <a:pt x="80" y="128"/>
                  </a:cubicBezTo>
                  <a:cubicBezTo>
                    <a:pt x="80" y="144"/>
                    <a:pt x="80" y="144"/>
                    <a:pt x="80" y="144"/>
                  </a:cubicBezTo>
                  <a:cubicBezTo>
                    <a:pt x="80" y="151"/>
                    <a:pt x="80" y="151"/>
                    <a:pt x="80" y="151"/>
                  </a:cubicBezTo>
                  <a:cubicBezTo>
                    <a:pt x="80" y="153"/>
                    <a:pt x="78" y="155"/>
                    <a:pt x="76" y="155"/>
                  </a:cubicBezTo>
                  <a:cubicBezTo>
                    <a:pt x="69" y="155"/>
                    <a:pt x="69" y="155"/>
                    <a:pt x="69" y="155"/>
                  </a:cubicBezTo>
                  <a:cubicBezTo>
                    <a:pt x="53" y="155"/>
                    <a:pt x="53" y="155"/>
                    <a:pt x="53" y="155"/>
                  </a:cubicBezTo>
                  <a:cubicBezTo>
                    <a:pt x="37" y="155"/>
                    <a:pt x="37" y="155"/>
                    <a:pt x="37" y="155"/>
                  </a:cubicBezTo>
                  <a:cubicBezTo>
                    <a:pt x="21" y="155"/>
                    <a:pt x="21" y="155"/>
                    <a:pt x="21" y="155"/>
                  </a:cubicBezTo>
                  <a:cubicBezTo>
                    <a:pt x="9" y="155"/>
                    <a:pt x="9" y="155"/>
                    <a:pt x="9" y="155"/>
                  </a:cubicBezTo>
                  <a:cubicBezTo>
                    <a:pt x="8" y="155"/>
                    <a:pt x="8" y="154"/>
                    <a:pt x="7" y="154"/>
                  </a:cubicBezTo>
                  <a:cubicBezTo>
                    <a:pt x="8" y="154"/>
                    <a:pt x="8" y="153"/>
                    <a:pt x="8" y="152"/>
                  </a:cubicBezTo>
                  <a:cubicBezTo>
                    <a:pt x="8" y="151"/>
                    <a:pt x="7" y="149"/>
                    <a:pt x="5" y="149"/>
                  </a:cubicBezTo>
                  <a:cubicBezTo>
                    <a:pt x="5" y="139"/>
                    <a:pt x="5" y="139"/>
                    <a:pt x="5" y="139"/>
                  </a:cubicBezTo>
                  <a:cubicBezTo>
                    <a:pt x="7" y="139"/>
                    <a:pt x="8" y="137"/>
                    <a:pt x="8" y="136"/>
                  </a:cubicBezTo>
                  <a:cubicBezTo>
                    <a:pt x="8" y="135"/>
                    <a:pt x="7" y="133"/>
                    <a:pt x="5" y="133"/>
                  </a:cubicBezTo>
                  <a:cubicBezTo>
                    <a:pt x="5" y="123"/>
                    <a:pt x="5" y="123"/>
                    <a:pt x="5" y="123"/>
                  </a:cubicBezTo>
                  <a:cubicBezTo>
                    <a:pt x="7" y="123"/>
                    <a:pt x="8" y="121"/>
                    <a:pt x="8" y="120"/>
                  </a:cubicBezTo>
                  <a:cubicBezTo>
                    <a:pt x="8" y="119"/>
                    <a:pt x="7" y="117"/>
                    <a:pt x="5" y="117"/>
                  </a:cubicBezTo>
                  <a:cubicBezTo>
                    <a:pt x="5" y="107"/>
                    <a:pt x="5" y="107"/>
                    <a:pt x="5" y="107"/>
                  </a:cubicBezTo>
                  <a:cubicBezTo>
                    <a:pt x="7" y="107"/>
                    <a:pt x="8" y="105"/>
                    <a:pt x="8" y="104"/>
                  </a:cubicBezTo>
                  <a:cubicBezTo>
                    <a:pt x="8" y="103"/>
                    <a:pt x="7" y="101"/>
                    <a:pt x="5" y="101"/>
                  </a:cubicBezTo>
                  <a:cubicBezTo>
                    <a:pt x="5" y="91"/>
                    <a:pt x="5" y="91"/>
                    <a:pt x="5" y="91"/>
                  </a:cubicBezTo>
                  <a:cubicBezTo>
                    <a:pt x="7" y="91"/>
                    <a:pt x="8" y="89"/>
                    <a:pt x="8" y="88"/>
                  </a:cubicBezTo>
                  <a:cubicBezTo>
                    <a:pt x="8" y="87"/>
                    <a:pt x="7" y="85"/>
                    <a:pt x="5" y="85"/>
                  </a:cubicBezTo>
                  <a:cubicBezTo>
                    <a:pt x="5" y="75"/>
                    <a:pt x="5" y="75"/>
                    <a:pt x="5" y="75"/>
                  </a:cubicBezTo>
                  <a:cubicBezTo>
                    <a:pt x="7" y="75"/>
                    <a:pt x="8" y="73"/>
                    <a:pt x="8" y="72"/>
                  </a:cubicBezTo>
                  <a:cubicBezTo>
                    <a:pt x="8" y="71"/>
                    <a:pt x="7" y="69"/>
                    <a:pt x="5" y="69"/>
                  </a:cubicBezTo>
                  <a:cubicBezTo>
                    <a:pt x="5" y="59"/>
                    <a:pt x="5" y="59"/>
                    <a:pt x="5" y="59"/>
                  </a:cubicBezTo>
                  <a:cubicBezTo>
                    <a:pt x="7" y="59"/>
                    <a:pt x="8" y="57"/>
                    <a:pt x="8" y="56"/>
                  </a:cubicBezTo>
                  <a:cubicBezTo>
                    <a:pt x="8" y="55"/>
                    <a:pt x="7" y="53"/>
                    <a:pt x="5" y="53"/>
                  </a:cubicBezTo>
                  <a:cubicBezTo>
                    <a:pt x="5" y="43"/>
                    <a:pt x="5" y="43"/>
                    <a:pt x="5" y="43"/>
                  </a:cubicBezTo>
                  <a:cubicBezTo>
                    <a:pt x="7" y="43"/>
                    <a:pt x="8" y="41"/>
                    <a:pt x="8" y="40"/>
                  </a:cubicBezTo>
                  <a:cubicBezTo>
                    <a:pt x="8" y="39"/>
                    <a:pt x="7" y="37"/>
                    <a:pt x="5" y="37"/>
                  </a:cubicBezTo>
                  <a:cubicBezTo>
                    <a:pt x="5" y="27"/>
                    <a:pt x="5" y="27"/>
                    <a:pt x="5" y="27"/>
                  </a:cubicBezTo>
                  <a:cubicBezTo>
                    <a:pt x="7" y="27"/>
                    <a:pt x="8" y="25"/>
                    <a:pt x="8" y="24"/>
                  </a:cubicBezTo>
                  <a:cubicBezTo>
                    <a:pt x="8" y="23"/>
                    <a:pt x="7" y="21"/>
                    <a:pt x="5" y="21"/>
                  </a:cubicBezTo>
                  <a:cubicBezTo>
                    <a:pt x="5" y="20"/>
                    <a:pt x="5" y="20"/>
                    <a:pt x="5" y="20"/>
                  </a:cubicBezTo>
                  <a:cubicBezTo>
                    <a:pt x="5" y="18"/>
                    <a:pt x="7" y="16"/>
                    <a:pt x="9" y="16"/>
                  </a:cubicBezTo>
                  <a:cubicBezTo>
                    <a:pt x="11" y="16"/>
                    <a:pt x="11" y="16"/>
                    <a:pt x="11" y="16"/>
                  </a:cubicBezTo>
                  <a:cubicBezTo>
                    <a:pt x="11" y="17"/>
                    <a:pt x="12" y="19"/>
                    <a:pt x="13" y="19"/>
                  </a:cubicBezTo>
                  <a:cubicBezTo>
                    <a:pt x="15" y="19"/>
                    <a:pt x="16" y="17"/>
                    <a:pt x="16" y="16"/>
                  </a:cubicBezTo>
                  <a:cubicBezTo>
                    <a:pt x="27" y="16"/>
                    <a:pt x="27" y="16"/>
                    <a:pt x="27" y="16"/>
                  </a:cubicBezTo>
                  <a:cubicBezTo>
                    <a:pt x="27" y="17"/>
                    <a:pt x="28" y="19"/>
                    <a:pt x="29" y="19"/>
                  </a:cubicBezTo>
                  <a:cubicBezTo>
                    <a:pt x="31" y="19"/>
                    <a:pt x="32" y="17"/>
                    <a:pt x="32" y="16"/>
                  </a:cubicBezTo>
                  <a:cubicBezTo>
                    <a:pt x="43" y="16"/>
                    <a:pt x="43" y="16"/>
                    <a:pt x="43" y="16"/>
                  </a:cubicBezTo>
                  <a:cubicBezTo>
                    <a:pt x="43" y="17"/>
                    <a:pt x="44" y="19"/>
                    <a:pt x="45" y="19"/>
                  </a:cubicBezTo>
                  <a:cubicBezTo>
                    <a:pt x="47" y="19"/>
                    <a:pt x="48" y="17"/>
                    <a:pt x="48" y="16"/>
                  </a:cubicBezTo>
                  <a:cubicBezTo>
                    <a:pt x="59" y="16"/>
                    <a:pt x="59" y="16"/>
                    <a:pt x="59" y="16"/>
                  </a:cubicBezTo>
                  <a:cubicBezTo>
                    <a:pt x="59" y="17"/>
                    <a:pt x="60" y="19"/>
                    <a:pt x="61" y="19"/>
                  </a:cubicBezTo>
                  <a:cubicBezTo>
                    <a:pt x="63" y="19"/>
                    <a:pt x="64" y="17"/>
                    <a:pt x="64" y="16"/>
                  </a:cubicBezTo>
                  <a:cubicBezTo>
                    <a:pt x="75" y="16"/>
                    <a:pt x="75" y="16"/>
                    <a:pt x="75" y="16"/>
                  </a:cubicBezTo>
                  <a:cubicBezTo>
                    <a:pt x="75" y="17"/>
                    <a:pt x="76" y="19"/>
                    <a:pt x="77" y="19"/>
                  </a:cubicBezTo>
                  <a:cubicBezTo>
                    <a:pt x="78" y="19"/>
                    <a:pt x="79" y="18"/>
                    <a:pt x="79" y="18"/>
                  </a:cubicBezTo>
                  <a:cubicBezTo>
                    <a:pt x="80" y="18"/>
                    <a:pt x="80" y="19"/>
                    <a:pt x="80" y="20"/>
                  </a:cubicBezTo>
                  <a:lnTo>
                    <a:pt x="80"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Oval 946">
              <a:extLst>
                <a:ext uri="{FF2B5EF4-FFF2-40B4-BE49-F238E27FC236}">
                  <a16:creationId xmlns:a16="http://schemas.microsoft.com/office/drawing/2014/main" id="{E8425F90-B5FC-9F45-B972-99F37CF2DFE1}"/>
                </a:ext>
              </a:extLst>
            </p:cNvPr>
            <p:cNvSpPr>
              <a:spLocks noChangeArrowheads="1"/>
            </p:cNvSpPr>
            <p:nvPr/>
          </p:nvSpPr>
          <p:spPr bwMode="auto">
            <a:xfrm>
              <a:off x="2640013" y="48006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Oval 947">
              <a:extLst>
                <a:ext uri="{FF2B5EF4-FFF2-40B4-BE49-F238E27FC236}">
                  <a16:creationId xmlns:a16="http://schemas.microsoft.com/office/drawing/2014/main" id="{9292F322-B7F2-2E49-A8C3-CC8036A41DD5}"/>
                </a:ext>
              </a:extLst>
            </p:cNvPr>
            <p:cNvSpPr>
              <a:spLocks noChangeArrowheads="1"/>
            </p:cNvSpPr>
            <p:nvPr/>
          </p:nvSpPr>
          <p:spPr bwMode="auto">
            <a:xfrm>
              <a:off x="2667000" y="47720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Oval 948">
              <a:extLst>
                <a:ext uri="{FF2B5EF4-FFF2-40B4-BE49-F238E27FC236}">
                  <a16:creationId xmlns:a16="http://schemas.microsoft.com/office/drawing/2014/main" id="{93D0FED2-D9AA-1340-A3CF-F44A020F07E5}"/>
                </a:ext>
              </a:extLst>
            </p:cNvPr>
            <p:cNvSpPr>
              <a:spLocks noChangeArrowheads="1"/>
            </p:cNvSpPr>
            <p:nvPr/>
          </p:nvSpPr>
          <p:spPr bwMode="auto">
            <a:xfrm>
              <a:off x="2667000" y="482758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Oval 949">
              <a:extLst>
                <a:ext uri="{FF2B5EF4-FFF2-40B4-BE49-F238E27FC236}">
                  <a16:creationId xmlns:a16="http://schemas.microsoft.com/office/drawing/2014/main" id="{93BDC1E7-59DA-684B-ADB3-FD18A22AA530}"/>
                </a:ext>
              </a:extLst>
            </p:cNvPr>
            <p:cNvSpPr>
              <a:spLocks noChangeArrowheads="1"/>
            </p:cNvSpPr>
            <p:nvPr/>
          </p:nvSpPr>
          <p:spPr bwMode="auto">
            <a:xfrm>
              <a:off x="2693988" y="48006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Oval 950">
              <a:extLst>
                <a:ext uri="{FF2B5EF4-FFF2-40B4-BE49-F238E27FC236}">
                  <a16:creationId xmlns:a16="http://schemas.microsoft.com/office/drawing/2014/main" id="{B0CE29D4-EB15-6A43-892B-31C27A8346DE}"/>
                </a:ext>
              </a:extLst>
            </p:cNvPr>
            <p:cNvSpPr>
              <a:spLocks noChangeArrowheads="1"/>
            </p:cNvSpPr>
            <p:nvPr/>
          </p:nvSpPr>
          <p:spPr bwMode="auto">
            <a:xfrm>
              <a:off x="2749550" y="48006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Oval 951">
              <a:extLst>
                <a:ext uri="{FF2B5EF4-FFF2-40B4-BE49-F238E27FC236}">
                  <a16:creationId xmlns:a16="http://schemas.microsoft.com/office/drawing/2014/main" id="{E5654665-7A28-DB44-A346-E4F6DF000BBC}"/>
                </a:ext>
              </a:extLst>
            </p:cNvPr>
            <p:cNvSpPr>
              <a:spLocks noChangeArrowheads="1"/>
            </p:cNvSpPr>
            <p:nvPr/>
          </p:nvSpPr>
          <p:spPr bwMode="auto">
            <a:xfrm>
              <a:off x="2722563" y="4772025"/>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Oval 953">
              <a:extLst>
                <a:ext uri="{FF2B5EF4-FFF2-40B4-BE49-F238E27FC236}">
                  <a16:creationId xmlns:a16="http://schemas.microsoft.com/office/drawing/2014/main" id="{3E649AD2-4D51-D945-9C3E-D869EC28231B}"/>
                </a:ext>
              </a:extLst>
            </p:cNvPr>
            <p:cNvSpPr>
              <a:spLocks noChangeArrowheads="1"/>
            </p:cNvSpPr>
            <p:nvPr/>
          </p:nvSpPr>
          <p:spPr bwMode="auto">
            <a:xfrm>
              <a:off x="2722563" y="4827588"/>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Oval 954">
              <a:extLst>
                <a:ext uri="{FF2B5EF4-FFF2-40B4-BE49-F238E27FC236}">
                  <a16:creationId xmlns:a16="http://schemas.microsoft.com/office/drawing/2014/main" id="{F7DF0517-6BA1-4E46-9602-DE2346C5112F}"/>
                </a:ext>
              </a:extLst>
            </p:cNvPr>
            <p:cNvSpPr>
              <a:spLocks noChangeArrowheads="1"/>
            </p:cNvSpPr>
            <p:nvPr/>
          </p:nvSpPr>
          <p:spPr bwMode="auto">
            <a:xfrm>
              <a:off x="2776538" y="482758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Oval 955">
              <a:extLst>
                <a:ext uri="{FF2B5EF4-FFF2-40B4-BE49-F238E27FC236}">
                  <a16:creationId xmlns:a16="http://schemas.microsoft.com/office/drawing/2014/main" id="{525F69B2-04B0-3C47-AE8A-1AB9927B0535}"/>
                </a:ext>
              </a:extLst>
            </p:cNvPr>
            <p:cNvSpPr>
              <a:spLocks noChangeArrowheads="1"/>
            </p:cNvSpPr>
            <p:nvPr/>
          </p:nvSpPr>
          <p:spPr bwMode="auto">
            <a:xfrm>
              <a:off x="2803525" y="48006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Oval 956">
              <a:extLst>
                <a:ext uri="{FF2B5EF4-FFF2-40B4-BE49-F238E27FC236}">
                  <a16:creationId xmlns:a16="http://schemas.microsoft.com/office/drawing/2014/main" id="{52991CB1-82CA-724D-9F95-30953ECA8549}"/>
                </a:ext>
              </a:extLst>
            </p:cNvPr>
            <p:cNvSpPr>
              <a:spLocks noChangeArrowheads="1"/>
            </p:cNvSpPr>
            <p:nvPr/>
          </p:nvSpPr>
          <p:spPr bwMode="auto">
            <a:xfrm>
              <a:off x="2859088" y="4800600"/>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Oval 957">
              <a:extLst>
                <a:ext uri="{FF2B5EF4-FFF2-40B4-BE49-F238E27FC236}">
                  <a16:creationId xmlns:a16="http://schemas.microsoft.com/office/drawing/2014/main" id="{E48E9EE9-9EDD-AB4B-8108-5AF4DB3FC695}"/>
                </a:ext>
              </a:extLst>
            </p:cNvPr>
            <p:cNvSpPr>
              <a:spLocks noChangeArrowheads="1"/>
            </p:cNvSpPr>
            <p:nvPr/>
          </p:nvSpPr>
          <p:spPr bwMode="auto">
            <a:xfrm>
              <a:off x="2830513" y="47720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Oval 958">
              <a:extLst>
                <a:ext uri="{FF2B5EF4-FFF2-40B4-BE49-F238E27FC236}">
                  <a16:creationId xmlns:a16="http://schemas.microsoft.com/office/drawing/2014/main" id="{9F1760A2-5541-8442-966B-485E9AF22B66}"/>
                </a:ext>
              </a:extLst>
            </p:cNvPr>
            <p:cNvSpPr>
              <a:spLocks noChangeArrowheads="1"/>
            </p:cNvSpPr>
            <p:nvPr/>
          </p:nvSpPr>
          <p:spPr bwMode="auto">
            <a:xfrm>
              <a:off x="2830513" y="482758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Oval 959">
              <a:extLst>
                <a:ext uri="{FF2B5EF4-FFF2-40B4-BE49-F238E27FC236}">
                  <a16:creationId xmlns:a16="http://schemas.microsoft.com/office/drawing/2014/main" id="{3AF15EC5-EBAB-BC47-A69A-CEEED9D022A5}"/>
                </a:ext>
              </a:extLst>
            </p:cNvPr>
            <p:cNvSpPr>
              <a:spLocks noChangeArrowheads="1"/>
            </p:cNvSpPr>
            <p:nvPr/>
          </p:nvSpPr>
          <p:spPr bwMode="auto">
            <a:xfrm>
              <a:off x="2640013" y="48545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Oval 960">
              <a:extLst>
                <a:ext uri="{FF2B5EF4-FFF2-40B4-BE49-F238E27FC236}">
                  <a16:creationId xmlns:a16="http://schemas.microsoft.com/office/drawing/2014/main" id="{500A0239-5568-574A-98A2-69C7F6BD4982}"/>
                </a:ext>
              </a:extLst>
            </p:cNvPr>
            <p:cNvSpPr>
              <a:spLocks noChangeArrowheads="1"/>
            </p:cNvSpPr>
            <p:nvPr/>
          </p:nvSpPr>
          <p:spPr bwMode="auto">
            <a:xfrm>
              <a:off x="2640013" y="49101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Oval 961">
              <a:extLst>
                <a:ext uri="{FF2B5EF4-FFF2-40B4-BE49-F238E27FC236}">
                  <a16:creationId xmlns:a16="http://schemas.microsoft.com/office/drawing/2014/main" id="{71673C20-89E7-9943-A3EF-4C304AE2CCDC}"/>
                </a:ext>
              </a:extLst>
            </p:cNvPr>
            <p:cNvSpPr>
              <a:spLocks noChangeArrowheads="1"/>
            </p:cNvSpPr>
            <p:nvPr/>
          </p:nvSpPr>
          <p:spPr bwMode="auto">
            <a:xfrm>
              <a:off x="2667000" y="48831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Oval 962">
              <a:extLst>
                <a:ext uri="{FF2B5EF4-FFF2-40B4-BE49-F238E27FC236}">
                  <a16:creationId xmlns:a16="http://schemas.microsoft.com/office/drawing/2014/main" id="{C20345B7-3EF4-9D4D-A9C4-ED939244023B}"/>
                </a:ext>
              </a:extLst>
            </p:cNvPr>
            <p:cNvSpPr>
              <a:spLocks noChangeArrowheads="1"/>
            </p:cNvSpPr>
            <p:nvPr/>
          </p:nvSpPr>
          <p:spPr bwMode="auto">
            <a:xfrm>
              <a:off x="2667000" y="49371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Oval 963">
              <a:extLst>
                <a:ext uri="{FF2B5EF4-FFF2-40B4-BE49-F238E27FC236}">
                  <a16:creationId xmlns:a16="http://schemas.microsoft.com/office/drawing/2014/main" id="{0421F97D-7067-7945-A557-D7C0DE82F890}"/>
                </a:ext>
              </a:extLst>
            </p:cNvPr>
            <p:cNvSpPr>
              <a:spLocks noChangeArrowheads="1"/>
            </p:cNvSpPr>
            <p:nvPr/>
          </p:nvSpPr>
          <p:spPr bwMode="auto">
            <a:xfrm>
              <a:off x="2693988" y="48545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Oval 964">
              <a:extLst>
                <a:ext uri="{FF2B5EF4-FFF2-40B4-BE49-F238E27FC236}">
                  <a16:creationId xmlns:a16="http://schemas.microsoft.com/office/drawing/2014/main" id="{4E04DEE3-7A92-4841-BC65-AB463FB8B789}"/>
                </a:ext>
              </a:extLst>
            </p:cNvPr>
            <p:cNvSpPr>
              <a:spLocks noChangeArrowheads="1"/>
            </p:cNvSpPr>
            <p:nvPr/>
          </p:nvSpPr>
          <p:spPr bwMode="auto">
            <a:xfrm>
              <a:off x="2749550" y="48545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Oval 965">
              <a:extLst>
                <a:ext uri="{FF2B5EF4-FFF2-40B4-BE49-F238E27FC236}">
                  <a16:creationId xmlns:a16="http://schemas.microsoft.com/office/drawing/2014/main" id="{B222A499-CEB1-4F46-9D87-94769ECBC7CA}"/>
                </a:ext>
              </a:extLst>
            </p:cNvPr>
            <p:cNvSpPr>
              <a:spLocks noChangeArrowheads="1"/>
            </p:cNvSpPr>
            <p:nvPr/>
          </p:nvSpPr>
          <p:spPr bwMode="auto">
            <a:xfrm>
              <a:off x="2693988" y="49101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Oval 966">
              <a:extLst>
                <a:ext uri="{FF2B5EF4-FFF2-40B4-BE49-F238E27FC236}">
                  <a16:creationId xmlns:a16="http://schemas.microsoft.com/office/drawing/2014/main" id="{7E6174EA-220E-954D-823F-3A5565D17E1B}"/>
                </a:ext>
              </a:extLst>
            </p:cNvPr>
            <p:cNvSpPr>
              <a:spLocks noChangeArrowheads="1"/>
            </p:cNvSpPr>
            <p:nvPr/>
          </p:nvSpPr>
          <p:spPr bwMode="auto">
            <a:xfrm>
              <a:off x="2749550" y="49101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Oval 967">
              <a:extLst>
                <a:ext uri="{FF2B5EF4-FFF2-40B4-BE49-F238E27FC236}">
                  <a16:creationId xmlns:a16="http://schemas.microsoft.com/office/drawing/2014/main" id="{F7547732-F4AB-684E-918F-72A18265FD52}"/>
                </a:ext>
              </a:extLst>
            </p:cNvPr>
            <p:cNvSpPr>
              <a:spLocks noChangeArrowheads="1"/>
            </p:cNvSpPr>
            <p:nvPr/>
          </p:nvSpPr>
          <p:spPr bwMode="auto">
            <a:xfrm>
              <a:off x="2722563" y="4883150"/>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Oval 968">
              <a:extLst>
                <a:ext uri="{FF2B5EF4-FFF2-40B4-BE49-F238E27FC236}">
                  <a16:creationId xmlns:a16="http://schemas.microsoft.com/office/drawing/2014/main" id="{6D1DD295-1EDB-D14D-9197-674C3DB9D9A0}"/>
                </a:ext>
              </a:extLst>
            </p:cNvPr>
            <p:cNvSpPr>
              <a:spLocks noChangeArrowheads="1"/>
            </p:cNvSpPr>
            <p:nvPr/>
          </p:nvSpPr>
          <p:spPr bwMode="auto">
            <a:xfrm>
              <a:off x="2776538" y="48831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Oval 969">
              <a:extLst>
                <a:ext uri="{FF2B5EF4-FFF2-40B4-BE49-F238E27FC236}">
                  <a16:creationId xmlns:a16="http://schemas.microsoft.com/office/drawing/2014/main" id="{A5FDE2BB-35DC-214F-A1BC-A1BAC69948B5}"/>
                </a:ext>
              </a:extLst>
            </p:cNvPr>
            <p:cNvSpPr>
              <a:spLocks noChangeArrowheads="1"/>
            </p:cNvSpPr>
            <p:nvPr/>
          </p:nvSpPr>
          <p:spPr bwMode="auto">
            <a:xfrm>
              <a:off x="2722563" y="4937125"/>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Oval 970">
              <a:extLst>
                <a:ext uri="{FF2B5EF4-FFF2-40B4-BE49-F238E27FC236}">
                  <a16:creationId xmlns:a16="http://schemas.microsoft.com/office/drawing/2014/main" id="{ECEE7D8A-1DAA-F942-82B9-CE90888E4215}"/>
                </a:ext>
              </a:extLst>
            </p:cNvPr>
            <p:cNvSpPr>
              <a:spLocks noChangeArrowheads="1"/>
            </p:cNvSpPr>
            <p:nvPr/>
          </p:nvSpPr>
          <p:spPr bwMode="auto">
            <a:xfrm>
              <a:off x="2776538" y="49371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Oval 971">
              <a:extLst>
                <a:ext uri="{FF2B5EF4-FFF2-40B4-BE49-F238E27FC236}">
                  <a16:creationId xmlns:a16="http://schemas.microsoft.com/office/drawing/2014/main" id="{89D84E80-1922-CC4B-B8DE-F777DC3490AA}"/>
                </a:ext>
              </a:extLst>
            </p:cNvPr>
            <p:cNvSpPr>
              <a:spLocks noChangeArrowheads="1"/>
            </p:cNvSpPr>
            <p:nvPr/>
          </p:nvSpPr>
          <p:spPr bwMode="auto">
            <a:xfrm>
              <a:off x="2803525" y="48545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Oval 972">
              <a:extLst>
                <a:ext uri="{FF2B5EF4-FFF2-40B4-BE49-F238E27FC236}">
                  <a16:creationId xmlns:a16="http://schemas.microsoft.com/office/drawing/2014/main" id="{20C02F8E-7E24-114E-94C1-2CE37EB5E1E7}"/>
                </a:ext>
              </a:extLst>
            </p:cNvPr>
            <p:cNvSpPr>
              <a:spLocks noChangeArrowheads="1"/>
            </p:cNvSpPr>
            <p:nvPr/>
          </p:nvSpPr>
          <p:spPr bwMode="auto">
            <a:xfrm>
              <a:off x="2859088" y="4854575"/>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Oval 973">
              <a:extLst>
                <a:ext uri="{FF2B5EF4-FFF2-40B4-BE49-F238E27FC236}">
                  <a16:creationId xmlns:a16="http://schemas.microsoft.com/office/drawing/2014/main" id="{F44581B3-C0A1-1F41-8076-C587F8D2CB1A}"/>
                </a:ext>
              </a:extLst>
            </p:cNvPr>
            <p:cNvSpPr>
              <a:spLocks noChangeArrowheads="1"/>
            </p:cNvSpPr>
            <p:nvPr/>
          </p:nvSpPr>
          <p:spPr bwMode="auto">
            <a:xfrm>
              <a:off x="2803525" y="49101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Oval 974">
              <a:extLst>
                <a:ext uri="{FF2B5EF4-FFF2-40B4-BE49-F238E27FC236}">
                  <a16:creationId xmlns:a16="http://schemas.microsoft.com/office/drawing/2014/main" id="{9D86EDA8-218C-9545-9EF6-D4CCD4ABD256}"/>
                </a:ext>
              </a:extLst>
            </p:cNvPr>
            <p:cNvSpPr>
              <a:spLocks noChangeArrowheads="1"/>
            </p:cNvSpPr>
            <p:nvPr/>
          </p:nvSpPr>
          <p:spPr bwMode="auto">
            <a:xfrm>
              <a:off x="2859088" y="4910138"/>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Oval 975">
              <a:extLst>
                <a:ext uri="{FF2B5EF4-FFF2-40B4-BE49-F238E27FC236}">
                  <a16:creationId xmlns:a16="http://schemas.microsoft.com/office/drawing/2014/main" id="{01370AC7-1548-1044-B138-F9868323C177}"/>
                </a:ext>
              </a:extLst>
            </p:cNvPr>
            <p:cNvSpPr>
              <a:spLocks noChangeArrowheads="1"/>
            </p:cNvSpPr>
            <p:nvPr/>
          </p:nvSpPr>
          <p:spPr bwMode="auto">
            <a:xfrm>
              <a:off x="2830513" y="48831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Oval 976">
              <a:extLst>
                <a:ext uri="{FF2B5EF4-FFF2-40B4-BE49-F238E27FC236}">
                  <a16:creationId xmlns:a16="http://schemas.microsoft.com/office/drawing/2014/main" id="{E045B805-CFCD-284C-B429-05E565C73E07}"/>
                </a:ext>
              </a:extLst>
            </p:cNvPr>
            <p:cNvSpPr>
              <a:spLocks noChangeArrowheads="1"/>
            </p:cNvSpPr>
            <p:nvPr/>
          </p:nvSpPr>
          <p:spPr bwMode="auto">
            <a:xfrm>
              <a:off x="2830513" y="49371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Oval 977">
              <a:extLst>
                <a:ext uri="{FF2B5EF4-FFF2-40B4-BE49-F238E27FC236}">
                  <a16:creationId xmlns:a16="http://schemas.microsoft.com/office/drawing/2014/main" id="{AFC07EE3-E407-A848-94EA-F1B01E5E88AF}"/>
                </a:ext>
              </a:extLst>
            </p:cNvPr>
            <p:cNvSpPr>
              <a:spLocks noChangeArrowheads="1"/>
            </p:cNvSpPr>
            <p:nvPr/>
          </p:nvSpPr>
          <p:spPr bwMode="auto">
            <a:xfrm>
              <a:off x="2640013" y="49657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Oval 978">
              <a:extLst>
                <a:ext uri="{FF2B5EF4-FFF2-40B4-BE49-F238E27FC236}">
                  <a16:creationId xmlns:a16="http://schemas.microsoft.com/office/drawing/2014/main" id="{D3CAFF32-4D57-E34D-8700-AA923F9139AF}"/>
                </a:ext>
              </a:extLst>
            </p:cNvPr>
            <p:cNvSpPr>
              <a:spLocks noChangeArrowheads="1"/>
            </p:cNvSpPr>
            <p:nvPr/>
          </p:nvSpPr>
          <p:spPr bwMode="auto">
            <a:xfrm>
              <a:off x="2640013" y="50196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Oval 979">
              <a:extLst>
                <a:ext uri="{FF2B5EF4-FFF2-40B4-BE49-F238E27FC236}">
                  <a16:creationId xmlns:a16="http://schemas.microsoft.com/office/drawing/2014/main" id="{5000BC03-12A6-684E-8A25-671B41292B61}"/>
                </a:ext>
              </a:extLst>
            </p:cNvPr>
            <p:cNvSpPr>
              <a:spLocks noChangeArrowheads="1"/>
            </p:cNvSpPr>
            <p:nvPr/>
          </p:nvSpPr>
          <p:spPr bwMode="auto">
            <a:xfrm>
              <a:off x="2667000" y="499268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Oval 980">
              <a:extLst>
                <a:ext uri="{FF2B5EF4-FFF2-40B4-BE49-F238E27FC236}">
                  <a16:creationId xmlns:a16="http://schemas.microsoft.com/office/drawing/2014/main" id="{55C575DC-ACFB-9140-8C96-A3A222C4CF5B}"/>
                </a:ext>
              </a:extLst>
            </p:cNvPr>
            <p:cNvSpPr>
              <a:spLocks noChangeArrowheads="1"/>
            </p:cNvSpPr>
            <p:nvPr/>
          </p:nvSpPr>
          <p:spPr bwMode="auto">
            <a:xfrm>
              <a:off x="2667000" y="50482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Oval 981">
              <a:extLst>
                <a:ext uri="{FF2B5EF4-FFF2-40B4-BE49-F238E27FC236}">
                  <a16:creationId xmlns:a16="http://schemas.microsoft.com/office/drawing/2014/main" id="{869F8F24-5964-BE43-8F12-9B52A600D167}"/>
                </a:ext>
              </a:extLst>
            </p:cNvPr>
            <p:cNvSpPr>
              <a:spLocks noChangeArrowheads="1"/>
            </p:cNvSpPr>
            <p:nvPr/>
          </p:nvSpPr>
          <p:spPr bwMode="auto">
            <a:xfrm>
              <a:off x="2693988" y="49657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Oval 982">
              <a:extLst>
                <a:ext uri="{FF2B5EF4-FFF2-40B4-BE49-F238E27FC236}">
                  <a16:creationId xmlns:a16="http://schemas.microsoft.com/office/drawing/2014/main" id="{963BA3D9-AA4C-3D4C-A759-F542CCA60237}"/>
                </a:ext>
              </a:extLst>
            </p:cNvPr>
            <p:cNvSpPr>
              <a:spLocks noChangeArrowheads="1"/>
            </p:cNvSpPr>
            <p:nvPr/>
          </p:nvSpPr>
          <p:spPr bwMode="auto">
            <a:xfrm>
              <a:off x="2749550" y="49657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Oval 983">
              <a:extLst>
                <a:ext uri="{FF2B5EF4-FFF2-40B4-BE49-F238E27FC236}">
                  <a16:creationId xmlns:a16="http://schemas.microsoft.com/office/drawing/2014/main" id="{EE0F90D9-F02E-5746-9138-00E372DE289B}"/>
                </a:ext>
              </a:extLst>
            </p:cNvPr>
            <p:cNvSpPr>
              <a:spLocks noChangeArrowheads="1"/>
            </p:cNvSpPr>
            <p:nvPr/>
          </p:nvSpPr>
          <p:spPr bwMode="auto">
            <a:xfrm>
              <a:off x="2693988" y="50196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Oval 984">
              <a:extLst>
                <a:ext uri="{FF2B5EF4-FFF2-40B4-BE49-F238E27FC236}">
                  <a16:creationId xmlns:a16="http://schemas.microsoft.com/office/drawing/2014/main" id="{3B0AD07D-8AC7-B747-BEF0-B03152E28017}"/>
                </a:ext>
              </a:extLst>
            </p:cNvPr>
            <p:cNvSpPr>
              <a:spLocks noChangeArrowheads="1"/>
            </p:cNvSpPr>
            <p:nvPr/>
          </p:nvSpPr>
          <p:spPr bwMode="auto">
            <a:xfrm>
              <a:off x="2749550" y="50196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Oval 985">
              <a:extLst>
                <a:ext uri="{FF2B5EF4-FFF2-40B4-BE49-F238E27FC236}">
                  <a16:creationId xmlns:a16="http://schemas.microsoft.com/office/drawing/2014/main" id="{67F5741D-3ECB-874A-B6B0-418C843908B9}"/>
                </a:ext>
              </a:extLst>
            </p:cNvPr>
            <p:cNvSpPr>
              <a:spLocks noChangeArrowheads="1"/>
            </p:cNvSpPr>
            <p:nvPr/>
          </p:nvSpPr>
          <p:spPr bwMode="auto">
            <a:xfrm>
              <a:off x="2722563" y="4992688"/>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Oval 986">
              <a:extLst>
                <a:ext uri="{FF2B5EF4-FFF2-40B4-BE49-F238E27FC236}">
                  <a16:creationId xmlns:a16="http://schemas.microsoft.com/office/drawing/2014/main" id="{06A7D65E-BBB0-3A45-B643-F3C5B30837E3}"/>
                </a:ext>
              </a:extLst>
            </p:cNvPr>
            <p:cNvSpPr>
              <a:spLocks noChangeArrowheads="1"/>
            </p:cNvSpPr>
            <p:nvPr/>
          </p:nvSpPr>
          <p:spPr bwMode="auto">
            <a:xfrm>
              <a:off x="2776538" y="499268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Oval 987">
              <a:extLst>
                <a:ext uri="{FF2B5EF4-FFF2-40B4-BE49-F238E27FC236}">
                  <a16:creationId xmlns:a16="http://schemas.microsoft.com/office/drawing/2014/main" id="{1F5EE69F-6776-A045-BBF7-FFA70CEB6EFB}"/>
                </a:ext>
              </a:extLst>
            </p:cNvPr>
            <p:cNvSpPr>
              <a:spLocks noChangeArrowheads="1"/>
            </p:cNvSpPr>
            <p:nvPr/>
          </p:nvSpPr>
          <p:spPr bwMode="auto">
            <a:xfrm>
              <a:off x="2722563" y="5048250"/>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Oval 988">
              <a:extLst>
                <a:ext uri="{FF2B5EF4-FFF2-40B4-BE49-F238E27FC236}">
                  <a16:creationId xmlns:a16="http://schemas.microsoft.com/office/drawing/2014/main" id="{5DF219EE-5D0E-A541-886C-E8135B607A5B}"/>
                </a:ext>
              </a:extLst>
            </p:cNvPr>
            <p:cNvSpPr>
              <a:spLocks noChangeArrowheads="1"/>
            </p:cNvSpPr>
            <p:nvPr/>
          </p:nvSpPr>
          <p:spPr bwMode="auto">
            <a:xfrm>
              <a:off x="2776538" y="50482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Oval 989">
              <a:extLst>
                <a:ext uri="{FF2B5EF4-FFF2-40B4-BE49-F238E27FC236}">
                  <a16:creationId xmlns:a16="http://schemas.microsoft.com/office/drawing/2014/main" id="{8EF16E96-C6C4-6D49-9618-4F3FE2A2ADD8}"/>
                </a:ext>
              </a:extLst>
            </p:cNvPr>
            <p:cNvSpPr>
              <a:spLocks noChangeArrowheads="1"/>
            </p:cNvSpPr>
            <p:nvPr/>
          </p:nvSpPr>
          <p:spPr bwMode="auto">
            <a:xfrm>
              <a:off x="2803525" y="49657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Oval 990">
              <a:extLst>
                <a:ext uri="{FF2B5EF4-FFF2-40B4-BE49-F238E27FC236}">
                  <a16:creationId xmlns:a16="http://schemas.microsoft.com/office/drawing/2014/main" id="{03024AF2-1137-1643-B178-A5DCF4651D4B}"/>
                </a:ext>
              </a:extLst>
            </p:cNvPr>
            <p:cNvSpPr>
              <a:spLocks noChangeArrowheads="1"/>
            </p:cNvSpPr>
            <p:nvPr/>
          </p:nvSpPr>
          <p:spPr bwMode="auto">
            <a:xfrm>
              <a:off x="2859088" y="4965700"/>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Oval 991">
              <a:extLst>
                <a:ext uri="{FF2B5EF4-FFF2-40B4-BE49-F238E27FC236}">
                  <a16:creationId xmlns:a16="http://schemas.microsoft.com/office/drawing/2014/main" id="{FDDC0C41-C2F1-C54D-9558-3D18904DFDB1}"/>
                </a:ext>
              </a:extLst>
            </p:cNvPr>
            <p:cNvSpPr>
              <a:spLocks noChangeArrowheads="1"/>
            </p:cNvSpPr>
            <p:nvPr/>
          </p:nvSpPr>
          <p:spPr bwMode="auto">
            <a:xfrm>
              <a:off x="2803525" y="50196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Oval 992">
              <a:extLst>
                <a:ext uri="{FF2B5EF4-FFF2-40B4-BE49-F238E27FC236}">
                  <a16:creationId xmlns:a16="http://schemas.microsoft.com/office/drawing/2014/main" id="{D3F6AD02-B29D-FC4B-A5D0-6FC015D3490F}"/>
                </a:ext>
              </a:extLst>
            </p:cNvPr>
            <p:cNvSpPr>
              <a:spLocks noChangeArrowheads="1"/>
            </p:cNvSpPr>
            <p:nvPr/>
          </p:nvSpPr>
          <p:spPr bwMode="auto">
            <a:xfrm>
              <a:off x="2859088" y="5019675"/>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Oval 993">
              <a:extLst>
                <a:ext uri="{FF2B5EF4-FFF2-40B4-BE49-F238E27FC236}">
                  <a16:creationId xmlns:a16="http://schemas.microsoft.com/office/drawing/2014/main" id="{EBDD118F-5EC3-434E-87EF-1D911B5E620F}"/>
                </a:ext>
              </a:extLst>
            </p:cNvPr>
            <p:cNvSpPr>
              <a:spLocks noChangeArrowheads="1"/>
            </p:cNvSpPr>
            <p:nvPr/>
          </p:nvSpPr>
          <p:spPr bwMode="auto">
            <a:xfrm>
              <a:off x="2830513" y="499268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Oval 994">
              <a:extLst>
                <a:ext uri="{FF2B5EF4-FFF2-40B4-BE49-F238E27FC236}">
                  <a16:creationId xmlns:a16="http://schemas.microsoft.com/office/drawing/2014/main" id="{6E81C47F-54AA-FC44-9A03-8D6CE8B96812}"/>
                </a:ext>
              </a:extLst>
            </p:cNvPr>
            <p:cNvSpPr>
              <a:spLocks noChangeArrowheads="1"/>
            </p:cNvSpPr>
            <p:nvPr/>
          </p:nvSpPr>
          <p:spPr bwMode="auto">
            <a:xfrm>
              <a:off x="2830513" y="50482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Oval 995">
              <a:extLst>
                <a:ext uri="{FF2B5EF4-FFF2-40B4-BE49-F238E27FC236}">
                  <a16:creationId xmlns:a16="http://schemas.microsoft.com/office/drawing/2014/main" id="{7B36E283-49BD-4543-B727-70CD5C126FCD}"/>
                </a:ext>
              </a:extLst>
            </p:cNvPr>
            <p:cNvSpPr>
              <a:spLocks noChangeArrowheads="1"/>
            </p:cNvSpPr>
            <p:nvPr/>
          </p:nvSpPr>
          <p:spPr bwMode="auto">
            <a:xfrm>
              <a:off x="2640013" y="50752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Oval 996">
              <a:extLst>
                <a:ext uri="{FF2B5EF4-FFF2-40B4-BE49-F238E27FC236}">
                  <a16:creationId xmlns:a16="http://schemas.microsoft.com/office/drawing/2014/main" id="{28B1626B-8641-544D-B2F7-8419004C1E5C}"/>
                </a:ext>
              </a:extLst>
            </p:cNvPr>
            <p:cNvSpPr>
              <a:spLocks noChangeArrowheads="1"/>
            </p:cNvSpPr>
            <p:nvPr/>
          </p:nvSpPr>
          <p:spPr bwMode="auto">
            <a:xfrm>
              <a:off x="2640013" y="51308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Oval 997">
              <a:extLst>
                <a:ext uri="{FF2B5EF4-FFF2-40B4-BE49-F238E27FC236}">
                  <a16:creationId xmlns:a16="http://schemas.microsoft.com/office/drawing/2014/main" id="{6FBBD285-4E75-2642-9259-7B10C77CCFAD}"/>
                </a:ext>
              </a:extLst>
            </p:cNvPr>
            <p:cNvSpPr>
              <a:spLocks noChangeArrowheads="1"/>
            </p:cNvSpPr>
            <p:nvPr/>
          </p:nvSpPr>
          <p:spPr bwMode="auto">
            <a:xfrm>
              <a:off x="2667000" y="51022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Oval 998">
              <a:extLst>
                <a:ext uri="{FF2B5EF4-FFF2-40B4-BE49-F238E27FC236}">
                  <a16:creationId xmlns:a16="http://schemas.microsoft.com/office/drawing/2014/main" id="{226D20FA-460B-6745-BA11-DA02AC7FE495}"/>
                </a:ext>
              </a:extLst>
            </p:cNvPr>
            <p:cNvSpPr>
              <a:spLocks noChangeArrowheads="1"/>
            </p:cNvSpPr>
            <p:nvPr/>
          </p:nvSpPr>
          <p:spPr bwMode="auto">
            <a:xfrm>
              <a:off x="2667000" y="515778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Oval 999">
              <a:extLst>
                <a:ext uri="{FF2B5EF4-FFF2-40B4-BE49-F238E27FC236}">
                  <a16:creationId xmlns:a16="http://schemas.microsoft.com/office/drawing/2014/main" id="{8557628C-FD26-834A-9026-871279CC16CA}"/>
                </a:ext>
              </a:extLst>
            </p:cNvPr>
            <p:cNvSpPr>
              <a:spLocks noChangeArrowheads="1"/>
            </p:cNvSpPr>
            <p:nvPr/>
          </p:nvSpPr>
          <p:spPr bwMode="auto">
            <a:xfrm>
              <a:off x="2693988" y="50752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Oval 1000">
              <a:extLst>
                <a:ext uri="{FF2B5EF4-FFF2-40B4-BE49-F238E27FC236}">
                  <a16:creationId xmlns:a16="http://schemas.microsoft.com/office/drawing/2014/main" id="{0459059A-953B-824C-88B5-5238D5DE15D9}"/>
                </a:ext>
              </a:extLst>
            </p:cNvPr>
            <p:cNvSpPr>
              <a:spLocks noChangeArrowheads="1"/>
            </p:cNvSpPr>
            <p:nvPr/>
          </p:nvSpPr>
          <p:spPr bwMode="auto">
            <a:xfrm>
              <a:off x="2749550" y="50752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Oval 1001">
              <a:extLst>
                <a:ext uri="{FF2B5EF4-FFF2-40B4-BE49-F238E27FC236}">
                  <a16:creationId xmlns:a16="http://schemas.microsoft.com/office/drawing/2014/main" id="{B6F48F0D-4CCC-8143-ABEB-B04CF2E96675}"/>
                </a:ext>
              </a:extLst>
            </p:cNvPr>
            <p:cNvSpPr>
              <a:spLocks noChangeArrowheads="1"/>
            </p:cNvSpPr>
            <p:nvPr/>
          </p:nvSpPr>
          <p:spPr bwMode="auto">
            <a:xfrm>
              <a:off x="2693988" y="51308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Oval 1002">
              <a:extLst>
                <a:ext uri="{FF2B5EF4-FFF2-40B4-BE49-F238E27FC236}">
                  <a16:creationId xmlns:a16="http://schemas.microsoft.com/office/drawing/2014/main" id="{3C818058-8414-EC47-A92C-F5FB8BAD61C2}"/>
                </a:ext>
              </a:extLst>
            </p:cNvPr>
            <p:cNvSpPr>
              <a:spLocks noChangeArrowheads="1"/>
            </p:cNvSpPr>
            <p:nvPr/>
          </p:nvSpPr>
          <p:spPr bwMode="auto">
            <a:xfrm>
              <a:off x="2749550" y="51308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Oval 1003">
              <a:extLst>
                <a:ext uri="{FF2B5EF4-FFF2-40B4-BE49-F238E27FC236}">
                  <a16:creationId xmlns:a16="http://schemas.microsoft.com/office/drawing/2014/main" id="{6AA2EC1D-7805-FA44-934C-2C14086F68B0}"/>
                </a:ext>
              </a:extLst>
            </p:cNvPr>
            <p:cNvSpPr>
              <a:spLocks noChangeArrowheads="1"/>
            </p:cNvSpPr>
            <p:nvPr/>
          </p:nvSpPr>
          <p:spPr bwMode="auto">
            <a:xfrm>
              <a:off x="2722563" y="5102225"/>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Oval 1004">
              <a:extLst>
                <a:ext uri="{FF2B5EF4-FFF2-40B4-BE49-F238E27FC236}">
                  <a16:creationId xmlns:a16="http://schemas.microsoft.com/office/drawing/2014/main" id="{08592E38-7F33-0E4E-9647-348A393AAA01}"/>
                </a:ext>
              </a:extLst>
            </p:cNvPr>
            <p:cNvSpPr>
              <a:spLocks noChangeArrowheads="1"/>
            </p:cNvSpPr>
            <p:nvPr/>
          </p:nvSpPr>
          <p:spPr bwMode="auto">
            <a:xfrm>
              <a:off x="2776538" y="51022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Oval 1005">
              <a:extLst>
                <a:ext uri="{FF2B5EF4-FFF2-40B4-BE49-F238E27FC236}">
                  <a16:creationId xmlns:a16="http://schemas.microsoft.com/office/drawing/2014/main" id="{ED57775B-D5B3-F64B-8A10-F3C490773CD3}"/>
                </a:ext>
              </a:extLst>
            </p:cNvPr>
            <p:cNvSpPr>
              <a:spLocks noChangeArrowheads="1"/>
            </p:cNvSpPr>
            <p:nvPr/>
          </p:nvSpPr>
          <p:spPr bwMode="auto">
            <a:xfrm>
              <a:off x="2722563" y="5157788"/>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Oval 1006">
              <a:extLst>
                <a:ext uri="{FF2B5EF4-FFF2-40B4-BE49-F238E27FC236}">
                  <a16:creationId xmlns:a16="http://schemas.microsoft.com/office/drawing/2014/main" id="{630E9A8C-962E-5B4C-B971-817B2A0CE476}"/>
                </a:ext>
              </a:extLst>
            </p:cNvPr>
            <p:cNvSpPr>
              <a:spLocks noChangeArrowheads="1"/>
            </p:cNvSpPr>
            <p:nvPr/>
          </p:nvSpPr>
          <p:spPr bwMode="auto">
            <a:xfrm>
              <a:off x="2776538" y="515778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Oval 1007">
              <a:extLst>
                <a:ext uri="{FF2B5EF4-FFF2-40B4-BE49-F238E27FC236}">
                  <a16:creationId xmlns:a16="http://schemas.microsoft.com/office/drawing/2014/main" id="{28DBD660-3D39-A545-9BFC-3543A134034A}"/>
                </a:ext>
              </a:extLst>
            </p:cNvPr>
            <p:cNvSpPr>
              <a:spLocks noChangeArrowheads="1"/>
            </p:cNvSpPr>
            <p:nvPr/>
          </p:nvSpPr>
          <p:spPr bwMode="auto">
            <a:xfrm>
              <a:off x="2803525" y="50752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Oval 1008">
              <a:extLst>
                <a:ext uri="{FF2B5EF4-FFF2-40B4-BE49-F238E27FC236}">
                  <a16:creationId xmlns:a16="http://schemas.microsoft.com/office/drawing/2014/main" id="{5BA09A89-0F95-314C-B5B5-78B510617BB0}"/>
                </a:ext>
              </a:extLst>
            </p:cNvPr>
            <p:cNvSpPr>
              <a:spLocks noChangeArrowheads="1"/>
            </p:cNvSpPr>
            <p:nvPr/>
          </p:nvSpPr>
          <p:spPr bwMode="auto">
            <a:xfrm>
              <a:off x="2859088" y="5075238"/>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Oval 1009">
              <a:extLst>
                <a:ext uri="{FF2B5EF4-FFF2-40B4-BE49-F238E27FC236}">
                  <a16:creationId xmlns:a16="http://schemas.microsoft.com/office/drawing/2014/main" id="{1B62ABE7-295C-2541-80E9-E94E10F94E85}"/>
                </a:ext>
              </a:extLst>
            </p:cNvPr>
            <p:cNvSpPr>
              <a:spLocks noChangeArrowheads="1"/>
            </p:cNvSpPr>
            <p:nvPr/>
          </p:nvSpPr>
          <p:spPr bwMode="auto">
            <a:xfrm>
              <a:off x="2803525" y="513080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Oval 1010">
              <a:extLst>
                <a:ext uri="{FF2B5EF4-FFF2-40B4-BE49-F238E27FC236}">
                  <a16:creationId xmlns:a16="http://schemas.microsoft.com/office/drawing/2014/main" id="{0965E5CD-4ACF-2745-8455-E131806A7A10}"/>
                </a:ext>
              </a:extLst>
            </p:cNvPr>
            <p:cNvSpPr>
              <a:spLocks noChangeArrowheads="1"/>
            </p:cNvSpPr>
            <p:nvPr/>
          </p:nvSpPr>
          <p:spPr bwMode="auto">
            <a:xfrm>
              <a:off x="2859088" y="5130800"/>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Oval 1011">
              <a:extLst>
                <a:ext uri="{FF2B5EF4-FFF2-40B4-BE49-F238E27FC236}">
                  <a16:creationId xmlns:a16="http://schemas.microsoft.com/office/drawing/2014/main" id="{EEC6FABF-FA08-9E49-A547-27B83FC7D051}"/>
                </a:ext>
              </a:extLst>
            </p:cNvPr>
            <p:cNvSpPr>
              <a:spLocks noChangeArrowheads="1"/>
            </p:cNvSpPr>
            <p:nvPr/>
          </p:nvSpPr>
          <p:spPr bwMode="auto">
            <a:xfrm>
              <a:off x="2830513" y="51022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Oval 1012">
              <a:extLst>
                <a:ext uri="{FF2B5EF4-FFF2-40B4-BE49-F238E27FC236}">
                  <a16:creationId xmlns:a16="http://schemas.microsoft.com/office/drawing/2014/main" id="{3BFB1AFE-7942-6F4B-80F3-3CF10976AEFE}"/>
                </a:ext>
              </a:extLst>
            </p:cNvPr>
            <p:cNvSpPr>
              <a:spLocks noChangeArrowheads="1"/>
            </p:cNvSpPr>
            <p:nvPr/>
          </p:nvSpPr>
          <p:spPr bwMode="auto">
            <a:xfrm>
              <a:off x="2830513" y="515778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Oval 1013">
              <a:extLst>
                <a:ext uri="{FF2B5EF4-FFF2-40B4-BE49-F238E27FC236}">
                  <a16:creationId xmlns:a16="http://schemas.microsoft.com/office/drawing/2014/main" id="{34DAF26F-F0F5-254E-8D73-3E5285096C24}"/>
                </a:ext>
              </a:extLst>
            </p:cNvPr>
            <p:cNvSpPr>
              <a:spLocks noChangeArrowheads="1"/>
            </p:cNvSpPr>
            <p:nvPr/>
          </p:nvSpPr>
          <p:spPr bwMode="auto">
            <a:xfrm>
              <a:off x="2640013" y="51847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Oval 1014">
              <a:extLst>
                <a:ext uri="{FF2B5EF4-FFF2-40B4-BE49-F238E27FC236}">
                  <a16:creationId xmlns:a16="http://schemas.microsoft.com/office/drawing/2014/main" id="{11A21F82-2681-6B49-AAEC-C458040CC7A0}"/>
                </a:ext>
              </a:extLst>
            </p:cNvPr>
            <p:cNvSpPr>
              <a:spLocks noChangeArrowheads="1"/>
            </p:cNvSpPr>
            <p:nvPr/>
          </p:nvSpPr>
          <p:spPr bwMode="auto">
            <a:xfrm>
              <a:off x="2667000" y="52133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Oval 1015">
              <a:extLst>
                <a:ext uri="{FF2B5EF4-FFF2-40B4-BE49-F238E27FC236}">
                  <a16:creationId xmlns:a16="http://schemas.microsoft.com/office/drawing/2014/main" id="{9E8016E3-7B04-654E-AFBC-0CF7EC0A0B33}"/>
                </a:ext>
              </a:extLst>
            </p:cNvPr>
            <p:cNvSpPr>
              <a:spLocks noChangeArrowheads="1"/>
            </p:cNvSpPr>
            <p:nvPr/>
          </p:nvSpPr>
          <p:spPr bwMode="auto">
            <a:xfrm>
              <a:off x="2693988" y="51847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Oval 1016">
              <a:extLst>
                <a:ext uri="{FF2B5EF4-FFF2-40B4-BE49-F238E27FC236}">
                  <a16:creationId xmlns:a16="http://schemas.microsoft.com/office/drawing/2014/main" id="{731430E3-6AE9-B840-9B7D-A65582D1F696}"/>
                </a:ext>
              </a:extLst>
            </p:cNvPr>
            <p:cNvSpPr>
              <a:spLocks noChangeArrowheads="1"/>
            </p:cNvSpPr>
            <p:nvPr/>
          </p:nvSpPr>
          <p:spPr bwMode="auto">
            <a:xfrm>
              <a:off x="2749550" y="51847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Oval 1017">
              <a:extLst>
                <a:ext uri="{FF2B5EF4-FFF2-40B4-BE49-F238E27FC236}">
                  <a16:creationId xmlns:a16="http://schemas.microsoft.com/office/drawing/2014/main" id="{148C9D4D-3CA8-DB4D-A144-DF72CF2E34C8}"/>
                </a:ext>
              </a:extLst>
            </p:cNvPr>
            <p:cNvSpPr>
              <a:spLocks noChangeArrowheads="1"/>
            </p:cNvSpPr>
            <p:nvPr/>
          </p:nvSpPr>
          <p:spPr bwMode="auto">
            <a:xfrm>
              <a:off x="2722563" y="5213350"/>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Oval 1018">
              <a:extLst>
                <a:ext uri="{FF2B5EF4-FFF2-40B4-BE49-F238E27FC236}">
                  <a16:creationId xmlns:a16="http://schemas.microsoft.com/office/drawing/2014/main" id="{29C4DCCA-3D78-B147-8872-544B33455981}"/>
                </a:ext>
              </a:extLst>
            </p:cNvPr>
            <p:cNvSpPr>
              <a:spLocks noChangeArrowheads="1"/>
            </p:cNvSpPr>
            <p:nvPr/>
          </p:nvSpPr>
          <p:spPr bwMode="auto">
            <a:xfrm>
              <a:off x="2776538" y="52133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Oval 1019">
              <a:extLst>
                <a:ext uri="{FF2B5EF4-FFF2-40B4-BE49-F238E27FC236}">
                  <a16:creationId xmlns:a16="http://schemas.microsoft.com/office/drawing/2014/main" id="{DAD48AD0-F938-C74A-BBEB-B6C1DB0598E5}"/>
                </a:ext>
              </a:extLst>
            </p:cNvPr>
            <p:cNvSpPr>
              <a:spLocks noChangeArrowheads="1"/>
            </p:cNvSpPr>
            <p:nvPr/>
          </p:nvSpPr>
          <p:spPr bwMode="auto">
            <a:xfrm>
              <a:off x="2803525" y="518477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Oval 1020">
              <a:extLst>
                <a:ext uri="{FF2B5EF4-FFF2-40B4-BE49-F238E27FC236}">
                  <a16:creationId xmlns:a16="http://schemas.microsoft.com/office/drawing/2014/main" id="{2E0A4642-554D-8342-B93C-CE192C2C909C}"/>
                </a:ext>
              </a:extLst>
            </p:cNvPr>
            <p:cNvSpPr>
              <a:spLocks noChangeArrowheads="1"/>
            </p:cNvSpPr>
            <p:nvPr/>
          </p:nvSpPr>
          <p:spPr bwMode="auto">
            <a:xfrm>
              <a:off x="2859088" y="5184775"/>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Oval 1021">
              <a:extLst>
                <a:ext uri="{FF2B5EF4-FFF2-40B4-BE49-F238E27FC236}">
                  <a16:creationId xmlns:a16="http://schemas.microsoft.com/office/drawing/2014/main" id="{1486A777-2108-1D44-ABE6-70D3296C3A41}"/>
                </a:ext>
              </a:extLst>
            </p:cNvPr>
            <p:cNvSpPr>
              <a:spLocks noChangeArrowheads="1"/>
            </p:cNvSpPr>
            <p:nvPr/>
          </p:nvSpPr>
          <p:spPr bwMode="auto">
            <a:xfrm>
              <a:off x="2830513" y="5213350"/>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45" name="Freeform 1022">
            <a:extLst>
              <a:ext uri="{FF2B5EF4-FFF2-40B4-BE49-F238E27FC236}">
                <a16:creationId xmlns:a16="http://schemas.microsoft.com/office/drawing/2014/main" id="{DD0FFF32-9328-E04E-8206-A24B0DDFEA8A}"/>
              </a:ext>
            </a:extLst>
          </p:cNvPr>
          <p:cNvSpPr>
            <a:spLocks noEditPoints="1"/>
          </p:cNvSpPr>
          <p:nvPr/>
        </p:nvSpPr>
        <p:spPr bwMode="auto">
          <a:xfrm>
            <a:off x="1654058" y="5319713"/>
            <a:ext cx="290513" cy="550863"/>
          </a:xfrm>
          <a:custGeom>
            <a:avLst/>
            <a:gdLst>
              <a:gd name="T0" fmla="*/ 9 w 85"/>
              <a:gd name="T1" fmla="*/ 11 h 160"/>
              <a:gd name="T2" fmla="*/ 85 w 85"/>
              <a:gd name="T3" fmla="*/ 20 h 160"/>
              <a:gd name="T4" fmla="*/ 32 w 85"/>
              <a:gd name="T5" fmla="*/ 5 h 160"/>
              <a:gd name="T6" fmla="*/ 80 w 85"/>
              <a:gd name="T7" fmla="*/ 51 h 160"/>
              <a:gd name="T8" fmla="*/ 80 w 85"/>
              <a:gd name="T9" fmla="*/ 112 h 160"/>
              <a:gd name="T10" fmla="*/ 53 w 85"/>
              <a:gd name="T11" fmla="*/ 155 h 160"/>
              <a:gd name="T12" fmla="*/ 5 w 85"/>
              <a:gd name="T13" fmla="*/ 149 h 160"/>
              <a:gd name="T14" fmla="*/ 5 w 85"/>
              <a:gd name="T15" fmla="*/ 117 h 160"/>
              <a:gd name="T16" fmla="*/ 5 w 85"/>
              <a:gd name="T17" fmla="*/ 85 h 160"/>
              <a:gd name="T18" fmla="*/ 19 w 85"/>
              <a:gd name="T19" fmla="*/ 56 h 160"/>
              <a:gd name="T20" fmla="*/ 51 w 85"/>
              <a:gd name="T21" fmla="*/ 56 h 160"/>
              <a:gd name="T22" fmla="*/ 80 w 85"/>
              <a:gd name="T23" fmla="*/ 56 h 160"/>
              <a:gd name="T24" fmla="*/ 11 w 85"/>
              <a:gd name="T25" fmla="*/ 64 h 160"/>
              <a:gd name="T26" fmla="*/ 21 w 85"/>
              <a:gd name="T27" fmla="*/ 69 h 160"/>
              <a:gd name="T28" fmla="*/ 45 w 85"/>
              <a:gd name="T29" fmla="*/ 61 h 160"/>
              <a:gd name="T30" fmla="*/ 40 w 85"/>
              <a:gd name="T31" fmla="*/ 72 h 160"/>
              <a:gd name="T32" fmla="*/ 53 w 85"/>
              <a:gd name="T33" fmla="*/ 75 h 160"/>
              <a:gd name="T34" fmla="*/ 59 w 85"/>
              <a:gd name="T35" fmla="*/ 64 h 160"/>
              <a:gd name="T36" fmla="*/ 77 w 85"/>
              <a:gd name="T37" fmla="*/ 61 h 160"/>
              <a:gd name="T38" fmla="*/ 13 w 85"/>
              <a:gd name="T39" fmla="*/ 77 h 160"/>
              <a:gd name="T40" fmla="*/ 16 w 85"/>
              <a:gd name="T41" fmla="*/ 96 h 160"/>
              <a:gd name="T42" fmla="*/ 21 w 85"/>
              <a:gd name="T43" fmla="*/ 91 h 160"/>
              <a:gd name="T44" fmla="*/ 19 w 85"/>
              <a:gd name="T45" fmla="*/ 104 h 160"/>
              <a:gd name="T46" fmla="*/ 29 w 85"/>
              <a:gd name="T47" fmla="*/ 77 h 160"/>
              <a:gd name="T48" fmla="*/ 29 w 85"/>
              <a:gd name="T49" fmla="*/ 93 h 160"/>
              <a:gd name="T50" fmla="*/ 48 w 85"/>
              <a:gd name="T51" fmla="*/ 96 h 160"/>
              <a:gd name="T52" fmla="*/ 37 w 85"/>
              <a:gd name="T53" fmla="*/ 91 h 160"/>
              <a:gd name="T54" fmla="*/ 51 w 85"/>
              <a:gd name="T55" fmla="*/ 88 h 160"/>
              <a:gd name="T56" fmla="*/ 37 w 85"/>
              <a:gd name="T57" fmla="*/ 101 h 160"/>
              <a:gd name="T58" fmla="*/ 61 w 85"/>
              <a:gd name="T59" fmla="*/ 77 h 160"/>
              <a:gd name="T60" fmla="*/ 80 w 85"/>
              <a:gd name="T61" fmla="*/ 80 h 160"/>
              <a:gd name="T62" fmla="*/ 61 w 85"/>
              <a:gd name="T63" fmla="*/ 99 h 160"/>
              <a:gd name="T64" fmla="*/ 75 w 85"/>
              <a:gd name="T65" fmla="*/ 96 h 160"/>
              <a:gd name="T66" fmla="*/ 69 w 85"/>
              <a:gd name="T67" fmla="*/ 85 h 160"/>
              <a:gd name="T68" fmla="*/ 13 w 85"/>
              <a:gd name="T69" fmla="*/ 109 h 160"/>
              <a:gd name="T70" fmla="*/ 16 w 85"/>
              <a:gd name="T71" fmla="*/ 128 h 160"/>
              <a:gd name="T72" fmla="*/ 21 w 85"/>
              <a:gd name="T73" fmla="*/ 123 h 160"/>
              <a:gd name="T74" fmla="*/ 19 w 85"/>
              <a:gd name="T75" fmla="*/ 136 h 160"/>
              <a:gd name="T76" fmla="*/ 29 w 85"/>
              <a:gd name="T77" fmla="*/ 109 h 160"/>
              <a:gd name="T78" fmla="*/ 29 w 85"/>
              <a:gd name="T79" fmla="*/ 125 h 160"/>
              <a:gd name="T80" fmla="*/ 48 w 85"/>
              <a:gd name="T81" fmla="*/ 128 h 160"/>
              <a:gd name="T82" fmla="*/ 37 w 85"/>
              <a:gd name="T83" fmla="*/ 123 h 160"/>
              <a:gd name="T84" fmla="*/ 51 w 85"/>
              <a:gd name="T85" fmla="*/ 120 h 160"/>
              <a:gd name="T86" fmla="*/ 37 w 85"/>
              <a:gd name="T87" fmla="*/ 133 h 160"/>
              <a:gd name="T88" fmla="*/ 61 w 85"/>
              <a:gd name="T89" fmla="*/ 109 h 160"/>
              <a:gd name="T90" fmla="*/ 80 w 85"/>
              <a:gd name="T91" fmla="*/ 112 h 160"/>
              <a:gd name="T92" fmla="*/ 61 w 85"/>
              <a:gd name="T93" fmla="*/ 131 h 160"/>
              <a:gd name="T94" fmla="*/ 75 w 85"/>
              <a:gd name="T95" fmla="*/ 128 h 160"/>
              <a:gd name="T96" fmla="*/ 69 w 85"/>
              <a:gd name="T97" fmla="*/ 117 h 160"/>
              <a:gd name="T98" fmla="*/ 13 w 85"/>
              <a:gd name="T99" fmla="*/ 141 h 160"/>
              <a:gd name="T100" fmla="*/ 24 w 85"/>
              <a:gd name="T101" fmla="*/ 152 h 160"/>
              <a:gd name="T102" fmla="*/ 29 w 85"/>
              <a:gd name="T103" fmla="*/ 147 h 160"/>
              <a:gd name="T104" fmla="*/ 43 w 85"/>
              <a:gd name="T105" fmla="*/ 144 h 160"/>
              <a:gd name="T106" fmla="*/ 37 w 85"/>
              <a:gd name="T107" fmla="*/ 149 h 160"/>
              <a:gd name="T108" fmla="*/ 61 w 85"/>
              <a:gd name="T109" fmla="*/ 141 h 160"/>
              <a:gd name="T110" fmla="*/ 80 w 85"/>
              <a:gd name="T111" fmla="*/ 144 h 160"/>
              <a:gd name="T112" fmla="*/ 69 w 85"/>
              <a:gd name="T113"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51"/>
                  <a:pt x="80" y="51"/>
                  <a:pt x="80" y="51"/>
                </a:cubicBezTo>
                <a:cubicBezTo>
                  <a:pt x="5" y="51"/>
                  <a:pt x="5" y="51"/>
                  <a:pt x="5" y="51"/>
                </a:cubicBezTo>
                <a:cubicBezTo>
                  <a:pt x="5" y="20"/>
                  <a:pt x="5" y="20"/>
                  <a:pt x="5" y="20"/>
                </a:cubicBezTo>
                <a:cubicBezTo>
                  <a:pt x="5" y="18"/>
                  <a:pt x="7" y="16"/>
                  <a:pt x="9" y="16"/>
                </a:cubicBezTo>
                <a:close/>
                <a:moveTo>
                  <a:pt x="80" y="80"/>
                </a:moveTo>
                <a:cubicBezTo>
                  <a:pt x="80" y="96"/>
                  <a:pt x="80" y="96"/>
                  <a:pt x="80" y="96"/>
                </a:cubicBezTo>
                <a:cubicBezTo>
                  <a:pt x="80" y="112"/>
                  <a:pt x="80" y="112"/>
                  <a:pt x="80" y="112"/>
                </a:cubicBezTo>
                <a:cubicBezTo>
                  <a:pt x="80" y="128"/>
                  <a:pt x="80" y="128"/>
                  <a:pt x="80" y="128"/>
                </a:cubicBezTo>
                <a:cubicBezTo>
                  <a:pt x="80" y="144"/>
                  <a:pt x="80" y="144"/>
                  <a:pt x="80" y="144"/>
                </a:cubicBezTo>
                <a:cubicBezTo>
                  <a:pt x="80" y="151"/>
                  <a:pt x="80" y="151"/>
                  <a:pt x="80" y="151"/>
                </a:cubicBezTo>
                <a:cubicBezTo>
                  <a:pt x="80" y="153"/>
                  <a:pt x="78" y="155"/>
                  <a:pt x="76" y="155"/>
                </a:cubicBezTo>
                <a:cubicBezTo>
                  <a:pt x="69" y="155"/>
                  <a:pt x="69" y="155"/>
                  <a:pt x="69" y="155"/>
                </a:cubicBezTo>
                <a:cubicBezTo>
                  <a:pt x="53" y="155"/>
                  <a:pt x="53" y="155"/>
                  <a:pt x="53" y="155"/>
                </a:cubicBezTo>
                <a:cubicBezTo>
                  <a:pt x="37" y="155"/>
                  <a:pt x="37" y="155"/>
                  <a:pt x="37" y="155"/>
                </a:cubicBezTo>
                <a:cubicBezTo>
                  <a:pt x="21" y="155"/>
                  <a:pt x="21" y="155"/>
                  <a:pt x="21" y="155"/>
                </a:cubicBezTo>
                <a:cubicBezTo>
                  <a:pt x="9" y="155"/>
                  <a:pt x="9" y="155"/>
                  <a:pt x="9" y="155"/>
                </a:cubicBezTo>
                <a:cubicBezTo>
                  <a:pt x="8" y="155"/>
                  <a:pt x="8" y="154"/>
                  <a:pt x="7" y="154"/>
                </a:cubicBezTo>
                <a:cubicBezTo>
                  <a:pt x="8" y="154"/>
                  <a:pt x="8" y="153"/>
                  <a:pt x="8" y="152"/>
                </a:cubicBezTo>
                <a:cubicBezTo>
                  <a:pt x="8" y="151"/>
                  <a:pt x="7" y="149"/>
                  <a:pt x="5" y="149"/>
                </a:cubicBezTo>
                <a:cubicBezTo>
                  <a:pt x="5" y="139"/>
                  <a:pt x="5" y="139"/>
                  <a:pt x="5" y="139"/>
                </a:cubicBezTo>
                <a:cubicBezTo>
                  <a:pt x="7" y="139"/>
                  <a:pt x="8" y="137"/>
                  <a:pt x="8" y="136"/>
                </a:cubicBezTo>
                <a:cubicBezTo>
                  <a:pt x="8" y="135"/>
                  <a:pt x="7" y="133"/>
                  <a:pt x="5" y="133"/>
                </a:cubicBezTo>
                <a:cubicBezTo>
                  <a:pt x="5" y="123"/>
                  <a:pt x="5" y="123"/>
                  <a:pt x="5" y="123"/>
                </a:cubicBezTo>
                <a:cubicBezTo>
                  <a:pt x="7" y="123"/>
                  <a:pt x="8" y="121"/>
                  <a:pt x="8" y="120"/>
                </a:cubicBezTo>
                <a:cubicBezTo>
                  <a:pt x="8" y="119"/>
                  <a:pt x="7" y="117"/>
                  <a:pt x="5" y="117"/>
                </a:cubicBezTo>
                <a:cubicBezTo>
                  <a:pt x="5" y="107"/>
                  <a:pt x="5" y="107"/>
                  <a:pt x="5" y="107"/>
                </a:cubicBezTo>
                <a:cubicBezTo>
                  <a:pt x="7" y="107"/>
                  <a:pt x="8" y="105"/>
                  <a:pt x="8" y="104"/>
                </a:cubicBezTo>
                <a:cubicBezTo>
                  <a:pt x="8" y="103"/>
                  <a:pt x="7" y="101"/>
                  <a:pt x="5" y="101"/>
                </a:cubicBezTo>
                <a:cubicBezTo>
                  <a:pt x="5" y="91"/>
                  <a:pt x="5" y="91"/>
                  <a:pt x="5" y="91"/>
                </a:cubicBezTo>
                <a:cubicBezTo>
                  <a:pt x="7" y="91"/>
                  <a:pt x="8" y="89"/>
                  <a:pt x="8" y="88"/>
                </a:cubicBezTo>
                <a:cubicBezTo>
                  <a:pt x="8" y="87"/>
                  <a:pt x="7" y="85"/>
                  <a:pt x="5" y="85"/>
                </a:cubicBezTo>
                <a:cubicBezTo>
                  <a:pt x="5" y="75"/>
                  <a:pt x="5" y="75"/>
                  <a:pt x="5" y="75"/>
                </a:cubicBezTo>
                <a:cubicBezTo>
                  <a:pt x="7" y="75"/>
                  <a:pt x="8" y="73"/>
                  <a:pt x="8" y="72"/>
                </a:cubicBezTo>
                <a:cubicBezTo>
                  <a:pt x="8" y="71"/>
                  <a:pt x="7" y="69"/>
                  <a:pt x="5" y="69"/>
                </a:cubicBezTo>
                <a:cubicBezTo>
                  <a:pt x="5" y="59"/>
                  <a:pt x="5" y="59"/>
                  <a:pt x="5" y="59"/>
                </a:cubicBezTo>
                <a:cubicBezTo>
                  <a:pt x="7" y="59"/>
                  <a:pt x="8" y="57"/>
                  <a:pt x="8" y="56"/>
                </a:cubicBezTo>
                <a:cubicBezTo>
                  <a:pt x="19" y="56"/>
                  <a:pt x="19" y="56"/>
                  <a:pt x="19" y="56"/>
                </a:cubicBezTo>
                <a:cubicBezTo>
                  <a:pt x="19" y="57"/>
                  <a:pt x="20" y="59"/>
                  <a:pt x="21" y="59"/>
                </a:cubicBezTo>
                <a:cubicBezTo>
                  <a:pt x="23" y="59"/>
                  <a:pt x="24" y="57"/>
                  <a:pt x="24" y="56"/>
                </a:cubicBezTo>
                <a:cubicBezTo>
                  <a:pt x="35" y="56"/>
                  <a:pt x="35" y="56"/>
                  <a:pt x="35" y="56"/>
                </a:cubicBezTo>
                <a:cubicBezTo>
                  <a:pt x="35" y="57"/>
                  <a:pt x="36" y="59"/>
                  <a:pt x="37" y="59"/>
                </a:cubicBezTo>
                <a:cubicBezTo>
                  <a:pt x="39" y="59"/>
                  <a:pt x="40" y="57"/>
                  <a:pt x="40" y="56"/>
                </a:cubicBezTo>
                <a:cubicBezTo>
                  <a:pt x="51" y="56"/>
                  <a:pt x="51" y="56"/>
                  <a:pt x="51" y="56"/>
                </a:cubicBezTo>
                <a:cubicBezTo>
                  <a:pt x="51" y="57"/>
                  <a:pt x="52" y="59"/>
                  <a:pt x="53" y="59"/>
                </a:cubicBezTo>
                <a:cubicBezTo>
                  <a:pt x="55" y="59"/>
                  <a:pt x="56" y="57"/>
                  <a:pt x="56" y="56"/>
                </a:cubicBezTo>
                <a:cubicBezTo>
                  <a:pt x="67" y="56"/>
                  <a:pt x="67" y="56"/>
                  <a:pt x="67" y="56"/>
                </a:cubicBezTo>
                <a:cubicBezTo>
                  <a:pt x="67" y="57"/>
                  <a:pt x="68" y="59"/>
                  <a:pt x="69" y="59"/>
                </a:cubicBezTo>
                <a:cubicBezTo>
                  <a:pt x="71" y="59"/>
                  <a:pt x="72" y="57"/>
                  <a:pt x="72" y="56"/>
                </a:cubicBezTo>
                <a:cubicBezTo>
                  <a:pt x="80" y="56"/>
                  <a:pt x="80" y="56"/>
                  <a:pt x="80" y="56"/>
                </a:cubicBezTo>
                <a:cubicBezTo>
                  <a:pt x="80" y="64"/>
                  <a:pt x="80" y="64"/>
                  <a:pt x="80" y="64"/>
                </a:cubicBezTo>
                <a:lnTo>
                  <a:pt x="80" y="80"/>
                </a:lnTo>
                <a:close/>
                <a:moveTo>
                  <a:pt x="13" y="61"/>
                </a:moveTo>
                <a:cubicBezTo>
                  <a:pt x="15" y="61"/>
                  <a:pt x="16" y="63"/>
                  <a:pt x="16" y="64"/>
                </a:cubicBezTo>
                <a:cubicBezTo>
                  <a:pt x="16" y="65"/>
                  <a:pt x="15" y="67"/>
                  <a:pt x="13" y="67"/>
                </a:cubicBezTo>
                <a:cubicBezTo>
                  <a:pt x="12" y="67"/>
                  <a:pt x="11" y="65"/>
                  <a:pt x="11" y="64"/>
                </a:cubicBezTo>
                <a:cubicBezTo>
                  <a:pt x="11" y="63"/>
                  <a:pt x="12" y="61"/>
                  <a:pt x="13" y="61"/>
                </a:cubicBezTo>
                <a:close/>
                <a:moveTo>
                  <a:pt x="21" y="69"/>
                </a:moveTo>
                <a:cubicBezTo>
                  <a:pt x="23" y="69"/>
                  <a:pt x="24" y="71"/>
                  <a:pt x="24" y="72"/>
                </a:cubicBezTo>
                <a:cubicBezTo>
                  <a:pt x="24" y="73"/>
                  <a:pt x="23" y="75"/>
                  <a:pt x="21" y="75"/>
                </a:cubicBezTo>
                <a:cubicBezTo>
                  <a:pt x="20" y="75"/>
                  <a:pt x="19" y="73"/>
                  <a:pt x="19" y="72"/>
                </a:cubicBezTo>
                <a:cubicBezTo>
                  <a:pt x="19" y="71"/>
                  <a:pt x="20" y="69"/>
                  <a:pt x="21" y="69"/>
                </a:cubicBezTo>
                <a:close/>
                <a:moveTo>
                  <a:pt x="29" y="61"/>
                </a:moveTo>
                <a:cubicBezTo>
                  <a:pt x="31" y="61"/>
                  <a:pt x="32" y="63"/>
                  <a:pt x="32" y="64"/>
                </a:cubicBezTo>
                <a:cubicBezTo>
                  <a:pt x="32" y="65"/>
                  <a:pt x="31" y="67"/>
                  <a:pt x="29" y="67"/>
                </a:cubicBezTo>
                <a:cubicBezTo>
                  <a:pt x="28" y="67"/>
                  <a:pt x="27" y="65"/>
                  <a:pt x="27" y="64"/>
                </a:cubicBezTo>
                <a:cubicBezTo>
                  <a:pt x="27" y="63"/>
                  <a:pt x="28" y="61"/>
                  <a:pt x="29" y="61"/>
                </a:cubicBezTo>
                <a:close/>
                <a:moveTo>
                  <a:pt x="45" y="61"/>
                </a:moveTo>
                <a:cubicBezTo>
                  <a:pt x="47" y="61"/>
                  <a:pt x="48" y="63"/>
                  <a:pt x="48" y="64"/>
                </a:cubicBezTo>
                <a:cubicBezTo>
                  <a:pt x="48" y="65"/>
                  <a:pt x="47" y="67"/>
                  <a:pt x="45" y="67"/>
                </a:cubicBezTo>
                <a:cubicBezTo>
                  <a:pt x="44" y="67"/>
                  <a:pt x="43" y="65"/>
                  <a:pt x="43" y="64"/>
                </a:cubicBezTo>
                <a:cubicBezTo>
                  <a:pt x="43" y="63"/>
                  <a:pt x="44" y="61"/>
                  <a:pt x="45" y="61"/>
                </a:cubicBezTo>
                <a:close/>
                <a:moveTo>
                  <a:pt x="37" y="69"/>
                </a:moveTo>
                <a:cubicBezTo>
                  <a:pt x="39" y="69"/>
                  <a:pt x="40" y="71"/>
                  <a:pt x="40" y="72"/>
                </a:cubicBezTo>
                <a:cubicBezTo>
                  <a:pt x="40" y="73"/>
                  <a:pt x="39" y="75"/>
                  <a:pt x="37" y="75"/>
                </a:cubicBezTo>
                <a:cubicBezTo>
                  <a:pt x="36" y="75"/>
                  <a:pt x="35" y="73"/>
                  <a:pt x="35" y="72"/>
                </a:cubicBezTo>
                <a:cubicBezTo>
                  <a:pt x="35" y="71"/>
                  <a:pt x="36" y="69"/>
                  <a:pt x="37" y="69"/>
                </a:cubicBezTo>
                <a:close/>
                <a:moveTo>
                  <a:pt x="53" y="69"/>
                </a:moveTo>
                <a:cubicBezTo>
                  <a:pt x="55" y="69"/>
                  <a:pt x="56" y="71"/>
                  <a:pt x="56" y="72"/>
                </a:cubicBezTo>
                <a:cubicBezTo>
                  <a:pt x="56" y="73"/>
                  <a:pt x="55" y="75"/>
                  <a:pt x="53" y="75"/>
                </a:cubicBezTo>
                <a:cubicBezTo>
                  <a:pt x="52" y="75"/>
                  <a:pt x="51" y="73"/>
                  <a:pt x="51" y="72"/>
                </a:cubicBezTo>
                <a:cubicBezTo>
                  <a:pt x="51" y="71"/>
                  <a:pt x="52" y="69"/>
                  <a:pt x="53" y="69"/>
                </a:cubicBezTo>
                <a:close/>
                <a:moveTo>
                  <a:pt x="61" y="61"/>
                </a:moveTo>
                <a:cubicBezTo>
                  <a:pt x="63" y="61"/>
                  <a:pt x="64" y="63"/>
                  <a:pt x="64" y="64"/>
                </a:cubicBezTo>
                <a:cubicBezTo>
                  <a:pt x="64" y="65"/>
                  <a:pt x="63" y="67"/>
                  <a:pt x="61" y="67"/>
                </a:cubicBezTo>
                <a:cubicBezTo>
                  <a:pt x="60" y="67"/>
                  <a:pt x="59" y="65"/>
                  <a:pt x="59" y="64"/>
                </a:cubicBezTo>
                <a:cubicBezTo>
                  <a:pt x="59" y="63"/>
                  <a:pt x="60" y="61"/>
                  <a:pt x="61" y="61"/>
                </a:cubicBezTo>
                <a:close/>
                <a:moveTo>
                  <a:pt x="77" y="61"/>
                </a:moveTo>
                <a:cubicBezTo>
                  <a:pt x="79" y="61"/>
                  <a:pt x="80" y="63"/>
                  <a:pt x="80" y="64"/>
                </a:cubicBezTo>
                <a:cubicBezTo>
                  <a:pt x="80" y="65"/>
                  <a:pt x="79" y="67"/>
                  <a:pt x="77" y="67"/>
                </a:cubicBezTo>
                <a:cubicBezTo>
                  <a:pt x="76" y="67"/>
                  <a:pt x="75" y="65"/>
                  <a:pt x="75" y="64"/>
                </a:cubicBezTo>
                <a:cubicBezTo>
                  <a:pt x="75" y="63"/>
                  <a:pt x="76" y="61"/>
                  <a:pt x="77" y="61"/>
                </a:cubicBezTo>
                <a:close/>
                <a:moveTo>
                  <a:pt x="69" y="69"/>
                </a:moveTo>
                <a:cubicBezTo>
                  <a:pt x="71" y="69"/>
                  <a:pt x="72" y="71"/>
                  <a:pt x="72" y="72"/>
                </a:cubicBezTo>
                <a:cubicBezTo>
                  <a:pt x="72" y="73"/>
                  <a:pt x="71" y="75"/>
                  <a:pt x="69" y="75"/>
                </a:cubicBezTo>
                <a:cubicBezTo>
                  <a:pt x="68" y="75"/>
                  <a:pt x="67" y="73"/>
                  <a:pt x="67" y="72"/>
                </a:cubicBezTo>
                <a:cubicBezTo>
                  <a:pt x="67" y="71"/>
                  <a:pt x="68" y="69"/>
                  <a:pt x="69" y="69"/>
                </a:cubicBezTo>
                <a:close/>
                <a:moveTo>
                  <a:pt x="13" y="77"/>
                </a:moveTo>
                <a:cubicBezTo>
                  <a:pt x="15" y="77"/>
                  <a:pt x="16" y="79"/>
                  <a:pt x="16" y="80"/>
                </a:cubicBezTo>
                <a:cubicBezTo>
                  <a:pt x="16" y="81"/>
                  <a:pt x="15" y="83"/>
                  <a:pt x="13" y="83"/>
                </a:cubicBezTo>
                <a:cubicBezTo>
                  <a:pt x="12" y="83"/>
                  <a:pt x="11" y="81"/>
                  <a:pt x="11" y="80"/>
                </a:cubicBezTo>
                <a:cubicBezTo>
                  <a:pt x="11" y="79"/>
                  <a:pt x="12" y="77"/>
                  <a:pt x="13" y="77"/>
                </a:cubicBezTo>
                <a:close/>
                <a:moveTo>
                  <a:pt x="13" y="93"/>
                </a:moveTo>
                <a:cubicBezTo>
                  <a:pt x="15" y="93"/>
                  <a:pt x="16" y="95"/>
                  <a:pt x="16" y="96"/>
                </a:cubicBezTo>
                <a:cubicBezTo>
                  <a:pt x="16" y="97"/>
                  <a:pt x="15" y="99"/>
                  <a:pt x="13" y="99"/>
                </a:cubicBezTo>
                <a:cubicBezTo>
                  <a:pt x="12" y="99"/>
                  <a:pt x="11" y="97"/>
                  <a:pt x="11" y="96"/>
                </a:cubicBezTo>
                <a:cubicBezTo>
                  <a:pt x="11" y="95"/>
                  <a:pt x="12" y="93"/>
                  <a:pt x="13" y="93"/>
                </a:cubicBezTo>
                <a:close/>
                <a:moveTo>
                  <a:pt x="21" y="85"/>
                </a:moveTo>
                <a:cubicBezTo>
                  <a:pt x="23" y="85"/>
                  <a:pt x="24" y="87"/>
                  <a:pt x="24" y="88"/>
                </a:cubicBezTo>
                <a:cubicBezTo>
                  <a:pt x="24" y="89"/>
                  <a:pt x="23" y="91"/>
                  <a:pt x="21" y="91"/>
                </a:cubicBezTo>
                <a:cubicBezTo>
                  <a:pt x="20" y="91"/>
                  <a:pt x="19" y="89"/>
                  <a:pt x="19" y="88"/>
                </a:cubicBezTo>
                <a:cubicBezTo>
                  <a:pt x="19" y="87"/>
                  <a:pt x="20" y="85"/>
                  <a:pt x="21" y="85"/>
                </a:cubicBezTo>
                <a:close/>
                <a:moveTo>
                  <a:pt x="21" y="101"/>
                </a:moveTo>
                <a:cubicBezTo>
                  <a:pt x="23" y="101"/>
                  <a:pt x="24" y="103"/>
                  <a:pt x="24" y="104"/>
                </a:cubicBezTo>
                <a:cubicBezTo>
                  <a:pt x="24" y="105"/>
                  <a:pt x="23" y="107"/>
                  <a:pt x="21" y="107"/>
                </a:cubicBezTo>
                <a:cubicBezTo>
                  <a:pt x="20" y="107"/>
                  <a:pt x="19" y="105"/>
                  <a:pt x="19" y="104"/>
                </a:cubicBezTo>
                <a:cubicBezTo>
                  <a:pt x="19" y="103"/>
                  <a:pt x="20" y="101"/>
                  <a:pt x="21" y="101"/>
                </a:cubicBezTo>
                <a:close/>
                <a:moveTo>
                  <a:pt x="29" y="77"/>
                </a:moveTo>
                <a:cubicBezTo>
                  <a:pt x="31" y="77"/>
                  <a:pt x="32" y="79"/>
                  <a:pt x="32" y="80"/>
                </a:cubicBezTo>
                <a:cubicBezTo>
                  <a:pt x="32" y="81"/>
                  <a:pt x="31" y="83"/>
                  <a:pt x="29" y="83"/>
                </a:cubicBezTo>
                <a:cubicBezTo>
                  <a:pt x="28" y="83"/>
                  <a:pt x="27" y="81"/>
                  <a:pt x="27" y="80"/>
                </a:cubicBezTo>
                <a:cubicBezTo>
                  <a:pt x="27" y="79"/>
                  <a:pt x="28" y="77"/>
                  <a:pt x="29" y="77"/>
                </a:cubicBezTo>
                <a:close/>
                <a:moveTo>
                  <a:pt x="45" y="77"/>
                </a:moveTo>
                <a:cubicBezTo>
                  <a:pt x="47" y="77"/>
                  <a:pt x="48" y="79"/>
                  <a:pt x="48" y="80"/>
                </a:cubicBezTo>
                <a:cubicBezTo>
                  <a:pt x="48" y="81"/>
                  <a:pt x="47" y="83"/>
                  <a:pt x="45" y="83"/>
                </a:cubicBezTo>
                <a:cubicBezTo>
                  <a:pt x="44" y="83"/>
                  <a:pt x="43" y="81"/>
                  <a:pt x="43" y="80"/>
                </a:cubicBezTo>
                <a:cubicBezTo>
                  <a:pt x="43" y="79"/>
                  <a:pt x="44" y="77"/>
                  <a:pt x="45" y="77"/>
                </a:cubicBezTo>
                <a:close/>
                <a:moveTo>
                  <a:pt x="29" y="93"/>
                </a:moveTo>
                <a:cubicBezTo>
                  <a:pt x="31" y="93"/>
                  <a:pt x="32" y="95"/>
                  <a:pt x="32" y="96"/>
                </a:cubicBezTo>
                <a:cubicBezTo>
                  <a:pt x="32" y="97"/>
                  <a:pt x="31" y="99"/>
                  <a:pt x="29" y="99"/>
                </a:cubicBezTo>
                <a:cubicBezTo>
                  <a:pt x="28" y="99"/>
                  <a:pt x="27" y="97"/>
                  <a:pt x="27" y="96"/>
                </a:cubicBezTo>
                <a:cubicBezTo>
                  <a:pt x="27" y="95"/>
                  <a:pt x="28" y="93"/>
                  <a:pt x="29" y="93"/>
                </a:cubicBezTo>
                <a:close/>
                <a:moveTo>
                  <a:pt x="45" y="93"/>
                </a:moveTo>
                <a:cubicBezTo>
                  <a:pt x="47" y="93"/>
                  <a:pt x="48" y="95"/>
                  <a:pt x="48" y="96"/>
                </a:cubicBezTo>
                <a:cubicBezTo>
                  <a:pt x="48" y="97"/>
                  <a:pt x="47" y="99"/>
                  <a:pt x="45" y="99"/>
                </a:cubicBezTo>
                <a:cubicBezTo>
                  <a:pt x="44" y="99"/>
                  <a:pt x="43" y="97"/>
                  <a:pt x="43" y="96"/>
                </a:cubicBezTo>
                <a:cubicBezTo>
                  <a:pt x="43" y="95"/>
                  <a:pt x="44" y="93"/>
                  <a:pt x="45" y="93"/>
                </a:cubicBezTo>
                <a:close/>
                <a:moveTo>
                  <a:pt x="37" y="85"/>
                </a:moveTo>
                <a:cubicBezTo>
                  <a:pt x="39" y="85"/>
                  <a:pt x="40" y="87"/>
                  <a:pt x="40" y="88"/>
                </a:cubicBezTo>
                <a:cubicBezTo>
                  <a:pt x="40" y="89"/>
                  <a:pt x="39" y="91"/>
                  <a:pt x="37" y="91"/>
                </a:cubicBezTo>
                <a:cubicBezTo>
                  <a:pt x="36" y="91"/>
                  <a:pt x="35" y="89"/>
                  <a:pt x="35" y="88"/>
                </a:cubicBezTo>
                <a:cubicBezTo>
                  <a:pt x="35" y="87"/>
                  <a:pt x="36" y="85"/>
                  <a:pt x="37" y="85"/>
                </a:cubicBezTo>
                <a:close/>
                <a:moveTo>
                  <a:pt x="53" y="85"/>
                </a:moveTo>
                <a:cubicBezTo>
                  <a:pt x="55" y="85"/>
                  <a:pt x="56" y="87"/>
                  <a:pt x="56" y="88"/>
                </a:cubicBezTo>
                <a:cubicBezTo>
                  <a:pt x="56" y="89"/>
                  <a:pt x="55" y="91"/>
                  <a:pt x="53" y="91"/>
                </a:cubicBezTo>
                <a:cubicBezTo>
                  <a:pt x="52" y="91"/>
                  <a:pt x="51" y="89"/>
                  <a:pt x="51" y="88"/>
                </a:cubicBezTo>
                <a:cubicBezTo>
                  <a:pt x="51" y="87"/>
                  <a:pt x="52" y="85"/>
                  <a:pt x="53" y="85"/>
                </a:cubicBezTo>
                <a:close/>
                <a:moveTo>
                  <a:pt x="37" y="101"/>
                </a:moveTo>
                <a:cubicBezTo>
                  <a:pt x="39" y="101"/>
                  <a:pt x="40" y="103"/>
                  <a:pt x="40" y="104"/>
                </a:cubicBezTo>
                <a:cubicBezTo>
                  <a:pt x="40" y="105"/>
                  <a:pt x="39" y="107"/>
                  <a:pt x="37" y="107"/>
                </a:cubicBezTo>
                <a:cubicBezTo>
                  <a:pt x="36" y="107"/>
                  <a:pt x="35" y="105"/>
                  <a:pt x="35" y="104"/>
                </a:cubicBezTo>
                <a:cubicBezTo>
                  <a:pt x="35" y="103"/>
                  <a:pt x="36" y="101"/>
                  <a:pt x="37" y="101"/>
                </a:cubicBezTo>
                <a:close/>
                <a:moveTo>
                  <a:pt x="53" y="101"/>
                </a:moveTo>
                <a:cubicBezTo>
                  <a:pt x="55" y="101"/>
                  <a:pt x="56" y="103"/>
                  <a:pt x="56" y="104"/>
                </a:cubicBezTo>
                <a:cubicBezTo>
                  <a:pt x="56" y="105"/>
                  <a:pt x="55" y="107"/>
                  <a:pt x="53" y="107"/>
                </a:cubicBezTo>
                <a:cubicBezTo>
                  <a:pt x="52" y="107"/>
                  <a:pt x="51" y="105"/>
                  <a:pt x="51" y="104"/>
                </a:cubicBezTo>
                <a:cubicBezTo>
                  <a:pt x="51" y="103"/>
                  <a:pt x="52" y="101"/>
                  <a:pt x="53" y="101"/>
                </a:cubicBezTo>
                <a:close/>
                <a:moveTo>
                  <a:pt x="61" y="77"/>
                </a:moveTo>
                <a:cubicBezTo>
                  <a:pt x="63" y="77"/>
                  <a:pt x="64" y="79"/>
                  <a:pt x="64" y="80"/>
                </a:cubicBezTo>
                <a:cubicBezTo>
                  <a:pt x="64" y="81"/>
                  <a:pt x="63" y="83"/>
                  <a:pt x="61" y="83"/>
                </a:cubicBezTo>
                <a:cubicBezTo>
                  <a:pt x="60" y="83"/>
                  <a:pt x="59" y="81"/>
                  <a:pt x="59" y="80"/>
                </a:cubicBezTo>
                <a:cubicBezTo>
                  <a:pt x="59" y="79"/>
                  <a:pt x="60" y="77"/>
                  <a:pt x="61" y="77"/>
                </a:cubicBezTo>
                <a:close/>
                <a:moveTo>
                  <a:pt x="77" y="77"/>
                </a:moveTo>
                <a:cubicBezTo>
                  <a:pt x="79" y="77"/>
                  <a:pt x="80" y="79"/>
                  <a:pt x="80" y="80"/>
                </a:cubicBezTo>
                <a:cubicBezTo>
                  <a:pt x="80" y="81"/>
                  <a:pt x="79" y="83"/>
                  <a:pt x="77" y="83"/>
                </a:cubicBezTo>
                <a:cubicBezTo>
                  <a:pt x="76" y="83"/>
                  <a:pt x="75" y="81"/>
                  <a:pt x="75" y="80"/>
                </a:cubicBezTo>
                <a:cubicBezTo>
                  <a:pt x="75" y="79"/>
                  <a:pt x="76" y="77"/>
                  <a:pt x="77" y="77"/>
                </a:cubicBezTo>
                <a:close/>
                <a:moveTo>
                  <a:pt x="61" y="93"/>
                </a:moveTo>
                <a:cubicBezTo>
                  <a:pt x="63" y="93"/>
                  <a:pt x="64" y="95"/>
                  <a:pt x="64" y="96"/>
                </a:cubicBezTo>
                <a:cubicBezTo>
                  <a:pt x="64" y="97"/>
                  <a:pt x="63" y="99"/>
                  <a:pt x="61" y="99"/>
                </a:cubicBezTo>
                <a:cubicBezTo>
                  <a:pt x="60" y="99"/>
                  <a:pt x="59" y="97"/>
                  <a:pt x="59" y="96"/>
                </a:cubicBezTo>
                <a:cubicBezTo>
                  <a:pt x="59" y="95"/>
                  <a:pt x="60" y="93"/>
                  <a:pt x="61" y="93"/>
                </a:cubicBezTo>
                <a:close/>
                <a:moveTo>
                  <a:pt x="77" y="93"/>
                </a:moveTo>
                <a:cubicBezTo>
                  <a:pt x="79" y="93"/>
                  <a:pt x="80" y="95"/>
                  <a:pt x="80" y="96"/>
                </a:cubicBezTo>
                <a:cubicBezTo>
                  <a:pt x="80" y="97"/>
                  <a:pt x="79" y="99"/>
                  <a:pt x="77" y="99"/>
                </a:cubicBezTo>
                <a:cubicBezTo>
                  <a:pt x="76" y="99"/>
                  <a:pt x="75" y="97"/>
                  <a:pt x="75" y="96"/>
                </a:cubicBezTo>
                <a:cubicBezTo>
                  <a:pt x="75" y="95"/>
                  <a:pt x="76" y="93"/>
                  <a:pt x="77" y="93"/>
                </a:cubicBezTo>
                <a:close/>
                <a:moveTo>
                  <a:pt x="69" y="85"/>
                </a:moveTo>
                <a:cubicBezTo>
                  <a:pt x="71" y="85"/>
                  <a:pt x="72" y="87"/>
                  <a:pt x="72" y="88"/>
                </a:cubicBezTo>
                <a:cubicBezTo>
                  <a:pt x="72" y="89"/>
                  <a:pt x="71" y="91"/>
                  <a:pt x="69" y="91"/>
                </a:cubicBezTo>
                <a:cubicBezTo>
                  <a:pt x="68" y="91"/>
                  <a:pt x="67" y="89"/>
                  <a:pt x="67" y="88"/>
                </a:cubicBezTo>
                <a:cubicBezTo>
                  <a:pt x="67" y="87"/>
                  <a:pt x="68" y="85"/>
                  <a:pt x="69" y="85"/>
                </a:cubicBezTo>
                <a:close/>
                <a:moveTo>
                  <a:pt x="69" y="101"/>
                </a:moveTo>
                <a:cubicBezTo>
                  <a:pt x="71" y="101"/>
                  <a:pt x="72" y="103"/>
                  <a:pt x="72" y="104"/>
                </a:cubicBezTo>
                <a:cubicBezTo>
                  <a:pt x="72" y="105"/>
                  <a:pt x="71" y="107"/>
                  <a:pt x="69" y="107"/>
                </a:cubicBezTo>
                <a:cubicBezTo>
                  <a:pt x="68" y="107"/>
                  <a:pt x="67" y="105"/>
                  <a:pt x="67" y="104"/>
                </a:cubicBezTo>
                <a:cubicBezTo>
                  <a:pt x="67" y="103"/>
                  <a:pt x="68" y="101"/>
                  <a:pt x="69" y="101"/>
                </a:cubicBezTo>
                <a:close/>
                <a:moveTo>
                  <a:pt x="13" y="109"/>
                </a:moveTo>
                <a:cubicBezTo>
                  <a:pt x="15" y="109"/>
                  <a:pt x="16" y="111"/>
                  <a:pt x="16" y="112"/>
                </a:cubicBezTo>
                <a:cubicBezTo>
                  <a:pt x="16" y="113"/>
                  <a:pt x="15" y="115"/>
                  <a:pt x="13" y="115"/>
                </a:cubicBezTo>
                <a:cubicBezTo>
                  <a:pt x="12" y="115"/>
                  <a:pt x="11" y="113"/>
                  <a:pt x="11" y="112"/>
                </a:cubicBezTo>
                <a:cubicBezTo>
                  <a:pt x="11" y="111"/>
                  <a:pt x="12" y="109"/>
                  <a:pt x="13" y="109"/>
                </a:cubicBezTo>
                <a:close/>
                <a:moveTo>
                  <a:pt x="13" y="125"/>
                </a:moveTo>
                <a:cubicBezTo>
                  <a:pt x="15" y="125"/>
                  <a:pt x="16" y="127"/>
                  <a:pt x="16" y="128"/>
                </a:cubicBezTo>
                <a:cubicBezTo>
                  <a:pt x="16" y="129"/>
                  <a:pt x="15" y="131"/>
                  <a:pt x="13" y="131"/>
                </a:cubicBezTo>
                <a:cubicBezTo>
                  <a:pt x="12" y="131"/>
                  <a:pt x="11" y="129"/>
                  <a:pt x="11" y="128"/>
                </a:cubicBezTo>
                <a:cubicBezTo>
                  <a:pt x="11" y="127"/>
                  <a:pt x="12" y="125"/>
                  <a:pt x="13" y="125"/>
                </a:cubicBezTo>
                <a:close/>
                <a:moveTo>
                  <a:pt x="21" y="117"/>
                </a:moveTo>
                <a:cubicBezTo>
                  <a:pt x="23" y="117"/>
                  <a:pt x="24" y="119"/>
                  <a:pt x="24" y="120"/>
                </a:cubicBezTo>
                <a:cubicBezTo>
                  <a:pt x="24" y="121"/>
                  <a:pt x="23" y="123"/>
                  <a:pt x="21" y="123"/>
                </a:cubicBezTo>
                <a:cubicBezTo>
                  <a:pt x="20" y="123"/>
                  <a:pt x="19" y="121"/>
                  <a:pt x="19" y="120"/>
                </a:cubicBezTo>
                <a:cubicBezTo>
                  <a:pt x="19" y="119"/>
                  <a:pt x="20" y="117"/>
                  <a:pt x="21" y="117"/>
                </a:cubicBezTo>
                <a:close/>
                <a:moveTo>
                  <a:pt x="21" y="133"/>
                </a:moveTo>
                <a:cubicBezTo>
                  <a:pt x="23" y="133"/>
                  <a:pt x="24" y="135"/>
                  <a:pt x="24" y="136"/>
                </a:cubicBezTo>
                <a:cubicBezTo>
                  <a:pt x="24" y="137"/>
                  <a:pt x="23" y="139"/>
                  <a:pt x="21" y="139"/>
                </a:cubicBezTo>
                <a:cubicBezTo>
                  <a:pt x="20" y="139"/>
                  <a:pt x="19" y="137"/>
                  <a:pt x="19" y="136"/>
                </a:cubicBezTo>
                <a:cubicBezTo>
                  <a:pt x="19" y="135"/>
                  <a:pt x="20" y="133"/>
                  <a:pt x="21" y="133"/>
                </a:cubicBezTo>
                <a:close/>
                <a:moveTo>
                  <a:pt x="29" y="109"/>
                </a:moveTo>
                <a:cubicBezTo>
                  <a:pt x="31" y="109"/>
                  <a:pt x="32" y="111"/>
                  <a:pt x="32" y="112"/>
                </a:cubicBezTo>
                <a:cubicBezTo>
                  <a:pt x="32" y="113"/>
                  <a:pt x="31" y="115"/>
                  <a:pt x="29" y="115"/>
                </a:cubicBezTo>
                <a:cubicBezTo>
                  <a:pt x="28" y="115"/>
                  <a:pt x="27" y="113"/>
                  <a:pt x="27" y="112"/>
                </a:cubicBezTo>
                <a:cubicBezTo>
                  <a:pt x="27" y="111"/>
                  <a:pt x="28" y="109"/>
                  <a:pt x="29" y="109"/>
                </a:cubicBezTo>
                <a:close/>
                <a:moveTo>
                  <a:pt x="45" y="109"/>
                </a:moveTo>
                <a:cubicBezTo>
                  <a:pt x="47" y="109"/>
                  <a:pt x="48" y="111"/>
                  <a:pt x="48" y="112"/>
                </a:cubicBezTo>
                <a:cubicBezTo>
                  <a:pt x="48" y="113"/>
                  <a:pt x="47" y="115"/>
                  <a:pt x="45" y="115"/>
                </a:cubicBezTo>
                <a:cubicBezTo>
                  <a:pt x="44" y="115"/>
                  <a:pt x="43" y="113"/>
                  <a:pt x="43" y="112"/>
                </a:cubicBezTo>
                <a:cubicBezTo>
                  <a:pt x="43" y="111"/>
                  <a:pt x="44" y="109"/>
                  <a:pt x="45" y="109"/>
                </a:cubicBezTo>
                <a:close/>
                <a:moveTo>
                  <a:pt x="29" y="125"/>
                </a:moveTo>
                <a:cubicBezTo>
                  <a:pt x="31" y="125"/>
                  <a:pt x="32" y="127"/>
                  <a:pt x="32" y="128"/>
                </a:cubicBezTo>
                <a:cubicBezTo>
                  <a:pt x="32" y="129"/>
                  <a:pt x="31" y="131"/>
                  <a:pt x="29" y="131"/>
                </a:cubicBezTo>
                <a:cubicBezTo>
                  <a:pt x="28" y="131"/>
                  <a:pt x="27" y="129"/>
                  <a:pt x="27" y="128"/>
                </a:cubicBezTo>
                <a:cubicBezTo>
                  <a:pt x="27" y="127"/>
                  <a:pt x="28" y="125"/>
                  <a:pt x="29" y="125"/>
                </a:cubicBezTo>
                <a:close/>
                <a:moveTo>
                  <a:pt x="45" y="125"/>
                </a:moveTo>
                <a:cubicBezTo>
                  <a:pt x="47" y="125"/>
                  <a:pt x="48" y="127"/>
                  <a:pt x="48" y="128"/>
                </a:cubicBezTo>
                <a:cubicBezTo>
                  <a:pt x="48" y="129"/>
                  <a:pt x="47" y="131"/>
                  <a:pt x="45" y="131"/>
                </a:cubicBezTo>
                <a:cubicBezTo>
                  <a:pt x="44" y="131"/>
                  <a:pt x="43" y="129"/>
                  <a:pt x="43" y="128"/>
                </a:cubicBezTo>
                <a:cubicBezTo>
                  <a:pt x="43" y="127"/>
                  <a:pt x="44" y="125"/>
                  <a:pt x="45" y="125"/>
                </a:cubicBezTo>
                <a:close/>
                <a:moveTo>
                  <a:pt x="37" y="117"/>
                </a:moveTo>
                <a:cubicBezTo>
                  <a:pt x="39" y="117"/>
                  <a:pt x="40" y="119"/>
                  <a:pt x="40" y="120"/>
                </a:cubicBezTo>
                <a:cubicBezTo>
                  <a:pt x="40" y="121"/>
                  <a:pt x="39" y="123"/>
                  <a:pt x="37" y="123"/>
                </a:cubicBezTo>
                <a:cubicBezTo>
                  <a:pt x="36" y="123"/>
                  <a:pt x="35" y="121"/>
                  <a:pt x="35" y="120"/>
                </a:cubicBezTo>
                <a:cubicBezTo>
                  <a:pt x="35" y="119"/>
                  <a:pt x="36" y="117"/>
                  <a:pt x="37" y="117"/>
                </a:cubicBezTo>
                <a:close/>
                <a:moveTo>
                  <a:pt x="53" y="117"/>
                </a:moveTo>
                <a:cubicBezTo>
                  <a:pt x="55" y="117"/>
                  <a:pt x="56" y="119"/>
                  <a:pt x="56" y="120"/>
                </a:cubicBezTo>
                <a:cubicBezTo>
                  <a:pt x="56" y="121"/>
                  <a:pt x="55" y="123"/>
                  <a:pt x="53" y="123"/>
                </a:cubicBezTo>
                <a:cubicBezTo>
                  <a:pt x="52" y="123"/>
                  <a:pt x="51" y="121"/>
                  <a:pt x="51" y="120"/>
                </a:cubicBezTo>
                <a:cubicBezTo>
                  <a:pt x="51" y="119"/>
                  <a:pt x="52" y="117"/>
                  <a:pt x="53" y="117"/>
                </a:cubicBezTo>
                <a:close/>
                <a:moveTo>
                  <a:pt x="37" y="133"/>
                </a:moveTo>
                <a:cubicBezTo>
                  <a:pt x="39" y="133"/>
                  <a:pt x="40" y="135"/>
                  <a:pt x="40" y="136"/>
                </a:cubicBezTo>
                <a:cubicBezTo>
                  <a:pt x="40" y="137"/>
                  <a:pt x="39" y="139"/>
                  <a:pt x="37" y="139"/>
                </a:cubicBezTo>
                <a:cubicBezTo>
                  <a:pt x="36" y="139"/>
                  <a:pt x="35" y="137"/>
                  <a:pt x="35" y="136"/>
                </a:cubicBezTo>
                <a:cubicBezTo>
                  <a:pt x="35" y="135"/>
                  <a:pt x="36" y="133"/>
                  <a:pt x="37" y="133"/>
                </a:cubicBezTo>
                <a:close/>
                <a:moveTo>
                  <a:pt x="53" y="133"/>
                </a:moveTo>
                <a:cubicBezTo>
                  <a:pt x="55" y="133"/>
                  <a:pt x="56" y="135"/>
                  <a:pt x="56" y="136"/>
                </a:cubicBezTo>
                <a:cubicBezTo>
                  <a:pt x="56" y="137"/>
                  <a:pt x="55" y="139"/>
                  <a:pt x="53" y="139"/>
                </a:cubicBezTo>
                <a:cubicBezTo>
                  <a:pt x="52" y="139"/>
                  <a:pt x="51" y="137"/>
                  <a:pt x="51" y="136"/>
                </a:cubicBezTo>
                <a:cubicBezTo>
                  <a:pt x="51" y="135"/>
                  <a:pt x="52" y="133"/>
                  <a:pt x="53" y="133"/>
                </a:cubicBezTo>
                <a:close/>
                <a:moveTo>
                  <a:pt x="61" y="109"/>
                </a:moveTo>
                <a:cubicBezTo>
                  <a:pt x="63" y="109"/>
                  <a:pt x="64" y="111"/>
                  <a:pt x="64" y="112"/>
                </a:cubicBezTo>
                <a:cubicBezTo>
                  <a:pt x="64" y="113"/>
                  <a:pt x="63" y="115"/>
                  <a:pt x="61" y="115"/>
                </a:cubicBezTo>
                <a:cubicBezTo>
                  <a:pt x="60" y="115"/>
                  <a:pt x="59" y="113"/>
                  <a:pt x="59" y="112"/>
                </a:cubicBezTo>
                <a:cubicBezTo>
                  <a:pt x="59" y="111"/>
                  <a:pt x="60" y="109"/>
                  <a:pt x="61" y="109"/>
                </a:cubicBezTo>
                <a:close/>
                <a:moveTo>
                  <a:pt x="77" y="109"/>
                </a:moveTo>
                <a:cubicBezTo>
                  <a:pt x="79" y="109"/>
                  <a:pt x="80" y="111"/>
                  <a:pt x="80" y="112"/>
                </a:cubicBezTo>
                <a:cubicBezTo>
                  <a:pt x="80" y="113"/>
                  <a:pt x="79" y="115"/>
                  <a:pt x="77" y="115"/>
                </a:cubicBezTo>
                <a:cubicBezTo>
                  <a:pt x="76" y="115"/>
                  <a:pt x="75" y="113"/>
                  <a:pt x="75" y="112"/>
                </a:cubicBezTo>
                <a:cubicBezTo>
                  <a:pt x="75" y="111"/>
                  <a:pt x="76" y="109"/>
                  <a:pt x="77" y="109"/>
                </a:cubicBezTo>
                <a:close/>
                <a:moveTo>
                  <a:pt x="61" y="125"/>
                </a:moveTo>
                <a:cubicBezTo>
                  <a:pt x="63" y="125"/>
                  <a:pt x="64" y="127"/>
                  <a:pt x="64" y="128"/>
                </a:cubicBezTo>
                <a:cubicBezTo>
                  <a:pt x="64" y="129"/>
                  <a:pt x="63" y="131"/>
                  <a:pt x="61" y="131"/>
                </a:cubicBezTo>
                <a:cubicBezTo>
                  <a:pt x="60" y="131"/>
                  <a:pt x="59" y="129"/>
                  <a:pt x="59" y="128"/>
                </a:cubicBezTo>
                <a:cubicBezTo>
                  <a:pt x="59" y="127"/>
                  <a:pt x="60" y="125"/>
                  <a:pt x="61" y="125"/>
                </a:cubicBezTo>
                <a:close/>
                <a:moveTo>
                  <a:pt x="77" y="125"/>
                </a:moveTo>
                <a:cubicBezTo>
                  <a:pt x="79" y="125"/>
                  <a:pt x="80" y="127"/>
                  <a:pt x="80" y="128"/>
                </a:cubicBezTo>
                <a:cubicBezTo>
                  <a:pt x="80" y="129"/>
                  <a:pt x="79" y="131"/>
                  <a:pt x="77" y="131"/>
                </a:cubicBezTo>
                <a:cubicBezTo>
                  <a:pt x="76" y="131"/>
                  <a:pt x="75" y="129"/>
                  <a:pt x="75" y="128"/>
                </a:cubicBezTo>
                <a:cubicBezTo>
                  <a:pt x="75" y="127"/>
                  <a:pt x="76" y="125"/>
                  <a:pt x="77" y="125"/>
                </a:cubicBezTo>
                <a:close/>
                <a:moveTo>
                  <a:pt x="69" y="117"/>
                </a:moveTo>
                <a:cubicBezTo>
                  <a:pt x="71" y="117"/>
                  <a:pt x="72" y="119"/>
                  <a:pt x="72" y="120"/>
                </a:cubicBezTo>
                <a:cubicBezTo>
                  <a:pt x="72" y="121"/>
                  <a:pt x="71" y="123"/>
                  <a:pt x="69" y="123"/>
                </a:cubicBezTo>
                <a:cubicBezTo>
                  <a:pt x="68" y="123"/>
                  <a:pt x="67" y="121"/>
                  <a:pt x="67" y="120"/>
                </a:cubicBezTo>
                <a:cubicBezTo>
                  <a:pt x="67" y="119"/>
                  <a:pt x="68" y="117"/>
                  <a:pt x="69" y="117"/>
                </a:cubicBezTo>
                <a:close/>
                <a:moveTo>
                  <a:pt x="69" y="133"/>
                </a:moveTo>
                <a:cubicBezTo>
                  <a:pt x="71" y="133"/>
                  <a:pt x="72" y="135"/>
                  <a:pt x="72" y="136"/>
                </a:cubicBezTo>
                <a:cubicBezTo>
                  <a:pt x="72" y="137"/>
                  <a:pt x="71" y="139"/>
                  <a:pt x="69" y="139"/>
                </a:cubicBezTo>
                <a:cubicBezTo>
                  <a:pt x="68" y="139"/>
                  <a:pt x="67" y="137"/>
                  <a:pt x="67" y="136"/>
                </a:cubicBezTo>
                <a:cubicBezTo>
                  <a:pt x="67" y="135"/>
                  <a:pt x="68" y="133"/>
                  <a:pt x="69" y="133"/>
                </a:cubicBezTo>
                <a:close/>
                <a:moveTo>
                  <a:pt x="13" y="141"/>
                </a:moveTo>
                <a:cubicBezTo>
                  <a:pt x="15" y="141"/>
                  <a:pt x="16" y="143"/>
                  <a:pt x="16" y="144"/>
                </a:cubicBezTo>
                <a:cubicBezTo>
                  <a:pt x="16" y="145"/>
                  <a:pt x="15" y="147"/>
                  <a:pt x="13" y="147"/>
                </a:cubicBezTo>
                <a:cubicBezTo>
                  <a:pt x="12" y="147"/>
                  <a:pt x="11" y="145"/>
                  <a:pt x="11" y="144"/>
                </a:cubicBezTo>
                <a:cubicBezTo>
                  <a:pt x="11" y="143"/>
                  <a:pt x="12" y="141"/>
                  <a:pt x="13" y="141"/>
                </a:cubicBezTo>
                <a:close/>
                <a:moveTo>
                  <a:pt x="21" y="149"/>
                </a:moveTo>
                <a:cubicBezTo>
                  <a:pt x="23" y="149"/>
                  <a:pt x="24" y="151"/>
                  <a:pt x="24" y="152"/>
                </a:cubicBezTo>
                <a:cubicBezTo>
                  <a:pt x="24" y="153"/>
                  <a:pt x="23" y="155"/>
                  <a:pt x="21" y="155"/>
                </a:cubicBezTo>
                <a:cubicBezTo>
                  <a:pt x="20" y="155"/>
                  <a:pt x="19" y="153"/>
                  <a:pt x="19" y="152"/>
                </a:cubicBezTo>
                <a:cubicBezTo>
                  <a:pt x="19" y="151"/>
                  <a:pt x="20" y="149"/>
                  <a:pt x="21" y="149"/>
                </a:cubicBezTo>
                <a:close/>
                <a:moveTo>
                  <a:pt x="29" y="141"/>
                </a:moveTo>
                <a:cubicBezTo>
                  <a:pt x="31" y="141"/>
                  <a:pt x="32" y="143"/>
                  <a:pt x="32" y="144"/>
                </a:cubicBezTo>
                <a:cubicBezTo>
                  <a:pt x="32" y="145"/>
                  <a:pt x="31" y="147"/>
                  <a:pt x="29" y="147"/>
                </a:cubicBezTo>
                <a:cubicBezTo>
                  <a:pt x="28" y="147"/>
                  <a:pt x="27" y="145"/>
                  <a:pt x="27" y="144"/>
                </a:cubicBezTo>
                <a:cubicBezTo>
                  <a:pt x="27" y="143"/>
                  <a:pt x="28" y="141"/>
                  <a:pt x="29" y="141"/>
                </a:cubicBezTo>
                <a:close/>
                <a:moveTo>
                  <a:pt x="45" y="141"/>
                </a:moveTo>
                <a:cubicBezTo>
                  <a:pt x="47" y="141"/>
                  <a:pt x="48" y="143"/>
                  <a:pt x="48" y="144"/>
                </a:cubicBezTo>
                <a:cubicBezTo>
                  <a:pt x="48" y="145"/>
                  <a:pt x="47" y="147"/>
                  <a:pt x="45" y="147"/>
                </a:cubicBezTo>
                <a:cubicBezTo>
                  <a:pt x="44" y="147"/>
                  <a:pt x="43" y="145"/>
                  <a:pt x="43" y="144"/>
                </a:cubicBezTo>
                <a:cubicBezTo>
                  <a:pt x="43" y="143"/>
                  <a:pt x="44" y="141"/>
                  <a:pt x="45" y="141"/>
                </a:cubicBezTo>
                <a:close/>
                <a:moveTo>
                  <a:pt x="37" y="149"/>
                </a:moveTo>
                <a:cubicBezTo>
                  <a:pt x="39" y="149"/>
                  <a:pt x="40" y="151"/>
                  <a:pt x="40" y="152"/>
                </a:cubicBezTo>
                <a:cubicBezTo>
                  <a:pt x="40" y="153"/>
                  <a:pt x="39" y="155"/>
                  <a:pt x="37" y="155"/>
                </a:cubicBezTo>
                <a:cubicBezTo>
                  <a:pt x="36" y="155"/>
                  <a:pt x="35" y="153"/>
                  <a:pt x="35" y="152"/>
                </a:cubicBezTo>
                <a:cubicBezTo>
                  <a:pt x="35" y="151"/>
                  <a:pt x="36" y="149"/>
                  <a:pt x="37" y="149"/>
                </a:cubicBezTo>
                <a:close/>
                <a:moveTo>
                  <a:pt x="53" y="149"/>
                </a:moveTo>
                <a:cubicBezTo>
                  <a:pt x="55" y="149"/>
                  <a:pt x="56" y="151"/>
                  <a:pt x="56" y="152"/>
                </a:cubicBezTo>
                <a:cubicBezTo>
                  <a:pt x="56" y="153"/>
                  <a:pt x="55" y="155"/>
                  <a:pt x="53" y="155"/>
                </a:cubicBezTo>
                <a:cubicBezTo>
                  <a:pt x="52" y="155"/>
                  <a:pt x="51" y="153"/>
                  <a:pt x="51" y="152"/>
                </a:cubicBezTo>
                <a:cubicBezTo>
                  <a:pt x="51" y="151"/>
                  <a:pt x="52" y="149"/>
                  <a:pt x="53" y="149"/>
                </a:cubicBezTo>
                <a:close/>
                <a:moveTo>
                  <a:pt x="61" y="141"/>
                </a:moveTo>
                <a:cubicBezTo>
                  <a:pt x="63" y="141"/>
                  <a:pt x="64" y="143"/>
                  <a:pt x="64" y="144"/>
                </a:cubicBezTo>
                <a:cubicBezTo>
                  <a:pt x="64" y="145"/>
                  <a:pt x="63" y="147"/>
                  <a:pt x="61" y="147"/>
                </a:cubicBezTo>
                <a:cubicBezTo>
                  <a:pt x="60" y="147"/>
                  <a:pt x="59" y="145"/>
                  <a:pt x="59" y="144"/>
                </a:cubicBezTo>
                <a:cubicBezTo>
                  <a:pt x="59" y="143"/>
                  <a:pt x="60" y="141"/>
                  <a:pt x="61" y="141"/>
                </a:cubicBezTo>
                <a:close/>
                <a:moveTo>
                  <a:pt x="77" y="141"/>
                </a:moveTo>
                <a:cubicBezTo>
                  <a:pt x="79" y="141"/>
                  <a:pt x="80" y="143"/>
                  <a:pt x="80" y="144"/>
                </a:cubicBezTo>
                <a:cubicBezTo>
                  <a:pt x="80" y="145"/>
                  <a:pt x="79" y="147"/>
                  <a:pt x="77" y="147"/>
                </a:cubicBezTo>
                <a:cubicBezTo>
                  <a:pt x="76" y="147"/>
                  <a:pt x="75" y="145"/>
                  <a:pt x="75" y="144"/>
                </a:cubicBezTo>
                <a:cubicBezTo>
                  <a:pt x="75" y="143"/>
                  <a:pt x="76" y="141"/>
                  <a:pt x="77" y="141"/>
                </a:cubicBezTo>
                <a:close/>
                <a:moveTo>
                  <a:pt x="69" y="149"/>
                </a:moveTo>
                <a:cubicBezTo>
                  <a:pt x="71" y="149"/>
                  <a:pt x="72" y="151"/>
                  <a:pt x="72" y="152"/>
                </a:cubicBezTo>
                <a:cubicBezTo>
                  <a:pt x="72" y="153"/>
                  <a:pt x="71" y="155"/>
                  <a:pt x="69" y="155"/>
                </a:cubicBezTo>
                <a:cubicBezTo>
                  <a:pt x="68" y="155"/>
                  <a:pt x="67" y="153"/>
                  <a:pt x="67" y="152"/>
                </a:cubicBezTo>
                <a:cubicBezTo>
                  <a:pt x="67" y="151"/>
                  <a:pt x="68" y="149"/>
                  <a:pt x="69" y="14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46" name="Freeform 1023">
            <a:extLst>
              <a:ext uri="{FF2B5EF4-FFF2-40B4-BE49-F238E27FC236}">
                <a16:creationId xmlns:a16="http://schemas.microsoft.com/office/drawing/2014/main" id="{5F470951-C2CB-5541-96CF-6FD427018301}"/>
              </a:ext>
            </a:extLst>
          </p:cNvPr>
          <p:cNvSpPr>
            <a:spLocks noEditPoints="1"/>
          </p:cNvSpPr>
          <p:nvPr/>
        </p:nvSpPr>
        <p:spPr bwMode="auto">
          <a:xfrm>
            <a:off x="1654058" y="5938838"/>
            <a:ext cx="290513" cy="550863"/>
          </a:xfrm>
          <a:custGeom>
            <a:avLst/>
            <a:gdLst>
              <a:gd name="T0" fmla="*/ 27 w 85"/>
              <a:gd name="T1" fmla="*/ 0 h 160"/>
              <a:gd name="T2" fmla="*/ 0 w 85"/>
              <a:gd name="T3" fmla="*/ 151 h 160"/>
              <a:gd name="T4" fmla="*/ 85 w 85"/>
              <a:gd name="T5" fmla="*/ 20 h 160"/>
              <a:gd name="T6" fmla="*/ 53 w 85"/>
              <a:gd name="T7" fmla="*/ 11 h 160"/>
              <a:gd name="T8" fmla="*/ 27 w 85"/>
              <a:gd name="T9" fmla="*/ 16 h 160"/>
              <a:gd name="T10" fmla="*/ 80 w 85"/>
              <a:gd name="T11" fmla="*/ 85 h 160"/>
              <a:gd name="T12" fmla="*/ 80 w 85"/>
              <a:gd name="T13" fmla="*/ 112 h 160"/>
              <a:gd name="T14" fmla="*/ 76 w 85"/>
              <a:gd name="T15" fmla="*/ 155 h 160"/>
              <a:gd name="T16" fmla="*/ 21 w 85"/>
              <a:gd name="T17" fmla="*/ 155 h 160"/>
              <a:gd name="T18" fmla="*/ 5 w 85"/>
              <a:gd name="T19" fmla="*/ 149 h 160"/>
              <a:gd name="T20" fmla="*/ 5 w 85"/>
              <a:gd name="T21" fmla="*/ 123 h 160"/>
              <a:gd name="T22" fmla="*/ 8 w 85"/>
              <a:gd name="T23" fmla="*/ 104 h 160"/>
              <a:gd name="T24" fmla="*/ 80 w 85"/>
              <a:gd name="T25" fmla="*/ 96 h 160"/>
              <a:gd name="T26" fmla="*/ 13 w 85"/>
              <a:gd name="T27" fmla="*/ 99 h 160"/>
              <a:gd name="T28" fmla="*/ 24 w 85"/>
              <a:gd name="T29" fmla="*/ 104 h 160"/>
              <a:gd name="T30" fmla="*/ 29 w 85"/>
              <a:gd name="T31" fmla="*/ 93 h 160"/>
              <a:gd name="T32" fmla="*/ 29 w 85"/>
              <a:gd name="T33" fmla="*/ 93 h 160"/>
              <a:gd name="T34" fmla="*/ 43 w 85"/>
              <a:gd name="T35" fmla="*/ 96 h 160"/>
              <a:gd name="T36" fmla="*/ 37 w 85"/>
              <a:gd name="T37" fmla="*/ 107 h 160"/>
              <a:gd name="T38" fmla="*/ 56 w 85"/>
              <a:gd name="T39" fmla="*/ 104 h 160"/>
              <a:gd name="T40" fmla="*/ 61 w 85"/>
              <a:gd name="T41" fmla="*/ 93 h 160"/>
              <a:gd name="T42" fmla="*/ 61 w 85"/>
              <a:gd name="T43" fmla="*/ 93 h 160"/>
              <a:gd name="T44" fmla="*/ 75 w 85"/>
              <a:gd name="T45" fmla="*/ 96 h 160"/>
              <a:gd name="T46" fmla="*/ 69 w 85"/>
              <a:gd name="T47" fmla="*/ 107 h 160"/>
              <a:gd name="T48" fmla="*/ 16 w 85"/>
              <a:gd name="T49" fmla="*/ 112 h 160"/>
              <a:gd name="T50" fmla="*/ 13 w 85"/>
              <a:gd name="T51" fmla="*/ 125 h 160"/>
              <a:gd name="T52" fmla="*/ 13 w 85"/>
              <a:gd name="T53" fmla="*/ 125 h 160"/>
              <a:gd name="T54" fmla="*/ 19 w 85"/>
              <a:gd name="T55" fmla="*/ 120 h 160"/>
              <a:gd name="T56" fmla="*/ 21 w 85"/>
              <a:gd name="T57" fmla="*/ 139 h 160"/>
              <a:gd name="T58" fmla="*/ 32 w 85"/>
              <a:gd name="T59" fmla="*/ 112 h 160"/>
              <a:gd name="T60" fmla="*/ 45 w 85"/>
              <a:gd name="T61" fmla="*/ 109 h 160"/>
              <a:gd name="T62" fmla="*/ 45 w 85"/>
              <a:gd name="T63" fmla="*/ 109 h 160"/>
              <a:gd name="T64" fmla="*/ 27 w 85"/>
              <a:gd name="T65" fmla="*/ 128 h 160"/>
              <a:gd name="T66" fmla="*/ 45 w 85"/>
              <a:gd name="T67" fmla="*/ 131 h 160"/>
              <a:gd name="T68" fmla="*/ 40 w 85"/>
              <a:gd name="T69" fmla="*/ 120 h 160"/>
              <a:gd name="T70" fmla="*/ 53 w 85"/>
              <a:gd name="T71" fmla="*/ 117 h 160"/>
              <a:gd name="T72" fmla="*/ 53 w 85"/>
              <a:gd name="T73" fmla="*/ 117 h 160"/>
              <a:gd name="T74" fmla="*/ 35 w 85"/>
              <a:gd name="T75" fmla="*/ 136 h 160"/>
              <a:gd name="T76" fmla="*/ 53 w 85"/>
              <a:gd name="T77" fmla="*/ 139 h 160"/>
              <a:gd name="T78" fmla="*/ 64 w 85"/>
              <a:gd name="T79" fmla="*/ 112 h 160"/>
              <a:gd name="T80" fmla="*/ 77 w 85"/>
              <a:gd name="T81" fmla="*/ 109 h 160"/>
              <a:gd name="T82" fmla="*/ 77 w 85"/>
              <a:gd name="T83" fmla="*/ 109 h 160"/>
              <a:gd name="T84" fmla="*/ 59 w 85"/>
              <a:gd name="T85" fmla="*/ 128 h 160"/>
              <a:gd name="T86" fmla="*/ 77 w 85"/>
              <a:gd name="T87" fmla="*/ 131 h 160"/>
              <a:gd name="T88" fmla="*/ 72 w 85"/>
              <a:gd name="T89" fmla="*/ 120 h 160"/>
              <a:gd name="T90" fmla="*/ 69 w 85"/>
              <a:gd name="T91" fmla="*/ 133 h 160"/>
              <a:gd name="T92" fmla="*/ 69 w 85"/>
              <a:gd name="T93" fmla="*/ 133 h 160"/>
              <a:gd name="T94" fmla="*/ 11 w 85"/>
              <a:gd name="T95" fmla="*/ 144 h 160"/>
              <a:gd name="T96" fmla="*/ 21 w 85"/>
              <a:gd name="T97" fmla="*/ 155 h 160"/>
              <a:gd name="T98" fmla="*/ 32 w 85"/>
              <a:gd name="T99" fmla="*/ 144 h 160"/>
              <a:gd name="T100" fmla="*/ 45 w 85"/>
              <a:gd name="T101" fmla="*/ 141 h 160"/>
              <a:gd name="T102" fmla="*/ 45 w 85"/>
              <a:gd name="T103" fmla="*/ 141 h 160"/>
              <a:gd name="T104" fmla="*/ 35 w 85"/>
              <a:gd name="T105" fmla="*/ 152 h 160"/>
              <a:gd name="T106" fmla="*/ 53 w 85"/>
              <a:gd name="T107" fmla="*/ 155 h 160"/>
              <a:gd name="T108" fmla="*/ 64 w 85"/>
              <a:gd name="T109" fmla="*/ 144 h 160"/>
              <a:gd name="T110" fmla="*/ 77 w 85"/>
              <a:gd name="T111" fmla="*/ 141 h 160"/>
              <a:gd name="T112" fmla="*/ 77 w 85"/>
              <a:gd name="T113" fmla="*/ 141 h 160"/>
              <a:gd name="T114" fmla="*/ 67 w 85"/>
              <a:gd name="T115" fmla="*/ 1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85"/>
                  <a:pt x="80" y="85"/>
                  <a:pt x="80" y="85"/>
                </a:cubicBezTo>
                <a:cubicBezTo>
                  <a:pt x="5" y="85"/>
                  <a:pt x="5" y="85"/>
                  <a:pt x="5" y="85"/>
                </a:cubicBezTo>
                <a:cubicBezTo>
                  <a:pt x="5" y="20"/>
                  <a:pt x="5" y="20"/>
                  <a:pt x="5" y="20"/>
                </a:cubicBezTo>
                <a:cubicBezTo>
                  <a:pt x="5" y="18"/>
                  <a:pt x="7" y="16"/>
                  <a:pt x="9" y="16"/>
                </a:cubicBezTo>
                <a:close/>
                <a:moveTo>
                  <a:pt x="80" y="112"/>
                </a:moveTo>
                <a:cubicBezTo>
                  <a:pt x="80" y="128"/>
                  <a:pt x="80" y="128"/>
                  <a:pt x="80" y="128"/>
                </a:cubicBezTo>
                <a:cubicBezTo>
                  <a:pt x="80" y="144"/>
                  <a:pt x="80" y="144"/>
                  <a:pt x="80" y="144"/>
                </a:cubicBezTo>
                <a:cubicBezTo>
                  <a:pt x="80" y="151"/>
                  <a:pt x="80" y="151"/>
                  <a:pt x="80" y="151"/>
                </a:cubicBezTo>
                <a:cubicBezTo>
                  <a:pt x="80" y="153"/>
                  <a:pt x="78" y="155"/>
                  <a:pt x="76" y="155"/>
                </a:cubicBezTo>
                <a:cubicBezTo>
                  <a:pt x="69" y="155"/>
                  <a:pt x="69" y="155"/>
                  <a:pt x="69" y="155"/>
                </a:cubicBezTo>
                <a:cubicBezTo>
                  <a:pt x="53" y="155"/>
                  <a:pt x="53" y="155"/>
                  <a:pt x="53" y="155"/>
                </a:cubicBezTo>
                <a:cubicBezTo>
                  <a:pt x="37" y="155"/>
                  <a:pt x="37" y="155"/>
                  <a:pt x="37" y="155"/>
                </a:cubicBezTo>
                <a:cubicBezTo>
                  <a:pt x="21" y="155"/>
                  <a:pt x="21" y="155"/>
                  <a:pt x="21" y="155"/>
                </a:cubicBezTo>
                <a:cubicBezTo>
                  <a:pt x="9" y="155"/>
                  <a:pt x="9" y="155"/>
                  <a:pt x="9" y="155"/>
                </a:cubicBezTo>
                <a:cubicBezTo>
                  <a:pt x="8" y="155"/>
                  <a:pt x="8" y="154"/>
                  <a:pt x="7" y="154"/>
                </a:cubicBezTo>
                <a:cubicBezTo>
                  <a:pt x="8" y="154"/>
                  <a:pt x="8" y="153"/>
                  <a:pt x="8" y="152"/>
                </a:cubicBezTo>
                <a:cubicBezTo>
                  <a:pt x="8" y="151"/>
                  <a:pt x="7" y="149"/>
                  <a:pt x="5" y="149"/>
                </a:cubicBezTo>
                <a:cubicBezTo>
                  <a:pt x="5" y="139"/>
                  <a:pt x="5" y="139"/>
                  <a:pt x="5" y="139"/>
                </a:cubicBezTo>
                <a:cubicBezTo>
                  <a:pt x="7" y="139"/>
                  <a:pt x="8" y="137"/>
                  <a:pt x="8" y="136"/>
                </a:cubicBezTo>
                <a:cubicBezTo>
                  <a:pt x="8" y="135"/>
                  <a:pt x="7" y="133"/>
                  <a:pt x="5" y="133"/>
                </a:cubicBezTo>
                <a:cubicBezTo>
                  <a:pt x="5" y="123"/>
                  <a:pt x="5" y="123"/>
                  <a:pt x="5" y="123"/>
                </a:cubicBezTo>
                <a:cubicBezTo>
                  <a:pt x="7" y="123"/>
                  <a:pt x="8" y="121"/>
                  <a:pt x="8" y="120"/>
                </a:cubicBezTo>
                <a:cubicBezTo>
                  <a:pt x="8" y="119"/>
                  <a:pt x="7" y="117"/>
                  <a:pt x="5" y="117"/>
                </a:cubicBezTo>
                <a:cubicBezTo>
                  <a:pt x="5" y="107"/>
                  <a:pt x="5" y="107"/>
                  <a:pt x="5" y="107"/>
                </a:cubicBezTo>
                <a:cubicBezTo>
                  <a:pt x="7" y="107"/>
                  <a:pt x="8" y="105"/>
                  <a:pt x="8" y="104"/>
                </a:cubicBezTo>
                <a:cubicBezTo>
                  <a:pt x="8" y="103"/>
                  <a:pt x="7" y="101"/>
                  <a:pt x="5" y="101"/>
                </a:cubicBezTo>
                <a:cubicBezTo>
                  <a:pt x="5" y="91"/>
                  <a:pt x="5" y="91"/>
                  <a:pt x="5" y="91"/>
                </a:cubicBezTo>
                <a:cubicBezTo>
                  <a:pt x="80" y="91"/>
                  <a:pt x="80" y="91"/>
                  <a:pt x="80" y="91"/>
                </a:cubicBezTo>
                <a:cubicBezTo>
                  <a:pt x="80" y="96"/>
                  <a:pt x="80" y="96"/>
                  <a:pt x="80" y="96"/>
                </a:cubicBezTo>
                <a:lnTo>
                  <a:pt x="80" y="112"/>
                </a:lnTo>
                <a:close/>
                <a:moveTo>
                  <a:pt x="13" y="93"/>
                </a:moveTo>
                <a:cubicBezTo>
                  <a:pt x="15" y="93"/>
                  <a:pt x="16" y="95"/>
                  <a:pt x="16" y="96"/>
                </a:cubicBezTo>
                <a:cubicBezTo>
                  <a:pt x="16" y="97"/>
                  <a:pt x="15" y="99"/>
                  <a:pt x="13" y="99"/>
                </a:cubicBezTo>
                <a:cubicBezTo>
                  <a:pt x="12" y="99"/>
                  <a:pt x="11" y="97"/>
                  <a:pt x="11" y="96"/>
                </a:cubicBezTo>
                <a:cubicBezTo>
                  <a:pt x="11" y="95"/>
                  <a:pt x="12" y="93"/>
                  <a:pt x="13" y="93"/>
                </a:cubicBezTo>
                <a:close/>
                <a:moveTo>
                  <a:pt x="21" y="101"/>
                </a:moveTo>
                <a:cubicBezTo>
                  <a:pt x="23" y="101"/>
                  <a:pt x="24" y="103"/>
                  <a:pt x="24" y="104"/>
                </a:cubicBezTo>
                <a:cubicBezTo>
                  <a:pt x="24" y="105"/>
                  <a:pt x="23" y="107"/>
                  <a:pt x="21" y="107"/>
                </a:cubicBezTo>
                <a:cubicBezTo>
                  <a:pt x="20" y="107"/>
                  <a:pt x="19" y="105"/>
                  <a:pt x="19" y="104"/>
                </a:cubicBezTo>
                <a:cubicBezTo>
                  <a:pt x="19" y="103"/>
                  <a:pt x="20" y="101"/>
                  <a:pt x="21" y="101"/>
                </a:cubicBezTo>
                <a:close/>
                <a:moveTo>
                  <a:pt x="29" y="93"/>
                </a:moveTo>
                <a:cubicBezTo>
                  <a:pt x="31" y="93"/>
                  <a:pt x="32" y="95"/>
                  <a:pt x="32" y="96"/>
                </a:cubicBezTo>
                <a:cubicBezTo>
                  <a:pt x="32" y="97"/>
                  <a:pt x="31" y="99"/>
                  <a:pt x="29" y="99"/>
                </a:cubicBezTo>
                <a:cubicBezTo>
                  <a:pt x="28" y="99"/>
                  <a:pt x="27" y="97"/>
                  <a:pt x="27" y="96"/>
                </a:cubicBezTo>
                <a:cubicBezTo>
                  <a:pt x="27" y="95"/>
                  <a:pt x="28" y="93"/>
                  <a:pt x="29" y="93"/>
                </a:cubicBezTo>
                <a:close/>
                <a:moveTo>
                  <a:pt x="45" y="93"/>
                </a:moveTo>
                <a:cubicBezTo>
                  <a:pt x="47" y="93"/>
                  <a:pt x="48" y="95"/>
                  <a:pt x="48" y="96"/>
                </a:cubicBezTo>
                <a:cubicBezTo>
                  <a:pt x="48" y="97"/>
                  <a:pt x="47" y="99"/>
                  <a:pt x="45" y="99"/>
                </a:cubicBezTo>
                <a:cubicBezTo>
                  <a:pt x="44" y="99"/>
                  <a:pt x="43" y="97"/>
                  <a:pt x="43" y="96"/>
                </a:cubicBezTo>
                <a:cubicBezTo>
                  <a:pt x="43" y="95"/>
                  <a:pt x="44" y="93"/>
                  <a:pt x="45" y="93"/>
                </a:cubicBezTo>
                <a:close/>
                <a:moveTo>
                  <a:pt x="37" y="101"/>
                </a:moveTo>
                <a:cubicBezTo>
                  <a:pt x="39" y="101"/>
                  <a:pt x="40" y="103"/>
                  <a:pt x="40" y="104"/>
                </a:cubicBezTo>
                <a:cubicBezTo>
                  <a:pt x="40" y="105"/>
                  <a:pt x="39" y="107"/>
                  <a:pt x="37" y="107"/>
                </a:cubicBezTo>
                <a:cubicBezTo>
                  <a:pt x="36" y="107"/>
                  <a:pt x="35" y="105"/>
                  <a:pt x="35" y="104"/>
                </a:cubicBezTo>
                <a:cubicBezTo>
                  <a:pt x="35" y="103"/>
                  <a:pt x="36" y="101"/>
                  <a:pt x="37" y="101"/>
                </a:cubicBezTo>
                <a:close/>
                <a:moveTo>
                  <a:pt x="53" y="101"/>
                </a:moveTo>
                <a:cubicBezTo>
                  <a:pt x="55" y="101"/>
                  <a:pt x="56" y="103"/>
                  <a:pt x="56" y="104"/>
                </a:cubicBezTo>
                <a:cubicBezTo>
                  <a:pt x="56" y="105"/>
                  <a:pt x="55" y="107"/>
                  <a:pt x="53" y="107"/>
                </a:cubicBezTo>
                <a:cubicBezTo>
                  <a:pt x="52" y="107"/>
                  <a:pt x="51" y="105"/>
                  <a:pt x="51" y="104"/>
                </a:cubicBezTo>
                <a:cubicBezTo>
                  <a:pt x="51" y="103"/>
                  <a:pt x="52" y="101"/>
                  <a:pt x="53" y="101"/>
                </a:cubicBezTo>
                <a:close/>
                <a:moveTo>
                  <a:pt x="61" y="93"/>
                </a:moveTo>
                <a:cubicBezTo>
                  <a:pt x="63" y="93"/>
                  <a:pt x="64" y="95"/>
                  <a:pt x="64" y="96"/>
                </a:cubicBezTo>
                <a:cubicBezTo>
                  <a:pt x="64" y="97"/>
                  <a:pt x="63" y="99"/>
                  <a:pt x="61" y="99"/>
                </a:cubicBezTo>
                <a:cubicBezTo>
                  <a:pt x="60" y="99"/>
                  <a:pt x="59" y="97"/>
                  <a:pt x="59" y="96"/>
                </a:cubicBezTo>
                <a:cubicBezTo>
                  <a:pt x="59" y="95"/>
                  <a:pt x="60" y="93"/>
                  <a:pt x="61" y="93"/>
                </a:cubicBezTo>
                <a:close/>
                <a:moveTo>
                  <a:pt x="77" y="93"/>
                </a:moveTo>
                <a:cubicBezTo>
                  <a:pt x="79" y="93"/>
                  <a:pt x="80" y="95"/>
                  <a:pt x="80" y="96"/>
                </a:cubicBezTo>
                <a:cubicBezTo>
                  <a:pt x="80" y="97"/>
                  <a:pt x="79" y="99"/>
                  <a:pt x="77" y="99"/>
                </a:cubicBezTo>
                <a:cubicBezTo>
                  <a:pt x="76" y="99"/>
                  <a:pt x="75" y="97"/>
                  <a:pt x="75" y="96"/>
                </a:cubicBezTo>
                <a:cubicBezTo>
                  <a:pt x="75" y="95"/>
                  <a:pt x="76" y="93"/>
                  <a:pt x="77" y="93"/>
                </a:cubicBezTo>
                <a:close/>
                <a:moveTo>
                  <a:pt x="69" y="101"/>
                </a:moveTo>
                <a:cubicBezTo>
                  <a:pt x="71" y="101"/>
                  <a:pt x="72" y="103"/>
                  <a:pt x="72" y="104"/>
                </a:cubicBezTo>
                <a:cubicBezTo>
                  <a:pt x="72" y="105"/>
                  <a:pt x="71" y="107"/>
                  <a:pt x="69" y="107"/>
                </a:cubicBezTo>
                <a:cubicBezTo>
                  <a:pt x="68" y="107"/>
                  <a:pt x="67" y="105"/>
                  <a:pt x="67" y="104"/>
                </a:cubicBezTo>
                <a:cubicBezTo>
                  <a:pt x="67" y="103"/>
                  <a:pt x="68" y="101"/>
                  <a:pt x="69" y="101"/>
                </a:cubicBezTo>
                <a:close/>
                <a:moveTo>
                  <a:pt x="13" y="109"/>
                </a:moveTo>
                <a:cubicBezTo>
                  <a:pt x="15" y="109"/>
                  <a:pt x="16" y="111"/>
                  <a:pt x="16" y="112"/>
                </a:cubicBezTo>
                <a:cubicBezTo>
                  <a:pt x="16" y="113"/>
                  <a:pt x="15" y="115"/>
                  <a:pt x="13" y="115"/>
                </a:cubicBezTo>
                <a:cubicBezTo>
                  <a:pt x="12" y="115"/>
                  <a:pt x="11" y="113"/>
                  <a:pt x="11" y="112"/>
                </a:cubicBezTo>
                <a:cubicBezTo>
                  <a:pt x="11" y="111"/>
                  <a:pt x="12" y="109"/>
                  <a:pt x="13" y="109"/>
                </a:cubicBezTo>
                <a:close/>
                <a:moveTo>
                  <a:pt x="13" y="125"/>
                </a:moveTo>
                <a:cubicBezTo>
                  <a:pt x="15" y="125"/>
                  <a:pt x="16" y="127"/>
                  <a:pt x="16" y="128"/>
                </a:cubicBezTo>
                <a:cubicBezTo>
                  <a:pt x="16" y="129"/>
                  <a:pt x="15" y="131"/>
                  <a:pt x="13" y="131"/>
                </a:cubicBezTo>
                <a:cubicBezTo>
                  <a:pt x="12" y="131"/>
                  <a:pt x="11" y="129"/>
                  <a:pt x="11" y="128"/>
                </a:cubicBezTo>
                <a:cubicBezTo>
                  <a:pt x="11" y="127"/>
                  <a:pt x="12" y="125"/>
                  <a:pt x="13" y="125"/>
                </a:cubicBezTo>
                <a:close/>
                <a:moveTo>
                  <a:pt x="21" y="117"/>
                </a:moveTo>
                <a:cubicBezTo>
                  <a:pt x="23" y="117"/>
                  <a:pt x="24" y="119"/>
                  <a:pt x="24" y="120"/>
                </a:cubicBezTo>
                <a:cubicBezTo>
                  <a:pt x="24" y="121"/>
                  <a:pt x="23" y="123"/>
                  <a:pt x="21" y="123"/>
                </a:cubicBezTo>
                <a:cubicBezTo>
                  <a:pt x="20" y="123"/>
                  <a:pt x="19" y="121"/>
                  <a:pt x="19" y="120"/>
                </a:cubicBezTo>
                <a:cubicBezTo>
                  <a:pt x="19" y="119"/>
                  <a:pt x="20" y="117"/>
                  <a:pt x="21" y="117"/>
                </a:cubicBezTo>
                <a:close/>
                <a:moveTo>
                  <a:pt x="21" y="133"/>
                </a:moveTo>
                <a:cubicBezTo>
                  <a:pt x="23" y="133"/>
                  <a:pt x="24" y="135"/>
                  <a:pt x="24" y="136"/>
                </a:cubicBezTo>
                <a:cubicBezTo>
                  <a:pt x="24" y="137"/>
                  <a:pt x="23" y="139"/>
                  <a:pt x="21" y="139"/>
                </a:cubicBezTo>
                <a:cubicBezTo>
                  <a:pt x="20" y="139"/>
                  <a:pt x="19" y="137"/>
                  <a:pt x="19" y="136"/>
                </a:cubicBezTo>
                <a:cubicBezTo>
                  <a:pt x="19" y="135"/>
                  <a:pt x="20" y="133"/>
                  <a:pt x="21" y="133"/>
                </a:cubicBezTo>
                <a:close/>
                <a:moveTo>
                  <a:pt x="29" y="109"/>
                </a:moveTo>
                <a:cubicBezTo>
                  <a:pt x="31" y="109"/>
                  <a:pt x="32" y="111"/>
                  <a:pt x="32" y="112"/>
                </a:cubicBezTo>
                <a:cubicBezTo>
                  <a:pt x="32" y="113"/>
                  <a:pt x="31" y="115"/>
                  <a:pt x="29" y="115"/>
                </a:cubicBezTo>
                <a:cubicBezTo>
                  <a:pt x="28" y="115"/>
                  <a:pt x="27" y="113"/>
                  <a:pt x="27" y="112"/>
                </a:cubicBezTo>
                <a:cubicBezTo>
                  <a:pt x="27" y="111"/>
                  <a:pt x="28" y="109"/>
                  <a:pt x="29" y="109"/>
                </a:cubicBezTo>
                <a:close/>
                <a:moveTo>
                  <a:pt x="45" y="109"/>
                </a:moveTo>
                <a:cubicBezTo>
                  <a:pt x="47" y="109"/>
                  <a:pt x="48" y="111"/>
                  <a:pt x="48" y="112"/>
                </a:cubicBezTo>
                <a:cubicBezTo>
                  <a:pt x="48" y="113"/>
                  <a:pt x="47" y="115"/>
                  <a:pt x="45" y="115"/>
                </a:cubicBezTo>
                <a:cubicBezTo>
                  <a:pt x="44" y="115"/>
                  <a:pt x="43" y="113"/>
                  <a:pt x="43" y="112"/>
                </a:cubicBezTo>
                <a:cubicBezTo>
                  <a:pt x="43" y="111"/>
                  <a:pt x="44" y="109"/>
                  <a:pt x="45" y="109"/>
                </a:cubicBezTo>
                <a:close/>
                <a:moveTo>
                  <a:pt x="29" y="125"/>
                </a:moveTo>
                <a:cubicBezTo>
                  <a:pt x="31" y="125"/>
                  <a:pt x="32" y="127"/>
                  <a:pt x="32" y="128"/>
                </a:cubicBezTo>
                <a:cubicBezTo>
                  <a:pt x="32" y="129"/>
                  <a:pt x="31" y="131"/>
                  <a:pt x="29" y="131"/>
                </a:cubicBezTo>
                <a:cubicBezTo>
                  <a:pt x="28" y="131"/>
                  <a:pt x="27" y="129"/>
                  <a:pt x="27" y="128"/>
                </a:cubicBezTo>
                <a:cubicBezTo>
                  <a:pt x="27" y="127"/>
                  <a:pt x="28" y="125"/>
                  <a:pt x="29" y="125"/>
                </a:cubicBezTo>
                <a:close/>
                <a:moveTo>
                  <a:pt x="45" y="125"/>
                </a:moveTo>
                <a:cubicBezTo>
                  <a:pt x="47" y="125"/>
                  <a:pt x="48" y="127"/>
                  <a:pt x="48" y="128"/>
                </a:cubicBezTo>
                <a:cubicBezTo>
                  <a:pt x="48" y="129"/>
                  <a:pt x="47" y="131"/>
                  <a:pt x="45" y="131"/>
                </a:cubicBezTo>
                <a:cubicBezTo>
                  <a:pt x="44" y="131"/>
                  <a:pt x="43" y="129"/>
                  <a:pt x="43" y="128"/>
                </a:cubicBezTo>
                <a:cubicBezTo>
                  <a:pt x="43" y="127"/>
                  <a:pt x="44" y="125"/>
                  <a:pt x="45" y="125"/>
                </a:cubicBezTo>
                <a:close/>
                <a:moveTo>
                  <a:pt x="37" y="117"/>
                </a:moveTo>
                <a:cubicBezTo>
                  <a:pt x="39" y="117"/>
                  <a:pt x="40" y="119"/>
                  <a:pt x="40" y="120"/>
                </a:cubicBezTo>
                <a:cubicBezTo>
                  <a:pt x="40" y="121"/>
                  <a:pt x="39" y="123"/>
                  <a:pt x="37" y="123"/>
                </a:cubicBezTo>
                <a:cubicBezTo>
                  <a:pt x="36" y="123"/>
                  <a:pt x="35" y="121"/>
                  <a:pt x="35" y="120"/>
                </a:cubicBezTo>
                <a:cubicBezTo>
                  <a:pt x="35" y="119"/>
                  <a:pt x="36" y="117"/>
                  <a:pt x="37" y="117"/>
                </a:cubicBezTo>
                <a:close/>
                <a:moveTo>
                  <a:pt x="53" y="117"/>
                </a:moveTo>
                <a:cubicBezTo>
                  <a:pt x="55" y="117"/>
                  <a:pt x="56" y="119"/>
                  <a:pt x="56" y="120"/>
                </a:cubicBezTo>
                <a:cubicBezTo>
                  <a:pt x="56" y="121"/>
                  <a:pt x="55" y="123"/>
                  <a:pt x="53" y="123"/>
                </a:cubicBezTo>
                <a:cubicBezTo>
                  <a:pt x="52" y="123"/>
                  <a:pt x="51" y="121"/>
                  <a:pt x="51" y="120"/>
                </a:cubicBezTo>
                <a:cubicBezTo>
                  <a:pt x="51" y="119"/>
                  <a:pt x="52" y="117"/>
                  <a:pt x="53" y="117"/>
                </a:cubicBezTo>
                <a:close/>
                <a:moveTo>
                  <a:pt x="37" y="133"/>
                </a:moveTo>
                <a:cubicBezTo>
                  <a:pt x="39" y="133"/>
                  <a:pt x="40" y="135"/>
                  <a:pt x="40" y="136"/>
                </a:cubicBezTo>
                <a:cubicBezTo>
                  <a:pt x="40" y="137"/>
                  <a:pt x="39" y="139"/>
                  <a:pt x="37" y="139"/>
                </a:cubicBezTo>
                <a:cubicBezTo>
                  <a:pt x="36" y="139"/>
                  <a:pt x="35" y="137"/>
                  <a:pt x="35" y="136"/>
                </a:cubicBezTo>
                <a:cubicBezTo>
                  <a:pt x="35" y="135"/>
                  <a:pt x="36" y="133"/>
                  <a:pt x="37" y="133"/>
                </a:cubicBezTo>
                <a:close/>
                <a:moveTo>
                  <a:pt x="53" y="133"/>
                </a:moveTo>
                <a:cubicBezTo>
                  <a:pt x="55" y="133"/>
                  <a:pt x="56" y="135"/>
                  <a:pt x="56" y="136"/>
                </a:cubicBezTo>
                <a:cubicBezTo>
                  <a:pt x="56" y="137"/>
                  <a:pt x="55" y="139"/>
                  <a:pt x="53" y="139"/>
                </a:cubicBezTo>
                <a:cubicBezTo>
                  <a:pt x="52" y="139"/>
                  <a:pt x="51" y="137"/>
                  <a:pt x="51" y="136"/>
                </a:cubicBezTo>
                <a:cubicBezTo>
                  <a:pt x="51" y="135"/>
                  <a:pt x="52" y="133"/>
                  <a:pt x="53" y="133"/>
                </a:cubicBezTo>
                <a:close/>
                <a:moveTo>
                  <a:pt x="61" y="109"/>
                </a:moveTo>
                <a:cubicBezTo>
                  <a:pt x="63" y="109"/>
                  <a:pt x="64" y="111"/>
                  <a:pt x="64" y="112"/>
                </a:cubicBezTo>
                <a:cubicBezTo>
                  <a:pt x="64" y="113"/>
                  <a:pt x="63" y="115"/>
                  <a:pt x="61" y="115"/>
                </a:cubicBezTo>
                <a:cubicBezTo>
                  <a:pt x="60" y="115"/>
                  <a:pt x="59" y="113"/>
                  <a:pt x="59" y="112"/>
                </a:cubicBezTo>
                <a:cubicBezTo>
                  <a:pt x="59" y="111"/>
                  <a:pt x="60" y="109"/>
                  <a:pt x="61" y="109"/>
                </a:cubicBezTo>
                <a:close/>
                <a:moveTo>
                  <a:pt x="77" y="109"/>
                </a:moveTo>
                <a:cubicBezTo>
                  <a:pt x="79" y="109"/>
                  <a:pt x="80" y="111"/>
                  <a:pt x="80" y="112"/>
                </a:cubicBezTo>
                <a:cubicBezTo>
                  <a:pt x="80" y="113"/>
                  <a:pt x="79" y="115"/>
                  <a:pt x="77" y="115"/>
                </a:cubicBezTo>
                <a:cubicBezTo>
                  <a:pt x="76" y="115"/>
                  <a:pt x="75" y="113"/>
                  <a:pt x="75" y="112"/>
                </a:cubicBezTo>
                <a:cubicBezTo>
                  <a:pt x="75" y="111"/>
                  <a:pt x="76" y="109"/>
                  <a:pt x="77" y="109"/>
                </a:cubicBezTo>
                <a:close/>
                <a:moveTo>
                  <a:pt x="61" y="125"/>
                </a:moveTo>
                <a:cubicBezTo>
                  <a:pt x="63" y="125"/>
                  <a:pt x="64" y="127"/>
                  <a:pt x="64" y="128"/>
                </a:cubicBezTo>
                <a:cubicBezTo>
                  <a:pt x="64" y="129"/>
                  <a:pt x="63" y="131"/>
                  <a:pt x="61" y="131"/>
                </a:cubicBezTo>
                <a:cubicBezTo>
                  <a:pt x="60" y="131"/>
                  <a:pt x="59" y="129"/>
                  <a:pt x="59" y="128"/>
                </a:cubicBezTo>
                <a:cubicBezTo>
                  <a:pt x="59" y="127"/>
                  <a:pt x="60" y="125"/>
                  <a:pt x="61" y="125"/>
                </a:cubicBezTo>
                <a:close/>
                <a:moveTo>
                  <a:pt x="77" y="125"/>
                </a:moveTo>
                <a:cubicBezTo>
                  <a:pt x="79" y="125"/>
                  <a:pt x="80" y="127"/>
                  <a:pt x="80" y="128"/>
                </a:cubicBezTo>
                <a:cubicBezTo>
                  <a:pt x="80" y="129"/>
                  <a:pt x="79" y="131"/>
                  <a:pt x="77" y="131"/>
                </a:cubicBezTo>
                <a:cubicBezTo>
                  <a:pt x="76" y="131"/>
                  <a:pt x="75" y="129"/>
                  <a:pt x="75" y="128"/>
                </a:cubicBezTo>
                <a:cubicBezTo>
                  <a:pt x="75" y="127"/>
                  <a:pt x="76" y="125"/>
                  <a:pt x="77" y="125"/>
                </a:cubicBezTo>
                <a:close/>
                <a:moveTo>
                  <a:pt x="69" y="117"/>
                </a:moveTo>
                <a:cubicBezTo>
                  <a:pt x="71" y="117"/>
                  <a:pt x="72" y="119"/>
                  <a:pt x="72" y="120"/>
                </a:cubicBezTo>
                <a:cubicBezTo>
                  <a:pt x="72" y="121"/>
                  <a:pt x="71" y="123"/>
                  <a:pt x="69" y="123"/>
                </a:cubicBezTo>
                <a:cubicBezTo>
                  <a:pt x="68" y="123"/>
                  <a:pt x="67" y="121"/>
                  <a:pt x="67" y="120"/>
                </a:cubicBezTo>
                <a:cubicBezTo>
                  <a:pt x="67" y="119"/>
                  <a:pt x="68" y="117"/>
                  <a:pt x="69" y="117"/>
                </a:cubicBezTo>
                <a:close/>
                <a:moveTo>
                  <a:pt x="69" y="133"/>
                </a:moveTo>
                <a:cubicBezTo>
                  <a:pt x="71" y="133"/>
                  <a:pt x="72" y="135"/>
                  <a:pt x="72" y="136"/>
                </a:cubicBezTo>
                <a:cubicBezTo>
                  <a:pt x="72" y="137"/>
                  <a:pt x="71" y="139"/>
                  <a:pt x="69" y="139"/>
                </a:cubicBezTo>
                <a:cubicBezTo>
                  <a:pt x="68" y="139"/>
                  <a:pt x="67" y="137"/>
                  <a:pt x="67" y="136"/>
                </a:cubicBezTo>
                <a:cubicBezTo>
                  <a:pt x="67" y="135"/>
                  <a:pt x="68" y="133"/>
                  <a:pt x="69" y="133"/>
                </a:cubicBezTo>
                <a:close/>
                <a:moveTo>
                  <a:pt x="13" y="141"/>
                </a:moveTo>
                <a:cubicBezTo>
                  <a:pt x="15" y="141"/>
                  <a:pt x="16" y="143"/>
                  <a:pt x="16" y="144"/>
                </a:cubicBezTo>
                <a:cubicBezTo>
                  <a:pt x="16" y="145"/>
                  <a:pt x="15" y="147"/>
                  <a:pt x="13" y="147"/>
                </a:cubicBezTo>
                <a:cubicBezTo>
                  <a:pt x="12" y="147"/>
                  <a:pt x="11" y="145"/>
                  <a:pt x="11" y="144"/>
                </a:cubicBezTo>
                <a:cubicBezTo>
                  <a:pt x="11" y="143"/>
                  <a:pt x="12" y="141"/>
                  <a:pt x="13" y="141"/>
                </a:cubicBezTo>
                <a:close/>
                <a:moveTo>
                  <a:pt x="21" y="149"/>
                </a:moveTo>
                <a:cubicBezTo>
                  <a:pt x="23" y="149"/>
                  <a:pt x="24" y="151"/>
                  <a:pt x="24" y="152"/>
                </a:cubicBezTo>
                <a:cubicBezTo>
                  <a:pt x="24" y="153"/>
                  <a:pt x="23" y="155"/>
                  <a:pt x="21" y="155"/>
                </a:cubicBezTo>
                <a:cubicBezTo>
                  <a:pt x="20" y="155"/>
                  <a:pt x="19" y="153"/>
                  <a:pt x="19" y="152"/>
                </a:cubicBezTo>
                <a:cubicBezTo>
                  <a:pt x="19" y="151"/>
                  <a:pt x="20" y="149"/>
                  <a:pt x="21" y="149"/>
                </a:cubicBezTo>
                <a:close/>
                <a:moveTo>
                  <a:pt x="29" y="141"/>
                </a:moveTo>
                <a:cubicBezTo>
                  <a:pt x="31" y="141"/>
                  <a:pt x="32" y="143"/>
                  <a:pt x="32" y="144"/>
                </a:cubicBezTo>
                <a:cubicBezTo>
                  <a:pt x="32" y="145"/>
                  <a:pt x="31" y="147"/>
                  <a:pt x="29" y="147"/>
                </a:cubicBezTo>
                <a:cubicBezTo>
                  <a:pt x="28" y="147"/>
                  <a:pt x="27" y="145"/>
                  <a:pt x="27" y="144"/>
                </a:cubicBezTo>
                <a:cubicBezTo>
                  <a:pt x="27" y="143"/>
                  <a:pt x="28" y="141"/>
                  <a:pt x="29" y="141"/>
                </a:cubicBezTo>
                <a:close/>
                <a:moveTo>
                  <a:pt x="45" y="141"/>
                </a:moveTo>
                <a:cubicBezTo>
                  <a:pt x="47" y="141"/>
                  <a:pt x="48" y="143"/>
                  <a:pt x="48" y="144"/>
                </a:cubicBezTo>
                <a:cubicBezTo>
                  <a:pt x="48" y="145"/>
                  <a:pt x="47" y="147"/>
                  <a:pt x="45" y="147"/>
                </a:cubicBezTo>
                <a:cubicBezTo>
                  <a:pt x="44" y="147"/>
                  <a:pt x="43" y="145"/>
                  <a:pt x="43" y="144"/>
                </a:cubicBezTo>
                <a:cubicBezTo>
                  <a:pt x="43" y="143"/>
                  <a:pt x="44" y="141"/>
                  <a:pt x="45" y="141"/>
                </a:cubicBezTo>
                <a:close/>
                <a:moveTo>
                  <a:pt x="37" y="149"/>
                </a:moveTo>
                <a:cubicBezTo>
                  <a:pt x="39" y="149"/>
                  <a:pt x="40" y="151"/>
                  <a:pt x="40" y="152"/>
                </a:cubicBezTo>
                <a:cubicBezTo>
                  <a:pt x="40" y="153"/>
                  <a:pt x="39" y="155"/>
                  <a:pt x="37" y="155"/>
                </a:cubicBezTo>
                <a:cubicBezTo>
                  <a:pt x="36" y="155"/>
                  <a:pt x="35" y="153"/>
                  <a:pt x="35" y="152"/>
                </a:cubicBezTo>
                <a:cubicBezTo>
                  <a:pt x="35" y="151"/>
                  <a:pt x="36" y="149"/>
                  <a:pt x="37" y="149"/>
                </a:cubicBezTo>
                <a:close/>
                <a:moveTo>
                  <a:pt x="53" y="149"/>
                </a:moveTo>
                <a:cubicBezTo>
                  <a:pt x="55" y="149"/>
                  <a:pt x="56" y="151"/>
                  <a:pt x="56" y="152"/>
                </a:cubicBezTo>
                <a:cubicBezTo>
                  <a:pt x="56" y="153"/>
                  <a:pt x="55" y="155"/>
                  <a:pt x="53" y="155"/>
                </a:cubicBezTo>
                <a:cubicBezTo>
                  <a:pt x="52" y="155"/>
                  <a:pt x="51" y="153"/>
                  <a:pt x="51" y="152"/>
                </a:cubicBezTo>
                <a:cubicBezTo>
                  <a:pt x="51" y="151"/>
                  <a:pt x="52" y="149"/>
                  <a:pt x="53" y="149"/>
                </a:cubicBezTo>
                <a:close/>
                <a:moveTo>
                  <a:pt x="61" y="141"/>
                </a:moveTo>
                <a:cubicBezTo>
                  <a:pt x="63" y="141"/>
                  <a:pt x="64" y="143"/>
                  <a:pt x="64" y="144"/>
                </a:cubicBezTo>
                <a:cubicBezTo>
                  <a:pt x="64" y="145"/>
                  <a:pt x="63" y="147"/>
                  <a:pt x="61" y="147"/>
                </a:cubicBezTo>
                <a:cubicBezTo>
                  <a:pt x="60" y="147"/>
                  <a:pt x="59" y="145"/>
                  <a:pt x="59" y="144"/>
                </a:cubicBezTo>
                <a:cubicBezTo>
                  <a:pt x="59" y="143"/>
                  <a:pt x="60" y="141"/>
                  <a:pt x="61" y="141"/>
                </a:cubicBezTo>
                <a:close/>
                <a:moveTo>
                  <a:pt x="77" y="141"/>
                </a:moveTo>
                <a:cubicBezTo>
                  <a:pt x="79" y="141"/>
                  <a:pt x="80" y="143"/>
                  <a:pt x="80" y="144"/>
                </a:cubicBezTo>
                <a:cubicBezTo>
                  <a:pt x="80" y="145"/>
                  <a:pt x="79" y="147"/>
                  <a:pt x="77" y="147"/>
                </a:cubicBezTo>
                <a:cubicBezTo>
                  <a:pt x="76" y="147"/>
                  <a:pt x="75" y="145"/>
                  <a:pt x="75" y="144"/>
                </a:cubicBezTo>
                <a:cubicBezTo>
                  <a:pt x="75" y="143"/>
                  <a:pt x="76" y="141"/>
                  <a:pt x="77" y="141"/>
                </a:cubicBezTo>
                <a:close/>
                <a:moveTo>
                  <a:pt x="69" y="149"/>
                </a:moveTo>
                <a:cubicBezTo>
                  <a:pt x="71" y="149"/>
                  <a:pt x="72" y="151"/>
                  <a:pt x="72" y="152"/>
                </a:cubicBezTo>
                <a:cubicBezTo>
                  <a:pt x="72" y="153"/>
                  <a:pt x="71" y="155"/>
                  <a:pt x="69" y="155"/>
                </a:cubicBezTo>
                <a:cubicBezTo>
                  <a:pt x="68" y="155"/>
                  <a:pt x="67" y="153"/>
                  <a:pt x="67" y="152"/>
                </a:cubicBezTo>
                <a:cubicBezTo>
                  <a:pt x="67" y="151"/>
                  <a:pt x="68" y="149"/>
                  <a:pt x="69" y="14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47" name="Group 246">
            <a:extLst>
              <a:ext uri="{FF2B5EF4-FFF2-40B4-BE49-F238E27FC236}">
                <a16:creationId xmlns:a16="http://schemas.microsoft.com/office/drawing/2014/main" id="{EAD9E17C-7CC9-ED48-BE5A-FD2C19AFC30E}"/>
              </a:ext>
            </a:extLst>
          </p:cNvPr>
          <p:cNvGrpSpPr/>
          <p:nvPr/>
        </p:nvGrpSpPr>
        <p:grpSpPr>
          <a:xfrm>
            <a:off x="2609733" y="365125"/>
            <a:ext cx="290513" cy="550863"/>
            <a:chOff x="3557588" y="365125"/>
            <a:chExt cx="290513" cy="550863"/>
          </a:xfrm>
          <a:solidFill>
            <a:srgbClr val="FFFFFF"/>
          </a:solidFill>
        </p:grpSpPr>
        <p:sp>
          <p:nvSpPr>
            <p:cNvPr id="248" name="Freeform 1024">
              <a:extLst>
                <a:ext uri="{FF2B5EF4-FFF2-40B4-BE49-F238E27FC236}">
                  <a16:creationId xmlns:a16="http://schemas.microsoft.com/office/drawing/2014/main" id="{709FA2ED-0172-064C-9BA7-5AE95A1F344C}"/>
                </a:ext>
              </a:extLst>
            </p:cNvPr>
            <p:cNvSpPr>
              <a:spLocks noEditPoints="1"/>
            </p:cNvSpPr>
            <p:nvPr/>
          </p:nvSpPr>
          <p:spPr bwMode="auto">
            <a:xfrm>
              <a:off x="3557588" y="365125"/>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32 w 85"/>
                <a:gd name="T27" fmla="*/ 5 h 160"/>
                <a:gd name="T28" fmla="*/ 53 w 85"/>
                <a:gd name="T29" fmla="*/ 5 h 160"/>
                <a:gd name="T30" fmla="*/ 53 w 85"/>
                <a:gd name="T31" fmla="*/ 11 h 160"/>
                <a:gd name="T32" fmla="*/ 32 w 85"/>
                <a:gd name="T33" fmla="*/ 11 h 160"/>
                <a:gd name="T34" fmla="*/ 32 w 85"/>
                <a:gd name="T35" fmla="*/ 5 h 160"/>
                <a:gd name="T36" fmla="*/ 9 w 85"/>
                <a:gd name="T37" fmla="*/ 16 h 160"/>
                <a:gd name="T38" fmla="*/ 27 w 85"/>
                <a:gd name="T39" fmla="*/ 16 h 160"/>
                <a:gd name="T40" fmla="*/ 59 w 85"/>
                <a:gd name="T41" fmla="*/ 16 h 160"/>
                <a:gd name="T42" fmla="*/ 76 w 85"/>
                <a:gd name="T43" fmla="*/ 16 h 160"/>
                <a:gd name="T44" fmla="*/ 80 w 85"/>
                <a:gd name="T45" fmla="*/ 20 h 160"/>
                <a:gd name="T46" fmla="*/ 80 w 85"/>
                <a:gd name="T47" fmla="*/ 120 h 160"/>
                <a:gd name="T48" fmla="*/ 5 w 85"/>
                <a:gd name="T49" fmla="*/ 120 h 160"/>
                <a:gd name="T50" fmla="*/ 5 w 85"/>
                <a:gd name="T51" fmla="*/ 20 h 160"/>
                <a:gd name="T52" fmla="*/ 9 w 85"/>
                <a:gd name="T53" fmla="*/ 16 h 160"/>
                <a:gd name="T54" fmla="*/ 80 w 85"/>
                <a:gd name="T55" fmla="*/ 144 h 160"/>
                <a:gd name="T56" fmla="*/ 80 w 85"/>
                <a:gd name="T57" fmla="*/ 151 h 160"/>
                <a:gd name="T58" fmla="*/ 76 w 85"/>
                <a:gd name="T59" fmla="*/ 155 h 160"/>
                <a:gd name="T60" fmla="*/ 69 w 85"/>
                <a:gd name="T61" fmla="*/ 155 h 160"/>
                <a:gd name="T62" fmla="*/ 53 w 85"/>
                <a:gd name="T63" fmla="*/ 155 h 160"/>
                <a:gd name="T64" fmla="*/ 37 w 85"/>
                <a:gd name="T65" fmla="*/ 155 h 160"/>
                <a:gd name="T66" fmla="*/ 21 w 85"/>
                <a:gd name="T67" fmla="*/ 155 h 160"/>
                <a:gd name="T68" fmla="*/ 9 w 85"/>
                <a:gd name="T69" fmla="*/ 155 h 160"/>
                <a:gd name="T70" fmla="*/ 7 w 85"/>
                <a:gd name="T71" fmla="*/ 154 h 160"/>
                <a:gd name="T72" fmla="*/ 8 w 85"/>
                <a:gd name="T73" fmla="*/ 152 h 160"/>
                <a:gd name="T74" fmla="*/ 5 w 85"/>
                <a:gd name="T75" fmla="*/ 149 h 160"/>
                <a:gd name="T76" fmla="*/ 5 w 85"/>
                <a:gd name="T77" fmla="*/ 139 h 160"/>
                <a:gd name="T78" fmla="*/ 8 w 85"/>
                <a:gd name="T79" fmla="*/ 136 h 160"/>
                <a:gd name="T80" fmla="*/ 5 w 85"/>
                <a:gd name="T81" fmla="*/ 133 h 160"/>
                <a:gd name="T82" fmla="*/ 5 w 85"/>
                <a:gd name="T83" fmla="*/ 125 h 160"/>
                <a:gd name="T84" fmla="*/ 13 w 85"/>
                <a:gd name="T85" fmla="*/ 125 h 160"/>
                <a:gd name="T86" fmla="*/ 29 w 85"/>
                <a:gd name="T87" fmla="*/ 125 h 160"/>
                <a:gd name="T88" fmla="*/ 45 w 85"/>
                <a:gd name="T89" fmla="*/ 125 h 160"/>
                <a:gd name="T90" fmla="*/ 61 w 85"/>
                <a:gd name="T91" fmla="*/ 125 h 160"/>
                <a:gd name="T92" fmla="*/ 77 w 85"/>
                <a:gd name="T93" fmla="*/ 125 h 160"/>
                <a:gd name="T94" fmla="*/ 80 w 85"/>
                <a:gd name="T95" fmla="*/ 125 h 160"/>
                <a:gd name="T96" fmla="*/ 80 w 85"/>
                <a:gd name="T97" fmla="*/ 128 h 160"/>
                <a:gd name="T98" fmla="*/ 80 w 85"/>
                <a:gd name="T99"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120"/>
                    <a:pt x="80" y="120"/>
                    <a:pt x="80" y="120"/>
                  </a:cubicBezTo>
                  <a:cubicBezTo>
                    <a:pt x="5" y="120"/>
                    <a:pt x="5" y="120"/>
                    <a:pt x="5" y="120"/>
                  </a:cubicBezTo>
                  <a:cubicBezTo>
                    <a:pt x="5" y="20"/>
                    <a:pt x="5" y="20"/>
                    <a:pt x="5" y="20"/>
                  </a:cubicBezTo>
                  <a:cubicBezTo>
                    <a:pt x="5" y="18"/>
                    <a:pt x="7" y="16"/>
                    <a:pt x="9" y="16"/>
                  </a:cubicBezTo>
                  <a:close/>
                  <a:moveTo>
                    <a:pt x="80" y="144"/>
                  </a:moveTo>
                  <a:cubicBezTo>
                    <a:pt x="80" y="151"/>
                    <a:pt x="80" y="151"/>
                    <a:pt x="80" y="151"/>
                  </a:cubicBezTo>
                  <a:cubicBezTo>
                    <a:pt x="80" y="153"/>
                    <a:pt x="78" y="155"/>
                    <a:pt x="76" y="155"/>
                  </a:cubicBezTo>
                  <a:cubicBezTo>
                    <a:pt x="69" y="155"/>
                    <a:pt x="69" y="155"/>
                    <a:pt x="69" y="155"/>
                  </a:cubicBezTo>
                  <a:cubicBezTo>
                    <a:pt x="53" y="155"/>
                    <a:pt x="53" y="155"/>
                    <a:pt x="53" y="155"/>
                  </a:cubicBezTo>
                  <a:cubicBezTo>
                    <a:pt x="37" y="155"/>
                    <a:pt x="37" y="155"/>
                    <a:pt x="37" y="155"/>
                  </a:cubicBezTo>
                  <a:cubicBezTo>
                    <a:pt x="21" y="155"/>
                    <a:pt x="21" y="155"/>
                    <a:pt x="21" y="155"/>
                  </a:cubicBezTo>
                  <a:cubicBezTo>
                    <a:pt x="9" y="155"/>
                    <a:pt x="9" y="155"/>
                    <a:pt x="9" y="155"/>
                  </a:cubicBezTo>
                  <a:cubicBezTo>
                    <a:pt x="8" y="155"/>
                    <a:pt x="8" y="154"/>
                    <a:pt x="7" y="154"/>
                  </a:cubicBezTo>
                  <a:cubicBezTo>
                    <a:pt x="8" y="154"/>
                    <a:pt x="8" y="153"/>
                    <a:pt x="8" y="152"/>
                  </a:cubicBezTo>
                  <a:cubicBezTo>
                    <a:pt x="8" y="151"/>
                    <a:pt x="7" y="149"/>
                    <a:pt x="5" y="149"/>
                  </a:cubicBezTo>
                  <a:cubicBezTo>
                    <a:pt x="5" y="139"/>
                    <a:pt x="5" y="139"/>
                    <a:pt x="5" y="139"/>
                  </a:cubicBezTo>
                  <a:cubicBezTo>
                    <a:pt x="7" y="139"/>
                    <a:pt x="8" y="137"/>
                    <a:pt x="8" y="136"/>
                  </a:cubicBezTo>
                  <a:cubicBezTo>
                    <a:pt x="8" y="135"/>
                    <a:pt x="7" y="133"/>
                    <a:pt x="5" y="133"/>
                  </a:cubicBezTo>
                  <a:cubicBezTo>
                    <a:pt x="5" y="125"/>
                    <a:pt x="5" y="125"/>
                    <a:pt x="5" y="125"/>
                  </a:cubicBezTo>
                  <a:cubicBezTo>
                    <a:pt x="13" y="125"/>
                    <a:pt x="13" y="125"/>
                    <a:pt x="13" y="125"/>
                  </a:cubicBezTo>
                  <a:cubicBezTo>
                    <a:pt x="29" y="125"/>
                    <a:pt x="29" y="125"/>
                    <a:pt x="29" y="125"/>
                  </a:cubicBezTo>
                  <a:cubicBezTo>
                    <a:pt x="45" y="125"/>
                    <a:pt x="45" y="125"/>
                    <a:pt x="45" y="125"/>
                  </a:cubicBezTo>
                  <a:cubicBezTo>
                    <a:pt x="61" y="125"/>
                    <a:pt x="61" y="125"/>
                    <a:pt x="61" y="125"/>
                  </a:cubicBezTo>
                  <a:cubicBezTo>
                    <a:pt x="77" y="125"/>
                    <a:pt x="77" y="125"/>
                    <a:pt x="77" y="125"/>
                  </a:cubicBezTo>
                  <a:cubicBezTo>
                    <a:pt x="80" y="125"/>
                    <a:pt x="80" y="125"/>
                    <a:pt x="80" y="125"/>
                  </a:cubicBezTo>
                  <a:cubicBezTo>
                    <a:pt x="80" y="128"/>
                    <a:pt x="80" y="128"/>
                    <a:pt x="80" y="128"/>
                  </a:cubicBezTo>
                  <a:lnTo>
                    <a:pt x="80" y="1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Oval 1025">
              <a:extLst>
                <a:ext uri="{FF2B5EF4-FFF2-40B4-BE49-F238E27FC236}">
                  <a16:creationId xmlns:a16="http://schemas.microsoft.com/office/drawing/2014/main" id="{7CD60189-6A3D-3A41-9FEE-05DDBBEE605A}"/>
                </a:ext>
              </a:extLst>
            </p:cNvPr>
            <p:cNvSpPr>
              <a:spLocks noChangeArrowheads="1"/>
            </p:cNvSpPr>
            <p:nvPr/>
          </p:nvSpPr>
          <p:spPr bwMode="auto">
            <a:xfrm>
              <a:off x="3595688" y="7953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Oval 1026">
              <a:extLst>
                <a:ext uri="{FF2B5EF4-FFF2-40B4-BE49-F238E27FC236}">
                  <a16:creationId xmlns:a16="http://schemas.microsoft.com/office/drawing/2014/main" id="{4C8AF9DF-6ADE-DE49-B668-8BB7D0E6A451}"/>
                </a:ext>
              </a:extLst>
            </p:cNvPr>
            <p:cNvSpPr>
              <a:spLocks noChangeArrowheads="1"/>
            </p:cNvSpPr>
            <p:nvPr/>
          </p:nvSpPr>
          <p:spPr bwMode="auto">
            <a:xfrm>
              <a:off x="3622675" y="8223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Oval 1027">
              <a:extLst>
                <a:ext uri="{FF2B5EF4-FFF2-40B4-BE49-F238E27FC236}">
                  <a16:creationId xmlns:a16="http://schemas.microsoft.com/office/drawing/2014/main" id="{DE197640-1CFF-D448-A441-A0709F2EB304}"/>
                </a:ext>
              </a:extLst>
            </p:cNvPr>
            <p:cNvSpPr>
              <a:spLocks noChangeArrowheads="1"/>
            </p:cNvSpPr>
            <p:nvPr/>
          </p:nvSpPr>
          <p:spPr bwMode="auto">
            <a:xfrm>
              <a:off x="3651250" y="795338"/>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Oval 1028">
              <a:extLst>
                <a:ext uri="{FF2B5EF4-FFF2-40B4-BE49-F238E27FC236}">
                  <a16:creationId xmlns:a16="http://schemas.microsoft.com/office/drawing/2014/main" id="{C8DA2427-38AD-5046-88A9-855C14FB9DB4}"/>
                </a:ext>
              </a:extLst>
            </p:cNvPr>
            <p:cNvSpPr>
              <a:spLocks noChangeArrowheads="1"/>
            </p:cNvSpPr>
            <p:nvPr/>
          </p:nvSpPr>
          <p:spPr bwMode="auto">
            <a:xfrm>
              <a:off x="3705225" y="7953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Oval 1029">
              <a:extLst>
                <a:ext uri="{FF2B5EF4-FFF2-40B4-BE49-F238E27FC236}">
                  <a16:creationId xmlns:a16="http://schemas.microsoft.com/office/drawing/2014/main" id="{16309665-0C67-0445-857F-D9CEE4E38608}"/>
                </a:ext>
              </a:extLst>
            </p:cNvPr>
            <p:cNvSpPr>
              <a:spLocks noChangeArrowheads="1"/>
            </p:cNvSpPr>
            <p:nvPr/>
          </p:nvSpPr>
          <p:spPr bwMode="auto">
            <a:xfrm>
              <a:off x="3678238" y="822325"/>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Oval 1030">
              <a:extLst>
                <a:ext uri="{FF2B5EF4-FFF2-40B4-BE49-F238E27FC236}">
                  <a16:creationId xmlns:a16="http://schemas.microsoft.com/office/drawing/2014/main" id="{BA39C977-FBF0-5549-A895-496E836FB673}"/>
                </a:ext>
              </a:extLst>
            </p:cNvPr>
            <p:cNvSpPr>
              <a:spLocks noChangeArrowheads="1"/>
            </p:cNvSpPr>
            <p:nvPr/>
          </p:nvSpPr>
          <p:spPr bwMode="auto">
            <a:xfrm>
              <a:off x="3732213" y="822325"/>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Oval 1031">
              <a:extLst>
                <a:ext uri="{FF2B5EF4-FFF2-40B4-BE49-F238E27FC236}">
                  <a16:creationId xmlns:a16="http://schemas.microsoft.com/office/drawing/2014/main" id="{8A81B924-229D-5349-B495-0C54E533D3BE}"/>
                </a:ext>
              </a:extLst>
            </p:cNvPr>
            <p:cNvSpPr>
              <a:spLocks noChangeArrowheads="1"/>
            </p:cNvSpPr>
            <p:nvPr/>
          </p:nvSpPr>
          <p:spPr bwMode="auto">
            <a:xfrm>
              <a:off x="3759200" y="79533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Oval 1032">
              <a:extLst>
                <a:ext uri="{FF2B5EF4-FFF2-40B4-BE49-F238E27FC236}">
                  <a16:creationId xmlns:a16="http://schemas.microsoft.com/office/drawing/2014/main" id="{DC9B7C4E-FFDE-3943-A1DA-A667180EAF88}"/>
                </a:ext>
              </a:extLst>
            </p:cNvPr>
            <p:cNvSpPr>
              <a:spLocks noChangeArrowheads="1"/>
            </p:cNvSpPr>
            <p:nvPr/>
          </p:nvSpPr>
          <p:spPr bwMode="auto">
            <a:xfrm>
              <a:off x="3814763" y="795338"/>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Oval 1033">
              <a:extLst>
                <a:ext uri="{FF2B5EF4-FFF2-40B4-BE49-F238E27FC236}">
                  <a16:creationId xmlns:a16="http://schemas.microsoft.com/office/drawing/2014/main" id="{D45CE6CA-28F2-794E-B75E-D29B61DE1332}"/>
                </a:ext>
              </a:extLst>
            </p:cNvPr>
            <p:cNvSpPr>
              <a:spLocks noChangeArrowheads="1"/>
            </p:cNvSpPr>
            <p:nvPr/>
          </p:nvSpPr>
          <p:spPr bwMode="auto">
            <a:xfrm>
              <a:off x="3787775" y="822325"/>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Oval 1034">
              <a:extLst>
                <a:ext uri="{FF2B5EF4-FFF2-40B4-BE49-F238E27FC236}">
                  <a16:creationId xmlns:a16="http://schemas.microsoft.com/office/drawing/2014/main" id="{88690760-F232-C846-B96B-640C09906B5C}"/>
                </a:ext>
              </a:extLst>
            </p:cNvPr>
            <p:cNvSpPr>
              <a:spLocks noChangeArrowheads="1"/>
            </p:cNvSpPr>
            <p:nvPr/>
          </p:nvSpPr>
          <p:spPr bwMode="auto">
            <a:xfrm>
              <a:off x="3595688" y="849313"/>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Oval 1035">
              <a:extLst>
                <a:ext uri="{FF2B5EF4-FFF2-40B4-BE49-F238E27FC236}">
                  <a16:creationId xmlns:a16="http://schemas.microsoft.com/office/drawing/2014/main" id="{0033EB72-269B-3F44-89E6-6358F5365294}"/>
                </a:ext>
              </a:extLst>
            </p:cNvPr>
            <p:cNvSpPr>
              <a:spLocks noChangeArrowheads="1"/>
            </p:cNvSpPr>
            <p:nvPr/>
          </p:nvSpPr>
          <p:spPr bwMode="auto">
            <a:xfrm>
              <a:off x="3622675" y="87788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Oval 1036">
              <a:extLst>
                <a:ext uri="{FF2B5EF4-FFF2-40B4-BE49-F238E27FC236}">
                  <a16:creationId xmlns:a16="http://schemas.microsoft.com/office/drawing/2014/main" id="{167FA8F4-596E-3F40-9221-728D752670A8}"/>
                </a:ext>
              </a:extLst>
            </p:cNvPr>
            <p:cNvSpPr>
              <a:spLocks noChangeArrowheads="1"/>
            </p:cNvSpPr>
            <p:nvPr/>
          </p:nvSpPr>
          <p:spPr bwMode="auto">
            <a:xfrm>
              <a:off x="3651250" y="849313"/>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Oval 1037">
              <a:extLst>
                <a:ext uri="{FF2B5EF4-FFF2-40B4-BE49-F238E27FC236}">
                  <a16:creationId xmlns:a16="http://schemas.microsoft.com/office/drawing/2014/main" id="{82F2C36C-CA5C-D947-8E09-323096914C05}"/>
                </a:ext>
              </a:extLst>
            </p:cNvPr>
            <p:cNvSpPr>
              <a:spLocks noChangeArrowheads="1"/>
            </p:cNvSpPr>
            <p:nvPr/>
          </p:nvSpPr>
          <p:spPr bwMode="auto">
            <a:xfrm>
              <a:off x="3705225" y="849313"/>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Oval 1038">
              <a:extLst>
                <a:ext uri="{FF2B5EF4-FFF2-40B4-BE49-F238E27FC236}">
                  <a16:creationId xmlns:a16="http://schemas.microsoft.com/office/drawing/2014/main" id="{55808272-5485-D94D-82D7-FEA825D6BB69}"/>
                </a:ext>
              </a:extLst>
            </p:cNvPr>
            <p:cNvSpPr>
              <a:spLocks noChangeArrowheads="1"/>
            </p:cNvSpPr>
            <p:nvPr/>
          </p:nvSpPr>
          <p:spPr bwMode="auto">
            <a:xfrm>
              <a:off x="3678238" y="877888"/>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Oval 1039">
              <a:extLst>
                <a:ext uri="{FF2B5EF4-FFF2-40B4-BE49-F238E27FC236}">
                  <a16:creationId xmlns:a16="http://schemas.microsoft.com/office/drawing/2014/main" id="{99AB36F9-4ABB-AB43-9FA0-311BC1B3D0E6}"/>
                </a:ext>
              </a:extLst>
            </p:cNvPr>
            <p:cNvSpPr>
              <a:spLocks noChangeArrowheads="1"/>
            </p:cNvSpPr>
            <p:nvPr/>
          </p:nvSpPr>
          <p:spPr bwMode="auto">
            <a:xfrm>
              <a:off x="3732213" y="877888"/>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Oval 1040">
              <a:extLst>
                <a:ext uri="{FF2B5EF4-FFF2-40B4-BE49-F238E27FC236}">
                  <a16:creationId xmlns:a16="http://schemas.microsoft.com/office/drawing/2014/main" id="{BD1D3AAF-5122-C24D-A213-C2CA21C63544}"/>
                </a:ext>
              </a:extLst>
            </p:cNvPr>
            <p:cNvSpPr>
              <a:spLocks noChangeArrowheads="1"/>
            </p:cNvSpPr>
            <p:nvPr/>
          </p:nvSpPr>
          <p:spPr bwMode="auto">
            <a:xfrm>
              <a:off x="3759200" y="849313"/>
              <a:ext cx="17463"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Oval 1041">
              <a:extLst>
                <a:ext uri="{FF2B5EF4-FFF2-40B4-BE49-F238E27FC236}">
                  <a16:creationId xmlns:a16="http://schemas.microsoft.com/office/drawing/2014/main" id="{1C9AF731-F7EA-6F4C-8F2C-9ECD7A2D24CA}"/>
                </a:ext>
              </a:extLst>
            </p:cNvPr>
            <p:cNvSpPr>
              <a:spLocks noChangeArrowheads="1"/>
            </p:cNvSpPr>
            <p:nvPr/>
          </p:nvSpPr>
          <p:spPr bwMode="auto">
            <a:xfrm>
              <a:off x="3814763" y="849313"/>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Oval 1042">
              <a:extLst>
                <a:ext uri="{FF2B5EF4-FFF2-40B4-BE49-F238E27FC236}">
                  <a16:creationId xmlns:a16="http://schemas.microsoft.com/office/drawing/2014/main" id="{BB529E8E-3CBC-E941-8719-8A9AE070B0E0}"/>
                </a:ext>
              </a:extLst>
            </p:cNvPr>
            <p:cNvSpPr>
              <a:spLocks noChangeArrowheads="1"/>
            </p:cNvSpPr>
            <p:nvPr/>
          </p:nvSpPr>
          <p:spPr bwMode="auto">
            <a:xfrm>
              <a:off x="3787775" y="877888"/>
              <a:ext cx="15875" cy="206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7" name="Freeform 1044">
            <a:extLst>
              <a:ext uri="{FF2B5EF4-FFF2-40B4-BE49-F238E27FC236}">
                <a16:creationId xmlns:a16="http://schemas.microsoft.com/office/drawing/2014/main" id="{E1C05461-B02C-7045-954B-1C51AAA10F3F}"/>
              </a:ext>
            </a:extLst>
          </p:cNvPr>
          <p:cNvSpPr>
            <a:spLocks noEditPoints="1"/>
          </p:cNvSpPr>
          <p:nvPr/>
        </p:nvSpPr>
        <p:spPr bwMode="auto">
          <a:xfrm>
            <a:off x="2609733" y="984250"/>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5 w 85"/>
              <a:gd name="T27" fmla="*/ 51 h 160"/>
              <a:gd name="T28" fmla="*/ 80 w 85"/>
              <a:gd name="T29" fmla="*/ 51 h 160"/>
              <a:gd name="T30" fmla="*/ 80 w 85"/>
              <a:gd name="T31" fmla="*/ 83 h 160"/>
              <a:gd name="T32" fmla="*/ 5 w 85"/>
              <a:gd name="T33" fmla="*/ 83 h 160"/>
              <a:gd name="T34" fmla="*/ 5 w 85"/>
              <a:gd name="T35" fmla="*/ 51 h 160"/>
              <a:gd name="T36" fmla="*/ 5 w 85"/>
              <a:gd name="T37" fmla="*/ 88 h 160"/>
              <a:gd name="T38" fmla="*/ 80 w 85"/>
              <a:gd name="T39" fmla="*/ 88 h 160"/>
              <a:gd name="T40" fmla="*/ 80 w 85"/>
              <a:gd name="T41" fmla="*/ 120 h 160"/>
              <a:gd name="T42" fmla="*/ 5 w 85"/>
              <a:gd name="T43" fmla="*/ 120 h 160"/>
              <a:gd name="T44" fmla="*/ 5 w 85"/>
              <a:gd name="T45" fmla="*/ 88 h 160"/>
              <a:gd name="T46" fmla="*/ 32 w 85"/>
              <a:gd name="T47" fmla="*/ 5 h 160"/>
              <a:gd name="T48" fmla="*/ 53 w 85"/>
              <a:gd name="T49" fmla="*/ 5 h 160"/>
              <a:gd name="T50" fmla="*/ 53 w 85"/>
              <a:gd name="T51" fmla="*/ 11 h 160"/>
              <a:gd name="T52" fmla="*/ 32 w 85"/>
              <a:gd name="T53" fmla="*/ 11 h 160"/>
              <a:gd name="T54" fmla="*/ 32 w 85"/>
              <a:gd name="T55" fmla="*/ 5 h 160"/>
              <a:gd name="T56" fmla="*/ 9 w 85"/>
              <a:gd name="T57" fmla="*/ 16 h 160"/>
              <a:gd name="T58" fmla="*/ 27 w 85"/>
              <a:gd name="T59" fmla="*/ 16 h 160"/>
              <a:gd name="T60" fmla="*/ 59 w 85"/>
              <a:gd name="T61" fmla="*/ 16 h 160"/>
              <a:gd name="T62" fmla="*/ 76 w 85"/>
              <a:gd name="T63" fmla="*/ 16 h 160"/>
              <a:gd name="T64" fmla="*/ 80 w 85"/>
              <a:gd name="T65" fmla="*/ 20 h 160"/>
              <a:gd name="T66" fmla="*/ 80 w 85"/>
              <a:gd name="T67" fmla="*/ 45 h 160"/>
              <a:gd name="T68" fmla="*/ 5 w 85"/>
              <a:gd name="T69" fmla="*/ 45 h 160"/>
              <a:gd name="T70" fmla="*/ 5 w 85"/>
              <a:gd name="T71" fmla="*/ 20 h 160"/>
              <a:gd name="T72" fmla="*/ 9 w 85"/>
              <a:gd name="T73" fmla="*/ 16 h 160"/>
              <a:gd name="T74" fmla="*/ 76 w 85"/>
              <a:gd name="T75" fmla="*/ 155 h 160"/>
              <a:gd name="T76" fmla="*/ 9 w 85"/>
              <a:gd name="T77" fmla="*/ 155 h 160"/>
              <a:gd name="T78" fmla="*/ 5 w 85"/>
              <a:gd name="T79" fmla="*/ 151 h 160"/>
              <a:gd name="T80" fmla="*/ 5 w 85"/>
              <a:gd name="T81" fmla="*/ 125 h 160"/>
              <a:gd name="T82" fmla="*/ 80 w 85"/>
              <a:gd name="T83" fmla="*/ 125 h 160"/>
              <a:gd name="T84" fmla="*/ 80 w 85"/>
              <a:gd name="T85" fmla="*/ 151 h 160"/>
              <a:gd name="T86" fmla="*/ 76 w 85"/>
              <a:gd name="T8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5" y="51"/>
                </a:moveTo>
                <a:cubicBezTo>
                  <a:pt x="80" y="51"/>
                  <a:pt x="80" y="51"/>
                  <a:pt x="80" y="51"/>
                </a:cubicBezTo>
                <a:cubicBezTo>
                  <a:pt x="80" y="83"/>
                  <a:pt x="80" y="83"/>
                  <a:pt x="80" y="83"/>
                </a:cubicBezTo>
                <a:cubicBezTo>
                  <a:pt x="5" y="83"/>
                  <a:pt x="5" y="83"/>
                  <a:pt x="5" y="83"/>
                </a:cubicBezTo>
                <a:lnTo>
                  <a:pt x="5" y="51"/>
                </a:lnTo>
                <a:close/>
                <a:moveTo>
                  <a:pt x="5" y="88"/>
                </a:moveTo>
                <a:cubicBezTo>
                  <a:pt x="80" y="88"/>
                  <a:pt x="80" y="88"/>
                  <a:pt x="80" y="88"/>
                </a:cubicBezTo>
                <a:cubicBezTo>
                  <a:pt x="80" y="120"/>
                  <a:pt x="80" y="120"/>
                  <a:pt x="80" y="120"/>
                </a:cubicBezTo>
                <a:cubicBezTo>
                  <a:pt x="5" y="120"/>
                  <a:pt x="5" y="120"/>
                  <a:pt x="5" y="120"/>
                </a:cubicBezTo>
                <a:lnTo>
                  <a:pt x="5" y="88"/>
                </a:ln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45"/>
                  <a:pt x="80" y="45"/>
                  <a:pt x="80" y="45"/>
                </a:cubicBezTo>
                <a:cubicBezTo>
                  <a:pt x="5" y="45"/>
                  <a:pt x="5" y="45"/>
                  <a:pt x="5" y="45"/>
                </a:cubicBezTo>
                <a:cubicBezTo>
                  <a:pt x="5" y="20"/>
                  <a:pt x="5" y="20"/>
                  <a:pt x="5" y="20"/>
                </a:cubicBezTo>
                <a:cubicBezTo>
                  <a:pt x="5" y="18"/>
                  <a:pt x="7" y="16"/>
                  <a:pt x="9" y="16"/>
                </a:cubicBezTo>
                <a:close/>
                <a:moveTo>
                  <a:pt x="76" y="155"/>
                </a:moveTo>
                <a:cubicBezTo>
                  <a:pt x="9" y="155"/>
                  <a:pt x="9" y="155"/>
                  <a:pt x="9" y="155"/>
                </a:cubicBezTo>
                <a:cubicBezTo>
                  <a:pt x="7" y="155"/>
                  <a:pt x="5" y="153"/>
                  <a:pt x="5" y="151"/>
                </a:cubicBezTo>
                <a:cubicBezTo>
                  <a:pt x="5" y="125"/>
                  <a:pt x="5" y="125"/>
                  <a:pt x="5" y="125"/>
                </a:cubicBezTo>
                <a:cubicBezTo>
                  <a:pt x="80" y="125"/>
                  <a:pt x="80" y="125"/>
                  <a:pt x="80" y="125"/>
                </a:cubicBezTo>
                <a:cubicBezTo>
                  <a:pt x="80" y="151"/>
                  <a:pt x="80" y="151"/>
                  <a:pt x="80" y="151"/>
                </a:cubicBezTo>
                <a:cubicBezTo>
                  <a:pt x="80" y="153"/>
                  <a:pt x="78" y="155"/>
                  <a:pt x="76"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045">
            <a:extLst>
              <a:ext uri="{FF2B5EF4-FFF2-40B4-BE49-F238E27FC236}">
                <a16:creationId xmlns:a16="http://schemas.microsoft.com/office/drawing/2014/main" id="{E030D975-1CB8-3C4F-9D30-8A702305FFCC}"/>
              </a:ext>
            </a:extLst>
          </p:cNvPr>
          <p:cNvSpPr>
            <a:spLocks noEditPoints="1"/>
          </p:cNvSpPr>
          <p:nvPr/>
        </p:nvSpPr>
        <p:spPr bwMode="auto">
          <a:xfrm>
            <a:off x="2609733" y="1603375"/>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5 w 85"/>
              <a:gd name="T27" fmla="*/ 88 h 160"/>
              <a:gd name="T28" fmla="*/ 80 w 85"/>
              <a:gd name="T29" fmla="*/ 88 h 160"/>
              <a:gd name="T30" fmla="*/ 80 w 85"/>
              <a:gd name="T31" fmla="*/ 120 h 160"/>
              <a:gd name="T32" fmla="*/ 5 w 85"/>
              <a:gd name="T33" fmla="*/ 120 h 160"/>
              <a:gd name="T34" fmla="*/ 5 w 85"/>
              <a:gd name="T35" fmla="*/ 88 h 160"/>
              <a:gd name="T36" fmla="*/ 32 w 85"/>
              <a:gd name="T37" fmla="*/ 5 h 160"/>
              <a:gd name="T38" fmla="*/ 53 w 85"/>
              <a:gd name="T39" fmla="*/ 5 h 160"/>
              <a:gd name="T40" fmla="*/ 53 w 85"/>
              <a:gd name="T41" fmla="*/ 11 h 160"/>
              <a:gd name="T42" fmla="*/ 32 w 85"/>
              <a:gd name="T43" fmla="*/ 11 h 160"/>
              <a:gd name="T44" fmla="*/ 32 w 85"/>
              <a:gd name="T45" fmla="*/ 5 h 160"/>
              <a:gd name="T46" fmla="*/ 9 w 85"/>
              <a:gd name="T47" fmla="*/ 16 h 160"/>
              <a:gd name="T48" fmla="*/ 27 w 85"/>
              <a:gd name="T49" fmla="*/ 16 h 160"/>
              <a:gd name="T50" fmla="*/ 59 w 85"/>
              <a:gd name="T51" fmla="*/ 16 h 160"/>
              <a:gd name="T52" fmla="*/ 76 w 85"/>
              <a:gd name="T53" fmla="*/ 16 h 160"/>
              <a:gd name="T54" fmla="*/ 80 w 85"/>
              <a:gd name="T55" fmla="*/ 20 h 160"/>
              <a:gd name="T56" fmla="*/ 80 w 85"/>
              <a:gd name="T57" fmla="*/ 83 h 160"/>
              <a:gd name="T58" fmla="*/ 5 w 85"/>
              <a:gd name="T59" fmla="*/ 83 h 160"/>
              <a:gd name="T60" fmla="*/ 5 w 85"/>
              <a:gd name="T61" fmla="*/ 20 h 160"/>
              <a:gd name="T62" fmla="*/ 9 w 85"/>
              <a:gd name="T63" fmla="*/ 16 h 160"/>
              <a:gd name="T64" fmla="*/ 76 w 85"/>
              <a:gd name="T65" fmla="*/ 155 h 160"/>
              <a:gd name="T66" fmla="*/ 9 w 85"/>
              <a:gd name="T67" fmla="*/ 155 h 160"/>
              <a:gd name="T68" fmla="*/ 5 w 85"/>
              <a:gd name="T69" fmla="*/ 151 h 160"/>
              <a:gd name="T70" fmla="*/ 5 w 85"/>
              <a:gd name="T71" fmla="*/ 125 h 160"/>
              <a:gd name="T72" fmla="*/ 80 w 85"/>
              <a:gd name="T73" fmla="*/ 125 h 160"/>
              <a:gd name="T74" fmla="*/ 80 w 85"/>
              <a:gd name="T75" fmla="*/ 151 h 160"/>
              <a:gd name="T76" fmla="*/ 76 w 85"/>
              <a:gd name="T7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5" y="88"/>
                </a:moveTo>
                <a:cubicBezTo>
                  <a:pt x="80" y="88"/>
                  <a:pt x="80" y="88"/>
                  <a:pt x="80" y="88"/>
                </a:cubicBezTo>
                <a:cubicBezTo>
                  <a:pt x="80" y="120"/>
                  <a:pt x="80" y="120"/>
                  <a:pt x="80" y="120"/>
                </a:cubicBezTo>
                <a:cubicBezTo>
                  <a:pt x="5" y="120"/>
                  <a:pt x="5" y="120"/>
                  <a:pt x="5" y="120"/>
                </a:cubicBezTo>
                <a:lnTo>
                  <a:pt x="5" y="88"/>
                </a:ln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83"/>
                  <a:pt x="80" y="83"/>
                  <a:pt x="80" y="83"/>
                </a:cubicBezTo>
                <a:cubicBezTo>
                  <a:pt x="5" y="83"/>
                  <a:pt x="5" y="83"/>
                  <a:pt x="5" y="83"/>
                </a:cubicBezTo>
                <a:cubicBezTo>
                  <a:pt x="5" y="20"/>
                  <a:pt x="5" y="20"/>
                  <a:pt x="5" y="20"/>
                </a:cubicBezTo>
                <a:cubicBezTo>
                  <a:pt x="5" y="18"/>
                  <a:pt x="7" y="16"/>
                  <a:pt x="9" y="16"/>
                </a:cubicBezTo>
                <a:close/>
                <a:moveTo>
                  <a:pt x="76" y="155"/>
                </a:moveTo>
                <a:cubicBezTo>
                  <a:pt x="9" y="155"/>
                  <a:pt x="9" y="155"/>
                  <a:pt x="9" y="155"/>
                </a:cubicBezTo>
                <a:cubicBezTo>
                  <a:pt x="7" y="155"/>
                  <a:pt x="5" y="153"/>
                  <a:pt x="5" y="151"/>
                </a:cubicBezTo>
                <a:cubicBezTo>
                  <a:pt x="5" y="125"/>
                  <a:pt x="5" y="125"/>
                  <a:pt x="5" y="125"/>
                </a:cubicBezTo>
                <a:cubicBezTo>
                  <a:pt x="80" y="125"/>
                  <a:pt x="80" y="125"/>
                  <a:pt x="80" y="125"/>
                </a:cubicBezTo>
                <a:cubicBezTo>
                  <a:pt x="80" y="151"/>
                  <a:pt x="80" y="151"/>
                  <a:pt x="80" y="151"/>
                </a:cubicBezTo>
                <a:cubicBezTo>
                  <a:pt x="80" y="153"/>
                  <a:pt x="78" y="155"/>
                  <a:pt x="76"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1046">
            <a:extLst>
              <a:ext uri="{FF2B5EF4-FFF2-40B4-BE49-F238E27FC236}">
                <a16:creationId xmlns:a16="http://schemas.microsoft.com/office/drawing/2014/main" id="{5A8D5512-0462-E349-9E60-EAB60D396EEE}"/>
              </a:ext>
            </a:extLst>
          </p:cNvPr>
          <p:cNvSpPr>
            <a:spLocks noEditPoints="1"/>
          </p:cNvSpPr>
          <p:nvPr/>
        </p:nvSpPr>
        <p:spPr bwMode="auto">
          <a:xfrm>
            <a:off x="2609733" y="2222500"/>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32 w 85"/>
              <a:gd name="T27" fmla="*/ 5 h 160"/>
              <a:gd name="T28" fmla="*/ 53 w 85"/>
              <a:gd name="T29" fmla="*/ 5 h 160"/>
              <a:gd name="T30" fmla="*/ 53 w 85"/>
              <a:gd name="T31" fmla="*/ 11 h 160"/>
              <a:gd name="T32" fmla="*/ 32 w 85"/>
              <a:gd name="T33" fmla="*/ 11 h 160"/>
              <a:gd name="T34" fmla="*/ 32 w 85"/>
              <a:gd name="T35" fmla="*/ 5 h 160"/>
              <a:gd name="T36" fmla="*/ 9 w 85"/>
              <a:gd name="T37" fmla="*/ 16 h 160"/>
              <a:gd name="T38" fmla="*/ 27 w 85"/>
              <a:gd name="T39" fmla="*/ 16 h 160"/>
              <a:gd name="T40" fmla="*/ 59 w 85"/>
              <a:gd name="T41" fmla="*/ 16 h 160"/>
              <a:gd name="T42" fmla="*/ 76 w 85"/>
              <a:gd name="T43" fmla="*/ 16 h 160"/>
              <a:gd name="T44" fmla="*/ 80 w 85"/>
              <a:gd name="T45" fmla="*/ 20 h 160"/>
              <a:gd name="T46" fmla="*/ 80 w 85"/>
              <a:gd name="T47" fmla="*/ 120 h 160"/>
              <a:gd name="T48" fmla="*/ 5 w 85"/>
              <a:gd name="T49" fmla="*/ 120 h 160"/>
              <a:gd name="T50" fmla="*/ 5 w 85"/>
              <a:gd name="T51" fmla="*/ 20 h 160"/>
              <a:gd name="T52" fmla="*/ 9 w 85"/>
              <a:gd name="T53" fmla="*/ 16 h 160"/>
              <a:gd name="T54" fmla="*/ 76 w 85"/>
              <a:gd name="T55" fmla="*/ 155 h 160"/>
              <a:gd name="T56" fmla="*/ 9 w 85"/>
              <a:gd name="T57" fmla="*/ 155 h 160"/>
              <a:gd name="T58" fmla="*/ 5 w 85"/>
              <a:gd name="T59" fmla="*/ 151 h 160"/>
              <a:gd name="T60" fmla="*/ 5 w 85"/>
              <a:gd name="T61" fmla="*/ 125 h 160"/>
              <a:gd name="T62" fmla="*/ 80 w 85"/>
              <a:gd name="T63" fmla="*/ 125 h 160"/>
              <a:gd name="T64" fmla="*/ 80 w 85"/>
              <a:gd name="T65" fmla="*/ 151 h 160"/>
              <a:gd name="T66" fmla="*/ 76 w 85"/>
              <a:gd name="T6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9" y="16"/>
                </a:moveTo>
                <a:cubicBezTo>
                  <a:pt x="27" y="16"/>
                  <a:pt x="27" y="16"/>
                  <a:pt x="27" y="16"/>
                </a:cubicBezTo>
                <a:cubicBezTo>
                  <a:pt x="59" y="16"/>
                  <a:pt x="59" y="16"/>
                  <a:pt x="59" y="16"/>
                </a:cubicBezTo>
                <a:cubicBezTo>
                  <a:pt x="76" y="16"/>
                  <a:pt x="76" y="16"/>
                  <a:pt x="76" y="16"/>
                </a:cubicBezTo>
                <a:cubicBezTo>
                  <a:pt x="78" y="16"/>
                  <a:pt x="80" y="18"/>
                  <a:pt x="80" y="20"/>
                </a:cubicBezTo>
                <a:cubicBezTo>
                  <a:pt x="80" y="120"/>
                  <a:pt x="80" y="120"/>
                  <a:pt x="80" y="120"/>
                </a:cubicBezTo>
                <a:cubicBezTo>
                  <a:pt x="5" y="120"/>
                  <a:pt x="5" y="120"/>
                  <a:pt x="5" y="120"/>
                </a:cubicBezTo>
                <a:cubicBezTo>
                  <a:pt x="5" y="20"/>
                  <a:pt x="5" y="20"/>
                  <a:pt x="5" y="20"/>
                </a:cubicBezTo>
                <a:cubicBezTo>
                  <a:pt x="5" y="18"/>
                  <a:pt x="7" y="16"/>
                  <a:pt x="9" y="16"/>
                </a:cubicBezTo>
                <a:close/>
                <a:moveTo>
                  <a:pt x="76" y="155"/>
                </a:moveTo>
                <a:cubicBezTo>
                  <a:pt x="9" y="155"/>
                  <a:pt x="9" y="155"/>
                  <a:pt x="9" y="155"/>
                </a:cubicBezTo>
                <a:cubicBezTo>
                  <a:pt x="7" y="155"/>
                  <a:pt x="5" y="153"/>
                  <a:pt x="5" y="151"/>
                </a:cubicBezTo>
                <a:cubicBezTo>
                  <a:pt x="5" y="125"/>
                  <a:pt x="5" y="125"/>
                  <a:pt x="5" y="125"/>
                </a:cubicBezTo>
                <a:cubicBezTo>
                  <a:pt x="80" y="125"/>
                  <a:pt x="80" y="125"/>
                  <a:pt x="80" y="125"/>
                </a:cubicBezTo>
                <a:cubicBezTo>
                  <a:pt x="80" y="151"/>
                  <a:pt x="80" y="151"/>
                  <a:pt x="80" y="151"/>
                </a:cubicBezTo>
                <a:cubicBezTo>
                  <a:pt x="80" y="153"/>
                  <a:pt x="78" y="155"/>
                  <a:pt x="76"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70" name="Freeform 1047">
            <a:extLst>
              <a:ext uri="{FF2B5EF4-FFF2-40B4-BE49-F238E27FC236}">
                <a16:creationId xmlns:a16="http://schemas.microsoft.com/office/drawing/2014/main" id="{3049E33F-4D3E-524B-BB77-48DAA5EE5DF0}"/>
              </a:ext>
            </a:extLst>
          </p:cNvPr>
          <p:cNvSpPr>
            <a:spLocks noEditPoints="1"/>
          </p:cNvSpPr>
          <p:nvPr/>
        </p:nvSpPr>
        <p:spPr bwMode="auto">
          <a:xfrm>
            <a:off x="2609733" y="2841625"/>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32 w 85"/>
              <a:gd name="T27" fmla="*/ 5 h 160"/>
              <a:gd name="T28" fmla="*/ 53 w 85"/>
              <a:gd name="T29" fmla="*/ 5 h 160"/>
              <a:gd name="T30" fmla="*/ 53 w 85"/>
              <a:gd name="T31" fmla="*/ 11 h 160"/>
              <a:gd name="T32" fmla="*/ 32 w 85"/>
              <a:gd name="T33" fmla="*/ 11 h 160"/>
              <a:gd name="T34" fmla="*/ 32 w 85"/>
              <a:gd name="T35" fmla="*/ 5 h 160"/>
              <a:gd name="T36" fmla="*/ 80 w 85"/>
              <a:gd name="T37" fmla="*/ 151 h 160"/>
              <a:gd name="T38" fmla="*/ 76 w 85"/>
              <a:gd name="T39" fmla="*/ 155 h 160"/>
              <a:gd name="T40" fmla="*/ 9 w 85"/>
              <a:gd name="T41" fmla="*/ 155 h 160"/>
              <a:gd name="T42" fmla="*/ 5 w 85"/>
              <a:gd name="T43" fmla="*/ 151 h 160"/>
              <a:gd name="T44" fmla="*/ 5 w 85"/>
              <a:gd name="T45" fmla="*/ 20 h 160"/>
              <a:gd name="T46" fmla="*/ 9 w 85"/>
              <a:gd name="T47" fmla="*/ 16 h 160"/>
              <a:gd name="T48" fmla="*/ 27 w 85"/>
              <a:gd name="T49" fmla="*/ 16 h 160"/>
              <a:gd name="T50" fmla="*/ 59 w 85"/>
              <a:gd name="T51" fmla="*/ 16 h 160"/>
              <a:gd name="T52" fmla="*/ 76 w 85"/>
              <a:gd name="T53" fmla="*/ 16 h 160"/>
              <a:gd name="T54" fmla="*/ 80 w 85"/>
              <a:gd name="T55" fmla="*/ 20 h 160"/>
              <a:gd name="T56" fmla="*/ 80 w 85"/>
              <a:gd name="T57" fmla="*/ 15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80" y="151"/>
                </a:moveTo>
                <a:cubicBezTo>
                  <a:pt x="80" y="153"/>
                  <a:pt x="78" y="155"/>
                  <a:pt x="76" y="155"/>
                </a:cubicBezTo>
                <a:cubicBezTo>
                  <a:pt x="9" y="155"/>
                  <a:pt x="9" y="155"/>
                  <a:pt x="9" y="155"/>
                </a:cubicBezTo>
                <a:cubicBezTo>
                  <a:pt x="7" y="155"/>
                  <a:pt x="5" y="153"/>
                  <a:pt x="5" y="151"/>
                </a:cubicBezTo>
                <a:cubicBezTo>
                  <a:pt x="5" y="20"/>
                  <a:pt x="5" y="20"/>
                  <a:pt x="5" y="20"/>
                </a:cubicBezTo>
                <a:cubicBezTo>
                  <a:pt x="5" y="18"/>
                  <a:pt x="7" y="16"/>
                  <a:pt x="9" y="16"/>
                </a:cubicBezTo>
                <a:cubicBezTo>
                  <a:pt x="27" y="16"/>
                  <a:pt x="27" y="16"/>
                  <a:pt x="27" y="16"/>
                </a:cubicBezTo>
                <a:cubicBezTo>
                  <a:pt x="59" y="16"/>
                  <a:pt x="59" y="16"/>
                  <a:pt x="59" y="16"/>
                </a:cubicBezTo>
                <a:cubicBezTo>
                  <a:pt x="76" y="16"/>
                  <a:pt x="76" y="16"/>
                  <a:pt x="76" y="16"/>
                </a:cubicBezTo>
                <a:cubicBezTo>
                  <a:pt x="78" y="16"/>
                  <a:pt x="80" y="18"/>
                  <a:pt x="80" y="20"/>
                </a:cubicBezTo>
                <a:lnTo>
                  <a:pt x="80" y="15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71" name="Freeform 1048">
            <a:extLst>
              <a:ext uri="{FF2B5EF4-FFF2-40B4-BE49-F238E27FC236}">
                <a16:creationId xmlns:a16="http://schemas.microsoft.com/office/drawing/2014/main" id="{04477B35-F46B-2349-B9F1-4DA412D28A38}"/>
              </a:ext>
            </a:extLst>
          </p:cNvPr>
          <p:cNvSpPr>
            <a:spLocks noEditPoints="1"/>
          </p:cNvSpPr>
          <p:nvPr/>
        </p:nvSpPr>
        <p:spPr bwMode="auto">
          <a:xfrm>
            <a:off x="2555758" y="3462338"/>
            <a:ext cx="420688" cy="549275"/>
          </a:xfrm>
          <a:custGeom>
            <a:avLst/>
            <a:gdLst>
              <a:gd name="T0" fmla="*/ 9 w 123"/>
              <a:gd name="T1" fmla="*/ 11 h 160"/>
              <a:gd name="T2" fmla="*/ 85 w 123"/>
              <a:gd name="T3" fmla="*/ 102 h 160"/>
              <a:gd name="T4" fmla="*/ 53 w 123"/>
              <a:gd name="T5" fmla="*/ 5 h 160"/>
              <a:gd name="T6" fmla="*/ 70 w 123"/>
              <a:gd name="T7" fmla="*/ 91 h 160"/>
              <a:gd name="T8" fmla="*/ 53 w 123"/>
              <a:gd name="T9" fmla="*/ 83 h 160"/>
              <a:gd name="T10" fmla="*/ 56 w 123"/>
              <a:gd name="T11" fmla="*/ 104 h 160"/>
              <a:gd name="T12" fmla="*/ 64 w 123"/>
              <a:gd name="T13" fmla="*/ 112 h 160"/>
              <a:gd name="T14" fmla="*/ 80 w 123"/>
              <a:gd name="T15" fmla="*/ 125 h 160"/>
              <a:gd name="T16" fmla="*/ 8 w 123"/>
              <a:gd name="T17" fmla="*/ 149 h 160"/>
              <a:gd name="T18" fmla="*/ 8 w 123"/>
              <a:gd name="T19" fmla="*/ 117 h 160"/>
              <a:gd name="T20" fmla="*/ 8 w 123"/>
              <a:gd name="T21" fmla="*/ 85 h 160"/>
              <a:gd name="T22" fmla="*/ 8 w 123"/>
              <a:gd name="T23" fmla="*/ 53 h 160"/>
              <a:gd name="T24" fmla="*/ 76 w 123"/>
              <a:gd name="T25" fmla="*/ 16 h 160"/>
              <a:gd name="T26" fmla="*/ 11 w 123"/>
              <a:gd name="T27" fmla="*/ 61 h 160"/>
              <a:gd name="T28" fmla="*/ 21 w 123"/>
              <a:gd name="T29" fmla="*/ 51 h 160"/>
              <a:gd name="T30" fmla="*/ 29 w 123"/>
              <a:gd name="T31" fmla="*/ 59 h 160"/>
              <a:gd name="T32" fmla="*/ 40 w 123"/>
              <a:gd name="T33" fmla="*/ 69 h 160"/>
              <a:gd name="T34" fmla="*/ 13 w 123"/>
              <a:gd name="T35" fmla="*/ 80 h 160"/>
              <a:gd name="T36" fmla="*/ 11 w 123"/>
              <a:gd name="T37" fmla="*/ 93 h 160"/>
              <a:gd name="T38" fmla="*/ 21 w 123"/>
              <a:gd name="T39" fmla="*/ 83 h 160"/>
              <a:gd name="T40" fmla="*/ 29 w 123"/>
              <a:gd name="T41" fmla="*/ 75 h 160"/>
              <a:gd name="T42" fmla="*/ 32 w 123"/>
              <a:gd name="T43" fmla="*/ 93 h 160"/>
              <a:gd name="T44" fmla="*/ 45 w 123"/>
              <a:gd name="T45" fmla="*/ 96 h 160"/>
              <a:gd name="T46" fmla="*/ 35 w 123"/>
              <a:gd name="T47" fmla="*/ 85 h 160"/>
              <a:gd name="T48" fmla="*/ 93 w 123"/>
              <a:gd name="T49" fmla="*/ 96 h 160"/>
              <a:gd name="T50" fmla="*/ 99 w 123"/>
              <a:gd name="T51" fmla="*/ 104 h 160"/>
              <a:gd name="T52" fmla="*/ 107 w 123"/>
              <a:gd name="T53" fmla="*/ 125 h 160"/>
              <a:gd name="T54" fmla="*/ 107 w 123"/>
              <a:gd name="T55" fmla="*/ 136 h 160"/>
              <a:gd name="T56" fmla="*/ 112 w 123"/>
              <a:gd name="T57" fmla="*/ 144 h 160"/>
              <a:gd name="T58" fmla="*/ 109 w 123"/>
              <a:gd name="T59" fmla="*/ 115 h 160"/>
              <a:gd name="T60" fmla="*/ 115 w 123"/>
              <a:gd name="T61" fmla="*/ 125 h 160"/>
              <a:gd name="T62" fmla="*/ 109 w 123"/>
              <a:gd name="T63" fmla="*/ 144 h 160"/>
              <a:gd name="T64" fmla="*/ 120 w 123"/>
              <a:gd name="T65" fmla="*/ 139 h 160"/>
              <a:gd name="T66" fmla="*/ 115 w 123"/>
              <a:gd name="T67" fmla="*/ 155 h 160"/>
              <a:gd name="T68" fmla="*/ 37 w 123"/>
              <a:gd name="T69" fmla="*/ 99 h 160"/>
              <a:gd name="T70" fmla="*/ 13 w 123"/>
              <a:gd name="T71" fmla="*/ 123 h 160"/>
              <a:gd name="T72" fmla="*/ 24 w 123"/>
              <a:gd name="T73" fmla="*/ 117 h 160"/>
              <a:gd name="T74" fmla="*/ 21 w 123"/>
              <a:gd name="T75" fmla="*/ 136 h 160"/>
              <a:gd name="T76" fmla="*/ 27 w 123"/>
              <a:gd name="T77" fmla="*/ 109 h 160"/>
              <a:gd name="T78" fmla="*/ 45 w 123"/>
              <a:gd name="T79" fmla="*/ 107 h 160"/>
              <a:gd name="T80" fmla="*/ 45 w 123"/>
              <a:gd name="T81" fmla="*/ 123 h 160"/>
              <a:gd name="T82" fmla="*/ 40 w 123"/>
              <a:gd name="T83" fmla="*/ 117 h 160"/>
              <a:gd name="T84" fmla="*/ 53 w 123"/>
              <a:gd name="T85" fmla="*/ 120 h 160"/>
              <a:gd name="T86" fmla="*/ 35 w 123"/>
              <a:gd name="T87" fmla="*/ 133 h 160"/>
              <a:gd name="T88" fmla="*/ 53 w 123"/>
              <a:gd name="T89" fmla="*/ 131 h 160"/>
              <a:gd name="T90" fmla="*/ 61 w 123"/>
              <a:gd name="T91" fmla="*/ 123 h 160"/>
              <a:gd name="T92" fmla="*/ 80 w 123"/>
              <a:gd name="T93" fmla="*/ 125 h 160"/>
              <a:gd name="T94" fmla="*/ 69 w 123"/>
              <a:gd name="T95" fmla="*/ 120 h 160"/>
              <a:gd name="T96" fmla="*/ 67 w 123"/>
              <a:gd name="T97" fmla="*/ 133 h 160"/>
              <a:gd name="T98" fmla="*/ 13 w 123"/>
              <a:gd name="T99" fmla="*/ 139 h 160"/>
              <a:gd name="T100" fmla="*/ 29 w 123"/>
              <a:gd name="T101" fmla="*/ 139 h 160"/>
              <a:gd name="T102" fmla="*/ 48 w 123"/>
              <a:gd name="T103" fmla="*/ 141 h 160"/>
              <a:gd name="T104" fmla="*/ 37 w 123"/>
              <a:gd name="T105" fmla="*/ 152 h 160"/>
              <a:gd name="T106" fmla="*/ 51 w 123"/>
              <a:gd name="T107" fmla="*/ 149 h 160"/>
              <a:gd name="T108" fmla="*/ 61 w 123"/>
              <a:gd name="T109" fmla="*/ 139 h 160"/>
              <a:gd name="T110" fmla="*/ 69 w 123"/>
              <a:gd name="T111" fmla="*/ 1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102"/>
                  <a:pt x="85" y="102"/>
                  <a:pt x="85" y="102"/>
                </a:cubicBezTo>
                <a:cubicBezTo>
                  <a:pt x="80" y="93"/>
                  <a:pt x="80" y="93"/>
                  <a:pt x="80" y="93"/>
                </a:cubicBezTo>
                <a:cubicBezTo>
                  <a:pt x="85" y="85"/>
                  <a:pt x="85" y="85"/>
                  <a:pt x="85" y="85"/>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80" y="83"/>
                </a:moveTo>
                <a:cubicBezTo>
                  <a:pt x="76" y="91"/>
                  <a:pt x="76" y="91"/>
                  <a:pt x="76" y="91"/>
                </a:cubicBezTo>
                <a:cubicBezTo>
                  <a:pt x="70" y="91"/>
                  <a:pt x="70" y="91"/>
                  <a:pt x="70" y="91"/>
                </a:cubicBezTo>
                <a:cubicBezTo>
                  <a:pt x="64" y="84"/>
                  <a:pt x="64" y="84"/>
                  <a:pt x="64" y="84"/>
                </a:cubicBezTo>
                <a:cubicBezTo>
                  <a:pt x="64" y="77"/>
                  <a:pt x="64" y="77"/>
                  <a:pt x="64" y="77"/>
                </a:cubicBezTo>
                <a:cubicBezTo>
                  <a:pt x="64" y="76"/>
                  <a:pt x="63" y="75"/>
                  <a:pt x="61" y="75"/>
                </a:cubicBezTo>
                <a:cubicBezTo>
                  <a:pt x="60" y="75"/>
                  <a:pt x="59" y="76"/>
                  <a:pt x="59" y="77"/>
                </a:cubicBezTo>
                <a:cubicBezTo>
                  <a:pt x="59" y="83"/>
                  <a:pt x="59" y="83"/>
                  <a:pt x="59" y="83"/>
                </a:cubicBezTo>
                <a:cubicBezTo>
                  <a:pt x="53" y="83"/>
                  <a:pt x="53" y="83"/>
                  <a:pt x="53" y="83"/>
                </a:cubicBezTo>
                <a:cubicBezTo>
                  <a:pt x="52" y="83"/>
                  <a:pt x="51" y="84"/>
                  <a:pt x="51" y="85"/>
                </a:cubicBezTo>
                <a:cubicBezTo>
                  <a:pt x="51" y="87"/>
                  <a:pt x="52" y="88"/>
                  <a:pt x="53" y="88"/>
                </a:cubicBezTo>
                <a:cubicBezTo>
                  <a:pt x="60" y="88"/>
                  <a:pt x="60" y="88"/>
                  <a:pt x="60" y="88"/>
                </a:cubicBezTo>
                <a:cubicBezTo>
                  <a:pt x="66" y="94"/>
                  <a:pt x="66" y="94"/>
                  <a:pt x="66" y="94"/>
                </a:cubicBezTo>
                <a:cubicBezTo>
                  <a:pt x="60" y="104"/>
                  <a:pt x="60" y="104"/>
                  <a:pt x="60" y="104"/>
                </a:cubicBezTo>
                <a:cubicBezTo>
                  <a:pt x="56" y="104"/>
                  <a:pt x="56" y="104"/>
                  <a:pt x="56" y="104"/>
                </a:cubicBezTo>
                <a:cubicBezTo>
                  <a:pt x="55" y="104"/>
                  <a:pt x="53" y="105"/>
                  <a:pt x="53" y="107"/>
                </a:cubicBezTo>
                <a:cubicBezTo>
                  <a:pt x="53" y="108"/>
                  <a:pt x="55" y="109"/>
                  <a:pt x="56" y="109"/>
                </a:cubicBezTo>
                <a:cubicBezTo>
                  <a:pt x="59" y="109"/>
                  <a:pt x="59" y="109"/>
                  <a:pt x="59" y="109"/>
                </a:cubicBezTo>
                <a:cubicBezTo>
                  <a:pt x="59" y="112"/>
                  <a:pt x="59" y="112"/>
                  <a:pt x="59" y="112"/>
                </a:cubicBezTo>
                <a:cubicBezTo>
                  <a:pt x="59" y="113"/>
                  <a:pt x="60" y="115"/>
                  <a:pt x="61" y="115"/>
                </a:cubicBezTo>
                <a:cubicBezTo>
                  <a:pt x="63" y="115"/>
                  <a:pt x="64" y="113"/>
                  <a:pt x="64" y="112"/>
                </a:cubicBezTo>
                <a:cubicBezTo>
                  <a:pt x="64" y="107"/>
                  <a:pt x="64" y="107"/>
                  <a:pt x="64" y="107"/>
                </a:cubicBezTo>
                <a:cubicBezTo>
                  <a:pt x="71" y="96"/>
                  <a:pt x="71" y="96"/>
                  <a:pt x="71" y="96"/>
                </a:cubicBezTo>
                <a:cubicBezTo>
                  <a:pt x="76" y="96"/>
                  <a:pt x="76" y="96"/>
                  <a:pt x="76" y="96"/>
                </a:cubicBezTo>
                <a:cubicBezTo>
                  <a:pt x="80" y="103"/>
                  <a:pt x="80" y="103"/>
                  <a:pt x="80" y="103"/>
                </a:cubicBezTo>
                <a:cubicBezTo>
                  <a:pt x="80" y="109"/>
                  <a:pt x="80" y="109"/>
                  <a:pt x="80" y="109"/>
                </a:cubicBezTo>
                <a:cubicBezTo>
                  <a:pt x="80" y="125"/>
                  <a:pt x="80" y="125"/>
                  <a:pt x="80" y="125"/>
                </a:cubicBezTo>
                <a:cubicBezTo>
                  <a:pt x="80" y="141"/>
                  <a:pt x="80" y="141"/>
                  <a:pt x="80" y="141"/>
                </a:cubicBezTo>
                <a:cubicBezTo>
                  <a:pt x="80" y="151"/>
                  <a:pt x="80" y="151"/>
                  <a:pt x="80" y="151"/>
                </a:cubicBezTo>
                <a:cubicBezTo>
                  <a:pt x="80" y="153"/>
                  <a:pt x="78" y="155"/>
                  <a:pt x="76" y="155"/>
                </a:cubicBezTo>
                <a:cubicBezTo>
                  <a:pt x="9" y="155"/>
                  <a:pt x="9" y="155"/>
                  <a:pt x="9" y="155"/>
                </a:cubicBezTo>
                <a:cubicBezTo>
                  <a:pt x="8" y="155"/>
                  <a:pt x="6" y="154"/>
                  <a:pt x="6" y="152"/>
                </a:cubicBezTo>
                <a:cubicBezTo>
                  <a:pt x="7" y="152"/>
                  <a:pt x="8" y="151"/>
                  <a:pt x="8" y="149"/>
                </a:cubicBezTo>
                <a:cubicBezTo>
                  <a:pt x="8" y="148"/>
                  <a:pt x="7" y="147"/>
                  <a:pt x="5" y="147"/>
                </a:cubicBezTo>
                <a:cubicBezTo>
                  <a:pt x="5" y="136"/>
                  <a:pt x="5" y="136"/>
                  <a:pt x="5" y="136"/>
                </a:cubicBezTo>
                <a:cubicBezTo>
                  <a:pt x="7" y="136"/>
                  <a:pt x="8" y="135"/>
                  <a:pt x="8" y="133"/>
                </a:cubicBezTo>
                <a:cubicBezTo>
                  <a:pt x="8" y="132"/>
                  <a:pt x="7" y="131"/>
                  <a:pt x="5" y="131"/>
                </a:cubicBezTo>
                <a:cubicBezTo>
                  <a:pt x="5" y="120"/>
                  <a:pt x="5" y="120"/>
                  <a:pt x="5" y="120"/>
                </a:cubicBezTo>
                <a:cubicBezTo>
                  <a:pt x="7" y="120"/>
                  <a:pt x="8" y="119"/>
                  <a:pt x="8" y="117"/>
                </a:cubicBezTo>
                <a:cubicBezTo>
                  <a:pt x="8" y="116"/>
                  <a:pt x="7" y="115"/>
                  <a:pt x="5" y="115"/>
                </a:cubicBezTo>
                <a:cubicBezTo>
                  <a:pt x="5" y="104"/>
                  <a:pt x="5" y="104"/>
                  <a:pt x="5" y="104"/>
                </a:cubicBezTo>
                <a:cubicBezTo>
                  <a:pt x="7" y="104"/>
                  <a:pt x="8" y="103"/>
                  <a:pt x="8" y="101"/>
                </a:cubicBezTo>
                <a:cubicBezTo>
                  <a:pt x="8" y="100"/>
                  <a:pt x="7" y="99"/>
                  <a:pt x="5" y="99"/>
                </a:cubicBezTo>
                <a:cubicBezTo>
                  <a:pt x="5" y="88"/>
                  <a:pt x="5" y="88"/>
                  <a:pt x="5" y="88"/>
                </a:cubicBezTo>
                <a:cubicBezTo>
                  <a:pt x="7" y="88"/>
                  <a:pt x="8" y="87"/>
                  <a:pt x="8" y="85"/>
                </a:cubicBezTo>
                <a:cubicBezTo>
                  <a:pt x="8" y="84"/>
                  <a:pt x="7" y="83"/>
                  <a:pt x="5" y="83"/>
                </a:cubicBezTo>
                <a:cubicBezTo>
                  <a:pt x="5" y="72"/>
                  <a:pt x="5" y="72"/>
                  <a:pt x="5" y="72"/>
                </a:cubicBezTo>
                <a:cubicBezTo>
                  <a:pt x="7" y="72"/>
                  <a:pt x="8" y="71"/>
                  <a:pt x="8" y="69"/>
                </a:cubicBezTo>
                <a:cubicBezTo>
                  <a:pt x="8" y="68"/>
                  <a:pt x="7" y="67"/>
                  <a:pt x="5" y="67"/>
                </a:cubicBezTo>
                <a:cubicBezTo>
                  <a:pt x="5" y="56"/>
                  <a:pt x="5" y="56"/>
                  <a:pt x="5" y="56"/>
                </a:cubicBezTo>
                <a:cubicBezTo>
                  <a:pt x="7" y="56"/>
                  <a:pt x="8" y="55"/>
                  <a:pt x="8" y="53"/>
                </a:cubicBezTo>
                <a:cubicBezTo>
                  <a:pt x="8" y="52"/>
                  <a:pt x="7" y="51"/>
                  <a:pt x="5" y="51"/>
                </a:cubicBezTo>
                <a:cubicBezTo>
                  <a:pt x="5" y="20"/>
                  <a:pt x="5" y="20"/>
                  <a:pt x="5" y="20"/>
                </a:cubicBezTo>
                <a:cubicBezTo>
                  <a:pt x="5" y="18"/>
                  <a:pt x="7" y="16"/>
                  <a:pt x="9" y="16"/>
                </a:cubicBezTo>
                <a:cubicBezTo>
                  <a:pt x="27" y="16"/>
                  <a:pt x="27" y="16"/>
                  <a:pt x="27" y="16"/>
                </a:cubicBezTo>
                <a:cubicBezTo>
                  <a:pt x="59" y="16"/>
                  <a:pt x="59" y="16"/>
                  <a:pt x="59" y="16"/>
                </a:cubicBezTo>
                <a:cubicBezTo>
                  <a:pt x="76" y="16"/>
                  <a:pt x="76" y="16"/>
                  <a:pt x="76" y="16"/>
                </a:cubicBezTo>
                <a:cubicBezTo>
                  <a:pt x="78" y="16"/>
                  <a:pt x="80" y="18"/>
                  <a:pt x="80" y="20"/>
                </a:cubicBezTo>
                <a:lnTo>
                  <a:pt x="80" y="83"/>
                </a:lnTo>
                <a:close/>
                <a:moveTo>
                  <a:pt x="13" y="59"/>
                </a:moveTo>
                <a:cubicBezTo>
                  <a:pt x="15" y="59"/>
                  <a:pt x="16" y="60"/>
                  <a:pt x="16" y="61"/>
                </a:cubicBezTo>
                <a:cubicBezTo>
                  <a:pt x="16" y="63"/>
                  <a:pt x="15" y="64"/>
                  <a:pt x="13" y="64"/>
                </a:cubicBezTo>
                <a:cubicBezTo>
                  <a:pt x="12" y="64"/>
                  <a:pt x="11" y="63"/>
                  <a:pt x="11" y="61"/>
                </a:cubicBezTo>
                <a:cubicBezTo>
                  <a:pt x="11" y="60"/>
                  <a:pt x="12" y="59"/>
                  <a:pt x="13" y="59"/>
                </a:cubicBezTo>
                <a:close/>
                <a:moveTo>
                  <a:pt x="21" y="51"/>
                </a:moveTo>
                <a:cubicBezTo>
                  <a:pt x="23" y="51"/>
                  <a:pt x="24" y="52"/>
                  <a:pt x="24" y="53"/>
                </a:cubicBezTo>
                <a:cubicBezTo>
                  <a:pt x="24" y="55"/>
                  <a:pt x="23" y="56"/>
                  <a:pt x="21" y="56"/>
                </a:cubicBezTo>
                <a:cubicBezTo>
                  <a:pt x="20" y="56"/>
                  <a:pt x="19" y="55"/>
                  <a:pt x="19" y="53"/>
                </a:cubicBezTo>
                <a:cubicBezTo>
                  <a:pt x="19" y="52"/>
                  <a:pt x="20" y="51"/>
                  <a:pt x="21" y="51"/>
                </a:cubicBezTo>
                <a:close/>
                <a:moveTo>
                  <a:pt x="21" y="67"/>
                </a:moveTo>
                <a:cubicBezTo>
                  <a:pt x="23" y="67"/>
                  <a:pt x="24" y="68"/>
                  <a:pt x="24" y="69"/>
                </a:cubicBezTo>
                <a:cubicBezTo>
                  <a:pt x="24" y="71"/>
                  <a:pt x="23" y="72"/>
                  <a:pt x="21" y="72"/>
                </a:cubicBezTo>
                <a:cubicBezTo>
                  <a:pt x="20" y="72"/>
                  <a:pt x="19" y="71"/>
                  <a:pt x="19" y="69"/>
                </a:cubicBezTo>
                <a:cubicBezTo>
                  <a:pt x="19" y="68"/>
                  <a:pt x="20" y="67"/>
                  <a:pt x="21" y="67"/>
                </a:cubicBezTo>
                <a:close/>
                <a:moveTo>
                  <a:pt x="29" y="59"/>
                </a:moveTo>
                <a:cubicBezTo>
                  <a:pt x="31" y="59"/>
                  <a:pt x="32" y="60"/>
                  <a:pt x="32" y="61"/>
                </a:cubicBezTo>
                <a:cubicBezTo>
                  <a:pt x="32" y="63"/>
                  <a:pt x="31" y="64"/>
                  <a:pt x="29" y="64"/>
                </a:cubicBezTo>
                <a:cubicBezTo>
                  <a:pt x="28" y="64"/>
                  <a:pt x="27" y="63"/>
                  <a:pt x="27" y="61"/>
                </a:cubicBezTo>
                <a:cubicBezTo>
                  <a:pt x="27" y="60"/>
                  <a:pt x="28" y="59"/>
                  <a:pt x="29" y="59"/>
                </a:cubicBezTo>
                <a:close/>
                <a:moveTo>
                  <a:pt x="37" y="67"/>
                </a:moveTo>
                <a:cubicBezTo>
                  <a:pt x="39" y="67"/>
                  <a:pt x="40" y="68"/>
                  <a:pt x="40" y="69"/>
                </a:cubicBezTo>
                <a:cubicBezTo>
                  <a:pt x="40" y="71"/>
                  <a:pt x="39" y="72"/>
                  <a:pt x="37" y="72"/>
                </a:cubicBezTo>
                <a:cubicBezTo>
                  <a:pt x="36" y="72"/>
                  <a:pt x="35" y="71"/>
                  <a:pt x="35" y="69"/>
                </a:cubicBezTo>
                <a:cubicBezTo>
                  <a:pt x="35" y="68"/>
                  <a:pt x="36" y="67"/>
                  <a:pt x="37" y="67"/>
                </a:cubicBezTo>
                <a:close/>
                <a:moveTo>
                  <a:pt x="13" y="75"/>
                </a:moveTo>
                <a:cubicBezTo>
                  <a:pt x="15" y="75"/>
                  <a:pt x="16" y="76"/>
                  <a:pt x="16" y="77"/>
                </a:cubicBezTo>
                <a:cubicBezTo>
                  <a:pt x="16" y="79"/>
                  <a:pt x="15" y="80"/>
                  <a:pt x="13" y="80"/>
                </a:cubicBezTo>
                <a:cubicBezTo>
                  <a:pt x="12" y="80"/>
                  <a:pt x="11" y="79"/>
                  <a:pt x="11" y="77"/>
                </a:cubicBezTo>
                <a:cubicBezTo>
                  <a:pt x="11" y="76"/>
                  <a:pt x="12" y="75"/>
                  <a:pt x="13" y="75"/>
                </a:cubicBezTo>
                <a:close/>
                <a:moveTo>
                  <a:pt x="13" y="91"/>
                </a:moveTo>
                <a:cubicBezTo>
                  <a:pt x="15" y="91"/>
                  <a:pt x="16" y="92"/>
                  <a:pt x="16" y="93"/>
                </a:cubicBezTo>
                <a:cubicBezTo>
                  <a:pt x="16" y="95"/>
                  <a:pt x="15" y="96"/>
                  <a:pt x="13" y="96"/>
                </a:cubicBezTo>
                <a:cubicBezTo>
                  <a:pt x="12" y="96"/>
                  <a:pt x="11" y="95"/>
                  <a:pt x="11" y="93"/>
                </a:cubicBezTo>
                <a:cubicBezTo>
                  <a:pt x="11" y="92"/>
                  <a:pt x="12" y="91"/>
                  <a:pt x="13" y="91"/>
                </a:cubicBezTo>
                <a:close/>
                <a:moveTo>
                  <a:pt x="21" y="83"/>
                </a:moveTo>
                <a:cubicBezTo>
                  <a:pt x="23" y="83"/>
                  <a:pt x="24" y="84"/>
                  <a:pt x="24" y="85"/>
                </a:cubicBezTo>
                <a:cubicBezTo>
                  <a:pt x="24" y="87"/>
                  <a:pt x="23" y="88"/>
                  <a:pt x="21" y="88"/>
                </a:cubicBezTo>
                <a:cubicBezTo>
                  <a:pt x="20" y="88"/>
                  <a:pt x="19" y="87"/>
                  <a:pt x="19" y="85"/>
                </a:cubicBezTo>
                <a:cubicBezTo>
                  <a:pt x="19" y="84"/>
                  <a:pt x="20" y="83"/>
                  <a:pt x="21" y="83"/>
                </a:cubicBezTo>
                <a:close/>
                <a:moveTo>
                  <a:pt x="21" y="99"/>
                </a:moveTo>
                <a:cubicBezTo>
                  <a:pt x="23" y="99"/>
                  <a:pt x="24" y="100"/>
                  <a:pt x="24" y="101"/>
                </a:cubicBezTo>
                <a:cubicBezTo>
                  <a:pt x="24" y="103"/>
                  <a:pt x="23" y="104"/>
                  <a:pt x="21" y="104"/>
                </a:cubicBezTo>
                <a:cubicBezTo>
                  <a:pt x="20" y="104"/>
                  <a:pt x="19" y="103"/>
                  <a:pt x="19" y="101"/>
                </a:cubicBezTo>
                <a:cubicBezTo>
                  <a:pt x="19" y="100"/>
                  <a:pt x="20" y="99"/>
                  <a:pt x="21" y="99"/>
                </a:cubicBezTo>
                <a:close/>
                <a:moveTo>
                  <a:pt x="29" y="75"/>
                </a:moveTo>
                <a:cubicBezTo>
                  <a:pt x="31" y="75"/>
                  <a:pt x="32" y="76"/>
                  <a:pt x="32" y="77"/>
                </a:cubicBezTo>
                <a:cubicBezTo>
                  <a:pt x="32" y="79"/>
                  <a:pt x="31" y="80"/>
                  <a:pt x="29" y="80"/>
                </a:cubicBezTo>
                <a:cubicBezTo>
                  <a:pt x="28" y="80"/>
                  <a:pt x="27" y="79"/>
                  <a:pt x="27" y="77"/>
                </a:cubicBezTo>
                <a:cubicBezTo>
                  <a:pt x="27" y="76"/>
                  <a:pt x="28" y="75"/>
                  <a:pt x="29" y="75"/>
                </a:cubicBezTo>
                <a:close/>
                <a:moveTo>
                  <a:pt x="29" y="91"/>
                </a:moveTo>
                <a:cubicBezTo>
                  <a:pt x="31" y="91"/>
                  <a:pt x="32" y="92"/>
                  <a:pt x="32" y="93"/>
                </a:cubicBezTo>
                <a:cubicBezTo>
                  <a:pt x="32" y="95"/>
                  <a:pt x="31" y="96"/>
                  <a:pt x="29" y="96"/>
                </a:cubicBezTo>
                <a:cubicBezTo>
                  <a:pt x="28" y="96"/>
                  <a:pt x="27" y="95"/>
                  <a:pt x="27" y="93"/>
                </a:cubicBezTo>
                <a:cubicBezTo>
                  <a:pt x="27" y="92"/>
                  <a:pt x="28" y="91"/>
                  <a:pt x="29" y="91"/>
                </a:cubicBezTo>
                <a:close/>
                <a:moveTo>
                  <a:pt x="45" y="91"/>
                </a:moveTo>
                <a:cubicBezTo>
                  <a:pt x="47" y="91"/>
                  <a:pt x="48" y="92"/>
                  <a:pt x="48" y="93"/>
                </a:cubicBezTo>
                <a:cubicBezTo>
                  <a:pt x="48" y="95"/>
                  <a:pt x="47" y="96"/>
                  <a:pt x="45" y="96"/>
                </a:cubicBezTo>
                <a:cubicBezTo>
                  <a:pt x="44" y="96"/>
                  <a:pt x="43" y="95"/>
                  <a:pt x="43" y="93"/>
                </a:cubicBezTo>
                <a:cubicBezTo>
                  <a:pt x="43" y="92"/>
                  <a:pt x="44" y="91"/>
                  <a:pt x="45" y="91"/>
                </a:cubicBezTo>
                <a:close/>
                <a:moveTo>
                  <a:pt x="37" y="83"/>
                </a:moveTo>
                <a:cubicBezTo>
                  <a:pt x="39" y="83"/>
                  <a:pt x="40" y="84"/>
                  <a:pt x="40" y="85"/>
                </a:cubicBezTo>
                <a:cubicBezTo>
                  <a:pt x="40" y="87"/>
                  <a:pt x="39" y="88"/>
                  <a:pt x="37" y="88"/>
                </a:cubicBezTo>
                <a:cubicBezTo>
                  <a:pt x="36" y="88"/>
                  <a:pt x="35" y="87"/>
                  <a:pt x="35" y="85"/>
                </a:cubicBezTo>
                <a:cubicBezTo>
                  <a:pt x="35" y="84"/>
                  <a:pt x="36" y="83"/>
                  <a:pt x="37" y="83"/>
                </a:cubicBezTo>
                <a:close/>
                <a:moveTo>
                  <a:pt x="93" y="96"/>
                </a:moveTo>
                <a:cubicBezTo>
                  <a:pt x="95" y="96"/>
                  <a:pt x="96" y="97"/>
                  <a:pt x="96" y="99"/>
                </a:cubicBezTo>
                <a:cubicBezTo>
                  <a:pt x="96" y="100"/>
                  <a:pt x="95" y="101"/>
                  <a:pt x="93" y="101"/>
                </a:cubicBezTo>
                <a:cubicBezTo>
                  <a:pt x="92" y="101"/>
                  <a:pt x="91" y="100"/>
                  <a:pt x="91" y="99"/>
                </a:cubicBezTo>
                <a:cubicBezTo>
                  <a:pt x="91" y="97"/>
                  <a:pt x="92" y="96"/>
                  <a:pt x="93" y="96"/>
                </a:cubicBezTo>
                <a:close/>
                <a:moveTo>
                  <a:pt x="99" y="115"/>
                </a:moveTo>
                <a:cubicBezTo>
                  <a:pt x="100" y="115"/>
                  <a:pt x="101" y="116"/>
                  <a:pt x="101" y="117"/>
                </a:cubicBezTo>
                <a:cubicBezTo>
                  <a:pt x="101" y="119"/>
                  <a:pt x="100" y="120"/>
                  <a:pt x="99" y="120"/>
                </a:cubicBezTo>
                <a:cubicBezTo>
                  <a:pt x="97" y="120"/>
                  <a:pt x="96" y="119"/>
                  <a:pt x="96" y="117"/>
                </a:cubicBezTo>
                <a:cubicBezTo>
                  <a:pt x="96" y="116"/>
                  <a:pt x="97" y="115"/>
                  <a:pt x="99" y="115"/>
                </a:cubicBezTo>
                <a:close/>
                <a:moveTo>
                  <a:pt x="99" y="104"/>
                </a:moveTo>
                <a:cubicBezTo>
                  <a:pt x="100" y="104"/>
                  <a:pt x="101" y="105"/>
                  <a:pt x="101" y="107"/>
                </a:cubicBezTo>
                <a:cubicBezTo>
                  <a:pt x="101" y="108"/>
                  <a:pt x="100" y="109"/>
                  <a:pt x="99" y="109"/>
                </a:cubicBezTo>
                <a:cubicBezTo>
                  <a:pt x="97" y="109"/>
                  <a:pt x="96" y="108"/>
                  <a:pt x="96" y="107"/>
                </a:cubicBezTo>
                <a:cubicBezTo>
                  <a:pt x="96" y="105"/>
                  <a:pt x="97" y="104"/>
                  <a:pt x="99" y="104"/>
                </a:cubicBezTo>
                <a:close/>
                <a:moveTo>
                  <a:pt x="104" y="123"/>
                </a:moveTo>
                <a:cubicBezTo>
                  <a:pt x="105" y="123"/>
                  <a:pt x="107" y="124"/>
                  <a:pt x="107" y="125"/>
                </a:cubicBezTo>
                <a:cubicBezTo>
                  <a:pt x="107" y="127"/>
                  <a:pt x="105" y="128"/>
                  <a:pt x="104" y="128"/>
                </a:cubicBezTo>
                <a:cubicBezTo>
                  <a:pt x="103" y="128"/>
                  <a:pt x="101" y="127"/>
                  <a:pt x="101" y="125"/>
                </a:cubicBezTo>
                <a:cubicBezTo>
                  <a:pt x="101" y="124"/>
                  <a:pt x="103" y="123"/>
                  <a:pt x="104" y="123"/>
                </a:cubicBezTo>
                <a:close/>
                <a:moveTo>
                  <a:pt x="107" y="131"/>
                </a:moveTo>
                <a:cubicBezTo>
                  <a:pt x="108" y="131"/>
                  <a:pt x="109" y="132"/>
                  <a:pt x="109" y="133"/>
                </a:cubicBezTo>
                <a:cubicBezTo>
                  <a:pt x="109" y="135"/>
                  <a:pt x="108" y="136"/>
                  <a:pt x="107" y="136"/>
                </a:cubicBezTo>
                <a:cubicBezTo>
                  <a:pt x="105" y="136"/>
                  <a:pt x="104" y="135"/>
                  <a:pt x="104" y="133"/>
                </a:cubicBezTo>
                <a:cubicBezTo>
                  <a:pt x="104" y="132"/>
                  <a:pt x="105" y="131"/>
                  <a:pt x="107" y="131"/>
                </a:cubicBezTo>
                <a:close/>
                <a:moveTo>
                  <a:pt x="115" y="141"/>
                </a:moveTo>
                <a:cubicBezTo>
                  <a:pt x="116" y="141"/>
                  <a:pt x="117" y="143"/>
                  <a:pt x="117" y="144"/>
                </a:cubicBezTo>
                <a:cubicBezTo>
                  <a:pt x="117" y="145"/>
                  <a:pt x="116" y="147"/>
                  <a:pt x="115" y="147"/>
                </a:cubicBezTo>
                <a:cubicBezTo>
                  <a:pt x="113" y="147"/>
                  <a:pt x="112" y="145"/>
                  <a:pt x="112" y="144"/>
                </a:cubicBezTo>
                <a:cubicBezTo>
                  <a:pt x="112" y="143"/>
                  <a:pt x="113" y="141"/>
                  <a:pt x="115" y="141"/>
                </a:cubicBezTo>
                <a:close/>
                <a:moveTo>
                  <a:pt x="109" y="115"/>
                </a:moveTo>
                <a:cubicBezTo>
                  <a:pt x="111" y="115"/>
                  <a:pt x="112" y="116"/>
                  <a:pt x="112" y="117"/>
                </a:cubicBezTo>
                <a:cubicBezTo>
                  <a:pt x="112" y="119"/>
                  <a:pt x="111" y="120"/>
                  <a:pt x="109" y="120"/>
                </a:cubicBezTo>
                <a:cubicBezTo>
                  <a:pt x="108" y="120"/>
                  <a:pt x="107" y="119"/>
                  <a:pt x="107" y="117"/>
                </a:cubicBezTo>
                <a:cubicBezTo>
                  <a:pt x="107" y="116"/>
                  <a:pt x="108" y="115"/>
                  <a:pt x="109" y="115"/>
                </a:cubicBezTo>
                <a:close/>
                <a:moveTo>
                  <a:pt x="109" y="104"/>
                </a:moveTo>
                <a:cubicBezTo>
                  <a:pt x="111" y="104"/>
                  <a:pt x="112" y="105"/>
                  <a:pt x="112" y="107"/>
                </a:cubicBezTo>
                <a:cubicBezTo>
                  <a:pt x="112" y="108"/>
                  <a:pt x="111" y="109"/>
                  <a:pt x="109" y="109"/>
                </a:cubicBezTo>
                <a:cubicBezTo>
                  <a:pt x="108" y="109"/>
                  <a:pt x="107" y="108"/>
                  <a:pt x="107" y="107"/>
                </a:cubicBezTo>
                <a:cubicBezTo>
                  <a:pt x="107" y="105"/>
                  <a:pt x="108" y="104"/>
                  <a:pt x="109" y="104"/>
                </a:cubicBezTo>
                <a:close/>
                <a:moveTo>
                  <a:pt x="115" y="125"/>
                </a:moveTo>
                <a:cubicBezTo>
                  <a:pt x="116" y="125"/>
                  <a:pt x="117" y="127"/>
                  <a:pt x="117" y="128"/>
                </a:cubicBezTo>
                <a:cubicBezTo>
                  <a:pt x="117" y="129"/>
                  <a:pt x="116" y="131"/>
                  <a:pt x="115" y="131"/>
                </a:cubicBezTo>
                <a:cubicBezTo>
                  <a:pt x="113" y="131"/>
                  <a:pt x="112" y="129"/>
                  <a:pt x="112" y="128"/>
                </a:cubicBezTo>
                <a:cubicBezTo>
                  <a:pt x="112" y="127"/>
                  <a:pt x="113" y="125"/>
                  <a:pt x="115" y="125"/>
                </a:cubicBezTo>
                <a:close/>
                <a:moveTo>
                  <a:pt x="107" y="141"/>
                </a:moveTo>
                <a:cubicBezTo>
                  <a:pt x="108" y="141"/>
                  <a:pt x="109" y="143"/>
                  <a:pt x="109" y="144"/>
                </a:cubicBezTo>
                <a:cubicBezTo>
                  <a:pt x="109" y="145"/>
                  <a:pt x="108" y="147"/>
                  <a:pt x="107" y="147"/>
                </a:cubicBezTo>
                <a:cubicBezTo>
                  <a:pt x="105" y="147"/>
                  <a:pt x="104" y="145"/>
                  <a:pt x="104" y="144"/>
                </a:cubicBezTo>
                <a:cubicBezTo>
                  <a:pt x="104" y="143"/>
                  <a:pt x="105" y="141"/>
                  <a:pt x="107" y="141"/>
                </a:cubicBezTo>
                <a:close/>
                <a:moveTo>
                  <a:pt x="120" y="133"/>
                </a:moveTo>
                <a:cubicBezTo>
                  <a:pt x="121" y="133"/>
                  <a:pt x="123" y="135"/>
                  <a:pt x="123" y="136"/>
                </a:cubicBezTo>
                <a:cubicBezTo>
                  <a:pt x="123" y="137"/>
                  <a:pt x="121" y="139"/>
                  <a:pt x="120" y="139"/>
                </a:cubicBezTo>
                <a:cubicBezTo>
                  <a:pt x="119" y="139"/>
                  <a:pt x="117" y="137"/>
                  <a:pt x="117" y="136"/>
                </a:cubicBezTo>
                <a:cubicBezTo>
                  <a:pt x="117" y="135"/>
                  <a:pt x="119" y="133"/>
                  <a:pt x="120" y="133"/>
                </a:cubicBezTo>
                <a:close/>
                <a:moveTo>
                  <a:pt x="117" y="152"/>
                </a:moveTo>
                <a:cubicBezTo>
                  <a:pt x="119" y="152"/>
                  <a:pt x="120" y="153"/>
                  <a:pt x="120" y="155"/>
                </a:cubicBezTo>
                <a:cubicBezTo>
                  <a:pt x="120" y="156"/>
                  <a:pt x="119" y="157"/>
                  <a:pt x="117" y="157"/>
                </a:cubicBezTo>
                <a:cubicBezTo>
                  <a:pt x="116" y="157"/>
                  <a:pt x="115" y="156"/>
                  <a:pt x="115" y="155"/>
                </a:cubicBezTo>
                <a:cubicBezTo>
                  <a:pt x="115" y="153"/>
                  <a:pt x="116" y="152"/>
                  <a:pt x="117" y="152"/>
                </a:cubicBezTo>
                <a:close/>
                <a:moveTo>
                  <a:pt x="37" y="99"/>
                </a:moveTo>
                <a:cubicBezTo>
                  <a:pt x="39" y="99"/>
                  <a:pt x="40" y="100"/>
                  <a:pt x="40" y="101"/>
                </a:cubicBezTo>
                <a:cubicBezTo>
                  <a:pt x="40" y="103"/>
                  <a:pt x="39" y="104"/>
                  <a:pt x="37" y="104"/>
                </a:cubicBezTo>
                <a:cubicBezTo>
                  <a:pt x="36" y="104"/>
                  <a:pt x="35" y="103"/>
                  <a:pt x="35" y="101"/>
                </a:cubicBezTo>
                <a:cubicBezTo>
                  <a:pt x="35" y="100"/>
                  <a:pt x="36" y="99"/>
                  <a:pt x="37" y="99"/>
                </a:cubicBezTo>
                <a:close/>
                <a:moveTo>
                  <a:pt x="13" y="107"/>
                </a:moveTo>
                <a:cubicBezTo>
                  <a:pt x="15" y="107"/>
                  <a:pt x="16" y="108"/>
                  <a:pt x="16" y="109"/>
                </a:cubicBezTo>
                <a:cubicBezTo>
                  <a:pt x="16" y="111"/>
                  <a:pt x="15" y="112"/>
                  <a:pt x="13" y="112"/>
                </a:cubicBezTo>
                <a:cubicBezTo>
                  <a:pt x="12" y="112"/>
                  <a:pt x="11" y="111"/>
                  <a:pt x="11" y="109"/>
                </a:cubicBezTo>
                <a:cubicBezTo>
                  <a:pt x="11" y="108"/>
                  <a:pt x="12" y="107"/>
                  <a:pt x="13" y="107"/>
                </a:cubicBezTo>
                <a:close/>
                <a:moveTo>
                  <a:pt x="13" y="123"/>
                </a:moveTo>
                <a:cubicBezTo>
                  <a:pt x="15" y="123"/>
                  <a:pt x="16" y="124"/>
                  <a:pt x="16" y="125"/>
                </a:cubicBezTo>
                <a:cubicBezTo>
                  <a:pt x="16" y="127"/>
                  <a:pt x="15" y="128"/>
                  <a:pt x="13" y="128"/>
                </a:cubicBezTo>
                <a:cubicBezTo>
                  <a:pt x="12" y="128"/>
                  <a:pt x="11" y="127"/>
                  <a:pt x="11" y="125"/>
                </a:cubicBezTo>
                <a:cubicBezTo>
                  <a:pt x="11" y="124"/>
                  <a:pt x="12" y="123"/>
                  <a:pt x="13" y="123"/>
                </a:cubicBezTo>
                <a:close/>
                <a:moveTo>
                  <a:pt x="21" y="115"/>
                </a:moveTo>
                <a:cubicBezTo>
                  <a:pt x="23" y="115"/>
                  <a:pt x="24" y="116"/>
                  <a:pt x="24" y="117"/>
                </a:cubicBezTo>
                <a:cubicBezTo>
                  <a:pt x="24" y="119"/>
                  <a:pt x="23" y="120"/>
                  <a:pt x="21" y="120"/>
                </a:cubicBezTo>
                <a:cubicBezTo>
                  <a:pt x="20" y="120"/>
                  <a:pt x="19" y="119"/>
                  <a:pt x="19" y="117"/>
                </a:cubicBezTo>
                <a:cubicBezTo>
                  <a:pt x="19" y="116"/>
                  <a:pt x="20" y="115"/>
                  <a:pt x="21" y="115"/>
                </a:cubicBezTo>
                <a:close/>
                <a:moveTo>
                  <a:pt x="21" y="131"/>
                </a:moveTo>
                <a:cubicBezTo>
                  <a:pt x="23" y="131"/>
                  <a:pt x="24" y="132"/>
                  <a:pt x="24" y="133"/>
                </a:cubicBezTo>
                <a:cubicBezTo>
                  <a:pt x="24" y="135"/>
                  <a:pt x="23" y="136"/>
                  <a:pt x="21" y="136"/>
                </a:cubicBezTo>
                <a:cubicBezTo>
                  <a:pt x="20" y="136"/>
                  <a:pt x="19" y="135"/>
                  <a:pt x="19" y="133"/>
                </a:cubicBezTo>
                <a:cubicBezTo>
                  <a:pt x="19" y="132"/>
                  <a:pt x="20" y="131"/>
                  <a:pt x="21" y="131"/>
                </a:cubicBezTo>
                <a:close/>
                <a:moveTo>
                  <a:pt x="29" y="107"/>
                </a:moveTo>
                <a:cubicBezTo>
                  <a:pt x="31" y="107"/>
                  <a:pt x="32" y="108"/>
                  <a:pt x="32" y="109"/>
                </a:cubicBezTo>
                <a:cubicBezTo>
                  <a:pt x="32" y="111"/>
                  <a:pt x="31" y="112"/>
                  <a:pt x="29" y="112"/>
                </a:cubicBezTo>
                <a:cubicBezTo>
                  <a:pt x="28" y="112"/>
                  <a:pt x="27" y="111"/>
                  <a:pt x="27" y="109"/>
                </a:cubicBezTo>
                <a:cubicBezTo>
                  <a:pt x="27" y="108"/>
                  <a:pt x="28" y="107"/>
                  <a:pt x="29" y="107"/>
                </a:cubicBezTo>
                <a:close/>
                <a:moveTo>
                  <a:pt x="45" y="107"/>
                </a:moveTo>
                <a:cubicBezTo>
                  <a:pt x="47" y="107"/>
                  <a:pt x="48" y="108"/>
                  <a:pt x="48" y="109"/>
                </a:cubicBezTo>
                <a:cubicBezTo>
                  <a:pt x="48" y="111"/>
                  <a:pt x="47" y="112"/>
                  <a:pt x="45" y="112"/>
                </a:cubicBezTo>
                <a:cubicBezTo>
                  <a:pt x="44" y="112"/>
                  <a:pt x="43" y="111"/>
                  <a:pt x="43" y="109"/>
                </a:cubicBezTo>
                <a:cubicBezTo>
                  <a:pt x="43" y="108"/>
                  <a:pt x="44" y="107"/>
                  <a:pt x="45" y="107"/>
                </a:cubicBezTo>
                <a:close/>
                <a:moveTo>
                  <a:pt x="29" y="123"/>
                </a:moveTo>
                <a:cubicBezTo>
                  <a:pt x="31" y="123"/>
                  <a:pt x="32" y="124"/>
                  <a:pt x="32" y="125"/>
                </a:cubicBezTo>
                <a:cubicBezTo>
                  <a:pt x="32" y="127"/>
                  <a:pt x="31" y="128"/>
                  <a:pt x="29" y="128"/>
                </a:cubicBezTo>
                <a:cubicBezTo>
                  <a:pt x="28" y="128"/>
                  <a:pt x="27" y="127"/>
                  <a:pt x="27" y="125"/>
                </a:cubicBezTo>
                <a:cubicBezTo>
                  <a:pt x="27" y="124"/>
                  <a:pt x="28" y="123"/>
                  <a:pt x="29" y="123"/>
                </a:cubicBezTo>
                <a:close/>
                <a:moveTo>
                  <a:pt x="45" y="123"/>
                </a:moveTo>
                <a:cubicBezTo>
                  <a:pt x="47" y="123"/>
                  <a:pt x="48" y="124"/>
                  <a:pt x="48" y="125"/>
                </a:cubicBezTo>
                <a:cubicBezTo>
                  <a:pt x="48" y="127"/>
                  <a:pt x="47" y="128"/>
                  <a:pt x="45" y="128"/>
                </a:cubicBezTo>
                <a:cubicBezTo>
                  <a:pt x="44" y="128"/>
                  <a:pt x="43" y="127"/>
                  <a:pt x="43" y="125"/>
                </a:cubicBezTo>
                <a:cubicBezTo>
                  <a:pt x="43" y="124"/>
                  <a:pt x="44" y="123"/>
                  <a:pt x="45" y="123"/>
                </a:cubicBezTo>
                <a:close/>
                <a:moveTo>
                  <a:pt x="37" y="115"/>
                </a:moveTo>
                <a:cubicBezTo>
                  <a:pt x="39" y="115"/>
                  <a:pt x="40" y="116"/>
                  <a:pt x="40" y="117"/>
                </a:cubicBezTo>
                <a:cubicBezTo>
                  <a:pt x="40" y="119"/>
                  <a:pt x="39" y="120"/>
                  <a:pt x="37" y="120"/>
                </a:cubicBezTo>
                <a:cubicBezTo>
                  <a:pt x="36" y="120"/>
                  <a:pt x="35" y="119"/>
                  <a:pt x="35" y="117"/>
                </a:cubicBezTo>
                <a:cubicBezTo>
                  <a:pt x="35" y="116"/>
                  <a:pt x="36" y="115"/>
                  <a:pt x="37" y="115"/>
                </a:cubicBezTo>
                <a:close/>
                <a:moveTo>
                  <a:pt x="53" y="115"/>
                </a:moveTo>
                <a:cubicBezTo>
                  <a:pt x="55" y="115"/>
                  <a:pt x="56" y="116"/>
                  <a:pt x="56" y="117"/>
                </a:cubicBezTo>
                <a:cubicBezTo>
                  <a:pt x="56" y="119"/>
                  <a:pt x="55" y="120"/>
                  <a:pt x="53" y="120"/>
                </a:cubicBezTo>
                <a:cubicBezTo>
                  <a:pt x="52" y="120"/>
                  <a:pt x="51" y="119"/>
                  <a:pt x="51" y="117"/>
                </a:cubicBezTo>
                <a:cubicBezTo>
                  <a:pt x="51" y="116"/>
                  <a:pt x="52" y="115"/>
                  <a:pt x="53" y="115"/>
                </a:cubicBezTo>
                <a:close/>
                <a:moveTo>
                  <a:pt x="37" y="131"/>
                </a:moveTo>
                <a:cubicBezTo>
                  <a:pt x="39" y="131"/>
                  <a:pt x="40" y="132"/>
                  <a:pt x="40" y="133"/>
                </a:cubicBezTo>
                <a:cubicBezTo>
                  <a:pt x="40" y="135"/>
                  <a:pt x="39" y="136"/>
                  <a:pt x="37" y="136"/>
                </a:cubicBezTo>
                <a:cubicBezTo>
                  <a:pt x="36" y="136"/>
                  <a:pt x="35" y="135"/>
                  <a:pt x="35" y="133"/>
                </a:cubicBezTo>
                <a:cubicBezTo>
                  <a:pt x="35" y="132"/>
                  <a:pt x="36" y="131"/>
                  <a:pt x="37" y="131"/>
                </a:cubicBezTo>
                <a:close/>
                <a:moveTo>
                  <a:pt x="53" y="131"/>
                </a:moveTo>
                <a:cubicBezTo>
                  <a:pt x="55" y="131"/>
                  <a:pt x="56" y="132"/>
                  <a:pt x="56" y="133"/>
                </a:cubicBezTo>
                <a:cubicBezTo>
                  <a:pt x="56" y="135"/>
                  <a:pt x="55" y="136"/>
                  <a:pt x="53" y="136"/>
                </a:cubicBezTo>
                <a:cubicBezTo>
                  <a:pt x="52" y="136"/>
                  <a:pt x="51" y="135"/>
                  <a:pt x="51" y="133"/>
                </a:cubicBezTo>
                <a:cubicBezTo>
                  <a:pt x="51" y="132"/>
                  <a:pt x="52" y="131"/>
                  <a:pt x="53" y="131"/>
                </a:cubicBezTo>
                <a:close/>
                <a:moveTo>
                  <a:pt x="77" y="107"/>
                </a:moveTo>
                <a:cubicBezTo>
                  <a:pt x="79" y="107"/>
                  <a:pt x="80" y="108"/>
                  <a:pt x="80" y="109"/>
                </a:cubicBezTo>
                <a:cubicBezTo>
                  <a:pt x="80" y="111"/>
                  <a:pt x="79" y="112"/>
                  <a:pt x="77" y="112"/>
                </a:cubicBezTo>
                <a:cubicBezTo>
                  <a:pt x="76" y="112"/>
                  <a:pt x="75" y="111"/>
                  <a:pt x="75" y="109"/>
                </a:cubicBezTo>
                <a:cubicBezTo>
                  <a:pt x="75" y="108"/>
                  <a:pt x="76" y="107"/>
                  <a:pt x="77" y="107"/>
                </a:cubicBezTo>
                <a:close/>
                <a:moveTo>
                  <a:pt x="61" y="123"/>
                </a:moveTo>
                <a:cubicBezTo>
                  <a:pt x="63" y="123"/>
                  <a:pt x="64" y="124"/>
                  <a:pt x="64" y="125"/>
                </a:cubicBezTo>
                <a:cubicBezTo>
                  <a:pt x="64" y="127"/>
                  <a:pt x="63" y="128"/>
                  <a:pt x="61" y="128"/>
                </a:cubicBezTo>
                <a:cubicBezTo>
                  <a:pt x="60" y="128"/>
                  <a:pt x="59" y="127"/>
                  <a:pt x="59" y="125"/>
                </a:cubicBezTo>
                <a:cubicBezTo>
                  <a:pt x="59" y="124"/>
                  <a:pt x="60" y="123"/>
                  <a:pt x="61" y="123"/>
                </a:cubicBezTo>
                <a:close/>
                <a:moveTo>
                  <a:pt x="77" y="123"/>
                </a:moveTo>
                <a:cubicBezTo>
                  <a:pt x="79" y="123"/>
                  <a:pt x="80" y="124"/>
                  <a:pt x="80" y="125"/>
                </a:cubicBezTo>
                <a:cubicBezTo>
                  <a:pt x="80" y="127"/>
                  <a:pt x="79" y="128"/>
                  <a:pt x="77" y="128"/>
                </a:cubicBezTo>
                <a:cubicBezTo>
                  <a:pt x="76" y="128"/>
                  <a:pt x="75" y="127"/>
                  <a:pt x="75" y="125"/>
                </a:cubicBezTo>
                <a:cubicBezTo>
                  <a:pt x="75" y="124"/>
                  <a:pt x="76" y="123"/>
                  <a:pt x="77" y="123"/>
                </a:cubicBezTo>
                <a:close/>
                <a:moveTo>
                  <a:pt x="69" y="115"/>
                </a:moveTo>
                <a:cubicBezTo>
                  <a:pt x="71" y="115"/>
                  <a:pt x="72" y="116"/>
                  <a:pt x="72" y="117"/>
                </a:cubicBezTo>
                <a:cubicBezTo>
                  <a:pt x="72" y="119"/>
                  <a:pt x="71" y="120"/>
                  <a:pt x="69" y="120"/>
                </a:cubicBezTo>
                <a:cubicBezTo>
                  <a:pt x="68" y="120"/>
                  <a:pt x="67" y="119"/>
                  <a:pt x="67" y="117"/>
                </a:cubicBezTo>
                <a:cubicBezTo>
                  <a:pt x="67" y="116"/>
                  <a:pt x="68" y="115"/>
                  <a:pt x="69" y="115"/>
                </a:cubicBezTo>
                <a:close/>
                <a:moveTo>
                  <a:pt x="69" y="131"/>
                </a:moveTo>
                <a:cubicBezTo>
                  <a:pt x="71" y="131"/>
                  <a:pt x="72" y="132"/>
                  <a:pt x="72" y="133"/>
                </a:cubicBezTo>
                <a:cubicBezTo>
                  <a:pt x="72" y="135"/>
                  <a:pt x="71" y="136"/>
                  <a:pt x="69" y="136"/>
                </a:cubicBezTo>
                <a:cubicBezTo>
                  <a:pt x="68" y="136"/>
                  <a:pt x="67" y="135"/>
                  <a:pt x="67" y="133"/>
                </a:cubicBezTo>
                <a:cubicBezTo>
                  <a:pt x="67" y="132"/>
                  <a:pt x="68" y="131"/>
                  <a:pt x="69" y="131"/>
                </a:cubicBezTo>
                <a:close/>
                <a:moveTo>
                  <a:pt x="13" y="139"/>
                </a:moveTo>
                <a:cubicBezTo>
                  <a:pt x="15" y="139"/>
                  <a:pt x="16" y="140"/>
                  <a:pt x="16" y="141"/>
                </a:cubicBezTo>
                <a:cubicBezTo>
                  <a:pt x="16" y="143"/>
                  <a:pt x="15" y="144"/>
                  <a:pt x="13" y="144"/>
                </a:cubicBezTo>
                <a:cubicBezTo>
                  <a:pt x="12" y="144"/>
                  <a:pt x="11" y="143"/>
                  <a:pt x="11" y="141"/>
                </a:cubicBezTo>
                <a:cubicBezTo>
                  <a:pt x="11" y="140"/>
                  <a:pt x="12" y="139"/>
                  <a:pt x="13" y="139"/>
                </a:cubicBezTo>
                <a:close/>
                <a:moveTo>
                  <a:pt x="21" y="147"/>
                </a:moveTo>
                <a:cubicBezTo>
                  <a:pt x="23" y="147"/>
                  <a:pt x="24" y="148"/>
                  <a:pt x="24" y="149"/>
                </a:cubicBezTo>
                <a:cubicBezTo>
                  <a:pt x="24" y="151"/>
                  <a:pt x="23" y="152"/>
                  <a:pt x="21" y="152"/>
                </a:cubicBezTo>
                <a:cubicBezTo>
                  <a:pt x="20" y="152"/>
                  <a:pt x="19" y="151"/>
                  <a:pt x="19" y="149"/>
                </a:cubicBezTo>
                <a:cubicBezTo>
                  <a:pt x="19" y="148"/>
                  <a:pt x="20" y="147"/>
                  <a:pt x="21" y="147"/>
                </a:cubicBezTo>
                <a:close/>
                <a:moveTo>
                  <a:pt x="29" y="139"/>
                </a:moveTo>
                <a:cubicBezTo>
                  <a:pt x="31" y="139"/>
                  <a:pt x="32" y="140"/>
                  <a:pt x="32" y="141"/>
                </a:cubicBezTo>
                <a:cubicBezTo>
                  <a:pt x="32" y="143"/>
                  <a:pt x="31" y="144"/>
                  <a:pt x="29" y="144"/>
                </a:cubicBezTo>
                <a:cubicBezTo>
                  <a:pt x="28" y="144"/>
                  <a:pt x="27" y="143"/>
                  <a:pt x="27" y="141"/>
                </a:cubicBezTo>
                <a:cubicBezTo>
                  <a:pt x="27" y="140"/>
                  <a:pt x="28" y="139"/>
                  <a:pt x="29" y="139"/>
                </a:cubicBezTo>
                <a:close/>
                <a:moveTo>
                  <a:pt x="45" y="139"/>
                </a:moveTo>
                <a:cubicBezTo>
                  <a:pt x="47" y="139"/>
                  <a:pt x="48" y="140"/>
                  <a:pt x="48" y="141"/>
                </a:cubicBezTo>
                <a:cubicBezTo>
                  <a:pt x="48" y="143"/>
                  <a:pt x="47" y="144"/>
                  <a:pt x="45" y="144"/>
                </a:cubicBezTo>
                <a:cubicBezTo>
                  <a:pt x="44" y="144"/>
                  <a:pt x="43" y="143"/>
                  <a:pt x="43" y="141"/>
                </a:cubicBezTo>
                <a:cubicBezTo>
                  <a:pt x="43" y="140"/>
                  <a:pt x="44" y="139"/>
                  <a:pt x="45" y="139"/>
                </a:cubicBezTo>
                <a:close/>
                <a:moveTo>
                  <a:pt x="37" y="147"/>
                </a:moveTo>
                <a:cubicBezTo>
                  <a:pt x="39" y="147"/>
                  <a:pt x="40" y="148"/>
                  <a:pt x="40" y="149"/>
                </a:cubicBezTo>
                <a:cubicBezTo>
                  <a:pt x="40" y="151"/>
                  <a:pt x="39" y="152"/>
                  <a:pt x="37" y="152"/>
                </a:cubicBezTo>
                <a:cubicBezTo>
                  <a:pt x="36" y="152"/>
                  <a:pt x="35" y="151"/>
                  <a:pt x="35" y="149"/>
                </a:cubicBezTo>
                <a:cubicBezTo>
                  <a:pt x="35" y="148"/>
                  <a:pt x="36" y="147"/>
                  <a:pt x="37" y="147"/>
                </a:cubicBezTo>
                <a:close/>
                <a:moveTo>
                  <a:pt x="53" y="147"/>
                </a:moveTo>
                <a:cubicBezTo>
                  <a:pt x="55" y="147"/>
                  <a:pt x="56" y="148"/>
                  <a:pt x="56" y="149"/>
                </a:cubicBezTo>
                <a:cubicBezTo>
                  <a:pt x="56" y="151"/>
                  <a:pt x="55" y="152"/>
                  <a:pt x="53" y="152"/>
                </a:cubicBezTo>
                <a:cubicBezTo>
                  <a:pt x="52" y="152"/>
                  <a:pt x="51" y="151"/>
                  <a:pt x="51" y="149"/>
                </a:cubicBezTo>
                <a:cubicBezTo>
                  <a:pt x="51" y="148"/>
                  <a:pt x="52" y="147"/>
                  <a:pt x="53" y="147"/>
                </a:cubicBezTo>
                <a:close/>
                <a:moveTo>
                  <a:pt x="61" y="139"/>
                </a:moveTo>
                <a:cubicBezTo>
                  <a:pt x="63" y="139"/>
                  <a:pt x="64" y="140"/>
                  <a:pt x="64" y="141"/>
                </a:cubicBezTo>
                <a:cubicBezTo>
                  <a:pt x="64" y="143"/>
                  <a:pt x="63" y="144"/>
                  <a:pt x="61" y="144"/>
                </a:cubicBezTo>
                <a:cubicBezTo>
                  <a:pt x="60" y="144"/>
                  <a:pt x="59" y="143"/>
                  <a:pt x="59" y="141"/>
                </a:cubicBezTo>
                <a:cubicBezTo>
                  <a:pt x="59" y="140"/>
                  <a:pt x="60" y="139"/>
                  <a:pt x="61" y="139"/>
                </a:cubicBezTo>
                <a:close/>
                <a:moveTo>
                  <a:pt x="77" y="139"/>
                </a:moveTo>
                <a:cubicBezTo>
                  <a:pt x="79" y="139"/>
                  <a:pt x="80" y="140"/>
                  <a:pt x="80" y="141"/>
                </a:cubicBezTo>
                <a:cubicBezTo>
                  <a:pt x="80" y="143"/>
                  <a:pt x="79" y="144"/>
                  <a:pt x="77" y="144"/>
                </a:cubicBezTo>
                <a:cubicBezTo>
                  <a:pt x="76" y="144"/>
                  <a:pt x="75" y="143"/>
                  <a:pt x="75" y="141"/>
                </a:cubicBezTo>
                <a:cubicBezTo>
                  <a:pt x="75" y="140"/>
                  <a:pt x="76" y="139"/>
                  <a:pt x="77" y="139"/>
                </a:cubicBezTo>
                <a:close/>
                <a:moveTo>
                  <a:pt x="69" y="147"/>
                </a:moveTo>
                <a:cubicBezTo>
                  <a:pt x="71" y="147"/>
                  <a:pt x="72" y="148"/>
                  <a:pt x="72" y="149"/>
                </a:cubicBezTo>
                <a:cubicBezTo>
                  <a:pt x="72" y="151"/>
                  <a:pt x="71" y="152"/>
                  <a:pt x="69" y="152"/>
                </a:cubicBezTo>
                <a:cubicBezTo>
                  <a:pt x="68" y="152"/>
                  <a:pt x="67" y="151"/>
                  <a:pt x="67" y="149"/>
                </a:cubicBezTo>
                <a:cubicBezTo>
                  <a:pt x="67" y="148"/>
                  <a:pt x="68" y="147"/>
                  <a:pt x="69" y="14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049">
            <a:extLst>
              <a:ext uri="{FF2B5EF4-FFF2-40B4-BE49-F238E27FC236}">
                <a16:creationId xmlns:a16="http://schemas.microsoft.com/office/drawing/2014/main" id="{BCD3EA78-EE19-C345-A47D-2F5EAEAE94D9}"/>
              </a:ext>
            </a:extLst>
          </p:cNvPr>
          <p:cNvSpPr>
            <a:spLocks noEditPoints="1"/>
          </p:cNvSpPr>
          <p:nvPr/>
        </p:nvSpPr>
        <p:spPr bwMode="auto">
          <a:xfrm>
            <a:off x="2609733" y="4081463"/>
            <a:ext cx="290513" cy="550863"/>
          </a:xfrm>
          <a:custGeom>
            <a:avLst/>
            <a:gdLst>
              <a:gd name="T0" fmla="*/ 76 w 85"/>
              <a:gd name="T1" fmla="*/ 11 h 160"/>
              <a:gd name="T2" fmla="*/ 59 w 85"/>
              <a:gd name="T3" fmla="*/ 11 h 160"/>
              <a:gd name="T4" fmla="*/ 59 w 85"/>
              <a:gd name="T5" fmla="*/ 0 h 160"/>
              <a:gd name="T6" fmla="*/ 27 w 85"/>
              <a:gd name="T7" fmla="*/ 0 h 160"/>
              <a:gd name="T8" fmla="*/ 27 w 85"/>
              <a:gd name="T9" fmla="*/ 11 h 160"/>
              <a:gd name="T10" fmla="*/ 9 w 85"/>
              <a:gd name="T11" fmla="*/ 11 h 160"/>
              <a:gd name="T12" fmla="*/ 0 w 85"/>
              <a:gd name="T13" fmla="*/ 20 h 160"/>
              <a:gd name="T14" fmla="*/ 0 w 85"/>
              <a:gd name="T15" fmla="*/ 151 h 160"/>
              <a:gd name="T16" fmla="*/ 9 w 85"/>
              <a:gd name="T17" fmla="*/ 160 h 160"/>
              <a:gd name="T18" fmla="*/ 76 w 85"/>
              <a:gd name="T19" fmla="*/ 160 h 160"/>
              <a:gd name="T20" fmla="*/ 85 w 85"/>
              <a:gd name="T21" fmla="*/ 151 h 160"/>
              <a:gd name="T22" fmla="*/ 85 w 85"/>
              <a:gd name="T23" fmla="*/ 20 h 160"/>
              <a:gd name="T24" fmla="*/ 76 w 85"/>
              <a:gd name="T25" fmla="*/ 11 h 160"/>
              <a:gd name="T26" fmla="*/ 32 w 85"/>
              <a:gd name="T27" fmla="*/ 5 h 160"/>
              <a:gd name="T28" fmla="*/ 53 w 85"/>
              <a:gd name="T29" fmla="*/ 5 h 160"/>
              <a:gd name="T30" fmla="*/ 53 w 85"/>
              <a:gd name="T31" fmla="*/ 11 h 160"/>
              <a:gd name="T32" fmla="*/ 32 w 85"/>
              <a:gd name="T33" fmla="*/ 11 h 160"/>
              <a:gd name="T34" fmla="*/ 32 w 85"/>
              <a:gd name="T35" fmla="*/ 5 h 160"/>
              <a:gd name="T36" fmla="*/ 80 w 85"/>
              <a:gd name="T37" fmla="*/ 151 h 160"/>
              <a:gd name="T38" fmla="*/ 76 w 85"/>
              <a:gd name="T39" fmla="*/ 155 h 160"/>
              <a:gd name="T40" fmla="*/ 9 w 85"/>
              <a:gd name="T41" fmla="*/ 155 h 160"/>
              <a:gd name="T42" fmla="*/ 5 w 85"/>
              <a:gd name="T43" fmla="*/ 151 h 160"/>
              <a:gd name="T44" fmla="*/ 5 w 85"/>
              <a:gd name="T45" fmla="*/ 20 h 160"/>
              <a:gd name="T46" fmla="*/ 9 w 85"/>
              <a:gd name="T47" fmla="*/ 16 h 160"/>
              <a:gd name="T48" fmla="*/ 27 w 85"/>
              <a:gd name="T49" fmla="*/ 16 h 160"/>
              <a:gd name="T50" fmla="*/ 59 w 85"/>
              <a:gd name="T51" fmla="*/ 16 h 160"/>
              <a:gd name="T52" fmla="*/ 76 w 85"/>
              <a:gd name="T53" fmla="*/ 16 h 160"/>
              <a:gd name="T54" fmla="*/ 80 w 85"/>
              <a:gd name="T55" fmla="*/ 20 h 160"/>
              <a:gd name="T56" fmla="*/ 80 w 85"/>
              <a:gd name="T57" fmla="*/ 151 h 160"/>
              <a:gd name="T58" fmla="*/ 53 w 85"/>
              <a:gd name="T59" fmla="*/ 46 h 160"/>
              <a:gd name="T60" fmla="*/ 52 w 85"/>
              <a:gd name="T61" fmla="*/ 43 h 160"/>
              <a:gd name="T62" fmla="*/ 50 w 85"/>
              <a:gd name="T63" fmla="*/ 42 h 160"/>
              <a:gd name="T64" fmla="*/ 48 w 85"/>
              <a:gd name="T65" fmla="*/ 44 h 160"/>
              <a:gd name="T66" fmla="*/ 19 w 85"/>
              <a:gd name="T67" fmla="*/ 91 h 160"/>
              <a:gd name="T68" fmla="*/ 35 w 85"/>
              <a:gd name="T69" fmla="*/ 91 h 160"/>
              <a:gd name="T70" fmla="*/ 35 w 85"/>
              <a:gd name="T71" fmla="*/ 125 h 160"/>
              <a:gd name="T72" fmla="*/ 36 w 85"/>
              <a:gd name="T73" fmla="*/ 128 h 160"/>
              <a:gd name="T74" fmla="*/ 38 w 85"/>
              <a:gd name="T75" fmla="*/ 129 h 160"/>
              <a:gd name="T76" fmla="*/ 40 w 85"/>
              <a:gd name="T77" fmla="*/ 127 h 160"/>
              <a:gd name="T78" fmla="*/ 66 w 85"/>
              <a:gd name="T79" fmla="*/ 77 h 160"/>
              <a:gd name="T80" fmla="*/ 53 w 85"/>
              <a:gd name="T81" fmla="*/ 77 h 160"/>
              <a:gd name="T82" fmla="*/ 53 w 85"/>
              <a:gd name="T83" fmla="*/ 46 h 160"/>
              <a:gd name="T84" fmla="*/ 57 w 85"/>
              <a:gd name="T85" fmla="*/ 83 h 160"/>
              <a:gd name="T86" fmla="*/ 40 w 85"/>
              <a:gd name="T87" fmla="*/ 115 h 160"/>
              <a:gd name="T88" fmla="*/ 40 w 85"/>
              <a:gd name="T89" fmla="*/ 85 h 160"/>
              <a:gd name="T90" fmla="*/ 29 w 85"/>
              <a:gd name="T91" fmla="*/ 85 h 160"/>
              <a:gd name="T92" fmla="*/ 48 w 85"/>
              <a:gd name="T93" fmla="*/ 54 h 160"/>
              <a:gd name="T94" fmla="*/ 48 w 85"/>
              <a:gd name="T95" fmla="*/ 83 h 160"/>
              <a:gd name="T96" fmla="*/ 57 w 85"/>
              <a:gd name="T97" fmla="*/ 8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160">
                <a:moveTo>
                  <a:pt x="76" y="11"/>
                </a:moveTo>
                <a:cubicBezTo>
                  <a:pt x="59" y="11"/>
                  <a:pt x="59" y="11"/>
                  <a:pt x="59" y="11"/>
                </a:cubicBezTo>
                <a:cubicBezTo>
                  <a:pt x="59" y="0"/>
                  <a:pt x="59" y="0"/>
                  <a:pt x="59" y="0"/>
                </a:cubicBezTo>
                <a:cubicBezTo>
                  <a:pt x="27" y="0"/>
                  <a:pt x="27" y="0"/>
                  <a:pt x="27" y="0"/>
                </a:cubicBezTo>
                <a:cubicBezTo>
                  <a:pt x="27" y="11"/>
                  <a:pt x="27" y="11"/>
                  <a:pt x="27" y="11"/>
                </a:cubicBezTo>
                <a:cubicBezTo>
                  <a:pt x="9" y="11"/>
                  <a:pt x="9" y="11"/>
                  <a:pt x="9" y="11"/>
                </a:cubicBezTo>
                <a:cubicBezTo>
                  <a:pt x="4" y="11"/>
                  <a:pt x="0" y="15"/>
                  <a:pt x="0" y="20"/>
                </a:cubicBezTo>
                <a:cubicBezTo>
                  <a:pt x="0" y="151"/>
                  <a:pt x="0" y="151"/>
                  <a:pt x="0" y="151"/>
                </a:cubicBezTo>
                <a:cubicBezTo>
                  <a:pt x="0" y="156"/>
                  <a:pt x="4" y="160"/>
                  <a:pt x="9" y="160"/>
                </a:cubicBezTo>
                <a:cubicBezTo>
                  <a:pt x="76" y="160"/>
                  <a:pt x="76" y="160"/>
                  <a:pt x="76" y="160"/>
                </a:cubicBezTo>
                <a:cubicBezTo>
                  <a:pt x="81" y="160"/>
                  <a:pt x="85" y="156"/>
                  <a:pt x="85" y="151"/>
                </a:cubicBezTo>
                <a:cubicBezTo>
                  <a:pt x="85" y="20"/>
                  <a:pt x="85" y="20"/>
                  <a:pt x="85" y="20"/>
                </a:cubicBezTo>
                <a:cubicBezTo>
                  <a:pt x="85" y="15"/>
                  <a:pt x="81" y="11"/>
                  <a:pt x="76" y="11"/>
                </a:cubicBezTo>
                <a:close/>
                <a:moveTo>
                  <a:pt x="32" y="5"/>
                </a:moveTo>
                <a:cubicBezTo>
                  <a:pt x="53" y="5"/>
                  <a:pt x="53" y="5"/>
                  <a:pt x="53" y="5"/>
                </a:cubicBezTo>
                <a:cubicBezTo>
                  <a:pt x="53" y="11"/>
                  <a:pt x="53" y="11"/>
                  <a:pt x="53" y="11"/>
                </a:cubicBezTo>
                <a:cubicBezTo>
                  <a:pt x="32" y="11"/>
                  <a:pt x="32" y="11"/>
                  <a:pt x="32" y="11"/>
                </a:cubicBezTo>
                <a:lnTo>
                  <a:pt x="32" y="5"/>
                </a:lnTo>
                <a:close/>
                <a:moveTo>
                  <a:pt x="80" y="151"/>
                </a:moveTo>
                <a:cubicBezTo>
                  <a:pt x="80" y="153"/>
                  <a:pt x="78" y="155"/>
                  <a:pt x="76" y="155"/>
                </a:cubicBezTo>
                <a:cubicBezTo>
                  <a:pt x="9" y="155"/>
                  <a:pt x="9" y="155"/>
                  <a:pt x="9" y="155"/>
                </a:cubicBezTo>
                <a:cubicBezTo>
                  <a:pt x="7" y="155"/>
                  <a:pt x="5" y="153"/>
                  <a:pt x="5" y="151"/>
                </a:cubicBezTo>
                <a:cubicBezTo>
                  <a:pt x="5" y="20"/>
                  <a:pt x="5" y="20"/>
                  <a:pt x="5" y="20"/>
                </a:cubicBezTo>
                <a:cubicBezTo>
                  <a:pt x="5" y="18"/>
                  <a:pt x="7" y="16"/>
                  <a:pt x="9" y="16"/>
                </a:cubicBezTo>
                <a:cubicBezTo>
                  <a:pt x="27" y="16"/>
                  <a:pt x="27" y="16"/>
                  <a:pt x="27" y="16"/>
                </a:cubicBezTo>
                <a:cubicBezTo>
                  <a:pt x="59" y="16"/>
                  <a:pt x="59" y="16"/>
                  <a:pt x="59" y="16"/>
                </a:cubicBezTo>
                <a:cubicBezTo>
                  <a:pt x="76" y="16"/>
                  <a:pt x="76" y="16"/>
                  <a:pt x="76" y="16"/>
                </a:cubicBezTo>
                <a:cubicBezTo>
                  <a:pt x="78" y="16"/>
                  <a:pt x="80" y="18"/>
                  <a:pt x="80" y="20"/>
                </a:cubicBezTo>
                <a:lnTo>
                  <a:pt x="80" y="151"/>
                </a:lnTo>
                <a:close/>
                <a:moveTo>
                  <a:pt x="53" y="46"/>
                </a:moveTo>
                <a:cubicBezTo>
                  <a:pt x="53" y="44"/>
                  <a:pt x="53" y="43"/>
                  <a:pt x="52" y="43"/>
                </a:cubicBezTo>
                <a:cubicBezTo>
                  <a:pt x="50" y="42"/>
                  <a:pt x="50" y="42"/>
                  <a:pt x="50" y="42"/>
                </a:cubicBezTo>
                <a:cubicBezTo>
                  <a:pt x="48" y="44"/>
                  <a:pt x="48" y="44"/>
                  <a:pt x="48" y="44"/>
                </a:cubicBezTo>
                <a:cubicBezTo>
                  <a:pt x="19" y="91"/>
                  <a:pt x="19" y="91"/>
                  <a:pt x="19" y="91"/>
                </a:cubicBezTo>
                <a:cubicBezTo>
                  <a:pt x="35" y="91"/>
                  <a:pt x="35" y="91"/>
                  <a:pt x="35" y="91"/>
                </a:cubicBezTo>
                <a:cubicBezTo>
                  <a:pt x="35" y="125"/>
                  <a:pt x="35" y="125"/>
                  <a:pt x="35" y="125"/>
                </a:cubicBezTo>
                <a:cubicBezTo>
                  <a:pt x="35" y="126"/>
                  <a:pt x="35" y="127"/>
                  <a:pt x="36" y="128"/>
                </a:cubicBezTo>
                <a:cubicBezTo>
                  <a:pt x="38" y="129"/>
                  <a:pt x="38" y="129"/>
                  <a:pt x="38" y="129"/>
                </a:cubicBezTo>
                <a:cubicBezTo>
                  <a:pt x="40" y="127"/>
                  <a:pt x="40" y="127"/>
                  <a:pt x="40" y="127"/>
                </a:cubicBezTo>
                <a:cubicBezTo>
                  <a:pt x="66" y="77"/>
                  <a:pt x="66" y="77"/>
                  <a:pt x="66" y="77"/>
                </a:cubicBezTo>
                <a:cubicBezTo>
                  <a:pt x="53" y="77"/>
                  <a:pt x="53" y="77"/>
                  <a:pt x="53" y="77"/>
                </a:cubicBezTo>
                <a:lnTo>
                  <a:pt x="53" y="46"/>
                </a:lnTo>
                <a:close/>
                <a:moveTo>
                  <a:pt x="57" y="83"/>
                </a:moveTo>
                <a:cubicBezTo>
                  <a:pt x="40" y="115"/>
                  <a:pt x="40" y="115"/>
                  <a:pt x="40" y="115"/>
                </a:cubicBezTo>
                <a:cubicBezTo>
                  <a:pt x="40" y="85"/>
                  <a:pt x="40" y="85"/>
                  <a:pt x="40" y="85"/>
                </a:cubicBezTo>
                <a:cubicBezTo>
                  <a:pt x="29" y="85"/>
                  <a:pt x="29" y="85"/>
                  <a:pt x="29" y="85"/>
                </a:cubicBezTo>
                <a:cubicBezTo>
                  <a:pt x="48" y="54"/>
                  <a:pt x="48" y="54"/>
                  <a:pt x="48" y="54"/>
                </a:cubicBezTo>
                <a:cubicBezTo>
                  <a:pt x="48" y="83"/>
                  <a:pt x="48" y="83"/>
                  <a:pt x="48" y="83"/>
                </a:cubicBezTo>
                <a:lnTo>
                  <a:pt x="57" y="8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050">
            <a:extLst>
              <a:ext uri="{FF2B5EF4-FFF2-40B4-BE49-F238E27FC236}">
                <a16:creationId xmlns:a16="http://schemas.microsoft.com/office/drawing/2014/main" id="{B9B40848-C3A0-F84A-89D0-5A6800143609}"/>
              </a:ext>
            </a:extLst>
          </p:cNvPr>
          <p:cNvSpPr>
            <a:spLocks noEditPoints="1"/>
          </p:cNvSpPr>
          <p:nvPr/>
        </p:nvSpPr>
        <p:spPr bwMode="auto">
          <a:xfrm>
            <a:off x="2487495" y="4714875"/>
            <a:ext cx="546100" cy="495300"/>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051">
            <a:extLst>
              <a:ext uri="{FF2B5EF4-FFF2-40B4-BE49-F238E27FC236}">
                <a16:creationId xmlns:a16="http://schemas.microsoft.com/office/drawing/2014/main" id="{21D953E0-2A63-3940-8AA5-645687A1DA93}"/>
              </a:ext>
            </a:extLst>
          </p:cNvPr>
          <p:cNvSpPr>
            <a:spLocks noEditPoints="1"/>
          </p:cNvSpPr>
          <p:nvPr/>
        </p:nvSpPr>
        <p:spPr bwMode="auto">
          <a:xfrm>
            <a:off x="2487495" y="5319713"/>
            <a:ext cx="546100" cy="550863"/>
          </a:xfrm>
          <a:custGeom>
            <a:avLst/>
            <a:gdLst>
              <a:gd name="T0" fmla="*/ 19 w 160"/>
              <a:gd name="T1" fmla="*/ 160 h 160"/>
              <a:gd name="T2" fmla="*/ 22 w 160"/>
              <a:gd name="T3" fmla="*/ 6 h 160"/>
              <a:gd name="T4" fmla="*/ 14 w 160"/>
              <a:gd name="T5" fmla="*/ 123 h 160"/>
              <a:gd name="T6" fmla="*/ 5 w 160"/>
              <a:gd name="T7" fmla="*/ 19 h 160"/>
              <a:gd name="T8" fmla="*/ 38 w 160"/>
              <a:gd name="T9" fmla="*/ 24 h 160"/>
              <a:gd name="T10" fmla="*/ 129 w 160"/>
              <a:gd name="T11" fmla="*/ 56 h 160"/>
              <a:gd name="T12" fmla="*/ 141 w 160"/>
              <a:gd name="T13" fmla="*/ 62 h 160"/>
              <a:gd name="T14" fmla="*/ 111 w 160"/>
              <a:gd name="T15" fmla="*/ 111 h 160"/>
              <a:gd name="T16" fmla="*/ 144 w 160"/>
              <a:gd name="T17" fmla="*/ 80 h 160"/>
              <a:gd name="T18" fmla="*/ 110 w 160"/>
              <a:gd name="T19" fmla="*/ 40 h 160"/>
              <a:gd name="T20" fmla="*/ 125 w 160"/>
              <a:gd name="T21" fmla="*/ 108 h 160"/>
              <a:gd name="T22" fmla="*/ 71 w 160"/>
              <a:gd name="T23" fmla="*/ 114 h 160"/>
              <a:gd name="T24" fmla="*/ 138 w 160"/>
              <a:gd name="T25" fmla="*/ 91 h 160"/>
              <a:gd name="T26" fmla="*/ 93 w 160"/>
              <a:gd name="T27" fmla="*/ 31 h 160"/>
              <a:gd name="T28" fmla="*/ 138 w 160"/>
              <a:gd name="T29" fmla="*/ 107 h 160"/>
              <a:gd name="T30" fmla="*/ 138 w 160"/>
              <a:gd name="T31" fmla="*/ 108 h 160"/>
              <a:gd name="T32" fmla="*/ 54 w 160"/>
              <a:gd name="T33" fmla="*/ 114 h 160"/>
              <a:gd name="T34" fmla="*/ 49 w 160"/>
              <a:gd name="T35" fmla="*/ 76 h 160"/>
              <a:gd name="T36" fmla="*/ 57 w 160"/>
              <a:gd name="T37" fmla="*/ 63 h 160"/>
              <a:gd name="T38" fmla="*/ 75 w 160"/>
              <a:gd name="T39" fmla="*/ 50 h 160"/>
              <a:gd name="T40" fmla="*/ 52 w 160"/>
              <a:gd name="T41" fmla="*/ 84 h 160"/>
              <a:gd name="T42" fmla="*/ 89 w 160"/>
              <a:gd name="T43" fmla="*/ 37 h 160"/>
              <a:gd name="T44" fmla="*/ 95 w 160"/>
              <a:gd name="T45" fmla="*/ 111 h 160"/>
              <a:gd name="T46" fmla="*/ 49 w 160"/>
              <a:gd name="T47" fmla="*/ 98 h 160"/>
              <a:gd name="T48" fmla="*/ 146 w 160"/>
              <a:gd name="T49" fmla="*/ 125 h 160"/>
              <a:gd name="T50" fmla="*/ 117 w 160"/>
              <a:gd name="T51" fmla="*/ 130 h 160"/>
              <a:gd name="T52" fmla="*/ 62 w 160"/>
              <a:gd name="T53" fmla="*/ 79 h 160"/>
              <a:gd name="T54" fmla="*/ 87 w 160"/>
              <a:gd name="T55" fmla="*/ 76 h 160"/>
              <a:gd name="T56" fmla="*/ 65 w 160"/>
              <a:gd name="T57" fmla="*/ 76 h 160"/>
              <a:gd name="T58" fmla="*/ 68 w 160"/>
              <a:gd name="T59" fmla="*/ 100 h 160"/>
              <a:gd name="T60" fmla="*/ 87 w 160"/>
              <a:gd name="T61" fmla="*/ 98 h 160"/>
              <a:gd name="T62" fmla="*/ 117 w 160"/>
              <a:gd name="T63" fmla="*/ 79 h 160"/>
              <a:gd name="T64" fmla="*/ 127 w 160"/>
              <a:gd name="T65" fmla="*/ 84 h 160"/>
              <a:gd name="T66" fmla="*/ 125 w 160"/>
              <a:gd name="T67" fmla="*/ 95 h 160"/>
              <a:gd name="T68" fmla="*/ 103 w 160"/>
              <a:gd name="T69" fmla="*/ 87 h 160"/>
              <a:gd name="T70" fmla="*/ 103 w 160"/>
              <a:gd name="T71" fmla="*/ 98 h 160"/>
              <a:gd name="T72" fmla="*/ 106 w 160"/>
              <a:gd name="T73" fmla="*/ 127 h 160"/>
              <a:gd name="T74" fmla="*/ 106 w 160"/>
              <a:gd name="T75" fmla="*/ 136 h 160"/>
              <a:gd name="T76" fmla="*/ 106 w 160"/>
              <a:gd name="T77" fmla="*/ 144 h 160"/>
              <a:gd name="T78" fmla="*/ 11 w 160"/>
              <a:gd name="T79" fmla="*/ 11 h 160"/>
              <a:gd name="T80" fmla="*/ 27 w 160"/>
              <a:gd name="T81" fmla="*/ 16 h 160"/>
              <a:gd name="T82" fmla="*/ 19 w 160"/>
              <a:gd name="T83" fmla="*/ 19 h 160"/>
              <a:gd name="T84" fmla="*/ 30 w 160"/>
              <a:gd name="T85" fmla="*/ 30 h 160"/>
              <a:gd name="T86" fmla="*/ 8 w 160"/>
              <a:gd name="T87" fmla="*/ 46 h 160"/>
              <a:gd name="T88" fmla="*/ 19 w 160"/>
              <a:gd name="T89" fmla="*/ 35 h 160"/>
              <a:gd name="T90" fmla="*/ 19 w 160"/>
              <a:gd name="T91" fmla="*/ 57 h 160"/>
              <a:gd name="T92" fmla="*/ 11 w 160"/>
              <a:gd name="T93" fmla="*/ 60 h 160"/>
              <a:gd name="T94" fmla="*/ 14 w 160"/>
              <a:gd name="T95" fmla="*/ 79 h 160"/>
              <a:gd name="T96" fmla="*/ 24 w 160"/>
              <a:gd name="T97" fmla="*/ 79 h 160"/>
              <a:gd name="T98" fmla="*/ 19 w 160"/>
              <a:gd name="T99" fmla="*/ 84 h 160"/>
              <a:gd name="T100" fmla="*/ 11 w 160"/>
              <a:gd name="T101" fmla="*/ 98 h 160"/>
              <a:gd name="T102" fmla="*/ 27 w 160"/>
              <a:gd name="T103" fmla="*/ 92 h 160"/>
              <a:gd name="T104" fmla="*/ 30 w 160"/>
              <a:gd name="T105" fmla="*/ 111 h 160"/>
              <a:gd name="T106" fmla="*/ 16 w 160"/>
              <a:gd name="T107" fmla="*/ 10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60">
                <a:moveTo>
                  <a:pt x="38" y="19"/>
                </a:moveTo>
                <a:cubicBezTo>
                  <a:pt x="38" y="9"/>
                  <a:pt x="29" y="0"/>
                  <a:pt x="19" y="0"/>
                </a:cubicBezTo>
                <a:cubicBezTo>
                  <a:pt x="9" y="0"/>
                  <a:pt x="0" y="9"/>
                  <a:pt x="0" y="19"/>
                </a:cubicBezTo>
                <a:cubicBezTo>
                  <a:pt x="0" y="141"/>
                  <a:pt x="0" y="141"/>
                  <a:pt x="0" y="141"/>
                </a:cubicBezTo>
                <a:cubicBezTo>
                  <a:pt x="0" y="141"/>
                  <a:pt x="0" y="141"/>
                  <a:pt x="0" y="141"/>
                </a:cubicBezTo>
                <a:cubicBezTo>
                  <a:pt x="0" y="141"/>
                  <a:pt x="0" y="141"/>
                  <a:pt x="0" y="141"/>
                </a:cubicBezTo>
                <a:cubicBezTo>
                  <a:pt x="0" y="152"/>
                  <a:pt x="8" y="160"/>
                  <a:pt x="19" y="160"/>
                </a:cubicBezTo>
                <a:cubicBezTo>
                  <a:pt x="160" y="160"/>
                  <a:pt x="160" y="160"/>
                  <a:pt x="160" y="160"/>
                </a:cubicBezTo>
                <a:cubicBezTo>
                  <a:pt x="160" y="19"/>
                  <a:pt x="160" y="19"/>
                  <a:pt x="160" y="19"/>
                </a:cubicBezTo>
                <a:lnTo>
                  <a:pt x="38" y="19"/>
                </a:lnTo>
                <a:close/>
                <a:moveTo>
                  <a:pt x="5" y="19"/>
                </a:moveTo>
                <a:cubicBezTo>
                  <a:pt x="5" y="12"/>
                  <a:pt x="10" y="7"/>
                  <a:pt x="16" y="6"/>
                </a:cubicBezTo>
                <a:cubicBezTo>
                  <a:pt x="16" y="7"/>
                  <a:pt x="18" y="8"/>
                  <a:pt x="19" y="8"/>
                </a:cubicBezTo>
                <a:cubicBezTo>
                  <a:pt x="20" y="8"/>
                  <a:pt x="22" y="7"/>
                  <a:pt x="22" y="6"/>
                </a:cubicBezTo>
                <a:cubicBezTo>
                  <a:pt x="28" y="7"/>
                  <a:pt x="33" y="12"/>
                  <a:pt x="33" y="19"/>
                </a:cubicBezTo>
                <a:cubicBezTo>
                  <a:pt x="33" y="128"/>
                  <a:pt x="33" y="128"/>
                  <a:pt x="33" y="128"/>
                </a:cubicBezTo>
                <a:cubicBezTo>
                  <a:pt x="29" y="124"/>
                  <a:pt x="24" y="122"/>
                  <a:pt x="19" y="122"/>
                </a:cubicBezTo>
                <a:cubicBezTo>
                  <a:pt x="18" y="122"/>
                  <a:pt x="18" y="122"/>
                  <a:pt x="17" y="122"/>
                </a:cubicBezTo>
                <a:cubicBezTo>
                  <a:pt x="17" y="122"/>
                  <a:pt x="16" y="122"/>
                  <a:pt x="16" y="122"/>
                </a:cubicBezTo>
                <a:cubicBezTo>
                  <a:pt x="16" y="122"/>
                  <a:pt x="15" y="122"/>
                  <a:pt x="15" y="122"/>
                </a:cubicBezTo>
                <a:cubicBezTo>
                  <a:pt x="15" y="123"/>
                  <a:pt x="14" y="123"/>
                  <a:pt x="14" y="123"/>
                </a:cubicBezTo>
                <a:cubicBezTo>
                  <a:pt x="14" y="123"/>
                  <a:pt x="14" y="123"/>
                  <a:pt x="13" y="123"/>
                </a:cubicBezTo>
                <a:cubicBezTo>
                  <a:pt x="13" y="123"/>
                  <a:pt x="12" y="123"/>
                  <a:pt x="12" y="123"/>
                </a:cubicBezTo>
                <a:cubicBezTo>
                  <a:pt x="12" y="123"/>
                  <a:pt x="12" y="123"/>
                  <a:pt x="12" y="124"/>
                </a:cubicBezTo>
                <a:cubicBezTo>
                  <a:pt x="11" y="124"/>
                  <a:pt x="11" y="124"/>
                  <a:pt x="10" y="124"/>
                </a:cubicBezTo>
                <a:cubicBezTo>
                  <a:pt x="10" y="124"/>
                  <a:pt x="10" y="124"/>
                  <a:pt x="10" y="124"/>
                </a:cubicBezTo>
                <a:cubicBezTo>
                  <a:pt x="8" y="125"/>
                  <a:pt x="7" y="126"/>
                  <a:pt x="5" y="128"/>
                </a:cubicBezTo>
                <a:lnTo>
                  <a:pt x="5" y="19"/>
                </a:lnTo>
                <a:close/>
                <a:moveTo>
                  <a:pt x="155" y="155"/>
                </a:moveTo>
                <a:cubicBezTo>
                  <a:pt x="19" y="155"/>
                  <a:pt x="19" y="155"/>
                  <a:pt x="19" y="155"/>
                </a:cubicBezTo>
                <a:cubicBezTo>
                  <a:pt x="11" y="155"/>
                  <a:pt x="5" y="149"/>
                  <a:pt x="5" y="141"/>
                </a:cubicBezTo>
                <a:cubicBezTo>
                  <a:pt x="5" y="134"/>
                  <a:pt x="12" y="127"/>
                  <a:pt x="19" y="127"/>
                </a:cubicBezTo>
                <a:cubicBezTo>
                  <a:pt x="26" y="127"/>
                  <a:pt x="33" y="134"/>
                  <a:pt x="33" y="141"/>
                </a:cubicBezTo>
                <a:cubicBezTo>
                  <a:pt x="38" y="141"/>
                  <a:pt x="38" y="141"/>
                  <a:pt x="38" y="141"/>
                </a:cubicBezTo>
                <a:cubicBezTo>
                  <a:pt x="38" y="24"/>
                  <a:pt x="38" y="24"/>
                  <a:pt x="38" y="24"/>
                </a:cubicBezTo>
                <a:cubicBezTo>
                  <a:pt x="155" y="24"/>
                  <a:pt x="155" y="24"/>
                  <a:pt x="155" y="24"/>
                </a:cubicBezTo>
                <a:lnTo>
                  <a:pt x="155" y="155"/>
                </a:lnTo>
                <a:close/>
                <a:moveTo>
                  <a:pt x="120" y="54"/>
                </a:moveTo>
                <a:cubicBezTo>
                  <a:pt x="119" y="53"/>
                  <a:pt x="119" y="51"/>
                  <a:pt x="120" y="50"/>
                </a:cubicBezTo>
                <a:cubicBezTo>
                  <a:pt x="121" y="49"/>
                  <a:pt x="122" y="49"/>
                  <a:pt x="123" y="49"/>
                </a:cubicBezTo>
                <a:cubicBezTo>
                  <a:pt x="128" y="53"/>
                  <a:pt x="128" y="53"/>
                  <a:pt x="128" y="53"/>
                </a:cubicBezTo>
                <a:cubicBezTo>
                  <a:pt x="129" y="53"/>
                  <a:pt x="129" y="55"/>
                  <a:pt x="129" y="56"/>
                </a:cubicBezTo>
                <a:cubicBezTo>
                  <a:pt x="128" y="57"/>
                  <a:pt x="127" y="57"/>
                  <a:pt x="126" y="57"/>
                </a:cubicBezTo>
                <a:cubicBezTo>
                  <a:pt x="126" y="57"/>
                  <a:pt x="125" y="57"/>
                  <a:pt x="125" y="57"/>
                </a:cubicBezTo>
                <a:lnTo>
                  <a:pt x="120" y="54"/>
                </a:lnTo>
                <a:close/>
                <a:moveTo>
                  <a:pt x="134" y="63"/>
                </a:moveTo>
                <a:cubicBezTo>
                  <a:pt x="132" y="62"/>
                  <a:pt x="132" y="61"/>
                  <a:pt x="133" y="59"/>
                </a:cubicBezTo>
                <a:cubicBezTo>
                  <a:pt x="134" y="58"/>
                  <a:pt x="136" y="58"/>
                  <a:pt x="137" y="59"/>
                </a:cubicBezTo>
                <a:cubicBezTo>
                  <a:pt x="141" y="62"/>
                  <a:pt x="141" y="62"/>
                  <a:pt x="141" y="62"/>
                </a:cubicBezTo>
                <a:cubicBezTo>
                  <a:pt x="142" y="63"/>
                  <a:pt x="143" y="64"/>
                  <a:pt x="142" y="66"/>
                </a:cubicBezTo>
                <a:cubicBezTo>
                  <a:pt x="141" y="66"/>
                  <a:pt x="141" y="67"/>
                  <a:pt x="140" y="67"/>
                </a:cubicBezTo>
                <a:cubicBezTo>
                  <a:pt x="139" y="67"/>
                  <a:pt x="139" y="67"/>
                  <a:pt x="138" y="66"/>
                </a:cubicBezTo>
                <a:lnTo>
                  <a:pt x="134" y="63"/>
                </a:lnTo>
                <a:close/>
                <a:moveTo>
                  <a:pt x="103" y="108"/>
                </a:moveTo>
                <a:cubicBezTo>
                  <a:pt x="108" y="108"/>
                  <a:pt x="108" y="108"/>
                  <a:pt x="108" y="108"/>
                </a:cubicBezTo>
                <a:cubicBezTo>
                  <a:pt x="110" y="108"/>
                  <a:pt x="111" y="110"/>
                  <a:pt x="111" y="111"/>
                </a:cubicBezTo>
                <a:cubicBezTo>
                  <a:pt x="111" y="113"/>
                  <a:pt x="110" y="114"/>
                  <a:pt x="108" y="114"/>
                </a:cubicBezTo>
                <a:cubicBezTo>
                  <a:pt x="103" y="114"/>
                  <a:pt x="103" y="114"/>
                  <a:pt x="103" y="114"/>
                </a:cubicBezTo>
                <a:cubicBezTo>
                  <a:pt x="102" y="114"/>
                  <a:pt x="100" y="113"/>
                  <a:pt x="100" y="111"/>
                </a:cubicBezTo>
                <a:cubicBezTo>
                  <a:pt x="100" y="110"/>
                  <a:pt x="102" y="108"/>
                  <a:pt x="103" y="108"/>
                </a:cubicBezTo>
                <a:close/>
                <a:moveTo>
                  <a:pt x="141" y="72"/>
                </a:moveTo>
                <a:cubicBezTo>
                  <a:pt x="143" y="72"/>
                  <a:pt x="144" y="73"/>
                  <a:pt x="144" y="74"/>
                </a:cubicBezTo>
                <a:cubicBezTo>
                  <a:pt x="144" y="80"/>
                  <a:pt x="144" y="80"/>
                  <a:pt x="144" y="80"/>
                </a:cubicBezTo>
                <a:cubicBezTo>
                  <a:pt x="144" y="81"/>
                  <a:pt x="143" y="82"/>
                  <a:pt x="141" y="82"/>
                </a:cubicBezTo>
                <a:cubicBezTo>
                  <a:pt x="140" y="82"/>
                  <a:pt x="138" y="81"/>
                  <a:pt x="138" y="80"/>
                </a:cubicBezTo>
                <a:cubicBezTo>
                  <a:pt x="138" y="74"/>
                  <a:pt x="138" y="74"/>
                  <a:pt x="138" y="74"/>
                </a:cubicBezTo>
                <a:cubicBezTo>
                  <a:pt x="138" y="73"/>
                  <a:pt x="140" y="72"/>
                  <a:pt x="141" y="72"/>
                </a:cubicBezTo>
                <a:close/>
                <a:moveTo>
                  <a:pt x="107" y="44"/>
                </a:moveTo>
                <a:cubicBezTo>
                  <a:pt x="106" y="44"/>
                  <a:pt x="106" y="42"/>
                  <a:pt x="106" y="41"/>
                </a:cubicBezTo>
                <a:cubicBezTo>
                  <a:pt x="107" y="39"/>
                  <a:pt x="109" y="39"/>
                  <a:pt x="110" y="40"/>
                </a:cubicBezTo>
                <a:cubicBezTo>
                  <a:pt x="115" y="43"/>
                  <a:pt x="115" y="43"/>
                  <a:pt x="115" y="43"/>
                </a:cubicBezTo>
                <a:cubicBezTo>
                  <a:pt x="116" y="44"/>
                  <a:pt x="116" y="46"/>
                  <a:pt x="115" y="47"/>
                </a:cubicBezTo>
                <a:cubicBezTo>
                  <a:pt x="115" y="48"/>
                  <a:pt x="114" y="48"/>
                  <a:pt x="113" y="48"/>
                </a:cubicBezTo>
                <a:cubicBezTo>
                  <a:pt x="113" y="48"/>
                  <a:pt x="112" y="48"/>
                  <a:pt x="112" y="48"/>
                </a:cubicBezTo>
                <a:lnTo>
                  <a:pt x="107" y="44"/>
                </a:lnTo>
                <a:close/>
                <a:moveTo>
                  <a:pt x="119" y="108"/>
                </a:moveTo>
                <a:cubicBezTo>
                  <a:pt x="125" y="108"/>
                  <a:pt x="125" y="108"/>
                  <a:pt x="125" y="108"/>
                </a:cubicBezTo>
                <a:cubicBezTo>
                  <a:pt x="126" y="108"/>
                  <a:pt x="127" y="110"/>
                  <a:pt x="127" y="111"/>
                </a:cubicBezTo>
                <a:cubicBezTo>
                  <a:pt x="127" y="113"/>
                  <a:pt x="126" y="114"/>
                  <a:pt x="125" y="114"/>
                </a:cubicBezTo>
                <a:cubicBezTo>
                  <a:pt x="119" y="114"/>
                  <a:pt x="119" y="114"/>
                  <a:pt x="119" y="114"/>
                </a:cubicBezTo>
                <a:cubicBezTo>
                  <a:pt x="118" y="114"/>
                  <a:pt x="117" y="113"/>
                  <a:pt x="117" y="111"/>
                </a:cubicBezTo>
                <a:cubicBezTo>
                  <a:pt x="117" y="110"/>
                  <a:pt x="118" y="108"/>
                  <a:pt x="119" y="108"/>
                </a:cubicBezTo>
                <a:close/>
                <a:moveTo>
                  <a:pt x="76" y="114"/>
                </a:moveTo>
                <a:cubicBezTo>
                  <a:pt x="71" y="114"/>
                  <a:pt x="71" y="114"/>
                  <a:pt x="71" y="114"/>
                </a:cubicBezTo>
                <a:cubicBezTo>
                  <a:pt x="69" y="114"/>
                  <a:pt x="68" y="113"/>
                  <a:pt x="68" y="111"/>
                </a:cubicBezTo>
                <a:cubicBezTo>
                  <a:pt x="68" y="110"/>
                  <a:pt x="69" y="108"/>
                  <a:pt x="71" y="108"/>
                </a:cubicBezTo>
                <a:cubicBezTo>
                  <a:pt x="76" y="108"/>
                  <a:pt x="76" y="108"/>
                  <a:pt x="76" y="108"/>
                </a:cubicBezTo>
                <a:cubicBezTo>
                  <a:pt x="77" y="108"/>
                  <a:pt x="79" y="110"/>
                  <a:pt x="79" y="111"/>
                </a:cubicBezTo>
                <a:cubicBezTo>
                  <a:pt x="79" y="113"/>
                  <a:pt x="77" y="114"/>
                  <a:pt x="76" y="114"/>
                </a:cubicBezTo>
                <a:close/>
                <a:moveTo>
                  <a:pt x="138" y="96"/>
                </a:moveTo>
                <a:cubicBezTo>
                  <a:pt x="138" y="91"/>
                  <a:pt x="138" y="91"/>
                  <a:pt x="138" y="91"/>
                </a:cubicBezTo>
                <a:cubicBezTo>
                  <a:pt x="138" y="89"/>
                  <a:pt x="140" y="88"/>
                  <a:pt x="141" y="88"/>
                </a:cubicBezTo>
                <a:cubicBezTo>
                  <a:pt x="143" y="88"/>
                  <a:pt x="144" y="89"/>
                  <a:pt x="144" y="91"/>
                </a:cubicBezTo>
                <a:cubicBezTo>
                  <a:pt x="144" y="96"/>
                  <a:pt x="144" y="96"/>
                  <a:pt x="144" y="96"/>
                </a:cubicBezTo>
                <a:cubicBezTo>
                  <a:pt x="144" y="97"/>
                  <a:pt x="143" y="99"/>
                  <a:pt x="141" y="99"/>
                </a:cubicBezTo>
                <a:cubicBezTo>
                  <a:pt x="140" y="99"/>
                  <a:pt x="138" y="97"/>
                  <a:pt x="138" y="96"/>
                </a:cubicBezTo>
                <a:close/>
                <a:moveTo>
                  <a:pt x="94" y="35"/>
                </a:moveTo>
                <a:cubicBezTo>
                  <a:pt x="93" y="34"/>
                  <a:pt x="92" y="33"/>
                  <a:pt x="93" y="31"/>
                </a:cubicBezTo>
                <a:cubicBezTo>
                  <a:pt x="94" y="30"/>
                  <a:pt x="96" y="30"/>
                  <a:pt x="97" y="31"/>
                </a:cubicBezTo>
                <a:cubicBezTo>
                  <a:pt x="101" y="34"/>
                  <a:pt x="101" y="34"/>
                  <a:pt x="101" y="34"/>
                </a:cubicBezTo>
                <a:cubicBezTo>
                  <a:pt x="103" y="35"/>
                  <a:pt x="103" y="36"/>
                  <a:pt x="102" y="38"/>
                </a:cubicBezTo>
                <a:cubicBezTo>
                  <a:pt x="101" y="38"/>
                  <a:pt x="101" y="39"/>
                  <a:pt x="100" y="39"/>
                </a:cubicBezTo>
                <a:cubicBezTo>
                  <a:pt x="99" y="39"/>
                  <a:pt x="99" y="39"/>
                  <a:pt x="98" y="38"/>
                </a:cubicBezTo>
                <a:lnTo>
                  <a:pt x="94" y="35"/>
                </a:lnTo>
                <a:close/>
                <a:moveTo>
                  <a:pt x="138" y="107"/>
                </a:moveTo>
                <a:cubicBezTo>
                  <a:pt x="138" y="105"/>
                  <a:pt x="140" y="104"/>
                  <a:pt x="141" y="104"/>
                </a:cubicBezTo>
                <a:cubicBezTo>
                  <a:pt x="143" y="104"/>
                  <a:pt x="144" y="105"/>
                  <a:pt x="144" y="107"/>
                </a:cubicBezTo>
                <a:cubicBezTo>
                  <a:pt x="144" y="114"/>
                  <a:pt x="144" y="114"/>
                  <a:pt x="144" y="114"/>
                </a:cubicBezTo>
                <a:cubicBezTo>
                  <a:pt x="136" y="114"/>
                  <a:pt x="136" y="114"/>
                  <a:pt x="136" y="114"/>
                </a:cubicBezTo>
                <a:cubicBezTo>
                  <a:pt x="134" y="114"/>
                  <a:pt x="133" y="113"/>
                  <a:pt x="133" y="111"/>
                </a:cubicBezTo>
                <a:cubicBezTo>
                  <a:pt x="133" y="110"/>
                  <a:pt x="134" y="108"/>
                  <a:pt x="136" y="108"/>
                </a:cubicBezTo>
                <a:cubicBezTo>
                  <a:pt x="138" y="108"/>
                  <a:pt x="138" y="108"/>
                  <a:pt x="138" y="108"/>
                </a:cubicBezTo>
                <a:lnTo>
                  <a:pt x="138" y="107"/>
                </a:lnTo>
                <a:close/>
                <a:moveTo>
                  <a:pt x="52" y="111"/>
                </a:moveTo>
                <a:cubicBezTo>
                  <a:pt x="52" y="110"/>
                  <a:pt x="53" y="108"/>
                  <a:pt x="54" y="108"/>
                </a:cubicBezTo>
                <a:cubicBezTo>
                  <a:pt x="60" y="108"/>
                  <a:pt x="60" y="108"/>
                  <a:pt x="60" y="108"/>
                </a:cubicBezTo>
                <a:cubicBezTo>
                  <a:pt x="61" y="108"/>
                  <a:pt x="62" y="110"/>
                  <a:pt x="62" y="111"/>
                </a:cubicBezTo>
                <a:cubicBezTo>
                  <a:pt x="62" y="113"/>
                  <a:pt x="61" y="114"/>
                  <a:pt x="60" y="114"/>
                </a:cubicBezTo>
                <a:cubicBezTo>
                  <a:pt x="54" y="114"/>
                  <a:pt x="54" y="114"/>
                  <a:pt x="54" y="114"/>
                </a:cubicBezTo>
                <a:cubicBezTo>
                  <a:pt x="53" y="114"/>
                  <a:pt x="52" y="113"/>
                  <a:pt x="52" y="111"/>
                </a:cubicBezTo>
                <a:close/>
                <a:moveTo>
                  <a:pt x="46" y="73"/>
                </a:moveTo>
                <a:cubicBezTo>
                  <a:pt x="46" y="68"/>
                  <a:pt x="46" y="68"/>
                  <a:pt x="46" y="68"/>
                </a:cubicBezTo>
                <a:cubicBezTo>
                  <a:pt x="46" y="66"/>
                  <a:pt x="47" y="65"/>
                  <a:pt x="49" y="65"/>
                </a:cubicBezTo>
                <a:cubicBezTo>
                  <a:pt x="50" y="65"/>
                  <a:pt x="52" y="66"/>
                  <a:pt x="52" y="68"/>
                </a:cubicBezTo>
                <a:cubicBezTo>
                  <a:pt x="52" y="73"/>
                  <a:pt x="52" y="73"/>
                  <a:pt x="52" y="73"/>
                </a:cubicBezTo>
                <a:cubicBezTo>
                  <a:pt x="52" y="75"/>
                  <a:pt x="50" y="76"/>
                  <a:pt x="49" y="76"/>
                </a:cubicBezTo>
                <a:cubicBezTo>
                  <a:pt x="47" y="76"/>
                  <a:pt x="46" y="75"/>
                  <a:pt x="46" y="73"/>
                </a:cubicBezTo>
                <a:close/>
                <a:moveTo>
                  <a:pt x="53" y="62"/>
                </a:moveTo>
                <a:cubicBezTo>
                  <a:pt x="52" y="61"/>
                  <a:pt x="53" y="59"/>
                  <a:pt x="54" y="58"/>
                </a:cubicBezTo>
                <a:cubicBezTo>
                  <a:pt x="58" y="55"/>
                  <a:pt x="58" y="55"/>
                  <a:pt x="58" y="55"/>
                </a:cubicBezTo>
                <a:cubicBezTo>
                  <a:pt x="60" y="54"/>
                  <a:pt x="61" y="54"/>
                  <a:pt x="62" y="56"/>
                </a:cubicBezTo>
                <a:cubicBezTo>
                  <a:pt x="63" y="57"/>
                  <a:pt x="63" y="59"/>
                  <a:pt x="61" y="59"/>
                </a:cubicBezTo>
                <a:cubicBezTo>
                  <a:pt x="57" y="63"/>
                  <a:pt x="57" y="63"/>
                  <a:pt x="57" y="63"/>
                </a:cubicBezTo>
                <a:cubicBezTo>
                  <a:pt x="57" y="63"/>
                  <a:pt x="56" y="63"/>
                  <a:pt x="55" y="63"/>
                </a:cubicBezTo>
                <a:cubicBezTo>
                  <a:pt x="55" y="63"/>
                  <a:pt x="54" y="63"/>
                  <a:pt x="53" y="62"/>
                </a:cubicBezTo>
                <a:close/>
                <a:moveTo>
                  <a:pt x="67" y="53"/>
                </a:moveTo>
                <a:cubicBezTo>
                  <a:pt x="66" y="51"/>
                  <a:pt x="66" y="50"/>
                  <a:pt x="67" y="49"/>
                </a:cubicBezTo>
                <a:cubicBezTo>
                  <a:pt x="72" y="46"/>
                  <a:pt x="72" y="46"/>
                  <a:pt x="72" y="46"/>
                </a:cubicBezTo>
                <a:cubicBezTo>
                  <a:pt x="73" y="45"/>
                  <a:pt x="75" y="45"/>
                  <a:pt x="75" y="46"/>
                </a:cubicBezTo>
                <a:cubicBezTo>
                  <a:pt x="76" y="48"/>
                  <a:pt x="76" y="49"/>
                  <a:pt x="75" y="50"/>
                </a:cubicBezTo>
                <a:cubicBezTo>
                  <a:pt x="70" y="53"/>
                  <a:pt x="70" y="53"/>
                  <a:pt x="70" y="53"/>
                </a:cubicBezTo>
                <a:cubicBezTo>
                  <a:pt x="70" y="54"/>
                  <a:pt x="69" y="54"/>
                  <a:pt x="69" y="54"/>
                </a:cubicBezTo>
                <a:cubicBezTo>
                  <a:pt x="68" y="54"/>
                  <a:pt x="67" y="53"/>
                  <a:pt x="67" y="53"/>
                </a:cubicBezTo>
                <a:close/>
                <a:moveTo>
                  <a:pt x="46" y="89"/>
                </a:moveTo>
                <a:cubicBezTo>
                  <a:pt x="46" y="84"/>
                  <a:pt x="46" y="84"/>
                  <a:pt x="46" y="84"/>
                </a:cubicBezTo>
                <a:cubicBezTo>
                  <a:pt x="46" y="83"/>
                  <a:pt x="47" y="81"/>
                  <a:pt x="49" y="81"/>
                </a:cubicBezTo>
                <a:cubicBezTo>
                  <a:pt x="50" y="81"/>
                  <a:pt x="52" y="83"/>
                  <a:pt x="52" y="84"/>
                </a:cubicBezTo>
                <a:cubicBezTo>
                  <a:pt x="52" y="89"/>
                  <a:pt x="52" y="89"/>
                  <a:pt x="52" y="89"/>
                </a:cubicBezTo>
                <a:cubicBezTo>
                  <a:pt x="52" y="91"/>
                  <a:pt x="50" y="92"/>
                  <a:pt x="49" y="92"/>
                </a:cubicBezTo>
                <a:cubicBezTo>
                  <a:pt x="47" y="92"/>
                  <a:pt x="46" y="91"/>
                  <a:pt x="46" y="89"/>
                </a:cubicBezTo>
                <a:close/>
                <a:moveTo>
                  <a:pt x="80" y="43"/>
                </a:moveTo>
                <a:cubicBezTo>
                  <a:pt x="79" y="42"/>
                  <a:pt x="79" y="40"/>
                  <a:pt x="80" y="39"/>
                </a:cubicBezTo>
                <a:cubicBezTo>
                  <a:pt x="85" y="36"/>
                  <a:pt x="85" y="36"/>
                  <a:pt x="85" y="36"/>
                </a:cubicBezTo>
                <a:cubicBezTo>
                  <a:pt x="86" y="35"/>
                  <a:pt x="88" y="36"/>
                  <a:pt x="89" y="37"/>
                </a:cubicBezTo>
                <a:cubicBezTo>
                  <a:pt x="90" y="38"/>
                  <a:pt x="89" y="40"/>
                  <a:pt x="88" y="41"/>
                </a:cubicBezTo>
                <a:cubicBezTo>
                  <a:pt x="84" y="44"/>
                  <a:pt x="84" y="44"/>
                  <a:pt x="84" y="44"/>
                </a:cubicBezTo>
                <a:cubicBezTo>
                  <a:pt x="83" y="44"/>
                  <a:pt x="83" y="44"/>
                  <a:pt x="82" y="44"/>
                </a:cubicBezTo>
                <a:cubicBezTo>
                  <a:pt x="81" y="44"/>
                  <a:pt x="80" y="44"/>
                  <a:pt x="80" y="43"/>
                </a:cubicBezTo>
                <a:close/>
                <a:moveTo>
                  <a:pt x="87" y="108"/>
                </a:moveTo>
                <a:cubicBezTo>
                  <a:pt x="92" y="108"/>
                  <a:pt x="92" y="108"/>
                  <a:pt x="92" y="108"/>
                </a:cubicBezTo>
                <a:cubicBezTo>
                  <a:pt x="94" y="108"/>
                  <a:pt x="95" y="110"/>
                  <a:pt x="95" y="111"/>
                </a:cubicBezTo>
                <a:cubicBezTo>
                  <a:pt x="95" y="113"/>
                  <a:pt x="94" y="114"/>
                  <a:pt x="92" y="114"/>
                </a:cubicBezTo>
                <a:cubicBezTo>
                  <a:pt x="87" y="114"/>
                  <a:pt x="87" y="114"/>
                  <a:pt x="87" y="114"/>
                </a:cubicBezTo>
                <a:cubicBezTo>
                  <a:pt x="85" y="114"/>
                  <a:pt x="84" y="113"/>
                  <a:pt x="84" y="111"/>
                </a:cubicBezTo>
                <a:cubicBezTo>
                  <a:pt x="84" y="110"/>
                  <a:pt x="85" y="108"/>
                  <a:pt x="87" y="108"/>
                </a:cubicBezTo>
                <a:close/>
                <a:moveTo>
                  <a:pt x="46" y="106"/>
                </a:moveTo>
                <a:cubicBezTo>
                  <a:pt x="46" y="100"/>
                  <a:pt x="46" y="100"/>
                  <a:pt x="46" y="100"/>
                </a:cubicBezTo>
                <a:cubicBezTo>
                  <a:pt x="46" y="99"/>
                  <a:pt x="47" y="98"/>
                  <a:pt x="49" y="98"/>
                </a:cubicBezTo>
                <a:cubicBezTo>
                  <a:pt x="50" y="98"/>
                  <a:pt x="52" y="99"/>
                  <a:pt x="52" y="100"/>
                </a:cubicBezTo>
                <a:cubicBezTo>
                  <a:pt x="52" y="106"/>
                  <a:pt x="52" y="106"/>
                  <a:pt x="52" y="106"/>
                </a:cubicBezTo>
                <a:cubicBezTo>
                  <a:pt x="52" y="107"/>
                  <a:pt x="50" y="108"/>
                  <a:pt x="49" y="108"/>
                </a:cubicBezTo>
                <a:cubicBezTo>
                  <a:pt x="47" y="108"/>
                  <a:pt x="46" y="107"/>
                  <a:pt x="46" y="106"/>
                </a:cubicBezTo>
                <a:close/>
                <a:moveTo>
                  <a:pt x="111" y="146"/>
                </a:moveTo>
                <a:cubicBezTo>
                  <a:pt x="146" y="146"/>
                  <a:pt x="146" y="146"/>
                  <a:pt x="146" y="146"/>
                </a:cubicBezTo>
                <a:cubicBezTo>
                  <a:pt x="146" y="125"/>
                  <a:pt x="146" y="125"/>
                  <a:pt x="146" y="125"/>
                </a:cubicBezTo>
                <a:cubicBezTo>
                  <a:pt x="111" y="125"/>
                  <a:pt x="111" y="125"/>
                  <a:pt x="111" y="125"/>
                </a:cubicBezTo>
                <a:lnTo>
                  <a:pt x="111" y="146"/>
                </a:lnTo>
                <a:close/>
                <a:moveTo>
                  <a:pt x="117" y="130"/>
                </a:moveTo>
                <a:cubicBezTo>
                  <a:pt x="141" y="130"/>
                  <a:pt x="141" y="130"/>
                  <a:pt x="141" y="130"/>
                </a:cubicBezTo>
                <a:cubicBezTo>
                  <a:pt x="141" y="141"/>
                  <a:pt x="141" y="141"/>
                  <a:pt x="141" y="141"/>
                </a:cubicBezTo>
                <a:cubicBezTo>
                  <a:pt x="117" y="141"/>
                  <a:pt x="117" y="141"/>
                  <a:pt x="117" y="141"/>
                </a:cubicBezTo>
                <a:lnTo>
                  <a:pt x="117" y="130"/>
                </a:lnTo>
                <a:close/>
                <a:moveTo>
                  <a:pt x="62" y="79"/>
                </a:moveTo>
                <a:cubicBezTo>
                  <a:pt x="64" y="79"/>
                  <a:pt x="65" y="80"/>
                  <a:pt x="65" y="81"/>
                </a:cubicBezTo>
                <a:cubicBezTo>
                  <a:pt x="65" y="87"/>
                  <a:pt x="65" y="87"/>
                  <a:pt x="65" y="87"/>
                </a:cubicBezTo>
                <a:cubicBezTo>
                  <a:pt x="65" y="88"/>
                  <a:pt x="64" y="89"/>
                  <a:pt x="62" y="89"/>
                </a:cubicBezTo>
                <a:cubicBezTo>
                  <a:pt x="61" y="89"/>
                  <a:pt x="60" y="88"/>
                  <a:pt x="60" y="87"/>
                </a:cubicBezTo>
                <a:cubicBezTo>
                  <a:pt x="60" y="81"/>
                  <a:pt x="60" y="81"/>
                  <a:pt x="60" y="81"/>
                </a:cubicBezTo>
                <a:cubicBezTo>
                  <a:pt x="60" y="80"/>
                  <a:pt x="61" y="79"/>
                  <a:pt x="62" y="79"/>
                </a:cubicBezTo>
                <a:close/>
                <a:moveTo>
                  <a:pt x="87" y="76"/>
                </a:moveTo>
                <a:cubicBezTo>
                  <a:pt x="87" y="81"/>
                  <a:pt x="87" y="81"/>
                  <a:pt x="87" y="81"/>
                </a:cubicBezTo>
                <a:cubicBezTo>
                  <a:pt x="87" y="83"/>
                  <a:pt x="86" y="84"/>
                  <a:pt x="84" y="84"/>
                </a:cubicBezTo>
                <a:cubicBezTo>
                  <a:pt x="83" y="84"/>
                  <a:pt x="81" y="83"/>
                  <a:pt x="81" y="81"/>
                </a:cubicBezTo>
                <a:cubicBezTo>
                  <a:pt x="81" y="76"/>
                  <a:pt x="81" y="76"/>
                  <a:pt x="81" y="76"/>
                </a:cubicBezTo>
                <a:cubicBezTo>
                  <a:pt x="81" y="74"/>
                  <a:pt x="83" y="73"/>
                  <a:pt x="84" y="73"/>
                </a:cubicBezTo>
                <a:cubicBezTo>
                  <a:pt x="86" y="73"/>
                  <a:pt x="87" y="74"/>
                  <a:pt x="87" y="76"/>
                </a:cubicBezTo>
                <a:close/>
                <a:moveTo>
                  <a:pt x="65" y="76"/>
                </a:moveTo>
                <a:cubicBezTo>
                  <a:pt x="65" y="74"/>
                  <a:pt x="66" y="73"/>
                  <a:pt x="68" y="73"/>
                </a:cubicBezTo>
                <a:cubicBezTo>
                  <a:pt x="73" y="73"/>
                  <a:pt x="73" y="73"/>
                  <a:pt x="73" y="73"/>
                </a:cubicBezTo>
                <a:cubicBezTo>
                  <a:pt x="75" y="73"/>
                  <a:pt x="76" y="74"/>
                  <a:pt x="76" y="76"/>
                </a:cubicBezTo>
                <a:cubicBezTo>
                  <a:pt x="76" y="77"/>
                  <a:pt x="75" y="79"/>
                  <a:pt x="73" y="79"/>
                </a:cubicBezTo>
                <a:cubicBezTo>
                  <a:pt x="68" y="79"/>
                  <a:pt x="68" y="79"/>
                  <a:pt x="68" y="79"/>
                </a:cubicBezTo>
                <a:cubicBezTo>
                  <a:pt x="66" y="79"/>
                  <a:pt x="65" y="77"/>
                  <a:pt x="65" y="76"/>
                </a:cubicBezTo>
                <a:close/>
                <a:moveTo>
                  <a:pt x="68" y="100"/>
                </a:moveTo>
                <a:cubicBezTo>
                  <a:pt x="62" y="100"/>
                  <a:pt x="62" y="100"/>
                  <a:pt x="62" y="100"/>
                </a:cubicBezTo>
                <a:cubicBezTo>
                  <a:pt x="61" y="100"/>
                  <a:pt x="60" y="99"/>
                  <a:pt x="60" y="98"/>
                </a:cubicBezTo>
                <a:cubicBezTo>
                  <a:pt x="60" y="96"/>
                  <a:pt x="61" y="95"/>
                  <a:pt x="62" y="95"/>
                </a:cubicBezTo>
                <a:cubicBezTo>
                  <a:pt x="68" y="95"/>
                  <a:pt x="68" y="95"/>
                  <a:pt x="68" y="95"/>
                </a:cubicBezTo>
                <a:cubicBezTo>
                  <a:pt x="69" y="95"/>
                  <a:pt x="71" y="96"/>
                  <a:pt x="71" y="98"/>
                </a:cubicBezTo>
                <a:cubicBezTo>
                  <a:pt x="71" y="99"/>
                  <a:pt x="69" y="100"/>
                  <a:pt x="68" y="100"/>
                </a:cubicBezTo>
                <a:close/>
                <a:moveTo>
                  <a:pt x="76" y="98"/>
                </a:moveTo>
                <a:cubicBezTo>
                  <a:pt x="76" y="96"/>
                  <a:pt x="77" y="95"/>
                  <a:pt x="79" y="95"/>
                </a:cubicBezTo>
                <a:cubicBezTo>
                  <a:pt x="81" y="95"/>
                  <a:pt x="81" y="95"/>
                  <a:pt x="81" y="95"/>
                </a:cubicBezTo>
                <a:cubicBezTo>
                  <a:pt x="81" y="92"/>
                  <a:pt x="81" y="92"/>
                  <a:pt x="81" y="92"/>
                </a:cubicBezTo>
                <a:cubicBezTo>
                  <a:pt x="81" y="91"/>
                  <a:pt x="83" y="89"/>
                  <a:pt x="84" y="89"/>
                </a:cubicBezTo>
                <a:cubicBezTo>
                  <a:pt x="86" y="89"/>
                  <a:pt x="87" y="91"/>
                  <a:pt x="87" y="92"/>
                </a:cubicBezTo>
                <a:cubicBezTo>
                  <a:pt x="87" y="98"/>
                  <a:pt x="87" y="98"/>
                  <a:pt x="87" y="98"/>
                </a:cubicBezTo>
                <a:cubicBezTo>
                  <a:pt x="87" y="99"/>
                  <a:pt x="86" y="100"/>
                  <a:pt x="84" y="100"/>
                </a:cubicBezTo>
                <a:cubicBezTo>
                  <a:pt x="79" y="100"/>
                  <a:pt x="79" y="100"/>
                  <a:pt x="79" y="100"/>
                </a:cubicBezTo>
                <a:cubicBezTo>
                  <a:pt x="77" y="100"/>
                  <a:pt x="76" y="99"/>
                  <a:pt x="76" y="98"/>
                </a:cubicBezTo>
                <a:close/>
                <a:moveTo>
                  <a:pt x="111" y="73"/>
                </a:moveTo>
                <a:cubicBezTo>
                  <a:pt x="117" y="73"/>
                  <a:pt x="117" y="73"/>
                  <a:pt x="117" y="73"/>
                </a:cubicBezTo>
                <a:cubicBezTo>
                  <a:pt x="118" y="73"/>
                  <a:pt x="119" y="74"/>
                  <a:pt x="119" y="76"/>
                </a:cubicBezTo>
                <a:cubicBezTo>
                  <a:pt x="119" y="77"/>
                  <a:pt x="118" y="79"/>
                  <a:pt x="117" y="79"/>
                </a:cubicBezTo>
                <a:cubicBezTo>
                  <a:pt x="111" y="79"/>
                  <a:pt x="111" y="79"/>
                  <a:pt x="111" y="79"/>
                </a:cubicBezTo>
                <a:cubicBezTo>
                  <a:pt x="110" y="79"/>
                  <a:pt x="108" y="77"/>
                  <a:pt x="108" y="76"/>
                </a:cubicBezTo>
                <a:cubicBezTo>
                  <a:pt x="108" y="74"/>
                  <a:pt x="110" y="73"/>
                  <a:pt x="111" y="73"/>
                </a:cubicBezTo>
                <a:close/>
                <a:moveTo>
                  <a:pt x="127" y="73"/>
                </a:moveTo>
                <a:cubicBezTo>
                  <a:pt x="129" y="73"/>
                  <a:pt x="130" y="74"/>
                  <a:pt x="130" y="76"/>
                </a:cubicBezTo>
                <a:cubicBezTo>
                  <a:pt x="130" y="81"/>
                  <a:pt x="130" y="81"/>
                  <a:pt x="130" y="81"/>
                </a:cubicBezTo>
                <a:cubicBezTo>
                  <a:pt x="130" y="83"/>
                  <a:pt x="129" y="84"/>
                  <a:pt x="127" y="84"/>
                </a:cubicBezTo>
                <a:cubicBezTo>
                  <a:pt x="126" y="84"/>
                  <a:pt x="125" y="83"/>
                  <a:pt x="125" y="81"/>
                </a:cubicBezTo>
                <a:cubicBezTo>
                  <a:pt x="125" y="76"/>
                  <a:pt x="125" y="76"/>
                  <a:pt x="125" y="76"/>
                </a:cubicBezTo>
                <a:cubicBezTo>
                  <a:pt x="125" y="74"/>
                  <a:pt x="126" y="73"/>
                  <a:pt x="127" y="73"/>
                </a:cubicBezTo>
                <a:close/>
                <a:moveTo>
                  <a:pt x="122" y="100"/>
                </a:moveTo>
                <a:cubicBezTo>
                  <a:pt x="121" y="100"/>
                  <a:pt x="119" y="99"/>
                  <a:pt x="119" y="98"/>
                </a:cubicBezTo>
                <a:cubicBezTo>
                  <a:pt x="119" y="96"/>
                  <a:pt x="121" y="95"/>
                  <a:pt x="122" y="95"/>
                </a:cubicBezTo>
                <a:cubicBezTo>
                  <a:pt x="125" y="95"/>
                  <a:pt x="125" y="95"/>
                  <a:pt x="125" y="95"/>
                </a:cubicBezTo>
                <a:cubicBezTo>
                  <a:pt x="125" y="92"/>
                  <a:pt x="125" y="92"/>
                  <a:pt x="125" y="92"/>
                </a:cubicBezTo>
                <a:cubicBezTo>
                  <a:pt x="125" y="91"/>
                  <a:pt x="126" y="89"/>
                  <a:pt x="127" y="89"/>
                </a:cubicBezTo>
                <a:cubicBezTo>
                  <a:pt x="129" y="89"/>
                  <a:pt x="130" y="91"/>
                  <a:pt x="130" y="92"/>
                </a:cubicBezTo>
                <a:cubicBezTo>
                  <a:pt x="130" y="98"/>
                  <a:pt x="130" y="98"/>
                  <a:pt x="130" y="98"/>
                </a:cubicBezTo>
                <a:cubicBezTo>
                  <a:pt x="130" y="99"/>
                  <a:pt x="129" y="100"/>
                  <a:pt x="127" y="100"/>
                </a:cubicBezTo>
                <a:lnTo>
                  <a:pt x="122" y="100"/>
                </a:lnTo>
                <a:close/>
                <a:moveTo>
                  <a:pt x="103" y="87"/>
                </a:moveTo>
                <a:cubicBezTo>
                  <a:pt x="103" y="81"/>
                  <a:pt x="103" y="81"/>
                  <a:pt x="103" y="81"/>
                </a:cubicBezTo>
                <a:cubicBezTo>
                  <a:pt x="103" y="80"/>
                  <a:pt x="104" y="79"/>
                  <a:pt x="106" y="79"/>
                </a:cubicBezTo>
                <a:cubicBezTo>
                  <a:pt x="107" y="79"/>
                  <a:pt x="108" y="80"/>
                  <a:pt x="108" y="81"/>
                </a:cubicBezTo>
                <a:cubicBezTo>
                  <a:pt x="108" y="87"/>
                  <a:pt x="108" y="87"/>
                  <a:pt x="108" y="87"/>
                </a:cubicBezTo>
                <a:cubicBezTo>
                  <a:pt x="108" y="88"/>
                  <a:pt x="107" y="89"/>
                  <a:pt x="106" y="89"/>
                </a:cubicBezTo>
                <a:cubicBezTo>
                  <a:pt x="104" y="89"/>
                  <a:pt x="103" y="88"/>
                  <a:pt x="103" y="87"/>
                </a:cubicBezTo>
                <a:close/>
                <a:moveTo>
                  <a:pt x="103" y="98"/>
                </a:moveTo>
                <a:cubicBezTo>
                  <a:pt x="103" y="96"/>
                  <a:pt x="104" y="95"/>
                  <a:pt x="106" y="95"/>
                </a:cubicBezTo>
                <a:cubicBezTo>
                  <a:pt x="111" y="95"/>
                  <a:pt x="111" y="95"/>
                  <a:pt x="111" y="95"/>
                </a:cubicBezTo>
                <a:cubicBezTo>
                  <a:pt x="113" y="95"/>
                  <a:pt x="114" y="96"/>
                  <a:pt x="114" y="98"/>
                </a:cubicBezTo>
                <a:cubicBezTo>
                  <a:pt x="114" y="99"/>
                  <a:pt x="113" y="100"/>
                  <a:pt x="111" y="100"/>
                </a:cubicBezTo>
                <a:cubicBezTo>
                  <a:pt x="106" y="100"/>
                  <a:pt x="106" y="100"/>
                  <a:pt x="106" y="100"/>
                </a:cubicBezTo>
                <a:cubicBezTo>
                  <a:pt x="104" y="100"/>
                  <a:pt x="103" y="99"/>
                  <a:pt x="103" y="98"/>
                </a:cubicBezTo>
                <a:close/>
                <a:moveTo>
                  <a:pt x="106" y="127"/>
                </a:moveTo>
                <a:cubicBezTo>
                  <a:pt x="106" y="129"/>
                  <a:pt x="105" y="130"/>
                  <a:pt x="103" y="130"/>
                </a:cubicBezTo>
                <a:cubicBezTo>
                  <a:pt x="89" y="130"/>
                  <a:pt x="89" y="130"/>
                  <a:pt x="89" y="130"/>
                </a:cubicBezTo>
                <a:cubicBezTo>
                  <a:pt x="88" y="130"/>
                  <a:pt x="87" y="129"/>
                  <a:pt x="87" y="127"/>
                </a:cubicBezTo>
                <a:cubicBezTo>
                  <a:pt x="87" y="126"/>
                  <a:pt x="88" y="125"/>
                  <a:pt x="89" y="125"/>
                </a:cubicBezTo>
                <a:cubicBezTo>
                  <a:pt x="103" y="125"/>
                  <a:pt x="103" y="125"/>
                  <a:pt x="103" y="125"/>
                </a:cubicBezTo>
                <a:cubicBezTo>
                  <a:pt x="105" y="125"/>
                  <a:pt x="106" y="126"/>
                  <a:pt x="106" y="127"/>
                </a:cubicBezTo>
                <a:close/>
                <a:moveTo>
                  <a:pt x="106" y="136"/>
                </a:moveTo>
                <a:cubicBezTo>
                  <a:pt x="106" y="137"/>
                  <a:pt x="105" y="138"/>
                  <a:pt x="103" y="138"/>
                </a:cubicBezTo>
                <a:cubicBezTo>
                  <a:pt x="84" y="138"/>
                  <a:pt x="84" y="138"/>
                  <a:pt x="84" y="138"/>
                </a:cubicBezTo>
                <a:cubicBezTo>
                  <a:pt x="83" y="138"/>
                  <a:pt x="81" y="137"/>
                  <a:pt x="81" y="136"/>
                </a:cubicBezTo>
                <a:cubicBezTo>
                  <a:pt x="81" y="134"/>
                  <a:pt x="83" y="133"/>
                  <a:pt x="84" y="133"/>
                </a:cubicBezTo>
                <a:cubicBezTo>
                  <a:pt x="103" y="133"/>
                  <a:pt x="103" y="133"/>
                  <a:pt x="103" y="133"/>
                </a:cubicBezTo>
                <a:cubicBezTo>
                  <a:pt x="105" y="133"/>
                  <a:pt x="106" y="134"/>
                  <a:pt x="106" y="136"/>
                </a:cubicBezTo>
                <a:close/>
                <a:moveTo>
                  <a:pt x="106" y="144"/>
                </a:moveTo>
                <a:cubicBezTo>
                  <a:pt x="106" y="145"/>
                  <a:pt x="105" y="146"/>
                  <a:pt x="103" y="146"/>
                </a:cubicBezTo>
                <a:cubicBezTo>
                  <a:pt x="76" y="146"/>
                  <a:pt x="76" y="146"/>
                  <a:pt x="76" y="146"/>
                </a:cubicBezTo>
                <a:cubicBezTo>
                  <a:pt x="74" y="146"/>
                  <a:pt x="73" y="145"/>
                  <a:pt x="73" y="144"/>
                </a:cubicBezTo>
                <a:cubicBezTo>
                  <a:pt x="73" y="142"/>
                  <a:pt x="74" y="141"/>
                  <a:pt x="76" y="141"/>
                </a:cubicBezTo>
                <a:cubicBezTo>
                  <a:pt x="103" y="141"/>
                  <a:pt x="103" y="141"/>
                  <a:pt x="103" y="141"/>
                </a:cubicBezTo>
                <a:cubicBezTo>
                  <a:pt x="105" y="141"/>
                  <a:pt x="106" y="142"/>
                  <a:pt x="106" y="144"/>
                </a:cubicBezTo>
                <a:close/>
                <a:moveTo>
                  <a:pt x="11" y="11"/>
                </a:moveTo>
                <a:cubicBezTo>
                  <a:pt x="12" y="11"/>
                  <a:pt x="14" y="12"/>
                  <a:pt x="14" y="14"/>
                </a:cubicBezTo>
                <a:cubicBezTo>
                  <a:pt x="14" y="15"/>
                  <a:pt x="12" y="16"/>
                  <a:pt x="11" y="16"/>
                </a:cubicBezTo>
                <a:cubicBezTo>
                  <a:pt x="9" y="16"/>
                  <a:pt x="8" y="15"/>
                  <a:pt x="8" y="14"/>
                </a:cubicBezTo>
                <a:cubicBezTo>
                  <a:pt x="8" y="12"/>
                  <a:pt x="9" y="11"/>
                  <a:pt x="11" y="11"/>
                </a:cubicBezTo>
                <a:close/>
                <a:moveTo>
                  <a:pt x="27" y="11"/>
                </a:moveTo>
                <a:cubicBezTo>
                  <a:pt x="29" y="11"/>
                  <a:pt x="30" y="12"/>
                  <a:pt x="30" y="14"/>
                </a:cubicBezTo>
                <a:cubicBezTo>
                  <a:pt x="30" y="15"/>
                  <a:pt x="29" y="16"/>
                  <a:pt x="27" y="16"/>
                </a:cubicBezTo>
                <a:cubicBezTo>
                  <a:pt x="26" y="16"/>
                  <a:pt x="24" y="15"/>
                  <a:pt x="24" y="14"/>
                </a:cubicBezTo>
                <a:cubicBezTo>
                  <a:pt x="24" y="12"/>
                  <a:pt x="26" y="11"/>
                  <a:pt x="27" y="11"/>
                </a:cubicBezTo>
                <a:close/>
                <a:moveTo>
                  <a:pt x="19" y="19"/>
                </a:moveTo>
                <a:cubicBezTo>
                  <a:pt x="20" y="19"/>
                  <a:pt x="22" y="20"/>
                  <a:pt x="22" y="22"/>
                </a:cubicBezTo>
                <a:cubicBezTo>
                  <a:pt x="22" y="23"/>
                  <a:pt x="20" y="24"/>
                  <a:pt x="19" y="24"/>
                </a:cubicBezTo>
                <a:cubicBezTo>
                  <a:pt x="17" y="24"/>
                  <a:pt x="16" y="23"/>
                  <a:pt x="16" y="22"/>
                </a:cubicBezTo>
                <a:cubicBezTo>
                  <a:pt x="16" y="20"/>
                  <a:pt x="17" y="19"/>
                  <a:pt x="19" y="19"/>
                </a:cubicBezTo>
                <a:close/>
                <a:moveTo>
                  <a:pt x="11" y="27"/>
                </a:moveTo>
                <a:cubicBezTo>
                  <a:pt x="12" y="27"/>
                  <a:pt x="14" y="28"/>
                  <a:pt x="14" y="30"/>
                </a:cubicBezTo>
                <a:cubicBezTo>
                  <a:pt x="14" y="31"/>
                  <a:pt x="12" y="33"/>
                  <a:pt x="11" y="33"/>
                </a:cubicBezTo>
                <a:cubicBezTo>
                  <a:pt x="9" y="33"/>
                  <a:pt x="8" y="31"/>
                  <a:pt x="8" y="30"/>
                </a:cubicBezTo>
                <a:cubicBezTo>
                  <a:pt x="8" y="28"/>
                  <a:pt x="9" y="27"/>
                  <a:pt x="11" y="27"/>
                </a:cubicBezTo>
                <a:close/>
                <a:moveTo>
                  <a:pt x="27" y="27"/>
                </a:moveTo>
                <a:cubicBezTo>
                  <a:pt x="29" y="27"/>
                  <a:pt x="30" y="28"/>
                  <a:pt x="30" y="30"/>
                </a:cubicBezTo>
                <a:cubicBezTo>
                  <a:pt x="30" y="31"/>
                  <a:pt x="29" y="33"/>
                  <a:pt x="27" y="33"/>
                </a:cubicBezTo>
                <a:cubicBezTo>
                  <a:pt x="26" y="33"/>
                  <a:pt x="24" y="31"/>
                  <a:pt x="24" y="30"/>
                </a:cubicBezTo>
                <a:cubicBezTo>
                  <a:pt x="24" y="28"/>
                  <a:pt x="26" y="27"/>
                  <a:pt x="27" y="27"/>
                </a:cubicBezTo>
                <a:close/>
                <a:moveTo>
                  <a:pt x="11" y="43"/>
                </a:moveTo>
                <a:cubicBezTo>
                  <a:pt x="12" y="43"/>
                  <a:pt x="14" y="45"/>
                  <a:pt x="14" y="46"/>
                </a:cubicBezTo>
                <a:cubicBezTo>
                  <a:pt x="14" y="48"/>
                  <a:pt x="12" y="49"/>
                  <a:pt x="11" y="49"/>
                </a:cubicBezTo>
                <a:cubicBezTo>
                  <a:pt x="9" y="49"/>
                  <a:pt x="8" y="48"/>
                  <a:pt x="8" y="46"/>
                </a:cubicBezTo>
                <a:cubicBezTo>
                  <a:pt x="8" y="45"/>
                  <a:pt x="9" y="43"/>
                  <a:pt x="11" y="43"/>
                </a:cubicBezTo>
                <a:close/>
                <a:moveTo>
                  <a:pt x="27" y="43"/>
                </a:moveTo>
                <a:cubicBezTo>
                  <a:pt x="29" y="43"/>
                  <a:pt x="30" y="45"/>
                  <a:pt x="30" y="46"/>
                </a:cubicBezTo>
                <a:cubicBezTo>
                  <a:pt x="30" y="48"/>
                  <a:pt x="29" y="49"/>
                  <a:pt x="27" y="49"/>
                </a:cubicBezTo>
                <a:cubicBezTo>
                  <a:pt x="26" y="49"/>
                  <a:pt x="24" y="48"/>
                  <a:pt x="24" y="46"/>
                </a:cubicBezTo>
                <a:cubicBezTo>
                  <a:pt x="24" y="45"/>
                  <a:pt x="26" y="43"/>
                  <a:pt x="27" y="43"/>
                </a:cubicBezTo>
                <a:close/>
                <a:moveTo>
                  <a:pt x="19" y="35"/>
                </a:moveTo>
                <a:cubicBezTo>
                  <a:pt x="20" y="35"/>
                  <a:pt x="22" y="36"/>
                  <a:pt x="22" y="38"/>
                </a:cubicBezTo>
                <a:cubicBezTo>
                  <a:pt x="22" y="39"/>
                  <a:pt x="20" y="41"/>
                  <a:pt x="19" y="41"/>
                </a:cubicBezTo>
                <a:cubicBezTo>
                  <a:pt x="17" y="41"/>
                  <a:pt x="16" y="39"/>
                  <a:pt x="16" y="38"/>
                </a:cubicBezTo>
                <a:cubicBezTo>
                  <a:pt x="16" y="36"/>
                  <a:pt x="17" y="35"/>
                  <a:pt x="19" y="35"/>
                </a:cubicBezTo>
                <a:close/>
                <a:moveTo>
                  <a:pt x="19" y="52"/>
                </a:moveTo>
                <a:cubicBezTo>
                  <a:pt x="20" y="52"/>
                  <a:pt x="22" y="53"/>
                  <a:pt x="22" y="54"/>
                </a:cubicBezTo>
                <a:cubicBezTo>
                  <a:pt x="22" y="56"/>
                  <a:pt x="20" y="57"/>
                  <a:pt x="19" y="57"/>
                </a:cubicBezTo>
                <a:cubicBezTo>
                  <a:pt x="17" y="57"/>
                  <a:pt x="16" y="56"/>
                  <a:pt x="16" y="54"/>
                </a:cubicBezTo>
                <a:cubicBezTo>
                  <a:pt x="16" y="53"/>
                  <a:pt x="17" y="52"/>
                  <a:pt x="19" y="52"/>
                </a:cubicBezTo>
                <a:close/>
                <a:moveTo>
                  <a:pt x="11" y="60"/>
                </a:moveTo>
                <a:cubicBezTo>
                  <a:pt x="12" y="60"/>
                  <a:pt x="14" y="61"/>
                  <a:pt x="14" y="62"/>
                </a:cubicBezTo>
                <a:cubicBezTo>
                  <a:pt x="14" y="64"/>
                  <a:pt x="12" y="65"/>
                  <a:pt x="11" y="65"/>
                </a:cubicBezTo>
                <a:cubicBezTo>
                  <a:pt x="9" y="65"/>
                  <a:pt x="8" y="64"/>
                  <a:pt x="8" y="62"/>
                </a:cubicBezTo>
                <a:cubicBezTo>
                  <a:pt x="8" y="61"/>
                  <a:pt x="9" y="60"/>
                  <a:pt x="11" y="60"/>
                </a:cubicBezTo>
                <a:close/>
                <a:moveTo>
                  <a:pt x="27" y="60"/>
                </a:moveTo>
                <a:cubicBezTo>
                  <a:pt x="29" y="60"/>
                  <a:pt x="30" y="61"/>
                  <a:pt x="30" y="62"/>
                </a:cubicBezTo>
                <a:cubicBezTo>
                  <a:pt x="30" y="64"/>
                  <a:pt x="29" y="65"/>
                  <a:pt x="27" y="65"/>
                </a:cubicBezTo>
                <a:cubicBezTo>
                  <a:pt x="26" y="65"/>
                  <a:pt x="24" y="64"/>
                  <a:pt x="24" y="62"/>
                </a:cubicBezTo>
                <a:cubicBezTo>
                  <a:pt x="24" y="61"/>
                  <a:pt x="26" y="60"/>
                  <a:pt x="27" y="60"/>
                </a:cubicBezTo>
                <a:close/>
                <a:moveTo>
                  <a:pt x="11" y="76"/>
                </a:moveTo>
                <a:cubicBezTo>
                  <a:pt x="12" y="76"/>
                  <a:pt x="14" y="77"/>
                  <a:pt x="14" y="79"/>
                </a:cubicBezTo>
                <a:cubicBezTo>
                  <a:pt x="14" y="80"/>
                  <a:pt x="12" y="81"/>
                  <a:pt x="11" y="81"/>
                </a:cubicBezTo>
                <a:cubicBezTo>
                  <a:pt x="9" y="81"/>
                  <a:pt x="8" y="80"/>
                  <a:pt x="8" y="79"/>
                </a:cubicBezTo>
                <a:cubicBezTo>
                  <a:pt x="8" y="77"/>
                  <a:pt x="9" y="76"/>
                  <a:pt x="11" y="76"/>
                </a:cubicBezTo>
                <a:close/>
                <a:moveTo>
                  <a:pt x="27" y="76"/>
                </a:moveTo>
                <a:cubicBezTo>
                  <a:pt x="29" y="76"/>
                  <a:pt x="30" y="77"/>
                  <a:pt x="30" y="79"/>
                </a:cubicBezTo>
                <a:cubicBezTo>
                  <a:pt x="30" y="80"/>
                  <a:pt x="29" y="81"/>
                  <a:pt x="27" y="81"/>
                </a:cubicBezTo>
                <a:cubicBezTo>
                  <a:pt x="26" y="81"/>
                  <a:pt x="24" y="80"/>
                  <a:pt x="24" y="79"/>
                </a:cubicBezTo>
                <a:cubicBezTo>
                  <a:pt x="24" y="77"/>
                  <a:pt x="26" y="76"/>
                  <a:pt x="27" y="76"/>
                </a:cubicBezTo>
                <a:close/>
                <a:moveTo>
                  <a:pt x="19" y="68"/>
                </a:moveTo>
                <a:cubicBezTo>
                  <a:pt x="20" y="68"/>
                  <a:pt x="22" y="69"/>
                  <a:pt x="22" y="71"/>
                </a:cubicBezTo>
                <a:cubicBezTo>
                  <a:pt x="22" y="72"/>
                  <a:pt x="20" y="73"/>
                  <a:pt x="19" y="73"/>
                </a:cubicBezTo>
                <a:cubicBezTo>
                  <a:pt x="17" y="73"/>
                  <a:pt x="16" y="72"/>
                  <a:pt x="16" y="71"/>
                </a:cubicBezTo>
                <a:cubicBezTo>
                  <a:pt x="16" y="69"/>
                  <a:pt x="17" y="68"/>
                  <a:pt x="19" y="68"/>
                </a:cubicBezTo>
                <a:close/>
                <a:moveTo>
                  <a:pt x="19" y="84"/>
                </a:moveTo>
                <a:cubicBezTo>
                  <a:pt x="20" y="84"/>
                  <a:pt x="22" y="85"/>
                  <a:pt x="22" y="87"/>
                </a:cubicBezTo>
                <a:cubicBezTo>
                  <a:pt x="22" y="88"/>
                  <a:pt x="20" y="89"/>
                  <a:pt x="19" y="89"/>
                </a:cubicBezTo>
                <a:cubicBezTo>
                  <a:pt x="17" y="89"/>
                  <a:pt x="16" y="88"/>
                  <a:pt x="16" y="87"/>
                </a:cubicBezTo>
                <a:cubicBezTo>
                  <a:pt x="16" y="85"/>
                  <a:pt x="17" y="84"/>
                  <a:pt x="19" y="84"/>
                </a:cubicBezTo>
                <a:close/>
                <a:moveTo>
                  <a:pt x="11" y="92"/>
                </a:moveTo>
                <a:cubicBezTo>
                  <a:pt x="12" y="92"/>
                  <a:pt x="14" y="93"/>
                  <a:pt x="14" y="95"/>
                </a:cubicBezTo>
                <a:cubicBezTo>
                  <a:pt x="14" y="96"/>
                  <a:pt x="12" y="98"/>
                  <a:pt x="11" y="98"/>
                </a:cubicBezTo>
                <a:cubicBezTo>
                  <a:pt x="9" y="98"/>
                  <a:pt x="8" y="96"/>
                  <a:pt x="8" y="95"/>
                </a:cubicBezTo>
                <a:cubicBezTo>
                  <a:pt x="8" y="93"/>
                  <a:pt x="9" y="92"/>
                  <a:pt x="11" y="92"/>
                </a:cubicBezTo>
                <a:close/>
                <a:moveTo>
                  <a:pt x="27" y="92"/>
                </a:moveTo>
                <a:cubicBezTo>
                  <a:pt x="29" y="92"/>
                  <a:pt x="30" y="93"/>
                  <a:pt x="30" y="95"/>
                </a:cubicBezTo>
                <a:cubicBezTo>
                  <a:pt x="30" y="96"/>
                  <a:pt x="29" y="98"/>
                  <a:pt x="27" y="98"/>
                </a:cubicBezTo>
                <a:cubicBezTo>
                  <a:pt x="26" y="98"/>
                  <a:pt x="24" y="96"/>
                  <a:pt x="24" y="95"/>
                </a:cubicBezTo>
                <a:cubicBezTo>
                  <a:pt x="24" y="93"/>
                  <a:pt x="26" y="92"/>
                  <a:pt x="27" y="92"/>
                </a:cubicBezTo>
                <a:close/>
                <a:moveTo>
                  <a:pt x="11" y="108"/>
                </a:moveTo>
                <a:cubicBezTo>
                  <a:pt x="12" y="108"/>
                  <a:pt x="14" y="110"/>
                  <a:pt x="14" y="111"/>
                </a:cubicBezTo>
                <a:cubicBezTo>
                  <a:pt x="14" y="113"/>
                  <a:pt x="12" y="114"/>
                  <a:pt x="11" y="114"/>
                </a:cubicBezTo>
                <a:cubicBezTo>
                  <a:pt x="9" y="114"/>
                  <a:pt x="8" y="113"/>
                  <a:pt x="8" y="111"/>
                </a:cubicBezTo>
                <a:cubicBezTo>
                  <a:pt x="8" y="110"/>
                  <a:pt x="9" y="108"/>
                  <a:pt x="11" y="108"/>
                </a:cubicBezTo>
                <a:close/>
                <a:moveTo>
                  <a:pt x="27" y="108"/>
                </a:moveTo>
                <a:cubicBezTo>
                  <a:pt x="29" y="108"/>
                  <a:pt x="30" y="110"/>
                  <a:pt x="30" y="111"/>
                </a:cubicBezTo>
                <a:cubicBezTo>
                  <a:pt x="30" y="113"/>
                  <a:pt x="29" y="114"/>
                  <a:pt x="27" y="114"/>
                </a:cubicBezTo>
                <a:cubicBezTo>
                  <a:pt x="26" y="114"/>
                  <a:pt x="24" y="113"/>
                  <a:pt x="24" y="111"/>
                </a:cubicBezTo>
                <a:cubicBezTo>
                  <a:pt x="24" y="110"/>
                  <a:pt x="26" y="108"/>
                  <a:pt x="27" y="108"/>
                </a:cubicBezTo>
                <a:close/>
                <a:moveTo>
                  <a:pt x="19" y="100"/>
                </a:moveTo>
                <a:cubicBezTo>
                  <a:pt x="20" y="100"/>
                  <a:pt x="22" y="102"/>
                  <a:pt x="22" y="103"/>
                </a:cubicBezTo>
                <a:cubicBezTo>
                  <a:pt x="22" y="105"/>
                  <a:pt x="20" y="106"/>
                  <a:pt x="19" y="106"/>
                </a:cubicBezTo>
                <a:cubicBezTo>
                  <a:pt x="17" y="106"/>
                  <a:pt x="16" y="105"/>
                  <a:pt x="16" y="103"/>
                </a:cubicBezTo>
                <a:cubicBezTo>
                  <a:pt x="16" y="102"/>
                  <a:pt x="17" y="100"/>
                  <a:pt x="19" y="100"/>
                </a:cubicBezTo>
                <a:close/>
                <a:moveTo>
                  <a:pt x="19" y="117"/>
                </a:moveTo>
                <a:cubicBezTo>
                  <a:pt x="20" y="117"/>
                  <a:pt x="22" y="118"/>
                  <a:pt x="22" y="119"/>
                </a:cubicBezTo>
                <a:cubicBezTo>
                  <a:pt x="22" y="121"/>
                  <a:pt x="20" y="122"/>
                  <a:pt x="19" y="122"/>
                </a:cubicBezTo>
                <a:cubicBezTo>
                  <a:pt x="17" y="122"/>
                  <a:pt x="16" y="121"/>
                  <a:pt x="16" y="119"/>
                </a:cubicBezTo>
                <a:cubicBezTo>
                  <a:pt x="16" y="118"/>
                  <a:pt x="17" y="117"/>
                  <a:pt x="19" y="11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052">
            <a:extLst>
              <a:ext uri="{FF2B5EF4-FFF2-40B4-BE49-F238E27FC236}">
                <a16:creationId xmlns:a16="http://schemas.microsoft.com/office/drawing/2014/main" id="{8476EDB0-61FB-144C-93EC-6D09F23BD563}"/>
              </a:ext>
            </a:extLst>
          </p:cNvPr>
          <p:cNvSpPr>
            <a:spLocks noEditPoints="1"/>
          </p:cNvSpPr>
          <p:nvPr/>
        </p:nvSpPr>
        <p:spPr bwMode="auto">
          <a:xfrm>
            <a:off x="2624020" y="5938838"/>
            <a:ext cx="273050" cy="550863"/>
          </a:xfrm>
          <a:custGeom>
            <a:avLst/>
            <a:gdLst>
              <a:gd name="T0" fmla="*/ 172 w 172"/>
              <a:gd name="T1" fmla="*/ 93 h 347"/>
              <a:gd name="T2" fmla="*/ 82 w 172"/>
              <a:gd name="T3" fmla="*/ 0 h 347"/>
              <a:gd name="T4" fmla="*/ 82 w 172"/>
              <a:gd name="T5" fmla="*/ 154 h 347"/>
              <a:gd name="T6" fmla="*/ 9 w 172"/>
              <a:gd name="T7" fmla="*/ 83 h 347"/>
              <a:gd name="T8" fmla="*/ 0 w 172"/>
              <a:gd name="T9" fmla="*/ 91 h 347"/>
              <a:gd name="T10" fmla="*/ 82 w 172"/>
              <a:gd name="T11" fmla="*/ 174 h 347"/>
              <a:gd name="T12" fmla="*/ 82 w 172"/>
              <a:gd name="T13" fmla="*/ 174 h 347"/>
              <a:gd name="T14" fmla="*/ 0 w 172"/>
              <a:gd name="T15" fmla="*/ 256 h 347"/>
              <a:gd name="T16" fmla="*/ 9 w 172"/>
              <a:gd name="T17" fmla="*/ 265 h 347"/>
              <a:gd name="T18" fmla="*/ 82 w 172"/>
              <a:gd name="T19" fmla="*/ 191 h 347"/>
              <a:gd name="T20" fmla="*/ 82 w 172"/>
              <a:gd name="T21" fmla="*/ 193 h 347"/>
              <a:gd name="T22" fmla="*/ 82 w 172"/>
              <a:gd name="T23" fmla="*/ 347 h 347"/>
              <a:gd name="T24" fmla="*/ 172 w 172"/>
              <a:gd name="T25" fmla="*/ 247 h 347"/>
              <a:gd name="T26" fmla="*/ 99 w 172"/>
              <a:gd name="T27" fmla="*/ 174 h 347"/>
              <a:gd name="T28" fmla="*/ 172 w 172"/>
              <a:gd name="T29" fmla="*/ 93 h 347"/>
              <a:gd name="T30" fmla="*/ 95 w 172"/>
              <a:gd name="T31" fmla="*/ 31 h 347"/>
              <a:gd name="T32" fmla="*/ 155 w 172"/>
              <a:gd name="T33" fmla="*/ 93 h 347"/>
              <a:gd name="T34" fmla="*/ 95 w 172"/>
              <a:gd name="T35" fmla="*/ 161 h 347"/>
              <a:gd name="T36" fmla="*/ 95 w 172"/>
              <a:gd name="T37" fmla="*/ 31 h 347"/>
              <a:gd name="T38" fmla="*/ 95 w 172"/>
              <a:gd name="T39" fmla="*/ 314 h 347"/>
              <a:gd name="T40" fmla="*/ 95 w 172"/>
              <a:gd name="T41" fmla="*/ 184 h 347"/>
              <a:gd name="T42" fmla="*/ 155 w 172"/>
              <a:gd name="T43" fmla="*/ 247 h 347"/>
              <a:gd name="T44" fmla="*/ 95 w 172"/>
              <a:gd name="T45" fmla="*/ 31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347">
                <a:moveTo>
                  <a:pt x="172" y="93"/>
                </a:moveTo>
                <a:lnTo>
                  <a:pt x="82" y="0"/>
                </a:lnTo>
                <a:lnTo>
                  <a:pt x="82" y="154"/>
                </a:lnTo>
                <a:lnTo>
                  <a:pt x="9" y="83"/>
                </a:lnTo>
                <a:lnTo>
                  <a:pt x="0" y="91"/>
                </a:lnTo>
                <a:lnTo>
                  <a:pt x="82" y="174"/>
                </a:lnTo>
                <a:lnTo>
                  <a:pt x="82" y="174"/>
                </a:lnTo>
                <a:lnTo>
                  <a:pt x="0" y="256"/>
                </a:lnTo>
                <a:lnTo>
                  <a:pt x="9" y="265"/>
                </a:lnTo>
                <a:lnTo>
                  <a:pt x="82" y="191"/>
                </a:lnTo>
                <a:lnTo>
                  <a:pt x="82" y="193"/>
                </a:lnTo>
                <a:lnTo>
                  <a:pt x="82" y="347"/>
                </a:lnTo>
                <a:lnTo>
                  <a:pt x="172" y="247"/>
                </a:lnTo>
                <a:lnTo>
                  <a:pt x="99" y="174"/>
                </a:lnTo>
                <a:lnTo>
                  <a:pt x="172" y="93"/>
                </a:lnTo>
                <a:close/>
                <a:moveTo>
                  <a:pt x="95" y="31"/>
                </a:moveTo>
                <a:lnTo>
                  <a:pt x="155" y="93"/>
                </a:lnTo>
                <a:lnTo>
                  <a:pt x="95" y="161"/>
                </a:lnTo>
                <a:lnTo>
                  <a:pt x="95" y="31"/>
                </a:lnTo>
                <a:close/>
                <a:moveTo>
                  <a:pt x="95" y="314"/>
                </a:moveTo>
                <a:lnTo>
                  <a:pt x="95" y="184"/>
                </a:lnTo>
                <a:lnTo>
                  <a:pt x="155" y="247"/>
                </a:lnTo>
                <a:lnTo>
                  <a:pt x="95" y="31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053">
            <a:extLst>
              <a:ext uri="{FF2B5EF4-FFF2-40B4-BE49-F238E27FC236}">
                <a16:creationId xmlns:a16="http://schemas.microsoft.com/office/drawing/2014/main" id="{5D715109-3723-6D49-AA7A-9FC81125D137}"/>
              </a:ext>
            </a:extLst>
          </p:cNvPr>
          <p:cNvSpPr>
            <a:spLocks noEditPoints="1"/>
          </p:cNvSpPr>
          <p:nvPr/>
        </p:nvSpPr>
        <p:spPr bwMode="auto">
          <a:xfrm>
            <a:off x="3538420" y="365125"/>
            <a:ext cx="344488" cy="550863"/>
          </a:xfrm>
          <a:custGeom>
            <a:avLst/>
            <a:gdLst>
              <a:gd name="T0" fmla="*/ 48 w 101"/>
              <a:gd name="T1" fmla="*/ 24 h 160"/>
              <a:gd name="T2" fmla="*/ 48 w 101"/>
              <a:gd name="T3" fmla="*/ 72 h 160"/>
              <a:gd name="T4" fmla="*/ 25 w 101"/>
              <a:gd name="T5" fmla="*/ 51 h 160"/>
              <a:gd name="T6" fmla="*/ 21 w 101"/>
              <a:gd name="T7" fmla="*/ 55 h 160"/>
              <a:gd name="T8" fmla="*/ 46 w 101"/>
              <a:gd name="T9" fmla="*/ 79 h 160"/>
              <a:gd name="T10" fmla="*/ 21 w 101"/>
              <a:gd name="T11" fmla="*/ 102 h 160"/>
              <a:gd name="T12" fmla="*/ 24 w 101"/>
              <a:gd name="T13" fmla="*/ 106 h 160"/>
              <a:gd name="T14" fmla="*/ 48 w 101"/>
              <a:gd name="T15" fmla="*/ 85 h 160"/>
              <a:gd name="T16" fmla="*/ 48 w 101"/>
              <a:gd name="T17" fmla="*/ 137 h 160"/>
              <a:gd name="T18" fmla="*/ 77 w 101"/>
              <a:gd name="T19" fmla="*/ 104 h 160"/>
              <a:gd name="T20" fmla="*/ 54 w 101"/>
              <a:gd name="T21" fmla="*/ 79 h 160"/>
              <a:gd name="T22" fmla="*/ 77 w 101"/>
              <a:gd name="T23" fmla="*/ 53 h 160"/>
              <a:gd name="T24" fmla="*/ 48 w 101"/>
              <a:gd name="T25" fmla="*/ 24 h 160"/>
              <a:gd name="T26" fmla="*/ 69 w 101"/>
              <a:gd name="T27" fmla="*/ 53 h 160"/>
              <a:gd name="T28" fmla="*/ 53 w 101"/>
              <a:gd name="T29" fmla="*/ 71 h 160"/>
              <a:gd name="T30" fmla="*/ 53 w 101"/>
              <a:gd name="T31" fmla="*/ 38 h 160"/>
              <a:gd name="T32" fmla="*/ 69 w 101"/>
              <a:gd name="T33" fmla="*/ 53 h 160"/>
              <a:gd name="T34" fmla="*/ 53 w 101"/>
              <a:gd name="T35" fmla="*/ 122 h 160"/>
              <a:gd name="T36" fmla="*/ 53 w 101"/>
              <a:gd name="T37" fmla="*/ 87 h 160"/>
              <a:gd name="T38" fmla="*/ 69 w 101"/>
              <a:gd name="T39" fmla="*/ 104 h 160"/>
              <a:gd name="T40" fmla="*/ 53 w 101"/>
              <a:gd name="T41" fmla="*/ 122 h 160"/>
              <a:gd name="T42" fmla="*/ 51 w 101"/>
              <a:gd name="T43" fmla="*/ 0 h 160"/>
              <a:gd name="T44" fmla="*/ 0 w 101"/>
              <a:gd name="T45" fmla="*/ 51 h 160"/>
              <a:gd name="T46" fmla="*/ 0 w 101"/>
              <a:gd name="T47" fmla="*/ 109 h 160"/>
              <a:gd name="T48" fmla="*/ 51 w 101"/>
              <a:gd name="T49" fmla="*/ 160 h 160"/>
              <a:gd name="T50" fmla="*/ 101 w 101"/>
              <a:gd name="T51" fmla="*/ 109 h 160"/>
              <a:gd name="T52" fmla="*/ 101 w 101"/>
              <a:gd name="T53" fmla="*/ 51 h 160"/>
              <a:gd name="T54" fmla="*/ 51 w 101"/>
              <a:gd name="T55" fmla="*/ 0 h 160"/>
              <a:gd name="T56" fmla="*/ 95 w 101"/>
              <a:gd name="T57" fmla="*/ 109 h 160"/>
              <a:gd name="T58" fmla="*/ 51 w 101"/>
              <a:gd name="T59" fmla="*/ 154 h 160"/>
              <a:gd name="T60" fmla="*/ 6 w 101"/>
              <a:gd name="T61" fmla="*/ 109 h 160"/>
              <a:gd name="T62" fmla="*/ 6 w 101"/>
              <a:gd name="T63" fmla="*/ 51 h 160"/>
              <a:gd name="T64" fmla="*/ 51 w 101"/>
              <a:gd name="T65" fmla="*/ 6 h 160"/>
              <a:gd name="T66" fmla="*/ 95 w 101"/>
              <a:gd name="T67" fmla="*/ 51 h 160"/>
              <a:gd name="T68" fmla="*/ 95 w 101"/>
              <a:gd name="T69"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 h="160">
                <a:moveTo>
                  <a:pt x="48" y="24"/>
                </a:moveTo>
                <a:cubicBezTo>
                  <a:pt x="48" y="72"/>
                  <a:pt x="48" y="72"/>
                  <a:pt x="48" y="72"/>
                </a:cubicBezTo>
                <a:cubicBezTo>
                  <a:pt x="25" y="51"/>
                  <a:pt x="25" y="51"/>
                  <a:pt x="25" y="51"/>
                </a:cubicBezTo>
                <a:cubicBezTo>
                  <a:pt x="21" y="55"/>
                  <a:pt x="21" y="55"/>
                  <a:pt x="21" y="55"/>
                </a:cubicBezTo>
                <a:cubicBezTo>
                  <a:pt x="46" y="79"/>
                  <a:pt x="46" y="79"/>
                  <a:pt x="46" y="79"/>
                </a:cubicBezTo>
                <a:cubicBezTo>
                  <a:pt x="21" y="102"/>
                  <a:pt x="21" y="102"/>
                  <a:pt x="21" y="102"/>
                </a:cubicBezTo>
                <a:cubicBezTo>
                  <a:pt x="24" y="106"/>
                  <a:pt x="24" y="106"/>
                  <a:pt x="24" y="106"/>
                </a:cubicBezTo>
                <a:cubicBezTo>
                  <a:pt x="48" y="85"/>
                  <a:pt x="48" y="85"/>
                  <a:pt x="48" y="85"/>
                </a:cubicBezTo>
                <a:cubicBezTo>
                  <a:pt x="48" y="137"/>
                  <a:pt x="48" y="137"/>
                  <a:pt x="48" y="137"/>
                </a:cubicBezTo>
                <a:cubicBezTo>
                  <a:pt x="77" y="104"/>
                  <a:pt x="77" y="104"/>
                  <a:pt x="77" y="104"/>
                </a:cubicBezTo>
                <a:cubicBezTo>
                  <a:pt x="54" y="79"/>
                  <a:pt x="54" y="79"/>
                  <a:pt x="54" y="79"/>
                </a:cubicBezTo>
                <a:cubicBezTo>
                  <a:pt x="77" y="53"/>
                  <a:pt x="77" y="53"/>
                  <a:pt x="77" y="53"/>
                </a:cubicBezTo>
                <a:lnTo>
                  <a:pt x="48" y="24"/>
                </a:lnTo>
                <a:close/>
                <a:moveTo>
                  <a:pt x="69" y="53"/>
                </a:moveTo>
                <a:cubicBezTo>
                  <a:pt x="53" y="71"/>
                  <a:pt x="53" y="71"/>
                  <a:pt x="53" y="71"/>
                </a:cubicBezTo>
                <a:cubicBezTo>
                  <a:pt x="53" y="38"/>
                  <a:pt x="53" y="38"/>
                  <a:pt x="53" y="38"/>
                </a:cubicBezTo>
                <a:lnTo>
                  <a:pt x="69" y="53"/>
                </a:lnTo>
                <a:close/>
                <a:moveTo>
                  <a:pt x="53" y="122"/>
                </a:moveTo>
                <a:cubicBezTo>
                  <a:pt x="53" y="87"/>
                  <a:pt x="53" y="87"/>
                  <a:pt x="53" y="87"/>
                </a:cubicBezTo>
                <a:cubicBezTo>
                  <a:pt x="69" y="104"/>
                  <a:pt x="69" y="104"/>
                  <a:pt x="69" y="104"/>
                </a:cubicBezTo>
                <a:lnTo>
                  <a:pt x="53" y="122"/>
                </a:lnTo>
                <a:close/>
                <a:moveTo>
                  <a:pt x="51" y="0"/>
                </a:moveTo>
                <a:cubicBezTo>
                  <a:pt x="23" y="0"/>
                  <a:pt x="0" y="23"/>
                  <a:pt x="0" y="51"/>
                </a:cubicBezTo>
                <a:cubicBezTo>
                  <a:pt x="0" y="109"/>
                  <a:pt x="0" y="109"/>
                  <a:pt x="0" y="109"/>
                </a:cubicBezTo>
                <a:cubicBezTo>
                  <a:pt x="0" y="137"/>
                  <a:pt x="23" y="160"/>
                  <a:pt x="51" y="160"/>
                </a:cubicBezTo>
                <a:cubicBezTo>
                  <a:pt x="78" y="160"/>
                  <a:pt x="101" y="137"/>
                  <a:pt x="101" y="109"/>
                </a:cubicBezTo>
                <a:cubicBezTo>
                  <a:pt x="101" y="51"/>
                  <a:pt x="101" y="51"/>
                  <a:pt x="101" y="51"/>
                </a:cubicBezTo>
                <a:cubicBezTo>
                  <a:pt x="101" y="23"/>
                  <a:pt x="78" y="0"/>
                  <a:pt x="51" y="0"/>
                </a:cubicBezTo>
                <a:close/>
                <a:moveTo>
                  <a:pt x="95" y="109"/>
                </a:moveTo>
                <a:cubicBezTo>
                  <a:pt x="95" y="134"/>
                  <a:pt x="75" y="154"/>
                  <a:pt x="51" y="154"/>
                </a:cubicBezTo>
                <a:cubicBezTo>
                  <a:pt x="26" y="154"/>
                  <a:pt x="6" y="134"/>
                  <a:pt x="6" y="109"/>
                </a:cubicBezTo>
                <a:cubicBezTo>
                  <a:pt x="6" y="51"/>
                  <a:pt x="6" y="51"/>
                  <a:pt x="6" y="51"/>
                </a:cubicBezTo>
                <a:cubicBezTo>
                  <a:pt x="6" y="26"/>
                  <a:pt x="26" y="6"/>
                  <a:pt x="51" y="6"/>
                </a:cubicBezTo>
                <a:cubicBezTo>
                  <a:pt x="75" y="6"/>
                  <a:pt x="95" y="26"/>
                  <a:pt x="95" y="51"/>
                </a:cubicBezTo>
                <a:lnTo>
                  <a:pt x="95" y="10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77" name="Freeform 1054">
            <a:extLst>
              <a:ext uri="{FF2B5EF4-FFF2-40B4-BE49-F238E27FC236}">
                <a16:creationId xmlns:a16="http://schemas.microsoft.com/office/drawing/2014/main" id="{18FE3321-347C-9041-AD37-CBE908C9825C}"/>
              </a:ext>
            </a:extLst>
          </p:cNvPr>
          <p:cNvSpPr>
            <a:spLocks noEditPoints="1"/>
          </p:cNvSpPr>
          <p:nvPr/>
        </p:nvSpPr>
        <p:spPr bwMode="auto">
          <a:xfrm>
            <a:off x="3484445" y="984250"/>
            <a:ext cx="463550" cy="550863"/>
          </a:xfrm>
          <a:custGeom>
            <a:avLst/>
            <a:gdLst>
              <a:gd name="T0" fmla="*/ 115 w 136"/>
              <a:gd name="T1" fmla="*/ 101 h 160"/>
              <a:gd name="T2" fmla="*/ 19 w 136"/>
              <a:gd name="T3" fmla="*/ 99 h 160"/>
              <a:gd name="T4" fmla="*/ 115 w 136"/>
              <a:gd name="T5" fmla="*/ 96 h 160"/>
              <a:gd name="T6" fmla="*/ 80 w 136"/>
              <a:gd name="T7" fmla="*/ 83 h 160"/>
              <a:gd name="T8" fmla="*/ 117 w 136"/>
              <a:gd name="T9" fmla="*/ 80 h 160"/>
              <a:gd name="T10" fmla="*/ 80 w 136"/>
              <a:gd name="T11" fmla="*/ 77 h 160"/>
              <a:gd name="T12" fmla="*/ 80 w 136"/>
              <a:gd name="T13" fmla="*/ 83 h 160"/>
              <a:gd name="T14" fmla="*/ 115 w 136"/>
              <a:gd name="T15" fmla="*/ 64 h 160"/>
              <a:gd name="T16" fmla="*/ 115 w 136"/>
              <a:gd name="T17" fmla="*/ 59 h 160"/>
              <a:gd name="T18" fmla="*/ 77 w 136"/>
              <a:gd name="T19" fmla="*/ 61 h 160"/>
              <a:gd name="T20" fmla="*/ 80 w 136"/>
              <a:gd name="T21" fmla="*/ 45 h 160"/>
              <a:gd name="T22" fmla="*/ 117 w 136"/>
              <a:gd name="T23" fmla="*/ 43 h 160"/>
              <a:gd name="T24" fmla="*/ 80 w 136"/>
              <a:gd name="T25" fmla="*/ 40 h 160"/>
              <a:gd name="T26" fmla="*/ 80 w 136"/>
              <a:gd name="T27" fmla="*/ 45 h 160"/>
              <a:gd name="T28" fmla="*/ 21 w 136"/>
              <a:gd name="T29" fmla="*/ 128 h 160"/>
              <a:gd name="T30" fmla="*/ 21 w 136"/>
              <a:gd name="T31" fmla="*/ 133 h 160"/>
              <a:gd name="T32" fmla="*/ 117 w 136"/>
              <a:gd name="T33" fmla="*/ 131 h 160"/>
              <a:gd name="T34" fmla="*/ 21 w 136"/>
              <a:gd name="T35" fmla="*/ 117 h 160"/>
              <a:gd name="T36" fmla="*/ 61 w 136"/>
              <a:gd name="T37" fmla="*/ 115 h 160"/>
              <a:gd name="T38" fmla="*/ 21 w 136"/>
              <a:gd name="T39" fmla="*/ 112 h 160"/>
              <a:gd name="T40" fmla="*/ 21 w 136"/>
              <a:gd name="T41" fmla="*/ 117 h 160"/>
              <a:gd name="T42" fmla="*/ 80 w 136"/>
              <a:gd name="T43" fmla="*/ 112 h 160"/>
              <a:gd name="T44" fmla="*/ 80 w 136"/>
              <a:gd name="T45" fmla="*/ 117 h 160"/>
              <a:gd name="T46" fmla="*/ 117 w 136"/>
              <a:gd name="T47" fmla="*/ 115 h 160"/>
              <a:gd name="T48" fmla="*/ 71 w 136"/>
              <a:gd name="T49" fmla="*/ 117 h 160"/>
              <a:gd name="T50" fmla="*/ 71 w 136"/>
              <a:gd name="T51" fmla="*/ 113 h 160"/>
              <a:gd name="T52" fmla="*/ 67 w 136"/>
              <a:gd name="T53" fmla="*/ 115 h 160"/>
              <a:gd name="T54" fmla="*/ 69 w 136"/>
              <a:gd name="T55" fmla="*/ 117 h 160"/>
              <a:gd name="T56" fmla="*/ 136 w 136"/>
              <a:gd name="T57" fmla="*/ 13 h 160"/>
              <a:gd name="T58" fmla="*/ 133 w 136"/>
              <a:gd name="T59" fmla="*/ 160 h 160"/>
              <a:gd name="T60" fmla="*/ 0 w 136"/>
              <a:gd name="T61" fmla="*/ 157 h 160"/>
              <a:gd name="T62" fmla="*/ 3 w 136"/>
              <a:gd name="T63" fmla="*/ 11 h 160"/>
              <a:gd name="T64" fmla="*/ 19 w 136"/>
              <a:gd name="T65" fmla="*/ 3 h 160"/>
              <a:gd name="T66" fmla="*/ 64 w 136"/>
              <a:gd name="T67" fmla="*/ 0 h 160"/>
              <a:gd name="T68" fmla="*/ 67 w 136"/>
              <a:gd name="T69" fmla="*/ 11 h 160"/>
              <a:gd name="T70" fmla="*/ 136 w 136"/>
              <a:gd name="T71" fmla="*/ 13 h 160"/>
              <a:gd name="T72" fmla="*/ 41 w 136"/>
              <a:gd name="T73" fmla="*/ 59 h 160"/>
              <a:gd name="T74" fmla="*/ 61 w 136"/>
              <a:gd name="T75" fmla="*/ 72 h 160"/>
              <a:gd name="T76" fmla="*/ 61 w 136"/>
              <a:gd name="T77" fmla="*/ 5 h 160"/>
              <a:gd name="T78" fmla="*/ 24 w 136"/>
              <a:gd name="T79" fmla="*/ 13 h 160"/>
              <a:gd name="T80" fmla="*/ 131 w 136"/>
              <a:gd name="T81" fmla="*/ 16 h 160"/>
              <a:gd name="T82" fmla="*/ 67 w 136"/>
              <a:gd name="T83" fmla="*/ 77 h 160"/>
              <a:gd name="T84" fmla="*/ 64 w 136"/>
              <a:gd name="T85" fmla="*/ 80 h 160"/>
              <a:gd name="T86" fmla="*/ 64 w 136"/>
              <a:gd name="T87" fmla="*/ 80 h 160"/>
              <a:gd name="T88" fmla="*/ 63 w 136"/>
              <a:gd name="T89" fmla="*/ 80 h 160"/>
              <a:gd name="T90" fmla="*/ 43 w 136"/>
              <a:gd name="T91" fmla="*/ 65 h 160"/>
              <a:gd name="T92" fmla="*/ 20 w 136"/>
              <a:gd name="T93" fmla="*/ 80 h 160"/>
              <a:gd name="T94" fmla="*/ 19 w 136"/>
              <a:gd name="T95" fmla="*/ 16 h 160"/>
              <a:gd name="T96" fmla="*/ 5 w 136"/>
              <a:gd name="T97" fmla="*/ 155 h 160"/>
              <a:gd name="T98" fmla="*/ 131 w 136"/>
              <a:gd name="T99"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160">
                <a:moveTo>
                  <a:pt x="117" y="99"/>
                </a:moveTo>
                <a:cubicBezTo>
                  <a:pt x="117" y="100"/>
                  <a:pt x="116" y="101"/>
                  <a:pt x="115" y="101"/>
                </a:cubicBezTo>
                <a:cubicBezTo>
                  <a:pt x="21" y="101"/>
                  <a:pt x="21" y="101"/>
                  <a:pt x="21" y="101"/>
                </a:cubicBezTo>
                <a:cubicBezTo>
                  <a:pt x="20" y="101"/>
                  <a:pt x="19" y="100"/>
                  <a:pt x="19" y="99"/>
                </a:cubicBezTo>
                <a:cubicBezTo>
                  <a:pt x="19" y="97"/>
                  <a:pt x="20" y="96"/>
                  <a:pt x="21" y="96"/>
                </a:cubicBezTo>
                <a:cubicBezTo>
                  <a:pt x="115" y="96"/>
                  <a:pt x="115" y="96"/>
                  <a:pt x="115" y="96"/>
                </a:cubicBezTo>
                <a:cubicBezTo>
                  <a:pt x="116" y="96"/>
                  <a:pt x="117" y="97"/>
                  <a:pt x="117" y="99"/>
                </a:cubicBezTo>
                <a:close/>
                <a:moveTo>
                  <a:pt x="80" y="83"/>
                </a:moveTo>
                <a:cubicBezTo>
                  <a:pt x="115" y="83"/>
                  <a:pt x="115" y="83"/>
                  <a:pt x="115" y="83"/>
                </a:cubicBezTo>
                <a:cubicBezTo>
                  <a:pt x="116" y="83"/>
                  <a:pt x="117" y="81"/>
                  <a:pt x="117" y="80"/>
                </a:cubicBezTo>
                <a:cubicBezTo>
                  <a:pt x="117" y="79"/>
                  <a:pt x="116" y="77"/>
                  <a:pt x="115" y="77"/>
                </a:cubicBezTo>
                <a:cubicBezTo>
                  <a:pt x="80" y="77"/>
                  <a:pt x="80" y="77"/>
                  <a:pt x="80" y="77"/>
                </a:cubicBezTo>
                <a:cubicBezTo>
                  <a:pt x="79" y="77"/>
                  <a:pt x="77" y="79"/>
                  <a:pt x="77" y="80"/>
                </a:cubicBezTo>
                <a:cubicBezTo>
                  <a:pt x="77" y="81"/>
                  <a:pt x="79" y="83"/>
                  <a:pt x="80" y="83"/>
                </a:cubicBezTo>
                <a:close/>
                <a:moveTo>
                  <a:pt x="80" y="64"/>
                </a:moveTo>
                <a:cubicBezTo>
                  <a:pt x="115" y="64"/>
                  <a:pt x="115" y="64"/>
                  <a:pt x="115" y="64"/>
                </a:cubicBezTo>
                <a:cubicBezTo>
                  <a:pt x="116" y="64"/>
                  <a:pt x="117" y="63"/>
                  <a:pt x="117" y="61"/>
                </a:cubicBezTo>
                <a:cubicBezTo>
                  <a:pt x="117" y="60"/>
                  <a:pt x="116" y="59"/>
                  <a:pt x="115" y="59"/>
                </a:cubicBezTo>
                <a:cubicBezTo>
                  <a:pt x="80" y="59"/>
                  <a:pt x="80" y="59"/>
                  <a:pt x="80" y="59"/>
                </a:cubicBezTo>
                <a:cubicBezTo>
                  <a:pt x="79" y="59"/>
                  <a:pt x="77" y="60"/>
                  <a:pt x="77" y="61"/>
                </a:cubicBezTo>
                <a:cubicBezTo>
                  <a:pt x="77" y="63"/>
                  <a:pt x="79" y="64"/>
                  <a:pt x="80" y="64"/>
                </a:cubicBezTo>
                <a:close/>
                <a:moveTo>
                  <a:pt x="80" y="45"/>
                </a:moveTo>
                <a:cubicBezTo>
                  <a:pt x="115" y="45"/>
                  <a:pt x="115" y="45"/>
                  <a:pt x="115" y="45"/>
                </a:cubicBezTo>
                <a:cubicBezTo>
                  <a:pt x="116" y="45"/>
                  <a:pt x="117" y="44"/>
                  <a:pt x="117" y="43"/>
                </a:cubicBezTo>
                <a:cubicBezTo>
                  <a:pt x="117" y="41"/>
                  <a:pt x="116" y="40"/>
                  <a:pt x="115" y="40"/>
                </a:cubicBezTo>
                <a:cubicBezTo>
                  <a:pt x="80" y="40"/>
                  <a:pt x="80" y="40"/>
                  <a:pt x="80" y="40"/>
                </a:cubicBezTo>
                <a:cubicBezTo>
                  <a:pt x="79" y="40"/>
                  <a:pt x="77" y="41"/>
                  <a:pt x="77" y="43"/>
                </a:cubicBezTo>
                <a:cubicBezTo>
                  <a:pt x="77" y="44"/>
                  <a:pt x="79" y="45"/>
                  <a:pt x="80" y="45"/>
                </a:cubicBezTo>
                <a:close/>
                <a:moveTo>
                  <a:pt x="115" y="128"/>
                </a:moveTo>
                <a:cubicBezTo>
                  <a:pt x="21" y="128"/>
                  <a:pt x="21" y="128"/>
                  <a:pt x="21" y="128"/>
                </a:cubicBezTo>
                <a:cubicBezTo>
                  <a:pt x="20" y="128"/>
                  <a:pt x="19" y="129"/>
                  <a:pt x="19" y="131"/>
                </a:cubicBezTo>
                <a:cubicBezTo>
                  <a:pt x="19" y="132"/>
                  <a:pt x="20" y="133"/>
                  <a:pt x="21" y="133"/>
                </a:cubicBezTo>
                <a:cubicBezTo>
                  <a:pt x="115" y="133"/>
                  <a:pt x="115" y="133"/>
                  <a:pt x="115" y="133"/>
                </a:cubicBezTo>
                <a:cubicBezTo>
                  <a:pt x="116" y="133"/>
                  <a:pt x="117" y="132"/>
                  <a:pt x="117" y="131"/>
                </a:cubicBezTo>
                <a:cubicBezTo>
                  <a:pt x="117" y="129"/>
                  <a:pt x="116" y="128"/>
                  <a:pt x="115" y="128"/>
                </a:cubicBezTo>
                <a:close/>
                <a:moveTo>
                  <a:pt x="21" y="117"/>
                </a:moveTo>
                <a:cubicBezTo>
                  <a:pt x="59" y="117"/>
                  <a:pt x="59" y="117"/>
                  <a:pt x="59" y="117"/>
                </a:cubicBezTo>
                <a:cubicBezTo>
                  <a:pt x="60" y="117"/>
                  <a:pt x="61" y="116"/>
                  <a:pt x="61" y="115"/>
                </a:cubicBezTo>
                <a:cubicBezTo>
                  <a:pt x="61" y="113"/>
                  <a:pt x="60" y="112"/>
                  <a:pt x="59" y="112"/>
                </a:cubicBezTo>
                <a:cubicBezTo>
                  <a:pt x="21" y="112"/>
                  <a:pt x="21" y="112"/>
                  <a:pt x="21" y="112"/>
                </a:cubicBezTo>
                <a:cubicBezTo>
                  <a:pt x="20" y="112"/>
                  <a:pt x="19" y="113"/>
                  <a:pt x="19" y="115"/>
                </a:cubicBezTo>
                <a:cubicBezTo>
                  <a:pt x="19" y="116"/>
                  <a:pt x="20" y="117"/>
                  <a:pt x="21" y="117"/>
                </a:cubicBezTo>
                <a:close/>
                <a:moveTo>
                  <a:pt x="115" y="112"/>
                </a:moveTo>
                <a:cubicBezTo>
                  <a:pt x="80" y="112"/>
                  <a:pt x="80" y="112"/>
                  <a:pt x="80" y="112"/>
                </a:cubicBezTo>
                <a:cubicBezTo>
                  <a:pt x="79" y="112"/>
                  <a:pt x="77" y="113"/>
                  <a:pt x="77" y="115"/>
                </a:cubicBezTo>
                <a:cubicBezTo>
                  <a:pt x="77" y="116"/>
                  <a:pt x="79" y="117"/>
                  <a:pt x="80" y="117"/>
                </a:cubicBezTo>
                <a:cubicBezTo>
                  <a:pt x="115" y="117"/>
                  <a:pt x="115" y="117"/>
                  <a:pt x="115" y="117"/>
                </a:cubicBezTo>
                <a:cubicBezTo>
                  <a:pt x="116" y="117"/>
                  <a:pt x="117" y="116"/>
                  <a:pt x="117" y="115"/>
                </a:cubicBezTo>
                <a:cubicBezTo>
                  <a:pt x="117" y="113"/>
                  <a:pt x="116" y="112"/>
                  <a:pt x="115" y="112"/>
                </a:cubicBezTo>
                <a:close/>
                <a:moveTo>
                  <a:pt x="71" y="117"/>
                </a:moveTo>
                <a:cubicBezTo>
                  <a:pt x="72" y="116"/>
                  <a:pt x="72" y="115"/>
                  <a:pt x="72" y="115"/>
                </a:cubicBezTo>
                <a:cubicBezTo>
                  <a:pt x="72" y="114"/>
                  <a:pt x="72" y="113"/>
                  <a:pt x="71" y="113"/>
                </a:cubicBezTo>
                <a:cubicBezTo>
                  <a:pt x="70" y="112"/>
                  <a:pt x="68" y="112"/>
                  <a:pt x="67" y="113"/>
                </a:cubicBezTo>
                <a:cubicBezTo>
                  <a:pt x="67" y="113"/>
                  <a:pt x="67" y="114"/>
                  <a:pt x="67" y="115"/>
                </a:cubicBezTo>
                <a:cubicBezTo>
                  <a:pt x="67" y="115"/>
                  <a:pt x="67" y="116"/>
                  <a:pt x="67" y="117"/>
                </a:cubicBezTo>
                <a:cubicBezTo>
                  <a:pt x="68" y="117"/>
                  <a:pt x="69" y="117"/>
                  <a:pt x="69" y="117"/>
                </a:cubicBezTo>
                <a:cubicBezTo>
                  <a:pt x="70" y="117"/>
                  <a:pt x="71" y="117"/>
                  <a:pt x="71" y="117"/>
                </a:cubicBezTo>
                <a:close/>
                <a:moveTo>
                  <a:pt x="136" y="13"/>
                </a:moveTo>
                <a:cubicBezTo>
                  <a:pt x="136" y="157"/>
                  <a:pt x="136" y="157"/>
                  <a:pt x="136" y="157"/>
                </a:cubicBezTo>
                <a:cubicBezTo>
                  <a:pt x="136" y="159"/>
                  <a:pt x="135" y="160"/>
                  <a:pt x="133" y="160"/>
                </a:cubicBezTo>
                <a:cubicBezTo>
                  <a:pt x="3" y="160"/>
                  <a:pt x="3" y="160"/>
                  <a:pt x="3" y="160"/>
                </a:cubicBezTo>
                <a:cubicBezTo>
                  <a:pt x="1" y="160"/>
                  <a:pt x="0" y="159"/>
                  <a:pt x="0" y="157"/>
                </a:cubicBezTo>
                <a:cubicBezTo>
                  <a:pt x="0" y="13"/>
                  <a:pt x="0" y="13"/>
                  <a:pt x="0" y="13"/>
                </a:cubicBezTo>
                <a:cubicBezTo>
                  <a:pt x="0" y="12"/>
                  <a:pt x="1" y="11"/>
                  <a:pt x="3" y="11"/>
                </a:cubicBezTo>
                <a:cubicBezTo>
                  <a:pt x="19" y="11"/>
                  <a:pt x="19" y="11"/>
                  <a:pt x="19" y="11"/>
                </a:cubicBezTo>
                <a:cubicBezTo>
                  <a:pt x="19" y="3"/>
                  <a:pt x="19" y="3"/>
                  <a:pt x="19" y="3"/>
                </a:cubicBezTo>
                <a:cubicBezTo>
                  <a:pt x="19" y="1"/>
                  <a:pt x="20" y="0"/>
                  <a:pt x="21" y="0"/>
                </a:cubicBezTo>
                <a:cubicBezTo>
                  <a:pt x="64" y="0"/>
                  <a:pt x="64" y="0"/>
                  <a:pt x="64" y="0"/>
                </a:cubicBezTo>
                <a:cubicBezTo>
                  <a:pt x="65" y="0"/>
                  <a:pt x="67" y="1"/>
                  <a:pt x="67" y="3"/>
                </a:cubicBezTo>
                <a:cubicBezTo>
                  <a:pt x="67" y="11"/>
                  <a:pt x="67" y="11"/>
                  <a:pt x="67" y="11"/>
                </a:cubicBezTo>
                <a:cubicBezTo>
                  <a:pt x="133" y="11"/>
                  <a:pt x="133" y="11"/>
                  <a:pt x="133" y="11"/>
                </a:cubicBezTo>
                <a:cubicBezTo>
                  <a:pt x="135" y="11"/>
                  <a:pt x="136" y="12"/>
                  <a:pt x="136" y="13"/>
                </a:cubicBezTo>
                <a:close/>
                <a:moveTo>
                  <a:pt x="24" y="72"/>
                </a:moveTo>
                <a:cubicBezTo>
                  <a:pt x="41" y="59"/>
                  <a:pt x="41" y="59"/>
                  <a:pt x="41" y="59"/>
                </a:cubicBezTo>
                <a:cubicBezTo>
                  <a:pt x="42" y="58"/>
                  <a:pt x="43" y="58"/>
                  <a:pt x="44" y="59"/>
                </a:cubicBezTo>
                <a:cubicBezTo>
                  <a:pt x="61" y="72"/>
                  <a:pt x="61" y="72"/>
                  <a:pt x="61" y="72"/>
                </a:cubicBezTo>
                <a:cubicBezTo>
                  <a:pt x="61" y="13"/>
                  <a:pt x="61" y="13"/>
                  <a:pt x="61" y="13"/>
                </a:cubicBezTo>
                <a:cubicBezTo>
                  <a:pt x="61" y="5"/>
                  <a:pt x="61" y="5"/>
                  <a:pt x="61" y="5"/>
                </a:cubicBezTo>
                <a:cubicBezTo>
                  <a:pt x="24" y="5"/>
                  <a:pt x="24" y="5"/>
                  <a:pt x="24" y="5"/>
                </a:cubicBezTo>
                <a:cubicBezTo>
                  <a:pt x="24" y="13"/>
                  <a:pt x="24" y="13"/>
                  <a:pt x="24" y="13"/>
                </a:cubicBezTo>
                <a:lnTo>
                  <a:pt x="24" y="72"/>
                </a:lnTo>
                <a:close/>
                <a:moveTo>
                  <a:pt x="131" y="16"/>
                </a:moveTo>
                <a:cubicBezTo>
                  <a:pt x="67" y="16"/>
                  <a:pt x="67" y="16"/>
                  <a:pt x="67" y="16"/>
                </a:cubicBezTo>
                <a:cubicBezTo>
                  <a:pt x="67" y="77"/>
                  <a:pt x="67" y="77"/>
                  <a:pt x="67" y="77"/>
                </a:cubicBezTo>
                <a:cubicBezTo>
                  <a:pt x="67" y="78"/>
                  <a:pt x="66" y="79"/>
                  <a:pt x="65" y="80"/>
                </a:cubicBezTo>
                <a:cubicBezTo>
                  <a:pt x="65" y="80"/>
                  <a:pt x="64" y="80"/>
                  <a:pt x="64" y="80"/>
                </a:cubicBezTo>
                <a:cubicBezTo>
                  <a:pt x="64" y="80"/>
                  <a:pt x="64" y="80"/>
                  <a:pt x="64" y="80"/>
                </a:cubicBezTo>
                <a:cubicBezTo>
                  <a:pt x="64" y="80"/>
                  <a:pt x="64" y="80"/>
                  <a:pt x="64" y="80"/>
                </a:cubicBezTo>
                <a:cubicBezTo>
                  <a:pt x="64" y="80"/>
                  <a:pt x="64" y="80"/>
                  <a:pt x="63" y="80"/>
                </a:cubicBezTo>
                <a:cubicBezTo>
                  <a:pt x="63" y="80"/>
                  <a:pt x="63" y="80"/>
                  <a:pt x="63" y="80"/>
                </a:cubicBezTo>
                <a:cubicBezTo>
                  <a:pt x="63" y="80"/>
                  <a:pt x="63" y="80"/>
                  <a:pt x="62" y="79"/>
                </a:cubicBezTo>
                <a:cubicBezTo>
                  <a:pt x="43" y="65"/>
                  <a:pt x="43" y="65"/>
                  <a:pt x="43" y="65"/>
                </a:cubicBezTo>
                <a:cubicBezTo>
                  <a:pt x="23" y="79"/>
                  <a:pt x="23" y="79"/>
                  <a:pt x="23" y="79"/>
                </a:cubicBezTo>
                <a:cubicBezTo>
                  <a:pt x="22" y="80"/>
                  <a:pt x="21" y="80"/>
                  <a:pt x="20" y="80"/>
                </a:cubicBezTo>
                <a:cubicBezTo>
                  <a:pt x="19" y="79"/>
                  <a:pt x="19" y="78"/>
                  <a:pt x="19" y="77"/>
                </a:cubicBezTo>
                <a:cubicBezTo>
                  <a:pt x="19" y="16"/>
                  <a:pt x="19" y="16"/>
                  <a:pt x="19" y="16"/>
                </a:cubicBezTo>
                <a:cubicBezTo>
                  <a:pt x="5" y="16"/>
                  <a:pt x="5" y="16"/>
                  <a:pt x="5" y="16"/>
                </a:cubicBezTo>
                <a:cubicBezTo>
                  <a:pt x="5" y="155"/>
                  <a:pt x="5" y="155"/>
                  <a:pt x="5" y="155"/>
                </a:cubicBezTo>
                <a:cubicBezTo>
                  <a:pt x="131" y="155"/>
                  <a:pt x="131" y="155"/>
                  <a:pt x="131" y="155"/>
                </a:cubicBezTo>
                <a:lnTo>
                  <a:pt x="131"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78" name="Freeform 1055">
            <a:extLst>
              <a:ext uri="{FF2B5EF4-FFF2-40B4-BE49-F238E27FC236}">
                <a16:creationId xmlns:a16="http://schemas.microsoft.com/office/drawing/2014/main" id="{66EDB84F-22B8-3E4A-AF7C-EF385E423EF6}"/>
              </a:ext>
            </a:extLst>
          </p:cNvPr>
          <p:cNvSpPr>
            <a:spLocks noEditPoints="1"/>
          </p:cNvSpPr>
          <p:nvPr/>
        </p:nvSpPr>
        <p:spPr bwMode="auto">
          <a:xfrm>
            <a:off x="3484445" y="1603375"/>
            <a:ext cx="471488" cy="550863"/>
          </a:xfrm>
          <a:custGeom>
            <a:avLst/>
            <a:gdLst>
              <a:gd name="T0" fmla="*/ 138 w 138"/>
              <a:gd name="T1" fmla="*/ 17 h 160"/>
              <a:gd name="T2" fmla="*/ 121 w 138"/>
              <a:gd name="T3" fmla="*/ 0 h 160"/>
              <a:gd name="T4" fmla="*/ 121 w 138"/>
              <a:gd name="T5" fmla="*/ 0 h 160"/>
              <a:gd name="T6" fmla="*/ 17 w 138"/>
              <a:gd name="T7" fmla="*/ 0 h 160"/>
              <a:gd name="T8" fmla="*/ 0 w 138"/>
              <a:gd name="T9" fmla="*/ 17 h 160"/>
              <a:gd name="T10" fmla="*/ 0 w 138"/>
              <a:gd name="T11" fmla="*/ 160 h 160"/>
              <a:gd name="T12" fmla="*/ 53 w 138"/>
              <a:gd name="T13" fmla="*/ 124 h 160"/>
              <a:gd name="T14" fmla="*/ 107 w 138"/>
              <a:gd name="T15" fmla="*/ 160 h 160"/>
              <a:gd name="T16" fmla="*/ 107 w 138"/>
              <a:gd name="T17" fmla="*/ 70 h 160"/>
              <a:gd name="T18" fmla="*/ 138 w 138"/>
              <a:gd name="T19" fmla="*/ 70 h 160"/>
              <a:gd name="T20" fmla="*/ 138 w 138"/>
              <a:gd name="T21" fmla="*/ 17 h 160"/>
              <a:gd name="T22" fmla="*/ 101 w 138"/>
              <a:gd name="T23" fmla="*/ 149 h 160"/>
              <a:gd name="T24" fmla="*/ 53 w 138"/>
              <a:gd name="T25" fmla="*/ 118 h 160"/>
              <a:gd name="T26" fmla="*/ 6 w 138"/>
              <a:gd name="T27" fmla="*/ 149 h 160"/>
              <a:gd name="T28" fmla="*/ 6 w 138"/>
              <a:gd name="T29" fmla="*/ 17 h 160"/>
              <a:gd name="T30" fmla="*/ 17 w 138"/>
              <a:gd name="T31" fmla="*/ 6 h 160"/>
              <a:gd name="T32" fmla="*/ 107 w 138"/>
              <a:gd name="T33" fmla="*/ 6 h 160"/>
              <a:gd name="T34" fmla="*/ 102 w 138"/>
              <a:gd name="T35" fmla="*/ 16 h 160"/>
              <a:gd name="T36" fmla="*/ 102 w 138"/>
              <a:gd name="T37" fmla="*/ 16 h 160"/>
              <a:gd name="T38" fmla="*/ 101 w 138"/>
              <a:gd name="T39" fmla="*/ 18 h 160"/>
              <a:gd name="T40" fmla="*/ 101 w 138"/>
              <a:gd name="T41" fmla="*/ 20 h 160"/>
              <a:gd name="T42" fmla="*/ 101 w 138"/>
              <a:gd name="T43" fmla="*/ 70 h 160"/>
              <a:gd name="T44" fmla="*/ 101 w 138"/>
              <a:gd name="T45" fmla="*/ 149 h 160"/>
              <a:gd name="T46" fmla="*/ 132 w 138"/>
              <a:gd name="T47" fmla="*/ 65 h 160"/>
              <a:gd name="T48" fmla="*/ 107 w 138"/>
              <a:gd name="T49" fmla="*/ 65 h 160"/>
              <a:gd name="T50" fmla="*/ 107 w 138"/>
              <a:gd name="T51" fmla="*/ 20 h 160"/>
              <a:gd name="T52" fmla="*/ 107 w 138"/>
              <a:gd name="T53" fmla="*/ 17 h 160"/>
              <a:gd name="T54" fmla="*/ 118 w 138"/>
              <a:gd name="T55" fmla="*/ 6 h 160"/>
              <a:gd name="T56" fmla="*/ 118 w 138"/>
              <a:gd name="T57" fmla="*/ 6 h 160"/>
              <a:gd name="T58" fmla="*/ 120 w 138"/>
              <a:gd name="T59" fmla="*/ 6 h 160"/>
              <a:gd name="T60" fmla="*/ 121 w 138"/>
              <a:gd name="T61" fmla="*/ 6 h 160"/>
              <a:gd name="T62" fmla="*/ 132 w 138"/>
              <a:gd name="T63" fmla="*/ 17 h 160"/>
              <a:gd name="T64" fmla="*/ 132 w 138"/>
              <a:gd name="T65" fmla="*/ 6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60">
                <a:moveTo>
                  <a:pt x="138" y="17"/>
                </a:moveTo>
                <a:cubicBezTo>
                  <a:pt x="138" y="8"/>
                  <a:pt x="130" y="0"/>
                  <a:pt x="121" y="0"/>
                </a:cubicBezTo>
                <a:cubicBezTo>
                  <a:pt x="121" y="0"/>
                  <a:pt x="121" y="0"/>
                  <a:pt x="121" y="0"/>
                </a:cubicBezTo>
                <a:cubicBezTo>
                  <a:pt x="17" y="0"/>
                  <a:pt x="17" y="0"/>
                  <a:pt x="17" y="0"/>
                </a:cubicBezTo>
                <a:cubicBezTo>
                  <a:pt x="8" y="0"/>
                  <a:pt x="0" y="8"/>
                  <a:pt x="0" y="17"/>
                </a:cubicBezTo>
                <a:cubicBezTo>
                  <a:pt x="0" y="160"/>
                  <a:pt x="0" y="160"/>
                  <a:pt x="0" y="160"/>
                </a:cubicBezTo>
                <a:cubicBezTo>
                  <a:pt x="53" y="124"/>
                  <a:pt x="53" y="124"/>
                  <a:pt x="53" y="124"/>
                </a:cubicBezTo>
                <a:cubicBezTo>
                  <a:pt x="107" y="160"/>
                  <a:pt x="107" y="160"/>
                  <a:pt x="107" y="160"/>
                </a:cubicBezTo>
                <a:cubicBezTo>
                  <a:pt x="107" y="70"/>
                  <a:pt x="107" y="70"/>
                  <a:pt x="107" y="70"/>
                </a:cubicBezTo>
                <a:cubicBezTo>
                  <a:pt x="138" y="70"/>
                  <a:pt x="138" y="70"/>
                  <a:pt x="138" y="70"/>
                </a:cubicBezTo>
                <a:lnTo>
                  <a:pt x="138" y="17"/>
                </a:lnTo>
                <a:close/>
                <a:moveTo>
                  <a:pt x="101" y="149"/>
                </a:moveTo>
                <a:cubicBezTo>
                  <a:pt x="53" y="118"/>
                  <a:pt x="53" y="118"/>
                  <a:pt x="53" y="118"/>
                </a:cubicBezTo>
                <a:cubicBezTo>
                  <a:pt x="6" y="149"/>
                  <a:pt x="6" y="149"/>
                  <a:pt x="6" y="149"/>
                </a:cubicBezTo>
                <a:cubicBezTo>
                  <a:pt x="6" y="17"/>
                  <a:pt x="6" y="17"/>
                  <a:pt x="6" y="17"/>
                </a:cubicBezTo>
                <a:cubicBezTo>
                  <a:pt x="6" y="11"/>
                  <a:pt x="11" y="6"/>
                  <a:pt x="17" y="6"/>
                </a:cubicBezTo>
                <a:cubicBezTo>
                  <a:pt x="107" y="6"/>
                  <a:pt x="107" y="6"/>
                  <a:pt x="107" y="6"/>
                </a:cubicBezTo>
                <a:cubicBezTo>
                  <a:pt x="104" y="8"/>
                  <a:pt x="102" y="12"/>
                  <a:pt x="102" y="16"/>
                </a:cubicBezTo>
                <a:cubicBezTo>
                  <a:pt x="102" y="16"/>
                  <a:pt x="102" y="16"/>
                  <a:pt x="102" y="16"/>
                </a:cubicBezTo>
                <a:cubicBezTo>
                  <a:pt x="102" y="16"/>
                  <a:pt x="101" y="17"/>
                  <a:pt x="101" y="18"/>
                </a:cubicBezTo>
                <a:cubicBezTo>
                  <a:pt x="101" y="18"/>
                  <a:pt x="101" y="19"/>
                  <a:pt x="101" y="20"/>
                </a:cubicBezTo>
                <a:cubicBezTo>
                  <a:pt x="101" y="70"/>
                  <a:pt x="101" y="70"/>
                  <a:pt x="101" y="70"/>
                </a:cubicBezTo>
                <a:lnTo>
                  <a:pt x="101" y="149"/>
                </a:lnTo>
                <a:close/>
                <a:moveTo>
                  <a:pt x="132" y="65"/>
                </a:moveTo>
                <a:cubicBezTo>
                  <a:pt x="107" y="65"/>
                  <a:pt x="107" y="65"/>
                  <a:pt x="107" y="65"/>
                </a:cubicBezTo>
                <a:cubicBezTo>
                  <a:pt x="107" y="20"/>
                  <a:pt x="107" y="20"/>
                  <a:pt x="107" y="20"/>
                </a:cubicBezTo>
                <a:cubicBezTo>
                  <a:pt x="107" y="19"/>
                  <a:pt x="107" y="18"/>
                  <a:pt x="107" y="17"/>
                </a:cubicBezTo>
                <a:cubicBezTo>
                  <a:pt x="108" y="12"/>
                  <a:pt x="112" y="7"/>
                  <a:pt x="118" y="6"/>
                </a:cubicBezTo>
                <a:cubicBezTo>
                  <a:pt x="118" y="6"/>
                  <a:pt x="118" y="6"/>
                  <a:pt x="118" y="6"/>
                </a:cubicBezTo>
                <a:cubicBezTo>
                  <a:pt x="119" y="6"/>
                  <a:pt x="119" y="6"/>
                  <a:pt x="120" y="6"/>
                </a:cubicBezTo>
                <a:cubicBezTo>
                  <a:pt x="120" y="6"/>
                  <a:pt x="121" y="6"/>
                  <a:pt x="121" y="6"/>
                </a:cubicBezTo>
                <a:cubicBezTo>
                  <a:pt x="127" y="6"/>
                  <a:pt x="132" y="11"/>
                  <a:pt x="132" y="17"/>
                </a:cubicBezTo>
                <a:lnTo>
                  <a:pt x="132" y="6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1056">
            <a:extLst>
              <a:ext uri="{FF2B5EF4-FFF2-40B4-BE49-F238E27FC236}">
                <a16:creationId xmlns:a16="http://schemas.microsoft.com/office/drawing/2014/main" id="{393DAD1B-CDE9-8749-A1F3-CFE02D59E550}"/>
              </a:ext>
            </a:extLst>
          </p:cNvPr>
          <p:cNvSpPr>
            <a:spLocks noEditPoints="1"/>
          </p:cNvSpPr>
          <p:nvPr/>
        </p:nvSpPr>
        <p:spPr bwMode="auto">
          <a:xfrm>
            <a:off x="3443170" y="2263775"/>
            <a:ext cx="546100" cy="468313"/>
          </a:xfrm>
          <a:custGeom>
            <a:avLst/>
            <a:gdLst>
              <a:gd name="T0" fmla="*/ 147 w 160"/>
              <a:gd name="T1" fmla="*/ 24 h 136"/>
              <a:gd name="T2" fmla="*/ 120 w 160"/>
              <a:gd name="T3" fmla="*/ 16 h 136"/>
              <a:gd name="T4" fmla="*/ 109 w 160"/>
              <a:gd name="T5" fmla="*/ 24 h 136"/>
              <a:gd name="T6" fmla="*/ 101 w 160"/>
              <a:gd name="T7" fmla="*/ 0 h 136"/>
              <a:gd name="T8" fmla="*/ 51 w 160"/>
              <a:gd name="T9" fmla="*/ 9 h 136"/>
              <a:gd name="T10" fmla="*/ 40 w 160"/>
              <a:gd name="T11" fmla="*/ 24 h 136"/>
              <a:gd name="T12" fmla="*/ 13 w 160"/>
              <a:gd name="T13" fmla="*/ 16 h 136"/>
              <a:gd name="T14" fmla="*/ 8 w 160"/>
              <a:gd name="T15" fmla="*/ 24 h 136"/>
              <a:gd name="T16" fmla="*/ 0 w 160"/>
              <a:gd name="T17" fmla="*/ 128 h 136"/>
              <a:gd name="T18" fmla="*/ 152 w 160"/>
              <a:gd name="T19" fmla="*/ 136 h 136"/>
              <a:gd name="T20" fmla="*/ 160 w 160"/>
              <a:gd name="T21" fmla="*/ 32 h 136"/>
              <a:gd name="T22" fmla="*/ 125 w 160"/>
              <a:gd name="T23" fmla="*/ 21 h 136"/>
              <a:gd name="T24" fmla="*/ 141 w 160"/>
              <a:gd name="T25" fmla="*/ 24 h 136"/>
              <a:gd name="T26" fmla="*/ 125 w 160"/>
              <a:gd name="T27" fmla="*/ 21 h 136"/>
              <a:gd name="T28" fmla="*/ 59 w 160"/>
              <a:gd name="T29" fmla="*/ 5 h 136"/>
              <a:gd name="T30" fmla="*/ 104 w 160"/>
              <a:gd name="T31" fmla="*/ 9 h 136"/>
              <a:gd name="T32" fmla="*/ 56 w 160"/>
              <a:gd name="T33" fmla="*/ 24 h 136"/>
              <a:gd name="T34" fmla="*/ 51 w 160"/>
              <a:gd name="T35" fmla="*/ 29 h 136"/>
              <a:gd name="T36" fmla="*/ 120 w 160"/>
              <a:gd name="T37" fmla="*/ 29 h 136"/>
              <a:gd name="T38" fmla="*/ 133 w 160"/>
              <a:gd name="T39" fmla="*/ 131 h 136"/>
              <a:gd name="T40" fmla="*/ 27 w 160"/>
              <a:gd name="T41" fmla="*/ 29 h 136"/>
              <a:gd name="T42" fmla="*/ 51 w 160"/>
              <a:gd name="T43" fmla="*/ 29 h 136"/>
              <a:gd name="T44" fmla="*/ 35 w 160"/>
              <a:gd name="T45" fmla="*/ 21 h 136"/>
              <a:gd name="T46" fmla="*/ 19 w 160"/>
              <a:gd name="T47" fmla="*/ 24 h 136"/>
              <a:gd name="T48" fmla="*/ 5 w 160"/>
              <a:gd name="T49" fmla="*/ 128 h 136"/>
              <a:gd name="T50" fmla="*/ 8 w 160"/>
              <a:gd name="T51" fmla="*/ 29 h 136"/>
              <a:gd name="T52" fmla="*/ 21 w 160"/>
              <a:gd name="T53" fmla="*/ 29 h 136"/>
              <a:gd name="T54" fmla="*/ 8 w 160"/>
              <a:gd name="T55" fmla="*/ 131 h 136"/>
              <a:gd name="T56" fmla="*/ 155 w 160"/>
              <a:gd name="T57" fmla="*/ 128 h 136"/>
              <a:gd name="T58" fmla="*/ 139 w 160"/>
              <a:gd name="T59" fmla="*/ 131 h 136"/>
              <a:gd name="T60" fmla="*/ 147 w 160"/>
              <a:gd name="T61" fmla="*/ 29 h 136"/>
              <a:gd name="T62" fmla="*/ 155 w 160"/>
              <a:gd name="T63" fmla="*/ 3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36">
                <a:moveTo>
                  <a:pt x="152" y="24"/>
                </a:moveTo>
                <a:cubicBezTo>
                  <a:pt x="147" y="24"/>
                  <a:pt x="147" y="24"/>
                  <a:pt x="147" y="24"/>
                </a:cubicBezTo>
                <a:cubicBezTo>
                  <a:pt x="147" y="16"/>
                  <a:pt x="147" y="16"/>
                  <a:pt x="147" y="16"/>
                </a:cubicBezTo>
                <a:cubicBezTo>
                  <a:pt x="120" y="16"/>
                  <a:pt x="120" y="16"/>
                  <a:pt x="120" y="16"/>
                </a:cubicBezTo>
                <a:cubicBezTo>
                  <a:pt x="120" y="24"/>
                  <a:pt x="120" y="24"/>
                  <a:pt x="120" y="24"/>
                </a:cubicBezTo>
                <a:cubicBezTo>
                  <a:pt x="109" y="24"/>
                  <a:pt x="109" y="24"/>
                  <a:pt x="109" y="24"/>
                </a:cubicBezTo>
                <a:cubicBezTo>
                  <a:pt x="109" y="9"/>
                  <a:pt x="109" y="9"/>
                  <a:pt x="109" y="9"/>
                </a:cubicBezTo>
                <a:cubicBezTo>
                  <a:pt x="109" y="4"/>
                  <a:pt x="106" y="0"/>
                  <a:pt x="101" y="0"/>
                </a:cubicBezTo>
                <a:cubicBezTo>
                  <a:pt x="59" y="0"/>
                  <a:pt x="59" y="0"/>
                  <a:pt x="59" y="0"/>
                </a:cubicBezTo>
                <a:cubicBezTo>
                  <a:pt x="55" y="0"/>
                  <a:pt x="51" y="4"/>
                  <a:pt x="51" y="9"/>
                </a:cubicBezTo>
                <a:cubicBezTo>
                  <a:pt x="51" y="24"/>
                  <a:pt x="51" y="24"/>
                  <a:pt x="51" y="24"/>
                </a:cubicBezTo>
                <a:cubicBezTo>
                  <a:pt x="40" y="24"/>
                  <a:pt x="40" y="24"/>
                  <a:pt x="40" y="24"/>
                </a:cubicBezTo>
                <a:cubicBezTo>
                  <a:pt x="40" y="16"/>
                  <a:pt x="40" y="16"/>
                  <a:pt x="40" y="16"/>
                </a:cubicBezTo>
                <a:cubicBezTo>
                  <a:pt x="13" y="16"/>
                  <a:pt x="13" y="16"/>
                  <a:pt x="13" y="16"/>
                </a:cubicBezTo>
                <a:cubicBezTo>
                  <a:pt x="13" y="24"/>
                  <a:pt x="13" y="24"/>
                  <a:pt x="13" y="24"/>
                </a:cubicBezTo>
                <a:cubicBezTo>
                  <a:pt x="8" y="24"/>
                  <a:pt x="8" y="24"/>
                  <a:pt x="8" y="24"/>
                </a:cubicBezTo>
                <a:cubicBezTo>
                  <a:pt x="4" y="24"/>
                  <a:pt x="0" y="28"/>
                  <a:pt x="0" y="32"/>
                </a:cubicBezTo>
                <a:cubicBezTo>
                  <a:pt x="0" y="128"/>
                  <a:pt x="0" y="128"/>
                  <a:pt x="0" y="128"/>
                </a:cubicBezTo>
                <a:cubicBezTo>
                  <a:pt x="0" y="132"/>
                  <a:pt x="4" y="136"/>
                  <a:pt x="8" y="136"/>
                </a:cubicBezTo>
                <a:cubicBezTo>
                  <a:pt x="152" y="136"/>
                  <a:pt x="152" y="136"/>
                  <a:pt x="152" y="136"/>
                </a:cubicBezTo>
                <a:cubicBezTo>
                  <a:pt x="156" y="136"/>
                  <a:pt x="160" y="132"/>
                  <a:pt x="160" y="128"/>
                </a:cubicBezTo>
                <a:cubicBezTo>
                  <a:pt x="160" y="32"/>
                  <a:pt x="160" y="32"/>
                  <a:pt x="160" y="32"/>
                </a:cubicBezTo>
                <a:cubicBezTo>
                  <a:pt x="160" y="28"/>
                  <a:pt x="156" y="24"/>
                  <a:pt x="152" y="24"/>
                </a:cubicBezTo>
                <a:close/>
                <a:moveTo>
                  <a:pt x="125" y="21"/>
                </a:moveTo>
                <a:cubicBezTo>
                  <a:pt x="141" y="21"/>
                  <a:pt x="141" y="21"/>
                  <a:pt x="141" y="21"/>
                </a:cubicBezTo>
                <a:cubicBezTo>
                  <a:pt x="141" y="24"/>
                  <a:pt x="141" y="24"/>
                  <a:pt x="141" y="24"/>
                </a:cubicBezTo>
                <a:cubicBezTo>
                  <a:pt x="125" y="24"/>
                  <a:pt x="125" y="24"/>
                  <a:pt x="125" y="24"/>
                </a:cubicBezTo>
                <a:lnTo>
                  <a:pt x="125" y="21"/>
                </a:lnTo>
                <a:close/>
                <a:moveTo>
                  <a:pt x="56" y="9"/>
                </a:moveTo>
                <a:cubicBezTo>
                  <a:pt x="56" y="7"/>
                  <a:pt x="57" y="5"/>
                  <a:pt x="59" y="5"/>
                </a:cubicBezTo>
                <a:cubicBezTo>
                  <a:pt x="101" y="5"/>
                  <a:pt x="101" y="5"/>
                  <a:pt x="101" y="5"/>
                </a:cubicBezTo>
                <a:cubicBezTo>
                  <a:pt x="103" y="5"/>
                  <a:pt x="104" y="7"/>
                  <a:pt x="104" y="9"/>
                </a:cubicBezTo>
                <a:cubicBezTo>
                  <a:pt x="104" y="24"/>
                  <a:pt x="104" y="24"/>
                  <a:pt x="104" y="24"/>
                </a:cubicBezTo>
                <a:cubicBezTo>
                  <a:pt x="56" y="24"/>
                  <a:pt x="56" y="24"/>
                  <a:pt x="56" y="24"/>
                </a:cubicBezTo>
                <a:lnTo>
                  <a:pt x="56" y="9"/>
                </a:lnTo>
                <a:close/>
                <a:moveTo>
                  <a:pt x="51" y="29"/>
                </a:moveTo>
                <a:cubicBezTo>
                  <a:pt x="109" y="29"/>
                  <a:pt x="109" y="29"/>
                  <a:pt x="109" y="29"/>
                </a:cubicBezTo>
                <a:cubicBezTo>
                  <a:pt x="120" y="29"/>
                  <a:pt x="120" y="29"/>
                  <a:pt x="120" y="29"/>
                </a:cubicBezTo>
                <a:cubicBezTo>
                  <a:pt x="133" y="29"/>
                  <a:pt x="133" y="29"/>
                  <a:pt x="133" y="29"/>
                </a:cubicBezTo>
                <a:cubicBezTo>
                  <a:pt x="133" y="131"/>
                  <a:pt x="133" y="131"/>
                  <a:pt x="133" y="131"/>
                </a:cubicBezTo>
                <a:cubicBezTo>
                  <a:pt x="27" y="131"/>
                  <a:pt x="27" y="131"/>
                  <a:pt x="27" y="131"/>
                </a:cubicBezTo>
                <a:cubicBezTo>
                  <a:pt x="27" y="29"/>
                  <a:pt x="27" y="29"/>
                  <a:pt x="27" y="29"/>
                </a:cubicBezTo>
                <a:cubicBezTo>
                  <a:pt x="40" y="29"/>
                  <a:pt x="40" y="29"/>
                  <a:pt x="40" y="29"/>
                </a:cubicBezTo>
                <a:lnTo>
                  <a:pt x="51" y="29"/>
                </a:lnTo>
                <a:close/>
                <a:moveTo>
                  <a:pt x="19" y="21"/>
                </a:moveTo>
                <a:cubicBezTo>
                  <a:pt x="35" y="21"/>
                  <a:pt x="35" y="21"/>
                  <a:pt x="35" y="21"/>
                </a:cubicBezTo>
                <a:cubicBezTo>
                  <a:pt x="35" y="24"/>
                  <a:pt x="35" y="24"/>
                  <a:pt x="35" y="24"/>
                </a:cubicBezTo>
                <a:cubicBezTo>
                  <a:pt x="19" y="24"/>
                  <a:pt x="19" y="24"/>
                  <a:pt x="19" y="24"/>
                </a:cubicBezTo>
                <a:lnTo>
                  <a:pt x="19" y="21"/>
                </a:lnTo>
                <a:close/>
                <a:moveTo>
                  <a:pt x="5" y="128"/>
                </a:moveTo>
                <a:cubicBezTo>
                  <a:pt x="5" y="32"/>
                  <a:pt x="5" y="32"/>
                  <a:pt x="5" y="32"/>
                </a:cubicBezTo>
                <a:cubicBezTo>
                  <a:pt x="5" y="31"/>
                  <a:pt x="7" y="29"/>
                  <a:pt x="8" y="29"/>
                </a:cubicBezTo>
                <a:cubicBezTo>
                  <a:pt x="13" y="29"/>
                  <a:pt x="13" y="29"/>
                  <a:pt x="13" y="29"/>
                </a:cubicBezTo>
                <a:cubicBezTo>
                  <a:pt x="21" y="29"/>
                  <a:pt x="21" y="29"/>
                  <a:pt x="21" y="29"/>
                </a:cubicBezTo>
                <a:cubicBezTo>
                  <a:pt x="21" y="131"/>
                  <a:pt x="21" y="131"/>
                  <a:pt x="21" y="131"/>
                </a:cubicBezTo>
                <a:cubicBezTo>
                  <a:pt x="8" y="131"/>
                  <a:pt x="8" y="131"/>
                  <a:pt x="8" y="131"/>
                </a:cubicBezTo>
                <a:cubicBezTo>
                  <a:pt x="7" y="131"/>
                  <a:pt x="5" y="129"/>
                  <a:pt x="5" y="128"/>
                </a:cubicBezTo>
                <a:close/>
                <a:moveTo>
                  <a:pt x="155" y="128"/>
                </a:moveTo>
                <a:cubicBezTo>
                  <a:pt x="155" y="129"/>
                  <a:pt x="153" y="131"/>
                  <a:pt x="152" y="131"/>
                </a:cubicBezTo>
                <a:cubicBezTo>
                  <a:pt x="139" y="131"/>
                  <a:pt x="139" y="131"/>
                  <a:pt x="139" y="131"/>
                </a:cubicBezTo>
                <a:cubicBezTo>
                  <a:pt x="139" y="29"/>
                  <a:pt x="139" y="29"/>
                  <a:pt x="139" y="29"/>
                </a:cubicBezTo>
                <a:cubicBezTo>
                  <a:pt x="147" y="29"/>
                  <a:pt x="147" y="29"/>
                  <a:pt x="147" y="29"/>
                </a:cubicBezTo>
                <a:cubicBezTo>
                  <a:pt x="152" y="29"/>
                  <a:pt x="152" y="29"/>
                  <a:pt x="152" y="29"/>
                </a:cubicBezTo>
                <a:cubicBezTo>
                  <a:pt x="153" y="29"/>
                  <a:pt x="155" y="31"/>
                  <a:pt x="155" y="32"/>
                </a:cubicBezTo>
                <a:lnTo>
                  <a:pt x="155" y="12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1057">
            <a:extLst>
              <a:ext uri="{FF2B5EF4-FFF2-40B4-BE49-F238E27FC236}">
                <a16:creationId xmlns:a16="http://schemas.microsoft.com/office/drawing/2014/main" id="{E70E6A72-B00B-BF40-BF45-CDC797391A45}"/>
              </a:ext>
            </a:extLst>
          </p:cNvPr>
          <p:cNvSpPr>
            <a:spLocks noEditPoints="1"/>
          </p:cNvSpPr>
          <p:nvPr/>
        </p:nvSpPr>
        <p:spPr bwMode="auto">
          <a:xfrm>
            <a:off x="3443170" y="2828925"/>
            <a:ext cx="546100" cy="563563"/>
          </a:xfrm>
          <a:custGeom>
            <a:avLst/>
            <a:gdLst>
              <a:gd name="T0" fmla="*/ 149 w 160"/>
              <a:gd name="T1" fmla="*/ 66 h 164"/>
              <a:gd name="T2" fmla="*/ 87 w 160"/>
              <a:gd name="T3" fmla="*/ 113 h 164"/>
              <a:gd name="T4" fmla="*/ 62 w 160"/>
              <a:gd name="T5" fmla="*/ 98 h 164"/>
              <a:gd name="T6" fmla="*/ 109 w 160"/>
              <a:gd name="T7" fmla="*/ 98 h 164"/>
              <a:gd name="T8" fmla="*/ 154 w 160"/>
              <a:gd name="T9" fmla="*/ 40 h 164"/>
              <a:gd name="T10" fmla="*/ 124 w 160"/>
              <a:gd name="T11" fmla="*/ 10 h 164"/>
              <a:gd name="T12" fmla="*/ 75 w 160"/>
              <a:gd name="T13" fmla="*/ 47 h 164"/>
              <a:gd name="T14" fmla="*/ 70 w 160"/>
              <a:gd name="T15" fmla="*/ 42 h 164"/>
              <a:gd name="T16" fmla="*/ 149 w 160"/>
              <a:gd name="T17" fmla="*/ 15 h 164"/>
              <a:gd name="T18" fmla="*/ 81 w 160"/>
              <a:gd name="T19" fmla="*/ 126 h 164"/>
              <a:gd name="T20" fmla="*/ 36 w 160"/>
              <a:gd name="T21" fmla="*/ 158 h 164"/>
              <a:gd name="T22" fmla="*/ 15 w 160"/>
              <a:gd name="T23" fmla="*/ 106 h 164"/>
              <a:gd name="T24" fmla="*/ 92 w 160"/>
              <a:gd name="T25" fmla="*/ 72 h 164"/>
              <a:gd name="T26" fmla="*/ 96 w 160"/>
              <a:gd name="T27" fmla="*/ 68 h 164"/>
              <a:gd name="T28" fmla="*/ 11 w 160"/>
              <a:gd name="T29" fmla="*/ 102 h 164"/>
              <a:gd name="T30" fmla="*/ 11 w 160"/>
              <a:gd name="T31" fmla="*/ 153 h 164"/>
              <a:gd name="T32" fmla="*/ 62 w 160"/>
              <a:gd name="T33" fmla="*/ 153 h 164"/>
              <a:gd name="T34" fmla="*/ 85 w 160"/>
              <a:gd name="T35" fmla="*/ 126 h 164"/>
              <a:gd name="T36" fmla="*/ 103 w 160"/>
              <a:gd name="T37" fmla="*/ 137 h 164"/>
              <a:gd name="T38" fmla="*/ 100 w 160"/>
              <a:gd name="T39" fmla="*/ 158 h 164"/>
              <a:gd name="T40" fmla="*/ 106 w 160"/>
              <a:gd name="T41" fmla="*/ 158 h 164"/>
              <a:gd name="T42" fmla="*/ 103 w 160"/>
              <a:gd name="T43" fmla="*/ 137 h 164"/>
              <a:gd name="T44" fmla="*/ 112 w 160"/>
              <a:gd name="T45" fmla="*/ 132 h 164"/>
              <a:gd name="T46" fmla="*/ 125 w 160"/>
              <a:gd name="T47" fmla="*/ 149 h 164"/>
              <a:gd name="T48" fmla="*/ 129 w 160"/>
              <a:gd name="T49" fmla="*/ 149 h 164"/>
              <a:gd name="T50" fmla="*/ 116 w 160"/>
              <a:gd name="T51" fmla="*/ 132 h 164"/>
              <a:gd name="T52" fmla="*/ 118 w 160"/>
              <a:gd name="T53" fmla="*/ 119 h 164"/>
              <a:gd name="T54" fmla="*/ 118 w 160"/>
              <a:gd name="T55" fmla="*/ 125 h 164"/>
              <a:gd name="T56" fmla="*/ 139 w 160"/>
              <a:gd name="T57" fmla="*/ 122 h 164"/>
              <a:gd name="T58" fmla="*/ 48 w 160"/>
              <a:gd name="T59" fmla="*/ 37 h 164"/>
              <a:gd name="T60" fmla="*/ 51 w 160"/>
              <a:gd name="T61" fmla="*/ 16 h 164"/>
              <a:gd name="T62" fmla="*/ 45 w 160"/>
              <a:gd name="T63" fmla="*/ 16 h 164"/>
              <a:gd name="T64" fmla="*/ 48 w 160"/>
              <a:gd name="T65" fmla="*/ 37 h 164"/>
              <a:gd name="T66" fmla="*/ 37 w 160"/>
              <a:gd name="T67" fmla="*/ 43 h 164"/>
              <a:gd name="T68" fmla="*/ 39 w 160"/>
              <a:gd name="T69" fmla="*/ 38 h 164"/>
              <a:gd name="T70" fmla="*/ 22 w 160"/>
              <a:gd name="T71" fmla="*/ 25 h 164"/>
              <a:gd name="T72" fmla="*/ 35 w 160"/>
              <a:gd name="T73" fmla="*/ 42 h 164"/>
              <a:gd name="T74" fmla="*/ 33 w 160"/>
              <a:gd name="T75" fmla="*/ 55 h 164"/>
              <a:gd name="T76" fmla="*/ 33 w 160"/>
              <a:gd name="T77" fmla="*/ 49 h 164"/>
              <a:gd name="T78" fmla="*/ 12 w 160"/>
              <a:gd name="T79" fmla="*/ 5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64">
                <a:moveTo>
                  <a:pt x="160" y="40"/>
                </a:moveTo>
                <a:cubicBezTo>
                  <a:pt x="160" y="50"/>
                  <a:pt x="156" y="59"/>
                  <a:pt x="149" y="66"/>
                </a:cubicBezTo>
                <a:cubicBezTo>
                  <a:pt x="113" y="102"/>
                  <a:pt x="113" y="102"/>
                  <a:pt x="113" y="102"/>
                </a:cubicBezTo>
                <a:cubicBezTo>
                  <a:pt x="106" y="109"/>
                  <a:pt x="97" y="113"/>
                  <a:pt x="87" y="113"/>
                </a:cubicBezTo>
                <a:cubicBezTo>
                  <a:pt x="78" y="113"/>
                  <a:pt x="69" y="109"/>
                  <a:pt x="62" y="102"/>
                </a:cubicBezTo>
                <a:cubicBezTo>
                  <a:pt x="61" y="101"/>
                  <a:pt x="61" y="99"/>
                  <a:pt x="62" y="98"/>
                </a:cubicBezTo>
                <a:cubicBezTo>
                  <a:pt x="63" y="97"/>
                  <a:pt x="65" y="97"/>
                  <a:pt x="66" y="98"/>
                </a:cubicBezTo>
                <a:cubicBezTo>
                  <a:pt x="78" y="110"/>
                  <a:pt x="97" y="110"/>
                  <a:pt x="109" y="98"/>
                </a:cubicBezTo>
                <a:cubicBezTo>
                  <a:pt x="145" y="62"/>
                  <a:pt x="145" y="62"/>
                  <a:pt x="145" y="62"/>
                </a:cubicBezTo>
                <a:cubicBezTo>
                  <a:pt x="151" y="56"/>
                  <a:pt x="154" y="48"/>
                  <a:pt x="154" y="40"/>
                </a:cubicBezTo>
                <a:cubicBezTo>
                  <a:pt x="154" y="32"/>
                  <a:pt x="151" y="25"/>
                  <a:pt x="145" y="19"/>
                </a:cubicBezTo>
                <a:cubicBezTo>
                  <a:pt x="139" y="13"/>
                  <a:pt x="132" y="10"/>
                  <a:pt x="124" y="10"/>
                </a:cubicBezTo>
                <a:cubicBezTo>
                  <a:pt x="116" y="10"/>
                  <a:pt x="108" y="13"/>
                  <a:pt x="102" y="19"/>
                </a:cubicBezTo>
                <a:cubicBezTo>
                  <a:pt x="75" y="47"/>
                  <a:pt x="75" y="47"/>
                  <a:pt x="75" y="47"/>
                </a:cubicBezTo>
                <a:cubicBezTo>
                  <a:pt x="73" y="48"/>
                  <a:pt x="72" y="48"/>
                  <a:pt x="70" y="47"/>
                </a:cubicBezTo>
                <a:cubicBezTo>
                  <a:pt x="69" y="45"/>
                  <a:pt x="69" y="44"/>
                  <a:pt x="70" y="42"/>
                </a:cubicBezTo>
                <a:cubicBezTo>
                  <a:pt x="98" y="15"/>
                  <a:pt x="98" y="15"/>
                  <a:pt x="98" y="15"/>
                </a:cubicBezTo>
                <a:cubicBezTo>
                  <a:pt x="112" y="0"/>
                  <a:pt x="135" y="0"/>
                  <a:pt x="149" y="15"/>
                </a:cubicBezTo>
                <a:cubicBezTo>
                  <a:pt x="156" y="21"/>
                  <a:pt x="160" y="31"/>
                  <a:pt x="160" y="40"/>
                </a:cubicBezTo>
                <a:close/>
                <a:moveTo>
                  <a:pt x="81" y="126"/>
                </a:moveTo>
                <a:cubicBezTo>
                  <a:pt x="58" y="149"/>
                  <a:pt x="58" y="149"/>
                  <a:pt x="58" y="149"/>
                </a:cubicBezTo>
                <a:cubicBezTo>
                  <a:pt x="52" y="155"/>
                  <a:pt x="44" y="158"/>
                  <a:pt x="36" y="158"/>
                </a:cubicBezTo>
                <a:cubicBezTo>
                  <a:pt x="28" y="158"/>
                  <a:pt x="21" y="155"/>
                  <a:pt x="15" y="149"/>
                </a:cubicBezTo>
                <a:cubicBezTo>
                  <a:pt x="3" y="137"/>
                  <a:pt x="3" y="118"/>
                  <a:pt x="15" y="106"/>
                </a:cubicBezTo>
                <a:cubicBezTo>
                  <a:pt x="49" y="72"/>
                  <a:pt x="49" y="72"/>
                  <a:pt x="49" y="72"/>
                </a:cubicBezTo>
                <a:cubicBezTo>
                  <a:pt x="61" y="60"/>
                  <a:pt x="80" y="60"/>
                  <a:pt x="92" y="72"/>
                </a:cubicBezTo>
                <a:cubicBezTo>
                  <a:pt x="93" y="73"/>
                  <a:pt x="95" y="73"/>
                  <a:pt x="96" y="72"/>
                </a:cubicBezTo>
                <a:cubicBezTo>
                  <a:pt x="97" y="71"/>
                  <a:pt x="97" y="69"/>
                  <a:pt x="96" y="68"/>
                </a:cubicBezTo>
                <a:cubicBezTo>
                  <a:pt x="82" y="54"/>
                  <a:pt x="59" y="54"/>
                  <a:pt x="45" y="68"/>
                </a:cubicBezTo>
                <a:cubicBezTo>
                  <a:pt x="11" y="102"/>
                  <a:pt x="11" y="102"/>
                  <a:pt x="11" y="102"/>
                </a:cubicBezTo>
                <a:cubicBezTo>
                  <a:pt x="4" y="109"/>
                  <a:pt x="0" y="118"/>
                  <a:pt x="0" y="128"/>
                </a:cubicBezTo>
                <a:cubicBezTo>
                  <a:pt x="0" y="138"/>
                  <a:pt x="4" y="147"/>
                  <a:pt x="11" y="153"/>
                </a:cubicBezTo>
                <a:cubicBezTo>
                  <a:pt x="17" y="160"/>
                  <a:pt x="26" y="164"/>
                  <a:pt x="36" y="164"/>
                </a:cubicBezTo>
                <a:cubicBezTo>
                  <a:pt x="46" y="164"/>
                  <a:pt x="55" y="160"/>
                  <a:pt x="62" y="153"/>
                </a:cubicBezTo>
                <a:cubicBezTo>
                  <a:pt x="85" y="130"/>
                  <a:pt x="85" y="130"/>
                  <a:pt x="85" y="130"/>
                </a:cubicBezTo>
                <a:cubicBezTo>
                  <a:pt x="87" y="129"/>
                  <a:pt x="87" y="127"/>
                  <a:pt x="85" y="126"/>
                </a:cubicBezTo>
                <a:cubicBezTo>
                  <a:pt x="84" y="124"/>
                  <a:pt x="82" y="124"/>
                  <a:pt x="81" y="126"/>
                </a:cubicBezTo>
                <a:close/>
                <a:moveTo>
                  <a:pt x="103" y="137"/>
                </a:moveTo>
                <a:cubicBezTo>
                  <a:pt x="101" y="137"/>
                  <a:pt x="100" y="138"/>
                  <a:pt x="100" y="140"/>
                </a:cubicBezTo>
                <a:cubicBezTo>
                  <a:pt x="100" y="158"/>
                  <a:pt x="100" y="158"/>
                  <a:pt x="100" y="158"/>
                </a:cubicBezTo>
                <a:cubicBezTo>
                  <a:pt x="100" y="160"/>
                  <a:pt x="101" y="161"/>
                  <a:pt x="103" y="161"/>
                </a:cubicBezTo>
                <a:cubicBezTo>
                  <a:pt x="104" y="161"/>
                  <a:pt x="106" y="160"/>
                  <a:pt x="106" y="158"/>
                </a:cubicBezTo>
                <a:cubicBezTo>
                  <a:pt x="106" y="140"/>
                  <a:pt x="106" y="140"/>
                  <a:pt x="106" y="140"/>
                </a:cubicBezTo>
                <a:cubicBezTo>
                  <a:pt x="106" y="138"/>
                  <a:pt x="104" y="137"/>
                  <a:pt x="103" y="137"/>
                </a:cubicBezTo>
                <a:close/>
                <a:moveTo>
                  <a:pt x="116" y="132"/>
                </a:moveTo>
                <a:cubicBezTo>
                  <a:pt x="115" y="131"/>
                  <a:pt x="113" y="131"/>
                  <a:pt x="112" y="132"/>
                </a:cubicBezTo>
                <a:cubicBezTo>
                  <a:pt x="111" y="133"/>
                  <a:pt x="111" y="135"/>
                  <a:pt x="112" y="136"/>
                </a:cubicBezTo>
                <a:cubicBezTo>
                  <a:pt x="125" y="149"/>
                  <a:pt x="125" y="149"/>
                  <a:pt x="125" y="149"/>
                </a:cubicBezTo>
                <a:cubicBezTo>
                  <a:pt x="125" y="149"/>
                  <a:pt x="126" y="150"/>
                  <a:pt x="127" y="150"/>
                </a:cubicBezTo>
                <a:cubicBezTo>
                  <a:pt x="128" y="150"/>
                  <a:pt x="128" y="149"/>
                  <a:pt x="129" y="149"/>
                </a:cubicBezTo>
                <a:cubicBezTo>
                  <a:pt x="130" y="148"/>
                  <a:pt x="130" y="146"/>
                  <a:pt x="129" y="145"/>
                </a:cubicBezTo>
                <a:lnTo>
                  <a:pt x="116" y="132"/>
                </a:lnTo>
                <a:close/>
                <a:moveTo>
                  <a:pt x="136" y="119"/>
                </a:moveTo>
                <a:cubicBezTo>
                  <a:pt x="118" y="119"/>
                  <a:pt x="118" y="119"/>
                  <a:pt x="118" y="119"/>
                </a:cubicBezTo>
                <a:cubicBezTo>
                  <a:pt x="116" y="119"/>
                  <a:pt x="115" y="120"/>
                  <a:pt x="115" y="122"/>
                </a:cubicBezTo>
                <a:cubicBezTo>
                  <a:pt x="115" y="123"/>
                  <a:pt x="116" y="125"/>
                  <a:pt x="118" y="125"/>
                </a:cubicBezTo>
                <a:cubicBezTo>
                  <a:pt x="136" y="125"/>
                  <a:pt x="136" y="125"/>
                  <a:pt x="136" y="125"/>
                </a:cubicBezTo>
                <a:cubicBezTo>
                  <a:pt x="137" y="125"/>
                  <a:pt x="139" y="123"/>
                  <a:pt x="139" y="122"/>
                </a:cubicBezTo>
                <a:cubicBezTo>
                  <a:pt x="139" y="120"/>
                  <a:pt x="137" y="119"/>
                  <a:pt x="136" y="119"/>
                </a:cubicBezTo>
                <a:close/>
                <a:moveTo>
                  <a:pt x="48" y="37"/>
                </a:moveTo>
                <a:cubicBezTo>
                  <a:pt x="50" y="37"/>
                  <a:pt x="51" y="36"/>
                  <a:pt x="51" y="34"/>
                </a:cubicBezTo>
                <a:cubicBezTo>
                  <a:pt x="51" y="16"/>
                  <a:pt x="51" y="16"/>
                  <a:pt x="51" y="16"/>
                </a:cubicBezTo>
                <a:cubicBezTo>
                  <a:pt x="51" y="14"/>
                  <a:pt x="50" y="13"/>
                  <a:pt x="48" y="13"/>
                </a:cubicBezTo>
                <a:cubicBezTo>
                  <a:pt x="47" y="13"/>
                  <a:pt x="45" y="14"/>
                  <a:pt x="45" y="16"/>
                </a:cubicBezTo>
                <a:cubicBezTo>
                  <a:pt x="45" y="34"/>
                  <a:pt x="45" y="34"/>
                  <a:pt x="45" y="34"/>
                </a:cubicBezTo>
                <a:cubicBezTo>
                  <a:pt x="45" y="36"/>
                  <a:pt x="47" y="37"/>
                  <a:pt x="48" y="37"/>
                </a:cubicBezTo>
                <a:close/>
                <a:moveTo>
                  <a:pt x="35" y="42"/>
                </a:moveTo>
                <a:cubicBezTo>
                  <a:pt x="35" y="43"/>
                  <a:pt x="36" y="43"/>
                  <a:pt x="37" y="43"/>
                </a:cubicBezTo>
                <a:cubicBezTo>
                  <a:pt x="38" y="43"/>
                  <a:pt x="38" y="43"/>
                  <a:pt x="39" y="42"/>
                </a:cubicBezTo>
                <a:cubicBezTo>
                  <a:pt x="40" y="41"/>
                  <a:pt x="40" y="39"/>
                  <a:pt x="39" y="38"/>
                </a:cubicBezTo>
                <a:cubicBezTo>
                  <a:pt x="26" y="25"/>
                  <a:pt x="26" y="25"/>
                  <a:pt x="26" y="25"/>
                </a:cubicBezTo>
                <a:cubicBezTo>
                  <a:pt x="25" y="24"/>
                  <a:pt x="23" y="24"/>
                  <a:pt x="22" y="25"/>
                </a:cubicBezTo>
                <a:cubicBezTo>
                  <a:pt x="21" y="27"/>
                  <a:pt x="21" y="28"/>
                  <a:pt x="22" y="30"/>
                </a:cubicBezTo>
                <a:lnTo>
                  <a:pt x="35" y="42"/>
                </a:lnTo>
                <a:close/>
                <a:moveTo>
                  <a:pt x="15" y="55"/>
                </a:moveTo>
                <a:cubicBezTo>
                  <a:pt x="33" y="55"/>
                  <a:pt x="33" y="55"/>
                  <a:pt x="33" y="55"/>
                </a:cubicBezTo>
                <a:cubicBezTo>
                  <a:pt x="35" y="55"/>
                  <a:pt x="36" y="54"/>
                  <a:pt x="36" y="52"/>
                </a:cubicBezTo>
                <a:cubicBezTo>
                  <a:pt x="36" y="51"/>
                  <a:pt x="35" y="49"/>
                  <a:pt x="33" y="49"/>
                </a:cubicBezTo>
                <a:cubicBezTo>
                  <a:pt x="15" y="49"/>
                  <a:pt x="15" y="49"/>
                  <a:pt x="15" y="49"/>
                </a:cubicBezTo>
                <a:cubicBezTo>
                  <a:pt x="13" y="49"/>
                  <a:pt x="12" y="51"/>
                  <a:pt x="12" y="52"/>
                </a:cubicBezTo>
                <a:cubicBezTo>
                  <a:pt x="12" y="54"/>
                  <a:pt x="13" y="55"/>
                  <a:pt x="15" y="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81" name="Freeform 1058">
            <a:extLst>
              <a:ext uri="{FF2B5EF4-FFF2-40B4-BE49-F238E27FC236}">
                <a16:creationId xmlns:a16="http://schemas.microsoft.com/office/drawing/2014/main" id="{C247E027-2FFD-CB41-B208-2E0EF3BA0384}"/>
              </a:ext>
            </a:extLst>
          </p:cNvPr>
          <p:cNvSpPr>
            <a:spLocks noEditPoints="1"/>
          </p:cNvSpPr>
          <p:nvPr/>
        </p:nvSpPr>
        <p:spPr bwMode="auto">
          <a:xfrm>
            <a:off x="3497145" y="3462338"/>
            <a:ext cx="427038" cy="549275"/>
          </a:xfrm>
          <a:custGeom>
            <a:avLst/>
            <a:gdLst>
              <a:gd name="T0" fmla="*/ 8 w 125"/>
              <a:gd name="T1" fmla="*/ 0 h 160"/>
              <a:gd name="T2" fmla="*/ 0 w 125"/>
              <a:gd name="T3" fmla="*/ 152 h 160"/>
              <a:gd name="T4" fmla="*/ 118 w 125"/>
              <a:gd name="T5" fmla="*/ 160 h 160"/>
              <a:gd name="T6" fmla="*/ 125 w 125"/>
              <a:gd name="T7" fmla="*/ 8 h 160"/>
              <a:gd name="T8" fmla="*/ 120 w 125"/>
              <a:gd name="T9" fmla="*/ 152 h 160"/>
              <a:gd name="T10" fmla="*/ 8 w 125"/>
              <a:gd name="T11" fmla="*/ 155 h 160"/>
              <a:gd name="T12" fmla="*/ 5 w 125"/>
              <a:gd name="T13" fmla="*/ 8 h 160"/>
              <a:gd name="T14" fmla="*/ 118 w 125"/>
              <a:gd name="T15" fmla="*/ 5 h 160"/>
              <a:gd name="T16" fmla="*/ 120 w 125"/>
              <a:gd name="T17" fmla="*/ 152 h 160"/>
              <a:gd name="T18" fmla="*/ 43 w 125"/>
              <a:gd name="T19" fmla="*/ 147 h 160"/>
              <a:gd name="T20" fmla="*/ 13 w 125"/>
              <a:gd name="T21" fmla="*/ 117 h 160"/>
              <a:gd name="T22" fmla="*/ 19 w 125"/>
              <a:gd name="T23" fmla="*/ 123 h 160"/>
              <a:gd name="T24" fmla="*/ 37 w 125"/>
              <a:gd name="T25" fmla="*/ 141 h 160"/>
              <a:gd name="T26" fmla="*/ 19 w 125"/>
              <a:gd name="T27" fmla="*/ 123 h 160"/>
              <a:gd name="T28" fmla="*/ 77 w 125"/>
              <a:gd name="T29" fmla="*/ 147 h 160"/>
              <a:gd name="T30" fmla="*/ 48 w 125"/>
              <a:gd name="T31" fmla="*/ 117 h 160"/>
              <a:gd name="T32" fmla="*/ 53 w 125"/>
              <a:gd name="T33" fmla="*/ 123 h 160"/>
              <a:gd name="T34" fmla="*/ 72 w 125"/>
              <a:gd name="T35" fmla="*/ 141 h 160"/>
              <a:gd name="T36" fmla="*/ 53 w 125"/>
              <a:gd name="T37" fmla="*/ 123 h 160"/>
              <a:gd name="T38" fmla="*/ 112 w 125"/>
              <a:gd name="T39" fmla="*/ 147 h 160"/>
              <a:gd name="T40" fmla="*/ 83 w 125"/>
              <a:gd name="T41" fmla="*/ 83 h 160"/>
              <a:gd name="T42" fmla="*/ 88 w 125"/>
              <a:gd name="T43" fmla="*/ 88 h 160"/>
              <a:gd name="T44" fmla="*/ 107 w 125"/>
              <a:gd name="T45" fmla="*/ 141 h 160"/>
              <a:gd name="T46" fmla="*/ 88 w 125"/>
              <a:gd name="T47" fmla="*/ 88 h 160"/>
              <a:gd name="T48" fmla="*/ 43 w 125"/>
              <a:gd name="T49" fmla="*/ 112 h 160"/>
              <a:gd name="T50" fmla="*/ 13 w 125"/>
              <a:gd name="T51" fmla="*/ 83 h 160"/>
              <a:gd name="T52" fmla="*/ 19 w 125"/>
              <a:gd name="T53" fmla="*/ 88 h 160"/>
              <a:gd name="T54" fmla="*/ 37 w 125"/>
              <a:gd name="T55" fmla="*/ 107 h 160"/>
              <a:gd name="T56" fmla="*/ 19 w 125"/>
              <a:gd name="T57" fmla="*/ 88 h 160"/>
              <a:gd name="T58" fmla="*/ 77 w 125"/>
              <a:gd name="T59" fmla="*/ 112 h 160"/>
              <a:gd name="T60" fmla="*/ 48 w 125"/>
              <a:gd name="T61" fmla="*/ 83 h 160"/>
              <a:gd name="T62" fmla="*/ 53 w 125"/>
              <a:gd name="T63" fmla="*/ 88 h 160"/>
              <a:gd name="T64" fmla="*/ 72 w 125"/>
              <a:gd name="T65" fmla="*/ 107 h 160"/>
              <a:gd name="T66" fmla="*/ 53 w 125"/>
              <a:gd name="T67" fmla="*/ 88 h 160"/>
              <a:gd name="T68" fmla="*/ 43 w 125"/>
              <a:gd name="T69" fmla="*/ 77 h 160"/>
              <a:gd name="T70" fmla="*/ 13 w 125"/>
              <a:gd name="T71" fmla="*/ 48 h 160"/>
              <a:gd name="T72" fmla="*/ 19 w 125"/>
              <a:gd name="T73" fmla="*/ 53 h 160"/>
              <a:gd name="T74" fmla="*/ 37 w 125"/>
              <a:gd name="T75" fmla="*/ 72 h 160"/>
              <a:gd name="T76" fmla="*/ 19 w 125"/>
              <a:gd name="T77" fmla="*/ 53 h 160"/>
              <a:gd name="T78" fmla="*/ 77 w 125"/>
              <a:gd name="T79" fmla="*/ 77 h 160"/>
              <a:gd name="T80" fmla="*/ 48 w 125"/>
              <a:gd name="T81" fmla="*/ 48 h 160"/>
              <a:gd name="T82" fmla="*/ 53 w 125"/>
              <a:gd name="T83" fmla="*/ 53 h 160"/>
              <a:gd name="T84" fmla="*/ 72 w 125"/>
              <a:gd name="T85" fmla="*/ 72 h 160"/>
              <a:gd name="T86" fmla="*/ 53 w 125"/>
              <a:gd name="T87" fmla="*/ 53 h 160"/>
              <a:gd name="T88" fmla="*/ 112 w 125"/>
              <a:gd name="T89" fmla="*/ 77 h 160"/>
              <a:gd name="T90" fmla="*/ 83 w 125"/>
              <a:gd name="T91" fmla="*/ 48 h 160"/>
              <a:gd name="T92" fmla="*/ 88 w 125"/>
              <a:gd name="T93" fmla="*/ 53 h 160"/>
              <a:gd name="T94" fmla="*/ 107 w 125"/>
              <a:gd name="T95" fmla="*/ 72 h 160"/>
              <a:gd name="T96" fmla="*/ 88 w 125"/>
              <a:gd name="T97" fmla="*/ 53 h 160"/>
              <a:gd name="T98" fmla="*/ 112 w 125"/>
              <a:gd name="T99" fmla="*/ 40 h 160"/>
              <a:gd name="T100" fmla="*/ 13 w 125"/>
              <a:gd name="T101" fmla="*/ 13 h 160"/>
              <a:gd name="T102" fmla="*/ 19 w 125"/>
              <a:gd name="T103" fmla="*/ 19 h 160"/>
              <a:gd name="T104" fmla="*/ 107 w 125"/>
              <a:gd name="T105" fmla="*/ 35 h 160"/>
              <a:gd name="T106" fmla="*/ 19 w 125"/>
              <a:gd name="T107" fmla="*/ 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 h="160">
                <a:moveTo>
                  <a:pt x="118" y="0"/>
                </a:moveTo>
                <a:cubicBezTo>
                  <a:pt x="8" y="0"/>
                  <a:pt x="8" y="0"/>
                  <a:pt x="8" y="0"/>
                </a:cubicBezTo>
                <a:cubicBezTo>
                  <a:pt x="3" y="0"/>
                  <a:pt x="0" y="3"/>
                  <a:pt x="0" y="8"/>
                </a:cubicBezTo>
                <a:cubicBezTo>
                  <a:pt x="0" y="152"/>
                  <a:pt x="0" y="152"/>
                  <a:pt x="0" y="152"/>
                </a:cubicBezTo>
                <a:cubicBezTo>
                  <a:pt x="0" y="157"/>
                  <a:pt x="3" y="160"/>
                  <a:pt x="8" y="160"/>
                </a:cubicBezTo>
                <a:cubicBezTo>
                  <a:pt x="118" y="160"/>
                  <a:pt x="118" y="160"/>
                  <a:pt x="118" y="160"/>
                </a:cubicBezTo>
                <a:cubicBezTo>
                  <a:pt x="122" y="160"/>
                  <a:pt x="125" y="157"/>
                  <a:pt x="125" y="152"/>
                </a:cubicBezTo>
                <a:cubicBezTo>
                  <a:pt x="125" y="8"/>
                  <a:pt x="125" y="8"/>
                  <a:pt x="125" y="8"/>
                </a:cubicBezTo>
                <a:cubicBezTo>
                  <a:pt x="125" y="3"/>
                  <a:pt x="122" y="0"/>
                  <a:pt x="118" y="0"/>
                </a:cubicBezTo>
                <a:close/>
                <a:moveTo>
                  <a:pt x="120" y="152"/>
                </a:moveTo>
                <a:cubicBezTo>
                  <a:pt x="120" y="154"/>
                  <a:pt x="119" y="155"/>
                  <a:pt x="118" y="155"/>
                </a:cubicBezTo>
                <a:cubicBezTo>
                  <a:pt x="8" y="155"/>
                  <a:pt x="8" y="155"/>
                  <a:pt x="8" y="155"/>
                </a:cubicBezTo>
                <a:cubicBezTo>
                  <a:pt x="6" y="155"/>
                  <a:pt x="5" y="154"/>
                  <a:pt x="5" y="152"/>
                </a:cubicBezTo>
                <a:cubicBezTo>
                  <a:pt x="5" y="8"/>
                  <a:pt x="5" y="8"/>
                  <a:pt x="5" y="8"/>
                </a:cubicBezTo>
                <a:cubicBezTo>
                  <a:pt x="5" y="6"/>
                  <a:pt x="6" y="5"/>
                  <a:pt x="8" y="5"/>
                </a:cubicBezTo>
                <a:cubicBezTo>
                  <a:pt x="118" y="5"/>
                  <a:pt x="118" y="5"/>
                  <a:pt x="118" y="5"/>
                </a:cubicBezTo>
                <a:cubicBezTo>
                  <a:pt x="119" y="5"/>
                  <a:pt x="120" y="6"/>
                  <a:pt x="120" y="8"/>
                </a:cubicBezTo>
                <a:lnTo>
                  <a:pt x="120" y="152"/>
                </a:lnTo>
                <a:close/>
                <a:moveTo>
                  <a:pt x="13" y="147"/>
                </a:moveTo>
                <a:cubicBezTo>
                  <a:pt x="43" y="147"/>
                  <a:pt x="43" y="147"/>
                  <a:pt x="43" y="147"/>
                </a:cubicBezTo>
                <a:cubicBezTo>
                  <a:pt x="43" y="117"/>
                  <a:pt x="43" y="117"/>
                  <a:pt x="43" y="117"/>
                </a:cubicBezTo>
                <a:cubicBezTo>
                  <a:pt x="13" y="117"/>
                  <a:pt x="13" y="117"/>
                  <a:pt x="13" y="117"/>
                </a:cubicBezTo>
                <a:lnTo>
                  <a:pt x="13" y="147"/>
                </a:lnTo>
                <a:close/>
                <a:moveTo>
                  <a:pt x="19" y="123"/>
                </a:moveTo>
                <a:cubicBezTo>
                  <a:pt x="37" y="123"/>
                  <a:pt x="37" y="123"/>
                  <a:pt x="37" y="123"/>
                </a:cubicBezTo>
                <a:cubicBezTo>
                  <a:pt x="37" y="141"/>
                  <a:pt x="37" y="141"/>
                  <a:pt x="37" y="141"/>
                </a:cubicBezTo>
                <a:cubicBezTo>
                  <a:pt x="19" y="141"/>
                  <a:pt x="19" y="141"/>
                  <a:pt x="19" y="141"/>
                </a:cubicBezTo>
                <a:lnTo>
                  <a:pt x="19" y="123"/>
                </a:lnTo>
                <a:close/>
                <a:moveTo>
                  <a:pt x="48" y="147"/>
                </a:moveTo>
                <a:cubicBezTo>
                  <a:pt x="77" y="147"/>
                  <a:pt x="77" y="147"/>
                  <a:pt x="77" y="147"/>
                </a:cubicBezTo>
                <a:cubicBezTo>
                  <a:pt x="77" y="117"/>
                  <a:pt x="77" y="117"/>
                  <a:pt x="77" y="117"/>
                </a:cubicBezTo>
                <a:cubicBezTo>
                  <a:pt x="48" y="117"/>
                  <a:pt x="48" y="117"/>
                  <a:pt x="48" y="117"/>
                </a:cubicBezTo>
                <a:lnTo>
                  <a:pt x="48" y="147"/>
                </a:lnTo>
                <a:close/>
                <a:moveTo>
                  <a:pt x="53" y="123"/>
                </a:moveTo>
                <a:cubicBezTo>
                  <a:pt x="72" y="123"/>
                  <a:pt x="72" y="123"/>
                  <a:pt x="72" y="123"/>
                </a:cubicBezTo>
                <a:cubicBezTo>
                  <a:pt x="72" y="141"/>
                  <a:pt x="72" y="141"/>
                  <a:pt x="72" y="141"/>
                </a:cubicBezTo>
                <a:cubicBezTo>
                  <a:pt x="53" y="141"/>
                  <a:pt x="53" y="141"/>
                  <a:pt x="53" y="141"/>
                </a:cubicBezTo>
                <a:lnTo>
                  <a:pt x="53" y="123"/>
                </a:lnTo>
                <a:close/>
                <a:moveTo>
                  <a:pt x="83" y="147"/>
                </a:moveTo>
                <a:cubicBezTo>
                  <a:pt x="112" y="147"/>
                  <a:pt x="112" y="147"/>
                  <a:pt x="112" y="147"/>
                </a:cubicBezTo>
                <a:cubicBezTo>
                  <a:pt x="112" y="83"/>
                  <a:pt x="112" y="83"/>
                  <a:pt x="112" y="83"/>
                </a:cubicBezTo>
                <a:cubicBezTo>
                  <a:pt x="83" y="83"/>
                  <a:pt x="83" y="83"/>
                  <a:pt x="83" y="83"/>
                </a:cubicBezTo>
                <a:lnTo>
                  <a:pt x="83" y="147"/>
                </a:lnTo>
                <a:close/>
                <a:moveTo>
                  <a:pt x="88" y="88"/>
                </a:moveTo>
                <a:cubicBezTo>
                  <a:pt x="107" y="88"/>
                  <a:pt x="107" y="88"/>
                  <a:pt x="107" y="88"/>
                </a:cubicBezTo>
                <a:cubicBezTo>
                  <a:pt x="107" y="141"/>
                  <a:pt x="107" y="141"/>
                  <a:pt x="107" y="141"/>
                </a:cubicBezTo>
                <a:cubicBezTo>
                  <a:pt x="88" y="141"/>
                  <a:pt x="88" y="141"/>
                  <a:pt x="88" y="141"/>
                </a:cubicBezTo>
                <a:lnTo>
                  <a:pt x="88" y="88"/>
                </a:lnTo>
                <a:close/>
                <a:moveTo>
                  <a:pt x="13" y="112"/>
                </a:moveTo>
                <a:cubicBezTo>
                  <a:pt x="43" y="112"/>
                  <a:pt x="43" y="112"/>
                  <a:pt x="43" y="112"/>
                </a:cubicBezTo>
                <a:cubicBezTo>
                  <a:pt x="43" y="83"/>
                  <a:pt x="43" y="83"/>
                  <a:pt x="43" y="83"/>
                </a:cubicBezTo>
                <a:cubicBezTo>
                  <a:pt x="13" y="83"/>
                  <a:pt x="13" y="83"/>
                  <a:pt x="13" y="83"/>
                </a:cubicBezTo>
                <a:lnTo>
                  <a:pt x="13" y="112"/>
                </a:lnTo>
                <a:close/>
                <a:moveTo>
                  <a:pt x="19" y="88"/>
                </a:moveTo>
                <a:cubicBezTo>
                  <a:pt x="37" y="88"/>
                  <a:pt x="37" y="88"/>
                  <a:pt x="37" y="88"/>
                </a:cubicBezTo>
                <a:cubicBezTo>
                  <a:pt x="37" y="107"/>
                  <a:pt x="37" y="107"/>
                  <a:pt x="37" y="107"/>
                </a:cubicBezTo>
                <a:cubicBezTo>
                  <a:pt x="19" y="107"/>
                  <a:pt x="19" y="107"/>
                  <a:pt x="19" y="107"/>
                </a:cubicBezTo>
                <a:lnTo>
                  <a:pt x="19" y="88"/>
                </a:lnTo>
                <a:close/>
                <a:moveTo>
                  <a:pt x="48" y="112"/>
                </a:moveTo>
                <a:cubicBezTo>
                  <a:pt x="77" y="112"/>
                  <a:pt x="77" y="112"/>
                  <a:pt x="77" y="112"/>
                </a:cubicBezTo>
                <a:cubicBezTo>
                  <a:pt x="77" y="83"/>
                  <a:pt x="77" y="83"/>
                  <a:pt x="77" y="83"/>
                </a:cubicBezTo>
                <a:cubicBezTo>
                  <a:pt x="48" y="83"/>
                  <a:pt x="48" y="83"/>
                  <a:pt x="48" y="83"/>
                </a:cubicBezTo>
                <a:lnTo>
                  <a:pt x="48" y="112"/>
                </a:lnTo>
                <a:close/>
                <a:moveTo>
                  <a:pt x="53" y="88"/>
                </a:moveTo>
                <a:cubicBezTo>
                  <a:pt x="72" y="88"/>
                  <a:pt x="72" y="88"/>
                  <a:pt x="72" y="88"/>
                </a:cubicBezTo>
                <a:cubicBezTo>
                  <a:pt x="72" y="107"/>
                  <a:pt x="72" y="107"/>
                  <a:pt x="72" y="107"/>
                </a:cubicBezTo>
                <a:cubicBezTo>
                  <a:pt x="53" y="107"/>
                  <a:pt x="53" y="107"/>
                  <a:pt x="53" y="107"/>
                </a:cubicBezTo>
                <a:lnTo>
                  <a:pt x="53" y="88"/>
                </a:lnTo>
                <a:close/>
                <a:moveTo>
                  <a:pt x="13" y="77"/>
                </a:moveTo>
                <a:cubicBezTo>
                  <a:pt x="43" y="77"/>
                  <a:pt x="43" y="77"/>
                  <a:pt x="43" y="77"/>
                </a:cubicBezTo>
                <a:cubicBezTo>
                  <a:pt x="43" y="48"/>
                  <a:pt x="43" y="48"/>
                  <a:pt x="43" y="48"/>
                </a:cubicBezTo>
                <a:cubicBezTo>
                  <a:pt x="13" y="48"/>
                  <a:pt x="13" y="48"/>
                  <a:pt x="13" y="48"/>
                </a:cubicBezTo>
                <a:lnTo>
                  <a:pt x="13" y="77"/>
                </a:lnTo>
                <a:close/>
                <a:moveTo>
                  <a:pt x="19" y="53"/>
                </a:moveTo>
                <a:cubicBezTo>
                  <a:pt x="37" y="53"/>
                  <a:pt x="37" y="53"/>
                  <a:pt x="37" y="53"/>
                </a:cubicBezTo>
                <a:cubicBezTo>
                  <a:pt x="37" y="72"/>
                  <a:pt x="37" y="72"/>
                  <a:pt x="37" y="72"/>
                </a:cubicBezTo>
                <a:cubicBezTo>
                  <a:pt x="19" y="72"/>
                  <a:pt x="19" y="72"/>
                  <a:pt x="19" y="72"/>
                </a:cubicBezTo>
                <a:lnTo>
                  <a:pt x="19" y="53"/>
                </a:lnTo>
                <a:close/>
                <a:moveTo>
                  <a:pt x="48" y="77"/>
                </a:moveTo>
                <a:cubicBezTo>
                  <a:pt x="77" y="77"/>
                  <a:pt x="77" y="77"/>
                  <a:pt x="77" y="77"/>
                </a:cubicBezTo>
                <a:cubicBezTo>
                  <a:pt x="77" y="48"/>
                  <a:pt x="77" y="48"/>
                  <a:pt x="77" y="48"/>
                </a:cubicBezTo>
                <a:cubicBezTo>
                  <a:pt x="48" y="48"/>
                  <a:pt x="48" y="48"/>
                  <a:pt x="48" y="48"/>
                </a:cubicBezTo>
                <a:lnTo>
                  <a:pt x="48" y="77"/>
                </a:lnTo>
                <a:close/>
                <a:moveTo>
                  <a:pt x="53" y="53"/>
                </a:moveTo>
                <a:cubicBezTo>
                  <a:pt x="72" y="53"/>
                  <a:pt x="72" y="53"/>
                  <a:pt x="72" y="53"/>
                </a:cubicBezTo>
                <a:cubicBezTo>
                  <a:pt x="72" y="72"/>
                  <a:pt x="72" y="72"/>
                  <a:pt x="72" y="72"/>
                </a:cubicBezTo>
                <a:cubicBezTo>
                  <a:pt x="53" y="72"/>
                  <a:pt x="53" y="72"/>
                  <a:pt x="53" y="72"/>
                </a:cubicBezTo>
                <a:lnTo>
                  <a:pt x="53" y="53"/>
                </a:lnTo>
                <a:close/>
                <a:moveTo>
                  <a:pt x="83" y="77"/>
                </a:moveTo>
                <a:cubicBezTo>
                  <a:pt x="112" y="77"/>
                  <a:pt x="112" y="77"/>
                  <a:pt x="112" y="77"/>
                </a:cubicBezTo>
                <a:cubicBezTo>
                  <a:pt x="112" y="48"/>
                  <a:pt x="112" y="48"/>
                  <a:pt x="112" y="48"/>
                </a:cubicBezTo>
                <a:cubicBezTo>
                  <a:pt x="83" y="48"/>
                  <a:pt x="83" y="48"/>
                  <a:pt x="83" y="48"/>
                </a:cubicBezTo>
                <a:lnTo>
                  <a:pt x="83" y="77"/>
                </a:lnTo>
                <a:close/>
                <a:moveTo>
                  <a:pt x="88" y="53"/>
                </a:moveTo>
                <a:cubicBezTo>
                  <a:pt x="107" y="53"/>
                  <a:pt x="107" y="53"/>
                  <a:pt x="107" y="53"/>
                </a:cubicBezTo>
                <a:cubicBezTo>
                  <a:pt x="107" y="72"/>
                  <a:pt x="107" y="72"/>
                  <a:pt x="107" y="72"/>
                </a:cubicBezTo>
                <a:cubicBezTo>
                  <a:pt x="88" y="72"/>
                  <a:pt x="88" y="72"/>
                  <a:pt x="88" y="72"/>
                </a:cubicBezTo>
                <a:lnTo>
                  <a:pt x="88" y="53"/>
                </a:lnTo>
                <a:close/>
                <a:moveTo>
                  <a:pt x="13" y="40"/>
                </a:moveTo>
                <a:cubicBezTo>
                  <a:pt x="112" y="40"/>
                  <a:pt x="112" y="40"/>
                  <a:pt x="112" y="40"/>
                </a:cubicBezTo>
                <a:cubicBezTo>
                  <a:pt x="112" y="13"/>
                  <a:pt x="112" y="13"/>
                  <a:pt x="112" y="13"/>
                </a:cubicBezTo>
                <a:cubicBezTo>
                  <a:pt x="13" y="13"/>
                  <a:pt x="13" y="13"/>
                  <a:pt x="13" y="13"/>
                </a:cubicBezTo>
                <a:lnTo>
                  <a:pt x="13" y="40"/>
                </a:lnTo>
                <a:close/>
                <a:moveTo>
                  <a:pt x="19" y="19"/>
                </a:moveTo>
                <a:cubicBezTo>
                  <a:pt x="107" y="19"/>
                  <a:pt x="107" y="19"/>
                  <a:pt x="107" y="19"/>
                </a:cubicBezTo>
                <a:cubicBezTo>
                  <a:pt x="107" y="35"/>
                  <a:pt x="107" y="35"/>
                  <a:pt x="107" y="35"/>
                </a:cubicBezTo>
                <a:cubicBezTo>
                  <a:pt x="19" y="35"/>
                  <a:pt x="19" y="35"/>
                  <a:pt x="19" y="35"/>
                </a:cubicBezTo>
                <a:lnTo>
                  <a:pt x="19" y="1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1059">
            <a:extLst>
              <a:ext uri="{FF2B5EF4-FFF2-40B4-BE49-F238E27FC236}">
                <a16:creationId xmlns:a16="http://schemas.microsoft.com/office/drawing/2014/main" id="{DB5A39DD-D6BF-7540-A43F-6BA72FE502F8}"/>
              </a:ext>
            </a:extLst>
          </p:cNvPr>
          <p:cNvSpPr>
            <a:spLocks noEditPoints="1"/>
          </p:cNvSpPr>
          <p:nvPr/>
        </p:nvSpPr>
        <p:spPr bwMode="auto">
          <a:xfrm>
            <a:off x="3443170" y="4081463"/>
            <a:ext cx="546100" cy="550863"/>
          </a:xfrm>
          <a:custGeom>
            <a:avLst/>
            <a:gdLst>
              <a:gd name="T0" fmla="*/ 58 w 160"/>
              <a:gd name="T1" fmla="*/ 44 h 160"/>
              <a:gd name="T2" fmla="*/ 44 w 160"/>
              <a:gd name="T3" fmla="*/ 58 h 160"/>
              <a:gd name="T4" fmla="*/ 39 w 160"/>
              <a:gd name="T5" fmla="*/ 58 h 160"/>
              <a:gd name="T6" fmla="*/ 25 w 160"/>
              <a:gd name="T7" fmla="*/ 44 h 160"/>
              <a:gd name="T8" fmla="*/ 25 w 160"/>
              <a:gd name="T9" fmla="*/ 39 h 160"/>
              <a:gd name="T10" fmla="*/ 39 w 160"/>
              <a:gd name="T11" fmla="*/ 25 h 160"/>
              <a:gd name="T12" fmla="*/ 44 w 160"/>
              <a:gd name="T13" fmla="*/ 25 h 160"/>
              <a:gd name="T14" fmla="*/ 58 w 160"/>
              <a:gd name="T15" fmla="*/ 39 h 160"/>
              <a:gd name="T16" fmla="*/ 135 w 160"/>
              <a:gd name="T17" fmla="*/ 39 h 160"/>
              <a:gd name="T18" fmla="*/ 99 w 160"/>
              <a:gd name="T19" fmla="*/ 41 h 160"/>
              <a:gd name="T20" fmla="*/ 135 w 160"/>
              <a:gd name="T21" fmla="*/ 44 h 160"/>
              <a:gd name="T22" fmla="*/ 135 w 160"/>
              <a:gd name="T23" fmla="*/ 39 h 160"/>
              <a:gd name="T24" fmla="*/ 160 w 160"/>
              <a:gd name="T25" fmla="*/ 77 h 160"/>
              <a:gd name="T26" fmla="*/ 160 w 160"/>
              <a:gd name="T27" fmla="*/ 160 h 160"/>
              <a:gd name="T28" fmla="*/ 77 w 160"/>
              <a:gd name="T29" fmla="*/ 160 h 160"/>
              <a:gd name="T30" fmla="*/ 0 w 160"/>
              <a:gd name="T31" fmla="*/ 83 h 160"/>
              <a:gd name="T32" fmla="*/ 0 w 160"/>
              <a:gd name="T33" fmla="*/ 0 h 160"/>
              <a:gd name="T34" fmla="*/ 83 w 160"/>
              <a:gd name="T35" fmla="*/ 0 h 160"/>
              <a:gd name="T36" fmla="*/ 6 w 160"/>
              <a:gd name="T37" fmla="*/ 77 h 160"/>
              <a:gd name="T38" fmla="*/ 77 w 160"/>
              <a:gd name="T39" fmla="*/ 6 h 160"/>
              <a:gd name="T40" fmla="*/ 6 w 160"/>
              <a:gd name="T41" fmla="*/ 77 h 160"/>
              <a:gd name="T42" fmla="*/ 77 w 160"/>
              <a:gd name="T43" fmla="*/ 83 h 160"/>
              <a:gd name="T44" fmla="*/ 6 w 160"/>
              <a:gd name="T45" fmla="*/ 154 h 160"/>
              <a:gd name="T46" fmla="*/ 154 w 160"/>
              <a:gd name="T47" fmla="*/ 83 h 160"/>
              <a:gd name="T48" fmla="*/ 83 w 160"/>
              <a:gd name="T49" fmla="*/ 154 h 160"/>
              <a:gd name="T50" fmla="*/ 154 w 160"/>
              <a:gd name="T51" fmla="*/ 83 h 160"/>
              <a:gd name="T52" fmla="*/ 154 w 160"/>
              <a:gd name="T53" fmla="*/ 6 h 160"/>
              <a:gd name="T54" fmla="*/ 83 w 160"/>
              <a:gd name="T55" fmla="*/ 77 h 160"/>
              <a:gd name="T56" fmla="*/ 102 w 160"/>
              <a:gd name="T57" fmla="*/ 130 h 160"/>
              <a:gd name="T58" fmla="*/ 138 w 160"/>
              <a:gd name="T59" fmla="*/ 127 h 160"/>
              <a:gd name="T60" fmla="*/ 102 w 160"/>
              <a:gd name="T61" fmla="*/ 124 h 160"/>
              <a:gd name="T62" fmla="*/ 102 w 160"/>
              <a:gd name="T63" fmla="*/ 130 h 160"/>
              <a:gd name="T64" fmla="*/ 135 w 160"/>
              <a:gd name="T65" fmla="*/ 113 h 160"/>
              <a:gd name="T66" fmla="*/ 135 w 160"/>
              <a:gd name="T67" fmla="*/ 108 h 160"/>
              <a:gd name="T68" fmla="*/ 99 w 160"/>
              <a:gd name="T69" fmla="*/ 110 h 160"/>
              <a:gd name="T70" fmla="*/ 57 w 160"/>
              <a:gd name="T71" fmla="*/ 103 h 160"/>
              <a:gd name="T72" fmla="*/ 41 w 160"/>
              <a:gd name="T73" fmla="*/ 115 h 160"/>
              <a:gd name="T74" fmla="*/ 26 w 160"/>
              <a:gd name="T75" fmla="*/ 103 h 160"/>
              <a:gd name="T76" fmla="*/ 37 w 160"/>
              <a:gd name="T77" fmla="*/ 119 h 160"/>
              <a:gd name="T78" fmla="*/ 26 w 160"/>
              <a:gd name="T79" fmla="*/ 134 h 160"/>
              <a:gd name="T80" fmla="*/ 30 w 160"/>
              <a:gd name="T81" fmla="*/ 134 h 160"/>
              <a:gd name="T82" fmla="*/ 53 w 160"/>
              <a:gd name="T83" fmla="*/ 134 h 160"/>
              <a:gd name="T84" fmla="*/ 57 w 160"/>
              <a:gd name="T85" fmla="*/ 134 h 160"/>
              <a:gd name="T86" fmla="*/ 45 w 160"/>
              <a:gd name="T87" fmla="*/ 119 h 160"/>
              <a:gd name="T88" fmla="*/ 57 w 160"/>
              <a:gd name="T89" fmla="*/ 10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160">
                <a:moveTo>
                  <a:pt x="61" y="41"/>
                </a:moveTo>
                <a:cubicBezTo>
                  <a:pt x="61" y="43"/>
                  <a:pt x="59" y="44"/>
                  <a:pt x="58" y="44"/>
                </a:cubicBezTo>
                <a:cubicBezTo>
                  <a:pt x="44" y="44"/>
                  <a:pt x="44" y="44"/>
                  <a:pt x="44" y="44"/>
                </a:cubicBezTo>
                <a:cubicBezTo>
                  <a:pt x="44" y="58"/>
                  <a:pt x="44" y="58"/>
                  <a:pt x="44" y="58"/>
                </a:cubicBezTo>
                <a:cubicBezTo>
                  <a:pt x="44" y="59"/>
                  <a:pt x="43" y="61"/>
                  <a:pt x="41" y="61"/>
                </a:cubicBezTo>
                <a:cubicBezTo>
                  <a:pt x="40" y="61"/>
                  <a:pt x="39" y="59"/>
                  <a:pt x="39" y="58"/>
                </a:cubicBezTo>
                <a:cubicBezTo>
                  <a:pt x="39" y="44"/>
                  <a:pt x="39" y="44"/>
                  <a:pt x="39" y="44"/>
                </a:cubicBezTo>
                <a:cubicBezTo>
                  <a:pt x="25" y="44"/>
                  <a:pt x="25" y="44"/>
                  <a:pt x="25" y="44"/>
                </a:cubicBezTo>
                <a:cubicBezTo>
                  <a:pt x="23" y="44"/>
                  <a:pt x="22" y="43"/>
                  <a:pt x="22" y="41"/>
                </a:cubicBezTo>
                <a:cubicBezTo>
                  <a:pt x="22" y="40"/>
                  <a:pt x="23" y="39"/>
                  <a:pt x="25" y="39"/>
                </a:cubicBezTo>
                <a:cubicBezTo>
                  <a:pt x="39" y="39"/>
                  <a:pt x="39" y="39"/>
                  <a:pt x="39" y="39"/>
                </a:cubicBezTo>
                <a:cubicBezTo>
                  <a:pt x="39" y="25"/>
                  <a:pt x="39" y="25"/>
                  <a:pt x="39" y="25"/>
                </a:cubicBezTo>
                <a:cubicBezTo>
                  <a:pt x="39" y="23"/>
                  <a:pt x="40" y="22"/>
                  <a:pt x="41" y="22"/>
                </a:cubicBezTo>
                <a:cubicBezTo>
                  <a:pt x="43" y="22"/>
                  <a:pt x="44" y="23"/>
                  <a:pt x="44" y="25"/>
                </a:cubicBezTo>
                <a:cubicBezTo>
                  <a:pt x="44" y="39"/>
                  <a:pt x="44" y="39"/>
                  <a:pt x="44" y="39"/>
                </a:cubicBezTo>
                <a:cubicBezTo>
                  <a:pt x="58" y="39"/>
                  <a:pt x="58" y="39"/>
                  <a:pt x="58" y="39"/>
                </a:cubicBezTo>
                <a:cubicBezTo>
                  <a:pt x="59" y="39"/>
                  <a:pt x="61" y="40"/>
                  <a:pt x="61" y="41"/>
                </a:cubicBezTo>
                <a:close/>
                <a:moveTo>
                  <a:pt x="135" y="39"/>
                </a:moveTo>
                <a:cubicBezTo>
                  <a:pt x="102" y="39"/>
                  <a:pt x="102" y="39"/>
                  <a:pt x="102" y="39"/>
                </a:cubicBezTo>
                <a:cubicBezTo>
                  <a:pt x="101" y="39"/>
                  <a:pt x="99" y="40"/>
                  <a:pt x="99" y="41"/>
                </a:cubicBezTo>
                <a:cubicBezTo>
                  <a:pt x="99" y="43"/>
                  <a:pt x="101" y="44"/>
                  <a:pt x="102" y="44"/>
                </a:cubicBezTo>
                <a:cubicBezTo>
                  <a:pt x="135" y="44"/>
                  <a:pt x="135" y="44"/>
                  <a:pt x="135" y="44"/>
                </a:cubicBezTo>
                <a:cubicBezTo>
                  <a:pt x="137" y="44"/>
                  <a:pt x="138" y="43"/>
                  <a:pt x="138" y="41"/>
                </a:cubicBezTo>
                <a:cubicBezTo>
                  <a:pt x="138" y="40"/>
                  <a:pt x="137" y="39"/>
                  <a:pt x="135" y="39"/>
                </a:cubicBezTo>
                <a:close/>
                <a:moveTo>
                  <a:pt x="160" y="0"/>
                </a:moveTo>
                <a:cubicBezTo>
                  <a:pt x="160" y="77"/>
                  <a:pt x="160" y="77"/>
                  <a:pt x="160" y="77"/>
                </a:cubicBezTo>
                <a:cubicBezTo>
                  <a:pt x="160" y="83"/>
                  <a:pt x="160" y="83"/>
                  <a:pt x="160" y="83"/>
                </a:cubicBezTo>
                <a:cubicBezTo>
                  <a:pt x="160" y="160"/>
                  <a:pt x="160" y="160"/>
                  <a:pt x="160" y="160"/>
                </a:cubicBezTo>
                <a:cubicBezTo>
                  <a:pt x="83" y="160"/>
                  <a:pt x="83" y="160"/>
                  <a:pt x="83" y="160"/>
                </a:cubicBezTo>
                <a:cubicBezTo>
                  <a:pt x="77" y="160"/>
                  <a:pt x="77" y="160"/>
                  <a:pt x="77" y="160"/>
                </a:cubicBezTo>
                <a:cubicBezTo>
                  <a:pt x="0" y="160"/>
                  <a:pt x="0" y="160"/>
                  <a:pt x="0" y="160"/>
                </a:cubicBezTo>
                <a:cubicBezTo>
                  <a:pt x="0" y="83"/>
                  <a:pt x="0" y="83"/>
                  <a:pt x="0" y="83"/>
                </a:cubicBezTo>
                <a:cubicBezTo>
                  <a:pt x="0" y="77"/>
                  <a:pt x="0" y="77"/>
                  <a:pt x="0" y="77"/>
                </a:cubicBezTo>
                <a:cubicBezTo>
                  <a:pt x="0" y="0"/>
                  <a:pt x="0" y="0"/>
                  <a:pt x="0" y="0"/>
                </a:cubicBezTo>
                <a:cubicBezTo>
                  <a:pt x="77" y="0"/>
                  <a:pt x="77" y="0"/>
                  <a:pt x="77" y="0"/>
                </a:cubicBezTo>
                <a:cubicBezTo>
                  <a:pt x="83" y="0"/>
                  <a:pt x="83" y="0"/>
                  <a:pt x="83" y="0"/>
                </a:cubicBezTo>
                <a:lnTo>
                  <a:pt x="160" y="0"/>
                </a:lnTo>
                <a:close/>
                <a:moveTo>
                  <a:pt x="6" y="77"/>
                </a:moveTo>
                <a:cubicBezTo>
                  <a:pt x="77" y="77"/>
                  <a:pt x="77" y="77"/>
                  <a:pt x="77" y="77"/>
                </a:cubicBezTo>
                <a:cubicBezTo>
                  <a:pt x="77" y="6"/>
                  <a:pt x="77" y="6"/>
                  <a:pt x="77" y="6"/>
                </a:cubicBezTo>
                <a:cubicBezTo>
                  <a:pt x="6" y="6"/>
                  <a:pt x="6" y="6"/>
                  <a:pt x="6" y="6"/>
                </a:cubicBezTo>
                <a:lnTo>
                  <a:pt x="6" y="77"/>
                </a:lnTo>
                <a:close/>
                <a:moveTo>
                  <a:pt x="77" y="154"/>
                </a:moveTo>
                <a:cubicBezTo>
                  <a:pt x="77" y="83"/>
                  <a:pt x="77" y="83"/>
                  <a:pt x="77" y="83"/>
                </a:cubicBezTo>
                <a:cubicBezTo>
                  <a:pt x="6" y="83"/>
                  <a:pt x="6" y="83"/>
                  <a:pt x="6" y="83"/>
                </a:cubicBezTo>
                <a:cubicBezTo>
                  <a:pt x="6" y="154"/>
                  <a:pt x="6" y="154"/>
                  <a:pt x="6" y="154"/>
                </a:cubicBezTo>
                <a:lnTo>
                  <a:pt x="77" y="154"/>
                </a:lnTo>
                <a:close/>
                <a:moveTo>
                  <a:pt x="154" y="83"/>
                </a:moveTo>
                <a:cubicBezTo>
                  <a:pt x="83" y="83"/>
                  <a:pt x="83" y="83"/>
                  <a:pt x="83" y="83"/>
                </a:cubicBezTo>
                <a:cubicBezTo>
                  <a:pt x="83" y="154"/>
                  <a:pt x="83" y="154"/>
                  <a:pt x="83" y="154"/>
                </a:cubicBezTo>
                <a:cubicBezTo>
                  <a:pt x="154" y="154"/>
                  <a:pt x="154" y="154"/>
                  <a:pt x="154" y="154"/>
                </a:cubicBezTo>
                <a:lnTo>
                  <a:pt x="154" y="83"/>
                </a:lnTo>
                <a:close/>
                <a:moveTo>
                  <a:pt x="154" y="77"/>
                </a:moveTo>
                <a:cubicBezTo>
                  <a:pt x="154" y="6"/>
                  <a:pt x="154" y="6"/>
                  <a:pt x="154" y="6"/>
                </a:cubicBezTo>
                <a:cubicBezTo>
                  <a:pt x="83" y="6"/>
                  <a:pt x="83" y="6"/>
                  <a:pt x="83" y="6"/>
                </a:cubicBezTo>
                <a:cubicBezTo>
                  <a:pt x="83" y="77"/>
                  <a:pt x="83" y="77"/>
                  <a:pt x="83" y="77"/>
                </a:cubicBezTo>
                <a:lnTo>
                  <a:pt x="154" y="77"/>
                </a:lnTo>
                <a:close/>
                <a:moveTo>
                  <a:pt x="102" y="130"/>
                </a:moveTo>
                <a:cubicBezTo>
                  <a:pt x="135" y="130"/>
                  <a:pt x="135" y="130"/>
                  <a:pt x="135" y="130"/>
                </a:cubicBezTo>
                <a:cubicBezTo>
                  <a:pt x="137" y="130"/>
                  <a:pt x="138" y="128"/>
                  <a:pt x="138" y="127"/>
                </a:cubicBezTo>
                <a:cubicBezTo>
                  <a:pt x="138" y="125"/>
                  <a:pt x="137" y="124"/>
                  <a:pt x="135" y="124"/>
                </a:cubicBezTo>
                <a:cubicBezTo>
                  <a:pt x="102" y="124"/>
                  <a:pt x="102" y="124"/>
                  <a:pt x="102" y="124"/>
                </a:cubicBezTo>
                <a:cubicBezTo>
                  <a:pt x="101" y="124"/>
                  <a:pt x="99" y="125"/>
                  <a:pt x="99" y="127"/>
                </a:cubicBezTo>
                <a:cubicBezTo>
                  <a:pt x="99" y="128"/>
                  <a:pt x="101" y="130"/>
                  <a:pt x="102" y="130"/>
                </a:cubicBezTo>
                <a:close/>
                <a:moveTo>
                  <a:pt x="102" y="113"/>
                </a:moveTo>
                <a:cubicBezTo>
                  <a:pt x="135" y="113"/>
                  <a:pt x="135" y="113"/>
                  <a:pt x="135" y="113"/>
                </a:cubicBezTo>
                <a:cubicBezTo>
                  <a:pt x="137" y="113"/>
                  <a:pt x="138" y="112"/>
                  <a:pt x="138" y="110"/>
                </a:cubicBezTo>
                <a:cubicBezTo>
                  <a:pt x="138" y="109"/>
                  <a:pt x="137" y="108"/>
                  <a:pt x="135" y="108"/>
                </a:cubicBezTo>
                <a:cubicBezTo>
                  <a:pt x="102" y="108"/>
                  <a:pt x="102" y="108"/>
                  <a:pt x="102" y="108"/>
                </a:cubicBezTo>
                <a:cubicBezTo>
                  <a:pt x="101" y="108"/>
                  <a:pt x="99" y="109"/>
                  <a:pt x="99" y="110"/>
                </a:cubicBezTo>
                <a:cubicBezTo>
                  <a:pt x="99" y="112"/>
                  <a:pt x="101" y="113"/>
                  <a:pt x="102" y="113"/>
                </a:cubicBezTo>
                <a:close/>
                <a:moveTo>
                  <a:pt x="57" y="103"/>
                </a:moveTo>
                <a:cubicBezTo>
                  <a:pt x="56" y="102"/>
                  <a:pt x="54" y="102"/>
                  <a:pt x="53" y="103"/>
                </a:cubicBezTo>
                <a:cubicBezTo>
                  <a:pt x="41" y="115"/>
                  <a:pt x="41" y="115"/>
                  <a:pt x="41" y="115"/>
                </a:cubicBezTo>
                <a:cubicBezTo>
                  <a:pt x="30" y="103"/>
                  <a:pt x="30" y="103"/>
                  <a:pt x="30" y="103"/>
                </a:cubicBezTo>
                <a:cubicBezTo>
                  <a:pt x="28" y="102"/>
                  <a:pt x="27" y="102"/>
                  <a:pt x="26" y="103"/>
                </a:cubicBezTo>
                <a:cubicBezTo>
                  <a:pt x="25" y="104"/>
                  <a:pt x="25" y="106"/>
                  <a:pt x="26" y="107"/>
                </a:cubicBezTo>
                <a:cubicBezTo>
                  <a:pt x="37" y="119"/>
                  <a:pt x="37" y="119"/>
                  <a:pt x="37" y="119"/>
                </a:cubicBezTo>
                <a:cubicBezTo>
                  <a:pt x="26" y="130"/>
                  <a:pt x="26" y="130"/>
                  <a:pt x="26" y="130"/>
                </a:cubicBezTo>
                <a:cubicBezTo>
                  <a:pt x="25" y="132"/>
                  <a:pt x="25" y="133"/>
                  <a:pt x="26" y="134"/>
                </a:cubicBezTo>
                <a:cubicBezTo>
                  <a:pt x="26" y="135"/>
                  <a:pt x="27" y="135"/>
                  <a:pt x="28" y="135"/>
                </a:cubicBezTo>
                <a:cubicBezTo>
                  <a:pt x="28" y="135"/>
                  <a:pt x="29" y="135"/>
                  <a:pt x="30" y="134"/>
                </a:cubicBezTo>
                <a:cubicBezTo>
                  <a:pt x="41" y="123"/>
                  <a:pt x="41" y="123"/>
                  <a:pt x="41" y="123"/>
                </a:cubicBezTo>
                <a:cubicBezTo>
                  <a:pt x="53" y="134"/>
                  <a:pt x="53" y="134"/>
                  <a:pt x="53" y="134"/>
                </a:cubicBezTo>
                <a:cubicBezTo>
                  <a:pt x="54" y="135"/>
                  <a:pt x="54" y="135"/>
                  <a:pt x="55" y="135"/>
                </a:cubicBezTo>
                <a:cubicBezTo>
                  <a:pt x="56" y="135"/>
                  <a:pt x="57" y="135"/>
                  <a:pt x="57" y="134"/>
                </a:cubicBezTo>
                <a:cubicBezTo>
                  <a:pt x="58" y="133"/>
                  <a:pt x="58" y="132"/>
                  <a:pt x="57" y="130"/>
                </a:cubicBezTo>
                <a:cubicBezTo>
                  <a:pt x="45" y="119"/>
                  <a:pt x="45" y="119"/>
                  <a:pt x="45" y="119"/>
                </a:cubicBezTo>
                <a:cubicBezTo>
                  <a:pt x="57" y="107"/>
                  <a:pt x="57" y="107"/>
                  <a:pt x="57" y="107"/>
                </a:cubicBezTo>
                <a:cubicBezTo>
                  <a:pt x="58" y="106"/>
                  <a:pt x="58" y="104"/>
                  <a:pt x="57" y="10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83" name="Freeform 1060">
            <a:extLst>
              <a:ext uri="{FF2B5EF4-FFF2-40B4-BE49-F238E27FC236}">
                <a16:creationId xmlns:a16="http://schemas.microsoft.com/office/drawing/2014/main" id="{4DEE2EC2-BE47-B44F-828F-19B73923CA65}"/>
              </a:ext>
            </a:extLst>
          </p:cNvPr>
          <p:cNvSpPr>
            <a:spLocks noEditPoints="1"/>
          </p:cNvSpPr>
          <p:nvPr/>
        </p:nvSpPr>
        <p:spPr bwMode="auto">
          <a:xfrm>
            <a:off x="3443170" y="4700588"/>
            <a:ext cx="546100" cy="539750"/>
          </a:xfrm>
          <a:custGeom>
            <a:avLst/>
            <a:gdLst>
              <a:gd name="T0" fmla="*/ 102 w 160"/>
              <a:gd name="T1" fmla="*/ 3 h 157"/>
              <a:gd name="T2" fmla="*/ 105 w 160"/>
              <a:gd name="T3" fmla="*/ 22 h 157"/>
              <a:gd name="T4" fmla="*/ 118 w 160"/>
              <a:gd name="T5" fmla="*/ 17 h 157"/>
              <a:gd name="T6" fmla="*/ 121 w 160"/>
              <a:gd name="T7" fmla="*/ 36 h 157"/>
              <a:gd name="T8" fmla="*/ 77 w 160"/>
              <a:gd name="T9" fmla="*/ 36 h 157"/>
              <a:gd name="T10" fmla="*/ 6 w 160"/>
              <a:gd name="T11" fmla="*/ 36 h 157"/>
              <a:gd name="T12" fmla="*/ 52 w 160"/>
              <a:gd name="T13" fmla="*/ 17 h 157"/>
              <a:gd name="T14" fmla="*/ 47 w 160"/>
              <a:gd name="T15" fmla="*/ 11 h 157"/>
              <a:gd name="T16" fmla="*/ 55 w 160"/>
              <a:gd name="T17" fmla="*/ 22 h 157"/>
              <a:gd name="T18" fmla="*/ 69 w 160"/>
              <a:gd name="T19" fmla="*/ 14 h 157"/>
              <a:gd name="T20" fmla="*/ 0 w 160"/>
              <a:gd name="T21" fmla="*/ 11 h 157"/>
              <a:gd name="T22" fmla="*/ 0 w 160"/>
              <a:gd name="T23" fmla="*/ 74 h 157"/>
              <a:gd name="T24" fmla="*/ 0 w 160"/>
              <a:gd name="T25" fmla="*/ 119 h 157"/>
              <a:gd name="T26" fmla="*/ 44 w 160"/>
              <a:gd name="T27" fmla="*/ 157 h 157"/>
              <a:gd name="T28" fmla="*/ 116 w 160"/>
              <a:gd name="T29" fmla="*/ 157 h 157"/>
              <a:gd name="T30" fmla="*/ 160 w 160"/>
              <a:gd name="T31" fmla="*/ 119 h 157"/>
              <a:gd name="T32" fmla="*/ 160 w 160"/>
              <a:gd name="T33" fmla="*/ 74 h 157"/>
              <a:gd name="T34" fmla="*/ 160 w 160"/>
              <a:gd name="T35" fmla="*/ 11 h 157"/>
              <a:gd name="T36" fmla="*/ 116 w 160"/>
              <a:gd name="T37" fmla="*/ 41 h 157"/>
              <a:gd name="T38" fmla="*/ 83 w 160"/>
              <a:gd name="T39" fmla="*/ 41 h 157"/>
              <a:gd name="T40" fmla="*/ 83 w 160"/>
              <a:gd name="T41" fmla="*/ 80 h 157"/>
              <a:gd name="T42" fmla="*/ 44 w 160"/>
              <a:gd name="T43" fmla="*/ 80 h 157"/>
              <a:gd name="T44" fmla="*/ 44 w 160"/>
              <a:gd name="T45" fmla="*/ 113 h 157"/>
              <a:gd name="T46" fmla="*/ 77 w 160"/>
              <a:gd name="T47" fmla="*/ 41 h 157"/>
              <a:gd name="T48" fmla="*/ 44 w 160"/>
              <a:gd name="T49" fmla="*/ 41 h 157"/>
              <a:gd name="T50" fmla="*/ 39 w 160"/>
              <a:gd name="T51" fmla="*/ 41 h 157"/>
              <a:gd name="T52" fmla="*/ 6 w 160"/>
              <a:gd name="T53" fmla="*/ 44 h 157"/>
              <a:gd name="T54" fmla="*/ 39 w 160"/>
              <a:gd name="T55" fmla="*/ 113 h 157"/>
              <a:gd name="T56" fmla="*/ 6 w 160"/>
              <a:gd name="T57" fmla="*/ 152 h 157"/>
              <a:gd name="T58" fmla="*/ 39 w 160"/>
              <a:gd name="T59" fmla="*/ 152 h 157"/>
              <a:gd name="T60" fmla="*/ 44 w 160"/>
              <a:gd name="T61" fmla="*/ 119 h 157"/>
              <a:gd name="T62" fmla="*/ 44 w 160"/>
              <a:gd name="T63" fmla="*/ 152 h 157"/>
              <a:gd name="T64" fmla="*/ 116 w 160"/>
              <a:gd name="T65" fmla="*/ 119 h 157"/>
              <a:gd name="T66" fmla="*/ 154 w 160"/>
              <a:gd name="T67" fmla="*/ 152 h 157"/>
              <a:gd name="T68" fmla="*/ 154 w 160"/>
              <a:gd name="T69" fmla="*/ 119 h 157"/>
              <a:gd name="T70" fmla="*/ 121 w 160"/>
              <a:gd name="T71" fmla="*/ 113 h 157"/>
              <a:gd name="T72" fmla="*/ 154 w 160"/>
              <a:gd name="T73" fmla="*/ 113 h 157"/>
              <a:gd name="T74" fmla="*/ 154 w 160"/>
              <a:gd name="T75" fmla="*/ 41 h 157"/>
              <a:gd name="T76" fmla="*/ 121 w 160"/>
              <a:gd name="T77" fmla="*/ 74 h 157"/>
              <a:gd name="T78" fmla="*/ 86 w 160"/>
              <a:gd name="T79" fmla="*/ 14 h 157"/>
              <a:gd name="T80" fmla="*/ 72 w 160"/>
              <a:gd name="T81" fmla="*/ 22 h 157"/>
              <a:gd name="T82" fmla="*/ 69 w 160"/>
              <a:gd name="T83" fmla="*/ 3 h 157"/>
              <a:gd name="T84" fmla="*/ 102 w 160"/>
              <a:gd name="T85" fmla="*/ 14 h 157"/>
              <a:gd name="T86" fmla="*/ 88 w 160"/>
              <a:gd name="T87" fmla="*/ 22 h 157"/>
              <a:gd name="T88" fmla="*/ 86 w 160"/>
              <a:gd name="T89" fmla="*/ 3 h 157"/>
              <a:gd name="T90" fmla="*/ 86 w 160"/>
              <a:gd name="T91" fmla="*/ 87 h 157"/>
              <a:gd name="T92" fmla="*/ 99 w 160"/>
              <a:gd name="T93" fmla="*/ 93 h 157"/>
              <a:gd name="T94" fmla="*/ 112 w 160"/>
              <a:gd name="T95" fmla="*/ 87 h 157"/>
              <a:gd name="T96" fmla="*/ 112 w 160"/>
              <a:gd name="T97" fmla="*/ 110 h 157"/>
              <a:gd name="T98" fmla="*/ 99 w 160"/>
              <a:gd name="T99" fmla="*/ 100 h 157"/>
              <a:gd name="T100" fmla="*/ 86 w 160"/>
              <a:gd name="T101" fmla="*/ 11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157">
                <a:moveTo>
                  <a:pt x="118" y="11"/>
                </a:moveTo>
                <a:cubicBezTo>
                  <a:pt x="117" y="5"/>
                  <a:pt x="111" y="0"/>
                  <a:pt x="105" y="0"/>
                </a:cubicBezTo>
                <a:cubicBezTo>
                  <a:pt x="103" y="0"/>
                  <a:pt x="102" y="1"/>
                  <a:pt x="102" y="3"/>
                </a:cubicBezTo>
                <a:cubicBezTo>
                  <a:pt x="102" y="4"/>
                  <a:pt x="103" y="6"/>
                  <a:pt x="105" y="6"/>
                </a:cubicBezTo>
                <a:cubicBezTo>
                  <a:pt x="109" y="6"/>
                  <a:pt x="113" y="9"/>
                  <a:pt x="113" y="14"/>
                </a:cubicBezTo>
                <a:cubicBezTo>
                  <a:pt x="113" y="18"/>
                  <a:pt x="109" y="22"/>
                  <a:pt x="105" y="22"/>
                </a:cubicBezTo>
                <a:cubicBezTo>
                  <a:pt x="103" y="22"/>
                  <a:pt x="102" y="23"/>
                  <a:pt x="102" y="25"/>
                </a:cubicBezTo>
                <a:cubicBezTo>
                  <a:pt x="102" y="26"/>
                  <a:pt x="103" y="28"/>
                  <a:pt x="105" y="28"/>
                </a:cubicBezTo>
                <a:cubicBezTo>
                  <a:pt x="111" y="28"/>
                  <a:pt x="117" y="23"/>
                  <a:pt x="118" y="17"/>
                </a:cubicBezTo>
                <a:cubicBezTo>
                  <a:pt x="154" y="17"/>
                  <a:pt x="154" y="17"/>
                  <a:pt x="154" y="17"/>
                </a:cubicBezTo>
                <a:cubicBezTo>
                  <a:pt x="154" y="36"/>
                  <a:pt x="154" y="36"/>
                  <a:pt x="154" y="36"/>
                </a:cubicBezTo>
                <a:cubicBezTo>
                  <a:pt x="121" y="36"/>
                  <a:pt x="121" y="36"/>
                  <a:pt x="121" y="36"/>
                </a:cubicBezTo>
                <a:cubicBezTo>
                  <a:pt x="116" y="36"/>
                  <a:pt x="116" y="36"/>
                  <a:pt x="116" y="36"/>
                </a:cubicBezTo>
                <a:cubicBezTo>
                  <a:pt x="83" y="36"/>
                  <a:pt x="83" y="36"/>
                  <a:pt x="83" y="36"/>
                </a:cubicBezTo>
                <a:cubicBezTo>
                  <a:pt x="77" y="36"/>
                  <a:pt x="77" y="36"/>
                  <a:pt x="77" y="36"/>
                </a:cubicBezTo>
                <a:cubicBezTo>
                  <a:pt x="44" y="36"/>
                  <a:pt x="44" y="36"/>
                  <a:pt x="44" y="36"/>
                </a:cubicBezTo>
                <a:cubicBezTo>
                  <a:pt x="39" y="36"/>
                  <a:pt x="39" y="36"/>
                  <a:pt x="39" y="36"/>
                </a:cubicBezTo>
                <a:cubicBezTo>
                  <a:pt x="6" y="36"/>
                  <a:pt x="6" y="36"/>
                  <a:pt x="6" y="36"/>
                </a:cubicBezTo>
                <a:cubicBezTo>
                  <a:pt x="6" y="17"/>
                  <a:pt x="6" y="17"/>
                  <a:pt x="6" y="17"/>
                </a:cubicBezTo>
                <a:cubicBezTo>
                  <a:pt x="44" y="17"/>
                  <a:pt x="44" y="17"/>
                  <a:pt x="44" y="17"/>
                </a:cubicBezTo>
                <a:cubicBezTo>
                  <a:pt x="52" y="17"/>
                  <a:pt x="52" y="17"/>
                  <a:pt x="52" y="17"/>
                </a:cubicBezTo>
                <a:cubicBezTo>
                  <a:pt x="54" y="17"/>
                  <a:pt x="55" y="15"/>
                  <a:pt x="55" y="14"/>
                </a:cubicBezTo>
                <a:cubicBezTo>
                  <a:pt x="55" y="12"/>
                  <a:pt x="54" y="11"/>
                  <a:pt x="52" y="11"/>
                </a:cubicBezTo>
                <a:cubicBezTo>
                  <a:pt x="47" y="11"/>
                  <a:pt x="47" y="11"/>
                  <a:pt x="47" y="11"/>
                </a:cubicBezTo>
                <a:cubicBezTo>
                  <a:pt x="49" y="8"/>
                  <a:pt x="52" y="6"/>
                  <a:pt x="55" y="6"/>
                </a:cubicBezTo>
                <a:cubicBezTo>
                  <a:pt x="60" y="6"/>
                  <a:pt x="63" y="9"/>
                  <a:pt x="63" y="14"/>
                </a:cubicBezTo>
                <a:cubicBezTo>
                  <a:pt x="63" y="18"/>
                  <a:pt x="60" y="22"/>
                  <a:pt x="55" y="22"/>
                </a:cubicBezTo>
                <a:cubicBezTo>
                  <a:pt x="54" y="22"/>
                  <a:pt x="52" y="23"/>
                  <a:pt x="52" y="25"/>
                </a:cubicBezTo>
                <a:cubicBezTo>
                  <a:pt x="52" y="26"/>
                  <a:pt x="54" y="28"/>
                  <a:pt x="55" y="28"/>
                </a:cubicBezTo>
                <a:cubicBezTo>
                  <a:pt x="63" y="28"/>
                  <a:pt x="69" y="21"/>
                  <a:pt x="69" y="14"/>
                </a:cubicBezTo>
                <a:cubicBezTo>
                  <a:pt x="69" y="6"/>
                  <a:pt x="63" y="0"/>
                  <a:pt x="55" y="0"/>
                </a:cubicBezTo>
                <a:cubicBezTo>
                  <a:pt x="49" y="0"/>
                  <a:pt x="43" y="5"/>
                  <a:pt x="42" y="11"/>
                </a:cubicBezTo>
                <a:cubicBezTo>
                  <a:pt x="0" y="11"/>
                  <a:pt x="0" y="11"/>
                  <a:pt x="0" y="11"/>
                </a:cubicBezTo>
                <a:cubicBezTo>
                  <a:pt x="0" y="36"/>
                  <a:pt x="0" y="36"/>
                  <a:pt x="0" y="36"/>
                </a:cubicBezTo>
                <a:cubicBezTo>
                  <a:pt x="0" y="44"/>
                  <a:pt x="0" y="44"/>
                  <a:pt x="0" y="44"/>
                </a:cubicBezTo>
                <a:cubicBezTo>
                  <a:pt x="0" y="74"/>
                  <a:pt x="0" y="74"/>
                  <a:pt x="0" y="74"/>
                </a:cubicBezTo>
                <a:cubicBezTo>
                  <a:pt x="0" y="80"/>
                  <a:pt x="0" y="80"/>
                  <a:pt x="0" y="80"/>
                </a:cubicBezTo>
                <a:cubicBezTo>
                  <a:pt x="0" y="113"/>
                  <a:pt x="0" y="113"/>
                  <a:pt x="0" y="113"/>
                </a:cubicBezTo>
                <a:cubicBezTo>
                  <a:pt x="0" y="119"/>
                  <a:pt x="0" y="119"/>
                  <a:pt x="0" y="119"/>
                </a:cubicBezTo>
                <a:cubicBezTo>
                  <a:pt x="0" y="157"/>
                  <a:pt x="0" y="157"/>
                  <a:pt x="0" y="157"/>
                </a:cubicBezTo>
                <a:cubicBezTo>
                  <a:pt x="39" y="157"/>
                  <a:pt x="39" y="157"/>
                  <a:pt x="39" y="157"/>
                </a:cubicBezTo>
                <a:cubicBezTo>
                  <a:pt x="44" y="157"/>
                  <a:pt x="44" y="157"/>
                  <a:pt x="44" y="157"/>
                </a:cubicBezTo>
                <a:cubicBezTo>
                  <a:pt x="77" y="157"/>
                  <a:pt x="77" y="157"/>
                  <a:pt x="77" y="157"/>
                </a:cubicBezTo>
                <a:cubicBezTo>
                  <a:pt x="83" y="157"/>
                  <a:pt x="83" y="157"/>
                  <a:pt x="83" y="157"/>
                </a:cubicBezTo>
                <a:cubicBezTo>
                  <a:pt x="116" y="157"/>
                  <a:pt x="116" y="157"/>
                  <a:pt x="116" y="157"/>
                </a:cubicBezTo>
                <a:cubicBezTo>
                  <a:pt x="121" y="157"/>
                  <a:pt x="121" y="157"/>
                  <a:pt x="121" y="157"/>
                </a:cubicBezTo>
                <a:cubicBezTo>
                  <a:pt x="160" y="157"/>
                  <a:pt x="160" y="157"/>
                  <a:pt x="160" y="157"/>
                </a:cubicBezTo>
                <a:cubicBezTo>
                  <a:pt x="160" y="119"/>
                  <a:pt x="160" y="119"/>
                  <a:pt x="160" y="119"/>
                </a:cubicBezTo>
                <a:cubicBezTo>
                  <a:pt x="160" y="113"/>
                  <a:pt x="160" y="113"/>
                  <a:pt x="160" y="113"/>
                </a:cubicBezTo>
                <a:cubicBezTo>
                  <a:pt x="160" y="80"/>
                  <a:pt x="160" y="80"/>
                  <a:pt x="160" y="80"/>
                </a:cubicBezTo>
                <a:cubicBezTo>
                  <a:pt x="160" y="74"/>
                  <a:pt x="160" y="74"/>
                  <a:pt x="160" y="74"/>
                </a:cubicBezTo>
                <a:cubicBezTo>
                  <a:pt x="160" y="44"/>
                  <a:pt x="160" y="44"/>
                  <a:pt x="160" y="44"/>
                </a:cubicBezTo>
                <a:cubicBezTo>
                  <a:pt x="160" y="36"/>
                  <a:pt x="160" y="36"/>
                  <a:pt x="160" y="36"/>
                </a:cubicBezTo>
                <a:cubicBezTo>
                  <a:pt x="160" y="11"/>
                  <a:pt x="160" y="11"/>
                  <a:pt x="160" y="11"/>
                </a:cubicBezTo>
                <a:lnTo>
                  <a:pt x="118" y="11"/>
                </a:lnTo>
                <a:close/>
                <a:moveTo>
                  <a:pt x="83" y="41"/>
                </a:moveTo>
                <a:cubicBezTo>
                  <a:pt x="116" y="41"/>
                  <a:pt x="116" y="41"/>
                  <a:pt x="116" y="41"/>
                </a:cubicBezTo>
                <a:cubicBezTo>
                  <a:pt x="116" y="74"/>
                  <a:pt x="116" y="74"/>
                  <a:pt x="116" y="74"/>
                </a:cubicBezTo>
                <a:cubicBezTo>
                  <a:pt x="83" y="74"/>
                  <a:pt x="83" y="74"/>
                  <a:pt x="83" y="74"/>
                </a:cubicBezTo>
                <a:lnTo>
                  <a:pt x="83" y="41"/>
                </a:lnTo>
                <a:close/>
                <a:moveTo>
                  <a:pt x="116" y="113"/>
                </a:moveTo>
                <a:cubicBezTo>
                  <a:pt x="83" y="113"/>
                  <a:pt x="83" y="113"/>
                  <a:pt x="83" y="113"/>
                </a:cubicBezTo>
                <a:cubicBezTo>
                  <a:pt x="83" y="80"/>
                  <a:pt x="83" y="80"/>
                  <a:pt x="83" y="80"/>
                </a:cubicBezTo>
                <a:cubicBezTo>
                  <a:pt x="116" y="80"/>
                  <a:pt x="116" y="80"/>
                  <a:pt x="116" y="80"/>
                </a:cubicBezTo>
                <a:lnTo>
                  <a:pt x="116" y="113"/>
                </a:lnTo>
                <a:close/>
                <a:moveTo>
                  <a:pt x="44" y="80"/>
                </a:moveTo>
                <a:cubicBezTo>
                  <a:pt x="77" y="80"/>
                  <a:pt x="77" y="80"/>
                  <a:pt x="77" y="80"/>
                </a:cubicBezTo>
                <a:cubicBezTo>
                  <a:pt x="77" y="113"/>
                  <a:pt x="77" y="113"/>
                  <a:pt x="77" y="113"/>
                </a:cubicBezTo>
                <a:cubicBezTo>
                  <a:pt x="44" y="113"/>
                  <a:pt x="44" y="113"/>
                  <a:pt x="44" y="113"/>
                </a:cubicBezTo>
                <a:lnTo>
                  <a:pt x="44" y="80"/>
                </a:lnTo>
                <a:close/>
                <a:moveTo>
                  <a:pt x="44" y="41"/>
                </a:moveTo>
                <a:cubicBezTo>
                  <a:pt x="77" y="41"/>
                  <a:pt x="77" y="41"/>
                  <a:pt x="77" y="41"/>
                </a:cubicBezTo>
                <a:cubicBezTo>
                  <a:pt x="77" y="74"/>
                  <a:pt x="77" y="74"/>
                  <a:pt x="77" y="74"/>
                </a:cubicBezTo>
                <a:cubicBezTo>
                  <a:pt x="44" y="74"/>
                  <a:pt x="44" y="74"/>
                  <a:pt x="44" y="74"/>
                </a:cubicBezTo>
                <a:lnTo>
                  <a:pt x="44" y="41"/>
                </a:lnTo>
                <a:close/>
                <a:moveTo>
                  <a:pt x="6" y="44"/>
                </a:moveTo>
                <a:cubicBezTo>
                  <a:pt x="6" y="41"/>
                  <a:pt x="6" y="41"/>
                  <a:pt x="6" y="41"/>
                </a:cubicBezTo>
                <a:cubicBezTo>
                  <a:pt x="39" y="41"/>
                  <a:pt x="39" y="41"/>
                  <a:pt x="39" y="41"/>
                </a:cubicBezTo>
                <a:cubicBezTo>
                  <a:pt x="39" y="74"/>
                  <a:pt x="39" y="74"/>
                  <a:pt x="39" y="74"/>
                </a:cubicBezTo>
                <a:cubicBezTo>
                  <a:pt x="6" y="74"/>
                  <a:pt x="6" y="74"/>
                  <a:pt x="6" y="74"/>
                </a:cubicBezTo>
                <a:lnTo>
                  <a:pt x="6" y="44"/>
                </a:lnTo>
                <a:close/>
                <a:moveTo>
                  <a:pt x="6" y="80"/>
                </a:moveTo>
                <a:cubicBezTo>
                  <a:pt x="39" y="80"/>
                  <a:pt x="39" y="80"/>
                  <a:pt x="39" y="80"/>
                </a:cubicBezTo>
                <a:cubicBezTo>
                  <a:pt x="39" y="113"/>
                  <a:pt x="39" y="113"/>
                  <a:pt x="39" y="113"/>
                </a:cubicBezTo>
                <a:cubicBezTo>
                  <a:pt x="6" y="113"/>
                  <a:pt x="6" y="113"/>
                  <a:pt x="6" y="113"/>
                </a:cubicBezTo>
                <a:lnTo>
                  <a:pt x="6" y="80"/>
                </a:lnTo>
                <a:close/>
                <a:moveTo>
                  <a:pt x="6" y="152"/>
                </a:moveTo>
                <a:cubicBezTo>
                  <a:pt x="6" y="119"/>
                  <a:pt x="6" y="119"/>
                  <a:pt x="6" y="119"/>
                </a:cubicBezTo>
                <a:cubicBezTo>
                  <a:pt x="39" y="119"/>
                  <a:pt x="39" y="119"/>
                  <a:pt x="39" y="119"/>
                </a:cubicBezTo>
                <a:cubicBezTo>
                  <a:pt x="39" y="152"/>
                  <a:pt x="39" y="152"/>
                  <a:pt x="39" y="152"/>
                </a:cubicBezTo>
                <a:lnTo>
                  <a:pt x="6" y="152"/>
                </a:lnTo>
                <a:close/>
                <a:moveTo>
                  <a:pt x="44" y="152"/>
                </a:moveTo>
                <a:cubicBezTo>
                  <a:pt x="44" y="119"/>
                  <a:pt x="44" y="119"/>
                  <a:pt x="44" y="119"/>
                </a:cubicBezTo>
                <a:cubicBezTo>
                  <a:pt x="77" y="119"/>
                  <a:pt x="77" y="119"/>
                  <a:pt x="77" y="119"/>
                </a:cubicBezTo>
                <a:cubicBezTo>
                  <a:pt x="77" y="152"/>
                  <a:pt x="77" y="152"/>
                  <a:pt x="77" y="152"/>
                </a:cubicBezTo>
                <a:lnTo>
                  <a:pt x="44" y="152"/>
                </a:lnTo>
                <a:close/>
                <a:moveTo>
                  <a:pt x="83" y="152"/>
                </a:moveTo>
                <a:cubicBezTo>
                  <a:pt x="83" y="119"/>
                  <a:pt x="83" y="119"/>
                  <a:pt x="83" y="119"/>
                </a:cubicBezTo>
                <a:cubicBezTo>
                  <a:pt x="116" y="119"/>
                  <a:pt x="116" y="119"/>
                  <a:pt x="116" y="119"/>
                </a:cubicBezTo>
                <a:cubicBezTo>
                  <a:pt x="116" y="152"/>
                  <a:pt x="116" y="152"/>
                  <a:pt x="116" y="152"/>
                </a:cubicBezTo>
                <a:lnTo>
                  <a:pt x="83" y="152"/>
                </a:lnTo>
                <a:close/>
                <a:moveTo>
                  <a:pt x="154" y="152"/>
                </a:moveTo>
                <a:cubicBezTo>
                  <a:pt x="121" y="152"/>
                  <a:pt x="121" y="152"/>
                  <a:pt x="121" y="152"/>
                </a:cubicBezTo>
                <a:cubicBezTo>
                  <a:pt x="121" y="119"/>
                  <a:pt x="121" y="119"/>
                  <a:pt x="121" y="119"/>
                </a:cubicBezTo>
                <a:cubicBezTo>
                  <a:pt x="154" y="119"/>
                  <a:pt x="154" y="119"/>
                  <a:pt x="154" y="119"/>
                </a:cubicBezTo>
                <a:lnTo>
                  <a:pt x="154" y="152"/>
                </a:lnTo>
                <a:close/>
                <a:moveTo>
                  <a:pt x="154" y="113"/>
                </a:moveTo>
                <a:cubicBezTo>
                  <a:pt x="121" y="113"/>
                  <a:pt x="121" y="113"/>
                  <a:pt x="121" y="113"/>
                </a:cubicBezTo>
                <a:cubicBezTo>
                  <a:pt x="121" y="80"/>
                  <a:pt x="121" y="80"/>
                  <a:pt x="121" y="80"/>
                </a:cubicBezTo>
                <a:cubicBezTo>
                  <a:pt x="154" y="80"/>
                  <a:pt x="154" y="80"/>
                  <a:pt x="154" y="80"/>
                </a:cubicBezTo>
                <a:lnTo>
                  <a:pt x="154" y="113"/>
                </a:lnTo>
                <a:close/>
                <a:moveTo>
                  <a:pt x="121" y="74"/>
                </a:moveTo>
                <a:cubicBezTo>
                  <a:pt x="121" y="41"/>
                  <a:pt x="121" y="41"/>
                  <a:pt x="121" y="41"/>
                </a:cubicBezTo>
                <a:cubicBezTo>
                  <a:pt x="154" y="41"/>
                  <a:pt x="154" y="41"/>
                  <a:pt x="154" y="41"/>
                </a:cubicBezTo>
                <a:cubicBezTo>
                  <a:pt x="154" y="44"/>
                  <a:pt x="154" y="44"/>
                  <a:pt x="154" y="44"/>
                </a:cubicBezTo>
                <a:cubicBezTo>
                  <a:pt x="154" y="74"/>
                  <a:pt x="154" y="74"/>
                  <a:pt x="154" y="74"/>
                </a:cubicBezTo>
                <a:lnTo>
                  <a:pt x="121" y="74"/>
                </a:lnTo>
                <a:close/>
                <a:moveTo>
                  <a:pt x="69" y="3"/>
                </a:moveTo>
                <a:cubicBezTo>
                  <a:pt x="69" y="1"/>
                  <a:pt x="70" y="0"/>
                  <a:pt x="72" y="0"/>
                </a:cubicBezTo>
                <a:cubicBezTo>
                  <a:pt x="79" y="0"/>
                  <a:pt x="86" y="6"/>
                  <a:pt x="86" y="14"/>
                </a:cubicBezTo>
                <a:cubicBezTo>
                  <a:pt x="86" y="21"/>
                  <a:pt x="79" y="28"/>
                  <a:pt x="72" y="28"/>
                </a:cubicBezTo>
                <a:cubicBezTo>
                  <a:pt x="70" y="28"/>
                  <a:pt x="69" y="26"/>
                  <a:pt x="69" y="25"/>
                </a:cubicBezTo>
                <a:cubicBezTo>
                  <a:pt x="69" y="23"/>
                  <a:pt x="70" y="22"/>
                  <a:pt x="72" y="22"/>
                </a:cubicBezTo>
                <a:cubicBezTo>
                  <a:pt x="76" y="22"/>
                  <a:pt x="80" y="18"/>
                  <a:pt x="80" y="14"/>
                </a:cubicBezTo>
                <a:cubicBezTo>
                  <a:pt x="80" y="9"/>
                  <a:pt x="76" y="6"/>
                  <a:pt x="72" y="6"/>
                </a:cubicBezTo>
                <a:cubicBezTo>
                  <a:pt x="70" y="6"/>
                  <a:pt x="69" y="4"/>
                  <a:pt x="69" y="3"/>
                </a:cubicBezTo>
                <a:close/>
                <a:moveTo>
                  <a:pt x="86" y="3"/>
                </a:moveTo>
                <a:cubicBezTo>
                  <a:pt x="86" y="1"/>
                  <a:pt x="87" y="0"/>
                  <a:pt x="88" y="0"/>
                </a:cubicBezTo>
                <a:cubicBezTo>
                  <a:pt x="96" y="0"/>
                  <a:pt x="102" y="6"/>
                  <a:pt x="102" y="14"/>
                </a:cubicBezTo>
                <a:cubicBezTo>
                  <a:pt x="102" y="21"/>
                  <a:pt x="96" y="28"/>
                  <a:pt x="88" y="28"/>
                </a:cubicBezTo>
                <a:cubicBezTo>
                  <a:pt x="87" y="28"/>
                  <a:pt x="86" y="26"/>
                  <a:pt x="86" y="25"/>
                </a:cubicBezTo>
                <a:cubicBezTo>
                  <a:pt x="86" y="23"/>
                  <a:pt x="87" y="22"/>
                  <a:pt x="88" y="22"/>
                </a:cubicBezTo>
                <a:cubicBezTo>
                  <a:pt x="93" y="22"/>
                  <a:pt x="97" y="18"/>
                  <a:pt x="97" y="14"/>
                </a:cubicBezTo>
                <a:cubicBezTo>
                  <a:pt x="97" y="9"/>
                  <a:pt x="93" y="6"/>
                  <a:pt x="88" y="6"/>
                </a:cubicBezTo>
                <a:cubicBezTo>
                  <a:pt x="87" y="6"/>
                  <a:pt x="86" y="4"/>
                  <a:pt x="86" y="3"/>
                </a:cubicBezTo>
                <a:close/>
                <a:moveTo>
                  <a:pt x="86" y="106"/>
                </a:moveTo>
                <a:cubicBezTo>
                  <a:pt x="95" y="97"/>
                  <a:pt x="95" y="97"/>
                  <a:pt x="95" y="97"/>
                </a:cubicBezTo>
                <a:cubicBezTo>
                  <a:pt x="86" y="87"/>
                  <a:pt x="86" y="87"/>
                  <a:pt x="86" y="87"/>
                </a:cubicBezTo>
                <a:cubicBezTo>
                  <a:pt x="85" y="86"/>
                  <a:pt x="85" y="85"/>
                  <a:pt x="86" y="84"/>
                </a:cubicBezTo>
                <a:cubicBezTo>
                  <a:pt x="87" y="82"/>
                  <a:pt x="89" y="82"/>
                  <a:pt x="90" y="84"/>
                </a:cubicBezTo>
                <a:cubicBezTo>
                  <a:pt x="99" y="93"/>
                  <a:pt x="99" y="93"/>
                  <a:pt x="99" y="93"/>
                </a:cubicBezTo>
                <a:cubicBezTo>
                  <a:pt x="108" y="84"/>
                  <a:pt x="108" y="84"/>
                  <a:pt x="108" y="84"/>
                </a:cubicBezTo>
                <a:cubicBezTo>
                  <a:pt x="109" y="82"/>
                  <a:pt x="111" y="82"/>
                  <a:pt x="112" y="84"/>
                </a:cubicBezTo>
                <a:cubicBezTo>
                  <a:pt x="113" y="85"/>
                  <a:pt x="113" y="86"/>
                  <a:pt x="112" y="87"/>
                </a:cubicBezTo>
                <a:cubicBezTo>
                  <a:pt x="103" y="97"/>
                  <a:pt x="103" y="97"/>
                  <a:pt x="103" y="97"/>
                </a:cubicBezTo>
                <a:cubicBezTo>
                  <a:pt x="112" y="106"/>
                  <a:pt x="112" y="106"/>
                  <a:pt x="112" y="106"/>
                </a:cubicBezTo>
                <a:cubicBezTo>
                  <a:pt x="113" y="107"/>
                  <a:pt x="113" y="108"/>
                  <a:pt x="112" y="110"/>
                </a:cubicBezTo>
                <a:cubicBezTo>
                  <a:pt x="112" y="110"/>
                  <a:pt x="111" y="110"/>
                  <a:pt x="110" y="110"/>
                </a:cubicBezTo>
                <a:cubicBezTo>
                  <a:pt x="110" y="110"/>
                  <a:pt x="109" y="110"/>
                  <a:pt x="108" y="110"/>
                </a:cubicBezTo>
                <a:cubicBezTo>
                  <a:pt x="99" y="100"/>
                  <a:pt x="99" y="100"/>
                  <a:pt x="99" y="100"/>
                </a:cubicBezTo>
                <a:cubicBezTo>
                  <a:pt x="90" y="110"/>
                  <a:pt x="90" y="110"/>
                  <a:pt x="90" y="110"/>
                </a:cubicBezTo>
                <a:cubicBezTo>
                  <a:pt x="90" y="110"/>
                  <a:pt x="89" y="110"/>
                  <a:pt x="88" y="110"/>
                </a:cubicBezTo>
                <a:cubicBezTo>
                  <a:pt x="88" y="110"/>
                  <a:pt x="87" y="110"/>
                  <a:pt x="86" y="110"/>
                </a:cubicBezTo>
                <a:cubicBezTo>
                  <a:pt x="85" y="108"/>
                  <a:pt x="85" y="107"/>
                  <a:pt x="86" y="10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Freeform 1061">
            <a:extLst>
              <a:ext uri="{FF2B5EF4-FFF2-40B4-BE49-F238E27FC236}">
                <a16:creationId xmlns:a16="http://schemas.microsoft.com/office/drawing/2014/main" id="{4080ABF7-F119-FD42-98C9-C1266F430567}"/>
              </a:ext>
            </a:extLst>
          </p:cNvPr>
          <p:cNvSpPr>
            <a:spLocks noEditPoints="1"/>
          </p:cNvSpPr>
          <p:nvPr/>
        </p:nvSpPr>
        <p:spPr bwMode="auto">
          <a:xfrm>
            <a:off x="3443170" y="5319713"/>
            <a:ext cx="546100" cy="539750"/>
          </a:xfrm>
          <a:custGeom>
            <a:avLst/>
            <a:gdLst>
              <a:gd name="T0" fmla="*/ 102 w 160"/>
              <a:gd name="T1" fmla="*/ 3 h 157"/>
              <a:gd name="T2" fmla="*/ 105 w 160"/>
              <a:gd name="T3" fmla="*/ 22 h 157"/>
              <a:gd name="T4" fmla="*/ 118 w 160"/>
              <a:gd name="T5" fmla="*/ 17 h 157"/>
              <a:gd name="T6" fmla="*/ 6 w 160"/>
              <a:gd name="T7" fmla="*/ 41 h 157"/>
              <a:gd name="T8" fmla="*/ 52 w 160"/>
              <a:gd name="T9" fmla="*/ 17 h 157"/>
              <a:gd name="T10" fmla="*/ 47 w 160"/>
              <a:gd name="T11" fmla="*/ 11 h 157"/>
              <a:gd name="T12" fmla="*/ 55 w 160"/>
              <a:gd name="T13" fmla="*/ 22 h 157"/>
              <a:gd name="T14" fmla="*/ 69 w 160"/>
              <a:gd name="T15" fmla="*/ 14 h 157"/>
              <a:gd name="T16" fmla="*/ 0 w 160"/>
              <a:gd name="T17" fmla="*/ 11 h 157"/>
              <a:gd name="T18" fmla="*/ 160 w 160"/>
              <a:gd name="T19" fmla="*/ 157 h 157"/>
              <a:gd name="T20" fmla="*/ 118 w 160"/>
              <a:gd name="T21" fmla="*/ 11 h 157"/>
              <a:gd name="T22" fmla="*/ 6 w 160"/>
              <a:gd name="T23" fmla="*/ 47 h 157"/>
              <a:gd name="T24" fmla="*/ 69 w 160"/>
              <a:gd name="T25" fmla="*/ 3 h 157"/>
              <a:gd name="T26" fmla="*/ 72 w 160"/>
              <a:gd name="T27" fmla="*/ 28 h 157"/>
              <a:gd name="T28" fmla="*/ 80 w 160"/>
              <a:gd name="T29" fmla="*/ 14 h 157"/>
              <a:gd name="T30" fmla="*/ 86 w 160"/>
              <a:gd name="T31" fmla="*/ 3 h 157"/>
              <a:gd name="T32" fmla="*/ 88 w 160"/>
              <a:gd name="T33" fmla="*/ 28 h 157"/>
              <a:gd name="T34" fmla="*/ 97 w 160"/>
              <a:gd name="T35" fmla="*/ 14 h 157"/>
              <a:gd name="T36" fmla="*/ 22 w 160"/>
              <a:gd name="T37" fmla="*/ 66 h 157"/>
              <a:gd name="T38" fmla="*/ 88 w 160"/>
              <a:gd name="T39" fmla="*/ 66 h 157"/>
              <a:gd name="T40" fmla="*/ 22 w 160"/>
              <a:gd name="T41" fmla="*/ 66 h 157"/>
              <a:gd name="T42" fmla="*/ 94 w 160"/>
              <a:gd name="T43" fmla="*/ 113 h 157"/>
              <a:gd name="T44" fmla="*/ 135 w 160"/>
              <a:gd name="T45" fmla="*/ 108 h 157"/>
              <a:gd name="T46" fmla="*/ 25 w 160"/>
              <a:gd name="T47" fmla="*/ 86 h 157"/>
              <a:gd name="T48" fmla="*/ 52 w 160"/>
              <a:gd name="T49" fmla="*/ 91 h 157"/>
              <a:gd name="T50" fmla="*/ 138 w 160"/>
              <a:gd name="T51" fmla="*/ 132 h 157"/>
              <a:gd name="T52" fmla="*/ 105 w 160"/>
              <a:gd name="T53" fmla="*/ 132 h 157"/>
              <a:gd name="T54" fmla="*/ 138 w 160"/>
              <a:gd name="T55" fmla="*/ 132 h 157"/>
              <a:gd name="T56" fmla="*/ 124 w 160"/>
              <a:gd name="T57" fmla="*/ 88 h 157"/>
              <a:gd name="T58" fmla="*/ 77 w 160"/>
              <a:gd name="T59" fmla="*/ 88 h 157"/>
              <a:gd name="T60" fmla="*/ 64 w 160"/>
              <a:gd name="T61" fmla="*/ 90 h 157"/>
              <a:gd name="T62" fmla="*/ 68 w 160"/>
              <a:gd name="T63" fmla="*/ 86 h 157"/>
              <a:gd name="T64" fmla="*/ 66 w 160"/>
              <a:gd name="T65" fmla="*/ 91 h 157"/>
              <a:gd name="T66" fmla="*/ 83 w 160"/>
              <a:gd name="T67" fmla="*/ 110 h 157"/>
              <a:gd name="T68" fmla="*/ 36 w 160"/>
              <a:gd name="T69" fmla="*/ 110 h 157"/>
              <a:gd name="T70" fmla="*/ 22 w 160"/>
              <a:gd name="T71" fmla="*/ 110 h 157"/>
              <a:gd name="T72" fmla="*/ 28 w 160"/>
              <a:gd name="T73" fmla="*/ 110 h 157"/>
              <a:gd name="T74" fmla="*/ 23 w 160"/>
              <a:gd name="T75" fmla="*/ 112 h 157"/>
              <a:gd name="T76" fmla="*/ 133 w 160"/>
              <a:gd name="T77" fmla="*/ 86 h 157"/>
              <a:gd name="T78" fmla="*/ 137 w 160"/>
              <a:gd name="T79" fmla="*/ 90 h 157"/>
              <a:gd name="T80" fmla="*/ 97 w 160"/>
              <a:gd name="T81" fmla="*/ 132 h 157"/>
              <a:gd name="T82" fmla="*/ 22 w 160"/>
              <a:gd name="T83" fmla="*/ 132 h 157"/>
              <a:gd name="T84" fmla="*/ 97 w 160"/>
              <a:gd name="T85" fmla="*/ 13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57">
                <a:moveTo>
                  <a:pt x="118" y="11"/>
                </a:moveTo>
                <a:cubicBezTo>
                  <a:pt x="117" y="5"/>
                  <a:pt x="111" y="0"/>
                  <a:pt x="105" y="0"/>
                </a:cubicBezTo>
                <a:cubicBezTo>
                  <a:pt x="103" y="0"/>
                  <a:pt x="102" y="1"/>
                  <a:pt x="102" y="3"/>
                </a:cubicBezTo>
                <a:cubicBezTo>
                  <a:pt x="102" y="4"/>
                  <a:pt x="103" y="6"/>
                  <a:pt x="105" y="6"/>
                </a:cubicBezTo>
                <a:cubicBezTo>
                  <a:pt x="109" y="6"/>
                  <a:pt x="113" y="9"/>
                  <a:pt x="113" y="14"/>
                </a:cubicBezTo>
                <a:cubicBezTo>
                  <a:pt x="113" y="18"/>
                  <a:pt x="109" y="22"/>
                  <a:pt x="105" y="22"/>
                </a:cubicBezTo>
                <a:cubicBezTo>
                  <a:pt x="103" y="22"/>
                  <a:pt x="102" y="23"/>
                  <a:pt x="102" y="25"/>
                </a:cubicBezTo>
                <a:cubicBezTo>
                  <a:pt x="102" y="26"/>
                  <a:pt x="103" y="28"/>
                  <a:pt x="105" y="28"/>
                </a:cubicBezTo>
                <a:cubicBezTo>
                  <a:pt x="111" y="28"/>
                  <a:pt x="117" y="23"/>
                  <a:pt x="118" y="17"/>
                </a:cubicBezTo>
                <a:cubicBezTo>
                  <a:pt x="154" y="17"/>
                  <a:pt x="154" y="17"/>
                  <a:pt x="154" y="17"/>
                </a:cubicBezTo>
                <a:cubicBezTo>
                  <a:pt x="154" y="41"/>
                  <a:pt x="154" y="41"/>
                  <a:pt x="154" y="41"/>
                </a:cubicBezTo>
                <a:cubicBezTo>
                  <a:pt x="6" y="41"/>
                  <a:pt x="6" y="41"/>
                  <a:pt x="6" y="41"/>
                </a:cubicBezTo>
                <a:cubicBezTo>
                  <a:pt x="6" y="17"/>
                  <a:pt x="6" y="17"/>
                  <a:pt x="6" y="17"/>
                </a:cubicBezTo>
                <a:cubicBezTo>
                  <a:pt x="44" y="17"/>
                  <a:pt x="44" y="17"/>
                  <a:pt x="44" y="17"/>
                </a:cubicBezTo>
                <a:cubicBezTo>
                  <a:pt x="52" y="17"/>
                  <a:pt x="52" y="17"/>
                  <a:pt x="52" y="17"/>
                </a:cubicBezTo>
                <a:cubicBezTo>
                  <a:pt x="54" y="17"/>
                  <a:pt x="55" y="15"/>
                  <a:pt x="55" y="14"/>
                </a:cubicBezTo>
                <a:cubicBezTo>
                  <a:pt x="55" y="12"/>
                  <a:pt x="54" y="11"/>
                  <a:pt x="52" y="11"/>
                </a:cubicBezTo>
                <a:cubicBezTo>
                  <a:pt x="47" y="11"/>
                  <a:pt x="47" y="11"/>
                  <a:pt x="47" y="11"/>
                </a:cubicBezTo>
                <a:cubicBezTo>
                  <a:pt x="49" y="8"/>
                  <a:pt x="52" y="6"/>
                  <a:pt x="55" y="6"/>
                </a:cubicBezTo>
                <a:cubicBezTo>
                  <a:pt x="60" y="6"/>
                  <a:pt x="63" y="9"/>
                  <a:pt x="63" y="14"/>
                </a:cubicBezTo>
                <a:cubicBezTo>
                  <a:pt x="63" y="18"/>
                  <a:pt x="60" y="22"/>
                  <a:pt x="55" y="22"/>
                </a:cubicBezTo>
                <a:cubicBezTo>
                  <a:pt x="54" y="22"/>
                  <a:pt x="52" y="23"/>
                  <a:pt x="52" y="25"/>
                </a:cubicBezTo>
                <a:cubicBezTo>
                  <a:pt x="52" y="26"/>
                  <a:pt x="54" y="28"/>
                  <a:pt x="55" y="28"/>
                </a:cubicBezTo>
                <a:cubicBezTo>
                  <a:pt x="63" y="28"/>
                  <a:pt x="69" y="21"/>
                  <a:pt x="69" y="14"/>
                </a:cubicBezTo>
                <a:cubicBezTo>
                  <a:pt x="69" y="6"/>
                  <a:pt x="63" y="0"/>
                  <a:pt x="55" y="0"/>
                </a:cubicBezTo>
                <a:cubicBezTo>
                  <a:pt x="49" y="0"/>
                  <a:pt x="43" y="5"/>
                  <a:pt x="42" y="11"/>
                </a:cubicBezTo>
                <a:cubicBezTo>
                  <a:pt x="0" y="11"/>
                  <a:pt x="0" y="11"/>
                  <a:pt x="0" y="11"/>
                </a:cubicBezTo>
                <a:cubicBezTo>
                  <a:pt x="0" y="47"/>
                  <a:pt x="0" y="47"/>
                  <a:pt x="0" y="47"/>
                </a:cubicBezTo>
                <a:cubicBezTo>
                  <a:pt x="0" y="157"/>
                  <a:pt x="0" y="157"/>
                  <a:pt x="0" y="157"/>
                </a:cubicBezTo>
                <a:cubicBezTo>
                  <a:pt x="160" y="157"/>
                  <a:pt x="160" y="157"/>
                  <a:pt x="160" y="157"/>
                </a:cubicBezTo>
                <a:cubicBezTo>
                  <a:pt x="160" y="47"/>
                  <a:pt x="160" y="47"/>
                  <a:pt x="160" y="47"/>
                </a:cubicBezTo>
                <a:cubicBezTo>
                  <a:pt x="160" y="11"/>
                  <a:pt x="160" y="11"/>
                  <a:pt x="160" y="11"/>
                </a:cubicBezTo>
                <a:lnTo>
                  <a:pt x="118" y="11"/>
                </a:lnTo>
                <a:close/>
                <a:moveTo>
                  <a:pt x="154" y="152"/>
                </a:moveTo>
                <a:cubicBezTo>
                  <a:pt x="6" y="152"/>
                  <a:pt x="6" y="152"/>
                  <a:pt x="6" y="152"/>
                </a:cubicBezTo>
                <a:cubicBezTo>
                  <a:pt x="6" y="47"/>
                  <a:pt x="6" y="47"/>
                  <a:pt x="6" y="47"/>
                </a:cubicBezTo>
                <a:cubicBezTo>
                  <a:pt x="154" y="47"/>
                  <a:pt x="154" y="47"/>
                  <a:pt x="154" y="47"/>
                </a:cubicBezTo>
                <a:lnTo>
                  <a:pt x="154" y="152"/>
                </a:lnTo>
                <a:close/>
                <a:moveTo>
                  <a:pt x="69" y="3"/>
                </a:moveTo>
                <a:cubicBezTo>
                  <a:pt x="69" y="1"/>
                  <a:pt x="70" y="0"/>
                  <a:pt x="72" y="0"/>
                </a:cubicBezTo>
                <a:cubicBezTo>
                  <a:pt x="79" y="0"/>
                  <a:pt x="86" y="6"/>
                  <a:pt x="86" y="14"/>
                </a:cubicBezTo>
                <a:cubicBezTo>
                  <a:pt x="86" y="21"/>
                  <a:pt x="79" y="28"/>
                  <a:pt x="72" y="28"/>
                </a:cubicBezTo>
                <a:cubicBezTo>
                  <a:pt x="70" y="28"/>
                  <a:pt x="69" y="26"/>
                  <a:pt x="69" y="25"/>
                </a:cubicBezTo>
                <a:cubicBezTo>
                  <a:pt x="69" y="23"/>
                  <a:pt x="70" y="22"/>
                  <a:pt x="72" y="22"/>
                </a:cubicBezTo>
                <a:cubicBezTo>
                  <a:pt x="76" y="22"/>
                  <a:pt x="80" y="18"/>
                  <a:pt x="80" y="14"/>
                </a:cubicBezTo>
                <a:cubicBezTo>
                  <a:pt x="80" y="9"/>
                  <a:pt x="76" y="6"/>
                  <a:pt x="72" y="6"/>
                </a:cubicBezTo>
                <a:cubicBezTo>
                  <a:pt x="70" y="6"/>
                  <a:pt x="69" y="4"/>
                  <a:pt x="69" y="3"/>
                </a:cubicBezTo>
                <a:close/>
                <a:moveTo>
                  <a:pt x="86" y="3"/>
                </a:moveTo>
                <a:cubicBezTo>
                  <a:pt x="86" y="1"/>
                  <a:pt x="87" y="0"/>
                  <a:pt x="88" y="0"/>
                </a:cubicBezTo>
                <a:cubicBezTo>
                  <a:pt x="96" y="0"/>
                  <a:pt x="102" y="6"/>
                  <a:pt x="102" y="14"/>
                </a:cubicBezTo>
                <a:cubicBezTo>
                  <a:pt x="102" y="21"/>
                  <a:pt x="96" y="28"/>
                  <a:pt x="88" y="28"/>
                </a:cubicBezTo>
                <a:cubicBezTo>
                  <a:pt x="87" y="28"/>
                  <a:pt x="86" y="26"/>
                  <a:pt x="86" y="25"/>
                </a:cubicBezTo>
                <a:cubicBezTo>
                  <a:pt x="86" y="23"/>
                  <a:pt x="87" y="22"/>
                  <a:pt x="88" y="22"/>
                </a:cubicBezTo>
                <a:cubicBezTo>
                  <a:pt x="93" y="22"/>
                  <a:pt x="97" y="18"/>
                  <a:pt x="97" y="14"/>
                </a:cubicBezTo>
                <a:cubicBezTo>
                  <a:pt x="97" y="9"/>
                  <a:pt x="93" y="6"/>
                  <a:pt x="88" y="6"/>
                </a:cubicBezTo>
                <a:cubicBezTo>
                  <a:pt x="87" y="6"/>
                  <a:pt x="86" y="4"/>
                  <a:pt x="86" y="3"/>
                </a:cubicBezTo>
                <a:close/>
                <a:moveTo>
                  <a:pt x="22" y="66"/>
                </a:moveTo>
                <a:cubicBezTo>
                  <a:pt x="22" y="65"/>
                  <a:pt x="23" y="63"/>
                  <a:pt x="25" y="63"/>
                </a:cubicBezTo>
                <a:cubicBezTo>
                  <a:pt x="86" y="63"/>
                  <a:pt x="86" y="63"/>
                  <a:pt x="86" y="63"/>
                </a:cubicBezTo>
                <a:cubicBezTo>
                  <a:pt x="87" y="63"/>
                  <a:pt x="88" y="65"/>
                  <a:pt x="88" y="66"/>
                </a:cubicBezTo>
                <a:cubicBezTo>
                  <a:pt x="88" y="68"/>
                  <a:pt x="87" y="69"/>
                  <a:pt x="86" y="69"/>
                </a:cubicBezTo>
                <a:cubicBezTo>
                  <a:pt x="25" y="69"/>
                  <a:pt x="25" y="69"/>
                  <a:pt x="25" y="69"/>
                </a:cubicBezTo>
                <a:cubicBezTo>
                  <a:pt x="23" y="69"/>
                  <a:pt x="22" y="68"/>
                  <a:pt x="22" y="66"/>
                </a:cubicBezTo>
                <a:close/>
                <a:moveTo>
                  <a:pt x="138" y="110"/>
                </a:moveTo>
                <a:cubicBezTo>
                  <a:pt x="138" y="112"/>
                  <a:pt x="137" y="113"/>
                  <a:pt x="135" y="113"/>
                </a:cubicBezTo>
                <a:cubicBezTo>
                  <a:pt x="94" y="113"/>
                  <a:pt x="94" y="113"/>
                  <a:pt x="94" y="113"/>
                </a:cubicBezTo>
                <a:cubicBezTo>
                  <a:pt x="92" y="113"/>
                  <a:pt x="91" y="112"/>
                  <a:pt x="91" y="110"/>
                </a:cubicBezTo>
                <a:cubicBezTo>
                  <a:pt x="91" y="109"/>
                  <a:pt x="92" y="108"/>
                  <a:pt x="94" y="108"/>
                </a:cubicBezTo>
                <a:cubicBezTo>
                  <a:pt x="135" y="108"/>
                  <a:pt x="135" y="108"/>
                  <a:pt x="135" y="108"/>
                </a:cubicBezTo>
                <a:cubicBezTo>
                  <a:pt x="137" y="108"/>
                  <a:pt x="138" y="109"/>
                  <a:pt x="138" y="110"/>
                </a:cubicBezTo>
                <a:close/>
                <a:moveTo>
                  <a:pt x="22" y="88"/>
                </a:moveTo>
                <a:cubicBezTo>
                  <a:pt x="22" y="87"/>
                  <a:pt x="23" y="86"/>
                  <a:pt x="25" y="86"/>
                </a:cubicBezTo>
                <a:cubicBezTo>
                  <a:pt x="52" y="86"/>
                  <a:pt x="52" y="86"/>
                  <a:pt x="52" y="86"/>
                </a:cubicBezTo>
                <a:cubicBezTo>
                  <a:pt x="54" y="86"/>
                  <a:pt x="55" y="87"/>
                  <a:pt x="55" y="88"/>
                </a:cubicBezTo>
                <a:cubicBezTo>
                  <a:pt x="55" y="90"/>
                  <a:pt x="54" y="91"/>
                  <a:pt x="52" y="91"/>
                </a:cubicBezTo>
                <a:cubicBezTo>
                  <a:pt x="25" y="91"/>
                  <a:pt x="25" y="91"/>
                  <a:pt x="25" y="91"/>
                </a:cubicBezTo>
                <a:cubicBezTo>
                  <a:pt x="23" y="91"/>
                  <a:pt x="22" y="90"/>
                  <a:pt x="22" y="88"/>
                </a:cubicBezTo>
                <a:close/>
                <a:moveTo>
                  <a:pt x="138" y="132"/>
                </a:moveTo>
                <a:cubicBezTo>
                  <a:pt x="138" y="134"/>
                  <a:pt x="137" y="135"/>
                  <a:pt x="135" y="135"/>
                </a:cubicBezTo>
                <a:cubicBezTo>
                  <a:pt x="108" y="135"/>
                  <a:pt x="108" y="135"/>
                  <a:pt x="108" y="135"/>
                </a:cubicBezTo>
                <a:cubicBezTo>
                  <a:pt x="106" y="135"/>
                  <a:pt x="105" y="134"/>
                  <a:pt x="105" y="132"/>
                </a:cubicBezTo>
                <a:cubicBezTo>
                  <a:pt x="105" y="131"/>
                  <a:pt x="106" y="130"/>
                  <a:pt x="108" y="130"/>
                </a:cubicBezTo>
                <a:cubicBezTo>
                  <a:pt x="135" y="130"/>
                  <a:pt x="135" y="130"/>
                  <a:pt x="135" y="130"/>
                </a:cubicBezTo>
                <a:cubicBezTo>
                  <a:pt x="137" y="130"/>
                  <a:pt x="138" y="131"/>
                  <a:pt x="138" y="132"/>
                </a:cubicBezTo>
                <a:close/>
                <a:moveTo>
                  <a:pt x="80" y="86"/>
                </a:moveTo>
                <a:cubicBezTo>
                  <a:pt x="121" y="86"/>
                  <a:pt x="121" y="86"/>
                  <a:pt x="121" y="86"/>
                </a:cubicBezTo>
                <a:cubicBezTo>
                  <a:pt x="123" y="86"/>
                  <a:pt x="124" y="87"/>
                  <a:pt x="124" y="88"/>
                </a:cubicBezTo>
                <a:cubicBezTo>
                  <a:pt x="124" y="90"/>
                  <a:pt x="123" y="91"/>
                  <a:pt x="121" y="91"/>
                </a:cubicBezTo>
                <a:cubicBezTo>
                  <a:pt x="80" y="91"/>
                  <a:pt x="80" y="91"/>
                  <a:pt x="80" y="91"/>
                </a:cubicBezTo>
                <a:cubicBezTo>
                  <a:pt x="78" y="91"/>
                  <a:pt x="77" y="90"/>
                  <a:pt x="77" y="88"/>
                </a:cubicBezTo>
                <a:cubicBezTo>
                  <a:pt x="77" y="87"/>
                  <a:pt x="78" y="86"/>
                  <a:pt x="80" y="86"/>
                </a:cubicBezTo>
                <a:close/>
                <a:moveTo>
                  <a:pt x="66" y="91"/>
                </a:moveTo>
                <a:cubicBezTo>
                  <a:pt x="65" y="91"/>
                  <a:pt x="65" y="91"/>
                  <a:pt x="64" y="90"/>
                </a:cubicBezTo>
                <a:cubicBezTo>
                  <a:pt x="64" y="90"/>
                  <a:pt x="63" y="89"/>
                  <a:pt x="63" y="88"/>
                </a:cubicBezTo>
                <a:cubicBezTo>
                  <a:pt x="63" y="88"/>
                  <a:pt x="64" y="87"/>
                  <a:pt x="64" y="86"/>
                </a:cubicBezTo>
                <a:cubicBezTo>
                  <a:pt x="65" y="85"/>
                  <a:pt x="67" y="85"/>
                  <a:pt x="68" y="86"/>
                </a:cubicBezTo>
                <a:cubicBezTo>
                  <a:pt x="69" y="87"/>
                  <a:pt x="69" y="88"/>
                  <a:pt x="69" y="88"/>
                </a:cubicBezTo>
                <a:cubicBezTo>
                  <a:pt x="69" y="89"/>
                  <a:pt x="69" y="90"/>
                  <a:pt x="68" y="90"/>
                </a:cubicBezTo>
                <a:cubicBezTo>
                  <a:pt x="68" y="91"/>
                  <a:pt x="67" y="91"/>
                  <a:pt x="66" y="91"/>
                </a:cubicBezTo>
                <a:close/>
                <a:moveTo>
                  <a:pt x="39" y="108"/>
                </a:moveTo>
                <a:cubicBezTo>
                  <a:pt x="80" y="108"/>
                  <a:pt x="80" y="108"/>
                  <a:pt x="80" y="108"/>
                </a:cubicBezTo>
                <a:cubicBezTo>
                  <a:pt x="82" y="108"/>
                  <a:pt x="83" y="109"/>
                  <a:pt x="83" y="110"/>
                </a:cubicBezTo>
                <a:cubicBezTo>
                  <a:pt x="83" y="112"/>
                  <a:pt x="82" y="113"/>
                  <a:pt x="80" y="113"/>
                </a:cubicBezTo>
                <a:cubicBezTo>
                  <a:pt x="39" y="113"/>
                  <a:pt x="39" y="113"/>
                  <a:pt x="39" y="113"/>
                </a:cubicBezTo>
                <a:cubicBezTo>
                  <a:pt x="37" y="113"/>
                  <a:pt x="36" y="112"/>
                  <a:pt x="36" y="110"/>
                </a:cubicBezTo>
                <a:cubicBezTo>
                  <a:pt x="36" y="109"/>
                  <a:pt x="37" y="108"/>
                  <a:pt x="39" y="108"/>
                </a:cubicBezTo>
                <a:close/>
                <a:moveTo>
                  <a:pt x="23" y="112"/>
                </a:moveTo>
                <a:cubicBezTo>
                  <a:pt x="22" y="112"/>
                  <a:pt x="22" y="111"/>
                  <a:pt x="22" y="110"/>
                </a:cubicBezTo>
                <a:cubicBezTo>
                  <a:pt x="22" y="110"/>
                  <a:pt x="22" y="109"/>
                  <a:pt x="23" y="108"/>
                </a:cubicBezTo>
                <a:cubicBezTo>
                  <a:pt x="24" y="107"/>
                  <a:pt x="26" y="107"/>
                  <a:pt x="27" y="108"/>
                </a:cubicBezTo>
                <a:cubicBezTo>
                  <a:pt x="27" y="109"/>
                  <a:pt x="28" y="110"/>
                  <a:pt x="28" y="110"/>
                </a:cubicBezTo>
                <a:cubicBezTo>
                  <a:pt x="28" y="111"/>
                  <a:pt x="27" y="112"/>
                  <a:pt x="27" y="112"/>
                </a:cubicBezTo>
                <a:cubicBezTo>
                  <a:pt x="26" y="113"/>
                  <a:pt x="26" y="113"/>
                  <a:pt x="25" y="113"/>
                </a:cubicBezTo>
                <a:cubicBezTo>
                  <a:pt x="24" y="113"/>
                  <a:pt x="23" y="113"/>
                  <a:pt x="23" y="112"/>
                </a:cubicBezTo>
                <a:close/>
                <a:moveTo>
                  <a:pt x="133" y="90"/>
                </a:moveTo>
                <a:cubicBezTo>
                  <a:pt x="133" y="90"/>
                  <a:pt x="132" y="89"/>
                  <a:pt x="132" y="88"/>
                </a:cubicBezTo>
                <a:cubicBezTo>
                  <a:pt x="132" y="88"/>
                  <a:pt x="133" y="87"/>
                  <a:pt x="133" y="86"/>
                </a:cubicBezTo>
                <a:cubicBezTo>
                  <a:pt x="134" y="85"/>
                  <a:pt x="136" y="85"/>
                  <a:pt x="137" y="86"/>
                </a:cubicBezTo>
                <a:cubicBezTo>
                  <a:pt x="138" y="87"/>
                  <a:pt x="138" y="88"/>
                  <a:pt x="138" y="88"/>
                </a:cubicBezTo>
                <a:cubicBezTo>
                  <a:pt x="138" y="89"/>
                  <a:pt x="138" y="90"/>
                  <a:pt x="137" y="90"/>
                </a:cubicBezTo>
                <a:cubicBezTo>
                  <a:pt x="137" y="91"/>
                  <a:pt x="136" y="91"/>
                  <a:pt x="135" y="91"/>
                </a:cubicBezTo>
                <a:cubicBezTo>
                  <a:pt x="134" y="91"/>
                  <a:pt x="134" y="91"/>
                  <a:pt x="133" y="90"/>
                </a:cubicBezTo>
                <a:close/>
                <a:moveTo>
                  <a:pt x="97" y="132"/>
                </a:moveTo>
                <a:cubicBezTo>
                  <a:pt x="97" y="134"/>
                  <a:pt x="95" y="135"/>
                  <a:pt x="94" y="135"/>
                </a:cubicBezTo>
                <a:cubicBezTo>
                  <a:pt x="25" y="135"/>
                  <a:pt x="25" y="135"/>
                  <a:pt x="25" y="135"/>
                </a:cubicBezTo>
                <a:cubicBezTo>
                  <a:pt x="23" y="135"/>
                  <a:pt x="22" y="134"/>
                  <a:pt x="22" y="132"/>
                </a:cubicBezTo>
                <a:cubicBezTo>
                  <a:pt x="22" y="131"/>
                  <a:pt x="23" y="130"/>
                  <a:pt x="25" y="130"/>
                </a:cubicBezTo>
                <a:cubicBezTo>
                  <a:pt x="94" y="130"/>
                  <a:pt x="94" y="130"/>
                  <a:pt x="94" y="130"/>
                </a:cubicBezTo>
                <a:cubicBezTo>
                  <a:pt x="95" y="130"/>
                  <a:pt x="97" y="131"/>
                  <a:pt x="97"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1062">
            <a:extLst>
              <a:ext uri="{FF2B5EF4-FFF2-40B4-BE49-F238E27FC236}">
                <a16:creationId xmlns:a16="http://schemas.microsoft.com/office/drawing/2014/main" id="{0EB6FF91-F22A-E648-8872-893BAC7E881B}"/>
              </a:ext>
            </a:extLst>
          </p:cNvPr>
          <p:cNvSpPr>
            <a:spLocks noEditPoints="1"/>
          </p:cNvSpPr>
          <p:nvPr/>
        </p:nvSpPr>
        <p:spPr bwMode="auto">
          <a:xfrm>
            <a:off x="3443170" y="5938838"/>
            <a:ext cx="546100" cy="539750"/>
          </a:xfrm>
          <a:custGeom>
            <a:avLst/>
            <a:gdLst>
              <a:gd name="T0" fmla="*/ 105 w 160"/>
              <a:gd name="T1" fmla="*/ 0 h 157"/>
              <a:gd name="T2" fmla="*/ 105 w 160"/>
              <a:gd name="T3" fmla="*/ 6 h 157"/>
              <a:gd name="T4" fmla="*/ 105 w 160"/>
              <a:gd name="T5" fmla="*/ 22 h 157"/>
              <a:gd name="T6" fmla="*/ 105 w 160"/>
              <a:gd name="T7" fmla="*/ 28 h 157"/>
              <a:gd name="T8" fmla="*/ 154 w 160"/>
              <a:gd name="T9" fmla="*/ 17 h 157"/>
              <a:gd name="T10" fmla="*/ 6 w 160"/>
              <a:gd name="T11" fmla="*/ 41 h 157"/>
              <a:gd name="T12" fmla="*/ 44 w 160"/>
              <a:gd name="T13" fmla="*/ 17 h 157"/>
              <a:gd name="T14" fmla="*/ 55 w 160"/>
              <a:gd name="T15" fmla="*/ 14 h 157"/>
              <a:gd name="T16" fmla="*/ 47 w 160"/>
              <a:gd name="T17" fmla="*/ 11 h 157"/>
              <a:gd name="T18" fmla="*/ 63 w 160"/>
              <a:gd name="T19" fmla="*/ 14 h 157"/>
              <a:gd name="T20" fmla="*/ 52 w 160"/>
              <a:gd name="T21" fmla="*/ 25 h 157"/>
              <a:gd name="T22" fmla="*/ 69 w 160"/>
              <a:gd name="T23" fmla="*/ 14 h 157"/>
              <a:gd name="T24" fmla="*/ 42 w 160"/>
              <a:gd name="T25" fmla="*/ 11 h 157"/>
              <a:gd name="T26" fmla="*/ 0 w 160"/>
              <a:gd name="T27" fmla="*/ 47 h 157"/>
              <a:gd name="T28" fmla="*/ 160 w 160"/>
              <a:gd name="T29" fmla="*/ 157 h 157"/>
              <a:gd name="T30" fmla="*/ 160 w 160"/>
              <a:gd name="T31" fmla="*/ 11 h 157"/>
              <a:gd name="T32" fmla="*/ 154 w 160"/>
              <a:gd name="T33" fmla="*/ 152 h 157"/>
              <a:gd name="T34" fmla="*/ 6 w 160"/>
              <a:gd name="T35" fmla="*/ 47 h 157"/>
              <a:gd name="T36" fmla="*/ 154 w 160"/>
              <a:gd name="T37" fmla="*/ 152 h 157"/>
              <a:gd name="T38" fmla="*/ 50 w 160"/>
              <a:gd name="T39" fmla="*/ 62 h 157"/>
              <a:gd name="T40" fmla="*/ 53 w 160"/>
              <a:gd name="T41" fmla="*/ 61 h 157"/>
              <a:gd name="T42" fmla="*/ 55 w 160"/>
              <a:gd name="T43" fmla="*/ 63 h 157"/>
              <a:gd name="T44" fmla="*/ 63 w 160"/>
              <a:gd name="T45" fmla="*/ 132 h 157"/>
              <a:gd name="T46" fmla="*/ 63 w 160"/>
              <a:gd name="T47" fmla="*/ 138 h 157"/>
              <a:gd name="T48" fmla="*/ 39 w 160"/>
              <a:gd name="T49" fmla="*/ 135 h 157"/>
              <a:gd name="T50" fmla="*/ 50 w 160"/>
              <a:gd name="T51" fmla="*/ 132 h 157"/>
              <a:gd name="T52" fmla="*/ 38 w 160"/>
              <a:gd name="T53" fmla="*/ 82 h 157"/>
              <a:gd name="T54" fmla="*/ 34 w 160"/>
              <a:gd name="T55" fmla="*/ 82 h 157"/>
              <a:gd name="T56" fmla="*/ 105 w 160"/>
              <a:gd name="T57" fmla="*/ 132 h 157"/>
              <a:gd name="T58" fmla="*/ 88 w 160"/>
              <a:gd name="T59" fmla="*/ 116 h 157"/>
              <a:gd name="T60" fmla="*/ 105 w 160"/>
              <a:gd name="T61" fmla="*/ 138 h 157"/>
              <a:gd name="T62" fmla="*/ 124 w 160"/>
              <a:gd name="T63" fmla="*/ 80 h 157"/>
              <a:gd name="T64" fmla="*/ 86 w 160"/>
              <a:gd name="T65" fmla="*/ 80 h 157"/>
              <a:gd name="T66" fmla="*/ 119 w 160"/>
              <a:gd name="T67" fmla="*/ 93 h 157"/>
              <a:gd name="T68" fmla="*/ 105 w 160"/>
              <a:gd name="T69" fmla="*/ 132 h 157"/>
              <a:gd name="T70" fmla="*/ 91 w 160"/>
              <a:gd name="T71" fmla="*/ 80 h 157"/>
              <a:gd name="T72" fmla="*/ 119 w 160"/>
              <a:gd name="T73" fmla="*/ 80 h 157"/>
              <a:gd name="T74" fmla="*/ 69 w 160"/>
              <a:gd name="T75" fmla="*/ 3 h 157"/>
              <a:gd name="T76" fmla="*/ 86 w 160"/>
              <a:gd name="T77" fmla="*/ 14 h 157"/>
              <a:gd name="T78" fmla="*/ 69 w 160"/>
              <a:gd name="T79" fmla="*/ 25 h 157"/>
              <a:gd name="T80" fmla="*/ 80 w 160"/>
              <a:gd name="T81" fmla="*/ 14 h 157"/>
              <a:gd name="T82" fmla="*/ 69 w 160"/>
              <a:gd name="T83" fmla="*/ 3 h 157"/>
              <a:gd name="T84" fmla="*/ 88 w 160"/>
              <a:gd name="T85" fmla="*/ 0 h 157"/>
              <a:gd name="T86" fmla="*/ 88 w 160"/>
              <a:gd name="T87" fmla="*/ 28 h 157"/>
              <a:gd name="T88" fmla="*/ 88 w 160"/>
              <a:gd name="T89" fmla="*/ 22 h 157"/>
              <a:gd name="T90" fmla="*/ 88 w 160"/>
              <a:gd name="T91" fmla="*/ 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57">
                <a:moveTo>
                  <a:pt x="118" y="11"/>
                </a:moveTo>
                <a:cubicBezTo>
                  <a:pt x="117" y="5"/>
                  <a:pt x="111" y="0"/>
                  <a:pt x="105" y="0"/>
                </a:cubicBezTo>
                <a:cubicBezTo>
                  <a:pt x="103" y="0"/>
                  <a:pt x="102" y="1"/>
                  <a:pt x="102" y="3"/>
                </a:cubicBezTo>
                <a:cubicBezTo>
                  <a:pt x="102" y="4"/>
                  <a:pt x="103" y="6"/>
                  <a:pt x="105" y="6"/>
                </a:cubicBezTo>
                <a:cubicBezTo>
                  <a:pt x="109" y="6"/>
                  <a:pt x="113" y="9"/>
                  <a:pt x="113" y="14"/>
                </a:cubicBezTo>
                <a:cubicBezTo>
                  <a:pt x="113" y="18"/>
                  <a:pt x="109" y="22"/>
                  <a:pt x="105" y="22"/>
                </a:cubicBezTo>
                <a:cubicBezTo>
                  <a:pt x="103" y="22"/>
                  <a:pt x="102" y="23"/>
                  <a:pt x="102" y="25"/>
                </a:cubicBezTo>
                <a:cubicBezTo>
                  <a:pt x="102" y="26"/>
                  <a:pt x="103" y="28"/>
                  <a:pt x="105" y="28"/>
                </a:cubicBezTo>
                <a:cubicBezTo>
                  <a:pt x="111" y="28"/>
                  <a:pt x="117" y="23"/>
                  <a:pt x="118" y="17"/>
                </a:cubicBezTo>
                <a:cubicBezTo>
                  <a:pt x="154" y="17"/>
                  <a:pt x="154" y="17"/>
                  <a:pt x="154" y="17"/>
                </a:cubicBezTo>
                <a:cubicBezTo>
                  <a:pt x="154" y="41"/>
                  <a:pt x="154" y="41"/>
                  <a:pt x="154" y="41"/>
                </a:cubicBezTo>
                <a:cubicBezTo>
                  <a:pt x="6" y="41"/>
                  <a:pt x="6" y="41"/>
                  <a:pt x="6" y="41"/>
                </a:cubicBezTo>
                <a:cubicBezTo>
                  <a:pt x="6" y="17"/>
                  <a:pt x="6" y="17"/>
                  <a:pt x="6" y="17"/>
                </a:cubicBezTo>
                <a:cubicBezTo>
                  <a:pt x="44" y="17"/>
                  <a:pt x="44" y="17"/>
                  <a:pt x="44" y="17"/>
                </a:cubicBezTo>
                <a:cubicBezTo>
                  <a:pt x="52" y="17"/>
                  <a:pt x="52" y="17"/>
                  <a:pt x="52" y="17"/>
                </a:cubicBezTo>
                <a:cubicBezTo>
                  <a:pt x="54" y="17"/>
                  <a:pt x="55" y="15"/>
                  <a:pt x="55" y="14"/>
                </a:cubicBezTo>
                <a:cubicBezTo>
                  <a:pt x="55" y="12"/>
                  <a:pt x="54" y="11"/>
                  <a:pt x="52" y="11"/>
                </a:cubicBezTo>
                <a:cubicBezTo>
                  <a:pt x="47" y="11"/>
                  <a:pt x="47" y="11"/>
                  <a:pt x="47" y="11"/>
                </a:cubicBezTo>
                <a:cubicBezTo>
                  <a:pt x="49" y="8"/>
                  <a:pt x="52" y="6"/>
                  <a:pt x="55" y="6"/>
                </a:cubicBezTo>
                <a:cubicBezTo>
                  <a:pt x="60" y="6"/>
                  <a:pt x="63" y="9"/>
                  <a:pt x="63" y="14"/>
                </a:cubicBezTo>
                <a:cubicBezTo>
                  <a:pt x="63" y="18"/>
                  <a:pt x="60" y="22"/>
                  <a:pt x="55" y="22"/>
                </a:cubicBezTo>
                <a:cubicBezTo>
                  <a:pt x="54" y="22"/>
                  <a:pt x="52" y="23"/>
                  <a:pt x="52" y="25"/>
                </a:cubicBezTo>
                <a:cubicBezTo>
                  <a:pt x="52" y="26"/>
                  <a:pt x="54" y="28"/>
                  <a:pt x="55" y="28"/>
                </a:cubicBezTo>
                <a:cubicBezTo>
                  <a:pt x="63" y="28"/>
                  <a:pt x="69" y="21"/>
                  <a:pt x="69" y="14"/>
                </a:cubicBezTo>
                <a:cubicBezTo>
                  <a:pt x="69" y="6"/>
                  <a:pt x="63" y="0"/>
                  <a:pt x="55" y="0"/>
                </a:cubicBezTo>
                <a:cubicBezTo>
                  <a:pt x="49" y="0"/>
                  <a:pt x="43" y="5"/>
                  <a:pt x="42" y="11"/>
                </a:cubicBezTo>
                <a:cubicBezTo>
                  <a:pt x="0" y="11"/>
                  <a:pt x="0" y="11"/>
                  <a:pt x="0" y="11"/>
                </a:cubicBezTo>
                <a:cubicBezTo>
                  <a:pt x="0" y="47"/>
                  <a:pt x="0" y="47"/>
                  <a:pt x="0" y="47"/>
                </a:cubicBezTo>
                <a:cubicBezTo>
                  <a:pt x="0" y="157"/>
                  <a:pt x="0" y="157"/>
                  <a:pt x="0" y="157"/>
                </a:cubicBezTo>
                <a:cubicBezTo>
                  <a:pt x="160" y="157"/>
                  <a:pt x="160" y="157"/>
                  <a:pt x="160" y="157"/>
                </a:cubicBezTo>
                <a:cubicBezTo>
                  <a:pt x="160" y="47"/>
                  <a:pt x="160" y="47"/>
                  <a:pt x="160" y="47"/>
                </a:cubicBezTo>
                <a:cubicBezTo>
                  <a:pt x="160" y="11"/>
                  <a:pt x="160" y="11"/>
                  <a:pt x="160" y="11"/>
                </a:cubicBezTo>
                <a:lnTo>
                  <a:pt x="118" y="11"/>
                </a:lnTo>
                <a:close/>
                <a:moveTo>
                  <a:pt x="154" y="152"/>
                </a:moveTo>
                <a:cubicBezTo>
                  <a:pt x="6" y="152"/>
                  <a:pt x="6" y="152"/>
                  <a:pt x="6" y="152"/>
                </a:cubicBezTo>
                <a:cubicBezTo>
                  <a:pt x="6" y="47"/>
                  <a:pt x="6" y="47"/>
                  <a:pt x="6" y="47"/>
                </a:cubicBezTo>
                <a:cubicBezTo>
                  <a:pt x="154" y="47"/>
                  <a:pt x="154" y="47"/>
                  <a:pt x="154" y="47"/>
                </a:cubicBezTo>
                <a:lnTo>
                  <a:pt x="154" y="152"/>
                </a:lnTo>
                <a:close/>
                <a:moveTo>
                  <a:pt x="34" y="78"/>
                </a:moveTo>
                <a:cubicBezTo>
                  <a:pt x="50" y="62"/>
                  <a:pt x="50" y="62"/>
                  <a:pt x="50" y="62"/>
                </a:cubicBezTo>
                <a:cubicBezTo>
                  <a:pt x="51" y="61"/>
                  <a:pt x="51" y="61"/>
                  <a:pt x="51" y="61"/>
                </a:cubicBezTo>
                <a:cubicBezTo>
                  <a:pt x="52" y="61"/>
                  <a:pt x="53" y="61"/>
                  <a:pt x="53" y="61"/>
                </a:cubicBezTo>
                <a:cubicBezTo>
                  <a:pt x="54" y="61"/>
                  <a:pt x="55" y="62"/>
                  <a:pt x="55" y="62"/>
                </a:cubicBezTo>
                <a:cubicBezTo>
                  <a:pt x="55" y="63"/>
                  <a:pt x="55" y="63"/>
                  <a:pt x="55" y="63"/>
                </a:cubicBezTo>
                <a:cubicBezTo>
                  <a:pt x="55" y="132"/>
                  <a:pt x="55" y="132"/>
                  <a:pt x="55" y="132"/>
                </a:cubicBezTo>
                <a:cubicBezTo>
                  <a:pt x="63" y="132"/>
                  <a:pt x="63" y="132"/>
                  <a:pt x="63" y="132"/>
                </a:cubicBezTo>
                <a:cubicBezTo>
                  <a:pt x="65" y="132"/>
                  <a:pt x="66" y="134"/>
                  <a:pt x="66" y="135"/>
                </a:cubicBezTo>
                <a:cubicBezTo>
                  <a:pt x="66" y="137"/>
                  <a:pt x="65" y="138"/>
                  <a:pt x="63" y="138"/>
                </a:cubicBezTo>
                <a:cubicBezTo>
                  <a:pt x="41" y="138"/>
                  <a:pt x="41" y="138"/>
                  <a:pt x="41" y="138"/>
                </a:cubicBezTo>
                <a:cubicBezTo>
                  <a:pt x="40" y="138"/>
                  <a:pt x="39" y="137"/>
                  <a:pt x="39" y="135"/>
                </a:cubicBezTo>
                <a:cubicBezTo>
                  <a:pt x="39" y="134"/>
                  <a:pt x="40" y="132"/>
                  <a:pt x="41" y="132"/>
                </a:cubicBezTo>
                <a:cubicBezTo>
                  <a:pt x="50" y="132"/>
                  <a:pt x="50" y="132"/>
                  <a:pt x="50" y="132"/>
                </a:cubicBezTo>
                <a:cubicBezTo>
                  <a:pt x="50" y="70"/>
                  <a:pt x="50" y="70"/>
                  <a:pt x="50" y="70"/>
                </a:cubicBezTo>
                <a:cubicBezTo>
                  <a:pt x="38" y="82"/>
                  <a:pt x="38" y="82"/>
                  <a:pt x="38" y="82"/>
                </a:cubicBezTo>
                <a:cubicBezTo>
                  <a:pt x="37" y="82"/>
                  <a:pt x="37" y="83"/>
                  <a:pt x="36" y="83"/>
                </a:cubicBezTo>
                <a:cubicBezTo>
                  <a:pt x="35" y="83"/>
                  <a:pt x="34" y="82"/>
                  <a:pt x="34" y="82"/>
                </a:cubicBezTo>
                <a:cubicBezTo>
                  <a:pt x="33" y="81"/>
                  <a:pt x="33" y="79"/>
                  <a:pt x="34" y="78"/>
                </a:cubicBezTo>
                <a:close/>
                <a:moveTo>
                  <a:pt x="105" y="132"/>
                </a:moveTo>
                <a:cubicBezTo>
                  <a:pt x="97" y="132"/>
                  <a:pt x="91" y="126"/>
                  <a:pt x="91" y="119"/>
                </a:cubicBezTo>
                <a:cubicBezTo>
                  <a:pt x="91" y="117"/>
                  <a:pt x="90" y="116"/>
                  <a:pt x="88" y="116"/>
                </a:cubicBezTo>
                <a:cubicBezTo>
                  <a:pt x="87" y="116"/>
                  <a:pt x="86" y="117"/>
                  <a:pt x="86" y="119"/>
                </a:cubicBezTo>
                <a:cubicBezTo>
                  <a:pt x="86" y="129"/>
                  <a:pt x="94" y="138"/>
                  <a:pt x="105" y="138"/>
                </a:cubicBezTo>
                <a:cubicBezTo>
                  <a:pt x="115" y="138"/>
                  <a:pt x="124" y="129"/>
                  <a:pt x="124" y="119"/>
                </a:cubicBezTo>
                <a:cubicBezTo>
                  <a:pt x="124" y="80"/>
                  <a:pt x="124" y="80"/>
                  <a:pt x="124" y="80"/>
                </a:cubicBezTo>
                <a:cubicBezTo>
                  <a:pt x="124" y="69"/>
                  <a:pt x="115" y="61"/>
                  <a:pt x="105" y="61"/>
                </a:cubicBezTo>
                <a:cubicBezTo>
                  <a:pt x="94" y="61"/>
                  <a:pt x="86" y="69"/>
                  <a:pt x="86" y="80"/>
                </a:cubicBezTo>
                <a:cubicBezTo>
                  <a:pt x="86" y="91"/>
                  <a:pt x="94" y="99"/>
                  <a:pt x="105" y="99"/>
                </a:cubicBezTo>
                <a:cubicBezTo>
                  <a:pt x="110" y="99"/>
                  <a:pt x="115" y="97"/>
                  <a:pt x="119" y="93"/>
                </a:cubicBezTo>
                <a:cubicBezTo>
                  <a:pt x="119" y="119"/>
                  <a:pt x="119" y="119"/>
                  <a:pt x="119" y="119"/>
                </a:cubicBezTo>
                <a:cubicBezTo>
                  <a:pt x="119" y="126"/>
                  <a:pt x="112" y="132"/>
                  <a:pt x="105" y="132"/>
                </a:cubicBezTo>
                <a:close/>
                <a:moveTo>
                  <a:pt x="105" y="94"/>
                </a:moveTo>
                <a:cubicBezTo>
                  <a:pt x="97" y="94"/>
                  <a:pt x="91" y="88"/>
                  <a:pt x="91" y="80"/>
                </a:cubicBezTo>
                <a:cubicBezTo>
                  <a:pt x="91" y="72"/>
                  <a:pt x="97" y="66"/>
                  <a:pt x="105" y="66"/>
                </a:cubicBezTo>
                <a:cubicBezTo>
                  <a:pt x="112" y="66"/>
                  <a:pt x="119" y="72"/>
                  <a:pt x="119" y="80"/>
                </a:cubicBezTo>
                <a:cubicBezTo>
                  <a:pt x="119" y="88"/>
                  <a:pt x="112" y="94"/>
                  <a:pt x="105" y="94"/>
                </a:cubicBezTo>
                <a:close/>
                <a:moveTo>
                  <a:pt x="69" y="3"/>
                </a:moveTo>
                <a:cubicBezTo>
                  <a:pt x="69" y="1"/>
                  <a:pt x="70" y="0"/>
                  <a:pt x="72" y="0"/>
                </a:cubicBezTo>
                <a:cubicBezTo>
                  <a:pt x="79" y="0"/>
                  <a:pt x="86" y="6"/>
                  <a:pt x="86" y="14"/>
                </a:cubicBezTo>
                <a:cubicBezTo>
                  <a:pt x="86" y="21"/>
                  <a:pt x="79" y="28"/>
                  <a:pt x="72" y="28"/>
                </a:cubicBezTo>
                <a:cubicBezTo>
                  <a:pt x="70" y="28"/>
                  <a:pt x="69" y="26"/>
                  <a:pt x="69" y="25"/>
                </a:cubicBezTo>
                <a:cubicBezTo>
                  <a:pt x="69" y="23"/>
                  <a:pt x="70" y="22"/>
                  <a:pt x="72" y="22"/>
                </a:cubicBezTo>
                <a:cubicBezTo>
                  <a:pt x="76" y="22"/>
                  <a:pt x="80" y="18"/>
                  <a:pt x="80" y="14"/>
                </a:cubicBezTo>
                <a:cubicBezTo>
                  <a:pt x="80" y="9"/>
                  <a:pt x="76" y="6"/>
                  <a:pt x="72" y="6"/>
                </a:cubicBezTo>
                <a:cubicBezTo>
                  <a:pt x="70" y="6"/>
                  <a:pt x="69" y="4"/>
                  <a:pt x="69" y="3"/>
                </a:cubicBezTo>
                <a:close/>
                <a:moveTo>
                  <a:pt x="86" y="3"/>
                </a:moveTo>
                <a:cubicBezTo>
                  <a:pt x="86" y="1"/>
                  <a:pt x="87" y="0"/>
                  <a:pt x="88" y="0"/>
                </a:cubicBezTo>
                <a:cubicBezTo>
                  <a:pt x="96" y="0"/>
                  <a:pt x="102" y="6"/>
                  <a:pt x="102" y="14"/>
                </a:cubicBezTo>
                <a:cubicBezTo>
                  <a:pt x="102" y="21"/>
                  <a:pt x="96" y="28"/>
                  <a:pt x="88" y="28"/>
                </a:cubicBezTo>
                <a:cubicBezTo>
                  <a:pt x="87" y="28"/>
                  <a:pt x="86" y="26"/>
                  <a:pt x="86" y="25"/>
                </a:cubicBezTo>
                <a:cubicBezTo>
                  <a:pt x="86" y="23"/>
                  <a:pt x="87" y="22"/>
                  <a:pt x="88" y="22"/>
                </a:cubicBezTo>
                <a:cubicBezTo>
                  <a:pt x="93" y="22"/>
                  <a:pt x="97" y="18"/>
                  <a:pt x="97" y="14"/>
                </a:cubicBezTo>
                <a:cubicBezTo>
                  <a:pt x="97" y="9"/>
                  <a:pt x="93" y="6"/>
                  <a:pt x="88" y="6"/>
                </a:cubicBezTo>
                <a:cubicBezTo>
                  <a:pt x="87" y="6"/>
                  <a:pt x="86" y="4"/>
                  <a:pt x="86" y="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1063">
            <a:extLst>
              <a:ext uri="{FF2B5EF4-FFF2-40B4-BE49-F238E27FC236}">
                <a16:creationId xmlns:a16="http://schemas.microsoft.com/office/drawing/2014/main" id="{7ECEB457-422D-114A-9C1D-FEBAB106B859}"/>
              </a:ext>
            </a:extLst>
          </p:cNvPr>
          <p:cNvSpPr>
            <a:spLocks noEditPoints="1"/>
          </p:cNvSpPr>
          <p:nvPr/>
        </p:nvSpPr>
        <p:spPr bwMode="auto">
          <a:xfrm>
            <a:off x="4398845" y="365125"/>
            <a:ext cx="546100" cy="539750"/>
          </a:xfrm>
          <a:custGeom>
            <a:avLst/>
            <a:gdLst>
              <a:gd name="T0" fmla="*/ 72 w 160"/>
              <a:gd name="T1" fmla="*/ 28 h 157"/>
              <a:gd name="T2" fmla="*/ 72 w 160"/>
              <a:gd name="T3" fmla="*/ 6 h 157"/>
              <a:gd name="T4" fmla="*/ 88 w 160"/>
              <a:gd name="T5" fmla="*/ 22 h 157"/>
              <a:gd name="T6" fmla="*/ 88 w 160"/>
              <a:gd name="T7" fmla="*/ 0 h 157"/>
              <a:gd name="T8" fmla="*/ 160 w 160"/>
              <a:gd name="T9" fmla="*/ 50 h 157"/>
              <a:gd name="T10" fmla="*/ 0 w 160"/>
              <a:gd name="T11" fmla="*/ 11 h 157"/>
              <a:gd name="T12" fmla="*/ 55 w 160"/>
              <a:gd name="T13" fmla="*/ 28 h 157"/>
              <a:gd name="T14" fmla="*/ 55 w 160"/>
              <a:gd name="T15" fmla="*/ 6 h 157"/>
              <a:gd name="T16" fmla="*/ 52 w 160"/>
              <a:gd name="T17" fmla="*/ 17 h 157"/>
              <a:gd name="T18" fmla="*/ 8 w 160"/>
              <a:gd name="T19" fmla="*/ 22 h 157"/>
              <a:gd name="T20" fmla="*/ 6 w 160"/>
              <a:gd name="T21" fmla="*/ 41 h 157"/>
              <a:gd name="T22" fmla="*/ 152 w 160"/>
              <a:gd name="T23" fmla="*/ 39 h 157"/>
              <a:gd name="T24" fmla="*/ 154 w 160"/>
              <a:gd name="T25" fmla="*/ 19 h 157"/>
              <a:gd name="T26" fmla="*/ 102 w 160"/>
              <a:gd name="T27" fmla="*/ 25 h 157"/>
              <a:gd name="T28" fmla="*/ 102 w 160"/>
              <a:gd name="T29" fmla="*/ 3 h 157"/>
              <a:gd name="T30" fmla="*/ 154 w 160"/>
              <a:gd name="T31" fmla="*/ 50 h 157"/>
              <a:gd name="T32" fmla="*/ 154 w 160"/>
              <a:gd name="T33" fmla="*/ 50 h 157"/>
              <a:gd name="T34" fmla="*/ 50 w 160"/>
              <a:gd name="T35" fmla="*/ 73 h 157"/>
              <a:gd name="T36" fmla="*/ 41 w 160"/>
              <a:gd name="T37" fmla="*/ 141 h 157"/>
              <a:gd name="T38" fmla="*/ 55 w 160"/>
              <a:gd name="T39" fmla="*/ 135 h 157"/>
              <a:gd name="T40" fmla="*/ 51 w 160"/>
              <a:gd name="T41" fmla="*/ 64 h 157"/>
              <a:gd name="T42" fmla="*/ 95 w 160"/>
              <a:gd name="T43" fmla="*/ 99 h 157"/>
              <a:gd name="T44" fmla="*/ 115 w 160"/>
              <a:gd name="T45" fmla="*/ 99 h 157"/>
              <a:gd name="T46" fmla="*/ 95 w 160"/>
              <a:gd name="T47" fmla="*/ 99 h 157"/>
              <a:gd name="T48" fmla="*/ 91 w 160"/>
              <a:gd name="T49" fmla="*/ 83 h 157"/>
              <a:gd name="T50" fmla="*/ 121 w 160"/>
              <a:gd name="T51" fmla="*/ 119 h 157"/>
              <a:gd name="T52" fmla="*/ 22 w 160"/>
              <a:gd name="T53" fmla="*/ 25 h 157"/>
              <a:gd name="T54" fmla="*/ 19 w 160"/>
              <a:gd name="T55" fmla="*/ 39 h 157"/>
              <a:gd name="T56" fmla="*/ 19 w 160"/>
              <a:gd name="T57" fmla="*/ 39 h 157"/>
              <a:gd name="T58" fmla="*/ 14 w 160"/>
              <a:gd name="T59" fmla="*/ 28 h 157"/>
              <a:gd name="T60" fmla="*/ 33 w 160"/>
              <a:gd name="T61" fmla="*/ 30 h 157"/>
              <a:gd name="T62" fmla="*/ 39 w 160"/>
              <a:gd name="T63" fmla="*/ 25 h 157"/>
              <a:gd name="T64" fmla="*/ 36 w 160"/>
              <a:gd name="T65" fmla="*/ 39 h 157"/>
              <a:gd name="T66" fmla="*/ 36 w 160"/>
              <a:gd name="T67" fmla="*/ 39 h 157"/>
              <a:gd name="T68" fmla="*/ 55 w 160"/>
              <a:gd name="T69" fmla="*/ 36 h 157"/>
              <a:gd name="T70" fmla="*/ 50 w 160"/>
              <a:gd name="T71" fmla="*/ 30 h 157"/>
              <a:gd name="T72" fmla="*/ 63 w 160"/>
              <a:gd name="T73" fmla="*/ 33 h 157"/>
              <a:gd name="T74" fmla="*/ 69 w 160"/>
              <a:gd name="T75" fmla="*/ 39 h 157"/>
              <a:gd name="T76" fmla="*/ 69 w 160"/>
              <a:gd name="T77" fmla="*/ 39 h 157"/>
              <a:gd name="T78" fmla="*/ 88 w 160"/>
              <a:gd name="T79" fmla="*/ 36 h 157"/>
              <a:gd name="T80" fmla="*/ 83 w 160"/>
              <a:gd name="T81" fmla="*/ 30 h 157"/>
              <a:gd name="T82" fmla="*/ 97 w 160"/>
              <a:gd name="T83" fmla="*/ 33 h 157"/>
              <a:gd name="T84" fmla="*/ 119 w 160"/>
              <a:gd name="T85" fmla="*/ 22 h 157"/>
              <a:gd name="T86" fmla="*/ 119 w 160"/>
              <a:gd name="T87" fmla="*/ 22 h 157"/>
              <a:gd name="T88" fmla="*/ 105 w 160"/>
              <a:gd name="T89" fmla="*/ 36 h 157"/>
              <a:gd name="T90" fmla="*/ 124 w 160"/>
              <a:gd name="T91" fmla="*/ 39 h 157"/>
              <a:gd name="T92" fmla="*/ 113 w 160"/>
              <a:gd name="T93" fmla="*/ 33 h 157"/>
              <a:gd name="T94" fmla="*/ 127 w 160"/>
              <a:gd name="T95" fmla="*/ 30 h 157"/>
              <a:gd name="T96" fmla="*/ 127 w 160"/>
              <a:gd name="T97" fmla="*/ 30 h 157"/>
              <a:gd name="T98" fmla="*/ 138 w 160"/>
              <a:gd name="T99" fmla="*/ 19 h 157"/>
              <a:gd name="T100" fmla="*/ 141 w 160"/>
              <a:gd name="T101" fmla="*/ 39 h 157"/>
              <a:gd name="T102" fmla="*/ 146 w 160"/>
              <a:gd name="T103" fmla="*/ 3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 h="157">
                <a:moveTo>
                  <a:pt x="69" y="3"/>
                </a:moveTo>
                <a:cubicBezTo>
                  <a:pt x="69" y="1"/>
                  <a:pt x="70" y="0"/>
                  <a:pt x="72" y="0"/>
                </a:cubicBezTo>
                <a:cubicBezTo>
                  <a:pt x="79" y="0"/>
                  <a:pt x="86" y="6"/>
                  <a:pt x="86" y="14"/>
                </a:cubicBezTo>
                <a:cubicBezTo>
                  <a:pt x="86" y="21"/>
                  <a:pt x="79" y="28"/>
                  <a:pt x="72" y="28"/>
                </a:cubicBezTo>
                <a:cubicBezTo>
                  <a:pt x="70" y="28"/>
                  <a:pt x="69" y="26"/>
                  <a:pt x="69" y="25"/>
                </a:cubicBezTo>
                <a:cubicBezTo>
                  <a:pt x="69" y="23"/>
                  <a:pt x="70" y="22"/>
                  <a:pt x="72" y="22"/>
                </a:cubicBezTo>
                <a:cubicBezTo>
                  <a:pt x="76" y="22"/>
                  <a:pt x="80" y="18"/>
                  <a:pt x="80" y="14"/>
                </a:cubicBezTo>
                <a:cubicBezTo>
                  <a:pt x="80" y="9"/>
                  <a:pt x="76" y="6"/>
                  <a:pt x="72" y="6"/>
                </a:cubicBezTo>
                <a:cubicBezTo>
                  <a:pt x="70" y="6"/>
                  <a:pt x="69" y="4"/>
                  <a:pt x="69" y="3"/>
                </a:cubicBezTo>
                <a:close/>
                <a:moveTo>
                  <a:pt x="88" y="6"/>
                </a:moveTo>
                <a:cubicBezTo>
                  <a:pt x="93" y="6"/>
                  <a:pt x="97" y="9"/>
                  <a:pt x="97" y="14"/>
                </a:cubicBezTo>
                <a:cubicBezTo>
                  <a:pt x="97" y="18"/>
                  <a:pt x="93" y="22"/>
                  <a:pt x="88" y="22"/>
                </a:cubicBezTo>
                <a:cubicBezTo>
                  <a:pt x="87" y="22"/>
                  <a:pt x="86" y="23"/>
                  <a:pt x="86" y="25"/>
                </a:cubicBezTo>
                <a:cubicBezTo>
                  <a:pt x="86" y="26"/>
                  <a:pt x="87" y="28"/>
                  <a:pt x="88" y="28"/>
                </a:cubicBezTo>
                <a:cubicBezTo>
                  <a:pt x="96" y="28"/>
                  <a:pt x="102" y="21"/>
                  <a:pt x="102" y="14"/>
                </a:cubicBezTo>
                <a:cubicBezTo>
                  <a:pt x="102" y="6"/>
                  <a:pt x="96" y="0"/>
                  <a:pt x="88" y="0"/>
                </a:cubicBezTo>
                <a:cubicBezTo>
                  <a:pt x="87" y="0"/>
                  <a:pt x="86" y="1"/>
                  <a:pt x="86" y="3"/>
                </a:cubicBezTo>
                <a:cubicBezTo>
                  <a:pt x="86" y="4"/>
                  <a:pt x="87" y="6"/>
                  <a:pt x="88" y="6"/>
                </a:cubicBezTo>
                <a:close/>
                <a:moveTo>
                  <a:pt x="160" y="11"/>
                </a:moveTo>
                <a:cubicBezTo>
                  <a:pt x="160" y="50"/>
                  <a:pt x="160" y="50"/>
                  <a:pt x="160" y="50"/>
                </a:cubicBezTo>
                <a:cubicBezTo>
                  <a:pt x="160" y="157"/>
                  <a:pt x="160" y="157"/>
                  <a:pt x="160" y="157"/>
                </a:cubicBezTo>
                <a:cubicBezTo>
                  <a:pt x="0" y="157"/>
                  <a:pt x="0" y="157"/>
                  <a:pt x="0" y="157"/>
                </a:cubicBezTo>
                <a:cubicBezTo>
                  <a:pt x="0" y="50"/>
                  <a:pt x="0" y="50"/>
                  <a:pt x="0" y="50"/>
                </a:cubicBezTo>
                <a:cubicBezTo>
                  <a:pt x="0" y="11"/>
                  <a:pt x="0" y="11"/>
                  <a:pt x="0" y="11"/>
                </a:cubicBezTo>
                <a:cubicBezTo>
                  <a:pt x="42" y="11"/>
                  <a:pt x="42" y="11"/>
                  <a:pt x="42" y="11"/>
                </a:cubicBezTo>
                <a:cubicBezTo>
                  <a:pt x="43" y="5"/>
                  <a:pt x="49" y="0"/>
                  <a:pt x="55" y="0"/>
                </a:cubicBezTo>
                <a:cubicBezTo>
                  <a:pt x="63" y="0"/>
                  <a:pt x="69" y="6"/>
                  <a:pt x="69" y="14"/>
                </a:cubicBezTo>
                <a:cubicBezTo>
                  <a:pt x="69" y="21"/>
                  <a:pt x="63" y="28"/>
                  <a:pt x="55" y="28"/>
                </a:cubicBezTo>
                <a:cubicBezTo>
                  <a:pt x="54" y="28"/>
                  <a:pt x="52" y="26"/>
                  <a:pt x="52" y="25"/>
                </a:cubicBezTo>
                <a:cubicBezTo>
                  <a:pt x="52" y="23"/>
                  <a:pt x="54" y="22"/>
                  <a:pt x="55" y="22"/>
                </a:cubicBezTo>
                <a:cubicBezTo>
                  <a:pt x="60" y="22"/>
                  <a:pt x="63" y="18"/>
                  <a:pt x="63" y="14"/>
                </a:cubicBezTo>
                <a:cubicBezTo>
                  <a:pt x="63" y="9"/>
                  <a:pt x="60" y="6"/>
                  <a:pt x="55" y="6"/>
                </a:cubicBezTo>
                <a:cubicBezTo>
                  <a:pt x="52" y="6"/>
                  <a:pt x="49" y="8"/>
                  <a:pt x="47" y="11"/>
                </a:cubicBezTo>
                <a:cubicBezTo>
                  <a:pt x="52" y="11"/>
                  <a:pt x="52" y="11"/>
                  <a:pt x="52" y="11"/>
                </a:cubicBezTo>
                <a:cubicBezTo>
                  <a:pt x="54" y="11"/>
                  <a:pt x="55" y="12"/>
                  <a:pt x="55" y="14"/>
                </a:cubicBezTo>
                <a:cubicBezTo>
                  <a:pt x="55" y="15"/>
                  <a:pt x="54" y="17"/>
                  <a:pt x="52" y="17"/>
                </a:cubicBezTo>
                <a:cubicBezTo>
                  <a:pt x="44" y="17"/>
                  <a:pt x="44" y="17"/>
                  <a:pt x="44" y="17"/>
                </a:cubicBezTo>
                <a:cubicBezTo>
                  <a:pt x="6" y="17"/>
                  <a:pt x="6" y="17"/>
                  <a:pt x="6" y="17"/>
                </a:cubicBezTo>
                <a:cubicBezTo>
                  <a:pt x="6" y="19"/>
                  <a:pt x="6" y="19"/>
                  <a:pt x="6" y="19"/>
                </a:cubicBezTo>
                <a:cubicBezTo>
                  <a:pt x="7" y="19"/>
                  <a:pt x="8" y="21"/>
                  <a:pt x="8" y="22"/>
                </a:cubicBezTo>
                <a:cubicBezTo>
                  <a:pt x="8" y="24"/>
                  <a:pt x="7" y="25"/>
                  <a:pt x="6" y="25"/>
                </a:cubicBezTo>
                <a:cubicBezTo>
                  <a:pt x="6" y="36"/>
                  <a:pt x="6" y="36"/>
                  <a:pt x="6" y="36"/>
                </a:cubicBezTo>
                <a:cubicBezTo>
                  <a:pt x="7" y="36"/>
                  <a:pt x="8" y="37"/>
                  <a:pt x="8" y="39"/>
                </a:cubicBezTo>
                <a:cubicBezTo>
                  <a:pt x="8" y="40"/>
                  <a:pt x="7" y="41"/>
                  <a:pt x="6" y="41"/>
                </a:cubicBezTo>
                <a:cubicBezTo>
                  <a:pt x="6" y="44"/>
                  <a:pt x="6" y="44"/>
                  <a:pt x="6" y="44"/>
                </a:cubicBezTo>
                <a:cubicBezTo>
                  <a:pt x="154" y="44"/>
                  <a:pt x="154" y="44"/>
                  <a:pt x="154" y="44"/>
                </a:cubicBezTo>
                <a:cubicBezTo>
                  <a:pt x="154" y="41"/>
                  <a:pt x="154" y="41"/>
                  <a:pt x="154" y="41"/>
                </a:cubicBezTo>
                <a:cubicBezTo>
                  <a:pt x="153" y="41"/>
                  <a:pt x="152" y="40"/>
                  <a:pt x="152" y="39"/>
                </a:cubicBezTo>
                <a:cubicBezTo>
                  <a:pt x="152" y="37"/>
                  <a:pt x="153" y="36"/>
                  <a:pt x="154" y="36"/>
                </a:cubicBezTo>
                <a:cubicBezTo>
                  <a:pt x="154" y="25"/>
                  <a:pt x="154" y="25"/>
                  <a:pt x="154" y="25"/>
                </a:cubicBezTo>
                <a:cubicBezTo>
                  <a:pt x="153" y="25"/>
                  <a:pt x="152" y="24"/>
                  <a:pt x="152" y="22"/>
                </a:cubicBezTo>
                <a:cubicBezTo>
                  <a:pt x="152" y="21"/>
                  <a:pt x="153" y="19"/>
                  <a:pt x="154" y="19"/>
                </a:cubicBezTo>
                <a:cubicBezTo>
                  <a:pt x="154" y="17"/>
                  <a:pt x="154" y="17"/>
                  <a:pt x="154" y="17"/>
                </a:cubicBezTo>
                <a:cubicBezTo>
                  <a:pt x="118" y="17"/>
                  <a:pt x="118" y="17"/>
                  <a:pt x="118" y="17"/>
                </a:cubicBezTo>
                <a:cubicBezTo>
                  <a:pt x="117" y="23"/>
                  <a:pt x="111" y="28"/>
                  <a:pt x="105" y="28"/>
                </a:cubicBezTo>
                <a:cubicBezTo>
                  <a:pt x="103" y="28"/>
                  <a:pt x="102" y="26"/>
                  <a:pt x="102" y="25"/>
                </a:cubicBezTo>
                <a:cubicBezTo>
                  <a:pt x="102" y="23"/>
                  <a:pt x="103" y="22"/>
                  <a:pt x="105" y="22"/>
                </a:cubicBezTo>
                <a:cubicBezTo>
                  <a:pt x="109" y="22"/>
                  <a:pt x="113" y="18"/>
                  <a:pt x="113" y="14"/>
                </a:cubicBezTo>
                <a:cubicBezTo>
                  <a:pt x="113" y="9"/>
                  <a:pt x="109" y="6"/>
                  <a:pt x="105" y="6"/>
                </a:cubicBezTo>
                <a:cubicBezTo>
                  <a:pt x="103" y="6"/>
                  <a:pt x="102" y="4"/>
                  <a:pt x="102" y="3"/>
                </a:cubicBezTo>
                <a:cubicBezTo>
                  <a:pt x="102" y="1"/>
                  <a:pt x="103" y="0"/>
                  <a:pt x="105" y="0"/>
                </a:cubicBezTo>
                <a:cubicBezTo>
                  <a:pt x="111" y="0"/>
                  <a:pt x="117" y="5"/>
                  <a:pt x="118" y="11"/>
                </a:cubicBezTo>
                <a:lnTo>
                  <a:pt x="160" y="11"/>
                </a:lnTo>
                <a:close/>
                <a:moveTo>
                  <a:pt x="154" y="50"/>
                </a:moveTo>
                <a:cubicBezTo>
                  <a:pt x="6" y="50"/>
                  <a:pt x="6" y="50"/>
                  <a:pt x="6" y="50"/>
                </a:cubicBezTo>
                <a:cubicBezTo>
                  <a:pt x="6" y="152"/>
                  <a:pt x="6" y="152"/>
                  <a:pt x="6" y="152"/>
                </a:cubicBezTo>
                <a:cubicBezTo>
                  <a:pt x="154" y="152"/>
                  <a:pt x="154" y="152"/>
                  <a:pt x="154" y="152"/>
                </a:cubicBezTo>
                <a:lnTo>
                  <a:pt x="154" y="50"/>
                </a:lnTo>
                <a:close/>
                <a:moveTo>
                  <a:pt x="34" y="85"/>
                </a:moveTo>
                <a:cubicBezTo>
                  <a:pt x="34" y="85"/>
                  <a:pt x="35" y="86"/>
                  <a:pt x="36" y="86"/>
                </a:cubicBezTo>
                <a:cubicBezTo>
                  <a:pt x="37" y="86"/>
                  <a:pt x="37" y="85"/>
                  <a:pt x="38" y="85"/>
                </a:cubicBezTo>
                <a:cubicBezTo>
                  <a:pt x="50" y="73"/>
                  <a:pt x="50" y="73"/>
                  <a:pt x="50" y="73"/>
                </a:cubicBezTo>
                <a:cubicBezTo>
                  <a:pt x="50" y="135"/>
                  <a:pt x="50" y="135"/>
                  <a:pt x="50" y="135"/>
                </a:cubicBezTo>
                <a:cubicBezTo>
                  <a:pt x="41" y="135"/>
                  <a:pt x="41" y="135"/>
                  <a:pt x="41" y="135"/>
                </a:cubicBezTo>
                <a:cubicBezTo>
                  <a:pt x="40" y="135"/>
                  <a:pt x="39" y="136"/>
                  <a:pt x="39" y="138"/>
                </a:cubicBezTo>
                <a:cubicBezTo>
                  <a:pt x="39" y="139"/>
                  <a:pt x="40" y="141"/>
                  <a:pt x="41" y="141"/>
                </a:cubicBezTo>
                <a:cubicBezTo>
                  <a:pt x="63" y="141"/>
                  <a:pt x="63" y="141"/>
                  <a:pt x="63" y="141"/>
                </a:cubicBezTo>
                <a:cubicBezTo>
                  <a:pt x="65" y="141"/>
                  <a:pt x="66" y="139"/>
                  <a:pt x="66" y="138"/>
                </a:cubicBezTo>
                <a:cubicBezTo>
                  <a:pt x="66" y="136"/>
                  <a:pt x="65" y="135"/>
                  <a:pt x="63" y="135"/>
                </a:cubicBezTo>
                <a:cubicBezTo>
                  <a:pt x="55" y="135"/>
                  <a:pt x="55" y="135"/>
                  <a:pt x="55" y="135"/>
                </a:cubicBezTo>
                <a:cubicBezTo>
                  <a:pt x="55" y="66"/>
                  <a:pt x="55" y="66"/>
                  <a:pt x="55" y="66"/>
                </a:cubicBezTo>
                <a:cubicBezTo>
                  <a:pt x="55" y="66"/>
                  <a:pt x="55" y="65"/>
                  <a:pt x="55" y="65"/>
                </a:cubicBezTo>
                <a:cubicBezTo>
                  <a:pt x="55" y="64"/>
                  <a:pt x="54" y="64"/>
                  <a:pt x="53" y="64"/>
                </a:cubicBezTo>
                <a:cubicBezTo>
                  <a:pt x="53" y="63"/>
                  <a:pt x="52" y="63"/>
                  <a:pt x="51" y="64"/>
                </a:cubicBezTo>
                <a:cubicBezTo>
                  <a:pt x="51" y="64"/>
                  <a:pt x="51" y="64"/>
                  <a:pt x="50" y="64"/>
                </a:cubicBezTo>
                <a:cubicBezTo>
                  <a:pt x="34" y="81"/>
                  <a:pt x="34" y="81"/>
                  <a:pt x="34" y="81"/>
                </a:cubicBezTo>
                <a:cubicBezTo>
                  <a:pt x="33" y="82"/>
                  <a:pt x="33" y="84"/>
                  <a:pt x="34" y="85"/>
                </a:cubicBezTo>
                <a:close/>
                <a:moveTo>
                  <a:pt x="95" y="99"/>
                </a:moveTo>
                <a:cubicBezTo>
                  <a:pt x="89" y="96"/>
                  <a:pt x="86" y="90"/>
                  <a:pt x="86" y="83"/>
                </a:cubicBezTo>
                <a:cubicBezTo>
                  <a:pt x="86" y="72"/>
                  <a:pt x="94" y="63"/>
                  <a:pt x="105" y="63"/>
                </a:cubicBezTo>
                <a:cubicBezTo>
                  <a:pt x="115" y="63"/>
                  <a:pt x="124" y="72"/>
                  <a:pt x="124" y="83"/>
                </a:cubicBezTo>
                <a:cubicBezTo>
                  <a:pt x="124" y="90"/>
                  <a:pt x="121" y="96"/>
                  <a:pt x="115" y="99"/>
                </a:cubicBezTo>
                <a:cubicBezTo>
                  <a:pt x="122" y="103"/>
                  <a:pt x="127" y="110"/>
                  <a:pt x="127" y="119"/>
                </a:cubicBezTo>
                <a:cubicBezTo>
                  <a:pt x="127" y="131"/>
                  <a:pt x="117" y="141"/>
                  <a:pt x="105" y="141"/>
                </a:cubicBezTo>
                <a:cubicBezTo>
                  <a:pt x="93" y="141"/>
                  <a:pt x="83" y="131"/>
                  <a:pt x="83" y="119"/>
                </a:cubicBezTo>
                <a:cubicBezTo>
                  <a:pt x="83" y="110"/>
                  <a:pt x="88" y="103"/>
                  <a:pt x="95" y="99"/>
                </a:cubicBezTo>
                <a:close/>
                <a:moveTo>
                  <a:pt x="105" y="97"/>
                </a:moveTo>
                <a:cubicBezTo>
                  <a:pt x="112" y="97"/>
                  <a:pt x="119" y="90"/>
                  <a:pt x="119" y="83"/>
                </a:cubicBezTo>
                <a:cubicBezTo>
                  <a:pt x="119" y="75"/>
                  <a:pt x="112" y="69"/>
                  <a:pt x="105" y="69"/>
                </a:cubicBezTo>
                <a:cubicBezTo>
                  <a:pt x="97" y="69"/>
                  <a:pt x="91" y="75"/>
                  <a:pt x="91" y="83"/>
                </a:cubicBezTo>
                <a:cubicBezTo>
                  <a:pt x="91" y="90"/>
                  <a:pt x="97" y="97"/>
                  <a:pt x="105" y="97"/>
                </a:cubicBezTo>
                <a:close/>
                <a:moveTo>
                  <a:pt x="88" y="119"/>
                </a:moveTo>
                <a:cubicBezTo>
                  <a:pt x="88" y="128"/>
                  <a:pt x="96" y="135"/>
                  <a:pt x="105" y="135"/>
                </a:cubicBezTo>
                <a:cubicBezTo>
                  <a:pt x="114" y="135"/>
                  <a:pt x="121" y="128"/>
                  <a:pt x="121" y="119"/>
                </a:cubicBezTo>
                <a:cubicBezTo>
                  <a:pt x="121" y="109"/>
                  <a:pt x="114" y="102"/>
                  <a:pt x="105" y="102"/>
                </a:cubicBezTo>
                <a:cubicBezTo>
                  <a:pt x="96" y="102"/>
                  <a:pt x="88" y="109"/>
                  <a:pt x="88" y="119"/>
                </a:cubicBezTo>
                <a:close/>
                <a:moveTo>
                  <a:pt x="19" y="22"/>
                </a:moveTo>
                <a:cubicBezTo>
                  <a:pt x="19" y="24"/>
                  <a:pt x="21" y="25"/>
                  <a:pt x="22" y="25"/>
                </a:cubicBezTo>
                <a:cubicBezTo>
                  <a:pt x="24" y="25"/>
                  <a:pt x="25" y="24"/>
                  <a:pt x="25" y="22"/>
                </a:cubicBezTo>
                <a:cubicBezTo>
                  <a:pt x="25" y="21"/>
                  <a:pt x="24" y="19"/>
                  <a:pt x="22" y="19"/>
                </a:cubicBezTo>
                <a:cubicBezTo>
                  <a:pt x="21" y="19"/>
                  <a:pt x="19" y="21"/>
                  <a:pt x="19" y="22"/>
                </a:cubicBezTo>
                <a:close/>
                <a:moveTo>
                  <a:pt x="19" y="39"/>
                </a:moveTo>
                <a:cubicBezTo>
                  <a:pt x="19" y="40"/>
                  <a:pt x="21" y="41"/>
                  <a:pt x="22" y="41"/>
                </a:cubicBezTo>
                <a:cubicBezTo>
                  <a:pt x="24" y="41"/>
                  <a:pt x="25" y="40"/>
                  <a:pt x="25" y="39"/>
                </a:cubicBezTo>
                <a:cubicBezTo>
                  <a:pt x="25" y="37"/>
                  <a:pt x="24" y="36"/>
                  <a:pt x="22" y="36"/>
                </a:cubicBezTo>
                <a:cubicBezTo>
                  <a:pt x="21" y="36"/>
                  <a:pt x="19" y="37"/>
                  <a:pt x="19" y="39"/>
                </a:cubicBezTo>
                <a:close/>
                <a:moveTo>
                  <a:pt x="11" y="30"/>
                </a:moveTo>
                <a:cubicBezTo>
                  <a:pt x="11" y="32"/>
                  <a:pt x="12" y="33"/>
                  <a:pt x="14" y="33"/>
                </a:cubicBezTo>
                <a:cubicBezTo>
                  <a:pt x="15" y="33"/>
                  <a:pt x="17" y="32"/>
                  <a:pt x="17" y="30"/>
                </a:cubicBezTo>
                <a:cubicBezTo>
                  <a:pt x="17" y="29"/>
                  <a:pt x="15" y="28"/>
                  <a:pt x="14" y="28"/>
                </a:cubicBezTo>
                <a:cubicBezTo>
                  <a:pt x="12" y="28"/>
                  <a:pt x="11" y="29"/>
                  <a:pt x="11" y="30"/>
                </a:cubicBezTo>
                <a:close/>
                <a:moveTo>
                  <a:pt x="28" y="30"/>
                </a:moveTo>
                <a:cubicBezTo>
                  <a:pt x="28" y="32"/>
                  <a:pt x="29" y="33"/>
                  <a:pt x="30" y="33"/>
                </a:cubicBezTo>
                <a:cubicBezTo>
                  <a:pt x="32" y="33"/>
                  <a:pt x="33" y="32"/>
                  <a:pt x="33" y="30"/>
                </a:cubicBezTo>
                <a:cubicBezTo>
                  <a:pt x="33" y="29"/>
                  <a:pt x="32" y="28"/>
                  <a:pt x="30" y="28"/>
                </a:cubicBezTo>
                <a:cubicBezTo>
                  <a:pt x="29" y="28"/>
                  <a:pt x="28" y="29"/>
                  <a:pt x="28" y="30"/>
                </a:cubicBezTo>
                <a:close/>
                <a:moveTo>
                  <a:pt x="36" y="22"/>
                </a:moveTo>
                <a:cubicBezTo>
                  <a:pt x="36" y="24"/>
                  <a:pt x="37" y="25"/>
                  <a:pt x="39" y="25"/>
                </a:cubicBezTo>
                <a:cubicBezTo>
                  <a:pt x="40" y="25"/>
                  <a:pt x="41" y="24"/>
                  <a:pt x="41" y="22"/>
                </a:cubicBezTo>
                <a:cubicBezTo>
                  <a:pt x="41" y="21"/>
                  <a:pt x="40" y="19"/>
                  <a:pt x="39" y="19"/>
                </a:cubicBezTo>
                <a:cubicBezTo>
                  <a:pt x="37" y="19"/>
                  <a:pt x="36" y="21"/>
                  <a:pt x="36" y="22"/>
                </a:cubicBezTo>
                <a:close/>
                <a:moveTo>
                  <a:pt x="36" y="39"/>
                </a:moveTo>
                <a:cubicBezTo>
                  <a:pt x="36" y="40"/>
                  <a:pt x="37" y="41"/>
                  <a:pt x="39" y="41"/>
                </a:cubicBezTo>
                <a:cubicBezTo>
                  <a:pt x="40" y="41"/>
                  <a:pt x="41" y="40"/>
                  <a:pt x="41" y="39"/>
                </a:cubicBezTo>
                <a:cubicBezTo>
                  <a:pt x="41" y="37"/>
                  <a:pt x="40" y="36"/>
                  <a:pt x="39" y="36"/>
                </a:cubicBezTo>
                <a:cubicBezTo>
                  <a:pt x="37" y="36"/>
                  <a:pt x="36" y="37"/>
                  <a:pt x="36" y="39"/>
                </a:cubicBezTo>
                <a:close/>
                <a:moveTo>
                  <a:pt x="52" y="39"/>
                </a:moveTo>
                <a:cubicBezTo>
                  <a:pt x="52" y="40"/>
                  <a:pt x="54" y="41"/>
                  <a:pt x="55" y="41"/>
                </a:cubicBezTo>
                <a:cubicBezTo>
                  <a:pt x="57" y="41"/>
                  <a:pt x="58" y="40"/>
                  <a:pt x="58" y="39"/>
                </a:cubicBezTo>
                <a:cubicBezTo>
                  <a:pt x="58" y="37"/>
                  <a:pt x="57" y="36"/>
                  <a:pt x="55" y="36"/>
                </a:cubicBezTo>
                <a:cubicBezTo>
                  <a:pt x="54" y="36"/>
                  <a:pt x="52" y="37"/>
                  <a:pt x="52" y="39"/>
                </a:cubicBezTo>
                <a:close/>
                <a:moveTo>
                  <a:pt x="44" y="30"/>
                </a:moveTo>
                <a:cubicBezTo>
                  <a:pt x="44" y="32"/>
                  <a:pt x="45" y="33"/>
                  <a:pt x="47" y="33"/>
                </a:cubicBezTo>
                <a:cubicBezTo>
                  <a:pt x="48" y="33"/>
                  <a:pt x="50" y="32"/>
                  <a:pt x="50" y="30"/>
                </a:cubicBezTo>
                <a:cubicBezTo>
                  <a:pt x="50" y="29"/>
                  <a:pt x="48" y="28"/>
                  <a:pt x="47" y="28"/>
                </a:cubicBezTo>
                <a:cubicBezTo>
                  <a:pt x="45" y="28"/>
                  <a:pt x="44" y="29"/>
                  <a:pt x="44" y="30"/>
                </a:cubicBezTo>
                <a:close/>
                <a:moveTo>
                  <a:pt x="61" y="30"/>
                </a:moveTo>
                <a:cubicBezTo>
                  <a:pt x="61" y="32"/>
                  <a:pt x="62" y="33"/>
                  <a:pt x="63" y="33"/>
                </a:cubicBezTo>
                <a:cubicBezTo>
                  <a:pt x="65" y="33"/>
                  <a:pt x="66" y="32"/>
                  <a:pt x="66" y="30"/>
                </a:cubicBezTo>
                <a:cubicBezTo>
                  <a:pt x="66" y="29"/>
                  <a:pt x="65" y="28"/>
                  <a:pt x="63" y="28"/>
                </a:cubicBezTo>
                <a:cubicBezTo>
                  <a:pt x="62" y="28"/>
                  <a:pt x="61" y="29"/>
                  <a:pt x="61" y="30"/>
                </a:cubicBezTo>
                <a:close/>
                <a:moveTo>
                  <a:pt x="69" y="39"/>
                </a:moveTo>
                <a:cubicBezTo>
                  <a:pt x="69" y="40"/>
                  <a:pt x="70" y="41"/>
                  <a:pt x="72" y="41"/>
                </a:cubicBezTo>
                <a:cubicBezTo>
                  <a:pt x="73" y="41"/>
                  <a:pt x="74" y="40"/>
                  <a:pt x="74" y="39"/>
                </a:cubicBezTo>
                <a:cubicBezTo>
                  <a:pt x="74" y="37"/>
                  <a:pt x="73" y="36"/>
                  <a:pt x="72" y="36"/>
                </a:cubicBezTo>
                <a:cubicBezTo>
                  <a:pt x="70" y="36"/>
                  <a:pt x="69" y="37"/>
                  <a:pt x="69" y="39"/>
                </a:cubicBezTo>
                <a:close/>
                <a:moveTo>
                  <a:pt x="86" y="39"/>
                </a:moveTo>
                <a:cubicBezTo>
                  <a:pt x="86" y="40"/>
                  <a:pt x="87" y="41"/>
                  <a:pt x="88" y="41"/>
                </a:cubicBezTo>
                <a:cubicBezTo>
                  <a:pt x="90" y="41"/>
                  <a:pt x="91" y="40"/>
                  <a:pt x="91" y="39"/>
                </a:cubicBezTo>
                <a:cubicBezTo>
                  <a:pt x="91" y="37"/>
                  <a:pt x="90" y="36"/>
                  <a:pt x="88" y="36"/>
                </a:cubicBezTo>
                <a:cubicBezTo>
                  <a:pt x="87" y="36"/>
                  <a:pt x="86" y="37"/>
                  <a:pt x="86" y="39"/>
                </a:cubicBezTo>
                <a:close/>
                <a:moveTo>
                  <a:pt x="77" y="30"/>
                </a:moveTo>
                <a:cubicBezTo>
                  <a:pt x="77" y="32"/>
                  <a:pt x="78" y="33"/>
                  <a:pt x="80" y="33"/>
                </a:cubicBezTo>
                <a:cubicBezTo>
                  <a:pt x="82" y="33"/>
                  <a:pt x="83" y="32"/>
                  <a:pt x="83" y="30"/>
                </a:cubicBezTo>
                <a:cubicBezTo>
                  <a:pt x="83" y="29"/>
                  <a:pt x="82" y="28"/>
                  <a:pt x="80" y="28"/>
                </a:cubicBezTo>
                <a:cubicBezTo>
                  <a:pt x="78" y="28"/>
                  <a:pt x="77" y="29"/>
                  <a:pt x="77" y="30"/>
                </a:cubicBezTo>
                <a:close/>
                <a:moveTo>
                  <a:pt x="94" y="30"/>
                </a:moveTo>
                <a:cubicBezTo>
                  <a:pt x="94" y="32"/>
                  <a:pt x="95" y="33"/>
                  <a:pt x="97" y="33"/>
                </a:cubicBezTo>
                <a:cubicBezTo>
                  <a:pt x="98" y="33"/>
                  <a:pt x="99" y="32"/>
                  <a:pt x="99" y="30"/>
                </a:cubicBezTo>
                <a:cubicBezTo>
                  <a:pt x="99" y="29"/>
                  <a:pt x="98" y="28"/>
                  <a:pt x="97" y="28"/>
                </a:cubicBezTo>
                <a:cubicBezTo>
                  <a:pt x="95" y="28"/>
                  <a:pt x="94" y="29"/>
                  <a:pt x="94" y="30"/>
                </a:cubicBezTo>
                <a:close/>
                <a:moveTo>
                  <a:pt x="119" y="22"/>
                </a:moveTo>
                <a:cubicBezTo>
                  <a:pt x="119" y="24"/>
                  <a:pt x="120" y="25"/>
                  <a:pt x="121" y="25"/>
                </a:cubicBezTo>
                <a:cubicBezTo>
                  <a:pt x="123" y="25"/>
                  <a:pt x="124" y="24"/>
                  <a:pt x="124" y="22"/>
                </a:cubicBezTo>
                <a:cubicBezTo>
                  <a:pt x="124" y="21"/>
                  <a:pt x="123" y="19"/>
                  <a:pt x="121" y="19"/>
                </a:cubicBezTo>
                <a:cubicBezTo>
                  <a:pt x="120" y="19"/>
                  <a:pt x="119" y="21"/>
                  <a:pt x="119" y="22"/>
                </a:cubicBezTo>
                <a:close/>
                <a:moveTo>
                  <a:pt x="102" y="39"/>
                </a:moveTo>
                <a:cubicBezTo>
                  <a:pt x="102" y="40"/>
                  <a:pt x="103" y="41"/>
                  <a:pt x="105" y="41"/>
                </a:cubicBezTo>
                <a:cubicBezTo>
                  <a:pt x="106" y="41"/>
                  <a:pt x="108" y="40"/>
                  <a:pt x="108" y="39"/>
                </a:cubicBezTo>
                <a:cubicBezTo>
                  <a:pt x="108" y="37"/>
                  <a:pt x="106" y="36"/>
                  <a:pt x="105" y="36"/>
                </a:cubicBezTo>
                <a:cubicBezTo>
                  <a:pt x="103" y="36"/>
                  <a:pt x="102" y="37"/>
                  <a:pt x="102" y="39"/>
                </a:cubicBezTo>
                <a:close/>
                <a:moveTo>
                  <a:pt x="119" y="39"/>
                </a:moveTo>
                <a:cubicBezTo>
                  <a:pt x="119" y="40"/>
                  <a:pt x="120" y="41"/>
                  <a:pt x="121" y="41"/>
                </a:cubicBezTo>
                <a:cubicBezTo>
                  <a:pt x="123" y="41"/>
                  <a:pt x="124" y="40"/>
                  <a:pt x="124" y="39"/>
                </a:cubicBezTo>
                <a:cubicBezTo>
                  <a:pt x="124" y="37"/>
                  <a:pt x="123" y="36"/>
                  <a:pt x="121" y="36"/>
                </a:cubicBezTo>
                <a:cubicBezTo>
                  <a:pt x="120" y="36"/>
                  <a:pt x="119" y="37"/>
                  <a:pt x="119" y="39"/>
                </a:cubicBezTo>
                <a:close/>
                <a:moveTo>
                  <a:pt x="110" y="30"/>
                </a:moveTo>
                <a:cubicBezTo>
                  <a:pt x="110" y="32"/>
                  <a:pt x="112" y="33"/>
                  <a:pt x="113" y="33"/>
                </a:cubicBezTo>
                <a:cubicBezTo>
                  <a:pt x="115" y="33"/>
                  <a:pt x="116" y="32"/>
                  <a:pt x="116" y="30"/>
                </a:cubicBezTo>
                <a:cubicBezTo>
                  <a:pt x="116" y="29"/>
                  <a:pt x="115" y="28"/>
                  <a:pt x="113" y="28"/>
                </a:cubicBezTo>
                <a:cubicBezTo>
                  <a:pt x="112" y="28"/>
                  <a:pt x="110" y="29"/>
                  <a:pt x="110" y="30"/>
                </a:cubicBezTo>
                <a:close/>
                <a:moveTo>
                  <a:pt x="127" y="30"/>
                </a:moveTo>
                <a:cubicBezTo>
                  <a:pt x="127" y="32"/>
                  <a:pt x="128" y="33"/>
                  <a:pt x="130" y="33"/>
                </a:cubicBezTo>
                <a:cubicBezTo>
                  <a:pt x="131" y="33"/>
                  <a:pt x="132" y="32"/>
                  <a:pt x="132" y="30"/>
                </a:cubicBezTo>
                <a:cubicBezTo>
                  <a:pt x="132" y="29"/>
                  <a:pt x="131" y="28"/>
                  <a:pt x="130" y="28"/>
                </a:cubicBezTo>
                <a:cubicBezTo>
                  <a:pt x="128" y="28"/>
                  <a:pt x="127" y="29"/>
                  <a:pt x="127" y="30"/>
                </a:cubicBezTo>
                <a:close/>
                <a:moveTo>
                  <a:pt x="135" y="22"/>
                </a:moveTo>
                <a:cubicBezTo>
                  <a:pt x="135" y="24"/>
                  <a:pt x="136" y="25"/>
                  <a:pt x="138" y="25"/>
                </a:cubicBezTo>
                <a:cubicBezTo>
                  <a:pt x="139" y="25"/>
                  <a:pt x="141" y="24"/>
                  <a:pt x="141" y="22"/>
                </a:cubicBezTo>
                <a:cubicBezTo>
                  <a:pt x="141" y="21"/>
                  <a:pt x="139" y="19"/>
                  <a:pt x="138" y="19"/>
                </a:cubicBezTo>
                <a:cubicBezTo>
                  <a:pt x="136" y="19"/>
                  <a:pt x="135" y="21"/>
                  <a:pt x="135" y="22"/>
                </a:cubicBezTo>
                <a:close/>
                <a:moveTo>
                  <a:pt x="135" y="39"/>
                </a:moveTo>
                <a:cubicBezTo>
                  <a:pt x="135" y="40"/>
                  <a:pt x="136" y="41"/>
                  <a:pt x="138" y="41"/>
                </a:cubicBezTo>
                <a:cubicBezTo>
                  <a:pt x="139" y="41"/>
                  <a:pt x="141" y="40"/>
                  <a:pt x="141" y="39"/>
                </a:cubicBezTo>
                <a:cubicBezTo>
                  <a:pt x="141" y="37"/>
                  <a:pt x="139" y="36"/>
                  <a:pt x="138" y="36"/>
                </a:cubicBezTo>
                <a:cubicBezTo>
                  <a:pt x="136" y="36"/>
                  <a:pt x="135" y="37"/>
                  <a:pt x="135" y="39"/>
                </a:cubicBezTo>
                <a:close/>
                <a:moveTo>
                  <a:pt x="143" y="30"/>
                </a:moveTo>
                <a:cubicBezTo>
                  <a:pt x="143" y="32"/>
                  <a:pt x="145" y="33"/>
                  <a:pt x="146" y="33"/>
                </a:cubicBezTo>
                <a:cubicBezTo>
                  <a:pt x="148" y="33"/>
                  <a:pt x="149" y="32"/>
                  <a:pt x="149" y="30"/>
                </a:cubicBezTo>
                <a:cubicBezTo>
                  <a:pt x="149" y="29"/>
                  <a:pt x="148" y="28"/>
                  <a:pt x="146" y="28"/>
                </a:cubicBezTo>
                <a:cubicBezTo>
                  <a:pt x="145" y="28"/>
                  <a:pt x="143" y="29"/>
                  <a:pt x="143" y="3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87" name="Freeform 1064">
            <a:extLst>
              <a:ext uri="{FF2B5EF4-FFF2-40B4-BE49-F238E27FC236}">
                <a16:creationId xmlns:a16="http://schemas.microsoft.com/office/drawing/2014/main" id="{C98AE8F3-2491-1443-8351-D11C5FBC8F4B}"/>
              </a:ext>
            </a:extLst>
          </p:cNvPr>
          <p:cNvSpPr>
            <a:spLocks noEditPoints="1"/>
          </p:cNvSpPr>
          <p:nvPr/>
        </p:nvSpPr>
        <p:spPr bwMode="auto">
          <a:xfrm>
            <a:off x="4413133" y="984250"/>
            <a:ext cx="508000" cy="550863"/>
          </a:xfrm>
          <a:custGeom>
            <a:avLst/>
            <a:gdLst>
              <a:gd name="T0" fmla="*/ 147 w 149"/>
              <a:gd name="T1" fmla="*/ 11 h 160"/>
              <a:gd name="T2" fmla="*/ 128 w 149"/>
              <a:gd name="T3" fmla="*/ 11 h 160"/>
              <a:gd name="T4" fmla="*/ 128 w 149"/>
              <a:gd name="T5" fmla="*/ 3 h 160"/>
              <a:gd name="T6" fmla="*/ 125 w 149"/>
              <a:gd name="T7" fmla="*/ 0 h 160"/>
              <a:gd name="T8" fmla="*/ 107 w 149"/>
              <a:gd name="T9" fmla="*/ 0 h 160"/>
              <a:gd name="T10" fmla="*/ 104 w 149"/>
              <a:gd name="T11" fmla="*/ 3 h 160"/>
              <a:gd name="T12" fmla="*/ 104 w 149"/>
              <a:gd name="T13" fmla="*/ 11 h 160"/>
              <a:gd name="T14" fmla="*/ 45 w 149"/>
              <a:gd name="T15" fmla="*/ 11 h 160"/>
              <a:gd name="T16" fmla="*/ 45 w 149"/>
              <a:gd name="T17" fmla="*/ 3 h 160"/>
              <a:gd name="T18" fmla="*/ 43 w 149"/>
              <a:gd name="T19" fmla="*/ 0 h 160"/>
              <a:gd name="T20" fmla="*/ 24 w 149"/>
              <a:gd name="T21" fmla="*/ 0 h 160"/>
              <a:gd name="T22" fmla="*/ 21 w 149"/>
              <a:gd name="T23" fmla="*/ 3 h 160"/>
              <a:gd name="T24" fmla="*/ 21 w 149"/>
              <a:gd name="T25" fmla="*/ 11 h 160"/>
              <a:gd name="T26" fmla="*/ 3 w 149"/>
              <a:gd name="T27" fmla="*/ 11 h 160"/>
              <a:gd name="T28" fmla="*/ 0 w 149"/>
              <a:gd name="T29" fmla="*/ 13 h 160"/>
              <a:gd name="T30" fmla="*/ 0 w 149"/>
              <a:gd name="T31" fmla="*/ 43 h 160"/>
              <a:gd name="T32" fmla="*/ 0 w 149"/>
              <a:gd name="T33" fmla="*/ 157 h 160"/>
              <a:gd name="T34" fmla="*/ 3 w 149"/>
              <a:gd name="T35" fmla="*/ 160 h 160"/>
              <a:gd name="T36" fmla="*/ 147 w 149"/>
              <a:gd name="T37" fmla="*/ 160 h 160"/>
              <a:gd name="T38" fmla="*/ 149 w 149"/>
              <a:gd name="T39" fmla="*/ 157 h 160"/>
              <a:gd name="T40" fmla="*/ 149 w 149"/>
              <a:gd name="T41" fmla="*/ 43 h 160"/>
              <a:gd name="T42" fmla="*/ 149 w 149"/>
              <a:gd name="T43" fmla="*/ 13 h 160"/>
              <a:gd name="T44" fmla="*/ 147 w 149"/>
              <a:gd name="T45" fmla="*/ 11 h 160"/>
              <a:gd name="T46" fmla="*/ 109 w 149"/>
              <a:gd name="T47" fmla="*/ 5 h 160"/>
              <a:gd name="T48" fmla="*/ 123 w 149"/>
              <a:gd name="T49" fmla="*/ 5 h 160"/>
              <a:gd name="T50" fmla="*/ 123 w 149"/>
              <a:gd name="T51" fmla="*/ 13 h 160"/>
              <a:gd name="T52" fmla="*/ 123 w 149"/>
              <a:gd name="T53" fmla="*/ 21 h 160"/>
              <a:gd name="T54" fmla="*/ 109 w 149"/>
              <a:gd name="T55" fmla="*/ 21 h 160"/>
              <a:gd name="T56" fmla="*/ 109 w 149"/>
              <a:gd name="T57" fmla="*/ 13 h 160"/>
              <a:gd name="T58" fmla="*/ 109 w 149"/>
              <a:gd name="T59" fmla="*/ 5 h 160"/>
              <a:gd name="T60" fmla="*/ 27 w 149"/>
              <a:gd name="T61" fmla="*/ 5 h 160"/>
              <a:gd name="T62" fmla="*/ 40 w 149"/>
              <a:gd name="T63" fmla="*/ 5 h 160"/>
              <a:gd name="T64" fmla="*/ 40 w 149"/>
              <a:gd name="T65" fmla="*/ 13 h 160"/>
              <a:gd name="T66" fmla="*/ 40 w 149"/>
              <a:gd name="T67" fmla="*/ 21 h 160"/>
              <a:gd name="T68" fmla="*/ 27 w 149"/>
              <a:gd name="T69" fmla="*/ 21 h 160"/>
              <a:gd name="T70" fmla="*/ 27 w 149"/>
              <a:gd name="T71" fmla="*/ 13 h 160"/>
              <a:gd name="T72" fmla="*/ 27 w 149"/>
              <a:gd name="T73" fmla="*/ 5 h 160"/>
              <a:gd name="T74" fmla="*/ 5 w 149"/>
              <a:gd name="T75" fmla="*/ 16 h 160"/>
              <a:gd name="T76" fmla="*/ 21 w 149"/>
              <a:gd name="T77" fmla="*/ 16 h 160"/>
              <a:gd name="T78" fmla="*/ 21 w 149"/>
              <a:gd name="T79" fmla="*/ 24 h 160"/>
              <a:gd name="T80" fmla="*/ 24 w 149"/>
              <a:gd name="T81" fmla="*/ 27 h 160"/>
              <a:gd name="T82" fmla="*/ 43 w 149"/>
              <a:gd name="T83" fmla="*/ 27 h 160"/>
              <a:gd name="T84" fmla="*/ 45 w 149"/>
              <a:gd name="T85" fmla="*/ 24 h 160"/>
              <a:gd name="T86" fmla="*/ 45 w 149"/>
              <a:gd name="T87" fmla="*/ 16 h 160"/>
              <a:gd name="T88" fmla="*/ 104 w 149"/>
              <a:gd name="T89" fmla="*/ 16 h 160"/>
              <a:gd name="T90" fmla="*/ 104 w 149"/>
              <a:gd name="T91" fmla="*/ 24 h 160"/>
              <a:gd name="T92" fmla="*/ 107 w 149"/>
              <a:gd name="T93" fmla="*/ 27 h 160"/>
              <a:gd name="T94" fmla="*/ 125 w 149"/>
              <a:gd name="T95" fmla="*/ 27 h 160"/>
              <a:gd name="T96" fmla="*/ 128 w 149"/>
              <a:gd name="T97" fmla="*/ 24 h 160"/>
              <a:gd name="T98" fmla="*/ 128 w 149"/>
              <a:gd name="T99" fmla="*/ 16 h 160"/>
              <a:gd name="T100" fmla="*/ 144 w 149"/>
              <a:gd name="T101" fmla="*/ 16 h 160"/>
              <a:gd name="T102" fmla="*/ 144 w 149"/>
              <a:gd name="T103" fmla="*/ 40 h 160"/>
              <a:gd name="T104" fmla="*/ 5 w 149"/>
              <a:gd name="T105" fmla="*/ 40 h 160"/>
              <a:gd name="T106" fmla="*/ 5 w 149"/>
              <a:gd name="T107" fmla="*/ 16 h 160"/>
              <a:gd name="T108" fmla="*/ 5 w 149"/>
              <a:gd name="T109" fmla="*/ 155 h 160"/>
              <a:gd name="T110" fmla="*/ 5 w 149"/>
              <a:gd name="T111" fmla="*/ 45 h 160"/>
              <a:gd name="T112" fmla="*/ 144 w 149"/>
              <a:gd name="T113" fmla="*/ 45 h 160"/>
              <a:gd name="T114" fmla="*/ 144 w 149"/>
              <a:gd name="T115" fmla="*/ 155 h 160"/>
              <a:gd name="T116" fmla="*/ 5 w 149"/>
              <a:gd name="T11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160">
                <a:moveTo>
                  <a:pt x="147" y="11"/>
                </a:moveTo>
                <a:cubicBezTo>
                  <a:pt x="128" y="11"/>
                  <a:pt x="128" y="11"/>
                  <a:pt x="128" y="11"/>
                </a:cubicBezTo>
                <a:cubicBezTo>
                  <a:pt x="128" y="3"/>
                  <a:pt x="128" y="3"/>
                  <a:pt x="128" y="3"/>
                </a:cubicBezTo>
                <a:cubicBezTo>
                  <a:pt x="128" y="1"/>
                  <a:pt x="127" y="0"/>
                  <a:pt x="125" y="0"/>
                </a:cubicBezTo>
                <a:cubicBezTo>
                  <a:pt x="107" y="0"/>
                  <a:pt x="107" y="0"/>
                  <a:pt x="107" y="0"/>
                </a:cubicBezTo>
                <a:cubicBezTo>
                  <a:pt x="105" y="0"/>
                  <a:pt x="104" y="1"/>
                  <a:pt x="104" y="3"/>
                </a:cubicBezTo>
                <a:cubicBezTo>
                  <a:pt x="104" y="11"/>
                  <a:pt x="104" y="11"/>
                  <a:pt x="104" y="11"/>
                </a:cubicBezTo>
                <a:cubicBezTo>
                  <a:pt x="45" y="11"/>
                  <a:pt x="45" y="11"/>
                  <a:pt x="45" y="11"/>
                </a:cubicBezTo>
                <a:cubicBezTo>
                  <a:pt x="45" y="3"/>
                  <a:pt x="45" y="3"/>
                  <a:pt x="45" y="3"/>
                </a:cubicBezTo>
                <a:cubicBezTo>
                  <a:pt x="45" y="1"/>
                  <a:pt x="44" y="0"/>
                  <a:pt x="43" y="0"/>
                </a:cubicBezTo>
                <a:cubicBezTo>
                  <a:pt x="24" y="0"/>
                  <a:pt x="24" y="0"/>
                  <a:pt x="24" y="0"/>
                </a:cubicBezTo>
                <a:cubicBezTo>
                  <a:pt x="23" y="0"/>
                  <a:pt x="21" y="1"/>
                  <a:pt x="21" y="3"/>
                </a:cubicBezTo>
                <a:cubicBezTo>
                  <a:pt x="21" y="11"/>
                  <a:pt x="21" y="11"/>
                  <a:pt x="21" y="11"/>
                </a:cubicBezTo>
                <a:cubicBezTo>
                  <a:pt x="3" y="11"/>
                  <a:pt x="3" y="11"/>
                  <a:pt x="3" y="11"/>
                </a:cubicBezTo>
                <a:cubicBezTo>
                  <a:pt x="1" y="11"/>
                  <a:pt x="0" y="12"/>
                  <a:pt x="0" y="13"/>
                </a:cubicBezTo>
                <a:cubicBezTo>
                  <a:pt x="0" y="43"/>
                  <a:pt x="0" y="43"/>
                  <a:pt x="0" y="43"/>
                </a:cubicBezTo>
                <a:cubicBezTo>
                  <a:pt x="0" y="157"/>
                  <a:pt x="0" y="157"/>
                  <a:pt x="0" y="157"/>
                </a:cubicBezTo>
                <a:cubicBezTo>
                  <a:pt x="0" y="159"/>
                  <a:pt x="1" y="160"/>
                  <a:pt x="3" y="160"/>
                </a:cubicBezTo>
                <a:cubicBezTo>
                  <a:pt x="147" y="160"/>
                  <a:pt x="147" y="160"/>
                  <a:pt x="147" y="160"/>
                </a:cubicBezTo>
                <a:cubicBezTo>
                  <a:pt x="148" y="160"/>
                  <a:pt x="149" y="159"/>
                  <a:pt x="149" y="157"/>
                </a:cubicBezTo>
                <a:cubicBezTo>
                  <a:pt x="149" y="43"/>
                  <a:pt x="149" y="43"/>
                  <a:pt x="149" y="43"/>
                </a:cubicBezTo>
                <a:cubicBezTo>
                  <a:pt x="149" y="13"/>
                  <a:pt x="149" y="13"/>
                  <a:pt x="149" y="13"/>
                </a:cubicBezTo>
                <a:cubicBezTo>
                  <a:pt x="149" y="12"/>
                  <a:pt x="148" y="11"/>
                  <a:pt x="147" y="11"/>
                </a:cubicBezTo>
                <a:close/>
                <a:moveTo>
                  <a:pt x="109" y="5"/>
                </a:moveTo>
                <a:cubicBezTo>
                  <a:pt x="123" y="5"/>
                  <a:pt x="123" y="5"/>
                  <a:pt x="123" y="5"/>
                </a:cubicBezTo>
                <a:cubicBezTo>
                  <a:pt x="123" y="13"/>
                  <a:pt x="123" y="13"/>
                  <a:pt x="123" y="13"/>
                </a:cubicBezTo>
                <a:cubicBezTo>
                  <a:pt x="123" y="21"/>
                  <a:pt x="123" y="21"/>
                  <a:pt x="123" y="21"/>
                </a:cubicBezTo>
                <a:cubicBezTo>
                  <a:pt x="109" y="21"/>
                  <a:pt x="109" y="21"/>
                  <a:pt x="109" y="21"/>
                </a:cubicBezTo>
                <a:cubicBezTo>
                  <a:pt x="109" y="13"/>
                  <a:pt x="109" y="13"/>
                  <a:pt x="109" y="13"/>
                </a:cubicBezTo>
                <a:lnTo>
                  <a:pt x="109" y="5"/>
                </a:lnTo>
                <a:close/>
                <a:moveTo>
                  <a:pt x="27" y="5"/>
                </a:moveTo>
                <a:cubicBezTo>
                  <a:pt x="40" y="5"/>
                  <a:pt x="40" y="5"/>
                  <a:pt x="40" y="5"/>
                </a:cubicBezTo>
                <a:cubicBezTo>
                  <a:pt x="40" y="13"/>
                  <a:pt x="40" y="13"/>
                  <a:pt x="40" y="13"/>
                </a:cubicBezTo>
                <a:cubicBezTo>
                  <a:pt x="40" y="21"/>
                  <a:pt x="40" y="21"/>
                  <a:pt x="40" y="21"/>
                </a:cubicBezTo>
                <a:cubicBezTo>
                  <a:pt x="27" y="21"/>
                  <a:pt x="27" y="21"/>
                  <a:pt x="27" y="21"/>
                </a:cubicBezTo>
                <a:cubicBezTo>
                  <a:pt x="27" y="13"/>
                  <a:pt x="27" y="13"/>
                  <a:pt x="27" y="13"/>
                </a:cubicBezTo>
                <a:lnTo>
                  <a:pt x="27" y="5"/>
                </a:lnTo>
                <a:close/>
                <a:moveTo>
                  <a:pt x="5" y="16"/>
                </a:moveTo>
                <a:cubicBezTo>
                  <a:pt x="21" y="16"/>
                  <a:pt x="21" y="16"/>
                  <a:pt x="21" y="16"/>
                </a:cubicBezTo>
                <a:cubicBezTo>
                  <a:pt x="21" y="24"/>
                  <a:pt x="21" y="24"/>
                  <a:pt x="21" y="24"/>
                </a:cubicBezTo>
                <a:cubicBezTo>
                  <a:pt x="21" y="25"/>
                  <a:pt x="23" y="27"/>
                  <a:pt x="24" y="27"/>
                </a:cubicBezTo>
                <a:cubicBezTo>
                  <a:pt x="43" y="27"/>
                  <a:pt x="43" y="27"/>
                  <a:pt x="43" y="27"/>
                </a:cubicBezTo>
                <a:cubicBezTo>
                  <a:pt x="44" y="27"/>
                  <a:pt x="45" y="25"/>
                  <a:pt x="45" y="24"/>
                </a:cubicBezTo>
                <a:cubicBezTo>
                  <a:pt x="45" y="16"/>
                  <a:pt x="45" y="16"/>
                  <a:pt x="45" y="16"/>
                </a:cubicBezTo>
                <a:cubicBezTo>
                  <a:pt x="104" y="16"/>
                  <a:pt x="104" y="16"/>
                  <a:pt x="104" y="16"/>
                </a:cubicBezTo>
                <a:cubicBezTo>
                  <a:pt x="104" y="24"/>
                  <a:pt x="104" y="24"/>
                  <a:pt x="104" y="24"/>
                </a:cubicBezTo>
                <a:cubicBezTo>
                  <a:pt x="104" y="25"/>
                  <a:pt x="105" y="27"/>
                  <a:pt x="107" y="27"/>
                </a:cubicBezTo>
                <a:cubicBezTo>
                  <a:pt x="125" y="27"/>
                  <a:pt x="125" y="27"/>
                  <a:pt x="125" y="27"/>
                </a:cubicBezTo>
                <a:cubicBezTo>
                  <a:pt x="127" y="27"/>
                  <a:pt x="128" y="25"/>
                  <a:pt x="128" y="24"/>
                </a:cubicBezTo>
                <a:cubicBezTo>
                  <a:pt x="128" y="16"/>
                  <a:pt x="128" y="16"/>
                  <a:pt x="128" y="16"/>
                </a:cubicBezTo>
                <a:cubicBezTo>
                  <a:pt x="144" y="16"/>
                  <a:pt x="144" y="16"/>
                  <a:pt x="144" y="16"/>
                </a:cubicBezTo>
                <a:cubicBezTo>
                  <a:pt x="144" y="40"/>
                  <a:pt x="144" y="40"/>
                  <a:pt x="144" y="40"/>
                </a:cubicBezTo>
                <a:cubicBezTo>
                  <a:pt x="5" y="40"/>
                  <a:pt x="5" y="40"/>
                  <a:pt x="5" y="40"/>
                </a:cubicBezTo>
                <a:lnTo>
                  <a:pt x="5" y="16"/>
                </a:lnTo>
                <a:close/>
                <a:moveTo>
                  <a:pt x="5" y="155"/>
                </a:moveTo>
                <a:cubicBezTo>
                  <a:pt x="5" y="45"/>
                  <a:pt x="5" y="45"/>
                  <a:pt x="5" y="45"/>
                </a:cubicBezTo>
                <a:cubicBezTo>
                  <a:pt x="144" y="45"/>
                  <a:pt x="144" y="45"/>
                  <a:pt x="144" y="45"/>
                </a:cubicBezTo>
                <a:cubicBezTo>
                  <a:pt x="144" y="155"/>
                  <a:pt x="144" y="155"/>
                  <a:pt x="144" y="155"/>
                </a:cubicBezTo>
                <a:lnTo>
                  <a:pt x="5" y="15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88" name="Freeform 1065">
            <a:extLst>
              <a:ext uri="{FF2B5EF4-FFF2-40B4-BE49-F238E27FC236}">
                <a16:creationId xmlns:a16="http://schemas.microsoft.com/office/drawing/2014/main" id="{6E02B3F8-1AF0-9D4B-B891-F41AB12D6928}"/>
              </a:ext>
            </a:extLst>
          </p:cNvPr>
          <p:cNvSpPr>
            <a:spLocks noEditPoints="1"/>
          </p:cNvSpPr>
          <p:nvPr/>
        </p:nvSpPr>
        <p:spPr bwMode="auto">
          <a:xfrm>
            <a:off x="4494095" y="1193800"/>
            <a:ext cx="344488" cy="268288"/>
          </a:xfrm>
          <a:custGeom>
            <a:avLst/>
            <a:gdLst>
              <a:gd name="T0" fmla="*/ 114 w 217"/>
              <a:gd name="T1" fmla="*/ 0 h 169"/>
              <a:gd name="T2" fmla="*/ 63 w 217"/>
              <a:gd name="T3" fmla="*/ 0 h 169"/>
              <a:gd name="T4" fmla="*/ 0 w 217"/>
              <a:gd name="T5" fmla="*/ 0 h 169"/>
              <a:gd name="T6" fmla="*/ 0 w 217"/>
              <a:gd name="T7" fmla="*/ 65 h 169"/>
              <a:gd name="T8" fmla="*/ 0 w 217"/>
              <a:gd name="T9" fmla="*/ 117 h 169"/>
              <a:gd name="T10" fmla="*/ 52 w 217"/>
              <a:gd name="T11" fmla="*/ 169 h 169"/>
              <a:gd name="T12" fmla="*/ 104 w 217"/>
              <a:gd name="T13" fmla="*/ 169 h 169"/>
              <a:gd name="T14" fmla="*/ 155 w 217"/>
              <a:gd name="T15" fmla="*/ 169 h 169"/>
              <a:gd name="T16" fmla="*/ 217 w 217"/>
              <a:gd name="T17" fmla="*/ 169 h 169"/>
              <a:gd name="T18" fmla="*/ 217 w 217"/>
              <a:gd name="T19" fmla="*/ 104 h 169"/>
              <a:gd name="T20" fmla="*/ 217 w 217"/>
              <a:gd name="T21" fmla="*/ 52 h 169"/>
              <a:gd name="T22" fmla="*/ 166 w 217"/>
              <a:gd name="T23" fmla="*/ 0 h 169"/>
              <a:gd name="T24" fmla="*/ 114 w 217"/>
              <a:gd name="T25" fmla="*/ 13 h 169"/>
              <a:gd name="T26" fmla="*/ 155 w 217"/>
              <a:gd name="T27" fmla="*/ 52 h 169"/>
              <a:gd name="T28" fmla="*/ 114 w 217"/>
              <a:gd name="T29" fmla="*/ 13 h 169"/>
              <a:gd name="T30" fmla="*/ 114 w 217"/>
              <a:gd name="T31" fmla="*/ 104 h 169"/>
              <a:gd name="T32" fmla="*/ 155 w 217"/>
              <a:gd name="T33" fmla="*/ 65 h 169"/>
              <a:gd name="T34" fmla="*/ 63 w 217"/>
              <a:gd name="T35" fmla="*/ 65 h 169"/>
              <a:gd name="T36" fmla="*/ 104 w 217"/>
              <a:gd name="T37" fmla="*/ 104 h 169"/>
              <a:gd name="T38" fmla="*/ 63 w 217"/>
              <a:gd name="T39" fmla="*/ 65 h 169"/>
              <a:gd name="T40" fmla="*/ 104 w 217"/>
              <a:gd name="T41" fmla="*/ 13 h 169"/>
              <a:gd name="T42" fmla="*/ 63 w 217"/>
              <a:gd name="T43" fmla="*/ 52 h 169"/>
              <a:gd name="T44" fmla="*/ 11 w 217"/>
              <a:gd name="T45" fmla="*/ 13 h 169"/>
              <a:gd name="T46" fmla="*/ 52 w 217"/>
              <a:gd name="T47" fmla="*/ 52 h 169"/>
              <a:gd name="T48" fmla="*/ 11 w 217"/>
              <a:gd name="T49" fmla="*/ 13 h 169"/>
              <a:gd name="T50" fmla="*/ 52 w 217"/>
              <a:gd name="T51" fmla="*/ 65 h 169"/>
              <a:gd name="T52" fmla="*/ 11 w 217"/>
              <a:gd name="T53" fmla="*/ 104 h 169"/>
              <a:gd name="T54" fmla="*/ 52 w 217"/>
              <a:gd name="T55" fmla="*/ 156 h 169"/>
              <a:gd name="T56" fmla="*/ 11 w 217"/>
              <a:gd name="T57" fmla="*/ 117 h 169"/>
              <a:gd name="T58" fmla="*/ 52 w 217"/>
              <a:gd name="T59" fmla="*/ 156 h 169"/>
              <a:gd name="T60" fmla="*/ 63 w 217"/>
              <a:gd name="T61" fmla="*/ 156 h 169"/>
              <a:gd name="T62" fmla="*/ 104 w 217"/>
              <a:gd name="T63" fmla="*/ 117 h 169"/>
              <a:gd name="T64" fmla="*/ 155 w 217"/>
              <a:gd name="T65" fmla="*/ 156 h 169"/>
              <a:gd name="T66" fmla="*/ 114 w 217"/>
              <a:gd name="T67" fmla="*/ 117 h 169"/>
              <a:gd name="T68" fmla="*/ 155 w 217"/>
              <a:gd name="T69" fmla="*/ 156 h 169"/>
              <a:gd name="T70" fmla="*/ 166 w 217"/>
              <a:gd name="T71" fmla="*/ 156 h 169"/>
              <a:gd name="T72" fmla="*/ 207 w 217"/>
              <a:gd name="T73" fmla="*/ 117 h 169"/>
              <a:gd name="T74" fmla="*/ 207 w 217"/>
              <a:gd name="T75" fmla="*/ 104 h 169"/>
              <a:gd name="T76" fmla="*/ 166 w 217"/>
              <a:gd name="T77" fmla="*/ 65 h 169"/>
              <a:gd name="T78" fmla="*/ 207 w 217"/>
              <a:gd name="T79" fmla="*/ 104 h 169"/>
              <a:gd name="T80" fmla="*/ 207 w 217"/>
              <a:gd name="T81" fmla="*/ 52 h 169"/>
              <a:gd name="T82" fmla="*/ 166 w 217"/>
              <a:gd name="T83" fmla="*/ 1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7" h="169">
                <a:moveTo>
                  <a:pt x="155" y="0"/>
                </a:moveTo>
                <a:lnTo>
                  <a:pt x="114" y="0"/>
                </a:lnTo>
                <a:lnTo>
                  <a:pt x="104" y="0"/>
                </a:lnTo>
                <a:lnTo>
                  <a:pt x="63" y="0"/>
                </a:lnTo>
                <a:lnTo>
                  <a:pt x="52" y="0"/>
                </a:lnTo>
                <a:lnTo>
                  <a:pt x="0" y="0"/>
                </a:lnTo>
                <a:lnTo>
                  <a:pt x="0" y="52"/>
                </a:lnTo>
                <a:lnTo>
                  <a:pt x="0" y="65"/>
                </a:lnTo>
                <a:lnTo>
                  <a:pt x="0" y="104"/>
                </a:lnTo>
                <a:lnTo>
                  <a:pt x="0" y="117"/>
                </a:lnTo>
                <a:lnTo>
                  <a:pt x="0" y="169"/>
                </a:lnTo>
                <a:lnTo>
                  <a:pt x="52" y="169"/>
                </a:lnTo>
                <a:lnTo>
                  <a:pt x="63" y="169"/>
                </a:lnTo>
                <a:lnTo>
                  <a:pt x="104" y="169"/>
                </a:lnTo>
                <a:lnTo>
                  <a:pt x="114" y="169"/>
                </a:lnTo>
                <a:lnTo>
                  <a:pt x="155" y="169"/>
                </a:lnTo>
                <a:lnTo>
                  <a:pt x="166" y="169"/>
                </a:lnTo>
                <a:lnTo>
                  <a:pt x="217" y="169"/>
                </a:lnTo>
                <a:lnTo>
                  <a:pt x="217" y="117"/>
                </a:lnTo>
                <a:lnTo>
                  <a:pt x="217" y="104"/>
                </a:lnTo>
                <a:lnTo>
                  <a:pt x="217" y="65"/>
                </a:lnTo>
                <a:lnTo>
                  <a:pt x="217" y="52"/>
                </a:lnTo>
                <a:lnTo>
                  <a:pt x="217" y="0"/>
                </a:lnTo>
                <a:lnTo>
                  <a:pt x="166" y="0"/>
                </a:lnTo>
                <a:lnTo>
                  <a:pt x="155" y="0"/>
                </a:lnTo>
                <a:close/>
                <a:moveTo>
                  <a:pt x="114" y="13"/>
                </a:moveTo>
                <a:lnTo>
                  <a:pt x="155" y="13"/>
                </a:lnTo>
                <a:lnTo>
                  <a:pt x="155" y="52"/>
                </a:lnTo>
                <a:lnTo>
                  <a:pt x="114" y="52"/>
                </a:lnTo>
                <a:lnTo>
                  <a:pt x="114" y="13"/>
                </a:lnTo>
                <a:close/>
                <a:moveTo>
                  <a:pt x="155" y="104"/>
                </a:moveTo>
                <a:lnTo>
                  <a:pt x="114" y="104"/>
                </a:lnTo>
                <a:lnTo>
                  <a:pt x="114" y="65"/>
                </a:lnTo>
                <a:lnTo>
                  <a:pt x="155" y="65"/>
                </a:lnTo>
                <a:lnTo>
                  <a:pt x="155" y="104"/>
                </a:lnTo>
                <a:close/>
                <a:moveTo>
                  <a:pt x="63" y="65"/>
                </a:moveTo>
                <a:lnTo>
                  <a:pt x="104" y="65"/>
                </a:lnTo>
                <a:lnTo>
                  <a:pt x="104" y="104"/>
                </a:lnTo>
                <a:lnTo>
                  <a:pt x="63" y="104"/>
                </a:lnTo>
                <a:lnTo>
                  <a:pt x="63" y="65"/>
                </a:lnTo>
                <a:close/>
                <a:moveTo>
                  <a:pt x="63" y="13"/>
                </a:moveTo>
                <a:lnTo>
                  <a:pt x="104" y="13"/>
                </a:lnTo>
                <a:lnTo>
                  <a:pt x="104" y="52"/>
                </a:lnTo>
                <a:lnTo>
                  <a:pt x="63" y="52"/>
                </a:lnTo>
                <a:lnTo>
                  <a:pt x="63" y="13"/>
                </a:lnTo>
                <a:close/>
                <a:moveTo>
                  <a:pt x="11" y="13"/>
                </a:moveTo>
                <a:lnTo>
                  <a:pt x="52" y="13"/>
                </a:lnTo>
                <a:lnTo>
                  <a:pt x="52" y="52"/>
                </a:lnTo>
                <a:lnTo>
                  <a:pt x="11" y="52"/>
                </a:lnTo>
                <a:lnTo>
                  <a:pt x="11" y="13"/>
                </a:lnTo>
                <a:close/>
                <a:moveTo>
                  <a:pt x="11" y="65"/>
                </a:moveTo>
                <a:lnTo>
                  <a:pt x="52" y="65"/>
                </a:lnTo>
                <a:lnTo>
                  <a:pt x="52" y="104"/>
                </a:lnTo>
                <a:lnTo>
                  <a:pt x="11" y="104"/>
                </a:lnTo>
                <a:lnTo>
                  <a:pt x="11" y="65"/>
                </a:lnTo>
                <a:close/>
                <a:moveTo>
                  <a:pt x="52" y="156"/>
                </a:moveTo>
                <a:lnTo>
                  <a:pt x="11" y="156"/>
                </a:lnTo>
                <a:lnTo>
                  <a:pt x="11" y="117"/>
                </a:lnTo>
                <a:lnTo>
                  <a:pt x="52" y="117"/>
                </a:lnTo>
                <a:lnTo>
                  <a:pt x="52" y="156"/>
                </a:lnTo>
                <a:close/>
                <a:moveTo>
                  <a:pt x="104" y="156"/>
                </a:moveTo>
                <a:lnTo>
                  <a:pt x="63" y="156"/>
                </a:lnTo>
                <a:lnTo>
                  <a:pt x="63" y="117"/>
                </a:lnTo>
                <a:lnTo>
                  <a:pt x="104" y="117"/>
                </a:lnTo>
                <a:lnTo>
                  <a:pt x="104" y="156"/>
                </a:lnTo>
                <a:close/>
                <a:moveTo>
                  <a:pt x="155" y="156"/>
                </a:moveTo>
                <a:lnTo>
                  <a:pt x="114" y="156"/>
                </a:lnTo>
                <a:lnTo>
                  <a:pt x="114" y="117"/>
                </a:lnTo>
                <a:lnTo>
                  <a:pt x="155" y="117"/>
                </a:lnTo>
                <a:lnTo>
                  <a:pt x="155" y="156"/>
                </a:lnTo>
                <a:close/>
                <a:moveTo>
                  <a:pt x="207" y="156"/>
                </a:moveTo>
                <a:lnTo>
                  <a:pt x="166" y="156"/>
                </a:lnTo>
                <a:lnTo>
                  <a:pt x="166" y="117"/>
                </a:lnTo>
                <a:lnTo>
                  <a:pt x="207" y="117"/>
                </a:lnTo>
                <a:lnTo>
                  <a:pt x="207" y="156"/>
                </a:lnTo>
                <a:close/>
                <a:moveTo>
                  <a:pt x="207" y="104"/>
                </a:moveTo>
                <a:lnTo>
                  <a:pt x="166" y="104"/>
                </a:lnTo>
                <a:lnTo>
                  <a:pt x="166" y="65"/>
                </a:lnTo>
                <a:lnTo>
                  <a:pt x="207" y="65"/>
                </a:lnTo>
                <a:lnTo>
                  <a:pt x="207" y="104"/>
                </a:lnTo>
                <a:close/>
                <a:moveTo>
                  <a:pt x="207" y="13"/>
                </a:moveTo>
                <a:lnTo>
                  <a:pt x="207" y="52"/>
                </a:lnTo>
                <a:lnTo>
                  <a:pt x="166" y="52"/>
                </a:lnTo>
                <a:lnTo>
                  <a:pt x="166" y="13"/>
                </a:lnTo>
                <a:lnTo>
                  <a:pt x="207" y="1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89" name="Freeform 1066">
            <a:extLst>
              <a:ext uri="{FF2B5EF4-FFF2-40B4-BE49-F238E27FC236}">
                <a16:creationId xmlns:a16="http://schemas.microsoft.com/office/drawing/2014/main" id="{9613A470-6C2B-C944-8588-7F2D12F56BEB}"/>
              </a:ext>
            </a:extLst>
          </p:cNvPr>
          <p:cNvSpPr>
            <a:spLocks noEditPoints="1"/>
          </p:cNvSpPr>
          <p:nvPr/>
        </p:nvSpPr>
        <p:spPr bwMode="auto">
          <a:xfrm>
            <a:off x="4398845" y="1603375"/>
            <a:ext cx="546100" cy="539750"/>
          </a:xfrm>
          <a:custGeom>
            <a:avLst/>
            <a:gdLst>
              <a:gd name="T0" fmla="*/ 102 w 160"/>
              <a:gd name="T1" fmla="*/ 3 h 157"/>
              <a:gd name="T2" fmla="*/ 105 w 160"/>
              <a:gd name="T3" fmla="*/ 22 h 157"/>
              <a:gd name="T4" fmla="*/ 118 w 160"/>
              <a:gd name="T5" fmla="*/ 17 h 157"/>
              <a:gd name="T6" fmla="*/ 6 w 160"/>
              <a:gd name="T7" fmla="*/ 41 h 157"/>
              <a:gd name="T8" fmla="*/ 52 w 160"/>
              <a:gd name="T9" fmla="*/ 17 h 157"/>
              <a:gd name="T10" fmla="*/ 47 w 160"/>
              <a:gd name="T11" fmla="*/ 11 h 157"/>
              <a:gd name="T12" fmla="*/ 55 w 160"/>
              <a:gd name="T13" fmla="*/ 22 h 157"/>
              <a:gd name="T14" fmla="*/ 69 w 160"/>
              <a:gd name="T15" fmla="*/ 14 h 157"/>
              <a:gd name="T16" fmla="*/ 0 w 160"/>
              <a:gd name="T17" fmla="*/ 11 h 157"/>
              <a:gd name="T18" fmla="*/ 160 w 160"/>
              <a:gd name="T19" fmla="*/ 157 h 157"/>
              <a:gd name="T20" fmla="*/ 118 w 160"/>
              <a:gd name="T21" fmla="*/ 11 h 157"/>
              <a:gd name="T22" fmla="*/ 6 w 160"/>
              <a:gd name="T23" fmla="*/ 47 h 157"/>
              <a:gd name="T24" fmla="*/ 69 w 160"/>
              <a:gd name="T25" fmla="*/ 3 h 157"/>
              <a:gd name="T26" fmla="*/ 72 w 160"/>
              <a:gd name="T27" fmla="*/ 28 h 157"/>
              <a:gd name="T28" fmla="*/ 80 w 160"/>
              <a:gd name="T29" fmla="*/ 14 h 157"/>
              <a:gd name="T30" fmla="*/ 86 w 160"/>
              <a:gd name="T31" fmla="*/ 3 h 157"/>
              <a:gd name="T32" fmla="*/ 88 w 160"/>
              <a:gd name="T33" fmla="*/ 28 h 157"/>
              <a:gd name="T34" fmla="*/ 97 w 160"/>
              <a:gd name="T35" fmla="*/ 14 h 157"/>
              <a:gd name="T36" fmla="*/ 61 w 160"/>
              <a:gd name="T37" fmla="*/ 63 h 157"/>
              <a:gd name="T38" fmla="*/ 58 w 160"/>
              <a:gd name="T39" fmla="*/ 66 h 157"/>
              <a:gd name="T40" fmla="*/ 83 w 160"/>
              <a:gd name="T41" fmla="*/ 66 h 157"/>
              <a:gd name="T42" fmla="*/ 80 w 160"/>
              <a:gd name="T43" fmla="*/ 63 h 157"/>
              <a:gd name="T44" fmla="*/ 99 w 160"/>
              <a:gd name="T45" fmla="*/ 69 h 157"/>
              <a:gd name="T46" fmla="*/ 119 w 160"/>
              <a:gd name="T47" fmla="*/ 63 h 157"/>
              <a:gd name="T48" fmla="*/ 116 w 160"/>
              <a:gd name="T49" fmla="*/ 66 h 157"/>
              <a:gd name="T50" fmla="*/ 141 w 160"/>
              <a:gd name="T51" fmla="*/ 66 h 157"/>
              <a:gd name="T52" fmla="*/ 138 w 160"/>
              <a:gd name="T53" fmla="*/ 63 h 157"/>
              <a:gd name="T54" fmla="*/ 22 w 160"/>
              <a:gd name="T55" fmla="*/ 91 h 157"/>
              <a:gd name="T56" fmla="*/ 41 w 160"/>
              <a:gd name="T57" fmla="*/ 86 h 157"/>
              <a:gd name="T58" fmla="*/ 39 w 160"/>
              <a:gd name="T59" fmla="*/ 88 h 157"/>
              <a:gd name="T60" fmla="*/ 63 w 160"/>
              <a:gd name="T61" fmla="*/ 88 h 157"/>
              <a:gd name="T62" fmla="*/ 61 w 160"/>
              <a:gd name="T63" fmla="*/ 86 h 157"/>
              <a:gd name="T64" fmla="*/ 80 w 160"/>
              <a:gd name="T65" fmla="*/ 91 h 157"/>
              <a:gd name="T66" fmla="*/ 99 w 160"/>
              <a:gd name="T67" fmla="*/ 86 h 157"/>
              <a:gd name="T68" fmla="*/ 97 w 160"/>
              <a:gd name="T69" fmla="*/ 88 h 157"/>
              <a:gd name="T70" fmla="*/ 121 w 160"/>
              <a:gd name="T71" fmla="*/ 88 h 157"/>
              <a:gd name="T72" fmla="*/ 119 w 160"/>
              <a:gd name="T73" fmla="*/ 86 h 157"/>
              <a:gd name="T74" fmla="*/ 138 w 160"/>
              <a:gd name="T75" fmla="*/ 91 h 157"/>
              <a:gd name="T76" fmla="*/ 22 w 160"/>
              <a:gd name="T77" fmla="*/ 105 h 157"/>
              <a:gd name="T78" fmla="*/ 19 w 160"/>
              <a:gd name="T79" fmla="*/ 108 h 157"/>
              <a:gd name="T80" fmla="*/ 44 w 160"/>
              <a:gd name="T81" fmla="*/ 108 h 157"/>
              <a:gd name="T82" fmla="*/ 41 w 160"/>
              <a:gd name="T83" fmla="*/ 105 h 157"/>
              <a:gd name="T84" fmla="*/ 61 w 160"/>
              <a:gd name="T85" fmla="*/ 110 h 157"/>
              <a:gd name="T86" fmla="*/ 80 w 160"/>
              <a:gd name="T87" fmla="*/ 105 h 157"/>
              <a:gd name="T88" fmla="*/ 77 w 160"/>
              <a:gd name="T89" fmla="*/ 108 h 157"/>
              <a:gd name="T90" fmla="*/ 102 w 160"/>
              <a:gd name="T91" fmla="*/ 108 h 157"/>
              <a:gd name="T92" fmla="*/ 99 w 160"/>
              <a:gd name="T93" fmla="*/ 105 h 157"/>
              <a:gd name="T94" fmla="*/ 119 w 160"/>
              <a:gd name="T95" fmla="*/ 110 h 157"/>
              <a:gd name="T96" fmla="*/ 138 w 160"/>
              <a:gd name="T97" fmla="*/ 105 h 157"/>
              <a:gd name="T98" fmla="*/ 135 w 160"/>
              <a:gd name="T99" fmla="*/ 108 h 157"/>
              <a:gd name="T100" fmla="*/ 25 w 160"/>
              <a:gd name="T101" fmla="*/ 130 h 157"/>
              <a:gd name="T102" fmla="*/ 22 w 160"/>
              <a:gd name="T103" fmla="*/ 127 h 157"/>
              <a:gd name="T104" fmla="*/ 41 w 160"/>
              <a:gd name="T105" fmla="*/ 132 h 157"/>
              <a:gd name="T106" fmla="*/ 61 w 160"/>
              <a:gd name="T107" fmla="*/ 127 h 157"/>
              <a:gd name="T108" fmla="*/ 58 w 160"/>
              <a:gd name="T109" fmla="*/ 130 h 157"/>
              <a:gd name="T110" fmla="*/ 83 w 160"/>
              <a:gd name="T111" fmla="*/ 130 h 157"/>
              <a:gd name="T112" fmla="*/ 80 w 160"/>
              <a:gd name="T113" fmla="*/ 127 h 157"/>
              <a:gd name="T114" fmla="*/ 99 w 160"/>
              <a:gd name="T115" fmla="*/ 13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57">
                <a:moveTo>
                  <a:pt x="118" y="11"/>
                </a:moveTo>
                <a:cubicBezTo>
                  <a:pt x="117" y="5"/>
                  <a:pt x="111" y="0"/>
                  <a:pt x="105" y="0"/>
                </a:cubicBezTo>
                <a:cubicBezTo>
                  <a:pt x="103" y="0"/>
                  <a:pt x="102" y="1"/>
                  <a:pt x="102" y="3"/>
                </a:cubicBezTo>
                <a:cubicBezTo>
                  <a:pt x="102" y="4"/>
                  <a:pt x="103" y="6"/>
                  <a:pt x="105" y="6"/>
                </a:cubicBezTo>
                <a:cubicBezTo>
                  <a:pt x="109" y="6"/>
                  <a:pt x="113" y="9"/>
                  <a:pt x="113" y="14"/>
                </a:cubicBezTo>
                <a:cubicBezTo>
                  <a:pt x="113" y="18"/>
                  <a:pt x="109" y="22"/>
                  <a:pt x="105" y="22"/>
                </a:cubicBezTo>
                <a:cubicBezTo>
                  <a:pt x="103" y="22"/>
                  <a:pt x="102" y="23"/>
                  <a:pt x="102" y="25"/>
                </a:cubicBezTo>
                <a:cubicBezTo>
                  <a:pt x="102" y="26"/>
                  <a:pt x="103" y="28"/>
                  <a:pt x="105" y="28"/>
                </a:cubicBezTo>
                <a:cubicBezTo>
                  <a:pt x="111" y="28"/>
                  <a:pt x="117" y="23"/>
                  <a:pt x="118" y="17"/>
                </a:cubicBezTo>
                <a:cubicBezTo>
                  <a:pt x="154" y="17"/>
                  <a:pt x="154" y="17"/>
                  <a:pt x="154" y="17"/>
                </a:cubicBezTo>
                <a:cubicBezTo>
                  <a:pt x="154" y="41"/>
                  <a:pt x="154" y="41"/>
                  <a:pt x="154" y="41"/>
                </a:cubicBezTo>
                <a:cubicBezTo>
                  <a:pt x="6" y="41"/>
                  <a:pt x="6" y="41"/>
                  <a:pt x="6" y="41"/>
                </a:cubicBezTo>
                <a:cubicBezTo>
                  <a:pt x="6" y="17"/>
                  <a:pt x="6" y="17"/>
                  <a:pt x="6" y="17"/>
                </a:cubicBezTo>
                <a:cubicBezTo>
                  <a:pt x="44" y="17"/>
                  <a:pt x="44" y="17"/>
                  <a:pt x="44" y="17"/>
                </a:cubicBezTo>
                <a:cubicBezTo>
                  <a:pt x="52" y="17"/>
                  <a:pt x="52" y="17"/>
                  <a:pt x="52" y="17"/>
                </a:cubicBezTo>
                <a:cubicBezTo>
                  <a:pt x="54" y="17"/>
                  <a:pt x="55" y="15"/>
                  <a:pt x="55" y="14"/>
                </a:cubicBezTo>
                <a:cubicBezTo>
                  <a:pt x="55" y="12"/>
                  <a:pt x="54" y="11"/>
                  <a:pt x="52" y="11"/>
                </a:cubicBezTo>
                <a:cubicBezTo>
                  <a:pt x="47" y="11"/>
                  <a:pt x="47" y="11"/>
                  <a:pt x="47" y="11"/>
                </a:cubicBezTo>
                <a:cubicBezTo>
                  <a:pt x="49" y="8"/>
                  <a:pt x="52" y="6"/>
                  <a:pt x="55" y="6"/>
                </a:cubicBezTo>
                <a:cubicBezTo>
                  <a:pt x="60" y="6"/>
                  <a:pt x="63" y="9"/>
                  <a:pt x="63" y="14"/>
                </a:cubicBezTo>
                <a:cubicBezTo>
                  <a:pt x="63" y="18"/>
                  <a:pt x="60" y="22"/>
                  <a:pt x="55" y="22"/>
                </a:cubicBezTo>
                <a:cubicBezTo>
                  <a:pt x="54" y="22"/>
                  <a:pt x="52" y="23"/>
                  <a:pt x="52" y="25"/>
                </a:cubicBezTo>
                <a:cubicBezTo>
                  <a:pt x="52" y="26"/>
                  <a:pt x="54" y="28"/>
                  <a:pt x="55" y="28"/>
                </a:cubicBezTo>
                <a:cubicBezTo>
                  <a:pt x="63" y="28"/>
                  <a:pt x="69" y="21"/>
                  <a:pt x="69" y="14"/>
                </a:cubicBezTo>
                <a:cubicBezTo>
                  <a:pt x="69" y="6"/>
                  <a:pt x="63" y="0"/>
                  <a:pt x="55" y="0"/>
                </a:cubicBezTo>
                <a:cubicBezTo>
                  <a:pt x="49" y="0"/>
                  <a:pt x="43" y="5"/>
                  <a:pt x="42" y="11"/>
                </a:cubicBezTo>
                <a:cubicBezTo>
                  <a:pt x="0" y="11"/>
                  <a:pt x="0" y="11"/>
                  <a:pt x="0" y="11"/>
                </a:cubicBezTo>
                <a:cubicBezTo>
                  <a:pt x="0" y="47"/>
                  <a:pt x="0" y="47"/>
                  <a:pt x="0" y="47"/>
                </a:cubicBezTo>
                <a:cubicBezTo>
                  <a:pt x="0" y="157"/>
                  <a:pt x="0" y="157"/>
                  <a:pt x="0" y="157"/>
                </a:cubicBezTo>
                <a:cubicBezTo>
                  <a:pt x="160" y="157"/>
                  <a:pt x="160" y="157"/>
                  <a:pt x="160" y="157"/>
                </a:cubicBezTo>
                <a:cubicBezTo>
                  <a:pt x="160" y="47"/>
                  <a:pt x="160" y="47"/>
                  <a:pt x="160" y="47"/>
                </a:cubicBezTo>
                <a:cubicBezTo>
                  <a:pt x="160" y="11"/>
                  <a:pt x="160" y="11"/>
                  <a:pt x="160" y="11"/>
                </a:cubicBezTo>
                <a:lnTo>
                  <a:pt x="118" y="11"/>
                </a:lnTo>
                <a:close/>
                <a:moveTo>
                  <a:pt x="154" y="152"/>
                </a:moveTo>
                <a:cubicBezTo>
                  <a:pt x="6" y="152"/>
                  <a:pt x="6" y="152"/>
                  <a:pt x="6" y="152"/>
                </a:cubicBezTo>
                <a:cubicBezTo>
                  <a:pt x="6" y="47"/>
                  <a:pt x="6" y="47"/>
                  <a:pt x="6" y="47"/>
                </a:cubicBezTo>
                <a:cubicBezTo>
                  <a:pt x="154" y="47"/>
                  <a:pt x="154" y="47"/>
                  <a:pt x="154" y="47"/>
                </a:cubicBezTo>
                <a:lnTo>
                  <a:pt x="154" y="152"/>
                </a:lnTo>
                <a:close/>
                <a:moveTo>
                  <a:pt x="69" y="3"/>
                </a:moveTo>
                <a:cubicBezTo>
                  <a:pt x="69" y="1"/>
                  <a:pt x="70" y="0"/>
                  <a:pt x="72" y="0"/>
                </a:cubicBezTo>
                <a:cubicBezTo>
                  <a:pt x="79" y="0"/>
                  <a:pt x="86" y="6"/>
                  <a:pt x="86" y="14"/>
                </a:cubicBezTo>
                <a:cubicBezTo>
                  <a:pt x="86" y="21"/>
                  <a:pt x="79" y="28"/>
                  <a:pt x="72" y="28"/>
                </a:cubicBezTo>
                <a:cubicBezTo>
                  <a:pt x="70" y="28"/>
                  <a:pt x="69" y="26"/>
                  <a:pt x="69" y="25"/>
                </a:cubicBezTo>
                <a:cubicBezTo>
                  <a:pt x="69" y="23"/>
                  <a:pt x="70" y="22"/>
                  <a:pt x="72" y="22"/>
                </a:cubicBezTo>
                <a:cubicBezTo>
                  <a:pt x="76" y="22"/>
                  <a:pt x="80" y="18"/>
                  <a:pt x="80" y="14"/>
                </a:cubicBezTo>
                <a:cubicBezTo>
                  <a:pt x="80" y="9"/>
                  <a:pt x="76" y="6"/>
                  <a:pt x="72" y="6"/>
                </a:cubicBezTo>
                <a:cubicBezTo>
                  <a:pt x="70" y="6"/>
                  <a:pt x="69" y="4"/>
                  <a:pt x="69" y="3"/>
                </a:cubicBezTo>
                <a:close/>
                <a:moveTo>
                  <a:pt x="86" y="3"/>
                </a:moveTo>
                <a:cubicBezTo>
                  <a:pt x="86" y="1"/>
                  <a:pt x="87" y="0"/>
                  <a:pt x="88" y="0"/>
                </a:cubicBezTo>
                <a:cubicBezTo>
                  <a:pt x="96" y="0"/>
                  <a:pt x="102" y="6"/>
                  <a:pt x="102" y="14"/>
                </a:cubicBezTo>
                <a:cubicBezTo>
                  <a:pt x="102" y="21"/>
                  <a:pt x="96" y="28"/>
                  <a:pt x="88" y="28"/>
                </a:cubicBezTo>
                <a:cubicBezTo>
                  <a:pt x="87" y="28"/>
                  <a:pt x="86" y="26"/>
                  <a:pt x="86" y="25"/>
                </a:cubicBezTo>
                <a:cubicBezTo>
                  <a:pt x="86" y="23"/>
                  <a:pt x="87" y="22"/>
                  <a:pt x="88" y="22"/>
                </a:cubicBezTo>
                <a:cubicBezTo>
                  <a:pt x="93" y="22"/>
                  <a:pt x="97" y="18"/>
                  <a:pt x="97" y="14"/>
                </a:cubicBezTo>
                <a:cubicBezTo>
                  <a:pt x="97" y="9"/>
                  <a:pt x="93" y="6"/>
                  <a:pt x="88" y="6"/>
                </a:cubicBezTo>
                <a:cubicBezTo>
                  <a:pt x="87" y="6"/>
                  <a:pt x="86" y="4"/>
                  <a:pt x="86" y="3"/>
                </a:cubicBezTo>
                <a:close/>
                <a:moveTo>
                  <a:pt x="61" y="63"/>
                </a:moveTo>
                <a:cubicBezTo>
                  <a:pt x="62" y="63"/>
                  <a:pt x="63" y="65"/>
                  <a:pt x="63" y="66"/>
                </a:cubicBezTo>
                <a:cubicBezTo>
                  <a:pt x="63" y="68"/>
                  <a:pt x="62" y="69"/>
                  <a:pt x="61" y="69"/>
                </a:cubicBezTo>
                <a:cubicBezTo>
                  <a:pt x="59" y="69"/>
                  <a:pt x="58" y="68"/>
                  <a:pt x="58" y="66"/>
                </a:cubicBezTo>
                <a:cubicBezTo>
                  <a:pt x="58" y="65"/>
                  <a:pt x="59" y="63"/>
                  <a:pt x="61" y="63"/>
                </a:cubicBezTo>
                <a:close/>
                <a:moveTo>
                  <a:pt x="80" y="63"/>
                </a:moveTo>
                <a:cubicBezTo>
                  <a:pt x="82" y="63"/>
                  <a:pt x="83" y="65"/>
                  <a:pt x="83" y="66"/>
                </a:cubicBezTo>
                <a:cubicBezTo>
                  <a:pt x="83" y="68"/>
                  <a:pt x="82" y="69"/>
                  <a:pt x="80" y="69"/>
                </a:cubicBezTo>
                <a:cubicBezTo>
                  <a:pt x="78" y="69"/>
                  <a:pt x="77" y="68"/>
                  <a:pt x="77" y="66"/>
                </a:cubicBezTo>
                <a:cubicBezTo>
                  <a:pt x="77" y="65"/>
                  <a:pt x="78" y="63"/>
                  <a:pt x="80" y="63"/>
                </a:cubicBezTo>
                <a:close/>
                <a:moveTo>
                  <a:pt x="99" y="63"/>
                </a:moveTo>
                <a:cubicBezTo>
                  <a:pt x="101" y="63"/>
                  <a:pt x="102" y="65"/>
                  <a:pt x="102" y="66"/>
                </a:cubicBezTo>
                <a:cubicBezTo>
                  <a:pt x="102" y="68"/>
                  <a:pt x="101" y="69"/>
                  <a:pt x="99" y="69"/>
                </a:cubicBezTo>
                <a:cubicBezTo>
                  <a:pt x="98" y="69"/>
                  <a:pt x="97" y="68"/>
                  <a:pt x="97" y="66"/>
                </a:cubicBezTo>
                <a:cubicBezTo>
                  <a:pt x="97" y="65"/>
                  <a:pt x="98" y="63"/>
                  <a:pt x="99" y="63"/>
                </a:cubicBezTo>
                <a:close/>
                <a:moveTo>
                  <a:pt x="119" y="63"/>
                </a:moveTo>
                <a:cubicBezTo>
                  <a:pt x="120" y="63"/>
                  <a:pt x="121" y="65"/>
                  <a:pt x="121" y="66"/>
                </a:cubicBezTo>
                <a:cubicBezTo>
                  <a:pt x="121" y="68"/>
                  <a:pt x="120" y="69"/>
                  <a:pt x="119" y="69"/>
                </a:cubicBezTo>
                <a:cubicBezTo>
                  <a:pt x="117" y="69"/>
                  <a:pt x="116" y="68"/>
                  <a:pt x="116" y="66"/>
                </a:cubicBezTo>
                <a:cubicBezTo>
                  <a:pt x="116" y="65"/>
                  <a:pt x="117" y="63"/>
                  <a:pt x="119" y="63"/>
                </a:cubicBezTo>
                <a:close/>
                <a:moveTo>
                  <a:pt x="138" y="63"/>
                </a:moveTo>
                <a:cubicBezTo>
                  <a:pt x="139" y="63"/>
                  <a:pt x="141" y="65"/>
                  <a:pt x="141" y="66"/>
                </a:cubicBezTo>
                <a:cubicBezTo>
                  <a:pt x="141" y="68"/>
                  <a:pt x="139" y="69"/>
                  <a:pt x="138" y="69"/>
                </a:cubicBezTo>
                <a:cubicBezTo>
                  <a:pt x="136" y="69"/>
                  <a:pt x="135" y="68"/>
                  <a:pt x="135" y="66"/>
                </a:cubicBezTo>
                <a:cubicBezTo>
                  <a:pt x="135" y="65"/>
                  <a:pt x="136" y="63"/>
                  <a:pt x="138" y="63"/>
                </a:cubicBezTo>
                <a:close/>
                <a:moveTo>
                  <a:pt x="22" y="86"/>
                </a:moveTo>
                <a:cubicBezTo>
                  <a:pt x="24" y="86"/>
                  <a:pt x="25" y="87"/>
                  <a:pt x="25" y="88"/>
                </a:cubicBezTo>
                <a:cubicBezTo>
                  <a:pt x="25" y="90"/>
                  <a:pt x="24" y="91"/>
                  <a:pt x="22" y="91"/>
                </a:cubicBezTo>
                <a:cubicBezTo>
                  <a:pt x="21" y="91"/>
                  <a:pt x="19" y="90"/>
                  <a:pt x="19" y="88"/>
                </a:cubicBezTo>
                <a:cubicBezTo>
                  <a:pt x="19" y="87"/>
                  <a:pt x="21" y="86"/>
                  <a:pt x="22" y="86"/>
                </a:cubicBezTo>
                <a:close/>
                <a:moveTo>
                  <a:pt x="41" y="86"/>
                </a:moveTo>
                <a:cubicBezTo>
                  <a:pt x="43" y="86"/>
                  <a:pt x="44" y="87"/>
                  <a:pt x="44" y="88"/>
                </a:cubicBezTo>
                <a:cubicBezTo>
                  <a:pt x="44" y="90"/>
                  <a:pt x="43" y="91"/>
                  <a:pt x="41" y="91"/>
                </a:cubicBezTo>
                <a:cubicBezTo>
                  <a:pt x="40" y="91"/>
                  <a:pt x="39" y="90"/>
                  <a:pt x="39" y="88"/>
                </a:cubicBezTo>
                <a:cubicBezTo>
                  <a:pt x="39" y="87"/>
                  <a:pt x="40" y="86"/>
                  <a:pt x="41" y="86"/>
                </a:cubicBezTo>
                <a:close/>
                <a:moveTo>
                  <a:pt x="61" y="86"/>
                </a:moveTo>
                <a:cubicBezTo>
                  <a:pt x="62" y="86"/>
                  <a:pt x="63" y="87"/>
                  <a:pt x="63" y="88"/>
                </a:cubicBezTo>
                <a:cubicBezTo>
                  <a:pt x="63" y="90"/>
                  <a:pt x="62" y="91"/>
                  <a:pt x="61" y="91"/>
                </a:cubicBezTo>
                <a:cubicBezTo>
                  <a:pt x="59" y="91"/>
                  <a:pt x="58" y="90"/>
                  <a:pt x="58" y="88"/>
                </a:cubicBezTo>
                <a:cubicBezTo>
                  <a:pt x="58" y="87"/>
                  <a:pt x="59" y="86"/>
                  <a:pt x="61" y="86"/>
                </a:cubicBezTo>
                <a:close/>
                <a:moveTo>
                  <a:pt x="80" y="86"/>
                </a:moveTo>
                <a:cubicBezTo>
                  <a:pt x="82" y="86"/>
                  <a:pt x="83" y="87"/>
                  <a:pt x="83" y="88"/>
                </a:cubicBezTo>
                <a:cubicBezTo>
                  <a:pt x="83" y="90"/>
                  <a:pt x="82" y="91"/>
                  <a:pt x="80" y="91"/>
                </a:cubicBezTo>
                <a:cubicBezTo>
                  <a:pt x="78" y="91"/>
                  <a:pt x="77" y="90"/>
                  <a:pt x="77" y="88"/>
                </a:cubicBezTo>
                <a:cubicBezTo>
                  <a:pt x="77" y="87"/>
                  <a:pt x="78" y="86"/>
                  <a:pt x="80" y="86"/>
                </a:cubicBezTo>
                <a:close/>
                <a:moveTo>
                  <a:pt x="99" y="86"/>
                </a:moveTo>
                <a:cubicBezTo>
                  <a:pt x="101" y="86"/>
                  <a:pt x="102" y="87"/>
                  <a:pt x="102" y="88"/>
                </a:cubicBezTo>
                <a:cubicBezTo>
                  <a:pt x="102" y="90"/>
                  <a:pt x="101" y="91"/>
                  <a:pt x="99" y="91"/>
                </a:cubicBezTo>
                <a:cubicBezTo>
                  <a:pt x="98" y="91"/>
                  <a:pt x="97" y="90"/>
                  <a:pt x="97" y="88"/>
                </a:cubicBezTo>
                <a:cubicBezTo>
                  <a:pt x="97" y="87"/>
                  <a:pt x="98" y="86"/>
                  <a:pt x="99" y="86"/>
                </a:cubicBezTo>
                <a:close/>
                <a:moveTo>
                  <a:pt x="119" y="86"/>
                </a:moveTo>
                <a:cubicBezTo>
                  <a:pt x="120" y="86"/>
                  <a:pt x="121" y="87"/>
                  <a:pt x="121" y="88"/>
                </a:cubicBezTo>
                <a:cubicBezTo>
                  <a:pt x="121" y="90"/>
                  <a:pt x="120" y="91"/>
                  <a:pt x="119" y="91"/>
                </a:cubicBezTo>
                <a:cubicBezTo>
                  <a:pt x="117" y="91"/>
                  <a:pt x="116" y="90"/>
                  <a:pt x="116" y="88"/>
                </a:cubicBezTo>
                <a:cubicBezTo>
                  <a:pt x="116" y="87"/>
                  <a:pt x="117" y="86"/>
                  <a:pt x="119" y="86"/>
                </a:cubicBezTo>
                <a:close/>
                <a:moveTo>
                  <a:pt x="138" y="86"/>
                </a:moveTo>
                <a:cubicBezTo>
                  <a:pt x="139" y="86"/>
                  <a:pt x="141" y="87"/>
                  <a:pt x="141" y="88"/>
                </a:cubicBezTo>
                <a:cubicBezTo>
                  <a:pt x="141" y="90"/>
                  <a:pt x="139" y="91"/>
                  <a:pt x="138" y="91"/>
                </a:cubicBezTo>
                <a:cubicBezTo>
                  <a:pt x="136" y="91"/>
                  <a:pt x="135" y="90"/>
                  <a:pt x="135" y="88"/>
                </a:cubicBezTo>
                <a:cubicBezTo>
                  <a:pt x="135" y="87"/>
                  <a:pt x="136" y="86"/>
                  <a:pt x="138" y="86"/>
                </a:cubicBezTo>
                <a:close/>
                <a:moveTo>
                  <a:pt x="22" y="105"/>
                </a:moveTo>
                <a:cubicBezTo>
                  <a:pt x="24" y="105"/>
                  <a:pt x="25" y="106"/>
                  <a:pt x="25" y="108"/>
                </a:cubicBezTo>
                <a:cubicBezTo>
                  <a:pt x="25" y="109"/>
                  <a:pt x="24" y="110"/>
                  <a:pt x="22" y="110"/>
                </a:cubicBezTo>
                <a:cubicBezTo>
                  <a:pt x="21" y="110"/>
                  <a:pt x="19" y="109"/>
                  <a:pt x="19" y="108"/>
                </a:cubicBezTo>
                <a:cubicBezTo>
                  <a:pt x="19" y="106"/>
                  <a:pt x="21" y="105"/>
                  <a:pt x="22" y="105"/>
                </a:cubicBezTo>
                <a:close/>
                <a:moveTo>
                  <a:pt x="41" y="105"/>
                </a:moveTo>
                <a:cubicBezTo>
                  <a:pt x="43" y="105"/>
                  <a:pt x="44" y="106"/>
                  <a:pt x="44" y="108"/>
                </a:cubicBezTo>
                <a:cubicBezTo>
                  <a:pt x="44" y="109"/>
                  <a:pt x="43" y="110"/>
                  <a:pt x="41" y="110"/>
                </a:cubicBezTo>
                <a:cubicBezTo>
                  <a:pt x="40" y="110"/>
                  <a:pt x="39" y="109"/>
                  <a:pt x="39" y="108"/>
                </a:cubicBezTo>
                <a:cubicBezTo>
                  <a:pt x="39" y="106"/>
                  <a:pt x="40" y="105"/>
                  <a:pt x="41" y="105"/>
                </a:cubicBezTo>
                <a:close/>
                <a:moveTo>
                  <a:pt x="61" y="105"/>
                </a:moveTo>
                <a:cubicBezTo>
                  <a:pt x="62" y="105"/>
                  <a:pt x="63" y="106"/>
                  <a:pt x="63" y="108"/>
                </a:cubicBezTo>
                <a:cubicBezTo>
                  <a:pt x="63" y="109"/>
                  <a:pt x="62" y="110"/>
                  <a:pt x="61" y="110"/>
                </a:cubicBezTo>
                <a:cubicBezTo>
                  <a:pt x="59" y="110"/>
                  <a:pt x="58" y="109"/>
                  <a:pt x="58" y="108"/>
                </a:cubicBezTo>
                <a:cubicBezTo>
                  <a:pt x="58" y="106"/>
                  <a:pt x="59" y="105"/>
                  <a:pt x="61" y="105"/>
                </a:cubicBezTo>
                <a:close/>
                <a:moveTo>
                  <a:pt x="80" y="105"/>
                </a:moveTo>
                <a:cubicBezTo>
                  <a:pt x="82" y="105"/>
                  <a:pt x="83" y="106"/>
                  <a:pt x="83" y="108"/>
                </a:cubicBezTo>
                <a:cubicBezTo>
                  <a:pt x="83" y="109"/>
                  <a:pt x="82" y="110"/>
                  <a:pt x="80" y="110"/>
                </a:cubicBezTo>
                <a:cubicBezTo>
                  <a:pt x="78" y="110"/>
                  <a:pt x="77" y="109"/>
                  <a:pt x="77" y="108"/>
                </a:cubicBezTo>
                <a:cubicBezTo>
                  <a:pt x="77" y="106"/>
                  <a:pt x="78" y="105"/>
                  <a:pt x="80" y="105"/>
                </a:cubicBezTo>
                <a:close/>
                <a:moveTo>
                  <a:pt x="99" y="105"/>
                </a:moveTo>
                <a:cubicBezTo>
                  <a:pt x="101" y="105"/>
                  <a:pt x="102" y="106"/>
                  <a:pt x="102" y="108"/>
                </a:cubicBezTo>
                <a:cubicBezTo>
                  <a:pt x="102" y="109"/>
                  <a:pt x="101" y="110"/>
                  <a:pt x="99" y="110"/>
                </a:cubicBezTo>
                <a:cubicBezTo>
                  <a:pt x="98" y="110"/>
                  <a:pt x="97" y="109"/>
                  <a:pt x="97" y="108"/>
                </a:cubicBezTo>
                <a:cubicBezTo>
                  <a:pt x="97" y="106"/>
                  <a:pt x="98" y="105"/>
                  <a:pt x="99" y="105"/>
                </a:cubicBezTo>
                <a:close/>
                <a:moveTo>
                  <a:pt x="119" y="105"/>
                </a:moveTo>
                <a:cubicBezTo>
                  <a:pt x="120" y="105"/>
                  <a:pt x="121" y="106"/>
                  <a:pt x="121" y="108"/>
                </a:cubicBezTo>
                <a:cubicBezTo>
                  <a:pt x="121" y="109"/>
                  <a:pt x="120" y="110"/>
                  <a:pt x="119" y="110"/>
                </a:cubicBezTo>
                <a:cubicBezTo>
                  <a:pt x="117" y="110"/>
                  <a:pt x="116" y="109"/>
                  <a:pt x="116" y="108"/>
                </a:cubicBezTo>
                <a:cubicBezTo>
                  <a:pt x="116" y="106"/>
                  <a:pt x="117" y="105"/>
                  <a:pt x="119" y="105"/>
                </a:cubicBezTo>
                <a:close/>
                <a:moveTo>
                  <a:pt x="138" y="105"/>
                </a:moveTo>
                <a:cubicBezTo>
                  <a:pt x="139" y="105"/>
                  <a:pt x="141" y="106"/>
                  <a:pt x="141" y="108"/>
                </a:cubicBezTo>
                <a:cubicBezTo>
                  <a:pt x="141" y="109"/>
                  <a:pt x="139" y="110"/>
                  <a:pt x="138" y="110"/>
                </a:cubicBezTo>
                <a:cubicBezTo>
                  <a:pt x="136" y="110"/>
                  <a:pt x="135" y="109"/>
                  <a:pt x="135" y="108"/>
                </a:cubicBezTo>
                <a:cubicBezTo>
                  <a:pt x="135" y="106"/>
                  <a:pt x="136" y="105"/>
                  <a:pt x="138" y="105"/>
                </a:cubicBezTo>
                <a:close/>
                <a:moveTo>
                  <a:pt x="22" y="127"/>
                </a:moveTo>
                <a:cubicBezTo>
                  <a:pt x="24" y="127"/>
                  <a:pt x="25" y="128"/>
                  <a:pt x="25" y="130"/>
                </a:cubicBezTo>
                <a:cubicBezTo>
                  <a:pt x="25" y="131"/>
                  <a:pt x="24" y="132"/>
                  <a:pt x="22" y="132"/>
                </a:cubicBezTo>
                <a:cubicBezTo>
                  <a:pt x="21" y="132"/>
                  <a:pt x="19" y="131"/>
                  <a:pt x="19" y="130"/>
                </a:cubicBezTo>
                <a:cubicBezTo>
                  <a:pt x="19" y="128"/>
                  <a:pt x="21" y="127"/>
                  <a:pt x="22" y="127"/>
                </a:cubicBezTo>
                <a:close/>
                <a:moveTo>
                  <a:pt x="41" y="127"/>
                </a:moveTo>
                <a:cubicBezTo>
                  <a:pt x="43" y="127"/>
                  <a:pt x="44" y="128"/>
                  <a:pt x="44" y="130"/>
                </a:cubicBezTo>
                <a:cubicBezTo>
                  <a:pt x="44" y="131"/>
                  <a:pt x="43" y="132"/>
                  <a:pt x="41" y="132"/>
                </a:cubicBezTo>
                <a:cubicBezTo>
                  <a:pt x="40" y="132"/>
                  <a:pt x="39" y="131"/>
                  <a:pt x="39" y="130"/>
                </a:cubicBezTo>
                <a:cubicBezTo>
                  <a:pt x="39" y="128"/>
                  <a:pt x="40" y="127"/>
                  <a:pt x="41" y="127"/>
                </a:cubicBezTo>
                <a:close/>
                <a:moveTo>
                  <a:pt x="61" y="127"/>
                </a:moveTo>
                <a:cubicBezTo>
                  <a:pt x="62" y="127"/>
                  <a:pt x="63" y="128"/>
                  <a:pt x="63" y="130"/>
                </a:cubicBezTo>
                <a:cubicBezTo>
                  <a:pt x="63" y="131"/>
                  <a:pt x="62" y="132"/>
                  <a:pt x="61" y="132"/>
                </a:cubicBezTo>
                <a:cubicBezTo>
                  <a:pt x="59" y="132"/>
                  <a:pt x="58" y="131"/>
                  <a:pt x="58" y="130"/>
                </a:cubicBezTo>
                <a:cubicBezTo>
                  <a:pt x="58" y="128"/>
                  <a:pt x="59" y="127"/>
                  <a:pt x="61" y="127"/>
                </a:cubicBezTo>
                <a:close/>
                <a:moveTo>
                  <a:pt x="80" y="127"/>
                </a:moveTo>
                <a:cubicBezTo>
                  <a:pt x="82" y="127"/>
                  <a:pt x="83" y="128"/>
                  <a:pt x="83" y="130"/>
                </a:cubicBezTo>
                <a:cubicBezTo>
                  <a:pt x="83" y="131"/>
                  <a:pt x="82" y="132"/>
                  <a:pt x="80" y="132"/>
                </a:cubicBezTo>
                <a:cubicBezTo>
                  <a:pt x="78" y="132"/>
                  <a:pt x="77" y="131"/>
                  <a:pt x="77" y="130"/>
                </a:cubicBezTo>
                <a:cubicBezTo>
                  <a:pt x="77" y="128"/>
                  <a:pt x="78" y="127"/>
                  <a:pt x="80" y="127"/>
                </a:cubicBezTo>
                <a:close/>
                <a:moveTo>
                  <a:pt x="99" y="127"/>
                </a:moveTo>
                <a:cubicBezTo>
                  <a:pt x="101" y="127"/>
                  <a:pt x="102" y="128"/>
                  <a:pt x="102" y="130"/>
                </a:cubicBezTo>
                <a:cubicBezTo>
                  <a:pt x="102" y="131"/>
                  <a:pt x="101" y="132"/>
                  <a:pt x="99" y="132"/>
                </a:cubicBezTo>
                <a:cubicBezTo>
                  <a:pt x="98" y="132"/>
                  <a:pt x="97" y="131"/>
                  <a:pt x="97" y="130"/>
                </a:cubicBezTo>
                <a:cubicBezTo>
                  <a:pt x="97" y="128"/>
                  <a:pt x="98" y="127"/>
                  <a:pt x="99" y="12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90" name="Freeform 1067">
            <a:extLst>
              <a:ext uri="{FF2B5EF4-FFF2-40B4-BE49-F238E27FC236}">
                <a16:creationId xmlns:a16="http://schemas.microsoft.com/office/drawing/2014/main" id="{45872574-B89F-6E4A-AAE3-E1272478B0CF}"/>
              </a:ext>
            </a:extLst>
          </p:cNvPr>
          <p:cNvSpPr>
            <a:spLocks noEditPoints="1"/>
          </p:cNvSpPr>
          <p:nvPr/>
        </p:nvSpPr>
        <p:spPr bwMode="auto">
          <a:xfrm>
            <a:off x="4398845" y="2222500"/>
            <a:ext cx="546100" cy="550863"/>
          </a:xfrm>
          <a:custGeom>
            <a:avLst/>
            <a:gdLst>
              <a:gd name="T0" fmla="*/ 80 w 160"/>
              <a:gd name="T1" fmla="*/ 0 h 160"/>
              <a:gd name="T2" fmla="*/ 0 w 160"/>
              <a:gd name="T3" fmla="*/ 29 h 160"/>
              <a:gd name="T4" fmla="*/ 160 w 160"/>
              <a:gd name="T5" fmla="*/ 29 h 160"/>
              <a:gd name="T6" fmla="*/ 86 w 160"/>
              <a:gd name="T7" fmla="*/ 8 h 160"/>
              <a:gd name="T8" fmla="*/ 88 w 160"/>
              <a:gd name="T9" fmla="*/ 13 h 160"/>
              <a:gd name="T10" fmla="*/ 72 w 160"/>
              <a:gd name="T11" fmla="*/ 12 h 160"/>
              <a:gd name="T12" fmla="*/ 74 w 160"/>
              <a:gd name="T13" fmla="*/ 8 h 160"/>
              <a:gd name="T14" fmla="*/ 67 w 160"/>
              <a:gd name="T15" fmla="*/ 13 h 160"/>
              <a:gd name="T16" fmla="*/ 93 w 160"/>
              <a:gd name="T17" fmla="*/ 13 h 160"/>
              <a:gd name="T18" fmla="*/ 37 w 160"/>
              <a:gd name="T19" fmla="*/ 29 h 160"/>
              <a:gd name="T20" fmla="*/ 133 w 160"/>
              <a:gd name="T21" fmla="*/ 35 h 160"/>
              <a:gd name="T22" fmla="*/ 5 w 160"/>
              <a:gd name="T23" fmla="*/ 48 h 160"/>
              <a:gd name="T24" fmla="*/ 5 w 160"/>
              <a:gd name="T25" fmla="*/ 155 h 160"/>
              <a:gd name="T26" fmla="*/ 155 w 160"/>
              <a:gd name="T27" fmla="*/ 155 h 160"/>
              <a:gd name="T28" fmla="*/ 64 w 160"/>
              <a:gd name="T29" fmla="*/ 75 h 160"/>
              <a:gd name="T30" fmla="*/ 61 w 160"/>
              <a:gd name="T31" fmla="*/ 72 h 160"/>
              <a:gd name="T32" fmla="*/ 80 w 160"/>
              <a:gd name="T33" fmla="*/ 77 h 160"/>
              <a:gd name="T34" fmla="*/ 99 w 160"/>
              <a:gd name="T35" fmla="*/ 72 h 160"/>
              <a:gd name="T36" fmla="*/ 96 w 160"/>
              <a:gd name="T37" fmla="*/ 75 h 160"/>
              <a:gd name="T38" fmla="*/ 120 w 160"/>
              <a:gd name="T39" fmla="*/ 75 h 160"/>
              <a:gd name="T40" fmla="*/ 117 w 160"/>
              <a:gd name="T41" fmla="*/ 72 h 160"/>
              <a:gd name="T42" fmla="*/ 136 w 160"/>
              <a:gd name="T43" fmla="*/ 77 h 160"/>
              <a:gd name="T44" fmla="*/ 24 w 160"/>
              <a:gd name="T45" fmla="*/ 93 h 160"/>
              <a:gd name="T46" fmla="*/ 21 w 160"/>
              <a:gd name="T47" fmla="*/ 96 h 160"/>
              <a:gd name="T48" fmla="*/ 45 w 160"/>
              <a:gd name="T49" fmla="*/ 96 h 160"/>
              <a:gd name="T50" fmla="*/ 43 w 160"/>
              <a:gd name="T51" fmla="*/ 93 h 160"/>
              <a:gd name="T52" fmla="*/ 61 w 160"/>
              <a:gd name="T53" fmla="*/ 99 h 160"/>
              <a:gd name="T54" fmla="*/ 80 w 160"/>
              <a:gd name="T55" fmla="*/ 93 h 160"/>
              <a:gd name="T56" fmla="*/ 77 w 160"/>
              <a:gd name="T57" fmla="*/ 96 h 160"/>
              <a:gd name="T58" fmla="*/ 101 w 160"/>
              <a:gd name="T59" fmla="*/ 96 h 160"/>
              <a:gd name="T60" fmla="*/ 99 w 160"/>
              <a:gd name="T61" fmla="*/ 93 h 160"/>
              <a:gd name="T62" fmla="*/ 117 w 160"/>
              <a:gd name="T63" fmla="*/ 99 h 160"/>
              <a:gd name="T64" fmla="*/ 136 w 160"/>
              <a:gd name="T65" fmla="*/ 93 h 160"/>
              <a:gd name="T66" fmla="*/ 133 w 160"/>
              <a:gd name="T67" fmla="*/ 96 h 160"/>
              <a:gd name="T68" fmla="*/ 27 w 160"/>
              <a:gd name="T69" fmla="*/ 115 h 160"/>
              <a:gd name="T70" fmla="*/ 24 w 160"/>
              <a:gd name="T71" fmla="*/ 112 h 160"/>
              <a:gd name="T72" fmla="*/ 43 w 160"/>
              <a:gd name="T73" fmla="*/ 117 h 160"/>
              <a:gd name="T74" fmla="*/ 61 w 160"/>
              <a:gd name="T75" fmla="*/ 112 h 160"/>
              <a:gd name="T76" fmla="*/ 59 w 160"/>
              <a:gd name="T77" fmla="*/ 115 h 160"/>
              <a:gd name="T78" fmla="*/ 83 w 160"/>
              <a:gd name="T79" fmla="*/ 115 h 160"/>
              <a:gd name="T80" fmla="*/ 80 w 160"/>
              <a:gd name="T81" fmla="*/ 112 h 160"/>
              <a:gd name="T82" fmla="*/ 99 w 160"/>
              <a:gd name="T83" fmla="*/ 117 h 160"/>
              <a:gd name="T84" fmla="*/ 117 w 160"/>
              <a:gd name="T85" fmla="*/ 112 h 160"/>
              <a:gd name="T86" fmla="*/ 115 w 160"/>
              <a:gd name="T87" fmla="*/ 115 h 160"/>
              <a:gd name="T88" fmla="*/ 139 w 160"/>
              <a:gd name="T89" fmla="*/ 115 h 160"/>
              <a:gd name="T90" fmla="*/ 136 w 160"/>
              <a:gd name="T91" fmla="*/ 112 h 160"/>
              <a:gd name="T92" fmla="*/ 24 w 160"/>
              <a:gd name="T93" fmla="*/ 139 h 160"/>
              <a:gd name="T94" fmla="*/ 43 w 160"/>
              <a:gd name="T95" fmla="*/ 133 h 160"/>
              <a:gd name="T96" fmla="*/ 40 w 160"/>
              <a:gd name="T97" fmla="*/ 136 h 160"/>
              <a:gd name="T98" fmla="*/ 64 w 160"/>
              <a:gd name="T99" fmla="*/ 136 h 160"/>
              <a:gd name="T100" fmla="*/ 61 w 160"/>
              <a:gd name="T101" fmla="*/ 133 h 160"/>
              <a:gd name="T102" fmla="*/ 80 w 160"/>
              <a:gd name="T103" fmla="*/ 139 h 160"/>
              <a:gd name="T104" fmla="*/ 99 w 160"/>
              <a:gd name="T105" fmla="*/ 133 h 160"/>
              <a:gd name="T106" fmla="*/ 96 w 160"/>
              <a:gd name="T107"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60">
                <a:moveTo>
                  <a:pt x="134" y="29"/>
                </a:moveTo>
                <a:cubicBezTo>
                  <a:pt x="130" y="27"/>
                  <a:pt x="104" y="13"/>
                  <a:pt x="90" y="4"/>
                </a:cubicBezTo>
                <a:cubicBezTo>
                  <a:pt x="87" y="2"/>
                  <a:pt x="84" y="0"/>
                  <a:pt x="80" y="0"/>
                </a:cubicBezTo>
                <a:cubicBezTo>
                  <a:pt x="76" y="0"/>
                  <a:pt x="73" y="2"/>
                  <a:pt x="70" y="4"/>
                </a:cubicBezTo>
                <a:cubicBezTo>
                  <a:pt x="56" y="13"/>
                  <a:pt x="30" y="27"/>
                  <a:pt x="26" y="29"/>
                </a:cubicBezTo>
                <a:cubicBezTo>
                  <a:pt x="0" y="29"/>
                  <a:pt x="0" y="29"/>
                  <a:pt x="0" y="29"/>
                </a:cubicBezTo>
                <a:cubicBezTo>
                  <a:pt x="0" y="160"/>
                  <a:pt x="0" y="160"/>
                  <a:pt x="0" y="160"/>
                </a:cubicBezTo>
                <a:cubicBezTo>
                  <a:pt x="160" y="160"/>
                  <a:pt x="160" y="160"/>
                  <a:pt x="160" y="160"/>
                </a:cubicBezTo>
                <a:cubicBezTo>
                  <a:pt x="160" y="29"/>
                  <a:pt x="160" y="29"/>
                  <a:pt x="160" y="29"/>
                </a:cubicBezTo>
                <a:lnTo>
                  <a:pt x="134" y="29"/>
                </a:lnTo>
                <a:close/>
                <a:moveTo>
                  <a:pt x="86" y="8"/>
                </a:moveTo>
                <a:cubicBezTo>
                  <a:pt x="86" y="8"/>
                  <a:pt x="86" y="8"/>
                  <a:pt x="86" y="8"/>
                </a:cubicBezTo>
                <a:cubicBezTo>
                  <a:pt x="87" y="9"/>
                  <a:pt x="87" y="10"/>
                  <a:pt x="88" y="11"/>
                </a:cubicBezTo>
                <a:cubicBezTo>
                  <a:pt x="88" y="11"/>
                  <a:pt x="88" y="12"/>
                  <a:pt x="88" y="12"/>
                </a:cubicBezTo>
                <a:cubicBezTo>
                  <a:pt x="88" y="12"/>
                  <a:pt x="88" y="13"/>
                  <a:pt x="88" y="13"/>
                </a:cubicBezTo>
                <a:cubicBezTo>
                  <a:pt x="88" y="18"/>
                  <a:pt x="84" y="21"/>
                  <a:pt x="80" y="21"/>
                </a:cubicBezTo>
                <a:cubicBezTo>
                  <a:pt x="76" y="21"/>
                  <a:pt x="72" y="18"/>
                  <a:pt x="72" y="13"/>
                </a:cubicBezTo>
                <a:cubicBezTo>
                  <a:pt x="72" y="13"/>
                  <a:pt x="72" y="12"/>
                  <a:pt x="72" y="12"/>
                </a:cubicBezTo>
                <a:cubicBezTo>
                  <a:pt x="72" y="12"/>
                  <a:pt x="72" y="11"/>
                  <a:pt x="72" y="11"/>
                </a:cubicBezTo>
                <a:cubicBezTo>
                  <a:pt x="73" y="10"/>
                  <a:pt x="73" y="9"/>
                  <a:pt x="74" y="8"/>
                </a:cubicBezTo>
                <a:cubicBezTo>
                  <a:pt x="74" y="8"/>
                  <a:pt x="74" y="8"/>
                  <a:pt x="74" y="8"/>
                </a:cubicBezTo>
                <a:cubicBezTo>
                  <a:pt x="76" y="6"/>
                  <a:pt x="78" y="5"/>
                  <a:pt x="80" y="5"/>
                </a:cubicBezTo>
                <a:cubicBezTo>
                  <a:pt x="82" y="5"/>
                  <a:pt x="84" y="6"/>
                  <a:pt x="86" y="8"/>
                </a:cubicBezTo>
                <a:close/>
                <a:moveTo>
                  <a:pt x="67" y="13"/>
                </a:moveTo>
                <a:cubicBezTo>
                  <a:pt x="67" y="13"/>
                  <a:pt x="67" y="13"/>
                  <a:pt x="67" y="13"/>
                </a:cubicBezTo>
                <a:cubicBezTo>
                  <a:pt x="67" y="21"/>
                  <a:pt x="73" y="27"/>
                  <a:pt x="80" y="27"/>
                </a:cubicBezTo>
                <a:cubicBezTo>
                  <a:pt x="87" y="27"/>
                  <a:pt x="93" y="21"/>
                  <a:pt x="93" y="13"/>
                </a:cubicBezTo>
                <a:cubicBezTo>
                  <a:pt x="93" y="13"/>
                  <a:pt x="93" y="13"/>
                  <a:pt x="93" y="13"/>
                </a:cubicBezTo>
                <a:cubicBezTo>
                  <a:pt x="103" y="18"/>
                  <a:pt x="115" y="25"/>
                  <a:pt x="123" y="29"/>
                </a:cubicBezTo>
                <a:cubicBezTo>
                  <a:pt x="37" y="29"/>
                  <a:pt x="37" y="29"/>
                  <a:pt x="37" y="29"/>
                </a:cubicBezTo>
                <a:cubicBezTo>
                  <a:pt x="45" y="25"/>
                  <a:pt x="57" y="18"/>
                  <a:pt x="67" y="13"/>
                </a:cubicBezTo>
                <a:close/>
                <a:moveTo>
                  <a:pt x="27" y="35"/>
                </a:moveTo>
                <a:cubicBezTo>
                  <a:pt x="133" y="35"/>
                  <a:pt x="133" y="35"/>
                  <a:pt x="133" y="35"/>
                </a:cubicBezTo>
                <a:cubicBezTo>
                  <a:pt x="155" y="35"/>
                  <a:pt x="155" y="35"/>
                  <a:pt x="155" y="35"/>
                </a:cubicBezTo>
                <a:cubicBezTo>
                  <a:pt x="155" y="48"/>
                  <a:pt x="155" y="48"/>
                  <a:pt x="155" y="48"/>
                </a:cubicBezTo>
                <a:cubicBezTo>
                  <a:pt x="5" y="48"/>
                  <a:pt x="5" y="48"/>
                  <a:pt x="5" y="48"/>
                </a:cubicBezTo>
                <a:cubicBezTo>
                  <a:pt x="5" y="35"/>
                  <a:pt x="5" y="35"/>
                  <a:pt x="5" y="35"/>
                </a:cubicBezTo>
                <a:lnTo>
                  <a:pt x="27" y="35"/>
                </a:lnTo>
                <a:close/>
                <a:moveTo>
                  <a:pt x="5" y="155"/>
                </a:moveTo>
                <a:cubicBezTo>
                  <a:pt x="5" y="53"/>
                  <a:pt x="5" y="53"/>
                  <a:pt x="5" y="53"/>
                </a:cubicBezTo>
                <a:cubicBezTo>
                  <a:pt x="155" y="53"/>
                  <a:pt x="155" y="53"/>
                  <a:pt x="155" y="53"/>
                </a:cubicBezTo>
                <a:cubicBezTo>
                  <a:pt x="155" y="155"/>
                  <a:pt x="155" y="155"/>
                  <a:pt x="155" y="155"/>
                </a:cubicBezTo>
                <a:lnTo>
                  <a:pt x="5" y="155"/>
                </a:lnTo>
                <a:close/>
                <a:moveTo>
                  <a:pt x="61" y="72"/>
                </a:moveTo>
                <a:cubicBezTo>
                  <a:pt x="63" y="72"/>
                  <a:pt x="64" y="73"/>
                  <a:pt x="64" y="75"/>
                </a:cubicBezTo>
                <a:cubicBezTo>
                  <a:pt x="64" y="76"/>
                  <a:pt x="63" y="77"/>
                  <a:pt x="61" y="77"/>
                </a:cubicBezTo>
                <a:cubicBezTo>
                  <a:pt x="60" y="77"/>
                  <a:pt x="59" y="76"/>
                  <a:pt x="59" y="75"/>
                </a:cubicBezTo>
                <a:cubicBezTo>
                  <a:pt x="59" y="73"/>
                  <a:pt x="60" y="72"/>
                  <a:pt x="61" y="72"/>
                </a:cubicBezTo>
                <a:close/>
                <a:moveTo>
                  <a:pt x="80" y="72"/>
                </a:moveTo>
                <a:cubicBezTo>
                  <a:pt x="81" y="72"/>
                  <a:pt x="83" y="73"/>
                  <a:pt x="83" y="75"/>
                </a:cubicBezTo>
                <a:cubicBezTo>
                  <a:pt x="83" y="76"/>
                  <a:pt x="81" y="77"/>
                  <a:pt x="80" y="77"/>
                </a:cubicBezTo>
                <a:cubicBezTo>
                  <a:pt x="79" y="77"/>
                  <a:pt x="77" y="76"/>
                  <a:pt x="77" y="75"/>
                </a:cubicBezTo>
                <a:cubicBezTo>
                  <a:pt x="77" y="73"/>
                  <a:pt x="79" y="72"/>
                  <a:pt x="80" y="72"/>
                </a:cubicBezTo>
                <a:close/>
                <a:moveTo>
                  <a:pt x="99" y="72"/>
                </a:moveTo>
                <a:cubicBezTo>
                  <a:pt x="100" y="72"/>
                  <a:pt x="101" y="73"/>
                  <a:pt x="101" y="75"/>
                </a:cubicBezTo>
                <a:cubicBezTo>
                  <a:pt x="101" y="76"/>
                  <a:pt x="100" y="77"/>
                  <a:pt x="99" y="77"/>
                </a:cubicBezTo>
                <a:cubicBezTo>
                  <a:pt x="97" y="77"/>
                  <a:pt x="96" y="76"/>
                  <a:pt x="96" y="75"/>
                </a:cubicBezTo>
                <a:cubicBezTo>
                  <a:pt x="96" y="73"/>
                  <a:pt x="97" y="72"/>
                  <a:pt x="99" y="72"/>
                </a:cubicBezTo>
                <a:close/>
                <a:moveTo>
                  <a:pt x="117" y="72"/>
                </a:moveTo>
                <a:cubicBezTo>
                  <a:pt x="119" y="72"/>
                  <a:pt x="120" y="73"/>
                  <a:pt x="120" y="75"/>
                </a:cubicBezTo>
                <a:cubicBezTo>
                  <a:pt x="120" y="76"/>
                  <a:pt x="119" y="77"/>
                  <a:pt x="117" y="77"/>
                </a:cubicBezTo>
                <a:cubicBezTo>
                  <a:pt x="116" y="77"/>
                  <a:pt x="115" y="76"/>
                  <a:pt x="115" y="75"/>
                </a:cubicBezTo>
                <a:cubicBezTo>
                  <a:pt x="115" y="73"/>
                  <a:pt x="116" y="72"/>
                  <a:pt x="117" y="72"/>
                </a:cubicBezTo>
                <a:close/>
                <a:moveTo>
                  <a:pt x="136" y="72"/>
                </a:moveTo>
                <a:cubicBezTo>
                  <a:pt x="137" y="72"/>
                  <a:pt x="139" y="73"/>
                  <a:pt x="139" y="75"/>
                </a:cubicBezTo>
                <a:cubicBezTo>
                  <a:pt x="139" y="76"/>
                  <a:pt x="137" y="77"/>
                  <a:pt x="136" y="77"/>
                </a:cubicBezTo>
                <a:cubicBezTo>
                  <a:pt x="135" y="77"/>
                  <a:pt x="133" y="76"/>
                  <a:pt x="133" y="75"/>
                </a:cubicBezTo>
                <a:cubicBezTo>
                  <a:pt x="133" y="73"/>
                  <a:pt x="135" y="72"/>
                  <a:pt x="136" y="72"/>
                </a:cubicBezTo>
                <a:close/>
                <a:moveTo>
                  <a:pt x="24" y="93"/>
                </a:moveTo>
                <a:cubicBezTo>
                  <a:pt x="25" y="93"/>
                  <a:pt x="27" y="95"/>
                  <a:pt x="27" y="96"/>
                </a:cubicBezTo>
                <a:cubicBezTo>
                  <a:pt x="27" y="97"/>
                  <a:pt x="25" y="99"/>
                  <a:pt x="24" y="99"/>
                </a:cubicBezTo>
                <a:cubicBezTo>
                  <a:pt x="23" y="99"/>
                  <a:pt x="21" y="97"/>
                  <a:pt x="21" y="96"/>
                </a:cubicBezTo>
                <a:cubicBezTo>
                  <a:pt x="21" y="95"/>
                  <a:pt x="23" y="93"/>
                  <a:pt x="24" y="93"/>
                </a:cubicBezTo>
                <a:close/>
                <a:moveTo>
                  <a:pt x="43" y="93"/>
                </a:moveTo>
                <a:cubicBezTo>
                  <a:pt x="44" y="93"/>
                  <a:pt x="45" y="95"/>
                  <a:pt x="45" y="96"/>
                </a:cubicBezTo>
                <a:cubicBezTo>
                  <a:pt x="45" y="97"/>
                  <a:pt x="44" y="99"/>
                  <a:pt x="43" y="99"/>
                </a:cubicBezTo>
                <a:cubicBezTo>
                  <a:pt x="41" y="99"/>
                  <a:pt x="40" y="97"/>
                  <a:pt x="40" y="96"/>
                </a:cubicBezTo>
                <a:cubicBezTo>
                  <a:pt x="40" y="95"/>
                  <a:pt x="41" y="93"/>
                  <a:pt x="43" y="93"/>
                </a:cubicBezTo>
                <a:close/>
                <a:moveTo>
                  <a:pt x="61" y="93"/>
                </a:moveTo>
                <a:cubicBezTo>
                  <a:pt x="63" y="93"/>
                  <a:pt x="64" y="95"/>
                  <a:pt x="64" y="96"/>
                </a:cubicBezTo>
                <a:cubicBezTo>
                  <a:pt x="64" y="97"/>
                  <a:pt x="63" y="99"/>
                  <a:pt x="61" y="99"/>
                </a:cubicBezTo>
                <a:cubicBezTo>
                  <a:pt x="60" y="99"/>
                  <a:pt x="59" y="97"/>
                  <a:pt x="59" y="96"/>
                </a:cubicBezTo>
                <a:cubicBezTo>
                  <a:pt x="59" y="95"/>
                  <a:pt x="60" y="93"/>
                  <a:pt x="61" y="93"/>
                </a:cubicBezTo>
                <a:close/>
                <a:moveTo>
                  <a:pt x="80" y="93"/>
                </a:moveTo>
                <a:cubicBezTo>
                  <a:pt x="81" y="93"/>
                  <a:pt x="83" y="95"/>
                  <a:pt x="83" y="96"/>
                </a:cubicBezTo>
                <a:cubicBezTo>
                  <a:pt x="83" y="97"/>
                  <a:pt x="81" y="99"/>
                  <a:pt x="80" y="99"/>
                </a:cubicBezTo>
                <a:cubicBezTo>
                  <a:pt x="79" y="99"/>
                  <a:pt x="77" y="97"/>
                  <a:pt x="77" y="96"/>
                </a:cubicBezTo>
                <a:cubicBezTo>
                  <a:pt x="77" y="95"/>
                  <a:pt x="79" y="93"/>
                  <a:pt x="80" y="93"/>
                </a:cubicBezTo>
                <a:close/>
                <a:moveTo>
                  <a:pt x="99" y="93"/>
                </a:moveTo>
                <a:cubicBezTo>
                  <a:pt x="100" y="93"/>
                  <a:pt x="101" y="95"/>
                  <a:pt x="101" y="96"/>
                </a:cubicBezTo>
                <a:cubicBezTo>
                  <a:pt x="101" y="97"/>
                  <a:pt x="100" y="99"/>
                  <a:pt x="99" y="99"/>
                </a:cubicBezTo>
                <a:cubicBezTo>
                  <a:pt x="97" y="99"/>
                  <a:pt x="96" y="97"/>
                  <a:pt x="96" y="96"/>
                </a:cubicBezTo>
                <a:cubicBezTo>
                  <a:pt x="96" y="95"/>
                  <a:pt x="97" y="93"/>
                  <a:pt x="99" y="93"/>
                </a:cubicBezTo>
                <a:close/>
                <a:moveTo>
                  <a:pt x="117" y="93"/>
                </a:moveTo>
                <a:cubicBezTo>
                  <a:pt x="119" y="93"/>
                  <a:pt x="120" y="95"/>
                  <a:pt x="120" y="96"/>
                </a:cubicBezTo>
                <a:cubicBezTo>
                  <a:pt x="120" y="97"/>
                  <a:pt x="119" y="99"/>
                  <a:pt x="117" y="99"/>
                </a:cubicBezTo>
                <a:cubicBezTo>
                  <a:pt x="116" y="99"/>
                  <a:pt x="115" y="97"/>
                  <a:pt x="115" y="96"/>
                </a:cubicBezTo>
                <a:cubicBezTo>
                  <a:pt x="115" y="95"/>
                  <a:pt x="116" y="93"/>
                  <a:pt x="117" y="93"/>
                </a:cubicBezTo>
                <a:close/>
                <a:moveTo>
                  <a:pt x="136" y="93"/>
                </a:moveTo>
                <a:cubicBezTo>
                  <a:pt x="137" y="93"/>
                  <a:pt x="139" y="95"/>
                  <a:pt x="139" y="96"/>
                </a:cubicBezTo>
                <a:cubicBezTo>
                  <a:pt x="139" y="97"/>
                  <a:pt x="137" y="99"/>
                  <a:pt x="136" y="99"/>
                </a:cubicBezTo>
                <a:cubicBezTo>
                  <a:pt x="135" y="99"/>
                  <a:pt x="133" y="97"/>
                  <a:pt x="133" y="96"/>
                </a:cubicBezTo>
                <a:cubicBezTo>
                  <a:pt x="133" y="95"/>
                  <a:pt x="135" y="93"/>
                  <a:pt x="136" y="93"/>
                </a:cubicBezTo>
                <a:close/>
                <a:moveTo>
                  <a:pt x="24" y="112"/>
                </a:moveTo>
                <a:cubicBezTo>
                  <a:pt x="25" y="112"/>
                  <a:pt x="27" y="113"/>
                  <a:pt x="27" y="115"/>
                </a:cubicBezTo>
                <a:cubicBezTo>
                  <a:pt x="27" y="116"/>
                  <a:pt x="25" y="117"/>
                  <a:pt x="24" y="117"/>
                </a:cubicBezTo>
                <a:cubicBezTo>
                  <a:pt x="23" y="117"/>
                  <a:pt x="21" y="116"/>
                  <a:pt x="21" y="115"/>
                </a:cubicBezTo>
                <a:cubicBezTo>
                  <a:pt x="21" y="113"/>
                  <a:pt x="23" y="112"/>
                  <a:pt x="24" y="112"/>
                </a:cubicBezTo>
                <a:close/>
                <a:moveTo>
                  <a:pt x="43" y="112"/>
                </a:moveTo>
                <a:cubicBezTo>
                  <a:pt x="44" y="112"/>
                  <a:pt x="45" y="113"/>
                  <a:pt x="45" y="115"/>
                </a:cubicBezTo>
                <a:cubicBezTo>
                  <a:pt x="45" y="116"/>
                  <a:pt x="44" y="117"/>
                  <a:pt x="43" y="117"/>
                </a:cubicBezTo>
                <a:cubicBezTo>
                  <a:pt x="41" y="117"/>
                  <a:pt x="40" y="116"/>
                  <a:pt x="40" y="115"/>
                </a:cubicBezTo>
                <a:cubicBezTo>
                  <a:pt x="40" y="113"/>
                  <a:pt x="41" y="112"/>
                  <a:pt x="43" y="112"/>
                </a:cubicBezTo>
                <a:close/>
                <a:moveTo>
                  <a:pt x="61" y="112"/>
                </a:moveTo>
                <a:cubicBezTo>
                  <a:pt x="63" y="112"/>
                  <a:pt x="64" y="113"/>
                  <a:pt x="64" y="115"/>
                </a:cubicBezTo>
                <a:cubicBezTo>
                  <a:pt x="64" y="116"/>
                  <a:pt x="63" y="117"/>
                  <a:pt x="61" y="117"/>
                </a:cubicBezTo>
                <a:cubicBezTo>
                  <a:pt x="60" y="117"/>
                  <a:pt x="59" y="116"/>
                  <a:pt x="59" y="115"/>
                </a:cubicBezTo>
                <a:cubicBezTo>
                  <a:pt x="59" y="113"/>
                  <a:pt x="60" y="112"/>
                  <a:pt x="61" y="112"/>
                </a:cubicBezTo>
                <a:close/>
                <a:moveTo>
                  <a:pt x="80" y="112"/>
                </a:moveTo>
                <a:cubicBezTo>
                  <a:pt x="81" y="112"/>
                  <a:pt x="83" y="113"/>
                  <a:pt x="83" y="115"/>
                </a:cubicBezTo>
                <a:cubicBezTo>
                  <a:pt x="83" y="116"/>
                  <a:pt x="81" y="117"/>
                  <a:pt x="80" y="117"/>
                </a:cubicBezTo>
                <a:cubicBezTo>
                  <a:pt x="79" y="117"/>
                  <a:pt x="77" y="116"/>
                  <a:pt x="77" y="115"/>
                </a:cubicBezTo>
                <a:cubicBezTo>
                  <a:pt x="77" y="113"/>
                  <a:pt x="79" y="112"/>
                  <a:pt x="80" y="112"/>
                </a:cubicBezTo>
                <a:close/>
                <a:moveTo>
                  <a:pt x="99" y="112"/>
                </a:moveTo>
                <a:cubicBezTo>
                  <a:pt x="100" y="112"/>
                  <a:pt x="101" y="113"/>
                  <a:pt x="101" y="115"/>
                </a:cubicBezTo>
                <a:cubicBezTo>
                  <a:pt x="101" y="116"/>
                  <a:pt x="100" y="117"/>
                  <a:pt x="99" y="117"/>
                </a:cubicBezTo>
                <a:cubicBezTo>
                  <a:pt x="97" y="117"/>
                  <a:pt x="96" y="116"/>
                  <a:pt x="96" y="115"/>
                </a:cubicBezTo>
                <a:cubicBezTo>
                  <a:pt x="96" y="113"/>
                  <a:pt x="97" y="112"/>
                  <a:pt x="99" y="112"/>
                </a:cubicBezTo>
                <a:close/>
                <a:moveTo>
                  <a:pt x="117" y="112"/>
                </a:moveTo>
                <a:cubicBezTo>
                  <a:pt x="119" y="112"/>
                  <a:pt x="120" y="113"/>
                  <a:pt x="120" y="115"/>
                </a:cubicBezTo>
                <a:cubicBezTo>
                  <a:pt x="120" y="116"/>
                  <a:pt x="119" y="117"/>
                  <a:pt x="117" y="117"/>
                </a:cubicBezTo>
                <a:cubicBezTo>
                  <a:pt x="116" y="117"/>
                  <a:pt x="115" y="116"/>
                  <a:pt x="115" y="115"/>
                </a:cubicBezTo>
                <a:cubicBezTo>
                  <a:pt x="115" y="113"/>
                  <a:pt x="116" y="112"/>
                  <a:pt x="117" y="112"/>
                </a:cubicBezTo>
                <a:close/>
                <a:moveTo>
                  <a:pt x="136" y="112"/>
                </a:moveTo>
                <a:cubicBezTo>
                  <a:pt x="137" y="112"/>
                  <a:pt x="139" y="113"/>
                  <a:pt x="139" y="115"/>
                </a:cubicBezTo>
                <a:cubicBezTo>
                  <a:pt x="139" y="116"/>
                  <a:pt x="137" y="117"/>
                  <a:pt x="136" y="117"/>
                </a:cubicBezTo>
                <a:cubicBezTo>
                  <a:pt x="135" y="117"/>
                  <a:pt x="133" y="116"/>
                  <a:pt x="133" y="115"/>
                </a:cubicBezTo>
                <a:cubicBezTo>
                  <a:pt x="133" y="113"/>
                  <a:pt x="135" y="112"/>
                  <a:pt x="136" y="112"/>
                </a:cubicBezTo>
                <a:close/>
                <a:moveTo>
                  <a:pt x="24" y="133"/>
                </a:moveTo>
                <a:cubicBezTo>
                  <a:pt x="25" y="133"/>
                  <a:pt x="27" y="135"/>
                  <a:pt x="27" y="136"/>
                </a:cubicBezTo>
                <a:cubicBezTo>
                  <a:pt x="27" y="137"/>
                  <a:pt x="25" y="139"/>
                  <a:pt x="24" y="139"/>
                </a:cubicBezTo>
                <a:cubicBezTo>
                  <a:pt x="23" y="139"/>
                  <a:pt x="21" y="137"/>
                  <a:pt x="21" y="136"/>
                </a:cubicBezTo>
                <a:cubicBezTo>
                  <a:pt x="21" y="135"/>
                  <a:pt x="23" y="133"/>
                  <a:pt x="24" y="133"/>
                </a:cubicBezTo>
                <a:close/>
                <a:moveTo>
                  <a:pt x="43" y="133"/>
                </a:moveTo>
                <a:cubicBezTo>
                  <a:pt x="44" y="133"/>
                  <a:pt x="45" y="135"/>
                  <a:pt x="45" y="136"/>
                </a:cubicBezTo>
                <a:cubicBezTo>
                  <a:pt x="45" y="137"/>
                  <a:pt x="44" y="139"/>
                  <a:pt x="43" y="139"/>
                </a:cubicBezTo>
                <a:cubicBezTo>
                  <a:pt x="41" y="139"/>
                  <a:pt x="40" y="137"/>
                  <a:pt x="40" y="136"/>
                </a:cubicBezTo>
                <a:cubicBezTo>
                  <a:pt x="40" y="135"/>
                  <a:pt x="41" y="133"/>
                  <a:pt x="43" y="133"/>
                </a:cubicBezTo>
                <a:close/>
                <a:moveTo>
                  <a:pt x="61" y="133"/>
                </a:moveTo>
                <a:cubicBezTo>
                  <a:pt x="63" y="133"/>
                  <a:pt x="64" y="135"/>
                  <a:pt x="64" y="136"/>
                </a:cubicBezTo>
                <a:cubicBezTo>
                  <a:pt x="64" y="137"/>
                  <a:pt x="63" y="139"/>
                  <a:pt x="61" y="139"/>
                </a:cubicBezTo>
                <a:cubicBezTo>
                  <a:pt x="60" y="139"/>
                  <a:pt x="59" y="137"/>
                  <a:pt x="59" y="136"/>
                </a:cubicBezTo>
                <a:cubicBezTo>
                  <a:pt x="59" y="135"/>
                  <a:pt x="60" y="133"/>
                  <a:pt x="61" y="133"/>
                </a:cubicBezTo>
                <a:close/>
                <a:moveTo>
                  <a:pt x="80" y="133"/>
                </a:moveTo>
                <a:cubicBezTo>
                  <a:pt x="81" y="133"/>
                  <a:pt x="83" y="135"/>
                  <a:pt x="83" y="136"/>
                </a:cubicBezTo>
                <a:cubicBezTo>
                  <a:pt x="83" y="137"/>
                  <a:pt x="81" y="139"/>
                  <a:pt x="80" y="139"/>
                </a:cubicBezTo>
                <a:cubicBezTo>
                  <a:pt x="79" y="139"/>
                  <a:pt x="77" y="137"/>
                  <a:pt x="77" y="136"/>
                </a:cubicBezTo>
                <a:cubicBezTo>
                  <a:pt x="77" y="135"/>
                  <a:pt x="79" y="133"/>
                  <a:pt x="80" y="133"/>
                </a:cubicBezTo>
                <a:close/>
                <a:moveTo>
                  <a:pt x="99" y="133"/>
                </a:moveTo>
                <a:cubicBezTo>
                  <a:pt x="100" y="133"/>
                  <a:pt x="101" y="135"/>
                  <a:pt x="101" y="136"/>
                </a:cubicBezTo>
                <a:cubicBezTo>
                  <a:pt x="101" y="137"/>
                  <a:pt x="100" y="139"/>
                  <a:pt x="99" y="139"/>
                </a:cubicBezTo>
                <a:cubicBezTo>
                  <a:pt x="97" y="139"/>
                  <a:pt x="96" y="137"/>
                  <a:pt x="96" y="136"/>
                </a:cubicBezTo>
                <a:cubicBezTo>
                  <a:pt x="96" y="135"/>
                  <a:pt x="97" y="133"/>
                  <a:pt x="99" y="13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Freeform 1068">
            <a:extLst>
              <a:ext uri="{FF2B5EF4-FFF2-40B4-BE49-F238E27FC236}">
                <a16:creationId xmlns:a16="http://schemas.microsoft.com/office/drawing/2014/main" id="{8011AC46-2ACF-F649-8905-4791C2FDAD59}"/>
              </a:ext>
            </a:extLst>
          </p:cNvPr>
          <p:cNvSpPr>
            <a:spLocks noEditPoints="1"/>
          </p:cNvSpPr>
          <p:nvPr/>
        </p:nvSpPr>
        <p:spPr bwMode="auto">
          <a:xfrm>
            <a:off x="4398845" y="2841625"/>
            <a:ext cx="546100" cy="541338"/>
          </a:xfrm>
          <a:custGeom>
            <a:avLst/>
            <a:gdLst>
              <a:gd name="T0" fmla="*/ 118 w 160"/>
              <a:gd name="T1" fmla="*/ 11 h 157"/>
              <a:gd name="T2" fmla="*/ 105 w 160"/>
              <a:gd name="T3" fmla="*/ 0 h 157"/>
              <a:gd name="T4" fmla="*/ 102 w 160"/>
              <a:gd name="T5" fmla="*/ 3 h 157"/>
              <a:gd name="T6" fmla="*/ 105 w 160"/>
              <a:gd name="T7" fmla="*/ 6 h 157"/>
              <a:gd name="T8" fmla="*/ 113 w 160"/>
              <a:gd name="T9" fmla="*/ 14 h 157"/>
              <a:gd name="T10" fmla="*/ 105 w 160"/>
              <a:gd name="T11" fmla="*/ 22 h 157"/>
              <a:gd name="T12" fmla="*/ 102 w 160"/>
              <a:gd name="T13" fmla="*/ 25 h 157"/>
              <a:gd name="T14" fmla="*/ 105 w 160"/>
              <a:gd name="T15" fmla="*/ 28 h 157"/>
              <a:gd name="T16" fmla="*/ 118 w 160"/>
              <a:gd name="T17" fmla="*/ 17 h 157"/>
              <a:gd name="T18" fmla="*/ 154 w 160"/>
              <a:gd name="T19" fmla="*/ 17 h 157"/>
              <a:gd name="T20" fmla="*/ 154 w 160"/>
              <a:gd name="T21" fmla="*/ 41 h 157"/>
              <a:gd name="T22" fmla="*/ 6 w 160"/>
              <a:gd name="T23" fmla="*/ 41 h 157"/>
              <a:gd name="T24" fmla="*/ 6 w 160"/>
              <a:gd name="T25" fmla="*/ 17 h 157"/>
              <a:gd name="T26" fmla="*/ 44 w 160"/>
              <a:gd name="T27" fmla="*/ 17 h 157"/>
              <a:gd name="T28" fmla="*/ 52 w 160"/>
              <a:gd name="T29" fmla="*/ 17 h 157"/>
              <a:gd name="T30" fmla="*/ 55 w 160"/>
              <a:gd name="T31" fmla="*/ 14 h 157"/>
              <a:gd name="T32" fmla="*/ 52 w 160"/>
              <a:gd name="T33" fmla="*/ 11 h 157"/>
              <a:gd name="T34" fmla="*/ 47 w 160"/>
              <a:gd name="T35" fmla="*/ 11 h 157"/>
              <a:gd name="T36" fmla="*/ 55 w 160"/>
              <a:gd name="T37" fmla="*/ 6 h 157"/>
              <a:gd name="T38" fmla="*/ 63 w 160"/>
              <a:gd name="T39" fmla="*/ 14 h 157"/>
              <a:gd name="T40" fmla="*/ 55 w 160"/>
              <a:gd name="T41" fmla="*/ 22 h 157"/>
              <a:gd name="T42" fmla="*/ 52 w 160"/>
              <a:gd name="T43" fmla="*/ 25 h 157"/>
              <a:gd name="T44" fmla="*/ 55 w 160"/>
              <a:gd name="T45" fmla="*/ 28 h 157"/>
              <a:gd name="T46" fmla="*/ 69 w 160"/>
              <a:gd name="T47" fmla="*/ 14 h 157"/>
              <a:gd name="T48" fmla="*/ 55 w 160"/>
              <a:gd name="T49" fmla="*/ 0 h 157"/>
              <a:gd name="T50" fmla="*/ 42 w 160"/>
              <a:gd name="T51" fmla="*/ 11 h 157"/>
              <a:gd name="T52" fmla="*/ 0 w 160"/>
              <a:gd name="T53" fmla="*/ 11 h 157"/>
              <a:gd name="T54" fmla="*/ 0 w 160"/>
              <a:gd name="T55" fmla="*/ 47 h 157"/>
              <a:gd name="T56" fmla="*/ 0 w 160"/>
              <a:gd name="T57" fmla="*/ 157 h 157"/>
              <a:gd name="T58" fmla="*/ 160 w 160"/>
              <a:gd name="T59" fmla="*/ 157 h 157"/>
              <a:gd name="T60" fmla="*/ 160 w 160"/>
              <a:gd name="T61" fmla="*/ 47 h 157"/>
              <a:gd name="T62" fmla="*/ 160 w 160"/>
              <a:gd name="T63" fmla="*/ 11 h 157"/>
              <a:gd name="T64" fmla="*/ 118 w 160"/>
              <a:gd name="T65" fmla="*/ 11 h 157"/>
              <a:gd name="T66" fmla="*/ 154 w 160"/>
              <a:gd name="T67" fmla="*/ 152 h 157"/>
              <a:gd name="T68" fmla="*/ 6 w 160"/>
              <a:gd name="T69" fmla="*/ 152 h 157"/>
              <a:gd name="T70" fmla="*/ 6 w 160"/>
              <a:gd name="T71" fmla="*/ 47 h 157"/>
              <a:gd name="T72" fmla="*/ 154 w 160"/>
              <a:gd name="T73" fmla="*/ 47 h 157"/>
              <a:gd name="T74" fmla="*/ 154 w 160"/>
              <a:gd name="T75" fmla="*/ 15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57">
                <a:moveTo>
                  <a:pt x="118" y="11"/>
                </a:moveTo>
                <a:cubicBezTo>
                  <a:pt x="117" y="5"/>
                  <a:pt x="111" y="0"/>
                  <a:pt x="105" y="0"/>
                </a:cubicBezTo>
                <a:cubicBezTo>
                  <a:pt x="103" y="0"/>
                  <a:pt x="102" y="1"/>
                  <a:pt x="102" y="3"/>
                </a:cubicBezTo>
                <a:cubicBezTo>
                  <a:pt x="102" y="4"/>
                  <a:pt x="103" y="6"/>
                  <a:pt x="105" y="6"/>
                </a:cubicBezTo>
                <a:cubicBezTo>
                  <a:pt x="109" y="6"/>
                  <a:pt x="113" y="9"/>
                  <a:pt x="113" y="14"/>
                </a:cubicBezTo>
                <a:cubicBezTo>
                  <a:pt x="113" y="18"/>
                  <a:pt x="109" y="22"/>
                  <a:pt x="105" y="22"/>
                </a:cubicBezTo>
                <a:cubicBezTo>
                  <a:pt x="103" y="22"/>
                  <a:pt x="102" y="23"/>
                  <a:pt x="102" y="25"/>
                </a:cubicBezTo>
                <a:cubicBezTo>
                  <a:pt x="102" y="26"/>
                  <a:pt x="103" y="28"/>
                  <a:pt x="105" y="28"/>
                </a:cubicBezTo>
                <a:cubicBezTo>
                  <a:pt x="111" y="28"/>
                  <a:pt x="117" y="23"/>
                  <a:pt x="118" y="17"/>
                </a:cubicBezTo>
                <a:cubicBezTo>
                  <a:pt x="154" y="17"/>
                  <a:pt x="154" y="17"/>
                  <a:pt x="154" y="17"/>
                </a:cubicBezTo>
                <a:cubicBezTo>
                  <a:pt x="154" y="41"/>
                  <a:pt x="154" y="41"/>
                  <a:pt x="154" y="41"/>
                </a:cubicBezTo>
                <a:cubicBezTo>
                  <a:pt x="6" y="41"/>
                  <a:pt x="6" y="41"/>
                  <a:pt x="6" y="41"/>
                </a:cubicBezTo>
                <a:cubicBezTo>
                  <a:pt x="6" y="17"/>
                  <a:pt x="6" y="17"/>
                  <a:pt x="6" y="17"/>
                </a:cubicBezTo>
                <a:cubicBezTo>
                  <a:pt x="44" y="17"/>
                  <a:pt x="44" y="17"/>
                  <a:pt x="44" y="17"/>
                </a:cubicBezTo>
                <a:cubicBezTo>
                  <a:pt x="52" y="17"/>
                  <a:pt x="52" y="17"/>
                  <a:pt x="52" y="17"/>
                </a:cubicBezTo>
                <a:cubicBezTo>
                  <a:pt x="54" y="17"/>
                  <a:pt x="55" y="15"/>
                  <a:pt x="55" y="14"/>
                </a:cubicBezTo>
                <a:cubicBezTo>
                  <a:pt x="55" y="12"/>
                  <a:pt x="54" y="11"/>
                  <a:pt x="52" y="11"/>
                </a:cubicBezTo>
                <a:cubicBezTo>
                  <a:pt x="47" y="11"/>
                  <a:pt x="47" y="11"/>
                  <a:pt x="47" y="11"/>
                </a:cubicBezTo>
                <a:cubicBezTo>
                  <a:pt x="49" y="8"/>
                  <a:pt x="52" y="6"/>
                  <a:pt x="55" y="6"/>
                </a:cubicBezTo>
                <a:cubicBezTo>
                  <a:pt x="60" y="6"/>
                  <a:pt x="63" y="9"/>
                  <a:pt x="63" y="14"/>
                </a:cubicBezTo>
                <a:cubicBezTo>
                  <a:pt x="63" y="18"/>
                  <a:pt x="60" y="22"/>
                  <a:pt x="55" y="22"/>
                </a:cubicBezTo>
                <a:cubicBezTo>
                  <a:pt x="54" y="22"/>
                  <a:pt x="52" y="23"/>
                  <a:pt x="52" y="25"/>
                </a:cubicBezTo>
                <a:cubicBezTo>
                  <a:pt x="52" y="26"/>
                  <a:pt x="54" y="28"/>
                  <a:pt x="55" y="28"/>
                </a:cubicBezTo>
                <a:cubicBezTo>
                  <a:pt x="63" y="28"/>
                  <a:pt x="69" y="21"/>
                  <a:pt x="69" y="14"/>
                </a:cubicBezTo>
                <a:cubicBezTo>
                  <a:pt x="69" y="6"/>
                  <a:pt x="63" y="0"/>
                  <a:pt x="55" y="0"/>
                </a:cubicBezTo>
                <a:cubicBezTo>
                  <a:pt x="49" y="0"/>
                  <a:pt x="43" y="5"/>
                  <a:pt x="42" y="11"/>
                </a:cubicBezTo>
                <a:cubicBezTo>
                  <a:pt x="0" y="11"/>
                  <a:pt x="0" y="11"/>
                  <a:pt x="0" y="11"/>
                </a:cubicBezTo>
                <a:cubicBezTo>
                  <a:pt x="0" y="47"/>
                  <a:pt x="0" y="47"/>
                  <a:pt x="0" y="47"/>
                </a:cubicBezTo>
                <a:cubicBezTo>
                  <a:pt x="0" y="157"/>
                  <a:pt x="0" y="157"/>
                  <a:pt x="0" y="157"/>
                </a:cubicBezTo>
                <a:cubicBezTo>
                  <a:pt x="160" y="157"/>
                  <a:pt x="160" y="157"/>
                  <a:pt x="160" y="157"/>
                </a:cubicBezTo>
                <a:cubicBezTo>
                  <a:pt x="160" y="47"/>
                  <a:pt x="160" y="47"/>
                  <a:pt x="160" y="47"/>
                </a:cubicBezTo>
                <a:cubicBezTo>
                  <a:pt x="160" y="11"/>
                  <a:pt x="160" y="11"/>
                  <a:pt x="160" y="11"/>
                </a:cubicBezTo>
                <a:lnTo>
                  <a:pt x="118" y="11"/>
                </a:lnTo>
                <a:close/>
                <a:moveTo>
                  <a:pt x="154" y="152"/>
                </a:moveTo>
                <a:cubicBezTo>
                  <a:pt x="6" y="152"/>
                  <a:pt x="6" y="152"/>
                  <a:pt x="6" y="152"/>
                </a:cubicBezTo>
                <a:cubicBezTo>
                  <a:pt x="6" y="47"/>
                  <a:pt x="6" y="47"/>
                  <a:pt x="6" y="47"/>
                </a:cubicBezTo>
                <a:cubicBezTo>
                  <a:pt x="154" y="47"/>
                  <a:pt x="154" y="47"/>
                  <a:pt x="154" y="47"/>
                </a:cubicBezTo>
                <a:lnTo>
                  <a:pt x="154" y="1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1069">
            <a:extLst>
              <a:ext uri="{FF2B5EF4-FFF2-40B4-BE49-F238E27FC236}">
                <a16:creationId xmlns:a16="http://schemas.microsoft.com/office/drawing/2014/main" id="{E72E67D1-5D3E-C149-AF39-5C585E6D359A}"/>
              </a:ext>
            </a:extLst>
          </p:cNvPr>
          <p:cNvSpPr>
            <a:spLocks/>
          </p:cNvSpPr>
          <p:nvPr/>
        </p:nvSpPr>
        <p:spPr bwMode="auto">
          <a:xfrm>
            <a:off x="4633795" y="2841625"/>
            <a:ext cx="58738" cy="96838"/>
          </a:xfrm>
          <a:custGeom>
            <a:avLst/>
            <a:gdLst>
              <a:gd name="T0" fmla="*/ 3 w 17"/>
              <a:gd name="T1" fmla="*/ 6 h 28"/>
              <a:gd name="T2" fmla="*/ 11 w 17"/>
              <a:gd name="T3" fmla="*/ 14 h 28"/>
              <a:gd name="T4" fmla="*/ 3 w 17"/>
              <a:gd name="T5" fmla="*/ 22 h 28"/>
              <a:gd name="T6" fmla="*/ 0 w 17"/>
              <a:gd name="T7" fmla="*/ 25 h 28"/>
              <a:gd name="T8" fmla="*/ 3 w 17"/>
              <a:gd name="T9" fmla="*/ 28 h 28"/>
              <a:gd name="T10" fmla="*/ 17 w 17"/>
              <a:gd name="T11" fmla="*/ 14 h 28"/>
              <a:gd name="T12" fmla="*/ 3 w 17"/>
              <a:gd name="T13" fmla="*/ 0 h 28"/>
              <a:gd name="T14" fmla="*/ 0 w 17"/>
              <a:gd name="T15" fmla="*/ 3 h 28"/>
              <a:gd name="T16" fmla="*/ 3 w 17"/>
              <a:gd name="T1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8">
                <a:moveTo>
                  <a:pt x="3" y="6"/>
                </a:moveTo>
                <a:cubicBezTo>
                  <a:pt x="7" y="6"/>
                  <a:pt x="11" y="9"/>
                  <a:pt x="11" y="14"/>
                </a:cubicBezTo>
                <a:cubicBezTo>
                  <a:pt x="11" y="18"/>
                  <a:pt x="7" y="22"/>
                  <a:pt x="3" y="22"/>
                </a:cubicBezTo>
                <a:cubicBezTo>
                  <a:pt x="1" y="22"/>
                  <a:pt x="0" y="23"/>
                  <a:pt x="0" y="25"/>
                </a:cubicBezTo>
                <a:cubicBezTo>
                  <a:pt x="0" y="26"/>
                  <a:pt x="1" y="28"/>
                  <a:pt x="3" y="28"/>
                </a:cubicBezTo>
                <a:cubicBezTo>
                  <a:pt x="10" y="28"/>
                  <a:pt x="17" y="21"/>
                  <a:pt x="17" y="14"/>
                </a:cubicBezTo>
                <a:cubicBezTo>
                  <a:pt x="17" y="6"/>
                  <a:pt x="10" y="0"/>
                  <a:pt x="3" y="0"/>
                </a:cubicBezTo>
                <a:cubicBezTo>
                  <a:pt x="1" y="0"/>
                  <a:pt x="0" y="1"/>
                  <a:pt x="0" y="3"/>
                </a:cubicBezTo>
                <a:cubicBezTo>
                  <a:pt x="0" y="4"/>
                  <a:pt x="1" y="6"/>
                  <a:pt x="3"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93" name="Freeform 1070">
            <a:extLst>
              <a:ext uri="{FF2B5EF4-FFF2-40B4-BE49-F238E27FC236}">
                <a16:creationId xmlns:a16="http://schemas.microsoft.com/office/drawing/2014/main" id="{F1568643-BCDF-0249-89A9-FEFA570D0E80}"/>
              </a:ext>
            </a:extLst>
          </p:cNvPr>
          <p:cNvSpPr>
            <a:spLocks/>
          </p:cNvSpPr>
          <p:nvPr/>
        </p:nvSpPr>
        <p:spPr bwMode="auto">
          <a:xfrm>
            <a:off x="4692533" y="2841625"/>
            <a:ext cx="53975" cy="96838"/>
          </a:xfrm>
          <a:custGeom>
            <a:avLst/>
            <a:gdLst>
              <a:gd name="T0" fmla="*/ 2 w 16"/>
              <a:gd name="T1" fmla="*/ 6 h 28"/>
              <a:gd name="T2" fmla="*/ 11 w 16"/>
              <a:gd name="T3" fmla="*/ 14 h 28"/>
              <a:gd name="T4" fmla="*/ 2 w 16"/>
              <a:gd name="T5" fmla="*/ 22 h 28"/>
              <a:gd name="T6" fmla="*/ 0 w 16"/>
              <a:gd name="T7" fmla="*/ 25 h 28"/>
              <a:gd name="T8" fmla="*/ 2 w 16"/>
              <a:gd name="T9" fmla="*/ 28 h 28"/>
              <a:gd name="T10" fmla="*/ 16 w 16"/>
              <a:gd name="T11" fmla="*/ 14 h 28"/>
              <a:gd name="T12" fmla="*/ 2 w 16"/>
              <a:gd name="T13" fmla="*/ 0 h 28"/>
              <a:gd name="T14" fmla="*/ 0 w 16"/>
              <a:gd name="T15" fmla="*/ 3 h 28"/>
              <a:gd name="T16" fmla="*/ 2 w 16"/>
              <a:gd name="T1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8">
                <a:moveTo>
                  <a:pt x="2" y="6"/>
                </a:moveTo>
                <a:cubicBezTo>
                  <a:pt x="7" y="6"/>
                  <a:pt x="11" y="9"/>
                  <a:pt x="11" y="14"/>
                </a:cubicBezTo>
                <a:cubicBezTo>
                  <a:pt x="11" y="18"/>
                  <a:pt x="7" y="22"/>
                  <a:pt x="2" y="22"/>
                </a:cubicBezTo>
                <a:cubicBezTo>
                  <a:pt x="1" y="22"/>
                  <a:pt x="0" y="23"/>
                  <a:pt x="0" y="25"/>
                </a:cubicBezTo>
                <a:cubicBezTo>
                  <a:pt x="0" y="26"/>
                  <a:pt x="1" y="28"/>
                  <a:pt x="2" y="28"/>
                </a:cubicBezTo>
                <a:cubicBezTo>
                  <a:pt x="10" y="28"/>
                  <a:pt x="16" y="21"/>
                  <a:pt x="16" y="14"/>
                </a:cubicBezTo>
                <a:cubicBezTo>
                  <a:pt x="16" y="6"/>
                  <a:pt x="10" y="0"/>
                  <a:pt x="2" y="0"/>
                </a:cubicBezTo>
                <a:cubicBezTo>
                  <a:pt x="1" y="0"/>
                  <a:pt x="0" y="1"/>
                  <a:pt x="0" y="3"/>
                </a:cubicBezTo>
                <a:cubicBezTo>
                  <a:pt x="0" y="4"/>
                  <a:pt x="1" y="6"/>
                  <a:pt x="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1071">
            <a:extLst>
              <a:ext uri="{FF2B5EF4-FFF2-40B4-BE49-F238E27FC236}">
                <a16:creationId xmlns:a16="http://schemas.microsoft.com/office/drawing/2014/main" id="{2AC11332-EDDF-4C49-B622-F4825D7844EE}"/>
              </a:ext>
            </a:extLst>
          </p:cNvPr>
          <p:cNvSpPr>
            <a:spLocks noEditPoints="1"/>
          </p:cNvSpPr>
          <p:nvPr/>
        </p:nvSpPr>
        <p:spPr bwMode="auto">
          <a:xfrm>
            <a:off x="4463933" y="3041650"/>
            <a:ext cx="112713" cy="114300"/>
          </a:xfrm>
          <a:custGeom>
            <a:avLst/>
            <a:gdLst>
              <a:gd name="T0" fmla="*/ 17 w 33"/>
              <a:gd name="T1" fmla="*/ 33 h 33"/>
              <a:gd name="T2" fmla="*/ 33 w 33"/>
              <a:gd name="T3" fmla="*/ 16 h 33"/>
              <a:gd name="T4" fmla="*/ 17 w 33"/>
              <a:gd name="T5" fmla="*/ 0 h 33"/>
              <a:gd name="T6" fmla="*/ 0 w 33"/>
              <a:gd name="T7" fmla="*/ 16 h 33"/>
              <a:gd name="T8" fmla="*/ 17 w 33"/>
              <a:gd name="T9" fmla="*/ 33 h 33"/>
              <a:gd name="T10" fmla="*/ 17 w 33"/>
              <a:gd name="T11" fmla="*/ 5 h 33"/>
              <a:gd name="T12" fmla="*/ 28 w 33"/>
              <a:gd name="T13" fmla="*/ 16 h 33"/>
              <a:gd name="T14" fmla="*/ 17 w 33"/>
              <a:gd name="T15" fmla="*/ 28 h 33"/>
              <a:gd name="T16" fmla="*/ 6 w 33"/>
              <a:gd name="T17" fmla="*/ 16 h 33"/>
              <a:gd name="T18" fmla="*/ 17 w 33"/>
              <a:gd name="T1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7" y="33"/>
                </a:moveTo>
                <a:cubicBezTo>
                  <a:pt x="26" y="33"/>
                  <a:pt x="33" y="26"/>
                  <a:pt x="33" y="16"/>
                </a:cubicBezTo>
                <a:cubicBezTo>
                  <a:pt x="33" y="7"/>
                  <a:pt x="26" y="0"/>
                  <a:pt x="17" y="0"/>
                </a:cubicBezTo>
                <a:cubicBezTo>
                  <a:pt x="8" y="0"/>
                  <a:pt x="0" y="7"/>
                  <a:pt x="0" y="16"/>
                </a:cubicBezTo>
                <a:cubicBezTo>
                  <a:pt x="0" y="26"/>
                  <a:pt x="8" y="33"/>
                  <a:pt x="17" y="33"/>
                </a:cubicBezTo>
                <a:close/>
                <a:moveTo>
                  <a:pt x="17" y="5"/>
                </a:moveTo>
                <a:cubicBezTo>
                  <a:pt x="23" y="5"/>
                  <a:pt x="28" y="10"/>
                  <a:pt x="28" y="16"/>
                </a:cubicBezTo>
                <a:cubicBezTo>
                  <a:pt x="28" y="23"/>
                  <a:pt x="23" y="28"/>
                  <a:pt x="17" y="28"/>
                </a:cubicBezTo>
                <a:cubicBezTo>
                  <a:pt x="11" y="28"/>
                  <a:pt x="6" y="23"/>
                  <a:pt x="6" y="16"/>
                </a:cubicBezTo>
                <a:cubicBezTo>
                  <a:pt x="6" y="10"/>
                  <a:pt x="11" y="5"/>
                  <a:pt x="17" y="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1072">
            <a:extLst>
              <a:ext uri="{FF2B5EF4-FFF2-40B4-BE49-F238E27FC236}">
                <a16:creationId xmlns:a16="http://schemas.microsoft.com/office/drawing/2014/main" id="{7362DECE-D9DE-9C4B-ADE6-91DBA261140B}"/>
              </a:ext>
            </a:extLst>
          </p:cNvPr>
          <p:cNvSpPr>
            <a:spLocks noEditPoints="1"/>
          </p:cNvSpPr>
          <p:nvPr/>
        </p:nvSpPr>
        <p:spPr bwMode="auto">
          <a:xfrm>
            <a:off x="4614745" y="3041650"/>
            <a:ext cx="115888" cy="114300"/>
          </a:xfrm>
          <a:custGeom>
            <a:avLst/>
            <a:gdLst>
              <a:gd name="T0" fmla="*/ 17 w 34"/>
              <a:gd name="T1" fmla="*/ 33 h 33"/>
              <a:gd name="T2" fmla="*/ 34 w 34"/>
              <a:gd name="T3" fmla="*/ 16 h 33"/>
              <a:gd name="T4" fmla="*/ 17 w 34"/>
              <a:gd name="T5" fmla="*/ 0 h 33"/>
              <a:gd name="T6" fmla="*/ 0 w 34"/>
              <a:gd name="T7" fmla="*/ 16 h 33"/>
              <a:gd name="T8" fmla="*/ 17 w 34"/>
              <a:gd name="T9" fmla="*/ 33 h 33"/>
              <a:gd name="T10" fmla="*/ 17 w 34"/>
              <a:gd name="T11" fmla="*/ 5 h 33"/>
              <a:gd name="T12" fmla="*/ 28 w 34"/>
              <a:gd name="T13" fmla="*/ 16 h 33"/>
              <a:gd name="T14" fmla="*/ 17 w 34"/>
              <a:gd name="T15" fmla="*/ 28 h 33"/>
              <a:gd name="T16" fmla="*/ 6 w 34"/>
              <a:gd name="T17" fmla="*/ 16 h 33"/>
              <a:gd name="T18" fmla="*/ 17 w 34"/>
              <a:gd name="T1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26" y="33"/>
                  <a:pt x="34" y="26"/>
                  <a:pt x="34" y="16"/>
                </a:cubicBezTo>
                <a:cubicBezTo>
                  <a:pt x="34" y="7"/>
                  <a:pt x="26" y="0"/>
                  <a:pt x="17" y="0"/>
                </a:cubicBezTo>
                <a:cubicBezTo>
                  <a:pt x="8" y="0"/>
                  <a:pt x="0" y="7"/>
                  <a:pt x="0" y="16"/>
                </a:cubicBezTo>
                <a:cubicBezTo>
                  <a:pt x="0" y="26"/>
                  <a:pt x="8" y="33"/>
                  <a:pt x="17" y="33"/>
                </a:cubicBezTo>
                <a:close/>
                <a:moveTo>
                  <a:pt x="17" y="5"/>
                </a:moveTo>
                <a:cubicBezTo>
                  <a:pt x="23" y="5"/>
                  <a:pt x="28" y="10"/>
                  <a:pt x="28" y="16"/>
                </a:cubicBezTo>
                <a:cubicBezTo>
                  <a:pt x="28" y="23"/>
                  <a:pt x="23" y="28"/>
                  <a:pt x="17" y="28"/>
                </a:cubicBezTo>
                <a:cubicBezTo>
                  <a:pt x="11" y="28"/>
                  <a:pt x="6" y="23"/>
                  <a:pt x="6" y="16"/>
                </a:cubicBezTo>
                <a:cubicBezTo>
                  <a:pt x="6" y="10"/>
                  <a:pt x="11" y="5"/>
                  <a:pt x="17" y="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1073">
            <a:extLst>
              <a:ext uri="{FF2B5EF4-FFF2-40B4-BE49-F238E27FC236}">
                <a16:creationId xmlns:a16="http://schemas.microsoft.com/office/drawing/2014/main" id="{8D79613B-E6D9-AB4A-8B97-2E6E8187C397}"/>
              </a:ext>
            </a:extLst>
          </p:cNvPr>
          <p:cNvSpPr>
            <a:spLocks noEditPoints="1"/>
          </p:cNvSpPr>
          <p:nvPr/>
        </p:nvSpPr>
        <p:spPr bwMode="auto">
          <a:xfrm>
            <a:off x="4767145" y="3041650"/>
            <a:ext cx="112713" cy="114300"/>
          </a:xfrm>
          <a:custGeom>
            <a:avLst/>
            <a:gdLst>
              <a:gd name="T0" fmla="*/ 16 w 33"/>
              <a:gd name="T1" fmla="*/ 33 h 33"/>
              <a:gd name="T2" fmla="*/ 33 w 33"/>
              <a:gd name="T3" fmla="*/ 16 h 33"/>
              <a:gd name="T4" fmla="*/ 16 w 33"/>
              <a:gd name="T5" fmla="*/ 0 h 33"/>
              <a:gd name="T6" fmla="*/ 0 w 33"/>
              <a:gd name="T7" fmla="*/ 16 h 33"/>
              <a:gd name="T8" fmla="*/ 16 w 33"/>
              <a:gd name="T9" fmla="*/ 33 h 33"/>
              <a:gd name="T10" fmla="*/ 16 w 33"/>
              <a:gd name="T11" fmla="*/ 5 h 33"/>
              <a:gd name="T12" fmla="*/ 27 w 33"/>
              <a:gd name="T13" fmla="*/ 16 h 33"/>
              <a:gd name="T14" fmla="*/ 16 w 33"/>
              <a:gd name="T15" fmla="*/ 28 h 33"/>
              <a:gd name="T16" fmla="*/ 5 w 33"/>
              <a:gd name="T17" fmla="*/ 16 h 33"/>
              <a:gd name="T18" fmla="*/ 16 w 33"/>
              <a:gd name="T1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33"/>
                </a:moveTo>
                <a:cubicBezTo>
                  <a:pt x="25" y="33"/>
                  <a:pt x="33" y="26"/>
                  <a:pt x="33" y="16"/>
                </a:cubicBezTo>
                <a:cubicBezTo>
                  <a:pt x="33" y="7"/>
                  <a:pt x="25" y="0"/>
                  <a:pt x="16" y="0"/>
                </a:cubicBezTo>
                <a:cubicBezTo>
                  <a:pt x="7" y="0"/>
                  <a:pt x="0" y="7"/>
                  <a:pt x="0" y="16"/>
                </a:cubicBezTo>
                <a:cubicBezTo>
                  <a:pt x="0" y="26"/>
                  <a:pt x="7" y="33"/>
                  <a:pt x="16" y="33"/>
                </a:cubicBezTo>
                <a:close/>
                <a:moveTo>
                  <a:pt x="16" y="5"/>
                </a:moveTo>
                <a:cubicBezTo>
                  <a:pt x="22" y="5"/>
                  <a:pt x="27" y="10"/>
                  <a:pt x="27" y="16"/>
                </a:cubicBezTo>
                <a:cubicBezTo>
                  <a:pt x="27" y="23"/>
                  <a:pt x="22" y="28"/>
                  <a:pt x="16" y="28"/>
                </a:cubicBezTo>
                <a:cubicBezTo>
                  <a:pt x="10" y="28"/>
                  <a:pt x="5" y="23"/>
                  <a:pt x="5" y="16"/>
                </a:cubicBezTo>
                <a:cubicBezTo>
                  <a:pt x="5" y="10"/>
                  <a:pt x="10" y="5"/>
                  <a:pt x="16" y="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97" name="Freeform 1074">
            <a:extLst>
              <a:ext uri="{FF2B5EF4-FFF2-40B4-BE49-F238E27FC236}">
                <a16:creationId xmlns:a16="http://schemas.microsoft.com/office/drawing/2014/main" id="{C3CC4BFB-BD73-5841-AB10-82B804079505}"/>
              </a:ext>
            </a:extLst>
          </p:cNvPr>
          <p:cNvSpPr>
            <a:spLocks noEditPoints="1"/>
          </p:cNvSpPr>
          <p:nvPr/>
        </p:nvSpPr>
        <p:spPr bwMode="auto">
          <a:xfrm>
            <a:off x="4463933" y="3192463"/>
            <a:ext cx="112713" cy="114300"/>
          </a:xfrm>
          <a:custGeom>
            <a:avLst/>
            <a:gdLst>
              <a:gd name="T0" fmla="*/ 17 w 33"/>
              <a:gd name="T1" fmla="*/ 33 h 33"/>
              <a:gd name="T2" fmla="*/ 33 w 33"/>
              <a:gd name="T3" fmla="*/ 17 h 33"/>
              <a:gd name="T4" fmla="*/ 17 w 33"/>
              <a:gd name="T5" fmla="*/ 0 h 33"/>
              <a:gd name="T6" fmla="*/ 0 w 33"/>
              <a:gd name="T7" fmla="*/ 17 h 33"/>
              <a:gd name="T8" fmla="*/ 17 w 33"/>
              <a:gd name="T9" fmla="*/ 33 h 33"/>
              <a:gd name="T10" fmla="*/ 17 w 33"/>
              <a:gd name="T11" fmla="*/ 6 h 33"/>
              <a:gd name="T12" fmla="*/ 28 w 33"/>
              <a:gd name="T13" fmla="*/ 17 h 33"/>
              <a:gd name="T14" fmla="*/ 17 w 33"/>
              <a:gd name="T15" fmla="*/ 28 h 33"/>
              <a:gd name="T16" fmla="*/ 6 w 33"/>
              <a:gd name="T17" fmla="*/ 17 h 33"/>
              <a:gd name="T18" fmla="*/ 17 w 33"/>
              <a:gd name="T1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7" y="33"/>
                </a:moveTo>
                <a:cubicBezTo>
                  <a:pt x="26" y="33"/>
                  <a:pt x="33" y="26"/>
                  <a:pt x="33" y="17"/>
                </a:cubicBezTo>
                <a:cubicBezTo>
                  <a:pt x="33" y="7"/>
                  <a:pt x="26" y="0"/>
                  <a:pt x="17" y="0"/>
                </a:cubicBezTo>
                <a:cubicBezTo>
                  <a:pt x="8" y="0"/>
                  <a:pt x="0" y="7"/>
                  <a:pt x="0" y="17"/>
                </a:cubicBezTo>
                <a:cubicBezTo>
                  <a:pt x="0" y="26"/>
                  <a:pt x="8" y="33"/>
                  <a:pt x="17" y="33"/>
                </a:cubicBezTo>
                <a:close/>
                <a:moveTo>
                  <a:pt x="17" y="6"/>
                </a:moveTo>
                <a:cubicBezTo>
                  <a:pt x="23" y="6"/>
                  <a:pt x="28" y="11"/>
                  <a:pt x="28" y="17"/>
                </a:cubicBezTo>
                <a:cubicBezTo>
                  <a:pt x="28" y="23"/>
                  <a:pt x="23" y="28"/>
                  <a:pt x="17" y="28"/>
                </a:cubicBezTo>
                <a:cubicBezTo>
                  <a:pt x="11" y="28"/>
                  <a:pt x="6" y="23"/>
                  <a:pt x="6" y="17"/>
                </a:cubicBezTo>
                <a:cubicBezTo>
                  <a:pt x="6" y="11"/>
                  <a:pt x="11" y="6"/>
                  <a:pt x="17"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Freeform 1075">
            <a:extLst>
              <a:ext uri="{FF2B5EF4-FFF2-40B4-BE49-F238E27FC236}">
                <a16:creationId xmlns:a16="http://schemas.microsoft.com/office/drawing/2014/main" id="{3149A575-51FD-0540-84F5-2FBD514FA426}"/>
              </a:ext>
            </a:extLst>
          </p:cNvPr>
          <p:cNvSpPr>
            <a:spLocks noEditPoints="1"/>
          </p:cNvSpPr>
          <p:nvPr/>
        </p:nvSpPr>
        <p:spPr bwMode="auto">
          <a:xfrm>
            <a:off x="4614745" y="3192463"/>
            <a:ext cx="115888" cy="114300"/>
          </a:xfrm>
          <a:custGeom>
            <a:avLst/>
            <a:gdLst>
              <a:gd name="T0" fmla="*/ 17 w 34"/>
              <a:gd name="T1" fmla="*/ 33 h 33"/>
              <a:gd name="T2" fmla="*/ 34 w 34"/>
              <a:gd name="T3" fmla="*/ 17 h 33"/>
              <a:gd name="T4" fmla="*/ 17 w 34"/>
              <a:gd name="T5" fmla="*/ 0 h 33"/>
              <a:gd name="T6" fmla="*/ 0 w 34"/>
              <a:gd name="T7" fmla="*/ 17 h 33"/>
              <a:gd name="T8" fmla="*/ 17 w 34"/>
              <a:gd name="T9" fmla="*/ 33 h 33"/>
              <a:gd name="T10" fmla="*/ 17 w 34"/>
              <a:gd name="T11" fmla="*/ 6 h 33"/>
              <a:gd name="T12" fmla="*/ 28 w 34"/>
              <a:gd name="T13" fmla="*/ 17 h 33"/>
              <a:gd name="T14" fmla="*/ 17 w 34"/>
              <a:gd name="T15" fmla="*/ 28 h 33"/>
              <a:gd name="T16" fmla="*/ 6 w 34"/>
              <a:gd name="T17" fmla="*/ 17 h 33"/>
              <a:gd name="T18" fmla="*/ 17 w 34"/>
              <a:gd name="T1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26" y="33"/>
                  <a:pt x="34" y="26"/>
                  <a:pt x="34" y="17"/>
                </a:cubicBezTo>
                <a:cubicBezTo>
                  <a:pt x="34" y="7"/>
                  <a:pt x="26" y="0"/>
                  <a:pt x="17" y="0"/>
                </a:cubicBezTo>
                <a:cubicBezTo>
                  <a:pt x="8" y="0"/>
                  <a:pt x="0" y="7"/>
                  <a:pt x="0" y="17"/>
                </a:cubicBezTo>
                <a:cubicBezTo>
                  <a:pt x="0" y="26"/>
                  <a:pt x="8" y="33"/>
                  <a:pt x="17" y="33"/>
                </a:cubicBezTo>
                <a:close/>
                <a:moveTo>
                  <a:pt x="17" y="6"/>
                </a:moveTo>
                <a:cubicBezTo>
                  <a:pt x="23" y="6"/>
                  <a:pt x="28" y="11"/>
                  <a:pt x="28" y="17"/>
                </a:cubicBezTo>
                <a:cubicBezTo>
                  <a:pt x="28" y="23"/>
                  <a:pt x="23" y="28"/>
                  <a:pt x="17" y="28"/>
                </a:cubicBezTo>
                <a:cubicBezTo>
                  <a:pt x="11" y="28"/>
                  <a:pt x="6" y="23"/>
                  <a:pt x="6" y="17"/>
                </a:cubicBezTo>
                <a:cubicBezTo>
                  <a:pt x="6" y="11"/>
                  <a:pt x="11" y="6"/>
                  <a:pt x="17"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99" name="Oval 1076">
            <a:extLst>
              <a:ext uri="{FF2B5EF4-FFF2-40B4-BE49-F238E27FC236}">
                <a16:creationId xmlns:a16="http://schemas.microsoft.com/office/drawing/2014/main" id="{13D51540-BC93-6545-AF85-2B3E5810F1F1}"/>
              </a:ext>
            </a:extLst>
          </p:cNvPr>
          <p:cNvSpPr>
            <a:spLocks noChangeArrowheads="1"/>
          </p:cNvSpPr>
          <p:nvPr/>
        </p:nvSpPr>
        <p:spPr bwMode="auto">
          <a:xfrm>
            <a:off x="4811595" y="3289300"/>
            <a:ext cx="20638" cy="17463"/>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00" name="Oval 1077">
            <a:extLst>
              <a:ext uri="{FF2B5EF4-FFF2-40B4-BE49-F238E27FC236}">
                <a16:creationId xmlns:a16="http://schemas.microsoft.com/office/drawing/2014/main" id="{64C2A87E-3EE3-0245-8B3C-1782E361E0D5}"/>
              </a:ext>
            </a:extLst>
          </p:cNvPr>
          <p:cNvSpPr>
            <a:spLocks noChangeArrowheads="1"/>
          </p:cNvSpPr>
          <p:nvPr/>
        </p:nvSpPr>
        <p:spPr bwMode="auto">
          <a:xfrm>
            <a:off x="4775083" y="3279775"/>
            <a:ext cx="20638" cy="15875"/>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Oval 1078">
            <a:extLst>
              <a:ext uri="{FF2B5EF4-FFF2-40B4-BE49-F238E27FC236}">
                <a16:creationId xmlns:a16="http://schemas.microsoft.com/office/drawing/2014/main" id="{B03A312B-3E84-2F4E-8FB2-B596E8614CAF}"/>
              </a:ext>
            </a:extLst>
          </p:cNvPr>
          <p:cNvSpPr>
            <a:spLocks noChangeArrowheads="1"/>
          </p:cNvSpPr>
          <p:nvPr/>
        </p:nvSpPr>
        <p:spPr bwMode="auto">
          <a:xfrm>
            <a:off x="4849695" y="3279775"/>
            <a:ext cx="20638" cy="15875"/>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02" name="Oval 1079">
            <a:extLst>
              <a:ext uri="{FF2B5EF4-FFF2-40B4-BE49-F238E27FC236}">
                <a16:creationId xmlns:a16="http://schemas.microsoft.com/office/drawing/2014/main" id="{7E70DF89-3C13-F94A-AF3E-43A3CCF81E5A}"/>
              </a:ext>
            </a:extLst>
          </p:cNvPr>
          <p:cNvSpPr>
            <a:spLocks noChangeArrowheads="1"/>
          </p:cNvSpPr>
          <p:nvPr/>
        </p:nvSpPr>
        <p:spPr bwMode="auto">
          <a:xfrm>
            <a:off x="4849695" y="3203575"/>
            <a:ext cx="20638" cy="17463"/>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03" name="Oval 1080">
            <a:extLst>
              <a:ext uri="{FF2B5EF4-FFF2-40B4-BE49-F238E27FC236}">
                <a16:creationId xmlns:a16="http://schemas.microsoft.com/office/drawing/2014/main" id="{89ABC795-0BF1-CD48-A649-760AAE4AF2B4}"/>
              </a:ext>
            </a:extLst>
          </p:cNvPr>
          <p:cNvSpPr>
            <a:spLocks noChangeArrowheads="1"/>
          </p:cNvSpPr>
          <p:nvPr/>
        </p:nvSpPr>
        <p:spPr bwMode="auto">
          <a:xfrm>
            <a:off x="4775083" y="3203575"/>
            <a:ext cx="20638" cy="17463"/>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04" name="Oval 1081">
            <a:extLst>
              <a:ext uri="{FF2B5EF4-FFF2-40B4-BE49-F238E27FC236}">
                <a16:creationId xmlns:a16="http://schemas.microsoft.com/office/drawing/2014/main" id="{FAF3C488-86BF-E34E-A479-03CE7DBBF82E}"/>
              </a:ext>
            </a:extLst>
          </p:cNvPr>
          <p:cNvSpPr>
            <a:spLocks noChangeArrowheads="1"/>
          </p:cNvSpPr>
          <p:nvPr/>
        </p:nvSpPr>
        <p:spPr bwMode="auto">
          <a:xfrm>
            <a:off x="4795720" y="3221038"/>
            <a:ext cx="15875" cy="20638"/>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05" name="Oval 1082">
            <a:extLst>
              <a:ext uri="{FF2B5EF4-FFF2-40B4-BE49-F238E27FC236}">
                <a16:creationId xmlns:a16="http://schemas.microsoft.com/office/drawing/2014/main" id="{49FD8278-9BC9-504D-ADB6-BCE33EE69306}"/>
              </a:ext>
            </a:extLst>
          </p:cNvPr>
          <p:cNvSpPr>
            <a:spLocks noChangeArrowheads="1"/>
          </p:cNvSpPr>
          <p:nvPr/>
        </p:nvSpPr>
        <p:spPr bwMode="auto">
          <a:xfrm>
            <a:off x="4832233" y="3221038"/>
            <a:ext cx="17463" cy="20638"/>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06" name="Oval 1083">
            <a:extLst>
              <a:ext uri="{FF2B5EF4-FFF2-40B4-BE49-F238E27FC236}">
                <a16:creationId xmlns:a16="http://schemas.microsoft.com/office/drawing/2014/main" id="{3FD07701-897B-A246-9916-7AAB3E2CD0BD}"/>
              </a:ext>
            </a:extLst>
          </p:cNvPr>
          <p:cNvSpPr>
            <a:spLocks noChangeArrowheads="1"/>
          </p:cNvSpPr>
          <p:nvPr/>
        </p:nvSpPr>
        <p:spPr bwMode="auto">
          <a:xfrm>
            <a:off x="4811595" y="3241675"/>
            <a:ext cx="20638" cy="17463"/>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07" name="Oval 1084">
            <a:extLst>
              <a:ext uri="{FF2B5EF4-FFF2-40B4-BE49-F238E27FC236}">
                <a16:creationId xmlns:a16="http://schemas.microsoft.com/office/drawing/2014/main" id="{61880509-B9D3-544E-A74D-A408A501403A}"/>
              </a:ext>
            </a:extLst>
          </p:cNvPr>
          <p:cNvSpPr>
            <a:spLocks noChangeArrowheads="1"/>
          </p:cNvSpPr>
          <p:nvPr/>
        </p:nvSpPr>
        <p:spPr bwMode="auto">
          <a:xfrm>
            <a:off x="4795720" y="3259138"/>
            <a:ext cx="15875" cy="20638"/>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08" name="Oval 1085">
            <a:extLst>
              <a:ext uri="{FF2B5EF4-FFF2-40B4-BE49-F238E27FC236}">
                <a16:creationId xmlns:a16="http://schemas.microsoft.com/office/drawing/2014/main" id="{982E611E-1194-FB41-9D3F-3073B63FE247}"/>
              </a:ext>
            </a:extLst>
          </p:cNvPr>
          <p:cNvSpPr>
            <a:spLocks noChangeArrowheads="1"/>
          </p:cNvSpPr>
          <p:nvPr/>
        </p:nvSpPr>
        <p:spPr bwMode="auto">
          <a:xfrm>
            <a:off x="4832233" y="3259138"/>
            <a:ext cx="17463" cy="20638"/>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09" name="Oval 1086">
            <a:extLst>
              <a:ext uri="{FF2B5EF4-FFF2-40B4-BE49-F238E27FC236}">
                <a16:creationId xmlns:a16="http://schemas.microsoft.com/office/drawing/2014/main" id="{62F7C14D-FAF0-5241-8576-FAFE76A882BF}"/>
              </a:ext>
            </a:extLst>
          </p:cNvPr>
          <p:cNvSpPr>
            <a:spLocks noChangeArrowheads="1"/>
          </p:cNvSpPr>
          <p:nvPr/>
        </p:nvSpPr>
        <p:spPr bwMode="auto">
          <a:xfrm>
            <a:off x="4859220" y="3241675"/>
            <a:ext cx="20638" cy="17463"/>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10" name="Oval 1087">
            <a:extLst>
              <a:ext uri="{FF2B5EF4-FFF2-40B4-BE49-F238E27FC236}">
                <a16:creationId xmlns:a16="http://schemas.microsoft.com/office/drawing/2014/main" id="{16B6AB5D-DEBF-744A-A4C9-3AAE26B5F8CF}"/>
              </a:ext>
            </a:extLst>
          </p:cNvPr>
          <p:cNvSpPr>
            <a:spLocks noChangeArrowheads="1"/>
          </p:cNvSpPr>
          <p:nvPr/>
        </p:nvSpPr>
        <p:spPr bwMode="auto">
          <a:xfrm>
            <a:off x="4767145" y="3241675"/>
            <a:ext cx="17463" cy="17463"/>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Oval 1088">
            <a:extLst>
              <a:ext uri="{FF2B5EF4-FFF2-40B4-BE49-F238E27FC236}">
                <a16:creationId xmlns:a16="http://schemas.microsoft.com/office/drawing/2014/main" id="{60ADCAE8-B158-724A-8783-4FBDED56E759}"/>
              </a:ext>
            </a:extLst>
          </p:cNvPr>
          <p:cNvSpPr>
            <a:spLocks noChangeArrowheads="1"/>
          </p:cNvSpPr>
          <p:nvPr/>
        </p:nvSpPr>
        <p:spPr bwMode="auto">
          <a:xfrm>
            <a:off x="4811595" y="3192463"/>
            <a:ext cx="20638" cy="20638"/>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12" name="Freeform 1089">
            <a:extLst>
              <a:ext uri="{FF2B5EF4-FFF2-40B4-BE49-F238E27FC236}">
                <a16:creationId xmlns:a16="http://schemas.microsoft.com/office/drawing/2014/main" id="{A139E398-6FDD-CB42-B737-871DC6AC65A7}"/>
              </a:ext>
            </a:extLst>
          </p:cNvPr>
          <p:cNvSpPr>
            <a:spLocks noEditPoints="1"/>
          </p:cNvSpPr>
          <p:nvPr/>
        </p:nvSpPr>
        <p:spPr bwMode="auto">
          <a:xfrm>
            <a:off x="4398845" y="3489325"/>
            <a:ext cx="546100" cy="495300"/>
          </a:xfrm>
          <a:custGeom>
            <a:avLst/>
            <a:gdLst>
              <a:gd name="T0" fmla="*/ 144 w 160"/>
              <a:gd name="T1" fmla="*/ 52 h 144"/>
              <a:gd name="T2" fmla="*/ 144 w 160"/>
              <a:gd name="T3" fmla="*/ 144 h 144"/>
              <a:gd name="T4" fmla="*/ 0 w 160"/>
              <a:gd name="T5" fmla="*/ 144 h 144"/>
              <a:gd name="T6" fmla="*/ 0 w 160"/>
              <a:gd name="T7" fmla="*/ 0 h 144"/>
              <a:gd name="T8" fmla="*/ 144 w 160"/>
              <a:gd name="T9" fmla="*/ 0 h 144"/>
              <a:gd name="T10" fmla="*/ 144 w 160"/>
              <a:gd name="T11" fmla="*/ 8 h 144"/>
              <a:gd name="T12" fmla="*/ 141 w 160"/>
              <a:gd name="T13" fmla="*/ 11 h 144"/>
              <a:gd name="T14" fmla="*/ 138 w 160"/>
              <a:gd name="T15" fmla="*/ 8 h 144"/>
              <a:gd name="T16" fmla="*/ 138 w 160"/>
              <a:gd name="T17" fmla="*/ 5 h 144"/>
              <a:gd name="T18" fmla="*/ 5 w 160"/>
              <a:gd name="T19" fmla="*/ 5 h 144"/>
              <a:gd name="T20" fmla="*/ 5 w 160"/>
              <a:gd name="T21" fmla="*/ 138 h 144"/>
              <a:gd name="T22" fmla="*/ 138 w 160"/>
              <a:gd name="T23" fmla="*/ 138 h 144"/>
              <a:gd name="T24" fmla="*/ 138 w 160"/>
              <a:gd name="T25" fmla="*/ 52 h 144"/>
              <a:gd name="T26" fmla="*/ 141 w 160"/>
              <a:gd name="T27" fmla="*/ 49 h 144"/>
              <a:gd name="T28" fmla="*/ 144 w 160"/>
              <a:gd name="T29" fmla="*/ 52 h 144"/>
              <a:gd name="T30" fmla="*/ 159 w 160"/>
              <a:gd name="T31" fmla="*/ 12 h 144"/>
              <a:gd name="T32" fmla="*/ 155 w 160"/>
              <a:gd name="T33" fmla="*/ 12 h 144"/>
              <a:gd name="T34" fmla="*/ 73 w 160"/>
              <a:gd name="T35" fmla="*/ 94 h 144"/>
              <a:gd name="T36" fmla="*/ 38 w 160"/>
              <a:gd name="T37" fmla="*/ 58 h 144"/>
              <a:gd name="T38" fmla="*/ 34 w 160"/>
              <a:gd name="T39" fmla="*/ 58 h 144"/>
              <a:gd name="T40" fmla="*/ 34 w 160"/>
              <a:gd name="T41" fmla="*/ 62 h 144"/>
              <a:gd name="T42" fmla="*/ 71 w 160"/>
              <a:gd name="T43" fmla="*/ 100 h 144"/>
              <a:gd name="T44" fmla="*/ 73 w 160"/>
              <a:gd name="T45" fmla="*/ 100 h 144"/>
              <a:gd name="T46" fmla="*/ 75 w 160"/>
              <a:gd name="T47" fmla="*/ 100 h 144"/>
              <a:gd name="T48" fmla="*/ 159 w 160"/>
              <a:gd name="T49" fmla="*/ 15 h 144"/>
              <a:gd name="T50" fmla="*/ 159 w 160"/>
              <a:gd name="T51"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0" h="144">
                <a:moveTo>
                  <a:pt x="144" y="52"/>
                </a:moveTo>
                <a:cubicBezTo>
                  <a:pt x="144" y="144"/>
                  <a:pt x="144" y="144"/>
                  <a:pt x="144" y="144"/>
                </a:cubicBezTo>
                <a:cubicBezTo>
                  <a:pt x="0" y="144"/>
                  <a:pt x="0" y="144"/>
                  <a:pt x="0" y="144"/>
                </a:cubicBezTo>
                <a:cubicBezTo>
                  <a:pt x="0" y="0"/>
                  <a:pt x="0" y="0"/>
                  <a:pt x="0" y="0"/>
                </a:cubicBezTo>
                <a:cubicBezTo>
                  <a:pt x="144" y="0"/>
                  <a:pt x="144" y="0"/>
                  <a:pt x="144" y="0"/>
                </a:cubicBezTo>
                <a:cubicBezTo>
                  <a:pt x="144" y="8"/>
                  <a:pt x="144" y="8"/>
                  <a:pt x="144" y="8"/>
                </a:cubicBezTo>
                <a:cubicBezTo>
                  <a:pt x="144" y="10"/>
                  <a:pt x="143" y="11"/>
                  <a:pt x="141" y="11"/>
                </a:cubicBezTo>
                <a:cubicBezTo>
                  <a:pt x="140" y="11"/>
                  <a:pt x="138" y="10"/>
                  <a:pt x="138" y="8"/>
                </a:cubicBezTo>
                <a:cubicBezTo>
                  <a:pt x="138" y="5"/>
                  <a:pt x="138" y="5"/>
                  <a:pt x="138" y="5"/>
                </a:cubicBezTo>
                <a:cubicBezTo>
                  <a:pt x="5" y="5"/>
                  <a:pt x="5" y="5"/>
                  <a:pt x="5" y="5"/>
                </a:cubicBezTo>
                <a:cubicBezTo>
                  <a:pt x="5" y="138"/>
                  <a:pt x="5" y="138"/>
                  <a:pt x="5" y="138"/>
                </a:cubicBezTo>
                <a:cubicBezTo>
                  <a:pt x="138" y="138"/>
                  <a:pt x="138" y="138"/>
                  <a:pt x="138" y="138"/>
                </a:cubicBezTo>
                <a:cubicBezTo>
                  <a:pt x="138" y="52"/>
                  <a:pt x="138" y="52"/>
                  <a:pt x="138" y="52"/>
                </a:cubicBezTo>
                <a:cubicBezTo>
                  <a:pt x="138" y="50"/>
                  <a:pt x="140" y="49"/>
                  <a:pt x="141" y="49"/>
                </a:cubicBezTo>
                <a:cubicBezTo>
                  <a:pt x="143" y="49"/>
                  <a:pt x="144" y="50"/>
                  <a:pt x="144" y="52"/>
                </a:cubicBezTo>
                <a:close/>
                <a:moveTo>
                  <a:pt x="159" y="12"/>
                </a:moveTo>
                <a:cubicBezTo>
                  <a:pt x="158" y="11"/>
                  <a:pt x="156" y="11"/>
                  <a:pt x="155" y="12"/>
                </a:cubicBezTo>
                <a:cubicBezTo>
                  <a:pt x="73" y="94"/>
                  <a:pt x="73" y="94"/>
                  <a:pt x="73" y="94"/>
                </a:cubicBezTo>
                <a:cubicBezTo>
                  <a:pt x="38" y="58"/>
                  <a:pt x="38" y="58"/>
                  <a:pt x="38" y="58"/>
                </a:cubicBezTo>
                <a:cubicBezTo>
                  <a:pt x="37" y="57"/>
                  <a:pt x="35" y="57"/>
                  <a:pt x="34" y="58"/>
                </a:cubicBezTo>
                <a:cubicBezTo>
                  <a:pt x="33" y="59"/>
                  <a:pt x="33" y="61"/>
                  <a:pt x="34" y="62"/>
                </a:cubicBezTo>
                <a:cubicBezTo>
                  <a:pt x="71" y="100"/>
                  <a:pt x="71" y="100"/>
                  <a:pt x="71" y="100"/>
                </a:cubicBezTo>
                <a:cubicBezTo>
                  <a:pt x="72" y="100"/>
                  <a:pt x="73" y="100"/>
                  <a:pt x="73" y="100"/>
                </a:cubicBezTo>
                <a:cubicBezTo>
                  <a:pt x="74" y="100"/>
                  <a:pt x="75" y="100"/>
                  <a:pt x="75" y="100"/>
                </a:cubicBezTo>
                <a:cubicBezTo>
                  <a:pt x="159" y="15"/>
                  <a:pt x="159" y="15"/>
                  <a:pt x="159" y="15"/>
                </a:cubicBezTo>
                <a:cubicBezTo>
                  <a:pt x="160" y="14"/>
                  <a:pt x="160" y="13"/>
                  <a:pt x="159" y="1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13" name="Freeform 1090">
            <a:extLst>
              <a:ext uri="{FF2B5EF4-FFF2-40B4-BE49-F238E27FC236}">
                <a16:creationId xmlns:a16="http://schemas.microsoft.com/office/drawing/2014/main" id="{85AFA25D-2822-EC4C-AB4B-10E6AA9C04A9}"/>
              </a:ext>
            </a:extLst>
          </p:cNvPr>
          <p:cNvSpPr>
            <a:spLocks/>
          </p:cNvSpPr>
          <p:nvPr/>
        </p:nvSpPr>
        <p:spPr bwMode="auto">
          <a:xfrm>
            <a:off x="4541720" y="4264025"/>
            <a:ext cx="260350" cy="185738"/>
          </a:xfrm>
          <a:custGeom>
            <a:avLst/>
            <a:gdLst>
              <a:gd name="T0" fmla="*/ 28 w 76"/>
              <a:gd name="T1" fmla="*/ 53 h 54"/>
              <a:gd name="T2" fmla="*/ 30 w 76"/>
              <a:gd name="T3" fmla="*/ 54 h 54"/>
              <a:gd name="T4" fmla="*/ 32 w 76"/>
              <a:gd name="T5" fmla="*/ 53 h 54"/>
              <a:gd name="T6" fmla="*/ 75 w 76"/>
              <a:gd name="T7" fmla="*/ 5 h 54"/>
              <a:gd name="T8" fmla="*/ 74 w 76"/>
              <a:gd name="T9" fmla="*/ 1 h 54"/>
              <a:gd name="T10" fmla="*/ 71 w 76"/>
              <a:gd name="T11" fmla="*/ 1 h 54"/>
              <a:gd name="T12" fmla="*/ 30 w 76"/>
              <a:gd name="T13" fmla="*/ 47 h 54"/>
              <a:gd name="T14" fmla="*/ 5 w 76"/>
              <a:gd name="T15" fmla="*/ 28 h 54"/>
              <a:gd name="T16" fmla="*/ 1 w 76"/>
              <a:gd name="T17" fmla="*/ 28 h 54"/>
              <a:gd name="T18" fmla="*/ 2 w 76"/>
              <a:gd name="T19" fmla="*/ 32 h 54"/>
              <a:gd name="T20" fmla="*/ 28 w 76"/>
              <a:gd name="T21" fmla="*/ 5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54">
                <a:moveTo>
                  <a:pt x="28" y="53"/>
                </a:moveTo>
                <a:cubicBezTo>
                  <a:pt x="29" y="53"/>
                  <a:pt x="29" y="54"/>
                  <a:pt x="30" y="54"/>
                </a:cubicBezTo>
                <a:cubicBezTo>
                  <a:pt x="31" y="54"/>
                  <a:pt x="31" y="53"/>
                  <a:pt x="32" y="53"/>
                </a:cubicBezTo>
                <a:cubicBezTo>
                  <a:pt x="75" y="5"/>
                  <a:pt x="75" y="5"/>
                  <a:pt x="75" y="5"/>
                </a:cubicBezTo>
                <a:cubicBezTo>
                  <a:pt x="76" y="4"/>
                  <a:pt x="76" y="2"/>
                  <a:pt x="74" y="1"/>
                </a:cubicBezTo>
                <a:cubicBezTo>
                  <a:pt x="73" y="0"/>
                  <a:pt x="72" y="0"/>
                  <a:pt x="71" y="1"/>
                </a:cubicBezTo>
                <a:cubicBezTo>
                  <a:pt x="30" y="47"/>
                  <a:pt x="30" y="47"/>
                  <a:pt x="30" y="47"/>
                </a:cubicBezTo>
                <a:cubicBezTo>
                  <a:pt x="5" y="28"/>
                  <a:pt x="5" y="28"/>
                  <a:pt x="5" y="28"/>
                </a:cubicBezTo>
                <a:cubicBezTo>
                  <a:pt x="4" y="27"/>
                  <a:pt x="2" y="27"/>
                  <a:pt x="1" y="28"/>
                </a:cubicBezTo>
                <a:cubicBezTo>
                  <a:pt x="0" y="29"/>
                  <a:pt x="1" y="31"/>
                  <a:pt x="2" y="32"/>
                </a:cubicBezTo>
                <a:lnTo>
                  <a:pt x="28"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14" name="Freeform 1091">
            <a:extLst>
              <a:ext uri="{FF2B5EF4-FFF2-40B4-BE49-F238E27FC236}">
                <a16:creationId xmlns:a16="http://schemas.microsoft.com/office/drawing/2014/main" id="{C2E06AAE-8A94-004F-AD23-BFF3587F2E88}"/>
              </a:ext>
            </a:extLst>
          </p:cNvPr>
          <p:cNvSpPr>
            <a:spLocks noEditPoints="1"/>
          </p:cNvSpPr>
          <p:nvPr/>
        </p:nvSpPr>
        <p:spPr bwMode="auto">
          <a:xfrm>
            <a:off x="4398845" y="4081463"/>
            <a:ext cx="546100" cy="550863"/>
          </a:xfrm>
          <a:custGeom>
            <a:avLst/>
            <a:gdLst>
              <a:gd name="T0" fmla="*/ 0 w 344"/>
              <a:gd name="T1" fmla="*/ 0 h 347"/>
              <a:gd name="T2" fmla="*/ 0 w 344"/>
              <a:gd name="T3" fmla="*/ 347 h 347"/>
              <a:gd name="T4" fmla="*/ 344 w 344"/>
              <a:gd name="T5" fmla="*/ 347 h 347"/>
              <a:gd name="T6" fmla="*/ 344 w 344"/>
              <a:gd name="T7" fmla="*/ 0 h 347"/>
              <a:gd name="T8" fmla="*/ 0 w 344"/>
              <a:gd name="T9" fmla="*/ 0 h 347"/>
              <a:gd name="T10" fmla="*/ 333 w 344"/>
              <a:gd name="T11" fmla="*/ 336 h 347"/>
              <a:gd name="T12" fmla="*/ 11 w 344"/>
              <a:gd name="T13" fmla="*/ 336 h 347"/>
              <a:gd name="T14" fmla="*/ 11 w 344"/>
              <a:gd name="T15" fmla="*/ 11 h 347"/>
              <a:gd name="T16" fmla="*/ 333 w 344"/>
              <a:gd name="T17" fmla="*/ 11 h 347"/>
              <a:gd name="T18" fmla="*/ 333 w 344"/>
              <a:gd name="T19" fmla="*/ 33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7">
                <a:moveTo>
                  <a:pt x="0" y="0"/>
                </a:moveTo>
                <a:lnTo>
                  <a:pt x="0" y="347"/>
                </a:lnTo>
                <a:lnTo>
                  <a:pt x="344" y="347"/>
                </a:lnTo>
                <a:lnTo>
                  <a:pt x="344" y="0"/>
                </a:lnTo>
                <a:lnTo>
                  <a:pt x="0" y="0"/>
                </a:lnTo>
                <a:close/>
                <a:moveTo>
                  <a:pt x="333" y="336"/>
                </a:moveTo>
                <a:lnTo>
                  <a:pt x="11" y="336"/>
                </a:lnTo>
                <a:lnTo>
                  <a:pt x="11" y="11"/>
                </a:lnTo>
                <a:lnTo>
                  <a:pt x="333" y="11"/>
                </a:lnTo>
                <a:lnTo>
                  <a:pt x="333"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15" name="Freeform 1092">
            <a:extLst>
              <a:ext uri="{FF2B5EF4-FFF2-40B4-BE49-F238E27FC236}">
                <a16:creationId xmlns:a16="http://schemas.microsoft.com/office/drawing/2014/main" id="{1E2BCF42-F453-2340-9D3E-C496A02685E6}"/>
              </a:ext>
            </a:extLst>
          </p:cNvPr>
          <p:cNvSpPr>
            <a:spLocks noEditPoints="1"/>
          </p:cNvSpPr>
          <p:nvPr/>
        </p:nvSpPr>
        <p:spPr bwMode="auto">
          <a:xfrm>
            <a:off x="4398845" y="4700588"/>
            <a:ext cx="546100" cy="550863"/>
          </a:xfrm>
          <a:custGeom>
            <a:avLst/>
            <a:gdLst>
              <a:gd name="T0" fmla="*/ 0 w 160"/>
              <a:gd name="T1" fmla="*/ 80 h 160"/>
              <a:gd name="T2" fmla="*/ 160 w 160"/>
              <a:gd name="T3" fmla="*/ 80 h 160"/>
              <a:gd name="T4" fmla="*/ 80 w 160"/>
              <a:gd name="T5" fmla="*/ 155 h 160"/>
              <a:gd name="T6" fmla="*/ 80 w 160"/>
              <a:gd name="T7" fmla="*/ 5 h 160"/>
              <a:gd name="T8" fmla="*/ 80 w 160"/>
              <a:gd name="T9" fmla="*/ 155 h 160"/>
              <a:gd name="T10" fmla="*/ 83 w 160"/>
              <a:gd name="T11" fmla="*/ 42 h 160"/>
              <a:gd name="T12" fmla="*/ 77 w 160"/>
              <a:gd name="T13" fmla="*/ 42 h 160"/>
              <a:gd name="T14" fmla="*/ 70 w 160"/>
              <a:gd name="T15" fmla="*/ 77 h 160"/>
              <a:gd name="T16" fmla="*/ 48 w 160"/>
              <a:gd name="T17" fmla="*/ 80 h 160"/>
              <a:gd name="T18" fmla="*/ 70 w 160"/>
              <a:gd name="T19" fmla="*/ 82 h 160"/>
              <a:gd name="T20" fmla="*/ 91 w 160"/>
              <a:gd name="T21" fmla="*/ 80 h 160"/>
              <a:gd name="T22" fmla="*/ 80 w 160"/>
              <a:gd name="T23" fmla="*/ 85 h 160"/>
              <a:gd name="T24" fmla="*/ 80 w 160"/>
              <a:gd name="T25" fmla="*/ 74 h 160"/>
              <a:gd name="T26" fmla="*/ 80 w 160"/>
              <a:gd name="T27" fmla="*/ 85 h 160"/>
              <a:gd name="T28" fmla="*/ 77 w 160"/>
              <a:gd name="T29" fmla="*/ 21 h 160"/>
              <a:gd name="T30" fmla="*/ 83 w 160"/>
              <a:gd name="T31" fmla="*/ 21 h 160"/>
              <a:gd name="T32" fmla="*/ 80 w 160"/>
              <a:gd name="T33" fmla="*/ 26 h 160"/>
              <a:gd name="T34" fmla="*/ 83 w 160"/>
              <a:gd name="T35" fmla="*/ 136 h 160"/>
              <a:gd name="T36" fmla="*/ 80 w 160"/>
              <a:gd name="T37" fmla="*/ 141 h 160"/>
              <a:gd name="T38" fmla="*/ 77 w 160"/>
              <a:gd name="T39" fmla="*/ 136 h 160"/>
              <a:gd name="T40" fmla="*/ 83 w 160"/>
              <a:gd name="T41" fmla="*/ 136 h 160"/>
              <a:gd name="T42" fmla="*/ 139 w 160"/>
              <a:gd name="T43" fmla="*/ 82 h 160"/>
              <a:gd name="T44" fmla="*/ 133 w 160"/>
              <a:gd name="T45" fmla="*/ 80 h 160"/>
              <a:gd name="T46" fmla="*/ 139 w 160"/>
              <a:gd name="T47" fmla="*/ 77 h 160"/>
              <a:gd name="T48" fmla="*/ 27 w 160"/>
              <a:gd name="T49" fmla="*/ 80 h 160"/>
              <a:gd name="T50" fmla="*/ 21 w 160"/>
              <a:gd name="T51" fmla="*/ 82 h 160"/>
              <a:gd name="T52" fmla="*/ 21 w 160"/>
              <a:gd name="T53" fmla="*/ 77 h 160"/>
              <a:gd name="T54" fmla="*/ 27 w 160"/>
              <a:gd name="T55" fmla="*/ 80 h 160"/>
              <a:gd name="T56" fmla="*/ 123 w 160"/>
              <a:gd name="T57" fmla="*/ 40 h 160"/>
              <a:gd name="T58" fmla="*/ 120 w 160"/>
              <a:gd name="T59" fmla="*/ 43 h 160"/>
              <a:gd name="T60" fmla="*/ 118 w 160"/>
              <a:gd name="T61" fmla="*/ 38 h 160"/>
              <a:gd name="T62" fmla="*/ 123 w 160"/>
              <a:gd name="T63" fmla="*/ 36 h 160"/>
              <a:gd name="T64" fmla="*/ 42 w 160"/>
              <a:gd name="T65" fmla="*/ 121 h 160"/>
              <a:gd name="T66" fmla="*/ 39 w 160"/>
              <a:gd name="T67" fmla="*/ 124 h 160"/>
              <a:gd name="T68" fmla="*/ 37 w 160"/>
              <a:gd name="T69" fmla="*/ 119 h 160"/>
              <a:gd name="T70" fmla="*/ 42 w 160"/>
              <a:gd name="T71" fmla="*/ 117 h 160"/>
              <a:gd name="T72" fmla="*/ 123 w 160"/>
              <a:gd name="T73" fmla="*/ 123 h 160"/>
              <a:gd name="T74" fmla="*/ 120 w 160"/>
              <a:gd name="T75" fmla="*/ 123 h 160"/>
              <a:gd name="T76" fmla="*/ 118 w 160"/>
              <a:gd name="T77" fmla="*/ 117 h 160"/>
              <a:gd name="T78" fmla="*/ 123 w 160"/>
              <a:gd name="T79" fmla="*/ 119 h 160"/>
              <a:gd name="T80" fmla="*/ 42 w 160"/>
              <a:gd name="T81" fmla="*/ 42 h 160"/>
              <a:gd name="T82" fmla="*/ 39 w 160"/>
              <a:gd name="T83" fmla="*/ 42 h 160"/>
              <a:gd name="T84" fmla="*/ 37 w 160"/>
              <a:gd name="T85" fmla="*/ 36 h 160"/>
              <a:gd name="T86" fmla="*/ 42 w 160"/>
              <a:gd name="T87" fmla="*/ 3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83" y="69"/>
                </a:moveTo>
                <a:cubicBezTo>
                  <a:pt x="83" y="42"/>
                  <a:pt x="83" y="42"/>
                  <a:pt x="83" y="42"/>
                </a:cubicBezTo>
                <a:cubicBezTo>
                  <a:pt x="83" y="41"/>
                  <a:pt x="81" y="40"/>
                  <a:pt x="80" y="40"/>
                </a:cubicBezTo>
                <a:cubicBezTo>
                  <a:pt x="79" y="40"/>
                  <a:pt x="77" y="41"/>
                  <a:pt x="77" y="42"/>
                </a:cubicBezTo>
                <a:cubicBezTo>
                  <a:pt x="77" y="69"/>
                  <a:pt x="77" y="69"/>
                  <a:pt x="77" y="69"/>
                </a:cubicBezTo>
                <a:cubicBezTo>
                  <a:pt x="74" y="70"/>
                  <a:pt x="71" y="73"/>
                  <a:pt x="70" y="77"/>
                </a:cubicBezTo>
                <a:cubicBezTo>
                  <a:pt x="51" y="77"/>
                  <a:pt x="51" y="77"/>
                  <a:pt x="51" y="77"/>
                </a:cubicBezTo>
                <a:cubicBezTo>
                  <a:pt x="49" y="77"/>
                  <a:pt x="48" y="78"/>
                  <a:pt x="48" y="80"/>
                </a:cubicBezTo>
                <a:cubicBezTo>
                  <a:pt x="48" y="81"/>
                  <a:pt x="49" y="82"/>
                  <a:pt x="51" y="82"/>
                </a:cubicBezTo>
                <a:cubicBezTo>
                  <a:pt x="70" y="82"/>
                  <a:pt x="70" y="82"/>
                  <a:pt x="70" y="82"/>
                </a:cubicBezTo>
                <a:cubicBezTo>
                  <a:pt x="71" y="87"/>
                  <a:pt x="75" y="90"/>
                  <a:pt x="80" y="90"/>
                </a:cubicBezTo>
                <a:cubicBezTo>
                  <a:pt x="86" y="90"/>
                  <a:pt x="91" y="86"/>
                  <a:pt x="91" y="80"/>
                </a:cubicBezTo>
                <a:cubicBezTo>
                  <a:pt x="91" y="75"/>
                  <a:pt x="87" y="71"/>
                  <a:pt x="83" y="69"/>
                </a:cubicBezTo>
                <a:close/>
                <a:moveTo>
                  <a:pt x="80" y="85"/>
                </a:moveTo>
                <a:cubicBezTo>
                  <a:pt x="77" y="85"/>
                  <a:pt x="75" y="83"/>
                  <a:pt x="75" y="80"/>
                </a:cubicBezTo>
                <a:cubicBezTo>
                  <a:pt x="75" y="77"/>
                  <a:pt x="77" y="74"/>
                  <a:pt x="80" y="74"/>
                </a:cubicBezTo>
                <a:cubicBezTo>
                  <a:pt x="83" y="74"/>
                  <a:pt x="85" y="77"/>
                  <a:pt x="85" y="80"/>
                </a:cubicBezTo>
                <a:cubicBezTo>
                  <a:pt x="85" y="83"/>
                  <a:pt x="83" y="85"/>
                  <a:pt x="80" y="85"/>
                </a:cubicBezTo>
                <a:close/>
                <a:moveTo>
                  <a:pt x="77" y="24"/>
                </a:moveTo>
                <a:cubicBezTo>
                  <a:pt x="77" y="21"/>
                  <a:pt x="77" y="21"/>
                  <a:pt x="77" y="21"/>
                </a:cubicBezTo>
                <a:cubicBezTo>
                  <a:pt x="77" y="20"/>
                  <a:pt x="79" y="18"/>
                  <a:pt x="80" y="18"/>
                </a:cubicBezTo>
                <a:cubicBezTo>
                  <a:pt x="81" y="18"/>
                  <a:pt x="83" y="20"/>
                  <a:pt x="83" y="21"/>
                </a:cubicBezTo>
                <a:cubicBezTo>
                  <a:pt x="83" y="24"/>
                  <a:pt x="83" y="24"/>
                  <a:pt x="83" y="24"/>
                </a:cubicBezTo>
                <a:cubicBezTo>
                  <a:pt x="83" y="25"/>
                  <a:pt x="81" y="26"/>
                  <a:pt x="80" y="26"/>
                </a:cubicBezTo>
                <a:cubicBezTo>
                  <a:pt x="79" y="26"/>
                  <a:pt x="77" y="25"/>
                  <a:pt x="77" y="24"/>
                </a:cubicBezTo>
                <a:close/>
                <a:moveTo>
                  <a:pt x="83" y="136"/>
                </a:moveTo>
                <a:cubicBezTo>
                  <a:pt x="83" y="138"/>
                  <a:pt x="83" y="138"/>
                  <a:pt x="83" y="138"/>
                </a:cubicBezTo>
                <a:cubicBezTo>
                  <a:pt x="83" y="140"/>
                  <a:pt x="81" y="141"/>
                  <a:pt x="80" y="141"/>
                </a:cubicBezTo>
                <a:cubicBezTo>
                  <a:pt x="79" y="141"/>
                  <a:pt x="77" y="140"/>
                  <a:pt x="77" y="138"/>
                </a:cubicBezTo>
                <a:cubicBezTo>
                  <a:pt x="77" y="136"/>
                  <a:pt x="77" y="136"/>
                  <a:pt x="77" y="136"/>
                </a:cubicBezTo>
                <a:cubicBezTo>
                  <a:pt x="77" y="134"/>
                  <a:pt x="79" y="133"/>
                  <a:pt x="80" y="133"/>
                </a:cubicBezTo>
                <a:cubicBezTo>
                  <a:pt x="81" y="133"/>
                  <a:pt x="83" y="134"/>
                  <a:pt x="83" y="136"/>
                </a:cubicBezTo>
                <a:close/>
                <a:moveTo>
                  <a:pt x="141" y="80"/>
                </a:moveTo>
                <a:cubicBezTo>
                  <a:pt x="141" y="81"/>
                  <a:pt x="140" y="82"/>
                  <a:pt x="139" y="82"/>
                </a:cubicBezTo>
                <a:cubicBezTo>
                  <a:pt x="136" y="82"/>
                  <a:pt x="136" y="82"/>
                  <a:pt x="136" y="82"/>
                </a:cubicBezTo>
                <a:cubicBezTo>
                  <a:pt x="135" y="82"/>
                  <a:pt x="133" y="81"/>
                  <a:pt x="133" y="80"/>
                </a:cubicBezTo>
                <a:cubicBezTo>
                  <a:pt x="133" y="78"/>
                  <a:pt x="135" y="77"/>
                  <a:pt x="136" y="77"/>
                </a:cubicBezTo>
                <a:cubicBezTo>
                  <a:pt x="139" y="77"/>
                  <a:pt x="139" y="77"/>
                  <a:pt x="139" y="77"/>
                </a:cubicBezTo>
                <a:cubicBezTo>
                  <a:pt x="140" y="77"/>
                  <a:pt x="141" y="78"/>
                  <a:pt x="141" y="80"/>
                </a:cubicBezTo>
                <a:close/>
                <a:moveTo>
                  <a:pt x="27" y="80"/>
                </a:moveTo>
                <a:cubicBezTo>
                  <a:pt x="27" y="81"/>
                  <a:pt x="25" y="82"/>
                  <a:pt x="24" y="82"/>
                </a:cubicBezTo>
                <a:cubicBezTo>
                  <a:pt x="21" y="82"/>
                  <a:pt x="21" y="82"/>
                  <a:pt x="21" y="82"/>
                </a:cubicBezTo>
                <a:cubicBezTo>
                  <a:pt x="20" y="82"/>
                  <a:pt x="19" y="81"/>
                  <a:pt x="19" y="80"/>
                </a:cubicBezTo>
                <a:cubicBezTo>
                  <a:pt x="19" y="78"/>
                  <a:pt x="20" y="77"/>
                  <a:pt x="21" y="77"/>
                </a:cubicBezTo>
                <a:cubicBezTo>
                  <a:pt x="24" y="77"/>
                  <a:pt x="24" y="77"/>
                  <a:pt x="24" y="77"/>
                </a:cubicBezTo>
                <a:cubicBezTo>
                  <a:pt x="25" y="77"/>
                  <a:pt x="27" y="78"/>
                  <a:pt x="27" y="80"/>
                </a:cubicBezTo>
                <a:close/>
                <a:moveTo>
                  <a:pt x="123" y="36"/>
                </a:moveTo>
                <a:cubicBezTo>
                  <a:pt x="124" y="37"/>
                  <a:pt x="124" y="39"/>
                  <a:pt x="123" y="40"/>
                </a:cubicBezTo>
                <a:cubicBezTo>
                  <a:pt x="121" y="42"/>
                  <a:pt x="121" y="42"/>
                  <a:pt x="121" y="42"/>
                </a:cubicBezTo>
                <a:cubicBezTo>
                  <a:pt x="121" y="42"/>
                  <a:pt x="120" y="43"/>
                  <a:pt x="120" y="43"/>
                </a:cubicBezTo>
                <a:cubicBezTo>
                  <a:pt x="119" y="43"/>
                  <a:pt x="118" y="42"/>
                  <a:pt x="118" y="42"/>
                </a:cubicBezTo>
                <a:cubicBezTo>
                  <a:pt x="117" y="41"/>
                  <a:pt x="117" y="39"/>
                  <a:pt x="118" y="38"/>
                </a:cubicBezTo>
                <a:cubicBezTo>
                  <a:pt x="120" y="36"/>
                  <a:pt x="120" y="36"/>
                  <a:pt x="120" y="36"/>
                </a:cubicBezTo>
                <a:cubicBezTo>
                  <a:pt x="121" y="35"/>
                  <a:pt x="122" y="35"/>
                  <a:pt x="123" y="36"/>
                </a:cubicBezTo>
                <a:close/>
                <a:moveTo>
                  <a:pt x="42" y="117"/>
                </a:moveTo>
                <a:cubicBezTo>
                  <a:pt x="43" y="118"/>
                  <a:pt x="43" y="120"/>
                  <a:pt x="42" y="121"/>
                </a:cubicBezTo>
                <a:cubicBezTo>
                  <a:pt x="40" y="123"/>
                  <a:pt x="40" y="123"/>
                  <a:pt x="40" y="123"/>
                </a:cubicBezTo>
                <a:cubicBezTo>
                  <a:pt x="40" y="124"/>
                  <a:pt x="39" y="124"/>
                  <a:pt x="39" y="124"/>
                </a:cubicBezTo>
                <a:cubicBezTo>
                  <a:pt x="38" y="124"/>
                  <a:pt x="37" y="124"/>
                  <a:pt x="37" y="123"/>
                </a:cubicBezTo>
                <a:cubicBezTo>
                  <a:pt x="36" y="122"/>
                  <a:pt x="36" y="120"/>
                  <a:pt x="37" y="119"/>
                </a:cubicBezTo>
                <a:cubicBezTo>
                  <a:pt x="39" y="117"/>
                  <a:pt x="39" y="117"/>
                  <a:pt x="39" y="117"/>
                </a:cubicBezTo>
                <a:cubicBezTo>
                  <a:pt x="40" y="116"/>
                  <a:pt x="41" y="116"/>
                  <a:pt x="42" y="117"/>
                </a:cubicBezTo>
                <a:close/>
                <a:moveTo>
                  <a:pt x="123" y="119"/>
                </a:moveTo>
                <a:cubicBezTo>
                  <a:pt x="124" y="120"/>
                  <a:pt x="124" y="122"/>
                  <a:pt x="123" y="123"/>
                </a:cubicBezTo>
                <a:cubicBezTo>
                  <a:pt x="123" y="124"/>
                  <a:pt x="122" y="124"/>
                  <a:pt x="121" y="124"/>
                </a:cubicBezTo>
                <a:cubicBezTo>
                  <a:pt x="121" y="124"/>
                  <a:pt x="120" y="124"/>
                  <a:pt x="120" y="123"/>
                </a:cubicBezTo>
                <a:cubicBezTo>
                  <a:pt x="118" y="121"/>
                  <a:pt x="118" y="121"/>
                  <a:pt x="118" y="121"/>
                </a:cubicBezTo>
                <a:cubicBezTo>
                  <a:pt x="117" y="120"/>
                  <a:pt x="117" y="118"/>
                  <a:pt x="118" y="117"/>
                </a:cubicBezTo>
                <a:cubicBezTo>
                  <a:pt x="119" y="116"/>
                  <a:pt x="120" y="116"/>
                  <a:pt x="121" y="117"/>
                </a:cubicBezTo>
                <a:lnTo>
                  <a:pt x="123" y="119"/>
                </a:lnTo>
                <a:close/>
                <a:moveTo>
                  <a:pt x="42" y="38"/>
                </a:moveTo>
                <a:cubicBezTo>
                  <a:pt x="43" y="39"/>
                  <a:pt x="43" y="41"/>
                  <a:pt x="42" y="42"/>
                </a:cubicBezTo>
                <a:cubicBezTo>
                  <a:pt x="42" y="42"/>
                  <a:pt x="41" y="43"/>
                  <a:pt x="40" y="43"/>
                </a:cubicBezTo>
                <a:cubicBezTo>
                  <a:pt x="40" y="43"/>
                  <a:pt x="39" y="42"/>
                  <a:pt x="39" y="42"/>
                </a:cubicBezTo>
                <a:cubicBezTo>
                  <a:pt x="37" y="40"/>
                  <a:pt x="37" y="40"/>
                  <a:pt x="37" y="40"/>
                </a:cubicBezTo>
                <a:cubicBezTo>
                  <a:pt x="36" y="39"/>
                  <a:pt x="36" y="37"/>
                  <a:pt x="37" y="36"/>
                </a:cubicBezTo>
                <a:cubicBezTo>
                  <a:pt x="38" y="35"/>
                  <a:pt x="39" y="35"/>
                  <a:pt x="40" y="36"/>
                </a:cubicBezTo>
                <a:lnTo>
                  <a:pt x="42" y="3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1093">
            <a:extLst>
              <a:ext uri="{FF2B5EF4-FFF2-40B4-BE49-F238E27FC236}">
                <a16:creationId xmlns:a16="http://schemas.microsoft.com/office/drawing/2014/main" id="{6413E879-1875-DD45-8757-8C686FF85A12}"/>
              </a:ext>
            </a:extLst>
          </p:cNvPr>
          <p:cNvSpPr>
            <a:spLocks noEditPoints="1"/>
          </p:cNvSpPr>
          <p:nvPr/>
        </p:nvSpPr>
        <p:spPr bwMode="auto">
          <a:xfrm>
            <a:off x="4398845" y="5319713"/>
            <a:ext cx="546100" cy="550863"/>
          </a:xfrm>
          <a:custGeom>
            <a:avLst/>
            <a:gdLst>
              <a:gd name="T0" fmla="*/ 70 w 160"/>
              <a:gd name="T1" fmla="*/ 83 h 160"/>
              <a:gd name="T2" fmla="*/ 91 w 160"/>
              <a:gd name="T3" fmla="*/ 80 h 160"/>
              <a:gd name="T4" fmla="*/ 83 w 160"/>
              <a:gd name="T5" fmla="*/ 43 h 160"/>
              <a:gd name="T6" fmla="*/ 77 w 160"/>
              <a:gd name="T7" fmla="*/ 43 h 160"/>
              <a:gd name="T8" fmla="*/ 70 w 160"/>
              <a:gd name="T9" fmla="*/ 77 h 160"/>
              <a:gd name="T10" fmla="*/ 48 w 160"/>
              <a:gd name="T11" fmla="*/ 80 h 160"/>
              <a:gd name="T12" fmla="*/ 80 w 160"/>
              <a:gd name="T13" fmla="*/ 75 h 160"/>
              <a:gd name="T14" fmla="*/ 80 w 160"/>
              <a:gd name="T15" fmla="*/ 85 h 160"/>
              <a:gd name="T16" fmla="*/ 80 w 160"/>
              <a:gd name="T17" fmla="*/ 75 h 160"/>
              <a:gd name="T18" fmla="*/ 77 w 160"/>
              <a:gd name="T19" fmla="*/ 21 h 160"/>
              <a:gd name="T20" fmla="*/ 83 w 160"/>
              <a:gd name="T21" fmla="*/ 21 h 160"/>
              <a:gd name="T22" fmla="*/ 80 w 160"/>
              <a:gd name="T23" fmla="*/ 27 h 160"/>
              <a:gd name="T24" fmla="*/ 83 w 160"/>
              <a:gd name="T25" fmla="*/ 136 h 160"/>
              <a:gd name="T26" fmla="*/ 80 w 160"/>
              <a:gd name="T27" fmla="*/ 141 h 160"/>
              <a:gd name="T28" fmla="*/ 77 w 160"/>
              <a:gd name="T29" fmla="*/ 136 h 160"/>
              <a:gd name="T30" fmla="*/ 83 w 160"/>
              <a:gd name="T31" fmla="*/ 136 h 160"/>
              <a:gd name="T32" fmla="*/ 141 w 160"/>
              <a:gd name="T33" fmla="*/ 80 h 160"/>
              <a:gd name="T34" fmla="*/ 136 w 160"/>
              <a:gd name="T35" fmla="*/ 83 h 160"/>
              <a:gd name="T36" fmla="*/ 136 w 160"/>
              <a:gd name="T37" fmla="*/ 77 h 160"/>
              <a:gd name="T38" fmla="*/ 19 w 160"/>
              <a:gd name="T39" fmla="*/ 80 h 160"/>
              <a:gd name="T40" fmla="*/ 24 w 160"/>
              <a:gd name="T41" fmla="*/ 77 h 160"/>
              <a:gd name="T42" fmla="*/ 24 w 160"/>
              <a:gd name="T43" fmla="*/ 83 h 160"/>
              <a:gd name="T44" fmla="*/ 19 w 160"/>
              <a:gd name="T45" fmla="*/ 80 h 160"/>
              <a:gd name="T46" fmla="*/ 132 w 160"/>
              <a:gd name="T47" fmla="*/ 24 h 160"/>
              <a:gd name="T48" fmla="*/ 138 w 160"/>
              <a:gd name="T49" fmla="*/ 22 h 160"/>
              <a:gd name="T50" fmla="*/ 136 w 160"/>
              <a:gd name="T51" fmla="*/ 28 h 160"/>
              <a:gd name="T52" fmla="*/ 132 w 160"/>
              <a:gd name="T53" fmla="*/ 28 h 160"/>
              <a:gd name="T54" fmla="*/ 28 w 160"/>
              <a:gd name="T55" fmla="*/ 136 h 160"/>
              <a:gd name="T56" fmla="*/ 24 w 160"/>
              <a:gd name="T57" fmla="*/ 138 h 160"/>
              <a:gd name="T58" fmla="*/ 23 w 160"/>
              <a:gd name="T59" fmla="*/ 134 h 160"/>
              <a:gd name="T60" fmla="*/ 28 w 160"/>
              <a:gd name="T61" fmla="*/ 132 h 160"/>
              <a:gd name="T62" fmla="*/ 132 w 160"/>
              <a:gd name="T63" fmla="*/ 132 h 160"/>
              <a:gd name="T64" fmla="*/ 137 w 160"/>
              <a:gd name="T65" fmla="*/ 134 h 160"/>
              <a:gd name="T66" fmla="*/ 136 w 160"/>
              <a:gd name="T67" fmla="*/ 138 h 160"/>
              <a:gd name="T68" fmla="*/ 132 w 160"/>
              <a:gd name="T69" fmla="*/ 136 h 160"/>
              <a:gd name="T70" fmla="*/ 22 w 160"/>
              <a:gd name="T71" fmla="*/ 22 h 160"/>
              <a:gd name="T72" fmla="*/ 27 w 160"/>
              <a:gd name="T73" fmla="*/ 23 h 160"/>
              <a:gd name="T74" fmla="*/ 25 w 160"/>
              <a:gd name="T75" fmla="*/ 28 h 160"/>
              <a:gd name="T76" fmla="*/ 22 w 160"/>
              <a:gd name="T77" fmla="*/ 25 h 160"/>
              <a:gd name="T78" fmla="*/ 0 w 160"/>
              <a:gd name="T79" fmla="*/ 160 h 160"/>
              <a:gd name="T80" fmla="*/ 160 w 160"/>
              <a:gd name="T81" fmla="*/ 0 h 160"/>
              <a:gd name="T82" fmla="*/ 155 w 160"/>
              <a:gd name="T83" fmla="*/ 155 h 160"/>
              <a:gd name="T84" fmla="*/ 5 w 160"/>
              <a:gd name="T85" fmla="*/ 5 h 160"/>
              <a:gd name="T86" fmla="*/ 155 w 160"/>
              <a:gd name="T8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0">
                <a:moveTo>
                  <a:pt x="51" y="83"/>
                </a:moveTo>
                <a:cubicBezTo>
                  <a:pt x="70" y="83"/>
                  <a:pt x="70" y="83"/>
                  <a:pt x="70" y="83"/>
                </a:cubicBezTo>
                <a:cubicBezTo>
                  <a:pt x="71" y="87"/>
                  <a:pt x="75" y="91"/>
                  <a:pt x="80" y="91"/>
                </a:cubicBezTo>
                <a:cubicBezTo>
                  <a:pt x="86" y="91"/>
                  <a:pt x="91" y="86"/>
                  <a:pt x="91" y="80"/>
                </a:cubicBezTo>
                <a:cubicBezTo>
                  <a:pt x="91" y="75"/>
                  <a:pt x="87" y="71"/>
                  <a:pt x="83" y="70"/>
                </a:cubicBezTo>
                <a:cubicBezTo>
                  <a:pt x="83" y="43"/>
                  <a:pt x="83" y="43"/>
                  <a:pt x="83" y="43"/>
                </a:cubicBezTo>
                <a:cubicBezTo>
                  <a:pt x="83" y="41"/>
                  <a:pt x="81" y="40"/>
                  <a:pt x="80" y="40"/>
                </a:cubicBezTo>
                <a:cubicBezTo>
                  <a:pt x="79" y="40"/>
                  <a:pt x="77" y="41"/>
                  <a:pt x="77" y="43"/>
                </a:cubicBezTo>
                <a:cubicBezTo>
                  <a:pt x="77" y="70"/>
                  <a:pt x="77" y="70"/>
                  <a:pt x="77" y="70"/>
                </a:cubicBezTo>
                <a:cubicBezTo>
                  <a:pt x="74" y="71"/>
                  <a:pt x="71" y="74"/>
                  <a:pt x="70" y="77"/>
                </a:cubicBezTo>
                <a:cubicBezTo>
                  <a:pt x="51" y="77"/>
                  <a:pt x="51" y="77"/>
                  <a:pt x="51" y="77"/>
                </a:cubicBezTo>
                <a:cubicBezTo>
                  <a:pt x="49" y="77"/>
                  <a:pt x="48" y="79"/>
                  <a:pt x="48" y="80"/>
                </a:cubicBezTo>
                <a:cubicBezTo>
                  <a:pt x="48" y="81"/>
                  <a:pt x="49" y="83"/>
                  <a:pt x="51" y="83"/>
                </a:cubicBezTo>
                <a:close/>
                <a:moveTo>
                  <a:pt x="80" y="75"/>
                </a:moveTo>
                <a:cubicBezTo>
                  <a:pt x="83" y="75"/>
                  <a:pt x="85" y="77"/>
                  <a:pt x="85" y="80"/>
                </a:cubicBezTo>
                <a:cubicBezTo>
                  <a:pt x="85" y="83"/>
                  <a:pt x="83" y="85"/>
                  <a:pt x="80" y="85"/>
                </a:cubicBezTo>
                <a:cubicBezTo>
                  <a:pt x="77" y="85"/>
                  <a:pt x="75" y="83"/>
                  <a:pt x="75" y="80"/>
                </a:cubicBezTo>
                <a:cubicBezTo>
                  <a:pt x="75" y="77"/>
                  <a:pt x="77" y="75"/>
                  <a:pt x="80" y="75"/>
                </a:cubicBezTo>
                <a:close/>
                <a:moveTo>
                  <a:pt x="77" y="24"/>
                </a:moveTo>
                <a:cubicBezTo>
                  <a:pt x="77" y="21"/>
                  <a:pt x="77" y="21"/>
                  <a:pt x="77" y="21"/>
                </a:cubicBezTo>
                <a:cubicBezTo>
                  <a:pt x="77" y="20"/>
                  <a:pt x="79" y="19"/>
                  <a:pt x="80" y="19"/>
                </a:cubicBezTo>
                <a:cubicBezTo>
                  <a:pt x="81" y="19"/>
                  <a:pt x="83" y="20"/>
                  <a:pt x="83" y="21"/>
                </a:cubicBezTo>
                <a:cubicBezTo>
                  <a:pt x="83" y="24"/>
                  <a:pt x="83" y="24"/>
                  <a:pt x="83" y="24"/>
                </a:cubicBezTo>
                <a:cubicBezTo>
                  <a:pt x="83" y="25"/>
                  <a:pt x="81" y="27"/>
                  <a:pt x="80" y="27"/>
                </a:cubicBezTo>
                <a:cubicBezTo>
                  <a:pt x="79" y="27"/>
                  <a:pt x="77" y="25"/>
                  <a:pt x="77" y="24"/>
                </a:cubicBezTo>
                <a:close/>
                <a:moveTo>
                  <a:pt x="83" y="136"/>
                </a:moveTo>
                <a:cubicBezTo>
                  <a:pt x="83" y="139"/>
                  <a:pt x="83" y="139"/>
                  <a:pt x="83" y="139"/>
                </a:cubicBezTo>
                <a:cubicBezTo>
                  <a:pt x="83" y="140"/>
                  <a:pt x="81" y="141"/>
                  <a:pt x="80" y="141"/>
                </a:cubicBezTo>
                <a:cubicBezTo>
                  <a:pt x="79" y="141"/>
                  <a:pt x="77" y="140"/>
                  <a:pt x="77" y="139"/>
                </a:cubicBezTo>
                <a:cubicBezTo>
                  <a:pt x="77" y="136"/>
                  <a:pt x="77" y="136"/>
                  <a:pt x="77" y="136"/>
                </a:cubicBezTo>
                <a:cubicBezTo>
                  <a:pt x="77" y="135"/>
                  <a:pt x="79" y="133"/>
                  <a:pt x="80" y="133"/>
                </a:cubicBezTo>
                <a:cubicBezTo>
                  <a:pt x="81" y="133"/>
                  <a:pt x="83" y="135"/>
                  <a:pt x="83" y="136"/>
                </a:cubicBezTo>
                <a:close/>
                <a:moveTo>
                  <a:pt x="139" y="77"/>
                </a:moveTo>
                <a:cubicBezTo>
                  <a:pt x="140" y="77"/>
                  <a:pt x="141" y="79"/>
                  <a:pt x="141" y="80"/>
                </a:cubicBezTo>
                <a:cubicBezTo>
                  <a:pt x="141" y="81"/>
                  <a:pt x="140" y="83"/>
                  <a:pt x="139" y="83"/>
                </a:cubicBezTo>
                <a:cubicBezTo>
                  <a:pt x="136" y="83"/>
                  <a:pt x="136" y="83"/>
                  <a:pt x="136" y="83"/>
                </a:cubicBezTo>
                <a:cubicBezTo>
                  <a:pt x="135" y="83"/>
                  <a:pt x="133" y="81"/>
                  <a:pt x="133" y="80"/>
                </a:cubicBezTo>
                <a:cubicBezTo>
                  <a:pt x="133" y="79"/>
                  <a:pt x="135" y="77"/>
                  <a:pt x="136" y="77"/>
                </a:cubicBezTo>
                <a:lnTo>
                  <a:pt x="139" y="77"/>
                </a:lnTo>
                <a:close/>
                <a:moveTo>
                  <a:pt x="19" y="80"/>
                </a:moveTo>
                <a:cubicBezTo>
                  <a:pt x="19" y="79"/>
                  <a:pt x="20" y="77"/>
                  <a:pt x="21" y="77"/>
                </a:cubicBezTo>
                <a:cubicBezTo>
                  <a:pt x="24" y="77"/>
                  <a:pt x="24" y="77"/>
                  <a:pt x="24" y="77"/>
                </a:cubicBezTo>
                <a:cubicBezTo>
                  <a:pt x="25" y="77"/>
                  <a:pt x="27" y="79"/>
                  <a:pt x="27" y="80"/>
                </a:cubicBezTo>
                <a:cubicBezTo>
                  <a:pt x="27" y="81"/>
                  <a:pt x="25" y="83"/>
                  <a:pt x="24" y="83"/>
                </a:cubicBezTo>
                <a:cubicBezTo>
                  <a:pt x="21" y="83"/>
                  <a:pt x="21" y="83"/>
                  <a:pt x="21" y="83"/>
                </a:cubicBezTo>
                <a:cubicBezTo>
                  <a:pt x="20" y="83"/>
                  <a:pt x="19" y="81"/>
                  <a:pt x="19" y="80"/>
                </a:cubicBezTo>
                <a:close/>
                <a:moveTo>
                  <a:pt x="132" y="28"/>
                </a:moveTo>
                <a:cubicBezTo>
                  <a:pt x="131" y="27"/>
                  <a:pt x="131" y="25"/>
                  <a:pt x="132" y="24"/>
                </a:cubicBezTo>
                <a:cubicBezTo>
                  <a:pt x="134" y="22"/>
                  <a:pt x="134" y="22"/>
                  <a:pt x="134" y="22"/>
                </a:cubicBezTo>
                <a:cubicBezTo>
                  <a:pt x="135" y="21"/>
                  <a:pt x="137" y="21"/>
                  <a:pt x="138" y="22"/>
                </a:cubicBezTo>
                <a:cubicBezTo>
                  <a:pt x="139" y="23"/>
                  <a:pt x="139" y="25"/>
                  <a:pt x="138" y="26"/>
                </a:cubicBezTo>
                <a:cubicBezTo>
                  <a:pt x="136" y="28"/>
                  <a:pt x="136" y="28"/>
                  <a:pt x="136" y="28"/>
                </a:cubicBezTo>
                <a:cubicBezTo>
                  <a:pt x="135" y="28"/>
                  <a:pt x="135" y="29"/>
                  <a:pt x="134" y="29"/>
                </a:cubicBezTo>
                <a:cubicBezTo>
                  <a:pt x="133" y="29"/>
                  <a:pt x="133" y="28"/>
                  <a:pt x="132" y="28"/>
                </a:cubicBezTo>
                <a:close/>
                <a:moveTo>
                  <a:pt x="28" y="132"/>
                </a:moveTo>
                <a:cubicBezTo>
                  <a:pt x="29" y="133"/>
                  <a:pt x="29" y="135"/>
                  <a:pt x="28" y="136"/>
                </a:cubicBezTo>
                <a:cubicBezTo>
                  <a:pt x="26" y="137"/>
                  <a:pt x="26" y="137"/>
                  <a:pt x="26" y="137"/>
                </a:cubicBezTo>
                <a:cubicBezTo>
                  <a:pt x="26" y="138"/>
                  <a:pt x="25" y="138"/>
                  <a:pt x="24" y="138"/>
                </a:cubicBezTo>
                <a:cubicBezTo>
                  <a:pt x="24" y="138"/>
                  <a:pt x="23" y="138"/>
                  <a:pt x="23" y="137"/>
                </a:cubicBezTo>
                <a:cubicBezTo>
                  <a:pt x="21" y="136"/>
                  <a:pt x="21" y="135"/>
                  <a:pt x="23" y="134"/>
                </a:cubicBezTo>
                <a:cubicBezTo>
                  <a:pt x="24" y="132"/>
                  <a:pt x="24" y="132"/>
                  <a:pt x="24" y="132"/>
                </a:cubicBezTo>
                <a:cubicBezTo>
                  <a:pt x="25" y="131"/>
                  <a:pt x="27" y="131"/>
                  <a:pt x="28" y="132"/>
                </a:cubicBezTo>
                <a:close/>
                <a:moveTo>
                  <a:pt x="132" y="136"/>
                </a:moveTo>
                <a:cubicBezTo>
                  <a:pt x="131" y="135"/>
                  <a:pt x="131" y="133"/>
                  <a:pt x="132" y="132"/>
                </a:cubicBezTo>
                <a:cubicBezTo>
                  <a:pt x="133" y="131"/>
                  <a:pt x="135" y="131"/>
                  <a:pt x="136" y="132"/>
                </a:cubicBezTo>
                <a:cubicBezTo>
                  <a:pt x="137" y="134"/>
                  <a:pt x="137" y="134"/>
                  <a:pt x="137" y="134"/>
                </a:cubicBezTo>
                <a:cubicBezTo>
                  <a:pt x="139" y="135"/>
                  <a:pt x="139" y="136"/>
                  <a:pt x="137" y="137"/>
                </a:cubicBezTo>
                <a:cubicBezTo>
                  <a:pt x="137" y="138"/>
                  <a:pt x="136" y="138"/>
                  <a:pt x="136" y="138"/>
                </a:cubicBezTo>
                <a:cubicBezTo>
                  <a:pt x="135" y="138"/>
                  <a:pt x="134" y="138"/>
                  <a:pt x="134" y="137"/>
                </a:cubicBezTo>
                <a:lnTo>
                  <a:pt x="132" y="136"/>
                </a:lnTo>
                <a:close/>
                <a:moveTo>
                  <a:pt x="22" y="25"/>
                </a:moveTo>
                <a:cubicBezTo>
                  <a:pt x="21" y="24"/>
                  <a:pt x="21" y="23"/>
                  <a:pt x="22" y="22"/>
                </a:cubicBezTo>
                <a:cubicBezTo>
                  <a:pt x="23" y="21"/>
                  <a:pt x="24" y="21"/>
                  <a:pt x="25" y="22"/>
                </a:cubicBezTo>
                <a:cubicBezTo>
                  <a:pt x="27" y="23"/>
                  <a:pt x="27" y="23"/>
                  <a:pt x="27" y="23"/>
                </a:cubicBezTo>
                <a:cubicBezTo>
                  <a:pt x="28" y="24"/>
                  <a:pt x="28" y="26"/>
                  <a:pt x="27" y="27"/>
                </a:cubicBezTo>
                <a:cubicBezTo>
                  <a:pt x="27" y="28"/>
                  <a:pt x="26" y="28"/>
                  <a:pt x="25" y="28"/>
                </a:cubicBezTo>
                <a:cubicBezTo>
                  <a:pt x="25" y="28"/>
                  <a:pt x="24" y="28"/>
                  <a:pt x="23" y="27"/>
                </a:cubicBezTo>
                <a:lnTo>
                  <a:pt x="22" y="25"/>
                </a:lnTo>
                <a:close/>
                <a:moveTo>
                  <a:pt x="0" y="0"/>
                </a:moveTo>
                <a:cubicBezTo>
                  <a:pt x="0" y="160"/>
                  <a:pt x="0" y="160"/>
                  <a:pt x="0" y="160"/>
                </a:cubicBezTo>
                <a:cubicBezTo>
                  <a:pt x="160" y="160"/>
                  <a:pt x="160" y="160"/>
                  <a:pt x="160" y="160"/>
                </a:cubicBezTo>
                <a:cubicBezTo>
                  <a:pt x="160" y="0"/>
                  <a:pt x="160" y="0"/>
                  <a:pt x="160" y="0"/>
                </a:cubicBezTo>
                <a:lnTo>
                  <a:pt x="0" y="0"/>
                </a:lnTo>
                <a:close/>
                <a:moveTo>
                  <a:pt x="155" y="155"/>
                </a:moveTo>
                <a:cubicBezTo>
                  <a:pt x="5" y="155"/>
                  <a:pt x="5" y="155"/>
                  <a:pt x="5" y="155"/>
                </a:cubicBezTo>
                <a:cubicBezTo>
                  <a:pt x="5" y="5"/>
                  <a:pt x="5" y="5"/>
                  <a:pt x="5" y="5"/>
                </a:cubicBezTo>
                <a:cubicBezTo>
                  <a:pt x="155" y="5"/>
                  <a:pt x="155" y="5"/>
                  <a:pt x="155" y="5"/>
                </a:cubicBezTo>
                <a:lnTo>
                  <a:pt x="155" y="15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Freeform 1094">
            <a:extLst>
              <a:ext uri="{FF2B5EF4-FFF2-40B4-BE49-F238E27FC236}">
                <a16:creationId xmlns:a16="http://schemas.microsoft.com/office/drawing/2014/main" id="{B8658ABE-B65A-5040-A063-F307D9A5A6C5}"/>
              </a:ext>
            </a:extLst>
          </p:cNvPr>
          <p:cNvSpPr>
            <a:spLocks noEditPoints="1"/>
          </p:cNvSpPr>
          <p:nvPr/>
        </p:nvSpPr>
        <p:spPr bwMode="auto">
          <a:xfrm>
            <a:off x="4398845" y="5938838"/>
            <a:ext cx="546100" cy="539750"/>
          </a:xfrm>
          <a:custGeom>
            <a:avLst/>
            <a:gdLst>
              <a:gd name="T0" fmla="*/ 308 w 344"/>
              <a:gd name="T1" fmla="*/ 50 h 340"/>
              <a:gd name="T2" fmla="*/ 308 w 344"/>
              <a:gd name="T3" fmla="*/ 0 h 340"/>
              <a:gd name="T4" fmla="*/ 0 w 344"/>
              <a:gd name="T5" fmla="*/ 0 h 340"/>
              <a:gd name="T6" fmla="*/ 0 w 344"/>
              <a:gd name="T7" fmla="*/ 297 h 340"/>
              <a:gd name="T8" fmla="*/ 43 w 344"/>
              <a:gd name="T9" fmla="*/ 297 h 340"/>
              <a:gd name="T10" fmla="*/ 43 w 344"/>
              <a:gd name="T11" fmla="*/ 340 h 340"/>
              <a:gd name="T12" fmla="*/ 344 w 344"/>
              <a:gd name="T13" fmla="*/ 340 h 340"/>
              <a:gd name="T14" fmla="*/ 344 w 344"/>
              <a:gd name="T15" fmla="*/ 50 h 340"/>
              <a:gd name="T16" fmla="*/ 308 w 344"/>
              <a:gd name="T17" fmla="*/ 50 h 340"/>
              <a:gd name="T18" fmla="*/ 13 w 344"/>
              <a:gd name="T19" fmla="*/ 284 h 340"/>
              <a:gd name="T20" fmla="*/ 13 w 344"/>
              <a:gd name="T21" fmla="*/ 13 h 340"/>
              <a:gd name="T22" fmla="*/ 295 w 344"/>
              <a:gd name="T23" fmla="*/ 13 h 340"/>
              <a:gd name="T24" fmla="*/ 295 w 344"/>
              <a:gd name="T25" fmla="*/ 50 h 340"/>
              <a:gd name="T26" fmla="*/ 43 w 344"/>
              <a:gd name="T27" fmla="*/ 50 h 340"/>
              <a:gd name="T28" fmla="*/ 43 w 344"/>
              <a:gd name="T29" fmla="*/ 284 h 340"/>
              <a:gd name="T30" fmla="*/ 13 w 344"/>
              <a:gd name="T31" fmla="*/ 284 h 340"/>
              <a:gd name="T32" fmla="*/ 331 w 344"/>
              <a:gd name="T33" fmla="*/ 327 h 340"/>
              <a:gd name="T34" fmla="*/ 56 w 344"/>
              <a:gd name="T35" fmla="*/ 327 h 340"/>
              <a:gd name="T36" fmla="*/ 56 w 344"/>
              <a:gd name="T37" fmla="*/ 297 h 340"/>
              <a:gd name="T38" fmla="*/ 56 w 344"/>
              <a:gd name="T39" fmla="*/ 63 h 340"/>
              <a:gd name="T40" fmla="*/ 308 w 344"/>
              <a:gd name="T41" fmla="*/ 63 h 340"/>
              <a:gd name="T42" fmla="*/ 331 w 344"/>
              <a:gd name="T43" fmla="*/ 63 h 340"/>
              <a:gd name="T44" fmla="*/ 331 w 344"/>
              <a:gd name="T45" fmla="*/ 32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340">
                <a:moveTo>
                  <a:pt x="308" y="50"/>
                </a:moveTo>
                <a:lnTo>
                  <a:pt x="308" y="0"/>
                </a:lnTo>
                <a:lnTo>
                  <a:pt x="0" y="0"/>
                </a:lnTo>
                <a:lnTo>
                  <a:pt x="0" y="297"/>
                </a:lnTo>
                <a:lnTo>
                  <a:pt x="43" y="297"/>
                </a:lnTo>
                <a:lnTo>
                  <a:pt x="43" y="340"/>
                </a:lnTo>
                <a:lnTo>
                  <a:pt x="344" y="340"/>
                </a:lnTo>
                <a:lnTo>
                  <a:pt x="344" y="50"/>
                </a:lnTo>
                <a:lnTo>
                  <a:pt x="308" y="50"/>
                </a:lnTo>
                <a:close/>
                <a:moveTo>
                  <a:pt x="13" y="284"/>
                </a:moveTo>
                <a:lnTo>
                  <a:pt x="13" y="13"/>
                </a:lnTo>
                <a:lnTo>
                  <a:pt x="295" y="13"/>
                </a:lnTo>
                <a:lnTo>
                  <a:pt x="295" y="50"/>
                </a:lnTo>
                <a:lnTo>
                  <a:pt x="43" y="50"/>
                </a:lnTo>
                <a:lnTo>
                  <a:pt x="43" y="284"/>
                </a:lnTo>
                <a:lnTo>
                  <a:pt x="13" y="284"/>
                </a:lnTo>
                <a:close/>
                <a:moveTo>
                  <a:pt x="331" y="327"/>
                </a:moveTo>
                <a:lnTo>
                  <a:pt x="56" y="327"/>
                </a:lnTo>
                <a:lnTo>
                  <a:pt x="56" y="297"/>
                </a:lnTo>
                <a:lnTo>
                  <a:pt x="56" y="63"/>
                </a:lnTo>
                <a:lnTo>
                  <a:pt x="308" y="63"/>
                </a:lnTo>
                <a:lnTo>
                  <a:pt x="331" y="63"/>
                </a:lnTo>
                <a:lnTo>
                  <a:pt x="331" y="32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18" name="Freeform 1095">
            <a:extLst>
              <a:ext uri="{FF2B5EF4-FFF2-40B4-BE49-F238E27FC236}">
                <a16:creationId xmlns:a16="http://schemas.microsoft.com/office/drawing/2014/main" id="{F66D5E82-E9D2-0E41-9424-C2D909916ABE}"/>
              </a:ext>
            </a:extLst>
          </p:cNvPr>
          <p:cNvSpPr>
            <a:spLocks/>
          </p:cNvSpPr>
          <p:nvPr/>
        </p:nvSpPr>
        <p:spPr bwMode="auto">
          <a:xfrm>
            <a:off x="4617920" y="6159500"/>
            <a:ext cx="177800" cy="179388"/>
          </a:xfrm>
          <a:custGeom>
            <a:avLst/>
            <a:gdLst>
              <a:gd name="T0" fmla="*/ 51 w 52"/>
              <a:gd name="T1" fmla="*/ 2 h 52"/>
              <a:gd name="T2" fmla="*/ 47 w 52"/>
              <a:gd name="T3" fmla="*/ 2 h 52"/>
              <a:gd name="T4" fmla="*/ 26 w 52"/>
              <a:gd name="T5" fmla="*/ 22 h 52"/>
              <a:gd name="T6" fmla="*/ 6 w 52"/>
              <a:gd name="T7" fmla="*/ 2 h 52"/>
              <a:gd name="T8" fmla="*/ 1 w 52"/>
              <a:gd name="T9" fmla="*/ 2 h 52"/>
              <a:gd name="T10" fmla="*/ 1 w 52"/>
              <a:gd name="T11" fmla="*/ 6 h 52"/>
              <a:gd name="T12" fmla="*/ 22 w 52"/>
              <a:gd name="T13" fmla="*/ 26 h 52"/>
              <a:gd name="T14" fmla="*/ 1 w 52"/>
              <a:gd name="T15" fmla="*/ 47 h 52"/>
              <a:gd name="T16" fmla="*/ 1 w 52"/>
              <a:gd name="T17" fmla="*/ 51 h 52"/>
              <a:gd name="T18" fmla="*/ 4 w 52"/>
              <a:gd name="T19" fmla="*/ 52 h 52"/>
              <a:gd name="T20" fmla="*/ 6 w 52"/>
              <a:gd name="T21" fmla="*/ 51 h 52"/>
              <a:gd name="T22" fmla="*/ 26 w 52"/>
              <a:gd name="T23" fmla="*/ 30 h 52"/>
              <a:gd name="T24" fmla="*/ 47 w 52"/>
              <a:gd name="T25" fmla="*/ 51 h 52"/>
              <a:gd name="T26" fmla="*/ 49 w 52"/>
              <a:gd name="T27" fmla="*/ 52 h 52"/>
              <a:gd name="T28" fmla="*/ 51 w 52"/>
              <a:gd name="T29" fmla="*/ 51 h 52"/>
              <a:gd name="T30" fmla="*/ 51 w 52"/>
              <a:gd name="T31" fmla="*/ 47 h 52"/>
              <a:gd name="T32" fmla="*/ 30 w 52"/>
              <a:gd name="T33" fmla="*/ 26 h 52"/>
              <a:gd name="T34" fmla="*/ 51 w 52"/>
              <a:gd name="T35" fmla="*/ 6 h 52"/>
              <a:gd name="T36" fmla="*/ 51 w 52"/>
              <a:gd name="T3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52">
                <a:moveTo>
                  <a:pt x="51" y="2"/>
                </a:moveTo>
                <a:cubicBezTo>
                  <a:pt x="50" y="0"/>
                  <a:pt x="48" y="0"/>
                  <a:pt x="47" y="2"/>
                </a:cubicBezTo>
                <a:cubicBezTo>
                  <a:pt x="26" y="22"/>
                  <a:pt x="26" y="22"/>
                  <a:pt x="26" y="22"/>
                </a:cubicBezTo>
                <a:cubicBezTo>
                  <a:pt x="6" y="2"/>
                  <a:pt x="6" y="2"/>
                  <a:pt x="6" y="2"/>
                </a:cubicBezTo>
                <a:cubicBezTo>
                  <a:pt x="4" y="0"/>
                  <a:pt x="3" y="0"/>
                  <a:pt x="1" y="2"/>
                </a:cubicBezTo>
                <a:cubicBezTo>
                  <a:pt x="0" y="3"/>
                  <a:pt x="0" y="4"/>
                  <a:pt x="1" y="6"/>
                </a:cubicBezTo>
                <a:cubicBezTo>
                  <a:pt x="22" y="26"/>
                  <a:pt x="22" y="26"/>
                  <a:pt x="22" y="26"/>
                </a:cubicBezTo>
                <a:cubicBezTo>
                  <a:pt x="1" y="47"/>
                  <a:pt x="1" y="47"/>
                  <a:pt x="1" y="47"/>
                </a:cubicBezTo>
                <a:cubicBezTo>
                  <a:pt x="0" y="48"/>
                  <a:pt x="0" y="50"/>
                  <a:pt x="1" y="51"/>
                </a:cubicBezTo>
                <a:cubicBezTo>
                  <a:pt x="2" y="51"/>
                  <a:pt x="3" y="52"/>
                  <a:pt x="4" y="52"/>
                </a:cubicBezTo>
                <a:cubicBezTo>
                  <a:pt x="4" y="52"/>
                  <a:pt x="5" y="51"/>
                  <a:pt x="6" y="51"/>
                </a:cubicBezTo>
                <a:cubicBezTo>
                  <a:pt x="26" y="30"/>
                  <a:pt x="26" y="30"/>
                  <a:pt x="26" y="30"/>
                </a:cubicBezTo>
                <a:cubicBezTo>
                  <a:pt x="47" y="51"/>
                  <a:pt x="47" y="51"/>
                  <a:pt x="47" y="51"/>
                </a:cubicBezTo>
                <a:cubicBezTo>
                  <a:pt x="47" y="51"/>
                  <a:pt x="48" y="52"/>
                  <a:pt x="49" y="52"/>
                </a:cubicBezTo>
                <a:cubicBezTo>
                  <a:pt x="50" y="52"/>
                  <a:pt x="50" y="51"/>
                  <a:pt x="51" y="51"/>
                </a:cubicBezTo>
                <a:cubicBezTo>
                  <a:pt x="52" y="50"/>
                  <a:pt x="52" y="48"/>
                  <a:pt x="51" y="47"/>
                </a:cubicBezTo>
                <a:cubicBezTo>
                  <a:pt x="30" y="26"/>
                  <a:pt x="30" y="26"/>
                  <a:pt x="30" y="26"/>
                </a:cubicBezTo>
                <a:cubicBezTo>
                  <a:pt x="51" y="6"/>
                  <a:pt x="51" y="6"/>
                  <a:pt x="51" y="6"/>
                </a:cubicBezTo>
                <a:cubicBezTo>
                  <a:pt x="52" y="4"/>
                  <a:pt x="52" y="3"/>
                  <a:pt x="51" y="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19" name="Freeform 1096">
            <a:extLst>
              <a:ext uri="{FF2B5EF4-FFF2-40B4-BE49-F238E27FC236}">
                <a16:creationId xmlns:a16="http://schemas.microsoft.com/office/drawing/2014/main" id="{CFF067E8-E967-984E-92BF-2CDAEFF8E912}"/>
              </a:ext>
            </a:extLst>
          </p:cNvPr>
          <p:cNvSpPr>
            <a:spLocks noEditPoints="1"/>
          </p:cNvSpPr>
          <p:nvPr/>
        </p:nvSpPr>
        <p:spPr bwMode="auto">
          <a:xfrm>
            <a:off x="5354520" y="392113"/>
            <a:ext cx="546100" cy="485775"/>
          </a:xfrm>
          <a:custGeom>
            <a:avLst/>
            <a:gdLst>
              <a:gd name="T0" fmla="*/ 128 w 160"/>
              <a:gd name="T1" fmla="*/ 107 h 141"/>
              <a:gd name="T2" fmla="*/ 115 w 160"/>
              <a:gd name="T3" fmla="*/ 104 h 141"/>
              <a:gd name="T4" fmla="*/ 128 w 160"/>
              <a:gd name="T5" fmla="*/ 101 h 141"/>
              <a:gd name="T6" fmla="*/ 133 w 160"/>
              <a:gd name="T7" fmla="*/ 48 h 141"/>
              <a:gd name="T8" fmla="*/ 120 w 160"/>
              <a:gd name="T9" fmla="*/ 48 h 141"/>
              <a:gd name="T10" fmla="*/ 120 w 160"/>
              <a:gd name="T11" fmla="*/ 43 h 141"/>
              <a:gd name="T12" fmla="*/ 91 w 160"/>
              <a:gd name="T13" fmla="*/ 5 h 141"/>
              <a:gd name="T14" fmla="*/ 67 w 160"/>
              <a:gd name="T15" fmla="*/ 40 h 141"/>
              <a:gd name="T16" fmla="*/ 61 w 160"/>
              <a:gd name="T17" fmla="*/ 40 h 141"/>
              <a:gd name="T18" fmla="*/ 51 w 160"/>
              <a:gd name="T19" fmla="*/ 23 h 141"/>
              <a:gd name="T20" fmla="*/ 48 w 160"/>
              <a:gd name="T21" fmla="*/ 22 h 141"/>
              <a:gd name="T22" fmla="*/ 46 w 160"/>
              <a:gd name="T23" fmla="*/ 22 h 141"/>
              <a:gd name="T24" fmla="*/ 43 w 160"/>
              <a:gd name="T25" fmla="*/ 21 h 141"/>
              <a:gd name="T26" fmla="*/ 24 w 160"/>
              <a:gd name="T27" fmla="*/ 41 h 141"/>
              <a:gd name="T28" fmla="*/ 24 w 160"/>
              <a:gd name="T29" fmla="*/ 42 h 141"/>
              <a:gd name="T30" fmla="*/ 24 w 160"/>
              <a:gd name="T31" fmla="*/ 44 h 141"/>
              <a:gd name="T32" fmla="*/ 5 w 160"/>
              <a:gd name="T33" fmla="*/ 72 h 141"/>
              <a:gd name="T34" fmla="*/ 48 w 160"/>
              <a:gd name="T35" fmla="*/ 101 h 141"/>
              <a:gd name="T36" fmla="*/ 48 w 160"/>
              <a:gd name="T37" fmla="*/ 107 h 141"/>
              <a:gd name="T38" fmla="*/ 0 w 160"/>
              <a:gd name="T39" fmla="*/ 72 h 141"/>
              <a:gd name="T40" fmla="*/ 19 w 160"/>
              <a:gd name="T41" fmla="*/ 40 h 141"/>
              <a:gd name="T42" fmla="*/ 45 w 160"/>
              <a:gd name="T43" fmla="*/ 16 h 141"/>
              <a:gd name="T44" fmla="*/ 48 w 160"/>
              <a:gd name="T45" fmla="*/ 17 h 141"/>
              <a:gd name="T46" fmla="*/ 51 w 160"/>
              <a:gd name="T47" fmla="*/ 17 h 141"/>
              <a:gd name="T48" fmla="*/ 53 w 160"/>
              <a:gd name="T49" fmla="*/ 18 h 141"/>
              <a:gd name="T50" fmla="*/ 91 w 160"/>
              <a:gd name="T51" fmla="*/ 0 h 141"/>
              <a:gd name="T52" fmla="*/ 160 w 160"/>
              <a:gd name="T53" fmla="*/ 75 h 141"/>
              <a:gd name="T54" fmla="*/ 104 w 160"/>
              <a:gd name="T55" fmla="*/ 83 h 141"/>
              <a:gd name="T56" fmla="*/ 106 w 160"/>
              <a:gd name="T57" fmla="*/ 78 h 141"/>
              <a:gd name="T58" fmla="*/ 84 w 160"/>
              <a:gd name="T59" fmla="*/ 56 h 141"/>
              <a:gd name="T60" fmla="*/ 81 w 160"/>
              <a:gd name="T61" fmla="*/ 57 h 141"/>
              <a:gd name="T62" fmla="*/ 59 w 160"/>
              <a:gd name="T63" fmla="*/ 82 h 141"/>
              <a:gd name="T64" fmla="*/ 63 w 160"/>
              <a:gd name="T65" fmla="*/ 82 h 141"/>
              <a:gd name="T66" fmla="*/ 80 w 160"/>
              <a:gd name="T67" fmla="*/ 132 h 141"/>
              <a:gd name="T68" fmla="*/ 59 w 160"/>
              <a:gd name="T69" fmla="*/ 115 h 141"/>
              <a:gd name="T70" fmla="*/ 81 w 160"/>
              <a:gd name="T71" fmla="*/ 141 h 141"/>
              <a:gd name="T72" fmla="*/ 83 w 160"/>
              <a:gd name="T73" fmla="*/ 141 h 141"/>
              <a:gd name="T74" fmla="*/ 85 w 160"/>
              <a:gd name="T75" fmla="*/ 141 h 141"/>
              <a:gd name="T76" fmla="*/ 106 w 160"/>
              <a:gd name="T77" fmla="*/ 115 h 141"/>
              <a:gd name="T78" fmla="*/ 85 w 160"/>
              <a:gd name="T79" fmla="*/ 132 h 141"/>
              <a:gd name="T80" fmla="*/ 102 w 160"/>
              <a:gd name="T81" fmla="*/ 8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 h="141">
                <a:moveTo>
                  <a:pt x="160" y="75"/>
                </a:moveTo>
                <a:cubicBezTo>
                  <a:pt x="160" y="92"/>
                  <a:pt x="146" y="107"/>
                  <a:pt x="128" y="107"/>
                </a:cubicBezTo>
                <a:cubicBezTo>
                  <a:pt x="117" y="107"/>
                  <a:pt x="117" y="107"/>
                  <a:pt x="117" y="107"/>
                </a:cubicBezTo>
                <a:cubicBezTo>
                  <a:pt x="116" y="107"/>
                  <a:pt x="115" y="105"/>
                  <a:pt x="115" y="104"/>
                </a:cubicBezTo>
                <a:cubicBezTo>
                  <a:pt x="115" y="103"/>
                  <a:pt x="116" y="101"/>
                  <a:pt x="117" y="101"/>
                </a:cubicBezTo>
                <a:cubicBezTo>
                  <a:pt x="128" y="101"/>
                  <a:pt x="128" y="101"/>
                  <a:pt x="128" y="101"/>
                </a:cubicBezTo>
                <a:cubicBezTo>
                  <a:pt x="143" y="101"/>
                  <a:pt x="155" y="89"/>
                  <a:pt x="155" y="75"/>
                </a:cubicBezTo>
                <a:cubicBezTo>
                  <a:pt x="155" y="62"/>
                  <a:pt x="145" y="50"/>
                  <a:pt x="133" y="48"/>
                </a:cubicBezTo>
                <a:cubicBezTo>
                  <a:pt x="133" y="48"/>
                  <a:pt x="126" y="47"/>
                  <a:pt x="120" y="48"/>
                </a:cubicBezTo>
                <a:cubicBezTo>
                  <a:pt x="120" y="48"/>
                  <a:pt x="120" y="48"/>
                  <a:pt x="120" y="48"/>
                </a:cubicBezTo>
                <a:cubicBezTo>
                  <a:pt x="119" y="48"/>
                  <a:pt x="118" y="47"/>
                  <a:pt x="117" y="46"/>
                </a:cubicBezTo>
                <a:cubicBezTo>
                  <a:pt x="117" y="44"/>
                  <a:pt x="118" y="43"/>
                  <a:pt x="120" y="43"/>
                </a:cubicBezTo>
                <a:cubicBezTo>
                  <a:pt x="124" y="42"/>
                  <a:pt x="128" y="42"/>
                  <a:pt x="130" y="42"/>
                </a:cubicBezTo>
                <a:cubicBezTo>
                  <a:pt x="129" y="22"/>
                  <a:pt x="112" y="5"/>
                  <a:pt x="91" y="5"/>
                </a:cubicBezTo>
                <a:cubicBezTo>
                  <a:pt x="78" y="5"/>
                  <a:pt x="66" y="12"/>
                  <a:pt x="58" y="22"/>
                </a:cubicBezTo>
                <a:cubicBezTo>
                  <a:pt x="63" y="26"/>
                  <a:pt x="67" y="33"/>
                  <a:pt x="67" y="40"/>
                </a:cubicBezTo>
                <a:cubicBezTo>
                  <a:pt x="67" y="41"/>
                  <a:pt x="65" y="43"/>
                  <a:pt x="64" y="43"/>
                </a:cubicBezTo>
                <a:cubicBezTo>
                  <a:pt x="63" y="43"/>
                  <a:pt x="61" y="41"/>
                  <a:pt x="61" y="40"/>
                </a:cubicBezTo>
                <a:cubicBezTo>
                  <a:pt x="61" y="33"/>
                  <a:pt x="58" y="28"/>
                  <a:pt x="53" y="24"/>
                </a:cubicBezTo>
                <a:cubicBezTo>
                  <a:pt x="52" y="24"/>
                  <a:pt x="52" y="24"/>
                  <a:pt x="51" y="23"/>
                </a:cubicBezTo>
                <a:cubicBezTo>
                  <a:pt x="51" y="23"/>
                  <a:pt x="51" y="23"/>
                  <a:pt x="50" y="23"/>
                </a:cubicBezTo>
                <a:cubicBezTo>
                  <a:pt x="50" y="23"/>
                  <a:pt x="49" y="22"/>
                  <a:pt x="48" y="22"/>
                </a:cubicBezTo>
                <a:cubicBezTo>
                  <a:pt x="48" y="22"/>
                  <a:pt x="48" y="22"/>
                  <a:pt x="48" y="22"/>
                </a:cubicBezTo>
                <a:cubicBezTo>
                  <a:pt x="47" y="22"/>
                  <a:pt x="46" y="22"/>
                  <a:pt x="46" y="22"/>
                </a:cubicBezTo>
                <a:cubicBezTo>
                  <a:pt x="46" y="22"/>
                  <a:pt x="45" y="22"/>
                  <a:pt x="45" y="22"/>
                </a:cubicBezTo>
                <a:cubicBezTo>
                  <a:pt x="44" y="21"/>
                  <a:pt x="43" y="21"/>
                  <a:pt x="43" y="21"/>
                </a:cubicBezTo>
                <a:cubicBezTo>
                  <a:pt x="32" y="21"/>
                  <a:pt x="24" y="30"/>
                  <a:pt x="24" y="40"/>
                </a:cubicBezTo>
                <a:cubicBezTo>
                  <a:pt x="24" y="40"/>
                  <a:pt x="24" y="40"/>
                  <a:pt x="24" y="41"/>
                </a:cubicBezTo>
                <a:cubicBezTo>
                  <a:pt x="24" y="41"/>
                  <a:pt x="24" y="41"/>
                  <a:pt x="24" y="41"/>
                </a:cubicBezTo>
                <a:cubicBezTo>
                  <a:pt x="24" y="42"/>
                  <a:pt x="24" y="42"/>
                  <a:pt x="24" y="42"/>
                </a:cubicBezTo>
                <a:cubicBezTo>
                  <a:pt x="24" y="42"/>
                  <a:pt x="24" y="42"/>
                  <a:pt x="24" y="43"/>
                </a:cubicBezTo>
                <a:cubicBezTo>
                  <a:pt x="24" y="44"/>
                  <a:pt x="24" y="44"/>
                  <a:pt x="24" y="44"/>
                </a:cubicBezTo>
                <a:cubicBezTo>
                  <a:pt x="22" y="45"/>
                  <a:pt x="22" y="45"/>
                  <a:pt x="22" y="45"/>
                </a:cubicBezTo>
                <a:cubicBezTo>
                  <a:pt x="13" y="50"/>
                  <a:pt x="5" y="61"/>
                  <a:pt x="5" y="72"/>
                </a:cubicBezTo>
                <a:cubicBezTo>
                  <a:pt x="5" y="88"/>
                  <a:pt x="18" y="101"/>
                  <a:pt x="34" y="101"/>
                </a:cubicBezTo>
                <a:cubicBezTo>
                  <a:pt x="48" y="101"/>
                  <a:pt x="48" y="101"/>
                  <a:pt x="48" y="101"/>
                </a:cubicBezTo>
                <a:cubicBezTo>
                  <a:pt x="49" y="101"/>
                  <a:pt x="51" y="103"/>
                  <a:pt x="51" y="104"/>
                </a:cubicBezTo>
                <a:cubicBezTo>
                  <a:pt x="51" y="105"/>
                  <a:pt x="49" y="107"/>
                  <a:pt x="48" y="107"/>
                </a:cubicBezTo>
                <a:cubicBezTo>
                  <a:pt x="34" y="107"/>
                  <a:pt x="34" y="107"/>
                  <a:pt x="34" y="107"/>
                </a:cubicBezTo>
                <a:cubicBezTo>
                  <a:pt x="15" y="107"/>
                  <a:pt x="0" y="91"/>
                  <a:pt x="0" y="72"/>
                </a:cubicBezTo>
                <a:cubicBezTo>
                  <a:pt x="0" y="60"/>
                  <a:pt x="8" y="47"/>
                  <a:pt x="19" y="41"/>
                </a:cubicBezTo>
                <a:cubicBezTo>
                  <a:pt x="19" y="41"/>
                  <a:pt x="19" y="40"/>
                  <a:pt x="19" y="40"/>
                </a:cubicBezTo>
                <a:cubicBezTo>
                  <a:pt x="19" y="27"/>
                  <a:pt x="29" y="16"/>
                  <a:pt x="43" y="16"/>
                </a:cubicBezTo>
                <a:cubicBezTo>
                  <a:pt x="44" y="16"/>
                  <a:pt x="44" y="16"/>
                  <a:pt x="45" y="16"/>
                </a:cubicBezTo>
                <a:cubicBezTo>
                  <a:pt x="46" y="16"/>
                  <a:pt x="46" y="16"/>
                  <a:pt x="46" y="16"/>
                </a:cubicBezTo>
                <a:cubicBezTo>
                  <a:pt x="47" y="16"/>
                  <a:pt x="47" y="16"/>
                  <a:pt x="48" y="17"/>
                </a:cubicBezTo>
                <a:cubicBezTo>
                  <a:pt x="48" y="17"/>
                  <a:pt x="49" y="17"/>
                  <a:pt x="49" y="17"/>
                </a:cubicBezTo>
                <a:cubicBezTo>
                  <a:pt x="49" y="17"/>
                  <a:pt x="50" y="17"/>
                  <a:pt x="51" y="17"/>
                </a:cubicBezTo>
                <a:cubicBezTo>
                  <a:pt x="51" y="17"/>
                  <a:pt x="51" y="18"/>
                  <a:pt x="51" y="18"/>
                </a:cubicBezTo>
                <a:cubicBezTo>
                  <a:pt x="52" y="18"/>
                  <a:pt x="53" y="18"/>
                  <a:pt x="53" y="18"/>
                </a:cubicBezTo>
                <a:cubicBezTo>
                  <a:pt x="53" y="19"/>
                  <a:pt x="54" y="19"/>
                  <a:pt x="54" y="19"/>
                </a:cubicBezTo>
                <a:cubicBezTo>
                  <a:pt x="62" y="7"/>
                  <a:pt x="76" y="0"/>
                  <a:pt x="91" y="0"/>
                </a:cubicBezTo>
                <a:cubicBezTo>
                  <a:pt x="115" y="0"/>
                  <a:pt x="135" y="19"/>
                  <a:pt x="136" y="43"/>
                </a:cubicBezTo>
                <a:cubicBezTo>
                  <a:pt x="150" y="47"/>
                  <a:pt x="160" y="60"/>
                  <a:pt x="160" y="75"/>
                </a:cubicBezTo>
                <a:close/>
                <a:moveTo>
                  <a:pt x="102" y="82"/>
                </a:moveTo>
                <a:cubicBezTo>
                  <a:pt x="103" y="82"/>
                  <a:pt x="103" y="83"/>
                  <a:pt x="104" y="83"/>
                </a:cubicBezTo>
                <a:cubicBezTo>
                  <a:pt x="105" y="83"/>
                  <a:pt x="105" y="82"/>
                  <a:pt x="106" y="82"/>
                </a:cubicBezTo>
                <a:cubicBezTo>
                  <a:pt x="107" y="81"/>
                  <a:pt x="107" y="79"/>
                  <a:pt x="106" y="78"/>
                </a:cubicBezTo>
                <a:cubicBezTo>
                  <a:pt x="85" y="57"/>
                  <a:pt x="85" y="57"/>
                  <a:pt x="85" y="57"/>
                </a:cubicBezTo>
                <a:cubicBezTo>
                  <a:pt x="84" y="57"/>
                  <a:pt x="84" y="56"/>
                  <a:pt x="84" y="56"/>
                </a:cubicBezTo>
                <a:cubicBezTo>
                  <a:pt x="83" y="56"/>
                  <a:pt x="82" y="56"/>
                  <a:pt x="82" y="56"/>
                </a:cubicBezTo>
                <a:cubicBezTo>
                  <a:pt x="81" y="56"/>
                  <a:pt x="81" y="57"/>
                  <a:pt x="81" y="57"/>
                </a:cubicBezTo>
                <a:cubicBezTo>
                  <a:pt x="59" y="78"/>
                  <a:pt x="59" y="78"/>
                  <a:pt x="59" y="78"/>
                </a:cubicBezTo>
                <a:cubicBezTo>
                  <a:pt x="58" y="79"/>
                  <a:pt x="58" y="81"/>
                  <a:pt x="59" y="82"/>
                </a:cubicBezTo>
                <a:cubicBezTo>
                  <a:pt x="60" y="82"/>
                  <a:pt x="61" y="83"/>
                  <a:pt x="61" y="83"/>
                </a:cubicBezTo>
                <a:cubicBezTo>
                  <a:pt x="62" y="83"/>
                  <a:pt x="63" y="82"/>
                  <a:pt x="63" y="82"/>
                </a:cubicBezTo>
                <a:cubicBezTo>
                  <a:pt x="80" y="65"/>
                  <a:pt x="80" y="65"/>
                  <a:pt x="80" y="65"/>
                </a:cubicBezTo>
                <a:cubicBezTo>
                  <a:pt x="80" y="132"/>
                  <a:pt x="80" y="132"/>
                  <a:pt x="80" y="132"/>
                </a:cubicBezTo>
                <a:cubicBezTo>
                  <a:pt x="63" y="115"/>
                  <a:pt x="63" y="115"/>
                  <a:pt x="63" y="115"/>
                </a:cubicBezTo>
                <a:cubicBezTo>
                  <a:pt x="62" y="114"/>
                  <a:pt x="60" y="114"/>
                  <a:pt x="59" y="115"/>
                </a:cubicBezTo>
                <a:cubicBezTo>
                  <a:pt x="58" y="116"/>
                  <a:pt x="58" y="118"/>
                  <a:pt x="59" y="119"/>
                </a:cubicBezTo>
                <a:cubicBezTo>
                  <a:pt x="81" y="141"/>
                  <a:pt x="81" y="141"/>
                  <a:pt x="81" y="141"/>
                </a:cubicBezTo>
                <a:cubicBezTo>
                  <a:pt x="81" y="141"/>
                  <a:pt x="81" y="141"/>
                  <a:pt x="82" y="141"/>
                </a:cubicBezTo>
                <a:cubicBezTo>
                  <a:pt x="82" y="141"/>
                  <a:pt x="82" y="141"/>
                  <a:pt x="83" y="141"/>
                </a:cubicBezTo>
                <a:cubicBezTo>
                  <a:pt x="83" y="141"/>
                  <a:pt x="83" y="141"/>
                  <a:pt x="84" y="141"/>
                </a:cubicBezTo>
                <a:cubicBezTo>
                  <a:pt x="84" y="141"/>
                  <a:pt x="84" y="141"/>
                  <a:pt x="85" y="141"/>
                </a:cubicBezTo>
                <a:cubicBezTo>
                  <a:pt x="106" y="119"/>
                  <a:pt x="106" y="119"/>
                  <a:pt x="106" y="119"/>
                </a:cubicBezTo>
                <a:cubicBezTo>
                  <a:pt x="107" y="118"/>
                  <a:pt x="107" y="116"/>
                  <a:pt x="106" y="115"/>
                </a:cubicBezTo>
                <a:cubicBezTo>
                  <a:pt x="105" y="114"/>
                  <a:pt x="103" y="114"/>
                  <a:pt x="102" y="115"/>
                </a:cubicBezTo>
                <a:cubicBezTo>
                  <a:pt x="85" y="132"/>
                  <a:pt x="85" y="132"/>
                  <a:pt x="85" y="132"/>
                </a:cubicBezTo>
                <a:cubicBezTo>
                  <a:pt x="85" y="65"/>
                  <a:pt x="85" y="65"/>
                  <a:pt x="85" y="65"/>
                </a:cubicBezTo>
                <a:lnTo>
                  <a:pt x="102" y="8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1097">
            <a:extLst>
              <a:ext uri="{FF2B5EF4-FFF2-40B4-BE49-F238E27FC236}">
                <a16:creationId xmlns:a16="http://schemas.microsoft.com/office/drawing/2014/main" id="{35389938-8840-954D-9F79-D8D673A60D91}"/>
              </a:ext>
            </a:extLst>
          </p:cNvPr>
          <p:cNvSpPr>
            <a:spLocks noEditPoints="1"/>
          </p:cNvSpPr>
          <p:nvPr/>
        </p:nvSpPr>
        <p:spPr bwMode="auto">
          <a:xfrm>
            <a:off x="5354520" y="1025525"/>
            <a:ext cx="546100" cy="468313"/>
          </a:xfrm>
          <a:custGeom>
            <a:avLst/>
            <a:gdLst>
              <a:gd name="T0" fmla="*/ 128 w 160"/>
              <a:gd name="T1" fmla="*/ 107 h 136"/>
              <a:gd name="T2" fmla="*/ 115 w 160"/>
              <a:gd name="T3" fmla="*/ 104 h 136"/>
              <a:gd name="T4" fmla="*/ 128 w 160"/>
              <a:gd name="T5" fmla="*/ 101 h 136"/>
              <a:gd name="T6" fmla="*/ 133 w 160"/>
              <a:gd name="T7" fmla="*/ 48 h 136"/>
              <a:gd name="T8" fmla="*/ 120 w 160"/>
              <a:gd name="T9" fmla="*/ 48 h 136"/>
              <a:gd name="T10" fmla="*/ 120 w 160"/>
              <a:gd name="T11" fmla="*/ 43 h 136"/>
              <a:gd name="T12" fmla="*/ 91 w 160"/>
              <a:gd name="T13" fmla="*/ 5 h 136"/>
              <a:gd name="T14" fmla="*/ 67 w 160"/>
              <a:gd name="T15" fmla="*/ 40 h 136"/>
              <a:gd name="T16" fmla="*/ 61 w 160"/>
              <a:gd name="T17" fmla="*/ 40 h 136"/>
              <a:gd name="T18" fmla="*/ 51 w 160"/>
              <a:gd name="T19" fmla="*/ 23 h 136"/>
              <a:gd name="T20" fmla="*/ 48 w 160"/>
              <a:gd name="T21" fmla="*/ 22 h 136"/>
              <a:gd name="T22" fmla="*/ 46 w 160"/>
              <a:gd name="T23" fmla="*/ 22 h 136"/>
              <a:gd name="T24" fmla="*/ 43 w 160"/>
              <a:gd name="T25" fmla="*/ 21 h 136"/>
              <a:gd name="T26" fmla="*/ 24 w 160"/>
              <a:gd name="T27" fmla="*/ 41 h 136"/>
              <a:gd name="T28" fmla="*/ 24 w 160"/>
              <a:gd name="T29" fmla="*/ 42 h 136"/>
              <a:gd name="T30" fmla="*/ 24 w 160"/>
              <a:gd name="T31" fmla="*/ 44 h 136"/>
              <a:gd name="T32" fmla="*/ 5 w 160"/>
              <a:gd name="T33" fmla="*/ 72 h 136"/>
              <a:gd name="T34" fmla="*/ 48 w 160"/>
              <a:gd name="T35" fmla="*/ 101 h 136"/>
              <a:gd name="T36" fmla="*/ 48 w 160"/>
              <a:gd name="T37" fmla="*/ 107 h 136"/>
              <a:gd name="T38" fmla="*/ 0 w 160"/>
              <a:gd name="T39" fmla="*/ 72 h 136"/>
              <a:gd name="T40" fmla="*/ 19 w 160"/>
              <a:gd name="T41" fmla="*/ 40 h 136"/>
              <a:gd name="T42" fmla="*/ 45 w 160"/>
              <a:gd name="T43" fmla="*/ 16 h 136"/>
              <a:gd name="T44" fmla="*/ 48 w 160"/>
              <a:gd name="T45" fmla="*/ 17 h 136"/>
              <a:gd name="T46" fmla="*/ 51 w 160"/>
              <a:gd name="T47" fmla="*/ 17 h 136"/>
              <a:gd name="T48" fmla="*/ 53 w 160"/>
              <a:gd name="T49" fmla="*/ 18 h 136"/>
              <a:gd name="T50" fmla="*/ 91 w 160"/>
              <a:gd name="T51" fmla="*/ 0 h 136"/>
              <a:gd name="T52" fmla="*/ 160 w 160"/>
              <a:gd name="T53" fmla="*/ 75 h 136"/>
              <a:gd name="T54" fmla="*/ 84 w 160"/>
              <a:gd name="T55" fmla="*/ 70 h 136"/>
              <a:gd name="T56" fmla="*/ 81 w 160"/>
              <a:gd name="T57" fmla="*/ 70 h 136"/>
              <a:gd name="T58" fmla="*/ 59 w 160"/>
              <a:gd name="T59" fmla="*/ 95 h 136"/>
              <a:gd name="T60" fmla="*/ 63 w 160"/>
              <a:gd name="T61" fmla="*/ 95 h 136"/>
              <a:gd name="T62" fmla="*/ 80 w 160"/>
              <a:gd name="T63" fmla="*/ 133 h 136"/>
              <a:gd name="T64" fmla="*/ 85 w 160"/>
              <a:gd name="T65" fmla="*/ 133 h 136"/>
              <a:gd name="T66" fmla="*/ 102 w 160"/>
              <a:gd name="T67" fmla="*/ 95 h 136"/>
              <a:gd name="T68" fmla="*/ 106 w 160"/>
              <a:gd name="T69" fmla="*/ 95 h 136"/>
              <a:gd name="T70" fmla="*/ 85 w 160"/>
              <a:gd name="T71" fmla="*/ 7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36">
                <a:moveTo>
                  <a:pt x="160" y="75"/>
                </a:moveTo>
                <a:cubicBezTo>
                  <a:pt x="160" y="92"/>
                  <a:pt x="146" y="107"/>
                  <a:pt x="128" y="107"/>
                </a:cubicBezTo>
                <a:cubicBezTo>
                  <a:pt x="117" y="107"/>
                  <a:pt x="117" y="107"/>
                  <a:pt x="117" y="107"/>
                </a:cubicBezTo>
                <a:cubicBezTo>
                  <a:pt x="116" y="107"/>
                  <a:pt x="115" y="105"/>
                  <a:pt x="115" y="104"/>
                </a:cubicBezTo>
                <a:cubicBezTo>
                  <a:pt x="115" y="103"/>
                  <a:pt x="116" y="101"/>
                  <a:pt x="117" y="101"/>
                </a:cubicBezTo>
                <a:cubicBezTo>
                  <a:pt x="128" y="101"/>
                  <a:pt x="128" y="101"/>
                  <a:pt x="128" y="101"/>
                </a:cubicBezTo>
                <a:cubicBezTo>
                  <a:pt x="143" y="101"/>
                  <a:pt x="155" y="89"/>
                  <a:pt x="155" y="75"/>
                </a:cubicBezTo>
                <a:cubicBezTo>
                  <a:pt x="155" y="62"/>
                  <a:pt x="145" y="50"/>
                  <a:pt x="133" y="48"/>
                </a:cubicBezTo>
                <a:cubicBezTo>
                  <a:pt x="133" y="48"/>
                  <a:pt x="126" y="47"/>
                  <a:pt x="120" y="48"/>
                </a:cubicBezTo>
                <a:cubicBezTo>
                  <a:pt x="120" y="48"/>
                  <a:pt x="120" y="48"/>
                  <a:pt x="120" y="48"/>
                </a:cubicBezTo>
                <a:cubicBezTo>
                  <a:pt x="119" y="48"/>
                  <a:pt x="118" y="47"/>
                  <a:pt x="117" y="46"/>
                </a:cubicBezTo>
                <a:cubicBezTo>
                  <a:pt x="117" y="44"/>
                  <a:pt x="118" y="43"/>
                  <a:pt x="120" y="43"/>
                </a:cubicBezTo>
                <a:cubicBezTo>
                  <a:pt x="124" y="42"/>
                  <a:pt x="128" y="42"/>
                  <a:pt x="130" y="42"/>
                </a:cubicBezTo>
                <a:cubicBezTo>
                  <a:pt x="129" y="22"/>
                  <a:pt x="112" y="5"/>
                  <a:pt x="91" y="5"/>
                </a:cubicBezTo>
                <a:cubicBezTo>
                  <a:pt x="78" y="5"/>
                  <a:pt x="66" y="12"/>
                  <a:pt x="58" y="22"/>
                </a:cubicBezTo>
                <a:cubicBezTo>
                  <a:pt x="63" y="26"/>
                  <a:pt x="67" y="33"/>
                  <a:pt x="67" y="40"/>
                </a:cubicBezTo>
                <a:cubicBezTo>
                  <a:pt x="67" y="41"/>
                  <a:pt x="65" y="43"/>
                  <a:pt x="64" y="43"/>
                </a:cubicBezTo>
                <a:cubicBezTo>
                  <a:pt x="63" y="43"/>
                  <a:pt x="61" y="41"/>
                  <a:pt x="61" y="40"/>
                </a:cubicBezTo>
                <a:cubicBezTo>
                  <a:pt x="61" y="33"/>
                  <a:pt x="58" y="28"/>
                  <a:pt x="53" y="24"/>
                </a:cubicBezTo>
                <a:cubicBezTo>
                  <a:pt x="52" y="24"/>
                  <a:pt x="52" y="24"/>
                  <a:pt x="51" y="23"/>
                </a:cubicBezTo>
                <a:cubicBezTo>
                  <a:pt x="51" y="23"/>
                  <a:pt x="51" y="23"/>
                  <a:pt x="50" y="23"/>
                </a:cubicBezTo>
                <a:cubicBezTo>
                  <a:pt x="50" y="23"/>
                  <a:pt x="49" y="22"/>
                  <a:pt x="48" y="22"/>
                </a:cubicBezTo>
                <a:cubicBezTo>
                  <a:pt x="48" y="22"/>
                  <a:pt x="48" y="22"/>
                  <a:pt x="48" y="22"/>
                </a:cubicBezTo>
                <a:cubicBezTo>
                  <a:pt x="47" y="22"/>
                  <a:pt x="46" y="22"/>
                  <a:pt x="46" y="22"/>
                </a:cubicBezTo>
                <a:cubicBezTo>
                  <a:pt x="46" y="22"/>
                  <a:pt x="45" y="22"/>
                  <a:pt x="45" y="22"/>
                </a:cubicBezTo>
                <a:cubicBezTo>
                  <a:pt x="44" y="21"/>
                  <a:pt x="43" y="21"/>
                  <a:pt x="43" y="21"/>
                </a:cubicBezTo>
                <a:cubicBezTo>
                  <a:pt x="32" y="21"/>
                  <a:pt x="24" y="30"/>
                  <a:pt x="24" y="40"/>
                </a:cubicBezTo>
                <a:cubicBezTo>
                  <a:pt x="24" y="40"/>
                  <a:pt x="24" y="40"/>
                  <a:pt x="24" y="41"/>
                </a:cubicBezTo>
                <a:cubicBezTo>
                  <a:pt x="24" y="41"/>
                  <a:pt x="24" y="41"/>
                  <a:pt x="24" y="41"/>
                </a:cubicBezTo>
                <a:cubicBezTo>
                  <a:pt x="24" y="42"/>
                  <a:pt x="24" y="42"/>
                  <a:pt x="24" y="42"/>
                </a:cubicBezTo>
                <a:cubicBezTo>
                  <a:pt x="24" y="42"/>
                  <a:pt x="24" y="42"/>
                  <a:pt x="24" y="43"/>
                </a:cubicBezTo>
                <a:cubicBezTo>
                  <a:pt x="24" y="44"/>
                  <a:pt x="24" y="44"/>
                  <a:pt x="24" y="44"/>
                </a:cubicBezTo>
                <a:cubicBezTo>
                  <a:pt x="22" y="45"/>
                  <a:pt x="22" y="45"/>
                  <a:pt x="22" y="45"/>
                </a:cubicBezTo>
                <a:cubicBezTo>
                  <a:pt x="13" y="50"/>
                  <a:pt x="5" y="61"/>
                  <a:pt x="5" y="72"/>
                </a:cubicBezTo>
                <a:cubicBezTo>
                  <a:pt x="5" y="88"/>
                  <a:pt x="18" y="101"/>
                  <a:pt x="34" y="101"/>
                </a:cubicBezTo>
                <a:cubicBezTo>
                  <a:pt x="48" y="101"/>
                  <a:pt x="48" y="101"/>
                  <a:pt x="48" y="101"/>
                </a:cubicBezTo>
                <a:cubicBezTo>
                  <a:pt x="49" y="101"/>
                  <a:pt x="51" y="103"/>
                  <a:pt x="51" y="104"/>
                </a:cubicBezTo>
                <a:cubicBezTo>
                  <a:pt x="51" y="105"/>
                  <a:pt x="49" y="107"/>
                  <a:pt x="48" y="107"/>
                </a:cubicBezTo>
                <a:cubicBezTo>
                  <a:pt x="34" y="107"/>
                  <a:pt x="34" y="107"/>
                  <a:pt x="34" y="107"/>
                </a:cubicBezTo>
                <a:cubicBezTo>
                  <a:pt x="15" y="107"/>
                  <a:pt x="0" y="91"/>
                  <a:pt x="0" y="72"/>
                </a:cubicBezTo>
                <a:cubicBezTo>
                  <a:pt x="0" y="60"/>
                  <a:pt x="8" y="47"/>
                  <a:pt x="19" y="41"/>
                </a:cubicBezTo>
                <a:cubicBezTo>
                  <a:pt x="19" y="41"/>
                  <a:pt x="19" y="40"/>
                  <a:pt x="19" y="40"/>
                </a:cubicBezTo>
                <a:cubicBezTo>
                  <a:pt x="19" y="27"/>
                  <a:pt x="29" y="16"/>
                  <a:pt x="43" y="16"/>
                </a:cubicBezTo>
                <a:cubicBezTo>
                  <a:pt x="44" y="16"/>
                  <a:pt x="44" y="16"/>
                  <a:pt x="45" y="16"/>
                </a:cubicBezTo>
                <a:cubicBezTo>
                  <a:pt x="46" y="16"/>
                  <a:pt x="46" y="16"/>
                  <a:pt x="46" y="16"/>
                </a:cubicBezTo>
                <a:cubicBezTo>
                  <a:pt x="47" y="16"/>
                  <a:pt x="47" y="16"/>
                  <a:pt x="48" y="17"/>
                </a:cubicBezTo>
                <a:cubicBezTo>
                  <a:pt x="48" y="17"/>
                  <a:pt x="49" y="17"/>
                  <a:pt x="49" y="17"/>
                </a:cubicBezTo>
                <a:cubicBezTo>
                  <a:pt x="49" y="17"/>
                  <a:pt x="50" y="17"/>
                  <a:pt x="51" y="17"/>
                </a:cubicBezTo>
                <a:cubicBezTo>
                  <a:pt x="51" y="17"/>
                  <a:pt x="51" y="18"/>
                  <a:pt x="51" y="18"/>
                </a:cubicBezTo>
                <a:cubicBezTo>
                  <a:pt x="52" y="18"/>
                  <a:pt x="53" y="18"/>
                  <a:pt x="53" y="18"/>
                </a:cubicBezTo>
                <a:cubicBezTo>
                  <a:pt x="53" y="19"/>
                  <a:pt x="54" y="19"/>
                  <a:pt x="54" y="19"/>
                </a:cubicBezTo>
                <a:cubicBezTo>
                  <a:pt x="62" y="7"/>
                  <a:pt x="76" y="0"/>
                  <a:pt x="91" y="0"/>
                </a:cubicBezTo>
                <a:cubicBezTo>
                  <a:pt x="115" y="0"/>
                  <a:pt x="135" y="19"/>
                  <a:pt x="136" y="43"/>
                </a:cubicBezTo>
                <a:cubicBezTo>
                  <a:pt x="150" y="47"/>
                  <a:pt x="160" y="60"/>
                  <a:pt x="160" y="75"/>
                </a:cubicBezTo>
                <a:close/>
                <a:moveTo>
                  <a:pt x="85" y="70"/>
                </a:moveTo>
                <a:cubicBezTo>
                  <a:pt x="84" y="70"/>
                  <a:pt x="84" y="70"/>
                  <a:pt x="84" y="70"/>
                </a:cubicBezTo>
                <a:cubicBezTo>
                  <a:pt x="83" y="69"/>
                  <a:pt x="82" y="69"/>
                  <a:pt x="82" y="70"/>
                </a:cubicBezTo>
                <a:cubicBezTo>
                  <a:pt x="81" y="70"/>
                  <a:pt x="81" y="70"/>
                  <a:pt x="81" y="70"/>
                </a:cubicBezTo>
                <a:cubicBezTo>
                  <a:pt x="59" y="91"/>
                  <a:pt x="59" y="91"/>
                  <a:pt x="59" y="91"/>
                </a:cubicBezTo>
                <a:cubicBezTo>
                  <a:pt x="58" y="92"/>
                  <a:pt x="58" y="94"/>
                  <a:pt x="59" y="95"/>
                </a:cubicBezTo>
                <a:cubicBezTo>
                  <a:pt x="60" y="96"/>
                  <a:pt x="61" y="96"/>
                  <a:pt x="61" y="96"/>
                </a:cubicBezTo>
                <a:cubicBezTo>
                  <a:pt x="62" y="96"/>
                  <a:pt x="63" y="96"/>
                  <a:pt x="63" y="95"/>
                </a:cubicBezTo>
                <a:cubicBezTo>
                  <a:pt x="80" y="78"/>
                  <a:pt x="80" y="78"/>
                  <a:pt x="80" y="78"/>
                </a:cubicBezTo>
                <a:cubicBezTo>
                  <a:pt x="80" y="133"/>
                  <a:pt x="80" y="133"/>
                  <a:pt x="80" y="133"/>
                </a:cubicBezTo>
                <a:cubicBezTo>
                  <a:pt x="80" y="135"/>
                  <a:pt x="81" y="136"/>
                  <a:pt x="83" y="136"/>
                </a:cubicBezTo>
                <a:cubicBezTo>
                  <a:pt x="84" y="136"/>
                  <a:pt x="85" y="135"/>
                  <a:pt x="85" y="133"/>
                </a:cubicBezTo>
                <a:cubicBezTo>
                  <a:pt x="85" y="78"/>
                  <a:pt x="85" y="78"/>
                  <a:pt x="85" y="78"/>
                </a:cubicBezTo>
                <a:cubicBezTo>
                  <a:pt x="102" y="95"/>
                  <a:pt x="102" y="95"/>
                  <a:pt x="102" y="95"/>
                </a:cubicBezTo>
                <a:cubicBezTo>
                  <a:pt x="103" y="96"/>
                  <a:pt x="103" y="96"/>
                  <a:pt x="104" y="96"/>
                </a:cubicBezTo>
                <a:cubicBezTo>
                  <a:pt x="105" y="96"/>
                  <a:pt x="105" y="96"/>
                  <a:pt x="106" y="95"/>
                </a:cubicBezTo>
                <a:cubicBezTo>
                  <a:pt x="107" y="94"/>
                  <a:pt x="107" y="92"/>
                  <a:pt x="106" y="91"/>
                </a:cubicBezTo>
                <a:lnTo>
                  <a:pt x="85"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21" name="Freeform 1098">
            <a:extLst>
              <a:ext uri="{FF2B5EF4-FFF2-40B4-BE49-F238E27FC236}">
                <a16:creationId xmlns:a16="http://schemas.microsoft.com/office/drawing/2014/main" id="{A46F2E68-4D1C-4C43-9125-16100D5EADEF}"/>
              </a:ext>
            </a:extLst>
          </p:cNvPr>
          <p:cNvSpPr>
            <a:spLocks/>
          </p:cNvSpPr>
          <p:nvPr/>
        </p:nvSpPr>
        <p:spPr bwMode="auto">
          <a:xfrm>
            <a:off x="5354520" y="1644650"/>
            <a:ext cx="546100" cy="368300"/>
          </a:xfrm>
          <a:custGeom>
            <a:avLst/>
            <a:gdLst>
              <a:gd name="T0" fmla="*/ 136 w 160"/>
              <a:gd name="T1" fmla="*/ 43 h 107"/>
              <a:gd name="T2" fmla="*/ 91 w 160"/>
              <a:gd name="T3" fmla="*/ 0 h 107"/>
              <a:gd name="T4" fmla="*/ 54 w 160"/>
              <a:gd name="T5" fmla="*/ 19 h 107"/>
              <a:gd name="T6" fmla="*/ 53 w 160"/>
              <a:gd name="T7" fmla="*/ 18 h 107"/>
              <a:gd name="T8" fmla="*/ 51 w 160"/>
              <a:gd name="T9" fmla="*/ 18 h 107"/>
              <a:gd name="T10" fmla="*/ 51 w 160"/>
              <a:gd name="T11" fmla="*/ 17 h 107"/>
              <a:gd name="T12" fmla="*/ 49 w 160"/>
              <a:gd name="T13" fmla="*/ 17 h 107"/>
              <a:gd name="T14" fmla="*/ 48 w 160"/>
              <a:gd name="T15" fmla="*/ 17 h 107"/>
              <a:gd name="T16" fmla="*/ 46 w 160"/>
              <a:gd name="T17" fmla="*/ 16 h 107"/>
              <a:gd name="T18" fmla="*/ 45 w 160"/>
              <a:gd name="T19" fmla="*/ 16 h 107"/>
              <a:gd name="T20" fmla="*/ 43 w 160"/>
              <a:gd name="T21" fmla="*/ 16 h 107"/>
              <a:gd name="T22" fmla="*/ 19 w 160"/>
              <a:gd name="T23" fmla="*/ 40 h 107"/>
              <a:gd name="T24" fmla="*/ 19 w 160"/>
              <a:gd name="T25" fmla="*/ 41 h 107"/>
              <a:gd name="T26" fmla="*/ 0 w 160"/>
              <a:gd name="T27" fmla="*/ 72 h 107"/>
              <a:gd name="T28" fmla="*/ 34 w 160"/>
              <a:gd name="T29" fmla="*/ 107 h 107"/>
              <a:gd name="T30" fmla="*/ 48 w 160"/>
              <a:gd name="T31" fmla="*/ 107 h 107"/>
              <a:gd name="T32" fmla="*/ 51 w 160"/>
              <a:gd name="T33" fmla="*/ 104 h 107"/>
              <a:gd name="T34" fmla="*/ 48 w 160"/>
              <a:gd name="T35" fmla="*/ 101 h 107"/>
              <a:gd name="T36" fmla="*/ 34 w 160"/>
              <a:gd name="T37" fmla="*/ 101 h 107"/>
              <a:gd name="T38" fmla="*/ 5 w 160"/>
              <a:gd name="T39" fmla="*/ 72 h 107"/>
              <a:gd name="T40" fmla="*/ 22 w 160"/>
              <a:gd name="T41" fmla="*/ 45 h 107"/>
              <a:gd name="T42" fmla="*/ 24 w 160"/>
              <a:gd name="T43" fmla="*/ 44 h 107"/>
              <a:gd name="T44" fmla="*/ 24 w 160"/>
              <a:gd name="T45" fmla="*/ 43 h 107"/>
              <a:gd name="T46" fmla="*/ 24 w 160"/>
              <a:gd name="T47" fmla="*/ 42 h 107"/>
              <a:gd name="T48" fmla="*/ 24 w 160"/>
              <a:gd name="T49" fmla="*/ 41 h 107"/>
              <a:gd name="T50" fmla="*/ 24 w 160"/>
              <a:gd name="T51" fmla="*/ 41 h 107"/>
              <a:gd name="T52" fmla="*/ 24 w 160"/>
              <a:gd name="T53" fmla="*/ 40 h 107"/>
              <a:gd name="T54" fmla="*/ 43 w 160"/>
              <a:gd name="T55" fmla="*/ 21 h 107"/>
              <a:gd name="T56" fmla="*/ 45 w 160"/>
              <a:gd name="T57" fmla="*/ 22 h 107"/>
              <a:gd name="T58" fmla="*/ 46 w 160"/>
              <a:gd name="T59" fmla="*/ 22 h 107"/>
              <a:gd name="T60" fmla="*/ 48 w 160"/>
              <a:gd name="T61" fmla="*/ 22 h 107"/>
              <a:gd name="T62" fmla="*/ 48 w 160"/>
              <a:gd name="T63" fmla="*/ 22 h 107"/>
              <a:gd name="T64" fmla="*/ 50 w 160"/>
              <a:gd name="T65" fmla="*/ 23 h 107"/>
              <a:gd name="T66" fmla="*/ 51 w 160"/>
              <a:gd name="T67" fmla="*/ 23 h 107"/>
              <a:gd name="T68" fmla="*/ 53 w 160"/>
              <a:gd name="T69" fmla="*/ 24 h 107"/>
              <a:gd name="T70" fmla="*/ 61 w 160"/>
              <a:gd name="T71" fmla="*/ 40 h 107"/>
              <a:gd name="T72" fmla="*/ 64 w 160"/>
              <a:gd name="T73" fmla="*/ 43 h 107"/>
              <a:gd name="T74" fmla="*/ 67 w 160"/>
              <a:gd name="T75" fmla="*/ 40 h 107"/>
              <a:gd name="T76" fmla="*/ 58 w 160"/>
              <a:gd name="T77" fmla="*/ 22 h 107"/>
              <a:gd name="T78" fmla="*/ 91 w 160"/>
              <a:gd name="T79" fmla="*/ 5 h 107"/>
              <a:gd name="T80" fmla="*/ 130 w 160"/>
              <a:gd name="T81" fmla="*/ 42 h 107"/>
              <a:gd name="T82" fmla="*/ 120 w 160"/>
              <a:gd name="T83" fmla="*/ 43 h 107"/>
              <a:gd name="T84" fmla="*/ 117 w 160"/>
              <a:gd name="T85" fmla="*/ 46 h 107"/>
              <a:gd name="T86" fmla="*/ 120 w 160"/>
              <a:gd name="T87" fmla="*/ 48 h 107"/>
              <a:gd name="T88" fmla="*/ 120 w 160"/>
              <a:gd name="T89" fmla="*/ 48 h 107"/>
              <a:gd name="T90" fmla="*/ 133 w 160"/>
              <a:gd name="T91" fmla="*/ 48 h 107"/>
              <a:gd name="T92" fmla="*/ 155 w 160"/>
              <a:gd name="T93" fmla="*/ 75 h 107"/>
              <a:gd name="T94" fmla="*/ 128 w 160"/>
              <a:gd name="T95" fmla="*/ 101 h 107"/>
              <a:gd name="T96" fmla="*/ 117 w 160"/>
              <a:gd name="T97" fmla="*/ 101 h 107"/>
              <a:gd name="T98" fmla="*/ 115 w 160"/>
              <a:gd name="T99" fmla="*/ 104 h 107"/>
              <a:gd name="T100" fmla="*/ 117 w 160"/>
              <a:gd name="T101" fmla="*/ 107 h 107"/>
              <a:gd name="T102" fmla="*/ 128 w 160"/>
              <a:gd name="T103" fmla="*/ 107 h 107"/>
              <a:gd name="T104" fmla="*/ 160 w 160"/>
              <a:gd name="T105" fmla="*/ 75 h 107"/>
              <a:gd name="T106" fmla="*/ 136 w 160"/>
              <a:gd name="T107"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07">
                <a:moveTo>
                  <a:pt x="136" y="43"/>
                </a:moveTo>
                <a:cubicBezTo>
                  <a:pt x="135" y="19"/>
                  <a:pt x="115" y="0"/>
                  <a:pt x="91" y="0"/>
                </a:cubicBezTo>
                <a:cubicBezTo>
                  <a:pt x="76" y="0"/>
                  <a:pt x="62" y="7"/>
                  <a:pt x="54" y="19"/>
                </a:cubicBezTo>
                <a:cubicBezTo>
                  <a:pt x="54" y="19"/>
                  <a:pt x="53" y="19"/>
                  <a:pt x="53" y="18"/>
                </a:cubicBezTo>
                <a:cubicBezTo>
                  <a:pt x="53" y="18"/>
                  <a:pt x="52" y="18"/>
                  <a:pt x="51" y="18"/>
                </a:cubicBezTo>
                <a:cubicBezTo>
                  <a:pt x="51" y="18"/>
                  <a:pt x="51" y="17"/>
                  <a:pt x="51" y="17"/>
                </a:cubicBezTo>
                <a:cubicBezTo>
                  <a:pt x="50" y="17"/>
                  <a:pt x="49" y="17"/>
                  <a:pt x="49" y="17"/>
                </a:cubicBezTo>
                <a:cubicBezTo>
                  <a:pt x="49" y="17"/>
                  <a:pt x="48" y="17"/>
                  <a:pt x="48" y="17"/>
                </a:cubicBezTo>
                <a:cubicBezTo>
                  <a:pt x="47" y="16"/>
                  <a:pt x="47" y="16"/>
                  <a:pt x="46" y="16"/>
                </a:cubicBezTo>
                <a:cubicBezTo>
                  <a:pt x="46" y="16"/>
                  <a:pt x="46" y="16"/>
                  <a:pt x="45" y="16"/>
                </a:cubicBezTo>
                <a:cubicBezTo>
                  <a:pt x="44" y="16"/>
                  <a:pt x="44" y="16"/>
                  <a:pt x="43" y="16"/>
                </a:cubicBezTo>
                <a:cubicBezTo>
                  <a:pt x="29" y="16"/>
                  <a:pt x="19" y="27"/>
                  <a:pt x="19" y="40"/>
                </a:cubicBezTo>
                <a:cubicBezTo>
                  <a:pt x="19" y="40"/>
                  <a:pt x="19" y="41"/>
                  <a:pt x="19" y="41"/>
                </a:cubicBezTo>
                <a:cubicBezTo>
                  <a:pt x="8" y="47"/>
                  <a:pt x="0" y="60"/>
                  <a:pt x="0" y="72"/>
                </a:cubicBezTo>
                <a:cubicBezTo>
                  <a:pt x="0" y="91"/>
                  <a:pt x="15" y="107"/>
                  <a:pt x="34" y="107"/>
                </a:cubicBezTo>
                <a:cubicBezTo>
                  <a:pt x="48" y="107"/>
                  <a:pt x="48" y="107"/>
                  <a:pt x="48" y="107"/>
                </a:cubicBezTo>
                <a:cubicBezTo>
                  <a:pt x="49" y="107"/>
                  <a:pt x="51" y="105"/>
                  <a:pt x="51" y="104"/>
                </a:cubicBezTo>
                <a:cubicBezTo>
                  <a:pt x="51" y="103"/>
                  <a:pt x="49" y="101"/>
                  <a:pt x="48" y="101"/>
                </a:cubicBezTo>
                <a:cubicBezTo>
                  <a:pt x="34" y="101"/>
                  <a:pt x="34" y="101"/>
                  <a:pt x="34" y="101"/>
                </a:cubicBezTo>
                <a:cubicBezTo>
                  <a:pt x="18" y="101"/>
                  <a:pt x="5" y="88"/>
                  <a:pt x="5" y="72"/>
                </a:cubicBezTo>
                <a:cubicBezTo>
                  <a:pt x="5" y="61"/>
                  <a:pt x="13" y="50"/>
                  <a:pt x="22" y="45"/>
                </a:cubicBezTo>
                <a:cubicBezTo>
                  <a:pt x="24" y="44"/>
                  <a:pt x="24" y="44"/>
                  <a:pt x="24" y="44"/>
                </a:cubicBezTo>
                <a:cubicBezTo>
                  <a:pt x="24" y="43"/>
                  <a:pt x="24" y="43"/>
                  <a:pt x="24" y="43"/>
                </a:cubicBezTo>
                <a:cubicBezTo>
                  <a:pt x="24" y="42"/>
                  <a:pt x="24" y="42"/>
                  <a:pt x="24" y="42"/>
                </a:cubicBezTo>
                <a:cubicBezTo>
                  <a:pt x="24" y="41"/>
                  <a:pt x="24" y="41"/>
                  <a:pt x="24" y="41"/>
                </a:cubicBezTo>
                <a:cubicBezTo>
                  <a:pt x="24" y="41"/>
                  <a:pt x="24" y="41"/>
                  <a:pt x="24" y="41"/>
                </a:cubicBezTo>
                <a:cubicBezTo>
                  <a:pt x="24" y="40"/>
                  <a:pt x="24" y="40"/>
                  <a:pt x="24" y="40"/>
                </a:cubicBezTo>
                <a:cubicBezTo>
                  <a:pt x="24" y="30"/>
                  <a:pt x="32" y="21"/>
                  <a:pt x="43" y="21"/>
                </a:cubicBezTo>
                <a:cubicBezTo>
                  <a:pt x="43" y="21"/>
                  <a:pt x="44" y="21"/>
                  <a:pt x="45" y="22"/>
                </a:cubicBezTo>
                <a:cubicBezTo>
                  <a:pt x="45" y="22"/>
                  <a:pt x="46" y="22"/>
                  <a:pt x="46" y="22"/>
                </a:cubicBezTo>
                <a:cubicBezTo>
                  <a:pt x="46" y="22"/>
                  <a:pt x="47" y="22"/>
                  <a:pt x="48" y="22"/>
                </a:cubicBezTo>
                <a:cubicBezTo>
                  <a:pt x="48" y="22"/>
                  <a:pt x="48" y="22"/>
                  <a:pt x="48" y="22"/>
                </a:cubicBezTo>
                <a:cubicBezTo>
                  <a:pt x="49" y="22"/>
                  <a:pt x="50" y="23"/>
                  <a:pt x="50" y="23"/>
                </a:cubicBezTo>
                <a:cubicBezTo>
                  <a:pt x="51" y="23"/>
                  <a:pt x="51" y="23"/>
                  <a:pt x="51" y="23"/>
                </a:cubicBezTo>
                <a:cubicBezTo>
                  <a:pt x="52" y="24"/>
                  <a:pt x="52" y="24"/>
                  <a:pt x="53" y="24"/>
                </a:cubicBezTo>
                <a:cubicBezTo>
                  <a:pt x="58" y="28"/>
                  <a:pt x="61" y="33"/>
                  <a:pt x="61" y="40"/>
                </a:cubicBezTo>
                <a:cubicBezTo>
                  <a:pt x="61" y="41"/>
                  <a:pt x="63" y="43"/>
                  <a:pt x="64" y="43"/>
                </a:cubicBezTo>
                <a:cubicBezTo>
                  <a:pt x="65" y="43"/>
                  <a:pt x="67" y="41"/>
                  <a:pt x="67" y="40"/>
                </a:cubicBezTo>
                <a:cubicBezTo>
                  <a:pt x="67" y="33"/>
                  <a:pt x="63" y="26"/>
                  <a:pt x="58" y="22"/>
                </a:cubicBezTo>
                <a:cubicBezTo>
                  <a:pt x="66" y="12"/>
                  <a:pt x="78" y="5"/>
                  <a:pt x="91" y="5"/>
                </a:cubicBezTo>
                <a:cubicBezTo>
                  <a:pt x="112" y="5"/>
                  <a:pt x="129" y="22"/>
                  <a:pt x="130" y="42"/>
                </a:cubicBezTo>
                <a:cubicBezTo>
                  <a:pt x="128" y="42"/>
                  <a:pt x="124" y="42"/>
                  <a:pt x="120" y="43"/>
                </a:cubicBezTo>
                <a:cubicBezTo>
                  <a:pt x="118" y="43"/>
                  <a:pt x="117" y="44"/>
                  <a:pt x="117" y="46"/>
                </a:cubicBezTo>
                <a:cubicBezTo>
                  <a:pt x="118" y="47"/>
                  <a:pt x="119" y="48"/>
                  <a:pt x="120" y="48"/>
                </a:cubicBezTo>
                <a:cubicBezTo>
                  <a:pt x="120" y="48"/>
                  <a:pt x="120" y="48"/>
                  <a:pt x="120" y="48"/>
                </a:cubicBezTo>
                <a:cubicBezTo>
                  <a:pt x="126" y="47"/>
                  <a:pt x="133" y="48"/>
                  <a:pt x="133" y="48"/>
                </a:cubicBezTo>
                <a:cubicBezTo>
                  <a:pt x="145" y="50"/>
                  <a:pt x="155" y="62"/>
                  <a:pt x="155" y="75"/>
                </a:cubicBezTo>
                <a:cubicBezTo>
                  <a:pt x="155" y="89"/>
                  <a:pt x="143" y="101"/>
                  <a:pt x="128" y="101"/>
                </a:cubicBezTo>
                <a:cubicBezTo>
                  <a:pt x="117" y="101"/>
                  <a:pt x="117" y="101"/>
                  <a:pt x="117" y="101"/>
                </a:cubicBezTo>
                <a:cubicBezTo>
                  <a:pt x="116" y="101"/>
                  <a:pt x="115" y="103"/>
                  <a:pt x="115" y="104"/>
                </a:cubicBezTo>
                <a:cubicBezTo>
                  <a:pt x="115" y="105"/>
                  <a:pt x="116" y="107"/>
                  <a:pt x="117" y="107"/>
                </a:cubicBezTo>
                <a:cubicBezTo>
                  <a:pt x="128" y="107"/>
                  <a:pt x="128" y="107"/>
                  <a:pt x="128" y="107"/>
                </a:cubicBezTo>
                <a:cubicBezTo>
                  <a:pt x="146" y="107"/>
                  <a:pt x="160" y="92"/>
                  <a:pt x="160" y="75"/>
                </a:cubicBezTo>
                <a:cubicBezTo>
                  <a:pt x="160" y="60"/>
                  <a:pt x="150" y="47"/>
                  <a:pt x="136" y="4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22" name="Freeform 1099">
            <a:extLst>
              <a:ext uri="{FF2B5EF4-FFF2-40B4-BE49-F238E27FC236}">
                <a16:creationId xmlns:a16="http://schemas.microsoft.com/office/drawing/2014/main" id="{ED65C873-F60C-D144-AE8F-B68A511091DB}"/>
              </a:ext>
            </a:extLst>
          </p:cNvPr>
          <p:cNvSpPr>
            <a:spLocks/>
          </p:cNvSpPr>
          <p:nvPr/>
        </p:nvSpPr>
        <p:spPr bwMode="auto">
          <a:xfrm>
            <a:off x="5535495" y="1882775"/>
            <a:ext cx="201613" cy="219075"/>
          </a:xfrm>
          <a:custGeom>
            <a:avLst/>
            <a:gdLst>
              <a:gd name="T0" fmla="*/ 56 w 59"/>
              <a:gd name="T1" fmla="*/ 32 h 64"/>
              <a:gd name="T2" fmla="*/ 54 w 59"/>
              <a:gd name="T3" fmla="*/ 35 h 64"/>
              <a:gd name="T4" fmla="*/ 30 w 59"/>
              <a:gd name="T5" fmla="*/ 59 h 64"/>
              <a:gd name="T6" fmla="*/ 6 w 59"/>
              <a:gd name="T7" fmla="*/ 35 h 64"/>
              <a:gd name="T8" fmla="*/ 30 w 59"/>
              <a:gd name="T9" fmla="*/ 11 h 64"/>
              <a:gd name="T10" fmla="*/ 49 w 59"/>
              <a:gd name="T11" fmla="*/ 22 h 64"/>
              <a:gd name="T12" fmla="*/ 32 w 59"/>
              <a:gd name="T13" fmla="*/ 22 h 64"/>
              <a:gd name="T14" fmla="*/ 30 w 59"/>
              <a:gd name="T15" fmla="*/ 24 h 64"/>
              <a:gd name="T16" fmla="*/ 32 w 59"/>
              <a:gd name="T17" fmla="*/ 27 h 64"/>
              <a:gd name="T18" fmla="*/ 54 w 59"/>
              <a:gd name="T19" fmla="*/ 27 h 64"/>
              <a:gd name="T20" fmla="*/ 54 w 59"/>
              <a:gd name="T21" fmla="*/ 27 h 64"/>
              <a:gd name="T22" fmla="*/ 54 w 59"/>
              <a:gd name="T23" fmla="*/ 27 h 64"/>
              <a:gd name="T24" fmla="*/ 55 w 59"/>
              <a:gd name="T25" fmla="*/ 27 h 64"/>
              <a:gd name="T26" fmla="*/ 55 w 59"/>
              <a:gd name="T27" fmla="*/ 27 h 64"/>
              <a:gd name="T28" fmla="*/ 55 w 59"/>
              <a:gd name="T29" fmla="*/ 27 h 64"/>
              <a:gd name="T30" fmla="*/ 56 w 59"/>
              <a:gd name="T31" fmla="*/ 26 h 64"/>
              <a:gd name="T32" fmla="*/ 56 w 59"/>
              <a:gd name="T33" fmla="*/ 26 h 64"/>
              <a:gd name="T34" fmla="*/ 56 w 59"/>
              <a:gd name="T35" fmla="*/ 25 h 64"/>
              <a:gd name="T36" fmla="*/ 56 w 59"/>
              <a:gd name="T37" fmla="*/ 25 h 64"/>
              <a:gd name="T38" fmla="*/ 56 w 59"/>
              <a:gd name="T39" fmla="*/ 24 h 64"/>
              <a:gd name="T40" fmla="*/ 56 w 59"/>
              <a:gd name="T41" fmla="*/ 24 h 64"/>
              <a:gd name="T42" fmla="*/ 56 w 59"/>
              <a:gd name="T43" fmla="*/ 24 h 64"/>
              <a:gd name="T44" fmla="*/ 56 w 59"/>
              <a:gd name="T45" fmla="*/ 3 h 64"/>
              <a:gd name="T46" fmla="*/ 54 w 59"/>
              <a:gd name="T47" fmla="*/ 0 h 64"/>
              <a:gd name="T48" fmla="*/ 51 w 59"/>
              <a:gd name="T49" fmla="*/ 3 h 64"/>
              <a:gd name="T50" fmla="*/ 51 w 59"/>
              <a:gd name="T51" fmla="*/ 15 h 64"/>
              <a:gd name="T52" fmla="*/ 30 w 59"/>
              <a:gd name="T53" fmla="*/ 6 h 64"/>
              <a:gd name="T54" fmla="*/ 0 w 59"/>
              <a:gd name="T55" fmla="*/ 35 h 64"/>
              <a:gd name="T56" fmla="*/ 30 w 59"/>
              <a:gd name="T57" fmla="*/ 64 h 64"/>
              <a:gd name="T58" fmla="*/ 59 w 59"/>
              <a:gd name="T59" fmla="*/ 35 h 64"/>
              <a:gd name="T60" fmla="*/ 56 w 59"/>
              <a:gd name="T61"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64">
                <a:moveTo>
                  <a:pt x="56" y="32"/>
                </a:moveTo>
                <a:cubicBezTo>
                  <a:pt x="55" y="32"/>
                  <a:pt x="54" y="34"/>
                  <a:pt x="54" y="35"/>
                </a:cubicBezTo>
                <a:cubicBezTo>
                  <a:pt x="54" y="48"/>
                  <a:pt x="43" y="59"/>
                  <a:pt x="30" y="59"/>
                </a:cubicBezTo>
                <a:cubicBezTo>
                  <a:pt x="16" y="59"/>
                  <a:pt x="6" y="48"/>
                  <a:pt x="6" y="35"/>
                </a:cubicBezTo>
                <a:cubicBezTo>
                  <a:pt x="6" y="22"/>
                  <a:pt x="16" y="11"/>
                  <a:pt x="30" y="11"/>
                </a:cubicBezTo>
                <a:cubicBezTo>
                  <a:pt x="38" y="11"/>
                  <a:pt x="45" y="15"/>
                  <a:pt x="49" y="22"/>
                </a:cubicBezTo>
                <a:cubicBezTo>
                  <a:pt x="32" y="22"/>
                  <a:pt x="32" y="22"/>
                  <a:pt x="32" y="22"/>
                </a:cubicBezTo>
                <a:cubicBezTo>
                  <a:pt x="31" y="22"/>
                  <a:pt x="30" y="23"/>
                  <a:pt x="30" y="24"/>
                </a:cubicBezTo>
                <a:cubicBezTo>
                  <a:pt x="30" y="26"/>
                  <a:pt x="31" y="27"/>
                  <a:pt x="32" y="27"/>
                </a:cubicBezTo>
                <a:cubicBezTo>
                  <a:pt x="54" y="27"/>
                  <a:pt x="54" y="27"/>
                  <a:pt x="54" y="27"/>
                </a:cubicBezTo>
                <a:cubicBezTo>
                  <a:pt x="54" y="27"/>
                  <a:pt x="54" y="27"/>
                  <a:pt x="54" y="27"/>
                </a:cubicBezTo>
                <a:cubicBezTo>
                  <a:pt x="54" y="27"/>
                  <a:pt x="54" y="27"/>
                  <a:pt x="54" y="27"/>
                </a:cubicBezTo>
                <a:cubicBezTo>
                  <a:pt x="54" y="27"/>
                  <a:pt x="55" y="27"/>
                  <a:pt x="55" y="27"/>
                </a:cubicBezTo>
                <a:cubicBezTo>
                  <a:pt x="55" y="27"/>
                  <a:pt x="55" y="27"/>
                  <a:pt x="55" y="27"/>
                </a:cubicBezTo>
                <a:cubicBezTo>
                  <a:pt x="55" y="27"/>
                  <a:pt x="55" y="27"/>
                  <a:pt x="55" y="27"/>
                </a:cubicBezTo>
                <a:cubicBezTo>
                  <a:pt x="55" y="26"/>
                  <a:pt x="55" y="26"/>
                  <a:pt x="56" y="26"/>
                </a:cubicBezTo>
                <a:cubicBezTo>
                  <a:pt x="56" y="26"/>
                  <a:pt x="56" y="26"/>
                  <a:pt x="56" y="26"/>
                </a:cubicBezTo>
                <a:cubicBezTo>
                  <a:pt x="56" y="26"/>
                  <a:pt x="56" y="26"/>
                  <a:pt x="56" y="25"/>
                </a:cubicBezTo>
                <a:cubicBezTo>
                  <a:pt x="56" y="25"/>
                  <a:pt x="56" y="25"/>
                  <a:pt x="56" y="25"/>
                </a:cubicBezTo>
                <a:cubicBezTo>
                  <a:pt x="56" y="25"/>
                  <a:pt x="56" y="24"/>
                  <a:pt x="56" y="24"/>
                </a:cubicBezTo>
                <a:cubicBezTo>
                  <a:pt x="56" y="24"/>
                  <a:pt x="56" y="24"/>
                  <a:pt x="56" y="24"/>
                </a:cubicBezTo>
                <a:cubicBezTo>
                  <a:pt x="56" y="24"/>
                  <a:pt x="56" y="24"/>
                  <a:pt x="56" y="24"/>
                </a:cubicBezTo>
                <a:cubicBezTo>
                  <a:pt x="56" y="3"/>
                  <a:pt x="56" y="3"/>
                  <a:pt x="56" y="3"/>
                </a:cubicBezTo>
                <a:cubicBezTo>
                  <a:pt x="56" y="2"/>
                  <a:pt x="55" y="0"/>
                  <a:pt x="54" y="0"/>
                </a:cubicBezTo>
                <a:cubicBezTo>
                  <a:pt x="52" y="0"/>
                  <a:pt x="51" y="2"/>
                  <a:pt x="51" y="3"/>
                </a:cubicBezTo>
                <a:cubicBezTo>
                  <a:pt x="51" y="15"/>
                  <a:pt x="51" y="15"/>
                  <a:pt x="51" y="15"/>
                </a:cubicBezTo>
                <a:cubicBezTo>
                  <a:pt x="46" y="9"/>
                  <a:pt x="38" y="6"/>
                  <a:pt x="30" y="6"/>
                </a:cubicBezTo>
                <a:cubicBezTo>
                  <a:pt x="13" y="6"/>
                  <a:pt x="0" y="19"/>
                  <a:pt x="0" y="35"/>
                </a:cubicBezTo>
                <a:cubicBezTo>
                  <a:pt x="0" y="51"/>
                  <a:pt x="13" y="64"/>
                  <a:pt x="30" y="64"/>
                </a:cubicBezTo>
                <a:cubicBezTo>
                  <a:pt x="46" y="64"/>
                  <a:pt x="59" y="51"/>
                  <a:pt x="59" y="35"/>
                </a:cubicBezTo>
                <a:cubicBezTo>
                  <a:pt x="59" y="34"/>
                  <a:pt x="58" y="32"/>
                  <a:pt x="56" y="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23" name="Freeform 1100">
            <a:extLst>
              <a:ext uri="{FF2B5EF4-FFF2-40B4-BE49-F238E27FC236}">
                <a16:creationId xmlns:a16="http://schemas.microsoft.com/office/drawing/2014/main" id="{F8007AEC-7AB2-BD45-B66A-1627CBD61EE6}"/>
              </a:ext>
            </a:extLst>
          </p:cNvPr>
          <p:cNvSpPr>
            <a:spLocks noEditPoints="1"/>
          </p:cNvSpPr>
          <p:nvPr/>
        </p:nvSpPr>
        <p:spPr bwMode="auto">
          <a:xfrm>
            <a:off x="5354520" y="2236788"/>
            <a:ext cx="546100" cy="522288"/>
          </a:xfrm>
          <a:custGeom>
            <a:avLst/>
            <a:gdLst>
              <a:gd name="T0" fmla="*/ 128 w 160"/>
              <a:gd name="T1" fmla="*/ 107 h 152"/>
              <a:gd name="T2" fmla="*/ 115 w 160"/>
              <a:gd name="T3" fmla="*/ 104 h 152"/>
              <a:gd name="T4" fmla="*/ 128 w 160"/>
              <a:gd name="T5" fmla="*/ 101 h 152"/>
              <a:gd name="T6" fmla="*/ 133 w 160"/>
              <a:gd name="T7" fmla="*/ 48 h 152"/>
              <a:gd name="T8" fmla="*/ 120 w 160"/>
              <a:gd name="T9" fmla="*/ 48 h 152"/>
              <a:gd name="T10" fmla="*/ 120 w 160"/>
              <a:gd name="T11" fmla="*/ 43 h 152"/>
              <a:gd name="T12" fmla="*/ 91 w 160"/>
              <a:gd name="T13" fmla="*/ 5 h 152"/>
              <a:gd name="T14" fmla="*/ 67 w 160"/>
              <a:gd name="T15" fmla="*/ 40 h 152"/>
              <a:gd name="T16" fmla="*/ 61 w 160"/>
              <a:gd name="T17" fmla="*/ 40 h 152"/>
              <a:gd name="T18" fmla="*/ 51 w 160"/>
              <a:gd name="T19" fmla="*/ 23 h 152"/>
              <a:gd name="T20" fmla="*/ 48 w 160"/>
              <a:gd name="T21" fmla="*/ 22 h 152"/>
              <a:gd name="T22" fmla="*/ 46 w 160"/>
              <a:gd name="T23" fmla="*/ 22 h 152"/>
              <a:gd name="T24" fmla="*/ 43 w 160"/>
              <a:gd name="T25" fmla="*/ 21 h 152"/>
              <a:gd name="T26" fmla="*/ 24 w 160"/>
              <a:gd name="T27" fmla="*/ 41 h 152"/>
              <a:gd name="T28" fmla="*/ 24 w 160"/>
              <a:gd name="T29" fmla="*/ 42 h 152"/>
              <a:gd name="T30" fmla="*/ 24 w 160"/>
              <a:gd name="T31" fmla="*/ 44 h 152"/>
              <a:gd name="T32" fmla="*/ 5 w 160"/>
              <a:gd name="T33" fmla="*/ 72 h 152"/>
              <a:gd name="T34" fmla="*/ 48 w 160"/>
              <a:gd name="T35" fmla="*/ 101 h 152"/>
              <a:gd name="T36" fmla="*/ 48 w 160"/>
              <a:gd name="T37" fmla="*/ 107 h 152"/>
              <a:gd name="T38" fmla="*/ 0 w 160"/>
              <a:gd name="T39" fmla="*/ 72 h 152"/>
              <a:gd name="T40" fmla="*/ 19 w 160"/>
              <a:gd name="T41" fmla="*/ 40 h 152"/>
              <a:gd name="T42" fmla="*/ 45 w 160"/>
              <a:gd name="T43" fmla="*/ 16 h 152"/>
              <a:gd name="T44" fmla="*/ 48 w 160"/>
              <a:gd name="T45" fmla="*/ 17 h 152"/>
              <a:gd name="T46" fmla="*/ 51 w 160"/>
              <a:gd name="T47" fmla="*/ 17 h 152"/>
              <a:gd name="T48" fmla="*/ 53 w 160"/>
              <a:gd name="T49" fmla="*/ 18 h 152"/>
              <a:gd name="T50" fmla="*/ 91 w 160"/>
              <a:gd name="T51" fmla="*/ 0 h 152"/>
              <a:gd name="T52" fmla="*/ 160 w 160"/>
              <a:gd name="T53" fmla="*/ 75 h 152"/>
              <a:gd name="T54" fmla="*/ 130 w 160"/>
              <a:gd name="T55" fmla="*/ 151 h 152"/>
              <a:gd name="T56" fmla="*/ 126 w 160"/>
              <a:gd name="T57" fmla="*/ 151 h 152"/>
              <a:gd name="T58" fmla="*/ 83 w 160"/>
              <a:gd name="T59" fmla="*/ 133 h 152"/>
              <a:gd name="T60" fmla="*/ 83 w 160"/>
              <a:gd name="T61" fmla="*/ 75 h 152"/>
              <a:gd name="T62" fmla="*/ 105 w 160"/>
              <a:gd name="T63" fmla="*/ 123 h 152"/>
              <a:gd name="T64" fmla="*/ 107 w 160"/>
              <a:gd name="T65" fmla="*/ 104 h 152"/>
              <a:gd name="T66" fmla="*/ 59 w 160"/>
              <a:gd name="T67" fmla="*/ 104 h 152"/>
              <a:gd name="T68" fmla="*/ 107 w 160"/>
              <a:gd name="T69" fmla="*/ 10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52">
                <a:moveTo>
                  <a:pt x="160" y="75"/>
                </a:moveTo>
                <a:cubicBezTo>
                  <a:pt x="160" y="92"/>
                  <a:pt x="146" y="107"/>
                  <a:pt x="128" y="107"/>
                </a:cubicBezTo>
                <a:cubicBezTo>
                  <a:pt x="117" y="107"/>
                  <a:pt x="117" y="107"/>
                  <a:pt x="117" y="107"/>
                </a:cubicBezTo>
                <a:cubicBezTo>
                  <a:pt x="116" y="107"/>
                  <a:pt x="115" y="105"/>
                  <a:pt x="115" y="104"/>
                </a:cubicBezTo>
                <a:cubicBezTo>
                  <a:pt x="115" y="103"/>
                  <a:pt x="116" y="101"/>
                  <a:pt x="117" y="101"/>
                </a:cubicBezTo>
                <a:cubicBezTo>
                  <a:pt x="128" y="101"/>
                  <a:pt x="128" y="101"/>
                  <a:pt x="128" y="101"/>
                </a:cubicBezTo>
                <a:cubicBezTo>
                  <a:pt x="143" y="101"/>
                  <a:pt x="155" y="89"/>
                  <a:pt x="155" y="75"/>
                </a:cubicBezTo>
                <a:cubicBezTo>
                  <a:pt x="155" y="62"/>
                  <a:pt x="145" y="50"/>
                  <a:pt x="133" y="48"/>
                </a:cubicBezTo>
                <a:cubicBezTo>
                  <a:pt x="133" y="48"/>
                  <a:pt x="126" y="47"/>
                  <a:pt x="120" y="48"/>
                </a:cubicBezTo>
                <a:cubicBezTo>
                  <a:pt x="120" y="48"/>
                  <a:pt x="120" y="48"/>
                  <a:pt x="120" y="48"/>
                </a:cubicBezTo>
                <a:cubicBezTo>
                  <a:pt x="119" y="48"/>
                  <a:pt x="118" y="47"/>
                  <a:pt x="117" y="46"/>
                </a:cubicBezTo>
                <a:cubicBezTo>
                  <a:pt x="117" y="44"/>
                  <a:pt x="118" y="43"/>
                  <a:pt x="120" y="43"/>
                </a:cubicBezTo>
                <a:cubicBezTo>
                  <a:pt x="124" y="42"/>
                  <a:pt x="128" y="42"/>
                  <a:pt x="130" y="42"/>
                </a:cubicBezTo>
                <a:cubicBezTo>
                  <a:pt x="129" y="22"/>
                  <a:pt x="112" y="5"/>
                  <a:pt x="91" y="5"/>
                </a:cubicBezTo>
                <a:cubicBezTo>
                  <a:pt x="78" y="5"/>
                  <a:pt x="66" y="12"/>
                  <a:pt x="58" y="22"/>
                </a:cubicBezTo>
                <a:cubicBezTo>
                  <a:pt x="63" y="26"/>
                  <a:pt x="67" y="33"/>
                  <a:pt x="67" y="40"/>
                </a:cubicBezTo>
                <a:cubicBezTo>
                  <a:pt x="67" y="41"/>
                  <a:pt x="65" y="43"/>
                  <a:pt x="64" y="43"/>
                </a:cubicBezTo>
                <a:cubicBezTo>
                  <a:pt x="63" y="43"/>
                  <a:pt x="61" y="41"/>
                  <a:pt x="61" y="40"/>
                </a:cubicBezTo>
                <a:cubicBezTo>
                  <a:pt x="61" y="33"/>
                  <a:pt x="58" y="28"/>
                  <a:pt x="53" y="24"/>
                </a:cubicBezTo>
                <a:cubicBezTo>
                  <a:pt x="52" y="24"/>
                  <a:pt x="52" y="24"/>
                  <a:pt x="51" y="23"/>
                </a:cubicBezTo>
                <a:cubicBezTo>
                  <a:pt x="51" y="23"/>
                  <a:pt x="51" y="23"/>
                  <a:pt x="50" y="23"/>
                </a:cubicBezTo>
                <a:cubicBezTo>
                  <a:pt x="50" y="23"/>
                  <a:pt x="49" y="22"/>
                  <a:pt x="48" y="22"/>
                </a:cubicBezTo>
                <a:cubicBezTo>
                  <a:pt x="48" y="22"/>
                  <a:pt x="48" y="22"/>
                  <a:pt x="48" y="22"/>
                </a:cubicBezTo>
                <a:cubicBezTo>
                  <a:pt x="47" y="22"/>
                  <a:pt x="46" y="22"/>
                  <a:pt x="46" y="22"/>
                </a:cubicBezTo>
                <a:cubicBezTo>
                  <a:pt x="46" y="22"/>
                  <a:pt x="45" y="22"/>
                  <a:pt x="45" y="22"/>
                </a:cubicBezTo>
                <a:cubicBezTo>
                  <a:pt x="44" y="21"/>
                  <a:pt x="43" y="21"/>
                  <a:pt x="43" y="21"/>
                </a:cubicBezTo>
                <a:cubicBezTo>
                  <a:pt x="32" y="21"/>
                  <a:pt x="24" y="30"/>
                  <a:pt x="24" y="40"/>
                </a:cubicBezTo>
                <a:cubicBezTo>
                  <a:pt x="24" y="40"/>
                  <a:pt x="24" y="40"/>
                  <a:pt x="24" y="41"/>
                </a:cubicBezTo>
                <a:cubicBezTo>
                  <a:pt x="24" y="41"/>
                  <a:pt x="24" y="41"/>
                  <a:pt x="24" y="41"/>
                </a:cubicBezTo>
                <a:cubicBezTo>
                  <a:pt x="24" y="42"/>
                  <a:pt x="24" y="42"/>
                  <a:pt x="24" y="42"/>
                </a:cubicBezTo>
                <a:cubicBezTo>
                  <a:pt x="24" y="42"/>
                  <a:pt x="24" y="42"/>
                  <a:pt x="24" y="43"/>
                </a:cubicBezTo>
                <a:cubicBezTo>
                  <a:pt x="24" y="44"/>
                  <a:pt x="24" y="44"/>
                  <a:pt x="24" y="44"/>
                </a:cubicBezTo>
                <a:cubicBezTo>
                  <a:pt x="22" y="45"/>
                  <a:pt x="22" y="45"/>
                  <a:pt x="22" y="45"/>
                </a:cubicBezTo>
                <a:cubicBezTo>
                  <a:pt x="13" y="50"/>
                  <a:pt x="5" y="61"/>
                  <a:pt x="5" y="72"/>
                </a:cubicBezTo>
                <a:cubicBezTo>
                  <a:pt x="5" y="88"/>
                  <a:pt x="18" y="101"/>
                  <a:pt x="34" y="101"/>
                </a:cubicBezTo>
                <a:cubicBezTo>
                  <a:pt x="48" y="101"/>
                  <a:pt x="48" y="101"/>
                  <a:pt x="48" y="101"/>
                </a:cubicBezTo>
                <a:cubicBezTo>
                  <a:pt x="49" y="101"/>
                  <a:pt x="51" y="103"/>
                  <a:pt x="51" y="104"/>
                </a:cubicBezTo>
                <a:cubicBezTo>
                  <a:pt x="51" y="105"/>
                  <a:pt x="49" y="107"/>
                  <a:pt x="48" y="107"/>
                </a:cubicBezTo>
                <a:cubicBezTo>
                  <a:pt x="34" y="107"/>
                  <a:pt x="34" y="107"/>
                  <a:pt x="34" y="107"/>
                </a:cubicBezTo>
                <a:cubicBezTo>
                  <a:pt x="15" y="107"/>
                  <a:pt x="0" y="91"/>
                  <a:pt x="0" y="72"/>
                </a:cubicBezTo>
                <a:cubicBezTo>
                  <a:pt x="0" y="60"/>
                  <a:pt x="8" y="47"/>
                  <a:pt x="19" y="41"/>
                </a:cubicBezTo>
                <a:cubicBezTo>
                  <a:pt x="19" y="41"/>
                  <a:pt x="19" y="40"/>
                  <a:pt x="19" y="40"/>
                </a:cubicBezTo>
                <a:cubicBezTo>
                  <a:pt x="19" y="27"/>
                  <a:pt x="29" y="16"/>
                  <a:pt x="43" y="16"/>
                </a:cubicBezTo>
                <a:cubicBezTo>
                  <a:pt x="44" y="16"/>
                  <a:pt x="44" y="16"/>
                  <a:pt x="45" y="16"/>
                </a:cubicBezTo>
                <a:cubicBezTo>
                  <a:pt x="46" y="16"/>
                  <a:pt x="46" y="16"/>
                  <a:pt x="46" y="16"/>
                </a:cubicBezTo>
                <a:cubicBezTo>
                  <a:pt x="47" y="16"/>
                  <a:pt x="47" y="16"/>
                  <a:pt x="48" y="17"/>
                </a:cubicBezTo>
                <a:cubicBezTo>
                  <a:pt x="48" y="17"/>
                  <a:pt x="49" y="17"/>
                  <a:pt x="49" y="17"/>
                </a:cubicBezTo>
                <a:cubicBezTo>
                  <a:pt x="49" y="17"/>
                  <a:pt x="50" y="17"/>
                  <a:pt x="51" y="17"/>
                </a:cubicBezTo>
                <a:cubicBezTo>
                  <a:pt x="51" y="17"/>
                  <a:pt x="51" y="18"/>
                  <a:pt x="51" y="18"/>
                </a:cubicBezTo>
                <a:cubicBezTo>
                  <a:pt x="52" y="18"/>
                  <a:pt x="53" y="18"/>
                  <a:pt x="53" y="18"/>
                </a:cubicBezTo>
                <a:cubicBezTo>
                  <a:pt x="53" y="19"/>
                  <a:pt x="54" y="19"/>
                  <a:pt x="54" y="19"/>
                </a:cubicBezTo>
                <a:cubicBezTo>
                  <a:pt x="62" y="7"/>
                  <a:pt x="76" y="0"/>
                  <a:pt x="91" y="0"/>
                </a:cubicBezTo>
                <a:cubicBezTo>
                  <a:pt x="115" y="0"/>
                  <a:pt x="135" y="19"/>
                  <a:pt x="136" y="43"/>
                </a:cubicBezTo>
                <a:cubicBezTo>
                  <a:pt x="150" y="47"/>
                  <a:pt x="160" y="60"/>
                  <a:pt x="160" y="75"/>
                </a:cubicBezTo>
                <a:close/>
                <a:moveTo>
                  <a:pt x="130" y="147"/>
                </a:moveTo>
                <a:cubicBezTo>
                  <a:pt x="131" y="148"/>
                  <a:pt x="131" y="150"/>
                  <a:pt x="130" y="151"/>
                </a:cubicBezTo>
                <a:cubicBezTo>
                  <a:pt x="129" y="152"/>
                  <a:pt x="129" y="152"/>
                  <a:pt x="128" y="152"/>
                </a:cubicBezTo>
                <a:cubicBezTo>
                  <a:pt x="127" y="152"/>
                  <a:pt x="127" y="152"/>
                  <a:pt x="126" y="151"/>
                </a:cubicBezTo>
                <a:cubicBezTo>
                  <a:pt x="101" y="127"/>
                  <a:pt x="101" y="127"/>
                  <a:pt x="101" y="127"/>
                </a:cubicBezTo>
                <a:cubicBezTo>
                  <a:pt x="96" y="131"/>
                  <a:pt x="90" y="133"/>
                  <a:pt x="83" y="133"/>
                </a:cubicBezTo>
                <a:cubicBezTo>
                  <a:pt x="66" y="133"/>
                  <a:pt x="53" y="120"/>
                  <a:pt x="53" y="104"/>
                </a:cubicBezTo>
                <a:cubicBezTo>
                  <a:pt x="53" y="88"/>
                  <a:pt x="66" y="75"/>
                  <a:pt x="83" y="75"/>
                </a:cubicBezTo>
                <a:cubicBezTo>
                  <a:pt x="99" y="75"/>
                  <a:pt x="112" y="88"/>
                  <a:pt x="112" y="104"/>
                </a:cubicBezTo>
                <a:cubicBezTo>
                  <a:pt x="112" y="111"/>
                  <a:pt x="109" y="118"/>
                  <a:pt x="105" y="123"/>
                </a:cubicBezTo>
                <a:lnTo>
                  <a:pt x="130" y="147"/>
                </a:lnTo>
                <a:close/>
                <a:moveTo>
                  <a:pt x="107" y="104"/>
                </a:moveTo>
                <a:cubicBezTo>
                  <a:pt x="107" y="91"/>
                  <a:pt x="96" y="80"/>
                  <a:pt x="83" y="80"/>
                </a:cubicBezTo>
                <a:cubicBezTo>
                  <a:pt x="69" y="80"/>
                  <a:pt x="59" y="91"/>
                  <a:pt x="59" y="104"/>
                </a:cubicBezTo>
                <a:cubicBezTo>
                  <a:pt x="59" y="117"/>
                  <a:pt x="69" y="128"/>
                  <a:pt x="83" y="128"/>
                </a:cubicBezTo>
                <a:cubicBezTo>
                  <a:pt x="96" y="128"/>
                  <a:pt x="107" y="117"/>
                  <a:pt x="107" y="10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Freeform 1101">
            <a:extLst>
              <a:ext uri="{FF2B5EF4-FFF2-40B4-BE49-F238E27FC236}">
                <a16:creationId xmlns:a16="http://schemas.microsoft.com/office/drawing/2014/main" id="{DDC71944-5B37-5C48-8E6E-311C2BEBBAC9}"/>
              </a:ext>
            </a:extLst>
          </p:cNvPr>
          <p:cNvSpPr>
            <a:spLocks noEditPoints="1"/>
          </p:cNvSpPr>
          <p:nvPr/>
        </p:nvSpPr>
        <p:spPr bwMode="auto">
          <a:xfrm>
            <a:off x="5354520" y="2882900"/>
            <a:ext cx="546100" cy="450850"/>
          </a:xfrm>
          <a:custGeom>
            <a:avLst/>
            <a:gdLst>
              <a:gd name="T0" fmla="*/ 91 w 160"/>
              <a:gd name="T1" fmla="*/ 0 h 131"/>
              <a:gd name="T2" fmla="*/ 53 w 160"/>
              <a:gd name="T3" fmla="*/ 18 h 131"/>
              <a:gd name="T4" fmla="*/ 51 w 160"/>
              <a:gd name="T5" fmla="*/ 17 h 131"/>
              <a:gd name="T6" fmla="*/ 48 w 160"/>
              <a:gd name="T7" fmla="*/ 17 h 131"/>
              <a:gd name="T8" fmla="*/ 45 w 160"/>
              <a:gd name="T9" fmla="*/ 16 h 131"/>
              <a:gd name="T10" fmla="*/ 19 w 160"/>
              <a:gd name="T11" fmla="*/ 40 h 131"/>
              <a:gd name="T12" fmla="*/ 0 w 160"/>
              <a:gd name="T13" fmla="*/ 72 h 131"/>
              <a:gd name="T14" fmla="*/ 51 w 160"/>
              <a:gd name="T15" fmla="*/ 107 h 131"/>
              <a:gd name="T16" fmla="*/ 123 w 160"/>
              <a:gd name="T17" fmla="*/ 131 h 131"/>
              <a:gd name="T18" fmla="*/ 128 w 160"/>
              <a:gd name="T19" fmla="*/ 107 h 131"/>
              <a:gd name="T20" fmla="*/ 136 w 160"/>
              <a:gd name="T21" fmla="*/ 43 h 131"/>
              <a:gd name="T22" fmla="*/ 46 w 160"/>
              <a:gd name="T23" fmla="*/ 125 h 131"/>
              <a:gd name="T24" fmla="*/ 57 w 160"/>
              <a:gd name="T25" fmla="*/ 107 h 131"/>
              <a:gd name="T26" fmla="*/ 103 w 160"/>
              <a:gd name="T27" fmla="*/ 107 h 131"/>
              <a:gd name="T28" fmla="*/ 114 w 160"/>
              <a:gd name="T29" fmla="*/ 125 h 131"/>
              <a:gd name="T30" fmla="*/ 106 w 160"/>
              <a:gd name="T31" fmla="*/ 101 h 131"/>
              <a:gd name="T32" fmla="*/ 54 w 160"/>
              <a:gd name="T33" fmla="*/ 101 h 131"/>
              <a:gd name="T34" fmla="*/ 5 w 160"/>
              <a:gd name="T35" fmla="*/ 72 h 131"/>
              <a:gd name="T36" fmla="*/ 24 w 160"/>
              <a:gd name="T37" fmla="*/ 44 h 131"/>
              <a:gd name="T38" fmla="*/ 24 w 160"/>
              <a:gd name="T39" fmla="*/ 42 h 131"/>
              <a:gd name="T40" fmla="*/ 24 w 160"/>
              <a:gd name="T41" fmla="*/ 41 h 131"/>
              <a:gd name="T42" fmla="*/ 43 w 160"/>
              <a:gd name="T43" fmla="*/ 21 h 131"/>
              <a:gd name="T44" fmla="*/ 46 w 160"/>
              <a:gd name="T45" fmla="*/ 22 h 131"/>
              <a:gd name="T46" fmla="*/ 48 w 160"/>
              <a:gd name="T47" fmla="*/ 22 h 131"/>
              <a:gd name="T48" fmla="*/ 51 w 160"/>
              <a:gd name="T49" fmla="*/ 23 h 131"/>
              <a:gd name="T50" fmla="*/ 61 w 160"/>
              <a:gd name="T51" fmla="*/ 40 h 131"/>
              <a:gd name="T52" fmla="*/ 67 w 160"/>
              <a:gd name="T53" fmla="*/ 40 h 131"/>
              <a:gd name="T54" fmla="*/ 91 w 160"/>
              <a:gd name="T55" fmla="*/ 5 h 131"/>
              <a:gd name="T56" fmla="*/ 120 w 160"/>
              <a:gd name="T57" fmla="*/ 43 h 131"/>
              <a:gd name="T58" fmla="*/ 120 w 160"/>
              <a:gd name="T59" fmla="*/ 48 h 131"/>
              <a:gd name="T60" fmla="*/ 133 w 160"/>
              <a:gd name="T61" fmla="*/ 48 h 131"/>
              <a:gd name="T62" fmla="*/ 128 w 160"/>
              <a:gd name="T63" fmla="*/ 101 h 131"/>
              <a:gd name="T64" fmla="*/ 83 w 160"/>
              <a:gd name="T65" fmla="*/ 104 h 131"/>
              <a:gd name="T66" fmla="*/ 77 w 160"/>
              <a:gd name="T67" fmla="*/ 104 h 131"/>
              <a:gd name="T68" fmla="*/ 80 w 160"/>
              <a:gd name="T69" fmla="*/ 80 h 131"/>
              <a:gd name="T70" fmla="*/ 83 w 160"/>
              <a:gd name="T71" fmla="*/ 115 h 131"/>
              <a:gd name="T72" fmla="*/ 80 w 160"/>
              <a:gd name="T73" fmla="*/ 120 h 131"/>
              <a:gd name="T74" fmla="*/ 77 w 160"/>
              <a:gd name="T75" fmla="*/ 115 h 131"/>
              <a:gd name="T76" fmla="*/ 83 w 160"/>
              <a:gd name="T77" fmla="*/ 11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31">
                <a:moveTo>
                  <a:pt x="136" y="43"/>
                </a:moveTo>
                <a:cubicBezTo>
                  <a:pt x="135" y="19"/>
                  <a:pt x="115" y="0"/>
                  <a:pt x="91" y="0"/>
                </a:cubicBezTo>
                <a:cubicBezTo>
                  <a:pt x="76" y="0"/>
                  <a:pt x="62" y="7"/>
                  <a:pt x="54" y="19"/>
                </a:cubicBezTo>
                <a:cubicBezTo>
                  <a:pt x="54" y="19"/>
                  <a:pt x="53" y="19"/>
                  <a:pt x="53" y="18"/>
                </a:cubicBezTo>
                <a:cubicBezTo>
                  <a:pt x="53" y="18"/>
                  <a:pt x="52" y="18"/>
                  <a:pt x="51" y="18"/>
                </a:cubicBezTo>
                <a:cubicBezTo>
                  <a:pt x="51" y="18"/>
                  <a:pt x="51" y="17"/>
                  <a:pt x="51" y="17"/>
                </a:cubicBezTo>
                <a:cubicBezTo>
                  <a:pt x="50" y="17"/>
                  <a:pt x="49" y="17"/>
                  <a:pt x="49" y="17"/>
                </a:cubicBezTo>
                <a:cubicBezTo>
                  <a:pt x="49" y="17"/>
                  <a:pt x="48" y="17"/>
                  <a:pt x="48" y="17"/>
                </a:cubicBezTo>
                <a:cubicBezTo>
                  <a:pt x="47" y="16"/>
                  <a:pt x="47" y="16"/>
                  <a:pt x="46" y="16"/>
                </a:cubicBezTo>
                <a:cubicBezTo>
                  <a:pt x="46" y="16"/>
                  <a:pt x="46" y="16"/>
                  <a:pt x="45" y="16"/>
                </a:cubicBezTo>
                <a:cubicBezTo>
                  <a:pt x="44" y="16"/>
                  <a:pt x="44" y="16"/>
                  <a:pt x="43" y="16"/>
                </a:cubicBezTo>
                <a:cubicBezTo>
                  <a:pt x="29" y="16"/>
                  <a:pt x="19" y="27"/>
                  <a:pt x="19" y="40"/>
                </a:cubicBezTo>
                <a:cubicBezTo>
                  <a:pt x="19" y="40"/>
                  <a:pt x="19" y="41"/>
                  <a:pt x="19" y="41"/>
                </a:cubicBezTo>
                <a:cubicBezTo>
                  <a:pt x="8" y="47"/>
                  <a:pt x="0" y="60"/>
                  <a:pt x="0" y="72"/>
                </a:cubicBezTo>
                <a:cubicBezTo>
                  <a:pt x="0" y="91"/>
                  <a:pt x="15" y="107"/>
                  <a:pt x="34" y="107"/>
                </a:cubicBezTo>
                <a:cubicBezTo>
                  <a:pt x="51" y="107"/>
                  <a:pt x="51" y="107"/>
                  <a:pt x="51" y="107"/>
                </a:cubicBezTo>
                <a:cubicBezTo>
                  <a:pt x="37" y="131"/>
                  <a:pt x="37" y="131"/>
                  <a:pt x="37" y="131"/>
                </a:cubicBezTo>
                <a:cubicBezTo>
                  <a:pt x="123" y="131"/>
                  <a:pt x="123" y="131"/>
                  <a:pt x="123" y="131"/>
                </a:cubicBezTo>
                <a:cubicBezTo>
                  <a:pt x="109" y="107"/>
                  <a:pt x="109" y="107"/>
                  <a:pt x="109" y="107"/>
                </a:cubicBezTo>
                <a:cubicBezTo>
                  <a:pt x="128" y="107"/>
                  <a:pt x="128" y="107"/>
                  <a:pt x="128" y="107"/>
                </a:cubicBezTo>
                <a:cubicBezTo>
                  <a:pt x="146" y="107"/>
                  <a:pt x="160" y="92"/>
                  <a:pt x="160" y="75"/>
                </a:cubicBezTo>
                <a:cubicBezTo>
                  <a:pt x="160" y="60"/>
                  <a:pt x="150" y="47"/>
                  <a:pt x="136" y="43"/>
                </a:cubicBezTo>
                <a:close/>
                <a:moveTo>
                  <a:pt x="114" y="125"/>
                </a:moveTo>
                <a:cubicBezTo>
                  <a:pt x="46" y="125"/>
                  <a:pt x="46" y="125"/>
                  <a:pt x="46" y="125"/>
                </a:cubicBezTo>
                <a:cubicBezTo>
                  <a:pt x="57" y="107"/>
                  <a:pt x="57" y="107"/>
                  <a:pt x="57" y="107"/>
                </a:cubicBezTo>
                <a:cubicBezTo>
                  <a:pt x="57" y="107"/>
                  <a:pt x="57" y="107"/>
                  <a:pt x="57" y="107"/>
                </a:cubicBezTo>
                <a:cubicBezTo>
                  <a:pt x="80" y="68"/>
                  <a:pt x="80" y="68"/>
                  <a:pt x="80" y="68"/>
                </a:cubicBezTo>
                <a:cubicBezTo>
                  <a:pt x="103" y="107"/>
                  <a:pt x="103" y="107"/>
                  <a:pt x="103" y="107"/>
                </a:cubicBezTo>
                <a:cubicBezTo>
                  <a:pt x="103" y="107"/>
                  <a:pt x="103" y="107"/>
                  <a:pt x="103" y="107"/>
                </a:cubicBezTo>
                <a:lnTo>
                  <a:pt x="114" y="125"/>
                </a:lnTo>
                <a:close/>
                <a:moveTo>
                  <a:pt x="128" y="101"/>
                </a:moveTo>
                <a:cubicBezTo>
                  <a:pt x="106" y="101"/>
                  <a:pt x="106" y="101"/>
                  <a:pt x="106" y="101"/>
                </a:cubicBezTo>
                <a:cubicBezTo>
                  <a:pt x="80" y="57"/>
                  <a:pt x="80" y="57"/>
                  <a:pt x="80" y="57"/>
                </a:cubicBezTo>
                <a:cubicBezTo>
                  <a:pt x="54" y="101"/>
                  <a:pt x="54" y="101"/>
                  <a:pt x="54" y="101"/>
                </a:cubicBezTo>
                <a:cubicBezTo>
                  <a:pt x="34" y="101"/>
                  <a:pt x="34" y="101"/>
                  <a:pt x="34" y="101"/>
                </a:cubicBezTo>
                <a:cubicBezTo>
                  <a:pt x="18" y="101"/>
                  <a:pt x="5" y="88"/>
                  <a:pt x="5" y="72"/>
                </a:cubicBezTo>
                <a:cubicBezTo>
                  <a:pt x="5" y="61"/>
                  <a:pt x="13" y="50"/>
                  <a:pt x="22" y="45"/>
                </a:cubicBezTo>
                <a:cubicBezTo>
                  <a:pt x="24" y="44"/>
                  <a:pt x="24" y="44"/>
                  <a:pt x="24" y="44"/>
                </a:cubicBezTo>
                <a:cubicBezTo>
                  <a:pt x="24" y="43"/>
                  <a:pt x="24" y="43"/>
                  <a:pt x="24" y="43"/>
                </a:cubicBezTo>
                <a:cubicBezTo>
                  <a:pt x="24" y="42"/>
                  <a:pt x="24" y="42"/>
                  <a:pt x="24" y="42"/>
                </a:cubicBezTo>
                <a:cubicBezTo>
                  <a:pt x="24" y="41"/>
                  <a:pt x="24" y="41"/>
                  <a:pt x="24" y="41"/>
                </a:cubicBezTo>
                <a:cubicBezTo>
                  <a:pt x="24" y="41"/>
                  <a:pt x="24" y="41"/>
                  <a:pt x="24" y="41"/>
                </a:cubicBezTo>
                <a:cubicBezTo>
                  <a:pt x="24" y="40"/>
                  <a:pt x="24" y="40"/>
                  <a:pt x="24" y="40"/>
                </a:cubicBezTo>
                <a:cubicBezTo>
                  <a:pt x="24" y="30"/>
                  <a:pt x="32" y="21"/>
                  <a:pt x="43" y="21"/>
                </a:cubicBezTo>
                <a:cubicBezTo>
                  <a:pt x="43" y="21"/>
                  <a:pt x="44" y="21"/>
                  <a:pt x="45" y="22"/>
                </a:cubicBezTo>
                <a:cubicBezTo>
                  <a:pt x="45" y="22"/>
                  <a:pt x="46" y="22"/>
                  <a:pt x="46" y="22"/>
                </a:cubicBezTo>
                <a:cubicBezTo>
                  <a:pt x="46" y="22"/>
                  <a:pt x="47" y="22"/>
                  <a:pt x="48" y="22"/>
                </a:cubicBezTo>
                <a:cubicBezTo>
                  <a:pt x="48" y="22"/>
                  <a:pt x="48" y="22"/>
                  <a:pt x="48" y="22"/>
                </a:cubicBezTo>
                <a:cubicBezTo>
                  <a:pt x="49" y="22"/>
                  <a:pt x="50" y="23"/>
                  <a:pt x="50" y="23"/>
                </a:cubicBezTo>
                <a:cubicBezTo>
                  <a:pt x="51" y="23"/>
                  <a:pt x="51" y="23"/>
                  <a:pt x="51" y="23"/>
                </a:cubicBezTo>
                <a:cubicBezTo>
                  <a:pt x="52" y="24"/>
                  <a:pt x="52" y="24"/>
                  <a:pt x="53" y="24"/>
                </a:cubicBezTo>
                <a:cubicBezTo>
                  <a:pt x="58" y="28"/>
                  <a:pt x="61" y="33"/>
                  <a:pt x="61" y="40"/>
                </a:cubicBezTo>
                <a:cubicBezTo>
                  <a:pt x="61" y="41"/>
                  <a:pt x="63" y="43"/>
                  <a:pt x="64" y="43"/>
                </a:cubicBezTo>
                <a:cubicBezTo>
                  <a:pt x="65" y="43"/>
                  <a:pt x="67" y="41"/>
                  <a:pt x="67" y="40"/>
                </a:cubicBezTo>
                <a:cubicBezTo>
                  <a:pt x="67" y="33"/>
                  <a:pt x="63" y="26"/>
                  <a:pt x="58" y="22"/>
                </a:cubicBezTo>
                <a:cubicBezTo>
                  <a:pt x="66" y="12"/>
                  <a:pt x="78" y="5"/>
                  <a:pt x="91" y="5"/>
                </a:cubicBezTo>
                <a:cubicBezTo>
                  <a:pt x="112" y="5"/>
                  <a:pt x="129" y="22"/>
                  <a:pt x="130" y="42"/>
                </a:cubicBezTo>
                <a:cubicBezTo>
                  <a:pt x="128" y="42"/>
                  <a:pt x="124" y="42"/>
                  <a:pt x="120" y="43"/>
                </a:cubicBezTo>
                <a:cubicBezTo>
                  <a:pt x="118" y="43"/>
                  <a:pt x="117" y="44"/>
                  <a:pt x="117" y="46"/>
                </a:cubicBezTo>
                <a:cubicBezTo>
                  <a:pt x="118" y="47"/>
                  <a:pt x="119" y="48"/>
                  <a:pt x="120" y="48"/>
                </a:cubicBezTo>
                <a:cubicBezTo>
                  <a:pt x="120" y="48"/>
                  <a:pt x="120" y="48"/>
                  <a:pt x="120" y="48"/>
                </a:cubicBezTo>
                <a:cubicBezTo>
                  <a:pt x="126" y="47"/>
                  <a:pt x="133" y="48"/>
                  <a:pt x="133" y="48"/>
                </a:cubicBezTo>
                <a:cubicBezTo>
                  <a:pt x="145" y="50"/>
                  <a:pt x="155" y="62"/>
                  <a:pt x="155" y="75"/>
                </a:cubicBezTo>
                <a:cubicBezTo>
                  <a:pt x="155" y="89"/>
                  <a:pt x="143" y="101"/>
                  <a:pt x="128" y="101"/>
                </a:cubicBezTo>
                <a:close/>
                <a:moveTo>
                  <a:pt x="83" y="83"/>
                </a:moveTo>
                <a:cubicBezTo>
                  <a:pt x="83" y="104"/>
                  <a:pt x="83" y="104"/>
                  <a:pt x="83" y="104"/>
                </a:cubicBezTo>
                <a:cubicBezTo>
                  <a:pt x="83" y="105"/>
                  <a:pt x="81" y="107"/>
                  <a:pt x="80" y="107"/>
                </a:cubicBezTo>
                <a:cubicBezTo>
                  <a:pt x="79" y="107"/>
                  <a:pt x="77" y="105"/>
                  <a:pt x="77" y="104"/>
                </a:cubicBezTo>
                <a:cubicBezTo>
                  <a:pt x="77" y="83"/>
                  <a:pt x="77" y="83"/>
                  <a:pt x="77" y="83"/>
                </a:cubicBezTo>
                <a:cubicBezTo>
                  <a:pt x="77" y="81"/>
                  <a:pt x="79" y="80"/>
                  <a:pt x="80" y="80"/>
                </a:cubicBezTo>
                <a:cubicBezTo>
                  <a:pt x="81" y="80"/>
                  <a:pt x="83" y="81"/>
                  <a:pt x="83" y="83"/>
                </a:cubicBezTo>
                <a:close/>
                <a:moveTo>
                  <a:pt x="83" y="115"/>
                </a:moveTo>
                <a:cubicBezTo>
                  <a:pt x="83" y="117"/>
                  <a:pt x="83" y="117"/>
                  <a:pt x="83" y="117"/>
                </a:cubicBezTo>
                <a:cubicBezTo>
                  <a:pt x="83" y="119"/>
                  <a:pt x="81" y="120"/>
                  <a:pt x="80" y="120"/>
                </a:cubicBezTo>
                <a:cubicBezTo>
                  <a:pt x="79" y="120"/>
                  <a:pt x="77" y="119"/>
                  <a:pt x="77" y="117"/>
                </a:cubicBezTo>
                <a:cubicBezTo>
                  <a:pt x="77" y="115"/>
                  <a:pt x="77" y="115"/>
                  <a:pt x="77" y="115"/>
                </a:cubicBezTo>
                <a:cubicBezTo>
                  <a:pt x="77" y="113"/>
                  <a:pt x="79" y="112"/>
                  <a:pt x="80" y="112"/>
                </a:cubicBezTo>
                <a:cubicBezTo>
                  <a:pt x="81" y="112"/>
                  <a:pt x="83" y="113"/>
                  <a:pt x="83" y="11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1102">
            <a:extLst>
              <a:ext uri="{FF2B5EF4-FFF2-40B4-BE49-F238E27FC236}">
                <a16:creationId xmlns:a16="http://schemas.microsoft.com/office/drawing/2014/main" id="{C74B00C4-C0CF-F148-9755-827F044B4260}"/>
              </a:ext>
            </a:extLst>
          </p:cNvPr>
          <p:cNvSpPr>
            <a:spLocks noEditPoints="1"/>
          </p:cNvSpPr>
          <p:nvPr/>
        </p:nvSpPr>
        <p:spPr bwMode="auto">
          <a:xfrm>
            <a:off x="5354520" y="3503613"/>
            <a:ext cx="546100" cy="466725"/>
          </a:xfrm>
          <a:custGeom>
            <a:avLst/>
            <a:gdLst>
              <a:gd name="T0" fmla="*/ 128 w 160"/>
              <a:gd name="T1" fmla="*/ 107 h 136"/>
              <a:gd name="T2" fmla="*/ 115 w 160"/>
              <a:gd name="T3" fmla="*/ 104 h 136"/>
              <a:gd name="T4" fmla="*/ 128 w 160"/>
              <a:gd name="T5" fmla="*/ 101 h 136"/>
              <a:gd name="T6" fmla="*/ 133 w 160"/>
              <a:gd name="T7" fmla="*/ 48 h 136"/>
              <a:gd name="T8" fmla="*/ 120 w 160"/>
              <a:gd name="T9" fmla="*/ 48 h 136"/>
              <a:gd name="T10" fmla="*/ 120 w 160"/>
              <a:gd name="T11" fmla="*/ 43 h 136"/>
              <a:gd name="T12" fmla="*/ 91 w 160"/>
              <a:gd name="T13" fmla="*/ 5 h 136"/>
              <a:gd name="T14" fmla="*/ 67 w 160"/>
              <a:gd name="T15" fmla="*/ 40 h 136"/>
              <a:gd name="T16" fmla="*/ 61 w 160"/>
              <a:gd name="T17" fmla="*/ 40 h 136"/>
              <a:gd name="T18" fmla="*/ 51 w 160"/>
              <a:gd name="T19" fmla="*/ 23 h 136"/>
              <a:gd name="T20" fmla="*/ 48 w 160"/>
              <a:gd name="T21" fmla="*/ 22 h 136"/>
              <a:gd name="T22" fmla="*/ 46 w 160"/>
              <a:gd name="T23" fmla="*/ 22 h 136"/>
              <a:gd name="T24" fmla="*/ 43 w 160"/>
              <a:gd name="T25" fmla="*/ 21 h 136"/>
              <a:gd name="T26" fmla="*/ 24 w 160"/>
              <a:gd name="T27" fmla="*/ 41 h 136"/>
              <a:gd name="T28" fmla="*/ 24 w 160"/>
              <a:gd name="T29" fmla="*/ 42 h 136"/>
              <a:gd name="T30" fmla="*/ 24 w 160"/>
              <a:gd name="T31" fmla="*/ 44 h 136"/>
              <a:gd name="T32" fmla="*/ 5 w 160"/>
              <a:gd name="T33" fmla="*/ 72 h 136"/>
              <a:gd name="T34" fmla="*/ 48 w 160"/>
              <a:gd name="T35" fmla="*/ 101 h 136"/>
              <a:gd name="T36" fmla="*/ 48 w 160"/>
              <a:gd name="T37" fmla="*/ 107 h 136"/>
              <a:gd name="T38" fmla="*/ 0 w 160"/>
              <a:gd name="T39" fmla="*/ 72 h 136"/>
              <a:gd name="T40" fmla="*/ 19 w 160"/>
              <a:gd name="T41" fmla="*/ 40 h 136"/>
              <a:gd name="T42" fmla="*/ 45 w 160"/>
              <a:gd name="T43" fmla="*/ 16 h 136"/>
              <a:gd name="T44" fmla="*/ 48 w 160"/>
              <a:gd name="T45" fmla="*/ 17 h 136"/>
              <a:gd name="T46" fmla="*/ 51 w 160"/>
              <a:gd name="T47" fmla="*/ 17 h 136"/>
              <a:gd name="T48" fmla="*/ 53 w 160"/>
              <a:gd name="T49" fmla="*/ 18 h 136"/>
              <a:gd name="T50" fmla="*/ 91 w 160"/>
              <a:gd name="T51" fmla="*/ 0 h 136"/>
              <a:gd name="T52" fmla="*/ 160 w 160"/>
              <a:gd name="T53" fmla="*/ 75 h 136"/>
              <a:gd name="T54" fmla="*/ 85 w 160"/>
              <a:gd name="T55" fmla="*/ 127 h 136"/>
              <a:gd name="T56" fmla="*/ 83 w 160"/>
              <a:gd name="T57" fmla="*/ 69 h 136"/>
              <a:gd name="T58" fmla="*/ 80 w 160"/>
              <a:gd name="T59" fmla="*/ 127 h 136"/>
              <a:gd name="T60" fmla="*/ 59 w 160"/>
              <a:gd name="T61" fmla="*/ 110 h 136"/>
              <a:gd name="T62" fmla="*/ 81 w 160"/>
              <a:gd name="T63" fmla="*/ 135 h 136"/>
              <a:gd name="T64" fmla="*/ 83 w 160"/>
              <a:gd name="T65" fmla="*/ 136 h 136"/>
              <a:gd name="T66" fmla="*/ 85 w 160"/>
              <a:gd name="T67" fmla="*/ 135 h 136"/>
              <a:gd name="T68" fmla="*/ 106 w 160"/>
              <a:gd name="T69"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36">
                <a:moveTo>
                  <a:pt x="160" y="75"/>
                </a:moveTo>
                <a:cubicBezTo>
                  <a:pt x="160" y="92"/>
                  <a:pt x="146" y="107"/>
                  <a:pt x="128" y="107"/>
                </a:cubicBezTo>
                <a:cubicBezTo>
                  <a:pt x="117" y="107"/>
                  <a:pt x="117" y="107"/>
                  <a:pt x="117" y="107"/>
                </a:cubicBezTo>
                <a:cubicBezTo>
                  <a:pt x="116" y="107"/>
                  <a:pt x="115" y="105"/>
                  <a:pt x="115" y="104"/>
                </a:cubicBezTo>
                <a:cubicBezTo>
                  <a:pt x="115" y="103"/>
                  <a:pt x="116" y="101"/>
                  <a:pt x="117" y="101"/>
                </a:cubicBezTo>
                <a:cubicBezTo>
                  <a:pt x="128" y="101"/>
                  <a:pt x="128" y="101"/>
                  <a:pt x="128" y="101"/>
                </a:cubicBezTo>
                <a:cubicBezTo>
                  <a:pt x="143" y="101"/>
                  <a:pt x="155" y="89"/>
                  <a:pt x="155" y="75"/>
                </a:cubicBezTo>
                <a:cubicBezTo>
                  <a:pt x="155" y="62"/>
                  <a:pt x="145" y="50"/>
                  <a:pt x="133" y="48"/>
                </a:cubicBezTo>
                <a:cubicBezTo>
                  <a:pt x="133" y="48"/>
                  <a:pt x="126" y="47"/>
                  <a:pt x="120" y="48"/>
                </a:cubicBezTo>
                <a:cubicBezTo>
                  <a:pt x="120" y="48"/>
                  <a:pt x="120" y="48"/>
                  <a:pt x="120" y="48"/>
                </a:cubicBezTo>
                <a:cubicBezTo>
                  <a:pt x="119" y="48"/>
                  <a:pt x="118" y="47"/>
                  <a:pt x="117" y="46"/>
                </a:cubicBezTo>
                <a:cubicBezTo>
                  <a:pt x="117" y="44"/>
                  <a:pt x="118" y="43"/>
                  <a:pt x="120" y="43"/>
                </a:cubicBezTo>
                <a:cubicBezTo>
                  <a:pt x="124" y="42"/>
                  <a:pt x="128" y="42"/>
                  <a:pt x="130" y="42"/>
                </a:cubicBezTo>
                <a:cubicBezTo>
                  <a:pt x="129" y="22"/>
                  <a:pt x="112" y="5"/>
                  <a:pt x="91" y="5"/>
                </a:cubicBezTo>
                <a:cubicBezTo>
                  <a:pt x="78" y="5"/>
                  <a:pt x="66" y="12"/>
                  <a:pt x="58" y="22"/>
                </a:cubicBezTo>
                <a:cubicBezTo>
                  <a:pt x="63" y="26"/>
                  <a:pt x="67" y="33"/>
                  <a:pt x="67" y="40"/>
                </a:cubicBezTo>
                <a:cubicBezTo>
                  <a:pt x="67" y="41"/>
                  <a:pt x="65" y="43"/>
                  <a:pt x="64" y="43"/>
                </a:cubicBezTo>
                <a:cubicBezTo>
                  <a:pt x="63" y="43"/>
                  <a:pt x="61" y="41"/>
                  <a:pt x="61" y="40"/>
                </a:cubicBezTo>
                <a:cubicBezTo>
                  <a:pt x="61" y="33"/>
                  <a:pt x="58" y="28"/>
                  <a:pt x="53" y="24"/>
                </a:cubicBezTo>
                <a:cubicBezTo>
                  <a:pt x="52" y="24"/>
                  <a:pt x="52" y="24"/>
                  <a:pt x="51" y="23"/>
                </a:cubicBezTo>
                <a:cubicBezTo>
                  <a:pt x="51" y="23"/>
                  <a:pt x="51" y="23"/>
                  <a:pt x="50" y="23"/>
                </a:cubicBezTo>
                <a:cubicBezTo>
                  <a:pt x="50" y="23"/>
                  <a:pt x="49" y="22"/>
                  <a:pt x="48" y="22"/>
                </a:cubicBezTo>
                <a:cubicBezTo>
                  <a:pt x="48" y="22"/>
                  <a:pt x="48" y="22"/>
                  <a:pt x="48" y="22"/>
                </a:cubicBezTo>
                <a:cubicBezTo>
                  <a:pt x="47" y="22"/>
                  <a:pt x="46" y="22"/>
                  <a:pt x="46" y="22"/>
                </a:cubicBezTo>
                <a:cubicBezTo>
                  <a:pt x="46" y="22"/>
                  <a:pt x="45" y="22"/>
                  <a:pt x="45" y="22"/>
                </a:cubicBezTo>
                <a:cubicBezTo>
                  <a:pt x="44" y="21"/>
                  <a:pt x="43" y="21"/>
                  <a:pt x="43" y="21"/>
                </a:cubicBezTo>
                <a:cubicBezTo>
                  <a:pt x="32" y="21"/>
                  <a:pt x="24" y="30"/>
                  <a:pt x="24" y="40"/>
                </a:cubicBezTo>
                <a:cubicBezTo>
                  <a:pt x="24" y="40"/>
                  <a:pt x="24" y="40"/>
                  <a:pt x="24" y="41"/>
                </a:cubicBezTo>
                <a:cubicBezTo>
                  <a:pt x="24" y="41"/>
                  <a:pt x="24" y="41"/>
                  <a:pt x="24" y="41"/>
                </a:cubicBezTo>
                <a:cubicBezTo>
                  <a:pt x="24" y="42"/>
                  <a:pt x="24" y="42"/>
                  <a:pt x="24" y="42"/>
                </a:cubicBezTo>
                <a:cubicBezTo>
                  <a:pt x="24" y="42"/>
                  <a:pt x="24" y="42"/>
                  <a:pt x="24" y="43"/>
                </a:cubicBezTo>
                <a:cubicBezTo>
                  <a:pt x="24" y="44"/>
                  <a:pt x="24" y="44"/>
                  <a:pt x="24" y="44"/>
                </a:cubicBezTo>
                <a:cubicBezTo>
                  <a:pt x="22" y="45"/>
                  <a:pt x="22" y="45"/>
                  <a:pt x="22" y="45"/>
                </a:cubicBezTo>
                <a:cubicBezTo>
                  <a:pt x="13" y="50"/>
                  <a:pt x="5" y="61"/>
                  <a:pt x="5" y="72"/>
                </a:cubicBezTo>
                <a:cubicBezTo>
                  <a:pt x="5" y="88"/>
                  <a:pt x="18" y="101"/>
                  <a:pt x="34" y="101"/>
                </a:cubicBezTo>
                <a:cubicBezTo>
                  <a:pt x="48" y="101"/>
                  <a:pt x="48" y="101"/>
                  <a:pt x="48" y="101"/>
                </a:cubicBezTo>
                <a:cubicBezTo>
                  <a:pt x="49" y="101"/>
                  <a:pt x="51" y="103"/>
                  <a:pt x="51" y="104"/>
                </a:cubicBezTo>
                <a:cubicBezTo>
                  <a:pt x="51" y="105"/>
                  <a:pt x="49" y="107"/>
                  <a:pt x="48" y="107"/>
                </a:cubicBezTo>
                <a:cubicBezTo>
                  <a:pt x="34" y="107"/>
                  <a:pt x="34" y="107"/>
                  <a:pt x="34" y="107"/>
                </a:cubicBezTo>
                <a:cubicBezTo>
                  <a:pt x="15" y="107"/>
                  <a:pt x="0" y="91"/>
                  <a:pt x="0" y="72"/>
                </a:cubicBezTo>
                <a:cubicBezTo>
                  <a:pt x="0" y="60"/>
                  <a:pt x="8" y="47"/>
                  <a:pt x="19" y="41"/>
                </a:cubicBezTo>
                <a:cubicBezTo>
                  <a:pt x="19" y="41"/>
                  <a:pt x="19" y="40"/>
                  <a:pt x="19" y="40"/>
                </a:cubicBezTo>
                <a:cubicBezTo>
                  <a:pt x="19" y="27"/>
                  <a:pt x="29" y="16"/>
                  <a:pt x="43" y="16"/>
                </a:cubicBezTo>
                <a:cubicBezTo>
                  <a:pt x="44" y="16"/>
                  <a:pt x="44" y="16"/>
                  <a:pt x="45" y="16"/>
                </a:cubicBezTo>
                <a:cubicBezTo>
                  <a:pt x="46" y="16"/>
                  <a:pt x="46" y="16"/>
                  <a:pt x="46" y="16"/>
                </a:cubicBezTo>
                <a:cubicBezTo>
                  <a:pt x="47" y="16"/>
                  <a:pt x="47" y="16"/>
                  <a:pt x="48" y="17"/>
                </a:cubicBezTo>
                <a:cubicBezTo>
                  <a:pt x="48" y="17"/>
                  <a:pt x="49" y="17"/>
                  <a:pt x="49" y="17"/>
                </a:cubicBezTo>
                <a:cubicBezTo>
                  <a:pt x="49" y="17"/>
                  <a:pt x="50" y="17"/>
                  <a:pt x="51" y="17"/>
                </a:cubicBezTo>
                <a:cubicBezTo>
                  <a:pt x="51" y="17"/>
                  <a:pt x="51" y="18"/>
                  <a:pt x="51" y="18"/>
                </a:cubicBezTo>
                <a:cubicBezTo>
                  <a:pt x="52" y="18"/>
                  <a:pt x="53" y="18"/>
                  <a:pt x="53" y="18"/>
                </a:cubicBezTo>
                <a:cubicBezTo>
                  <a:pt x="53" y="19"/>
                  <a:pt x="54" y="19"/>
                  <a:pt x="54" y="19"/>
                </a:cubicBezTo>
                <a:cubicBezTo>
                  <a:pt x="62" y="7"/>
                  <a:pt x="76" y="0"/>
                  <a:pt x="91" y="0"/>
                </a:cubicBezTo>
                <a:cubicBezTo>
                  <a:pt x="115" y="0"/>
                  <a:pt x="135" y="19"/>
                  <a:pt x="136" y="43"/>
                </a:cubicBezTo>
                <a:cubicBezTo>
                  <a:pt x="150" y="47"/>
                  <a:pt x="160" y="60"/>
                  <a:pt x="160" y="75"/>
                </a:cubicBezTo>
                <a:close/>
                <a:moveTo>
                  <a:pt x="102" y="110"/>
                </a:moveTo>
                <a:cubicBezTo>
                  <a:pt x="85" y="127"/>
                  <a:pt x="85" y="127"/>
                  <a:pt x="85" y="127"/>
                </a:cubicBezTo>
                <a:cubicBezTo>
                  <a:pt x="85" y="72"/>
                  <a:pt x="85" y="72"/>
                  <a:pt x="85" y="72"/>
                </a:cubicBezTo>
                <a:cubicBezTo>
                  <a:pt x="85" y="71"/>
                  <a:pt x="84" y="69"/>
                  <a:pt x="83" y="69"/>
                </a:cubicBezTo>
                <a:cubicBezTo>
                  <a:pt x="81" y="69"/>
                  <a:pt x="80" y="71"/>
                  <a:pt x="80" y="72"/>
                </a:cubicBezTo>
                <a:cubicBezTo>
                  <a:pt x="80" y="127"/>
                  <a:pt x="80" y="127"/>
                  <a:pt x="80" y="127"/>
                </a:cubicBezTo>
                <a:cubicBezTo>
                  <a:pt x="63" y="110"/>
                  <a:pt x="63" y="110"/>
                  <a:pt x="63" y="110"/>
                </a:cubicBezTo>
                <a:cubicBezTo>
                  <a:pt x="62" y="109"/>
                  <a:pt x="60" y="109"/>
                  <a:pt x="59" y="110"/>
                </a:cubicBezTo>
                <a:cubicBezTo>
                  <a:pt x="58" y="111"/>
                  <a:pt x="58" y="113"/>
                  <a:pt x="59" y="114"/>
                </a:cubicBezTo>
                <a:cubicBezTo>
                  <a:pt x="81" y="135"/>
                  <a:pt x="81" y="135"/>
                  <a:pt x="81" y="135"/>
                </a:cubicBezTo>
                <a:cubicBezTo>
                  <a:pt x="81" y="135"/>
                  <a:pt x="81" y="136"/>
                  <a:pt x="82" y="136"/>
                </a:cubicBezTo>
                <a:cubicBezTo>
                  <a:pt x="82" y="136"/>
                  <a:pt x="82" y="136"/>
                  <a:pt x="83" y="136"/>
                </a:cubicBezTo>
                <a:cubicBezTo>
                  <a:pt x="83" y="136"/>
                  <a:pt x="83" y="136"/>
                  <a:pt x="84" y="136"/>
                </a:cubicBezTo>
                <a:cubicBezTo>
                  <a:pt x="84" y="136"/>
                  <a:pt x="84" y="135"/>
                  <a:pt x="85" y="135"/>
                </a:cubicBezTo>
                <a:cubicBezTo>
                  <a:pt x="106" y="114"/>
                  <a:pt x="106" y="114"/>
                  <a:pt x="106" y="114"/>
                </a:cubicBezTo>
                <a:cubicBezTo>
                  <a:pt x="107" y="113"/>
                  <a:pt x="107" y="111"/>
                  <a:pt x="106" y="110"/>
                </a:cubicBezTo>
                <a:cubicBezTo>
                  <a:pt x="105" y="109"/>
                  <a:pt x="103" y="109"/>
                  <a:pt x="102" y="11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26" name="Freeform 1103">
            <a:extLst>
              <a:ext uri="{FF2B5EF4-FFF2-40B4-BE49-F238E27FC236}">
                <a16:creationId xmlns:a16="http://schemas.microsoft.com/office/drawing/2014/main" id="{A5C5DCD3-DE95-EA46-9CFA-DABB6860214B}"/>
              </a:ext>
            </a:extLst>
          </p:cNvPr>
          <p:cNvSpPr>
            <a:spLocks noEditPoints="1"/>
          </p:cNvSpPr>
          <p:nvPr/>
        </p:nvSpPr>
        <p:spPr bwMode="auto">
          <a:xfrm>
            <a:off x="5354520" y="4164013"/>
            <a:ext cx="546100" cy="368300"/>
          </a:xfrm>
          <a:custGeom>
            <a:avLst/>
            <a:gdLst>
              <a:gd name="T0" fmla="*/ 136 w 160"/>
              <a:gd name="T1" fmla="*/ 43 h 107"/>
              <a:gd name="T2" fmla="*/ 91 w 160"/>
              <a:gd name="T3" fmla="*/ 0 h 107"/>
              <a:gd name="T4" fmla="*/ 54 w 160"/>
              <a:gd name="T5" fmla="*/ 19 h 107"/>
              <a:gd name="T6" fmla="*/ 53 w 160"/>
              <a:gd name="T7" fmla="*/ 18 h 107"/>
              <a:gd name="T8" fmla="*/ 51 w 160"/>
              <a:gd name="T9" fmla="*/ 18 h 107"/>
              <a:gd name="T10" fmla="*/ 51 w 160"/>
              <a:gd name="T11" fmla="*/ 17 h 107"/>
              <a:gd name="T12" fmla="*/ 49 w 160"/>
              <a:gd name="T13" fmla="*/ 17 h 107"/>
              <a:gd name="T14" fmla="*/ 48 w 160"/>
              <a:gd name="T15" fmla="*/ 17 h 107"/>
              <a:gd name="T16" fmla="*/ 46 w 160"/>
              <a:gd name="T17" fmla="*/ 16 h 107"/>
              <a:gd name="T18" fmla="*/ 45 w 160"/>
              <a:gd name="T19" fmla="*/ 16 h 107"/>
              <a:gd name="T20" fmla="*/ 43 w 160"/>
              <a:gd name="T21" fmla="*/ 16 h 107"/>
              <a:gd name="T22" fmla="*/ 19 w 160"/>
              <a:gd name="T23" fmla="*/ 40 h 107"/>
              <a:gd name="T24" fmla="*/ 19 w 160"/>
              <a:gd name="T25" fmla="*/ 41 h 107"/>
              <a:gd name="T26" fmla="*/ 19 w 160"/>
              <a:gd name="T27" fmla="*/ 41 h 107"/>
              <a:gd name="T28" fmla="*/ 0 w 160"/>
              <a:gd name="T29" fmla="*/ 72 h 107"/>
              <a:gd name="T30" fmla="*/ 34 w 160"/>
              <a:gd name="T31" fmla="*/ 107 h 107"/>
              <a:gd name="T32" fmla="*/ 100 w 160"/>
              <a:gd name="T33" fmla="*/ 107 h 107"/>
              <a:gd name="T34" fmla="*/ 100 w 160"/>
              <a:gd name="T35" fmla="*/ 107 h 107"/>
              <a:gd name="T36" fmla="*/ 101 w 160"/>
              <a:gd name="T37" fmla="*/ 107 h 107"/>
              <a:gd name="T38" fmla="*/ 101 w 160"/>
              <a:gd name="T39" fmla="*/ 107 h 107"/>
              <a:gd name="T40" fmla="*/ 102 w 160"/>
              <a:gd name="T41" fmla="*/ 107 h 107"/>
              <a:gd name="T42" fmla="*/ 128 w 160"/>
              <a:gd name="T43" fmla="*/ 107 h 107"/>
              <a:gd name="T44" fmla="*/ 160 w 160"/>
              <a:gd name="T45" fmla="*/ 75 h 107"/>
              <a:gd name="T46" fmla="*/ 136 w 160"/>
              <a:gd name="T47" fmla="*/ 43 h 107"/>
              <a:gd name="T48" fmla="*/ 128 w 160"/>
              <a:gd name="T49" fmla="*/ 101 h 107"/>
              <a:gd name="T50" fmla="*/ 102 w 160"/>
              <a:gd name="T51" fmla="*/ 101 h 107"/>
              <a:gd name="T52" fmla="*/ 101 w 160"/>
              <a:gd name="T53" fmla="*/ 101 h 107"/>
              <a:gd name="T54" fmla="*/ 101 w 160"/>
              <a:gd name="T55" fmla="*/ 101 h 107"/>
              <a:gd name="T56" fmla="*/ 100 w 160"/>
              <a:gd name="T57" fmla="*/ 101 h 107"/>
              <a:gd name="T58" fmla="*/ 100 w 160"/>
              <a:gd name="T59" fmla="*/ 101 h 107"/>
              <a:gd name="T60" fmla="*/ 34 w 160"/>
              <a:gd name="T61" fmla="*/ 101 h 107"/>
              <a:gd name="T62" fmla="*/ 5 w 160"/>
              <a:gd name="T63" fmla="*/ 72 h 107"/>
              <a:gd name="T64" fmla="*/ 22 w 160"/>
              <a:gd name="T65" fmla="*/ 45 h 107"/>
              <a:gd name="T66" fmla="*/ 24 w 160"/>
              <a:gd name="T67" fmla="*/ 44 h 107"/>
              <a:gd name="T68" fmla="*/ 24 w 160"/>
              <a:gd name="T69" fmla="*/ 43 h 107"/>
              <a:gd name="T70" fmla="*/ 24 w 160"/>
              <a:gd name="T71" fmla="*/ 42 h 107"/>
              <a:gd name="T72" fmla="*/ 24 w 160"/>
              <a:gd name="T73" fmla="*/ 41 h 107"/>
              <a:gd name="T74" fmla="*/ 24 w 160"/>
              <a:gd name="T75" fmla="*/ 41 h 107"/>
              <a:gd name="T76" fmla="*/ 24 w 160"/>
              <a:gd name="T77" fmla="*/ 40 h 107"/>
              <a:gd name="T78" fmla="*/ 43 w 160"/>
              <a:gd name="T79" fmla="*/ 21 h 107"/>
              <a:gd name="T80" fmla="*/ 45 w 160"/>
              <a:gd name="T81" fmla="*/ 22 h 107"/>
              <a:gd name="T82" fmla="*/ 46 w 160"/>
              <a:gd name="T83" fmla="*/ 22 h 107"/>
              <a:gd name="T84" fmla="*/ 48 w 160"/>
              <a:gd name="T85" fmla="*/ 22 h 107"/>
              <a:gd name="T86" fmla="*/ 48 w 160"/>
              <a:gd name="T87" fmla="*/ 22 h 107"/>
              <a:gd name="T88" fmla="*/ 50 w 160"/>
              <a:gd name="T89" fmla="*/ 23 h 107"/>
              <a:gd name="T90" fmla="*/ 51 w 160"/>
              <a:gd name="T91" fmla="*/ 23 h 107"/>
              <a:gd name="T92" fmla="*/ 53 w 160"/>
              <a:gd name="T93" fmla="*/ 24 h 107"/>
              <a:gd name="T94" fmla="*/ 61 w 160"/>
              <a:gd name="T95" fmla="*/ 40 h 107"/>
              <a:gd name="T96" fmla="*/ 64 w 160"/>
              <a:gd name="T97" fmla="*/ 43 h 107"/>
              <a:gd name="T98" fmla="*/ 67 w 160"/>
              <a:gd name="T99" fmla="*/ 40 h 107"/>
              <a:gd name="T100" fmla="*/ 58 w 160"/>
              <a:gd name="T101" fmla="*/ 22 h 107"/>
              <a:gd name="T102" fmla="*/ 91 w 160"/>
              <a:gd name="T103" fmla="*/ 5 h 107"/>
              <a:gd name="T104" fmla="*/ 130 w 160"/>
              <a:gd name="T105" fmla="*/ 42 h 107"/>
              <a:gd name="T106" fmla="*/ 120 w 160"/>
              <a:gd name="T107" fmla="*/ 43 h 107"/>
              <a:gd name="T108" fmla="*/ 117 w 160"/>
              <a:gd name="T109" fmla="*/ 46 h 107"/>
              <a:gd name="T110" fmla="*/ 120 w 160"/>
              <a:gd name="T111" fmla="*/ 48 h 107"/>
              <a:gd name="T112" fmla="*/ 120 w 160"/>
              <a:gd name="T113" fmla="*/ 48 h 107"/>
              <a:gd name="T114" fmla="*/ 133 w 160"/>
              <a:gd name="T115" fmla="*/ 48 h 107"/>
              <a:gd name="T116" fmla="*/ 155 w 160"/>
              <a:gd name="T117" fmla="*/ 75 h 107"/>
              <a:gd name="T118" fmla="*/ 128 w 160"/>
              <a:gd name="T119"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07">
                <a:moveTo>
                  <a:pt x="136" y="43"/>
                </a:moveTo>
                <a:cubicBezTo>
                  <a:pt x="135" y="19"/>
                  <a:pt x="115" y="0"/>
                  <a:pt x="91" y="0"/>
                </a:cubicBezTo>
                <a:cubicBezTo>
                  <a:pt x="76" y="0"/>
                  <a:pt x="62" y="7"/>
                  <a:pt x="54" y="19"/>
                </a:cubicBezTo>
                <a:cubicBezTo>
                  <a:pt x="54" y="19"/>
                  <a:pt x="53" y="19"/>
                  <a:pt x="53" y="18"/>
                </a:cubicBezTo>
                <a:cubicBezTo>
                  <a:pt x="53" y="18"/>
                  <a:pt x="52" y="18"/>
                  <a:pt x="51" y="18"/>
                </a:cubicBezTo>
                <a:cubicBezTo>
                  <a:pt x="51" y="18"/>
                  <a:pt x="51" y="17"/>
                  <a:pt x="51" y="17"/>
                </a:cubicBezTo>
                <a:cubicBezTo>
                  <a:pt x="50" y="17"/>
                  <a:pt x="49" y="17"/>
                  <a:pt x="49" y="17"/>
                </a:cubicBezTo>
                <a:cubicBezTo>
                  <a:pt x="49" y="17"/>
                  <a:pt x="48" y="17"/>
                  <a:pt x="48" y="17"/>
                </a:cubicBezTo>
                <a:cubicBezTo>
                  <a:pt x="47" y="16"/>
                  <a:pt x="47" y="16"/>
                  <a:pt x="46" y="16"/>
                </a:cubicBezTo>
                <a:cubicBezTo>
                  <a:pt x="46" y="16"/>
                  <a:pt x="46" y="16"/>
                  <a:pt x="45" y="16"/>
                </a:cubicBezTo>
                <a:cubicBezTo>
                  <a:pt x="44" y="16"/>
                  <a:pt x="44" y="16"/>
                  <a:pt x="43" y="16"/>
                </a:cubicBezTo>
                <a:cubicBezTo>
                  <a:pt x="29" y="16"/>
                  <a:pt x="19" y="27"/>
                  <a:pt x="19" y="40"/>
                </a:cubicBezTo>
                <a:cubicBezTo>
                  <a:pt x="19" y="40"/>
                  <a:pt x="19" y="41"/>
                  <a:pt x="19" y="41"/>
                </a:cubicBezTo>
                <a:cubicBezTo>
                  <a:pt x="19" y="41"/>
                  <a:pt x="19" y="41"/>
                  <a:pt x="19" y="41"/>
                </a:cubicBezTo>
                <a:cubicBezTo>
                  <a:pt x="8" y="47"/>
                  <a:pt x="0" y="60"/>
                  <a:pt x="0" y="72"/>
                </a:cubicBezTo>
                <a:cubicBezTo>
                  <a:pt x="0" y="91"/>
                  <a:pt x="15" y="107"/>
                  <a:pt x="34" y="107"/>
                </a:cubicBezTo>
                <a:cubicBezTo>
                  <a:pt x="100" y="107"/>
                  <a:pt x="100" y="107"/>
                  <a:pt x="100" y="107"/>
                </a:cubicBezTo>
                <a:cubicBezTo>
                  <a:pt x="100" y="107"/>
                  <a:pt x="100" y="107"/>
                  <a:pt x="100" y="107"/>
                </a:cubicBezTo>
                <a:cubicBezTo>
                  <a:pt x="101" y="107"/>
                  <a:pt x="101" y="107"/>
                  <a:pt x="101" y="107"/>
                </a:cubicBezTo>
                <a:cubicBezTo>
                  <a:pt x="101" y="107"/>
                  <a:pt x="101" y="107"/>
                  <a:pt x="101" y="107"/>
                </a:cubicBezTo>
                <a:cubicBezTo>
                  <a:pt x="101" y="107"/>
                  <a:pt x="102" y="107"/>
                  <a:pt x="102" y="107"/>
                </a:cubicBezTo>
                <a:cubicBezTo>
                  <a:pt x="128" y="107"/>
                  <a:pt x="128" y="107"/>
                  <a:pt x="128" y="107"/>
                </a:cubicBezTo>
                <a:cubicBezTo>
                  <a:pt x="146" y="107"/>
                  <a:pt x="160" y="92"/>
                  <a:pt x="160" y="75"/>
                </a:cubicBezTo>
                <a:cubicBezTo>
                  <a:pt x="160" y="60"/>
                  <a:pt x="150" y="47"/>
                  <a:pt x="136" y="43"/>
                </a:cubicBezTo>
                <a:close/>
                <a:moveTo>
                  <a:pt x="128" y="101"/>
                </a:moveTo>
                <a:cubicBezTo>
                  <a:pt x="102" y="101"/>
                  <a:pt x="102" y="101"/>
                  <a:pt x="102" y="101"/>
                </a:cubicBezTo>
                <a:cubicBezTo>
                  <a:pt x="102" y="101"/>
                  <a:pt x="101" y="101"/>
                  <a:pt x="101" y="101"/>
                </a:cubicBezTo>
                <a:cubicBezTo>
                  <a:pt x="101" y="101"/>
                  <a:pt x="101" y="101"/>
                  <a:pt x="101" y="101"/>
                </a:cubicBezTo>
                <a:cubicBezTo>
                  <a:pt x="100" y="101"/>
                  <a:pt x="100" y="101"/>
                  <a:pt x="100" y="101"/>
                </a:cubicBezTo>
                <a:cubicBezTo>
                  <a:pt x="100" y="101"/>
                  <a:pt x="100" y="101"/>
                  <a:pt x="100" y="101"/>
                </a:cubicBezTo>
                <a:cubicBezTo>
                  <a:pt x="34" y="101"/>
                  <a:pt x="34" y="101"/>
                  <a:pt x="34" y="101"/>
                </a:cubicBezTo>
                <a:cubicBezTo>
                  <a:pt x="18" y="101"/>
                  <a:pt x="5" y="88"/>
                  <a:pt x="5" y="72"/>
                </a:cubicBezTo>
                <a:cubicBezTo>
                  <a:pt x="5" y="61"/>
                  <a:pt x="13" y="50"/>
                  <a:pt x="22" y="45"/>
                </a:cubicBezTo>
                <a:cubicBezTo>
                  <a:pt x="24" y="44"/>
                  <a:pt x="24" y="44"/>
                  <a:pt x="24" y="44"/>
                </a:cubicBezTo>
                <a:cubicBezTo>
                  <a:pt x="24" y="43"/>
                  <a:pt x="24" y="43"/>
                  <a:pt x="24" y="43"/>
                </a:cubicBezTo>
                <a:cubicBezTo>
                  <a:pt x="24" y="42"/>
                  <a:pt x="24" y="42"/>
                  <a:pt x="24" y="42"/>
                </a:cubicBezTo>
                <a:cubicBezTo>
                  <a:pt x="24" y="41"/>
                  <a:pt x="24" y="41"/>
                  <a:pt x="24" y="41"/>
                </a:cubicBezTo>
                <a:cubicBezTo>
                  <a:pt x="24" y="41"/>
                  <a:pt x="24" y="41"/>
                  <a:pt x="24" y="41"/>
                </a:cubicBezTo>
                <a:cubicBezTo>
                  <a:pt x="24" y="40"/>
                  <a:pt x="24" y="40"/>
                  <a:pt x="24" y="40"/>
                </a:cubicBezTo>
                <a:cubicBezTo>
                  <a:pt x="24" y="30"/>
                  <a:pt x="32" y="21"/>
                  <a:pt x="43" y="21"/>
                </a:cubicBezTo>
                <a:cubicBezTo>
                  <a:pt x="43" y="21"/>
                  <a:pt x="44" y="21"/>
                  <a:pt x="45" y="22"/>
                </a:cubicBezTo>
                <a:cubicBezTo>
                  <a:pt x="45" y="22"/>
                  <a:pt x="46" y="22"/>
                  <a:pt x="46" y="22"/>
                </a:cubicBezTo>
                <a:cubicBezTo>
                  <a:pt x="46" y="22"/>
                  <a:pt x="47" y="22"/>
                  <a:pt x="48" y="22"/>
                </a:cubicBezTo>
                <a:cubicBezTo>
                  <a:pt x="48" y="22"/>
                  <a:pt x="48" y="22"/>
                  <a:pt x="48" y="22"/>
                </a:cubicBezTo>
                <a:cubicBezTo>
                  <a:pt x="49" y="22"/>
                  <a:pt x="50" y="23"/>
                  <a:pt x="50" y="23"/>
                </a:cubicBezTo>
                <a:cubicBezTo>
                  <a:pt x="51" y="23"/>
                  <a:pt x="51" y="23"/>
                  <a:pt x="51" y="23"/>
                </a:cubicBezTo>
                <a:cubicBezTo>
                  <a:pt x="52" y="24"/>
                  <a:pt x="52" y="24"/>
                  <a:pt x="53" y="24"/>
                </a:cubicBezTo>
                <a:cubicBezTo>
                  <a:pt x="58" y="28"/>
                  <a:pt x="61" y="33"/>
                  <a:pt x="61" y="40"/>
                </a:cubicBezTo>
                <a:cubicBezTo>
                  <a:pt x="61" y="41"/>
                  <a:pt x="63" y="43"/>
                  <a:pt x="64" y="43"/>
                </a:cubicBezTo>
                <a:cubicBezTo>
                  <a:pt x="65" y="43"/>
                  <a:pt x="67" y="41"/>
                  <a:pt x="67" y="40"/>
                </a:cubicBezTo>
                <a:cubicBezTo>
                  <a:pt x="67" y="33"/>
                  <a:pt x="63" y="26"/>
                  <a:pt x="58" y="22"/>
                </a:cubicBezTo>
                <a:cubicBezTo>
                  <a:pt x="66" y="12"/>
                  <a:pt x="78" y="5"/>
                  <a:pt x="91" y="5"/>
                </a:cubicBezTo>
                <a:cubicBezTo>
                  <a:pt x="112" y="5"/>
                  <a:pt x="129" y="22"/>
                  <a:pt x="130" y="42"/>
                </a:cubicBezTo>
                <a:cubicBezTo>
                  <a:pt x="128" y="42"/>
                  <a:pt x="124" y="42"/>
                  <a:pt x="120" y="43"/>
                </a:cubicBezTo>
                <a:cubicBezTo>
                  <a:pt x="118" y="43"/>
                  <a:pt x="117" y="44"/>
                  <a:pt x="117" y="46"/>
                </a:cubicBezTo>
                <a:cubicBezTo>
                  <a:pt x="118" y="47"/>
                  <a:pt x="119" y="48"/>
                  <a:pt x="120" y="48"/>
                </a:cubicBezTo>
                <a:cubicBezTo>
                  <a:pt x="120" y="48"/>
                  <a:pt x="120" y="48"/>
                  <a:pt x="120" y="48"/>
                </a:cubicBezTo>
                <a:cubicBezTo>
                  <a:pt x="126" y="47"/>
                  <a:pt x="133" y="48"/>
                  <a:pt x="133" y="48"/>
                </a:cubicBezTo>
                <a:cubicBezTo>
                  <a:pt x="145" y="50"/>
                  <a:pt x="155" y="62"/>
                  <a:pt x="155" y="75"/>
                </a:cubicBezTo>
                <a:cubicBezTo>
                  <a:pt x="155" y="89"/>
                  <a:pt x="143" y="101"/>
                  <a:pt x="128" y="10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27" name="Freeform 1104">
            <a:extLst>
              <a:ext uri="{FF2B5EF4-FFF2-40B4-BE49-F238E27FC236}">
                <a16:creationId xmlns:a16="http://schemas.microsoft.com/office/drawing/2014/main" id="{20546C4D-AD85-2C49-86F4-7FAB5FEEEBBB}"/>
              </a:ext>
            </a:extLst>
          </p:cNvPr>
          <p:cNvSpPr>
            <a:spLocks noEditPoints="1"/>
          </p:cNvSpPr>
          <p:nvPr/>
        </p:nvSpPr>
        <p:spPr bwMode="auto">
          <a:xfrm>
            <a:off x="5354520" y="4700588"/>
            <a:ext cx="546100" cy="550863"/>
          </a:xfrm>
          <a:custGeom>
            <a:avLst/>
            <a:gdLst>
              <a:gd name="T0" fmla="*/ 133 w 160"/>
              <a:gd name="T1" fmla="*/ 107 h 160"/>
              <a:gd name="T2" fmla="*/ 112 w 160"/>
              <a:gd name="T3" fmla="*/ 107 h 160"/>
              <a:gd name="T4" fmla="*/ 112 w 160"/>
              <a:gd name="T5" fmla="*/ 53 h 160"/>
              <a:gd name="T6" fmla="*/ 133 w 160"/>
              <a:gd name="T7" fmla="*/ 53 h 160"/>
              <a:gd name="T8" fmla="*/ 160 w 160"/>
              <a:gd name="T9" fmla="*/ 27 h 160"/>
              <a:gd name="T10" fmla="*/ 133 w 160"/>
              <a:gd name="T11" fmla="*/ 0 h 160"/>
              <a:gd name="T12" fmla="*/ 107 w 160"/>
              <a:gd name="T13" fmla="*/ 27 h 160"/>
              <a:gd name="T14" fmla="*/ 107 w 160"/>
              <a:gd name="T15" fmla="*/ 48 h 160"/>
              <a:gd name="T16" fmla="*/ 53 w 160"/>
              <a:gd name="T17" fmla="*/ 48 h 160"/>
              <a:gd name="T18" fmla="*/ 53 w 160"/>
              <a:gd name="T19" fmla="*/ 27 h 160"/>
              <a:gd name="T20" fmla="*/ 27 w 160"/>
              <a:gd name="T21" fmla="*/ 0 h 160"/>
              <a:gd name="T22" fmla="*/ 0 w 160"/>
              <a:gd name="T23" fmla="*/ 27 h 160"/>
              <a:gd name="T24" fmla="*/ 27 w 160"/>
              <a:gd name="T25" fmla="*/ 53 h 160"/>
              <a:gd name="T26" fmla="*/ 48 w 160"/>
              <a:gd name="T27" fmla="*/ 53 h 160"/>
              <a:gd name="T28" fmla="*/ 48 w 160"/>
              <a:gd name="T29" fmla="*/ 107 h 160"/>
              <a:gd name="T30" fmla="*/ 27 w 160"/>
              <a:gd name="T31" fmla="*/ 107 h 160"/>
              <a:gd name="T32" fmla="*/ 0 w 160"/>
              <a:gd name="T33" fmla="*/ 133 h 160"/>
              <a:gd name="T34" fmla="*/ 27 w 160"/>
              <a:gd name="T35" fmla="*/ 160 h 160"/>
              <a:gd name="T36" fmla="*/ 53 w 160"/>
              <a:gd name="T37" fmla="*/ 133 h 160"/>
              <a:gd name="T38" fmla="*/ 53 w 160"/>
              <a:gd name="T39" fmla="*/ 112 h 160"/>
              <a:gd name="T40" fmla="*/ 107 w 160"/>
              <a:gd name="T41" fmla="*/ 112 h 160"/>
              <a:gd name="T42" fmla="*/ 107 w 160"/>
              <a:gd name="T43" fmla="*/ 133 h 160"/>
              <a:gd name="T44" fmla="*/ 133 w 160"/>
              <a:gd name="T45" fmla="*/ 160 h 160"/>
              <a:gd name="T46" fmla="*/ 160 w 160"/>
              <a:gd name="T47" fmla="*/ 133 h 160"/>
              <a:gd name="T48" fmla="*/ 133 w 160"/>
              <a:gd name="T49" fmla="*/ 107 h 160"/>
              <a:gd name="T50" fmla="*/ 112 w 160"/>
              <a:gd name="T51" fmla="*/ 27 h 160"/>
              <a:gd name="T52" fmla="*/ 133 w 160"/>
              <a:gd name="T53" fmla="*/ 5 h 160"/>
              <a:gd name="T54" fmla="*/ 155 w 160"/>
              <a:gd name="T55" fmla="*/ 27 h 160"/>
              <a:gd name="T56" fmla="*/ 133 w 160"/>
              <a:gd name="T57" fmla="*/ 48 h 160"/>
              <a:gd name="T58" fmla="*/ 112 w 160"/>
              <a:gd name="T59" fmla="*/ 48 h 160"/>
              <a:gd name="T60" fmla="*/ 112 w 160"/>
              <a:gd name="T61" fmla="*/ 27 h 160"/>
              <a:gd name="T62" fmla="*/ 27 w 160"/>
              <a:gd name="T63" fmla="*/ 48 h 160"/>
              <a:gd name="T64" fmla="*/ 5 w 160"/>
              <a:gd name="T65" fmla="*/ 27 h 160"/>
              <a:gd name="T66" fmla="*/ 27 w 160"/>
              <a:gd name="T67" fmla="*/ 5 h 160"/>
              <a:gd name="T68" fmla="*/ 48 w 160"/>
              <a:gd name="T69" fmla="*/ 27 h 160"/>
              <a:gd name="T70" fmla="*/ 48 w 160"/>
              <a:gd name="T71" fmla="*/ 48 h 160"/>
              <a:gd name="T72" fmla="*/ 27 w 160"/>
              <a:gd name="T73" fmla="*/ 48 h 160"/>
              <a:gd name="T74" fmla="*/ 48 w 160"/>
              <a:gd name="T75" fmla="*/ 133 h 160"/>
              <a:gd name="T76" fmla="*/ 27 w 160"/>
              <a:gd name="T77" fmla="*/ 155 h 160"/>
              <a:gd name="T78" fmla="*/ 5 w 160"/>
              <a:gd name="T79" fmla="*/ 133 h 160"/>
              <a:gd name="T80" fmla="*/ 27 w 160"/>
              <a:gd name="T81" fmla="*/ 112 h 160"/>
              <a:gd name="T82" fmla="*/ 48 w 160"/>
              <a:gd name="T83" fmla="*/ 112 h 160"/>
              <a:gd name="T84" fmla="*/ 48 w 160"/>
              <a:gd name="T85" fmla="*/ 133 h 160"/>
              <a:gd name="T86" fmla="*/ 53 w 160"/>
              <a:gd name="T87" fmla="*/ 107 h 160"/>
              <a:gd name="T88" fmla="*/ 53 w 160"/>
              <a:gd name="T89" fmla="*/ 53 h 160"/>
              <a:gd name="T90" fmla="*/ 107 w 160"/>
              <a:gd name="T91" fmla="*/ 53 h 160"/>
              <a:gd name="T92" fmla="*/ 107 w 160"/>
              <a:gd name="T93" fmla="*/ 107 h 160"/>
              <a:gd name="T94" fmla="*/ 53 w 160"/>
              <a:gd name="T95" fmla="*/ 107 h 160"/>
              <a:gd name="T96" fmla="*/ 133 w 160"/>
              <a:gd name="T97" fmla="*/ 155 h 160"/>
              <a:gd name="T98" fmla="*/ 112 w 160"/>
              <a:gd name="T99" fmla="*/ 133 h 160"/>
              <a:gd name="T100" fmla="*/ 112 w 160"/>
              <a:gd name="T101" fmla="*/ 112 h 160"/>
              <a:gd name="T102" fmla="*/ 133 w 160"/>
              <a:gd name="T103" fmla="*/ 112 h 160"/>
              <a:gd name="T104" fmla="*/ 155 w 160"/>
              <a:gd name="T105" fmla="*/ 133 h 160"/>
              <a:gd name="T106" fmla="*/ 133 w 160"/>
              <a:gd name="T107"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60">
                <a:moveTo>
                  <a:pt x="133" y="107"/>
                </a:moveTo>
                <a:cubicBezTo>
                  <a:pt x="112" y="107"/>
                  <a:pt x="112" y="107"/>
                  <a:pt x="112" y="107"/>
                </a:cubicBezTo>
                <a:cubicBezTo>
                  <a:pt x="112" y="53"/>
                  <a:pt x="112" y="53"/>
                  <a:pt x="112" y="53"/>
                </a:cubicBezTo>
                <a:cubicBezTo>
                  <a:pt x="133" y="53"/>
                  <a:pt x="133" y="53"/>
                  <a:pt x="133" y="53"/>
                </a:cubicBezTo>
                <a:cubicBezTo>
                  <a:pt x="148" y="53"/>
                  <a:pt x="160" y="41"/>
                  <a:pt x="160" y="27"/>
                </a:cubicBezTo>
                <a:cubicBezTo>
                  <a:pt x="160" y="12"/>
                  <a:pt x="148" y="0"/>
                  <a:pt x="133" y="0"/>
                </a:cubicBezTo>
                <a:cubicBezTo>
                  <a:pt x="119" y="0"/>
                  <a:pt x="107" y="12"/>
                  <a:pt x="107" y="27"/>
                </a:cubicBezTo>
                <a:cubicBezTo>
                  <a:pt x="107" y="48"/>
                  <a:pt x="107" y="48"/>
                  <a:pt x="107" y="48"/>
                </a:cubicBezTo>
                <a:cubicBezTo>
                  <a:pt x="53" y="48"/>
                  <a:pt x="53" y="48"/>
                  <a:pt x="53" y="48"/>
                </a:cubicBezTo>
                <a:cubicBezTo>
                  <a:pt x="53" y="27"/>
                  <a:pt x="53" y="27"/>
                  <a:pt x="53" y="27"/>
                </a:cubicBezTo>
                <a:cubicBezTo>
                  <a:pt x="53" y="12"/>
                  <a:pt x="41" y="0"/>
                  <a:pt x="27" y="0"/>
                </a:cubicBezTo>
                <a:cubicBezTo>
                  <a:pt x="12" y="0"/>
                  <a:pt x="0" y="12"/>
                  <a:pt x="0" y="27"/>
                </a:cubicBezTo>
                <a:cubicBezTo>
                  <a:pt x="0" y="41"/>
                  <a:pt x="12" y="53"/>
                  <a:pt x="27" y="53"/>
                </a:cubicBezTo>
                <a:cubicBezTo>
                  <a:pt x="48" y="53"/>
                  <a:pt x="48" y="53"/>
                  <a:pt x="48" y="53"/>
                </a:cubicBezTo>
                <a:cubicBezTo>
                  <a:pt x="48" y="107"/>
                  <a:pt x="48" y="107"/>
                  <a:pt x="48" y="107"/>
                </a:cubicBezTo>
                <a:cubicBezTo>
                  <a:pt x="27" y="107"/>
                  <a:pt x="27" y="107"/>
                  <a:pt x="27" y="107"/>
                </a:cubicBezTo>
                <a:cubicBezTo>
                  <a:pt x="12" y="107"/>
                  <a:pt x="0" y="119"/>
                  <a:pt x="0" y="133"/>
                </a:cubicBezTo>
                <a:cubicBezTo>
                  <a:pt x="0" y="148"/>
                  <a:pt x="12" y="160"/>
                  <a:pt x="27" y="160"/>
                </a:cubicBezTo>
                <a:cubicBezTo>
                  <a:pt x="41" y="160"/>
                  <a:pt x="53" y="148"/>
                  <a:pt x="53" y="133"/>
                </a:cubicBezTo>
                <a:cubicBezTo>
                  <a:pt x="53" y="112"/>
                  <a:pt x="53" y="112"/>
                  <a:pt x="53" y="112"/>
                </a:cubicBezTo>
                <a:cubicBezTo>
                  <a:pt x="107" y="112"/>
                  <a:pt x="107" y="112"/>
                  <a:pt x="107" y="112"/>
                </a:cubicBezTo>
                <a:cubicBezTo>
                  <a:pt x="107" y="133"/>
                  <a:pt x="107" y="133"/>
                  <a:pt x="107" y="133"/>
                </a:cubicBezTo>
                <a:cubicBezTo>
                  <a:pt x="107" y="148"/>
                  <a:pt x="119" y="160"/>
                  <a:pt x="133" y="160"/>
                </a:cubicBezTo>
                <a:cubicBezTo>
                  <a:pt x="148" y="160"/>
                  <a:pt x="160" y="148"/>
                  <a:pt x="160" y="133"/>
                </a:cubicBezTo>
                <a:cubicBezTo>
                  <a:pt x="160" y="119"/>
                  <a:pt x="148" y="107"/>
                  <a:pt x="133" y="107"/>
                </a:cubicBezTo>
                <a:close/>
                <a:moveTo>
                  <a:pt x="112" y="27"/>
                </a:moveTo>
                <a:cubicBezTo>
                  <a:pt x="112" y="15"/>
                  <a:pt x="122" y="5"/>
                  <a:pt x="133" y="5"/>
                </a:cubicBezTo>
                <a:cubicBezTo>
                  <a:pt x="145" y="5"/>
                  <a:pt x="155" y="15"/>
                  <a:pt x="155" y="27"/>
                </a:cubicBezTo>
                <a:cubicBezTo>
                  <a:pt x="155" y="38"/>
                  <a:pt x="145" y="48"/>
                  <a:pt x="133" y="48"/>
                </a:cubicBezTo>
                <a:cubicBezTo>
                  <a:pt x="112" y="48"/>
                  <a:pt x="112" y="48"/>
                  <a:pt x="112" y="48"/>
                </a:cubicBezTo>
                <a:lnTo>
                  <a:pt x="112" y="27"/>
                </a:lnTo>
                <a:close/>
                <a:moveTo>
                  <a:pt x="27" y="48"/>
                </a:moveTo>
                <a:cubicBezTo>
                  <a:pt x="15" y="48"/>
                  <a:pt x="5" y="38"/>
                  <a:pt x="5" y="27"/>
                </a:cubicBezTo>
                <a:cubicBezTo>
                  <a:pt x="5" y="15"/>
                  <a:pt x="15" y="5"/>
                  <a:pt x="27" y="5"/>
                </a:cubicBezTo>
                <a:cubicBezTo>
                  <a:pt x="38" y="5"/>
                  <a:pt x="48" y="15"/>
                  <a:pt x="48" y="27"/>
                </a:cubicBezTo>
                <a:cubicBezTo>
                  <a:pt x="48" y="48"/>
                  <a:pt x="48" y="48"/>
                  <a:pt x="48" y="48"/>
                </a:cubicBezTo>
                <a:lnTo>
                  <a:pt x="27" y="48"/>
                </a:lnTo>
                <a:close/>
                <a:moveTo>
                  <a:pt x="48" y="133"/>
                </a:moveTo>
                <a:cubicBezTo>
                  <a:pt x="48" y="145"/>
                  <a:pt x="38" y="155"/>
                  <a:pt x="27" y="155"/>
                </a:cubicBezTo>
                <a:cubicBezTo>
                  <a:pt x="15" y="155"/>
                  <a:pt x="5" y="145"/>
                  <a:pt x="5" y="133"/>
                </a:cubicBezTo>
                <a:cubicBezTo>
                  <a:pt x="5" y="122"/>
                  <a:pt x="15" y="112"/>
                  <a:pt x="27" y="112"/>
                </a:cubicBezTo>
                <a:cubicBezTo>
                  <a:pt x="48" y="112"/>
                  <a:pt x="48" y="112"/>
                  <a:pt x="48" y="112"/>
                </a:cubicBezTo>
                <a:lnTo>
                  <a:pt x="48" y="133"/>
                </a:lnTo>
                <a:close/>
                <a:moveTo>
                  <a:pt x="53" y="107"/>
                </a:moveTo>
                <a:cubicBezTo>
                  <a:pt x="53" y="53"/>
                  <a:pt x="53" y="53"/>
                  <a:pt x="53" y="53"/>
                </a:cubicBezTo>
                <a:cubicBezTo>
                  <a:pt x="107" y="53"/>
                  <a:pt x="107" y="53"/>
                  <a:pt x="107" y="53"/>
                </a:cubicBezTo>
                <a:cubicBezTo>
                  <a:pt x="107" y="107"/>
                  <a:pt x="107" y="107"/>
                  <a:pt x="107" y="107"/>
                </a:cubicBezTo>
                <a:lnTo>
                  <a:pt x="53" y="107"/>
                </a:lnTo>
                <a:close/>
                <a:moveTo>
                  <a:pt x="133" y="155"/>
                </a:moveTo>
                <a:cubicBezTo>
                  <a:pt x="122" y="155"/>
                  <a:pt x="112" y="145"/>
                  <a:pt x="112" y="133"/>
                </a:cubicBezTo>
                <a:cubicBezTo>
                  <a:pt x="112" y="112"/>
                  <a:pt x="112" y="112"/>
                  <a:pt x="112" y="112"/>
                </a:cubicBezTo>
                <a:cubicBezTo>
                  <a:pt x="133" y="112"/>
                  <a:pt x="133" y="112"/>
                  <a:pt x="133" y="112"/>
                </a:cubicBezTo>
                <a:cubicBezTo>
                  <a:pt x="145" y="112"/>
                  <a:pt x="155" y="122"/>
                  <a:pt x="155" y="133"/>
                </a:cubicBezTo>
                <a:cubicBezTo>
                  <a:pt x="155" y="145"/>
                  <a:pt x="145" y="155"/>
                  <a:pt x="133"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1105">
            <a:extLst>
              <a:ext uri="{FF2B5EF4-FFF2-40B4-BE49-F238E27FC236}">
                <a16:creationId xmlns:a16="http://schemas.microsoft.com/office/drawing/2014/main" id="{784454AB-16CB-A34A-9ACD-7F64F602E22C}"/>
              </a:ext>
            </a:extLst>
          </p:cNvPr>
          <p:cNvSpPr>
            <a:spLocks noEditPoints="1"/>
          </p:cNvSpPr>
          <p:nvPr/>
        </p:nvSpPr>
        <p:spPr bwMode="auto">
          <a:xfrm>
            <a:off x="5354520" y="5319713"/>
            <a:ext cx="546100" cy="550863"/>
          </a:xfrm>
          <a:custGeom>
            <a:avLst/>
            <a:gdLst>
              <a:gd name="T0" fmla="*/ 0 w 160"/>
              <a:gd name="T1" fmla="*/ 80 h 160"/>
              <a:gd name="T2" fmla="*/ 160 w 160"/>
              <a:gd name="T3" fmla="*/ 80 h 160"/>
              <a:gd name="T4" fmla="*/ 80 w 160"/>
              <a:gd name="T5" fmla="*/ 155 h 160"/>
              <a:gd name="T6" fmla="*/ 80 w 160"/>
              <a:gd name="T7" fmla="*/ 5 h 160"/>
              <a:gd name="T8" fmla="*/ 80 w 160"/>
              <a:gd name="T9" fmla="*/ 155 h 160"/>
              <a:gd name="T10" fmla="*/ 23 w 160"/>
              <a:gd name="T11" fmla="*/ 62 h 160"/>
              <a:gd name="T12" fmla="*/ 19 w 160"/>
              <a:gd name="T13" fmla="*/ 64 h 160"/>
              <a:gd name="T14" fmla="*/ 33 w 160"/>
              <a:gd name="T15" fmla="*/ 33 h 160"/>
              <a:gd name="T16" fmla="*/ 64 w 160"/>
              <a:gd name="T17" fmla="*/ 19 h 160"/>
              <a:gd name="T18" fmla="*/ 37 w 160"/>
              <a:gd name="T19" fmla="*/ 37 h 160"/>
              <a:gd name="T20" fmla="*/ 127 w 160"/>
              <a:gd name="T21" fmla="*/ 127 h 160"/>
              <a:gd name="T22" fmla="*/ 99 w 160"/>
              <a:gd name="T23" fmla="*/ 143 h 160"/>
              <a:gd name="T24" fmla="*/ 98 w 160"/>
              <a:gd name="T25" fmla="*/ 137 h 160"/>
              <a:gd name="T26" fmla="*/ 137 w 160"/>
              <a:gd name="T27" fmla="*/ 98 h 160"/>
              <a:gd name="T28" fmla="*/ 143 w 160"/>
              <a:gd name="T29" fmla="*/ 99 h 160"/>
              <a:gd name="T30" fmla="*/ 35 w 160"/>
              <a:gd name="T31" fmla="*/ 65 h 160"/>
              <a:gd name="T32" fmla="*/ 32 w 160"/>
              <a:gd name="T33" fmla="*/ 67 h 160"/>
              <a:gd name="T34" fmla="*/ 42 w 160"/>
              <a:gd name="T35" fmla="*/ 42 h 160"/>
              <a:gd name="T36" fmla="*/ 67 w 160"/>
              <a:gd name="T37" fmla="*/ 32 h 160"/>
              <a:gd name="T38" fmla="*/ 46 w 160"/>
              <a:gd name="T39" fmla="*/ 46 h 160"/>
              <a:gd name="T40" fmla="*/ 96 w 160"/>
              <a:gd name="T41" fmla="*/ 130 h 160"/>
              <a:gd name="T42" fmla="*/ 93 w 160"/>
              <a:gd name="T43" fmla="*/ 128 h 160"/>
              <a:gd name="T44" fmla="*/ 114 w 160"/>
              <a:gd name="T45" fmla="*/ 114 h 160"/>
              <a:gd name="T46" fmla="*/ 128 w 160"/>
              <a:gd name="T47" fmla="*/ 93 h 160"/>
              <a:gd name="T48" fmla="*/ 118 w 160"/>
              <a:gd name="T49" fmla="*/ 118 h 160"/>
              <a:gd name="T50" fmla="*/ 48 w 160"/>
              <a:gd name="T51" fmla="*/ 69 h 160"/>
              <a:gd name="T52" fmla="*/ 45 w 160"/>
              <a:gd name="T53" fmla="*/ 71 h 160"/>
              <a:gd name="T54" fmla="*/ 67 w 160"/>
              <a:gd name="T55" fmla="*/ 43 h 160"/>
              <a:gd name="T56" fmla="*/ 69 w 160"/>
              <a:gd name="T57" fmla="*/ 48 h 160"/>
              <a:gd name="T58" fmla="*/ 92 w 160"/>
              <a:gd name="T59" fmla="*/ 117 h 160"/>
              <a:gd name="T60" fmla="*/ 91 w 160"/>
              <a:gd name="T61" fmla="*/ 112 h 160"/>
              <a:gd name="T62" fmla="*/ 115 w 160"/>
              <a:gd name="T63" fmla="*/ 89 h 160"/>
              <a:gd name="T64" fmla="*/ 93 w 160"/>
              <a:gd name="T65" fmla="*/ 117 h 160"/>
              <a:gd name="T66" fmla="*/ 80 w 160"/>
              <a:gd name="T67" fmla="*/ 58 h 160"/>
              <a:gd name="T68" fmla="*/ 80 w 160"/>
              <a:gd name="T69" fmla="*/ 102 h 160"/>
              <a:gd name="T70" fmla="*/ 80 w 160"/>
              <a:gd name="T71" fmla="*/ 96 h 160"/>
              <a:gd name="T72" fmla="*/ 80 w 160"/>
              <a:gd name="T73" fmla="*/ 64 h 160"/>
              <a:gd name="T74" fmla="*/ 80 w 160"/>
              <a:gd name="T75" fmla="*/ 9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37" y="37"/>
                </a:moveTo>
                <a:cubicBezTo>
                  <a:pt x="30" y="44"/>
                  <a:pt x="25" y="52"/>
                  <a:pt x="23" y="62"/>
                </a:cubicBezTo>
                <a:cubicBezTo>
                  <a:pt x="22" y="63"/>
                  <a:pt x="21" y="64"/>
                  <a:pt x="20" y="64"/>
                </a:cubicBezTo>
                <a:cubicBezTo>
                  <a:pt x="20" y="64"/>
                  <a:pt x="20" y="64"/>
                  <a:pt x="19" y="64"/>
                </a:cubicBezTo>
                <a:cubicBezTo>
                  <a:pt x="18" y="63"/>
                  <a:pt x="17" y="62"/>
                  <a:pt x="17" y="61"/>
                </a:cubicBezTo>
                <a:cubicBezTo>
                  <a:pt x="20" y="50"/>
                  <a:pt x="25" y="40"/>
                  <a:pt x="33" y="33"/>
                </a:cubicBezTo>
                <a:cubicBezTo>
                  <a:pt x="40" y="25"/>
                  <a:pt x="50" y="20"/>
                  <a:pt x="61" y="17"/>
                </a:cubicBezTo>
                <a:cubicBezTo>
                  <a:pt x="62" y="17"/>
                  <a:pt x="63" y="18"/>
                  <a:pt x="64" y="19"/>
                </a:cubicBezTo>
                <a:cubicBezTo>
                  <a:pt x="64" y="21"/>
                  <a:pt x="63" y="22"/>
                  <a:pt x="62" y="23"/>
                </a:cubicBezTo>
                <a:cubicBezTo>
                  <a:pt x="52" y="25"/>
                  <a:pt x="44" y="30"/>
                  <a:pt x="37" y="37"/>
                </a:cubicBezTo>
                <a:close/>
                <a:moveTo>
                  <a:pt x="143" y="99"/>
                </a:moveTo>
                <a:cubicBezTo>
                  <a:pt x="140" y="110"/>
                  <a:pt x="135" y="120"/>
                  <a:pt x="127" y="127"/>
                </a:cubicBezTo>
                <a:cubicBezTo>
                  <a:pt x="120" y="135"/>
                  <a:pt x="110" y="140"/>
                  <a:pt x="99" y="143"/>
                </a:cubicBezTo>
                <a:cubicBezTo>
                  <a:pt x="99" y="143"/>
                  <a:pt x="99" y="143"/>
                  <a:pt x="99" y="143"/>
                </a:cubicBezTo>
                <a:cubicBezTo>
                  <a:pt x="98" y="143"/>
                  <a:pt x="97" y="142"/>
                  <a:pt x="96" y="141"/>
                </a:cubicBezTo>
                <a:cubicBezTo>
                  <a:pt x="96" y="139"/>
                  <a:pt x="97" y="138"/>
                  <a:pt x="98" y="137"/>
                </a:cubicBezTo>
                <a:cubicBezTo>
                  <a:pt x="108" y="135"/>
                  <a:pt x="116" y="130"/>
                  <a:pt x="123" y="123"/>
                </a:cubicBezTo>
                <a:cubicBezTo>
                  <a:pt x="130" y="116"/>
                  <a:pt x="135" y="108"/>
                  <a:pt x="137" y="98"/>
                </a:cubicBezTo>
                <a:cubicBezTo>
                  <a:pt x="138" y="97"/>
                  <a:pt x="139" y="96"/>
                  <a:pt x="141" y="96"/>
                </a:cubicBezTo>
                <a:cubicBezTo>
                  <a:pt x="142" y="97"/>
                  <a:pt x="143" y="98"/>
                  <a:pt x="143" y="99"/>
                </a:cubicBezTo>
                <a:close/>
                <a:moveTo>
                  <a:pt x="46" y="46"/>
                </a:moveTo>
                <a:cubicBezTo>
                  <a:pt x="41" y="51"/>
                  <a:pt x="37" y="58"/>
                  <a:pt x="35" y="65"/>
                </a:cubicBezTo>
                <a:cubicBezTo>
                  <a:pt x="35" y="66"/>
                  <a:pt x="34" y="67"/>
                  <a:pt x="33" y="67"/>
                </a:cubicBezTo>
                <a:cubicBezTo>
                  <a:pt x="33" y="67"/>
                  <a:pt x="32" y="67"/>
                  <a:pt x="32" y="67"/>
                </a:cubicBezTo>
                <a:cubicBezTo>
                  <a:pt x="31" y="67"/>
                  <a:pt x="30" y="65"/>
                  <a:pt x="30" y="64"/>
                </a:cubicBezTo>
                <a:cubicBezTo>
                  <a:pt x="32" y="56"/>
                  <a:pt x="36" y="48"/>
                  <a:pt x="42" y="42"/>
                </a:cubicBezTo>
                <a:cubicBezTo>
                  <a:pt x="48" y="36"/>
                  <a:pt x="56" y="32"/>
                  <a:pt x="64" y="30"/>
                </a:cubicBezTo>
                <a:cubicBezTo>
                  <a:pt x="65" y="30"/>
                  <a:pt x="67" y="31"/>
                  <a:pt x="67" y="32"/>
                </a:cubicBezTo>
                <a:cubicBezTo>
                  <a:pt x="68" y="34"/>
                  <a:pt x="67" y="35"/>
                  <a:pt x="65" y="35"/>
                </a:cubicBezTo>
                <a:cubicBezTo>
                  <a:pt x="58" y="37"/>
                  <a:pt x="51" y="41"/>
                  <a:pt x="46" y="46"/>
                </a:cubicBezTo>
                <a:close/>
                <a:moveTo>
                  <a:pt x="118" y="118"/>
                </a:moveTo>
                <a:cubicBezTo>
                  <a:pt x="112" y="124"/>
                  <a:pt x="104" y="128"/>
                  <a:pt x="96" y="130"/>
                </a:cubicBezTo>
                <a:cubicBezTo>
                  <a:pt x="96" y="130"/>
                  <a:pt x="96" y="130"/>
                  <a:pt x="95" y="130"/>
                </a:cubicBezTo>
                <a:cubicBezTo>
                  <a:pt x="94" y="130"/>
                  <a:pt x="93" y="129"/>
                  <a:pt x="93" y="128"/>
                </a:cubicBezTo>
                <a:cubicBezTo>
                  <a:pt x="92" y="126"/>
                  <a:pt x="93" y="125"/>
                  <a:pt x="95" y="125"/>
                </a:cubicBezTo>
                <a:cubicBezTo>
                  <a:pt x="102" y="123"/>
                  <a:pt x="109" y="119"/>
                  <a:pt x="114" y="114"/>
                </a:cubicBezTo>
                <a:cubicBezTo>
                  <a:pt x="119" y="109"/>
                  <a:pt x="123" y="102"/>
                  <a:pt x="125" y="95"/>
                </a:cubicBezTo>
                <a:cubicBezTo>
                  <a:pt x="125" y="93"/>
                  <a:pt x="126" y="92"/>
                  <a:pt x="128" y="93"/>
                </a:cubicBezTo>
                <a:cubicBezTo>
                  <a:pt x="129" y="93"/>
                  <a:pt x="130" y="95"/>
                  <a:pt x="130" y="96"/>
                </a:cubicBezTo>
                <a:cubicBezTo>
                  <a:pt x="128" y="104"/>
                  <a:pt x="124" y="112"/>
                  <a:pt x="118" y="118"/>
                </a:cubicBezTo>
                <a:close/>
                <a:moveTo>
                  <a:pt x="69" y="48"/>
                </a:moveTo>
                <a:cubicBezTo>
                  <a:pt x="59" y="51"/>
                  <a:pt x="51" y="58"/>
                  <a:pt x="48" y="69"/>
                </a:cubicBezTo>
                <a:cubicBezTo>
                  <a:pt x="48" y="70"/>
                  <a:pt x="47" y="71"/>
                  <a:pt x="46" y="71"/>
                </a:cubicBezTo>
                <a:cubicBezTo>
                  <a:pt x="46" y="71"/>
                  <a:pt x="45" y="71"/>
                  <a:pt x="45" y="71"/>
                </a:cubicBezTo>
                <a:cubicBezTo>
                  <a:pt x="44" y="70"/>
                  <a:pt x="43" y="69"/>
                  <a:pt x="43" y="67"/>
                </a:cubicBezTo>
                <a:cubicBezTo>
                  <a:pt x="46" y="55"/>
                  <a:pt x="55" y="46"/>
                  <a:pt x="67" y="43"/>
                </a:cubicBezTo>
                <a:cubicBezTo>
                  <a:pt x="69" y="43"/>
                  <a:pt x="70" y="44"/>
                  <a:pt x="71" y="45"/>
                </a:cubicBezTo>
                <a:cubicBezTo>
                  <a:pt x="71" y="47"/>
                  <a:pt x="70" y="48"/>
                  <a:pt x="69" y="48"/>
                </a:cubicBezTo>
                <a:close/>
                <a:moveTo>
                  <a:pt x="93" y="117"/>
                </a:moveTo>
                <a:cubicBezTo>
                  <a:pt x="92" y="117"/>
                  <a:pt x="92" y="117"/>
                  <a:pt x="92" y="117"/>
                </a:cubicBezTo>
                <a:cubicBezTo>
                  <a:pt x="91" y="117"/>
                  <a:pt x="90" y="116"/>
                  <a:pt x="89" y="115"/>
                </a:cubicBezTo>
                <a:cubicBezTo>
                  <a:pt x="89" y="113"/>
                  <a:pt x="90" y="112"/>
                  <a:pt x="91" y="112"/>
                </a:cubicBezTo>
                <a:cubicBezTo>
                  <a:pt x="102" y="109"/>
                  <a:pt x="109" y="102"/>
                  <a:pt x="112" y="91"/>
                </a:cubicBezTo>
                <a:cubicBezTo>
                  <a:pt x="112" y="90"/>
                  <a:pt x="113" y="89"/>
                  <a:pt x="115" y="89"/>
                </a:cubicBezTo>
                <a:cubicBezTo>
                  <a:pt x="116" y="90"/>
                  <a:pt x="117" y="91"/>
                  <a:pt x="117" y="93"/>
                </a:cubicBezTo>
                <a:cubicBezTo>
                  <a:pt x="114" y="105"/>
                  <a:pt x="105" y="114"/>
                  <a:pt x="93" y="117"/>
                </a:cubicBezTo>
                <a:close/>
                <a:moveTo>
                  <a:pt x="102" y="80"/>
                </a:moveTo>
                <a:cubicBezTo>
                  <a:pt x="102" y="68"/>
                  <a:pt x="92" y="58"/>
                  <a:pt x="80" y="58"/>
                </a:cubicBezTo>
                <a:cubicBezTo>
                  <a:pt x="68" y="58"/>
                  <a:pt x="58" y="68"/>
                  <a:pt x="58" y="80"/>
                </a:cubicBezTo>
                <a:cubicBezTo>
                  <a:pt x="58" y="92"/>
                  <a:pt x="68" y="102"/>
                  <a:pt x="80" y="102"/>
                </a:cubicBezTo>
                <a:cubicBezTo>
                  <a:pt x="92" y="102"/>
                  <a:pt x="102" y="92"/>
                  <a:pt x="102" y="80"/>
                </a:cubicBezTo>
                <a:close/>
                <a:moveTo>
                  <a:pt x="80" y="96"/>
                </a:moveTo>
                <a:cubicBezTo>
                  <a:pt x="71" y="96"/>
                  <a:pt x="64" y="89"/>
                  <a:pt x="64" y="80"/>
                </a:cubicBezTo>
                <a:cubicBezTo>
                  <a:pt x="64" y="71"/>
                  <a:pt x="71" y="64"/>
                  <a:pt x="80" y="64"/>
                </a:cubicBezTo>
                <a:cubicBezTo>
                  <a:pt x="89" y="64"/>
                  <a:pt x="96" y="71"/>
                  <a:pt x="96" y="80"/>
                </a:cubicBezTo>
                <a:cubicBezTo>
                  <a:pt x="96" y="89"/>
                  <a:pt x="89" y="96"/>
                  <a:pt x="80" y="9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1106">
            <a:extLst>
              <a:ext uri="{FF2B5EF4-FFF2-40B4-BE49-F238E27FC236}">
                <a16:creationId xmlns:a16="http://schemas.microsoft.com/office/drawing/2014/main" id="{E0F87BB8-CEDB-1A4B-87AB-F3924A132019}"/>
              </a:ext>
            </a:extLst>
          </p:cNvPr>
          <p:cNvSpPr>
            <a:spLocks noEditPoints="1"/>
          </p:cNvSpPr>
          <p:nvPr/>
        </p:nvSpPr>
        <p:spPr bwMode="auto">
          <a:xfrm>
            <a:off x="5354520" y="5938838"/>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5 h 160"/>
              <a:gd name="T12" fmla="*/ 5 w 160"/>
              <a:gd name="T13" fmla="*/ 80 h 160"/>
              <a:gd name="T14" fmla="*/ 80 w 160"/>
              <a:gd name="T15" fmla="*/ 5 h 160"/>
              <a:gd name="T16" fmla="*/ 155 w 160"/>
              <a:gd name="T17" fmla="*/ 80 h 160"/>
              <a:gd name="T18" fmla="*/ 80 w 160"/>
              <a:gd name="T1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30" name="Freeform 1107">
            <a:extLst>
              <a:ext uri="{FF2B5EF4-FFF2-40B4-BE49-F238E27FC236}">
                <a16:creationId xmlns:a16="http://schemas.microsoft.com/office/drawing/2014/main" id="{829D25D0-440D-A140-89DB-097EE0C5BE4D}"/>
              </a:ext>
            </a:extLst>
          </p:cNvPr>
          <p:cNvSpPr>
            <a:spLocks noEditPoints="1"/>
          </p:cNvSpPr>
          <p:nvPr/>
        </p:nvSpPr>
        <p:spPr bwMode="auto">
          <a:xfrm>
            <a:off x="5556133" y="6142038"/>
            <a:ext cx="142875" cy="144463"/>
          </a:xfrm>
          <a:custGeom>
            <a:avLst/>
            <a:gdLst>
              <a:gd name="T0" fmla="*/ 21 w 42"/>
              <a:gd name="T1" fmla="*/ 0 h 42"/>
              <a:gd name="T2" fmla="*/ 0 w 42"/>
              <a:gd name="T3" fmla="*/ 21 h 42"/>
              <a:gd name="T4" fmla="*/ 21 w 42"/>
              <a:gd name="T5" fmla="*/ 42 h 42"/>
              <a:gd name="T6" fmla="*/ 42 w 42"/>
              <a:gd name="T7" fmla="*/ 21 h 42"/>
              <a:gd name="T8" fmla="*/ 21 w 42"/>
              <a:gd name="T9" fmla="*/ 0 h 42"/>
              <a:gd name="T10" fmla="*/ 21 w 42"/>
              <a:gd name="T11" fmla="*/ 37 h 42"/>
              <a:gd name="T12" fmla="*/ 5 w 42"/>
              <a:gd name="T13" fmla="*/ 21 h 42"/>
              <a:gd name="T14" fmla="*/ 21 w 42"/>
              <a:gd name="T15" fmla="*/ 5 h 42"/>
              <a:gd name="T16" fmla="*/ 37 w 42"/>
              <a:gd name="T17" fmla="*/ 21 h 42"/>
              <a:gd name="T18" fmla="*/ 21 w 42"/>
              <a:gd name="T19" fmla="*/ 3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0"/>
                </a:moveTo>
                <a:cubicBezTo>
                  <a:pt x="9" y="0"/>
                  <a:pt x="0" y="9"/>
                  <a:pt x="0" y="21"/>
                </a:cubicBezTo>
                <a:cubicBezTo>
                  <a:pt x="0" y="33"/>
                  <a:pt x="9" y="42"/>
                  <a:pt x="21" y="42"/>
                </a:cubicBezTo>
                <a:cubicBezTo>
                  <a:pt x="33" y="42"/>
                  <a:pt x="42" y="33"/>
                  <a:pt x="42" y="21"/>
                </a:cubicBezTo>
                <a:cubicBezTo>
                  <a:pt x="42" y="9"/>
                  <a:pt x="33" y="0"/>
                  <a:pt x="21" y="0"/>
                </a:cubicBezTo>
                <a:close/>
                <a:moveTo>
                  <a:pt x="21" y="37"/>
                </a:moveTo>
                <a:cubicBezTo>
                  <a:pt x="12" y="37"/>
                  <a:pt x="5" y="30"/>
                  <a:pt x="5" y="21"/>
                </a:cubicBezTo>
                <a:cubicBezTo>
                  <a:pt x="5" y="12"/>
                  <a:pt x="12" y="5"/>
                  <a:pt x="21" y="5"/>
                </a:cubicBezTo>
                <a:cubicBezTo>
                  <a:pt x="30" y="5"/>
                  <a:pt x="37" y="12"/>
                  <a:pt x="37" y="21"/>
                </a:cubicBezTo>
                <a:cubicBezTo>
                  <a:pt x="37" y="30"/>
                  <a:pt x="30" y="37"/>
                  <a:pt x="21" y="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31" name="Freeform 1108">
            <a:extLst>
              <a:ext uri="{FF2B5EF4-FFF2-40B4-BE49-F238E27FC236}">
                <a16:creationId xmlns:a16="http://schemas.microsoft.com/office/drawing/2014/main" id="{65EC1E10-0A1C-7940-86EE-B5BBF34A2215}"/>
              </a:ext>
            </a:extLst>
          </p:cNvPr>
          <p:cNvSpPr>
            <a:spLocks noEditPoints="1"/>
          </p:cNvSpPr>
          <p:nvPr/>
        </p:nvSpPr>
        <p:spPr bwMode="auto">
          <a:xfrm>
            <a:off x="5502158" y="6086475"/>
            <a:ext cx="252413" cy="255588"/>
          </a:xfrm>
          <a:custGeom>
            <a:avLst/>
            <a:gdLst>
              <a:gd name="T0" fmla="*/ 37 w 74"/>
              <a:gd name="T1" fmla="*/ 0 h 74"/>
              <a:gd name="T2" fmla="*/ 0 w 74"/>
              <a:gd name="T3" fmla="*/ 37 h 74"/>
              <a:gd name="T4" fmla="*/ 37 w 74"/>
              <a:gd name="T5" fmla="*/ 74 h 74"/>
              <a:gd name="T6" fmla="*/ 74 w 74"/>
              <a:gd name="T7" fmla="*/ 37 h 74"/>
              <a:gd name="T8" fmla="*/ 37 w 74"/>
              <a:gd name="T9" fmla="*/ 0 h 74"/>
              <a:gd name="T10" fmla="*/ 37 w 74"/>
              <a:gd name="T11" fmla="*/ 69 h 74"/>
              <a:gd name="T12" fmla="*/ 5 w 74"/>
              <a:gd name="T13" fmla="*/ 37 h 74"/>
              <a:gd name="T14" fmla="*/ 37 w 74"/>
              <a:gd name="T15" fmla="*/ 5 h 74"/>
              <a:gd name="T16" fmla="*/ 69 w 74"/>
              <a:gd name="T17" fmla="*/ 37 h 74"/>
              <a:gd name="T18" fmla="*/ 37 w 74"/>
              <a:gd name="T1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37" y="0"/>
                </a:moveTo>
                <a:cubicBezTo>
                  <a:pt x="16" y="0"/>
                  <a:pt x="0" y="16"/>
                  <a:pt x="0" y="37"/>
                </a:cubicBezTo>
                <a:cubicBezTo>
                  <a:pt x="0" y="58"/>
                  <a:pt x="16" y="74"/>
                  <a:pt x="37" y="74"/>
                </a:cubicBezTo>
                <a:cubicBezTo>
                  <a:pt x="58" y="74"/>
                  <a:pt x="74" y="58"/>
                  <a:pt x="74" y="37"/>
                </a:cubicBezTo>
                <a:cubicBezTo>
                  <a:pt x="74" y="16"/>
                  <a:pt x="58" y="0"/>
                  <a:pt x="37" y="0"/>
                </a:cubicBezTo>
                <a:close/>
                <a:moveTo>
                  <a:pt x="37" y="69"/>
                </a:moveTo>
                <a:cubicBezTo>
                  <a:pt x="19" y="69"/>
                  <a:pt x="5" y="55"/>
                  <a:pt x="5" y="37"/>
                </a:cubicBezTo>
                <a:cubicBezTo>
                  <a:pt x="5" y="19"/>
                  <a:pt x="19" y="5"/>
                  <a:pt x="37" y="5"/>
                </a:cubicBezTo>
                <a:cubicBezTo>
                  <a:pt x="55" y="5"/>
                  <a:pt x="69" y="19"/>
                  <a:pt x="69" y="37"/>
                </a:cubicBezTo>
                <a:cubicBezTo>
                  <a:pt x="69" y="55"/>
                  <a:pt x="55" y="69"/>
                  <a:pt x="37" y="6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32" name="Freeform 1109">
            <a:extLst>
              <a:ext uri="{FF2B5EF4-FFF2-40B4-BE49-F238E27FC236}">
                <a16:creationId xmlns:a16="http://schemas.microsoft.com/office/drawing/2014/main" id="{3D22E294-1002-1441-BC62-C0E744125C19}"/>
              </a:ext>
            </a:extLst>
          </p:cNvPr>
          <p:cNvSpPr>
            <a:spLocks noEditPoints="1"/>
          </p:cNvSpPr>
          <p:nvPr/>
        </p:nvSpPr>
        <p:spPr bwMode="auto">
          <a:xfrm>
            <a:off x="6286383" y="341313"/>
            <a:ext cx="593725" cy="577850"/>
          </a:xfrm>
          <a:custGeom>
            <a:avLst/>
            <a:gdLst>
              <a:gd name="T0" fmla="*/ 51 w 174"/>
              <a:gd name="T1" fmla="*/ 15 h 168"/>
              <a:gd name="T2" fmla="*/ 44 w 174"/>
              <a:gd name="T3" fmla="*/ 19 h 168"/>
              <a:gd name="T4" fmla="*/ 39 w 174"/>
              <a:gd name="T5" fmla="*/ 23 h 168"/>
              <a:gd name="T6" fmla="*/ 30 w 174"/>
              <a:gd name="T7" fmla="*/ 30 h 168"/>
              <a:gd name="T8" fmla="*/ 23 w 174"/>
              <a:gd name="T9" fmla="*/ 39 h 168"/>
              <a:gd name="T10" fmla="*/ 19 w 174"/>
              <a:gd name="T11" fmla="*/ 44 h 168"/>
              <a:gd name="T12" fmla="*/ 15 w 174"/>
              <a:gd name="T13" fmla="*/ 51 h 168"/>
              <a:gd name="T14" fmla="*/ 87 w 174"/>
              <a:gd name="T15" fmla="*/ 167 h 168"/>
              <a:gd name="T16" fmla="*/ 125 w 174"/>
              <a:gd name="T17" fmla="*/ 157 h 168"/>
              <a:gd name="T18" fmla="*/ 130 w 174"/>
              <a:gd name="T19" fmla="*/ 154 h 168"/>
              <a:gd name="T20" fmla="*/ 139 w 174"/>
              <a:gd name="T21" fmla="*/ 148 h 168"/>
              <a:gd name="T22" fmla="*/ 147 w 174"/>
              <a:gd name="T23" fmla="*/ 140 h 168"/>
              <a:gd name="T24" fmla="*/ 151 w 174"/>
              <a:gd name="T25" fmla="*/ 135 h 168"/>
              <a:gd name="T26" fmla="*/ 157 w 174"/>
              <a:gd name="T27" fmla="*/ 126 h 168"/>
              <a:gd name="T28" fmla="*/ 158 w 174"/>
              <a:gd name="T29" fmla="*/ 123 h 168"/>
              <a:gd name="T30" fmla="*/ 140 w 174"/>
              <a:gd name="T31" fmla="*/ 34 h 168"/>
              <a:gd name="T32" fmla="*/ 110 w 174"/>
              <a:gd name="T33" fmla="*/ 64 h 168"/>
              <a:gd name="T34" fmla="*/ 87 w 174"/>
              <a:gd name="T35" fmla="*/ 12 h 168"/>
              <a:gd name="T36" fmla="*/ 145 w 174"/>
              <a:gd name="T37" fmla="*/ 133 h 168"/>
              <a:gd name="T38" fmla="*/ 140 w 174"/>
              <a:gd name="T39" fmla="*/ 140 h 168"/>
              <a:gd name="T40" fmla="*/ 133 w 174"/>
              <a:gd name="T41" fmla="*/ 145 h 168"/>
              <a:gd name="T42" fmla="*/ 129 w 174"/>
              <a:gd name="T43" fmla="*/ 149 h 168"/>
              <a:gd name="T44" fmla="*/ 110 w 174"/>
              <a:gd name="T45" fmla="*/ 110 h 168"/>
              <a:gd name="T46" fmla="*/ 149 w 174"/>
              <a:gd name="T47" fmla="*/ 129 h 168"/>
              <a:gd name="T48" fmla="*/ 103 w 174"/>
              <a:gd name="T49" fmla="*/ 109 h 168"/>
              <a:gd name="T50" fmla="*/ 100 w 174"/>
              <a:gd name="T51" fmla="*/ 112 h 168"/>
              <a:gd name="T52" fmla="*/ 63 w 174"/>
              <a:gd name="T53" fmla="*/ 74 h 168"/>
              <a:gd name="T54" fmla="*/ 65 w 174"/>
              <a:gd name="T55" fmla="*/ 70 h 168"/>
              <a:gd name="T56" fmla="*/ 71 w 174"/>
              <a:gd name="T57" fmla="*/ 65 h 168"/>
              <a:gd name="T58" fmla="*/ 74 w 174"/>
              <a:gd name="T59" fmla="*/ 62 h 168"/>
              <a:gd name="T60" fmla="*/ 112 w 174"/>
              <a:gd name="T61" fmla="*/ 100 h 168"/>
              <a:gd name="T62" fmla="*/ 109 w 174"/>
              <a:gd name="T63" fmla="*/ 103 h 168"/>
              <a:gd name="T64" fmla="*/ 104 w 174"/>
              <a:gd name="T65" fmla="*/ 109 h 168"/>
              <a:gd name="T66" fmla="*/ 28 w 174"/>
              <a:gd name="T67" fmla="*/ 42 h 168"/>
              <a:gd name="T68" fmla="*/ 31 w 174"/>
              <a:gd name="T69" fmla="*/ 37 h 168"/>
              <a:gd name="T70" fmla="*/ 38 w 174"/>
              <a:gd name="T71" fmla="*/ 31 h 168"/>
              <a:gd name="T72" fmla="*/ 45 w 174"/>
              <a:gd name="T73" fmla="*/ 26 h 168"/>
              <a:gd name="T74" fmla="*/ 69 w 174"/>
              <a:gd name="T75" fmla="*/ 59 h 168"/>
              <a:gd name="T76" fmla="*/ 23 w 174"/>
              <a:gd name="T77" fmla="*/ 49 h 168"/>
              <a:gd name="T78" fmla="*/ 20 w 174"/>
              <a:gd name="T79" fmla="*/ 54 h 168"/>
              <a:gd name="T80" fmla="*/ 87 w 174"/>
              <a:gd name="T81" fmla="*/ 120 h 168"/>
              <a:gd name="T82" fmla="*/ 34 w 174"/>
              <a:gd name="T83" fmla="*/ 140 h 168"/>
              <a:gd name="T84" fmla="*/ 79 w 174"/>
              <a:gd name="T85" fmla="*/ 95 h 168"/>
              <a:gd name="T86" fmla="*/ 98 w 174"/>
              <a:gd name="T87" fmla="*/ 87 h 168"/>
              <a:gd name="T88" fmla="*/ 91 w 174"/>
              <a:gd name="T89" fmla="*/ 91 h 168"/>
              <a:gd name="T90" fmla="*/ 83 w 174"/>
              <a:gd name="T91" fmla="*/ 83 h 168"/>
              <a:gd name="T92" fmla="*/ 93 w 174"/>
              <a:gd name="T93" fmla="*/ 8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4" h="168">
                <a:moveTo>
                  <a:pt x="144" y="30"/>
                </a:moveTo>
                <a:cubicBezTo>
                  <a:pt x="119" y="5"/>
                  <a:pt x="81" y="0"/>
                  <a:pt x="51" y="15"/>
                </a:cubicBezTo>
                <a:cubicBezTo>
                  <a:pt x="51" y="15"/>
                  <a:pt x="51" y="15"/>
                  <a:pt x="51" y="15"/>
                </a:cubicBezTo>
                <a:cubicBezTo>
                  <a:pt x="49" y="17"/>
                  <a:pt x="49" y="17"/>
                  <a:pt x="49" y="17"/>
                </a:cubicBezTo>
                <a:cubicBezTo>
                  <a:pt x="48" y="17"/>
                  <a:pt x="48" y="17"/>
                  <a:pt x="48" y="17"/>
                </a:cubicBezTo>
                <a:cubicBezTo>
                  <a:pt x="47" y="18"/>
                  <a:pt x="45" y="19"/>
                  <a:pt x="44" y="19"/>
                </a:cubicBezTo>
                <a:cubicBezTo>
                  <a:pt x="44" y="20"/>
                  <a:pt x="44" y="20"/>
                  <a:pt x="44" y="20"/>
                </a:cubicBezTo>
                <a:cubicBezTo>
                  <a:pt x="42" y="21"/>
                  <a:pt x="41" y="22"/>
                  <a:pt x="39" y="23"/>
                </a:cubicBezTo>
                <a:cubicBezTo>
                  <a:pt x="39" y="23"/>
                  <a:pt x="39" y="23"/>
                  <a:pt x="39" y="23"/>
                </a:cubicBezTo>
                <a:cubicBezTo>
                  <a:pt x="37" y="24"/>
                  <a:pt x="36" y="25"/>
                  <a:pt x="35" y="26"/>
                </a:cubicBezTo>
                <a:cubicBezTo>
                  <a:pt x="35" y="26"/>
                  <a:pt x="34" y="27"/>
                  <a:pt x="34" y="27"/>
                </a:cubicBezTo>
                <a:cubicBezTo>
                  <a:pt x="33" y="28"/>
                  <a:pt x="32" y="29"/>
                  <a:pt x="30" y="30"/>
                </a:cubicBezTo>
                <a:cubicBezTo>
                  <a:pt x="29" y="32"/>
                  <a:pt x="28" y="33"/>
                  <a:pt x="27" y="34"/>
                </a:cubicBezTo>
                <a:cubicBezTo>
                  <a:pt x="27" y="34"/>
                  <a:pt x="26" y="35"/>
                  <a:pt x="26" y="35"/>
                </a:cubicBezTo>
                <a:cubicBezTo>
                  <a:pt x="25" y="36"/>
                  <a:pt x="24" y="37"/>
                  <a:pt x="23" y="39"/>
                </a:cubicBezTo>
                <a:cubicBezTo>
                  <a:pt x="23" y="39"/>
                  <a:pt x="23" y="39"/>
                  <a:pt x="23" y="39"/>
                </a:cubicBezTo>
                <a:cubicBezTo>
                  <a:pt x="22" y="41"/>
                  <a:pt x="21" y="42"/>
                  <a:pt x="20" y="44"/>
                </a:cubicBezTo>
                <a:cubicBezTo>
                  <a:pt x="20" y="44"/>
                  <a:pt x="20" y="44"/>
                  <a:pt x="19" y="44"/>
                </a:cubicBezTo>
                <a:cubicBezTo>
                  <a:pt x="19" y="45"/>
                  <a:pt x="18" y="47"/>
                  <a:pt x="17" y="48"/>
                </a:cubicBezTo>
                <a:cubicBezTo>
                  <a:pt x="17" y="48"/>
                  <a:pt x="17" y="48"/>
                  <a:pt x="17" y="49"/>
                </a:cubicBezTo>
                <a:cubicBezTo>
                  <a:pt x="15" y="51"/>
                  <a:pt x="15" y="51"/>
                  <a:pt x="15" y="51"/>
                </a:cubicBezTo>
                <a:cubicBezTo>
                  <a:pt x="15" y="51"/>
                  <a:pt x="15" y="51"/>
                  <a:pt x="15" y="51"/>
                </a:cubicBezTo>
                <a:cubicBezTo>
                  <a:pt x="0" y="81"/>
                  <a:pt x="5" y="119"/>
                  <a:pt x="30" y="144"/>
                </a:cubicBezTo>
                <a:cubicBezTo>
                  <a:pt x="46" y="159"/>
                  <a:pt x="66" y="167"/>
                  <a:pt x="87" y="167"/>
                </a:cubicBezTo>
                <a:cubicBezTo>
                  <a:pt x="99" y="167"/>
                  <a:pt x="112" y="164"/>
                  <a:pt x="123" y="158"/>
                </a:cubicBezTo>
                <a:cubicBezTo>
                  <a:pt x="123" y="159"/>
                  <a:pt x="123" y="159"/>
                  <a:pt x="123" y="159"/>
                </a:cubicBezTo>
                <a:cubicBezTo>
                  <a:pt x="125" y="157"/>
                  <a:pt x="125" y="157"/>
                  <a:pt x="125" y="157"/>
                </a:cubicBezTo>
                <a:cubicBezTo>
                  <a:pt x="126" y="157"/>
                  <a:pt x="126" y="157"/>
                  <a:pt x="126" y="157"/>
                </a:cubicBezTo>
                <a:cubicBezTo>
                  <a:pt x="127" y="156"/>
                  <a:pt x="129" y="155"/>
                  <a:pt x="130" y="154"/>
                </a:cubicBezTo>
                <a:cubicBezTo>
                  <a:pt x="130" y="154"/>
                  <a:pt x="130" y="154"/>
                  <a:pt x="130" y="154"/>
                </a:cubicBezTo>
                <a:cubicBezTo>
                  <a:pt x="132" y="153"/>
                  <a:pt x="133" y="152"/>
                  <a:pt x="135" y="151"/>
                </a:cubicBezTo>
                <a:cubicBezTo>
                  <a:pt x="135" y="151"/>
                  <a:pt x="135" y="151"/>
                  <a:pt x="135" y="151"/>
                </a:cubicBezTo>
                <a:cubicBezTo>
                  <a:pt x="137" y="150"/>
                  <a:pt x="138" y="149"/>
                  <a:pt x="139" y="148"/>
                </a:cubicBezTo>
                <a:cubicBezTo>
                  <a:pt x="139" y="148"/>
                  <a:pt x="140" y="147"/>
                  <a:pt x="140" y="147"/>
                </a:cubicBezTo>
                <a:cubicBezTo>
                  <a:pt x="141" y="146"/>
                  <a:pt x="142" y="145"/>
                  <a:pt x="144" y="144"/>
                </a:cubicBezTo>
                <a:cubicBezTo>
                  <a:pt x="145" y="142"/>
                  <a:pt x="146" y="141"/>
                  <a:pt x="147" y="140"/>
                </a:cubicBezTo>
                <a:cubicBezTo>
                  <a:pt x="147" y="139"/>
                  <a:pt x="148" y="139"/>
                  <a:pt x="148" y="139"/>
                </a:cubicBezTo>
                <a:cubicBezTo>
                  <a:pt x="149" y="138"/>
                  <a:pt x="150" y="137"/>
                  <a:pt x="151" y="135"/>
                </a:cubicBezTo>
                <a:cubicBezTo>
                  <a:pt x="151" y="135"/>
                  <a:pt x="151" y="135"/>
                  <a:pt x="151" y="135"/>
                </a:cubicBezTo>
                <a:cubicBezTo>
                  <a:pt x="152" y="133"/>
                  <a:pt x="153" y="132"/>
                  <a:pt x="154" y="130"/>
                </a:cubicBezTo>
                <a:cubicBezTo>
                  <a:pt x="154" y="130"/>
                  <a:pt x="154" y="130"/>
                  <a:pt x="154" y="130"/>
                </a:cubicBezTo>
                <a:cubicBezTo>
                  <a:pt x="155" y="129"/>
                  <a:pt x="156" y="127"/>
                  <a:pt x="157" y="126"/>
                </a:cubicBezTo>
                <a:cubicBezTo>
                  <a:pt x="157" y="126"/>
                  <a:pt x="157" y="126"/>
                  <a:pt x="157" y="125"/>
                </a:cubicBezTo>
                <a:cubicBezTo>
                  <a:pt x="159" y="123"/>
                  <a:pt x="159" y="123"/>
                  <a:pt x="159" y="123"/>
                </a:cubicBezTo>
                <a:cubicBezTo>
                  <a:pt x="158" y="123"/>
                  <a:pt x="158" y="123"/>
                  <a:pt x="158" y="123"/>
                </a:cubicBezTo>
                <a:cubicBezTo>
                  <a:pt x="174" y="93"/>
                  <a:pt x="169" y="55"/>
                  <a:pt x="144" y="30"/>
                </a:cubicBezTo>
                <a:close/>
                <a:moveTo>
                  <a:pt x="87" y="12"/>
                </a:moveTo>
                <a:cubicBezTo>
                  <a:pt x="106" y="12"/>
                  <a:pt x="125" y="20"/>
                  <a:pt x="140" y="34"/>
                </a:cubicBezTo>
                <a:cubicBezTo>
                  <a:pt x="163" y="58"/>
                  <a:pt x="168" y="92"/>
                  <a:pt x="154" y="120"/>
                </a:cubicBezTo>
                <a:cubicBezTo>
                  <a:pt x="117" y="100"/>
                  <a:pt x="117" y="100"/>
                  <a:pt x="117" y="100"/>
                </a:cubicBezTo>
                <a:cubicBezTo>
                  <a:pt x="123" y="88"/>
                  <a:pt x="120" y="74"/>
                  <a:pt x="110" y="64"/>
                </a:cubicBezTo>
                <a:cubicBezTo>
                  <a:pt x="100" y="54"/>
                  <a:pt x="86" y="51"/>
                  <a:pt x="74" y="57"/>
                </a:cubicBezTo>
                <a:cubicBezTo>
                  <a:pt x="54" y="20"/>
                  <a:pt x="54" y="20"/>
                  <a:pt x="54" y="20"/>
                </a:cubicBezTo>
                <a:cubicBezTo>
                  <a:pt x="64" y="15"/>
                  <a:pt x="76" y="12"/>
                  <a:pt x="87" y="12"/>
                </a:cubicBezTo>
                <a:close/>
                <a:moveTo>
                  <a:pt x="148" y="129"/>
                </a:moveTo>
                <a:cubicBezTo>
                  <a:pt x="148" y="130"/>
                  <a:pt x="147" y="131"/>
                  <a:pt x="146" y="132"/>
                </a:cubicBezTo>
                <a:cubicBezTo>
                  <a:pt x="146" y="133"/>
                  <a:pt x="146" y="133"/>
                  <a:pt x="145" y="133"/>
                </a:cubicBezTo>
                <a:cubicBezTo>
                  <a:pt x="145" y="134"/>
                  <a:pt x="144" y="135"/>
                  <a:pt x="143" y="136"/>
                </a:cubicBezTo>
                <a:cubicBezTo>
                  <a:pt x="143" y="136"/>
                  <a:pt x="143" y="136"/>
                  <a:pt x="143" y="137"/>
                </a:cubicBezTo>
                <a:cubicBezTo>
                  <a:pt x="142" y="138"/>
                  <a:pt x="141" y="139"/>
                  <a:pt x="140" y="140"/>
                </a:cubicBezTo>
                <a:cubicBezTo>
                  <a:pt x="139" y="141"/>
                  <a:pt x="138" y="142"/>
                  <a:pt x="137" y="143"/>
                </a:cubicBezTo>
                <a:cubicBezTo>
                  <a:pt x="136" y="143"/>
                  <a:pt x="136" y="143"/>
                  <a:pt x="136" y="143"/>
                </a:cubicBezTo>
                <a:cubicBezTo>
                  <a:pt x="135" y="144"/>
                  <a:pt x="134" y="145"/>
                  <a:pt x="133" y="145"/>
                </a:cubicBezTo>
                <a:cubicBezTo>
                  <a:pt x="133" y="146"/>
                  <a:pt x="133" y="146"/>
                  <a:pt x="132" y="146"/>
                </a:cubicBezTo>
                <a:cubicBezTo>
                  <a:pt x="131" y="147"/>
                  <a:pt x="130" y="148"/>
                  <a:pt x="129" y="148"/>
                </a:cubicBezTo>
                <a:cubicBezTo>
                  <a:pt x="129" y="148"/>
                  <a:pt x="129" y="149"/>
                  <a:pt x="129" y="149"/>
                </a:cubicBezTo>
                <a:cubicBezTo>
                  <a:pt x="128" y="149"/>
                  <a:pt x="126" y="150"/>
                  <a:pt x="125" y="151"/>
                </a:cubicBezTo>
                <a:cubicBezTo>
                  <a:pt x="105" y="115"/>
                  <a:pt x="105" y="115"/>
                  <a:pt x="105" y="115"/>
                </a:cubicBezTo>
                <a:cubicBezTo>
                  <a:pt x="107" y="113"/>
                  <a:pt x="109" y="112"/>
                  <a:pt x="110" y="110"/>
                </a:cubicBezTo>
                <a:cubicBezTo>
                  <a:pt x="112" y="109"/>
                  <a:pt x="113" y="107"/>
                  <a:pt x="115" y="105"/>
                </a:cubicBezTo>
                <a:cubicBezTo>
                  <a:pt x="151" y="125"/>
                  <a:pt x="151" y="125"/>
                  <a:pt x="151" y="125"/>
                </a:cubicBezTo>
                <a:cubicBezTo>
                  <a:pt x="150" y="126"/>
                  <a:pt x="149" y="128"/>
                  <a:pt x="149" y="129"/>
                </a:cubicBezTo>
                <a:cubicBezTo>
                  <a:pt x="149" y="129"/>
                  <a:pt x="148" y="129"/>
                  <a:pt x="148" y="129"/>
                </a:cubicBezTo>
                <a:close/>
                <a:moveTo>
                  <a:pt x="104" y="109"/>
                </a:moveTo>
                <a:cubicBezTo>
                  <a:pt x="104" y="109"/>
                  <a:pt x="103" y="109"/>
                  <a:pt x="103" y="109"/>
                </a:cubicBezTo>
                <a:cubicBezTo>
                  <a:pt x="102" y="110"/>
                  <a:pt x="101" y="111"/>
                  <a:pt x="100" y="111"/>
                </a:cubicBezTo>
                <a:cubicBezTo>
                  <a:pt x="100" y="111"/>
                  <a:pt x="100" y="111"/>
                  <a:pt x="100" y="111"/>
                </a:cubicBezTo>
                <a:cubicBezTo>
                  <a:pt x="100" y="112"/>
                  <a:pt x="100" y="112"/>
                  <a:pt x="100" y="112"/>
                </a:cubicBezTo>
                <a:cubicBezTo>
                  <a:pt x="89" y="117"/>
                  <a:pt x="76" y="115"/>
                  <a:pt x="67" y="107"/>
                </a:cubicBezTo>
                <a:cubicBezTo>
                  <a:pt x="59" y="98"/>
                  <a:pt x="57" y="85"/>
                  <a:pt x="62" y="74"/>
                </a:cubicBezTo>
                <a:cubicBezTo>
                  <a:pt x="63" y="74"/>
                  <a:pt x="63" y="74"/>
                  <a:pt x="63" y="74"/>
                </a:cubicBezTo>
                <a:cubicBezTo>
                  <a:pt x="63" y="74"/>
                  <a:pt x="63" y="74"/>
                  <a:pt x="63" y="74"/>
                </a:cubicBezTo>
                <a:cubicBezTo>
                  <a:pt x="63" y="73"/>
                  <a:pt x="64" y="72"/>
                  <a:pt x="65" y="71"/>
                </a:cubicBezTo>
                <a:cubicBezTo>
                  <a:pt x="65" y="71"/>
                  <a:pt x="65" y="70"/>
                  <a:pt x="65" y="70"/>
                </a:cubicBezTo>
                <a:cubicBezTo>
                  <a:pt x="66" y="69"/>
                  <a:pt x="67" y="68"/>
                  <a:pt x="67" y="67"/>
                </a:cubicBezTo>
                <a:cubicBezTo>
                  <a:pt x="68" y="67"/>
                  <a:pt x="69" y="66"/>
                  <a:pt x="70" y="65"/>
                </a:cubicBezTo>
                <a:cubicBezTo>
                  <a:pt x="70" y="65"/>
                  <a:pt x="71" y="65"/>
                  <a:pt x="71" y="65"/>
                </a:cubicBezTo>
                <a:cubicBezTo>
                  <a:pt x="72" y="64"/>
                  <a:pt x="73" y="63"/>
                  <a:pt x="74" y="63"/>
                </a:cubicBezTo>
                <a:cubicBezTo>
                  <a:pt x="74" y="63"/>
                  <a:pt x="74" y="63"/>
                  <a:pt x="74" y="63"/>
                </a:cubicBezTo>
                <a:cubicBezTo>
                  <a:pt x="74" y="62"/>
                  <a:pt x="74" y="62"/>
                  <a:pt x="74" y="62"/>
                </a:cubicBezTo>
                <a:cubicBezTo>
                  <a:pt x="78" y="60"/>
                  <a:pt x="83" y="59"/>
                  <a:pt x="87" y="59"/>
                </a:cubicBezTo>
                <a:cubicBezTo>
                  <a:pt x="94" y="59"/>
                  <a:pt x="101" y="62"/>
                  <a:pt x="107" y="67"/>
                </a:cubicBezTo>
                <a:cubicBezTo>
                  <a:pt x="115" y="76"/>
                  <a:pt x="117" y="89"/>
                  <a:pt x="112" y="100"/>
                </a:cubicBezTo>
                <a:cubicBezTo>
                  <a:pt x="111" y="100"/>
                  <a:pt x="111" y="100"/>
                  <a:pt x="111" y="100"/>
                </a:cubicBezTo>
                <a:cubicBezTo>
                  <a:pt x="111" y="100"/>
                  <a:pt x="111" y="100"/>
                  <a:pt x="111" y="100"/>
                </a:cubicBezTo>
                <a:cubicBezTo>
                  <a:pt x="111" y="101"/>
                  <a:pt x="110" y="102"/>
                  <a:pt x="109" y="103"/>
                </a:cubicBezTo>
                <a:cubicBezTo>
                  <a:pt x="109" y="103"/>
                  <a:pt x="109" y="104"/>
                  <a:pt x="109" y="104"/>
                </a:cubicBezTo>
                <a:cubicBezTo>
                  <a:pt x="108" y="105"/>
                  <a:pt x="107" y="106"/>
                  <a:pt x="107" y="107"/>
                </a:cubicBezTo>
                <a:cubicBezTo>
                  <a:pt x="106" y="107"/>
                  <a:pt x="105" y="108"/>
                  <a:pt x="104" y="109"/>
                </a:cubicBezTo>
                <a:close/>
                <a:moveTo>
                  <a:pt x="25" y="45"/>
                </a:moveTo>
                <a:cubicBezTo>
                  <a:pt x="25" y="45"/>
                  <a:pt x="26" y="45"/>
                  <a:pt x="26" y="45"/>
                </a:cubicBezTo>
                <a:cubicBezTo>
                  <a:pt x="26" y="44"/>
                  <a:pt x="27" y="43"/>
                  <a:pt x="28" y="42"/>
                </a:cubicBezTo>
                <a:cubicBezTo>
                  <a:pt x="28" y="41"/>
                  <a:pt x="28" y="41"/>
                  <a:pt x="29" y="41"/>
                </a:cubicBezTo>
                <a:cubicBezTo>
                  <a:pt x="29" y="40"/>
                  <a:pt x="30" y="39"/>
                  <a:pt x="31" y="38"/>
                </a:cubicBezTo>
                <a:cubicBezTo>
                  <a:pt x="31" y="38"/>
                  <a:pt x="31" y="38"/>
                  <a:pt x="31" y="37"/>
                </a:cubicBezTo>
                <a:cubicBezTo>
                  <a:pt x="32" y="36"/>
                  <a:pt x="33" y="35"/>
                  <a:pt x="34" y="34"/>
                </a:cubicBezTo>
                <a:cubicBezTo>
                  <a:pt x="35" y="33"/>
                  <a:pt x="36" y="32"/>
                  <a:pt x="37" y="31"/>
                </a:cubicBezTo>
                <a:cubicBezTo>
                  <a:pt x="38" y="31"/>
                  <a:pt x="38" y="31"/>
                  <a:pt x="38" y="31"/>
                </a:cubicBezTo>
                <a:cubicBezTo>
                  <a:pt x="39" y="30"/>
                  <a:pt x="40" y="29"/>
                  <a:pt x="41" y="29"/>
                </a:cubicBezTo>
                <a:cubicBezTo>
                  <a:pt x="41" y="28"/>
                  <a:pt x="41" y="28"/>
                  <a:pt x="42" y="28"/>
                </a:cubicBezTo>
                <a:cubicBezTo>
                  <a:pt x="43" y="27"/>
                  <a:pt x="44" y="26"/>
                  <a:pt x="45" y="26"/>
                </a:cubicBezTo>
                <a:cubicBezTo>
                  <a:pt x="45" y="26"/>
                  <a:pt x="45" y="25"/>
                  <a:pt x="45" y="25"/>
                </a:cubicBezTo>
                <a:cubicBezTo>
                  <a:pt x="46" y="25"/>
                  <a:pt x="48" y="24"/>
                  <a:pt x="49" y="23"/>
                </a:cubicBezTo>
                <a:cubicBezTo>
                  <a:pt x="69" y="59"/>
                  <a:pt x="69" y="59"/>
                  <a:pt x="69" y="59"/>
                </a:cubicBezTo>
                <a:cubicBezTo>
                  <a:pt x="67" y="61"/>
                  <a:pt x="65" y="62"/>
                  <a:pt x="64" y="64"/>
                </a:cubicBezTo>
                <a:cubicBezTo>
                  <a:pt x="62" y="65"/>
                  <a:pt x="61" y="67"/>
                  <a:pt x="59" y="69"/>
                </a:cubicBezTo>
                <a:cubicBezTo>
                  <a:pt x="23" y="49"/>
                  <a:pt x="23" y="49"/>
                  <a:pt x="23" y="49"/>
                </a:cubicBezTo>
                <a:cubicBezTo>
                  <a:pt x="24" y="48"/>
                  <a:pt x="25" y="46"/>
                  <a:pt x="25" y="45"/>
                </a:cubicBezTo>
                <a:close/>
                <a:moveTo>
                  <a:pt x="34" y="140"/>
                </a:moveTo>
                <a:cubicBezTo>
                  <a:pt x="11" y="116"/>
                  <a:pt x="6" y="82"/>
                  <a:pt x="20" y="54"/>
                </a:cubicBezTo>
                <a:cubicBezTo>
                  <a:pt x="57" y="74"/>
                  <a:pt x="57" y="74"/>
                  <a:pt x="57" y="74"/>
                </a:cubicBezTo>
                <a:cubicBezTo>
                  <a:pt x="51" y="86"/>
                  <a:pt x="54" y="100"/>
                  <a:pt x="64" y="110"/>
                </a:cubicBezTo>
                <a:cubicBezTo>
                  <a:pt x="70" y="117"/>
                  <a:pt x="79" y="120"/>
                  <a:pt x="87" y="120"/>
                </a:cubicBezTo>
                <a:cubicBezTo>
                  <a:pt x="92" y="120"/>
                  <a:pt x="96" y="119"/>
                  <a:pt x="100" y="117"/>
                </a:cubicBezTo>
                <a:cubicBezTo>
                  <a:pt x="120" y="154"/>
                  <a:pt x="120" y="154"/>
                  <a:pt x="120" y="154"/>
                </a:cubicBezTo>
                <a:cubicBezTo>
                  <a:pt x="92" y="168"/>
                  <a:pt x="58" y="163"/>
                  <a:pt x="34" y="140"/>
                </a:cubicBezTo>
                <a:close/>
                <a:moveTo>
                  <a:pt x="79" y="79"/>
                </a:moveTo>
                <a:cubicBezTo>
                  <a:pt x="77" y="81"/>
                  <a:pt x="76" y="84"/>
                  <a:pt x="76" y="87"/>
                </a:cubicBezTo>
                <a:cubicBezTo>
                  <a:pt x="76" y="90"/>
                  <a:pt x="77" y="93"/>
                  <a:pt x="79" y="95"/>
                </a:cubicBezTo>
                <a:cubicBezTo>
                  <a:pt x="81" y="97"/>
                  <a:pt x="84" y="98"/>
                  <a:pt x="87" y="98"/>
                </a:cubicBezTo>
                <a:cubicBezTo>
                  <a:pt x="90" y="98"/>
                  <a:pt x="93" y="97"/>
                  <a:pt x="95" y="95"/>
                </a:cubicBezTo>
                <a:cubicBezTo>
                  <a:pt x="97" y="93"/>
                  <a:pt x="98" y="90"/>
                  <a:pt x="98" y="87"/>
                </a:cubicBezTo>
                <a:cubicBezTo>
                  <a:pt x="98" y="84"/>
                  <a:pt x="97" y="81"/>
                  <a:pt x="95" y="79"/>
                </a:cubicBezTo>
                <a:cubicBezTo>
                  <a:pt x="91" y="75"/>
                  <a:pt x="83" y="75"/>
                  <a:pt x="79" y="79"/>
                </a:cubicBezTo>
                <a:close/>
                <a:moveTo>
                  <a:pt x="91" y="91"/>
                </a:moveTo>
                <a:cubicBezTo>
                  <a:pt x="89" y="93"/>
                  <a:pt x="85" y="93"/>
                  <a:pt x="83" y="91"/>
                </a:cubicBezTo>
                <a:cubicBezTo>
                  <a:pt x="82" y="90"/>
                  <a:pt x="81" y="88"/>
                  <a:pt x="81" y="87"/>
                </a:cubicBezTo>
                <a:cubicBezTo>
                  <a:pt x="81" y="86"/>
                  <a:pt x="82" y="84"/>
                  <a:pt x="83" y="83"/>
                </a:cubicBezTo>
                <a:cubicBezTo>
                  <a:pt x="84" y="82"/>
                  <a:pt x="86" y="81"/>
                  <a:pt x="87" y="81"/>
                </a:cubicBezTo>
                <a:cubicBezTo>
                  <a:pt x="88" y="81"/>
                  <a:pt x="90" y="82"/>
                  <a:pt x="91" y="83"/>
                </a:cubicBezTo>
                <a:cubicBezTo>
                  <a:pt x="92" y="84"/>
                  <a:pt x="93" y="86"/>
                  <a:pt x="93" y="87"/>
                </a:cubicBezTo>
                <a:cubicBezTo>
                  <a:pt x="93" y="88"/>
                  <a:pt x="92" y="90"/>
                  <a:pt x="91" y="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33" name="Freeform 1110">
            <a:extLst>
              <a:ext uri="{FF2B5EF4-FFF2-40B4-BE49-F238E27FC236}">
                <a16:creationId xmlns:a16="http://schemas.microsoft.com/office/drawing/2014/main" id="{4CEA7CEB-D54B-5A45-A51C-B146C0F93F1D}"/>
              </a:ext>
            </a:extLst>
          </p:cNvPr>
          <p:cNvSpPr>
            <a:spLocks noEditPoints="1"/>
          </p:cNvSpPr>
          <p:nvPr/>
        </p:nvSpPr>
        <p:spPr bwMode="auto">
          <a:xfrm>
            <a:off x="6351470" y="984250"/>
            <a:ext cx="463550" cy="550863"/>
          </a:xfrm>
          <a:custGeom>
            <a:avLst/>
            <a:gdLst>
              <a:gd name="T0" fmla="*/ 71 w 136"/>
              <a:gd name="T1" fmla="*/ 24 h 160"/>
              <a:gd name="T2" fmla="*/ 71 w 136"/>
              <a:gd name="T3" fmla="*/ 21 h 160"/>
              <a:gd name="T4" fmla="*/ 79 w 136"/>
              <a:gd name="T5" fmla="*/ 11 h 160"/>
              <a:gd name="T6" fmla="*/ 68 w 136"/>
              <a:gd name="T7" fmla="*/ 0 h 160"/>
              <a:gd name="T8" fmla="*/ 57 w 136"/>
              <a:gd name="T9" fmla="*/ 11 h 160"/>
              <a:gd name="T10" fmla="*/ 65 w 136"/>
              <a:gd name="T11" fmla="*/ 21 h 160"/>
              <a:gd name="T12" fmla="*/ 65 w 136"/>
              <a:gd name="T13" fmla="*/ 24 h 160"/>
              <a:gd name="T14" fmla="*/ 0 w 136"/>
              <a:gd name="T15" fmla="*/ 92 h 160"/>
              <a:gd name="T16" fmla="*/ 68 w 136"/>
              <a:gd name="T17" fmla="*/ 160 h 160"/>
              <a:gd name="T18" fmla="*/ 136 w 136"/>
              <a:gd name="T19" fmla="*/ 92 h 160"/>
              <a:gd name="T20" fmla="*/ 71 w 136"/>
              <a:gd name="T21" fmla="*/ 24 h 160"/>
              <a:gd name="T22" fmla="*/ 62 w 136"/>
              <a:gd name="T23" fmla="*/ 11 h 160"/>
              <a:gd name="T24" fmla="*/ 68 w 136"/>
              <a:gd name="T25" fmla="*/ 5 h 160"/>
              <a:gd name="T26" fmla="*/ 73 w 136"/>
              <a:gd name="T27" fmla="*/ 11 h 160"/>
              <a:gd name="T28" fmla="*/ 68 w 136"/>
              <a:gd name="T29" fmla="*/ 16 h 160"/>
              <a:gd name="T30" fmla="*/ 62 w 136"/>
              <a:gd name="T31" fmla="*/ 11 h 160"/>
              <a:gd name="T32" fmla="*/ 68 w 136"/>
              <a:gd name="T33" fmla="*/ 155 h 160"/>
              <a:gd name="T34" fmla="*/ 5 w 136"/>
              <a:gd name="T35" fmla="*/ 92 h 160"/>
              <a:gd name="T36" fmla="*/ 68 w 136"/>
              <a:gd name="T37" fmla="*/ 30 h 160"/>
              <a:gd name="T38" fmla="*/ 130 w 136"/>
              <a:gd name="T39" fmla="*/ 92 h 160"/>
              <a:gd name="T40" fmla="*/ 68 w 136"/>
              <a:gd name="T41" fmla="*/ 155 h 160"/>
              <a:gd name="T42" fmla="*/ 101 w 136"/>
              <a:gd name="T43" fmla="*/ 55 h 160"/>
              <a:gd name="T44" fmla="*/ 55 w 136"/>
              <a:gd name="T45" fmla="*/ 78 h 160"/>
              <a:gd name="T46" fmla="*/ 55 w 136"/>
              <a:gd name="T47" fmla="*/ 78 h 160"/>
              <a:gd name="T48" fmla="*/ 54 w 136"/>
              <a:gd name="T49" fmla="*/ 79 h 160"/>
              <a:gd name="T50" fmla="*/ 54 w 136"/>
              <a:gd name="T51" fmla="*/ 79 h 160"/>
              <a:gd name="T52" fmla="*/ 54 w 136"/>
              <a:gd name="T53" fmla="*/ 79 h 160"/>
              <a:gd name="T54" fmla="*/ 31 w 136"/>
              <a:gd name="T55" fmla="*/ 126 h 160"/>
              <a:gd name="T56" fmla="*/ 31 w 136"/>
              <a:gd name="T57" fmla="*/ 129 h 160"/>
              <a:gd name="T58" fmla="*/ 33 w 136"/>
              <a:gd name="T59" fmla="*/ 129 h 160"/>
              <a:gd name="T60" fmla="*/ 34 w 136"/>
              <a:gd name="T61" fmla="*/ 129 h 160"/>
              <a:gd name="T62" fmla="*/ 81 w 136"/>
              <a:gd name="T63" fmla="*/ 106 h 160"/>
              <a:gd name="T64" fmla="*/ 81 w 136"/>
              <a:gd name="T65" fmla="*/ 106 h 160"/>
              <a:gd name="T66" fmla="*/ 81 w 136"/>
              <a:gd name="T67" fmla="*/ 106 h 160"/>
              <a:gd name="T68" fmla="*/ 82 w 136"/>
              <a:gd name="T69" fmla="*/ 105 h 160"/>
              <a:gd name="T70" fmla="*/ 82 w 136"/>
              <a:gd name="T71" fmla="*/ 105 h 160"/>
              <a:gd name="T72" fmla="*/ 105 w 136"/>
              <a:gd name="T73" fmla="*/ 59 h 160"/>
              <a:gd name="T74" fmla="*/ 104 w 136"/>
              <a:gd name="T75" fmla="*/ 56 h 160"/>
              <a:gd name="T76" fmla="*/ 101 w 136"/>
              <a:gd name="T77" fmla="*/ 55 h 160"/>
              <a:gd name="T78" fmla="*/ 39 w 136"/>
              <a:gd name="T79" fmla="*/ 121 h 160"/>
              <a:gd name="T80" fmla="*/ 57 w 136"/>
              <a:gd name="T81" fmla="*/ 85 h 160"/>
              <a:gd name="T82" fmla="*/ 75 w 136"/>
              <a:gd name="T83" fmla="*/ 103 h 160"/>
              <a:gd name="T84" fmla="*/ 39 w 136"/>
              <a:gd name="T85" fmla="*/ 121 h 160"/>
              <a:gd name="T86" fmla="*/ 79 w 136"/>
              <a:gd name="T87" fmla="*/ 99 h 160"/>
              <a:gd name="T88" fmla="*/ 61 w 136"/>
              <a:gd name="T89" fmla="*/ 81 h 160"/>
              <a:gd name="T90" fmla="*/ 96 w 136"/>
              <a:gd name="T91" fmla="*/ 64 h 160"/>
              <a:gd name="T92" fmla="*/ 79 w 136"/>
              <a:gd name="T93" fmla="*/ 9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6" h="160">
                <a:moveTo>
                  <a:pt x="71" y="24"/>
                </a:moveTo>
                <a:cubicBezTo>
                  <a:pt x="71" y="21"/>
                  <a:pt x="71" y="21"/>
                  <a:pt x="71" y="21"/>
                </a:cubicBezTo>
                <a:cubicBezTo>
                  <a:pt x="75" y="20"/>
                  <a:pt x="79" y="16"/>
                  <a:pt x="79" y="11"/>
                </a:cubicBezTo>
                <a:cubicBezTo>
                  <a:pt x="79" y="5"/>
                  <a:pt x="74" y="0"/>
                  <a:pt x="68" y="0"/>
                </a:cubicBezTo>
                <a:cubicBezTo>
                  <a:pt x="62" y="0"/>
                  <a:pt x="57" y="5"/>
                  <a:pt x="57" y="11"/>
                </a:cubicBezTo>
                <a:cubicBezTo>
                  <a:pt x="57" y="16"/>
                  <a:pt x="60" y="20"/>
                  <a:pt x="65" y="21"/>
                </a:cubicBezTo>
                <a:cubicBezTo>
                  <a:pt x="65" y="24"/>
                  <a:pt x="65" y="24"/>
                  <a:pt x="65" y="24"/>
                </a:cubicBezTo>
                <a:cubicBezTo>
                  <a:pt x="29" y="26"/>
                  <a:pt x="0" y="56"/>
                  <a:pt x="0" y="92"/>
                </a:cubicBezTo>
                <a:cubicBezTo>
                  <a:pt x="0" y="130"/>
                  <a:pt x="30" y="160"/>
                  <a:pt x="68" y="160"/>
                </a:cubicBezTo>
                <a:cubicBezTo>
                  <a:pt x="105" y="160"/>
                  <a:pt x="136" y="130"/>
                  <a:pt x="136" y="92"/>
                </a:cubicBezTo>
                <a:cubicBezTo>
                  <a:pt x="136" y="56"/>
                  <a:pt x="107" y="26"/>
                  <a:pt x="71" y="24"/>
                </a:cubicBezTo>
                <a:close/>
                <a:moveTo>
                  <a:pt x="62" y="11"/>
                </a:moveTo>
                <a:cubicBezTo>
                  <a:pt x="62" y="8"/>
                  <a:pt x="65" y="5"/>
                  <a:pt x="68" y="5"/>
                </a:cubicBezTo>
                <a:cubicBezTo>
                  <a:pt x="71" y="5"/>
                  <a:pt x="73" y="8"/>
                  <a:pt x="73" y="11"/>
                </a:cubicBezTo>
                <a:cubicBezTo>
                  <a:pt x="73" y="14"/>
                  <a:pt x="71" y="16"/>
                  <a:pt x="68" y="16"/>
                </a:cubicBezTo>
                <a:cubicBezTo>
                  <a:pt x="65" y="16"/>
                  <a:pt x="62" y="14"/>
                  <a:pt x="62" y="11"/>
                </a:cubicBezTo>
                <a:close/>
                <a:moveTo>
                  <a:pt x="68" y="155"/>
                </a:moveTo>
                <a:cubicBezTo>
                  <a:pt x="33" y="155"/>
                  <a:pt x="5" y="127"/>
                  <a:pt x="5" y="92"/>
                </a:cubicBezTo>
                <a:cubicBezTo>
                  <a:pt x="5" y="58"/>
                  <a:pt x="33" y="30"/>
                  <a:pt x="68" y="30"/>
                </a:cubicBezTo>
                <a:cubicBezTo>
                  <a:pt x="102" y="30"/>
                  <a:pt x="130" y="58"/>
                  <a:pt x="130" y="92"/>
                </a:cubicBezTo>
                <a:cubicBezTo>
                  <a:pt x="130" y="127"/>
                  <a:pt x="102" y="155"/>
                  <a:pt x="68" y="155"/>
                </a:cubicBezTo>
                <a:close/>
                <a:moveTo>
                  <a:pt x="101" y="55"/>
                </a:moveTo>
                <a:cubicBezTo>
                  <a:pt x="55" y="78"/>
                  <a:pt x="55" y="78"/>
                  <a:pt x="55" y="78"/>
                </a:cubicBezTo>
                <a:cubicBezTo>
                  <a:pt x="55" y="78"/>
                  <a:pt x="55" y="78"/>
                  <a:pt x="55" y="78"/>
                </a:cubicBezTo>
                <a:cubicBezTo>
                  <a:pt x="55" y="79"/>
                  <a:pt x="55" y="79"/>
                  <a:pt x="54" y="79"/>
                </a:cubicBezTo>
                <a:cubicBezTo>
                  <a:pt x="54" y="79"/>
                  <a:pt x="54" y="79"/>
                  <a:pt x="54" y="79"/>
                </a:cubicBezTo>
                <a:cubicBezTo>
                  <a:pt x="54" y="79"/>
                  <a:pt x="54" y="79"/>
                  <a:pt x="54" y="79"/>
                </a:cubicBezTo>
                <a:cubicBezTo>
                  <a:pt x="31" y="126"/>
                  <a:pt x="31" y="126"/>
                  <a:pt x="31" y="126"/>
                </a:cubicBezTo>
                <a:cubicBezTo>
                  <a:pt x="30" y="127"/>
                  <a:pt x="31" y="128"/>
                  <a:pt x="31" y="129"/>
                </a:cubicBezTo>
                <a:cubicBezTo>
                  <a:pt x="32" y="129"/>
                  <a:pt x="33" y="129"/>
                  <a:pt x="33" y="129"/>
                </a:cubicBezTo>
                <a:cubicBezTo>
                  <a:pt x="34" y="129"/>
                  <a:pt x="34" y="129"/>
                  <a:pt x="34" y="129"/>
                </a:cubicBezTo>
                <a:cubicBezTo>
                  <a:pt x="81" y="106"/>
                  <a:pt x="81" y="106"/>
                  <a:pt x="81" y="106"/>
                </a:cubicBezTo>
                <a:cubicBezTo>
                  <a:pt x="81" y="106"/>
                  <a:pt x="81" y="106"/>
                  <a:pt x="81" y="106"/>
                </a:cubicBezTo>
                <a:cubicBezTo>
                  <a:pt x="81" y="106"/>
                  <a:pt x="81" y="106"/>
                  <a:pt x="81" y="106"/>
                </a:cubicBezTo>
                <a:cubicBezTo>
                  <a:pt x="81" y="105"/>
                  <a:pt x="81" y="105"/>
                  <a:pt x="82" y="105"/>
                </a:cubicBezTo>
                <a:cubicBezTo>
                  <a:pt x="82" y="105"/>
                  <a:pt x="82" y="105"/>
                  <a:pt x="82" y="105"/>
                </a:cubicBezTo>
                <a:cubicBezTo>
                  <a:pt x="105" y="59"/>
                  <a:pt x="105" y="59"/>
                  <a:pt x="105" y="59"/>
                </a:cubicBezTo>
                <a:cubicBezTo>
                  <a:pt x="105" y="58"/>
                  <a:pt x="105" y="57"/>
                  <a:pt x="104" y="56"/>
                </a:cubicBezTo>
                <a:cubicBezTo>
                  <a:pt x="103" y="55"/>
                  <a:pt x="102" y="55"/>
                  <a:pt x="101" y="55"/>
                </a:cubicBezTo>
                <a:close/>
                <a:moveTo>
                  <a:pt x="39" y="121"/>
                </a:moveTo>
                <a:cubicBezTo>
                  <a:pt x="57" y="85"/>
                  <a:pt x="57" y="85"/>
                  <a:pt x="57" y="85"/>
                </a:cubicBezTo>
                <a:cubicBezTo>
                  <a:pt x="75" y="103"/>
                  <a:pt x="75" y="103"/>
                  <a:pt x="75" y="103"/>
                </a:cubicBezTo>
                <a:lnTo>
                  <a:pt x="39" y="121"/>
                </a:lnTo>
                <a:close/>
                <a:moveTo>
                  <a:pt x="79" y="99"/>
                </a:moveTo>
                <a:cubicBezTo>
                  <a:pt x="61" y="81"/>
                  <a:pt x="61" y="81"/>
                  <a:pt x="61" y="81"/>
                </a:cubicBezTo>
                <a:cubicBezTo>
                  <a:pt x="96" y="64"/>
                  <a:pt x="96" y="64"/>
                  <a:pt x="96" y="64"/>
                </a:cubicBezTo>
                <a:lnTo>
                  <a:pt x="7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34" name="Freeform 1111">
            <a:extLst>
              <a:ext uri="{FF2B5EF4-FFF2-40B4-BE49-F238E27FC236}">
                <a16:creationId xmlns:a16="http://schemas.microsoft.com/office/drawing/2014/main" id="{2DCCAE33-E846-A443-945A-27B4934E63C3}"/>
              </a:ext>
            </a:extLst>
          </p:cNvPr>
          <p:cNvSpPr>
            <a:spLocks noEditPoints="1"/>
          </p:cNvSpPr>
          <p:nvPr/>
        </p:nvSpPr>
        <p:spPr bwMode="auto">
          <a:xfrm>
            <a:off x="6310195" y="1603375"/>
            <a:ext cx="546100" cy="550863"/>
          </a:xfrm>
          <a:custGeom>
            <a:avLst/>
            <a:gdLst>
              <a:gd name="T0" fmla="*/ 135 w 160"/>
              <a:gd name="T1" fmla="*/ 22 h 160"/>
              <a:gd name="T2" fmla="*/ 131 w 160"/>
              <a:gd name="T3" fmla="*/ 18 h 160"/>
              <a:gd name="T4" fmla="*/ 128 w 160"/>
              <a:gd name="T5" fmla="*/ 16 h 160"/>
              <a:gd name="T6" fmla="*/ 122 w 160"/>
              <a:gd name="T7" fmla="*/ 12 h 160"/>
              <a:gd name="T8" fmla="*/ 118 w 160"/>
              <a:gd name="T9" fmla="*/ 10 h 160"/>
              <a:gd name="T10" fmla="*/ 111 w 160"/>
              <a:gd name="T11" fmla="*/ 6 h 160"/>
              <a:gd name="T12" fmla="*/ 108 w 160"/>
              <a:gd name="T13" fmla="*/ 5 h 160"/>
              <a:gd name="T14" fmla="*/ 104 w 160"/>
              <a:gd name="T15" fmla="*/ 4 h 160"/>
              <a:gd name="T16" fmla="*/ 100 w 160"/>
              <a:gd name="T17" fmla="*/ 2 h 160"/>
              <a:gd name="T18" fmla="*/ 93 w 160"/>
              <a:gd name="T19" fmla="*/ 1 h 160"/>
              <a:gd name="T20" fmla="*/ 88 w 160"/>
              <a:gd name="T21" fmla="*/ 0 h 160"/>
              <a:gd name="T22" fmla="*/ 80 w 160"/>
              <a:gd name="T23" fmla="*/ 0 h 160"/>
              <a:gd name="T24" fmla="*/ 72 w 160"/>
              <a:gd name="T25" fmla="*/ 0 h 160"/>
              <a:gd name="T26" fmla="*/ 67 w 160"/>
              <a:gd name="T27" fmla="*/ 1 h 160"/>
              <a:gd name="T28" fmla="*/ 60 w 160"/>
              <a:gd name="T29" fmla="*/ 2 h 160"/>
              <a:gd name="T30" fmla="*/ 56 w 160"/>
              <a:gd name="T31" fmla="*/ 4 h 160"/>
              <a:gd name="T32" fmla="*/ 52 w 160"/>
              <a:gd name="T33" fmla="*/ 5 h 160"/>
              <a:gd name="T34" fmla="*/ 49 w 160"/>
              <a:gd name="T35" fmla="*/ 6 h 160"/>
              <a:gd name="T36" fmla="*/ 42 w 160"/>
              <a:gd name="T37" fmla="*/ 10 h 160"/>
              <a:gd name="T38" fmla="*/ 38 w 160"/>
              <a:gd name="T39" fmla="*/ 12 h 160"/>
              <a:gd name="T40" fmla="*/ 32 w 160"/>
              <a:gd name="T41" fmla="*/ 16 h 160"/>
              <a:gd name="T42" fmla="*/ 29 w 160"/>
              <a:gd name="T43" fmla="*/ 18 h 160"/>
              <a:gd name="T44" fmla="*/ 25 w 160"/>
              <a:gd name="T45" fmla="*/ 22 h 160"/>
              <a:gd name="T46" fmla="*/ 0 w 160"/>
              <a:gd name="T47" fmla="*/ 80 h 160"/>
              <a:gd name="T48" fmla="*/ 136 w 160"/>
              <a:gd name="T49" fmla="*/ 23 h 160"/>
              <a:gd name="T50" fmla="*/ 80 w 160"/>
              <a:gd name="T51" fmla="*/ 139 h 160"/>
              <a:gd name="T52" fmla="*/ 101 w 160"/>
              <a:gd name="T53" fmla="*/ 108 h 160"/>
              <a:gd name="T54" fmla="*/ 105 w 160"/>
              <a:gd name="T55" fmla="*/ 104 h 160"/>
              <a:gd name="T56" fmla="*/ 30 w 160"/>
              <a:gd name="T57" fmla="*/ 72 h 160"/>
              <a:gd name="T58" fmla="*/ 77 w 160"/>
              <a:gd name="T59" fmla="*/ 74 h 160"/>
              <a:gd name="T60" fmla="*/ 80 w 160"/>
              <a:gd name="T61" fmla="*/ 75 h 160"/>
              <a:gd name="T62" fmla="*/ 83 w 160"/>
              <a:gd name="T63" fmla="*/ 74 h 160"/>
              <a:gd name="T64" fmla="*/ 130 w 160"/>
              <a:gd name="T65" fmla="*/ 72 h 160"/>
              <a:gd name="T66" fmla="*/ 30 w 160"/>
              <a:gd name="T67" fmla="*/ 25 h 160"/>
              <a:gd name="T68" fmla="*/ 48 w 160"/>
              <a:gd name="T69" fmla="*/ 13 h 160"/>
              <a:gd name="T70" fmla="*/ 51 w 160"/>
              <a:gd name="T71" fmla="*/ 49 h 160"/>
              <a:gd name="T72" fmla="*/ 30 w 160"/>
              <a:gd name="T73" fmla="*/ 25 h 160"/>
              <a:gd name="T74" fmla="*/ 62 w 160"/>
              <a:gd name="T75" fmla="*/ 8 h 160"/>
              <a:gd name="T76" fmla="*/ 68 w 160"/>
              <a:gd name="T77" fmla="*/ 6 h 160"/>
              <a:gd name="T78" fmla="*/ 73 w 160"/>
              <a:gd name="T79" fmla="*/ 6 h 160"/>
              <a:gd name="T80" fmla="*/ 77 w 160"/>
              <a:gd name="T81" fmla="*/ 5 h 160"/>
              <a:gd name="T82" fmla="*/ 56 w 160"/>
              <a:gd name="T83" fmla="*/ 9 h 160"/>
              <a:gd name="T84" fmla="*/ 85 w 160"/>
              <a:gd name="T85" fmla="*/ 6 h 160"/>
              <a:gd name="T86" fmla="*/ 91 w 160"/>
              <a:gd name="T87" fmla="*/ 6 h 160"/>
              <a:gd name="T88" fmla="*/ 96 w 160"/>
              <a:gd name="T89" fmla="*/ 7 h 160"/>
              <a:gd name="T90" fmla="*/ 102 w 160"/>
              <a:gd name="T91" fmla="*/ 9 h 160"/>
              <a:gd name="T92" fmla="*/ 104 w 160"/>
              <a:gd name="T93" fmla="*/ 49 h 160"/>
              <a:gd name="T94" fmla="*/ 84 w 160"/>
              <a:gd name="T95" fmla="*/ 5 h 160"/>
              <a:gd name="T96" fmla="*/ 116 w 160"/>
              <a:gd name="T97" fmla="*/ 14 h 160"/>
              <a:gd name="T98" fmla="*/ 130 w 160"/>
              <a:gd name="T99" fmla="*/ 25 h 160"/>
              <a:gd name="T100" fmla="*/ 109 w 160"/>
              <a:gd name="T101" fmla="*/ 49 h 160"/>
              <a:gd name="T102" fmla="*/ 112 w 160"/>
              <a:gd name="T103" fmla="*/ 13 h 160"/>
              <a:gd name="T104" fmla="*/ 24 w 160"/>
              <a:gd name="T105" fmla="*/ 31 h 160"/>
              <a:gd name="T106" fmla="*/ 77 w 160"/>
              <a:gd name="T107" fmla="*/ 140 h 160"/>
              <a:gd name="T108" fmla="*/ 77 w 160"/>
              <a:gd name="T109" fmla="*/ 140 h 160"/>
              <a:gd name="T110" fmla="*/ 80 w 160"/>
              <a:gd name="T111" fmla="*/ 142 h 160"/>
              <a:gd name="T112" fmla="*/ 80 w 160"/>
              <a:gd name="T113" fmla="*/ 142 h 160"/>
              <a:gd name="T114" fmla="*/ 82 w 160"/>
              <a:gd name="T115" fmla="*/ 141 h 160"/>
              <a:gd name="T116" fmla="*/ 83 w 160"/>
              <a:gd name="T117" fmla="*/ 140 h 160"/>
              <a:gd name="T118" fmla="*/ 136 w 160"/>
              <a:gd name="T119" fmla="*/ 71 h 160"/>
              <a:gd name="T120" fmla="*/ 80 w 160"/>
              <a:gd name="T121"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60">
                <a:moveTo>
                  <a:pt x="136" y="23"/>
                </a:moveTo>
                <a:cubicBezTo>
                  <a:pt x="136" y="23"/>
                  <a:pt x="136" y="23"/>
                  <a:pt x="136" y="23"/>
                </a:cubicBezTo>
                <a:cubicBezTo>
                  <a:pt x="135" y="22"/>
                  <a:pt x="135" y="22"/>
                  <a:pt x="135" y="22"/>
                </a:cubicBezTo>
                <a:cubicBezTo>
                  <a:pt x="135" y="22"/>
                  <a:pt x="134" y="21"/>
                  <a:pt x="134" y="21"/>
                </a:cubicBezTo>
                <a:cubicBezTo>
                  <a:pt x="134" y="21"/>
                  <a:pt x="134" y="21"/>
                  <a:pt x="133" y="21"/>
                </a:cubicBezTo>
                <a:cubicBezTo>
                  <a:pt x="133" y="20"/>
                  <a:pt x="132" y="19"/>
                  <a:pt x="131" y="18"/>
                </a:cubicBezTo>
                <a:cubicBezTo>
                  <a:pt x="131" y="18"/>
                  <a:pt x="131" y="18"/>
                  <a:pt x="131" y="18"/>
                </a:cubicBezTo>
                <a:cubicBezTo>
                  <a:pt x="130" y="17"/>
                  <a:pt x="129" y="17"/>
                  <a:pt x="128" y="16"/>
                </a:cubicBezTo>
                <a:cubicBezTo>
                  <a:pt x="128" y="16"/>
                  <a:pt x="128" y="16"/>
                  <a:pt x="128" y="16"/>
                </a:cubicBezTo>
                <a:cubicBezTo>
                  <a:pt x="127" y="15"/>
                  <a:pt x="126" y="14"/>
                  <a:pt x="125" y="14"/>
                </a:cubicBezTo>
                <a:cubicBezTo>
                  <a:pt x="125" y="14"/>
                  <a:pt x="125" y="14"/>
                  <a:pt x="125" y="14"/>
                </a:cubicBezTo>
                <a:cubicBezTo>
                  <a:pt x="124" y="13"/>
                  <a:pt x="123" y="12"/>
                  <a:pt x="122" y="12"/>
                </a:cubicBezTo>
                <a:cubicBezTo>
                  <a:pt x="121" y="12"/>
                  <a:pt x="121" y="12"/>
                  <a:pt x="121" y="12"/>
                </a:cubicBezTo>
                <a:cubicBezTo>
                  <a:pt x="120" y="11"/>
                  <a:pt x="119" y="10"/>
                  <a:pt x="118" y="10"/>
                </a:cubicBezTo>
                <a:cubicBezTo>
                  <a:pt x="118" y="10"/>
                  <a:pt x="118" y="10"/>
                  <a:pt x="118" y="10"/>
                </a:cubicBezTo>
                <a:cubicBezTo>
                  <a:pt x="117" y="9"/>
                  <a:pt x="116" y="9"/>
                  <a:pt x="115" y="8"/>
                </a:cubicBezTo>
                <a:cubicBezTo>
                  <a:pt x="115" y="8"/>
                  <a:pt x="115" y="8"/>
                  <a:pt x="115" y="8"/>
                </a:cubicBezTo>
                <a:cubicBezTo>
                  <a:pt x="113" y="7"/>
                  <a:pt x="112" y="7"/>
                  <a:pt x="111" y="6"/>
                </a:cubicBezTo>
                <a:cubicBezTo>
                  <a:pt x="111" y="6"/>
                  <a:pt x="111" y="6"/>
                  <a:pt x="111" y="6"/>
                </a:cubicBezTo>
                <a:cubicBezTo>
                  <a:pt x="110" y="6"/>
                  <a:pt x="109" y="5"/>
                  <a:pt x="108" y="5"/>
                </a:cubicBezTo>
                <a:cubicBezTo>
                  <a:pt x="108" y="5"/>
                  <a:pt x="108" y="5"/>
                  <a:pt x="108" y="5"/>
                </a:cubicBezTo>
                <a:cubicBezTo>
                  <a:pt x="108" y="5"/>
                  <a:pt x="108" y="5"/>
                  <a:pt x="108" y="5"/>
                </a:cubicBezTo>
                <a:cubicBezTo>
                  <a:pt x="107" y="5"/>
                  <a:pt x="107" y="5"/>
                  <a:pt x="107" y="5"/>
                </a:cubicBezTo>
                <a:cubicBezTo>
                  <a:pt x="106" y="4"/>
                  <a:pt x="105" y="4"/>
                  <a:pt x="104" y="4"/>
                </a:cubicBezTo>
                <a:cubicBezTo>
                  <a:pt x="104" y="4"/>
                  <a:pt x="104" y="4"/>
                  <a:pt x="103" y="4"/>
                </a:cubicBezTo>
                <a:cubicBezTo>
                  <a:pt x="103" y="3"/>
                  <a:pt x="102" y="3"/>
                  <a:pt x="101" y="3"/>
                </a:cubicBezTo>
                <a:cubicBezTo>
                  <a:pt x="100" y="3"/>
                  <a:pt x="100" y="3"/>
                  <a:pt x="100" y="2"/>
                </a:cubicBezTo>
                <a:cubicBezTo>
                  <a:pt x="99" y="2"/>
                  <a:pt x="98" y="2"/>
                  <a:pt x="97" y="2"/>
                </a:cubicBezTo>
                <a:cubicBezTo>
                  <a:pt x="97" y="2"/>
                  <a:pt x="96" y="2"/>
                  <a:pt x="96" y="2"/>
                </a:cubicBezTo>
                <a:cubicBezTo>
                  <a:pt x="95" y="1"/>
                  <a:pt x="94" y="1"/>
                  <a:pt x="93" y="1"/>
                </a:cubicBezTo>
                <a:cubicBezTo>
                  <a:pt x="93" y="1"/>
                  <a:pt x="92" y="1"/>
                  <a:pt x="92" y="1"/>
                </a:cubicBezTo>
                <a:cubicBezTo>
                  <a:pt x="91" y="1"/>
                  <a:pt x="90" y="1"/>
                  <a:pt x="89" y="1"/>
                </a:cubicBezTo>
                <a:cubicBezTo>
                  <a:pt x="89" y="1"/>
                  <a:pt x="88" y="0"/>
                  <a:pt x="88" y="0"/>
                </a:cubicBezTo>
                <a:cubicBezTo>
                  <a:pt x="87" y="0"/>
                  <a:pt x="86" y="0"/>
                  <a:pt x="85" y="0"/>
                </a:cubicBezTo>
                <a:cubicBezTo>
                  <a:pt x="85" y="0"/>
                  <a:pt x="84" y="0"/>
                  <a:pt x="84" y="0"/>
                </a:cubicBezTo>
                <a:cubicBezTo>
                  <a:pt x="83" y="0"/>
                  <a:pt x="81" y="0"/>
                  <a:pt x="80" y="0"/>
                </a:cubicBezTo>
                <a:cubicBezTo>
                  <a:pt x="79" y="0"/>
                  <a:pt x="77" y="0"/>
                  <a:pt x="76" y="0"/>
                </a:cubicBezTo>
                <a:cubicBezTo>
                  <a:pt x="76" y="0"/>
                  <a:pt x="75" y="0"/>
                  <a:pt x="75" y="0"/>
                </a:cubicBezTo>
                <a:cubicBezTo>
                  <a:pt x="74" y="0"/>
                  <a:pt x="73" y="0"/>
                  <a:pt x="72" y="0"/>
                </a:cubicBezTo>
                <a:cubicBezTo>
                  <a:pt x="72" y="0"/>
                  <a:pt x="71" y="1"/>
                  <a:pt x="71" y="1"/>
                </a:cubicBezTo>
                <a:cubicBezTo>
                  <a:pt x="70" y="1"/>
                  <a:pt x="69" y="1"/>
                  <a:pt x="68" y="1"/>
                </a:cubicBezTo>
                <a:cubicBezTo>
                  <a:pt x="68" y="1"/>
                  <a:pt x="67" y="1"/>
                  <a:pt x="67" y="1"/>
                </a:cubicBezTo>
                <a:cubicBezTo>
                  <a:pt x="66" y="1"/>
                  <a:pt x="65" y="1"/>
                  <a:pt x="64" y="2"/>
                </a:cubicBezTo>
                <a:cubicBezTo>
                  <a:pt x="64" y="2"/>
                  <a:pt x="63" y="2"/>
                  <a:pt x="63" y="2"/>
                </a:cubicBezTo>
                <a:cubicBezTo>
                  <a:pt x="62" y="2"/>
                  <a:pt x="61" y="2"/>
                  <a:pt x="60" y="2"/>
                </a:cubicBezTo>
                <a:cubicBezTo>
                  <a:pt x="60" y="3"/>
                  <a:pt x="60" y="3"/>
                  <a:pt x="59" y="3"/>
                </a:cubicBezTo>
                <a:cubicBezTo>
                  <a:pt x="58" y="3"/>
                  <a:pt x="57" y="3"/>
                  <a:pt x="57" y="4"/>
                </a:cubicBezTo>
                <a:cubicBezTo>
                  <a:pt x="56" y="4"/>
                  <a:pt x="56" y="4"/>
                  <a:pt x="56" y="4"/>
                </a:cubicBezTo>
                <a:cubicBezTo>
                  <a:pt x="55" y="4"/>
                  <a:pt x="54" y="4"/>
                  <a:pt x="53" y="5"/>
                </a:cubicBezTo>
                <a:cubicBezTo>
                  <a:pt x="53" y="5"/>
                  <a:pt x="52" y="5"/>
                  <a:pt x="52" y="5"/>
                </a:cubicBezTo>
                <a:cubicBezTo>
                  <a:pt x="52" y="5"/>
                  <a:pt x="52" y="5"/>
                  <a:pt x="52" y="5"/>
                </a:cubicBezTo>
                <a:cubicBezTo>
                  <a:pt x="52" y="5"/>
                  <a:pt x="52" y="5"/>
                  <a:pt x="52" y="5"/>
                </a:cubicBezTo>
                <a:cubicBezTo>
                  <a:pt x="51" y="5"/>
                  <a:pt x="50" y="6"/>
                  <a:pt x="49" y="6"/>
                </a:cubicBezTo>
                <a:cubicBezTo>
                  <a:pt x="49" y="6"/>
                  <a:pt x="49" y="6"/>
                  <a:pt x="49" y="6"/>
                </a:cubicBezTo>
                <a:cubicBezTo>
                  <a:pt x="48" y="7"/>
                  <a:pt x="47" y="7"/>
                  <a:pt x="45" y="8"/>
                </a:cubicBezTo>
                <a:cubicBezTo>
                  <a:pt x="45" y="8"/>
                  <a:pt x="45" y="8"/>
                  <a:pt x="45" y="8"/>
                </a:cubicBezTo>
                <a:cubicBezTo>
                  <a:pt x="44" y="9"/>
                  <a:pt x="43" y="9"/>
                  <a:pt x="42" y="10"/>
                </a:cubicBezTo>
                <a:cubicBezTo>
                  <a:pt x="42" y="10"/>
                  <a:pt x="42" y="10"/>
                  <a:pt x="42" y="10"/>
                </a:cubicBezTo>
                <a:cubicBezTo>
                  <a:pt x="41" y="10"/>
                  <a:pt x="40" y="11"/>
                  <a:pt x="39" y="12"/>
                </a:cubicBezTo>
                <a:cubicBezTo>
                  <a:pt x="39" y="12"/>
                  <a:pt x="39" y="12"/>
                  <a:pt x="38" y="12"/>
                </a:cubicBezTo>
                <a:cubicBezTo>
                  <a:pt x="37" y="12"/>
                  <a:pt x="36" y="13"/>
                  <a:pt x="35" y="14"/>
                </a:cubicBezTo>
                <a:cubicBezTo>
                  <a:pt x="35" y="14"/>
                  <a:pt x="35" y="14"/>
                  <a:pt x="35" y="14"/>
                </a:cubicBezTo>
                <a:cubicBezTo>
                  <a:pt x="34" y="14"/>
                  <a:pt x="33" y="15"/>
                  <a:pt x="32" y="16"/>
                </a:cubicBezTo>
                <a:cubicBezTo>
                  <a:pt x="32" y="16"/>
                  <a:pt x="32" y="16"/>
                  <a:pt x="32" y="16"/>
                </a:cubicBezTo>
                <a:cubicBezTo>
                  <a:pt x="31" y="17"/>
                  <a:pt x="30" y="17"/>
                  <a:pt x="29" y="18"/>
                </a:cubicBezTo>
                <a:cubicBezTo>
                  <a:pt x="29" y="18"/>
                  <a:pt x="29" y="18"/>
                  <a:pt x="29" y="18"/>
                </a:cubicBezTo>
                <a:cubicBezTo>
                  <a:pt x="28" y="19"/>
                  <a:pt x="27" y="20"/>
                  <a:pt x="26" y="21"/>
                </a:cubicBezTo>
                <a:cubicBezTo>
                  <a:pt x="26" y="21"/>
                  <a:pt x="26" y="21"/>
                  <a:pt x="26" y="21"/>
                </a:cubicBezTo>
                <a:cubicBezTo>
                  <a:pt x="26" y="21"/>
                  <a:pt x="25" y="22"/>
                  <a:pt x="25" y="22"/>
                </a:cubicBezTo>
                <a:cubicBezTo>
                  <a:pt x="24" y="23"/>
                  <a:pt x="24" y="23"/>
                  <a:pt x="24" y="23"/>
                </a:cubicBezTo>
                <a:cubicBezTo>
                  <a:pt x="24" y="23"/>
                  <a:pt x="24" y="23"/>
                  <a:pt x="24" y="23"/>
                </a:cubicBezTo>
                <a:cubicBezTo>
                  <a:pt x="9" y="37"/>
                  <a:pt x="0" y="58"/>
                  <a:pt x="0" y="80"/>
                </a:cubicBezTo>
                <a:cubicBezTo>
                  <a:pt x="0" y="124"/>
                  <a:pt x="36" y="160"/>
                  <a:pt x="80" y="160"/>
                </a:cubicBezTo>
                <a:cubicBezTo>
                  <a:pt x="124" y="160"/>
                  <a:pt x="160" y="124"/>
                  <a:pt x="160" y="80"/>
                </a:cubicBezTo>
                <a:cubicBezTo>
                  <a:pt x="160" y="58"/>
                  <a:pt x="151" y="37"/>
                  <a:pt x="136" y="23"/>
                </a:cubicBezTo>
                <a:close/>
                <a:moveTo>
                  <a:pt x="80" y="139"/>
                </a:moveTo>
                <a:cubicBezTo>
                  <a:pt x="80" y="139"/>
                  <a:pt x="80" y="139"/>
                  <a:pt x="80" y="139"/>
                </a:cubicBezTo>
                <a:cubicBezTo>
                  <a:pt x="80" y="139"/>
                  <a:pt x="80" y="139"/>
                  <a:pt x="80" y="139"/>
                </a:cubicBezTo>
                <a:close/>
                <a:moveTo>
                  <a:pt x="59" y="108"/>
                </a:moveTo>
                <a:cubicBezTo>
                  <a:pt x="64" y="102"/>
                  <a:pt x="72" y="99"/>
                  <a:pt x="80" y="99"/>
                </a:cubicBezTo>
                <a:cubicBezTo>
                  <a:pt x="88" y="99"/>
                  <a:pt x="96" y="102"/>
                  <a:pt x="101" y="108"/>
                </a:cubicBezTo>
                <a:cubicBezTo>
                  <a:pt x="80" y="135"/>
                  <a:pt x="80" y="135"/>
                  <a:pt x="80" y="135"/>
                </a:cubicBezTo>
                <a:lnTo>
                  <a:pt x="59" y="108"/>
                </a:lnTo>
                <a:close/>
                <a:moveTo>
                  <a:pt x="105" y="104"/>
                </a:moveTo>
                <a:cubicBezTo>
                  <a:pt x="98" y="97"/>
                  <a:pt x="89" y="93"/>
                  <a:pt x="80" y="93"/>
                </a:cubicBezTo>
                <a:cubicBezTo>
                  <a:pt x="71" y="93"/>
                  <a:pt x="62" y="97"/>
                  <a:pt x="55" y="104"/>
                </a:cubicBezTo>
                <a:cubicBezTo>
                  <a:pt x="30" y="72"/>
                  <a:pt x="30" y="72"/>
                  <a:pt x="30" y="72"/>
                </a:cubicBezTo>
                <a:cubicBezTo>
                  <a:pt x="53" y="54"/>
                  <a:pt x="53" y="54"/>
                  <a:pt x="53" y="54"/>
                </a:cubicBezTo>
                <a:cubicBezTo>
                  <a:pt x="77" y="73"/>
                  <a:pt x="77" y="73"/>
                  <a:pt x="77" y="73"/>
                </a:cubicBezTo>
                <a:cubicBezTo>
                  <a:pt x="77" y="74"/>
                  <a:pt x="77" y="74"/>
                  <a:pt x="77" y="74"/>
                </a:cubicBezTo>
                <a:cubicBezTo>
                  <a:pt x="78" y="74"/>
                  <a:pt x="78" y="74"/>
                  <a:pt x="78" y="74"/>
                </a:cubicBezTo>
                <a:cubicBezTo>
                  <a:pt x="80" y="75"/>
                  <a:pt x="80" y="75"/>
                  <a:pt x="80" y="75"/>
                </a:cubicBezTo>
                <a:cubicBezTo>
                  <a:pt x="80" y="75"/>
                  <a:pt x="80" y="75"/>
                  <a:pt x="80" y="75"/>
                </a:cubicBezTo>
                <a:cubicBezTo>
                  <a:pt x="80" y="75"/>
                  <a:pt x="80" y="75"/>
                  <a:pt x="80" y="75"/>
                </a:cubicBezTo>
                <a:cubicBezTo>
                  <a:pt x="82" y="74"/>
                  <a:pt x="82" y="74"/>
                  <a:pt x="82" y="74"/>
                </a:cubicBezTo>
                <a:cubicBezTo>
                  <a:pt x="83" y="74"/>
                  <a:pt x="83" y="74"/>
                  <a:pt x="83" y="74"/>
                </a:cubicBezTo>
                <a:cubicBezTo>
                  <a:pt x="83" y="73"/>
                  <a:pt x="83" y="73"/>
                  <a:pt x="83" y="73"/>
                </a:cubicBezTo>
                <a:cubicBezTo>
                  <a:pt x="107" y="54"/>
                  <a:pt x="107" y="54"/>
                  <a:pt x="107" y="54"/>
                </a:cubicBezTo>
                <a:cubicBezTo>
                  <a:pt x="130" y="72"/>
                  <a:pt x="130" y="72"/>
                  <a:pt x="130" y="72"/>
                </a:cubicBezTo>
                <a:lnTo>
                  <a:pt x="105" y="104"/>
                </a:lnTo>
                <a:close/>
                <a:moveTo>
                  <a:pt x="30" y="25"/>
                </a:moveTo>
                <a:cubicBezTo>
                  <a:pt x="30" y="25"/>
                  <a:pt x="30" y="25"/>
                  <a:pt x="30" y="25"/>
                </a:cubicBezTo>
                <a:cubicBezTo>
                  <a:pt x="34" y="21"/>
                  <a:pt x="39" y="17"/>
                  <a:pt x="44" y="14"/>
                </a:cubicBezTo>
                <a:cubicBezTo>
                  <a:pt x="44" y="14"/>
                  <a:pt x="44" y="14"/>
                  <a:pt x="45" y="14"/>
                </a:cubicBezTo>
                <a:cubicBezTo>
                  <a:pt x="46" y="14"/>
                  <a:pt x="47" y="13"/>
                  <a:pt x="48" y="13"/>
                </a:cubicBezTo>
                <a:cubicBezTo>
                  <a:pt x="48" y="13"/>
                  <a:pt x="48" y="13"/>
                  <a:pt x="48" y="13"/>
                </a:cubicBezTo>
                <a:cubicBezTo>
                  <a:pt x="49" y="12"/>
                  <a:pt x="50" y="12"/>
                  <a:pt x="51" y="11"/>
                </a:cubicBezTo>
                <a:cubicBezTo>
                  <a:pt x="51" y="49"/>
                  <a:pt x="51" y="49"/>
                  <a:pt x="51" y="49"/>
                </a:cubicBezTo>
                <a:cubicBezTo>
                  <a:pt x="29" y="66"/>
                  <a:pt x="29" y="66"/>
                  <a:pt x="29" y="66"/>
                </a:cubicBezTo>
                <a:cubicBezTo>
                  <a:pt x="29" y="25"/>
                  <a:pt x="29" y="25"/>
                  <a:pt x="29" y="25"/>
                </a:cubicBezTo>
                <a:cubicBezTo>
                  <a:pt x="29" y="25"/>
                  <a:pt x="30" y="25"/>
                  <a:pt x="30" y="25"/>
                </a:cubicBezTo>
                <a:close/>
                <a:moveTo>
                  <a:pt x="58" y="9"/>
                </a:moveTo>
                <a:cubicBezTo>
                  <a:pt x="59" y="8"/>
                  <a:pt x="60" y="8"/>
                  <a:pt x="61" y="8"/>
                </a:cubicBezTo>
                <a:cubicBezTo>
                  <a:pt x="61" y="8"/>
                  <a:pt x="61" y="8"/>
                  <a:pt x="62" y="8"/>
                </a:cubicBezTo>
                <a:cubicBezTo>
                  <a:pt x="63" y="7"/>
                  <a:pt x="63" y="7"/>
                  <a:pt x="64" y="7"/>
                </a:cubicBezTo>
                <a:cubicBezTo>
                  <a:pt x="65" y="7"/>
                  <a:pt x="65" y="7"/>
                  <a:pt x="65" y="7"/>
                </a:cubicBezTo>
                <a:cubicBezTo>
                  <a:pt x="66" y="7"/>
                  <a:pt x="67" y="6"/>
                  <a:pt x="68" y="6"/>
                </a:cubicBezTo>
                <a:cubicBezTo>
                  <a:pt x="68" y="6"/>
                  <a:pt x="69" y="6"/>
                  <a:pt x="69" y="6"/>
                </a:cubicBezTo>
                <a:cubicBezTo>
                  <a:pt x="70" y="6"/>
                  <a:pt x="71" y="6"/>
                  <a:pt x="71" y="6"/>
                </a:cubicBezTo>
                <a:cubicBezTo>
                  <a:pt x="72" y="6"/>
                  <a:pt x="72" y="6"/>
                  <a:pt x="73" y="6"/>
                </a:cubicBezTo>
                <a:cubicBezTo>
                  <a:pt x="73" y="6"/>
                  <a:pt x="74" y="6"/>
                  <a:pt x="75" y="6"/>
                </a:cubicBezTo>
                <a:cubicBezTo>
                  <a:pt x="76" y="5"/>
                  <a:pt x="76" y="5"/>
                  <a:pt x="76" y="5"/>
                </a:cubicBezTo>
                <a:cubicBezTo>
                  <a:pt x="77" y="5"/>
                  <a:pt x="77" y="5"/>
                  <a:pt x="77" y="5"/>
                </a:cubicBezTo>
                <a:cubicBezTo>
                  <a:pt x="77" y="66"/>
                  <a:pt x="77" y="66"/>
                  <a:pt x="77" y="66"/>
                </a:cubicBezTo>
                <a:cubicBezTo>
                  <a:pt x="56" y="49"/>
                  <a:pt x="56" y="49"/>
                  <a:pt x="56" y="49"/>
                </a:cubicBezTo>
                <a:cubicBezTo>
                  <a:pt x="56" y="9"/>
                  <a:pt x="56" y="9"/>
                  <a:pt x="56" y="9"/>
                </a:cubicBezTo>
                <a:cubicBezTo>
                  <a:pt x="56" y="9"/>
                  <a:pt x="57" y="9"/>
                  <a:pt x="57" y="9"/>
                </a:cubicBezTo>
                <a:cubicBezTo>
                  <a:pt x="58" y="9"/>
                  <a:pt x="58" y="9"/>
                  <a:pt x="58" y="9"/>
                </a:cubicBezTo>
                <a:close/>
                <a:moveTo>
                  <a:pt x="85" y="6"/>
                </a:moveTo>
                <a:cubicBezTo>
                  <a:pt x="86" y="6"/>
                  <a:pt x="87" y="6"/>
                  <a:pt x="87" y="6"/>
                </a:cubicBezTo>
                <a:cubicBezTo>
                  <a:pt x="88" y="6"/>
                  <a:pt x="88" y="6"/>
                  <a:pt x="89" y="6"/>
                </a:cubicBezTo>
                <a:cubicBezTo>
                  <a:pt x="89" y="6"/>
                  <a:pt x="90" y="6"/>
                  <a:pt x="91" y="6"/>
                </a:cubicBezTo>
                <a:cubicBezTo>
                  <a:pt x="91" y="6"/>
                  <a:pt x="92" y="6"/>
                  <a:pt x="92" y="6"/>
                </a:cubicBezTo>
                <a:cubicBezTo>
                  <a:pt x="93" y="6"/>
                  <a:pt x="94" y="7"/>
                  <a:pt x="95" y="7"/>
                </a:cubicBezTo>
                <a:cubicBezTo>
                  <a:pt x="95" y="7"/>
                  <a:pt x="95" y="7"/>
                  <a:pt x="96" y="7"/>
                </a:cubicBezTo>
                <a:cubicBezTo>
                  <a:pt x="97" y="7"/>
                  <a:pt x="97" y="7"/>
                  <a:pt x="98" y="8"/>
                </a:cubicBezTo>
                <a:cubicBezTo>
                  <a:pt x="99" y="8"/>
                  <a:pt x="99" y="8"/>
                  <a:pt x="99" y="8"/>
                </a:cubicBezTo>
                <a:cubicBezTo>
                  <a:pt x="100" y="8"/>
                  <a:pt x="101" y="8"/>
                  <a:pt x="102" y="9"/>
                </a:cubicBezTo>
                <a:cubicBezTo>
                  <a:pt x="102" y="9"/>
                  <a:pt x="102" y="9"/>
                  <a:pt x="103" y="9"/>
                </a:cubicBezTo>
                <a:cubicBezTo>
                  <a:pt x="103" y="9"/>
                  <a:pt x="104" y="9"/>
                  <a:pt x="104" y="9"/>
                </a:cubicBezTo>
                <a:cubicBezTo>
                  <a:pt x="104" y="49"/>
                  <a:pt x="104" y="49"/>
                  <a:pt x="104" y="49"/>
                </a:cubicBezTo>
                <a:cubicBezTo>
                  <a:pt x="83" y="66"/>
                  <a:pt x="83" y="66"/>
                  <a:pt x="83" y="66"/>
                </a:cubicBezTo>
                <a:cubicBezTo>
                  <a:pt x="83" y="5"/>
                  <a:pt x="83" y="5"/>
                  <a:pt x="83" y="5"/>
                </a:cubicBezTo>
                <a:cubicBezTo>
                  <a:pt x="83" y="5"/>
                  <a:pt x="83" y="5"/>
                  <a:pt x="84" y="5"/>
                </a:cubicBezTo>
                <a:cubicBezTo>
                  <a:pt x="84" y="5"/>
                  <a:pt x="84" y="5"/>
                  <a:pt x="85" y="6"/>
                </a:cubicBezTo>
                <a:close/>
                <a:moveTo>
                  <a:pt x="112" y="13"/>
                </a:moveTo>
                <a:cubicBezTo>
                  <a:pt x="113" y="13"/>
                  <a:pt x="114" y="14"/>
                  <a:pt x="116" y="14"/>
                </a:cubicBezTo>
                <a:cubicBezTo>
                  <a:pt x="116" y="14"/>
                  <a:pt x="116" y="14"/>
                  <a:pt x="116" y="14"/>
                </a:cubicBezTo>
                <a:cubicBezTo>
                  <a:pt x="121" y="17"/>
                  <a:pt x="126" y="21"/>
                  <a:pt x="130" y="25"/>
                </a:cubicBezTo>
                <a:cubicBezTo>
                  <a:pt x="130" y="25"/>
                  <a:pt x="130" y="25"/>
                  <a:pt x="130" y="25"/>
                </a:cubicBezTo>
                <a:cubicBezTo>
                  <a:pt x="130" y="25"/>
                  <a:pt x="131" y="25"/>
                  <a:pt x="131" y="25"/>
                </a:cubicBezTo>
                <a:cubicBezTo>
                  <a:pt x="131" y="66"/>
                  <a:pt x="131" y="66"/>
                  <a:pt x="131" y="66"/>
                </a:cubicBezTo>
                <a:cubicBezTo>
                  <a:pt x="109" y="49"/>
                  <a:pt x="109" y="49"/>
                  <a:pt x="109" y="49"/>
                </a:cubicBezTo>
                <a:cubicBezTo>
                  <a:pt x="109" y="11"/>
                  <a:pt x="109" y="11"/>
                  <a:pt x="109" y="11"/>
                </a:cubicBezTo>
                <a:cubicBezTo>
                  <a:pt x="110" y="12"/>
                  <a:pt x="111" y="12"/>
                  <a:pt x="112" y="13"/>
                </a:cubicBezTo>
                <a:cubicBezTo>
                  <a:pt x="112" y="13"/>
                  <a:pt x="112" y="13"/>
                  <a:pt x="112" y="13"/>
                </a:cubicBezTo>
                <a:close/>
                <a:moveTo>
                  <a:pt x="80" y="155"/>
                </a:moveTo>
                <a:cubicBezTo>
                  <a:pt x="39" y="155"/>
                  <a:pt x="5" y="121"/>
                  <a:pt x="5" y="80"/>
                </a:cubicBezTo>
                <a:cubicBezTo>
                  <a:pt x="5" y="61"/>
                  <a:pt x="12" y="44"/>
                  <a:pt x="24" y="31"/>
                </a:cubicBezTo>
                <a:cubicBezTo>
                  <a:pt x="24" y="71"/>
                  <a:pt x="24" y="71"/>
                  <a:pt x="24" y="71"/>
                </a:cubicBezTo>
                <a:cubicBezTo>
                  <a:pt x="24" y="73"/>
                  <a:pt x="24" y="73"/>
                  <a:pt x="24" y="73"/>
                </a:cubicBezTo>
                <a:cubicBezTo>
                  <a:pt x="77" y="140"/>
                  <a:pt x="77" y="140"/>
                  <a:pt x="77" y="140"/>
                </a:cubicBezTo>
                <a:cubicBezTo>
                  <a:pt x="77" y="140"/>
                  <a:pt x="77" y="140"/>
                  <a:pt x="77" y="140"/>
                </a:cubicBezTo>
                <a:cubicBezTo>
                  <a:pt x="77" y="140"/>
                  <a:pt x="77" y="140"/>
                  <a:pt x="77" y="140"/>
                </a:cubicBezTo>
                <a:cubicBezTo>
                  <a:pt x="77" y="140"/>
                  <a:pt x="77" y="140"/>
                  <a:pt x="77" y="140"/>
                </a:cubicBezTo>
                <a:cubicBezTo>
                  <a:pt x="78" y="141"/>
                  <a:pt x="78" y="141"/>
                  <a:pt x="78" y="141"/>
                </a:cubicBezTo>
                <a:cubicBezTo>
                  <a:pt x="80" y="142"/>
                  <a:pt x="80" y="142"/>
                  <a:pt x="80" y="142"/>
                </a:cubicBezTo>
                <a:cubicBezTo>
                  <a:pt x="80" y="142"/>
                  <a:pt x="80" y="142"/>
                  <a:pt x="80" y="142"/>
                </a:cubicBezTo>
                <a:cubicBezTo>
                  <a:pt x="80" y="142"/>
                  <a:pt x="80" y="142"/>
                  <a:pt x="80" y="142"/>
                </a:cubicBezTo>
                <a:cubicBezTo>
                  <a:pt x="80" y="142"/>
                  <a:pt x="80" y="142"/>
                  <a:pt x="80" y="142"/>
                </a:cubicBezTo>
                <a:cubicBezTo>
                  <a:pt x="80" y="142"/>
                  <a:pt x="80" y="142"/>
                  <a:pt x="80" y="142"/>
                </a:cubicBezTo>
                <a:cubicBezTo>
                  <a:pt x="80" y="142"/>
                  <a:pt x="80" y="142"/>
                  <a:pt x="80" y="142"/>
                </a:cubicBezTo>
                <a:cubicBezTo>
                  <a:pt x="81" y="142"/>
                  <a:pt x="81" y="142"/>
                  <a:pt x="81" y="142"/>
                </a:cubicBezTo>
                <a:cubicBezTo>
                  <a:pt x="82" y="141"/>
                  <a:pt x="82" y="141"/>
                  <a:pt x="82" y="141"/>
                </a:cubicBezTo>
                <a:cubicBezTo>
                  <a:pt x="82" y="141"/>
                  <a:pt x="82" y="141"/>
                  <a:pt x="82" y="141"/>
                </a:cubicBezTo>
                <a:cubicBezTo>
                  <a:pt x="83" y="140"/>
                  <a:pt x="83" y="140"/>
                  <a:pt x="83" y="140"/>
                </a:cubicBezTo>
                <a:cubicBezTo>
                  <a:pt x="83" y="140"/>
                  <a:pt x="83" y="140"/>
                  <a:pt x="83" y="140"/>
                </a:cubicBezTo>
                <a:cubicBezTo>
                  <a:pt x="83" y="140"/>
                  <a:pt x="83" y="140"/>
                  <a:pt x="83" y="140"/>
                </a:cubicBezTo>
                <a:cubicBezTo>
                  <a:pt x="136" y="73"/>
                  <a:pt x="136" y="73"/>
                  <a:pt x="136" y="73"/>
                </a:cubicBezTo>
                <a:cubicBezTo>
                  <a:pt x="136" y="71"/>
                  <a:pt x="136" y="71"/>
                  <a:pt x="136" y="71"/>
                </a:cubicBezTo>
                <a:cubicBezTo>
                  <a:pt x="136" y="31"/>
                  <a:pt x="136" y="31"/>
                  <a:pt x="136" y="31"/>
                </a:cubicBezTo>
                <a:cubicBezTo>
                  <a:pt x="148" y="44"/>
                  <a:pt x="155" y="61"/>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35" name="Freeform 1112">
            <a:extLst>
              <a:ext uri="{FF2B5EF4-FFF2-40B4-BE49-F238E27FC236}">
                <a16:creationId xmlns:a16="http://schemas.microsoft.com/office/drawing/2014/main" id="{635EF18E-DEB1-644D-8FF6-3A3E1F4352EA}"/>
              </a:ext>
            </a:extLst>
          </p:cNvPr>
          <p:cNvSpPr>
            <a:spLocks noEditPoints="1"/>
          </p:cNvSpPr>
          <p:nvPr/>
        </p:nvSpPr>
        <p:spPr bwMode="auto">
          <a:xfrm>
            <a:off x="6310195" y="2222500"/>
            <a:ext cx="546100" cy="550863"/>
          </a:xfrm>
          <a:custGeom>
            <a:avLst/>
            <a:gdLst>
              <a:gd name="T0" fmla="*/ 32 w 160"/>
              <a:gd name="T1" fmla="*/ 141 h 160"/>
              <a:gd name="T2" fmla="*/ 51 w 160"/>
              <a:gd name="T3" fmla="*/ 123 h 160"/>
              <a:gd name="T4" fmla="*/ 35 w 160"/>
              <a:gd name="T5" fmla="*/ 104 h 160"/>
              <a:gd name="T6" fmla="*/ 35 w 160"/>
              <a:gd name="T7" fmla="*/ 21 h 160"/>
              <a:gd name="T8" fmla="*/ 32 w 160"/>
              <a:gd name="T9" fmla="*/ 19 h 160"/>
              <a:gd name="T10" fmla="*/ 29 w 160"/>
              <a:gd name="T11" fmla="*/ 21 h 160"/>
              <a:gd name="T12" fmla="*/ 29 w 160"/>
              <a:gd name="T13" fmla="*/ 104 h 160"/>
              <a:gd name="T14" fmla="*/ 13 w 160"/>
              <a:gd name="T15" fmla="*/ 123 h 160"/>
              <a:gd name="T16" fmla="*/ 32 w 160"/>
              <a:gd name="T17" fmla="*/ 141 h 160"/>
              <a:gd name="T18" fmla="*/ 32 w 160"/>
              <a:gd name="T19" fmla="*/ 109 h 160"/>
              <a:gd name="T20" fmla="*/ 45 w 160"/>
              <a:gd name="T21" fmla="*/ 123 h 160"/>
              <a:gd name="T22" fmla="*/ 32 w 160"/>
              <a:gd name="T23" fmla="*/ 136 h 160"/>
              <a:gd name="T24" fmla="*/ 19 w 160"/>
              <a:gd name="T25" fmla="*/ 123 h 160"/>
              <a:gd name="T26" fmla="*/ 32 w 160"/>
              <a:gd name="T27" fmla="*/ 109 h 160"/>
              <a:gd name="T28" fmla="*/ 125 w 160"/>
              <a:gd name="T29" fmla="*/ 56 h 160"/>
              <a:gd name="T30" fmla="*/ 125 w 160"/>
              <a:gd name="T31" fmla="*/ 139 h 160"/>
              <a:gd name="T32" fmla="*/ 128 w 160"/>
              <a:gd name="T33" fmla="*/ 141 h 160"/>
              <a:gd name="T34" fmla="*/ 131 w 160"/>
              <a:gd name="T35" fmla="*/ 139 h 160"/>
              <a:gd name="T36" fmla="*/ 131 w 160"/>
              <a:gd name="T37" fmla="*/ 56 h 160"/>
              <a:gd name="T38" fmla="*/ 147 w 160"/>
              <a:gd name="T39" fmla="*/ 37 h 160"/>
              <a:gd name="T40" fmla="*/ 128 w 160"/>
              <a:gd name="T41" fmla="*/ 19 h 160"/>
              <a:gd name="T42" fmla="*/ 109 w 160"/>
              <a:gd name="T43" fmla="*/ 37 h 160"/>
              <a:gd name="T44" fmla="*/ 125 w 160"/>
              <a:gd name="T45" fmla="*/ 56 h 160"/>
              <a:gd name="T46" fmla="*/ 128 w 160"/>
              <a:gd name="T47" fmla="*/ 24 h 160"/>
              <a:gd name="T48" fmla="*/ 141 w 160"/>
              <a:gd name="T49" fmla="*/ 37 h 160"/>
              <a:gd name="T50" fmla="*/ 128 w 160"/>
              <a:gd name="T51" fmla="*/ 51 h 160"/>
              <a:gd name="T52" fmla="*/ 115 w 160"/>
              <a:gd name="T53" fmla="*/ 37 h 160"/>
              <a:gd name="T54" fmla="*/ 128 w 160"/>
              <a:gd name="T55" fmla="*/ 24 h 160"/>
              <a:gd name="T56" fmla="*/ 77 w 160"/>
              <a:gd name="T57" fmla="*/ 96 h 160"/>
              <a:gd name="T58" fmla="*/ 77 w 160"/>
              <a:gd name="T59" fmla="*/ 139 h 160"/>
              <a:gd name="T60" fmla="*/ 80 w 160"/>
              <a:gd name="T61" fmla="*/ 141 h 160"/>
              <a:gd name="T62" fmla="*/ 83 w 160"/>
              <a:gd name="T63" fmla="*/ 139 h 160"/>
              <a:gd name="T64" fmla="*/ 83 w 160"/>
              <a:gd name="T65" fmla="*/ 96 h 160"/>
              <a:gd name="T66" fmla="*/ 99 w 160"/>
              <a:gd name="T67" fmla="*/ 77 h 160"/>
              <a:gd name="T68" fmla="*/ 83 w 160"/>
              <a:gd name="T69" fmla="*/ 59 h 160"/>
              <a:gd name="T70" fmla="*/ 83 w 160"/>
              <a:gd name="T71" fmla="*/ 21 h 160"/>
              <a:gd name="T72" fmla="*/ 80 w 160"/>
              <a:gd name="T73" fmla="*/ 19 h 160"/>
              <a:gd name="T74" fmla="*/ 77 w 160"/>
              <a:gd name="T75" fmla="*/ 21 h 160"/>
              <a:gd name="T76" fmla="*/ 77 w 160"/>
              <a:gd name="T77" fmla="*/ 59 h 160"/>
              <a:gd name="T78" fmla="*/ 61 w 160"/>
              <a:gd name="T79" fmla="*/ 77 h 160"/>
              <a:gd name="T80" fmla="*/ 77 w 160"/>
              <a:gd name="T81" fmla="*/ 96 h 160"/>
              <a:gd name="T82" fmla="*/ 80 w 160"/>
              <a:gd name="T83" fmla="*/ 64 h 160"/>
              <a:gd name="T84" fmla="*/ 93 w 160"/>
              <a:gd name="T85" fmla="*/ 77 h 160"/>
              <a:gd name="T86" fmla="*/ 80 w 160"/>
              <a:gd name="T87" fmla="*/ 91 h 160"/>
              <a:gd name="T88" fmla="*/ 67 w 160"/>
              <a:gd name="T89" fmla="*/ 77 h 160"/>
              <a:gd name="T90" fmla="*/ 80 w 160"/>
              <a:gd name="T91" fmla="*/ 64 h 160"/>
              <a:gd name="T92" fmla="*/ 157 w 160"/>
              <a:gd name="T93" fmla="*/ 0 h 160"/>
              <a:gd name="T94" fmla="*/ 3 w 160"/>
              <a:gd name="T95" fmla="*/ 0 h 160"/>
              <a:gd name="T96" fmla="*/ 0 w 160"/>
              <a:gd name="T97" fmla="*/ 3 h 160"/>
              <a:gd name="T98" fmla="*/ 0 w 160"/>
              <a:gd name="T99" fmla="*/ 157 h 160"/>
              <a:gd name="T100" fmla="*/ 3 w 160"/>
              <a:gd name="T101" fmla="*/ 160 h 160"/>
              <a:gd name="T102" fmla="*/ 157 w 160"/>
              <a:gd name="T103" fmla="*/ 160 h 160"/>
              <a:gd name="T104" fmla="*/ 160 w 160"/>
              <a:gd name="T105" fmla="*/ 157 h 160"/>
              <a:gd name="T106" fmla="*/ 160 w 160"/>
              <a:gd name="T107" fmla="*/ 3 h 160"/>
              <a:gd name="T108" fmla="*/ 157 w 160"/>
              <a:gd name="T109" fmla="*/ 0 h 160"/>
              <a:gd name="T110" fmla="*/ 155 w 160"/>
              <a:gd name="T111" fmla="*/ 155 h 160"/>
              <a:gd name="T112" fmla="*/ 5 w 160"/>
              <a:gd name="T113" fmla="*/ 155 h 160"/>
              <a:gd name="T114" fmla="*/ 5 w 160"/>
              <a:gd name="T115" fmla="*/ 5 h 160"/>
              <a:gd name="T116" fmla="*/ 155 w 160"/>
              <a:gd name="T117" fmla="*/ 5 h 160"/>
              <a:gd name="T118" fmla="*/ 155 w 160"/>
              <a:gd name="T11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60">
                <a:moveTo>
                  <a:pt x="32" y="141"/>
                </a:moveTo>
                <a:cubicBezTo>
                  <a:pt x="42" y="141"/>
                  <a:pt x="51" y="133"/>
                  <a:pt x="51" y="123"/>
                </a:cubicBezTo>
                <a:cubicBezTo>
                  <a:pt x="51" y="113"/>
                  <a:pt x="44" y="106"/>
                  <a:pt x="35" y="104"/>
                </a:cubicBezTo>
                <a:cubicBezTo>
                  <a:pt x="35" y="21"/>
                  <a:pt x="35" y="21"/>
                  <a:pt x="35" y="21"/>
                </a:cubicBezTo>
                <a:cubicBezTo>
                  <a:pt x="35" y="20"/>
                  <a:pt x="33" y="19"/>
                  <a:pt x="32" y="19"/>
                </a:cubicBezTo>
                <a:cubicBezTo>
                  <a:pt x="31" y="19"/>
                  <a:pt x="29" y="20"/>
                  <a:pt x="29" y="21"/>
                </a:cubicBezTo>
                <a:cubicBezTo>
                  <a:pt x="29" y="104"/>
                  <a:pt x="29" y="104"/>
                  <a:pt x="29" y="104"/>
                </a:cubicBezTo>
                <a:cubicBezTo>
                  <a:pt x="20" y="106"/>
                  <a:pt x="13" y="113"/>
                  <a:pt x="13" y="123"/>
                </a:cubicBezTo>
                <a:cubicBezTo>
                  <a:pt x="13" y="133"/>
                  <a:pt x="22" y="141"/>
                  <a:pt x="32" y="141"/>
                </a:cubicBezTo>
                <a:close/>
                <a:moveTo>
                  <a:pt x="32" y="109"/>
                </a:moveTo>
                <a:cubicBezTo>
                  <a:pt x="39" y="109"/>
                  <a:pt x="45" y="115"/>
                  <a:pt x="45" y="123"/>
                </a:cubicBezTo>
                <a:cubicBezTo>
                  <a:pt x="45" y="130"/>
                  <a:pt x="39" y="136"/>
                  <a:pt x="32" y="136"/>
                </a:cubicBezTo>
                <a:cubicBezTo>
                  <a:pt x="25" y="136"/>
                  <a:pt x="19" y="130"/>
                  <a:pt x="19" y="123"/>
                </a:cubicBezTo>
                <a:cubicBezTo>
                  <a:pt x="19" y="115"/>
                  <a:pt x="25" y="109"/>
                  <a:pt x="32" y="109"/>
                </a:cubicBezTo>
                <a:close/>
                <a:moveTo>
                  <a:pt x="125" y="56"/>
                </a:moveTo>
                <a:cubicBezTo>
                  <a:pt x="125" y="139"/>
                  <a:pt x="125" y="139"/>
                  <a:pt x="125" y="139"/>
                </a:cubicBezTo>
                <a:cubicBezTo>
                  <a:pt x="125" y="140"/>
                  <a:pt x="127" y="141"/>
                  <a:pt x="128" y="141"/>
                </a:cubicBezTo>
                <a:cubicBezTo>
                  <a:pt x="129" y="141"/>
                  <a:pt x="131" y="140"/>
                  <a:pt x="131" y="139"/>
                </a:cubicBezTo>
                <a:cubicBezTo>
                  <a:pt x="131" y="56"/>
                  <a:pt x="131" y="56"/>
                  <a:pt x="131" y="56"/>
                </a:cubicBezTo>
                <a:cubicBezTo>
                  <a:pt x="140" y="54"/>
                  <a:pt x="147" y="47"/>
                  <a:pt x="147" y="37"/>
                </a:cubicBezTo>
                <a:cubicBezTo>
                  <a:pt x="147" y="27"/>
                  <a:pt x="138" y="19"/>
                  <a:pt x="128" y="19"/>
                </a:cubicBezTo>
                <a:cubicBezTo>
                  <a:pt x="118" y="19"/>
                  <a:pt x="109" y="27"/>
                  <a:pt x="109" y="37"/>
                </a:cubicBezTo>
                <a:cubicBezTo>
                  <a:pt x="109" y="47"/>
                  <a:pt x="116" y="54"/>
                  <a:pt x="125" y="56"/>
                </a:cubicBezTo>
                <a:close/>
                <a:moveTo>
                  <a:pt x="128" y="24"/>
                </a:moveTo>
                <a:cubicBezTo>
                  <a:pt x="135" y="24"/>
                  <a:pt x="141" y="30"/>
                  <a:pt x="141" y="37"/>
                </a:cubicBezTo>
                <a:cubicBezTo>
                  <a:pt x="141" y="45"/>
                  <a:pt x="135" y="51"/>
                  <a:pt x="128" y="51"/>
                </a:cubicBezTo>
                <a:cubicBezTo>
                  <a:pt x="121" y="51"/>
                  <a:pt x="115" y="45"/>
                  <a:pt x="115" y="37"/>
                </a:cubicBezTo>
                <a:cubicBezTo>
                  <a:pt x="115" y="30"/>
                  <a:pt x="121" y="24"/>
                  <a:pt x="128" y="24"/>
                </a:cubicBezTo>
                <a:close/>
                <a:moveTo>
                  <a:pt x="77" y="96"/>
                </a:moveTo>
                <a:cubicBezTo>
                  <a:pt x="77" y="139"/>
                  <a:pt x="77" y="139"/>
                  <a:pt x="77" y="139"/>
                </a:cubicBezTo>
                <a:cubicBezTo>
                  <a:pt x="77" y="140"/>
                  <a:pt x="79" y="141"/>
                  <a:pt x="80" y="141"/>
                </a:cubicBezTo>
                <a:cubicBezTo>
                  <a:pt x="81" y="141"/>
                  <a:pt x="83" y="140"/>
                  <a:pt x="83" y="139"/>
                </a:cubicBezTo>
                <a:cubicBezTo>
                  <a:pt x="83" y="96"/>
                  <a:pt x="83" y="96"/>
                  <a:pt x="83" y="96"/>
                </a:cubicBezTo>
                <a:cubicBezTo>
                  <a:pt x="92" y="94"/>
                  <a:pt x="99" y="87"/>
                  <a:pt x="99" y="77"/>
                </a:cubicBezTo>
                <a:cubicBezTo>
                  <a:pt x="99" y="68"/>
                  <a:pt x="92" y="60"/>
                  <a:pt x="83" y="59"/>
                </a:cubicBezTo>
                <a:cubicBezTo>
                  <a:pt x="83" y="21"/>
                  <a:pt x="83" y="21"/>
                  <a:pt x="83" y="21"/>
                </a:cubicBezTo>
                <a:cubicBezTo>
                  <a:pt x="83" y="20"/>
                  <a:pt x="81" y="19"/>
                  <a:pt x="80" y="19"/>
                </a:cubicBezTo>
                <a:cubicBezTo>
                  <a:pt x="79" y="19"/>
                  <a:pt x="77" y="20"/>
                  <a:pt x="77" y="21"/>
                </a:cubicBezTo>
                <a:cubicBezTo>
                  <a:pt x="77" y="59"/>
                  <a:pt x="77" y="59"/>
                  <a:pt x="77" y="59"/>
                </a:cubicBezTo>
                <a:cubicBezTo>
                  <a:pt x="68" y="60"/>
                  <a:pt x="61" y="68"/>
                  <a:pt x="61" y="77"/>
                </a:cubicBezTo>
                <a:cubicBezTo>
                  <a:pt x="61" y="87"/>
                  <a:pt x="68" y="94"/>
                  <a:pt x="77" y="96"/>
                </a:cubicBezTo>
                <a:close/>
                <a:moveTo>
                  <a:pt x="80" y="64"/>
                </a:moveTo>
                <a:cubicBezTo>
                  <a:pt x="87" y="64"/>
                  <a:pt x="93" y="70"/>
                  <a:pt x="93" y="77"/>
                </a:cubicBezTo>
                <a:cubicBezTo>
                  <a:pt x="93" y="85"/>
                  <a:pt x="87" y="91"/>
                  <a:pt x="80" y="91"/>
                </a:cubicBezTo>
                <a:cubicBezTo>
                  <a:pt x="73" y="91"/>
                  <a:pt x="67" y="85"/>
                  <a:pt x="67" y="77"/>
                </a:cubicBezTo>
                <a:cubicBezTo>
                  <a:pt x="67" y="70"/>
                  <a:pt x="73" y="64"/>
                  <a:pt x="80" y="64"/>
                </a:cubicBezTo>
                <a:close/>
                <a:moveTo>
                  <a:pt x="157" y="0"/>
                </a:moveTo>
                <a:cubicBezTo>
                  <a:pt x="3" y="0"/>
                  <a:pt x="3" y="0"/>
                  <a:pt x="3" y="0"/>
                </a:cubicBezTo>
                <a:cubicBezTo>
                  <a:pt x="1" y="0"/>
                  <a:pt x="0" y="1"/>
                  <a:pt x="0" y="3"/>
                </a:cubicBezTo>
                <a:cubicBezTo>
                  <a:pt x="0" y="157"/>
                  <a:pt x="0" y="157"/>
                  <a:pt x="0" y="157"/>
                </a:cubicBezTo>
                <a:cubicBezTo>
                  <a:pt x="0" y="159"/>
                  <a:pt x="1" y="160"/>
                  <a:pt x="3" y="160"/>
                </a:cubicBezTo>
                <a:cubicBezTo>
                  <a:pt x="157" y="160"/>
                  <a:pt x="157" y="160"/>
                  <a:pt x="157" y="160"/>
                </a:cubicBezTo>
                <a:cubicBezTo>
                  <a:pt x="159" y="160"/>
                  <a:pt x="160" y="159"/>
                  <a:pt x="160" y="157"/>
                </a:cubicBezTo>
                <a:cubicBezTo>
                  <a:pt x="160" y="3"/>
                  <a:pt x="160" y="3"/>
                  <a:pt x="160" y="3"/>
                </a:cubicBezTo>
                <a:cubicBezTo>
                  <a:pt x="160" y="1"/>
                  <a:pt x="159" y="0"/>
                  <a:pt x="157" y="0"/>
                </a:cubicBezTo>
                <a:close/>
                <a:moveTo>
                  <a:pt x="155" y="155"/>
                </a:moveTo>
                <a:cubicBezTo>
                  <a:pt x="5" y="155"/>
                  <a:pt x="5" y="155"/>
                  <a:pt x="5" y="155"/>
                </a:cubicBezTo>
                <a:cubicBezTo>
                  <a:pt x="5" y="5"/>
                  <a:pt x="5" y="5"/>
                  <a:pt x="5" y="5"/>
                </a:cubicBezTo>
                <a:cubicBezTo>
                  <a:pt x="155" y="5"/>
                  <a:pt x="155" y="5"/>
                  <a:pt x="155" y="5"/>
                </a:cubicBezTo>
                <a:lnTo>
                  <a:pt x="155" y="15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36" name="Freeform 1113">
            <a:extLst>
              <a:ext uri="{FF2B5EF4-FFF2-40B4-BE49-F238E27FC236}">
                <a16:creationId xmlns:a16="http://schemas.microsoft.com/office/drawing/2014/main" id="{F43A27AA-CACE-1241-AC2A-3F391E3F93F4}"/>
              </a:ext>
            </a:extLst>
          </p:cNvPr>
          <p:cNvSpPr>
            <a:spLocks noEditPoints="1"/>
          </p:cNvSpPr>
          <p:nvPr/>
        </p:nvSpPr>
        <p:spPr bwMode="auto">
          <a:xfrm>
            <a:off x="6324483" y="2841625"/>
            <a:ext cx="504825" cy="550863"/>
          </a:xfrm>
          <a:custGeom>
            <a:avLst/>
            <a:gdLst>
              <a:gd name="T0" fmla="*/ 21 w 148"/>
              <a:gd name="T1" fmla="*/ 107 h 160"/>
              <a:gd name="T2" fmla="*/ 18 w 148"/>
              <a:gd name="T3" fmla="*/ 0 h 160"/>
              <a:gd name="T4" fmla="*/ 15 w 148"/>
              <a:gd name="T5" fmla="*/ 107 h 160"/>
              <a:gd name="T6" fmla="*/ 0 w 148"/>
              <a:gd name="T7" fmla="*/ 110 h 160"/>
              <a:gd name="T8" fmla="*/ 3 w 148"/>
              <a:gd name="T9" fmla="*/ 148 h 160"/>
              <a:gd name="T10" fmla="*/ 15 w 148"/>
              <a:gd name="T11" fmla="*/ 157 h 160"/>
              <a:gd name="T12" fmla="*/ 21 w 148"/>
              <a:gd name="T13" fmla="*/ 157 h 160"/>
              <a:gd name="T14" fmla="*/ 33 w 148"/>
              <a:gd name="T15" fmla="*/ 148 h 160"/>
              <a:gd name="T16" fmla="*/ 36 w 148"/>
              <a:gd name="T17" fmla="*/ 110 h 160"/>
              <a:gd name="T18" fmla="*/ 30 w 148"/>
              <a:gd name="T19" fmla="*/ 142 h 160"/>
              <a:gd name="T20" fmla="*/ 6 w 148"/>
              <a:gd name="T21" fmla="*/ 113 h 160"/>
              <a:gd name="T22" fmla="*/ 30 w 148"/>
              <a:gd name="T23" fmla="*/ 142 h 160"/>
              <a:gd name="T24" fmla="*/ 77 w 148"/>
              <a:gd name="T25" fmla="*/ 59 h 160"/>
              <a:gd name="T26" fmla="*/ 74 w 148"/>
              <a:gd name="T27" fmla="*/ 0 h 160"/>
              <a:gd name="T28" fmla="*/ 71 w 148"/>
              <a:gd name="T29" fmla="*/ 59 h 160"/>
              <a:gd name="T30" fmla="*/ 56 w 148"/>
              <a:gd name="T31" fmla="*/ 62 h 160"/>
              <a:gd name="T32" fmla="*/ 59 w 148"/>
              <a:gd name="T33" fmla="*/ 101 h 160"/>
              <a:gd name="T34" fmla="*/ 71 w 148"/>
              <a:gd name="T35" fmla="*/ 157 h 160"/>
              <a:gd name="T36" fmla="*/ 77 w 148"/>
              <a:gd name="T37" fmla="*/ 157 h 160"/>
              <a:gd name="T38" fmla="*/ 89 w 148"/>
              <a:gd name="T39" fmla="*/ 101 h 160"/>
              <a:gd name="T40" fmla="*/ 92 w 148"/>
              <a:gd name="T41" fmla="*/ 62 h 160"/>
              <a:gd name="T42" fmla="*/ 86 w 148"/>
              <a:gd name="T43" fmla="*/ 95 h 160"/>
              <a:gd name="T44" fmla="*/ 62 w 148"/>
              <a:gd name="T45" fmla="*/ 65 h 160"/>
              <a:gd name="T46" fmla="*/ 86 w 148"/>
              <a:gd name="T47" fmla="*/ 95 h 160"/>
              <a:gd name="T48" fmla="*/ 133 w 148"/>
              <a:gd name="T49" fmla="*/ 12 h 160"/>
              <a:gd name="T50" fmla="*/ 130 w 148"/>
              <a:gd name="T51" fmla="*/ 0 h 160"/>
              <a:gd name="T52" fmla="*/ 127 w 148"/>
              <a:gd name="T53" fmla="*/ 12 h 160"/>
              <a:gd name="T54" fmla="*/ 113 w 148"/>
              <a:gd name="T55" fmla="*/ 15 h 160"/>
              <a:gd name="T56" fmla="*/ 116 w 148"/>
              <a:gd name="T57" fmla="*/ 53 h 160"/>
              <a:gd name="T58" fmla="*/ 127 w 148"/>
              <a:gd name="T59" fmla="*/ 157 h 160"/>
              <a:gd name="T60" fmla="*/ 133 w 148"/>
              <a:gd name="T61" fmla="*/ 157 h 160"/>
              <a:gd name="T62" fmla="*/ 145 w 148"/>
              <a:gd name="T63" fmla="*/ 53 h 160"/>
              <a:gd name="T64" fmla="*/ 148 w 148"/>
              <a:gd name="T65" fmla="*/ 15 h 160"/>
              <a:gd name="T66" fmla="*/ 142 w 148"/>
              <a:gd name="T67" fmla="*/ 47 h 160"/>
              <a:gd name="T68" fmla="*/ 119 w 148"/>
              <a:gd name="T69" fmla="*/ 18 h 160"/>
              <a:gd name="T70" fmla="*/ 142 w 148"/>
              <a:gd name="T71" fmla="*/ 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 h="160">
                <a:moveTo>
                  <a:pt x="33" y="107"/>
                </a:moveTo>
                <a:cubicBezTo>
                  <a:pt x="21" y="107"/>
                  <a:pt x="21" y="107"/>
                  <a:pt x="21" y="107"/>
                </a:cubicBezTo>
                <a:cubicBezTo>
                  <a:pt x="21" y="3"/>
                  <a:pt x="21" y="3"/>
                  <a:pt x="21" y="3"/>
                </a:cubicBezTo>
                <a:cubicBezTo>
                  <a:pt x="21" y="1"/>
                  <a:pt x="19" y="0"/>
                  <a:pt x="18" y="0"/>
                </a:cubicBezTo>
                <a:cubicBezTo>
                  <a:pt x="16" y="0"/>
                  <a:pt x="15" y="1"/>
                  <a:pt x="15" y="3"/>
                </a:cubicBezTo>
                <a:cubicBezTo>
                  <a:pt x="15" y="107"/>
                  <a:pt x="15" y="107"/>
                  <a:pt x="15" y="107"/>
                </a:cubicBezTo>
                <a:cubicBezTo>
                  <a:pt x="3" y="107"/>
                  <a:pt x="3" y="107"/>
                  <a:pt x="3" y="107"/>
                </a:cubicBezTo>
                <a:cubicBezTo>
                  <a:pt x="1" y="107"/>
                  <a:pt x="0" y="108"/>
                  <a:pt x="0" y="110"/>
                </a:cubicBezTo>
                <a:cubicBezTo>
                  <a:pt x="0" y="145"/>
                  <a:pt x="0" y="145"/>
                  <a:pt x="0" y="145"/>
                </a:cubicBezTo>
                <a:cubicBezTo>
                  <a:pt x="0" y="147"/>
                  <a:pt x="1" y="148"/>
                  <a:pt x="3" y="148"/>
                </a:cubicBezTo>
                <a:cubicBezTo>
                  <a:pt x="15" y="148"/>
                  <a:pt x="15" y="148"/>
                  <a:pt x="15" y="148"/>
                </a:cubicBezTo>
                <a:cubicBezTo>
                  <a:pt x="15" y="157"/>
                  <a:pt x="15" y="157"/>
                  <a:pt x="15" y="157"/>
                </a:cubicBezTo>
                <a:cubicBezTo>
                  <a:pt x="15" y="159"/>
                  <a:pt x="16" y="160"/>
                  <a:pt x="18" y="160"/>
                </a:cubicBezTo>
                <a:cubicBezTo>
                  <a:pt x="19" y="160"/>
                  <a:pt x="21" y="159"/>
                  <a:pt x="21" y="157"/>
                </a:cubicBezTo>
                <a:cubicBezTo>
                  <a:pt x="21" y="148"/>
                  <a:pt x="21" y="148"/>
                  <a:pt x="21" y="148"/>
                </a:cubicBezTo>
                <a:cubicBezTo>
                  <a:pt x="33" y="148"/>
                  <a:pt x="33" y="148"/>
                  <a:pt x="33" y="148"/>
                </a:cubicBezTo>
                <a:cubicBezTo>
                  <a:pt x="34" y="148"/>
                  <a:pt x="36" y="147"/>
                  <a:pt x="36" y="145"/>
                </a:cubicBezTo>
                <a:cubicBezTo>
                  <a:pt x="36" y="110"/>
                  <a:pt x="36" y="110"/>
                  <a:pt x="36" y="110"/>
                </a:cubicBezTo>
                <a:cubicBezTo>
                  <a:pt x="36" y="108"/>
                  <a:pt x="34" y="107"/>
                  <a:pt x="33" y="107"/>
                </a:cubicBezTo>
                <a:close/>
                <a:moveTo>
                  <a:pt x="30" y="142"/>
                </a:moveTo>
                <a:cubicBezTo>
                  <a:pt x="6" y="142"/>
                  <a:pt x="6" y="142"/>
                  <a:pt x="6" y="142"/>
                </a:cubicBezTo>
                <a:cubicBezTo>
                  <a:pt x="6" y="113"/>
                  <a:pt x="6" y="113"/>
                  <a:pt x="6" y="113"/>
                </a:cubicBezTo>
                <a:cubicBezTo>
                  <a:pt x="30" y="113"/>
                  <a:pt x="30" y="113"/>
                  <a:pt x="30" y="113"/>
                </a:cubicBezTo>
                <a:lnTo>
                  <a:pt x="30" y="142"/>
                </a:lnTo>
                <a:close/>
                <a:moveTo>
                  <a:pt x="89" y="59"/>
                </a:moveTo>
                <a:cubicBezTo>
                  <a:pt x="77" y="59"/>
                  <a:pt x="77" y="59"/>
                  <a:pt x="77" y="59"/>
                </a:cubicBezTo>
                <a:cubicBezTo>
                  <a:pt x="77" y="3"/>
                  <a:pt x="77" y="3"/>
                  <a:pt x="77" y="3"/>
                </a:cubicBezTo>
                <a:cubicBezTo>
                  <a:pt x="77" y="1"/>
                  <a:pt x="76" y="0"/>
                  <a:pt x="74" y="0"/>
                </a:cubicBezTo>
                <a:cubicBezTo>
                  <a:pt x="72" y="0"/>
                  <a:pt x="71" y="1"/>
                  <a:pt x="71" y="3"/>
                </a:cubicBezTo>
                <a:cubicBezTo>
                  <a:pt x="71" y="59"/>
                  <a:pt x="71" y="59"/>
                  <a:pt x="71" y="59"/>
                </a:cubicBezTo>
                <a:cubicBezTo>
                  <a:pt x="59" y="59"/>
                  <a:pt x="59" y="59"/>
                  <a:pt x="59" y="59"/>
                </a:cubicBezTo>
                <a:cubicBezTo>
                  <a:pt x="58" y="59"/>
                  <a:pt x="56" y="61"/>
                  <a:pt x="56" y="62"/>
                </a:cubicBezTo>
                <a:cubicBezTo>
                  <a:pt x="56" y="98"/>
                  <a:pt x="56" y="98"/>
                  <a:pt x="56" y="98"/>
                </a:cubicBezTo>
                <a:cubicBezTo>
                  <a:pt x="56" y="99"/>
                  <a:pt x="58" y="101"/>
                  <a:pt x="59" y="101"/>
                </a:cubicBezTo>
                <a:cubicBezTo>
                  <a:pt x="71" y="101"/>
                  <a:pt x="71" y="101"/>
                  <a:pt x="71" y="101"/>
                </a:cubicBezTo>
                <a:cubicBezTo>
                  <a:pt x="71" y="157"/>
                  <a:pt x="71" y="157"/>
                  <a:pt x="71" y="157"/>
                </a:cubicBezTo>
                <a:cubicBezTo>
                  <a:pt x="71" y="159"/>
                  <a:pt x="72" y="160"/>
                  <a:pt x="74" y="160"/>
                </a:cubicBezTo>
                <a:cubicBezTo>
                  <a:pt x="76" y="160"/>
                  <a:pt x="77" y="159"/>
                  <a:pt x="77" y="157"/>
                </a:cubicBezTo>
                <a:cubicBezTo>
                  <a:pt x="77" y="101"/>
                  <a:pt x="77" y="101"/>
                  <a:pt x="77" y="101"/>
                </a:cubicBezTo>
                <a:cubicBezTo>
                  <a:pt x="89" y="101"/>
                  <a:pt x="89" y="101"/>
                  <a:pt x="89" y="101"/>
                </a:cubicBezTo>
                <a:cubicBezTo>
                  <a:pt x="91" y="101"/>
                  <a:pt x="92" y="99"/>
                  <a:pt x="92" y="98"/>
                </a:cubicBezTo>
                <a:cubicBezTo>
                  <a:pt x="92" y="62"/>
                  <a:pt x="92" y="62"/>
                  <a:pt x="92" y="62"/>
                </a:cubicBezTo>
                <a:cubicBezTo>
                  <a:pt x="92" y="61"/>
                  <a:pt x="91" y="59"/>
                  <a:pt x="89" y="59"/>
                </a:cubicBezTo>
                <a:close/>
                <a:moveTo>
                  <a:pt x="86" y="95"/>
                </a:moveTo>
                <a:cubicBezTo>
                  <a:pt x="62" y="95"/>
                  <a:pt x="62" y="95"/>
                  <a:pt x="62" y="95"/>
                </a:cubicBezTo>
                <a:cubicBezTo>
                  <a:pt x="62" y="65"/>
                  <a:pt x="62" y="65"/>
                  <a:pt x="62" y="65"/>
                </a:cubicBezTo>
                <a:cubicBezTo>
                  <a:pt x="86" y="65"/>
                  <a:pt x="86" y="65"/>
                  <a:pt x="86" y="65"/>
                </a:cubicBezTo>
                <a:lnTo>
                  <a:pt x="86" y="95"/>
                </a:lnTo>
                <a:close/>
                <a:moveTo>
                  <a:pt x="145" y="12"/>
                </a:moveTo>
                <a:cubicBezTo>
                  <a:pt x="133" y="12"/>
                  <a:pt x="133" y="12"/>
                  <a:pt x="133" y="12"/>
                </a:cubicBezTo>
                <a:cubicBezTo>
                  <a:pt x="133" y="3"/>
                  <a:pt x="133" y="3"/>
                  <a:pt x="133" y="3"/>
                </a:cubicBezTo>
                <a:cubicBezTo>
                  <a:pt x="133" y="1"/>
                  <a:pt x="132" y="0"/>
                  <a:pt x="130" y="0"/>
                </a:cubicBezTo>
                <a:cubicBezTo>
                  <a:pt x="129" y="0"/>
                  <a:pt x="127" y="1"/>
                  <a:pt x="127" y="3"/>
                </a:cubicBezTo>
                <a:cubicBezTo>
                  <a:pt x="127" y="12"/>
                  <a:pt x="127" y="12"/>
                  <a:pt x="127" y="12"/>
                </a:cubicBezTo>
                <a:cubicBezTo>
                  <a:pt x="116" y="12"/>
                  <a:pt x="116" y="12"/>
                  <a:pt x="116" y="12"/>
                </a:cubicBezTo>
                <a:cubicBezTo>
                  <a:pt x="114" y="12"/>
                  <a:pt x="113" y="13"/>
                  <a:pt x="113" y="15"/>
                </a:cubicBezTo>
                <a:cubicBezTo>
                  <a:pt x="113" y="50"/>
                  <a:pt x="113" y="50"/>
                  <a:pt x="113" y="50"/>
                </a:cubicBezTo>
                <a:cubicBezTo>
                  <a:pt x="113" y="52"/>
                  <a:pt x="114" y="53"/>
                  <a:pt x="116" y="53"/>
                </a:cubicBezTo>
                <a:cubicBezTo>
                  <a:pt x="127" y="53"/>
                  <a:pt x="127" y="53"/>
                  <a:pt x="127" y="53"/>
                </a:cubicBezTo>
                <a:cubicBezTo>
                  <a:pt x="127" y="157"/>
                  <a:pt x="127" y="157"/>
                  <a:pt x="127" y="157"/>
                </a:cubicBezTo>
                <a:cubicBezTo>
                  <a:pt x="127" y="159"/>
                  <a:pt x="129" y="160"/>
                  <a:pt x="130" y="160"/>
                </a:cubicBezTo>
                <a:cubicBezTo>
                  <a:pt x="132" y="160"/>
                  <a:pt x="133" y="159"/>
                  <a:pt x="133" y="157"/>
                </a:cubicBezTo>
                <a:cubicBezTo>
                  <a:pt x="133" y="53"/>
                  <a:pt x="133" y="53"/>
                  <a:pt x="133" y="53"/>
                </a:cubicBezTo>
                <a:cubicBezTo>
                  <a:pt x="145" y="53"/>
                  <a:pt x="145" y="53"/>
                  <a:pt x="145" y="53"/>
                </a:cubicBezTo>
                <a:cubicBezTo>
                  <a:pt x="147" y="53"/>
                  <a:pt x="148" y="52"/>
                  <a:pt x="148" y="50"/>
                </a:cubicBezTo>
                <a:cubicBezTo>
                  <a:pt x="148" y="15"/>
                  <a:pt x="148" y="15"/>
                  <a:pt x="148" y="15"/>
                </a:cubicBezTo>
                <a:cubicBezTo>
                  <a:pt x="148" y="13"/>
                  <a:pt x="147" y="12"/>
                  <a:pt x="145" y="12"/>
                </a:cubicBezTo>
                <a:close/>
                <a:moveTo>
                  <a:pt x="142" y="47"/>
                </a:moveTo>
                <a:cubicBezTo>
                  <a:pt x="119" y="47"/>
                  <a:pt x="119" y="47"/>
                  <a:pt x="119" y="47"/>
                </a:cubicBezTo>
                <a:cubicBezTo>
                  <a:pt x="119" y="18"/>
                  <a:pt x="119" y="18"/>
                  <a:pt x="119" y="18"/>
                </a:cubicBezTo>
                <a:cubicBezTo>
                  <a:pt x="142" y="18"/>
                  <a:pt x="142" y="18"/>
                  <a:pt x="142" y="18"/>
                </a:cubicBezTo>
                <a:lnTo>
                  <a:pt x="142" y="4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37" name="Freeform 1114">
            <a:extLst>
              <a:ext uri="{FF2B5EF4-FFF2-40B4-BE49-F238E27FC236}">
                <a16:creationId xmlns:a16="http://schemas.microsoft.com/office/drawing/2014/main" id="{01A1D34A-6A5A-AE43-B0BA-95F5B22D13B3}"/>
              </a:ext>
            </a:extLst>
          </p:cNvPr>
          <p:cNvSpPr>
            <a:spLocks noEditPoints="1"/>
          </p:cNvSpPr>
          <p:nvPr/>
        </p:nvSpPr>
        <p:spPr bwMode="auto">
          <a:xfrm>
            <a:off x="6310195" y="3462338"/>
            <a:ext cx="546100" cy="549275"/>
          </a:xfrm>
          <a:custGeom>
            <a:avLst/>
            <a:gdLst>
              <a:gd name="T0" fmla="*/ 3 w 160"/>
              <a:gd name="T1" fmla="*/ 0 h 160"/>
              <a:gd name="T2" fmla="*/ 0 w 160"/>
              <a:gd name="T3" fmla="*/ 157 h 160"/>
              <a:gd name="T4" fmla="*/ 157 w 160"/>
              <a:gd name="T5" fmla="*/ 160 h 160"/>
              <a:gd name="T6" fmla="*/ 160 w 160"/>
              <a:gd name="T7" fmla="*/ 3 h 160"/>
              <a:gd name="T8" fmla="*/ 155 w 160"/>
              <a:gd name="T9" fmla="*/ 155 h 160"/>
              <a:gd name="T10" fmla="*/ 5 w 160"/>
              <a:gd name="T11" fmla="*/ 5 h 160"/>
              <a:gd name="T12" fmla="*/ 155 w 160"/>
              <a:gd name="T13" fmla="*/ 155 h 160"/>
              <a:gd name="T14" fmla="*/ 27 w 160"/>
              <a:gd name="T15" fmla="*/ 136 h 160"/>
              <a:gd name="T16" fmla="*/ 29 w 160"/>
              <a:gd name="T17" fmla="*/ 147 h 160"/>
              <a:gd name="T18" fmla="*/ 32 w 160"/>
              <a:gd name="T19" fmla="*/ 136 h 160"/>
              <a:gd name="T20" fmla="*/ 45 w 160"/>
              <a:gd name="T21" fmla="*/ 133 h 160"/>
              <a:gd name="T22" fmla="*/ 43 w 160"/>
              <a:gd name="T23" fmla="*/ 99 h 160"/>
              <a:gd name="T24" fmla="*/ 32 w 160"/>
              <a:gd name="T25" fmla="*/ 16 h 160"/>
              <a:gd name="T26" fmla="*/ 27 w 160"/>
              <a:gd name="T27" fmla="*/ 16 h 160"/>
              <a:gd name="T28" fmla="*/ 16 w 160"/>
              <a:gd name="T29" fmla="*/ 99 h 160"/>
              <a:gd name="T30" fmla="*/ 13 w 160"/>
              <a:gd name="T31" fmla="*/ 133 h 160"/>
              <a:gd name="T32" fmla="*/ 19 w 160"/>
              <a:gd name="T33" fmla="*/ 104 h 160"/>
              <a:gd name="T34" fmla="*/ 40 w 160"/>
              <a:gd name="T35" fmla="*/ 131 h 160"/>
              <a:gd name="T36" fmla="*/ 19 w 160"/>
              <a:gd name="T37" fmla="*/ 104 h 160"/>
              <a:gd name="T38" fmla="*/ 77 w 160"/>
              <a:gd name="T39" fmla="*/ 99 h 160"/>
              <a:gd name="T40" fmla="*/ 80 w 160"/>
              <a:gd name="T41" fmla="*/ 147 h 160"/>
              <a:gd name="T42" fmla="*/ 83 w 160"/>
              <a:gd name="T43" fmla="*/ 99 h 160"/>
              <a:gd name="T44" fmla="*/ 96 w 160"/>
              <a:gd name="T45" fmla="*/ 96 h 160"/>
              <a:gd name="T46" fmla="*/ 93 w 160"/>
              <a:gd name="T47" fmla="*/ 61 h 160"/>
              <a:gd name="T48" fmla="*/ 83 w 160"/>
              <a:gd name="T49" fmla="*/ 16 h 160"/>
              <a:gd name="T50" fmla="*/ 77 w 160"/>
              <a:gd name="T51" fmla="*/ 16 h 160"/>
              <a:gd name="T52" fmla="*/ 67 w 160"/>
              <a:gd name="T53" fmla="*/ 61 h 160"/>
              <a:gd name="T54" fmla="*/ 64 w 160"/>
              <a:gd name="T55" fmla="*/ 96 h 160"/>
              <a:gd name="T56" fmla="*/ 69 w 160"/>
              <a:gd name="T57" fmla="*/ 67 h 160"/>
              <a:gd name="T58" fmla="*/ 91 w 160"/>
              <a:gd name="T59" fmla="*/ 93 h 160"/>
              <a:gd name="T60" fmla="*/ 69 w 160"/>
              <a:gd name="T61" fmla="*/ 67 h 160"/>
              <a:gd name="T62" fmla="*/ 128 w 160"/>
              <a:gd name="T63" fmla="*/ 61 h 160"/>
              <a:gd name="T64" fmla="*/ 131 w 160"/>
              <a:gd name="T65" fmla="*/ 147 h 160"/>
              <a:gd name="T66" fmla="*/ 133 w 160"/>
              <a:gd name="T67" fmla="*/ 61 h 160"/>
              <a:gd name="T68" fmla="*/ 147 w 160"/>
              <a:gd name="T69" fmla="*/ 59 h 160"/>
              <a:gd name="T70" fmla="*/ 144 w 160"/>
              <a:gd name="T71" fmla="*/ 24 h 160"/>
              <a:gd name="T72" fmla="*/ 133 w 160"/>
              <a:gd name="T73" fmla="*/ 16 h 160"/>
              <a:gd name="T74" fmla="*/ 128 w 160"/>
              <a:gd name="T75" fmla="*/ 16 h 160"/>
              <a:gd name="T76" fmla="*/ 117 w 160"/>
              <a:gd name="T77" fmla="*/ 24 h 160"/>
              <a:gd name="T78" fmla="*/ 115 w 160"/>
              <a:gd name="T79" fmla="*/ 59 h 160"/>
              <a:gd name="T80" fmla="*/ 120 w 160"/>
              <a:gd name="T81" fmla="*/ 29 h 160"/>
              <a:gd name="T82" fmla="*/ 141 w 160"/>
              <a:gd name="T83" fmla="*/ 56 h 160"/>
              <a:gd name="T84" fmla="*/ 120 w 160"/>
              <a:gd name="T85" fmla="*/ 2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60">
                <a:moveTo>
                  <a:pt x="157" y="0"/>
                </a:moveTo>
                <a:cubicBezTo>
                  <a:pt x="3" y="0"/>
                  <a:pt x="3" y="0"/>
                  <a:pt x="3" y="0"/>
                </a:cubicBezTo>
                <a:cubicBezTo>
                  <a:pt x="1" y="0"/>
                  <a:pt x="0" y="1"/>
                  <a:pt x="0" y="3"/>
                </a:cubicBezTo>
                <a:cubicBezTo>
                  <a:pt x="0" y="157"/>
                  <a:pt x="0" y="157"/>
                  <a:pt x="0" y="157"/>
                </a:cubicBezTo>
                <a:cubicBezTo>
                  <a:pt x="0" y="159"/>
                  <a:pt x="1" y="160"/>
                  <a:pt x="3" y="160"/>
                </a:cubicBezTo>
                <a:cubicBezTo>
                  <a:pt x="157" y="160"/>
                  <a:pt x="157" y="160"/>
                  <a:pt x="157" y="160"/>
                </a:cubicBezTo>
                <a:cubicBezTo>
                  <a:pt x="159" y="160"/>
                  <a:pt x="160" y="159"/>
                  <a:pt x="160" y="157"/>
                </a:cubicBezTo>
                <a:cubicBezTo>
                  <a:pt x="160" y="3"/>
                  <a:pt x="160" y="3"/>
                  <a:pt x="160" y="3"/>
                </a:cubicBezTo>
                <a:cubicBezTo>
                  <a:pt x="160" y="1"/>
                  <a:pt x="159" y="0"/>
                  <a:pt x="157" y="0"/>
                </a:cubicBezTo>
                <a:close/>
                <a:moveTo>
                  <a:pt x="155" y="155"/>
                </a:moveTo>
                <a:cubicBezTo>
                  <a:pt x="5" y="155"/>
                  <a:pt x="5" y="155"/>
                  <a:pt x="5" y="155"/>
                </a:cubicBezTo>
                <a:cubicBezTo>
                  <a:pt x="5" y="5"/>
                  <a:pt x="5" y="5"/>
                  <a:pt x="5" y="5"/>
                </a:cubicBezTo>
                <a:cubicBezTo>
                  <a:pt x="155" y="5"/>
                  <a:pt x="155" y="5"/>
                  <a:pt x="155" y="5"/>
                </a:cubicBezTo>
                <a:lnTo>
                  <a:pt x="155" y="155"/>
                </a:lnTo>
                <a:close/>
                <a:moveTo>
                  <a:pt x="16" y="136"/>
                </a:moveTo>
                <a:cubicBezTo>
                  <a:pt x="27" y="136"/>
                  <a:pt x="27" y="136"/>
                  <a:pt x="27" y="136"/>
                </a:cubicBezTo>
                <a:cubicBezTo>
                  <a:pt x="27" y="144"/>
                  <a:pt x="27" y="144"/>
                  <a:pt x="27" y="144"/>
                </a:cubicBezTo>
                <a:cubicBezTo>
                  <a:pt x="27" y="145"/>
                  <a:pt x="28" y="147"/>
                  <a:pt x="29" y="147"/>
                </a:cubicBezTo>
                <a:cubicBezTo>
                  <a:pt x="31" y="147"/>
                  <a:pt x="32" y="145"/>
                  <a:pt x="32" y="144"/>
                </a:cubicBezTo>
                <a:cubicBezTo>
                  <a:pt x="32" y="136"/>
                  <a:pt x="32" y="136"/>
                  <a:pt x="32" y="136"/>
                </a:cubicBezTo>
                <a:cubicBezTo>
                  <a:pt x="43" y="136"/>
                  <a:pt x="43" y="136"/>
                  <a:pt x="43" y="136"/>
                </a:cubicBezTo>
                <a:cubicBezTo>
                  <a:pt x="44" y="136"/>
                  <a:pt x="45" y="135"/>
                  <a:pt x="45" y="133"/>
                </a:cubicBezTo>
                <a:cubicBezTo>
                  <a:pt x="45" y="101"/>
                  <a:pt x="45" y="101"/>
                  <a:pt x="45" y="101"/>
                </a:cubicBezTo>
                <a:cubicBezTo>
                  <a:pt x="45" y="100"/>
                  <a:pt x="44" y="99"/>
                  <a:pt x="43" y="99"/>
                </a:cubicBezTo>
                <a:cubicBezTo>
                  <a:pt x="32" y="99"/>
                  <a:pt x="32" y="99"/>
                  <a:pt x="32" y="99"/>
                </a:cubicBezTo>
                <a:cubicBezTo>
                  <a:pt x="32" y="16"/>
                  <a:pt x="32" y="16"/>
                  <a:pt x="32" y="16"/>
                </a:cubicBezTo>
                <a:cubicBezTo>
                  <a:pt x="32" y="15"/>
                  <a:pt x="31" y="13"/>
                  <a:pt x="29" y="13"/>
                </a:cubicBezTo>
                <a:cubicBezTo>
                  <a:pt x="28" y="13"/>
                  <a:pt x="27" y="15"/>
                  <a:pt x="27" y="16"/>
                </a:cubicBezTo>
                <a:cubicBezTo>
                  <a:pt x="27" y="99"/>
                  <a:pt x="27" y="99"/>
                  <a:pt x="27" y="99"/>
                </a:cubicBezTo>
                <a:cubicBezTo>
                  <a:pt x="16" y="99"/>
                  <a:pt x="16" y="99"/>
                  <a:pt x="16" y="99"/>
                </a:cubicBezTo>
                <a:cubicBezTo>
                  <a:pt x="15" y="99"/>
                  <a:pt x="13" y="100"/>
                  <a:pt x="13" y="101"/>
                </a:cubicBezTo>
                <a:cubicBezTo>
                  <a:pt x="13" y="133"/>
                  <a:pt x="13" y="133"/>
                  <a:pt x="13" y="133"/>
                </a:cubicBezTo>
                <a:cubicBezTo>
                  <a:pt x="13" y="135"/>
                  <a:pt x="15" y="136"/>
                  <a:pt x="16" y="136"/>
                </a:cubicBezTo>
                <a:close/>
                <a:moveTo>
                  <a:pt x="19" y="104"/>
                </a:moveTo>
                <a:cubicBezTo>
                  <a:pt x="40" y="104"/>
                  <a:pt x="40" y="104"/>
                  <a:pt x="40" y="104"/>
                </a:cubicBezTo>
                <a:cubicBezTo>
                  <a:pt x="40" y="131"/>
                  <a:pt x="40" y="131"/>
                  <a:pt x="40" y="131"/>
                </a:cubicBezTo>
                <a:cubicBezTo>
                  <a:pt x="19" y="131"/>
                  <a:pt x="19" y="131"/>
                  <a:pt x="19" y="131"/>
                </a:cubicBezTo>
                <a:lnTo>
                  <a:pt x="19" y="104"/>
                </a:lnTo>
                <a:close/>
                <a:moveTo>
                  <a:pt x="67" y="99"/>
                </a:moveTo>
                <a:cubicBezTo>
                  <a:pt x="77" y="99"/>
                  <a:pt x="77" y="99"/>
                  <a:pt x="77" y="99"/>
                </a:cubicBezTo>
                <a:cubicBezTo>
                  <a:pt x="77" y="144"/>
                  <a:pt x="77" y="144"/>
                  <a:pt x="77" y="144"/>
                </a:cubicBezTo>
                <a:cubicBezTo>
                  <a:pt x="77" y="145"/>
                  <a:pt x="79" y="147"/>
                  <a:pt x="80" y="147"/>
                </a:cubicBezTo>
                <a:cubicBezTo>
                  <a:pt x="81" y="147"/>
                  <a:pt x="83" y="145"/>
                  <a:pt x="83" y="144"/>
                </a:cubicBezTo>
                <a:cubicBezTo>
                  <a:pt x="83" y="99"/>
                  <a:pt x="83" y="99"/>
                  <a:pt x="83" y="99"/>
                </a:cubicBezTo>
                <a:cubicBezTo>
                  <a:pt x="93" y="99"/>
                  <a:pt x="93" y="99"/>
                  <a:pt x="93" y="99"/>
                </a:cubicBezTo>
                <a:cubicBezTo>
                  <a:pt x="95" y="99"/>
                  <a:pt x="96" y="97"/>
                  <a:pt x="96" y="96"/>
                </a:cubicBezTo>
                <a:cubicBezTo>
                  <a:pt x="96" y="64"/>
                  <a:pt x="96" y="64"/>
                  <a:pt x="96" y="64"/>
                </a:cubicBezTo>
                <a:cubicBezTo>
                  <a:pt x="96" y="63"/>
                  <a:pt x="95" y="61"/>
                  <a:pt x="93" y="61"/>
                </a:cubicBezTo>
                <a:cubicBezTo>
                  <a:pt x="83" y="61"/>
                  <a:pt x="83" y="61"/>
                  <a:pt x="83" y="61"/>
                </a:cubicBezTo>
                <a:cubicBezTo>
                  <a:pt x="83" y="16"/>
                  <a:pt x="83" y="16"/>
                  <a:pt x="83" y="16"/>
                </a:cubicBezTo>
                <a:cubicBezTo>
                  <a:pt x="83" y="15"/>
                  <a:pt x="81" y="13"/>
                  <a:pt x="80" y="13"/>
                </a:cubicBezTo>
                <a:cubicBezTo>
                  <a:pt x="79" y="13"/>
                  <a:pt x="77" y="15"/>
                  <a:pt x="77" y="16"/>
                </a:cubicBezTo>
                <a:cubicBezTo>
                  <a:pt x="77" y="61"/>
                  <a:pt x="77" y="61"/>
                  <a:pt x="77" y="61"/>
                </a:cubicBezTo>
                <a:cubicBezTo>
                  <a:pt x="67" y="61"/>
                  <a:pt x="67" y="61"/>
                  <a:pt x="67" y="61"/>
                </a:cubicBezTo>
                <a:cubicBezTo>
                  <a:pt x="65" y="61"/>
                  <a:pt x="64" y="63"/>
                  <a:pt x="64" y="64"/>
                </a:cubicBezTo>
                <a:cubicBezTo>
                  <a:pt x="64" y="96"/>
                  <a:pt x="64" y="96"/>
                  <a:pt x="64" y="96"/>
                </a:cubicBezTo>
                <a:cubicBezTo>
                  <a:pt x="64" y="97"/>
                  <a:pt x="65" y="99"/>
                  <a:pt x="67" y="99"/>
                </a:cubicBezTo>
                <a:close/>
                <a:moveTo>
                  <a:pt x="69" y="67"/>
                </a:moveTo>
                <a:cubicBezTo>
                  <a:pt x="91" y="67"/>
                  <a:pt x="91" y="67"/>
                  <a:pt x="91" y="67"/>
                </a:cubicBezTo>
                <a:cubicBezTo>
                  <a:pt x="91" y="93"/>
                  <a:pt x="91" y="93"/>
                  <a:pt x="91" y="93"/>
                </a:cubicBezTo>
                <a:cubicBezTo>
                  <a:pt x="69" y="93"/>
                  <a:pt x="69" y="93"/>
                  <a:pt x="69" y="93"/>
                </a:cubicBezTo>
                <a:lnTo>
                  <a:pt x="69" y="67"/>
                </a:lnTo>
                <a:close/>
                <a:moveTo>
                  <a:pt x="117" y="61"/>
                </a:moveTo>
                <a:cubicBezTo>
                  <a:pt x="128" y="61"/>
                  <a:pt x="128" y="61"/>
                  <a:pt x="128" y="61"/>
                </a:cubicBezTo>
                <a:cubicBezTo>
                  <a:pt x="128" y="144"/>
                  <a:pt x="128" y="144"/>
                  <a:pt x="128" y="144"/>
                </a:cubicBezTo>
                <a:cubicBezTo>
                  <a:pt x="128" y="145"/>
                  <a:pt x="129" y="147"/>
                  <a:pt x="131" y="147"/>
                </a:cubicBezTo>
                <a:cubicBezTo>
                  <a:pt x="132" y="147"/>
                  <a:pt x="133" y="145"/>
                  <a:pt x="133" y="144"/>
                </a:cubicBezTo>
                <a:cubicBezTo>
                  <a:pt x="133" y="61"/>
                  <a:pt x="133" y="61"/>
                  <a:pt x="133" y="61"/>
                </a:cubicBezTo>
                <a:cubicBezTo>
                  <a:pt x="144" y="61"/>
                  <a:pt x="144" y="61"/>
                  <a:pt x="144" y="61"/>
                </a:cubicBezTo>
                <a:cubicBezTo>
                  <a:pt x="145" y="61"/>
                  <a:pt x="147" y="60"/>
                  <a:pt x="147" y="59"/>
                </a:cubicBezTo>
                <a:cubicBezTo>
                  <a:pt x="147" y="27"/>
                  <a:pt x="147" y="27"/>
                  <a:pt x="147" y="27"/>
                </a:cubicBezTo>
                <a:cubicBezTo>
                  <a:pt x="147" y="25"/>
                  <a:pt x="145" y="24"/>
                  <a:pt x="144" y="24"/>
                </a:cubicBezTo>
                <a:cubicBezTo>
                  <a:pt x="133" y="24"/>
                  <a:pt x="133" y="24"/>
                  <a:pt x="133" y="24"/>
                </a:cubicBezTo>
                <a:cubicBezTo>
                  <a:pt x="133" y="16"/>
                  <a:pt x="133" y="16"/>
                  <a:pt x="133" y="16"/>
                </a:cubicBezTo>
                <a:cubicBezTo>
                  <a:pt x="133" y="15"/>
                  <a:pt x="132" y="13"/>
                  <a:pt x="131" y="13"/>
                </a:cubicBezTo>
                <a:cubicBezTo>
                  <a:pt x="129" y="13"/>
                  <a:pt x="128" y="15"/>
                  <a:pt x="128" y="16"/>
                </a:cubicBezTo>
                <a:cubicBezTo>
                  <a:pt x="128" y="24"/>
                  <a:pt x="128" y="24"/>
                  <a:pt x="128" y="24"/>
                </a:cubicBezTo>
                <a:cubicBezTo>
                  <a:pt x="117" y="24"/>
                  <a:pt x="117" y="24"/>
                  <a:pt x="117" y="24"/>
                </a:cubicBezTo>
                <a:cubicBezTo>
                  <a:pt x="116" y="24"/>
                  <a:pt x="115" y="25"/>
                  <a:pt x="115" y="27"/>
                </a:cubicBezTo>
                <a:cubicBezTo>
                  <a:pt x="115" y="59"/>
                  <a:pt x="115" y="59"/>
                  <a:pt x="115" y="59"/>
                </a:cubicBezTo>
                <a:cubicBezTo>
                  <a:pt x="115" y="60"/>
                  <a:pt x="116" y="61"/>
                  <a:pt x="117" y="61"/>
                </a:cubicBezTo>
                <a:close/>
                <a:moveTo>
                  <a:pt x="120" y="29"/>
                </a:moveTo>
                <a:cubicBezTo>
                  <a:pt x="141" y="29"/>
                  <a:pt x="141" y="29"/>
                  <a:pt x="141" y="29"/>
                </a:cubicBezTo>
                <a:cubicBezTo>
                  <a:pt x="141" y="56"/>
                  <a:pt x="141" y="56"/>
                  <a:pt x="141" y="56"/>
                </a:cubicBezTo>
                <a:cubicBezTo>
                  <a:pt x="120" y="56"/>
                  <a:pt x="120" y="56"/>
                  <a:pt x="120" y="56"/>
                </a:cubicBezTo>
                <a:lnTo>
                  <a:pt x="120" y="2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38" name="Freeform 1115">
            <a:extLst>
              <a:ext uri="{FF2B5EF4-FFF2-40B4-BE49-F238E27FC236}">
                <a16:creationId xmlns:a16="http://schemas.microsoft.com/office/drawing/2014/main" id="{49C16945-BB17-3D4B-A90E-1D29572EC479}"/>
              </a:ext>
            </a:extLst>
          </p:cNvPr>
          <p:cNvSpPr>
            <a:spLocks noEditPoints="1"/>
          </p:cNvSpPr>
          <p:nvPr/>
        </p:nvSpPr>
        <p:spPr bwMode="auto">
          <a:xfrm>
            <a:off x="6324483" y="4081463"/>
            <a:ext cx="525463" cy="550863"/>
          </a:xfrm>
          <a:custGeom>
            <a:avLst/>
            <a:gdLst>
              <a:gd name="T0" fmla="*/ 20 w 154"/>
              <a:gd name="T1" fmla="*/ 40 h 160"/>
              <a:gd name="T2" fmla="*/ 40 w 154"/>
              <a:gd name="T3" fmla="*/ 23 h 160"/>
              <a:gd name="T4" fmla="*/ 151 w 154"/>
              <a:gd name="T5" fmla="*/ 23 h 160"/>
              <a:gd name="T6" fmla="*/ 154 w 154"/>
              <a:gd name="T7" fmla="*/ 20 h 160"/>
              <a:gd name="T8" fmla="*/ 151 w 154"/>
              <a:gd name="T9" fmla="*/ 17 h 160"/>
              <a:gd name="T10" fmla="*/ 40 w 154"/>
              <a:gd name="T11" fmla="*/ 17 h 160"/>
              <a:gd name="T12" fmla="*/ 20 w 154"/>
              <a:gd name="T13" fmla="*/ 0 h 160"/>
              <a:gd name="T14" fmla="*/ 0 w 154"/>
              <a:gd name="T15" fmla="*/ 20 h 160"/>
              <a:gd name="T16" fmla="*/ 20 w 154"/>
              <a:gd name="T17" fmla="*/ 40 h 160"/>
              <a:gd name="T18" fmla="*/ 20 w 154"/>
              <a:gd name="T19" fmla="*/ 6 h 160"/>
              <a:gd name="T20" fmla="*/ 34 w 154"/>
              <a:gd name="T21" fmla="*/ 20 h 160"/>
              <a:gd name="T22" fmla="*/ 20 w 154"/>
              <a:gd name="T23" fmla="*/ 34 h 160"/>
              <a:gd name="T24" fmla="*/ 6 w 154"/>
              <a:gd name="T25" fmla="*/ 20 h 160"/>
              <a:gd name="T26" fmla="*/ 20 w 154"/>
              <a:gd name="T27" fmla="*/ 6 h 160"/>
              <a:gd name="T28" fmla="*/ 134 w 154"/>
              <a:gd name="T29" fmla="*/ 120 h 160"/>
              <a:gd name="T30" fmla="*/ 115 w 154"/>
              <a:gd name="T31" fmla="*/ 137 h 160"/>
              <a:gd name="T32" fmla="*/ 3 w 154"/>
              <a:gd name="T33" fmla="*/ 137 h 160"/>
              <a:gd name="T34" fmla="*/ 0 w 154"/>
              <a:gd name="T35" fmla="*/ 140 h 160"/>
              <a:gd name="T36" fmla="*/ 3 w 154"/>
              <a:gd name="T37" fmla="*/ 143 h 160"/>
              <a:gd name="T38" fmla="*/ 115 w 154"/>
              <a:gd name="T39" fmla="*/ 143 h 160"/>
              <a:gd name="T40" fmla="*/ 134 w 154"/>
              <a:gd name="T41" fmla="*/ 160 h 160"/>
              <a:gd name="T42" fmla="*/ 154 w 154"/>
              <a:gd name="T43" fmla="*/ 140 h 160"/>
              <a:gd name="T44" fmla="*/ 134 w 154"/>
              <a:gd name="T45" fmla="*/ 120 h 160"/>
              <a:gd name="T46" fmla="*/ 134 w 154"/>
              <a:gd name="T47" fmla="*/ 154 h 160"/>
              <a:gd name="T48" fmla="*/ 120 w 154"/>
              <a:gd name="T49" fmla="*/ 140 h 160"/>
              <a:gd name="T50" fmla="*/ 134 w 154"/>
              <a:gd name="T51" fmla="*/ 126 h 160"/>
              <a:gd name="T52" fmla="*/ 149 w 154"/>
              <a:gd name="T53" fmla="*/ 140 h 160"/>
              <a:gd name="T54" fmla="*/ 134 w 154"/>
              <a:gd name="T55" fmla="*/ 154 h 160"/>
              <a:gd name="T56" fmla="*/ 151 w 154"/>
              <a:gd name="T57" fmla="*/ 77 h 160"/>
              <a:gd name="T58" fmla="*/ 98 w 154"/>
              <a:gd name="T59" fmla="*/ 77 h 160"/>
              <a:gd name="T60" fmla="*/ 78 w 154"/>
              <a:gd name="T61" fmla="*/ 59 h 160"/>
              <a:gd name="T62" fmla="*/ 57 w 154"/>
              <a:gd name="T63" fmla="*/ 77 h 160"/>
              <a:gd name="T64" fmla="*/ 3 w 154"/>
              <a:gd name="T65" fmla="*/ 77 h 160"/>
              <a:gd name="T66" fmla="*/ 0 w 154"/>
              <a:gd name="T67" fmla="*/ 80 h 160"/>
              <a:gd name="T68" fmla="*/ 3 w 154"/>
              <a:gd name="T69" fmla="*/ 83 h 160"/>
              <a:gd name="T70" fmla="*/ 57 w 154"/>
              <a:gd name="T71" fmla="*/ 83 h 160"/>
              <a:gd name="T72" fmla="*/ 78 w 154"/>
              <a:gd name="T73" fmla="*/ 100 h 160"/>
              <a:gd name="T74" fmla="*/ 98 w 154"/>
              <a:gd name="T75" fmla="*/ 83 h 160"/>
              <a:gd name="T76" fmla="*/ 151 w 154"/>
              <a:gd name="T77" fmla="*/ 83 h 160"/>
              <a:gd name="T78" fmla="*/ 154 w 154"/>
              <a:gd name="T79" fmla="*/ 80 h 160"/>
              <a:gd name="T80" fmla="*/ 151 w 154"/>
              <a:gd name="T81" fmla="*/ 77 h 160"/>
              <a:gd name="T82" fmla="*/ 78 w 154"/>
              <a:gd name="T83" fmla="*/ 94 h 160"/>
              <a:gd name="T84" fmla="*/ 63 w 154"/>
              <a:gd name="T85" fmla="*/ 79 h 160"/>
              <a:gd name="T86" fmla="*/ 78 w 154"/>
              <a:gd name="T87" fmla="*/ 65 h 160"/>
              <a:gd name="T88" fmla="*/ 93 w 154"/>
              <a:gd name="T89" fmla="*/ 79 h 160"/>
              <a:gd name="T90" fmla="*/ 78 w 154"/>
              <a:gd name="T91" fmla="*/ 9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4" h="160">
                <a:moveTo>
                  <a:pt x="20" y="40"/>
                </a:moveTo>
                <a:cubicBezTo>
                  <a:pt x="30" y="40"/>
                  <a:pt x="38" y="33"/>
                  <a:pt x="40" y="23"/>
                </a:cubicBezTo>
                <a:cubicBezTo>
                  <a:pt x="151" y="23"/>
                  <a:pt x="151" y="23"/>
                  <a:pt x="151" y="23"/>
                </a:cubicBezTo>
                <a:cubicBezTo>
                  <a:pt x="153" y="23"/>
                  <a:pt x="154" y="22"/>
                  <a:pt x="154" y="20"/>
                </a:cubicBezTo>
                <a:cubicBezTo>
                  <a:pt x="154" y="18"/>
                  <a:pt x="153" y="17"/>
                  <a:pt x="151" y="17"/>
                </a:cubicBezTo>
                <a:cubicBezTo>
                  <a:pt x="40" y="17"/>
                  <a:pt x="40" y="17"/>
                  <a:pt x="40" y="17"/>
                </a:cubicBezTo>
                <a:cubicBezTo>
                  <a:pt x="38" y="7"/>
                  <a:pt x="30" y="0"/>
                  <a:pt x="20" y="0"/>
                </a:cubicBezTo>
                <a:cubicBezTo>
                  <a:pt x="9" y="0"/>
                  <a:pt x="0" y="9"/>
                  <a:pt x="0" y="20"/>
                </a:cubicBezTo>
                <a:cubicBezTo>
                  <a:pt x="0" y="31"/>
                  <a:pt x="9" y="40"/>
                  <a:pt x="20" y="40"/>
                </a:cubicBezTo>
                <a:close/>
                <a:moveTo>
                  <a:pt x="20" y="6"/>
                </a:moveTo>
                <a:cubicBezTo>
                  <a:pt x="28" y="6"/>
                  <a:pt x="34" y="12"/>
                  <a:pt x="34" y="20"/>
                </a:cubicBezTo>
                <a:cubicBezTo>
                  <a:pt x="34" y="28"/>
                  <a:pt x="28" y="34"/>
                  <a:pt x="20" y="34"/>
                </a:cubicBezTo>
                <a:cubicBezTo>
                  <a:pt x="12" y="34"/>
                  <a:pt x="6" y="28"/>
                  <a:pt x="6" y="20"/>
                </a:cubicBezTo>
                <a:cubicBezTo>
                  <a:pt x="6" y="12"/>
                  <a:pt x="12" y="6"/>
                  <a:pt x="20" y="6"/>
                </a:cubicBezTo>
                <a:close/>
                <a:moveTo>
                  <a:pt x="134" y="120"/>
                </a:moveTo>
                <a:cubicBezTo>
                  <a:pt x="124" y="120"/>
                  <a:pt x="116" y="127"/>
                  <a:pt x="115" y="137"/>
                </a:cubicBezTo>
                <a:cubicBezTo>
                  <a:pt x="3" y="137"/>
                  <a:pt x="3" y="137"/>
                  <a:pt x="3" y="137"/>
                </a:cubicBezTo>
                <a:cubicBezTo>
                  <a:pt x="1" y="137"/>
                  <a:pt x="0" y="138"/>
                  <a:pt x="0" y="140"/>
                </a:cubicBezTo>
                <a:cubicBezTo>
                  <a:pt x="0" y="142"/>
                  <a:pt x="1" y="143"/>
                  <a:pt x="3" y="143"/>
                </a:cubicBezTo>
                <a:cubicBezTo>
                  <a:pt x="115" y="143"/>
                  <a:pt x="115" y="143"/>
                  <a:pt x="115" y="143"/>
                </a:cubicBezTo>
                <a:cubicBezTo>
                  <a:pt x="116" y="153"/>
                  <a:pt x="124" y="160"/>
                  <a:pt x="134" y="160"/>
                </a:cubicBezTo>
                <a:cubicBezTo>
                  <a:pt x="145" y="160"/>
                  <a:pt x="154" y="151"/>
                  <a:pt x="154" y="140"/>
                </a:cubicBezTo>
                <a:cubicBezTo>
                  <a:pt x="154" y="129"/>
                  <a:pt x="145" y="120"/>
                  <a:pt x="134" y="120"/>
                </a:cubicBezTo>
                <a:close/>
                <a:moveTo>
                  <a:pt x="134" y="154"/>
                </a:moveTo>
                <a:cubicBezTo>
                  <a:pt x="126" y="154"/>
                  <a:pt x="120" y="148"/>
                  <a:pt x="120" y="140"/>
                </a:cubicBezTo>
                <a:cubicBezTo>
                  <a:pt x="120" y="132"/>
                  <a:pt x="126" y="126"/>
                  <a:pt x="134" y="126"/>
                </a:cubicBezTo>
                <a:cubicBezTo>
                  <a:pt x="142" y="126"/>
                  <a:pt x="149" y="132"/>
                  <a:pt x="149" y="140"/>
                </a:cubicBezTo>
                <a:cubicBezTo>
                  <a:pt x="149" y="148"/>
                  <a:pt x="142" y="154"/>
                  <a:pt x="134" y="154"/>
                </a:cubicBezTo>
                <a:close/>
                <a:moveTo>
                  <a:pt x="151" y="77"/>
                </a:moveTo>
                <a:cubicBezTo>
                  <a:pt x="98" y="77"/>
                  <a:pt x="98" y="77"/>
                  <a:pt x="98" y="77"/>
                </a:cubicBezTo>
                <a:cubicBezTo>
                  <a:pt x="97" y="67"/>
                  <a:pt x="88" y="59"/>
                  <a:pt x="78" y="59"/>
                </a:cubicBezTo>
                <a:cubicBezTo>
                  <a:pt x="67" y="59"/>
                  <a:pt x="58" y="67"/>
                  <a:pt x="57" y="77"/>
                </a:cubicBezTo>
                <a:cubicBezTo>
                  <a:pt x="3" y="77"/>
                  <a:pt x="3" y="77"/>
                  <a:pt x="3" y="77"/>
                </a:cubicBezTo>
                <a:cubicBezTo>
                  <a:pt x="1" y="77"/>
                  <a:pt x="0" y="78"/>
                  <a:pt x="0" y="80"/>
                </a:cubicBezTo>
                <a:cubicBezTo>
                  <a:pt x="0" y="82"/>
                  <a:pt x="1" y="83"/>
                  <a:pt x="3" y="83"/>
                </a:cubicBezTo>
                <a:cubicBezTo>
                  <a:pt x="57" y="83"/>
                  <a:pt x="57" y="83"/>
                  <a:pt x="57" y="83"/>
                </a:cubicBezTo>
                <a:cubicBezTo>
                  <a:pt x="59" y="93"/>
                  <a:pt x="68" y="100"/>
                  <a:pt x="78" y="100"/>
                </a:cubicBezTo>
                <a:cubicBezTo>
                  <a:pt x="88" y="100"/>
                  <a:pt x="96" y="93"/>
                  <a:pt x="98" y="83"/>
                </a:cubicBezTo>
                <a:cubicBezTo>
                  <a:pt x="151" y="83"/>
                  <a:pt x="151" y="83"/>
                  <a:pt x="151" y="83"/>
                </a:cubicBezTo>
                <a:cubicBezTo>
                  <a:pt x="153" y="83"/>
                  <a:pt x="154" y="82"/>
                  <a:pt x="154" y="80"/>
                </a:cubicBezTo>
                <a:cubicBezTo>
                  <a:pt x="154" y="78"/>
                  <a:pt x="153" y="77"/>
                  <a:pt x="151" y="77"/>
                </a:cubicBezTo>
                <a:close/>
                <a:moveTo>
                  <a:pt x="78" y="94"/>
                </a:moveTo>
                <a:cubicBezTo>
                  <a:pt x="70" y="94"/>
                  <a:pt x="63" y="88"/>
                  <a:pt x="63" y="79"/>
                </a:cubicBezTo>
                <a:cubicBezTo>
                  <a:pt x="63" y="71"/>
                  <a:pt x="70" y="65"/>
                  <a:pt x="78" y="65"/>
                </a:cubicBezTo>
                <a:cubicBezTo>
                  <a:pt x="86" y="65"/>
                  <a:pt x="93" y="71"/>
                  <a:pt x="93" y="79"/>
                </a:cubicBezTo>
                <a:cubicBezTo>
                  <a:pt x="93" y="88"/>
                  <a:pt x="86" y="94"/>
                  <a:pt x="78" y="9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39" name="Freeform 1116">
            <a:extLst>
              <a:ext uri="{FF2B5EF4-FFF2-40B4-BE49-F238E27FC236}">
                <a16:creationId xmlns:a16="http://schemas.microsoft.com/office/drawing/2014/main" id="{3EB2F43F-4B4D-3F4D-B7A0-F429F24C4A10}"/>
              </a:ext>
            </a:extLst>
          </p:cNvPr>
          <p:cNvSpPr>
            <a:spLocks noEditPoints="1"/>
          </p:cNvSpPr>
          <p:nvPr/>
        </p:nvSpPr>
        <p:spPr bwMode="auto">
          <a:xfrm>
            <a:off x="6310195" y="4700588"/>
            <a:ext cx="546100" cy="550863"/>
          </a:xfrm>
          <a:custGeom>
            <a:avLst/>
            <a:gdLst>
              <a:gd name="T0" fmla="*/ 37 w 160"/>
              <a:gd name="T1" fmla="*/ 51 h 160"/>
              <a:gd name="T2" fmla="*/ 56 w 160"/>
              <a:gd name="T3" fmla="*/ 35 h 160"/>
              <a:gd name="T4" fmla="*/ 139 w 160"/>
              <a:gd name="T5" fmla="*/ 35 h 160"/>
              <a:gd name="T6" fmla="*/ 141 w 160"/>
              <a:gd name="T7" fmla="*/ 32 h 160"/>
              <a:gd name="T8" fmla="*/ 139 w 160"/>
              <a:gd name="T9" fmla="*/ 29 h 160"/>
              <a:gd name="T10" fmla="*/ 56 w 160"/>
              <a:gd name="T11" fmla="*/ 29 h 160"/>
              <a:gd name="T12" fmla="*/ 37 w 160"/>
              <a:gd name="T13" fmla="*/ 13 h 160"/>
              <a:gd name="T14" fmla="*/ 19 w 160"/>
              <a:gd name="T15" fmla="*/ 32 h 160"/>
              <a:gd name="T16" fmla="*/ 37 w 160"/>
              <a:gd name="T17" fmla="*/ 51 h 160"/>
              <a:gd name="T18" fmla="*/ 37 w 160"/>
              <a:gd name="T19" fmla="*/ 19 h 160"/>
              <a:gd name="T20" fmla="*/ 51 w 160"/>
              <a:gd name="T21" fmla="*/ 32 h 160"/>
              <a:gd name="T22" fmla="*/ 37 w 160"/>
              <a:gd name="T23" fmla="*/ 45 h 160"/>
              <a:gd name="T24" fmla="*/ 24 w 160"/>
              <a:gd name="T25" fmla="*/ 32 h 160"/>
              <a:gd name="T26" fmla="*/ 37 w 160"/>
              <a:gd name="T27" fmla="*/ 19 h 160"/>
              <a:gd name="T28" fmla="*/ 21 w 160"/>
              <a:gd name="T29" fmla="*/ 131 h 160"/>
              <a:gd name="T30" fmla="*/ 104 w 160"/>
              <a:gd name="T31" fmla="*/ 131 h 160"/>
              <a:gd name="T32" fmla="*/ 123 w 160"/>
              <a:gd name="T33" fmla="*/ 147 h 160"/>
              <a:gd name="T34" fmla="*/ 141 w 160"/>
              <a:gd name="T35" fmla="*/ 128 h 160"/>
              <a:gd name="T36" fmla="*/ 123 w 160"/>
              <a:gd name="T37" fmla="*/ 109 h 160"/>
              <a:gd name="T38" fmla="*/ 104 w 160"/>
              <a:gd name="T39" fmla="*/ 125 h 160"/>
              <a:gd name="T40" fmla="*/ 21 w 160"/>
              <a:gd name="T41" fmla="*/ 125 h 160"/>
              <a:gd name="T42" fmla="*/ 19 w 160"/>
              <a:gd name="T43" fmla="*/ 128 h 160"/>
              <a:gd name="T44" fmla="*/ 21 w 160"/>
              <a:gd name="T45" fmla="*/ 131 h 160"/>
              <a:gd name="T46" fmla="*/ 123 w 160"/>
              <a:gd name="T47" fmla="*/ 115 h 160"/>
              <a:gd name="T48" fmla="*/ 136 w 160"/>
              <a:gd name="T49" fmla="*/ 128 h 160"/>
              <a:gd name="T50" fmla="*/ 123 w 160"/>
              <a:gd name="T51" fmla="*/ 141 h 160"/>
              <a:gd name="T52" fmla="*/ 109 w 160"/>
              <a:gd name="T53" fmla="*/ 128 h 160"/>
              <a:gd name="T54" fmla="*/ 123 w 160"/>
              <a:gd name="T55" fmla="*/ 115 h 160"/>
              <a:gd name="T56" fmla="*/ 21 w 160"/>
              <a:gd name="T57" fmla="*/ 83 h 160"/>
              <a:gd name="T58" fmla="*/ 64 w 160"/>
              <a:gd name="T59" fmla="*/ 83 h 160"/>
              <a:gd name="T60" fmla="*/ 83 w 160"/>
              <a:gd name="T61" fmla="*/ 99 h 160"/>
              <a:gd name="T62" fmla="*/ 101 w 160"/>
              <a:gd name="T63" fmla="*/ 83 h 160"/>
              <a:gd name="T64" fmla="*/ 139 w 160"/>
              <a:gd name="T65" fmla="*/ 83 h 160"/>
              <a:gd name="T66" fmla="*/ 141 w 160"/>
              <a:gd name="T67" fmla="*/ 80 h 160"/>
              <a:gd name="T68" fmla="*/ 139 w 160"/>
              <a:gd name="T69" fmla="*/ 77 h 160"/>
              <a:gd name="T70" fmla="*/ 101 w 160"/>
              <a:gd name="T71" fmla="*/ 77 h 160"/>
              <a:gd name="T72" fmla="*/ 83 w 160"/>
              <a:gd name="T73" fmla="*/ 61 h 160"/>
              <a:gd name="T74" fmla="*/ 64 w 160"/>
              <a:gd name="T75" fmla="*/ 77 h 160"/>
              <a:gd name="T76" fmla="*/ 21 w 160"/>
              <a:gd name="T77" fmla="*/ 77 h 160"/>
              <a:gd name="T78" fmla="*/ 19 w 160"/>
              <a:gd name="T79" fmla="*/ 80 h 160"/>
              <a:gd name="T80" fmla="*/ 21 w 160"/>
              <a:gd name="T81" fmla="*/ 83 h 160"/>
              <a:gd name="T82" fmla="*/ 83 w 160"/>
              <a:gd name="T83" fmla="*/ 67 h 160"/>
              <a:gd name="T84" fmla="*/ 96 w 160"/>
              <a:gd name="T85" fmla="*/ 80 h 160"/>
              <a:gd name="T86" fmla="*/ 83 w 160"/>
              <a:gd name="T87" fmla="*/ 93 h 160"/>
              <a:gd name="T88" fmla="*/ 69 w 160"/>
              <a:gd name="T89" fmla="*/ 80 h 160"/>
              <a:gd name="T90" fmla="*/ 83 w 160"/>
              <a:gd name="T91" fmla="*/ 67 h 160"/>
              <a:gd name="T92" fmla="*/ 157 w 160"/>
              <a:gd name="T93" fmla="*/ 0 h 160"/>
              <a:gd name="T94" fmla="*/ 3 w 160"/>
              <a:gd name="T95" fmla="*/ 0 h 160"/>
              <a:gd name="T96" fmla="*/ 0 w 160"/>
              <a:gd name="T97" fmla="*/ 3 h 160"/>
              <a:gd name="T98" fmla="*/ 0 w 160"/>
              <a:gd name="T99" fmla="*/ 157 h 160"/>
              <a:gd name="T100" fmla="*/ 3 w 160"/>
              <a:gd name="T101" fmla="*/ 160 h 160"/>
              <a:gd name="T102" fmla="*/ 157 w 160"/>
              <a:gd name="T103" fmla="*/ 160 h 160"/>
              <a:gd name="T104" fmla="*/ 160 w 160"/>
              <a:gd name="T105" fmla="*/ 157 h 160"/>
              <a:gd name="T106" fmla="*/ 160 w 160"/>
              <a:gd name="T107" fmla="*/ 3 h 160"/>
              <a:gd name="T108" fmla="*/ 157 w 160"/>
              <a:gd name="T109" fmla="*/ 0 h 160"/>
              <a:gd name="T110" fmla="*/ 155 w 160"/>
              <a:gd name="T111" fmla="*/ 155 h 160"/>
              <a:gd name="T112" fmla="*/ 5 w 160"/>
              <a:gd name="T113" fmla="*/ 155 h 160"/>
              <a:gd name="T114" fmla="*/ 5 w 160"/>
              <a:gd name="T115" fmla="*/ 5 h 160"/>
              <a:gd name="T116" fmla="*/ 155 w 160"/>
              <a:gd name="T117" fmla="*/ 5 h 160"/>
              <a:gd name="T118" fmla="*/ 155 w 160"/>
              <a:gd name="T11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60">
                <a:moveTo>
                  <a:pt x="37" y="51"/>
                </a:moveTo>
                <a:cubicBezTo>
                  <a:pt x="47" y="51"/>
                  <a:pt x="54" y="44"/>
                  <a:pt x="56" y="35"/>
                </a:cubicBezTo>
                <a:cubicBezTo>
                  <a:pt x="139" y="35"/>
                  <a:pt x="139" y="35"/>
                  <a:pt x="139" y="35"/>
                </a:cubicBezTo>
                <a:cubicBezTo>
                  <a:pt x="140" y="35"/>
                  <a:pt x="141" y="33"/>
                  <a:pt x="141" y="32"/>
                </a:cubicBezTo>
                <a:cubicBezTo>
                  <a:pt x="141" y="31"/>
                  <a:pt x="140" y="29"/>
                  <a:pt x="139" y="29"/>
                </a:cubicBezTo>
                <a:cubicBezTo>
                  <a:pt x="56" y="29"/>
                  <a:pt x="56" y="29"/>
                  <a:pt x="56" y="29"/>
                </a:cubicBezTo>
                <a:cubicBezTo>
                  <a:pt x="54" y="20"/>
                  <a:pt x="47" y="13"/>
                  <a:pt x="37" y="13"/>
                </a:cubicBezTo>
                <a:cubicBezTo>
                  <a:pt x="27" y="13"/>
                  <a:pt x="19" y="22"/>
                  <a:pt x="19" y="32"/>
                </a:cubicBezTo>
                <a:cubicBezTo>
                  <a:pt x="19" y="42"/>
                  <a:pt x="27" y="51"/>
                  <a:pt x="37" y="51"/>
                </a:cubicBezTo>
                <a:close/>
                <a:moveTo>
                  <a:pt x="37" y="19"/>
                </a:moveTo>
                <a:cubicBezTo>
                  <a:pt x="45" y="19"/>
                  <a:pt x="51" y="25"/>
                  <a:pt x="51" y="32"/>
                </a:cubicBezTo>
                <a:cubicBezTo>
                  <a:pt x="51" y="39"/>
                  <a:pt x="45" y="45"/>
                  <a:pt x="37" y="45"/>
                </a:cubicBezTo>
                <a:cubicBezTo>
                  <a:pt x="30" y="45"/>
                  <a:pt x="24" y="39"/>
                  <a:pt x="24" y="32"/>
                </a:cubicBezTo>
                <a:cubicBezTo>
                  <a:pt x="24" y="25"/>
                  <a:pt x="30" y="19"/>
                  <a:pt x="37" y="19"/>
                </a:cubicBezTo>
                <a:close/>
                <a:moveTo>
                  <a:pt x="21" y="131"/>
                </a:moveTo>
                <a:cubicBezTo>
                  <a:pt x="104" y="131"/>
                  <a:pt x="104" y="131"/>
                  <a:pt x="104" y="131"/>
                </a:cubicBezTo>
                <a:cubicBezTo>
                  <a:pt x="106" y="140"/>
                  <a:pt x="113" y="147"/>
                  <a:pt x="123" y="147"/>
                </a:cubicBezTo>
                <a:cubicBezTo>
                  <a:pt x="133" y="147"/>
                  <a:pt x="141" y="138"/>
                  <a:pt x="141" y="128"/>
                </a:cubicBezTo>
                <a:cubicBezTo>
                  <a:pt x="141" y="118"/>
                  <a:pt x="133" y="109"/>
                  <a:pt x="123" y="109"/>
                </a:cubicBezTo>
                <a:cubicBezTo>
                  <a:pt x="113" y="109"/>
                  <a:pt x="106" y="116"/>
                  <a:pt x="104" y="125"/>
                </a:cubicBezTo>
                <a:cubicBezTo>
                  <a:pt x="21" y="125"/>
                  <a:pt x="21" y="125"/>
                  <a:pt x="21" y="125"/>
                </a:cubicBezTo>
                <a:cubicBezTo>
                  <a:pt x="20" y="125"/>
                  <a:pt x="19" y="127"/>
                  <a:pt x="19" y="128"/>
                </a:cubicBezTo>
                <a:cubicBezTo>
                  <a:pt x="19" y="129"/>
                  <a:pt x="20" y="131"/>
                  <a:pt x="21" y="131"/>
                </a:cubicBezTo>
                <a:close/>
                <a:moveTo>
                  <a:pt x="123" y="115"/>
                </a:moveTo>
                <a:cubicBezTo>
                  <a:pt x="130" y="115"/>
                  <a:pt x="136" y="121"/>
                  <a:pt x="136" y="128"/>
                </a:cubicBezTo>
                <a:cubicBezTo>
                  <a:pt x="136" y="135"/>
                  <a:pt x="130" y="141"/>
                  <a:pt x="123" y="141"/>
                </a:cubicBezTo>
                <a:cubicBezTo>
                  <a:pt x="115" y="141"/>
                  <a:pt x="109" y="135"/>
                  <a:pt x="109" y="128"/>
                </a:cubicBezTo>
                <a:cubicBezTo>
                  <a:pt x="109" y="121"/>
                  <a:pt x="115" y="115"/>
                  <a:pt x="123" y="115"/>
                </a:cubicBezTo>
                <a:close/>
                <a:moveTo>
                  <a:pt x="21" y="83"/>
                </a:moveTo>
                <a:cubicBezTo>
                  <a:pt x="64" y="83"/>
                  <a:pt x="64" y="83"/>
                  <a:pt x="64" y="83"/>
                </a:cubicBezTo>
                <a:cubicBezTo>
                  <a:pt x="66" y="92"/>
                  <a:pt x="73" y="99"/>
                  <a:pt x="83" y="99"/>
                </a:cubicBezTo>
                <a:cubicBezTo>
                  <a:pt x="92" y="99"/>
                  <a:pt x="100" y="92"/>
                  <a:pt x="101" y="83"/>
                </a:cubicBezTo>
                <a:cubicBezTo>
                  <a:pt x="139" y="83"/>
                  <a:pt x="139" y="83"/>
                  <a:pt x="139" y="83"/>
                </a:cubicBezTo>
                <a:cubicBezTo>
                  <a:pt x="140" y="83"/>
                  <a:pt x="141" y="81"/>
                  <a:pt x="141" y="80"/>
                </a:cubicBezTo>
                <a:cubicBezTo>
                  <a:pt x="141" y="79"/>
                  <a:pt x="140" y="77"/>
                  <a:pt x="139" y="77"/>
                </a:cubicBezTo>
                <a:cubicBezTo>
                  <a:pt x="101" y="77"/>
                  <a:pt x="101" y="77"/>
                  <a:pt x="101" y="77"/>
                </a:cubicBezTo>
                <a:cubicBezTo>
                  <a:pt x="100" y="68"/>
                  <a:pt x="92" y="61"/>
                  <a:pt x="83" y="61"/>
                </a:cubicBezTo>
                <a:cubicBezTo>
                  <a:pt x="73" y="61"/>
                  <a:pt x="66" y="68"/>
                  <a:pt x="64" y="77"/>
                </a:cubicBezTo>
                <a:cubicBezTo>
                  <a:pt x="21" y="77"/>
                  <a:pt x="21" y="77"/>
                  <a:pt x="21" y="77"/>
                </a:cubicBezTo>
                <a:cubicBezTo>
                  <a:pt x="20" y="77"/>
                  <a:pt x="19" y="79"/>
                  <a:pt x="19" y="80"/>
                </a:cubicBezTo>
                <a:cubicBezTo>
                  <a:pt x="19" y="81"/>
                  <a:pt x="20" y="83"/>
                  <a:pt x="21" y="83"/>
                </a:cubicBezTo>
                <a:close/>
                <a:moveTo>
                  <a:pt x="83" y="67"/>
                </a:moveTo>
                <a:cubicBezTo>
                  <a:pt x="90" y="67"/>
                  <a:pt x="96" y="73"/>
                  <a:pt x="96" y="80"/>
                </a:cubicBezTo>
                <a:cubicBezTo>
                  <a:pt x="96" y="87"/>
                  <a:pt x="90" y="93"/>
                  <a:pt x="83" y="93"/>
                </a:cubicBezTo>
                <a:cubicBezTo>
                  <a:pt x="75" y="93"/>
                  <a:pt x="69" y="87"/>
                  <a:pt x="69" y="80"/>
                </a:cubicBezTo>
                <a:cubicBezTo>
                  <a:pt x="69" y="73"/>
                  <a:pt x="75" y="67"/>
                  <a:pt x="83" y="67"/>
                </a:cubicBezTo>
                <a:close/>
                <a:moveTo>
                  <a:pt x="157" y="0"/>
                </a:moveTo>
                <a:cubicBezTo>
                  <a:pt x="3" y="0"/>
                  <a:pt x="3" y="0"/>
                  <a:pt x="3" y="0"/>
                </a:cubicBezTo>
                <a:cubicBezTo>
                  <a:pt x="1" y="0"/>
                  <a:pt x="0" y="1"/>
                  <a:pt x="0" y="3"/>
                </a:cubicBezTo>
                <a:cubicBezTo>
                  <a:pt x="0" y="157"/>
                  <a:pt x="0" y="157"/>
                  <a:pt x="0" y="157"/>
                </a:cubicBezTo>
                <a:cubicBezTo>
                  <a:pt x="0" y="159"/>
                  <a:pt x="1" y="160"/>
                  <a:pt x="3" y="160"/>
                </a:cubicBezTo>
                <a:cubicBezTo>
                  <a:pt x="157" y="160"/>
                  <a:pt x="157" y="160"/>
                  <a:pt x="157" y="160"/>
                </a:cubicBezTo>
                <a:cubicBezTo>
                  <a:pt x="159" y="160"/>
                  <a:pt x="160" y="159"/>
                  <a:pt x="160" y="157"/>
                </a:cubicBezTo>
                <a:cubicBezTo>
                  <a:pt x="160" y="3"/>
                  <a:pt x="160" y="3"/>
                  <a:pt x="160" y="3"/>
                </a:cubicBezTo>
                <a:cubicBezTo>
                  <a:pt x="160" y="1"/>
                  <a:pt x="159" y="0"/>
                  <a:pt x="157" y="0"/>
                </a:cubicBezTo>
                <a:close/>
                <a:moveTo>
                  <a:pt x="155" y="155"/>
                </a:moveTo>
                <a:cubicBezTo>
                  <a:pt x="5" y="155"/>
                  <a:pt x="5" y="155"/>
                  <a:pt x="5" y="155"/>
                </a:cubicBezTo>
                <a:cubicBezTo>
                  <a:pt x="5" y="5"/>
                  <a:pt x="5" y="5"/>
                  <a:pt x="5" y="5"/>
                </a:cubicBezTo>
                <a:cubicBezTo>
                  <a:pt x="155" y="5"/>
                  <a:pt x="155" y="5"/>
                  <a:pt x="155" y="5"/>
                </a:cubicBezTo>
                <a:lnTo>
                  <a:pt x="155" y="15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Freeform 1117">
            <a:extLst>
              <a:ext uri="{FF2B5EF4-FFF2-40B4-BE49-F238E27FC236}">
                <a16:creationId xmlns:a16="http://schemas.microsoft.com/office/drawing/2014/main" id="{40F7019B-E68A-FD46-A513-939F220B4B60}"/>
              </a:ext>
            </a:extLst>
          </p:cNvPr>
          <p:cNvSpPr>
            <a:spLocks noEditPoints="1"/>
          </p:cNvSpPr>
          <p:nvPr/>
        </p:nvSpPr>
        <p:spPr bwMode="auto">
          <a:xfrm>
            <a:off x="6310195" y="5334000"/>
            <a:ext cx="546100" cy="508000"/>
          </a:xfrm>
          <a:custGeom>
            <a:avLst/>
            <a:gdLst>
              <a:gd name="T0" fmla="*/ 12 w 160"/>
              <a:gd name="T1" fmla="*/ 21 h 148"/>
              <a:gd name="T2" fmla="*/ 15 w 160"/>
              <a:gd name="T3" fmla="*/ 36 h 148"/>
              <a:gd name="T4" fmla="*/ 53 w 160"/>
              <a:gd name="T5" fmla="*/ 33 h 148"/>
              <a:gd name="T6" fmla="*/ 157 w 160"/>
              <a:gd name="T7" fmla="*/ 21 h 148"/>
              <a:gd name="T8" fmla="*/ 157 w 160"/>
              <a:gd name="T9" fmla="*/ 15 h 148"/>
              <a:gd name="T10" fmla="*/ 53 w 160"/>
              <a:gd name="T11" fmla="*/ 3 h 148"/>
              <a:gd name="T12" fmla="*/ 15 w 160"/>
              <a:gd name="T13" fmla="*/ 0 h 148"/>
              <a:gd name="T14" fmla="*/ 12 w 160"/>
              <a:gd name="T15" fmla="*/ 15 h 148"/>
              <a:gd name="T16" fmla="*/ 0 w 160"/>
              <a:gd name="T17" fmla="*/ 18 h 148"/>
              <a:gd name="T18" fmla="*/ 18 w 160"/>
              <a:gd name="T19" fmla="*/ 6 h 148"/>
              <a:gd name="T20" fmla="*/ 47 w 160"/>
              <a:gd name="T21" fmla="*/ 30 h 148"/>
              <a:gd name="T22" fmla="*/ 18 w 160"/>
              <a:gd name="T23" fmla="*/ 6 h 148"/>
              <a:gd name="T24" fmla="*/ 101 w 160"/>
              <a:gd name="T25" fmla="*/ 71 h 148"/>
              <a:gd name="T26" fmla="*/ 98 w 160"/>
              <a:gd name="T27" fmla="*/ 56 h 148"/>
              <a:gd name="T28" fmla="*/ 59 w 160"/>
              <a:gd name="T29" fmla="*/ 59 h 148"/>
              <a:gd name="T30" fmla="*/ 3 w 160"/>
              <a:gd name="T31" fmla="*/ 71 h 148"/>
              <a:gd name="T32" fmla="*/ 3 w 160"/>
              <a:gd name="T33" fmla="*/ 77 h 148"/>
              <a:gd name="T34" fmla="*/ 59 w 160"/>
              <a:gd name="T35" fmla="*/ 89 h 148"/>
              <a:gd name="T36" fmla="*/ 98 w 160"/>
              <a:gd name="T37" fmla="*/ 92 h 148"/>
              <a:gd name="T38" fmla="*/ 101 w 160"/>
              <a:gd name="T39" fmla="*/ 77 h 148"/>
              <a:gd name="T40" fmla="*/ 160 w 160"/>
              <a:gd name="T41" fmla="*/ 74 h 148"/>
              <a:gd name="T42" fmla="*/ 95 w 160"/>
              <a:gd name="T43" fmla="*/ 86 h 148"/>
              <a:gd name="T44" fmla="*/ 65 w 160"/>
              <a:gd name="T45" fmla="*/ 62 h 148"/>
              <a:gd name="T46" fmla="*/ 95 w 160"/>
              <a:gd name="T47" fmla="*/ 86 h 148"/>
              <a:gd name="T48" fmla="*/ 148 w 160"/>
              <a:gd name="T49" fmla="*/ 127 h 148"/>
              <a:gd name="T50" fmla="*/ 145 w 160"/>
              <a:gd name="T51" fmla="*/ 113 h 148"/>
              <a:gd name="T52" fmla="*/ 107 w 160"/>
              <a:gd name="T53" fmla="*/ 116 h 148"/>
              <a:gd name="T54" fmla="*/ 3 w 160"/>
              <a:gd name="T55" fmla="*/ 127 h 148"/>
              <a:gd name="T56" fmla="*/ 3 w 160"/>
              <a:gd name="T57" fmla="*/ 133 h 148"/>
              <a:gd name="T58" fmla="*/ 107 w 160"/>
              <a:gd name="T59" fmla="*/ 145 h 148"/>
              <a:gd name="T60" fmla="*/ 145 w 160"/>
              <a:gd name="T61" fmla="*/ 148 h 148"/>
              <a:gd name="T62" fmla="*/ 148 w 160"/>
              <a:gd name="T63" fmla="*/ 133 h 148"/>
              <a:gd name="T64" fmla="*/ 160 w 160"/>
              <a:gd name="T65" fmla="*/ 130 h 148"/>
              <a:gd name="T66" fmla="*/ 142 w 160"/>
              <a:gd name="T67" fmla="*/ 142 h 148"/>
              <a:gd name="T68" fmla="*/ 113 w 160"/>
              <a:gd name="T69" fmla="*/ 119 h 148"/>
              <a:gd name="T70" fmla="*/ 142 w 160"/>
              <a:gd name="T71" fmla="*/ 14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48">
                <a:moveTo>
                  <a:pt x="3" y="21"/>
                </a:moveTo>
                <a:cubicBezTo>
                  <a:pt x="12" y="21"/>
                  <a:pt x="12" y="21"/>
                  <a:pt x="12" y="21"/>
                </a:cubicBezTo>
                <a:cubicBezTo>
                  <a:pt x="12" y="33"/>
                  <a:pt x="12" y="33"/>
                  <a:pt x="12" y="33"/>
                </a:cubicBezTo>
                <a:cubicBezTo>
                  <a:pt x="12" y="34"/>
                  <a:pt x="13" y="36"/>
                  <a:pt x="15" y="36"/>
                </a:cubicBezTo>
                <a:cubicBezTo>
                  <a:pt x="50" y="36"/>
                  <a:pt x="50" y="36"/>
                  <a:pt x="50" y="36"/>
                </a:cubicBezTo>
                <a:cubicBezTo>
                  <a:pt x="52" y="36"/>
                  <a:pt x="53" y="34"/>
                  <a:pt x="53" y="33"/>
                </a:cubicBezTo>
                <a:cubicBezTo>
                  <a:pt x="53" y="21"/>
                  <a:pt x="53" y="21"/>
                  <a:pt x="53" y="21"/>
                </a:cubicBezTo>
                <a:cubicBezTo>
                  <a:pt x="157" y="21"/>
                  <a:pt x="157" y="21"/>
                  <a:pt x="157" y="21"/>
                </a:cubicBezTo>
                <a:cubicBezTo>
                  <a:pt x="159" y="21"/>
                  <a:pt x="160" y="19"/>
                  <a:pt x="160" y="18"/>
                </a:cubicBezTo>
                <a:cubicBezTo>
                  <a:pt x="160" y="16"/>
                  <a:pt x="159" y="15"/>
                  <a:pt x="157" y="15"/>
                </a:cubicBezTo>
                <a:cubicBezTo>
                  <a:pt x="53" y="15"/>
                  <a:pt x="53" y="15"/>
                  <a:pt x="53" y="15"/>
                </a:cubicBezTo>
                <a:cubicBezTo>
                  <a:pt x="53" y="3"/>
                  <a:pt x="53" y="3"/>
                  <a:pt x="53" y="3"/>
                </a:cubicBezTo>
                <a:cubicBezTo>
                  <a:pt x="53" y="1"/>
                  <a:pt x="52" y="0"/>
                  <a:pt x="50" y="0"/>
                </a:cubicBezTo>
                <a:cubicBezTo>
                  <a:pt x="15" y="0"/>
                  <a:pt x="15" y="0"/>
                  <a:pt x="15" y="0"/>
                </a:cubicBezTo>
                <a:cubicBezTo>
                  <a:pt x="13" y="0"/>
                  <a:pt x="12" y="1"/>
                  <a:pt x="12" y="3"/>
                </a:cubicBezTo>
                <a:cubicBezTo>
                  <a:pt x="12" y="15"/>
                  <a:pt x="12" y="15"/>
                  <a:pt x="12" y="15"/>
                </a:cubicBezTo>
                <a:cubicBezTo>
                  <a:pt x="3" y="15"/>
                  <a:pt x="3" y="15"/>
                  <a:pt x="3" y="15"/>
                </a:cubicBezTo>
                <a:cubicBezTo>
                  <a:pt x="1" y="15"/>
                  <a:pt x="0" y="16"/>
                  <a:pt x="0" y="18"/>
                </a:cubicBezTo>
                <a:cubicBezTo>
                  <a:pt x="0" y="19"/>
                  <a:pt x="1" y="21"/>
                  <a:pt x="3" y="21"/>
                </a:cubicBezTo>
                <a:close/>
                <a:moveTo>
                  <a:pt x="18" y="6"/>
                </a:moveTo>
                <a:cubicBezTo>
                  <a:pt x="47" y="6"/>
                  <a:pt x="47" y="6"/>
                  <a:pt x="47" y="6"/>
                </a:cubicBezTo>
                <a:cubicBezTo>
                  <a:pt x="47" y="30"/>
                  <a:pt x="47" y="30"/>
                  <a:pt x="47" y="30"/>
                </a:cubicBezTo>
                <a:cubicBezTo>
                  <a:pt x="18" y="30"/>
                  <a:pt x="18" y="30"/>
                  <a:pt x="18" y="30"/>
                </a:cubicBezTo>
                <a:lnTo>
                  <a:pt x="18" y="6"/>
                </a:lnTo>
                <a:close/>
                <a:moveTo>
                  <a:pt x="157" y="71"/>
                </a:moveTo>
                <a:cubicBezTo>
                  <a:pt x="101" y="71"/>
                  <a:pt x="101" y="71"/>
                  <a:pt x="101" y="71"/>
                </a:cubicBezTo>
                <a:cubicBezTo>
                  <a:pt x="101" y="59"/>
                  <a:pt x="101" y="59"/>
                  <a:pt x="101" y="59"/>
                </a:cubicBezTo>
                <a:cubicBezTo>
                  <a:pt x="101" y="58"/>
                  <a:pt x="99" y="56"/>
                  <a:pt x="98" y="56"/>
                </a:cubicBezTo>
                <a:cubicBezTo>
                  <a:pt x="62" y="56"/>
                  <a:pt x="62" y="56"/>
                  <a:pt x="62" y="56"/>
                </a:cubicBezTo>
                <a:cubicBezTo>
                  <a:pt x="61" y="56"/>
                  <a:pt x="59" y="58"/>
                  <a:pt x="59" y="59"/>
                </a:cubicBezTo>
                <a:cubicBezTo>
                  <a:pt x="59" y="71"/>
                  <a:pt x="59" y="71"/>
                  <a:pt x="59" y="71"/>
                </a:cubicBezTo>
                <a:cubicBezTo>
                  <a:pt x="3" y="71"/>
                  <a:pt x="3" y="71"/>
                  <a:pt x="3" y="71"/>
                </a:cubicBezTo>
                <a:cubicBezTo>
                  <a:pt x="1" y="71"/>
                  <a:pt x="0" y="72"/>
                  <a:pt x="0" y="74"/>
                </a:cubicBezTo>
                <a:cubicBezTo>
                  <a:pt x="0" y="76"/>
                  <a:pt x="1" y="77"/>
                  <a:pt x="3" y="77"/>
                </a:cubicBezTo>
                <a:cubicBezTo>
                  <a:pt x="59" y="77"/>
                  <a:pt x="59" y="77"/>
                  <a:pt x="59" y="77"/>
                </a:cubicBezTo>
                <a:cubicBezTo>
                  <a:pt x="59" y="89"/>
                  <a:pt x="59" y="89"/>
                  <a:pt x="59" y="89"/>
                </a:cubicBezTo>
                <a:cubicBezTo>
                  <a:pt x="59" y="91"/>
                  <a:pt x="61" y="92"/>
                  <a:pt x="62" y="92"/>
                </a:cubicBezTo>
                <a:cubicBezTo>
                  <a:pt x="98" y="92"/>
                  <a:pt x="98" y="92"/>
                  <a:pt x="98" y="92"/>
                </a:cubicBezTo>
                <a:cubicBezTo>
                  <a:pt x="99" y="92"/>
                  <a:pt x="101" y="91"/>
                  <a:pt x="101" y="89"/>
                </a:cubicBezTo>
                <a:cubicBezTo>
                  <a:pt x="101" y="77"/>
                  <a:pt x="101" y="77"/>
                  <a:pt x="101" y="77"/>
                </a:cubicBezTo>
                <a:cubicBezTo>
                  <a:pt x="157" y="77"/>
                  <a:pt x="157" y="77"/>
                  <a:pt x="157" y="77"/>
                </a:cubicBezTo>
                <a:cubicBezTo>
                  <a:pt x="159" y="77"/>
                  <a:pt x="160" y="76"/>
                  <a:pt x="160" y="74"/>
                </a:cubicBezTo>
                <a:cubicBezTo>
                  <a:pt x="160" y="72"/>
                  <a:pt x="159" y="71"/>
                  <a:pt x="157" y="71"/>
                </a:cubicBezTo>
                <a:close/>
                <a:moveTo>
                  <a:pt x="95" y="86"/>
                </a:moveTo>
                <a:cubicBezTo>
                  <a:pt x="65" y="86"/>
                  <a:pt x="65" y="86"/>
                  <a:pt x="65" y="86"/>
                </a:cubicBezTo>
                <a:cubicBezTo>
                  <a:pt x="65" y="62"/>
                  <a:pt x="65" y="62"/>
                  <a:pt x="65" y="62"/>
                </a:cubicBezTo>
                <a:cubicBezTo>
                  <a:pt x="95" y="62"/>
                  <a:pt x="95" y="62"/>
                  <a:pt x="95" y="62"/>
                </a:cubicBezTo>
                <a:lnTo>
                  <a:pt x="95" y="86"/>
                </a:lnTo>
                <a:close/>
                <a:moveTo>
                  <a:pt x="157" y="127"/>
                </a:moveTo>
                <a:cubicBezTo>
                  <a:pt x="148" y="127"/>
                  <a:pt x="148" y="127"/>
                  <a:pt x="148" y="127"/>
                </a:cubicBezTo>
                <a:cubicBezTo>
                  <a:pt x="148" y="116"/>
                  <a:pt x="148" y="116"/>
                  <a:pt x="148" y="116"/>
                </a:cubicBezTo>
                <a:cubicBezTo>
                  <a:pt x="148" y="114"/>
                  <a:pt x="147" y="113"/>
                  <a:pt x="145" y="113"/>
                </a:cubicBezTo>
                <a:cubicBezTo>
                  <a:pt x="110" y="113"/>
                  <a:pt x="110" y="113"/>
                  <a:pt x="110" y="113"/>
                </a:cubicBezTo>
                <a:cubicBezTo>
                  <a:pt x="108" y="113"/>
                  <a:pt x="107" y="114"/>
                  <a:pt x="107" y="116"/>
                </a:cubicBezTo>
                <a:cubicBezTo>
                  <a:pt x="107" y="127"/>
                  <a:pt x="107" y="127"/>
                  <a:pt x="107" y="127"/>
                </a:cubicBezTo>
                <a:cubicBezTo>
                  <a:pt x="3" y="127"/>
                  <a:pt x="3" y="127"/>
                  <a:pt x="3" y="127"/>
                </a:cubicBezTo>
                <a:cubicBezTo>
                  <a:pt x="1" y="127"/>
                  <a:pt x="0" y="129"/>
                  <a:pt x="0" y="130"/>
                </a:cubicBezTo>
                <a:cubicBezTo>
                  <a:pt x="0" y="132"/>
                  <a:pt x="1" y="133"/>
                  <a:pt x="3" y="133"/>
                </a:cubicBezTo>
                <a:cubicBezTo>
                  <a:pt x="107" y="133"/>
                  <a:pt x="107" y="133"/>
                  <a:pt x="107" y="133"/>
                </a:cubicBezTo>
                <a:cubicBezTo>
                  <a:pt x="107" y="145"/>
                  <a:pt x="107" y="145"/>
                  <a:pt x="107" y="145"/>
                </a:cubicBezTo>
                <a:cubicBezTo>
                  <a:pt x="107" y="147"/>
                  <a:pt x="108" y="148"/>
                  <a:pt x="110" y="148"/>
                </a:cubicBezTo>
                <a:cubicBezTo>
                  <a:pt x="145" y="148"/>
                  <a:pt x="145" y="148"/>
                  <a:pt x="145" y="148"/>
                </a:cubicBezTo>
                <a:cubicBezTo>
                  <a:pt x="147" y="148"/>
                  <a:pt x="148" y="147"/>
                  <a:pt x="148" y="145"/>
                </a:cubicBezTo>
                <a:cubicBezTo>
                  <a:pt x="148" y="133"/>
                  <a:pt x="148" y="133"/>
                  <a:pt x="148" y="133"/>
                </a:cubicBezTo>
                <a:cubicBezTo>
                  <a:pt x="157" y="133"/>
                  <a:pt x="157" y="133"/>
                  <a:pt x="157" y="133"/>
                </a:cubicBezTo>
                <a:cubicBezTo>
                  <a:pt x="159" y="133"/>
                  <a:pt x="160" y="132"/>
                  <a:pt x="160" y="130"/>
                </a:cubicBezTo>
                <a:cubicBezTo>
                  <a:pt x="160" y="129"/>
                  <a:pt x="159" y="127"/>
                  <a:pt x="157" y="127"/>
                </a:cubicBezTo>
                <a:close/>
                <a:moveTo>
                  <a:pt x="142" y="142"/>
                </a:moveTo>
                <a:cubicBezTo>
                  <a:pt x="113" y="142"/>
                  <a:pt x="113" y="142"/>
                  <a:pt x="113" y="142"/>
                </a:cubicBezTo>
                <a:cubicBezTo>
                  <a:pt x="113" y="119"/>
                  <a:pt x="113" y="119"/>
                  <a:pt x="113" y="119"/>
                </a:cubicBezTo>
                <a:cubicBezTo>
                  <a:pt x="142" y="119"/>
                  <a:pt x="142" y="119"/>
                  <a:pt x="142" y="119"/>
                </a:cubicBezTo>
                <a:lnTo>
                  <a:pt x="142" y="14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41" name="Freeform 1118">
            <a:extLst>
              <a:ext uri="{FF2B5EF4-FFF2-40B4-BE49-F238E27FC236}">
                <a16:creationId xmlns:a16="http://schemas.microsoft.com/office/drawing/2014/main" id="{0AC4067B-9434-A44F-B4EE-72DDD8D9A3C5}"/>
              </a:ext>
            </a:extLst>
          </p:cNvPr>
          <p:cNvSpPr>
            <a:spLocks noEditPoints="1"/>
          </p:cNvSpPr>
          <p:nvPr/>
        </p:nvSpPr>
        <p:spPr bwMode="auto">
          <a:xfrm>
            <a:off x="6310195" y="5938838"/>
            <a:ext cx="546100" cy="550863"/>
          </a:xfrm>
          <a:custGeom>
            <a:avLst/>
            <a:gdLst>
              <a:gd name="T0" fmla="*/ 3 w 160"/>
              <a:gd name="T1" fmla="*/ 0 h 160"/>
              <a:gd name="T2" fmla="*/ 0 w 160"/>
              <a:gd name="T3" fmla="*/ 157 h 160"/>
              <a:gd name="T4" fmla="*/ 157 w 160"/>
              <a:gd name="T5" fmla="*/ 160 h 160"/>
              <a:gd name="T6" fmla="*/ 160 w 160"/>
              <a:gd name="T7" fmla="*/ 3 h 160"/>
              <a:gd name="T8" fmla="*/ 155 w 160"/>
              <a:gd name="T9" fmla="*/ 155 h 160"/>
              <a:gd name="T10" fmla="*/ 5 w 160"/>
              <a:gd name="T11" fmla="*/ 5 h 160"/>
              <a:gd name="T12" fmla="*/ 155 w 160"/>
              <a:gd name="T13" fmla="*/ 155 h 160"/>
              <a:gd name="T14" fmla="*/ 24 w 160"/>
              <a:gd name="T15" fmla="*/ 32 h 160"/>
              <a:gd name="T16" fmla="*/ 27 w 160"/>
              <a:gd name="T17" fmla="*/ 45 h 160"/>
              <a:gd name="T18" fmla="*/ 61 w 160"/>
              <a:gd name="T19" fmla="*/ 43 h 160"/>
              <a:gd name="T20" fmla="*/ 144 w 160"/>
              <a:gd name="T21" fmla="*/ 32 h 160"/>
              <a:gd name="T22" fmla="*/ 144 w 160"/>
              <a:gd name="T23" fmla="*/ 27 h 160"/>
              <a:gd name="T24" fmla="*/ 61 w 160"/>
              <a:gd name="T25" fmla="*/ 16 h 160"/>
              <a:gd name="T26" fmla="*/ 27 w 160"/>
              <a:gd name="T27" fmla="*/ 13 h 160"/>
              <a:gd name="T28" fmla="*/ 24 w 160"/>
              <a:gd name="T29" fmla="*/ 27 h 160"/>
              <a:gd name="T30" fmla="*/ 13 w 160"/>
              <a:gd name="T31" fmla="*/ 29 h 160"/>
              <a:gd name="T32" fmla="*/ 29 w 160"/>
              <a:gd name="T33" fmla="*/ 19 h 160"/>
              <a:gd name="T34" fmla="*/ 56 w 160"/>
              <a:gd name="T35" fmla="*/ 40 h 160"/>
              <a:gd name="T36" fmla="*/ 29 w 160"/>
              <a:gd name="T37" fmla="*/ 19 h 160"/>
              <a:gd name="T38" fmla="*/ 61 w 160"/>
              <a:gd name="T39" fmla="*/ 83 h 160"/>
              <a:gd name="T40" fmla="*/ 64 w 160"/>
              <a:gd name="T41" fmla="*/ 96 h 160"/>
              <a:gd name="T42" fmla="*/ 99 w 160"/>
              <a:gd name="T43" fmla="*/ 93 h 160"/>
              <a:gd name="T44" fmla="*/ 144 w 160"/>
              <a:gd name="T45" fmla="*/ 83 h 160"/>
              <a:gd name="T46" fmla="*/ 144 w 160"/>
              <a:gd name="T47" fmla="*/ 77 h 160"/>
              <a:gd name="T48" fmla="*/ 99 w 160"/>
              <a:gd name="T49" fmla="*/ 67 h 160"/>
              <a:gd name="T50" fmla="*/ 64 w 160"/>
              <a:gd name="T51" fmla="*/ 64 h 160"/>
              <a:gd name="T52" fmla="*/ 61 w 160"/>
              <a:gd name="T53" fmla="*/ 77 h 160"/>
              <a:gd name="T54" fmla="*/ 13 w 160"/>
              <a:gd name="T55" fmla="*/ 80 h 160"/>
              <a:gd name="T56" fmla="*/ 67 w 160"/>
              <a:gd name="T57" fmla="*/ 69 h 160"/>
              <a:gd name="T58" fmla="*/ 93 w 160"/>
              <a:gd name="T59" fmla="*/ 91 h 160"/>
              <a:gd name="T60" fmla="*/ 67 w 160"/>
              <a:gd name="T61" fmla="*/ 69 h 160"/>
              <a:gd name="T62" fmla="*/ 99 w 160"/>
              <a:gd name="T63" fmla="*/ 133 h 160"/>
              <a:gd name="T64" fmla="*/ 101 w 160"/>
              <a:gd name="T65" fmla="*/ 147 h 160"/>
              <a:gd name="T66" fmla="*/ 136 w 160"/>
              <a:gd name="T67" fmla="*/ 144 h 160"/>
              <a:gd name="T68" fmla="*/ 144 w 160"/>
              <a:gd name="T69" fmla="*/ 133 h 160"/>
              <a:gd name="T70" fmla="*/ 144 w 160"/>
              <a:gd name="T71" fmla="*/ 128 h 160"/>
              <a:gd name="T72" fmla="*/ 136 w 160"/>
              <a:gd name="T73" fmla="*/ 117 h 160"/>
              <a:gd name="T74" fmla="*/ 101 w 160"/>
              <a:gd name="T75" fmla="*/ 115 h 160"/>
              <a:gd name="T76" fmla="*/ 99 w 160"/>
              <a:gd name="T77" fmla="*/ 128 h 160"/>
              <a:gd name="T78" fmla="*/ 13 w 160"/>
              <a:gd name="T79" fmla="*/ 131 h 160"/>
              <a:gd name="T80" fmla="*/ 104 w 160"/>
              <a:gd name="T81" fmla="*/ 120 h 160"/>
              <a:gd name="T82" fmla="*/ 131 w 160"/>
              <a:gd name="T83" fmla="*/ 141 h 160"/>
              <a:gd name="T84" fmla="*/ 104 w 160"/>
              <a:gd name="T85"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60">
                <a:moveTo>
                  <a:pt x="157" y="0"/>
                </a:moveTo>
                <a:cubicBezTo>
                  <a:pt x="3" y="0"/>
                  <a:pt x="3" y="0"/>
                  <a:pt x="3" y="0"/>
                </a:cubicBezTo>
                <a:cubicBezTo>
                  <a:pt x="1" y="0"/>
                  <a:pt x="0" y="1"/>
                  <a:pt x="0" y="3"/>
                </a:cubicBezTo>
                <a:cubicBezTo>
                  <a:pt x="0" y="157"/>
                  <a:pt x="0" y="157"/>
                  <a:pt x="0" y="157"/>
                </a:cubicBezTo>
                <a:cubicBezTo>
                  <a:pt x="0" y="159"/>
                  <a:pt x="1" y="160"/>
                  <a:pt x="3" y="160"/>
                </a:cubicBezTo>
                <a:cubicBezTo>
                  <a:pt x="157" y="160"/>
                  <a:pt x="157" y="160"/>
                  <a:pt x="157" y="160"/>
                </a:cubicBezTo>
                <a:cubicBezTo>
                  <a:pt x="159" y="160"/>
                  <a:pt x="160" y="159"/>
                  <a:pt x="160" y="157"/>
                </a:cubicBezTo>
                <a:cubicBezTo>
                  <a:pt x="160" y="3"/>
                  <a:pt x="160" y="3"/>
                  <a:pt x="160" y="3"/>
                </a:cubicBezTo>
                <a:cubicBezTo>
                  <a:pt x="160" y="1"/>
                  <a:pt x="159" y="0"/>
                  <a:pt x="157" y="0"/>
                </a:cubicBezTo>
                <a:close/>
                <a:moveTo>
                  <a:pt x="155" y="155"/>
                </a:moveTo>
                <a:cubicBezTo>
                  <a:pt x="5" y="155"/>
                  <a:pt x="5" y="155"/>
                  <a:pt x="5" y="155"/>
                </a:cubicBezTo>
                <a:cubicBezTo>
                  <a:pt x="5" y="5"/>
                  <a:pt x="5" y="5"/>
                  <a:pt x="5" y="5"/>
                </a:cubicBezTo>
                <a:cubicBezTo>
                  <a:pt x="155" y="5"/>
                  <a:pt x="155" y="5"/>
                  <a:pt x="155" y="5"/>
                </a:cubicBezTo>
                <a:lnTo>
                  <a:pt x="155" y="155"/>
                </a:lnTo>
                <a:close/>
                <a:moveTo>
                  <a:pt x="16" y="32"/>
                </a:moveTo>
                <a:cubicBezTo>
                  <a:pt x="24" y="32"/>
                  <a:pt x="24" y="32"/>
                  <a:pt x="24" y="32"/>
                </a:cubicBezTo>
                <a:cubicBezTo>
                  <a:pt x="24" y="43"/>
                  <a:pt x="24" y="43"/>
                  <a:pt x="24" y="43"/>
                </a:cubicBezTo>
                <a:cubicBezTo>
                  <a:pt x="24" y="44"/>
                  <a:pt x="25" y="45"/>
                  <a:pt x="27" y="45"/>
                </a:cubicBezTo>
                <a:cubicBezTo>
                  <a:pt x="59" y="45"/>
                  <a:pt x="59" y="45"/>
                  <a:pt x="59" y="45"/>
                </a:cubicBezTo>
                <a:cubicBezTo>
                  <a:pt x="60" y="45"/>
                  <a:pt x="61" y="44"/>
                  <a:pt x="61" y="43"/>
                </a:cubicBezTo>
                <a:cubicBezTo>
                  <a:pt x="61" y="32"/>
                  <a:pt x="61" y="32"/>
                  <a:pt x="61" y="32"/>
                </a:cubicBezTo>
                <a:cubicBezTo>
                  <a:pt x="144" y="32"/>
                  <a:pt x="144" y="32"/>
                  <a:pt x="144" y="32"/>
                </a:cubicBezTo>
                <a:cubicBezTo>
                  <a:pt x="145" y="32"/>
                  <a:pt x="147" y="31"/>
                  <a:pt x="147" y="29"/>
                </a:cubicBezTo>
                <a:cubicBezTo>
                  <a:pt x="147" y="28"/>
                  <a:pt x="145" y="27"/>
                  <a:pt x="144" y="27"/>
                </a:cubicBezTo>
                <a:cubicBezTo>
                  <a:pt x="61" y="27"/>
                  <a:pt x="61" y="27"/>
                  <a:pt x="61" y="27"/>
                </a:cubicBezTo>
                <a:cubicBezTo>
                  <a:pt x="61" y="16"/>
                  <a:pt x="61" y="16"/>
                  <a:pt x="61" y="16"/>
                </a:cubicBezTo>
                <a:cubicBezTo>
                  <a:pt x="61" y="15"/>
                  <a:pt x="60" y="13"/>
                  <a:pt x="59" y="13"/>
                </a:cubicBezTo>
                <a:cubicBezTo>
                  <a:pt x="27" y="13"/>
                  <a:pt x="27" y="13"/>
                  <a:pt x="27" y="13"/>
                </a:cubicBezTo>
                <a:cubicBezTo>
                  <a:pt x="25" y="13"/>
                  <a:pt x="24" y="15"/>
                  <a:pt x="24" y="16"/>
                </a:cubicBezTo>
                <a:cubicBezTo>
                  <a:pt x="24" y="27"/>
                  <a:pt x="24" y="27"/>
                  <a:pt x="24" y="27"/>
                </a:cubicBezTo>
                <a:cubicBezTo>
                  <a:pt x="16" y="27"/>
                  <a:pt x="16" y="27"/>
                  <a:pt x="16" y="27"/>
                </a:cubicBezTo>
                <a:cubicBezTo>
                  <a:pt x="15" y="27"/>
                  <a:pt x="13" y="28"/>
                  <a:pt x="13" y="29"/>
                </a:cubicBezTo>
                <a:cubicBezTo>
                  <a:pt x="13" y="31"/>
                  <a:pt x="15" y="32"/>
                  <a:pt x="16" y="32"/>
                </a:cubicBezTo>
                <a:close/>
                <a:moveTo>
                  <a:pt x="29" y="19"/>
                </a:moveTo>
                <a:cubicBezTo>
                  <a:pt x="56" y="19"/>
                  <a:pt x="56" y="19"/>
                  <a:pt x="56" y="19"/>
                </a:cubicBezTo>
                <a:cubicBezTo>
                  <a:pt x="56" y="40"/>
                  <a:pt x="56" y="40"/>
                  <a:pt x="56" y="40"/>
                </a:cubicBezTo>
                <a:cubicBezTo>
                  <a:pt x="29" y="40"/>
                  <a:pt x="29" y="40"/>
                  <a:pt x="29" y="40"/>
                </a:cubicBezTo>
                <a:lnTo>
                  <a:pt x="29" y="19"/>
                </a:lnTo>
                <a:close/>
                <a:moveTo>
                  <a:pt x="16" y="83"/>
                </a:moveTo>
                <a:cubicBezTo>
                  <a:pt x="61" y="83"/>
                  <a:pt x="61" y="83"/>
                  <a:pt x="61" y="83"/>
                </a:cubicBezTo>
                <a:cubicBezTo>
                  <a:pt x="61" y="93"/>
                  <a:pt x="61" y="93"/>
                  <a:pt x="61" y="93"/>
                </a:cubicBezTo>
                <a:cubicBezTo>
                  <a:pt x="61" y="95"/>
                  <a:pt x="63" y="96"/>
                  <a:pt x="64" y="96"/>
                </a:cubicBezTo>
                <a:cubicBezTo>
                  <a:pt x="96" y="96"/>
                  <a:pt x="96" y="96"/>
                  <a:pt x="96" y="96"/>
                </a:cubicBezTo>
                <a:cubicBezTo>
                  <a:pt x="97" y="96"/>
                  <a:pt x="99" y="95"/>
                  <a:pt x="99" y="93"/>
                </a:cubicBezTo>
                <a:cubicBezTo>
                  <a:pt x="99" y="83"/>
                  <a:pt x="99" y="83"/>
                  <a:pt x="99" y="83"/>
                </a:cubicBezTo>
                <a:cubicBezTo>
                  <a:pt x="144" y="83"/>
                  <a:pt x="144" y="83"/>
                  <a:pt x="144" y="83"/>
                </a:cubicBezTo>
                <a:cubicBezTo>
                  <a:pt x="145" y="83"/>
                  <a:pt x="147" y="81"/>
                  <a:pt x="147" y="80"/>
                </a:cubicBezTo>
                <a:cubicBezTo>
                  <a:pt x="147" y="79"/>
                  <a:pt x="145" y="77"/>
                  <a:pt x="144" y="77"/>
                </a:cubicBezTo>
                <a:cubicBezTo>
                  <a:pt x="99" y="77"/>
                  <a:pt x="99" y="77"/>
                  <a:pt x="99" y="77"/>
                </a:cubicBezTo>
                <a:cubicBezTo>
                  <a:pt x="99" y="67"/>
                  <a:pt x="99" y="67"/>
                  <a:pt x="99" y="67"/>
                </a:cubicBezTo>
                <a:cubicBezTo>
                  <a:pt x="99" y="65"/>
                  <a:pt x="97" y="64"/>
                  <a:pt x="96" y="64"/>
                </a:cubicBezTo>
                <a:cubicBezTo>
                  <a:pt x="64" y="64"/>
                  <a:pt x="64" y="64"/>
                  <a:pt x="64" y="64"/>
                </a:cubicBezTo>
                <a:cubicBezTo>
                  <a:pt x="63" y="64"/>
                  <a:pt x="61" y="65"/>
                  <a:pt x="61" y="67"/>
                </a:cubicBezTo>
                <a:cubicBezTo>
                  <a:pt x="61" y="77"/>
                  <a:pt x="61" y="77"/>
                  <a:pt x="61" y="77"/>
                </a:cubicBezTo>
                <a:cubicBezTo>
                  <a:pt x="16" y="77"/>
                  <a:pt x="16" y="77"/>
                  <a:pt x="16" y="77"/>
                </a:cubicBezTo>
                <a:cubicBezTo>
                  <a:pt x="15" y="77"/>
                  <a:pt x="13" y="79"/>
                  <a:pt x="13" y="80"/>
                </a:cubicBezTo>
                <a:cubicBezTo>
                  <a:pt x="13" y="81"/>
                  <a:pt x="15" y="83"/>
                  <a:pt x="16" y="83"/>
                </a:cubicBezTo>
                <a:close/>
                <a:moveTo>
                  <a:pt x="67" y="69"/>
                </a:moveTo>
                <a:cubicBezTo>
                  <a:pt x="93" y="69"/>
                  <a:pt x="93" y="69"/>
                  <a:pt x="93" y="69"/>
                </a:cubicBezTo>
                <a:cubicBezTo>
                  <a:pt x="93" y="91"/>
                  <a:pt x="93" y="91"/>
                  <a:pt x="93" y="91"/>
                </a:cubicBezTo>
                <a:cubicBezTo>
                  <a:pt x="67" y="91"/>
                  <a:pt x="67" y="91"/>
                  <a:pt x="67" y="91"/>
                </a:cubicBezTo>
                <a:lnTo>
                  <a:pt x="67" y="69"/>
                </a:lnTo>
                <a:close/>
                <a:moveTo>
                  <a:pt x="16" y="133"/>
                </a:moveTo>
                <a:cubicBezTo>
                  <a:pt x="99" y="133"/>
                  <a:pt x="99" y="133"/>
                  <a:pt x="99" y="133"/>
                </a:cubicBezTo>
                <a:cubicBezTo>
                  <a:pt x="99" y="144"/>
                  <a:pt x="99" y="144"/>
                  <a:pt x="99" y="144"/>
                </a:cubicBezTo>
                <a:cubicBezTo>
                  <a:pt x="99" y="145"/>
                  <a:pt x="100" y="147"/>
                  <a:pt x="101" y="147"/>
                </a:cubicBezTo>
                <a:cubicBezTo>
                  <a:pt x="133" y="147"/>
                  <a:pt x="133" y="147"/>
                  <a:pt x="133" y="147"/>
                </a:cubicBezTo>
                <a:cubicBezTo>
                  <a:pt x="135" y="147"/>
                  <a:pt x="136" y="145"/>
                  <a:pt x="136" y="144"/>
                </a:cubicBezTo>
                <a:cubicBezTo>
                  <a:pt x="136" y="133"/>
                  <a:pt x="136" y="133"/>
                  <a:pt x="136" y="133"/>
                </a:cubicBezTo>
                <a:cubicBezTo>
                  <a:pt x="144" y="133"/>
                  <a:pt x="144" y="133"/>
                  <a:pt x="144" y="133"/>
                </a:cubicBezTo>
                <a:cubicBezTo>
                  <a:pt x="145" y="133"/>
                  <a:pt x="147" y="132"/>
                  <a:pt x="147" y="131"/>
                </a:cubicBezTo>
                <a:cubicBezTo>
                  <a:pt x="147" y="129"/>
                  <a:pt x="145" y="128"/>
                  <a:pt x="144" y="128"/>
                </a:cubicBezTo>
                <a:cubicBezTo>
                  <a:pt x="136" y="128"/>
                  <a:pt x="136" y="128"/>
                  <a:pt x="136" y="128"/>
                </a:cubicBezTo>
                <a:cubicBezTo>
                  <a:pt x="136" y="117"/>
                  <a:pt x="136" y="117"/>
                  <a:pt x="136" y="117"/>
                </a:cubicBezTo>
                <a:cubicBezTo>
                  <a:pt x="136" y="116"/>
                  <a:pt x="135" y="115"/>
                  <a:pt x="133" y="115"/>
                </a:cubicBezTo>
                <a:cubicBezTo>
                  <a:pt x="101" y="115"/>
                  <a:pt x="101" y="115"/>
                  <a:pt x="101" y="115"/>
                </a:cubicBezTo>
                <a:cubicBezTo>
                  <a:pt x="100" y="115"/>
                  <a:pt x="99" y="116"/>
                  <a:pt x="99" y="117"/>
                </a:cubicBezTo>
                <a:cubicBezTo>
                  <a:pt x="99" y="128"/>
                  <a:pt x="99" y="128"/>
                  <a:pt x="99" y="128"/>
                </a:cubicBezTo>
                <a:cubicBezTo>
                  <a:pt x="16" y="128"/>
                  <a:pt x="16" y="128"/>
                  <a:pt x="16" y="128"/>
                </a:cubicBezTo>
                <a:cubicBezTo>
                  <a:pt x="15" y="128"/>
                  <a:pt x="13" y="129"/>
                  <a:pt x="13" y="131"/>
                </a:cubicBezTo>
                <a:cubicBezTo>
                  <a:pt x="13" y="132"/>
                  <a:pt x="15" y="133"/>
                  <a:pt x="16" y="133"/>
                </a:cubicBezTo>
                <a:close/>
                <a:moveTo>
                  <a:pt x="104" y="120"/>
                </a:moveTo>
                <a:cubicBezTo>
                  <a:pt x="131" y="120"/>
                  <a:pt x="131" y="120"/>
                  <a:pt x="131" y="120"/>
                </a:cubicBezTo>
                <a:cubicBezTo>
                  <a:pt x="131" y="141"/>
                  <a:pt x="131" y="141"/>
                  <a:pt x="131" y="141"/>
                </a:cubicBezTo>
                <a:cubicBezTo>
                  <a:pt x="104" y="141"/>
                  <a:pt x="104" y="141"/>
                  <a:pt x="104" y="141"/>
                </a:cubicBezTo>
                <a:lnTo>
                  <a:pt x="104" y="12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42" name="Freeform 1119">
            <a:extLst>
              <a:ext uri="{FF2B5EF4-FFF2-40B4-BE49-F238E27FC236}">
                <a16:creationId xmlns:a16="http://schemas.microsoft.com/office/drawing/2014/main" id="{87B6363E-F8A7-1143-A755-2C71C282A110}"/>
              </a:ext>
            </a:extLst>
          </p:cNvPr>
          <p:cNvSpPr>
            <a:spLocks noEditPoints="1"/>
          </p:cNvSpPr>
          <p:nvPr/>
        </p:nvSpPr>
        <p:spPr bwMode="auto">
          <a:xfrm>
            <a:off x="7265870" y="377825"/>
            <a:ext cx="130175" cy="503238"/>
          </a:xfrm>
          <a:custGeom>
            <a:avLst/>
            <a:gdLst>
              <a:gd name="T0" fmla="*/ 22 w 38"/>
              <a:gd name="T1" fmla="*/ 109 h 146"/>
              <a:gd name="T2" fmla="*/ 22 w 38"/>
              <a:gd name="T3" fmla="*/ 3 h 146"/>
              <a:gd name="T4" fmla="*/ 19 w 38"/>
              <a:gd name="T5" fmla="*/ 0 h 146"/>
              <a:gd name="T6" fmla="*/ 16 w 38"/>
              <a:gd name="T7" fmla="*/ 3 h 146"/>
              <a:gd name="T8" fmla="*/ 16 w 38"/>
              <a:gd name="T9" fmla="*/ 109 h 146"/>
              <a:gd name="T10" fmla="*/ 0 w 38"/>
              <a:gd name="T11" fmla="*/ 127 h 146"/>
              <a:gd name="T12" fmla="*/ 19 w 38"/>
              <a:gd name="T13" fmla="*/ 146 h 146"/>
              <a:gd name="T14" fmla="*/ 38 w 38"/>
              <a:gd name="T15" fmla="*/ 127 h 146"/>
              <a:gd name="T16" fmla="*/ 22 w 38"/>
              <a:gd name="T17" fmla="*/ 109 h 146"/>
              <a:gd name="T18" fmla="*/ 19 w 38"/>
              <a:gd name="T19" fmla="*/ 141 h 146"/>
              <a:gd name="T20" fmla="*/ 5 w 38"/>
              <a:gd name="T21" fmla="*/ 127 h 146"/>
              <a:gd name="T22" fmla="*/ 19 w 38"/>
              <a:gd name="T23" fmla="*/ 114 h 146"/>
              <a:gd name="T24" fmla="*/ 33 w 38"/>
              <a:gd name="T25" fmla="*/ 127 h 146"/>
              <a:gd name="T26" fmla="*/ 19 w 38"/>
              <a:gd name="T27" fmla="*/ 14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46">
                <a:moveTo>
                  <a:pt x="22" y="109"/>
                </a:moveTo>
                <a:cubicBezTo>
                  <a:pt x="22" y="3"/>
                  <a:pt x="22" y="3"/>
                  <a:pt x="22" y="3"/>
                </a:cubicBezTo>
                <a:cubicBezTo>
                  <a:pt x="22" y="1"/>
                  <a:pt x="20" y="0"/>
                  <a:pt x="19" y="0"/>
                </a:cubicBezTo>
                <a:cubicBezTo>
                  <a:pt x="17" y="0"/>
                  <a:pt x="16" y="1"/>
                  <a:pt x="16" y="3"/>
                </a:cubicBezTo>
                <a:cubicBezTo>
                  <a:pt x="16" y="109"/>
                  <a:pt x="16" y="109"/>
                  <a:pt x="16" y="109"/>
                </a:cubicBezTo>
                <a:cubicBezTo>
                  <a:pt x="7" y="110"/>
                  <a:pt x="0" y="118"/>
                  <a:pt x="0" y="127"/>
                </a:cubicBezTo>
                <a:cubicBezTo>
                  <a:pt x="0" y="138"/>
                  <a:pt x="9" y="146"/>
                  <a:pt x="19" y="146"/>
                </a:cubicBezTo>
                <a:cubicBezTo>
                  <a:pt x="29" y="146"/>
                  <a:pt x="38" y="138"/>
                  <a:pt x="38" y="127"/>
                </a:cubicBezTo>
                <a:cubicBezTo>
                  <a:pt x="38" y="118"/>
                  <a:pt x="31" y="110"/>
                  <a:pt x="22" y="109"/>
                </a:cubicBezTo>
                <a:close/>
                <a:moveTo>
                  <a:pt x="19" y="141"/>
                </a:moveTo>
                <a:cubicBezTo>
                  <a:pt x="12" y="141"/>
                  <a:pt x="5" y="135"/>
                  <a:pt x="5" y="127"/>
                </a:cubicBezTo>
                <a:cubicBezTo>
                  <a:pt x="5" y="120"/>
                  <a:pt x="12" y="114"/>
                  <a:pt x="19" y="114"/>
                </a:cubicBezTo>
                <a:cubicBezTo>
                  <a:pt x="26" y="114"/>
                  <a:pt x="33" y="120"/>
                  <a:pt x="33" y="127"/>
                </a:cubicBezTo>
                <a:cubicBezTo>
                  <a:pt x="33" y="135"/>
                  <a:pt x="26" y="141"/>
                  <a:pt x="19" y="14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43" name="Freeform 1120">
            <a:extLst>
              <a:ext uri="{FF2B5EF4-FFF2-40B4-BE49-F238E27FC236}">
                <a16:creationId xmlns:a16="http://schemas.microsoft.com/office/drawing/2014/main" id="{3FDAC408-D0D7-0A46-8A0C-3241C7F1D6B8}"/>
              </a:ext>
            </a:extLst>
          </p:cNvPr>
          <p:cNvSpPr>
            <a:spLocks noEditPoints="1"/>
          </p:cNvSpPr>
          <p:nvPr/>
        </p:nvSpPr>
        <p:spPr bwMode="auto">
          <a:xfrm>
            <a:off x="7405570" y="377825"/>
            <a:ext cx="130175" cy="503238"/>
          </a:xfrm>
          <a:custGeom>
            <a:avLst/>
            <a:gdLst>
              <a:gd name="T0" fmla="*/ 21 w 38"/>
              <a:gd name="T1" fmla="*/ 76 h 146"/>
              <a:gd name="T2" fmla="*/ 21 w 38"/>
              <a:gd name="T3" fmla="*/ 3 h 146"/>
              <a:gd name="T4" fmla="*/ 19 w 38"/>
              <a:gd name="T5" fmla="*/ 0 h 146"/>
              <a:gd name="T6" fmla="*/ 16 w 38"/>
              <a:gd name="T7" fmla="*/ 3 h 146"/>
              <a:gd name="T8" fmla="*/ 16 w 38"/>
              <a:gd name="T9" fmla="*/ 76 h 146"/>
              <a:gd name="T10" fmla="*/ 0 w 38"/>
              <a:gd name="T11" fmla="*/ 95 h 146"/>
              <a:gd name="T12" fmla="*/ 16 w 38"/>
              <a:gd name="T13" fmla="*/ 114 h 146"/>
              <a:gd name="T14" fmla="*/ 16 w 38"/>
              <a:gd name="T15" fmla="*/ 144 h 146"/>
              <a:gd name="T16" fmla="*/ 19 w 38"/>
              <a:gd name="T17" fmla="*/ 146 h 146"/>
              <a:gd name="T18" fmla="*/ 21 w 38"/>
              <a:gd name="T19" fmla="*/ 144 h 146"/>
              <a:gd name="T20" fmla="*/ 21 w 38"/>
              <a:gd name="T21" fmla="*/ 114 h 146"/>
              <a:gd name="T22" fmla="*/ 38 w 38"/>
              <a:gd name="T23" fmla="*/ 95 h 146"/>
              <a:gd name="T24" fmla="*/ 21 w 38"/>
              <a:gd name="T25" fmla="*/ 76 h 146"/>
              <a:gd name="T26" fmla="*/ 19 w 38"/>
              <a:gd name="T27" fmla="*/ 108 h 146"/>
              <a:gd name="T28" fmla="*/ 5 w 38"/>
              <a:gd name="T29" fmla="*/ 95 h 146"/>
              <a:gd name="T30" fmla="*/ 19 w 38"/>
              <a:gd name="T31" fmla="*/ 81 h 146"/>
              <a:gd name="T32" fmla="*/ 32 w 38"/>
              <a:gd name="T33" fmla="*/ 95 h 146"/>
              <a:gd name="T34" fmla="*/ 19 w 38"/>
              <a:gd name="T35"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146">
                <a:moveTo>
                  <a:pt x="21" y="76"/>
                </a:moveTo>
                <a:cubicBezTo>
                  <a:pt x="21" y="3"/>
                  <a:pt x="21" y="3"/>
                  <a:pt x="21" y="3"/>
                </a:cubicBezTo>
                <a:cubicBezTo>
                  <a:pt x="21" y="1"/>
                  <a:pt x="20" y="0"/>
                  <a:pt x="19" y="0"/>
                </a:cubicBezTo>
                <a:cubicBezTo>
                  <a:pt x="17" y="0"/>
                  <a:pt x="16" y="1"/>
                  <a:pt x="16" y="3"/>
                </a:cubicBezTo>
                <a:cubicBezTo>
                  <a:pt x="16" y="76"/>
                  <a:pt x="16" y="76"/>
                  <a:pt x="16" y="76"/>
                </a:cubicBezTo>
                <a:cubicBezTo>
                  <a:pt x="7" y="77"/>
                  <a:pt x="0" y="85"/>
                  <a:pt x="0" y="95"/>
                </a:cubicBezTo>
                <a:cubicBezTo>
                  <a:pt x="0" y="104"/>
                  <a:pt x="7" y="112"/>
                  <a:pt x="16" y="114"/>
                </a:cubicBezTo>
                <a:cubicBezTo>
                  <a:pt x="16" y="144"/>
                  <a:pt x="16" y="144"/>
                  <a:pt x="16" y="144"/>
                </a:cubicBezTo>
                <a:cubicBezTo>
                  <a:pt x="16" y="145"/>
                  <a:pt x="17" y="146"/>
                  <a:pt x="19" y="146"/>
                </a:cubicBezTo>
                <a:cubicBezTo>
                  <a:pt x="20" y="146"/>
                  <a:pt x="21" y="145"/>
                  <a:pt x="21" y="144"/>
                </a:cubicBezTo>
                <a:cubicBezTo>
                  <a:pt x="21" y="114"/>
                  <a:pt x="21" y="114"/>
                  <a:pt x="21" y="114"/>
                </a:cubicBezTo>
                <a:cubicBezTo>
                  <a:pt x="31" y="112"/>
                  <a:pt x="38" y="104"/>
                  <a:pt x="38" y="95"/>
                </a:cubicBezTo>
                <a:cubicBezTo>
                  <a:pt x="38" y="85"/>
                  <a:pt x="31" y="77"/>
                  <a:pt x="21" y="76"/>
                </a:cubicBezTo>
                <a:close/>
                <a:moveTo>
                  <a:pt x="19" y="108"/>
                </a:moveTo>
                <a:cubicBezTo>
                  <a:pt x="11" y="108"/>
                  <a:pt x="5" y="102"/>
                  <a:pt x="5" y="95"/>
                </a:cubicBezTo>
                <a:cubicBezTo>
                  <a:pt x="5" y="87"/>
                  <a:pt x="11" y="81"/>
                  <a:pt x="19" y="81"/>
                </a:cubicBezTo>
                <a:cubicBezTo>
                  <a:pt x="26" y="81"/>
                  <a:pt x="32" y="87"/>
                  <a:pt x="32" y="95"/>
                </a:cubicBezTo>
                <a:cubicBezTo>
                  <a:pt x="32" y="102"/>
                  <a:pt x="26" y="108"/>
                  <a:pt x="19" y="1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44" name="Freeform 1121">
            <a:extLst>
              <a:ext uri="{FF2B5EF4-FFF2-40B4-BE49-F238E27FC236}">
                <a16:creationId xmlns:a16="http://schemas.microsoft.com/office/drawing/2014/main" id="{DC5E8FC8-2F23-8D49-BDFD-2B20BB746AFB}"/>
              </a:ext>
            </a:extLst>
          </p:cNvPr>
          <p:cNvSpPr>
            <a:spLocks noEditPoints="1"/>
          </p:cNvSpPr>
          <p:nvPr/>
        </p:nvSpPr>
        <p:spPr bwMode="auto">
          <a:xfrm>
            <a:off x="7542095" y="377825"/>
            <a:ext cx="130175" cy="503238"/>
          </a:xfrm>
          <a:custGeom>
            <a:avLst/>
            <a:gdLst>
              <a:gd name="T0" fmla="*/ 22 w 38"/>
              <a:gd name="T1" fmla="*/ 44 h 146"/>
              <a:gd name="T2" fmla="*/ 22 w 38"/>
              <a:gd name="T3" fmla="*/ 3 h 146"/>
              <a:gd name="T4" fmla="*/ 19 w 38"/>
              <a:gd name="T5" fmla="*/ 0 h 146"/>
              <a:gd name="T6" fmla="*/ 17 w 38"/>
              <a:gd name="T7" fmla="*/ 3 h 146"/>
              <a:gd name="T8" fmla="*/ 17 w 38"/>
              <a:gd name="T9" fmla="*/ 44 h 146"/>
              <a:gd name="T10" fmla="*/ 0 w 38"/>
              <a:gd name="T11" fmla="*/ 62 h 146"/>
              <a:gd name="T12" fmla="*/ 17 w 38"/>
              <a:gd name="T13" fmla="*/ 81 h 146"/>
              <a:gd name="T14" fmla="*/ 17 w 38"/>
              <a:gd name="T15" fmla="*/ 144 h 146"/>
              <a:gd name="T16" fmla="*/ 19 w 38"/>
              <a:gd name="T17" fmla="*/ 146 h 146"/>
              <a:gd name="T18" fmla="*/ 22 w 38"/>
              <a:gd name="T19" fmla="*/ 144 h 146"/>
              <a:gd name="T20" fmla="*/ 22 w 38"/>
              <a:gd name="T21" fmla="*/ 81 h 146"/>
              <a:gd name="T22" fmla="*/ 38 w 38"/>
              <a:gd name="T23" fmla="*/ 62 h 146"/>
              <a:gd name="T24" fmla="*/ 22 w 38"/>
              <a:gd name="T25" fmla="*/ 44 h 146"/>
              <a:gd name="T26" fmla="*/ 19 w 38"/>
              <a:gd name="T27" fmla="*/ 76 h 146"/>
              <a:gd name="T28" fmla="*/ 6 w 38"/>
              <a:gd name="T29" fmla="*/ 62 h 146"/>
              <a:gd name="T30" fmla="*/ 19 w 38"/>
              <a:gd name="T31" fmla="*/ 49 h 146"/>
              <a:gd name="T32" fmla="*/ 33 w 38"/>
              <a:gd name="T33" fmla="*/ 62 h 146"/>
              <a:gd name="T34" fmla="*/ 19 w 38"/>
              <a:gd name="T35" fmla="*/ 7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146">
                <a:moveTo>
                  <a:pt x="22" y="44"/>
                </a:moveTo>
                <a:cubicBezTo>
                  <a:pt x="22" y="3"/>
                  <a:pt x="22" y="3"/>
                  <a:pt x="22" y="3"/>
                </a:cubicBezTo>
                <a:cubicBezTo>
                  <a:pt x="22" y="1"/>
                  <a:pt x="21" y="0"/>
                  <a:pt x="19" y="0"/>
                </a:cubicBezTo>
                <a:cubicBezTo>
                  <a:pt x="18" y="0"/>
                  <a:pt x="17" y="1"/>
                  <a:pt x="17" y="3"/>
                </a:cubicBezTo>
                <a:cubicBezTo>
                  <a:pt x="17" y="44"/>
                  <a:pt x="17" y="44"/>
                  <a:pt x="17" y="44"/>
                </a:cubicBezTo>
                <a:cubicBezTo>
                  <a:pt x="7" y="45"/>
                  <a:pt x="0" y="53"/>
                  <a:pt x="0" y="62"/>
                </a:cubicBezTo>
                <a:cubicBezTo>
                  <a:pt x="0" y="72"/>
                  <a:pt x="7" y="80"/>
                  <a:pt x="17" y="81"/>
                </a:cubicBezTo>
                <a:cubicBezTo>
                  <a:pt x="17" y="144"/>
                  <a:pt x="17" y="144"/>
                  <a:pt x="17" y="144"/>
                </a:cubicBezTo>
                <a:cubicBezTo>
                  <a:pt x="17" y="145"/>
                  <a:pt x="18" y="146"/>
                  <a:pt x="19" y="146"/>
                </a:cubicBezTo>
                <a:cubicBezTo>
                  <a:pt x="21" y="146"/>
                  <a:pt x="22" y="145"/>
                  <a:pt x="22" y="144"/>
                </a:cubicBezTo>
                <a:cubicBezTo>
                  <a:pt x="22" y="81"/>
                  <a:pt x="22" y="81"/>
                  <a:pt x="22" y="81"/>
                </a:cubicBezTo>
                <a:cubicBezTo>
                  <a:pt x="31" y="80"/>
                  <a:pt x="38" y="72"/>
                  <a:pt x="38" y="62"/>
                </a:cubicBezTo>
                <a:cubicBezTo>
                  <a:pt x="38" y="53"/>
                  <a:pt x="31" y="45"/>
                  <a:pt x="22" y="44"/>
                </a:cubicBezTo>
                <a:close/>
                <a:moveTo>
                  <a:pt x="19" y="76"/>
                </a:moveTo>
                <a:cubicBezTo>
                  <a:pt x="12" y="76"/>
                  <a:pt x="6" y="70"/>
                  <a:pt x="6" y="62"/>
                </a:cubicBezTo>
                <a:cubicBezTo>
                  <a:pt x="6" y="55"/>
                  <a:pt x="12" y="49"/>
                  <a:pt x="19" y="49"/>
                </a:cubicBezTo>
                <a:cubicBezTo>
                  <a:pt x="27" y="49"/>
                  <a:pt x="33" y="55"/>
                  <a:pt x="33" y="62"/>
                </a:cubicBezTo>
                <a:cubicBezTo>
                  <a:pt x="33" y="70"/>
                  <a:pt x="27" y="76"/>
                  <a:pt x="19" y="7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45" name="Freeform 1122">
            <a:extLst>
              <a:ext uri="{FF2B5EF4-FFF2-40B4-BE49-F238E27FC236}">
                <a16:creationId xmlns:a16="http://schemas.microsoft.com/office/drawing/2014/main" id="{5A2996E7-C33C-0B45-BAE8-DE48B0583084}"/>
              </a:ext>
            </a:extLst>
          </p:cNvPr>
          <p:cNvSpPr>
            <a:spLocks noEditPoints="1"/>
          </p:cNvSpPr>
          <p:nvPr/>
        </p:nvSpPr>
        <p:spPr bwMode="auto">
          <a:xfrm>
            <a:off x="7681795" y="377825"/>
            <a:ext cx="130175" cy="503238"/>
          </a:xfrm>
          <a:custGeom>
            <a:avLst/>
            <a:gdLst>
              <a:gd name="T0" fmla="*/ 38 w 38"/>
              <a:gd name="T1" fmla="*/ 30 h 146"/>
              <a:gd name="T2" fmla="*/ 22 w 38"/>
              <a:gd name="T3" fmla="*/ 11 h 146"/>
              <a:gd name="T4" fmla="*/ 22 w 38"/>
              <a:gd name="T5" fmla="*/ 3 h 146"/>
              <a:gd name="T6" fmla="*/ 19 w 38"/>
              <a:gd name="T7" fmla="*/ 0 h 146"/>
              <a:gd name="T8" fmla="*/ 16 w 38"/>
              <a:gd name="T9" fmla="*/ 3 h 146"/>
              <a:gd name="T10" fmla="*/ 16 w 38"/>
              <a:gd name="T11" fmla="*/ 11 h 146"/>
              <a:gd name="T12" fmla="*/ 0 w 38"/>
              <a:gd name="T13" fmla="*/ 30 h 146"/>
              <a:gd name="T14" fmla="*/ 16 w 38"/>
              <a:gd name="T15" fmla="*/ 49 h 146"/>
              <a:gd name="T16" fmla="*/ 16 w 38"/>
              <a:gd name="T17" fmla="*/ 144 h 146"/>
              <a:gd name="T18" fmla="*/ 19 w 38"/>
              <a:gd name="T19" fmla="*/ 146 h 146"/>
              <a:gd name="T20" fmla="*/ 22 w 38"/>
              <a:gd name="T21" fmla="*/ 144 h 146"/>
              <a:gd name="T22" fmla="*/ 22 w 38"/>
              <a:gd name="T23" fmla="*/ 49 h 146"/>
              <a:gd name="T24" fmla="*/ 38 w 38"/>
              <a:gd name="T25" fmla="*/ 30 h 146"/>
              <a:gd name="T26" fmla="*/ 19 w 38"/>
              <a:gd name="T27" fmla="*/ 43 h 146"/>
              <a:gd name="T28" fmla="*/ 5 w 38"/>
              <a:gd name="T29" fmla="*/ 30 h 146"/>
              <a:gd name="T30" fmla="*/ 19 w 38"/>
              <a:gd name="T31" fmla="*/ 16 h 146"/>
              <a:gd name="T32" fmla="*/ 33 w 38"/>
              <a:gd name="T33" fmla="*/ 30 h 146"/>
              <a:gd name="T34" fmla="*/ 19 w 38"/>
              <a:gd name="T35" fmla="*/ 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146">
                <a:moveTo>
                  <a:pt x="38" y="30"/>
                </a:moveTo>
                <a:cubicBezTo>
                  <a:pt x="38" y="20"/>
                  <a:pt x="31" y="12"/>
                  <a:pt x="22" y="11"/>
                </a:cubicBezTo>
                <a:cubicBezTo>
                  <a:pt x="22" y="3"/>
                  <a:pt x="22" y="3"/>
                  <a:pt x="22" y="3"/>
                </a:cubicBezTo>
                <a:cubicBezTo>
                  <a:pt x="22" y="1"/>
                  <a:pt x="21" y="0"/>
                  <a:pt x="19" y="0"/>
                </a:cubicBezTo>
                <a:cubicBezTo>
                  <a:pt x="18" y="0"/>
                  <a:pt x="16" y="1"/>
                  <a:pt x="16" y="3"/>
                </a:cubicBezTo>
                <a:cubicBezTo>
                  <a:pt x="16" y="11"/>
                  <a:pt x="16" y="11"/>
                  <a:pt x="16" y="11"/>
                </a:cubicBezTo>
                <a:cubicBezTo>
                  <a:pt x="7" y="12"/>
                  <a:pt x="0" y="20"/>
                  <a:pt x="0" y="30"/>
                </a:cubicBezTo>
                <a:cubicBezTo>
                  <a:pt x="0" y="39"/>
                  <a:pt x="7" y="47"/>
                  <a:pt x="16" y="49"/>
                </a:cubicBezTo>
                <a:cubicBezTo>
                  <a:pt x="16" y="144"/>
                  <a:pt x="16" y="144"/>
                  <a:pt x="16" y="144"/>
                </a:cubicBezTo>
                <a:cubicBezTo>
                  <a:pt x="16" y="145"/>
                  <a:pt x="18" y="146"/>
                  <a:pt x="19" y="146"/>
                </a:cubicBezTo>
                <a:cubicBezTo>
                  <a:pt x="21" y="146"/>
                  <a:pt x="22" y="145"/>
                  <a:pt x="22" y="144"/>
                </a:cubicBezTo>
                <a:cubicBezTo>
                  <a:pt x="22" y="49"/>
                  <a:pt x="22" y="49"/>
                  <a:pt x="22" y="49"/>
                </a:cubicBezTo>
                <a:cubicBezTo>
                  <a:pt x="31" y="47"/>
                  <a:pt x="38" y="39"/>
                  <a:pt x="38" y="30"/>
                </a:cubicBezTo>
                <a:close/>
                <a:moveTo>
                  <a:pt x="19" y="43"/>
                </a:moveTo>
                <a:cubicBezTo>
                  <a:pt x="12" y="43"/>
                  <a:pt x="5" y="37"/>
                  <a:pt x="5" y="30"/>
                </a:cubicBezTo>
                <a:cubicBezTo>
                  <a:pt x="5" y="22"/>
                  <a:pt x="12" y="16"/>
                  <a:pt x="19" y="16"/>
                </a:cubicBezTo>
                <a:cubicBezTo>
                  <a:pt x="26" y="16"/>
                  <a:pt x="33" y="22"/>
                  <a:pt x="33" y="30"/>
                </a:cubicBezTo>
                <a:cubicBezTo>
                  <a:pt x="33" y="37"/>
                  <a:pt x="26" y="43"/>
                  <a:pt x="19" y="4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46" name="Freeform 1123">
            <a:extLst>
              <a:ext uri="{FF2B5EF4-FFF2-40B4-BE49-F238E27FC236}">
                <a16:creationId xmlns:a16="http://schemas.microsoft.com/office/drawing/2014/main" id="{1CC2F4F5-027C-1547-9894-23E1321EA2F7}"/>
              </a:ext>
            </a:extLst>
          </p:cNvPr>
          <p:cNvSpPr>
            <a:spLocks/>
          </p:cNvSpPr>
          <p:nvPr/>
        </p:nvSpPr>
        <p:spPr bwMode="auto">
          <a:xfrm>
            <a:off x="7731008" y="454025"/>
            <a:ext cx="33338" cy="17463"/>
          </a:xfrm>
          <a:custGeom>
            <a:avLst/>
            <a:gdLst>
              <a:gd name="T0" fmla="*/ 8 w 10"/>
              <a:gd name="T1" fmla="*/ 0 h 5"/>
              <a:gd name="T2" fmla="*/ 2 w 10"/>
              <a:gd name="T3" fmla="*/ 0 h 5"/>
              <a:gd name="T4" fmla="*/ 0 w 10"/>
              <a:gd name="T5" fmla="*/ 2 h 5"/>
              <a:gd name="T6" fmla="*/ 2 w 10"/>
              <a:gd name="T7" fmla="*/ 5 h 5"/>
              <a:gd name="T8" fmla="*/ 8 w 10"/>
              <a:gd name="T9" fmla="*/ 5 h 5"/>
              <a:gd name="T10" fmla="*/ 10 w 10"/>
              <a:gd name="T11" fmla="*/ 2 h 5"/>
              <a:gd name="T12" fmla="*/ 8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8" y="0"/>
                </a:moveTo>
                <a:cubicBezTo>
                  <a:pt x="2" y="0"/>
                  <a:pt x="2" y="0"/>
                  <a:pt x="2" y="0"/>
                </a:cubicBezTo>
                <a:cubicBezTo>
                  <a:pt x="1" y="0"/>
                  <a:pt x="0" y="1"/>
                  <a:pt x="0" y="2"/>
                </a:cubicBezTo>
                <a:cubicBezTo>
                  <a:pt x="0" y="4"/>
                  <a:pt x="1" y="5"/>
                  <a:pt x="2" y="5"/>
                </a:cubicBezTo>
                <a:cubicBezTo>
                  <a:pt x="8" y="5"/>
                  <a:pt x="8" y="5"/>
                  <a:pt x="8" y="5"/>
                </a:cubicBezTo>
                <a:cubicBezTo>
                  <a:pt x="9" y="5"/>
                  <a:pt x="10" y="4"/>
                  <a:pt x="10" y="2"/>
                </a:cubicBezTo>
                <a:cubicBezTo>
                  <a:pt x="10" y="1"/>
                  <a:pt x="9" y="0"/>
                  <a:pt x="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47" name="Freeform 1124">
            <a:extLst>
              <a:ext uri="{FF2B5EF4-FFF2-40B4-BE49-F238E27FC236}">
                <a16:creationId xmlns:a16="http://schemas.microsoft.com/office/drawing/2014/main" id="{59BC0E95-E132-9245-B133-518EC121EA81}"/>
              </a:ext>
            </a:extLst>
          </p:cNvPr>
          <p:cNvSpPr>
            <a:spLocks/>
          </p:cNvSpPr>
          <p:nvPr/>
        </p:nvSpPr>
        <p:spPr bwMode="auto">
          <a:xfrm>
            <a:off x="7589720" y="565150"/>
            <a:ext cx="38100" cy="20638"/>
          </a:xfrm>
          <a:custGeom>
            <a:avLst/>
            <a:gdLst>
              <a:gd name="T0" fmla="*/ 8 w 11"/>
              <a:gd name="T1" fmla="*/ 0 h 6"/>
              <a:gd name="T2" fmla="*/ 3 w 11"/>
              <a:gd name="T3" fmla="*/ 0 h 6"/>
              <a:gd name="T4" fmla="*/ 0 w 11"/>
              <a:gd name="T5" fmla="*/ 3 h 6"/>
              <a:gd name="T6" fmla="*/ 3 w 11"/>
              <a:gd name="T7" fmla="*/ 6 h 6"/>
              <a:gd name="T8" fmla="*/ 8 w 11"/>
              <a:gd name="T9" fmla="*/ 6 h 6"/>
              <a:gd name="T10" fmla="*/ 11 w 11"/>
              <a:gd name="T11" fmla="*/ 3 h 6"/>
              <a:gd name="T12" fmla="*/ 8 w 11"/>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8" y="0"/>
                </a:moveTo>
                <a:cubicBezTo>
                  <a:pt x="3" y="0"/>
                  <a:pt x="3" y="0"/>
                  <a:pt x="3" y="0"/>
                </a:cubicBezTo>
                <a:cubicBezTo>
                  <a:pt x="1" y="0"/>
                  <a:pt x="0" y="1"/>
                  <a:pt x="0" y="3"/>
                </a:cubicBezTo>
                <a:cubicBezTo>
                  <a:pt x="0" y="4"/>
                  <a:pt x="1" y="6"/>
                  <a:pt x="3" y="6"/>
                </a:cubicBezTo>
                <a:cubicBezTo>
                  <a:pt x="8" y="6"/>
                  <a:pt x="8" y="6"/>
                  <a:pt x="8" y="6"/>
                </a:cubicBezTo>
                <a:cubicBezTo>
                  <a:pt x="10" y="6"/>
                  <a:pt x="11" y="4"/>
                  <a:pt x="11" y="3"/>
                </a:cubicBezTo>
                <a:cubicBezTo>
                  <a:pt x="11" y="1"/>
                  <a:pt x="10" y="0"/>
                  <a:pt x="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48" name="Freeform 1125">
            <a:extLst>
              <a:ext uri="{FF2B5EF4-FFF2-40B4-BE49-F238E27FC236}">
                <a16:creationId xmlns:a16="http://schemas.microsoft.com/office/drawing/2014/main" id="{CED4A419-E515-E640-B7FD-C8A1ECAA3FC0}"/>
              </a:ext>
            </a:extLst>
          </p:cNvPr>
          <p:cNvSpPr>
            <a:spLocks/>
          </p:cNvSpPr>
          <p:nvPr/>
        </p:nvSpPr>
        <p:spPr bwMode="auto">
          <a:xfrm>
            <a:off x="7589720" y="601663"/>
            <a:ext cx="38100" cy="20638"/>
          </a:xfrm>
          <a:custGeom>
            <a:avLst/>
            <a:gdLst>
              <a:gd name="T0" fmla="*/ 8 w 11"/>
              <a:gd name="T1" fmla="*/ 0 h 6"/>
              <a:gd name="T2" fmla="*/ 3 w 11"/>
              <a:gd name="T3" fmla="*/ 0 h 6"/>
              <a:gd name="T4" fmla="*/ 0 w 11"/>
              <a:gd name="T5" fmla="*/ 3 h 6"/>
              <a:gd name="T6" fmla="*/ 3 w 11"/>
              <a:gd name="T7" fmla="*/ 6 h 6"/>
              <a:gd name="T8" fmla="*/ 8 w 11"/>
              <a:gd name="T9" fmla="*/ 6 h 6"/>
              <a:gd name="T10" fmla="*/ 11 w 11"/>
              <a:gd name="T11" fmla="*/ 3 h 6"/>
              <a:gd name="T12" fmla="*/ 8 w 11"/>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8" y="0"/>
                </a:moveTo>
                <a:cubicBezTo>
                  <a:pt x="3" y="0"/>
                  <a:pt x="3" y="0"/>
                  <a:pt x="3" y="0"/>
                </a:cubicBezTo>
                <a:cubicBezTo>
                  <a:pt x="1" y="0"/>
                  <a:pt x="0" y="1"/>
                  <a:pt x="0" y="3"/>
                </a:cubicBezTo>
                <a:cubicBezTo>
                  <a:pt x="0" y="4"/>
                  <a:pt x="1" y="6"/>
                  <a:pt x="3" y="6"/>
                </a:cubicBezTo>
                <a:cubicBezTo>
                  <a:pt x="8" y="6"/>
                  <a:pt x="8" y="6"/>
                  <a:pt x="8" y="6"/>
                </a:cubicBezTo>
                <a:cubicBezTo>
                  <a:pt x="10" y="6"/>
                  <a:pt x="11" y="4"/>
                  <a:pt x="11" y="3"/>
                </a:cubicBezTo>
                <a:cubicBezTo>
                  <a:pt x="11" y="1"/>
                  <a:pt x="10" y="0"/>
                  <a:pt x="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49" name="Freeform 1126">
            <a:extLst>
              <a:ext uri="{FF2B5EF4-FFF2-40B4-BE49-F238E27FC236}">
                <a16:creationId xmlns:a16="http://schemas.microsoft.com/office/drawing/2014/main" id="{68FB1AF3-E546-F042-AE9A-ABD49C5C2DF8}"/>
              </a:ext>
            </a:extLst>
          </p:cNvPr>
          <p:cNvSpPr>
            <a:spLocks/>
          </p:cNvSpPr>
          <p:nvPr/>
        </p:nvSpPr>
        <p:spPr bwMode="auto">
          <a:xfrm>
            <a:off x="7450020" y="677863"/>
            <a:ext cx="38100" cy="17463"/>
          </a:xfrm>
          <a:custGeom>
            <a:avLst/>
            <a:gdLst>
              <a:gd name="T0" fmla="*/ 8 w 11"/>
              <a:gd name="T1" fmla="*/ 0 h 5"/>
              <a:gd name="T2" fmla="*/ 3 w 11"/>
              <a:gd name="T3" fmla="*/ 0 h 5"/>
              <a:gd name="T4" fmla="*/ 0 w 11"/>
              <a:gd name="T5" fmla="*/ 2 h 5"/>
              <a:gd name="T6" fmla="*/ 3 w 11"/>
              <a:gd name="T7" fmla="*/ 5 h 5"/>
              <a:gd name="T8" fmla="*/ 8 w 11"/>
              <a:gd name="T9" fmla="*/ 5 h 5"/>
              <a:gd name="T10" fmla="*/ 11 w 11"/>
              <a:gd name="T11" fmla="*/ 2 h 5"/>
              <a:gd name="T12" fmla="*/ 8 w 11"/>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1" h="5">
                <a:moveTo>
                  <a:pt x="8" y="0"/>
                </a:moveTo>
                <a:cubicBezTo>
                  <a:pt x="3" y="0"/>
                  <a:pt x="3" y="0"/>
                  <a:pt x="3" y="0"/>
                </a:cubicBezTo>
                <a:cubicBezTo>
                  <a:pt x="1" y="0"/>
                  <a:pt x="0" y="1"/>
                  <a:pt x="0" y="2"/>
                </a:cubicBezTo>
                <a:cubicBezTo>
                  <a:pt x="0" y="4"/>
                  <a:pt x="1" y="5"/>
                  <a:pt x="3" y="5"/>
                </a:cubicBezTo>
                <a:cubicBezTo>
                  <a:pt x="8" y="5"/>
                  <a:pt x="8" y="5"/>
                  <a:pt x="8" y="5"/>
                </a:cubicBezTo>
                <a:cubicBezTo>
                  <a:pt x="10" y="5"/>
                  <a:pt x="11" y="4"/>
                  <a:pt x="11" y="2"/>
                </a:cubicBezTo>
                <a:cubicBezTo>
                  <a:pt x="11" y="1"/>
                  <a:pt x="10" y="0"/>
                  <a:pt x="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50" name="Freeform 1127">
            <a:extLst>
              <a:ext uri="{FF2B5EF4-FFF2-40B4-BE49-F238E27FC236}">
                <a16:creationId xmlns:a16="http://schemas.microsoft.com/office/drawing/2014/main" id="{CAF0EA59-7D97-7846-B5CD-B16009EF7042}"/>
              </a:ext>
            </a:extLst>
          </p:cNvPr>
          <p:cNvSpPr>
            <a:spLocks/>
          </p:cNvSpPr>
          <p:nvPr/>
        </p:nvSpPr>
        <p:spPr bwMode="auto">
          <a:xfrm>
            <a:off x="7450020" y="715963"/>
            <a:ext cx="38100" cy="17463"/>
          </a:xfrm>
          <a:custGeom>
            <a:avLst/>
            <a:gdLst>
              <a:gd name="T0" fmla="*/ 8 w 11"/>
              <a:gd name="T1" fmla="*/ 0 h 5"/>
              <a:gd name="T2" fmla="*/ 3 w 11"/>
              <a:gd name="T3" fmla="*/ 0 h 5"/>
              <a:gd name="T4" fmla="*/ 0 w 11"/>
              <a:gd name="T5" fmla="*/ 2 h 5"/>
              <a:gd name="T6" fmla="*/ 3 w 11"/>
              <a:gd name="T7" fmla="*/ 5 h 5"/>
              <a:gd name="T8" fmla="*/ 8 w 11"/>
              <a:gd name="T9" fmla="*/ 5 h 5"/>
              <a:gd name="T10" fmla="*/ 11 w 11"/>
              <a:gd name="T11" fmla="*/ 2 h 5"/>
              <a:gd name="T12" fmla="*/ 8 w 11"/>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1" h="5">
                <a:moveTo>
                  <a:pt x="8" y="0"/>
                </a:moveTo>
                <a:cubicBezTo>
                  <a:pt x="3" y="0"/>
                  <a:pt x="3" y="0"/>
                  <a:pt x="3" y="0"/>
                </a:cubicBezTo>
                <a:cubicBezTo>
                  <a:pt x="1" y="0"/>
                  <a:pt x="0" y="1"/>
                  <a:pt x="0" y="2"/>
                </a:cubicBezTo>
                <a:cubicBezTo>
                  <a:pt x="0" y="4"/>
                  <a:pt x="1" y="5"/>
                  <a:pt x="3" y="5"/>
                </a:cubicBezTo>
                <a:cubicBezTo>
                  <a:pt x="8" y="5"/>
                  <a:pt x="8" y="5"/>
                  <a:pt x="8" y="5"/>
                </a:cubicBezTo>
                <a:cubicBezTo>
                  <a:pt x="10" y="5"/>
                  <a:pt x="11" y="4"/>
                  <a:pt x="11" y="2"/>
                </a:cubicBezTo>
                <a:cubicBezTo>
                  <a:pt x="11" y="1"/>
                  <a:pt x="10" y="0"/>
                  <a:pt x="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51" name="Freeform 1128">
            <a:extLst>
              <a:ext uri="{FF2B5EF4-FFF2-40B4-BE49-F238E27FC236}">
                <a16:creationId xmlns:a16="http://schemas.microsoft.com/office/drawing/2014/main" id="{93B8B591-CAE2-F849-B870-ACADDFE4CE9A}"/>
              </a:ext>
            </a:extLst>
          </p:cNvPr>
          <p:cNvSpPr>
            <a:spLocks/>
          </p:cNvSpPr>
          <p:nvPr/>
        </p:nvSpPr>
        <p:spPr bwMode="auto">
          <a:xfrm>
            <a:off x="7313495" y="787400"/>
            <a:ext cx="34925" cy="20638"/>
          </a:xfrm>
          <a:custGeom>
            <a:avLst/>
            <a:gdLst>
              <a:gd name="T0" fmla="*/ 8 w 10"/>
              <a:gd name="T1" fmla="*/ 0 h 6"/>
              <a:gd name="T2" fmla="*/ 2 w 10"/>
              <a:gd name="T3" fmla="*/ 0 h 6"/>
              <a:gd name="T4" fmla="*/ 0 w 10"/>
              <a:gd name="T5" fmla="*/ 3 h 6"/>
              <a:gd name="T6" fmla="*/ 2 w 10"/>
              <a:gd name="T7" fmla="*/ 6 h 6"/>
              <a:gd name="T8" fmla="*/ 8 w 10"/>
              <a:gd name="T9" fmla="*/ 6 h 6"/>
              <a:gd name="T10" fmla="*/ 10 w 10"/>
              <a:gd name="T11" fmla="*/ 3 h 6"/>
              <a:gd name="T12" fmla="*/ 8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0"/>
                </a:moveTo>
                <a:cubicBezTo>
                  <a:pt x="2" y="0"/>
                  <a:pt x="2" y="0"/>
                  <a:pt x="2" y="0"/>
                </a:cubicBezTo>
                <a:cubicBezTo>
                  <a:pt x="1" y="0"/>
                  <a:pt x="0" y="2"/>
                  <a:pt x="0" y="3"/>
                </a:cubicBezTo>
                <a:cubicBezTo>
                  <a:pt x="0" y="5"/>
                  <a:pt x="1" y="6"/>
                  <a:pt x="2" y="6"/>
                </a:cubicBezTo>
                <a:cubicBezTo>
                  <a:pt x="8" y="6"/>
                  <a:pt x="8" y="6"/>
                  <a:pt x="8" y="6"/>
                </a:cubicBezTo>
                <a:cubicBezTo>
                  <a:pt x="9" y="6"/>
                  <a:pt x="10" y="5"/>
                  <a:pt x="10" y="3"/>
                </a:cubicBezTo>
                <a:cubicBezTo>
                  <a:pt x="10" y="2"/>
                  <a:pt x="9" y="0"/>
                  <a:pt x="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52" name="Freeform 1129">
            <a:extLst>
              <a:ext uri="{FF2B5EF4-FFF2-40B4-BE49-F238E27FC236}">
                <a16:creationId xmlns:a16="http://schemas.microsoft.com/office/drawing/2014/main" id="{82E55F76-3566-D544-B7EC-155AA51ACB82}"/>
              </a:ext>
            </a:extLst>
          </p:cNvPr>
          <p:cNvSpPr>
            <a:spLocks/>
          </p:cNvSpPr>
          <p:nvPr/>
        </p:nvSpPr>
        <p:spPr bwMode="auto">
          <a:xfrm>
            <a:off x="7313495" y="825500"/>
            <a:ext cx="34925" cy="20638"/>
          </a:xfrm>
          <a:custGeom>
            <a:avLst/>
            <a:gdLst>
              <a:gd name="T0" fmla="*/ 8 w 10"/>
              <a:gd name="T1" fmla="*/ 0 h 6"/>
              <a:gd name="T2" fmla="*/ 2 w 10"/>
              <a:gd name="T3" fmla="*/ 0 h 6"/>
              <a:gd name="T4" fmla="*/ 0 w 10"/>
              <a:gd name="T5" fmla="*/ 3 h 6"/>
              <a:gd name="T6" fmla="*/ 2 w 10"/>
              <a:gd name="T7" fmla="*/ 6 h 6"/>
              <a:gd name="T8" fmla="*/ 8 w 10"/>
              <a:gd name="T9" fmla="*/ 6 h 6"/>
              <a:gd name="T10" fmla="*/ 10 w 10"/>
              <a:gd name="T11" fmla="*/ 3 h 6"/>
              <a:gd name="T12" fmla="*/ 8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0"/>
                </a:moveTo>
                <a:cubicBezTo>
                  <a:pt x="2" y="0"/>
                  <a:pt x="2" y="0"/>
                  <a:pt x="2" y="0"/>
                </a:cubicBezTo>
                <a:cubicBezTo>
                  <a:pt x="1" y="0"/>
                  <a:pt x="0" y="1"/>
                  <a:pt x="0" y="3"/>
                </a:cubicBezTo>
                <a:cubicBezTo>
                  <a:pt x="0" y="4"/>
                  <a:pt x="1" y="6"/>
                  <a:pt x="2" y="6"/>
                </a:cubicBezTo>
                <a:cubicBezTo>
                  <a:pt x="8" y="6"/>
                  <a:pt x="8" y="6"/>
                  <a:pt x="8" y="6"/>
                </a:cubicBezTo>
                <a:cubicBezTo>
                  <a:pt x="9" y="6"/>
                  <a:pt x="10" y="4"/>
                  <a:pt x="10" y="3"/>
                </a:cubicBezTo>
                <a:cubicBezTo>
                  <a:pt x="10" y="1"/>
                  <a:pt x="9" y="0"/>
                  <a:pt x="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53" name="Freeform 1130">
            <a:extLst>
              <a:ext uri="{FF2B5EF4-FFF2-40B4-BE49-F238E27FC236}">
                <a16:creationId xmlns:a16="http://schemas.microsoft.com/office/drawing/2014/main" id="{83D6D4F5-BBD5-134A-B979-981D9A534494}"/>
              </a:ext>
            </a:extLst>
          </p:cNvPr>
          <p:cNvSpPr>
            <a:spLocks/>
          </p:cNvSpPr>
          <p:nvPr/>
        </p:nvSpPr>
        <p:spPr bwMode="auto">
          <a:xfrm>
            <a:off x="7731008" y="492125"/>
            <a:ext cx="33338" cy="17463"/>
          </a:xfrm>
          <a:custGeom>
            <a:avLst/>
            <a:gdLst>
              <a:gd name="T0" fmla="*/ 8 w 10"/>
              <a:gd name="T1" fmla="*/ 0 h 5"/>
              <a:gd name="T2" fmla="*/ 2 w 10"/>
              <a:gd name="T3" fmla="*/ 0 h 5"/>
              <a:gd name="T4" fmla="*/ 0 w 10"/>
              <a:gd name="T5" fmla="*/ 2 h 5"/>
              <a:gd name="T6" fmla="*/ 2 w 10"/>
              <a:gd name="T7" fmla="*/ 5 h 5"/>
              <a:gd name="T8" fmla="*/ 8 w 10"/>
              <a:gd name="T9" fmla="*/ 5 h 5"/>
              <a:gd name="T10" fmla="*/ 10 w 10"/>
              <a:gd name="T11" fmla="*/ 2 h 5"/>
              <a:gd name="T12" fmla="*/ 8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8" y="0"/>
                </a:moveTo>
                <a:cubicBezTo>
                  <a:pt x="2" y="0"/>
                  <a:pt x="2" y="0"/>
                  <a:pt x="2" y="0"/>
                </a:cubicBezTo>
                <a:cubicBezTo>
                  <a:pt x="1" y="0"/>
                  <a:pt x="0" y="1"/>
                  <a:pt x="0" y="2"/>
                </a:cubicBezTo>
                <a:cubicBezTo>
                  <a:pt x="0" y="4"/>
                  <a:pt x="1" y="5"/>
                  <a:pt x="2" y="5"/>
                </a:cubicBezTo>
                <a:cubicBezTo>
                  <a:pt x="8" y="5"/>
                  <a:pt x="8" y="5"/>
                  <a:pt x="8" y="5"/>
                </a:cubicBezTo>
                <a:cubicBezTo>
                  <a:pt x="9" y="5"/>
                  <a:pt x="10" y="4"/>
                  <a:pt x="10" y="2"/>
                </a:cubicBezTo>
                <a:cubicBezTo>
                  <a:pt x="10" y="1"/>
                  <a:pt x="9" y="0"/>
                  <a:pt x="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54" name="Freeform 1131">
            <a:extLst>
              <a:ext uri="{FF2B5EF4-FFF2-40B4-BE49-F238E27FC236}">
                <a16:creationId xmlns:a16="http://schemas.microsoft.com/office/drawing/2014/main" id="{1C64A6F8-4139-D942-9DE8-AFA4132BF28E}"/>
              </a:ext>
            </a:extLst>
          </p:cNvPr>
          <p:cNvSpPr>
            <a:spLocks noEditPoints="1"/>
          </p:cNvSpPr>
          <p:nvPr/>
        </p:nvSpPr>
        <p:spPr bwMode="auto">
          <a:xfrm>
            <a:off x="7265870" y="1011238"/>
            <a:ext cx="546100" cy="495300"/>
          </a:xfrm>
          <a:custGeom>
            <a:avLst/>
            <a:gdLst>
              <a:gd name="T0" fmla="*/ 13 w 160"/>
              <a:gd name="T1" fmla="*/ 3 h 144"/>
              <a:gd name="T2" fmla="*/ 0 w 160"/>
              <a:gd name="T3" fmla="*/ 133 h 144"/>
              <a:gd name="T4" fmla="*/ 16 w 160"/>
              <a:gd name="T5" fmla="*/ 144 h 144"/>
              <a:gd name="T6" fmla="*/ 32 w 160"/>
              <a:gd name="T7" fmla="*/ 133 h 144"/>
              <a:gd name="T8" fmla="*/ 19 w 160"/>
              <a:gd name="T9" fmla="*/ 3 h 144"/>
              <a:gd name="T10" fmla="*/ 5 w 160"/>
              <a:gd name="T11" fmla="*/ 101 h 144"/>
              <a:gd name="T12" fmla="*/ 61 w 160"/>
              <a:gd name="T13" fmla="*/ 3 h 144"/>
              <a:gd name="T14" fmla="*/ 56 w 160"/>
              <a:gd name="T15" fmla="*/ 69 h 144"/>
              <a:gd name="T16" fmla="*/ 56 w 160"/>
              <a:gd name="T17" fmla="*/ 107 h 144"/>
              <a:gd name="T18" fmla="*/ 61 w 160"/>
              <a:gd name="T19" fmla="*/ 141 h 144"/>
              <a:gd name="T20" fmla="*/ 75 w 160"/>
              <a:gd name="T21" fmla="*/ 69 h 144"/>
              <a:gd name="T22" fmla="*/ 69 w 160"/>
              <a:gd name="T23" fmla="*/ 101 h 144"/>
              <a:gd name="T24" fmla="*/ 69 w 160"/>
              <a:gd name="T25" fmla="*/ 75 h 144"/>
              <a:gd name="T26" fmla="*/ 101 w 160"/>
              <a:gd name="T27" fmla="*/ 0 h 144"/>
              <a:gd name="T28" fmla="*/ 85 w 160"/>
              <a:gd name="T29" fmla="*/ 43 h 144"/>
              <a:gd name="T30" fmla="*/ 99 w 160"/>
              <a:gd name="T31" fmla="*/ 141 h 144"/>
              <a:gd name="T32" fmla="*/ 104 w 160"/>
              <a:gd name="T33" fmla="*/ 80 h 144"/>
              <a:gd name="T34" fmla="*/ 104 w 160"/>
              <a:gd name="T35" fmla="*/ 43 h 144"/>
              <a:gd name="T36" fmla="*/ 91 w 160"/>
              <a:gd name="T37" fmla="*/ 75 h 144"/>
              <a:gd name="T38" fmla="*/ 112 w 160"/>
              <a:gd name="T39" fmla="*/ 75 h 144"/>
              <a:gd name="T40" fmla="*/ 147 w 160"/>
              <a:gd name="T41" fmla="*/ 3 h 144"/>
              <a:gd name="T42" fmla="*/ 141 w 160"/>
              <a:gd name="T43" fmla="*/ 11 h 144"/>
              <a:gd name="T44" fmla="*/ 141 w 160"/>
              <a:gd name="T45" fmla="*/ 48 h 144"/>
              <a:gd name="T46" fmla="*/ 147 w 160"/>
              <a:gd name="T47" fmla="*/ 141 h 144"/>
              <a:gd name="T48" fmla="*/ 160 w 160"/>
              <a:gd name="T49" fmla="*/ 11 h 144"/>
              <a:gd name="T50" fmla="*/ 133 w 160"/>
              <a:gd name="T51" fmla="*/ 16 h 144"/>
              <a:gd name="T52" fmla="*/ 56 w 160"/>
              <a:gd name="T53" fmla="*/ 80 h 144"/>
              <a:gd name="T54" fmla="*/ 61 w 160"/>
              <a:gd name="T55" fmla="*/ 85 h 144"/>
              <a:gd name="T56" fmla="*/ 56 w 160"/>
              <a:gd name="T57" fmla="*/ 80 h 144"/>
              <a:gd name="T58" fmla="*/ 99 w 160"/>
              <a:gd name="T59" fmla="*/ 69 h 144"/>
              <a:gd name="T60" fmla="*/ 104 w 160"/>
              <a:gd name="T61" fmla="*/ 64 h 144"/>
              <a:gd name="T62" fmla="*/ 104 w 160"/>
              <a:gd name="T63" fmla="*/ 53 h 144"/>
              <a:gd name="T64" fmla="*/ 99 w 160"/>
              <a:gd name="T65" fmla="*/ 59 h 144"/>
              <a:gd name="T66" fmla="*/ 149 w 160"/>
              <a:gd name="T67" fmla="*/ 35 h 144"/>
              <a:gd name="T68" fmla="*/ 139 w 160"/>
              <a:gd name="T69" fmla="*/ 35 h 144"/>
              <a:gd name="T70" fmla="*/ 149 w 160"/>
              <a:gd name="T71" fmla="*/ 35 h 144"/>
              <a:gd name="T72" fmla="*/ 149 w 160"/>
              <a:gd name="T73" fmla="*/ 24 h 144"/>
              <a:gd name="T74" fmla="*/ 139 w 160"/>
              <a:gd name="T75" fmla="*/ 24 h 144"/>
              <a:gd name="T76" fmla="*/ 61 w 160"/>
              <a:gd name="T77" fmla="*/ 96 h 144"/>
              <a:gd name="T78" fmla="*/ 56 w 160"/>
              <a:gd name="T79" fmla="*/ 91 h 144"/>
              <a:gd name="T80" fmla="*/ 13 w 160"/>
              <a:gd name="T81" fmla="*/ 107 h 144"/>
              <a:gd name="T82" fmla="*/ 19 w 160"/>
              <a:gd name="T83" fmla="*/ 112 h 144"/>
              <a:gd name="T84" fmla="*/ 13 w 160"/>
              <a:gd name="T85" fmla="*/ 107 h 144"/>
              <a:gd name="T86" fmla="*/ 13 w 160"/>
              <a:gd name="T87" fmla="*/ 123 h 144"/>
              <a:gd name="T88" fmla="*/ 19 w 160"/>
              <a:gd name="T89" fmla="*/ 11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144">
                <a:moveTo>
                  <a:pt x="19" y="3"/>
                </a:moveTo>
                <a:cubicBezTo>
                  <a:pt x="19" y="1"/>
                  <a:pt x="17" y="0"/>
                  <a:pt x="16" y="0"/>
                </a:cubicBezTo>
                <a:cubicBezTo>
                  <a:pt x="15" y="0"/>
                  <a:pt x="13" y="1"/>
                  <a:pt x="13" y="3"/>
                </a:cubicBezTo>
                <a:cubicBezTo>
                  <a:pt x="13" y="96"/>
                  <a:pt x="13" y="96"/>
                  <a:pt x="13" y="96"/>
                </a:cubicBezTo>
                <a:cubicBezTo>
                  <a:pt x="0" y="96"/>
                  <a:pt x="0" y="96"/>
                  <a:pt x="0" y="96"/>
                </a:cubicBezTo>
                <a:cubicBezTo>
                  <a:pt x="0" y="133"/>
                  <a:pt x="0" y="133"/>
                  <a:pt x="0" y="133"/>
                </a:cubicBezTo>
                <a:cubicBezTo>
                  <a:pt x="13" y="133"/>
                  <a:pt x="13" y="133"/>
                  <a:pt x="13" y="133"/>
                </a:cubicBezTo>
                <a:cubicBezTo>
                  <a:pt x="13" y="141"/>
                  <a:pt x="13" y="141"/>
                  <a:pt x="13" y="141"/>
                </a:cubicBezTo>
                <a:cubicBezTo>
                  <a:pt x="13" y="143"/>
                  <a:pt x="15" y="144"/>
                  <a:pt x="16" y="144"/>
                </a:cubicBezTo>
                <a:cubicBezTo>
                  <a:pt x="17" y="144"/>
                  <a:pt x="19" y="143"/>
                  <a:pt x="19" y="141"/>
                </a:cubicBezTo>
                <a:cubicBezTo>
                  <a:pt x="19" y="133"/>
                  <a:pt x="19" y="133"/>
                  <a:pt x="19" y="133"/>
                </a:cubicBezTo>
                <a:cubicBezTo>
                  <a:pt x="32" y="133"/>
                  <a:pt x="32" y="133"/>
                  <a:pt x="32" y="133"/>
                </a:cubicBezTo>
                <a:cubicBezTo>
                  <a:pt x="32" y="96"/>
                  <a:pt x="32" y="96"/>
                  <a:pt x="32" y="96"/>
                </a:cubicBezTo>
                <a:cubicBezTo>
                  <a:pt x="19" y="96"/>
                  <a:pt x="19" y="96"/>
                  <a:pt x="19" y="96"/>
                </a:cubicBezTo>
                <a:lnTo>
                  <a:pt x="19" y="3"/>
                </a:lnTo>
                <a:close/>
                <a:moveTo>
                  <a:pt x="27" y="128"/>
                </a:moveTo>
                <a:cubicBezTo>
                  <a:pt x="5" y="128"/>
                  <a:pt x="5" y="128"/>
                  <a:pt x="5" y="128"/>
                </a:cubicBezTo>
                <a:cubicBezTo>
                  <a:pt x="5" y="101"/>
                  <a:pt x="5" y="101"/>
                  <a:pt x="5" y="101"/>
                </a:cubicBezTo>
                <a:cubicBezTo>
                  <a:pt x="27" y="101"/>
                  <a:pt x="27" y="101"/>
                  <a:pt x="27" y="101"/>
                </a:cubicBezTo>
                <a:lnTo>
                  <a:pt x="27" y="128"/>
                </a:lnTo>
                <a:close/>
                <a:moveTo>
                  <a:pt x="61" y="3"/>
                </a:moveTo>
                <a:cubicBezTo>
                  <a:pt x="61" y="1"/>
                  <a:pt x="60" y="0"/>
                  <a:pt x="59" y="0"/>
                </a:cubicBezTo>
                <a:cubicBezTo>
                  <a:pt x="57" y="0"/>
                  <a:pt x="56" y="1"/>
                  <a:pt x="56" y="3"/>
                </a:cubicBezTo>
                <a:cubicBezTo>
                  <a:pt x="56" y="69"/>
                  <a:pt x="56" y="69"/>
                  <a:pt x="56" y="69"/>
                </a:cubicBezTo>
                <a:cubicBezTo>
                  <a:pt x="43" y="69"/>
                  <a:pt x="43" y="69"/>
                  <a:pt x="43" y="69"/>
                </a:cubicBezTo>
                <a:cubicBezTo>
                  <a:pt x="43" y="107"/>
                  <a:pt x="43" y="107"/>
                  <a:pt x="43" y="107"/>
                </a:cubicBezTo>
                <a:cubicBezTo>
                  <a:pt x="56" y="107"/>
                  <a:pt x="56" y="107"/>
                  <a:pt x="56" y="107"/>
                </a:cubicBezTo>
                <a:cubicBezTo>
                  <a:pt x="56" y="141"/>
                  <a:pt x="56" y="141"/>
                  <a:pt x="56" y="141"/>
                </a:cubicBezTo>
                <a:cubicBezTo>
                  <a:pt x="56" y="143"/>
                  <a:pt x="57" y="144"/>
                  <a:pt x="59" y="144"/>
                </a:cubicBezTo>
                <a:cubicBezTo>
                  <a:pt x="60" y="144"/>
                  <a:pt x="61" y="143"/>
                  <a:pt x="61" y="141"/>
                </a:cubicBezTo>
                <a:cubicBezTo>
                  <a:pt x="61" y="107"/>
                  <a:pt x="61" y="107"/>
                  <a:pt x="61" y="107"/>
                </a:cubicBezTo>
                <a:cubicBezTo>
                  <a:pt x="75" y="107"/>
                  <a:pt x="75" y="107"/>
                  <a:pt x="75" y="107"/>
                </a:cubicBezTo>
                <a:cubicBezTo>
                  <a:pt x="75" y="69"/>
                  <a:pt x="75" y="69"/>
                  <a:pt x="75" y="69"/>
                </a:cubicBezTo>
                <a:cubicBezTo>
                  <a:pt x="61" y="69"/>
                  <a:pt x="61" y="69"/>
                  <a:pt x="61" y="69"/>
                </a:cubicBezTo>
                <a:lnTo>
                  <a:pt x="61" y="3"/>
                </a:lnTo>
                <a:close/>
                <a:moveTo>
                  <a:pt x="69" y="101"/>
                </a:moveTo>
                <a:cubicBezTo>
                  <a:pt x="48" y="101"/>
                  <a:pt x="48" y="101"/>
                  <a:pt x="48" y="101"/>
                </a:cubicBezTo>
                <a:cubicBezTo>
                  <a:pt x="48" y="75"/>
                  <a:pt x="48" y="75"/>
                  <a:pt x="48" y="75"/>
                </a:cubicBezTo>
                <a:cubicBezTo>
                  <a:pt x="69" y="75"/>
                  <a:pt x="69" y="75"/>
                  <a:pt x="69" y="75"/>
                </a:cubicBezTo>
                <a:lnTo>
                  <a:pt x="69" y="101"/>
                </a:lnTo>
                <a:close/>
                <a:moveTo>
                  <a:pt x="104" y="3"/>
                </a:moveTo>
                <a:cubicBezTo>
                  <a:pt x="104" y="1"/>
                  <a:pt x="103" y="0"/>
                  <a:pt x="101" y="0"/>
                </a:cubicBezTo>
                <a:cubicBezTo>
                  <a:pt x="100" y="0"/>
                  <a:pt x="99" y="1"/>
                  <a:pt x="99" y="3"/>
                </a:cubicBezTo>
                <a:cubicBezTo>
                  <a:pt x="99" y="43"/>
                  <a:pt x="99" y="43"/>
                  <a:pt x="99" y="43"/>
                </a:cubicBezTo>
                <a:cubicBezTo>
                  <a:pt x="85" y="43"/>
                  <a:pt x="85" y="43"/>
                  <a:pt x="85" y="43"/>
                </a:cubicBezTo>
                <a:cubicBezTo>
                  <a:pt x="85" y="80"/>
                  <a:pt x="85" y="80"/>
                  <a:pt x="85" y="80"/>
                </a:cubicBezTo>
                <a:cubicBezTo>
                  <a:pt x="99" y="80"/>
                  <a:pt x="99" y="80"/>
                  <a:pt x="99" y="80"/>
                </a:cubicBezTo>
                <a:cubicBezTo>
                  <a:pt x="99" y="141"/>
                  <a:pt x="99" y="141"/>
                  <a:pt x="99" y="141"/>
                </a:cubicBezTo>
                <a:cubicBezTo>
                  <a:pt x="99" y="143"/>
                  <a:pt x="100" y="144"/>
                  <a:pt x="101" y="144"/>
                </a:cubicBezTo>
                <a:cubicBezTo>
                  <a:pt x="103" y="144"/>
                  <a:pt x="104" y="143"/>
                  <a:pt x="104" y="141"/>
                </a:cubicBezTo>
                <a:cubicBezTo>
                  <a:pt x="104" y="80"/>
                  <a:pt x="104" y="80"/>
                  <a:pt x="104" y="80"/>
                </a:cubicBezTo>
                <a:cubicBezTo>
                  <a:pt x="117" y="80"/>
                  <a:pt x="117" y="80"/>
                  <a:pt x="117" y="80"/>
                </a:cubicBezTo>
                <a:cubicBezTo>
                  <a:pt x="117" y="43"/>
                  <a:pt x="117" y="43"/>
                  <a:pt x="117" y="43"/>
                </a:cubicBezTo>
                <a:cubicBezTo>
                  <a:pt x="104" y="43"/>
                  <a:pt x="104" y="43"/>
                  <a:pt x="104" y="43"/>
                </a:cubicBezTo>
                <a:lnTo>
                  <a:pt x="104" y="3"/>
                </a:lnTo>
                <a:close/>
                <a:moveTo>
                  <a:pt x="112" y="75"/>
                </a:moveTo>
                <a:cubicBezTo>
                  <a:pt x="91" y="75"/>
                  <a:pt x="91" y="75"/>
                  <a:pt x="91" y="75"/>
                </a:cubicBezTo>
                <a:cubicBezTo>
                  <a:pt x="91" y="48"/>
                  <a:pt x="91" y="48"/>
                  <a:pt x="91" y="48"/>
                </a:cubicBezTo>
                <a:cubicBezTo>
                  <a:pt x="112" y="48"/>
                  <a:pt x="112" y="48"/>
                  <a:pt x="112" y="48"/>
                </a:cubicBezTo>
                <a:lnTo>
                  <a:pt x="112" y="75"/>
                </a:lnTo>
                <a:close/>
                <a:moveTo>
                  <a:pt x="160" y="11"/>
                </a:moveTo>
                <a:cubicBezTo>
                  <a:pt x="147" y="11"/>
                  <a:pt x="147" y="11"/>
                  <a:pt x="147" y="11"/>
                </a:cubicBezTo>
                <a:cubicBezTo>
                  <a:pt x="147" y="3"/>
                  <a:pt x="147" y="3"/>
                  <a:pt x="147" y="3"/>
                </a:cubicBezTo>
                <a:cubicBezTo>
                  <a:pt x="147" y="1"/>
                  <a:pt x="145" y="0"/>
                  <a:pt x="144" y="0"/>
                </a:cubicBezTo>
                <a:cubicBezTo>
                  <a:pt x="143" y="0"/>
                  <a:pt x="141" y="1"/>
                  <a:pt x="141" y="3"/>
                </a:cubicBezTo>
                <a:cubicBezTo>
                  <a:pt x="141" y="11"/>
                  <a:pt x="141" y="11"/>
                  <a:pt x="141" y="11"/>
                </a:cubicBezTo>
                <a:cubicBezTo>
                  <a:pt x="128" y="11"/>
                  <a:pt x="128" y="11"/>
                  <a:pt x="128" y="11"/>
                </a:cubicBezTo>
                <a:cubicBezTo>
                  <a:pt x="128" y="48"/>
                  <a:pt x="128" y="48"/>
                  <a:pt x="128" y="48"/>
                </a:cubicBezTo>
                <a:cubicBezTo>
                  <a:pt x="141" y="48"/>
                  <a:pt x="141" y="48"/>
                  <a:pt x="141" y="48"/>
                </a:cubicBezTo>
                <a:cubicBezTo>
                  <a:pt x="141" y="141"/>
                  <a:pt x="141" y="141"/>
                  <a:pt x="141" y="141"/>
                </a:cubicBezTo>
                <a:cubicBezTo>
                  <a:pt x="141" y="143"/>
                  <a:pt x="143" y="144"/>
                  <a:pt x="144" y="144"/>
                </a:cubicBezTo>
                <a:cubicBezTo>
                  <a:pt x="145" y="144"/>
                  <a:pt x="147" y="143"/>
                  <a:pt x="147" y="141"/>
                </a:cubicBezTo>
                <a:cubicBezTo>
                  <a:pt x="147" y="48"/>
                  <a:pt x="147" y="48"/>
                  <a:pt x="147" y="48"/>
                </a:cubicBezTo>
                <a:cubicBezTo>
                  <a:pt x="160" y="48"/>
                  <a:pt x="160" y="48"/>
                  <a:pt x="160" y="48"/>
                </a:cubicBezTo>
                <a:lnTo>
                  <a:pt x="160" y="11"/>
                </a:lnTo>
                <a:close/>
                <a:moveTo>
                  <a:pt x="155" y="43"/>
                </a:moveTo>
                <a:cubicBezTo>
                  <a:pt x="133" y="43"/>
                  <a:pt x="133" y="43"/>
                  <a:pt x="133" y="43"/>
                </a:cubicBezTo>
                <a:cubicBezTo>
                  <a:pt x="133" y="16"/>
                  <a:pt x="133" y="16"/>
                  <a:pt x="133" y="16"/>
                </a:cubicBezTo>
                <a:cubicBezTo>
                  <a:pt x="155" y="16"/>
                  <a:pt x="155" y="16"/>
                  <a:pt x="155" y="16"/>
                </a:cubicBezTo>
                <a:lnTo>
                  <a:pt x="155" y="43"/>
                </a:lnTo>
                <a:close/>
                <a:moveTo>
                  <a:pt x="56" y="80"/>
                </a:moveTo>
                <a:cubicBezTo>
                  <a:pt x="61" y="80"/>
                  <a:pt x="61" y="80"/>
                  <a:pt x="61" y="80"/>
                </a:cubicBezTo>
                <a:cubicBezTo>
                  <a:pt x="63" y="80"/>
                  <a:pt x="64" y="81"/>
                  <a:pt x="64" y="83"/>
                </a:cubicBezTo>
                <a:cubicBezTo>
                  <a:pt x="64" y="84"/>
                  <a:pt x="63" y="85"/>
                  <a:pt x="61" y="85"/>
                </a:cubicBezTo>
                <a:cubicBezTo>
                  <a:pt x="56" y="85"/>
                  <a:pt x="56" y="85"/>
                  <a:pt x="56" y="85"/>
                </a:cubicBezTo>
                <a:cubicBezTo>
                  <a:pt x="55" y="85"/>
                  <a:pt x="53" y="84"/>
                  <a:pt x="53" y="83"/>
                </a:cubicBezTo>
                <a:cubicBezTo>
                  <a:pt x="53" y="81"/>
                  <a:pt x="55" y="80"/>
                  <a:pt x="56" y="80"/>
                </a:cubicBezTo>
                <a:close/>
                <a:moveTo>
                  <a:pt x="107" y="67"/>
                </a:moveTo>
                <a:cubicBezTo>
                  <a:pt x="107" y="68"/>
                  <a:pt x="105" y="69"/>
                  <a:pt x="104" y="69"/>
                </a:cubicBezTo>
                <a:cubicBezTo>
                  <a:pt x="99" y="69"/>
                  <a:pt x="99" y="69"/>
                  <a:pt x="99" y="69"/>
                </a:cubicBezTo>
                <a:cubicBezTo>
                  <a:pt x="97" y="69"/>
                  <a:pt x="96" y="68"/>
                  <a:pt x="96" y="67"/>
                </a:cubicBezTo>
                <a:cubicBezTo>
                  <a:pt x="96" y="65"/>
                  <a:pt x="97" y="64"/>
                  <a:pt x="99" y="64"/>
                </a:cubicBezTo>
                <a:cubicBezTo>
                  <a:pt x="104" y="64"/>
                  <a:pt x="104" y="64"/>
                  <a:pt x="104" y="64"/>
                </a:cubicBezTo>
                <a:cubicBezTo>
                  <a:pt x="105" y="64"/>
                  <a:pt x="107" y="65"/>
                  <a:pt x="107" y="67"/>
                </a:cubicBezTo>
                <a:close/>
                <a:moveTo>
                  <a:pt x="99" y="53"/>
                </a:moveTo>
                <a:cubicBezTo>
                  <a:pt x="104" y="53"/>
                  <a:pt x="104" y="53"/>
                  <a:pt x="104" y="53"/>
                </a:cubicBezTo>
                <a:cubicBezTo>
                  <a:pt x="105" y="53"/>
                  <a:pt x="107" y="55"/>
                  <a:pt x="107" y="56"/>
                </a:cubicBezTo>
                <a:cubicBezTo>
                  <a:pt x="107" y="57"/>
                  <a:pt x="105" y="59"/>
                  <a:pt x="104" y="59"/>
                </a:cubicBezTo>
                <a:cubicBezTo>
                  <a:pt x="99" y="59"/>
                  <a:pt x="99" y="59"/>
                  <a:pt x="99" y="59"/>
                </a:cubicBezTo>
                <a:cubicBezTo>
                  <a:pt x="97" y="59"/>
                  <a:pt x="96" y="57"/>
                  <a:pt x="96" y="56"/>
                </a:cubicBezTo>
                <a:cubicBezTo>
                  <a:pt x="96" y="55"/>
                  <a:pt x="97" y="53"/>
                  <a:pt x="99" y="53"/>
                </a:cubicBezTo>
                <a:close/>
                <a:moveTo>
                  <a:pt x="149" y="35"/>
                </a:moveTo>
                <a:cubicBezTo>
                  <a:pt x="149" y="36"/>
                  <a:pt x="148" y="37"/>
                  <a:pt x="147" y="37"/>
                </a:cubicBezTo>
                <a:cubicBezTo>
                  <a:pt x="141" y="37"/>
                  <a:pt x="141" y="37"/>
                  <a:pt x="141" y="37"/>
                </a:cubicBezTo>
                <a:cubicBezTo>
                  <a:pt x="140" y="37"/>
                  <a:pt x="139" y="36"/>
                  <a:pt x="139" y="35"/>
                </a:cubicBezTo>
                <a:cubicBezTo>
                  <a:pt x="139" y="33"/>
                  <a:pt x="140" y="32"/>
                  <a:pt x="141" y="32"/>
                </a:cubicBezTo>
                <a:cubicBezTo>
                  <a:pt x="147" y="32"/>
                  <a:pt x="147" y="32"/>
                  <a:pt x="147" y="32"/>
                </a:cubicBezTo>
                <a:cubicBezTo>
                  <a:pt x="148" y="32"/>
                  <a:pt x="149" y="33"/>
                  <a:pt x="149" y="35"/>
                </a:cubicBezTo>
                <a:close/>
                <a:moveTo>
                  <a:pt x="141" y="21"/>
                </a:moveTo>
                <a:cubicBezTo>
                  <a:pt x="147" y="21"/>
                  <a:pt x="147" y="21"/>
                  <a:pt x="147" y="21"/>
                </a:cubicBezTo>
                <a:cubicBezTo>
                  <a:pt x="148" y="21"/>
                  <a:pt x="149" y="23"/>
                  <a:pt x="149" y="24"/>
                </a:cubicBezTo>
                <a:cubicBezTo>
                  <a:pt x="149" y="25"/>
                  <a:pt x="148" y="27"/>
                  <a:pt x="147" y="27"/>
                </a:cubicBezTo>
                <a:cubicBezTo>
                  <a:pt x="141" y="27"/>
                  <a:pt x="141" y="27"/>
                  <a:pt x="141" y="27"/>
                </a:cubicBezTo>
                <a:cubicBezTo>
                  <a:pt x="140" y="27"/>
                  <a:pt x="139" y="25"/>
                  <a:pt x="139" y="24"/>
                </a:cubicBezTo>
                <a:cubicBezTo>
                  <a:pt x="139" y="23"/>
                  <a:pt x="140" y="21"/>
                  <a:pt x="141" y="21"/>
                </a:cubicBezTo>
                <a:close/>
                <a:moveTo>
                  <a:pt x="64" y="93"/>
                </a:moveTo>
                <a:cubicBezTo>
                  <a:pt x="64" y="95"/>
                  <a:pt x="63" y="96"/>
                  <a:pt x="61" y="96"/>
                </a:cubicBezTo>
                <a:cubicBezTo>
                  <a:pt x="56" y="96"/>
                  <a:pt x="56" y="96"/>
                  <a:pt x="56" y="96"/>
                </a:cubicBezTo>
                <a:cubicBezTo>
                  <a:pt x="55" y="96"/>
                  <a:pt x="53" y="95"/>
                  <a:pt x="53" y="93"/>
                </a:cubicBezTo>
                <a:cubicBezTo>
                  <a:pt x="53" y="92"/>
                  <a:pt x="55" y="91"/>
                  <a:pt x="56" y="91"/>
                </a:cubicBezTo>
                <a:cubicBezTo>
                  <a:pt x="61" y="91"/>
                  <a:pt x="61" y="91"/>
                  <a:pt x="61" y="91"/>
                </a:cubicBezTo>
                <a:cubicBezTo>
                  <a:pt x="63" y="91"/>
                  <a:pt x="64" y="92"/>
                  <a:pt x="64" y="93"/>
                </a:cubicBezTo>
                <a:close/>
                <a:moveTo>
                  <a:pt x="13" y="107"/>
                </a:moveTo>
                <a:cubicBezTo>
                  <a:pt x="19" y="107"/>
                  <a:pt x="19" y="107"/>
                  <a:pt x="19" y="107"/>
                </a:cubicBezTo>
                <a:cubicBezTo>
                  <a:pt x="20" y="107"/>
                  <a:pt x="21" y="108"/>
                  <a:pt x="21" y="109"/>
                </a:cubicBezTo>
                <a:cubicBezTo>
                  <a:pt x="21" y="111"/>
                  <a:pt x="20" y="112"/>
                  <a:pt x="19" y="112"/>
                </a:cubicBezTo>
                <a:cubicBezTo>
                  <a:pt x="13" y="112"/>
                  <a:pt x="13" y="112"/>
                  <a:pt x="13" y="112"/>
                </a:cubicBezTo>
                <a:cubicBezTo>
                  <a:pt x="12" y="112"/>
                  <a:pt x="11" y="111"/>
                  <a:pt x="11" y="109"/>
                </a:cubicBezTo>
                <a:cubicBezTo>
                  <a:pt x="11" y="108"/>
                  <a:pt x="12" y="107"/>
                  <a:pt x="13" y="107"/>
                </a:cubicBezTo>
                <a:close/>
                <a:moveTo>
                  <a:pt x="21" y="120"/>
                </a:moveTo>
                <a:cubicBezTo>
                  <a:pt x="21" y="121"/>
                  <a:pt x="20" y="123"/>
                  <a:pt x="19" y="123"/>
                </a:cubicBezTo>
                <a:cubicBezTo>
                  <a:pt x="13" y="123"/>
                  <a:pt x="13" y="123"/>
                  <a:pt x="13" y="123"/>
                </a:cubicBezTo>
                <a:cubicBezTo>
                  <a:pt x="12" y="123"/>
                  <a:pt x="11" y="121"/>
                  <a:pt x="11" y="120"/>
                </a:cubicBezTo>
                <a:cubicBezTo>
                  <a:pt x="11" y="119"/>
                  <a:pt x="12" y="117"/>
                  <a:pt x="13" y="117"/>
                </a:cubicBezTo>
                <a:cubicBezTo>
                  <a:pt x="19" y="117"/>
                  <a:pt x="19" y="117"/>
                  <a:pt x="19" y="117"/>
                </a:cubicBezTo>
                <a:cubicBezTo>
                  <a:pt x="20" y="117"/>
                  <a:pt x="21" y="119"/>
                  <a:pt x="21" y="1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55" name="Freeform 1132">
            <a:extLst>
              <a:ext uri="{FF2B5EF4-FFF2-40B4-BE49-F238E27FC236}">
                <a16:creationId xmlns:a16="http://schemas.microsoft.com/office/drawing/2014/main" id="{42A91FA4-B3F1-A641-A2AB-A1AA4E970519}"/>
              </a:ext>
            </a:extLst>
          </p:cNvPr>
          <p:cNvSpPr>
            <a:spLocks noEditPoints="1"/>
          </p:cNvSpPr>
          <p:nvPr/>
        </p:nvSpPr>
        <p:spPr bwMode="auto">
          <a:xfrm>
            <a:off x="7265870" y="1603375"/>
            <a:ext cx="546100" cy="530225"/>
          </a:xfrm>
          <a:custGeom>
            <a:avLst/>
            <a:gdLst>
              <a:gd name="T0" fmla="*/ 23 w 160"/>
              <a:gd name="T1" fmla="*/ 115 h 154"/>
              <a:gd name="T2" fmla="*/ 23 w 160"/>
              <a:gd name="T3" fmla="*/ 3 h 154"/>
              <a:gd name="T4" fmla="*/ 20 w 160"/>
              <a:gd name="T5" fmla="*/ 0 h 154"/>
              <a:gd name="T6" fmla="*/ 17 w 160"/>
              <a:gd name="T7" fmla="*/ 3 h 154"/>
              <a:gd name="T8" fmla="*/ 17 w 160"/>
              <a:gd name="T9" fmla="*/ 115 h 154"/>
              <a:gd name="T10" fmla="*/ 0 w 160"/>
              <a:gd name="T11" fmla="*/ 134 h 154"/>
              <a:gd name="T12" fmla="*/ 20 w 160"/>
              <a:gd name="T13" fmla="*/ 154 h 154"/>
              <a:gd name="T14" fmla="*/ 40 w 160"/>
              <a:gd name="T15" fmla="*/ 134 h 154"/>
              <a:gd name="T16" fmla="*/ 23 w 160"/>
              <a:gd name="T17" fmla="*/ 115 h 154"/>
              <a:gd name="T18" fmla="*/ 20 w 160"/>
              <a:gd name="T19" fmla="*/ 149 h 154"/>
              <a:gd name="T20" fmla="*/ 6 w 160"/>
              <a:gd name="T21" fmla="*/ 134 h 154"/>
              <a:gd name="T22" fmla="*/ 20 w 160"/>
              <a:gd name="T23" fmla="*/ 120 h 154"/>
              <a:gd name="T24" fmla="*/ 34 w 160"/>
              <a:gd name="T25" fmla="*/ 134 h 154"/>
              <a:gd name="T26" fmla="*/ 20 w 160"/>
              <a:gd name="T27" fmla="*/ 149 h 154"/>
              <a:gd name="T28" fmla="*/ 83 w 160"/>
              <a:gd name="T29" fmla="*/ 56 h 154"/>
              <a:gd name="T30" fmla="*/ 83 w 160"/>
              <a:gd name="T31" fmla="*/ 3 h 154"/>
              <a:gd name="T32" fmla="*/ 80 w 160"/>
              <a:gd name="T33" fmla="*/ 0 h 154"/>
              <a:gd name="T34" fmla="*/ 77 w 160"/>
              <a:gd name="T35" fmla="*/ 3 h 154"/>
              <a:gd name="T36" fmla="*/ 77 w 160"/>
              <a:gd name="T37" fmla="*/ 56 h 154"/>
              <a:gd name="T38" fmla="*/ 59 w 160"/>
              <a:gd name="T39" fmla="*/ 77 h 154"/>
              <a:gd name="T40" fmla="*/ 77 w 160"/>
              <a:gd name="T41" fmla="*/ 97 h 154"/>
              <a:gd name="T42" fmla="*/ 77 w 160"/>
              <a:gd name="T43" fmla="*/ 151 h 154"/>
              <a:gd name="T44" fmla="*/ 80 w 160"/>
              <a:gd name="T45" fmla="*/ 154 h 154"/>
              <a:gd name="T46" fmla="*/ 83 w 160"/>
              <a:gd name="T47" fmla="*/ 151 h 154"/>
              <a:gd name="T48" fmla="*/ 83 w 160"/>
              <a:gd name="T49" fmla="*/ 97 h 154"/>
              <a:gd name="T50" fmla="*/ 100 w 160"/>
              <a:gd name="T51" fmla="*/ 77 h 154"/>
              <a:gd name="T52" fmla="*/ 83 w 160"/>
              <a:gd name="T53" fmla="*/ 56 h 154"/>
              <a:gd name="T54" fmla="*/ 79 w 160"/>
              <a:gd name="T55" fmla="*/ 91 h 154"/>
              <a:gd name="T56" fmla="*/ 65 w 160"/>
              <a:gd name="T57" fmla="*/ 77 h 154"/>
              <a:gd name="T58" fmla="*/ 79 w 160"/>
              <a:gd name="T59" fmla="*/ 62 h 154"/>
              <a:gd name="T60" fmla="*/ 94 w 160"/>
              <a:gd name="T61" fmla="*/ 77 h 154"/>
              <a:gd name="T62" fmla="*/ 79 w 160"/>
              <a:gd name="T63" fmla="*/ 91 h 154"/>
              <a:gd name="T64" fmla="*/ 160 w 160"/>
              <a:gd name="T65" fmla="*/ 20 h 154"/>
              <a:gd name="T66" fmla="*/ 140 w 160"/>
              <a:gd name="T67" fmla="*/ 0 h 154"/>
              <a:gd name="T68" fmla="*/ 120 w 160"/>
              <a:gd name="T69" fmla="*/ 20 h 154"/>
              <a:gd name="T70" fmla="*/ 137 w 160"/>
              <a:gd name="T71" fmla="*/ 40 h 154"/>
              <a:gd name="T72" fmla="*/ 137 w 160"/>
              <a:gd name="T73" fmla="*/ 151 h 154"/>
              <a:gd name="T74" fmla="*/ 140 w 160"/>
              <a:gd name="T75" fmla="*/ 154 h 154"/>
              <a:gd name="T76" fmla="*/ 143 w 160"/>
              <a:gd name="T77" fmla="*/ 151 h 154"/>
              <a:gd name="T78" fmla="*/ 143 w 160"/>
              <a:gd name="T79" fmla="*/ 40 h 154"/>
              <a:gd name="T80" fmla="*/ 160 w 160"/>
              <a:gd name="T81" fmla="*/ 20 h 154"/>
              <a:gd name="T82" fmla="*/ 140 w 160"/>
              <a:gd name="T83" fmla="*/ 34 h 154"/>
              <a:gd name="T84" fmla="*/ 126 w 160"/>
              <a:gd name="T85" fmla="*/ 20 h 154"/>
              <a:gd name="T86" fmla="*/ 140 w 160"/>
              <a:gd name="T87" fmla="*/ 6 h 154"/>
              <a:gd name="T88" fmla="*/ 154 w 160"/>
              <a:gd name="T89" fmla="*/ 20 h 154"/>
              <a:gd name="T90" fmla="*/ 140 w 160"/>
              <a:gd name="T91"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54">
                <a:moveTo>
                  <a:pt x="23" y="115"/>
                </a:moveTo>
                <a:cubicBezTo>
                  <a:pt x="23" y="3"/>
                  <a:pt x="23" y="3"/>
                  <a:pt x="23" y="3"/>
                </a:cubicBezTo>
                <a:cubicBezTo>
                  <a:pt x="23" y="1"/>
                  <a:pt x="22" y="0"/>
                  <a:pt x="20" y="0"/>
                </a:cubicBezTo>
                <a:cubicBezTo>
                  <a:pt x="18" y="0"/>
                  <a:pt x="17" y="1"/>
                  <a:pt x="17" y="3"/>
                </a:cubicBezTo>
                <a:cubicBezTo>
                  <a:pt x="17" y="115"/>
                  <a:pt x="17" y="115"/>
                  <a:pt x="17" y="115"/>
                </a:cubicBezTo>
                <a:cubicBezTo>
                  <a:pt x="7" y="116"/>
                  <a:pt x="0" y="124"/>
                  <a:pt x="0" y="134"/>
                </a:cubicBezTo>
                <a:cubicBezTo>
                  <a:pt x="0" y="145"/>
                  <a:pt x="9" y="154"/>
                  <a:pt x="20" y="154"/>
                </a:cubicBezTo>
                <a:cubicBezTo>
                  <a:pt x="31" y="154"/>
                  <a:pt x="40" y="145"/>
                  <a:pt x="40" y="134"/>
                </a:cubicBezTo>
                <a:cubicBezTo>
                  <a:pt x="40" y="124"/>
                  <a:pt x="33" y="116"/>
                  <a:pt x="23" y="115"/>
                </a:cubicBezTo>
                <a:close/>
                <a:moveTo>
                  <a:pt x="20" y="149"/>
                </a:moveTo>
                <a:cubicBezTo>
                  <a:pt x="12" y="149"/>
                  <a:pt x="6" y="142"/>
                  <a:pt x="6" y="134"/>
                </a:cubicBezTo>
                <a:cubicBezTo>
                  <a:pt x="6" y="126"/>
                  <a:pt x="12" y="120"/>
                  <a:pt x="20" y="120"/>
                </a:cubicBezTo>
                <a:cubicBezTo>
                  <a:pt x="28" y="120"/>
                  <a:pt x="34" y="126"/>
                  <a:pt x="34" y="134"/>
                </a:cubicBezTo>
                <a:cubicBezTo>
                  <a:pt x="34" y="142"/>
                  <a:pt x="28" y="149"/>
                  <a:pt x="20" y="149"/>
                </a:cubicBezTo>
                <a:close/>
                <a:moveTo>
                  <a:pt x="83" y="56"/>
                </a:moveTo>
                <a:cubicBezTo>
                  <a:pt x="83" y="3"/>
                  <a:pt x="83" y="3"/>
                  <a:pt x="83" y="3"/>
                </a:cubicBezTo>
                <a:cubicBezTo>
                  <a:pt x="83" y="1"/>
                  <a:pt x="82" y="0"/>
                  <a:pt x="80" y="0"/>
                </a:cubicBezTo>
                <a:cubicBezTo>
                  <a:pt x="78" y="0"/>
                  <a:pt x="77" y="1"/>
                  <a:pt x="77" y="3"/>
                </a:cubicBezTo>
                <a:cubicBezTo>
                  <a:pt x="77" y="56"/>
                  <a:pt x="77" y="56"/>
                  <a:pt x="77" y="56"/>
                </a:cubicBezTo>
                <a:cubicBezTo>
                  <a:pt x="67" y="57"/>
                  <a:pt x="59" y="66"/>
                  <a:pt x="59" y="77"/>
                </a:cubicBezTo>
                <a:cubicBezTo>
                  <a:pt x="59" y="87"/>
                  <a:pt x="67" y="96"/>
                  <a:pt x="77" y="97"/>
                </a:cubicBezTo>
                <a:cubicBezTo>
                  <a:pt x="77" y="151"/>
                  <a:pt x="77" y="151"/>
                  <a:pt x="77" y="151"/>
                </a:cubicBezTo>
                <a:cubicBezTo>
                  <a:pt x="77" y="153"/>
                  <a:pt x="78" y="154"/>
                  <a:pt x="80" y="154"/>
                </a:cubicBezTo>
                <a:cubicBezTo>
                  <a:pt x="82" y="154"/>
                  <a:pt x="83" y="153"/>
                  <a:pt x="83" y="151"/>
                </a:cubicBezTo>
                <a:cubicBezTo>
                  <a:pt x="83" y="97"/>
                  <a:pt x="83" y="97"/>
                  <a:pt x="83" y="97"/>
                </a:cubicBezTo>
                <a:cubicBezTo>
                  <a:pt x="93" y="95"/>
                  <a:pt x="100" y="87"/>
                  <a:pt x="100" y="77"/>
                </a:cubicBezTo>
                <a:cubicBezTo>
                  <a:pt x="100" y="66"/>
                  <a:pt x="93" y="58"/>
                  <a:pt x="83" y="56"/>
                </a:cubicBezTo>
                <a:close/>
                <a:moveTo>
                  <a:pt x="79" y="91"/>
                </a:moveTo>
                <a:cubicBezTo>
                  <a:pt x="71" y="91"/>
                  <a:pt x="65" y="85"/>
                  <a:pt x="65" y="77"/>
                </a:cubicBezTo>
                <a:cubicBezTo>
                  <a:pt x="65" y="68"/>
                  <a:pt x="71" y="62"/>
                  <a:pt x="79" y="62"/>
                </a:cubicBezTo>
                <a:cubicBezTo>
                  <a:pt x="88" y="62"/>
                  <a:pt x="94" y="68"/>
                  <a:pt x="94" y="77"/>
                </a:cubicBezTo>
                <a:cubicBezTo>
                  <a:pt x="94" y="85"/>
                  <a:pt x="88" y="91"/>
                  <a:pt x="79" y="91"/>
                </a:cubicBezTo>
                <a:close/>
                <a:moveTo>
                  <a:pt x="160" y="20"/>
                </a:moveTo>
                <a:cubicBezTo>
                  <a:pt x="160" y="9"/>
                  <a:pt x="151" y="0"/>
                  <a:pt x="140" y="0"/>
                </a:cubicBezTo>
                <a:cubicBezTo>
                  <a:pt x="129" y="0"/>
                  <a:pt x="120" y="9"/>
                  <a:pt x="120" y="20"/>
                </a:cubicBezTo>
                <a:cubicBezTo>
                  <a:pt x="120" y="30"/>
                  <a:pt x="127" y="38"/>
                  <a:pt x="137" y="40"/>
                </a:cubicBezTo>
                <a:cubicBezTo>
                  <a:pt x="137" y="151"/>
                  <a:pt x="137" y="151"/>
                  <a:pt x="137" y="151"/>
                </a:cubicBezTo>
                <a:cubicBezTo>
                  <a:pt x="137" y="153"/>
                  <a:pt x="138" y="154"/>
                  <a:pt x="140" y="154"/>
                </a:cubicBezTo>
                <a:cubicBezTo>
                  <a:pt x="142" y="154"/>
                  <a:pt x="143" y="153"/>
                  <a:pt x="143" y="151"/>
                </a:cubicBezTo>
                <a:cubicBezTo>
                  <a:pt x="143" y="40"/>
                  <a:pt x="143" y="40"/>
                  <a:pt x="143" y="40"/>
                </a:cubicBezTo>
                <a:cubicBezTo>
                  <a:pt x="153" y="38"/>
                  <a:pt x="160" y="30"/>
                  <a:pt x="160" y="20"/>
                </a:cubicBezTo>
                <a:close/>
                <a:moveTo>
                  <a:pt x="140" y="34"/>
                </a:moveTo>
                <a:cubicBezTo>
                  <a:pt x="132" y="34"/>
                  <a:pt x="126" y="28"/>
                  <a:pt x="126" y="20"/>
                </a:cubicBezTo>
                <a:cubicBezTo>
                  <a:pt x="126" y="12"/>
                  <a:pt x="132" y="6"/>
                  <a:pt x="140" y="6"/>
                </a:cubicBezTo>
                <a:cubicBezTo>
                  <a:pt x="148" y="6"/>
                  <a:pt x="154" y="12"/>
                  <a:pt x="154" y="20"/>
                </a:cubicBezTo>
                <a:cubicBezTo>
                  <a:pt x="154" y="28"/>
                  <a:pt x="148" y="34"/>
                  <a:pt x="140" y="3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1133">
            <a:extLst>
              <a:ext uri="{FF2B5EF4-FFF2-40B4-BE49-F238E27FC236}">
                <a16:creationId xmlns:a16="http://schemas.microsoft.com/office/drawing/2014/main" id="{A5E9D97C-2BFA-E449-A0C4-9499070DD917}"/>
              </a:ext>
            </a:extLst>
          </p:cNvPr>
          <p:cNvSpPr>
            <a:spLocks noEditPoints="1"/>
          </p:cNvSpPr>
          <p:nvPr/>
        </p:nvSpPr>
        <p:spPr bwMode="auto">
          <a:xfrm>
            <a:off x="7292858" y="2222500"/>
            <a:ext cx="495300" cy="550863"/>
          </a:xfrm>
          <a:custGeom>
            <a:avLst/>
            <a:gdLst>
              <a:gd name="T0" fmla="*/ 0 w 145"/>
              <a:gd name="T1" fmla="*/ 26 h 160"/>
              <a:gd name="T2" fmla="*/ 0 w 145"/>
              <a:gd name="T3" fmla="*/ 64 h 160"/>
              <a:gd name="T4" fmla="*/ 0 w 145"/>
              <a:gd name="T5" fmla="*/ 134 h 160"/>
              <a:gd name="T6" fmla="*/ 145 w 145"/>
              <a:gd name="T7" fmla="*/ 134 h 160"/>
              <a:gd name="T8" fmla="*/ 145 w 145"/>
              <a:gd name="T9" fmla="*/ 64 h 160"/>
              <a:gd name="T10" fmla="*/ 145 w 145"/>
              <a:gd name="T11" fmla="*/ 26 h 160"/>
              <a:gd name="T12" fmla="*/ 139 w 145"/>
              <a:gd name="T13" fmla="*/ 101 h 160"/>
              <a:gd name="T14" fmla="*/ 136 w 145"/>
              <a:gd name="T15" fmla="*/ 104 h 160"/>
              <a:gd name="T16" fmla="*/ 131 w 145"/>
              <a:gd name="T17" fmla="*/ 108 h 160"/>
              <a:gd name="T18" fmla="*/ 124 w 145"/>
              <a:gd name="T19" fmla="*/ 111 h 160"/>
              <a:gd name="T20" fmla="*/ 92 w 145"/>
              <a:gd name="T21" fmla="*/ 118 h 160"/>
              <a:gd name="T22" fmla="*/ 73 w 145"/>
              <a:gd name="T23" fmla="*/ 119 h 160"/>
              <a:gd name="T24" fmla="*/ 54 w 145"/>
              <a:gd name="T25" fmla="*/ 118 h 160"/>
              <a:gd name="T26" fmla="*/ 22 w 145"/>
              <a:gd name="T27" fmla="*/ 111 h 160"/>
              <a:gd name="T28" fmla="*/ 15 w 145"/>
              <a:gd name="T29" fmla="*/ 108 h 160"/>
              <a:gd name="T30" fmla="*/ 10 w 145"/>
              <a:gd name="T31" fmla="*/ 104 h 160"/>
              <a:gd name="T32" fmla="*/ 7 w 145"/>
              <a:gd name="T33" fmla="*/ 101 h 160"/>
              <a:gd name="T34" fmla="*/ 6 w 145"/>
              <a:gd name="T35" fmla="*/ 96 h 160"/>
              <a:gd name="T36" fmla="*/ 8 w 145"/>
              <a:gd name="T37" fmla="*/ 75 h 160"/>
              <a:gd name="T38" fmla="*/ 140 w 145"/>
              <a:gd name="T39" fmla="*/ 74 h 160"/>
              <a:gd name="T40" fmla="*/ 139 w 145"/>
              <a:gd name="T41" fmla="*/ 99 h 160"/>
              <a:gd name="T42" fmla="*/ 140 w 145"/>
              <a:gd name="T43" fmla="*/ 63 h 160"/>
              <a:gd name="T44" fmla="*/ 138 w 145"/>
              <a:gd name="T45" fmla="*/ 67 h 160"/>
              <a:gd name="T46" fmla="*/ 134 w 145"/>
              <a:gd name="T47" fmla="*/ 71 h 160"/>
              <a:gd name="T48" fmla="*/ 128 w 145"/>
              <a:gd name="T49" fmla="*/ 74 h 160"/>
              <a:gd name="T50" fmla="*/ 99 w 145"/>
              <a:gd name="T51" fmla="*/ 83 h 160"/>
              <a:gd name="T52" fmla="*/ 87 w 145"/>
              <a:gd name="T53" fmla="*/ 84 h 160"/>
              <a:gd name="T54" fmla="*/ 66 w 145"/>
              <a:gd name="T55" fmla="*/ 84 h 160"/>
              <a:gd name="T56" fmla="*/ 53 w 145"/>
              <a:gd name="T57" fmla="*/ 83 h 160"/>
              <a:gd name="T58" fmla="*/ 21 w 145"/>
              <a:gd name="T59" fmla="*/ 76 h 160"/>
              <a:gd name="T60" fmla="*/ 14 w 145"/>
              <a:gd name="T61" fmla="*/ 73 h 160"/>
              <a:gd name="T62" fmla="*/ 9 w 145"/>
              <a:gd name="T63" fmla="*/ 69 h 160"/>
              <a:gd name="T64" fmla="*/ 6 w 145"/>
              <a:gd name="T65" fmla="*/ 65 h 160"/>
              <a:gd name="T66" fmla="*/ 6 w 145"/>
              <a:gd name="T67" fmla="*/ 60 h 160"/>
              <a:gd name="T68" fmla="*/ 10 w 145"/>
              <a:gd name="T69" fmla="*/ 42 h 160"/>
              <a:gd name="T70" fmla="*/ 18 w 145"/>
              <a:gd name="T71" fmla="*/ 46 h 160"/>
              <a:gd name="T72" fmla="*/ 28 w 145"/>
              <a:gd name="T73" fmla="*/ 50 h 160"/>
              <a:gd name="T74" fmla="*/ 41 w 145"/>
              <a:gd name="T75" fmla="*/ 53 h 160"/>
              <a:gd name="T76" fmla="*/ 56 w 145"/>
              <a:gd name="T77" fmla="*/ 55 h 160"/>
              <a:gd name="T78" fmla="*/ 73 w 145"/>
              <a:gd name="T79" fmla="*/ 55 h 160"/>
              <a:gd name="T80" fmla="*/ 90 w 145"/>
              <a:gd name="T81" fmla="*/ 55 h 160"/>
              <a:gd name="T82" fmla="*/ 105 w 145"/>
              <a:gd name="T83" fmla="*/ 53 h 160"/>
              <a:gd name="T84" fmla="*/ 117 w 145"/>
              <a:gd name="T85" fmla="*/ 50 h 160"/>
              <a:gd name="T86" fmla="*/ 127 w 145"/>
              <a:gd name="T87" fmla="*/ 46 h 160"/>
              <a:gd name="T88" fmla="*/ 135 w 145"/>
              <a:gd name="T89" fmla="*/ 42 h 160"/>
              <a:gd name="T90" fmla="*/ 73 w 145"/>
              <a:gd name="T91" fmla="*/ 6 h 160"/>
              <a:gd name="T92" fmla="*/ 73 w 145"/>
              <a:gd name="T93" fmla="*/ 6 h 160"/>
              <a:gd name="T94" fmla="*/ 6 w 145"/>
              <a:gd name="T95" fmla="*/ 133 h 160"/>
              <a:gd name="T96" fmla="*/ 8 w 145"/>
              <a:gd name="T97" fmla="*/ 110 h 160"/>
              <a:gd name="T98" fmla="*/ 140 w 145"/>
              <a:gd name="T99" fmla="*/ 10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 h="160">
                <a:moveTo>
                  <a:pt x="145" y="25"/>
                </a:moveTo>
                <a:cubicBezTo>
                  <a:pt x="142" y="12"/>
                  <a:pt x="117" y="0"/>
                  <a:pt x="73" y="0"/>
                </a:cubicBezTo>
                <a:cubicBezTo>
                  <a:pt x="29" y="0"/>
                  <a:pt x="4" y="12"/>
                  <a:pt x="0" y="25"/>
                </a:cubicBezTo>
                <a:cubicBezTo>
                  <a:pt x="0" y="25"/>
                  <a:pt x="0" y="26"/>
                  <a:pt x="0" y="26"/>
                </a:cubicBezTo>
                <a:cubicBezTo>
                  <a:pt x="0" y="28"/>
                  <a:pt x="0" y="28"/>
                  <a:pt x="0" y="28"/>
                </a:cubicBezTo>
                <a:cubicBezTo>
                  <a:pt x="0" y="61"/>
                  <a:pt x="0" y="61"/>
                  <a:pt x="0" y="61"/>
                </a:cubicBezTo>
                <a:cubicBezTo>
                  <a:pt x="0" y="63"/>
                  <a:pt x="0" y="63"/>
                  <a:pt x="0" y="63"/>
                </a:cubicBezTo>
                <a:cubicBezTo>
                  <a:pt x="0" y="64"/>
                  <a:pt x="0" y="64"/>
                  <a:pt x="0" y="64"/>
                </a:cubicBezTo>
                <a:cubicBezTo>
                  <a:pt x="0" y="96"/>
                  <a:pt x="0" y="96"/>
                  <a:pt x="0" y="96"/>
                </a:cubicBezTo>
                <a:cubicBezTo>
                  <a:pt x="0" y="97"/>
                  <a:pt x="0" y="97"/>
                  <a:pt x="0" y="97"/>
                </a:cubicBezTo>
                <a:cubicBezTo>
                  <a:pt x="0" y="99"/>
                  <a:pt x="0" y="99"/>
                  <a:pt x="0" y="99"/>
                </a:cubicBezTo>
                <a:cubicBezTo>
                  <a:pt x="0" y="134"/>
                  <a:pt x="0" y="134"/>
                  <a:pt x="0" y="134"/>
                </a:cubicBezTo>
                <a:cubicBezTo>
                  <a:pt x="0" y="134"/>
                  <a:pt x="0" y="135"/>
                  <a:pt x="0" y="135"/>
                </a:cubicBezTo>
                <a:cubicBezTo>
                  <a:pt x="4" y="149"/>
                  <a:pt x="35" y="160"/>
                  <a:pt x="73" y="160"/>
                </a:cubicBezTo>
                <a:cubicBezTo>
                  <a:pt x="111" y="160"/>
                  <a:pt x="142" y="149"/>
                  <a:pt x="145" y="135"/>
                </a:cubicBezTo>
                <a:cubicBezTo>
                  <a:pt x="145" y="135"/>
                  <a:pt x="145" y="134"/>
                  <a:pt x="145" y="134"/>
                </a:cubicBezTo>
                <a:cubicBezTo>
                  <a:pt x="145" y="99"/>
                  <a:pt x="145" y="99"/>
                  <a:pt x="145" y="99"/>
                </a:cubicBezTo>
                <a:cubicBezTo>
                  <a:pt x="145" y="97"/>
                  <a:pt x="145" y="97"/>
                  <a:pt x="145" y="97"/>
                </a:cubicBezTo>
                <a:cubicBezTo>
                  <a:pt x="145" y="96"/>
                  <a:pt x="145" y="96"/>
                  <a:pt x="145" y="96"/>
                </a:cubicBezTo>
                <a:cubicBezTo>
                  <a:pt x="145" y="64"/>
                  <a:pt x="145" y="64"/>
                  <a:pt x="145" y="64"/>
                </a:cubicBezTo>
                <a:cubicBezTo>
                  <a:pt x="145" y="63"/>
                  <a:pt x="145" y="63"/>
                  <a:pt x="145" y="63"/>
                </a:cubicBezTo>
                <a:cubicBezTo>
                  <a:pt x="145" y="61"/>
                  <a:pt x="145" y="61"/>
                  <a:pt x="145" y="61"/>
                </a:cubicBezTo>
                <a:cubicBezTo>
                  <a:pt x="145" y="28"/>
                  <a:pt x="145" y="28"/>
                  <a:pt x="145" y="28"/>
                </a:cubicBezTo>
                <a:cubicBezTo>
                  <a:pt x="145" y="26"/>
                  <a:pt x="145" y="26"/>
                  <a:pt x="145" y="26"/>
                </a:cubicBezTo>
                <a:cubicBezTo>
                  <a:pt x="145" y="26"/>
                  <a:pt x="145" y="25"/>
                  <a:pt x="145" y="25"/>
                </a:cubicBezTo>
                <a:close/>
                <a:moveTo>
                  <a:pt x="139" y="99"/>
                </a:moveTo>
                <a:cubicBezTo>
                  <a:pt x="139" y="99"/>
                  <a:pt x="139" y="100"/>
                  <a:pt x="139" y="100"/>
                </a:cubicBezTo>
                <a:cubicBezTo>
                  <a:pt x="139" y="100"/>
                  <a:pt x="139" y="101"/>
                  <a:pt x="139" y="101"/>
                </a:cubicBezTo>
                <a:cubicBezTo>
                  <a:pt x="138" y="101"/>
                  <a:pt x="138" y="102"/>
                  <a:pt x="138" y="102"/>
                </a:cubicBezTo>
                <a:cubicBezTo>
                  <a:pt x="138" y="102"/>
                  <a:pt x="138" y="102"/>
                  <a:pt x="137" y="103"/>
                </a:cubicBezTo>
                <a:cubicBezTo>
                  <a:pt x="137" y="103"/>
                  <a:pt x="137" y="103"/>
                  <a:pt x="136" y="104"/>
                </a:cubicBezTo>
                <a:cubicBezTo>
                  <a:pt x="136" y="104"/>
                  <a:pt x="136" y="104"/>
                  <a:pt x="136" y="104"/>
                </a:cubicBezTo>
                <a:cubicBezTo>
                  <a:pt x="135" y="105"/>
                  <a:pt x="135" y="105"/>
                  <a:pt x="134" y="106"/>
                </a:cubicBezTo>
                <a:cubicBezTo>
                  <a:pt x="134" y="106"/>
                  <a:pt x="134" y="106"/>
                  <a:pt x="133" y="106"/>
                </a:cubicBezTo>
                <a:cubicBezTo>
                  <a:pt x="133" y="107"/>
                  <a:pt x="132" y="107"/>
                  <a:pt x="131" y="108"/>
                </a:cubicBezTo>
                <a:cubicBezTo>
                  <a:pt x="131" y="108"/>
                  <a:pt x="131" y="108"/>
                  <a:pt x="131" y="108"/>
                </a:cubicBezTo>
                <a:cubicBezTo>
                  <a:pt x="130" y="108"/>
                  <a:pt x="129" y="109"/>
                  <a:pt x="128" y="109"/>
                </a:cubicBezTo>
                <a:cubicBezTo>
                  <a:pt x="128" y="109"/>
                  <a:pt x="128" y="110"/>
                  <a:pt x="127" y="110"/>
                </a:cubicBezTo>
                <a:cubicBezTo>
                  <a:pt x="126" y="110"/>
                  <a:pt x="125" y="111"/>
                  <a:pt x="124" y="111"/>
                </a:cubicBezTo>
                <a:cubicBezTo>
                  <a:pt x="124" y="111"/>
                  <a:pt x="124" y="111"/>
                  <a:pt x="124" y="111"/>
                </a:cubicBezTo>
                <a:cubicBezTo>
                  <a:pt x="117" y="114"/>
                  <a:pt x="109" y="116"/>
                  <a:pt x="99" y="117"/>
                </a:cubicBezTo>
                <a:cubicBezTo>
                  <a:pt x="99" y="117"/>
                  <a:pt x="99" y="117"/>
                  <a:pt x="99" y="117"/>
                </a:cubicBezTo>
                <a:cubicBezTo>
                  <a:pt x="97" y="118"/>
                  <a:pt x="95" y="118"/>
                  <a:pt x="93" y="118"/>
                </a:cubicBezTo>
                <a:cubicBezTo>
                  <a:pt x="93" y="118"/>
                  <a:pt x="92" y="118"/>
                  <a:pt x="92" y="118"/>
                </a:cubicBezTo>
                <a:cubicBezTo>
                  <a:pt x="90" y="118"/>
                  <a:pt x="88" y="119"/>
                  <a:pt x="87" y="119"/>
                </a:cubicBezTo>
                <a:cubicBezTo>
                  <a:pt x="86" y="119"/>
                  <a:pt x="85" y="119"/>
                  <a:pt x="84" y="119"/>
                </a:cubicBezTo>
                <a:cubicBezTo>
                  <a:pt x="83" y="119"/>
                  <a:pt x="81" y="119"/>
                  <a:pt x="80" y="119"/>
                </a:cubicBezTo>
                <a:cubicBezTo>
                  <a:pt x="77" y="119"/>
                  <a:pt x="75" y="119"/>
                  <a:pt x="73" y="119"/>
                </a:cubicBezTo>
                <a:cubicBezTo>
                  <a:pt x="70" y="119"/>
                  <a:pt x="68" y="119"/>
                  <a:pt x="66" y="119"/>
                </a:cubicBezTo>
                <a:cubicBezTo>
                  <a:pt x="64" y="119"/>
                  <a:pt x="63" y="119"/>
                  <a:pt x="61" y="119"/>
                </a:cubicBezTo>
                <a:cubicBezTo>
                  <a:pt x="61" y="119"/>
                  <a:pt x="60" y="119"/>
                  <a:pt x="59" y="119"/>
                </a:cubicBezTo>
                <a:cubicBezTo>
                  <a:pt x="57" y="119"/>
                  <a:pt x="55" y="118"/>
                  <a:pt x="54" y="118"/>
                </a:cubicBezTo>
                <a:cubicBezTo>
                  <a:pt x="53" y="118"/>
                  <a:pt x="53" y="118"/>
                  <a:pt x="53" y="118"/>
                </a:cubicBezTo>
                <a:cubicBezTo>
                  <a:pt x="51" y="118"/>
                  <a:pt x="49" y="118"/>
                  <a:pt x="47" y="117"/>
                </a:cubicBezTo>
                <a:cubicBezTo>
                  <a:pt x="47" y="117"/>
                  <a:pt x="47" y="117"/>
                  <a:pt x="47" y="117"/>
                </a:cubicBezTo>
                <a:cubicBezTo>
                  <a:pt x="37" y="116"/>
                  <a:pt x="28" y="114"/>
                  <a:pt x="22" y="111"/>
                </a:cubicBezTo>
                <a:cubicBezTo>
                  <a:pt x="22" y="111"/>
                  <a:pt x="22" y="111"/>
                  <a:pt x="21" y="111"/>
                </a:cubicBezTo>
                <a:cubicBezTo>
                  <a:pt x="20" y="111"/>
                  <a:pt x="19" y="110"/>
                  <a:pt x="18" y="110"/>
                </a:cubicBezTo>
                <a:cubicBezTo>
                  <a:pt x="18" y="110"/>
                  <a:pt x="18" y="109"/>
                  <a:pt x="18" y="109"/>
                </a:cubicBezTo>
                <a:cubicBezTo>
                  <a:pt x="17" y="109"/>
                  <a:pt x="16" y="108"/>
                  <a:pt x="15" y="108"/>
                </a:cubicBezTo>
                <a:cubicBezTo>
                  <a:pt x="15" y="108"/>
                  <a:pt x="14" y="108"/>
                  <a:pt x="14" y="108"/>
                </a:cubicBezTo>
                <a:cubicBezTo>
                  <a:pt x="14" y="107"/>
                  <a:pt x="13" y="107"/>
                  <a:pt x="12" y="106"/>
                </a:cubicBezTo>
                <a:cubicBezTo>
                  <a:pt x="12" y="106"/>
                  <a:pt x="12" y="106"/>
                  <a:pt x="11" y="106"/>
                </a:cubicBezTo>
                <a:cubicBezTo>
                  <a:pt x="11" y="105"/>
                  <a:pt x="10" y="105"/>
                  <a:pt x="10" y="104"/>
                </a:cubicBezTo>
                <a:cubicBezTo>
                  <a:pt x="10" y="104"/>
                  <a:pt x="9" y="104"/>
                  <a:pt x="9" y="104"/>
                </a:cubicBezTo>
                <a:cubicBezTo>
                  <a:pt x="9" y="103"/>
                  <a:pt x="8" y="103"/>
                  <a:pt x="8" y="103"/>
                </a:cubicBezTo>
                <a:cubicBezTo>
                  <a:pt x="8" y="102"/>
                  <a:pt x="8" y="102"/>
                  <a:pt x="7" y="102"/>
                </a:cubicBezTo>
                <a:cubicBezTo>
                  <a:pt x="7" y="101"/>
                  <a:pt x="7" y="101"/>
                  <a:pt x="7" y="101"/>
                </a:cubicBezTo>
                <a:cubicBezTo>
                  <a:pt x="7" y="100"/>
                  <a:pt x="7" y="100"/>
                  <a:pt x="6" y="100"/>
                </a:cubicBezTo>
                <a:cubicBezTo>
                  <a:pt x="6" y="100"/>
                  <a:pt x="6" y="99"/>
                  <a:pt x="6" y="99"/>
                </a:cubicBezTo>
                <a:cubicBezTo>
                  <a:pt x="6" y="98"/>
                  <a:pt x="6" y="98"/>
                  <a:pt x="6" y="97"/>
                </a:cubicBezTo>
                <a:cubicBezTo>
                  <a:pt x="6" y="97"/>
                  <a:pt x="6" y="97"/>
                  <a:pt x="6" y="96"/>
                </a:cubicBezTo>
                <a:cubicBezTo>
                  <a:pt x="6" y="96"/>
                  <a:pt x="6" y="96"/>
                  <a:pt x="6" y="95"/>
                </a:cubicBezTo>
                <a:cubicBezTo>
                  <a:pt x="6" y="74"/>
                  <a:pt x="6" y="74"/>
                  <a:pt x="6" y="74"/>
                </a:cubicBezTo>
                <a:cubicBezTo>
                  <a:pt x="6" y="74"/>
                  <a:pt x="6" y="74"/>
                  <a:pt x="6" y="74"/>
                </a:cubicBezTo>
                <a:cubicBezTo>
                  <a:pt x="7" y="74"/>
                  <a:pt x="7" y="75"/>
                  <a:pt x="8" y="75"/>
                </a:cubicBezTo>
                <a:cubicBezTo>
                  <a:pt x="19" y="84"/>
                  <a:pt x="41" y="90"/>
                  <a:pt x="73" y="90"/>
                </a:cubicBezTo>
                <a:cubicBezTo>
                  <a:pt x="104" y="90"/>
                  <a:pt x="126" y="84"/>
                  <a:pt x="137" y="76"/>
                </a:cubicBezTo>
                <a:cubicBezTo>
                  <a:pt x="138" y="75"/>
                  <a:pt x="139" y="74"/>
                  <a:pt x="140" y="74"/>
                </a:cubicBezTo>
                <a:cubicBezTo>
                  <a:pt x="140" y="74"/>
                  <a:pt x="140" y="74"/>
                  <a:pt x="140" y="74"/>
                </a:cubicBezTo>
                <a:cubicBezTo>
                  <a:pt x="140" y="95"/>
                  <a:pt x="140" y="95"/>
                  <a:pt x="140" y="95"/>
                </a:cubicBezTo>
                <a:cubicBezTo>
                  <a:pt x="140" y="96"/>
                  <a:pt x="139" y="96"/>
                  <a:pt x="140" y="96"/>
                </a:cubicBezTo>
                <a:cubicBezTo>
                  <a:pt x="140" y="97"/>
                  <a:pt x="140" y="97"/>
                  <a:pt x="140" y="97"/>
                </a:cubicBezTo>
                <a:cubicBezTo>
                  <a:pt x="140" y="98"/>
                  <a:pt x="140" y="98"/>
                  <a:pt x="139" y="99"/>
                </a:cubicBezTo>
                <a:close/>
                <a:moveTo>
                  <a:pt x="140" y="39"/>
                </a:moveTo>
                <a:cubicBezTo>
                  <a:pt x="140" y="60"/>
                  <a:pt x="140" y="60"/>
                  <a:pt x="140" y="60"/>
                </a:cubicBezTo>
                <a:cubicBezTo>
                  <a:pt x="140" y="61"/>
                  <a:pt x="139" y="61"/>
                  <a:pt x="140" y="62"/>
                </a:cubicBezTo>
                <a:cubicBezTo>
                  <a:pt x="140" y="62"/>
                  <a:pt x="140" y="62"/>
                  <a:pt x="140" y="63"/>
                </a:cubicBezTo>
                <a:cubicBezTo>
                  <a:pt x="140" y="63"/>
                  <a:pt x="140" y="63"/>
                  <a:pt x="139" y="64"/>
                </a:cubicBezTo>
                <a:cubicBezTo>
                  <a:pt x="139" y="64"/>
                  <a:pt x="139" y="65"/>
                  <a:pt x="139" y="65"/>
                </a:cubicBezTo>
                <a:cubicBezTo>
                  <a:pt x="139" y="65"/>
                  <a:pt x="139" y="66"/>
                  <a:pt x="139" y="66"/>
                </a:cubicBezTo>
                <a:cubicBezTo>
                  <a:pt x="138" y="66"/>
                  <a:pt x="138" y="67"/>
                  <a:pt x="138" y="67"/>
                </a:cubicBezTo>
                <a:cubicBezTo>
                  <a:pt x="138" y="67"/>
                  <a:pt x="138" y="67"/>
                  <a:pt x="137" y="68"/>
                </a:cubicBezTo>
                <a:cubicBezTo>
                  <a:pt x="137" y="68"/>
                  <a:pt x="137" y="69"/>
                  <a:pt x="136" y="69"/>
                </a:cubicBezTo>
                <a:cubicBezTo>
                  <a:pt x="136" y="69"/>
                  <a:pt x="136" y="69"/>
                  <a:pt x="136" y="70"/>
                </a:cubicBezTo>
                <a:cubicBezTo>
                  <a:pt x="135" y="70"/>
                  <a:pt x="135" y="70"/>
                  <a:pt x="134" y="71"/>
                </a:cubicBezTo>
                <a:cubicBezTo>
                  <a:pt x="134" y="71"/>
                  <a:pt x="134" y="71"/>
                  <a:pt x="133" y="71"/>
                </a:cubicBezTo>
                <a:cubicBezTo>
                  <a:pt x="133" y="72"/>
                  <a:pt x="132" y="72"/>
                  <a:pt x="131" y="73"/>
                </a:cubicBezTo>
                <a:cubicBezTo>
                  <a:pt x="131" y="73"/>
                  <a:pt x="131" y="73"/>
                  <a:pt x="131" y="73"/>
                </a:cubicBezTo>
                <a:cubicBezTo>
                  <a:pt x="130" y="74"/>
                  <a:pt x="129" y="74"/>
                  <a:pt x="128" y="74"/>
                </a:cubicBezTo>
                <a:cubicBezTo>
                  <a:pt x="128" y="75"/>
                  <a:pt x="128" y="75"/>
                  <a:pt x="127" y="75"/>
                </a:cubicBezTo>
                <a:cubicBezTo>
                  <a:pt x="126" y="75"/>
                  <a:pt x="125" y="76"/>
                  <a:pt x="124" y="76"/>
                </a:cubicBezTo>
                <a:cubicBezTo>
                  <a:pt x="124" y="76"/>
                  <a:pt x="124" y="76"/>
                  <a:pt x="124" y="76"/>
                </a:cubicBezTo>
                <a:cubicBezTo>
                  <a:pt x="117" y="79"/>
                  <a:pt x="109" y="81"/>
                  <a:pt x="99" y="83"/>
                </a:cubicBezTo>
                <a:cubicBezTo>
                  <a:pt x="99" y="83"/>
                  <a:pt x="99" y="83"/>
                  <a:pt x="99" y="83"/>
                </a:cubicBezTo>
                <a:cubicBezTo>
                  <a:pt x="97" y="83"/>
                  <a:pt x="95" y="83"/>
                  <a:pt x="93" y="83"/>
                </a:cubicBezTo>
                <a:cubicBezTo>
                  <a:pt x="93" y="83"/>
                  <a:pt x="92" y="83"/>
                  <a:pt x="92" y="83"/>
                </a:cubicBezTo>
                <a:cubicBezTo>
                  <a:pt x="90" y="84"/>
                  <a:pt x="88" y="84"/>
                  <a:pt x="87" y="84"/>
                </a:cubicBezTo>
                <a:cubicBezTo>
                  <a:pt x="86" y="84"/>
                  <a:pt x="85" y="84"/>
                  <a:pt x="84" y="84"/>
                </a:cubicBezTo>
                <a:cubicBezTo>
                  <a:pt x="83" y="84"/>
                  <a:pt x="81" y="84"/>
                  <a:pt x="80" y="84"/>
                </a:cubicBezTo>
                <a:cubicBezTo>
                  <a:pt x="77" y="84"/>
                  <a:pt x="75" y="84"/>
                  <a:pt x="73" y="84"/>
                </a:cubicBezTo>
                <a:cubicBezTo>
                  <a:pt x="70" y="84"/>
                  <a:pt x="68" y="84"/>
                  <a:pt x="66" y="84"/>
                </a:cubicBezTo>
                <a:cubicBezTo>
                  <a:pt x="64" y="84"/>
                  <a:pt x="63" y="84"/>
                  <a:pt x="61" y="84"/>
                </a:cubicBezTo>
                <a:cubicBezTo>
                  <a:pt x="61" y="84"/>
                  <a:pt x="60" y="84"/>
                  <a:pt x="59" y="84"/>
                </a:cubicBezTo>
                <a:cubicBezTo>
                  <a:pt x="57" y="84"/>
                  <a:pt x="55" y="84"/>
                  <a:pt x="54" y="83"/>
                </a:cubicBezTo>
                <a:cubicBezTo>
                  <a:pt x="53" y="83"/>
                  <a:pt x="53" y="83"/>
                  <a:pt x="53" y="83"/>
                </a:cubicBezTo>
                <a:cubicBezTo>
                  <a:pt x="51" y="83"/>
                  <a:pt x="49" y="83"/>
                  <a:pt x="47" y="83"/>
                </a:cubicBezTo>
                <a:cubicBezTo>
                  <a:pt x="47" y="83"/>
                  <a:pt x="47" y="83"/>
                  <a:pt x="47" y="83"/>
                </a:cubicBezTo>
                <a:cubicBezTo>
                  <a:pt x="37" y="81"/>
                  <a:pt x="28" y="79"/>
                  <a:pt x="22" y="76"/>
                </a:cubicBezTo>
                <a:cubicBezTo>
                  <a:pt x="22" y="76"/>
                  <a:pt x="22" y="76"/>
                  <a:pt x="21" y="76"/>
                </a:cubicBezTo>
                <a:cubicBezTo>
                  <a:pt x="20" y="76"/>
                  <a:pt x="19" y="75"/>
                  <a:pt x="18" y="75"/>
                </a:cubicBezTo>
                <a:cubicBezTo>
                  <a:pt x="18" y="75"/>
                  <a:pt x="18" y="75"/>
                  <a:pt x="18" y="74"/>
                </a:cubicBezTo>
                <a:cubicBezTo>
                  <a:pt x="17" y="74"/>
                  <a:pt x="16" y="74"/>
                  <a:pt x="15" y="73"/>
                </a:cubicBezTo>
                <a:cubicBezTo>
                  <a:pt x="15" y="73"/>
                  <a:pt x="14" y="73"/>
                  <a:pt x="14" y="73"/>
                </a:cubicBezTo>
                <a:cubicBezTo>
                  <a:pt x="14" y="72"/>
                  <a:pt x="13" y="72"/>
                  <a:pt x="12" y="71"/>
                </a:cubicBezTo>
                <a:cubicBezTo>
                  <a:pt x="12" y="71"/>
                  <a:pt x="12" y="71"/>
                  <a:pt x="11" y="71"/>
                </a:cubicBezTo>
                <a:cubicBezTo>
                  <a:pt x="11" y="70"/>
                  <a:pt x="10" y="70"/>
                  <a:pt x="10" y="70"/>
                </a:cubicBezTo>
                <a:cubicBezTo>
                  <a:pt x="10" y="69"/>
                  <a:pt x="9" y="69"/>
                  <a:pt x="9" y="69"/>
                </a:cubicBezTo>
                <a:cubicBezTo>
                  <a:pt x="9" y="69"/>
                  <a:pt x="8" y="68"/>
                  <a:pt x="8" y="68"/>
                </a:cubicBezTo>
                <a:cubicBezTo>
                  <a:pt x="8" y="67"/>
                  <a:pt x="8" y="67"/>
                  <a:pt x="7" y="67"/>
                </a:cubicBezTo>
                <a:cubicBezTo>
                  <a:pt x="7" y="67"/>
                  <a:pt x="7" y="66"/>
                  <a:pt x="7" y="66"/>
                </a:cubicBezTo>
                <a:cubicBezTo>
                  <a:pt x="7" y="66"/>
                  <a:pt x="7" y="65"/>
                  <a:pt x="6" y="65"/>
                </a:cubicBezTo>
                <a:cubicBezTo>
                  <a:pt x="6" y="65"/>
                  <a:pt x="6" y="64"/>
                  <a:pt x="6" y="64"/>
                </a:cubicBezTo>
                <a:cubicBezTo>
                  <a:pt x="6" y="63"/>
                  <a:pt x="6" y="63"/>
                  <a:pt x="6" y="63"/>
                </a:cubicBezTo>
                <a:cubicBezTo>
                  <a:pt x="6" y="62"/>
                  <a:pt x="6" y="62"/>
                  <a:pt x="6" y="62"/>
                </a:cubicBezTo>
                <a:cubicBezTo>
                  <a:pt x="6" y="61"/>
                  <a:pt x="6" y="61"/>
                  <a:pt x="6" y="60"/>
                </a:cubicBezTo>
                <a:cubicBezTo>
                  <a:pt x="6" y="39"/>
                  <a:pt x="6" y="39"/>
                  <a:pt x="6" y="39"/>
                </a:cubicBezTo>
                <a:cubicBezTo>
                  <a:pt x="6" y="39"/>
                  <a:pt x="7" y="39"/>
                  <a:pt x="7" y="40"/>
                </a:cubicBezTo>
                <a:cubicBezTo>
                  <a:pt x="7" y="40"/>
                  <a:pt x="7" y="40"/>
                  <a:pt x="8" y="40"/>
                </a:cubicBezTo>
                <a:cubicBezTo>
                  <a:pt x="8" y="41"/>
                  <a:pt x="9" y="42"/>
                  <a:pt x="10" y="42"/>
                </a:cubicBezTo>
                <a:cubicBezTo>
                  <a:pt x="11" y="42"/>
                  <a:pt x="11" y="42"/>
                  <a:pt x="11" y="43"/>
                </a:cubicBezTo>
                <a:cubicBezTo>
                  <a:pt x="12" y="43"/>
                  <a:pt x="13" y="44"/>
                  <a:pt x="14" y="44"/>
                </a:cubicBezTo>
                <a:cubicBezTo>
                  <a:pt x="14" y="44"/>
                  <a:pt x="14" y="45"/>
                  <a:pt x="15" y="45"/>
                </a:cubicBezTo>
                <a:cubicBezTo>
                  <a:pt x="16" y="45"/>
                  <a:pt x="17" y="46"/>
                  <a:pt x="18" y="46"/>
                </a:cubicBezTo>
                <a:cubicBezTo>
                  <a:pt x="18" y="46"/>
                  <a:pt x="19" y="46"/>
                  <a:pt x="19" y="47"/>
                </a:cubicBezTo>
                <a:cubicBezTo>
                  <a:pt x="20" y="47"/>
                  <a:pt x="22" y="48"/>
                  <a:pt x="23" y="48"/>
                </a:cubicBezTo>
                <a:cubicBezTo>
                  <a:pt x="24" y="48"/>
                  <a:pt x="24" y="48"/>
                  <a:pt x="24" y="49"/>
                </a:cubicBezTo>
                <a:cubicBezTo>
                  <a:pt x="26" y="49"/>
                  <a:pt x="27" y="49"/>
                  <a:pt x="28" y="50"/>
                </a:cubicBezTo>
                <a:cubicBezTo>
                  <a:pt x="29" y="50"/>
                  <a:pt x="29" y="50"/>
                  <a:pt x="29" y="50"/>
                </a:cubicBezTo>
                <a:cubicBezTo>
                  <a:pt x="31" y="51"/>
                  <a:pt x="33" y="51"/>
                  <a:pt x="35" y="52"/>
                </a:cubicBezTo>
                <a:cubicBezTo>
                  <a:pt x="35" y="52"/>
                  <a:pt x="35" y="52"/>
                  <a:pt x="36" y="52"/>
                </a:cubicBezTo>
                <a:cubicBezTo>
                  <a:pt x="37" y="52"/>
                  <a:pt x="39" y="52"/>
                  <a:pt x="41" y="53"/>
                </a:cubicBezTo>
                <a:cubicBezTo>
                  <a:pt x="41" y="53"/>
                  <a:pt x="42" y="53"/>
                  <a:pt x="42" y="53"/>
                </a:cubicBezTo>
                <a:cubicBezTo>
                  <a:pt x="44" y="53"/>
                  <a:pt x="46" y="53"/>
                  <a:pt x="47" y="54"/>
                </a:cubicBezTo>
                <a:cubicBezTo>
                  <a:pt x="48" y="54"/>
                  <a:pt x="48" y="54"/>
                  <a:pt x="49" y="54"/>
                </a:cubicBezTo>
                <a:cubicBezTo>
                  <a:pt x="51" y="54"/>
                  <a:pt x="53" y="54"/>
                  <a:pt x="56" y="55"/>
                </a:cubicBezTo>
                <a:cubicBezTo>
                  <a:pt x="56" y="55"/>
                  <a:pt x="57" y="55"/>
                  <a:pt x="57" y="55"/>
                </a:cubicBezTo>
                <a:cubicBezTo>
                  <a:pt x="59" y="55"/>
                  <a:pt x="61" y="55"/>
                  <a:pt x="63" y="55"/>
                </a:cubicBezTo>
                <a:cubicBezTo>
                  <a:pt x="64" y="55"/>
                  <a:pt x="64" y="55"/>
                  <a:pt x="65" y="55"/>
                </a:cubicBezTo>
                <a:cubicBezTo>
                  <a:pt x="68" y="55"/>
                  <a:pt x="70" y="55"/>
                  <a:pt x="73" y="55"/>
                </a:cubicBezTo>
                <a:cubicBezTo>
                  <a:pt x="75" y="55"/>
                  <a:pt x="78" y="55"/>
                  <a:pt x="80" y="55"/>
                </a:cubicBezTo>
                <a:cubicBezTo>
                  <a:pt x="81" y="55"/>
                  <a:pt x="82" y="55"/>
                  <a:pt x="83" y="55"/>
                </a:cubicBezTo>
                <a:cubicBezTo>
                  <a:pt x="84" y="55"/>
                  <a:pt x="86" y="55"/>
                  <a:pt x="88" y="55"/>
                </a:cubicBezTo>
                <a:cubicBezTo>
                  <a:pt x="89" y="55"/>
                  <a:pt x="89" y="55"/>
                  <a:pt x="90" y="55"/>
                </a:cubicBezTo>
                <a:cubicBezTo>
                  <a:pt x="92" y="54"/>
                  <a:pt x="94" y="54"/>
                  <a:pt x="97" y="54"/>
                </a:cubicBezTo>
                <a:cubicBezTo>
                  <a:pt x="97" y="54"/>
                  <a:pt x="98" y="54"/>
                  <a:pt x="98" y="54"/>
                </a:cubicBezTo>
                <a:cubicBezTo>
                  <a:pt x="100" y="53"/>
                  <a:pt x="101" y="53"/>
                  <a:pt x="103" y="53"/>
                </a:cubicBezTo>
                <a:cubicBezTo>
                  <a:pt x="104" y="53"/>
                  <a:pt x="104" y="53"/>
                  <a:pt x="105" y="53"/>
                </a:cubicBezTo>
                <a:cubicBezTo>
                  <a:pt x="107" y="52"/>
                  <a:pt x="108" y="52"/>
                  <a:pt x="110" y="52"/>
                </a:cubicBezTo>
                <a:cubicBezTo>
                  <a:pt x="110" y="52"/>
                  <a:pt x="110" y="52"/>
                  <a:pt x="111" y="52"/>
                </a:cubicBezTo>
                <a:cubicBezTo>
                  <a:pt x="113" y="51"/>
                  <a:pt x="114" y="51"/>
                  <a:pt x="116" y="50"/>
                </a:cubicBezTo>
                <a:cubicBezTo>
                  <a:pt x="116" y="50"/>
                  <a:pt x="117" y="50"/>
                  <a:pt x="117" y="50"/>
                </a:cubicBezTo>
                <a:cubicBezTo>
                  <a:pt x="119" y="49"/>
                  <a:pt x="120" y="49"/>
                  <a:pt x="121" y="49"/>
                </a:cubicBezTo>
                <a:cubicBezTo>
                  <a:pt x="122" y="48"/>
                  <a:pt x="122" y="48"/>
                  <a:pt x="122" y="48"/>
                </a:cubicBezTo>
                <a:cubicBezTo>
                  <a:pt x="124" y="48"/>
                  <a:pt x="125" y="47"/>
                  <a:pt x="127" y="47"/>
                </a:cubicBezTo>
                <a:cubicBezTo>
                  <a:pt x="127" y="46"/>
                  <a:pt x="127" y="46"/>
                  <a:pt x="127" y="46"/>
                </a:cubicBezTo>
                <a:cubicBezTo>
                  <a:pt x="128" y="46"/>
                  <a:pt x="130" y="45"/>
                  <a:pt x="131" y="45"/>
                </a:cubicBezTo>
                <a:cubicBezTo>
                  <a:pt x="131" y="45"/>
                  <a:pt x="131" y="44"/>
                  <a:pt x="132" y="44"/>
                </a:cubicBezTo>
                <a:cubicBezTo>
                  <a:pt x="133" y="44"/>
                  <a:pt x="134" y="43"/>
                  <a:pt x="134" y="43"/>
                </a:cubicBezTo>
                <a:cubicBezTo>
                  <a:pt x="135" y="42"/>
                  <a:pt x="135" y="42"/>
                  <a:pt x="135" y="42"/>
                </a:cubicBezTo>
                <a:cubicBezTo>
                  <a:pt x="136" y="42"/>
                  <a:pt x="137" y="41"/>
                  <a:pt x="138" y="40"/>
                </a:cubicBezTo>
                <a:cubicBezTo>
                  <a:pt x="138" y="40"/>
                  <a:pt x="138" y="40"/>
                  <a:pt x="139" y="40"/>
                </a:cubicBezTo>
                <a:cubicBezTo>
                  <a:pt x="139" y="39"/>
                  <a:pt x="139" y="39"/>
                  <a:pt x="140" y="39"/>
                </a:cubicBezTo>
                <a:close/>
                <a:moveTo>
                  <a:pt x="73" y="6"/>
                </a:moveTo>
                <a:cubicBezTo>
                  <a:pt x="112" y="6"/>
                  <a:pt x="140" y="17"/>
                  <a:pt x="140" y="28"/>
                </a:cubicBezTo>
                <a:cubicBezTo>
                  <a:pt x="140" y="38"/>
                  <a:pt x="112" y="49"/>
                  <a:pt x="73" y="49"/>
                </a:cubicBezTo>
                <a:cubicBezTo>
                  <a:pt x="33" y="49"/>
                  <a:pt x="6" y="38"/>
                  <a:pt x="6" y="28"/>
                </a:cubicBezTo>
                <a:cubicBezTo>
                  <a:pt x="6" y="17"/>
                  <a:pt x="33" y="6"/>
                  <a:pt x="73" y="6"/>
                </a:cubicBezTo>
                <a:close/>
                <a:moveTo>
                  <a:pt x="140" y="133"/>
                </a:moveTo>
                <a:cubicBezTo>
                  <a:pt x="140" y="133"/>
                  <a:pt x="140" y="133"/>
                  <a:pt x="140" y="133"/>
                </a:cubicBezTo>
                <a:cubicBezTo>
                  <a:pt x="138" y="143"/>
                  <a:pt x="111" y="154"/>
                  <a:pt x="73" y="154"/>
                </a:cubicBezTo>
                <a:cubicBezTo>
                  <a:pt x="35" y="154"/>
                  <a:pt x="8" y="143"/>
                  <a:pt x="6" y="133"/>
                </a:cubicBezTo>
                <a:cubicBezTo>
                  <a:pt x="6" y="133"/>
                  <a:pt x="6" y="133"/>
                  <a:pt x="6" y="133"/>
                </a:cubicBezTo>
                <a:cubicBezTo>
                  <a:pt x="6" y="108"/>
                  <a:pt x="6" y="108"/>
                  <a:pt x="6" y="108"/>
                </a:cubicBezTo>
                <a:cubicBezTo>
                  <a:pt x="6" y="109"/>
                  <a:pt x="6" y="109"/>
                  <a:pt x="6" y="109"/>
                </a:cubicBezTo>
                <a:cubicBezTo>
                  <a:pt x="7" y="109"/>
                  <a:pt x="7" y="110"/>
                  <a:pt x="8" y="110"/>
                </a:cubicBezTo>
                <a:cubicBezTo>
                  <a:pt x="19" y="119"/>
                  <a:pt x="41" y="125"/>
                  <a:pt x="73" y="125"/>
                </a:cubicBezTo>
                <a:cubicBezTo>
                  <a:pt x="104" y="125"/>
                  <a:pt x="126" y="119"/>
                  <a:pt x="137" y="110"/>
                </a:cubicBezTo>
                <a:cubicBezTo>
                  <a:pt x="138" y="110"/>
                  <a:pt x="139" y="109"/>
                  <a:pt x="140" y="108"/>
                </a:cubicBezTo>
                <a:cubicBezTo>
                  <a:pt x="140" y="108"/>
                  <a:pt x="140" y="108"/>
                  <a:pt x="140" y="108"/>
                </a:cubicBezTo>
                <a:lnTo>
                  <a:pt x="140" y="13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57" name="Freeform 1134">
            <a:extLst>
              <a:ext uri="{FF2B5EF4-FFF2-40B4-BE49-F238E27FC236}">
                <a16:creationId xmlns:a16="http://schemas.microsoft.com/office/drawing/2014/main" id="{3ABB2A3E-FE2E-4046-B025-05B2A49AC7C1}"/>
              </a:ext>
            </a:extLst>
          </p:cNvPr>
          <p:cNvSpPr>
            <a:spLocks noEditPoints="1"/>
          </p:cNvSpPr>
          <p:nvPr/>
        </p:nvSpPr>
        <p:spPr bwMode="auto">
          <a:xfrm>
            <a:off x="7292858" y="2841625"/>
            <a:ext cx="495300" cy="550863"/>
          </a:xfrm>
          <a:custGeom>
            <a:avLst/>
            <a:gdLst>
              <a:gd name="T0" fmla="*/ 12 w 145"/>
              <a:gd name="T1" fmla="*/ 84 h 160"/>
              <a:gd name="T2" fmla="*/ 17 w 145"/>
              <a:gd name="T3" fmla="*/ 102 h 160"/>
              <a:gd name="T4" fmla="*/ 23 w 145"/>
              <a:gd name="T5" fmla="*/ 96 h 160"/>
              <a:gd name="T6" fmla="*/ 38 w 145"/>
              <a:gd name="T7" fmla="*/ 93 h 160"/>
              <a:gd name="T8" fmla="*/ 38 w 145"/>
              <a:gd name="T9" fmla="*/ 93 h 160"/>
              <a:gd name="T10" fmla="*/ 32 w 145"/>
              <a:gd name="T11" fmla="*/ 99 h 160"/>
              <a:gd name="T12" fmla="*/ 52 w 145"/>
              <a:gd name="T13" fmla="*/ 102 h 160"/>
              <a:gd name="T14" fmla="*/ 58 w 145"/>
              <a:gd name="T15" fmla="*/ 96 h 160"/>
              <a:gd name="T16" fmla="*/ 73 w 145"/>
              <a:gd name="T17" fmla="*/ 93 h 160"/>
              <a:gd name="T18" fmla="*/ 73 w 145"/>
              <a:gd name="T19" fmla="*/ 93 h 160"/>
              <a:gd name="T20" fmla="*/ 67 w 145"/>
              <a:gd name="T21" fmla="*/ 99 h 160"/>
              <a:gd name="T22" fmla="*/ 87 w 145"/>
              <a:gd name="T23" fmla="*/ 102 h 160"/>
              <a:gd name="T24" fmla="*/ 93 w 145"/>
              <a:gd name="T25" fmla="*/ 96 h 160"/>
              <a:gd name="T26" fmla="*/ 108 w 145"/>
              <a:gd name="T27" fmla="*/ 93 h 160"/>
              <a:gd name="T28" fmla="*/ 108 w 145"/>
              <a:gd name="T29" fmla="*/ 93 h 160"/>
              <a:gd name="T30" fmla="*/ 102 w 145"/>
              <a:gd name="T31" fmla="*/ 99 h 160"/>
              <a:gd name="T32" fmla="*/ 122 w 145"/>
              <a:gd name="T33" fmla="*/ 102 h 160"/>
              <a:gd name="T34" fmla="*/ 128 w 145"/>
              <a:gd name="T35" fmla="*/ 96 h 160"/>
              <a:gd name="T36" fmla="*/ 134 w 145"/>
              <a:gd name="T37" fmla="*/ 84 h 160"/>
              <a:gd name="T38" fmla="*/ 134 w 145"/>
              <a:gd name="T39" fmla="*/ 84 h 160"/>
              <a:gd name="T40" fmla="*/ 41 w 145"/>
              <a:gd name="T41" fmla="*/ 108 h 160"/>
              <a:gd name="T42" fmla="*/ 61 w 145"/>
              <a:gd name="T43" fmla="*/ 111 h 160"/>
              <a:gd name="T44" fmla="*/ 76 w 145"/>
              <a:gd name="T45" fmla="*/ 113 h 160"/>
              <a:gd name="T46" fmla="*/ 90 w 145"/>
              <a:gd name="T47" fmla="*/ 111 h 160"/>
              <a:gd name="T48" fmla="*/ 90 w 145"/>
              <a:gd name="T49" fmla="*/ 111 h 160"/>
              <a:gd name="T50" fmla="*/ 111 w 145"/>
              <a:gd name="T51" fmla="*/ 108 h 160"/>
              <a:gd name="T52" fmla="*/ 145 w 145"/>
              <a:gd name="T53" fmla="*/ 96 h 160"/>
              <a:gd name="T54" fmla="*/ 73 w 145"/>
              <a:gd name="T55" fmla="*/ 160 h 160"/>
              <a:gd name="T56" fmla="*/ 0 w 145"/>
              <a:gd name="T57" fmla="*/ 96 h 160"/>
              <a:gd name="T58" fmla="*/ 0 w 145"/>
              <a:gd name="T59" fmla="*/ 25 h 160"/>
              <a:gd name="T60" fmla="*/ 145 w 145"/>
              <a:gd name="T61" fmla="*/ 25 h 160"/>
              <a:gd name="T62" fmla="*/ 134 w 145"/>
              <a:gd name="T63" fmla="*/ 102 h 160"/>
              <a:gd name="T64" fmla="*/ 140 w 145"/>
              <a:gd name="T65" fmla="*/ 96 h 160"/>
              <a:gd name="T66" fmla="*/ 122 w 145"/>
              <a:gd name="T67" fmla="*/ 83 h 160"/>
              <a:gd name="T68" fmla="*/ 73 w 145"/>
              <a:gd name="T69" fmla="*/ 90 h 160"/>
              <a:gd name="T70" fmla="*/ 9 w 145"/>
              <a:gd name="T71" fmla="*/ 76 h 160"/>
              <a:gd name="T72" fmla="*/ 6 w 145"/>
              <a:gd name="T73" fmla="*/ 96 h 160"/>
              <a:gd name="T74" fmla="*/ 20 w 145"/>
              <a:gd name="T75" fmla="*/ 111 h 160"/>
              <a:gd name="T76" fmla="*/ 47 w 145"/>
              <a:gd name="T77" fmla="*/ 118 h 160"/>
              <a:gd name="T78" fmla="*/ 67 w 145"/>
              <a:gd name="T79" fmla="*/ 116 h 160"/>
              <a:gd name="T80" fmla="*/ 84 w 145"/>
              <a:gd name="T81" fmla="*/ 116 h 160"/>
              <a:gd name="T82" fmla="*/ 103 w 145"/>
              <a:gd name="T83" fmla="*/ 117 h 160"/>
              <a:gd name="T84" fmla="*/ 130 w 145"/>
              <a:gd name="T85" fmla="*/ 108 h 160"/>
              <a:gd name="T86" fmla="*/ 6 w 145"/>
              <a:gd name="T87" fmla="*/ 39 h 160"/>
              <a:gd name="T88" fmla="*/ 140 w 145"/>
              <a:gd name="T89" fmla="*/ 64 h 160"/>
              <a:gd name="T90" fmla="*/ 6 w 145"/>
              <a:gd name="T91" fmla="*/ 27 h 160"/>
              <a:gd name="T92" fmla="*/ 140 w 145"/>
              <a:gd name="T93" fmla="*/ 27 h 160"/>
              <a:gd name="T94" fmla="*/ 140 w 145"/>
              <a:gd name="T95" fmla="*/ 133 h 160"/>
              <a:gd name="T96" fmla="*/ 6 w 145"/>
              <a:gd name="T97" fmla="*/ 133 h 160"/>
              <a:gd name="T98" fmla="*/ 140 w 145"/>
              <a:gd name="T99" fmla="*/ 13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 h="160">
                <a:moveTo>
                  <a:pt x="15" y="81"/>
                </a:moveTo>
                <a:cubicBezTo>
                  <a:pt x="16" y="81"/>
                  <a:pt x="17" y="83"/>
                  <a:pt x="17" y="84"/>
                </a:cubicBezTo>
                <a:cubicBezTo>
                  <a:pt x="17" y="86"/>
                  <a:pt x="16" y="87"/>
                  <a:pt x="15" y="87"/>
                </a:cubicBezTo>
                <a:cubicBezTo>
                  <a:pt x="13" y="87"/>
                  <a:pt x="12" y="86"/>
                  <a:pt x="12" y="84"/>
                </a:cubicBezTo>
                <a:cubicBezTo>
                  <a:pt x="12" y="83"/>
                  <a:pt x="13" y="81"/>
                  <a:pt x="15" y="81"/>
                </a:cubicBezTo>
                <a:close/>
                <a:moveTo>
                  <a:pt x="12" y="102"/>
                </a:moveTo>
                <a:cubicBezTo>
                  <a:pt x="12" y="103"/>
                  <a:pt x="13" y="105"/>
                  <a:pt x="15" y="105"/>
                </a:cubicBezTo>
                <a:cubicBezTo>
                  <a:pt x="16" y="105"/>
                  <a:pt x="17" y="103"/>
                  <a:pt x="17" y="102"/>
                </a:cubicBezTo>
                <a:cubicBezTo>
                  <a:pt x="17" y="100"/>
                  <a:pt x="16" y="99"/>
                  <a:pt x="15" y="99"/>
                </a:cubicBezTo>
                <a:cubicBezTo>
                  <a:pt x="13" y="99"/>
                  <a:pt x="12" y="100"/>
                  <a:pt x="12" y="102"/>
                </a:cubicBezTo>
                <a:close/>
                <a:moveTo>
                  <a:pt x="20" y="93"/>
                </a:moveTo>
                <a:cubicBezTo>
                  <a:pt x="20" y="95"/>
                  <a:pt x="22" y="96"/>
                  <a:pt x="23" y="96"/>
                </a:cubicBezTo>
                <a:cubicBezTo>
                  <a:pt x="25" y="96"/>
                  <a:pt x="26" y="95"/>
                  <a:pt x="26" y="93"/>
                </a:cubicBezTo>
                <a:cubicBezTo>
                  <a:pt x="26" y="91"/>
                  <a:pt x="25" y="90"/>
                  <a:pt x="23" y="90"/>
                </a:cubicBezTo>
                <a:cubicBezTo>
                  <a:pt x="22" y="90"/>
                  <a:pt x="20" y="91"/>
                  <a:pt x="20" y="93"/>
                </a:cubicBezTo>
                <a:close/>
                <a:moveTo>
                  <a:pt x="38" y="93"/>
                </a:moveTo>
                <a:cubicBezTo>
                  <a:pt x="38" y="95"/>
                  <a:pt x="39" y="96"/>
                  <a:pt x="41" y="96"/>
                </a:cubicBezTo>
                <a:cubicBezTo>
                  <a:pt x="42" y="96"/>
                  <a:pt x="44" y="95"/>
                  <a:pt x="44" y="93"/>
                </a:cubicBezTo>
                <a:cubicBezTo>
                  <a:pt x="44" y="91"/>
                  <a:pt x="42" y="90"/>
                  <a:pt x="41" y="90"/>
                </a:cubicBezTo>
                <a:cubicBezTo>
                  <a:pt x="39" y="90"/>
                  <a:pt x="38" y="91"/>
                  <a:pt x="38" y="93"/>
                </a:cubicBezTo>
                <a:close/>
                <a:moveTo>
                  <a:pt x="29" y="102"/>
                </a:moveTo>
                <a:cubicBezTo>
                  <a:pt x="29" y="103"/>
                  <a:pt x="30" y="105"/>
                  <a:pt x="32" y="105"/>
                </a:cubicBezTo>
                <a:cubicBezTo>
                  <a:pt x="34" y="105"/>
                  <a:pt x="35" y="103"/>
                  <a:pt x="35" y="102"/>
                </a:cubicBezTo>
                <a:cubicBezTo>
                  <a:pt x="35" y="100"/>
                  <a:pt x="34" y="99"/>
                  <a:pt x="32" y="99"/>
                </a:cubicBezTo>
                <a:cubicBezTo>
                  <a:pt x="30" y="99"/>
                  <a:pt x="29" y="100"/>
                  <a:pt x="29" y="102"/>
                </a:cubicBezTo>
                <a:close/>
                <a:moveTo>
                  <a:pt x="47" y="102"/>
                </a:moveTo>
                <a:cubicBezTo>
                  <a:pt x="47" y="103"/>
                  <a:pt x="48" y="105"/>
                  <a:pt x="49" y="105"/>
                </a:cubicBezTo>
                <a:cubicBezTo>
                  <a:pt x="51" y="105"/>
                  <a:pt x="52" y="103"/>
                  <a:pt x="52" y="102"/>
                </a:cubicBezTo>
                <a:cubicBezTo>
                  <a:pt x="52" y="100"/>
                  <a:pt x="51" y="99"/>
                  <a:pt x="49" y="99"/>
                </a:cubicBezTo>
                <a:cubicBezTo>
                  <a:pt x="48" y="99"/>
                  <a:pt x="47" y="100"/>
                  <a:pt x="47" y="102"/>
                </a:cubicBezTo>
                <a:close/>
                <a:moveTo>
                  <a:pt x="55" y="93"/>
                </a:moveTo>
                <a:cubicBezTo>
                  <a:pt x="55" y="95"/>
                  <a:pt x="57" y="96"/>
                  <a:pt x="58" y="96"/>
                </a:cubicBezTo>
                <a:cubicBezTo>
                  <a:pt x="60" y="96"/>
                  <a:pt x="61" y="95"/>
                  <a:pt x="61" y="93"/>
                </a:cubicBezTo>
                <a:cubicBezTo>
                  <a:pt x="61" y="91"/>
                  <a:pt x="60" y="90"/>
                  <a:pt x="58" y="90"/>
                </a:cubicBezTo>
                <a:cubicBezTo>
                  <a:pt x="57" y="90"/>
                  <a:pt x="55" y="91"/>
                  <a:pt x="55" y="93"/>
                </a:cubicBezTo>
                <a:close/>
                <a:moveTo>
                  <a:pt x="73" y="93"/>
                </a:moveTo>
                <a:cubicBezTo>
                  <a:pt x="73" y="95"/>
                  <a:pt x="74" y="96"/>
                  <a:pt x="76" y="96"/>
                </a:cubicBezTo>
                <a:cubicBezTo>
                  <a:pt x="77" y="96"/>
                  <a:pt x="79" y="95"/>
                  <a:pt x="79" y="93"/>
                </a:cubicBezTo>
                <a:cubicBezTo>
                  <a:pt x="79" y="91"/>
                  <a:pt x="77" y="90"/>
                  <a:pt x="76" y="90"/>
                </a:cubicBezTo>
                <a:cubicBezTo>
                  <a:pt x="74" y="90"/>
                  <a:pt x="73" y="91"/>
                  <a:pt x="73" y="93"/>
                </a:cubicBezTo>
                <a:close/>
                <a:moveTo>
                  <a:pt x="64" y="102"/>
                </a:moveTo>
                <a:cubicBezTo>
                  <a:pt x="64" y="103"/>
                  <a:pt x="65" y="105"/>
                  <a:pt x="67" y="105"/>
                </a:cubicBezTo>
                <a:cubicBezTo>
                  <a:pt x="69" y="105"/>
                  <a:pt x="70" y="103"/>
                  <a:pt x="70" y="102"/>
                </a:cubicBezTo>
                <a:cubicBezTo>
                  <a:pt x="70" y="100"/>
                  <a:pt x="69" y="99"/>
                  <a:pt x="67" y="99"/>
                </a:cubicBezTo>
                <a:cubicBezTo>
                  <a:pt x="65" y="99"/>
                  <a:pt x="64" y="100"/>
                  <a:pt x="64" y="102"/>
                </a:cubicBezTo>
                <a:close/>
                <a:moveTo>
                  <a:pt x="81" y="102"/>
                </a:moveTo>
                <a:cubicBezTo>
                  <a:pt x="81" y="103"/>
                  <a:pt x="83" y="105"/>
                  <a:pt x="84" y="105"/>
                </a:cubicBezTo>
                <a:cubicBezTo>
                  <a:pt x="86" y="105"/>
                  <a:pt x="87" y="103"/>
                  <a:pt x="87" y="102"/>
                </a:cubicBezTo>
                <a:cubicBezTo>
                  <a:pt x="87" y="100"/>
                  <a:pt x="86" y="99"/>
                  <a:pt x="84" y="99"/>
                </a:cubicBezTo>
                <a:cubicBezTo>
                  <a:pt x="83" y="99"/>
                  <a:pt x="81" y="100"/>
                  <a:pt x="81" y="102"/>
                </a:cubicBezTo>
                <a:close/>
                <a:moveTo>
                  <a:pt x="90" y="93"/>
                </a:moveTo>
                <a:cubicBezTo>
                  <a:pt x="90" y="95"/>
                  <a:pt x="91" y="96"/>
                  <a:pt x="93" y="96"/>
                </a:cubicBezTo>
                <a:cubicBezTo>
                  <a:pt x="95" y="96"/>
                  <a:pt x="96" y="95"/>
                  <a:pt x="96" y="93"/>
                </a:cubicBezTo>
                <a:cubicBezTo>
                  <a:pt x="96" y="91"/>
                  <a:pt x="95" y="90"/>
                  <a:pt x="93" y="90"/>
                </a:cubicBezTo>
                <a:cubicBezTo>
                  <a:pt x="91" y="90"/>
                  <a:pt x="90" y="91"/>
                  <a:pt x="90" y="93"/>
                </a:cubicBezTo>
                <a:close/>
                <a:moveTo>
                  <a:pt x="108" y="93"/>
                </a:moveTo>
                <a:cubicBezTo>
                  <a:pt x="108" y="95"/>
                  <a:pt x="109" y="96"/>
                  <a:pt x="111" y="96"/>
                </a:cubicBezTo>
                <a:cubicBezTo>
                  <a:pt x="112" y="96"/>
                  <a:pt x="113" y="95"/>
                  <a:pt x="113" y="93"/>
                </a:cubicBezTo>
                <a:cubicBezTo>
                  <a:pt x="113" y="91"/>
                  <a:pt x="112" y="90"/>
                  <a:pt x="111" y="90"/>
                </a:cubicBezTo>
                <a:cubicBezTo>
                  <a:pt x="109" y="90"/>
                  <a:pt x="108" y="91"/>
                  <a:pt x="108" y="93"/>
                </a:cubicBezTo>
                <a:close/>
                <a:moveTo>
                  <a:pt x="99" y="102"/>
                </a:moveTo>
                <a:cubicBezTo>
                  <a:pt x="99" y="103"/>
                  <a:pt x="100" y="105"/>
                  <a:pt x="102" y="105"/>
                </a:cubicBezTo>
                <a:cubicBezTo>
                  <a:pt x="103" y="105"/>
                  <a:pt x="105" y="103"/>
                  <a:pt x="105" y="102"/>
                </a:cubicBezTo>
                <a:cubicBezTo>
                  <a:pt x="105" y="100"/>
                  <a:pt x="103" y="99"/>
                  <a:pt x="102" y="99"/>
                </a:cubicBezTo>
                <a:cubicBezTo>
                  <a:pt x="100" y="99"/>
                  <a:pt x="99" y="100"/>
                  <a:pt x="99" y="102"/>
                </a:cubicBezTo>
                <a:close/>
                <a:moveTo>
                  <a:pt x="116" y="102"/>
                </a:moveTo>
                <a:cubicBezTo>
                  <a:pt x="116" y="103"/>
                  <a:pt x="118" y="105"/>
                  <a:pt x="119" y="105"/>
                </a:cubicBezTo>
                <a:cubicBezTo>
                  <a:pt x="121" y="105"/>
                  <a:pt x="122" y="103"/>
                  <a:pt x="122" y="102"/>
                </a:cubicBezTo>
                <a:cubicBezTo>
                  <a:pt x="122" y="100"/>
                  <a:pt x="121" y="99"/>
                  <a:pt x="119" y="99"/>
                </a:cubicBezTo>
                <a:cubicBezTo>
                  <a:pt x="118" y="99"/>
                  <a:pt x="116" y="100"/>
                  <a:pt x="116" y="102"/>
                </a:cubicBezTo>
                <a:close/>
                <a:moveTo>
                  <a:pt x="125" y="93"/>
                </a:moveTo>
                <a:cubicBezTo>
                  <a:pt x="125" y="95"/>
                  <a:pt x="126" y="96"/>
                  <a:pt x="128" y="96"/>
                </a:cubicBezTo>
                <a:cubicBezTo>
                  <a:pt x="130" y="96"/>
                  <a:pt x="131" y="95"/>
                  <a:pt x="131" y="93"/>
                </a:cubicBezTo>
                <a:cubicBezTo>
                  <a:pt x="131" y="91"/>
                  <a:pt x="130" y="90"/>
                  <a:pt x="128" y="90"/>
                </a:cubicBezTo>
                <a:cubicBezTo>
                  <a:pt x="126" y="90"/>
                  <a:pt x="125" y="91"/>
                  <a:pt x="125" y="93"/>
                </a:cubicBezTo>
                <a:close/>
                <a:moveTo>
                  <a:pt x="134" y="84"/>
                </a:moveTo>
                <a:cubicBezTo>
                  <a:pt x="134" y="86"/>
                  <a:pt x="135" y="87"/>
                  <a:pt x="137" y="87"/>
                </a:cubicBezTo>
                <a:cubicBezTo>
                  <a:pt x="138" y="87"/>
                  <a:pt x="140" y="86"/>
                  <a:pt x="140" y="84"/>
                </a:cubicBezTo>
                <a:cubicBezTo>
                  <a:pt x="140" y="83"/>
                  <a:pt x="138" y="81"/>
                  <a:pt x="137" y="81"/>
                </a:cubicBezTo>
                <a:cubicBezTo>
                  <a:pt x="135" y="81"/>
                  <a:pt x="134" y="83"/>
                  <a:pt x="134" y="84"/>
                </a:cubicBezTo>
                <a:close/>
                <a:moveTo>
                  <a:pt x="38" y="111"/>
                </a:moveTo>
                <a:cubicBezTo>
                  <a:pt x="38" y="112"/>
                  <a:pt x="39" y="113"/>
                  <a:pt x="41" y="113"/>
                </a:cubicBezTo>
                <a:cubicBezTo>
                  <a:pt x="42" y="113"/>
                  <a:pt x="44" y="112"/>
                  <a:pt x="44" y="111"/>
                </a:cubicBezTo>
                <a:cubicBezTo>
                  <a:pt x="44" y="109"/>
                  <a:pt x="42" y="108"/>
                  <a:pt x="41" y="108"/>
                </a:cubicBezTo>
                <a:cubicBezTo>
                  <a:pt x="39" y="108"/>
                  <a:pt x="38" y="109"/>
                  <a:pt x="38" y="111"/>
                </a:cubicBezTo>
                <a:close/>
                <a:moveTo>
                  <a:pt x="55" y="111"/>
                </a:moveTo>
                <a:cubicBezTo>
                  <a:pt x="55" y="112"/>
                  <a:pt x="57" y="113"/>
                  <a:pt x="58" y="113"/>
                </a:cubicBezTo>
                <a:cubicBezTo>
                  <a:pt x="60" y="113"/>
                  <a:pt x="61" y="112"/>
                  <a:pt x="61" y="111"/>
                </a:cubicBezTo>
                <a:cubicBezTo>
                  <a:pt x="61" y="109"/>
                  <a:pt x="60" y="108"/>
                  <a:pt x="58" y="108"/>
                </a:cubicBezTo>
                <a:cubicBezTo>
                  <a:pt x="57" y="108"/>
                  <a:pt x="55" y="109"/>
                  <a:pt x="55" y="111"/>
                </a:cubicBezTo>
                <a:close/>
                <a:moveTo>
                  <a:pt x="73" y="111"/>
                </a:moveTo>
                <a:cubicBezTo>
                  <a:pt x="73" y="112"/>
                  <a:pt x="74" y="113"/>
                  <a:pt x="76" y="113"/>
                </a:cubicBezTo>
                <a:cubicBezTo>
                  <a:pt x="77" y="113"/>
                  <a:pt x="79" y="112"/>
                  <a:pt x="79" y="111"/>
                </a:cubicBezTo>
                <a:cubicBezTo>
                  <a:pt x="79" y="109"/>
                  <a:pt x="77" y="108"/>
                  <a:pt x="76" y="108"/>
                </a:cubicBezTo>
                <a:cubicBezTo>
                  <a:pt x="74" y="108"/>
                  <a:pt x="73" y="109"/>
                  <a:pt x="73" y="111"/>
                </a:cubicBezTo>
                <a:close/>
                <a:moveTo>
                  <a:pt x="90" y="111"/>
                </a:moveTo>
                <a:cubicBezTo>
                  <a:pt x="90" y="112"/>
                  <a:pt x="91" y="113"/>
                  <a:pt x="93" y="113"/>
                </a:cubicBezTo>
                <a:cubicBezTo>
                  <a:pt x="95" y="113"/>
                  <a:pt x="96" y="112"/>
                  <a:pt x="96" y="111"/>
                </a:cubicBezTo>
                <a:cubicBezTo>
                  <a:pt x="96" y="109"/>
                  <a:pt x="95" y="108"/>
                  <a:pt x="93" y="108"/>
                </a:cubicBezTo>
                <a:cubicBezTo>
                  <a:pt x="91" y="108"/>
                  <a:pt x="90" y="109"/>
                  <a:pt x="90" y="111"/>
                </a:cubicBezTo>
                <a:close/>
                <a:moveTo>
                  <a:pt x="108" y="111"/>
                </a:moveTo>
                <a:cubicBezTo>
                  <a:pt x="108" y="112"/>
                  <a:pt x="109" y="113"/>
                  <a:pt x="111" y="113"/>
                </a:cubicBezTo>
                <a:cubicBezTo>
                  <a:pt x="112" y="113"/>
                  <a:pt x="113" y="112"/>
                  <a:pt x="113" y="111"/>
                </a:cubicBezTo>
                <a:cubicBezTo>
                  <a:pt x="113" y="109"/>
                  <a:pt x="112" y="108"/>
                  <a:pt x="111" y="108"/>
                </a:cubicBezTo>
                <a:cubicBezTo>
                  <a:pt x="109" y="108"/>
                  <a:pt x="108" y="109"/>
                  <a:pt x="108" y="111"/>
                </a:cubicBezTo>
                <a:close/>
                <a:moveTo>
                  <a:pt x="145" y="26"/>
                </a:moveTo>
                <a:cubicBezTo>
                  <a:pt x="145" y="28"/>
                  <a:pt x="145" y="28"/>
                  <a:pt x="145" y="28"/>
                </a:cubicBezTo>
                <a:cubicBezTo>
                  <a:pt x="145" y="96"/>
                  <a:pt x="145" y="96"/>
                  <a:pt x="145" y="96"/>
                </a:cubicBezTo>
                <a:cubicBezTo>
                  <a:pt x="145" y="97"/>
                  <a:pt x="145" y="97"/>
                  <a:pt x="145" y="97"/>
                </a:cubicBezTo>
                <a:cubicBezTo>
                  <a:pt x="145" y="134"/>
                  <a:pt x="145" y="134"/>
                  <a:pt x="145" y="134"/>
                </a:cubicBezTo>
                <a:cubicBezTo>
                  <a:pt x="145" y="134"/>
                  <a:pt x="145" y="135"/>
                  <a:pt x="145" y="135"/>
                </a:cubicBezTo>
                <a:cubicBezTo>
                  <a:pt x="142" y="149"/>
                  <a:pt x="111" y="160"/>
                  <a:pt x="73" y="160"/>
                </a:cubicBezTo>
                <a:cubicBezTo>
                  <a:pt x="35" y="160"/>
                  <a:pt x="4" y="149"/>
                  <a:pt x="0" y="135"/>
                </a:cubicBezTo>
                <a:cubicBezTo>
                  <a:pt x="0" y="135"/>
                  <a:pt x="0" y="134"/>
                  <a:pt x="0" y="134"/>
                </a:cubicBezTo>
                <a:cubicBezTo>
                  <a:pt x="0" y="97"/>
                  <a:pt x="0" y="97"/>
                  <a:pt x="0" y="97"/>
                </a:cubicBezTo>
                <a:cubicBezTo>
                  <a:pt x="0" y="96"/>
                  <a:pt x="0" y="96"/>
                  <a:pt x="0" y="96"/>
                </a:cubicBezTo>
                <a:cubicBezTo>
                  <a:pt x="0" y="28"/>
                  <a:pt x="0" y="28"/>
                  <a:pt x="0" y="28"/>
                </a:cubicBezTo>
                <a:cubicBezTo>
                  <a:pt x="0" y="26"/>
                  <a:pt x="0" y="26"/>
                  <a:pt x="0" y="26"/>
                </a:cubicBezTo>
                <a:cubicBezTo>
                  <a:pt x="0" y="26"/>
                  <a:pt x="0" y="25"/>
                  <a:pt x="0" y="25"/>
                </a:cubicBezTo>
                <a:cubicBezTo>
                  <a:pt x="0" y="25"/>
                  <a:pt x="0" y="25"/>
                  <a:pt x="0" y="25"/>
                </a:cubicBezTo>
                <a:cubicBezTo>
                  <a:pt x="0" y="25"/>
                  <a:pt x="0" y="25"/>
                  <a:pt x="0" y="25"/>
                </a:cubicBezTo>
                <a:cubicBezTo>
                  <a:pt x="4" y="11"/>
                  <a:pt x="35" y="0"/>
                  <a:pt x="73" y="0"/>
                </a:cubicBezTo>
                <a:cubicBezTo>
                  <a:pt x="111" y="0"/>
                  <a:pt x="142" y="11"/>
                  <a:pt x="145" y="25"/>
                </a:cubicBezTo>
                <a:cubicBezTo>
                  <a:pt x="145" y="25"/>
                  <a:pt x="145" y="25"/>
                  <a:pt x="145" y="25"/>
                </a:cubicBezTo>
                <a:cubicBezTo>
                  <a:pt x="145" y="25"/>
                  <a:pt x="145" y="25"/>
                  <a:pt x="145" y="25"/>
                </a:cubicBezTo>
                <a:cubicBezTo>
                  <a:pt x="145" y="25"/>
                  <a:pt x="145" y="26"/>
                  <a:pt x="145" y="26"/>
                </a:cubicBezTo>
                <a:close/>
                <a:moveTo>
                  <a:pt x="136" y="104"/>
                </a:moveTo>
                <a:cubicBezTo>
                  <a:pt x="135" y="104"/>
                  <a:pt x="134" y="103"/>
                  <a:pt x="134" y="102"/>
                </a:cubicBezTo>
                <a:cubicBezTo>
                  <a:pt x="134" y="100"/>
                  <a:pt x="135" y="99"/>
                  <a:pt x="137" y="99"/>
                </a:cubicBezTo>
                <a:cubicBezTo>
                  <a:pt x="138" y="99"/>
                  <a:pt x="138" y="99"/>
                  <a:pt x="139" y="100"/>
                </a:cubicBezTo>
                <a:cubicBezTo>
                  <a:pt x="139" y="99"/>
                  <a:pt x="140" y="98"/>
                  <a:pt x="140" y="97"/>
                </a:cubicBezTo>
                <a:cubicBezTo>
                  <a:pt x="140" y="97"/>
                  <a:pt x="140" y="97"/>
                  <a:pt x="140" y="96"/>
                </a:cubicBezTo>
                <a:cubicBezTo>
                  <a:pt x="139" y="96"/>
                  <a:pt x="140" y="96"/>
                  <a:pt x="140" y="95"/>
                </a:cubicBezTo>
                <a:cubicBezTo>
                  <a:pt x="140" y="84"/>
                  <a:pt x="140" y="84"/>
                  <a:pt x="140" y="84"/>
                </a:cubicBezTo>
                <a:cubicBezTo>
                  <a:pt x="140" y="74"/>
                  <a:pt x="140" y="74"/>
                  <a:pt x="140" y="74"/>
                </a:cubicBezTo>
                <a:cubicBezTo>
                  <a:pt x="136" y="77"/>
                  <a:pt x="129" y="80"/>
                  <a:pt x="122" y="83"/>
                </a:cubicBezTo>
                <a:cubicBezTo>
                  <a:pt x="122" y="83"/>
                  <a:pt x="122" y="84"/>
                  <a:pt x="122" y="84"/>
                </a:cubicBezTo>
                <a:cubicBezTo>
                  <a:pt x="122" y="86"/>
                  <a:pt x="121" y="87"/>
                  <a:pt x="119" y="87"/>
                </a:cubicBezTo>
                <a:cubicBezTo>
                  <a:pt x="118" y="87"/>
                  <a:pt x="117" y="86"/>
                  <a:pt x="116" y="85"/>
                </a:cubicBezTo>
                <a:cubicBezTo>
                  <a:pt x="104" y="88"/>
                  <a:pt x="89" y="90"/>
                  <a:pt x="73" y="90"/>
                </a:cubicBezTo>
                <a:cubicBezTo>
                  <a:pt x="59" y="90"/>
                  <a:pt x="45" y="89"/>
                  <a:pt x="34" y="86"/>
                </a:cubicBezTo>
                <a:cubicBezTo>
                  <a:pt x="34" y="87"/>
                  <a:pt x="33" y="87"/>
                  <a:pt x="32" y="87"/>
                </a:cubicBezTo>
                <a:cubicBezTo>
                  <a:pt x="31" y="87"/>
                  <a:pt x="29" y="86"/>
                  <a:pt x="29" y="85"/>
                </a:cubicBezTo>
                <a:cubicBezTo>
                  <a:pt x="21" y="82"/>
                  <a:pt x="14" y="79"/>
                  <a:pt x="9" y="76"/>
                </a:cubicBezTo>
                <a:cubicBezTo>
                  <a:pt x="9" y="77"/>
                  <a:pt x="7" y="79"/>
                  <a:pt x="6" y="79"/>
                </a:cubicBezTo>
                <a:cubicBezTo>
                  <a:pt x="6" y="90"/>
                  <a:pt x="6" y="90"/>
                  <a:pt x="6" y="90"/>
                </a:cubicBezTo>
                <a:cubicBezTo>
                  <a:pt x="7" y="90"/>
                  <a:pt x="9" y="91"/>
                  <a:pt x="9" y="93"/>
                </a:cubicBezTo>
                <a:cubicBezTo>
                  <a:pt x="9" y="95"/>
                  <a:pt x="7" y="96"/>
                  <a:pt x="6" y="96"/>
                </a:cubicBezTo>
                <a:cubicBezTo>
                  <a:pt x="6" y="96"/>
                  <a:pt x="6" y="96"/>
                  <a:pt x="6" y="96"/>
                </a:cubicBezTo>
                <a:cubicBezTo>
                  <a:pt x="6" y="97"/>
                  <a:pt x="6" y="97"/>
                  <a:pt x="6" y="97"/>
                </a:cubicBezTo>
                <a:cubicBezTo>
                  <a:pt x="6" y="102"/>
                  <a:pt x="11" y="107"/>
                  <a:pt x="20" y="111"/>
                </a:cubicBezTo>
                <a:cubicBezTo>
                  <a:pt x="20" y="111"/>
                  <a:pt x="20" y="111"/>
                  <a:pt x="20" y="111"/>
                </a:cubicBezTo>
                <a:cubicBezTo>
                  <a:pt x="20" y="109"/>
                  <a:pt x="22" y="108"/>
                  <a:pt x="23" y="108"/>
                </a:cubicBezTo>
                <a:cubicBezTo>
                  <a:pt x="25" y="108"/>
                  <a:pt x="26" y="109"/>
                  <a:pt x="26" y="111"/>
                </a:cubicBezTo>
                <a:cubicBezTo>
                  <a:pt x="26" y="111"/>
                  <a:pt x="26" y="112"/>
                  <a:pt x="25" y="113"/>
                </a:cubicBezTo>
                <a:cubicBezTo>
                  <a:pt x="31" y="115"/>
                  <a:pt x="39" y="116"/>
                  <a:pt x="47" y="118"/>
                </a:cubicBezTo>
                <a:cubicBezTo>
                  <a:pt x="48" y="117"/>
                  <a:pt x="49" y="116"/>
                  <a:pt x="49" y="116"/>
                </a:cubicBezTo>
                <a:cubicBezTo>
                  <a:pt x="51" y="116"/>
                  <a:pt x="52" y="117"/>
                  <a:pt x="52" y="118"/>
                </a:cubicBezTo>
                <a:cubicBezTo>
                  <a:pt x="56" y="119"/>
                  <a:pt x="60" y="119"/>
                  <a:pt x="64" y="119"/>
                </a:cubicBezTo>
                <a:cubicBezTo>
                  <a:pt x="64" y="118"/>
                  <a:pt x="65" y="116"/>
                  <a:pt x="67" y="116"/>
                </a:cubicBezTo>
                <a:cubicBezTo>
                  <a:pt x="68" y="116"/>
                  <a:pt x="70" y="118"/>
                  <a:pt x="70" y="119"/>
                </a:cubicBezTo>
                <a:cubicBezTo>
                  <a:pt x="71" y="119"/>
                  <a:pt x="72" y="119"/>
                  <a:pt x="73" y="119"/>
                </a:cubicBezTo>
                <a:cubicBezTo>
                  <a:pt x="76" y="119"/>
                  <a:pt x="79" y="119"/>
                  <a:pt x="81" y="119"/>
                </a:cubicBezTo>
                <a:cubicBezTo>
                  <a:pt x="82" y="118"/>
                  <a:pt x="83" y="116"/>
                  <a:pt x="84" y="116"/>
                </a:cubicBezTo>
                <a:cubicBezTo>
                  <a:pt x="86" y="116"/>
                  <a:pt x="87" y="117"/>
                  <a:pt x="87" y="119"/>
                </a:cubicBezTo>
                <a:cubicBezTo>
                  <a:pt x="92" y="118"/>
                  <a:pt x="96" y="118"/>
                  <a:pt x="100" y="117"/>
                </a:cubicBezTo>
                <a:cubicBezTo>
                  <a:pt x="100" y="117"/>
                  <a:pt x="101" y="116"/>
                  <a:pt x="102" y="116"/>
                </a:cubicBezTo>
                <a:cubicBezTo>
                  <a:pt x="102" y="116"/>
                  <a:pt x="103" y="117"/>
                  <a:pt x="103" y="117"/>
                </a:cubicBezTo>
                <a:cubicBezTo>
                  <a:pt x="112" y="115"/>
                  <a:pt x="119" y="113"/>
                  <a:pt x="125" y="111"/>
                </a:cubicBezTo>
                <a:cubicBezTo>
                  <a:pt x="125" y="111"/>
                  <a:pt x="125" y="111"/>
                  <a:pt x="125" y="111"/>
                </a:cubicBezTo>
                <a:cubicBezTo>
                  <a:pt x="125" y="109"/>
                  <a:pt x="126" y="108"/>
                  <a:pt x="128" y="108"/>
                </a:cubicBezTo>
                <a:cubicBezTo>
                  <a:pt x="129" y="108"/>
                  <a:pt x="129" y="108"/>
                  <a:pt x="130" y="108"/>
                </a:cubicBezTo>
                <a:cubicBezTo>
                  <a:pt x="132" y="107"/>
                  <a:pt x="134" y="106"/>
                  <a:pt x="136" y="104"/>
                </a:cubicBezTo>
                <a:close/>
                <a:moveTo>
                  <a:pt x="140" y="39"/>
                </a:moveTo>
                <a:cubicBezTo>
                  <a:pt x="130" y="48"/>
                  <a:pt x="107" y="55"/>
                  <a:pt x="73" y="55"/>
                </a:cubicBezTo>
                <a:cubicBezTo>
                  <a:pt x="39" y="55"/>
                  <a:pt x="16" y="48"/>
                  <a:pt x="6" y="39"/>
                </a:cubicBezTo>
                <a:cubicBezTo>
                  <a:pt x="6" y="63"/>
                  <a:pt x="6" y="63"/>
                  <a:pt x="6" y="63"/>
                </a:cubicBezTo>
                <a:cubicBezTo>
                  <a:pt x="6" y="63"/>
                  <a:pt x="6" y="63"/>
                  <a:pt x="6" y="64"/>
                </a:cubicBezTo>
                <a:cubicBezTo>
                  <a:pt x="8" y="74"/>
                  <a:pt x="35" y="84"/>
                  <a:pt x="73" y="84"/>
                </a:cubicBezTo>
                <a:cubicBezTo>
                  <a:pt x="111" y="84"/>
                  <a:pt x="138" y="74"/>
                  <a:pt x="140" y="64"/>
                </a:cubicBezTo>
                <a:cubicBezTo>
                  <a:pt x="140" y="63"/>
                  <a:pt x="140" y="63"/>
                  <a:pt x="140" y="63"/>
                </a:cubicBezTo>
                <a:lnTo>
                  <a:pt x="140" y="39"/>
                </a:lnTo>
                <a:close/>
                <a:moveTo>
                  <a:pt x="6" y="27"/>
                </a:moveTo>
                <a:cubicBezTo>
                  <a:pt x="6" y="27"/>
                  <a:pt x="6" y="27"/>
                  <a:pt x="6" y="27"/>
                </a:cubicBezTo>
                <a:cubicBezTo>
                  <a:pt x="6" y="27"/>
                  <a:pt x="6" y="27"/>
                  <a:pt x="6" y="28"/>
                </a:cubicBezTo>
                <a:cubicBezTo>
                  <a:pt x="6" y="38"/>
                  <a:pt x="33" y="49"/>
                  <a:pt x="73" y="49"/>
                </a:cubicBezTo>
                <a:cubicBezTo>
                  <a:pt x="112" y="49"/>
                  <a:pt x="140" y="38"/>
                  <a:pt x="140" y="28"/>
                </a:cubicBezTo>
                <a:cubicBezTo>
                  <a:pt x="140" y="27"/>
                  <a:pt x="140" y="27"/>
                  <a:pt x="140" y="27"/>
                </a:cubicBezTo>
                <a:cubicBezTo>
                  <a:pt x="140" y="27"/>
                  <a:pt x="140" y="27"/>
                  <a:pt x="140" y="27"/>
                </a:cubicBezTo>
                <a:cubicBezTo>
                  <a:pt x="138" y="17"/>
                  <a:pt x="111" y="6"/>
                  <a:pt x="73" y="6"/>
                </a:cubicBezTo>
                <a:cubicBezTo>
                  <a:pt x="35" y="6"/>
                  <a:pt x="8" y="17"/>
                  <a:pt x="6" y="27"/>
                </a:cubicBezTo>
                <a:close/>
                <a:moveTo>
                  <a:pt x="140" y="133"/>
                </a:moveTo>
                <a:cubicBezTo>
                  <a:pt x="140" y="108"/>
                  <a:pt x="140" y="108"/>
                  <a:pt x="140" y="108"/>
                </a:cubicBezTo>
                <a:cubicBezTo>
                  <a:pt x="130" y="118"/>
                  <a:pt x="107" y="125"/>
                  <a:pt x="73" y="125"/>
                </a:cubicBezTo>
                <a:cubicBezTo>
                  <a:pt x="39" y="125"/>
                  <a:pt x="16" y="118"/>
                  <a:pt x="6" y="108"/>
                </a:cubicBezTo>
                <a:cubicBezTo>
                  <a:pt x="6" y="133"/>
                  <a:pt x="6" y="133"/>
                  <a:pt x="6" y="133"/>
                </a:cubicBezTo>
                <a:cubicBezTo>
                  <a:pt x="6" y="133"/>
                  <a:pt x="6" y="133"/>
                  <a:pt x="6" y="133"/>
                </a:cubicBezTo>
                <a:cubicBezTo>
                  <a:pt x="8" y="143"/>
                  <a:pt x="35" y="154"/>
                  <a:pt x="73" y="154"/>
                </a:cubicBezTo>
                <a:cubicBezTo>
                  <a:pt x="111" y="154"/>
                  <a:pt x="138" y="143"/>
                  <a:pt x="140" y="133"/>
                </a:cubicBezTo>
                <a:cubicBezTo>
                  <a:pt x="140" y="133"/>
                  <a:pt x="140" y="133"/>
                  <a:pt x="140" y="13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58" name="Freeform 1135">
            <a:extLst>
              <a:ext uri="{FF2B5EF4-FFF2-40B4-BE49-F238E27FC236}">
                <a16:creationId xmlns:a16="http://schemas.microsoft.com/office/drawing/2014/main" id="{3077A97C-F972-1847-91EE-2CD2542515ED}"/>
              </a:ext>
            </a:extLst>
          </p:cNvPr>
          <p:cNvSpPr>
            <a:spLocks noEditPoints="1"/>
          </p:cNvSpPr>
          <p:nvPr/>
        </p:nvSpPr>
        <p:spPr bwMode="auto">
          <a:xfrm>
            <a:off x="7265870" y="3462338"/>
            <a:ext cx="546100" cy="549275"/>
          </a:xfrm>
          <a:custGeom>
            <a:avLst/>
            <a:gdLst>
              <a:gd name="T0" fmla="*/ 0 w 160"/>
              <a:gd name="T1" fmla="*/ 69 h 160"/>
              <a:gd name="T2" fmla="*/ 0 w 160"/>
              <a:gd name="T3" fmla="*/ 136 h 160"/>
              <a:gd name="T4" fmla="*/ 160 w 160"/>
              <a:gd name="T5" fmla="*/ 91 h 160"/>
              <a:gd name="T6" fmla="*/ 127 w 160"/>
              <a:gd name="T7" fmla="*/ 105 h 160"/>
              <a:gd name="T8" fmla="*/ 123 w 160"/>
              <a:gd name="T9" fmla="*/ 110 h 160"/>
              <a:gd name="T10" fmla="*/ 114 w 160"/>
              <a:gd name="T11" fmla="*/ 115 h 160"/>
              <a:gd name="T12" fmla="*/ 79 w 160"/>
              <a:gd name="T13" fmla="*/ 122 h 160"/>
              <a:gd name="T14" fmla="*/ 54 w 160"/>
              <a:gd name="T15" fmla="*/ 122 h 160"/>
              <a:gd name="T16" fmla="*/ 20 w 160"/>
              <a:gd name="T17" fmla="*/ 115 h 160"/>
              <a:gd name="T18" fmla="*/ 10 w 160"/>
              <a:gd name="T19" fmla="*/ 110 h 160"/>
              <a:gd name="T20" fmla="*/ 6 w 160"/>
              <a:gd name="T21" fmla="*/ 105 h 160"/>
              <a:gd name="T22" fmla="*/ 6 w 160"/>
              <a:gd name="T23" fmla="*/ 81 h 160"/>
              <a:gd name="T24" fmla="*/ 128 w 160"/>
              <a:gd name="T25" fmla="*/ 101 h 160"/>
              <a:gd name="T26" fmla="*/ 10 w 160"/>
              <a:gd name="T27" fmla="*/ 52 h 160"/>
              <a:gd name="T28" fmla="*/ 21 w 160"/>
              <a:gd name="T29" fmla="*/ 58 h 160"/>
              <a:gd name="T30" fmla="*/ 37 w 160"/>
              <a:gd name="T31" fmla="*/ 62 h 160"/>
              <a:gd name="T32" fmla="*/ 58 w 160"/>
              <a:gd name="T33" fmla="*/ 64 h 160"/>
              <a:gd name="T34" fmla="*/ 82 w 160"/>
              <a:gd name="T35" fmla="*/ 63 h 160"/>
              <a:gd name="T36" fmla="*/ 101 w 160"/>
              <a:gd name="T37" fmla="*/ 61 h 160"/>
              <a:gd name="T38" fmla="*/ 117 w 160"/>
              <a:gd name="T39" fmla="*/ 56 h 160"/>
              <a:gd name="T40" fmla="*/ 127 w 160"/>
              <a:gd name="T41" fmla="*/ 50 h 160"/>
              <a:gd name="T42" fmla="*/ 127 w 160"/>
              <a:gd name="T43" fmla="*/ 73 h 160"/>
              <a:gd name="T44" fmla="*/ 123 w 160"/>
              <a:gd name="T45" fmla="*/ 78 h 160"/>
              <a:gd name="T46" fmla="*/ 114 w 160"/>
              <a:gd name="T47" fmla="*/ 83 h 160"/>
              <a:gd name="T48" fmla="*/ 79 w 160"/>
              <a:gd name="T49" fmla="*/ 90 h 160"/>
              <a:gd name="T50" fmla="*/ 54 w 160"/>
              <a:gd name="T51" fmla="*/ 90 h 160"/>
              <a:gd name="T52" fmla="*/ 20 w 160"/>
              <a:gd name="T53" fmla="*/ 83 h 160"/>
              <a:gd name="T54" fmla="*/ 10 w 160"/>
              <a:gd name="T55" fmla="*/ 78 h 160"/>
              <a:gd name="T56" fmla="*/ 6 w 160"/>
              <a:gd name="T57" fmla="*/ 73 h 160"/>
              <a:gd name="T58" fmla="*/ 6 w 160"/>
              <a:gd name="T59" fmla="*/ 50 h 160"/>
              <a:gd name="T60" fmla="*/ 133 w 160"/>
              <a:gd name="T61" fmla="*/ 78 h 160"/>
              <a:gd name="T62" fmla="*/ 155 w 160"/>
              <a:gd name="T63" fmla="*/ 90 h 160"/>
              <a:gd name="T64" fmla="*/ 133 w 160"/>
              <a:gd name="T65" fmla="*/ 104 h 160"/>
              <a:gd name="T66" fmla="*/ 154 w 160"/>
              <a:gd name="T67" fmla="*/ 60 h 160"/>
              <a:gd name="T68" fmla="*/ 133 w 160"/>
              <a:gd name="T69" fmla="*/ 69 h 160"/>
              <a:gd name="T70" fmla="*/ 140 w 160"/>
              <a:gd name="T71" fmla="*/ 44 h 160"/>
              <a:gd name="T72" fmla="*/ 149 w 160"/>
              <a:gd name="T73" fmla="*/ 40 h 160"/>
              <a:gd name="T74" fmla="*/ 155 w 160"/>
              <a:gd name="T75" fmla="*/ 36 h 160"/>
              <a:gd name="T76" fmla="*/ 154 w 160"/>
              <a:gd name="T77" fmla="*/ 28 h 160"/>
              <a:gd name="T78" fmla="*/ 152 w 160"/>
              <a:gd name="T79" fmla="*/ 31 h 160"/>
              <a:gd name="T80" fmla="*/ 148 w 160"/>
              <a:gd name="T81" fmla="*/ 34 h 160"/>
              <a:gd name="T82" fmla="*/ 142 w 160"/>
              <a:gd name="T83" fmla="*/ 37 h 160"/>
              <a:gd name="T84" fmla="*/ 135 w 160"/>
              <a:gd name="T85" fmla="*/ 40 h 160"/>
              <a:gd name="T86" fmla="*/ 133 w 160"/>
              <a:gd name="T87" fmla="*/ 36 h 160"/>
              <a:gd name="T88" fmla="*/ 60 w 160"/>
              <a:gd name="T89" fmla="*/ 13 h 160"/>
              <a:gd name="T90" fmla="*/ 43 w 160"/>
              <a:gd name="T91" fmla="*/ 20 h 160"/>
              <a:gd name="T92" fmla="*/ 61 w 160"/>
              <a:gd name="T93" fmla="*/ 19 h 160"/>
              <a:gd name="T94" fmla="*/ 85 w 160"/>
              <a:gd name="T95" fmla="*/ 20 h 160"/>
              <a:gd name="T96" fmla="*/ 117 w 160"/>
              <a:gd name="T97" fmla="*/ 28 h 160"/>
              <a:gd name="T98" fmla="*/ 125 w 160"/>
              <a:gd name="T99" fmla="*/ 33 h 160"/>
              <a:gd name="T100" fmla="*/ 128 w 160"/>
              <a:gd name="T101" fmla="*/ 39 h 160"/>
              <a:gd name="T102" fmla="*/ 5 w 160"/>
              <a:gd name="T103" fmla="*/ 135 h 160"/>
              <a:gd name="T104" fmla="*/ 128 w 160"/>
              <a:gd name="T105" fmla="*/ 113 h 160"/>
              <a:gd name="T106" fmla="*/ 67 w 160"/>
              <a:gd name="T107" fmla="*/ 155 h 160"/>
              <a:gd name="T108" fmla="*/ 137 w 160"/>
              <a:gd name="T109"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60">
                <a:moveTo>
                  <a:pt x="93" y="0"/>
                </a:moveTo>
                <a:cubicBezTo>
                  <a:pt x="64" y="0"/>
                  <a:pt x="38" y="7"/>
                  <a:pt x="30" y="17"/>
                </a:cubicBezTo>
                <a:cubicBezTo>
                  <a:pt x="12" y="22"/>
                  <a:pt x="2" y="29"/>
                  <a:pt x="0" y="36"/>
                </a:cubicBezTo>
                <a:cubicBezTo>
                  <a:pt x="0" y="36"/>
                  <a:pt x="0" y="37"/>
                  <a:pt x="0" y="37"/>
                </a:cubicBezTo>
                <a:cubicBezTo>
                  <a:pt x="0" y="39"/>
                  <a:pt x="0" y="39"/>
                  <a:pt x="0" y="39"/>
                </a:cubicBezTo>
                <a:cubicBezTo>
                  <a:pt x="0" y="69"/>
                  <a:pt x="0" y="69"/>
                  <a:pt x="0" y="69"/>
                </a:cubicBezTo>
                <a:cubicBezTo>
                  <a:pt x="0" y="71"/>
                  <a:pt x="0" y="71"/>
                  <a:pt x="0" y="71"/>
                </a:cubicBezTo>
                <a:cubicBezTo>
                  <a:pt x="0" y="72"/>
                  <a:pt x="0" y="72"/>
                  <a:pt x="0" y="72"/>
                </a:cubicBezTo>
                <a:cubicBezTo>
                  <a:pt x="0" y="101"/>
                  <a:pt x="0" y="101"/>
                  <a:pt x="0" y="101"/>
                </a:cubicBezTo>
                <a:cubicBezTo>
                  <a:pt x="0" y="103"/>
                  <a:pt x="0" y="103"/>
                  <a:pt x="0" y="103"/>
                </a:cubicBezTo>
                <a:cubicBezTo>
                  <a:pt x="0" y="104"/>
                  <a:pt x="0" y="104"/>
                  <a:pt x="0" y="104"/>
                </a:cubicBezTo>
                <a:cubicBezTo>
                  <a:pt x="0" y="136"/>
                  <a:pt x="0" y="136"/>
                  <a:pt x="0" y="136"/>
                </a:cubicBezTo>
                <a:cubicBezTo>
                  <a:pt x="0" y="136"/>
                  <a:pt x="0" y="137"/>
                  <a:pt x="0" y="137"/>
                </a:cubicBezTo>
                <a:cubicBezTo>
                  <a:pt x="3" y="150"/>
                  <a:pt x="32" y="160"/>
                  <a:pt x="67" y="160"/>
                </a:cubicBezTo>
                <a:cubicBezTo>
                  <a:pt x="97" y="160"/>
                  <a:pt x="122" y="153"/>
                  <a:pt x="130" y="143"/>
                </a:cubicBezTo>
                <a:cubicBezTo>
                  <a:pt x="147" y="138"/>
                  <a:pt x="158" y="132"/>
                  <a:pt x="160" y="124"/>
                </a:cubicBezTo>
                <a:cubicBezTo>
                  <a:pt x="160" y="124"/>
                  <a:pt x="160" y="123"/>
                  <a:pt x="160" y="123"/>
                </a:cubicBezTo>
                <a:cubicBezTo>
                  <a:pt x="160" y="91"/>
                  <a:pt x="160" y="91"/>
                  <a:pt x="160" y="91"/>
                </a:cubicBezTo>
                <a:cubicBezTo>
                  <a:pt x="160" y="89"/>
                  <a:pt x="160" y="89"/>
                  <a:pt x="160" y="89"/>
                </a:cubicBezTo>
                <a:cubicBezTo>
                  <a:pt x="160" y="59"/>
                  <a:pt x="160" y="59"/>
                  <a:pt x="160" y="59"/>
                </a:cubicBezTo>
                <a:cubicBezTo>
                  <a:pt x="160" y="57"/>
                  <a:pt x="160" y="57"/>
                  <a:pt x="160" y="57"/>
                </a:cubicBezTo>
                <a:cubicBezTo>
                  <a:pt x="160" y="25"/>
                  <a:pt x="160" y="25"/>
                  <a:pt x="160" y="25"/>
                </a:cubicBezTo>
                <a:cubicBezTo>
                  <a:pt x="160" y="13"/>
                  <a:pt x="137" y="0"/>
                  <a:pt x="93" y="0"/>
                </a:cubicBezTo>
                <a:close/>
                <a:moveTo>
                  <a:pt x="127" y="105"/>
                </a:moveTo>
                <a:cubicBezTo>
                  <a:pt x="127" y="105"/>
                  <a:pt x="127" y="105"/>
                  <a:pt x="127" y="106"/>
                </a:cubicBezTo>
                <a:cubicBezTo>
                  <a:pt x="127" y="106"/>
                  <a:pt x="127" y="106"/>
                  <a:pt x="126" y="107"/>
                </a:cubicBezTo>
                <a:cubicBezTo>
                  <a:pt x="126" y="107"/>
                  <a:pt x="126" y="107"/>
                  <a:pt x="126" y="107"/>
                </a:cubicBezTo>
                <a:cubicBezTo>
                  <a:pt x="126" y="108"/>
                  <a:pt x="125" y="108"/>
                  <a:pt x="125" y="108"/>
                </a:cubicBezTo>
                <a:cubicBezTo>
                  <a:pt x="125" y="109"/>
                  <a:pt x="124" y="109"/>
                  <a:pt x="124" y="109"/>
                </a:cubicBezTo>
                <a:cubicBezTo>
                  <a:pt x="124" y="110"/>
                  <a:pt x="123" y="110"/>
                  <a:pt x="123" y="110"/>
                </a:cubicBezTo>
                <a:cubicBezTo>
                  <a:pt x="123" y="110"/>
                  <a:pt x="122" y="111"/>
                  <a:pt x="122" y="111"/>
                </a:cubicBezTo>
                <a:cubicBezTo>
                  <a:pt x="122" y="111"/>
                  <a:pt x="121" y="112"/>
                  <a:pt x="120" y="112"/>
                </a:cubicBezTo>
                <a:cubicBezTo>
                  <a:pt x="120" y="112"/>
                  <a:pt x="120" y="112"/>
                  <a:pt x="120" y="112"/>
                </a:cubicBezTo>
                <a:cubicBezTo>
                  <a:pt x="119" y="113"/>
                  <a:pt x="118" y="113"/>
                  <a:pt x="117" y="114"/>
                </a:cubicBezTo>
                <a:cubicBezTo>
                  <a:pt x="117" y="114"/>
                  <a:pt x="117" y="114"/>
                  <a:pt x="117" y="114"/>
                </a:cubicBezTo>
                <a:cubicBezTo>
                  <a:pt x="116" y="114"/>
                  <a:pt x="115" y="115"/>
                  <a:pt x="114" y="115"/>
                </a:cubicBezTo>
                <a:cubicBezTo>
                  <a:pt x="114" y="115"/>
                  <a:pt x="114" y="115"/>
                  <a:pt x="114" y="115"/>
                </a:cubicBezTo>
                <a:cubicBezTo>
                  <a:pt x="107" y="118"/>
                  <a:pt x="100" y="120"/>
                  <a:pt x="91" y="121"/>
                </a:cubicBezTo>
                <a:cubicBezTo>
                  <a:pt x="91" y="121"/>
                  <a:pt x="91" y="121"/>
                  <a:pt x="91" y="121"/>
                </a:cubicBezTo>
                <a:cubicBezTo>
                  <a:pt x="89" y="121"/>
                  <a:pt x="87" y="121"/>
                  <a:pt x="85" y="122"/>
                </a:cubicBezTo>
                <a:cubicBezTo>
                  <a:pt x="85" y="122"/>
                  <a:pt x="85" y="122"/>
                  <a:pt x="84" y="122"/>
                </a:cubicBezTo>
                <a:cubicBezTo>
                  <a:pt x="83" y="122"/>
                  <a:pt x="81" y="122"/>
                  <a:pt x="79" y="122"/>
                </a:cubicBezTo>
                <a:cubicBezTo>
                  <a:pt x="79" y="122"/>
                  <a:pt x="78" y="122"/>
                  <a:pt x="77" y="122"/>
                </a:cubicBezTo>
                <a:cubicBezTo>
                  <a:pt x="76" y="122"/>
                  <a:pt x="74" y="123"/>
                  <a:pt x="73" y="123"/>
                </a:cubicBezTo>
                <a:cubicBezTo>
                  <a:pt x="71" y="123"/>
                  <a:pt x="69" y="123"/>
                  <a:pt x="67" y="123"/>
                </a:cubicBezTo>
                <a:cubicBezTo>
                  <a:pt x="64" y="123"/>
                  <a:pt x="62" y="123"/>
                  <a:pt x="60" y="123"/>
                </a:cubicBezTo>
                <a:cubicBezTo>
                  <a:pt x="59" y="123"/>
                  <a:pt x="58" y="122"/>
                  <a:pt x="56" y="122"/>
                </a:cubicBezTo>
                <a:cubicBezTo>
                  <a:pt x="56" y="122"/>
                  <a:pt x="55" y="122"/>
                  <a:pt x="54" y="122"/>
                </a:cubicBezTo>
                <a:cubicBezTo>
                  <a:pt x="52" y="122"/>
                  <a:pt x="51" y="122"/>
                  <a:pt x="49" y="122"/>
                </a:cubicBezTo>
                <a:cubicBezTo>
                  <a:pt x="49" y="122"/>
                  <a:pt x="48" y="122"/>
                  <a:pt x="48" y="122"/>
                </a:cubicBezTo>
                <a:cubicBezTo>
                  <a:pt x="46" y="121"/>
                  <a:pt x="45" y="121"/>
                  <a:pt x="43" y="121"/>
                </a:cubicBezTo>
                <a:cubicBezTo>
                  <a:pt x="43" y="121"/>
                  <a:pt x="43" y="121"/>
                  <a:pt x="43" y="121"/>
                </a:cubicBezTo>
                <a:cubicBezTo>
                  <a:pt x="34" y="120"/>
                  <a:pt x="26" y="118"/>
                  <a:pt x="20" y="115"/>
                </a:cubicBezTo>
                <a:cubicBezTo>
                  <a:pt x="20" y="115"/>
                  <a:pt x="20" y="115"/>
                  <a:pt x="20" y="115"/>
                </a:cubicBezTo>
                <a:cubicBezTo>
                  <a:pt x="19" y="115"/>
                  <a:pt x="18" y="114"/>
                  <a:pt x="17" y="114"/>
                </a:cubicBezTo>
                <a:cubicBezTo>
                  <a:pt x="16" y="114"/>
                  <a:pt x="16" y="114"/>
                  <a:pt x="16" y="114"/>
                </a:cubicBezTo>
                <a:cubicBezTo>
                  <a:pt x="15" y="113"/>
                  <a:pt x="14" y="113"/>
                  <a:pt x="14" y="112"/>
                </a:cubicBezTo>
                <a:cubicBezTo>
                  <a:pt x="13" y="112"/>
                  <a:pt x="13" y="112"/>
                  <a:pt x="13" y="112"/>
                </a:cubicBezTo>
                <a:cubicBezTo>
                  <a:pt x="12" y="112"/>
                  <a:pt x="12" y="111"/>
                  <a:pt x="11" y="111"/>
                </a:cubicBezTo>
                <a:cubicBezTo>
                  <a:pt x="11" y="111"/>
                  <a:pt x="11" y="110"/>
                  <a:pt x="10" y="110"/>
                </a:cubicBezTo>
                <a:cubicBezTo>
                  <a:pt x="10" y="110"/>
                  <a:pt x="10" y="109"/>
                  <a:pt x="9" y="109"/>
                </a:cubicBezTo>
                <a:cubicBezTo>
                  <a:pt x="9" y="109"/>
                  <a:pt x="9" y="109"/>
                  <a:pt x="8" y="108"/>
                </a:cubicBezTo>
                <a:cubicBezTo>
                  <a:pt x="8" y="108"/>
                  <a:pt x="8" y="108"/>
                  <a:pt x="7" y="107"/>
                </a:cubicBezTo>
                <a:cubicBezTo>
                  <a:pt x="7" y="107"/>
                  <a:pt x="7" y="107"/>
                  <a:pt x="7" y="107"/>
                </a:cubicBezTo>
                <a:cubicBezTo>
                  <a:pt x="7" y="106"/>
                  <a:pt x="6" y="106"/>
                  <a:pt x="6" y="106"/>
                </a:cubicBezTo>
                <a:cubicBezTo>
                  <a:pt x="6" y="105"/>
                  <a:pt x="6" y="105"/>
                  <a:pt x="6" y="105"/>
                </a:cubicBezTo>
                <a:cubicBezTo>
                  <a:pt x="6" y="105"/>
                  <a:pt x="6" y="104"/>
                  <a:pt x="6" y="104"/>
                </a:cubicBezTo>
                <a:cubicBezTo>
                  <a:pt x="5" y="104"/>
                  <a:pt x="5" y="103"/>
                  <a:pt x="5" y="103"/>
                </a:cubicBezTo>
                <a:cubicBezTo>
                  <a:pt x="5" y="102"/>
                  <a:pt x="5" y="102"/>
                  <a:pt x="5" y="102"/>
                </a:cubicBezTo>
                <a:cubicBezTo>
                  <a:pt x="5" y="101"/>
                  <a:pt x="5" y="101"/>
                  <a:pt x="5" y="101"/>
                </a:cubicBezTo>
                <a:cubicBezTo>
                  <a:pt x="5" y="81"/>
                  <a:pt x="5" y="81"/>
                  <a:pt x="5" y="81"/>
                </a:cubicBezTo>
                <a:cubicBezTo>
                  <a:pt x="5" y="81"/>
                  <a:pt x="6" y="81"/>
                  <a:pt x="6" y="81"/>
                </a:cubicBezTo>
                <a:cubicBezTo>
                  <a:pt x="6" y="82"/>
                  <a:pt x="7" y="82"/>
                  <a:pt x="7" y="83"/>
                </a:cubicBezTo>
                <a:cubicBezTo>
                  <a:pt x="17" y="90"/>
                  <a:pt x="38" y="96"/>
                  <a:pt x="67" y="96"/>
                </a:cubicBezTo>
                <a:cubicBezTo>
                  <a:pt x="96" y="96"/>
                  <a:pt x="116" y="90"/>
                  <a:pt x="126" y="83"/>
                </a:cubicBezTo>
                <a:cubicBezTo>
                  <a:pt x="127" y="82"/>
                  <a:pt x="127" y="81"/>
                  <a:pt x="128" y="81"/>
                </a:cubicBezTo>
                <a:cubicBezTo>
                  <a:pt x="128" y="81"/>
                  <a:pt x="128" y="81"/>
                  <a:pt x="128" y="81"/>
                </a:cubicBezTo>
                <a:cubicBezTo>
                  <a:pt x="128" y="101"/>
                  <a:pt x="128" y="101"/>
                  <a:pt x="128" y="101"/>
                </a:cubicBezTo>
                <a:cubicBezTo>
                  <a:pt x="128" y="101"/>
                  <a:pt x="128" y="101"/>
                  <a:pt x="128" y="102"/>
                </a:cubicBezTo>
                <a:cubicBezTo>
                  <a:pt x="128" y="102"/>
                  <a:pt x="128" y="102"/>
                  <a:pt x="128" y="103"/>
                </a:cubicBezTo>
                <a:cubicBezTo>
                  <a:pt x="128" y="103"/>
                  <a:pt x="128" y="104"/>
                  <a:pt x="128" y="104"/>
                </a:cubicBezTo>
                <a:cubicBezTo>
                  <a:pt x="128" y="104"/>
                  <a:pt x="128" y="105"/>
                  <a:pt x="127" y="105"/>
                </a:cubicBezTo>
                <a:close/>
                <a:moveTo>
                  <a:pt x="7" y="50"/>
                </a:moveTo>
                <a:cubicBezTo>
                  <a:pt x="8" y="51"/>
                  <a:pt x="9" y="51"/>
                  <a:pt x="10" y="52"/>
                </a:cubicBezTo>
                <a:cubicBezTo>
                  <a:pt x="10" y="52"/>
                  <a:pt x="10" y="52"/>
                  <a:pt x="10" y="52"/>
                </a:cubicBezTo>
                <a:cubicBezTo>
                  <a:pt x="11" y="53"/>
                  <a:pt x="12" y="53"/>
                  <a:pt x="13" y="54"/>
                </a:cubicBezTo>
                <a:cubicBezTo>
                  <a:pt x="13" y="54"/>
                  <a:pt x="13" y="54"/>
                  <a:pt x="14" y="54"/>
                </a:cubicBezTo>
                <a:cubicBezTo>
                  <a:pt x="15" y="55"/>
                  <a:pt x="16" y="55"/>
                  <a:pt x="17" y="56"/>
                </a:cubicBezTo>
                <a:cubicBezTo>
                  <a:pt x="17" y="56"/>
                  <a:pt x="17" y="56"/>
                  <a:pt x="17" y="56"/>
                </a:cubicBezTo>
                <a:cubicBezTo>
                  <a:pt x="18" y="57"/>
                  <a:pt x="20" y="57"/>
                  <a:pt x="21" y="58"/>
                </a:cubicBezTo>
                <a:cubicBezTo>
                  <a:pt x="22" y="58"/>
                  <a:pt x="22" y="58"/>
                  <a:pt x="22" y="58"/>
                </a:cubicBezTo>
                <a:cubicBezTo>
                  <a:pt x="23" y="58"/>
                  <a:pt x="25" y="59"/>
                  <a:pt x="26" y="59"/>
                </a:cubicBezTo>
                <a:cubicBezTo>
                  <a:pt x="26" y="59"/>
                  <a:pt x="27" y="59"/>
                  <a:pt x="27" y="59"/>
                </a:cubicBezTo>
                <a:cubicBezTo>
                  <a:pt x="29" y="60"/>
                  <a:pt x="30" y="60"/>
                  <a:pt x="32" y="61"/>
                </a:cubicBezTo>
                <a:cubicBezTo>
                  <a:pt x="32" y="61"/>
                  <a:pt x="32" y="61"/>
                  <a:pt x="33" y="61"/>
                </a:cubicBezTo>
                <a:cubicBezTo>
                  <a:pt x="34" y="61"/>
                  <a:pt x="36" y="61"/>
                  <a:pt x="37" y="62"/>
                </a:cubicBezTo>
                <a:cubicBezTo>
                  <a:pt x="38" y="62"/>
                  <a:pt x="38" y="62"/>
                  <a:pt x="39" y="62"/>
                </a:cubicBezTo>
                <a:cubicBezTo>
                  <a:pt x="40" y="62"/>
                  <a:pt x="42" y="62"/>
                  <a:pt x="44" y="63"/>
                </a:cubicBezTo>
                <a:cubicBezTo>
                  <a:pt x="44" y="63"/>
                  <a:pt x="44" y="63"/>
                  <a:pt x="45" y="63"/>
                </a:cubicBezTo>
                <a:cubicBezTo>
                  <a:pt x="47" y="63"/>
                  <a:pt x="49" y="63"/>
                  <a:pt x="51" y="63"/>
                </a:cubicBezTo>
                <a:cubicBezTo>
                  <a:pt x="51" y="63"/>
                  <a:pt x="52" y="63"/>
                  <a:pt x="52" y="63"/>
                </a:cubicBezTo>
                <a:cubicBezTo>
                  <a:pt x="54" y="64"/>
                  <a:pt x="56" y="64"/>
                  <a:pt x="58" y="64"/>
                </a:cubicBezTo>
                <a:cubicBezTo>
                  <a:pt x="58" y="64"/>
                  <a:pt x="59" y="64"/>
                  <a:pt x="60" y="64"/>
                </a:cubicBezTo>
                <a:cubicBezTo>
                  <a:pt x="62" y="64"/>
                  <a:pt x="64" y="64"/>
                  <a:pt x="67" y="64"/>
                </a:cubicBezTo>
                <a:cubicBezTo>
                  <a:pt x="69" y="64"/>
                  <a:pt x="71" y="64"/>
                  <a:pt x="74" y="64"/>
                </a:cubicBezTo>
                <a:cubicBezTo>
                  <a:pt x="74" y="64"/>
                  <a:pt x="75" y="64"/>
                  <a:pt x="76" y="64"/>
                </a:cubicBezTo>
                <a:cubicBezTo>
                  <a:pt x="77" y="64"/>
                  <a:pt x="79" y="64"/>
                  <a:pt x="81" y="63"/>
                </a:cubicBezTo>
                <a:cubicBezTo>
                  <a:pt x="81" y="63"/>
                  <a:pt x="82" y="63"/>
                  <a:pt x="82" y="63"/>
                </a:cubicBezTo>
                <a:cubicBezTo>
                  <a:pt x="85" y="63"/>
                  <a:pt x="87" y="63"/>
                  <a:pt x="89" y="63"/>
                </a:cubicBezTo>
                <a:cubicBezTo>
                  <a:pt x="89" y="63"/>
                  <a:pt x="89" y="63"/>
                  <a:pt x="90" y="63"/>
                </a:cubicBezTo>
                <a:cubicBezTo>
                  <a:pt x="91" y="62"/>
                  <a:pt x="93" y="62"/>
                  <a:pt x="94" y="62"/>
                </a:cubicBezTo>
                <a:cubicBezTo>
                  <a:pt x="95" y="62"/>
                  <a:pt x="96" y="62"/>
                  <a:pt x="96" y="62"/>
                </a:cubicBezTo>
                <a:cubicBezTo>
                  <a:pt x="98" y="61"/>
                  <a:pt x="99" y="61"/>
                  <a:pt x="101" y="61"/>
                </a:cubicBezTo>
                <a:cubicBezTo>
                  <a:pt x="101" y="61"/>
                  <a:pt x="101" y="61"/>
                  <a:pt x="101" y="61"/>
                </a:cubicBezTo>
                <a:cubicBezTo>
                  <a:pt x="103" y="60"/>
                  <a:pt x="105" y="60"/>
                  <a:pt x="106" y="59"/>
                </a:cubicBezTo>
                <a:cubicBezTo>
                  <a:pt x="107" y="59"/>
                  <a:pt x="107" y="59"/>
                  <a:pt x="108" y="59"/>
                </a:cubicBezTo>
                <a:cubicBezTo>
                  <a:pt x="109" y="59"/>
                  <a:pt x="110" y="58"/>
                  <a:pt x="111" y="58"/>
                </a:cubicBezTo>
                <a:cubicBezTo>
                  <a:pt x="111" y="58"/>
                  <a:pt x="112" y="58"/>
                  <a:pt x="112" y="58"/>
                </a:cubicBezTo>
                <a:cubicBezTo>
                  <a:pt x="114" y="57"/>
                  <a:pt x="115" y="57"/>
                  <a:pt x="116" y="56"/>
                </a:cubicBezTo>
                <a:cubicBezTo>
                  <a:pt x="116" y="56"/>
                  <a:pt x="116" y="56"/>
                  <a:pt x="117" y="56"/>
                </a:cubicBezTo>
                <a:cubicBezTo>
                  <a:pt x="118" y="55"/>
                  <a:pt x="119" y="55"/>
                  <a:pt x="120" y="54"/>
                </a:cubicBezTo>
                <a:cubicBezTo>
                  <a:pt x="120" y="54"/>
                  <a:pt x="120" y="54"/>
                  <a:pt x="121" y="54"/>
                </a:cubicBezTo>
                <a:cubicBezTo>
                  <a:pt x="122" y="53"/>
                  <a:pt x="122" y="53"/>
                  <a:pt x="123" y="52"/>
                </a:cubicBezTo>
                <a:cubicBezTo>
                  <a:pt x="123" y="52"/>
                  <a:pt x="124" y="52"/>
                  <a:pt x="124" y="52"/>
                </a:cubicBezTo>
                <a:cubicBezTo>
                  <a:pt x="125" y="51"/>
                  <a:pt x="126" y="51"/>
                  <a:pt x="126" y="50"/>
                </a:cubicBezTo>
                <a:cubicBezTo>
                  <a:pt x="127" y="50"/>
                  <a:pt x="127" y="50"/>
                  <a:pt x="127" y="50"/>
                </a:cubicBezTo>
                <a:cubicBezTo>
                  <a:pt x="127" y="49"/>
                  <a:pt x="128" y="49"/>
                  <a:pt x="128" y="49"/>
                </a:cubicBezTo>
                <a:cubicBezTo>
                  <a:pt x="128" y="69"/>
                  <a:pt x="128" y="69"/>
                  <a:pt x="128" y="69"/>
                </a:cubicBezTo>
                <a:cubicBezTo>
                  <a:pt x="128" y="69"/>
                  <a:pt x="128" y="69"/>
                  <a:pt x="128" y="70"/>
                </a:cubicBezTo>
                <a:cubicBezTo>
                  <a:pt x="128" y="70"/>
                  <a:pt x="128" y="70"/>
                  <a:pt x="128" y="71"/>
                </a:cubicBezTo>
                <a:cubicBezTo>
                  <a:pt x="128" y="71"/>
                  <a:pt x="128" y="72"/>
                  <a:pt x="128" y="72"/>
                </a:cubicBezTo>
                <a:cubicBezTo>
                  <a:pt x="128" y="72"/>
                  <a:pt x="128" y="73"/>
                  <a:pt x="127" y="73"/>
                </a:cubicBezTo>
                <a:cubicBezTo>
                  <a:pt x="127" y="73"/>
                  <a:pt x="127" y="73"/>
                  <a:pt x="127" y="74"/>
                </a:cubicBezTo>
                <a:cubicBezTo>
                  <a:pt x="127" y="74"/>
                  <a:pt x="127" y="74"/>
                  <a:pt x="126" y="75"/>
                </a:cubicBezTo>
                <a:cubicBezTo>
                  <a:pt x="126" y="75"/>
                  <a:pt x="126" y="75"/>
                  <a:pt x="126" y="75"/>
                </a:cubicBezTo>
                <a:cubicBezTo>
                  <a:pt x="126" y="76"/>
                  <a:pt x="125" y="76"/>
                  <a:pt x="125" y="76"/>
                </a:cubicBezTo>
                <a:cubicBezTo>
                  <a:pt x="125" y="77"/>
                  <a:pt x="124" y="77"/>
                  <a:pt x="124" y="77"/>
                </a:cubicBezTo>
                <a:cubicBezTo>
                  <a:pt x="124" y="78"/>
                  <a:pt x="123" y="78"/>
                  <a:pt x="123" y="78"/>
                </a:cubicBezTo>
                <a:cubicBezTo>
                  <a:pt x="123" y="78"/>
                  <a:pt x="122" y="79"/>
                  <a:pt x="122" y="79"/>
                </a:cubicBezTo>
                <a:cubicBezTo>
                  <a:pt x="122" y="79"/>
                  <a:pt x="121" y="80"/>
                  <a:pt x="120" y="80"/>
                </a:cubicBezTo>
                <a:cubicBezTo>
                  <a:pt x="120" y="80"/>
                  <a:pt x="120" y="80"/>
                  <a:pt x="120" y="80"/>
                </a:cubicBezTo>
                <a:cubicBezTo>
                  <a:pt x="119" y="81"/>
                  <a:pt x="118" y="81"/>
                  <a:pt x="117" y="82"/>
                </a:cubicBezTo>
                <a:cubicBezTo>
                  <a:pt x="117" y="82"/>
                  <a:pt x="117" y="82"/>
                  <a:pt x="117" y="82"/>
                </a:cubicBezTo>
                <a:cubicBezTo>
                  <a:pt x="116" y="82"/>
                  <a:pt x="115" y="83"/>
                  <a:pt x="114" y="83"/>
                </a:cubicBezTo>
                <a:cubicBezTo>
                  <a:pt x="114" y="83"/>
                  <a:pt x="114" y="83"/>
                  <a:pt x="114" y="83"/>
                </a:cubicBezTo>
                <a:cubicBezTo>
                  <a:pt x="107" y="86"/>
                  <a:pt x="100" y="88"/>
                  <a:pt x="91" y="89"/>
                </a:cubicBezTo>
                <a:cubicBezTo>
                  <a:pt x="91" y="89"/>
                  <a:pt x="91" y="89"/>
                  <a:pt x="91" y="89"/>
                </a:cubicBezTo>
                <a:cubicBezTo>
                  <a:pt x="89" y="89"/>
                  <a:pt x="87" y="89"/>
                  <a:pt x="85" y="90"/>
                </a:cubicBezTo>
                <a:cubicBezTo>
                  <a:pt x="85" y="90"/>
                  <a:pt x="85" y="90"/>
                  <a:pt x="84" y="90"/>
                </a:cubicBezTo>
                <a:cubicBezTo>
                  <a:pt x="83" y="90"/>
                  <a:pt x="81" y="90"/>
                  <a:pt x="79" y="90"/>
                </a:cubicBezTo>
                <a:cubicBezTo>
                  <a:pt x="79" y="90"/>
                  <a:pt x="78" y="90"/>
                  <a:pt x="77" y="90"/>
                </a:cubicBezTo>
                <a:cubicBezTo>
                  <a:pt x="76" y="90"/>
                  <a:pt x="74" y="91"/>
                  <a:pt x="73" y="91"/>
                </a:cubicBezTo>
                <a:cubicBezTo>
                  <a:pt x="71" y="91"/>
                  <a:pt x="69" y="91"/>
                  <a:pt x="67" y="91"/>
                </a:cubicBezTo>
                <a:cubicBezTo>
                  <a:pt x="64" y="91"/>
                  <a:pt x="62" y="91"/>
                  <a:pt x="60" y="91"/>
                </a:cubicBezTo>
                <a:cubicBezTo>
                  <a:pt x="59" y="91"/>
                  <a:pt x="58" y="90"/>
                  <a:pt x="56" y="90"/>
                </a:cubicBezTo>
                <a:cubicBezTo>
                  <a:pt x="56" y="90"/>
                  <a:pt x="55" y="90"/>
                  <a:pt x="54" y="90"/>
                </a:cubicBezTo>
                <a:cubicBezTo>
                  <a:pt x="52" y="90"/>
                  <a:pt x="51" y="90"/>
                  <a:pt x="49" y="90"/>
                </a:cubicBezTo>
                <a:cubicBezTo>
                  <a:pt x="49" y="90"/>
                  <a:pt x="48" y="90"/>
                  <a:pt x="48" y="90"/>
                </a:cubicBezTo>
                <a:cubicBezTo>
                  <a:pt x="46" y="89"/>
                  <a:pt x="45" y="89"/>
                  <a:pt x="43" y="89"/>
                </a:cubicBezTo>
                <a:cubicBezTo>
                  <a:pt x="43" y="89"/>
                  <a:pt x="43" y="89"/>
                  <a:pt x="43" y="89"/>
                </a:cubicBezTo>
                <a:cubicBezTo>
                  <a:pt x="34" y="88"/>
                  <a:pt x="26" y="86"/>
                  <a:pt x="20" y="83"/>
                </a:cubicBezTo>
                <a:cubicBezTo>
                  <a:pt x="20" y="83"/>
                  <a:pt x="20" y="83"/>
                  <a:pt x="20" y="83"/>
                </a:cubicBezTo>
                <a:cubicBezTo>
                  <a:pt x="19" y="83"/>
                  <a:pt x="18" y="82"/>
                  <a:pt x="17" y="82"/>
                </a:cubicBezTo>
                <a:cubicBezTo>
                  <a:pt x="16" y="82"/>
                  <a:pt x="16" y="82"/>
                  <a:pt x="16" y="82"/>
                </a:cubicBezTo>
                <a:cubicBezTo>
                  <a:pt x="15" y="81"/>
                  <a:pt x="14" y="81"/>
                  <a:pt x="14" y="80"/>
                </a:cubicBezTo>
                <a:cubicBezTo>
                  <a:pt x="13" y="80"/>
                  <a:pt x="13" y="80"/>
                  <a:pt x="13" y="80"/>
                </a:cubicBezTo>
                <a:cubicBezTo>
                  <a:pt x="12" y="80"/>
                  <a:pt x="12" y="79"/>
                  <a:pt x="11" y="79"/>
                </a:cubicBezTo>
                <a:cubicBezTo>
                  <a:pt x="11" y="79"/>
                  <a:pt x="11" y="78"/>
                  <a:pt x="10" y="78"/>
                </a:cubicBezTo>
                <a:cubicBezTo>
                  <a:pt x="10" y="78"/>
                  <a:pt x="10" y="77"/>
                  <a:pt x="9" y="77"/>
                </a:cubicBezTo>
                <a:cubicBezTo>
                  <a:pt x="9" y="77"/>
                  <a:pt x="9" y="77"/>
                  <a:pt x="8" y="76"/>
                </a:cubicBezTo>
                <a:cubicBezTo>
                  <a:pt x="8" y="76"/>
                  <a:pt x="8" y="76"/>
                  <a:pt x="7" y="75"/>
                </a:cubicBezTo>
                <a:cubicBezTo>
                  <a:pt x="7" y="75"/>
                  <a:pt x="7" y="75"/>
                  <a:pt x="7" y="75"/>
                </a:cubicBezTo>
                <a:cubicBezTo>
                  <a:pt x="7" y="74"/>
                  <a:pt x="6" y="74"/>
                  <a:pt x="6" y="74"/>
                </a:cubicBezTo>
                <a:cubicBezTo>
                  <a:pt x="6" y="73"/>
                  <a:pt x="6" y="73"/>
                  <a:pt x="6" y="73"/>
                </a:cubicBezTo>
                <a:cubicBezTo>
                  <a:pt x="6" y="73"/>
                  <a:pt x="6" y="72"/>
                  <a:pt x="6" y="72"/>
                </a:cubicBezTo>
                <a:cubicBezTo>
                  <a:pt x="5" y="72"/>
                  <a:pt x="5" y="71"/>
                  <a:pt x="5" y="71"/>
                </a:cubicBezTo>
                <a:cubicBezTo>
                  <a:pt x="5" y="70"/>
                  <a:pt x="5" y="70"/>
                  <a:pt x="5" y="70"/>
                </a:cubicBezTo>
                <a:cubicBezTo>
                  <a:pt x="5" y="69"/>
                  <a:pt x="5" y="69"/>
                  <a:pt x="5" y="69"/>
                </a:cubicBezTo>
                <a:cubicBezTo>
                  <a:pt x="5" y="49"/>
                  <a:pt x="5" y="49"/>
                  <a:pt x="5" y="49"/>
                </a:cubicBezTo>
                <a:cubicBezTo>
                  <a:pt x="6" y="49"/>
                  <a:pt x="6" y="49"/>
                  <a:pt x="6" y="50"/>
                </a:cubicBezTo>
                <a:cubicBezTo>
                  <a:pt x="7" y="50"/>
                  <a:pt x="7" y="50"/>
                  <a:pt x="7" y="50"/>
                </a:cubicBezTo>
                <a:close/>
                <a:moveTo>
                  <a:pt x="133" y="104"/>
                </a:moveTo>
                <a:cubicBezTo>
                  <a:pt x="133" y="104"/>
                  <a:pt x="133" y="104"/>
                  <a:pt x="133" y="104"/>
                </a:cubicBezTo>
                <a:cubicBezTo>
                  <a:pt x="133" y="103"/>
                  <a:pt x="133" y="103"/>
                  <a:pt x="133" y="103"/>
                </a:cubicBezTo>
                <a:cubicBezTo>
                  <a:pt x="133" y="101"/>
                  <a:pt x="133" y="101"/>
                  <a:pt x="133" y="101"/>
                </a:cubicBezTo>
                <a:cubicBezTo>
                  <a:pt x="133" y="78"/>
                  <a:pt x="133" y="78"/>
                  <a:pt x="133" y="78"/>
                </a:cubicBezTo>
                <a:cubicBezTo>
                  <a:pt x="133" y="78"/>
                  <a:pt x="134" y="78"/>
                  <a:pt x="134" y="78"/>
                </a:cubicBezTo>
                <a:cubicBezTo>
                  <a:pt x="135" y="77"/>
                  <a:pt x="136" y="77"/>
                  <a:pt x="137" y="77"/>
                </a:cubicBezTo>
                <a:cubicBezTo>
                  <a:pt x="137" y="77"/>
                  <a:pt x="137" y="77"/>
                  <a:pt x="137" y="77"/>
                </a:cubicBezTo>
                <a:cubicBezTo>
                  <a:pt x="145" y="74"/>
                  <a:pt x="151" y="71"/>
                  <a:pt x="155" y="68"/>
                </a:cubicBezTo>
                <a:cubicBezTo>
                  <a:pt x="155" y="89"/>
                  <a:pt x="155" y="89"/>
                  <a:pt x="155" y="89"/>
                </a:cubicBezTo>
                <a:cubicBezTo>
                  <a:pt x="155" y="90"/>
                  <a:pt x="155" y="90"/>
                  <a:pt x="155" y="90"/>
                </a:cubicBezTo>
                <a:cubicBezTo>
                  <a:pt x="155" y="91"/>
                  <a:pt x="154" y="91"/>
                  <a:pt x="154" y="91"/>
                </a:cubicBezTo>
                <a:cubicBezTo>
                  <a:pt x="154" y="91"/>
                  <a:pt x="154" y="91"/>
                  <a:pt x="154" y="91"/>
                </a:cubicBezTo>
                <a:cubicBezTo>
                  <a:pt x="154" y="92"/>
                  <a:pt x="154" y="92"/>
                  <a:pt x="154" y="92"/>
                </a:cubicBezTo>
                <a:cubicBezTo>
                  <a:pt x="154" y="92"/>
                  <a:pt x="154" y="92"/>
                  <a:pt x="154" y="92"/>
                </a:cubicBezTo>
                <a:cubicBezTo>
                  <a:pt x="152" y="97"/>
                  <a:pt x="145" y="101"/>
                  <a:pt x="135" y="104"/>
                </a:cubicBezTo>
                <a:cubicBezTo>
                  <a:pt x="134" y="104"/>
                  <a:pt x="134" y="104"/>
                  <a:pt x="133" y="104"/>
                </a:cubicBezTo>
                <a:close/>
                <a:moveTo>
                  <a:pt x="155" y="36"/>
                </a:moveTo>
                <a:cubicBezTo>
                  <a:pt x="155" y="57"/>
                  <a:pt x="155" y="57"/>
                  <a:pt x="155" y="57"/>
                </a:cubicBezTo>
                <a:cubicBezTo>
                  <a:pt x="155" y="58"/>
                  <a:pt x="155" y="58"/>
                  <a:pt x="155" y="58"/>
                </a:cubicBezTo>
                <a:cubicBezTo>
                  <a:pt x="155" y="59"/>
                  <a:pt x="154" y="59"/>
                  <a:pt x="154" y="59"/>
                </a:cubicBezTo>
                <a:cubicBezTo>
                  <a:pt x="154" y="59"/>
                  <a:pt x="154" y="59"/>
                  <a:pt x="154" y="59"/>
                </a:cubicBezTo>
                <a:cubicBezTo>
                  <a:pt x="154" y="60"/>
                  <a:pt x="154" y="60"/>
                  <a:pt x="154" y="60"/>
                </a:cubicBezTo>
                <a:cubicBezTo>
                  <a:pt x="154" y="60"/>
                  <a:pt x="154" y="60"/>
                  <a:pt x="154" y="60"/>
                </a:cubicBezTo>
                <a:cubicBezTo>
                  <a:pt x="152" y="65"/>
                  <a:pt x="145" y="69"/>
                  <a:pt x="135" y="72"/>
                </a:cubicBezTo>
                <a:cubicBezTo>
                  <a:pt x="134" y="72"/>
                  <a:pt x="134" y="72"/>
                  <a:pt x="133" y="72"/>
                </a:cubicBezTo>
                <a:cubicBezTo>
                  <a:pt x="133" y="72"/>
                  <a:pt x="133" y="72"/>
                  <a:pt x="133" y="72"/>
                </a:cubicBezTo>
                <a:cubicBezTo>
                  <a:pt x="133" y="71"/>
                  <a:pt x="133" y="71"/>
                  <a:pt x="133" y="71"/>
                </a:cubicBezTo>
                <a:cubicBezTo>
                  <a:pt x="133" y="69"/>
                  <a:pt x="133" y="69"/>
                  <a:pt x="133" y="69"/>
                </a:cubicBezTo>
                <a:cubicBezTo>
                  <a:pt x="133" y="46"/>
                  <a:pt x="133" y="46"/>
                  <a:pt x="133" y="46"/>
                </a:cubicBezTo>
                <a:cubicBezTo>
                  <a:pt x="134" y="46"/>
                  <a:pt x="134" y="46"/>
                  <a:pt x="134" y="46"/>
                </a:cubicBezTo>
                <a:cubicBezTo>
                  <a:pt x="135" y="45"/>
                  <a:pt x="135" y="45"/>
                  <a:pt x="136" y="45"/>
                </a:cubicBezTo>
                <a:cubicBezTo>
                  <a:pt x="136" y="45"/>
                  <a:pt x="137" y="45"/>
                  <a:pt x="137" y="45"/>
                </a:cubicBezTo>
                <a:cubicBezTo>
                  <a:pt x="138" y="44"/>
                  <a:pt x="138" y="44"/>
                  <a:pt x="139" y="44"/>
                </a:cubicBezTo>
                <a:cubicBezTo>
                  <a:pt x="140" y="44"/>
                  <a:pt x="140" y="44"/>
                  <a:pt x="140" y="44"/>
                </a:cubicBezTo>
                <a:cubicBezTo>
                  <a:pt x="141" y="43"/>
                  <a:pt x="142" y="43"/>
                  <a:pt x="142" y="43"/>
                </a:cubicBezTo>
                <a:cubicBezTo>
                  <a:pt x="143" y="43"/>
                  <a:pt x="143" y="43"/>
                  <a:pt x="143" y="42"/>
                </a:cubicBezTo>
                <a:cubicBezTo>
                  <a:pt x="144" y="42"/>
                  <a:pt x="145" y="42"/>
                  <a:pt x="145" y="42"/>
                </a:cubicBezTo>
                <a:cubicBezTo>
                  <a:pt x="145" y="41"/>
                  <a:pt x="146" y="41"/>
                  <a:pt x="146" y="41"/>
                </a:cubicBezTo>
                <a:cubicBezTo>
                  <a:pt x="147" y="41"/>
                  <a:pt x="148" y="40"/>
                  <a:pt x="148" y="40"/>
                </a:cubicBezTo>
                <a:cubicBezTo>
                  <a:pt x="149" y="40"/>
                  <a:pt x="149" y="40"/>
                  <a:pt x="149" y="40"/>
                </a:cubicBezTo>
                <a:cubicBezTo>
                  <a:pt x="149" y="39"/>
                  <a:pt x="150" y="39"/>
                  <a:pt x="151" y="39"/>
                </a:cubicBezTo>
                <a:cubicBezTo>
                  <a:pt x="151" y="38"/>
                  <a:pt x="151" y="38"/>
                  <a:pt x="151" y="38"/>
                </a:cubicBezTo>
                <a:cubicBezTo>
                  <a:pt x="152" y="38"/>
                  <a:pt x="152" y="38"/>
                  <a:pt x="153" y="37"/>
                </a:cubicBezTo>
                <a:cubicBezTo>
                  <a:pt x="153" y="37"/>
                  <a:pt x="153" y="37"/>
                  <a:pt x="153" y="37"/>
                </a:cubicBezTo>
                <a:cubicBezTo>
                  <a:pt x="154" y="36"/>
                  <a:pt x="154" y="36"/>
                  <a:pt x="154" y="36"/>
                </a:cubicBezTo>
                <a:cubicBezTo>
                  <a:pt x="155" y="36"/>
                  <a:pt x="155" y="36"/>
                  <a:pt x="155" y="36"/>
                </a:cubicBezTo>
                <a:close/>
                <a:moveTo>
                  <a:pt x="93" y="5"/>
                </a:moveTo>
                <a:cubicBezTo>
                  <a:pt x="129" y="5"/>
                  <a:pt x="155" y="16"/>
                  <a:pt x="155" y="25"/>
                </a:cubicBezTo>
                <a:cubicBezTo>
                  <a:pt x="155" y="26"/>
                  <a:pt x="155" y="26"/>
                  <a:pt x="155" y="26"/>
                </a:cubicBezTo>
                <a:cubicBezTo>
                  <a:pt x="155" y="27"/>
                  <a:pt x="154" y="27"/>
                  <a:pt x="154" y="27"/>
                </a:cubicBezTo>
                <a:cubicBezTo>
                  <a:pt x="154" y="27"/>
                  <a:pt x="154" y="27"/>
                  <a:pt x="154" y="27"/>
                </a:cubicBezTo>
                <a:cubicBezTo>
                  <a:pt x="154" y="28"/>
                  <a:pt x="154" y="28"/>
                  <a:pt x="154" y="28"/>
                </a:cubicBezTo>
                <a:cubicBezTo>
                  <a:pt x="154" y="28"/>
                  <a:pt x="154" y="28"/>
                  <a:pt x="154" y="29"/>
                </a:cubicBezTo>
                <a:cubicBezTo>
                  <a:pt x="154" y="29"/>
                  <a:pt x="154" y="29"/>
                  <a:pt x="153" y="29"/>
                </a:cubicBezTo>
                <a:cubicBezTo>
                  <a:pt x="153" y="29"/>
                  <a:pt x="153" y="29"/>
                  <a:pt x="153" y="30"/>
                </a:cubicBezTo>
                <a:cubicBezTo>
                  <a:pt x="153" y="30"/>
                  <a:pt x="153" y="30"/>
                  <a:pt x="153" y="30"/>
                </a:cubicBezTo>
                <a:cubicBezTo>
                  <a:pt x="153" y="30"/>
                  <a:pt x="152" y="30"/>
                  <a:pt x="152" y="31"/>
                </a:cubicBezTo>
                <a:cubicBezTo>
                  <a:pt x="152" y="31"/>
                  <a:pt x="152" y="31"/>
                  <a:pt x="152" y="31"/>
                </a:cubicBezTo>
                <a:cubicBezTo>
                  <a:pt x="152" y="31"/>
                  <a:pt x="151" y="31"/>
                  <a:pt x="151" y="32"/>
                </a:cubicBezTo>
                <a:cubicBezTo>
                  <a:pt x="151" y="32"/>
                  <a:pt x="151" y="32"/>
                  <a:pt x="151" y="32"/>
                </a:cubicBezTo>
                <a:cubicBezTo>
                  <a:pt x="150" y="32"/>
                  <a:pt x="150" y="33"/>
                  <a:pt x="150" y="33"/>
                </a:cubicBezTo>
                <a:cubicBezTo>
                  <a:pt x="150" y="33"/>
                  <a:pt x="149" y="33"/>
                  <a:pt x="149" y="33"/>
                </a:cubicBezTo>
                <a:cubicBezTo>
                  <a:pt x="149" y="33"/>
                  <a:pt x="149" y="34"/>
                  <a:pt x="148" y="34"/>
                </a:cubicBezTo>
                <a:cubicBezTo>
                  <a:pt x="148" y="34"/>
                  <a:pt x="148" y="34"/>
                  <a:pt x="148" y="34"/>
                </a:cubicBezTo>
                <a:cubicBezTo>
                  <a:pt x="147" y="34"/>
                  <a:pt x="147" y="35"/>
                  <a:pt x="147" y="35"/>
                </a:cubicBezTo>
                <a:cubicBezTo>
                  <a:pt x="147" y="35"/>
                  <a:pt x="146" y="35"/>
                  <a:pt x="146" y="35"/>
                </a:cubicBezTo>
                <a:cubicBezTo>
                  <a:pt x="146" y="35"/>
                  <a:pt x="145" y="36"/>
                  <a:pt x="145" y="36"/>
                </a:cubicBezTo>
                <a:cubicBezTo>
                  <a:pt x="145" y="36"/>
                  <a:pt x="145" y="36"/>
                  <a:pt x="144" y="36"/>
                </a:cubicBezTo>
                <a:cubicBezTo>
                  <a:pt x="144" y="36"/>
                  <a:pt x="143" y="36"/>
                  <a:pt x="143" y="37"/>
                </a:cubicBezTo>
                <a:cubicBezTo>
                  <a:pt x="143" y="37"/>
                  <a:pt x="143" y="37"/>
                  <a:pt x="142" y="37"/>
                </a:cubicBezTo>
                <a:cubicBezTo>
                  <a:pt x="142" y="37"/>
                  <a:pt x="141" y="37"/>
                  <a:pt x="141" y="38"/>
                </a:cubicBezTo>
                <a:cubicBezTo>
                  <a:pt x="140" y="38"/>
                  <a:pt x="140" y="38"/>
                  <a:pt x="140" y="38"/>
                </a:cubicBezTo>
                <a:cubicBezTo>
                  <a:pt x="140" y="38"/>
                  <a:pt x="139" y="38"/>
                  <a:pt x="138" y="39"/>
                </a:cubicBezTo>
                <a:cubicBezTo>
                  <a:pt x="138" y="39"/>
                  <a:pt x="138" y="39"/>
                  <a:pt x="137" y="39"/>
                </a:cubicBezTo>
                <a:cubicBezTo>
                  <a:pt x="137" y="39"/>
                  <a:pt x="136" y="39"/>
                  <a:pt x="136" y="40"/>
                </a:cubicBezTo>
                <a:cubicBezTo>
                  <a:pt x="135" y="40"/>
                  <a:pt x="135" y="40"/>
                  <a:pt x="135" y="40"/>
                </a:cubicBezTo>
                <a:cubicBezTo>
                  <a:pt x="134" y="40"/>
                  <a:pt x="134" y="40"/>
                  <a:pt x="133" y="40"/>
                </a:cubicBezTo>
                <a:cubicBezTo>
                  <a:pt x="133" y="39"/>
                  <a:pt x="133" y="39"/>
                  <a:pt x="133" y="39"/>
                </a:cubicBezTo>
                <a:cubicBezTo>
                  <a:pt x="133" y="37"/>
                  <a:pt x="133" y="37"/>
                  <a:pt x="133" y="37"/>
                </a:cubicBezTo>
                <a:cubicBezTo>
                  <a:pt x="133" y="37"/>
                  <a:pt x="133" y="37"/>
                  <a:pt x="133" y="36"/>
                </a:cubicBezTo>
                <a:cubicBezTo>
                  <a:pt x="133" y="36"/>
                  <a:pt x="133" y="36"/>
                  <a:pt x="133" y="36"/>
                </a:cubicBezTo>
                <a:cubicBezTo>
                  <a:pt x="133" y="36"/>
                  <a:pt x="133" y="36"/>
                  <a:pt x="133" y="36"/>
                </a:cubicBezTo>
                <a:cubicBezTo>
                  <a:pt x="132" y="33"/>
                  <a:pt x="130" y="30"/>
                  <a:pt x="127" y="27"/>
                </a:cubicBezTo>
                <a:cubicBezTo>
                  <a:pt x="127" y="27"/>
                  <a:pt x="127" y="27"/>
                  <a:pt x="127" y="27"/>
                </a:cubicBezTo>
                <a:cubicBezTo>
                  <a:pt x="126" y="27"/>
                  <a:pt x="126" y="27"/>
                  <a:pt x="125" y="26"/>
                </a:cubicBezTo>
                <a:cubicBezTo>
                  <a:pt x="116" y="20"/>
                  <a:pt x="98" y="14"/>
                  <a:pt x="73" y="13"/>
                </a:cubicBezTo>
                <a:cubicBezTo>
                  <a:pt x="71" y="13"/>
                  <a:pt x="69" y="13"/>
                  <a:pt x="67" y="13"/>
                </a:cubicBezTo>
                <a:cubicBezTo>
                  <a:pt x="64" y="13"/>
                  <a:pt x="62" y="13"/>
                  <a:pt x="60" y="13"/>
                </a:cubicBezTo>
                <a:cubicBezTo>
                  <a:pt x="53" y="14"/>
                  <a:pt x="47" y="14"/>
                  <a:pt x="42" y="15"/>
                </a:cubicBezTo>
                <a:cubicBezTo>
                  <a:pt x="52" y="10"/>
                  <a:pt x="70" y="5"/>
                  <a:pt x="93" y="5"/>
                </a:cubicBezTo>
                <a:close/>
                <a:moveTo>
                  <a:pt x="36" y="21"/>
                </a:moveTo>
                <a:cubicBezTo>
                  <a:pt x="37" y="21"/>
                  <a:pt x="37" y="21"/>
                  <a:pt x="38" y="21"/>
                </a:cubicBezTo>
                <a:cubicBezTo>
                  <a:pt x="39" y="21"/>
                  <a:pt x="40" y="21"/>
                  <a:pt x="41" y="21"/>
                </a:cubicBezTo>
                <a:cubicBezTo>
                  <a:pt x="42" y="21"/>
                  <a:pt x="42" y="20"/>
                  <a:pt x="43" y="20"/>
                </a:cubicBezTo>
                <a:cubicBezTo>
                  <a:pt x="44" y="20"/>
                  <a:pt x="45" y="20"/>
                  <a:pt x="46" y="20"/>
                </a:cubicBezTo>
                <a:cubicBezTo>
                  <a:pt x="47" y="20"/>
                  <a:pt x="47" y="20"/>
                  <a:pt x="48" y="20"/>
                </a:cubicBezTo>
                <a:cubicBezTo>
                  <a:pt x="50" y="19"/>
                  <a:pt x="51" y="19"/>
                  <a:pt x="53" y="19"/>
                </a:cubicBezTo>
                <a:cubicBezTo>
                  <a:pt x="54" y="19"/>
                  <a:pt x="54" y="19"/>
                  <a:pt x="55" y="19"/>
                </a:cubicBezTo>
                <a:cubicBezTo>
                  <a:pt x="56" y="19"/>
                  <a:pt x="58" y="19"/>
                  <a:pt x="59" y="19"/>
                </a:cubicBezTo>
                <a:cubicBezTo>
                  <a:pt x="60" y="19"/>
                  <a:pt x="60" y="19"/>
                  <a:pt x="61" y="19"/>
                </a:cubicBezTo>
                <a:cubicBezTo>
                  <a:pt x="63" y="19"/>
                  <a:pt x="65" y="19"/>
                  <a:pt x="67" y="19"/>
                </a:cubicBezTo>
                <a:cubicBezTo>
                  <a:pt x="69" y="19"/>
                  <a:pt x="71" y="19"/>
                  <a:pt x="73" y="19"/>
                </a:cubicBezTo>
                <a:cubicBezTo>
                  <a:pt x="74" y="19"/>
                  <a:pt x="76" y="19"/>
                  <a:pt x="77" y="19"/>
                </a:cubicBezTo>
                <a:cubicBezTo>
                  <a:pt x="78" y="19"/>
                  <a:pt x="79" y="19"/>
                  <a:pt x="79" y="19"/>
                </a:cubicBezTo>
                <a:cubicBezTo>
                  <a:pt x="81" y="19"/>
                  <a:pt x="83" y="19"/>
                  <a:pt x="84" y="20"/>
                </a:cubicBezTo>
                <a:cubicBezTo>
                  <a:pt x="85" y="20"/>
                  <a:pt x="85" y="20"/>
                  <a:pt x="85" y="20"/>
                </a:cubicBezTo>
                <a:cubicBezTo>
                  <a:pt x="87" y="20"/>
                  <a:pt x="89" y="20"/>
                  <a:pt x="90" y="20"/>
                </a:cubicBezTo>
                <a:cubicBezTo>
                  <a:pt x="91" y="20"/>
                  <a:pt x="91" y="20"/>
                  <a:pt x="91" y="20"/>
                </a:cubicBezTo>
                <a:cubicBezTo>
                  <a:pt x="100" y="22"/>
                  <a:pt x="107" y="24"/>
                  <a:pt x="113" y="26"/>
                </a:cubicBezTo>
                <a:cubicBezTo>
                  <a:pt x="114" y="26"/>
                  <a:pt x="114" y="26"/>
                  <a:pt x="114" y="26"/>
                </a:cubicBezTo>
                <a:cubicBezTo>
                  <a:pt x="115" y="27"/>
                  <a:pt x="116" y="27"/>
                  <a:pt x="117" y="28"/>
                </a:cubicBezTo>
                <a:cubicBezTo>
                  <a:pt x="117" y="28"/>
                  <a:pt x="117" y="28"/>
                  <a:pt x="117" y="28"/>
                </a:cubicBezTo>
                <a:cubicBezTo>
                  <a:pt x="118" y="28"/>
                  <a:pt x="119" y="29"/>
                  <a:pt x="120" y="29"/>
                </a:cubicBezTo>
                <a:cubicBezTo>
                  <a:pt x="120" y="29"/>
                  <a:pt x="120" y="29"/>
                  <a:pt x="120" y="29"/>
                </a:cubicBezTo>
                <a:cubicBezTo>
                  <a:pt x="121" y="30"/>
                  <a:pt x="122" y="30"/>
                  <a:pt x="122" y="31"/>
                </a:cubicBezTo>
                <a:cubicBezTo>
                  <a:pt x="122" y="31"/>
                  <a:pt x="123" y="31"/>
                  <a:pt x="123" y="31"/>
                </a:cubicBezTo>
                <a:cubicBezTo>
                  <a:pt x="123" y="31"/>
                  <a:pt x="124" y="32"/>
                  <a:pt x="124" y="32"/>
                </a:cubicBezTo>
                <a:cubicBezTo>
                  <a:pt x="124" y="32"/>
                  <a:pt x="125" y="33"/>
                  <a:pt x="125" y="33"/>
                </a:cubicBezTo>
                <a:cubicBezTo>
                  <a:pt x="125" y="33"/>
                  <a:pt x="126" y="34"/>
                  <a:pt x="126" y="34"/>
                </a:cubicBezTo>
                <a:cubicBezTo>
                  <a:pt x="126" y="34"/>
                  <a:pt x="126" y="34"/>
                  <a:pt x="126" y="35"/>
                </a:cubicBezTo>
                <a:cubicBezTo>
                  <a:pt x="127" y="35"/>
                  <a:pt x="127" y="35"/>
                  <a:pt x="127" y="36"/>
                </a:cubicBezTo>
                <a:cubicBezTo>
                  <a:pt x="127" y="36"/>
                  <a:pt x="127" y="36"/>
                  <a:pt x="127" y="36"/>
                </a:cubicBezTo>
                <a:cubicBezTo>
                  <a:pt x="128" y="37"/>
                  <a:pt x="128" y="37"/>
                  <a:pt x="128" y="37"/>
                </a:cubicBezTo>
                <a:cubicBezTo>
                  <a:pt x="128" y="38"/>
                  <a:pt x="128" y="38"/>
                  <a:pt x="128" y="39"/>
                </a:cubicBezTo>
                <a:cubicBezTo>
                  <a:pt x="128" y="48"/>
                  <a:pt x="103" y="59"/>
                  <a:pt x="67" y="59"/>
                </a:cubicBezTo>
                <a:cubicBezTo>
                  <a:pt x="31" y="59"/>
                  <a:pt x="5" y="48"/>
                  <a:pt x="5" y="39"/>
                </a:cubicBezTo>
                <a:cubicBezTo>
                  <a:pt x="5" y="32"/>
                  <a:pt x="17" y="25"/>
                  <a:pt x="36" y="21"/>
                </a:cubicBezTo>
                <a:close/>
                <a:moveTo>
                  <a:pt x="67" y="155"/>
                </a:moveTo>
                <a:cubicBezTo>
                  <a:pt x="32" y="155"/>
                  <a:pt x="7" y="145"/>
                  <a:pt x="5" y="136"/>
                </a:cubicBezTo>
                <a:cubicBezTo>
                  <a:pt x="5" y="135"/>
                  <a:pt x="5" y="135"/>
                  <a:pt x="5" y="135"/>
                </a:cubicBezTo>
                <a:cubicBezTo>
                  <a:pt x="5" y="113"/>
                  <a:pt x="5" y="113"/>
                  <a:pt x="5" y="113"/>
                </a:cubicBezTo>
                <a:cubicBezTo>
                  <a:pt x="5" y="113"/>
                  <a:pt x="6" y="113"/>
                  <a:pt x="6" y="113"/>
                </a:cubicBezTo>
                <a:cubicBezTo>
                  <a:pt x="6" y="114"/>
                  <a:pt x="7" y="114"/>
                  <a:pt x="7" y="115"/>
                </a:cubicBezTo>
                <a:cubicBezTo>
                  <a:pt x="17" y="122"/>
                  <a:pt x="38" y="128"/>
                  <a:pt x="67" y="128"/>
                </a:cubicBezTo>
                <a:cubicBezTo>
                  <a:pt x="96" y="128"/>
                  <a:pt x="116" y="122"/>
                  <a:pt x="126" y="115"/>
                </a:cubicBezTo>
                <a:cubicBezTo>
                  <a:pt x="127" y="114"/>
                  <a:pt x="127" y="113"/>
                  <a:pt x="128" y="113"/>
                </a:cubicBezTo>
                <a:cubicBezTo>
                  <a:pt x="128" y="113"/>
                  <a:pt x="128" y="113"/>
                  <a:pt x="128" y="113"/>
                </a:cubicBezTo>
                <a:cubicBezTo>
                  <a:pt x="128" y="135"/>
                  <a:pt x="128" y="135"/>
                  <a:pt x="128" y="135"/>
                </a:cubicBezTo>
                <a:cubicBezTo>
                  <a:pt x="128" y="135"/>
                  <a:pt x="128" y="135"/>
                  <a:pt x="128" y="136"/>
                </a:cubicBezTo>
                <a:cubicBezTo>
                  <a:pt x="128" y="136"/>
                  <a:pt x="128" y="137"/>
                  <a:pt x="127" y="137"/>
                </a:cubicBezTo>
                <a:cubicBezTo>
                  <a:pt x="127" y="137"/>
                  <a:pt x="127" y="138"/>
                  <a:pt x="127" y="138"/>
                </a:cubicBezTo>
                <a:cubicBezTo>
                  <a:pt x="122" y="146"/>
                  <a:pt x="99" y="155"/>
                  <a:pt x="67" y="155"/>
                </a:cubicBezTo>
                <a:close/>
                <a:moveTo>
                  <a:pt x="155" y="122"/>
                </a:moveTo>
                <a:cubicBezTo>
                  <a:pt x="154" y="127"/>
                  <a:pt x="146" y="133"/>
                  <a:pt x="133" y="136"/>
                </a:cubicBezTo>
                <a:cubicBezTo>
                  <a:pt x="133" y="136"/>
                  <a:pt x="133" y="136"/>
                  <a:pt x="133" y="136"/>
                </a:cubicBezTo>
                <a:cubicBezTo>
                  <a:pt x="133" y="110"/>
                  <a:pt x="133" y="110"/>
                  <a:pt x="133" y="110"/>
                </a:cubicBezTo>
                <a:cubicBezTo>
                  <a:pt x="133" y="110"/>
                  <a:pt x="134" y="110"/>
                  <a:pt x="134" y="110"/>
                </a:cubicBezTo>
                <a:cubicBezTo>
                  <a:pt x="135" y="109"/>
                  <a:pt x="136" y="109"/>
                  <a:pt x="137" y="109"/>
                </a:cubicBezTo>
                <a:cubicBezTo>
                  <a:pt x="137" y="109"/>
                  <a:pt x="137" y="109"/>
                  <a:pt x="137" y="109"/>
                </a:cubicBezTo>
                <a:cubicBezTo>
                  <a:pt x="145" y="106"/>
                  <a:pt x="151" y="103"/>
                  <a:pt x="155" y="100"/>
                </a:cubicBezTo>
                <a:cubicBezTo>
                  <a:pt x="155" y="122"/>
                  <a:pt x="155" y="122"/>
                  <a:pt x="155" y="122"/>
                </a:cubicBezTo>
                <a:cubicBezTo>
                  <a:pt x="155" y="122"/>
                  <a:pt x="155" y="122"/>
                  <a:pt x="155" y="12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59" name="Freeform 1136">
            <a:extLst>
              <a:ext uri="{FF2B5EF4-FFF2-40B4-BE49-F238E27FC236}">
                <a16:creationId xmlns:a16="http://schemas.microsoft.com/office/drawing/2014/main" id="{56FCE1A5-A1DC-B249-9542-4CDAE69B272A}"/>
              </a:ext>
            </a:extLst>
          </p:cNvPr>
          <p:cNvSpPr>
            <a:spLocks noEditPoints="1"/>
          </p:cNvSpPr>
          <p:nvPr/>
        </p:nvSpPr>
        <p:spPr bwMode="auto">
          <a:xfrm>
            <a:off x="7265870" y="4081463"/>
            <a:ext cx="546100" cy="546100"/>
          </a:xfrm>
          <a:custGeom>
            <a:avLst/>
            <a:gdLst>
              <a:gd name="T0" fmla="*/ 28 w 160"/>
              <a:gd name="T1" fmla="*/ 35 h 159"/>
              <a:gd name="T2" fmla="*/ 136 w 160"/>
              <a:gd name="T3" fmla="*/ 24 h 159"/>
              <a:gd name="T4" fmla="*/ 123 w 160"/>
              <a:gd name="T5" fmla="*/ 27 h 159"/>
              <a:gd name="T6" fmla="*/ 136 w 160"/>
              <a:gd name="T7" fmla="*/ 32 h 159"/>
              <a:gd name="T8" fmla="*/ 128 w 160"/>
              <a:gd name="T9" fmla="*/ 29 h 159"/>
              <a:gd name="T10" fmla="*/ 117 w 160"/>
              <a:gd name="T11" fmla="*/ 29 h 159"/>
              <a:gd name="T12" fmla="*/ 104 w 160"/>
              <a:gd name="T13" fmla="*/ 24 h 159"/>
              <a:gd name="T14" fmla="*/ 107 w 160"/>
              <a:gd name="T15" fmla="*/ 35 h 159"/>
              <a:gd name="T16" fmla="*/ 88 w 160"/>
              <a:gd name="T17" fmla="*/ 24 h 159"/>
              <a:gd name="T18" fmla="*/ 96 w 160"/>
              <a:gd name="T19" fmla="*/ 29 h 159"/>
              <a:gd name="T20" fmla="*/ 28 w 160"/>
              <a:gd name="T21" fmla="*/ 85 h 159"/>
              <a:gd name="T22" fmla="*/ 16 w 160"/>
              <a:gd name="T23" fmla="*/ 129 h 159"/>
              <a:gd name="T24" fmla="*/ 28 w 160"/>
              <a:gd name="T25" fmla="*/ 123 h 159"/>
              <a:gd name="T26" fmla="*/ 12 w 160"/>
              <a:gd name="T27" fmla="*/ 0 h 159"/>
              <a:gd name="T28" fmla="*/ 5 w 160"/>
              <a:gd name="T29" fmla="*/ 104 h 159"/>
              <a:gd name="T30" fmla="*/ 160 w 160"/>
              <a:gd name="T31" fmla="*/ 142 h 159"/>
              <a:gd name="T32" fmla="*/ 160 w 160"/>
              <a:gd name="T33" fmla="*/ 92 h 159"/>
              <a:gd name="T34" fmla="*/ 160 w 160"/>
              <a:gd name="T35" fmla="*/ 44 h 159"/>
              <a:gd name="T36" fmla="*/ 59 w 160"/>
              <a:gd name="T37" fmla="*/ 67 h 159"/>
              <a:gd name="T38" fmla="*/ 12 w 160"/>
              <a:gd name="T39" fmla="*/ 101 h 159"/>
              <a:gd name="T40" fmla="*/ 70 w 160"/>
              <a:gd name="T41" fmla="*/ 80 h 159"/>
              <a:gd name="T42" fmla="*/ 77 w 160"/>
              <a:gd name="T43" fmla="*/ 83 h 159"/>
              <a:gd name="T44" fmla="*/ 86 w 160"/>
              <a:gd name="T45" fmla="*/ 85 h 159"/>
              <a:gd name="T46" fmla="*/ 96 w 160"/>
              <a:gd name="T47" fmla="*/ 87 h 159"/>
              <a:gd name="T48" fmla="*/ 106 w 160"/>
              <a:gd name="T49" fmla="*/ 87 h 159"/>
              <a:gd name="T50" fmla="*/ 116 w 160"/>
              <a:gd name="T51" fmla="*/ 87 h 159"/>
              <a:gd name="T52" fmla="*/ 126 w 160"/>
              <a:gd name="T53" fmla="*/ 86 h 159"/>
              <a:gd name="T54" fmla="*/ 136 w 160"/>
              <a:gd name="T55" fmla="*/ 85 h 159"/>
              <a:gd name="T56" fmla="*/ 144 w 160"/>
              <a:gd name="T57" fmla="*/ 82 h 159"/>
              <a:gd name="T58" fmla="*/ 151 w 160"/>
              <a:gd name="T59" fmla="*/ 79 h 159"/>
              <a:gd name="T60" fmla="*/ 155 w 160"/>
              <a:gd name="T61" fmla="*/ 91 h 159"/>
              <a:gd name="T62" fmla="*/ 153 w 160"/>
              <a:gd name="T63" fmla="*/ 95 h 159"/>
              <a:gd name="T64" fmla="*/ 65 w 160"/>
              <a:gd name="T65" fmla="*/ 94 h 159"/>
              <a:gd name="T66" fmla="*/ 64 w 160"/>
              <a:gd name="T67" fmla="*/ 77 h 159"/>
              <a:gd name="T68" fmla="*/ 153 w 160"/>
              <a:gd name="T69" fmla="*/ 119 h 159"/>
              <a:gd name="T70" fmla="*/ 65 w 160"/>
              <a:gd name="T71" fmla="*/ 118 h 159"/>
              <a:gd name="T72" fmla="*/ 64 w 160"/>
              <a:gd name="T73" fmla="*/ 114 h 159"/>
              <a:gd name="T74" fmla="*/ 68 w 160"/>
              <a:gd name="T75" fmla="*/ 103 h 159"/>
              <a:gd name="T76" fmla="*/ 102 w 160"/>
              <a:gd name="T77" fmla="*/ 111 h 159"/>
              <a:gd name="T78" fmla="*/ 117 w 160"/>
              <a:gd name="T79" fmla="*/ 111 h 159"/>
              <a:gd name="T80" fmla="*/ 153 w 160"/>
              <a:gd name="T81" fmla="*/ 102 h 159"/>
              <a:gd name="T82" fmla="*/ 155 w 160"/>
              <a:gd name="T83" fmla="*/ 117 h 159"/>
              <a:gd name="T84" fmla="*/ 59 w 160"/>
              <a:gd name="T85" fmla="*/ 107 h 159"/>
              <a:gd name="T86" fmla="*/ 59 w 160"/>
              <a:gd name="T87" fmla="*/ 143 h 159"/>
              <a:gd name="T88" fmla="*/ 66 w 160"/>
              <a:gd name="T89" fmla="*/ 150 h 159"/>
              <a:gd name="T90" fmla="*/ 109 w 160"/>
              <a:gd name="T91" fmla="*/ 154 h 159"/>
              <a:gd name="T92" fmla="*/ 64 w 160"/>
              <a:gd name="T93" fmla="*/ 140 h 159"/>
              <a:gd name="T94" fmla="*/ 68 w 160"/>
              <a:gd name="T95" fmla="*/ 127 h 159"/>
              <a:gd name="T96" fmla="*/ 104 w 160"/>
              <a:gd name="T97" fmla="*/ 135 h 159"/>
              <a:gd name="T98" fmla="*/ 119 w 160"/>
              <a:gd name="T99" fmla="*/ 135 h 159"/>
              <a:gd name="T100" fmla="*/ 154 w 160"/>
              <a:gd name="T101" fmla="*/ 125 h 159"/>
              <a:gd name="T102" fmla="*/ 64 w 160"/>
              <a:gd name="T103" fmla="*/ 67 h 159"/>
              <a:gd name="T104" fmla="*/ 74 w 160"/>
              <a:gd name="T105" fmla="*/ 59 h 159"/>
              <a:gd name="T106" fmla="*/ 129 w 160"/>
              <a:gd name="T107" fmla="*/ 55 h 159"/>
              <a:gd name="T108" fmla="*/ 135 w 160"/>
              <a:gd name="T109" fmla="*/ 51 h 159"/>
              <a:gd name="T110" fmla="*/ 84 w 160"/>
              <a:gd name="T111" fmla="*/ 51 h 159"/>
              <a:gd name="T112" fmla="*/ 148 w 160"/>
              <a:gd name="T113" fmla="*/ 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9">
                <a:moveTo>
                  <a:pt x="28" y="16"/>
                </a:moveTo>
                <a:cubicBezTo>
                  <a:pt x="21" y="16"/>
                  <a:pt x="16" y="21"/>
                  <a:pt x="16" y="28"/>
                </a:cubicBezTo>
                <a:cubicBezTo>
                  <a:pt x="16" y="35"/>
                  <a:pt x="21" y="40"/>
                  <a:pt x="28" y="40"/>
                </a:cubicBezTo>
                <a:cubicBezTo>
                  <a:pt x="35" y="40"/>
                  <a:pt x="40" y="35"/>
                  <a:pt x="40" y="28"/>
                </a:cubicBezTo>
                <a:cubicBezTo>
                  <a:pt x="40" y="21"/>
                  <a:pt x="35" y="16"/>
                  <a:pt x="28" y="16"/>
                </a:cubicBezTo>
                <a:close/>
                <a:moveTo>
                  <a:pt x="28" y="35"/>
                </a:moveTo>
                <a:cubicBezTo>
                  <a:pt x="24" y="35"/>
                  <a:pt x="21" y="32"/>
                  <a:pt x="21" y="28"/>
                </a:cubicBezTo>
                <a:cubicBezTo>
                  <a:pt x="21" y="24"/>
                  <a:pt x="24" y="21"/>
                  <a:pt x="28" y="21"/>
                </a:cubicBezTo>
                <a:cubicBezTo>
                  <a:pt x="32" y="21"/>
                  <a:pt x="35" y="24"/>
                  <a:pt x="35" y="28"/>
                </a:cubicBezTo>
                <a:cubicBezTo>
                  <a:pt x="35" y="32"/>
                  <a:pt x="32" y="35"/>
                  <a:pt x="28" y="35"/>
                </a:cubicBezTo>
                <a:close/>
                <a:moveTo>
                  <a:pt x="133" y="21"/>
                </a:moveTo>
                <a:cubicBezTo>
                  <a:pt x="135" y="21"/>
                  <a:pt x="136" y="23"/>
                  <a:pt x="136" y="24"/>
                </a:cubicBezTo>
                <a:cubicBezTo>
                  <a:pt x="136" y="25"/>
                  <a:pt x="135" y="27"/>
                  <a:pt x="133" y="27"/>
                </a:cubicBezTo>
                <a:cubicBezTo>
                  <a:pt x="132" y="27"/>
                  <a:pt x="131" y="25"/>
                  <a:pt x="131" y="24"/>
                </a:cubicBezTo>
                <a:cubicBezTo>
                  <a:pt x="131" y="23"/>
                  <a:pt x="132" y="21"/>
                  <a:pt x="133" y="21"/>
                </a:cubicBezTo>
                <a:close/>
                <a:moveTo>
                  <a:pt x="123" y="21"/>
                </a:moveTo>
                <a:cubicBezTo>
                  <a:pt x="124" y="21"/>
                  <a:pt x="125" y="23"/>
                  <a:pt x="125" y="24"/>
                </a:cubicBezTo>
                <a:cubicBezTo>
                  <a:pt x="125" y="25"/>
                  <a:pt x="124" y="27"/>
                  <a:pt x="123" y="27"/>
                </a:cubicBezTo>
                <a:cubicBezTo>
                  <a:pt x="121" y="27"/>
                  <a:pt x="120" y="25"/>
                  <a:pt x="120" y="24"/>
                </a:cubicBezTo>
                <a:cubicBezTo>
                  <a:pt x="120" y="23"/>
                  <a:pt x="121" y="21"/>
                  <a:pt x="123" y="21"/>
                </a:cubicBezTo>
                <a:close/>
                <a:moveTo>
                  <a:pt x="139" y="29"/>
                </a:moveTo>
                <a:cubicBezTo>
                  <a:pt x="140" y="29"/>
                  <a:pt x="141" y="31"/>
                  <a:pt x="141" y="32"/>
                </a:cubicBezTo>
                <a:cubicBezTo>
                  <a:pt x="141" y="33"/>
                  <a:pt x="140" y="35"/>
                  <a:pt x="139" y="35"/>
                </a:cubicBezTo>
                <a:cubicBezTo>
                  <a:pt x="137" y="35"/>
                  <a:pt x="136" y="33"/>
                  <a:pt x="136" y="32"/>
                </a:cubicBezTo>
                <a:cubicBezTo>
                  <a:pt x="136" y="31"/>
                  <a:pt x="137" y="29"/>
                  <a:pt x="139" y="29"/>
                </a:cubicBezTo>
                <a:close/>
                <a:moveTo>
                  <a:pt x="128" y="29"/>
                </a:moveTo>
                <a:cubicBezTo>
                  <a:pt x="129" y="29"/>
                  <a:pt x="131" y="31"/>
                  <a:pt x="131" y="32"/>
                </a:cubicBezTo>
                <a:cubicBezTo>
                  <a:pt x="131" y="33"/>
                  <a:pt x="129" y="35"/>
                  <a:pt x="128" y="35"/>
                </a:cubicBezTo>
                <a:cubicBezTo>
                  <a:pt x="127" y="35"/>
                  <a:pt x="125" y="33"/>
                  <a:pt x="125" y="32"/>
                </a:cubicBezTo>
                <a:cubicBezTo>
                  <a:pt x="125" y="31"/>
                  <a:pt x="127" y="29"/>
                  <a:pt x="128" y="29"/>
                </a:cubicBezTo>
                <a:close/>
                <a:moveTo>
                  <a:pt x="112" y="21"/>
                </a:moveTo>
                <a:cubicBezTo>
                  <a:pt x="113" y="21"/>
                  <a:pt x="115" y="23"/>
                  <a:pt x="115" y="24"/>
                </a:cubicBezTo>
                <a:cubicBezTo>
                  <a:pt x="115" y="25"/>
                  <a:pt x="113" y="27"/>
                  <a:pt x="112" y="27"/>
                </a:cubicBezTo>
                <a:cubicBezTo>
                  <a:pt x="111" y="27"/>
                  <a:pt x="109" y="25"/>
                  <a:pt x="109" y="24"/>
                </a:cubicBezTo>
                <a:cubicBezTo>
                  <a:pt x="109" y="23"/>
                  <a:pt x="111" y="21"/>
                  <a:pt x="112" y="21"/>
                </a:cubicBezTo>
                <a:close/>
                <a:moveTo>
                  <a:pt x="117" y="29"/>
                </a:moveTo>
                <a:cubicBezTo>
                  <a:pt x="119" y="29"/>
                  <a:pt x="120" y="31"/>
                  <a:pt x="120" y="32"/>
                </a:cubicBezTo>
                <a:cubicBezTo>
                  <a:pt x="120" y="33"/>
                  <a:pt x="119" y="35"/>
                  <a:pt x="117" y="35"/>
                </a:cubicBezTo>
                <a:cubicBezTo>
                  <a:pt x="116" y="35"/>
                  <a:pt x="115" y="33"/>
                  <a:pt x="115" y="32"/>
                </a:cubicBezTo>
                <a:cubicBezTo>
                  <a:pt x="115" y="31"/>
                  <a:pt x="116" y="29"/>
                  <a:pt x="117" y="29"/>
                </a:cubicBezTo>
                <a:close/>
                <a:moveTo>
                  <a:pt x="101" y="21"/>
                </a:moveTo>
                <a:cubicBezTo>
                  <a:pt x="103" y="21"/>
                  <a:pt x="104" y="23"/>
                  <a:pt x="104" y="24"/>
                </a:cubicBezTo>
                <a:cubicBezTo>
                  <a:pt x="104" y="25"/>
                  <a:pt x="103" y="27"/>
                  <a:pt x="101" y="27"/>
                </a:cubicBezTo>
                <a:cubicBezTo>
                  <a:pt x="100" y="27"/>
                  <a:pt x="99" y="25"/>
                  <a:pt x="99" y="24"/>
                </a:cubicBezTo>
                <a:cubicBezTo>
                  <a:pt x="99" y="23"/>
                  <a:pt x="100" y="21"/>
                  <a:pt x="101" y="21"/>
                </a:cubicBezTo>
                <a:close/>
                <a:moveTo>
                  <a:pt x="107" y="29"/>
                </a:moveTo>
                <a:cubicBezTo>
                  <a:pt x="108" y="29"/>
                  <a:pt x="109" y="31"/>
                  <a:pt x="109" y="32"/>
                </a:cubicBezTo>
                <a:cubicBezTo>
                  <a:pt x="109" y="33"/>
                  <a:pt x="108" y="35"/>
                  <a:pt x="107" y="35"/>
                </a:cubicBezTo>
                <a:cubicBezTo>
                  <a:pt x="105" y="35"/>
                  <a:pt x="104" y="33"/>
                  <a:pt x="104" y="32"/>
                </a:cubicBezTo>
                <a:cubicBezTo>
                  <a:pt x="104" y="31"/>
                  <a:pt x="105" y="29"/>
                  <a:pt x="107" y="29"/>
                </a:cubicBezTo>
                <a:close/>
                <a:moveTo>
                  <a:pt x="91" y="21"/>
                </a:moveTo>
                <a:cubicBezTo>
                  <a:pt x="92" y="21"/>
                  <a:pt x="93" y="23"/>
                  <a:pt x="93" y="24"/>
                </a:cubicBezTo>
                <a:cubicBezTo>
                  <a:pt x="93" y="25"/>
                  <a:pt x="92" y="27"/>
                  <a:pt x="91" y="27"/>
                </a:cubicBezTo>
                <a:cubicBezTo>
                  <a:pt x="89" y="27"/>
                  <a:pt x="88" y="25"/>
                  <a:pt x="88" y="24"/>
                </a:cubicBezTo>
                <a:cubicBezTo>
                  <a:pt x="88" y="23"/>
                  <a:pt x="89" y="21"/>
                  <a:pt x="91" y="21"/>
                </a:cubicBezTo>
                <a:close/>
                <a:moveTo>
                  <a:pt x="96" y="29"/>
                </a:moveTo>
                <a:cubicBezTo>
                  <a:pt x="97" y="29"/>
                  <a:pt x="99" y="31"/>
                  <a:pt x="99" y="32"/>
                </a:cubicBezTo>
                <a:cubicBezTo>
                  <a:pt x="99" y="33"/>
                  <a:pt x="97" y="35"/>
                  <a:pt x="96" y="35"/>
                </a:cubicBezTo>
                <a:cubicBezTo>
                  <a:pt x="95" y="35"/>
                  <a:pt x="93" y="33"/>
                  <a:pt x="93" y="32"/>
                </a:cubicBezTo>
                <a:cubicBezTo>
                  <a:pt x="93" y="31"/>
                  <a:pt x="95" y="29"/>
                  <a:pt x="96" y="29"/>
                </a:cubicBezTo>
                <a:close/>
                <a:moveTo>
                  <a:pt x="28" y="67"/>
                </a:moveTo>
                <a:cubicBezTo>
                  <a:pt x="21" y="67"/>
                  <a:pt x="16" y="72"/>
                  <a:pt x="16" y="79"/>
                </a:cubicBezTo>
                <a:cubicBezTo>
                  <a:pt x="16" y="85"/>
                  <a:pt x="21" y="91"/>
                  <a:pt x="28" y="91"/>
                </a:cubicBezTo>
                <a:cubicBezTo>
                  <a:pt x="35" y="91"/>
                  <a:pt x="40" y="85"/>
                  <a:pt x="40" y="79"/>
                </a:cubicBezTo>
                <a:cubicBezTo>
                  <a:pt x="40" y="72"/>
                  <a:pt x="35" y="67"/>
                  <a:pt x="28" y="67"/>
                </a:cubicBezTo>
                <a:close/>
                <a:moveTo>
                  <a:pt x="28" y="85"/>
                </a:moveTo>
                <a:cubicBezTo>
                  <a:pt x="24" y="85"/>
                  <a:pt x="21" y="82"/>
                  <a:pt x="21" y="79"/>
                </a:cubicBezTo>
                <a:cubicBezTo>
                  <a:pt x="21" y="75"/>
                  <a:pt x="24" y="72"/>
                  <a:pt x="28" y="72"/>
                </a:cubicBezTo>
                <a:cubicBezTo>
                  <a:pt x="32" y="72"/>
                  <a:pt x="35" y="75"/>
                  <a:pt x="35" y="79"/>
                </a:cubicBezTo>
                <a:cubicBezTo>
                  <a:pt x="35" y="82"/>
                  <a:pt x="32" y="85"/>
                  <a:pt x="28" y="85"/>
                </a:cubicBezTo>
                <a:close/>
                <a:moveTo>
                  <a:pt x="28" y="117"/>
                </a:moveTo>
                <a:cubicBezTo>
                  <a:pt x="21" y="117"/>
                  <a:pt x="16" y="123"/>
                  <a:pt x="16" y="129"/>
                </a:cubicBezTo>
                <a:cubicBezTo>
                  <a:pt x="16" y="136"/>
                  <a:pt x="21" y="141"/>
                  <a:pt x="28" y="141"/>
                </a:cubicBezTo>
                <a:cubicBezTo>
                  <a:pt x="35" y="141"/>
                  <a:pt x="40" y="136"/>
                  <a:pt x="40" y="129"/>
                </a:cubicBezTo>
                <a:cubicBezTo>
                  <a:pt x="40" y="123"/>
                  <a:pt x="35" y="117"/>
                  <a:pt x="28" y="117"/>
                </a:cubicBezTo>
                <a:close/>
                <a:moveTo>
                  <a:pt x="28" y="136"/>
                </a:moveTo>
                <a:cubicBezTo>
                  <a:pt x="24" y="136"/>
                  <a:pt x="21" y="133"/>
                  <a:pt x="21" y="129"/>
                </a:cubicBezTo>
                <a:cubicBezTo>
                  <a:pt x="21" y="126"/>
                  <a:pt x="24" y="123"/>
                  <a:pt x="28" y="123"/>
                </a:cubicBezTo>
                <a:cubicBezTo>
                  <a:pt x="32" y="123"/>
                  <a:pt x="35" y="126"/>
                  <a:pt x="35" y="129"/>
                </a:cubicBezTo>
                <a:cubicBezTo>
                  <a:pt x="35" y="133"/>
                  <a:pt x="32" y="136"/>
                  <a:pt x="28" y="136"/>
                </a:cubicBezTo>
                <a:close/>
                <a:moveTo>
                  <a:pt x="160" y="44"/>
                </a:moveTo>
                <a:cubicBezTo>
                  <a:pt x="160" y="12"/>
                  <a:pt x="160" y="12"/>
                  <a:pt x="160" y="12"/>
                </a:cubicBezTo>
                <a:cubicBezTo>
                  <a:pt x="160" y="6"/>
                  <a:pt x="154" y="0"/>
                  <a:pt x="148" y="0"/>
                </a:cubicBezTo>
                <a:cubicBezTo>
                  <a:pt x="12" y="0"/>
                  <a:pt x="12" y="0"/>
                  <a:pt x="12" y="0"/>
                </a:cubicBezTo>
                <a:cubicBezTo>
                  <a:pt x="6" y="0"/>
                  <a:pt x="0" y="6"/>
                  <a:pt x="0" y="12"/>
                </a:cubicBezTo>
                <a:cubicBezTo>
                  <a:pt x="0" y="44"/>
                  <a:pt x="0" y="44"/>
                  <a:pt x="0" y="44"/>
                </a:cubicBezTo>
                <a:cubicBezTo>
                  <a:pt x="0" y="48"/>
                  <a:pt x="2" y="51"/>
                  <a:pt x="5" y="53"/>
                </a:cubicBezTo>
                <a:cubicBezTo>
                  <a:pt x="2" y="56"/>
                  <a:pt x="0" y="59"/>
                  <a:pt x="0" y="63"/>
                </a:cubicBezTo>
                <a:cubicBezTo>
                  <a:pt x="0" y="94"/>
                  <a:pt x="0" y="94"/>
                  <a:pt x="0" y="94"/>
                </a:cubicBezTo>
                <a:cubicBezTo>
                  <a:pt x="0" y="98"/>
                  <a:pt x="2" y="102"/>
                  <a:pt x="5" y="104"/>
                </a:cubicBezTo>
                <a:cubicBezTo>
                  <a:pt x="2" y="106"/>
                  <a:pt x="0" y="110"/>
                  <a:pt x="0" y="114"/>
                </a:cubicBezTo>
                <a:cubicBezTo>
                  <a:pt x="0" y="145"/>
                  <a:pt x="0" y="145"/>
                  <a:pt x="0" y="145"/>
                </a:cubicBezTo>
                <a:cubicBezTo>
                  <a:pt x="0" y="152"/>
                  <a:pt x="6" y="157"/>
                  <a:pt x="12" y="157"/>
                </a:cubicBezTo>
                <a:cubicBezTo>
                  <a:pt x="87" y="157"/>
                  <a:pt x="87" y="157"/>
                  <a:pt x="87" y="157"/>
                </a:cubicBezTo>
                <a:cubicBezTo>
                  <a:pt x="94" y="159"/>
                  <a:pt x="102" y="159"/>
                  <a:pt x="109" y="159"/>
                </a:cubicBezTo>
                <a:cubicBezTo>
                  <a:pt x="132" y="159"/>
                  <a:pt x="157" y="153"/>
                  <a:pt x="160" y="142"/>
                </a:cubicBezTo>
                <a:cubicBezTo>
                  <a:pt x="160" y="142"/>
                  <a:pt x="160" y="141"/>
                  <a:pt x="160" y="141"/>
                </a:cubicBezTo>
                <a:cubicBezTo>
                  <a:pt x="160" y="117"/>
                  <a:pt x="160" y="117"/>
                  <a:pt x="160" y="117"/>
                </a:cubicBezTo>
                <a:cubicBezTo>
                  <a:pt x="160" y="116"/>
                  <a:pt x="160" y="116"/>
                  <a:pt x="160" y="116"/>
                </a:cubicBezTo>
                <a:cubicBezTo>
                  <a:pt x="160" y="115"/>
                  <a:pt x="160" y="115"/>
                  <a:pt x="160" y="115"/>
                </a:cubicBezTo>
                <a:cubicBezTo>
                  <a:pt x="160" y="93"/>
                  <a:pt x="160" y="93"/>
                  <a:pt x="160" y="93"/>
                </a:cubicBezTo>
                <a:cubicBezTo>
                  <a:pt x="160" y="92"/>
                  <a:pt x="160" y="92"/>
                  <a:pt x="160" y="92"/>
                </a:cubicBezTo>
                <a:cubicBezTo>
                  <a:pt x="160" y="91"/>
                  <a:pt x="160" y="91"/>
                  <a:pt x="160" y="91"/>
                </a:cubicBezTo>
                <a:cubicBezTo>
                  <a:pt x="160" y="68"/>
                  <a:pt x="160" y="68"/>
                  <a:pt x="160" y="68"/>
                </a:cubicBezTo>
                <a:cubicBezTo>
                  <a:pt x="160" y="67"/>
                  <a:pt x="160" y="67"/>
                  <a:pt x="160" y="67"/>
                </a:cubicBezTo>
                <a:cubicBezTo>
                  <a:pt x="160" y="66"/>
                  <a:pt x="160" y="66"/>
                  <a:pt x="160" y="66"/>
                </a:cubicBezTo>
                <a:cubicBezTo>
                  <a:pt x="159" y="62"/>
                  <a:pt x="155" y="58"/>
                  <a:pt x="150" y="56"/>
                </a:cubicBezTo>
                <a:cubicBezTo>
                  <a:pt x="156" y="55"/>
                  <a:pt x="160" y="50"/>
                  <a:pt x="160" y="44"/>
                </a:cubicBezTo>
                <a:close/>
                <a:moveTo>
                  <a:pt x="5" y="94"/>
                </a:moveTo>
                <a:cubicBezTo>
                  <a:pt x="5" y="63"/>
                  <a:pt x="5" y="63"/>
                  <a:pt x="5" y="63"/>
                </a:cubicBezTo>
                <a:cubicBezTo>
                  <a:pt x="5" y="59"/>
                  <a:pt x="8" y="56"/>
                  <a:pt x="12" y="56"/>
                </a:cubicBezTo>
                <a:cubicBezTo>
                  <a:pt x="68" y="56"/>
                  <a:pt x="68" y="56"/>
                  <a:pt x="68" y="56"/>
                </a:cubicBezTo>
                <a:cubicBezTo>
                  <a:pt x="63" y="59"/>
                  <a:pt x="60" y="62"/>
                  <a:pt x="59" y="66"/>
                </a:cubicBezTo>
                <a:cubicBezTo>
                  <a:pt x="59" y="66"/>
                  <a:pt x="59" y="66"/>
                  <a:pt x="59" y="67"/>
                </a:cubicBezTo>
                <a:cubicBezTo>
                  <a:pt x="59" y="68"/>
                  <a:pt x="59" y="68"/>
                  <a:pt x="59" y="68"/>
                </a:cubicBezTo>
                <a:cubicBezTo>
                  <a:pt x="59" y="91"/>
                  <a:pt x="59" y="91"/>
                  <a:pt x="59" y="91"/>
                </a:cubicBezTo>
                <a:cubicBezTo>
                  <a:pt x="59" y="92"/>
                  <a:pt x="59" y="92"/>
                  <a:pt x="59" y="92"/>
                </a:cubicBezTo>
                <a:cubicBezTo>
                  <a:pt x="59" y="93"/>
                  <a:pt x="59" y="93"/>
                  <a:pt x="59" y="93"/>
                </a:cubicBezTo>
                <a:cubicBezTo>
                  <a:pt x="59" y="101"/>
                  <a:pt x="59" y="101"/>
                  <a:pt x="59" y="101"/>
                </a:cubicBezTo>
                <a:cubicBezTo>
                  <a:pt x="12" y="101"/>
                  <a:pt x="12" y="101"/>
                  <a:pt x="12" y="101"/>
                </a:cubicBezTo>
                <a:cubicBezTo>
                  <a:pt x="8" y="101"/>
                  <a:pt x="5" y="98"/>
                  <a:pt x="5" y="94"/>
                </a:cubicBezTo>
                <a:close/>
                <a:moveTo>
                  <a:pt x="66" y="78"/>
                </a:moveTo>
                <a:cubicBezTo>
                  <a:pt x="66" y="78"/>
                  <a:pt x="66" y="78"/>
                  <a:pt x="66" y="78"/>
                </a:cubicBezTo>
                <a:cubicBezTo>
                  <a:pt x="67" y="79"/>
                  <a:pt x="67" y="79"/>
                  <a:pt x="68" y="79"/>
                </a:cubicBezTo>
                <a:cubicBezTo>
                  <a:pt x="68" y="79"/>
                  <a:pt x="68" y="79"/>
                  <a:pt x="68" y="79"/>
                </a:cubicBezTo>
                <a:cubicBezTo>
                  <a:pt x="69" y="80"/>
                  <a:pt x="69" y="80"/>
                  <a:pt x="70" y="80"/>
                </a:cubicBezTo>
                <a:cubicBezTo>
                  <a:pt x="70" y="80"/>
                  <a:pt x="70" y="80"/>
                  <a:pt x="70" y="80"/>
                </a:cubicBezTo>
                <a:cubicBezTo>
                  <a:pt x="71" y="81"/>
                  <a:pt x="71" y="81"/>
                  <a:pt x="72" y="81"/>
                </a:cubicBezTo>
                <a:cubicBezTo>
                  <a:pt x="72" y="81"/>
                  <a:pt x="72" y="81"/>
                  <a:pt x="73" y="81"/>
                </a:cubicBezTo>
                <a:cubicBezTo>
                  <a:pt x="73" y="82"/>
                  <a:pt x="74" y="82"/>
                  <a:pt x="75" y="82"/>
                </a:cubicBezTo>
                <a:cubicBezTo>
                  <a:pt x="75" y="82"/>
                  <a:pt x="75" y="82"/>
                  <a:pt x="75" y="82"/>
                </a:cubicBezTo>
                <a:cubicBezTo>
                  <a:pt x="76" y="83"/>
                  <a:pt x="76" y="83"/>
                  <a:pt x="77" y="83"/>
                </a:cubicBezTo>
                <a:cubicBezTo>
                  <a:pt x="77" y="83"/>
                  <a:pt x="78" y="83"/>
                  <a:pt x="78" y="83"/>
                </a:cubicBezTo>
                <a:cubicBezTo>
                  <a:pt x="79" y="83"/>
                  <a:pt x="79" y="84"/>
                  <a:pt x="80" y="84"/>
                </a:cubicBezTo>
                <a:cubicBezTo>
                  <a:pt x="80" y="84"/>
                  <a:pt x="80" y="84"/>
                  <a:pt x="80" y="84"/>
                </a:cubicBezTo>
                <a:cubicBezTo>
                  <a:pt x="81" y="84"/>
                  <a:pt x="82" y="84"/>
                  <a:pt x="83" y="85"/>
                </a:cubicBezTo>
                <a:cubicBezTo>
                  <a:pt x="83" y="85"/>
                  <a:pt x="83" y="85"/>
                  <a:pt x="84" y="85"/>
                </a:cubicBezTo>
                <a:cubicBezTo>
                  <a:pt x="84" y="85"/>
                  <a:pt x="85" y="85"/>
                  <a:pt x="86" y="85"/>
                </a:cubicBezTo>
                <a:cubicBezTo>
                  <a:pt x="86" y="85"/>
                  <a:pt x="86" y="85"/>
                  <a:pt x="86" y="85"/>
                </a:cubicBezTo>
                <a:cubicBezTo>
                  <a:pt x="87" y="85"/>
                  <a:pt x="88" y="86"/>
                  <a:pt x="89" y="86"/>
                </a:cubicBezTo>
                <a:cubicBezTo>
                  <a:pt x="89" y="86"/>
                  <a:pt x="90" y="86"/>
                  <a:pt x="90" y="86"/>
                </a:cubicBezTo>
                <a:cubicBezTo>
                  <a:pt x="91" y="86"/>
                  <a:pt x="91" y="86"/>
                  <a:pt x="92" y="86"/>
                </a:cubicBezTo>
                <a:cubicBezTo>
                  <a:pt x="92" y="86"/>
                  <a:pt x="93" y="86"/>
                  <a:pt x="93" y="86"/>
                </a:cubicBezTo>
                <a:cubicBezTo>
                  <a:pt x="94" y="86"/>
                  <a:pt x="95" y="87"/>
                  <a:pt x="96" y="87"/>
                </a:cubicBezTo>
                <a:cubicBezTo>
                  <a:pt x="96" y="87"/>
                  <a:pt x="96" y="87"/>
                  <a:pt x="96" y="87"/>
                </a:cubicBezTo>
                <a:cubicBezTo>
                  <a:pt x="97" y="87"/>
                  <a:pt x="98" y="87"/>
                  <a:pt x="99" y="87"/>
                </a:cubicBezTo>
                <a:cubicBezTo>
                  <a:pt x="99" y="87"/>
                  <a:pt x="99" y="87"/>
                  <a:pt x="100" y="87"/>
                </a:cubicBezTo>
                <a:cubicBezTo>
                  <a:pt x="101" y="87"/>
                  <a:pt x="102" y="87"/>
                  <a:pt x="103" y="87"/>
                </a:cubicBezTo>
                <a:cubicBezTo>
                  <a:pt x="103" y="87"/>
                  <a:pt x="103" y="87"/>
                  <a:pt x="103" y="87"/>
                </a:cubicBezTo>
                <a:cubicBezTo>
                  <a:pt x="104" y="87"/>
                  <a:pt x="105" y="87"/>
                  <a:pt x="106" y="87"/>
                </a:cubicBezTo>
                <a:cubicBezTo>
                  <a:pt x="106" y="87"/>
                  <a:pt x="106" y="87"/>
                  <a:pt x="106" y="87"/>
                </a:cubicBezTo>
                <a:cubicBezTo>
                  <a:pt x="107" y="87"/>
                  <a:pt x="108" y="87"/>
                  <a:pt x="109" y="87"/>
                </a:cubicBezTo>
                <a:cubicBezTo>
                  <a:pt x="110" y="87"/>
                  <a:pt x="111" y="87"/>
                  <a:pt x="112" y="87"/>
                </a:cubicBezTo>
                <a:cubicBezTo>
                  <a:pt x="113" y="87"/>
                  <a:pt x="113" y="87"/>
                  <a:pt x="113" y="87"/>
                </a:cubicBezTo>
                <a:cubicBezTo>
                  <a:pt x="114" y="87"/>
                  <a:pt x="115" y="87"/>
                  <a:pt x="116" y="87"/>
                </a:cubicBezTo>
                <a:cubicBezTo>
                  <a:pt x="116" y="87"/>
                  <a:pt x="116" y="87"/>
                  <a:pt x="116" y="87"/>
                </a:cubicBezTo>
                <a:cubicBezTo>
                  <a:pt x="117" y="87"/>
                  <a:pt x="118" y="87"/>
                  <a:pt x="119" y="87"/>
                </a:cubicBezTo>
                <a:cubicBezTo>
                  <a:pt x="119" y="87"/>
                  <a:pt x="120" y="87"/>
                  <a:pt x="120" y="87"/>
                </a:cubicBezTo>
                <a:cubicBezTo>
                  <a:pt x="121" y="87"/>
                  <a:pt x="121" y="87"/>
                  <a:pt x="122" y="87"/>
                </a:cubicBezTo>
                <a:cubicBezTo>
                  <a:pt x="122" y="87"/>
                  <a:pt x="123" y="87"/>
                  <a:pt x="123" y="87"/>
                </a:cubicBezTo>
                <a:cubicBezTo>
                  <a:pt x="124" y="87"/>
                  <a:pt x="125" y="86"/>
                  <a:pt x="126" y="86"/>
                </a:cubicBezTo>
                <a:cubicBezTo>
                  <a:pt x="126" y="86"/>
                  <a:pt x="126" y="86"/>
                  <a:pt x="126" y="86"/>
                </a:cubicBezTo>
                <a:cubicBezTo>
                  <a:pt x="127" y="86"/>
                  <a:pt x="128" y="86"/>
                  <a:pt x="129" y="86"/>
                </a:cubicBezTo>
                <a:cubicBezTo>
                  <a:pt x="129" y="86"/>
                  <a:pt x="129" y="86"/>
                  <a:pt x="129" y="86"/>
                </a:cubicBezTo>
                <a:cubicBezTo>
                  <a:pt x="130" y="86"/>
                  <a:pt x="131" y="85"/>
                  <a:pt x="132" y="85"/>
                </a:cubicBezTo>
                <a:cubicBezTo>
                  <a:pt x="132" y="85"/>
                  <a:pt x="132" y="85"/>
                  <a:pt x="133" y="85"/>
                </a:cubicBezTo>
                <a:cubicBezTo>
                  <a:pt x="133" y="85"/>
                  <a:pt x="134" y="85"/>
                  <a:pt x="135" y="85"/>
                </a:cubicBezTo>
                <a:cubicBezTo>
                  <a:pt x="135" y="85"/>
                  <a:pt x="135" y="85"/>
                  <a:pt x="136" y="85"/>
                </a:cubicBezTo>
                <a:cubicBezTo>
                  <a:pt x="137" y="84"/>
                  <a:pt x="137" y="84"/>
                  <a:pt x="138" y="84"/>
                </a:cubicBezTo>
                <a:cubicBezTo>
                  <a:pt x="138" y="84"/>
                  <a:pt x="138" y="84"/>
                  <a:pt x="138" y="84"/>
                </a:cubicBezTo>
                <a:cubicBezTo>
                  <a:pt x="139" y="84"/>
                  <a:pt x="140" y="83"/>
                  <a:pt x="141" y="83"/>
                </a:cubicBezTo>
                <a:cubicBezTo>
                  <a:pt x="141" y="83"/>
                  <a:pt x="141" y="83"/>
                  <a:pt x="141" y="83"/>
                </a:cubicBezTo>
                <a:cubicBezTo>
                  <a:pt x="142" y="83"/>
                  <a:pt x="143" y="83"/>
                  <a:pt x="144" y="82"/>
                </a:cubicBezTo>
                <a:cubicBezTo>
                  <a:pt x="144" y="82"/>
                  <a:pt x="144" y="82"/>
                  <a:pt x="144" y="82"/>
                </a:cubicBezTo>
                <a:cubicBezTo>
                  <a:pt x="145" y="82"/>
                  <a:pt x="145" y="82"/>
                  <a:pt x="146" y="81"/>
                </a:cubicBezTo>
                <a:cubicBezTo>
                  <a:pt x="146" y="81"/>
                  <a:pt x="146" y="81"/>
                  <a:pt x="147" y="81"/>
                </a:cubicBezTo>
                <a:cubicBezTo>
                  <a:pt x="147" y="81"/>
                  <a:pt x="148" y="81"/>
                  <a:pt x="148" y="80"/>
                </a:cubicBezTo>
                <a:cubicBezTo>
                  <a:pt x="149" y="80"/>
                  <a:pt x="149" y="80"/>
                  <a:pt x="149" y="80"/>
                </a:cubicBezTo>
                <a:cubicBezTo>
                  <a:pt x="149" y="80"/>
                  <a:pt x="150" y="80"/>
                  <a:pt x="151" y="79"/>
                </a:cubicBezTo>
                <a:cubicBezTo>
                  <a:pt x="151" y="79"/>
                  <a:pt x="151" y="79"/>
                  <a:pt x="151" y="79"/>
                </a:cubicBezTo>
                <a:cubicBezTo>
                  <a:pt x="152" y="79"/>
                  <a:pt x="152" y="79"/>
                  <a:pt x="153" y="78"/>
                </a:cubicBezTo>
                <a:cubicBezTo>
                  <a:pt x="153" y="78"/>
                  <a:pt x="153" y="78"/>
                  <a:pt x="153" y="78"/>
                </a:cubicBezTo>
                <a:cubicBezTo>
                  <a:pt x="154" y="78"/>
                  <a:pt x="154" y="77"/>
                  <a:pt x="155" y="77"/>
                </a:cubicBezTo>
                <a:cubicBezTo>
                  <a:pt x="155" y="77"/>
                  <a:pt x="155" y="77"/>
                  <a:pt x="155" y="77"/>
                </a:cubicBezTo>
                <a:cubicBezTo>
                  <a:pt x="155" y="90"/>
                  <a:pt x="155" y="90"/>
                  <a:pt x="155" y="90"/>
                </a:cubicBezTo>
                <a:cubicBezTo>
                  <a:pt x="155" y="90"/>
                  <a:pt x="155" y="91"/>
                  <a:pt x="155" y="91"/>
                </a:cubicBezTo>
                <a:cubicBezTo>
                  <a:pt x="155" y="91"/>
                  <a:pt x="155" y="91"/>
                  <a:pt x="155" y="92"/>
                </a:cubicBezTo>
                <a:cubicBezTo>
                  <a:pt x="155" y="92"/>
                  <a:pt x="155" y="92"/>
                  <a:pt x="155" y="93"/>
                </a:cubicBezTo>
                <a:cubicBezTo>
                  <a:pt x="154" y="93"/>
                  <a:pt x="154" y="93"/>
                  <a:pt x="154" y="93"/>
                </a:cubicBezTo>
                <a:cubicBezTo>
                  <a:pt x="154" y="93"/>
                  <a:pt x="154" y="94"/>
                  <a:pt x="154" y="94"/>
                </a:cubicBezTo>
                <a:cubicBezTo>
                  <a:pt x="154" y="94"/>
                  <a:pt x="154" y="94"/>
                  <a:pt x="154" y="94"/>
                </a:cubicBezTo>
                <a:cubicBezTo>
                  <a:pt x="153" y="95"/>
                  <a:pt x="153" y="95"/>
                  <a:pt x="153" y="95"/>
                </a:cubicBezTo>
                <a:cubicBezTo>
                  <a:pt x="153" y="95"/>
                  <a:pt x="153" y="95"/>
                  <a:pt x="153" y="96"/>
                </a:cubicBezTo>
                <a:cubicBezTo>
                  <a:pt x="147" y="101"/>
                  <a:pt x="130" y="106"/>
                  <a:pt x="109" y="106"/>
                </a:cubicBezTo>
                <a:cubicBezTo>
                  <a:pt x="88" y="106"/>
                  <a:pt x="72" y="101"/>
                  <a:pt x="66" y="96"/>
                </a:cubicBezTo>
                <a:cubicBezTo>
                  <a:pt x="66" y="95"/>
                  <a:pt x="66" y="95"/>
                  <a:pt x="66" y="95"/>
                </a:cubicBezTo>
                <a:cubicBezTo>
                  <a:pt x="66" y="95"/>
                  <a:pt x="65" y="95"/>
                  <a:pt x="65" y="94"/>
                </a:cubicBezTo>
                <a:cubicBezTo>
                  <a:pt x="65" y="94"/>
                  <a:pt x="65" y="94"/>
                  <a:pt x="65" y="94"/>
                </a:cubicBezTo>
                <a:cubicBezTo>
                  <a:pt x="65" y="94"/>
                  <a:pt x="64" y="93"/>
                  <a:pt x="64" y="93"/>
                </a:cubicBezTo>
                <a:cubicBezTo>
                  <a:pt x="64" y="93"/>
                  <a:pt x="64" y="93"/>
                  <a:pt x="64" y="93"/>
                </a:cubicBezTo>
                <a:cubicBezTo>
                  <a:pt x="64" y="92"/>
                  <a:pt x="64" y="92"/>
                  <a:pt x="64" y="92"/>
                </a:cubicBezTo>
                <a:cubicBezTo>
                  <a:pt x="64" y="91"/>
                  <a:pt x="64" y="91"/>
                  <a:pt x="64" y="91"/>
                </a:cubicBezTo>
                <a:cubicBezTo>
                  <a:pt x="64" y="91"/>
                  <a:pt x="64" y="90"/>
                  <a:pt x="64" y="90"/>
                </a:cubicBezTo>
                <a:cubicBezTo>
                  <a:pt x="64" y="77"/>
                  <a:pt x="64" y="77"/>
                  <a:pt x="64" y="77"/>
                </a:cubicBezTo>
                <a:cubicBezTo>
                  <a:pt x="64" y="77"/>
                  <a:pt x="64" y="77"/>
                  <a:pt x="64" y="77"/>
                </a:cubicBezTo>
                <a:cubicBezTo>
                  <a:pt x="65" y="77"/>
                  <a:pt x="65" y="78"/>
                  <a:pt x="66" y="78"/>
                </a:cubicBezTo>
                <a:close/>
                <a:moveTo>
                  <a:pt x="154" y="117"/>
                </a:moveTo>
                <a:cubicBezTo>
                  <a:pt x="154" y="117"/>
                  <a:pt x="154" y="118"/>
                  <a:pt x="154" y="118"/>
                </a:cubicBezTo>
                <a:cubicBezTo>
                  <a:pt x="154" y="118"/>
                  <a:pt x="154" y="118"/>
                  <a:pt x="154" y="118"/>
                </a:cubicBezTo>
                <a:cubicBezTo>
                  <a:pt x="153" y="119"/>
                  <a:pt x="153" y="119"/>
                  <a:pt x="153" y="119"/>
                </a:cubicBezTo>
                <a:cubicBezTo>
                  <a:pt x="153" y="119"/>
                  <a:pt x="153" y="119"/>
                  <a:pt x="153" y="120"/>
                </a:cubicBezTo>
                <a:cubicBezTo>
                  <a:pt x="147" y="125"/>
                  <a:pt x="130" y="130"/>
                  <a:pt x="109" y="130"/>
                </a:cubicBezTo>
                <a:cubicBezTo>
                  <a:pt x="88" y="130"/>
                  <a:pt x="72" y="125"/>
                  <a:pt x="66" y="120"/>
                </a:cubicBezTo>
                <a:cubicBezTo>
                  <a:pt x="66" y="119"/>
                  <a:pt x="66" y="119"/>
                  <a:pt x="66" y="119"/>
                </a:cubicBezTo>
                <a:cubicBezTo>
                  <a:pt x="66" y="119"/>
                  <a:pt x="65" y="119"/>
                  <a:pt x="65" y="118"/>
                </a:cubicBezTo>
                <a:cubicBezTo>
                  <a:pt x="65" y="118"/>
                  <a:pt x="65" y="118"/>
                  <a:pt x="65" y="118"/>
                </a:cubicBezTo>
                <a:cubicBezTo>
                  <a:pt x="65" y="118"/>
                  <a:pt x="64" y="117"/>
                  <a:pt x="64" y="117"/>
                </a:cubicBezTo>
                <a:cubicBezTo>
                  <a:pt x="64" y="117"/>
                  <a:pt x="64" y="117"/>
                  <a:pt x="64" y="117"/>
                </a:cubicBezTo>
                <a:cubicBezTo>
                  <a:pt x="64" y="116"/>
                  <a:pt x="64" y="116"/>
                  <a:pt x="64" y="116"/>
                </a:cubicBezTo>
                <a:cubicBezTo>
                  <a:pt x="64" y="115"/>
                  <a:pt x="64" y="115"/>
                  <a:pt x="64" y="115"/>
                </a:cubicBezTo>
                <a:cubicBezTo>
                  <a:pt x="64" y="115"/>
                  <a:pt x="64" y="115"/>
                  <a:pt x="64" y="115"/>
                </a:cubicBezTo>
                <a:cubicBezTo>
                  <a:pt x="64" y="115"/>
                  <a:pt x="64" y="115"/>
                  <a:pt x="64" y="114"/>
                </a:cubicBezTo>
                <a:cubicBezTo>
                  <a:pt x="64" y="101"/>
                  <a:pt x="64" y="101"/>
                  <a:pt x="64" y="101"/>
                </a:cubicBezTo>
                <a:cubicBezTo>
                  <a:pt x="64" y="101"/>
                  <a:pt x="64" y="101"/>
                  <a:pt x="64" y="101"/>
                </a:cubicBezTo>
                <a:cubicBezTo>
                  <a:pt x="64" y="101"/>
                  <a:pt x="64" y="101"/>
                  <a:pt x="64" y="101"/>
                </a:cubicBezTo>
                <a:cubicBezTo>
                  <a:pt x="65" y="101"/>
                  <a:pt x="65" y="102"/>
                  <a:pt x="65" y="102"/>
                </a:cubicBezTo>
                <a:cubicBezTo>
                  <a:pt x="66" y="102"/>
                  <a:pt x="66" y="102"/>
                  <a:pt x="66" y="102"/>
                </a:cubicBezTo>
                <a:cubicBezTo>
                  <a:pt x="67" y="103"/>
                  <a:pt x="67" y="103"/>
                  <a:pt x="68" y="103"/>
                </a:cubicBezTo>
                <a:cubicBezTo>
                  <a:pt x="68" y="103"/>
                  <a:pt x="68" y="103"/>
                  <a:pt x="68" y="103"/>
                </a:cubicBezTo>
                <a:cubicBezTo>
                  <a:pt x="73" y="106"/>
                  <a:pt x="81" y="108"/>
                  <a:pt x="89" y="110"/>
                </a:cubicBezTo>
                <a:cubicBezTo>
                  <a:pt x="90" y="110"/>
                  <a:pt x="90" y="110"/>
                  <a:pt x="90" y="110"/>
                </a:cubicBezTo>
                <a:cubicBezTo>
                  <a:pt x="92" y="110"/>
                  <a:pt x="95" y="111"/>
                  <a:pt x="98" y="111"/>
                </a:cubicBezTo>
                <a:cubicBezTo>
                  <a:pt x="99" y="111"/>
                  <a:pt x="99" y="111"/>
                  <a:pt x="100" y="111"/>
                </a:cubicBezTo>
                <a:cubicBezTo>
                  <a:pt x="100" y="111"/>
                  <a:pt x="101" y="111"/>
                  <a:pt x="102" y="111"/>
                </a:cubicBezTo>
                <a:cubicBezTo>
                  <a:pt x="102" y="111"/>
                  <a:pt x="103" y="111"/>
                  <a:pt x="104" y="111"/>
                </a:cubicBezTo>
                <a:cubicBezTo>
                  <a:pt x="105" y="111"/>
                  <a:pt x="105" y="111"/>
                  <a:pt x="105" y="111"/>
                </a:cubicBezTo>
                <a:cubicBezTo>
                  <a:pt x="107" y="111"/>
                  <a:pt x="108" y="111"/>
                  <a:pt x="109" y="111"/>
                </a:cubicBezTo>
                <a:cubicBezTo>
                  <a:pt x="111" y="111"/>
                  <a:pt x="112" y="111"/>
                  <a:pt x="113" y="111"/>
                </a:cubicBezTo>
                <a:cubicBezTo>
                  <a:pt x="114" y="111"/>
                  <a:pt x="114" y="111"/>
                  <a:pt x="115" y="111"/>
                </a:cubicBezTo>
                <a:cubicBezTo>
                  <a:pt x="115" y="111"/>
                  <a:pt x="116" y="111"/>
                  <a:pt x="117" y="111"/>
                </a:cubicBezTo>
                <a:cubicBezTo>
                  <a:pt x="118" y="111"/>
                  <a:pt x="118" y="111"/>
                  <a:pt x="119" y="111"/>
                </a:cubicBezTo>
                <a:cubicBezTo>
                  <a:pt x="119" y="111"/>
                  <a:pt x="120" y="111"/>
                  <a:pt x="121" y="111"/>
                </a:cubicBezTo>
                <a:cubicBezTo>
                  <a:pt x="124" y="111"/>
                  <a:pt x="126" y="110"/>
                  <a:pt x="129" y="110"/>
                </a:cubicBezTo>
                <a:cubicBezTo>
                  <a:pt x="129" y="110"/>
                  <a:pt x="129" y="110"/>
                  <a:pt x="129" y="110"/>
                </a:cubicBezTo>
                <a:cubicBezTo>
                  <a:pt x="138" y="108"/>
                  <a:pt x="147" y="106"/>
                  <a:pt x="152" y="102"/>
                </a:cubicBezTo>
                <a:cubicBezTo>
                  <a:pt x="153" y="102"/>
                  <a:pt x="153" y="102"/>
                  <a:pt x="153" y="102"/>
                </a:cubicBezTo>
                <a:cubicBezTo>
                  <a:pt x="154" y="102"/>
                  <a:pt x="154" y="101"/>
                  <a:pt x="154" y="101"/>
                </a:cubicBezTo>
                <a:cubicBezTo>
                  <a:pt x="154" y="101"/>
                  <a:pt x="155" y="101"/>
                  <a:pt x="155" y="101"/>
                </a:cubicBezTo>
                <a:cubicBezTo>
                  <a:pt x="155" y="114"/>
                  <a:pt x="155" y="114"/>
                  <a:pt x="155" y="114"/>
                </a:cubicBezTo>
                <a:cubicBezTo>
                  <a:pt x="155" y="114"/>
                  <a:pt x="155" y="115"/>
                  <a:pt x="155" y="115"/>
                </a:cubicBezTo>
                <a:cubicBezTo>
                  <a:pt x="155" y="115"/>
                  <a:pt x="155" y="115"/>
                  <a:pt x="155" y="116"/>
                </a:cubicBezTo>
                <a:cubicBezTo>
                  <a:pt x="155" y="116"/>
                  <a:pt x="155" y="116"/>
                  <a:pt x="155" y="117"/>
                </a:cubicBezTo>
                <a:cubicBezTo>
                  <a:pt x="154" y="117"/>
                  <a:pt x="154" y="117"/>
                  <a:pt x="154" y="117"/>
                </a:cubicBezTo>
                <a:close/>
                <a:moveTo>
                  <a:pt x="12" y="152"/>
                </a:moveTo>
                <a:cubicBezTo>
                  <a:pt x="8" y="152"/>
                  <a:pt x="5" y="149"/>
                  <a:pt x="5" y="145"/>
                </a:cubicBezTo>
                <a:cubicBezTo>
                  <a:pt x="5" y="114"/>
                  <a:pt x="5" y="114"/>
                  <a:pt x="5" y="114"/>
                </a:cubicBezTo>
                <a:cubicBezTo>
                  <a:pt x="5" y="110"/>
                  <a:pt x="8" y="107"/>
                  <a:pt x="12" y="107"/>
                </a:cubicBezTo>
                <a:cubicBezTo>
                  <a:pt x="59" y="107"/>
                  <a:pt x="59" y="107"/>
                  <a:pt x="59" y="107"/>
                </a:cubicBezTo>
                <a:cubicBezTo>
                  <a:pt x="59" y="115"/>
                  <a:pt x="59" y="115"/>
                  <a:pt x="59" y="115"/>
                </a:cubicBezTo>
                <a:cubicBezTo>
                  <a:pt x="59" y="116"/>
                  <a:pt x="59" y="116"/>
                  <a:pt x="59" y="116"/>
                </a:cubicBezTo>
                <a:cubicBezTo>
                  <a:pt x="59" y="117"/>
                  <a:pt x="59" y="117"/>
                  <a:pt x="59" y="117"/>
                </a:cubicBezTo>
                <a:cubicBezTo>
                  <a:pt x="59" y="141"/>
                  <a:pt x="59" y="141"/>
                  <a:pt x="59" y="141"/>
                </a:cubicBezTo>
                <a:cubicBezTo>
                  <a:pt x="59" y="143"/>
                  <a:pt x="59" y="143"/>
                  <a:pt x="59" y="143"/>
                </a:cubicBezTo>
                <a:cubicBezTo>
                  <a:pt x="59" y="143"/>
                  <a:pt x="59" y="143"/>
                  <a:pt x="59" y="143"/>
                </a:cubicBezTo>
                <a:cubicBezTo>
                  <a:pt x="60" y="143"/>
                  <a:pt x="60" y="144"/>
                  <a:pt x="60" y="144"/>
                </a:cubicBezTo>
                <a:cubicBezTo>
                  <a:pt x="60" y="144"/>
                  <a:pt x="60" y="144"/>
                  <a:pt x="60" y="144"/>
                </a:cubicBezTo>
                <a:cubicBezTo>
                  <a:pt x="60" y="145"/>
                  <a:pt x="60" y="145"/>
                  <a:pt x="61" y="145"/>
                </a:cubicBezTo>
                <a:cubicBezTo>
                  <a:pt x="61" y="146"/>
                  <a:pt x="61" y="146"/>
                  <a:pt x="62" y="147"/>
                </a:cubicBezTo>
                <a:cubicBezTo>
                  <a:pt x="62" y="147"/>
                  <a:pt x="62" y="147"/>
                  <a:pt x="62" y="147"/>
                </a:cubicBezTo>
                <a:cubicBezTo>
                  <a:pt x="63" y="148"/>
                  <a:pt x="64" y="149"/>
                  <a:pt x="66" y="150"/>
                </a:cubicBezTo>
                <a:cubicBezTo>
                  <a:pt x="66" y="150"/>
                  <a:pt x="66" y="150"/>
                  <a:pt x="66" y="150"/>
                </a:cubicBezTo>
                <a:cubicBezTo>
                  <a:pt x="67" y="151"/>
                  <a:pt x="68" y="151"/>
                  <a:pt x="69" y="152"/>
                </a:cubicBezTo>
                <a:cubicBezTo>
                  <a:pt x="12" y="152"/>
                  <a:pt x="12" y="152"/>
                  <a:pt x="12" y="152"/>
                </a:cubicBezTo>
                <a:close/>
                <a:moveTo>
                  <a:pt x="155" y="140"/>
                </a:moveTo>
                <a:cubicBezTo>
                  <a:pt x="155" y="140"/>
                  <a:pt x="155" y="140"/>
                  <a:pt x="155" y="140"/>
                </a:cubicBezTo>
                <a:cubicBezTo>
                  <a:pt x="154" y="147"/>
                  <a:pt x="135" y="154"/>
                  <a:pt x="109" y="154"/>
                </a:cubicBezTo>
                <a:cubicBezTo>
                  <a:pt x="101" y="154"/>
                  <a:pt x="94" y="153"/>
                  <a:pt x="87" y="152"/>
                </a:cubicBezTo>
                <a:cubicBezTo>
                  <a:pt x="87" y="152"/>
                  <a:pt x="87" y="152"/>
                  <a:pt x="87" y="152"/>
                </a:cubicBezTo>
                <a:cubicBezTo>
                  <a:pt x="74" y="150"/>
                  <a:pt x="67" y="145"/>
                  <a:pt x="65" y="142"/>
                </a:cubicBezTo>
                <a:cubicBezTo>
                  <a:pt x="65" y="142"/>
                  <a:pt x="65" y="142"/>
                  <a:pt x="65" y="142"/>
                </a:cubicBezTo>
                <a:cubicBezTo>
                  <a:pt x="65" y="142"/>
                  <a:pt x="64" y="141"/>
                  <a:pt x="64" y="141"/>
                </a:cubicBezTo>
                <a:cubicBezTo>
                  <a:pt x="64" y="141"/>
                  <a:pt x="64" y="141"/>
                  <a:pt x="64" y="140"/>
                </a:cubicBezTo>
                <a:cubicBezTo>
                  <a:pt x="64" y="125"/>
                  <a:pt x="64" y="125"/>
                  <a:pt x="64" y="125"/>
                </a:cubicBezTo>
                <a:cubicBezTo>
                  <a:pt x="64" y="125"/>
                  <a:pt x="64" y="125"/>
                  <a:pt x="64" y="125"/>
                </a:cubicBezTo>
                <a:cubicBezTo>
                  <a:pt x="65" y="125"/>
                  <a:pt x="65" y="126"/>
                  <a:pt x="65" y="126"/>
                </a:cubicBezTo>
                <a:cubicBezTo>
                  <a:pt x="66" y="126"/>
                  <a:pt x="66" y="126"/>
                  <a:pt x="66" y="126"/>
                </a:cubicBezTo>
                <a:cubicBezTo>
                  <a:pt x="67" y="127"/>
                  <a:pt x="67" y="127"/>
                  <a:pt x="68" y="127"/>
                </a:cubicBezTo>
                <a:cubicBezTo>
                  <a:pt x="68" y="127"/>
                  <a:pt x="68" y="127"/>
                  <a:pt x="68" y="127"/>
                </a:cubicBezTo>
                <a:cubicBezTo>
                  <a:pt x="73" y="130"/>
                  <a:pt x="81" y="132"/>
                  <a:pt x="89" y="134"/>
                </a:cubicBezTo>
                <a:cubicBezTo>
                  <a:pt x="90" y="134"/>
                  <a:pt x="90" y="134"/>
                  <a:pt x="90" y="134"/>
                </a:cubicBezTo>
                <a:cubicBezTo>
                  <a:pt x="92" y="134"/>
                  <a:pt x="95" y="135"/>
                  <a:pt x="98" y="135"/>
                </a:cubicBezTo>
                <a:cubicBezTo>
                  <a:pt x="99" y="135"/>
                  <a:pt x="99" y="135"/>
                  <a:pt x="100" y="135"/>
                </a:cubicBezTo>
                <a:cubicBezTo>
                  <a:pt x="100" y="135"/>
                  <a:pt x="101" y="135"/>
                  <a:pt x="102" y="135"/>
                </a:cubicBezTo>
                <a:cubicBezTo>
                  <a:pt x="102" y="135"/>
                  <a:pt x="103" y="135"/>
                  <a:pt x="104" y="135"/>
                </a:cubicBezTo>
                <a:cubicBezTo>
                  <a:pt x="105" y="135"/>
                  <a:pt x="105" y="135"/>
                  <a:pt x="105" y="135"/>
                </a:cubicBezTo>
                <a:cubicBezTo>
                  <a:pt x="107" y="135"/>
                  <a:pt x="108" y="135"/>
                  <a:pt x="109" y="135"/>
                </a:cubicBezTo>
                <a:cubicBezTo>
                  <a:pt x="111" y="135"/>
                  <a:pt x="112" y="135"/>
                  <a:pt x="113" y="135"/>
                </a:cubicBezTo>
                <a:cubicBezTo>
                  <a:pt x="114" y="135"/>
                  <a:pt x="114" y="135"/>
                  <a:pt x="115" y="135"/>
                </a:cubicBezTo>
                <a:cubicBezTo>
                  <a:pt x="115" y="135"/>
                  <a:pt x="116" y="135"/>
                  <a:pt x="117" y="135"/>
                </a:cubicBezTo>
                <a:cubicBezTo>
                  <a:pt x="118" y="135"/>
                  <a:pt x="118" y="135"/>
                  <a:pt x="119" y="135"/>
                </a:cubicBezTo>
                <a:cubicBezTo>
                  <a:pt x="119" y="135"/>
                  <a:pt x="120" y="135"/>
                  <a:pt x="121" y="135"/>
                </a:cubicBezTo>
                <a:cubicBezTo>
                  <a:pt x="123" y="135"/>
                  <a:pt x="126" y="134"/>
                  <a:pt x="129" y="134"/>
                </a:cubicBezTo>
                <a:cubicBezTo>
                  <a:pt x="129" y="134"/>
                  <a:pt x="129" y="134"/>
                  <a:pt x="129" y="134"/>
                </a:cubicBezTo>
                <a:cubicBezTo>
                  <a:pt x="138" y="132"/>
                  <a:pt x="147" y="130"/>
                  <a:pt x="152" y="126"/>
                </a:cubicBezTo>
                <a:cubicBezTo>
                  <a:pt x="153" y="126"/>
                  <a:pt x="153" y="126"/>
                  <a:pt x="153" y="126"/>
                </a:cubicBezTo>
                <a:cubicBezTo>
                  <a:pt x="154" y="126"/>
                  <a:pt x="154" y="125"/>
                  <a:pt x="154" y="125"/>
                </a:cubicBezTo>
                <a:cubicBezTo>
                  <a:pt x="154" y="125"/>
                  <a:pt x="155" y="125"/>
                  <a:pt x="155" y="125"/>
                </a:cubicBezTo>
                <a:cubicBezTo>
                  <a:pt x="155" y="140"/>
                  <a:pt x="155" y="140"/>
                  <a:pt x="155" y="140"/>
                </a:cubicBezTo>
                <a:close/>
                <a:moveTo>
                  <a:pt x="155" y="68"/>
                </a:moveTo>
                <a:cubicBezTo>
                  <a:pt x="155" y="74"/>
                  <a:pt x="135" y="82"/>
                  <a:pt x="109" y="82"/>
                </a:cubicBezTo>
                <a:cubicBezTo>
                  <a:pt x="83" y="82"/>
                  <a:pt x="64" y="74"/>
                  <a:pt x="64" y="68"/>
                </a:cubicBezTo>
                <a:cubicBezTo>
                  <a:pt x="64" y="67"/>
                  <a:pt x="64" y="67"/>
                  <a:pt x="64" y="67"/>
                </a:cubicBezTo>
                <a:cubicBezTo>
                  <a:pt x="64" y="66"/>
                  <a:pt x="64" y="66"/>
                  <a:pt x="65" y="66"/>
                </a:cubicBezTo>
                <a:cubicBezTo>
                  <a:pt x="65" y="66"/>
                  <a:pt x="65" y="66"/>
                  <a:pt x="65" y="66"/>
                </a:cubicBezTo>
                <a:cubicBezTo>
                  <a:pt x="66" y="64"/>
                  <a:pt x="67" y="62"/>
                  <a:pt x="70" y="61"/>
                </a:cubicBezTo>
                <a:cubicBezTo>
                  <a:pt x="70" y="61"/>
                  <a:pt x="70" y="61"/>
                  <a:pt x="70" y="61"/>
                </a:cubicBezTo>
                <a:cubicBezTo>
                  <a:pt x="71" y="60"/>
                  <a:pt x="71" y="60"/>
                  <a:pt x="72" y="60"/>
                </a:cubicBezTo>
                <a:cubicBezTo>
                  <a:pt x="73" y="60"/>
                  <a:pt x="73" y="59"/>
                  <a:pt x="74" y="59"/>
                </a:cubicBezTo>
                <a:cubicBezTo>
                  <a:pt x="74" y="59"/>
                  <a:pt x="74" y="59"/>
                  <a:pt x="74" y="59"/>
                </a:cubicBezTo>
                <a:cubicBezTo>
                  <a:pt x="77" y="58"/>
                  <a:pt x="81" y="57"/>
                  <a:pt x="85" y="56"/>
                </a:cubicBezTo>
                <a:cubicBezTo>
                  <a:pt x="87" y="55"/>
                  <a:pt x="88" y="55"/>
                  <a:pt x="89" y="55"/>
                </a:cubicBezTo>
                <a:cubicBezTo>
                  <a:pt x="90" y="55"/>
                  <a:pt x="90" y="55"/>
                  <a:pt x="90" y="55"/>
                </a:cubicBezTo>
                <a:cubicBezTo>
                  <a:pt x="102" y="53"/>
                  <a:pt x="116" y="53"/>
                  <a:pt x="128" y="55"/>
                </a:cubicBezTo>
                <a:cubicBezTo>
                  <a:pt x="129" y="55"/>
                  <a:pt x="129" y="55"/>
                  <a:pt x="129" y="55"/>
                </a:cubicBezTo>
                <a:cubicBezTo>
                  <a:pt x="131" y="55"/>
                  <a:pt x="132" y="55"/>
                  <a:pt x="133" y="56"/>
                </a:cubicBezTo>
                <a:cubicBezTo>
                  <a:pt x="146" y="58"/>
                  <a:pt x="155" y="63"/>
                  <a:pt x="155" y="68"/>
                </a:cubicBezTo>
                <a:close/>
                <a:moveTo>
                  <a:pt x="155" y="44"/>
                </a:moveTo>
                <a:cubicBezTo>
                  <a:pt x="155" y="48"/>
                  <a:pt x="152" y="51"/>
                  <a:pt x="148" y="51"/>
                </a:cubicBezTo>
                <a:cubicBezTo>
                  <a:pt x="135" y="51"/>
                  <a:pt x="135" y="51"/>
                  <a:pt x="135" y="51"/>
                </a:cubicBezTo>
                <a:cubicBezTo>
                  <a:pt x="135" y="51"/>
                  <a:pt x="135" y="51"/>
                  <a:pt x="135" y="51"/>
                </a:cubicBezTo>
                <a:cubicBezTo>
                  <a:pt x="133" y="50"/>
                  <a:pt x="131" y="50"/>
                  <a:pt x="129" y="50"/>
                </a:cubicBezTo>
                <a:cubicBezTo>
                  <a:pt x="129" y="50"/>
                  <a:pt x="129" y="50"/>
                  <a:pt x="129" y="49"/>
                </a:cubicBezTo>
                <a:cubicBezTo>
                  <a:pt x="123" y="49"/>
                  <a:pt x="116" y="48"/>
                  <a:pt x="109" y="48"/>
                </a:cubicBezTo>
                <a:cubicBezTo>
                  <a:pt x="103" y="48"/>
                  <a:pt x="96" y="49"/>
                  <a:pt x="90" y="49"/>
                </a:cubicBezTo>
                <a:cubicBezTo>
                  <a:pt x="90" y="50"/>
                  <a:pt x="89" y="50"/>
                  <a:pt x="89" y="50"/>
                </a:cubicBezTo>
                <a:cubicBezTo>
                  <a:pt x="87" y="50"/>
                  <a:pt x="86" y="50"/>
                  <a:pt x="84" y="51"/>
                </a:cubicBezTo>
                <a:cubicBezTo>
                  <a:pt x="84" y="51"/>
                  <a:pt x="83" y="51"/>
                  <a:pt x="83" y="51"/>
                </a:cubicBezTo>
                <a:cubicBezTo>
                  <a:pt x="12" y="51"/>
                  <a:pt x="12" y="51"/>
                  <a:pt x="12" y="51"/>
                </a:cubicBezTo>
                <a:cubicBezTo>
                  <a:pt x="8" y="51"/>
                  <a:pt x="5" y="48"/>
                  <a:pt x="5" y="44"/>
                </a:cubicBezTo>
                <a:cubicBezTo>
                  <a:pt x="5" y="12"/>
                  <a:pt x="5" y="12"/>
                  <a:pt x="5" y="12"/>
                </a:cubicBezTo>
                <a:cubicBezTo>
                  <a:pt x="5" y="8"/>
                  <a:pt x="8" y="5"/>
                  <a:pt x="12" y="5"/>
                </a:cubicBezTo>
                <a:cubicBezTo>
                  <a:pt x="148" y="5"/>
                  <a:pt x="148" y="5"/>
                  <a:pt x="148" y="5"/>
                </a:cubicBezTo>
                <a:cubicBezTo>
                  <a:pt x="152" y="5"/>
                  <a:pt x="155" y="8"/>
                  <a:pt x="155" y="12"/>
                </a:cubicBezTo>
                <a:lnTo>
                  <a:pt x="155" y="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60" name="Freeform 1137">
            <a:extLst>
              <a:ext uri="{FF2B5EF4-FFF2-40B4-BE49-F238E27FC236}">
                <a16:creationId xmlns:a16="http://schemas.microsoft.com/office/drawing/2014/main" id="{93DAB420-5FFF-944A-AA8B-E42AC773B6AB}"/>
              </a:ext>
            </a:extLst>
          </p:cNvPr>
          <p:cNvSpPr>
            <a:spLocks noEditPoints="1"/>
          </p:cNvSpPr>
          <p:nvPr/>
        </p:nvSpPr>
        <p:spPr bwMode="auto">
          <a:xfrm>
            <a:off x="7265870" y="4714875"/>
            <a:ext cx="546100" cy="495300"/>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61" name="Freeform 1138">
            <a:extLst>
              <a:ext uri="{FF2B5EF4-FFF2-40B4-BE49-F238E27FC236}">
                <a16:creationId xmlns:a16="http://schemas.microsoft.com/office/drawing/2014/main" id="{506253B9-3A60-874D-B63C-823F96A2446A}"/>
              </a:ext>
            </a:extLst>
          </p:cNvPr>
          <p:cNvSpPr>
            <a:spLocks noEditPoints="1"/>
          </p:cNvSpPr>
          <p:nvPr/>
        </p:nvSpPr>
        <p:spPr bwMode="auto">
          <a:xfrm>
            <a:off x="7321433" y="5319713"/>
            <a:ext cx="425450" cy="550863"/>
          </a:xfrm>
          <a:custGeom>
            <a:avLst/>
            <a:gdLst>
              <a:gd name="T0" fmla="*/ 0 w 125"/>
              <a:gd name="T1" fmla="*/ 160 h 160"/>
              <a:gd name="T2" fmla="*/ 86 w 125"/>
              <a:gd name="T3" fmla="*/ 0 h 160"/>
              <a:gd name="T4" fmla="*/ 88 w 125"/>
              <a:gd name="T5" fmla="*/ 37 h 160"/>
              <a:gd name="T6" fmla="*/ 5 w 125"/>
              <a:gd name="T7" fmla="*/ 5 h 160"/>
              <a:gd name="T8" fmla="*/ 120 w 125"/>
              <a:gd name="T9" fmla="*/ 43 h 160"/>
              <a:gd name="T10" fmla="*/ 24 w 125"/>
              <a:gd name="T11" fmla="*/ 43 h 160"/>
              <a:gd name="T12" fmla="*/ 53 w 125"/>
              <a:gd name="T13" fmla="*/ 43 h 160"/>
              <a:gd name="T14" fmla="*/ 24 w 125"/>
              <a:gd name="T15" fmla="*/ 43 h 160"/>
              <a:gd name="T16" fmla="*/ 40 w 125"/>
              <a:gd name="T17" fmla="*/ 61 h 160"/>
              <a:gd name="T18" fmla="*/ 27 w 125"/>
              <a:gd name="T19" fmla="*/ 67 h 160"/>
              <a:gd name="T20" fmla="*/ 67 w 125"/>
              <a:gd name="T21" fmla="*/ 61 h 160"/>
              <a:gd name="T22" fmla="*/ 85 w 125"/>
              <a:gd name="T23" fmla="*/ 67 h 160"/>
              <a:gd name="T24" fmla="*/ 55 w 125"/>
              <a:gd name="T25" fmla="*/ 62 h 160"/>
              <a:gd name="T26" fmla="*/ 53 w 125"/>
              <a:gd name="T27" fmla="*/ 67 h 160"/>
              <a:gd name="T28" fmla="*/ 51 w 125"/>
              <a:gd name="T29" fmla="*/ 62 h 160"/>
              <a:gd name="T30" fmla="*/ 96 w 125"/>
              <a:gd name="T31" fmla="*/ 64 h 160"/>
              <a:gd name="T32" fmla="*/ 101 w 125"/>
              <a:gd name="T33" fmla="*/ 64 h 160"/>
              <a:gd name="T34" fmla="*/ 97 w 125"/>
              <a:gd name="T35" fmla="*/ 66 h 160"/>
              <a:gd name="T36" fmla="*/ 40 w 125"/>
              <a:gd name="T37" fmla="*/ 88 h 160"/>
              <a:gd name="T38" fmla="*/ 59 w 125"/>
              <a:gd name="T39" fmla="*/ 83 h 160"/>
              <a:gd name="T40" fmla="*/ 24 w 125"/>
              <a:gd name="T41" fmla="*/ 85 h 160"/>
              <a:gd name="T42" fmla="*/ 29 w 125"/>
              <a:gd name="T43" fmla="*/ 85 h 160"/>
              <a:gd name="T44" fmla="*/ 25 w 125"/>
              <a:gd name="T45" fmla="*/ 87 h 160"/>
              <a:gd name="T46" fmla="*/ 27 w 125"/>
              <a:gd name="T47" fmla="*/ 129 h 160"/>
              <a:gd name="T48" fmla="*/ 27 w 125"/>
              <a:gd name="T49" fmla="*/ 122 h 160"/>
              <a:gd name="T50" fmla="*/ 60 w 125"/>
              <a:gd name="T51" fmla="*/ 121 h 160"/>
              <a:gd name="T52" fmla="*/ 45 w 125"/>
              <a:gd name="T53" fmla="*/ 126 h 160"/>
              <a:gd name="T54" fmla="*/ 53 w 125"/>
              <a:gd name="T55" fmla="*/ 118 h 160"/>
              <a:gd name="T56" fmla="*/ 106 w 125"/>
              <a:gd name="T57" fmla="*/ 91 h 160"/>
              <a:gd name="T58" fmla="*/ 97 w 125"/>
              <a:gd name="T59" fmla="*/ 80 h 160"/>
              <a:gd name="T60" fmla="*/ 88 w 125"/>
              <a:gd name="T61" fmla="*/ 75 h 160"/>
              <a:gd name="T62" fmla="*/ 79 w 125"/>
              <a:gd name="T63" fmla="*/ 80 h 160"/>
              <a:gd name="T64" fmla="*/ 70 w 125"/>
              <a:gd name="T65" fmla="*/ 91 h 160"/>
              <a:gd name="T66" fmla="*/ 69 w 125"/>
              <a:gd name="T67" fmla="*/ 105 h 160"/>
              <a:gd name="T68" fmla="*/ 71 w 125"/>
              <a:gd name="T69" fmla="*/ 116 h 160"/>
              <a:gd name="T70" fmla="*/ 88 w 125"/>
              <a:gd name="T71" fmla="*/ 137 h 160"/>
              <a:gd name="T72" fmla="*/ 105 w 125"/>
              <a:gd name="T73" fmla="*/ 116 h 160"/>
              <a:gd name="T74" fmla="*/ 107 w 125"/>
              <a:gd name="T75" fmla="*/ 105 h 160"/>
              <a:gd name="T76" fmla="*/ 88 w 125"/>
              <a:gd name="T77" fmla="*/ 130 h 160"/>
              <a:gd name="T78" fmla="*/ 80 w 125"/>
              <a:gd name="T79" fmla="*/ 117 h 160"/>
              <a:gd name="T80" fmla="*/ 81 w 125"/>
              <a:gd name="T81" fmla="*/ 118 h 160"/>
              <a:gd name="T82" fmla="*/ 95 w 125"/>
              <a:gd name="T83" fmla="*/ 117 h 160"/>
              <a:gd name="T84" fmla="*/ 96 w 125"/>
              <a:gd name="T85" fmla="*/ 117 h 160"/>
              <a:gd name="T86" fmla="*/ 106 w 125"/>
              <a:gd name="T87" fmla="*/ 100 h 160"/>
              <a:gd name="T88" fmla="*/ 101 w 125"/>
              <a:gd name="T89" fmla="*/ 112 h 160"/>
              <a:gd name="T90" fmla="*/ 98 w 125"/>
              <a:gd name="T91" fmla="*/ 112 h 160"/>
              <a:gd name="T92" fmla="*/ 96 w 125"/>
              <a:gd name="T93" fmla="*/ 112 h 160"/>
              <a:gd name="T94" fmla="*/ 94 w 125"/>
              <a:gd name="T95" fmla="*/ 112 h 160"/>
              <a:gd name="T96" fmla="*/ 93 w 125"/>
              <a:gd name="T97" fmla="*/ 112 h 160"/>
              <a:gd name="T98" fmla="*/ 91 w 125"/>
              <a:gd name="T99" fmla="*/ 114 h 160"/>
              <a:gd name="T100" fmla="*/ 86 w 125"/>
              <a:gd name="T101" fmla="*/ 116 h 160"/>
              <a:gd name="T102" fmla="*/ 84 w 125"/>
              <a:gd name="T103" fmla="*/ 113 h 160"/>
              <a:gd name="T104" fmla="*/ 82 w 125"/>
              <a:gd name="T105" fmla="*/ 112 h 160"/>
              <a:gd name="T106" fmla="*/ 81 w 125"/>
              <a:gd name="T107" fmla="*/ 112 h 160"/>
              <a:gd name="T108" fmla="*/ 80 w 125"/>
              <a:gd name="T109" fmla="*/ 112 h 160"/>
              <a:gd name="T110" fmla="*/ 75 w 125"/>
              <a:gd name="T111" fmla="*/ 112 h 160"/>
              <a:gd name="T112" fmla="*/ 70 w 125"/>
              <a:gd name="T113" fmla="*/ 100 h 160"/>
              <a:gd name="T114" fmla="*/ 75 w 125"/>
              <a:gd name="T115" fmla="*/ 93 h 160"/>
              <a:gd name="T116" fmla="*/ 77 w 125"/>
              <a:gd name="T117" fmla="*/ 85 h 160"/>
              <a:gd name="T118" fmla="*/ 88 w 125"/>
              <a:gd name="T119" fmla="*/ 80 h 160"/>
              <a:gd name="T120" fmla="*/ 99 w 125"/>
              <a:gd name="T121" fmla="*/ 85 h 160"/>
              <a:gd name="T122" fmla="*/ 101 w 125"/>
              <a:gd name="T123" fmla="*/ 93 h 160"/>
              <a:gd name="T124" fmla="*/ 106 w 125"/>
              <a:gd name="T125" fmla="*/ 10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 h="160">
                <a:moveTo>
                  <a:pt x="86" y="0"/>
                </a:moveTo>
                <a:cubicBezTo>
                  <a:pt x="0" y="0"/>
                  <a:pt x="0" y="0"/>
                  <a:pt x="0" y="0"/>
                </a:cubicBezTo>
                <a:cubicBezTo>
                  <a:pt x="0" y="160"/>
                  <a:pt x="0" y="160"/>
                  <a:pt x="0" y="160"/>
                </a:cubicBezTo>
                <a:cubicBezTo>
                  <a:pt x="125" y="160"/>
                  <a:pt x="125" y="160"/>
                  <a:pt x="125" y="160"/>
                </a:cubicBezTo>
                <a:cubicBezTo>
                  <a:pt x="125" y="39"/>
                  <a:pt x="125" y="39"/>
                  <a:pt x="125" y="39"/>
                </a:cubicBezTo>
                <a:lnTo>
                  <a:pt x="86" y="0"/>
                </a:lnTo>
                <a:close/>
                <a:moveTo>
                  <a:pt x="88" y="9"/>
                </a:moveTo>
                <a:cubicBezTo>
                  <a:pt x="116" y="37"/>
                  <a:pt x="116" y="37"/>
                  <a:pt x="116" y="37"/>
                </a:cubicBezTo>
                <a:cubicBezTo>
                  <a:pt x="88" y="37"/>
                  <a:pt x="88" y="37"/>
                  <a:pt x="88" y="37"/>
                </a:cubicBezTo>
                <a:lnTo>
                  <a:pt x="88" y="9"/>
                </a:lnTo>
                <a:close/>
                <a:moveTo>
                  <a:pt x="5" y="155"/>
                </a:moveTo>
                <a:cubicBezTo>
                  <a:pt x="5" y="5"/>
                  <a:pt x="5" y="5"/>
                  <a:pt x="5" y="5"/>
                </a:cubicBezTo>
                <a:cubicBezTo>
                  <a:pt x="83" y="5"/>
                  <a:pt x="83" y="5"/>
                  <a:pt x="83" y="5"/>
                </a:cubicBezTo>
                <a:cubicBezTo>
                  <a:pt x="83" y="43"/>
                  <a:pt x="83" y="43"/>
                  <a:pt x="83" y="43"/>
                </a:cubicBezTo>
                <a:cubicBezTo>
                  <a:pt x="120" y="43"/>
                  <a:pt x="120" y="43"/>
                  <a:pt x="120" y="43"/>
                </a:cubicBezTo>
                <a:cubicBezTo>
                  <a:pt x="120" y="155"/>
                  <a:pt x="120" y="155"/>
                  <a:pt x="120" y="155"/>
                </a:cubicBezTo>
                <a:lnTo>
                  <a:pt x="5" y="155"/>
                </a:lnTo>
                <a:close/>
                <a:moveTo>
                  <a:pt x="24" y="43"/>
                </a:moveTo>
                <a:cubicBezTo>
                  <a:pt x="24" y="41"/>
                  <a:pt x="25" y="40"/>
                  <a:pt x="27" y="40"/>
                </a:cubicBezTo>
                <a:cubicBezTo>
                  <a:pt x="51" y="40"/>
                  <a:pt x="51" y="40"/>
                  <a:pt x="51" y="40"/>
                </a:cubicBezTo>
                <a:cubicBezTo>
                  <a:pt x="52" y="40"/>
                  <a:pt x="53" y="41"/>
                  <a:pt x="53" y="43"/>
                </a:cubicBezTo>
                <a:cubicBezTo>
                  <a:pt x="53" y="44"/>
                  <a:pt x="52" y="45"/>
                  <a:pt x="51" y="45"/>
                </a:cubicBezTo>
                <a:cubicBezTo>
                  <a:pt x="27" y="45"/>
                  <a:pt x="27" y="45"/>
                  <a:pt x="27" y="45"/>
                </a:cubicBezTo>
                <a:cubicBezTo>
                  <a:pt x="25" y="45"/>
                  <a:pt x="24" y="44"/>
                  <a:pt x="24" y="43"/>
                </a:cubicBezTo>
                <a:close/>
                <a:moveTo>
                  <a:pt x="24" y="64"/>
                </a:moveTo>
                <a:cubicBezTo>
                  <a:pt x="24" y="63"/>
                  <a:pt x="25" y="61"/>
                  <a:pt x="27" y="61"/>
                </a:cubicBezTo>
                <a:cubicBezTo>
                  <a:pt x="40" y="61"/>
                  <a:pt x="40" y="61"/>
                  <a:pt x="40" y="61"/>
                </a:cubicBezTo>
                <a:cubicBezTo>
                  <a:pt x="41" y="61"/>
                  <a:pt x="43" y="63"/>
                  <a:pt x="43" y="64"/>
                </a:cubicBezTo>
                <a:cubicBezTo>
                  <a:pt x="43" y="65"/>
                  <a:pt x="41" y="67"/>
                  <a:pt x="40" y="67"/>
                </a:cubicBezTo>
                <a:cubicBezTo>
                  <a:pt x="27" y="67"/>
                  <a:pt x="27" y="67"/>
                  <a:pt x="27" y="67"/>
                </a:cubicBezTo>
                <a:cubicBezTo>
                  <a:pt x="25" y="67"/>
                  <a:pt x="24" y="65"/>
                  <a:pt x="24" y="64"/>
                </a:cubicBezTo>
                <a:close/>
                <a:moveTo>
                  <a:pt x="64" y="64"/>
                </a:moveTo>
                <a:cubicBezTo>
                  <a:pt x="64" y="63"/>
                  <a:pt x="65" y="61"/>
                  <a:pt x="67" y="61"/>
                </a:cubicBezTo>
                <a:cubicBezTo>
                  <a:pt x="85" y="61"/>
                  <a:pt x="85" y="61"/>
                  <a:pt x="85" y="61"/>
                </a:cubicBezTo>
                <a:cubicBezTo>
                  <a:pt x="87" y="61"/>
                  <a:pt x="88" y="63"/>
                  <a:pt x="88" y="64"/>
                </a:cubicBezTo>
                <a:cubicBezTo>
                  <a:pt x="88" y="65"/>
                  <a:pt x="87" y="67"/>
                  <a:pt x="85" y="67"/>
                </a:cubicBezTo>
                <a:cubicBezTo>
                  <a:pt x="67" y="67"/>
                  <a:pt x="67" y="67"/>
                  <a:pt x="67" y="67"/>
                </a:cubicBezTo>
                <a:cubicBezTo>
                  <a:pt x="65" y="67"/>
                  <a:pt x="64" y="65"/>
                  <a:pt x="64" y="64"/>
                </a:cubicBezTo>
                <a:close/>
                <a:moveTo>
                  <a:pt x="55" y="62"/>
                </a:moveTo>
                <a:cubicBezTo>
                  <a:pt x="56" y="63"/>
                  <a:pt x="56" y="63"/>
                  <a:pt x="56" y="64"/>
                </a:cubicBezTo>
                <a:cubicBezTo>
                  <a:pt x="56" y="65"/>
                  <a:pt x="56" y="65"/>
                  <a:pt x="55" y="66"/>
                </a:cubicBezTo>
                <a:cubicBezTo>
                  <a:pt x="55" y="66"/>
                  <a:pt x="54" y="67"/>
                  <a:pt x="53" y="67"/>
                </a:cubicBezTo>
                <a:cubicBezTo>
                  <a:pt x="53" y="67"/>
                  <a:pt x="52" y="66"/>
                  <a:pt x="51" y="66"/>
                </a:cubicBezTo>
                <a:cubicBezTo>
                  <a:pt x="51" y="65"/>
                  <a:pt x="51" y="65"/>
                  <a:pt x="51" y="64"/>
                </a:cubicBezTo>
                <a:cubicBezTo>
                  <a:pt x="51" y="63"/>
                  <a:pt x="51" y="63"/>
                  <a:pt x="51" y="62"/>
                </a:cubicBezTo>
                <a:cubicBezTo>
                  <a:pt x="52" y="61"/>
                  <a:pt x="54" y="61"/>
                  <a:pt x="55" y="62"/>
                </a:cubicBezTo>
                <a:close/>
                <a:moveTo>
                  <a:pt x="97" y="66"/>
                </a:moveTo>
                <a:cubicBezTo>
                  <a:pt x="96" y="65"/>
                  <a:pt x="96" y="65"/>
                  <a:pt x="96" y="64"/>
                </a:cubicBezTo>
                <a:cubicBezTo>
                  <a:pt x="96" y="63"/>
                  <a:pt x="96" y="63"/>
                  <a:pt x="97" y="62"/>
                </a:cubicBezTo>
                <a:cubicBezTo>
                  <a:pt x="98" y="61"/>
                  <a:pt x="100" y="61"/>
                  <a:pt x="101" y="62"/>
                </a:cubicBezTo>
                <a:cubicBezTo>
                  <a:pt x="101" y="63"/>
                  <a:pt x="101" y="63"/>
                  <a:pt x="101" y="64"/>
                </a:cubicBezTo>
                <a:cubicBezTo>
                  <a:pt x="101" y="65"/>
                  <a:pt x="101" y="65"/>
                  <a:pt x="101" y="66"/>
                </a:cubicBezTo>
                <a:cubicBezTo>
                  <a:pt x="100" y="66"/>
                  <a:pt x="99" y="67"/>
                  <a:pt x="99" y="67"/>
                </a:cubicBezTo>
                <a:cubicBezTo>
                  <a:pt x="98" y="67"/>
                  <a:pt x="97" y="66"/>
                  <a:pt x="97" y="66"/>
                </a:cubicBezTo>
                <a:close/>
                <a:moveTo>
                  <a:pt x="61" y="85"/>
                </a:moveTo>
                <a:cubicBezTo>
                  <a:pt x="61" y="87"/>
                  <a:pt x="60" y="88"/>
                  <a:pt x="59" y="88"/>
                </a:cubicBezTo>
                <a:cubicBezTo>
                  <a:pt x="40" y="88"/>
                  <a:pt x="40" y="88"/>
                  <a:pt x="40" y="88"/>
                </a:cubicBezTo>
                <a:cubicBezTo>
                  <a:pt x="39" y="88"/>
                  <a:pt x="37" y="87"/>
                  <a:pt x="37" y="85"/>
                </a:cubicBezTo>
                <a:cubicBezTo>
                  <a:pt x="37" y="84"/>
                  <a:pt x="39" y="83"/>
                  <a:pt x="40" y="83"/>
                </a:cubicBezTo>
                <a:cubicBezTo>
                  <a:pt x="59" y="83"/>
                  <a:pt x="59" y="83"/>
                  <a:pt x="59" y="83"/>
                </a:cubicBezTo>
                <a:cubicBezTo>
                  <a:pt x="60" y="83"/>
                  <a:pt x="61" y="84"/>
                  <a:pt x="61" y="85"/>
                </a:cubicBezTo>
                <a:close/>
                <a:moveTo>
                  <a:pt x="25" y="87"/>
                </a:moveTo>
                <a:cubicBezTo>
                  <a:pt x="24" y="87"/>
                  <a:pt x="24" y="86"/>
                  <a:pt x="24" y="85"/>
                </a:cubicBezTo>
                <a:cubicBezTo>
                  <a:pt x="24" y="85"/>
                  <a:pt x="24" y="84"/>
                  <a:pt x="25" y="83"/>
                </a:cubicBezTo>
                <a:cubicBezTo>
                  <a:pt x="26" y="82"/>
                  <a:pt x="28" y="82"/>
                  <a:pt x="29" y="83"/>
                </a:cubicBezTo>
                <a:cubicBezTo>
                  <a:pt x="29" y="84"/>
                  <a:pt x="29" y="85"/>
                  <a:pt x="29" y="85"/>
                </a:cubicBezTo>
                <a:cubicBezTo>
                  <a:pt x="29" y="86"/>
                  <a:pt x="29" y="87"/>
                  <a:pt x="29" y="87"/>
                </a:cubicBezTo>
                <a:cubicBezTo>
                  <a:pt x="28" y="88"/>
                  <a:pt x="27" y="88"/>
                  <a:pt x="27" y="88"/>
                </a:cubicBezTo>
                <a:cubicBezTo>
                  <a:pt x="26" y="88"/>
                  <a:pt x="25" y="88"/>
                  <a:pt x="25" y="87"/>
                </a:cubicBezTo>
                <a:close/>
                <a:moveTo>
                  <a:pt x="38" y="112"/>
                </a:moveTo>
                <a:cubicBezTo>
                  <a:pt x="32" y="115"/>
                  <a:pt x="32" y="122"/>
                  <a:pt x="31" y="127"/>
                </a:cubicBezTo>
                <a:cubicBezTo>
                  <a:pt x="31" y="130"/>
                  <a:pt x="29" y="131"/>
                  <a:pt x="27" y="129"/>
                </a:cubicBezTo>
                <a:cubicBezTo>
                  <a:pt x="24" y="127"/>
                  <a:pt x="22" y="125"/>
                  <a:pt x="19" y="123"/>
                </a:cubicBezTo>
                <a:cubicBezTo>
                  <a:pt x="17" y="121"/>
                  <a:pt x="21" y="117"/>
                  <a:pt x="23" y="119"/>
                </a:cubicBezTo>
                <a:cubicBezTo>
                  <a:pt x="24" y="120"/>
                  <a:pt x="25" y="121"/>
                  <a:pt x="27" y="122"/>
                </a:cubicBezTo>
                <a:cubicBezTo>
                  <a:pt x="27" y="116"/>
                  <a:pt x="29" y="110"/>
                  <a:pt x="35" y="107"/>
                </a:cubicBezTo>
                <a:cubicBezTo>
                  <a:pt x="38" y="106"/>
                  <a:pt x="41" y="110"/>
                  <a:pt x="38" y="112"/>
                </a:cubicBezTo>
                <a:close/>
                <a:moveTo>
                  <a:pt x="60" y="121"/>
                </a:moveTo>
                <a:cubicBezTo>
                  <a:pt x="62" y="124"/>
                  <a:pt x="57" y="126"/>
                  <a:pt x="55" y="123"/>
                </a:cubicBezTo>
                <a:cubicBezTo>
                  <a:pt x="54" y="122"/>
                  <a:pt x="50" y="125"/>
                  <a:pt x="49" y="125"/>
                </a:cubicBezTo>
                <a:cubicBezTo>
                  <a:pt x="48" y="126"/>
                  <a:pt x="46" y="126"/>
                  <a:pt x="45" y="126"/>
                </a:cubicBezTo>
                <a:cubicBezTo>
                  <a:pt x="42" y="125"/>
                  <a:pt x="39" y="124"/>
                  <a:pt x="38" y="121"/>
                </a:cubicBezTo>
                <a:cubicBezTo>
                  <a:pt x="36" y="118"/>
                  <a:pt x="41" y="115"/>
                  <a:pt x="42" y="118"/>
                </a:cubicBezTo>
                <a:cubicBezTo>
                  <a:pt x="45" y="123"/>
                  <a:pt x="49" y="119"/>
                  <a:pt x="53" y="118"/>
                </a:cubicBezTo>
                <a:cubicBezTo>
                  <a:pt x="56" y="117"/>
                  <a:pt x="59" y="118"/>
                  <a:pt x="60" y="121"/>
                </a:cubicBezTo>
                <a:close/>
                <a:moveTo>
                  <a:pt x="107" y="92"/>
                </a:moveTo>
                <a:cubicBezTo>
                  <a:pt x="107" y="92"/>
                  <a:pt x="106" y="91"/>
                  <a:pt x="106" y="91"/>
                </a:cubicBezTo>
                <a:cubicBezTo>
                  <a:pt x="106" y="91"/>
                  <a:pt x="106" y="90"/>
                  <a:pt x="106" y="90"/>
                </a:cubicBezTo>
                <a:cubicBezTo>
                  <a:pt x="108" y="87"/>
                  <a:pt x="107" y="84"/>
                  <a:pt x="105" y="82"/>
                </a:cubicBezTo>
                <a:cubicBezTo>
                  <a:pt x="103" y="80"/>
                  <a:pt x="100" y="79"/>
                  <a:pt x="97" y="80"/>
                </a:cubicBezTo>
                <a:cubicBezTo>
                  <a:pt x="96" y="81"/>
                  <a:pt x="96" y="80"/>
                  <a:pt x="96" y="80"/>
                </a:cubicBezTo>
                <a:cubicBezTo>
                  <a:pt x="95" y="80"/>
                  <a:pt x="95" y="80"/>
                  <a:pt x="95" y="79"/>
                </a:cubicBezTo>
                <a:cubicBezTo>
                  <a:pt x="94" y="77"/>
                  <a:pt x="91" y="75"/>
                  <a:pt x="88" y="75"/>
                </a:cubicBezTo>
                <a:cubicBezTo>
                  <a:pt x="85" y="75"/>
                  <a:pt x="82" y="77"/>
                  <a:pt x="81" y="79"/>
                </a:cubicBezTo>
                <a:cubicBezTo>
                  <a:pt x="81" y="80"/>
                  <a:pt x="81" y="80"/>
                  <a:pt x="80" y="80"/>
                </a:cubicBezTo>
                <a:cubicBezTo>
                  <a:pt x="80" y="80"/>
                  <a:pt x="80" y="81"/>
                  <a:pt x="79" y="80"/>
                </a:cubicBezTo>
                <a:cubicBezTo>
                  <a:pt x="76" y="79"/>
                  <a:pt x="73" y="80"/>
                  <a:pt x="71" y="82"/>
                </a:cubicBezTo>
                <a:cubicBezTo>
                  <a:pt x="69" y="84"/>
                  <a:pt x="68" y="87"/>
                  <a:pt x="70" y="90"/>
                </a:cubicBezTo>
                <a:cubicBezTo>
                  <a:pt x="70" y="90"/>
                  <a:pt x="70" y="91"/>
                  <a:pt x="70" y="91"/>
                </a:cubicBezTo>
                <a:cubicBezTo>
                  <a:pt x="70" y="91"/>
                  <a:pt x="69" y="92"/>
                  <a:pt x="69" y="92"/>
                </a:cubicBezTo>
                <a:cubicBezTo>
                  <a:pt x="66" y="93"/>
                  <a:pt x="64" y="96"/>
                  <a:pt x="64" y="99"/>
                </a:cubicBezTo>
                <a:cubicBezTo>
                  <a:pt x="64" y="102"/>
                  <a:pt x="66" y="104"/>
                  <a:pt x="69" y="105"/>
                </a:cubicBezTo>
                <a:cubicBezTo>
                  <a:pt x="69" y="106"/>
                  <a:pt x="70" y="106"/>
                  <a:pt x="70" y="106"/>
                </a:cubicBezTo>
                <a:cubicBezTo>
                  <a:pt x="70" y="107"/>
                  <a:pt x="70" y="107"/>
                  <a:pt x="70" y="108"/>
                </a:cubicBezTo>
                <a:cubicBezTo>
                  <a:pt x="68" y="110"/>
                  <a:pt x="69" y="114"/>
                  <a:pt x="71" y="116"/>
                </a:cubicBezTo>
                <a:cubicBezTo>
                  <a:pt x="72" y="117"/>
                  <a:pt x="73" y="117"/>
                  <a:pt x="75" y="118"/>
                </a:cubicBezTo>
                <a:cubicBezTo>
                  <a:pt x="75" y="150"/>
                  <a:pt x="75" y="150"/>
                  <a:pt x="75" y="150"/>
                </a:cubicBezTo>
                <a:cubicBezTo>
                  <a:pt x="88" y="137"/>
                  <a:pt x="88" y="137"/>
                  <a:pt x="88" y="137"/>
                </a:cubicBezTo>
                <a:cubicBezTo>
                  <a:pt x="101" y="150"/>
                  <a:pt x="101" y="150"/>
                  <a:pt x="101" y="150"/>
                </a:cubicBezTo>
                <a:cubicBezTo>
                  <a:pt x="101" y="118"/>
                  <a:pt x="101" y="118"/>
                  <a:pt x="101" y="118"/>
                </a:cubicBezTo>
                <a:cubicBezTo>
                  <a:pt x="103" y="117"/>
                  <a:pt x="104" y="117"/>
                  <a:pt x="105" y="116"/>
                </a:cubicBezTo>
                <a:cubicBezTo>
                  <a:pt x="107" y="114"/>
                  <a:pt x="108" y="110"/>
                  <a:pt x="106" y="108"/>
                </a:cubicBezTo>
                <a:cubicBezTo>
                  <a:pt x="106" y="107"/>
                  <a:pt x="106" y="107"/>
                  <a:pt x="106" y="106"/>
                </a:cubicBezTo>
                <a:cubicBezTo>
                  <a:pt x="106" y="106"/>
                  <a:pt x="107" y="106"/>
                  <a:pt x="107" y="105"/>
                </a:cubicBezTo>
                <a:cubicBezTo>
                  <a:pt x="110" y="104"/>
                  <a:pt x="112" y="102"/>
                  <a:pt x="112" y="99"/>
                </a:cubicBezTo>
                <a:cubicBezTo>
                  <a:pt x="112" y="96"/>
                  <a:pt x="110" y="93"/>
                  <a:pt x="107" y="92"/>
                </a:cubicBezTo>
                <a:close/>
                <a:moveTo>
                  <a:pt x="88" y="130"/>
                </a:moveTo>
                <a:cubicBezTo>
                  <a:pt x="80" y="138"/>
                  <a:pt x="80" y="138"/>
                  <a:pt x="80" y="138"/>
                </a:cubicBezTo>
                <a:cubicBezTo>
                  <a:pt x="80" y="117"/>
                  <a:pt x="80" y="117"/>
                  <a:pt x="80" y="117"/>
                </a:cubicBezTo>
                <a:cubicBezTo>
                  <a:pt x="80" y="117"/>
                  <a:pt x="80" y="117"/>
                  <a:pt x="80" y="117"/>
                </a:cubicBezTo>
                <a:cubicBezTo>
                  <a:pt x="80" y="117"/>
                  <a:pt x="80" y="117"/>
                  <a:pt x="80" y="117"/>
                </a:cubicBezTo>
                <a:cubicBezTo>
                  <a:pt x="81" y="117"/>
                  <a:pt x="81" y="117"/>
                  <a:pt x="81" y="117"/>
                </a:cubicBezTo>
                <a:cubicBezTo>
                  <a:pt x="81" y="117"/>
                  <a:pt x="81" y="118"/>
                  <a:pt x="81" y="118"/>
                </a:cubicBezTo>
                <a:cubicBezTo>
                  <a:pt x="82" y="121"/>
                  <a:pt x="85" y="123"/>
                  <a:pt x="88" y="123"/>
                </a:cubicBezTo>
                <a:cubicBezTo>
                  <a:pt x="91" y="123"/>
                  <a:pt x="94" y="121"/>
                  <a:pt x="95" y="118"/>
                </a:cubicBezTo>
                <a:cubicBezTo>
                  <a:pt x="95" y="118"/>
                  <a:pt x="95" y="117"/>
                  <a:pt x="95" y="117"/>
                </a:cubicBezTo>
                <a:cubicBezTo>
                  <a:pt x="95" y="117"/>
                  <a:pt x="95" y="117"/>
                  <a:pt x="96" y="117"/>
                </a:cubicBezTo>
                <a:cubicBezTo>
                  <a:pt x="96" y="117"/>
                  <a:pt x="96" y="117"/>
                  <a:pt x="96" y="117"/>
                </a:cubicBezTo>
                <a:cubicBezTo>
                  <a:pt x="96" y="117"/>
                  <a:pt x="96" y="117"/>
                  <a:pt x="96" y="117"/>
                </a:cubicBezTo>
                <a:cubicBezTo>
                  <a:pt x="96" y="138"/>
                  <a:pt x="96" y="138"/>
                  <a:pt x="96" y="138"/>
                </a:cubicBezTo>
                <a:lnTo>
                  <a:pt x="88" y="130"/>
                </a:lnTo>
                <a:close/>
                <a:moveTo>
                  <a:pt x="106" y="100"/>
                </a:moveTo>
                <a:cubicBezTo>
                  <a:pt x="104" y="101"/>
                  <a:pt x="102" y="102"/>
                  <a:pt x="101" y="104"/>
                </a:cubicBezTo>
                <a:cubicBezTo>
                  <a:pt x="101" y="106"/>
                  <a:pt x="101" y="108"/>
                  <a:pt x="102" y="110"/>
                </a:cubicBezTo>
                <a:cubicBezTo>
                  <a:pt x="102" y="111"/>
                  <a:pt x="101" y="112"/>
                  <a:pt x="101" y="112"/>
                </a:cubicBezTo>
                <a:cubicBezTo>
                  <a:pt x="101" y="112"/>
                  <a:pt x="100" y="112"/>
                  <a:pt x="100" y="112"/>
                </a:cubicBezTo>
                <a:cubicBezTo>
                  <a:pt x="99" y="112"/>
                  <a:pt x="99" y="112"/>
                  <a:pt x="99" y="112"/>
                </a:cubicBezTo>
                <a:cubicBezTo>
                  <a:pt x="99" y="112"/>
                  <a:pt x="99" y="112"/>
                  <a:pt x="98" y="112"/>
                </a:cubicBezTo>
                <a:cubicBezTo>
                  <a:pt x="98" y="112"/>
                  <a:pt x="98" y="112"/>
                  <a:pt x="98" y="112"/>
                </a:cubicBezTo>
                <a:cubicBezTo>
                  <a:pt x="98" y="112"/>
                  <a:pt x="97" y="112"/>
                  <a:pt x="97" y="112"/>
                </a:cubicBezTo>
                <a:cubicBezTo>
                  <a:pt x="97" y="112"/>
                  <a:pt x="97" y="112"/>
                  <a:pt x="96" y="112"/>
                </a:cubicBezTo>
                <a:cubicBezTo>
                  <a:pt x="96" y="112"/>
                  <a:pt x="96" y="112"/>
                  <a:pt x="96" y="112"/>
                </a:cubicBezTo>
                <a:cubicBezTo>
                  <a:pt x="95" y="112"/>
                  <a:pt x="95" y="112"/>
                  <a:pt x="95" y="112"/>
                </a:cubicBezTo>
                <a:cubicBezTo>
                  <a:pt x="94" y="112"/>
                  <a:pt x="94" y="112"/>
                  <a:pt x="94" y="112"/>
                </a:cubicBezTo>
                <a:cubicBezTo>
                  <a:pt x="94" y="112"/>
                  <a:pt x="94" y="112"/>
                  <a:pt x="94" y="112"/>
                </a:cubicBezTo>
                <a:cubicBezTo>
                  <a:pt x="94" y="112"/>
                  <a:pt x="94" y="112"/>
                  <a:pt x="94" y="112"/>
                </a:cubicBezTo>
                <a:cubicBezTo>
                  <a:pt x="93" y="112"/>
                  <a:pt x="93" y="112"/>
                  <a:pt x="93" y="112"/>
                </a:cubicBezTo>
                <a:cubicBezTo>
                  <a:pt x="93" y="112"/>
                  <a:pt x="93" y="113"/>
                  <a:pt x="92" y="113"/>
                </a:cubicBezTo>
                <a:cubicBezTo>
                  <a:pt x="92" y="113"/>
                  <a:pt x="92" y="113"/>
                  <a:pt x="91" y="114"/>
                </a:cubicBezTo>
                <a:cubicBezTo>
                  <a:pt x="91" y="114"/>
                  <a:pt x="91" y="114"/>
                  <a:pt x="91" y="114"/>
                </a:cubicBezTo>
                <a:cubicBezTo>
                  <a:pt x="90" y="114"/>
                  <a:pt x="90" y="115"/>
                  <a:pt x="90" y="116"/>
                </a:cubicBezTo>
                <a:cubicBezTo>
                  <a:pt x="89" y="117"/>
                  <a:pt x="88" y="117"/>
                  <a:pt x="88" y="117"/>
                </a:cubicBezTo>
                <a:cubicBezTo>
                  <a:pt x="88" y="117"/>
                  <a:pt x="87" y="117"/>
                  <a:pt x="86" y="116"/>
                </a:cubicBezTo>
                <a:cubicBezTo>
                  <a:pt x="86" y="115"/>
                  <a:pt x="86" y="114"/>
                  <a:pt x="85" y="114"/>
                </a:cubicBezTo>
                <a:cubicBezTo>
                  <a:pt x="85" y="114"/>
                  <a:pt x="85" y="114"/>
                  <a:pt x="85" y="114"/>
                </a:cubicBezTo>
                <a:cubicBezTo>
                  <a:pt x="84" y="113"/>
                  <a:pt x="84" y="113"/>
                  <a:pt x="84" y="113"/>
                </a:cubicBezTo>
                <a:cubicBezTo>
                  <a:pt x="83" y="113"/>
                  <a:pt x="83" y="112"/>
                  <a:pt x="83" y="112"/>
                </a:cubicBezTo>
                <a:cubicBezTo>
                  <a:pt x="83" y="112"/>
                  <a:pt x="83" y="112"/>
                  <a:pt x="82" y="112"/>
                </a:cubicBezTo>
                <a:cubicBezTo>
                  <a:pt x="82" y="112"/>
                  <a:pt x="82" y="112"/>
                  <a:pt x="82" y="112"/>
                </a:cubicBezTo>
                <a:cubicBezTo>
                  <a:pt x="82" y="112"/>
                  <a:pt x="82" y="112"/>
                  <a:pt x="82" y="112"/>
                </a:cubicBezTo>
                <a:cubicBezTo>
                  <a:pt x="82" y="112"/>
                  <a:pt x="82" y="112"/>
                  <a:pt x="82" y="112"/>
                </a:cubicBezTo>
                <a:cubicBezTo>
                  <a:pt x="82" y="112"/>
                  <a:pt x="81" y="112"/>
                  <a:pt x="81" y="112"/>
                </a:cubicBezTo>
                <a:cubicBezTo>
                  <a:pt x="81" y="112"/>
                  <a:pt x="80" y="112"/>
                  <a:pt x="80" y="112"/>
                </a:cubicBezTo>
                <a:cubicBezTo>
                  <a:pt x="80" y="112"/>
                  <a:pt x="80" y="112"/>
                  <a:pt x="80" y="112"/>
                </a:cubicBezTo>
                <a:cubicBezTo>
                  <a:pt x="80" y="112"/>
                  <a:pt x="80" y="112"/>
                  <a:pt x="80" y="112"/>
                </a:cubicBezTo>
                <a:cubicBezTo>
                  <a:pt x="79" y="112"/>
                  <a:pt x="78" y="112"/>
                  <a:pt x="77" y="112"/>
                </a:cubicBezTo>
                <a:cubicBezTo>
                  <a:pt x="76" y="112"/>
                  <a:pt x="76" y="112"/>
                  <a:pt x="76" y="112"/>
                </a:cubicBezTo>
                <a:cubicBezTo>
                  <a:pt x="76" y="112"/>
                  <a:pt x="75" y="112"/>
                  <a:pt x="75" y="112"/>
                </a:cubicBezTo>
                <a:cubicBezTo>
                  <a:pt x="75" y="112"/>
                  <a:pt x="74" y="111"/>
                  <a:pt x="74" y="110"/>
                </a:cubicBezTo>
                <a:cubicBezTo>
                  <a:pt x="75" y="108"/>
                  <a:pt x="75" y="106"/>
                  <a:pt x="75" y="104"/>
                </a:cubicBezTo>
                <a:cubicBezTo>
                  <a:pt x="74" y="102"/>
                  <a:pt x="72" y="101"/>
                  <a:pt x="70" y="100"/>
                </a:cubicBezTo>
                <a:cubicBezTo>
                  <a:pt x="69" y="100"/>
                  <a:pt x="69" y="99"/>
                  <a:pt x="69" y="99"/>
                </a:cubicBezTo>
                <a:cubicBezTo>
                  <a:pt x="69" y="98"/>
                  <a:pt x="69" y="97"/>
                  <a:pt x="70" y="97"/>
                </a:cubicBezTo>
                <a:cubicBezTo>
                  <a:pt x="72" y="96"/>
                  <a:pt x="74" y="95"/>
                  <a:pt x="75" y="93"/>
                </a:cubicBezTo>
                <a:cubicBezTo>
                  <a:pt x="75" y="91"/>
                  <a:pt x="75" y="89"/>
                  <a:pt x="74" y="87"/>
                </a:cubicBezTo>
                <a:cubicBezTo>
                  <a:pt x="74" y="86"/>
                  <a:pt x="75" y="86"/>
                  <a:pt x="75" y="85"/>
                </a:cubicBezTo>
                <a:cubicBezTo>
                  <a:pt x="75" y="85"/>
                  <a:pt x="76" y="85"/>
                  <a:pt x="77" y="85"/>
                </a:cubicBezTo>
                <a:cubicBezTo>
                  <a:pt x="79" y="86"/>
                  <a:pt x="81" y="86"/>
                  <a:pt x="82" y="85"/>
                </a:cubicBezTo>
                <a:cubicBezTo>
                  <a:pt x="84" y="85"/>
                  <a:pt x="86" y="83"/>
                  <a:pt x="86" y="81"/>
                </a:cubicBezTo>
                <a:cubicBezTo>
                  <a:pt x="87" y="80"/>
                  <a:pt x="88" y="80"/>
                  <a:pt x="88" y="80"/>
                </a:cubicBezTo>
                <a:cubicBezTo>
                  <a:pt x="88" y="80"/>
                  <a:pt x="89" y="80"/>
                  <a:pt x="90" y="81"/>
                </a:cubicBezTo>
                <a:cubicBezTo>
                  <a:pt x="90" y="83"/>
                  <a:pt x="92" y="85"/>
                  <a:pt x="94" y="85"/>
                </a:cubicBezTo>
                <a:cubicBezTo>
                  <a:pt x="95" y="86"/>
                  <a:pt x="97" y="86"/>
                  <a:pt x="99" y="85"/>
                </a:cubicBezTo>
                <a:cubicBezTo>
                  <a:pt x="100" y="85"/>
                  <a:pt x="101" y="85"/>
                  <a:pt x="101" y="85"/>
                </a:cubicBezTo>
                <a:cubicBezTo>
                  <a:pt x="101" y="86"/>
                  <a:pt x="102" y="86"/>
                  <a:pt x="102" y="87"/>
                </a:cubicBezTo>
                <a:cubicBezTo>
                  <a:pt x="101" y="89"/>
                  <a:pt x="101" y="91"/>
                  <a:pt x="101" y="93"/>
                </a:cubicBezTo>
                <a:cubicBezTo>
                  <a:pt x="102" y="95"/>
                  <a:pt x="104" y="96"/>
                  <a:pt x="106" y="97"/>
                </a:cubicBezTo>
                <a:cubicBezTo>
                  <a:pt x="107" y="97"/>
                  <a:pt x="107" y="98"/>
                  <a:pt x="107" y="99"/>
                </a:cubicBezTo>
                <a:cubicBezTo>
                  <a:pt x="107" y="99"/>
                  <a:pt x="107" y="100"/>
                  <a:pt x="106" y="10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62" name="Freeform 1139">
            <a:extLst>
              <a:ext uri="{FF2B5EF4-FFF2-40B4-BE49-F238E27FC236}">
                <a16:creationId xmlns:a16="http://schemas.microsoft.com/office/drawing/2014/main" id="{FD71E7AF-E067-A440-AA1C-527A3C9E13D7}"/>
              </a:ext>
            </a:extLst>
          </p:cNvPr>
          <p:cNvSpPr>
            <a:spLocks noEditPoints="1"/>
          </p:cNvSpPr>
          <p:nvPr/>
        </p:nvSpPr>
        <p:spPr bwMode="auto">
          <a:xfrm>
            <a:off x="7262695" y="5953125"/>
            <a:ext cx="552450" cy="512763"/>
          </a:xfrm>
          <a:custGeom>
            <a:avLst/>
            <a:gdLst>
              <a:gd name="T0" fmla="*/ 161 w 162"/>
              <a:gd name="T1" fmla="*/ 44 h 149"/>
              <a:gd name="T2" fmla="*/ 117 w 162"/>
              <a:gd name="T3" fmla="*/ 0 h 149"/>
              <a:gd name="T4" fmla="*/ 81 w 162"/>
              <a:gd name="T5" fmla="*/ 21 h 149"/>
              <a:gd name="T6" fmla="*/ 45 w 162"/>
              <a:gd name="T7" fmla="*/ 0 h 149"/>
              <a:gd name="T8" fmla="*/ 1 w 162"/>
              <a:gd name="T9" fmla="*/ 44 h 149"/>
              <a:gd name="T10" fmla="*/ 3 w 162"/>
              <a:gd name="T11" fmla="*/ 61 h 149"/>
              <a:gd name="T12" fmla="*/ 25 w 162"/>
              <a:gd name="T13" fmla="*/ 98 h 149"/>
              <a:gd name="T14" fmla="*/ 81 w 162"/>
              <a:gd name="T15" fmla="*/ 149 h 149"/>
              <a:gd name="T16" fmla="*/ 84 w 162"/>
              <a:gd name="T17" fmla="*/ 146 h 149"/>
              <a:gd name="T18" fmla="*/ 84 w 162"/>
              <a:gd name="T19" fmla="*/ 146 h 149"/>
              <a:gd name="T20" fmla="*/ 84 w 162"/>
              <a:gd name="T21" fmla="*/ 146 h 149"/>
              <a:gd name="T22" fmla="*/ 137 w 162"/>
              <a:gd name="T23" fmla="*/ 98 h 149"/>
              <a:gd name="T24" fmla="*/ 159 w 162"/>
              <a:gd name="T25" fmla="*/ 61 h 149"/>
              <a:gd name="T26" fmla="*/ 161 w 162"/>
              <a:gd name="T27" fmla="*/ 44 h 149"/>
              <a:gd name="T28" fmla="*/ 80 w 162"/>
              <a:gd name="T29" fmla="*/ 140 h 149"/>
              <a:gd name="T30" fmla="*/ 29 w 162"/>
              <a:gd name="T31" fmla="*/ 94 h 149"/>
              <a:gd name="T32" fmla="*/ 9 w 162"/>
              <a:gd name="T33" fmla="*/ 60 h 149"/>
              <a:gd name="T34" fmla="*/ 7 w 162"/>
              <a:gd name="T35" fmla="*/ 45 h 149"/>
              <a:gd name="T36" fmla="*/ 7 w 162"/>
              <a:gd name="T37" fmla="*/ 45 h 149"/>
              <a:gd name="T38" fmla="*/ 45 w 162"/>
              <a:gd name="T39" fmla="*/ 6 h 149"/>
              <a:gd name="T40" fmla="*/ 78 w 162"/>
              <a:gd name="T41" fmla="*/ 29 h 149"/>
              <a:gd name="T42" fmla="*/ 78 w 162"/>
              <a:gd name="T43" fmla="*/ 30 h 149"/>
              <a:gd name="T44" fmla="*/ 53 w 162"/>
              <a:gd name="T45" fmla="*/ 55 h 149"/>
              <a:gd name="T46" fmla="*/ 99 w 162"/>
              <a:gd name="T47" fmla="*/ 61 h 149"/>
              <a:gd name="T48" fmla="*/ 64 w 162"/>
              <a:gd name="T49" fmla="*/ 93 h 149"/>
              <a:gd name="T50" fmla="*/ 90 w 162"/>
              <a:gd name="T51" fmla="*/ 109 h 149"/>
              <a:gd name="T52" fmla="*/ 80 w 162"/>
              <a:gd name="T53" fmla="*/ 140 h 149"/>
              <a:gd name="T54" fmla="*/ 153 w 162"/>
              <a:gd name="T55" fmla="*/ 60 h 149"/>
              <a:gd name="T56" fmla="*/ 133 w 162"/>
              <a:gd name="T57" fmla="*/ 94 h 149"/>
              <a:gd name="T58" fmla="*/ 88 w 162"/>
              <a:gd name="T59" fmla="*/ 134 h 149"/>
              <a:gd name="T60" fmla="*/ 97 w 162"/>
              <a:gd name="T61" fmla="*/ 107 h 149"/>
              <a:gd name="T62" fmla="*/ 74 w 162"/>
              <a:gd name="T63" fmla="*/ 92 h 149"/>
              <a:gd name="T64" fmla="*/ 113 w 162"/>
              <a:gd name="T65" fmla="*/ 57 h 149"/>
              <a:gd name="T66" fmla="*/ 66 w 162"/>
              <a:gd name="T67" fmla="*/ 50 h 149"/>
              <a:gd name="T68" fmla="*/ 80 w 162"/>
              <a:gd name="T69" fmla="*/ 36 h 149"/>
              <a:gd name="T70" fmla="*/ 81 w 162"/>
              <a:gd name="T71" fmla="*/ 36 h 149"/>
              <a:gd name="T72" fmla="*/ 81 w 162"/>
              <a:gd name="T73" fmla="*/ 36 h 149"/>
              <a:gd name="T74" fmla="*/ 83 w 162"/>
              <a:gd name="T75" fmla="*/ 33 h 149"/>
              <a:gd name="T76" fmla="*/ 82 w 162"/>
              <a:gd name="T77" fmla="*/ 32 h 149"/>
              <a:gd name="T78" fmla="*/ 83 w 162"/>
              <a:gd name="T79" fmla="*/ 29 h 149"/>
              <a:gd name="T80" fmla="*/ 117 w 162"/>
              <a:gd name="T81" fmla="*/ 6 h 149"/>
              <a:gd name="T82" fmla="*/ 155 w 162"/>
              <a:gd name="T83" fmla="*/ 45 h 149"/>
              <a:gd name="T84" fmla="*/ 153 w 162"/>
              <a:gd name="T85" fmla="*/ 6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149">
                <a:moveTo>
                  <a:pt x="161" y="44"/>
                </a:moveTo>
                <a:cubicBezTo>
                  <a:pt x="158" y="19"/>
                  <a:pt x="140" y="0"/>
                  <a:pt x="117" y="0"/>
                </a:cubicBezTo>
                <a:cubicBezTo>
                  <a:pt x="102" y="0"/>
                  <a:pt x="88" y="8"/>
                  <a:pt x="81" y="21"/>
                </a:cubicBezTo>
                <a:cubicBezTo>
                  <a:pt x="73" y="8"/>
                  <a:pt x="59" y="0"/>
                  <a:pt x="45" y="0"/>
                </a:cubicBezTo>
                <a:cubicBezTo>
                  <a:pt x="22" y="0"/>
                  <a:pt x="4" y="19"/>
                  <a:pt x="1" y="44"/>
                </a:cubicBezTo>
                <a:cubicBezTo>
                  <a:pt x="1" y="45"/>
                  <a:pt x="0" y="51"/>
                  <a:pt x="3" y="61"/>
                </a:cubicBezTo>
                <a:cubicBezTo>
                  <a:pt x="6" y="75"/>
                  <a:pt x="14" y="88"/>
                  <a:pt x="25" y="98"/>
                </a:cubicBezTo>
                <a:cubicBezTo>
                  <a:pt x="81" y="149"/>
                  <a:pt x="81" y="149"/>
                  <a:pt x="81" y="149"/>
                </a:cubicBezTo>
                <a:cubicBezTo>
                  <a:pt x="84" y="146"/>
                  <a:pt x="84" y="146"/>
                  <a:pt x="84" y="146"/>
                </a:cubicBezTo>
                <a:cubicBezTo>
                  <a:pt x="84" y="146"/>
                  <a:pt x="84" y="146"/>
                  <a:pt x="84" y="146"/>
                </a:cubicBezTo>
                <a:cubicBezTo>
                  <a:pt x="84" y="146"/>
                  <a:pt x="84" y="146"/>
                  <a:pt x="84" y="146"/>
                </a:cubicBezTo>
                <a:cubicBezTo>
                  <a:pt x="137" y="98"/>
                  <a:pt x="137" y="98"/>
                  <a:pt x="137" y="98"/>
                </a:cubicBezTo>
                <a:cubicBezTo>
                  <a:pt x="148" y="88"/>
                  <a:pt x="156" y="75"/>
                  <a:pt x="159" y="61"/>
                </a:cubicBezTo>
                <a:cubicBezTo>
                  <a:pt x="162" y="51"/>
                  <a:pt x="161" y="45"/>
                  <a:pt x="161" y="44"/>
                </a:cubicBezTo>
                <a:close/>
                <a:moveTo>
                  <a:pt x="80" y="140"/>
                </a:moveTo>
                <a:cubicBezTo>
                  <a:pt x="29" y="94"/>
                  <a:pt x="29" y="94"/>
                  <a:pt x="29" y="94"/>
                </a:cubicBezTo>
                <a:cubicBezTo>
                  <a:pt x="19" y="84"/>
                  <a:pt x="12" y="73"/>
                  <a:pt x="9" y="60"/>
                </a:cubicBezTo>
                <a:cubicBezTo>
                  <a:pt x="6" y="51"/>
                  <a:pt x="7" y="45"/>
                  <a:pt x="7" y="45"/>
                </a:cubicBezTo>
                <a:cubicBezTo>
                  <a:pt x="7" y="45"/>
                  <a:pt x="7" y="45"/>
                  <a:pt x="7" y="45"/>
                </a:cubicBezTo>
                <a:cubicBezTo>
                  <a:pt x="9" y="23"/>
                  <a:pt x="25" y="6"/>
                  <a:pt x="45" y="6"/>
                </a:cubicBezTo>
                <a:cubicBezTo>
                  <a:pt x="59" y="6"/>
                  <a:pt x="72" y="15"/>
                  <a:pt x="78" y="29"/>
                </a:cubicBezTo>
                <a:cubicBezTo>
                  <a:pt x="78" y="30"/>
                  <a:pt x="78" y="30"/>
                  <a:pt x="78" y="30"/>
                </a:cubicBezTo>
                <a:cubicBezTo>
                  <a:pt x="53" y="55"/>
                  <a:pt x="53" y="55"/>
                  <a:pt x="53" y="55"/>
                </a:cubicBezTo>
                <a:cubicBezTo>
                  <a:pt x="99" y="61"/>
                  <a:pt x="99" y="61"/>
                  <a:pt x="99" y="61"/>
                </a:cubicBezTo>
                <a:cubicBezTo>
                  <a:pt x="64" y="93"/>
                  <a:pt x="64" y="93"/>
                  <a:pt x="64" y="93"/>
                </a:cubicBezTo>
                <a:cubicBezTo>
                  <a:pt x="90" y="109"/>
                  <a:pt x="90" y="109"/>
                  <a:pt x="90" y="109"/>
                </a:cubicBezTo>
                <a:lnTo>
                  <a:pt x="80" y="140"/>
                </a:lnTo>
                <a:close/>
                <a:moveTo>
                  <a:pt x="153" y="60"/>
                </a:moveTo>
                <a:cubicBezTo>
                  <a:pt x="150" y="73"/>
                  <a:pt x="143" y="84"/>
                  <a:pt x="133" y="94"/>
                </a:cubicBezTo>
                <a:cubicBezTo>
                  <a:pt x="88" y="134"/>
                  <a:pt x="88" y="134"/>
                  <a:pt x="88" y="134"/>
                </a:cubicBezTo>
                <a:cubicBezTo>
                  <a:pt x="97" y="107"/>
                  <a:pt x="97" y="107"/>
                  <a:pt x="97" y="107"/>
                </a:cubicBezTo>
                <a:cubicBezTo>
                  <a:pt x="74" y="92"/>
                  <a:pt x="74" y="92"/>
                  <a:pt x="74" y="92"/>
                </a:cubicBezTo>
                <a:cubicBezTo>
                  <a:pt x="113" y="57"/>
                  <a:pt x="113" y="57"/>
                  <a:pt x="113" y="57"/>
                </a:cubicBezTo>
                <a:cubicBezTo>
                  <a:pt x="66" y="50"/>
                  <a:pt x="66" y="50"/>
                  <a:pt x="66" y="50"/>
                </a:cubicBezTo>
                <a:cubicBezTo>
                  <a:pt x="80" y="36"/>
                  <a:pt x="80" y="36"/>
                  <a:pt x="80" y="36"/>
                </a:cubicBezTo>
                <a:cubicBezTo>
                  <a:pt x="81" y="36"/>
                  <a:pt x="81" y="36"/>
                  <a:pt x="81" y="36"/>
                </a:cubicBezTo>
                <a:cubicBezTo>
                  <a:pt x="81" y="36"/>
                  <a:pt x="81" y="36"/>
                  <a:pt x="81" y="36"/>
                </a:cubicBezTo>
                <a:cubicBezTo>
                  <a:pt x="83" y="33"/>
                  <a:pt x="83" y="33"/>
                  <a:pt x="83" y="33"/>
                </a:cubicBezTo>
                <a:cubicBezTo>
                  <a:pt x="82" y="32"/>
                  <a:pt x="82" y="32"/>
                  <a:pt x="82" y="32"/>
                </a:cubicBezTo>
                <a:cubicBezTo>
                  <a:pt x="83" y="29"/>
                  <a:pt x="83" y="29"/>
                  <a:pt x="83" y="29"/>
                </a:cubicBezTo>
                <a:cubicBezTo>
                  <a:pt x="89" y="15"/>
                  <a:pt x="103" y="6"/>
                  <a:pt x="117" y="6"/>
                </a:cubicBezTo>
                <a:cubicBezTo>
                  <a:pt x="137" y="6"/>
                  <a:pt x="153" y="23"/>
                  <a:pt x="155" y="45"/>
                </a:cubicBezTo>
                <a:cubicBezTo>
                  <a:pt x="155" y="45"/>
                  <a:pt x="156" y="51"/>
                  <a:pt x="153" y="6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63" name="Freeform 1140">
            <a:extLst>
              <a:ext uri="{FF2B5EF4-FFF2-40B4-BE49-F238E27FC236}">
                <a16:creationId xmlns:a16="http://schemas.microsoft.com/office/drawing/2014/main" id="{37971AAA-7A8A-8740-81B7-EBB61BF7FF5A}"/>
              </a:ext>
            </a:extLst>
          </p:cNvPr>
          <p:cNvSpPr>
            <a:spLocks noEditPoints="1"/>
          </p:cNvSpPr>
          <p:nvPr/>
        </p:nvSpPr>
        <p:spPr bwMode="auto">
          <a:xfrm>
            <a:off x="10045389" y="3435350"/>
            <a:ext cx="519113" cy="550863"/>
          </a:xfrm>
          <a:custGeom>
            <a:avLst/>
            <a:gdLst>
              <a:gd name="T0" fmla="*/ 108 w 152"/>
              <a:gd name="T1" fmla="*/ 6 h 160"/>
              <a:gd name="T2" fmla="*/ 17 w 152"/>
              <a:gd name="T3" fmla="*/ 19 h 160"/>
              <a:gd name="T4" fmla="*/ 8 w 152"/>
              <a:gd name="T5" fmla="*/ 41 h 160"/>
              <a:gd name="T6" fmla="*/ 0 w 152"/>
              <a:gd name="T7" fmla="*/ 63 h 160"/>
              <a:gd name="T8" fmla="*/ 3 w 152"/>
              <a:gd name="T9" fmla="*/ 86 h 160"/>
              <a:gd name="T10" fmla="*/ 56 w 152"/>
              <a:gd name="T11" fmla="*/ 99 h 160"/>
              <a:gd name="T12" fmla="*/ 54 w 152"/>
              <a:gd name="T13" fmla="*/ 140 h 160"/>
              <a:gd name="T14" fmla="*/ 74 w 152"/>
              <a:gd name="T15" fmla="*/ 160 h 160"/>
              <a:gd name="T16" fmla="*/ 96 w 152"/>
              <a:gd name="T17" fmla="*/ 104 h 160"/>
              <a:gd name="T18" fmla="*/ 108 w 152"/>
              <a:gd name="T19" fmla="*/ 99 h 160"/>
              <a:gd name="T20" fmla="*/ 152 w 152"/>
              <a:gd name="T21" fmla="*/ 105 h 160"/>
              <a:gd name="T22" fmla="*/ 108 w 152"/>
              <a:gd name="T23" fmla="*/ 0 h 160"/>
              <a:gd name="T24" fmla="*/ 92 w 152"/>
              <a:gd name="T25" fmla="*/ 100 h 160"/>
              <a:gd name="T26" fmla="*/ 74 w 152"/>
              <a:gd name="T27" fmla="*/ 154 h 160"/>
              <a:gd name="T28" fmla="*/ 59 w 152"/>
              <a:gd name="T29" fmla="*/ 139 h 160"/>
              <a:gd name="T30" fmla="*/ 63 w 152"/>
              <a:gd name="T31" fmla="*/ 94 h 160"/>
              <a:gd name="T32" fmla="*/ 8 w 152"/>
              <a:gd name="T33" fmla="*/ 86 h 160"/>
              <a:gd name="T34" fmla="*/ 22 w 152"/>
              <a:gd name="T35" fmla="*/ 77 h 160"/>
              <a:gd name="T36" fmla="*/ 44 w 152"/>
              <a:gd name="T37" fmla="*/ 77 h 160"/>
              <a:gd name="T38" fmla="*/ 44 w 152"/>
              <a:gd name="T39" fmla="*/ 72 h 160"/>
              <a:gd name="T40" fmla="*/ 14 w 152"/>
              <a:gd name="T41" fmla="*/ 71 h 160"/>
              <a:gd name="T42" fmla="*/ 14 w 152"/>
              <a:gd name="T43" fmla="*/ 55 h 160"/>
              <a:gd name="T44" fmla="*/ 44 w 152"/>
              <a:gd name="T45" fmla="*/ 55 h 160"/>
              <a:gd name="T46" fmla="*/ 44 w 152"/>
              <a:gd name="T47" fmla="*/ 50 h 160"/>
              <a:gd name="T48" fmla="*/ 14 w 152"/>
              <a:gd name="T49" fmla="*/ 41 h 160"/>
              <a:gd name="T50" fmla="*/ 28 w 152"/>
              <a:gd name="T51" fmla="*/ 33 h 160"/>
              <a:gd name="T52" fmla="*/ 50 w 152"/>
              <a:gd name="T53" fmla="*/ 33 h 160"/>
              <a:gd name="T54" fmla="*/ 50 w 152"/>
              <a:gd name="T55" fmla="*/ 28 h 160"/>
              <a:gd name="T56" fmla="*/ 22 w 152"/>
              <a:gd name="T57" fmla="*/ 19 h 160"/>
              <a:gd name="T58" fmla="*/ 108 w 152"/>
              <a:gd name="T59" fmla="*/ 11 h 160"/>
              <a:gd name="T60" fmla="*/ 105 w 152"/>
              <a:gd name="T61" fmla="*/ 94 h 160"/>
              <a:gd name="T62" fmla="*/ 113 w 152"/>
              <a:gd name="T63" fmla="*/ 99 h 160"/>
              <a:gd name="T64" fmla="*/ 146 w 152"/>
              <a:gd name="T65" fmla="*/ 6 h 160"/>
              <a:gd name="T66" fmla="*/ 130 w 152"/>
              <a:gd name="T67" fmla="*/ 41 h 160"/>
              <a:gd name="T68" fmla="*/ 130 w 152"/>
              <a:gd name="T69" fmla="*/ 14 h 160"/>
              <a:gd name="T70" fmla="*/ 130 w 152"/>
              <a:gd name="T71" fmla="*/ 41 h 160"/>
              <a:gd name="T72" fmla="*/ 138 w 152"/>
              <a:gd name="T73" fmla="*/ 28 h 160"/>
              <a:gd name="T74" fmla="*/ 121 w 152"/>
              <a:gd name="T75" fmla="*/ 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60">
                <a:moveTo>
                  <a:pt x="108" y="0"/>
                </a:moveTo>
                <a:cubicBezTo>
                  <a:pt x="108" y="6"/>
                  <a:pt x="108" y="6"/>
                  <a:pt x="108" y="6"/>
                </a:cubicBezTo>
                <a:cubicBezTo>
                  <a:pt x="30" y="6"/>
                  <a:pt x="30" y="6"/>
                  <a:pt x="30" y="6"/>
                </a:cubicBezTo>
                <a:cubicBezTo>
                  <a:pt x="23" y="6"/>
                  <a:pt x="17" y="12"/>
                  <a:pt x="17" y="19"/>
                </a:cubicBezTo>
                <a:cubicBezTo>
                  <a:pt x="17" y="23"/>
                  <a:pt x="18" y="25"/>
                  <a:pt x="20" y="28"/>
                </a:cubicBezTo>
                <a:cubicBezTo>
                  <a:pt x="13" y="29"/>
                  <a:pt x="8" y="35"/>
                  <a:pt x="8" y="41"/>
                </a:cubicBezTo>
                <a:cubicBezTo>
                  <a:pt x="8" y="45"/>
                  <a:pt x="9" y="48"/>
                  <a:pt x="11" y="50"/>
                </a:cubicBezTo>
                <a:cubicBezTo>
                  <a:pt x="5" y="51"/>
                  <a:pt x="0" y="57"/>
                  <a:pt x="0" y="63"/>
                </a:cubicBezTo>
                <a:cubicBezTo>
                  <a:pt x="0" y="70"/>
                  <a:pt x="4" y="74"/>
                  <a:pt x="7" y="75"/>
                </a:cubicBezTo>
                <a:cubicBezTo>
                  <a:pt x="5" y="78"/>
                  <a:pt x="3" y="81"/>
                  <a:pt x="3" y="86"/>
                </a:cubicBezTo>
                <a:cubicBezTo>
                  <a:pt x="3" y="93"/>
                  <a:pt x="9" y="99"/>
                  <a:pt x="17" y="99"/>
                </a:cubicBezTo>
                <a:cubicBezTo>
                  <a:pt x="56" y="99"/>
                  <a:pt x="56" y="99"/>
                  <a:pt x="56" y="99"/>
                </a:cubicBezTo>
                <a:cubicBezTo>
                  <a:pt x="54" y="109"/>
                  <a:pt x="54" y="109"/>
                  <a:pt x="54" y="109"/>
                </a:cubicBezTo>
                <a:cubicBezTo>
                  <a:pt x="51" y="121"/>
                  <a:pt x="53" y="136"/>
                  <a:pt x="54" y="140"/>
                </a:cubicBezTo>
                <a:cubicBezTo>
                  <a:pt x="55" y="149"/>
                  <a:pt x="64" y="160"/>
                  <a:pt x="73" y="160"/>
                </a:cubicBezTo>
                <a:cubicBezTo>
                  <a:pt x="74" y="160"/>
                  <a:pt x="74" y="160"/>
                  <a:pt x="74" y="160"/>
                </a:cubicBezTo>
                <a:cubicBezTo>
                  <a:pt x="78" y="160"/>
                  <a:pt x="86" y="157"/>
                  <a:pt x="86" y="141"/>
                </a:cubicBezTo>
                <a:cubicBezTo>
                  <a:pt x="86" y="119"/>
                  <a:pt x="91" y="108"/>
                  <a:pt x="96" y="104"/>
                </a:cubicBezTo>
                <a:cubicBezTo>
                  <a:pt x="100" y="99"/>
                  <a:pt x="105" y="99"/>
                  <a:pt x="105" y="99"/>
                </a:cubicBezTo>
                <a:cubicBezTo>
                  <a:pt x="108" y="99"/>
                  <a:pt x="108" y="99"/>
                  <a:pt x="108" y="99"/>
                </a:cubicBezTo>
                <a:cubicBezTo>
                  <a:pt x="108" y="105"/>
                  <a:pt x="108" y="105"/>
                  <a:pt x="108" y="105"/>
                </a:cubicBezTo>
                <a:cubicBezTo>
                  <a:pt x="152" y="105"/>
                  <a:pt x="152" y="105"/>
                  <a:pt x="152" y="105"/>
                </a:cubicBezTo>
                <a:cubicBezTo>
                  <a:pt x="152" y="0"/>
                  <a:pt x="152" y="0"/>
                  <a:pt x="152" y="0"/>
                </a:cubicBezTo>
                <a:lnTo>
                  <a:pt x="108" y="0"/>
                </a:lnTo>
                <a:close/>
                <a:moveTo>
                  <a:pt x="105" y="94"/>
                </a:moveTo>
                <a:cubicBezTo>
                  <a:pt x="105" y="94"/>
                  <a:pt x="98" y="94"/>
                  <a:pt x="92" y="100"/>
                </a:cubicBezTo>
                <a:cubicBezTo>
                  <a:pt x="84" y="107"/>
                  <a:pt x="80" y="121"/>
                  <a:pt x="80" y="141"/>
                </a:cubicBezTo>
                <a:cubicBezTo>
                  <a:pt x="80" y="146"/>
                  <a:pt x="79" y="154"/>
                  <a:pt x="74" y="154"/>
                </a:cubicBezTo>
                <a:cubicBezTo>
                  <a:pt x="73" y="154"/>
                  <a:pt x="73" y="154"/>
                  <a:pt x="73" y="154"/>
                </a:cubicBezTo>
                <a:cubicBezTo>
                  <a:pt x="67" y="154"/>
                  <a:pt x="60" y="146"/>
                  <a:pt x="59" y="139"/>
                </a:cubicBezTo>
                <a:cubicBezTo>
                  <a:pt x="59" y="135"/>
                  <a:pt x="57" y="122"/>
                  <a:pt x="60" y="110"/>
                </a:cubicBezTo>
                <a:cubicBezTo>
                  <a:pt x="63" y="94"/>
                  <a:pt x="63" y="94"/>
                  <a:pt x="63" y="94"/>
                </a:cubicBezTo>
                <a:cubicBezTo>
                  <a:pt x="17" y="94"/>
                  <a:pt x="17" y="94"/>
                  <a:pt x="17" y="94"/>
                </a:cubicBezTo>
                <a:cubicBezTo>
                  <a:pt x="12" y="94"/>
                  <a:pt x="8" y="90"/>
                  <a:pt x="8" y="86"/>
                </a:cubicBezTo>
                <a:cubicBezTo>
                  <a:pt x="8" y="81"/>
                  <a:pt x="12" y="77"/>
                  <a:pt x="17" y="77"/>
                </a:cubicBezTo>
                <a:cubicBezTo>
                  <a:pt x="22" y="77"/>
                  <a:pt x="22" y="77"/>
                  <a:pt x="22" y="77"/>
                </a:cubicBezTo>
                <a:cubicBezTo>
                  <a:pt x="25" y="77"/>
                  <a:pt x="25" y="77"/>
                  <a:pt x="25" y="77"/>
                </a:cubicBezTo>
                <a:cubicBezTo>
                  <a:pt x="44" y="77"/>
                  <a:pt x="44" y="77"/>
                  <a:pt x="44" y="77"/>
                </a:cubicBezTo>
                <a:cubicBezTo>
                  <a:pt x="46" y="77"/>
                  <a:pt x="47" y="76"/>
                  <a:pt x="47" y="74"/>
                </a:cubicBezTo>
                <a:cubicBezTo>
                  <a:pt x="47" y="73"/>
                  <a:pt x="46" y="72"/>
                  <a:pt x="44" y="72"/>
                </a:cubicBezTo>
                <a:cubicBezTo>
                  <a:pt x="25" y="72"/>
                  <a:pt x="25" y="72"/>
                  <a:pt x="25" y="72"/>
                </a:cubicBezTo>
                <a:cubicBezTo>
                  <a:pt x="22" y="72"/>
                  <a:pt x="17" y="72"/>
                  <a:pt x="14" y="71"/>
                </a:cubicBezTo>
                <a:cubicBezTo>
                  <a:pt x="7" y="70"/>
                  <a:pt x="6" y="67"/>
                  <a:pt x="6" y="63"/>
                </a:cubicBezTo>
                <a:cubicBezTo>
                  <a:pt x="6" y="59"/>
                  <a:pt x="9" y="55"/>
                  <a:pt x="14" y="55"/>
                </a:cubicBezTo>
                <a:cubicBezTo>
                  <a:pt x="22" y="55"/>
                  <a:pt x="22" y="55"/>
                  <a:pt x="22" y="55"/>
                </a:cubicBezTo>
                <a:cubicBezTo>
                  <a:pt x="44" y="55"/>
                  <a:pt x="44" y="55"/>
                  <a:pt x="44" y="55"/>
                </a:cubicBezTo>
                <a:cubicBezTo>
                  <a:pt x="46" y="55"/>
                  <a:pt x="47" y="54"/>
                  <a:pt x="47" y="52"/>
                </a:cubicBezTo>
                <a:cubicBezTo>
                  <a:pt x="47" y="51"/>
                  <a:pt x="46" y="50"/>
                  <a:pt x="44" y="50"/>
                </a:cubicBezTo>
                <a:cubicBezTo>
                  <a:pt x="22" y="50"/>
                  <a:pt x="22" y="50"/>
                  <a:pt x="22" y="50"/>
                </a:cubicBezTo>
                <a:cubicBezTo>
                  <a:pt x="18" y="50"/>
                  <a:pt x="14" y="46"/>
                  <a:pt x="14" y="41"/>
                </a:cubicBezTo>
                <a:cubicBezTo>
                  <a:pt x="14" y="37"/>
                  <a:pt x="18" y="33"/>
                  <a:pt x="22" y="33"/>
                </a:cubicBezTo>
                <a:cubicBezTo>
                  <a:pt x="28" y="33"/>
                  <a:pt x="28" y="33"/>
                  <a:pt x="28" y="33"/>
                </a:cubicBezTo>
                <a:cubicBezTo>
                  <a:pt x="30" y="33"/>
                  <a:pt x="30" y="33"/>
                  <a:pt x="30" y="33"/>
                </a:cubicBezTo>
                <a:cubicBezTo>
                  <a:pt x="50" y="33"/>
                  <a:pt x="50" y="33"/>
                  <a:pt x="50" y="33"/>
                </a:cubicBezTo>
                <a:cubicBezTo>
                  <a:pt x="51" y="33"/>
                  <a:pt x="52" y="32"/>
                  <a:pt x="52" y="30"/>
                </a:cubicBezTo>
                <a:cubicBezTo>
                  <a:pt x="52" y="29"/>
                  <a:pt x="51" y="28"/>
                  <a:pt x="50" y="28"/>
                </a:cubicBezTo>
                <a:cubicBezTo>
                  <a:pt x="30" y="28"/>
                  <a:pt x="30" y="28"/>
                  <a:pt x="30" y="28"/>
                </a:cubicBezTo>
                <a:cubicBezTo>
                  <a:pt x="26" y="28"/>
                  <a:pt x="22" y="24"/>
                  <a:pt x="22" y="19"/>
                </a:cubicBezTo>
                <a:cubicBezTo>
                  <a:pt x="22" y="15"/>
                  <a:pt x="26" y="11"/>
                  <a:pt x="30" y="11"/>
                </a:cubicBezTo>
                <a:cubicBezTo>
                  <a:pt x="108" y="11"/>
                  <a:pt x="108" y="11"/>
                  <a:pt x="108" y="11"/>
                </a:cubicBezTo>
                <a:cubicBezTo>
                  <a:pt x="108" y="94"/>
                  <a:pt x="108" y="94"/>
                  <a:pt x="108" y="94"/>
                </a:cubicBezTo>
                <a:lnTo>
                  <a:pt x="105" y="94"/>
                </a:lnTo>
                <a:close/>
                <a:moveTo>
                  <a:pt x="146" y="99"/>
                </a:moveTo>
                <a:cubicBezTo>
                  <a:pt x="113" y="99"/>
                  <a:pt x="113" y="99"/>
                  <a:pt x="113" y="99"/>
                </a:cubicBezTo>
                <a:cubicBezTo>
                  <a:pt x="113" y="6"/>
                  <a:pt x="113" y="6"/>
                  <a:pt x="113" y="6"/>
                </a:cubicBezTo>
                <a:cubicBezTo>
                  <a:pt x="146" y="6"/>
                  <a:pt x="146" y="6"/>
                  <a:pt x="146" y="6"/>
                </a:cubicBezTo>
                <a:lnTo>
                  <a:pt x="146" y="99"/>
                </a:lnTo>
                <a:close/>
                <a:moveTo>
                  <a:pt x="130" y="41"/>
                </a:moveTo>
                <a:cubicBezTo>
                  <a:pt x="137" y="41"/>
                  <a:pt x="143" y="35"/>
                  <a:pt x="143" y="28"/>
                </a:cubicBezTo>
                <a:cubicBezTo>
                  <a:pt x="143" y="20"/>
                  <a:pt x="137" y="14"/>
                  <a:pt x="130" y="14"/>
                </a:cubicBezTo>
                <a:cubicBezTo>
                  <a:pt x="122" y="14"/>
                  <a:pt x="116" y="20"/>
                  <a:pt x="116" y="28"/>
                </a:cubicBezTo>
                <a:cubicBezTo>
                  <a:pt x="116" y="35"/>
                  <a:pt x="122" y="41"/>
                  <a:pt x="130" y="41"/>
                </a:cubicBezTo>
                <a:close/>
                <a:moveTo>
                  <a:pt x="130" y="19"/>
                </a:moveTo>
                <a:cubicBezTo>
                  <a:pt x="134" y="19"/>
                  <a:pt x="138" y="23"/>
                  <a:pt x="138" y="28"/>
                </a:cubicBezTo>
                <a:cubicBezTo>
                  <a:pt x="138" y="32"/>
                  <a:pt x="134" y="36"/>
                  <a:pt x="130" y="36"/>
                </a:cubicBezTo>
                <a:cubicBezTo>
                  <a:pt x="125" y="36"/>
                  <a:pt x="121" y="32"/>
                  <a:pt x="121" y="28"/>
                </a:cubicBezTo>
                <a:cubicBezTo>
                  <a:pt x="121" y="23"/>
                  <a:pt x="125" y="19"/>
                  <a:pt x="130" y="1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64" name="Freeform 1141">
            <a:extLst>
              <a:ext uri="{FF2B5EF4-FFF2-40B4-BE49-F238E27FC236}">
                <a16:creationId xmlns:a16="http://schemas.microsoft.com/office/drawing/2014/main" id="{8183E79D-4296-5D45-9E4D-154A79CD92FA}"/>
              </a:ext>
            </a:extLst>
          </p:cNvPr>
          <p:cNvSpPr>
            <a:spLocks noEditPoints="1"/>
          </p:cNvSpPr>
          <p:nvPr/>
        </p:nvSpPr>
        <p:spPr bwMode="auto">
          <a:xfrm>
            <a:off x="10031101" y="4054475"/>
            <a:ext cx="546100" cy="550863"/>
          </a:xfrm>
          <a:custGeom>
            <a:avLst/>
            <a:gdLst>
              <a:gd name="T0" fmla="*/ 0 w 160"/>
              <a:gd name="T1" fmla="*/ 0 h 160"/>
              <a:gd name="T2" fmla="*/ 0 w 160"/>
              <a:gd name="T3" fmla="*/ 160 h 160"/>
              <a:gd name="T4" fmla="*/ 160 w 160"/>
              <a:gd name="T5" fmla="*/ 160 h 160"/>
              <a:gd name="T6" fmla="*/ 160 w 160"/>
              <a:gd name="T7" fmla="*/ 0 h 160"/>
              <a:gd name="T8" fmla="*/ 0 w 160"/>
              <a:gd name="T9" fmla="*/ 0 h 160"/>
              <a:gd name="T10" fmla="*/ 155 w 160"/>
              <a:gd name="T11" fmla="*/ 155 h 160"/>
              <a:gd name="T12" fmla="*/ 5 w 160"/>
              <a:gd name="T13" fmla="*/ 155 h 160"/>
              <a:gd name="T14" fmla="*/ 5 w 160"/>
              <a:gd name="T15" fmla="*/ 5 h 160"/>
              <a:gd name="T16" fmla="*/ 155 w 160"/>
              <a:gd name="T17" fmla="*/ 5 h 160"/>
              <a:gd name="T18" fmla="*/ 155 w 160"/>
              <a:gd name="T19" fmla="*/ 155 h 160"/>
              <a:gd name="T20" fmla="*/ 24 w 160"/>
              <a:gd name="T21" fmla="*/ 77 h 160"/>
              <a:gd name="T22" fmla="*/ 136 w 160"/>
              <a:gd name="T23" fmla="*/ 77 h 160"/>
              <a:gd name="T24" fmla="*/ 136 w 160"/>
              <a:gd name="T25" fmla="*/ 83 h 160"/>
              <a:gd name="T26" fmla="*/ 24 w 160"/>
              <a:gd name="T27" fmla="*/ 83 h 160"/>
              <a:gd name="T28" fmla="*/ 24 w 160"/>
              <a:gd name="T29" fmla="*/ 77 h 160"/>
              <a:gd name="T30" fmla="*/ 80 w 160"/>
              <a:gd name="T31" fmla="*/ 59 h 160"/>
              <a:gd name="T32" fmla="*/ 93 w 160"/>
              <a:gd name="T33" fmla="*/ 45 h 160"/>
              <a:gd name="T34" fmla="*/ 80 w 160"/>
              <a:gd name="T35" fmla="*/ 32 h 160"/>
              <a:gd name="T36" fmla="*/ 67 w 160"/>
              <a:gd name="T37" fmla="*/ 45 h 160"/>
              <a:gd name="T38" fmla="*/ 80 w 160"/>
              <a:gd name="T39" fmla="*/ 59 h 160"/>
              <a:gd name="T40" fmla="*/ 80 w 160"/>
              <a:gd name="T41" fmla="*/ 37 h 160"/>
              <a:gd name="T42" fmla="*/ 88 w 160"/>
              <a:gd name="T43" fmla="*/ 45 h 160"/>
              <a:gd name="T44" fmla="*/ 80 w 160"/>
              <a:gd name="T45" fmla="*/ 53 h 160"/>
              <a:gd name="T46" fmla="*/ 72 w 160"/>
              <a:gd name="T47" fmla="*/ 45 h 160"/>
              <a:gd name="T48" fmla="*/ 80 w 160"/>
              <a:gd name="T49" fmla="*/ 37 h 160"/>
              <a:gd name="T50" fmla="*/ 80 w 160"/>
              <a:gd name="T51" fmla="*/ 101 h 160"/>
              <a:gd name="T52" fmla="*/ 67 w 160"/>
              <a:gd name="T53" fmla="*/ 115 h 160"/>
              <a:gd name="T54" fmla="*/ 80 w 160"/>
              <a:gd name="T55" fmla="*/ 128 h 160"/>
              <a:gd name="T56" fmla="*/ 93 w 160"/>
              <a:gd name="T57" fmla="*/ 115 h 160"/>
              <a:gd name="T58" fmla="*/ 80 w 160"/>
              <a:gd name="T59" fmla="*/ 101 h 160"/>
              <a:gd name="T60" fmla="*/ 80 w 160"/>
              <a:gd name="T61" fmla="*/ 123 h 160"/>
              <a:gd name="T62" fmla="*/ 72 w 160"/>
              <a:gd name="T63" fmla="*/ 115 h 160"/>
              <a:gd name="T64" fmla="*/ 80 w 160"/>
              <a:gd name="T65" fmla="*/ 107 h 160"/>
              <a:gd name="T66" fmla="*/ 88 w 160"/>
              <a:gd name="T67" fmla="*/ 115 h 160"/>
              <a:gd name="T68" fmla="*/ 80 w 160"/>
              <a:gd name="T69"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0" y="0"/>
                </a:moveTo>
                <a:cubicBezTo>
                  <a:pt x="0" y="160"/>
                  <a:pt x="0" y="160"/>
                  <a:pt x="0" y="160"/>
                </a:cubicBezTo>
                <a:cubicBezTo>
                  <a:pt x="160" y="160"/>
                  <a:pt x="160" y="160"/>
                  <a:pt x="160" y="160"/>
                </a:cubicBezTo>
                <a:cubicBezTo>
                  <a:pt x="160" y="0"/>
                  <a:pt x="160" y="0"/>
                  <a:pt x="160" y="0"/>
                </a:cubicBezTo>
                <a:lnTo>
                  <a:pt x="0" y="0"/>
                </a:lnTo>
                <a:close/>
                <a:moveTo>
                  <a:pt x="155" y="155"/>
                </a:moveTo>
                <a:cubicBezTo>
                  <a:pt x="5" y="155"/>
                  <a:pt x="5" y="155"/>
                  <a:pt x="5" y="155"/>
                </a:cubicBezTo>
                <a:cubicBezTo>
                  <a:pt x="5" y="5"/>
                  <a:pt x="5" y="5"/>
                  <a:pt x="5" y="5"/>
                </a:cubicBezTo>
                <a:cubicBezTo>
                  <a:pt x="155" y="5"/>
                  <a:pt x="155" y="5"/>
                  <a:pt x="155" y="5"/>
                </a:cubicBezTo>
                <a:lnTo>
                  <a:pt x="155" y="155"/>
                </a:lnTo>
                <a:close/>
                <a:moveTo>
                  <a:pt x="24" y="77"/>
                </a:moveTo>
                <a:cubicBezTo>
                  <a:pt x="136" y="77"/>
                  <a:pt x="136" y="77"/>
                  <a:pt x="136" y="77"/>
                </a:cubicBezTo>
                <a:cubicBezTo>
                  <a:pt x="136" y="83"/>
                  <a:pt x="136" y="83"/>
                  <a:pt x="136" y="83"/>
                </a:cubicBezTo>
                <a:cubicBezTo>
                  <a:pt x="24" y="83"/>
                  <a:pt x="24" y="83"/>
                  <a:pt x="24" y="83"/>
                </a:cubicBezTo>
                <a:lnTo>
                  <a:pt x="24" y="77"/>
                </a:lnTo>
                <a:close/>
                <a:moveTo>
                  <a:pt x="80" y="59"/>
                </a:moveTo>
                <a:cubicBezTo>
                  <a:pt x="87" y="59"/>
                  <a:pt x="93" y="53"/>
                  <a:pt x="93" y="45"/>
                </a:cubicBezTo>
                <a:cubicBezTo>
                  <a:pt x="93" y="38"/>
                  <a:pt x="87" y="32"/>
                  <a:pt x="80" y="32"/>
                </a:cubicBezTo>
                <a:cubicBezTo>
                  <a:pt x="73" y="32"/>
                  <a:pt x="67" y="38"/>
                  <a:pt x="67" y="45"/>
                </a:cubicBezTo>
                <a:cubicBezTo>
                  <a:pt x="67" y="53"/>
                  <a:pt x="73" y="59"/>
                  <a:pt x="80" y="59"/>
                </a:cubicBezTo>
                <a:close/>
                <a:moveTo>
                  <a:pt x="80" y="37"/>
                </a:moveTo>
                <a:cubicBezTo>
                  <a:pt x="84" y="37"/>
                  <a:pt x="88" y="41"/>
                  <a:pt x="88" y="45"/>
                </a:cubicBezTo>
                <a:cubicBezTo>
                  <a:pt x="88" y="50"/>
                  <a:pt x="84" y="53"/>
                  <a:pt x="80" y="53"/>
                </a:cubicBezTo>
                <a:cubicBezTo>
                  <a:pt x="76" y="53"/>
                  <a:pt x="72" y="50"/>
                  <a:pt x="72" y="45"/>
                </a:cubicBezTo>
                <a:cubicBezTo>
                  <a:pt x="72" y="41"/>
                  <a:pt x="76" y="37"/>
                  <a:pt x="80" y="37"/>
                </a:cubicBezTo>
                <a:close/>
                <a:moveTo>
                  <a:pt x="80" y="101"/>
                </a:moveTo>
                <a:cubicBezTo>
                  <a:pt x="73" y="101"/>
                  <a:pt x="67" y="107"/>
                  <a:pt x="67" y="115"/>
                </a:cubicBezTo>
                <a:cubicBezTo>
                  <a:pt x="67" y="122"/>
                  <a:pt x="73" y="128"/>
                  <a:pt x="80" y="128"/>
                </a:cubicBezTo>
                <a:cubicBezTo>
                  <a:pt x="87" y="128"/>
                  <a:pt x="93" y="122"/>
                  <a:pt x="93" y="115"/>
                </a:cubicBezTo>
                <a:cubicBezTo>
                  <a:pt x="93" y="107"/>
                  <a:pt x="87" y="101"/>
                  <a:pt x="80" y="101"/>
                </a:cubicBezTo>
                <a:close/>
                <a:moveTo>
                  <a:pt x="80" y="123"/>
                </a:moveTo>
                <a:cubicBezTo>
                  <a:pt x="76" y="123"/>
                  <a:pt x="72" y="119"/>
                  <a:pt x="72" y="115"/>
                </a:cubicBezTo>
                <a:cubicBezTo>
                  <a:pt x="72" y="110"/>
                  <a:pt x="76" y="107"/>
                  <a:pt x="80" y="107"/>
                </a:cubicBezTo>
                <a:cubicBezTo>
                  <a:pt x="84" y="107"/>
                  <a:pt x="88" y="110"/>
                  <a:pt x="88" y="115"/>
                </a:cubicBezTo>
                <a:cubicBezTo>
                  <a:pt x="88" y="119"/>
                  <a:pt x="84" y="123"/>
                  <a:pt x="80" y="1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65" name="Freeform 1142">
            <a:extLst>
              <a:ext uri="{FF2B5EF4-FFF2-40B4-BE49-F238E27FC236}">
                <a16:creationId xmlns:a16="http://schemas.microsoft.com/office/drawing/2014/main" id="{E3068D99-1EBB-3240-BDB2-7947D5068491}"/>
              </a:ext>
            </a:extLst>
          </p:cNvPr>
          <p:cNvSpPr>
            <a:spLocks noEditPoints="1"/>
          </p:cNvSpPr>
          <p:nvPr/>
        </p:nvSpPr>
        <p:spPr bwMode="auto">
          <a:xfrm>
            <a:off x="10031101" y="4700588"/>
            <a:ext cx="546100" cy="471488"/>
          </a:xfrm>
          <a:custGeom>
            <a:avLst/>
            <a:gdLst>
              <a:gd name="T0" fmla="*/ 0 w 160"/>
              <a:gd name="T1" fmla="*/ 65 h 137"/>
              <a:gd name="T2" fmla="*/ 160 w 160"/>
              <a:gd name="T3" fmla="*/ 65 h 137"/>
              <a:gd name="T4" fmla="*/ 160 w 160"/>
              <a:gd name="T5" fmla="*/ 72 h 137"/>
              <a:gd name="T6" fmla="*/ 0 w 160"/>
              <a:gd name="T7" fmla="*/ 72 h 137"/>
              <a:gd name="T8" fmla="*/ 0 w 160"/>
              <a:gd name="T9" fmla="*/ 65 h 137"/>
              <a:gd name="T10" fmla="*/ 61 w 160"/>
              <a:gd name="T11" fmla="*/ 19 h 137"/>
              <a:gd name="T12" fmla="*/ 80 w 160"/>
              <a:gd name="T13" fmla="*/ 0 h 137"/>
              <a:gd name="T14" fmla="*/ 99 w 160"/>
              <a:gd name="T15" fmla="*/ 19 h 137"/>
              <a:gd name="T16" fmla="*/ 80 w 160"/>
              <a:gd name="T17" fmla="*/ 38 h 137"/>
              <a:gd name="T18" fmla="*/ 61 w 160"/>
              <a:gd name="T19" fmla="*/ 19 h 137"/>
              <a:gd name="T20" fmla="*/ 69 w 160"/>
              <a:gd name="T21" fmla="*/ 19 h 137"/>
              <a:gd name="T22" fmla="*/ 80 w 160"/>
              <a:gd name="T23" fmla="*/ 30 h 137"/>
              <a:gd name="T24" fmla="*/ 91 w 160"/>
              <a:gd name="T25" fmla="*/ 19 h 137"/>
              <a:gd name="T26" fmla="*/ 80 w 160"/>
              <a:gd name="T27" fmla="*/ 8 h 137"/>
              <a:gd name="T28" fmla="*/ 69 w 160"/>
              <a:gd name="T29" fmla="*/ 19 h 137"/>
              <a:gd name="T30" fmla="*/ 99 w 160"/>
              <a:gd name="T31" fmla="*/ 118 h 137"/>
              <a:gd name="T32" fmla="*/ 80 w 160"/>
              <a:gd name="T33" fmla="*/ 137 h 137"/>
              <a:gd name="T34" fmla="*/ 61 w 160"/>
              <a:gd name="T35" fmla="*/ 118 h 137"/>
              <a:gd name="T36" fmla="*/ 80 w 160"/>
              <a:gd name="T37" fmla="*/ 99 h 137"/>
              <a:gd name="T38" fmla="*/ 99 w 160"/>
              <a:gd name="T39" fmla="*/ 118 h 137"/>
              <a:gd name="T40" fmla="*/ 91 w 160"/>
              <a:gd name="T41" fmla="*/ 118 h 137"/>
              <a:gd name="T42" fmla="*/ 80 w 160"/>
              <a:gd name="T43" fmla="*/ 107 h 137"/>
              <a:gd name="T44" fmla="*/ 69 w 160"/>
              <a:gd name="T45" fmla="*/ 118 h 137"/>
              <a:gd name="T46" fmla="*/ 80 w 160"/>
              <a:gd name="T47" fmla="*/ 130 h 137"/>
              <a:gd name="T48" fmla="*/ 91 w 160"/>
              <a:gd name="T49" fmla="*/ 11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 h="137">
                <a:moveTo>
                  <a:pt x="0" y="65"/>
                </a:moveTo>
                <a:cubicBezTo>
                  <a:pt x="160" y="65"/>
                  <a:pt x="160" y="65"/>
                  <a:pt x="160" y="65"/>
                </a:cubicBezTo>
                <a:cubicBezTo>
                  <a:pt x="160" y="72"/>
                  <a:pt x="160" y="72"/>
                  <a:pt x="160" y="72"/>
                </a:cubicBezTo>
                <a:cubicBezTo>
                  <a:pt x="0" y="72"/>
                  <a:pt x="0" y="72"/>
                  <a:pt x="0" y="72"/>
                </a:cubicBezTo>
                <a:lnTo>
                  <a:pt x="0" y="65"/>
                </a:lnTo>
                <a:close/>
                <a:moveTo>
                  <a:pt x="61" y="19"/>
                </a:moveTo>
                <a:cubicBezTo>
                  <a:pt x="61" y="9"/>
                  <a:pt x="69" y="0"/>
                  <a:pt x="80" y="0"/>
                </a:cubicBezTo>
                <a:cubicBezTo>
                  <a:pt x="91" y="0"/>
                  <a:pt x="99" y="9"/>
                  <a:pt x="99" y="19"/>
                </a:cubicBezTo>
                <a:cubicBezTo>
                  <a:pt x="99" y="30"/>
                  <a:pt x="91" y="38"/>
                  <a:pt x="80" y="38"/>
                </a:cubicBezTo>
                <a:cubicBezTo>
                  <a:pt x="69" y="38"/>
                  <a:pt x="61" y="30"/>
                  <a:pt x="61" y="19"/>
                </a:cubicBezTo>
                <a:close/>
                <a:moveTo>
                  <a:pt x="69" y="19"/>
                </a:moveTo>
                <a:cubicBezTo>
                  <a:pt x="69" y="25"/>
                  <a:pt x="74" y="30"/>
                  <a:pt x="80" y="30"/>
                </a:cubicBezTo>
                <a:cubicBezTo>
                  <a:pt x="86" y="30"/>
                  <a:pt x="91" y="25"/>
                  <a:pt x="91" y="19"/>
                </a:cubicBezTo>
                <a:cubicBezTo>
                  <a:pt x="91" y="13"/>
                  <a:pt x="86" y="8"/>
                  <a:pt x="80" y="8"/>
                </a:cubicBezTo>
                <a:cubicBezTo>
                  <a:pt x="74" y="8"/>
                  <a:pt x="69" y="13"/>
                  <a:pt x="69" y="19"/>
                </a:cubicBezTo>
                <a:close/>
                <a:moveTo>
                  <a:pt x="99" y="118"/>
                </a:moveTo>
                <a:cubicBezTo>
                  <a:pt x="99" y="129"/>
                  <a:pt x="91" y="137"/>
                  <a:pt x="80" y="137"/>
                </a:cubicBezTo>
                <a:cubicBezTo>
                  <a:pt x="69" y="137"/>
                  <a:pt x="61" y="129"/>
                  <a:pt x="61" y="118"/>
                </a:cubicBezTo>
                <a:cubicBezTo>
                  <a:pt x="61" y="108"/>
                  <a:pt x="69" y="99"/>
                  <a:pt x="80" y="99"/>
                </a:cubicBezTo>
                <a:cubicBezTo>
                  <a:pt x="91" y="99"/>
                  <a:pt x="99" y="108"/>
                  <a:pt x="99" y="118"/>
                </a:cubicBezTo>
                <a:close/>
                <a:moveTo>
                  <a:pt x="91" y="118"/>
                </a:moveTo>
                <a:cubicBezTo>
                  <a:pt x="91" y="112"/>
                  <a:pt x="86" y="107"/>
                  <a:pt x="80" y="107"/>
                </a:cubicBezTo>
                <a:cubicBezTo>
                  <a:pt x="74" y="107"/>
                  <a:pt x="69" y="112"/>
                  <a:pt x="69" y="118"/>
                </a:cubicBezTo>
                <a:cubicBezTo>
                  <a:pt x="69" y="124"/>
                  <a:pt x="74" y="130"/>
                  <a:pt x="80" y="130"/>
                </a:cubicBezTo>
                <a:cubicBezTo>
                  <a:pt x="86" y="130"/>
                  <a:pt x="91" y="124"/>
                  <a:pt x="91" y="11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66" name="Freeform 1143">
            <a:extLst>
              <a:ext uri="{FF2B5EF4-FFF2-40B4-BE49-F238E27FC236}">
                <a16:creationId xmlns:a16="http://schemas.microsoft.com/office/drawing/2014/main" id="{E26CE10B-AFB3-C04D-A150-039C49D2FA47}"/>
              </a:ext>
            </a:extLst>
          </p:cNvPr>
          <p:cNvSpPr>
            <a:spLocks noEditPoints="1"/>
          </p:cNvSpPr>
          <p:nvPr/>
        </p:nvSpPr>
        <p:spPr bwMode="auto">
          <a:xfrm>
            <a:off x="10031101" y="5292725"/>
            <a:ext cx="546100" cy="527050"/>
          </a:xfrm>
          <a:custGeom>
            <a:avLst/>
            <a:gdLst>
              <a:gd name="T0" fmla="*/ 138 w 160"/>
              <a:gd name="T1" fmla="*/ 55 h 153"/>
              <a:gd name="T2" fmla="*/ 22 w 160"/>
              <a:gd name="T3" fmla="*/ 55 h 153"/>
              <a:gd name="T4" fmla="*/ 0 w 160"/>
              <a:gd name="T5" fmla="*/ 76 h 153"/>
              <a:gd name="T6" fmla="*/ 22 w 160"/>
              <a:gd name="T7" fmla="*/ 98 h 153"/>
              <a:gd name="T8" fmla="*/ 138 w 160"/>
              <a:gd name="T9" fmla="*/ 98 h 153"/>
              <a:gd name="T10" fmla="*/ 160 w 160"/>
              <a:gd name="T11" fmla="*/ 76 h 153"/>
              <a:gd name="T12" fmla="*/ 138 w 160"/>
              <a:gd name="T13" fmla="*/ 55 h 153"/>
              <a:gd name="T14" fmla="*/ 138 w 160"/>
              <a:gd name="T15" fmla="*/ 91 h 153"/>
              <a:gd name="T16" fmla="*/ 22 w 160"/>
              <a:gd name="T17" fmla="*/ 91 h 153"/>
              <a:gd name="T18" fmla="*/ 7 w 160"/>
              <a:gd name="T19" fmla="*/ 76 h 153"/>
              <a:gd name="T20" fmla="*/ 22 w 160"/>
              <a:gd name="T21" fmla="*/ 62 h 153"/>
              <a:gd name="T22" fmla="*/ 138 w 160"/>
              <a:gd name="T23" fmla="*/ 62 h 153"/>
              <a:gd name="T24" fmla="*/ 153 w 160"/>
              <a:gd name="T25" fmla="*/ 76 h 153"/>
              <a:gd name="T26" fmla="*/ 138 w 160"/>
              <a:gd name="T27" fmla="*/ 91 h 153"/>
              <a:gd name="T28" fmla="*/ 80 w 160"/>
              <a:gd name="T29" fmla="*/ 44 h 153"/>
              <a:gd name="T30" fmla="*/ 102 w 160"/>
              <a:gd name="T31" fmla="*/ 22 h 153"/>
              <a:gd name="T32" fmla="*/ 80 w 160"/>
              <a:gd name="T33" fmla="*/ 0 h 153"/>
              <a:gd name="T34" fmla="*/ 58 w 160"/>
              <a:gd name="T35" fmla="*/ 22 h 153"/>
              <a:gd name="T36" fmla="*/ 80 w 160"/>
              <a:gd name="T37" fmla="*/ 44 h 153"/>
              <a:gd name="T38" fmla="*/ 80 w 160"/>
              <a:gd name="T39" fmla="*/ 7 h 153"/>
              <a:gd name="T40" fmla="*/ 95 w 160"/>
              <a:gd name="T41" fmla="*/ 22 h 153"/>
              <a:gd name="T42" fmla="*/ 80 w 160"/>
              <a:gd name="T43" fmla="*/ 36 h 153"/>
              <a:gd name="T44" fmla="*/ 65 w 160"/>
              <a:gd name="T45" fmla="*/ 22 h 153"/>
              <a:gd name="T46" fmla="*/ 80 w 160"/>
              <a:gd name="T47" fmla="*/ 7 h 153"/>
              <a:gd name="T48" fmla="*/ 80 w 160"/>
              <a:gd name="T49" fmla="*/ 109 h 153"/>
              <a:gd name="T50" fmla="*/ 58 w 160"/>
              <a:gd name="T51" fmla="*/ 131 h 153"/>
              <a:gd name="T52" fmla="*/ 80 w 160"/>
              <a:gd name="T53" fmla="*/ 153 h 153"/>
              <a:gd name="T54" fmla="*/ 102 w 160"/>
              <a:gd name="T55" fmla="*/ 131 h 153"/>
              <a:gd name="T56" fmla="*/ 80 w 160"/>
              <a:gd name="T57" fmla="*/ 109 h 153"/>
              <a:gd name="T58" fmla="*/ 80 w 160"/>
              <a:gd name="T59" fmla="*/ 145 h 153"/>
              <a:gd name="T60" fmla="*/ 65 w 160"/>
              <a:gd name="T61" fmla="*/ 131 h 153"/>
              <a:gd name="T62" fmla="*/ 80 w 160"/>
              <a:gd name="T63" fmla="*/ 116 h 153"/>
              <a:gd name="T64" fmla="*/ 95 w 160"/>
              <a:gd name="T65" fmla="*/ 131 h 153"/>
              <a:gd name="T66" fmla="*/ 80 w 160"/>
              <a:gd name="T67" fmla="*/ 14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53">
                <a:moveTo>
                  <a:pt x="138" y="55"/>
                </a:moveTo>
                <a:cubicBezTo>
                  <a:pt x="22" y="55"/>
                  <a:pt x="22" y="55"/>
                  <a:pt x="22" y="55"/>
                </a:cubicBezTo>
                <a:cubicBezTo>
                  <a:pt x="10" y="55"/>
                  <a:pt x="0" y="64"/>
                  <a:pt x="0" y="76"/>
                </a:cubicBezTo>
                <a:cubicBezTo>
                  <a:pt x="0" y="88"/>
                  <a:pt x="10" y="98"/>
                  <a:pt x="22" y="98"/>
                </a:cubicBezTo>
                <a:cubicBezTo>
                  <a:pt x="138" y="98"/>
                  <a:pt x="138" y="98"/>
                  <a:pt x="138" y="98"/>
                </a:cubicBezTo>
                <a:cubicBezTo>
                  <a:pt x="150" y="98"/>
                  <a:pt x="160" y="88"/>
                  <a:pt x="160" y="76"/>
                </a:cubicBezTo>
                <a:cubicBezTo>
                  <a:pt x="160" y="64"/>
                  <a:pt x="150" y="55"/>
                  <a:pt x="138" y="55"/>
                </a:cubicBezTo>
                <a:close/>
                <a:moveTo>
                  <a:pt x="138" y="91"/>
                </a:moveTo>
                <a:cubicBezTo>
                  <a:pt x="22" y="91"/>
                  <a:pt x="22" y="91"/>
                  <a:pt x="22" y="91"/>
                </a:cubicBezTo>
                <a:cubicBezTo>
                  <a:pt x="14" y="91"/>
                  <a:pt x="7" y="84"/>
                  <a:pt x="7" y="76"/>
                </a:cubicBezTo>
                <a:cubicBezTo>
                  <a:pt x="7" y="68"/>
                  <a:pt x="14" y="62"/>
                  <a:pt x="22" y="62"/>
                </a:cubicBezTo>
                <a:cubicBezTo>
                  <a:pt x="138" y="62"/>
                  <a:pt x="138" y="62"/>
                  <a:pt x="138" y="62"/>
                </a:cubicBezTo>
                <a:cubicBezTo>
                  <a:pt x="146" y="62"/>
                  <a:pt x="153" y="68"/>
                  <a:pt x="153" y="76"/>
                </a:cubicBezTo>
                <a:cubicBezTo>
                  <a:pt x="153" y="84"/>
                  <a:pt x="146" y="91"/>
                  <a:pt x="138" y="91"/>
                </a:cubicBezTo>
                <a:close/>
                <a:moveTo>
                  <a:pt x="80" y="44"/>
                </a:moveTo>
                <a:cubicBezTo>
                  <a:pt x="92" y="44"/>
                  <a:pt x="102" y="34"/>
                  <a:pt x="102" y="22"/>
                </a:cubicBezTo>
                <a:cubicBezTo>
                  <a:pt x="102" y="10"/>
                  <a:pt x="92" y="0"/>
                  <a:pt x="80" y="0"/>
                </a:cubicBezTo>
                <a:cubicBezTo>
                  <a:pt x="68" y="0"/>
                  <a:pt x="58" y="10"/>
                  <a:pt x="58" y="22"/>
                </a:cubicBezTo>
                <a:cubicBezTo>
                  <a:pt x="58" y="34"/>
                  <a:pt x="68" y="44"/>
                  <a:pt x="80" y="44"/>
                </a:cubicBezTo>
                <a:close/>
                <a:moveTo>
                  <a:pt x="80" y="7"/>
                </a:moveTo>
                <a:cubicBezTo>
                  <a:pt x="88" y="7"/>
                  <a:pt x="95" y="14"/>
                  <a:pt x="95" y="22"/>
                </a:cubicBezTo>
                <a:cubicBezTo>
                  <a:pt x="95" y="30"/>
                  <a:pt x="88" y="36"/>
                  <a:pt x="80" y="36"/>
                </a:cubicBezTo>
                <a:cubicBezTo>
                  <a:pt x="72" y="36"/>
                  <a:pt x="65" y="30"/>
                  <a:pt x="65" y="22"/>
                </a:cubicBezTo>
                <a:cubicBezTo>
                  <a:pt x="65" y="14"/>
                  <a:pt x="72" y="7"/>
                  <a:pt x="80" y="7"/>
                </a:cubicBezTo>
                <a:close/>
                <a:moveTo>
                  <a:pt x="80" y="109"/>
                </a:moveTo>
                <a:cubicBezTo>
                  <a:pt x="68" y="109"/>
                  <a:pt x="58" y="119"/>
                  <a:pt x="58" y="131"/>
                </a:cubicBezTo>
                <a:cubicBezTo>
                  <a:pt x="58" y="143"/>
                  <a:pt x="68" y="153"/>
                  <a:pt x="80" y="153"/>
                </a:cubicBezTo>
                <a:cubicBezTo>
                  <a:pt x="92" y="153"/>
                  <a:pt x="102" y="143"/>
                  <a:pt x="102" y="131"/>
                </a:cubicBezTo>
                <a:cubicBezTo>
                  <a:pt x="102" y="119"/>
                  <a:pt x="92" y="109"/>
                  <a:pt x="80" y="109"/>
                </a:cubicBezTo>
                <a:close/>
                <a:moveTo>
                  <a:pt x="80" y="145"/>
                </a:moveTo>
                <a:cubicBezTo>
                  <a:pt x="72" y="145"/>
                  <a:pt x="65" y="139"/>
                  <a:pt x="65" y="131"/>
                </a:cubicBezTo>
                <a:cubicBezTo>
                  <a:pt x="65" y="123"/>
                  <a:pt x="72" y="116"/>
                  <a:pt x="80" y="116"/>
                </a:cubicBezTo>
                <a:cubicBezTo>
                  <a:pt x="88" y="116"/>
                  <a:pt x="95" y="123"/>
                  <a:pt x="95" y="131"/>
                </a:cubicBezTo>
                <a:cubicBezTo>
                  <a:pt x="95" y="139"/>
                  <a:pt x="88" y="145"/>
                  <a:pt x="80" y="14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67" name="Freeform 1144">
            <a:extLst>
              <a:ext uri="{FF2B5EF4-FFF2-40B4-BE49-F238E27FC236}">
                <a16:creationId xmlns:a16="http://schemas.microsoft.com/office/drawing/2014/main" id="{B146F583-2FC7-9E49-8A98-6FEC6EC2D129}"/>
              </a:ext>
            </a:extLst>
          </p:cNvPr>
          <p:cNvSpPr>
            <a:spLocks noEditPoints="1"/>
          </p:cNvSpPr>
          <p:nvPr/>
        </p:nvSpPr>
        <p:spPr bwMode="auto">
          <a:xfrm>
            <a:off x="10086664" y="5911850"/>
            <a:ext cx="425450" cy="550863"/>
          </a:xfrm>
          <a:custGeom>
            <a:avLst/>
            <a:gdLst>
              <a:gd name="T0" fmla="*/ 0 w 125"/>
              <a:gd name="T1" fmla="*/ 0 h 160"/>
              <a:gd name="T2" fmla="*/ 125 w 125"/>
              <a:gd name="T3" fmla="*/ 160 h 160"/>
              <a:gd name="T4" fmla="*/ 86 w 125"/>
              <a:gd name="T5" fmla="*/ 0 h 160"/>
              <a:gd name="T6" fmla="*/ 116 w 125"/>
              <a:gd name="T7" fmla="*/ 37 h 160"/>
              <a:gd name="T8" fmla="*/ 88 w 125"/>
              <a:gd name="T9" fmla="*/ 9 h 160"/>
              <a:gd name="T10" fmla="*/ 5 w 125"/>
              <a:gd name="T11" fmla="*/ 5 h 160"/>
              <a:gd name="T12" fmla="*/ 83 w 125"/>
              <a:gd name="T13" fmla="*/ 43 h 160"/>
              <a:gd name="T14" fmla="*/ 120 w 125"/>
              <a:gd name="T15" fmla="*/ 155 h 160"/>
              <a:gd name="T16" fmla="*/ 24 w 125"/>
              <a:gd name="T17" fmla="*/ 43 h 160"/>
              <a:gd name="T18" fmla="*/ 51 w 125"/>
              <a:gd name="T19" fmla="*/ 40 h 160"/>
              <a:gd name="T20" fmla="*/ 51 w 125"/>
              <a:gd name="T21" fmla="*/ 45 h 160"/>
              <a:gd name="T22" fmla="*/ 24 w 125"/>
              <a:gd name="T23" fmla="*/ 43 h 160"/>
              <a:gd name="T24" fmla="*/ 72 w 125"/>
              <a:gd name="T25" fmla="*/ 104 h 160"/>
              <a:gd name="T26" fmla="*/ 24 w 125"/>
              <a:gd name="T27" fmla="*/ 101 h 160"/>
              <a:gd name="T28" fmla="*/ 72 w 125"/>
              <a:gd name="T29" fmla="*/ 99 h 160"/>
              <a:gd name="T30" fmla="*/ 101 w 125"/>
              <a:gd name="T31" fmla="*/ 83 h 160"/>
              <a:gd name="T32" fmla="*/ 80 w 125"/>
              <a:gd name="T33" fmla="*/ 85 h 160"/>
              <a:gd name="T34" fmla="*/ 80 w 125"/>
              <a:gd name="T35" fmla="*/ 80 h 160"/>
              <a:gd name="T36" fmla="*/ 101 w 125"/>
              <a:gd name="T37" fmla="*/ 83 h 160"/>
              <a:gd name="T38" fmla="*/ 27 w 125"/>
              <a:gd name="T39" fmla="*/ 61 h 160"/>
              <a:gd name="T40" fmla="*/ 43 w 125"/>
              <a:gd name="T41" fmla="*/ 64 h 160"/>
              <a:gd name="T42" fmla="*/ 27 w 125"/>
              <a:gd name="T43" fmla="*/ 67 h 160"/>
              <a:gd name="T44" fmla="*/ 64 w 125"/>
              <a:gd name="T45" fmla="*/ 64 h 160"/>
              <a:gd name="T46" fmla="*/ 85 w 125"/>
              <a:gd name="T47" fmla="*/ 61 h 160"/>
              <a:gd name="T48" fmla="*/ 85 w 125"/>
              <a:gd name="T49" fmla="*/ 67 h 160"/>
              <a:gd name="T50" fmla="*/ 64 w 125"/>
              <a:gd name="T51" fmla="*/ 64 h 160"/>
              <a:gd name="T52" fmla="*/ 55 w 125"/>
              <a:gd name="T53" fmla="*/ 62 h 160"/>
              <a:gd name="T54" fmla="*/ 55 w 125"/>
              <a:gd name="T55" fmla="*/ 66 h 160"/>
              <a:gd name="T56" fmla="*/ 51 w 125"/>
              <a:gd name="T57" fmla="*/ 66 h 160"/>
              <a:gd name="T58" fmla="*/ 51 w 125"/>
              <a:gd name="T59" fmla="*/ 62 h 160"/>
              <a:gd name="T60" fmla="*/ 69 w 125"/>
              <a:gd name="T61" fmla="*/ 83 h 160"/>
              <a:gd name="T62" fmla="*/ 40 w 125"/>
              <a:gd name="T63" fmla="*/ 85 h 160"/>
              <a:gd name="T64" fmla="*/ 40 w 125"/>
              <a:gd name="T65" fmla="*/ 80 h 160"/>
              <a:gd name="T66" fmla="*/ 25 w 125"/>
              <a:gd name="T67" fmla="*/ 85 h 160"/>
              <a:gd name="T68" fmla="*/ 25 w 125"/>
              <a:gd name="T69" fmla="*/ 81 h 160"/>
              <a:gd name="T70" fmla="*/ 29 w 125"/>
              <a:gd name="T71" fmla="*/ 83 h 160"/>
              <a:gd name="T72" fmla="*/ 27 w 125"/>
              <a:gd name="T73" fmla="*/ 85 h 160"/>
              <a:gd name="T74" fmla="*/ 101 w 125"/>
              <a:gd name="T75" fmla="*/ 120 h 160"/>
              <a:gd name="T76" fmla="*/ 80 w 125"/>
              <a:gd name="T77" fmla="*/ 123 h 160"/>
              <a:gd name="T78" fmla="*/ 80 w 125"/>
              <a:gd name="T79" fmla="*/ 117 h 160"/>
              <a:gd name="T80" fmla="*/ 101 w 125"/>
              <a:gd name="T81" fmla="*/ 120 h 160"/>
              <a:gd name="T82" fmla="*/ 67 w 125"/>
              <a:gd name="T83" fmla="*/ 123 h 160"/>
              <a:gd name="T84" fmla="*/ 37 w 125"/>
              <a:gd name="T85" fmla="*/ 120 h 160"/>
              <a:gd name="T86" fmla="*/ 67 w 125"/>
              <a:gd name="T87" fmla="*/ 117 h 160"/>
              <a:gd name="T88" fmla="*/ 29 w 125"/>
              <a:gd name="T89" fmla="*/ 118 h 160"/>
              <a:gd name="T90" fmla="*/ 29 w 125"/>
              <a:gd name="T91" fmla="*/ 122 h 160"/>
              <a:gd name="T92" fmla="*/ 25 w 125"/>
              <a:gd name="T93" fmla="*/ 122 h 160"/>
              <a:gd name="T94" fmla="*/ 25 w 125"/>
              <a:gd name="T95" fmla="*/ 118 h 160"/>
              <a:gd name="T96" fmla="*/ 101 w 125"/>
              <a:gd name="T97" fmla="*/ 62 h 160"/>
              <a:gd name="T98" fmla="*/ 101 w 125"/>
              <a:gd name="T99" fmla="*/ 66 h 160"/>
              <a:gd name="T100" fmla="*/ 97 w 125"/>
              <a:gd name="T101" fmla="*/ 66 h 160"/>
              <a:gd name="T102" fmla="*/ 97 w 125"/>
              <a:gd name="T103" fmla="*/ 62 h 160"/>
              <a:gd name="T104" fmla="*/ 85 w 125"/>
              <a:gd name="T105" fmla="*/ 104 h 160"/>
              <a:gd name="T106" fmla="*/ 83 w 125"/>
              <a:gd name="T107" fmla="*/ 101 h 160"/>
              <a:gd name="T108" fmla="*/ 87 w 125"/>
              <a:gd name="T109" fmla="*/ 99 h 160"/>
              <a:gd name="T110" fmla="*/ 87 w 125"/>
              <a:gd name="T111" fmla="*/ 103 h 160"/>
              <a:gd name="T112" fmla="*/ 101 w 125"/>
              <a:gd name="T113" fmla="*/ 99 h 160"/>
              <a:gd name="T114" fmla="*/ 101 w 125"/>
              <a:gd name="T115" fmla="*/ 103 h 160"/>
              <a:gd name="T116" fmla="*/ 97 w 125"/>
              <a:gd name="T117" fmla="*/ 103 h 160"/>
              <a:gd name="T118" fmla="*/ 97 w 125"/>
              <a:gd name="T119" fmla="*/ 9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60">
                <a:moveTo>
                  <a:pt x="86" y="0"/>
                </a:moveTo>
                <a:cubicBezTo>
                  <a:pt x="0" y="0"/>
                  <a:pt x="0" y="0"/>
                  <a:pt x="0" y="0"/>
                </a:cubicBezTo>
                <a:cubicBezTo>
                  <a:pt x="0" y="160"/>
                  <a:pt x="0" y="160"/>
                  <a:pt x="0" y="160"/>
                </a:cubicBezTo>
                <a:cubicBezTo>
                  <a:pt x="125" y="160"/>
                  <a:pt x="125" y="160"/>
                  <a:pt x="125" y="160"/>
                </a:cubicBezTo>
                <a:cubicBezTo>
                  <a:pt x="125" y="39"/>
                  <a:pt x="125" y="39"/>
                  <a:pt x="125" y="39"/>
                </a:cubicBezTo>
                <a:lnTo>
                  <a:pt x="86" y="0"/>
                </a:lnTo>
                <a:close/>
                <a:moveTo>
                  <a:pt x="88" y="9"/>
                </a:moveTo>
                <a:cubicBezTo>
                  <a:pt x="116" y="37"/>
                  <a:pt x="116" y="37"/>
                  <a:pt x="116" y="37"/>
                </a:cubicBezTo>
                <a:cubicBezTo>
                  <a:pt x="88" y="37"/>
                  <a:pt x="88" y="37"/>
                  <a:pt x="88" y="37"/>
                </a:cubicBezTo>
                <a:lnTo>
                  <a:pt x="88" y="9"/>
                </a:lnTo>
                <a:close/>
                <a:moveTo>
                  <a:pt x="5" y="155"/>
                </a:moveTo>
                <a:cubicBezTo>
                  <a:pt x="5" y="5"/>
                  <a:pt x="5" y="5"/>
                  <a:pt x="5" y="5"/>
                </a:cubicBezTo>
                <a:cubicBezTo>
                  <a:pt x="83" y="5"/>
                  <a:pt x="83" y="5"/>
                  <a:pt x="83" y="5"/>
                </a:cubicBezTo>
                <a:cubicBezTo>
                  <a:pt x="83" y="43"/>
                  <a:pt x="83" y="43"/>
                  <a:pt x="83" y="43"/>
                </a:cubicBezTo>
                <a:cubicBezTo>
                  <a:pt x="120" y="43"/>
                  <a:pt x="120" y="43"/>
                  <a:pt x="120" y="43"/>
                </a:cubicBezTo>
                <a:cubicBezTo>
                  <a:pt x="120" y="155"/>
                  <a:pt x="120" y="155"/>
                  <a:pt x="120" y="155"/>
                </a:cubicBezTo>
                <a:lnTo>
                  <a:pt x="5" y="155"/>
                </a:lnTo>
                <a:close/>
                <a:moveTo>
                  <a:pt x="24" y="43"/>
                </a:moveTo>
                <a:cubicBezTo>
                  <a:pt x="24" y="41"/>
                  <a:pt x="25" y="40"/>
                  <a:pt x="27" y="40"/>
                </a:cubicBezTo>
                <a:cubicBezTo>
                  <a:pt x="51" y="40"/>
                  <a:pt x="51" y="40"/>
                  <a:pt x="51" y="40"/>
                </a:cubicBezTo>
                <a:cubicBezTo>
                  <a:pt x="52" y="40"/>
                  <a:pt x="53" y="41"/>
                  <a:pt x="53" y="43"/>
                </a:cubicBezTo>
                <a:cubicBezTo>
                  <a:pt x="53" y="44"/>
                  <a:pt x="52" y="45"/>
                  <a:pt x="51" y="45"/>
                </a:cubicBezTo>
                <a:cubicBezTo>
                  <a:pt x="27" y="45"/>
                  <a:pt x="27" y="45"/>
                  <a:pt x="27" y="45"/>
                </a:cubicBezTo>
                <a:cubicBezTo>
                  <a:pt x="25" y="45"/>
                  <a:pt x="24" y="44"/>
                  <a:pt x="24" y="43"/>
                </a:cubicBezTo>
                <a:close/>
                <a:moveTo>
                  <a:pt x="75" y="101"/>
                </a:moveTo>
                <a:cubicBezTo>
                  <a:pt x="75" y="103"/>
                  <a:pt x="73" y="104"/>
                  <a:pt x="72" y="104"/>
                </a:cubicBezTo>
                <a:cubicBezTo>
                  <a:pt x="27" y="104"/>
                  <a:pt x="27" y="104"/>
                  <a:pt x="27" y="104"/>
                </a:cubicBezTo>
                <a:cubicBezTo>
                  <a:pt x="25" y="104"/>
                  <a:pt x="24" y="103"/>
                  <a:pt x="24" y="101"/>
                </a:cubicBezTo>
                <a:cubicBezTo>
                  <a:pt x="24" y="100"/>
                  <a:pt x="25" y="99"/>
                  <a:pt x="27" y="99"/>
                </a:cubicBezTo>
                <a:cubicBezTo>
                  <a:pt x="72" y="99"/>
                  <a:pt x="72" y="99"/>
                  <a:pt x="72" y="99"/>
                </a:cubicBezTo>
                <a:cubicBezTo>
                  <a:pt x="73" y="99"/>
                  <a:pt x="75" y="100"/>
                  <a:pt x="75" y="101"/>
                </a:cubicBezTo>
                <a:close/>
                <a:moveTo>
                  <a:pt x="101" y="83"/>
                </a:moveTo>
                <a:cubicBezTo>
                  <a:pt x="101" y="84"/>
                  <a:pt x="100" y="85"/>
                  <a:pt x="99" y="85"/>
                </a:cubicBezTo>
                <a:cubicBezTo>
                  <a:pt x="80" y="85"/>
                  <a:pt x="80" y="85"/>
                  <a:pt x="80" y="85"/>
                </a:cubicBezTo>
                <a:cubicBezTo>
                  <a:pt x="79" y="85"/>
                  <a:pt x="77" y="84"/>
                  <a:pt x="77" y="83"/>
                </a:cubicBezTo>
                <a:cubicBezTo>
                  <a:pt x="77" y="81"/>
                  <a:pt x="79" y="80"/>
                  <a:pt x="80" y="80"/>
                </a:cubicBezTo>
                <a:cubicBezTo>
                  <a:pt x="99" y="80"/>
                  <a:pt x="99" y="80"/>
                  <a:pt x="99" y="80"/>
                </a:cubicBezTo>
                <a:cubicBezTo>
                  <a:pt x="100" y="80"/>
                  <a:pt x="101" y="81"/>
                  <a:pt x="101" y="83"/>
                </a:cubicBezTo>
                <a:close/>
                <a:moveTo>
                  <a:pt x="24" y="64"/>
                </a:moveTo>
                <a:cubicBezTo>
                  <a:pt x="24" y="63"/>
                  <a:pt x="25" y="61"/>
                  <a:pt x="27" y="61"/>
                </a:cubicBezTo>
                <a:cubicBezTo>
                  <a:pt x="40" y="61"/>
                  <a:pt x="40" y="61"/>
                  <a:pt x="40" y="61"/>
                </a:cubicBezTo>
                <a:cubicBezTo>
                  <a:pt x="41" y="61"/>
                  <a:pt x="43" y="63"/>
                  <a:pt x="43" y="64"/>
                </a:cubicBezTo>
                <a:cubicBezTo>
                  <a:pt x="43" y="65"/>
                  <a:pt x="41" y="67"/>
                  <a:pt x="40" y="67"/>
                </a:cubicBezTo>
                <a:cubicBezTo>
                  <a:pt x="27" y="67"/>
                  <a:pt x="27" y="67"/>
                  <a:pt x="27" y="67"/>
                </a:cubicBezTo>
                <a:cubicBezTo>
                  <a:pt x="25" y="67"/>
                  <a:pt x="24" y="65"/>
                  <a:pt x="24" y="64"/>
                </a:cubicBezTo>
                <a:close/>
                <a:moveTo>
                  <a:pt x="64" y="64"/>
                </a:moveTo>
                <a:cubicBezTo>
                  <a:pt x="64" y="63"/>
                  <a:pt x="65" y="61"/>
                  <a:pt x="67" y="61"/>
                </a:cubicBezTo>
                <a:cubicBezTo>
                  <a:pt x="85" y="61"/>
                  <a:pt x="85" y="61"/>
                  <a:pt x="85" y="61"/>
                </a:cubicBezTo>
                <a:cubicBezTo>
                  <a:pt x="87" y="61"/>
                  <a:pt x="88" y="63"/>
                  <a:pt x="88" y="64"/>
                </a:cubicBezTo>
                <a:cubicBezTo>
                  <a:pt x="88" y="65"/>
                  <a:pt x="87" y="67"/>
                  <a:pt x="85" y="67"/>
                </a:cubicBezTo>
                <a:cubicBezTo>
                  <a:pt x="67" y="67"/>
                  <a:pt x="67" y="67"/>
                  <a:pt x="67" y="67"/>
                </a:cubicBezTo>
                <a:cubicBezTo>
                  <a:pt x="65" y="67"/>
                  <a:pt x="64" y="65"/>
                  <a:pt x="64" y="64"/>
                </a:cubicBezTo>
                <a:close/>
                <a:moveTo>
                  <a:pt x="51" y="62"/>
                </a:moveTo>
                <a:cubicBezTo>
                  <a:pt x="52" y="61"/>
                  <a:pt x="54" y="61"/>
                  <a:pt x="55" y="62"/>
                </a:cubicBezTo>
                <a:cubicBezTo>
                  <a:pt x="56" y="63"/>
                  <a:pt x="56" y="63"/>
                  <a:pt x="56" y="64"/>
                </a:cubicBezTo>
                <a:cubicBezTo>
                  <a:pt x="56" y="65"/>
                  <a:pt x="56" y="65"/>
                  <a:pt x="55" y="66"/>
                </a:cubicBezTo>
                <a:cubicBezTo>
                  <a:pt x="55" y="66"/>
                  <a:pt x="54" y="67"/>
                  <a:pt x="53" y="67"/>
                </a:cubicBezTo>
                <a:cubicBezTo>
                  <a:pt x="53" y="67"/>
                  <a:pt x="52" y="66"/>
                  <a:pt x="51" y="66"/>
                </a:cubicBezTo>
                <a:cubicBezTo>
                  <a:pt x="51" y="65"/>
                  <a:pt x="51" y="65"/>
                  <a:pt x="51" y="64"/>
                </a:cubicBezTo>
                <a:cubicBezTo>
                  <a:pt x="51" y="63"/>
                  <a:pt x="51" y="63"/>
                  <a:pt x="51" y="62"/>
                </a:cubicBezTo>
                <a:close/>
                <a:moveTo>
                  <a:pt x="67" y="80"/>
                </a:moveTo>
                <a:cubicBezTo>
                  <a:pt x="68" y="80"/>
                  <a:pt x="69" y="81"/>
                  <a:pt x="69" y="83"/>
                </a:cubicBezTo>
                <a:cubicBezTo>
                  <a:pt x="69" y="84"/>
                  <a:pt x="68" y="85"/>
                  <a:pt x="67" y="85"/>
                </a:cubicBezTo>
                <a:cubicBezTo>
                  <a:pt x="40" y="85"/>
                  <a:pt x="40" y="85"/>
                  <a:pt x="40" y="85"/>
                </a:cubicBezTo>
                <a:cubicBezTo>
                  <a:pt x="39" y="85"/>
                  <a:pt x="37" y="84"/>
                  <a:pt x="37" y="83"/>
                </a:cubicBezTo>
                <a:cubicBezTo>
                  <a:pt x="37" y="81"/>
                  <a:pt x="39" y="80"/>
                  <a:pt x="40" y="80"/>
                </a:cubicBezTo>
                <a:lnTo>
                  <a:pt x="67" y="80"/>
                </a:lnTo>
                <a:close/>
                <a:moveTo>
                  <a:pt x="25" y="85"/>
                </a:moveTo>
                <a:cubicBezTo>
                  <a:pt x="24" y="84"/>
                  <a:pt x="24" y="83"/>
                  <a:pt x="24" y="83"/>
                </a:cubicBezTo>
                <a:cubicBezTo>
                  <a:pt x="24" y="82"/>
                  <a:pt x="24" y="81"/>
                  <a:pt x="25" y="81"/>
                </a:cubicBezTo>
                <a:cubicBezTo>
                  <a:pt x="26" y="80"/>
                  <a:pt x="28" y="80"/>
                  <a:pt x="29" y="81"/>
                </a:cubicBezTo>
                <a:cubicBezTo>
                  <a:pt x="29" y="81"/>
                  <a:pt x="29" y="82"/>
                  <a:pt x="29" y="83"/>
                </a:cubicBezTo>
                <a:cubicBezTo>
                  <a:pt x="29" y="83"/>
                  <a:pt x="29" y="84"/>
                  <a:pt x="29" y="85"/>
                </a:cubicBezTo>
                <a:cubicBezTo>
                  <a:pt x="28" y="85"/>
                  <a:pt x="27" y="85"/>
                  <a:pt x="27" y="85"/>
                </a:cubicBezTo>
                <a:cubicBezTo>
                  <a:pt x="26" y="85"/>
                  <a:pt x="25" y="85"/>
                  <a:pt x="25" y="85"/>
                </a:cubicBezTo>
                <a:close/>
                <a:moveTo>
                  <a:pt x="101" y="120"/>
                </a:moveTo>
                <a:cubicBezTo>
                  <a:pt x="101" y="121"/>
                  <a:pt x="100" y="123"/>
                  <a:pt x="99" y="123"/>
                </a:cubicBezTo>
                <a:cubicBezTo>
                  <a:pt x="80" y="123"/>
                  <a:pt x="80" y="123"/>
                  <a:pt x="80" y="123"/>
                </a:cubicBezTo>
                <a:cubicBezTo>
                  <a:pt x="79" y="123"/>
                  <a:pt x="77" y="121"/>
                  <a:pt x="77" y="120"/>
                </a:cubicBezTo>
                <a:cubicBezTo>
                  <a:pt x="77" y="119"/>
                  <a:pt x="79" y="117"/>
                  <a:pt x="80" y="117"/>
                </a:cubicBezTo>
                <a:cubicBezTo>
                  <a:pt x="99" y="117"/>
                  <a:pt x="99" y="117"/>
                  <a:pt x="99" y="117"/>
                </a:cubicBezTo>
                <a:cubicBezTo>
                  <a:pt x="100" y="117"/>
                  <a:pt x="101" y="119"/>
                  <a:pt x="101" y="120"/>
                </a:cubicBezTo>
                <a:close/>
                <a:moveTo>
                  <a:pt x="69" y="120"/>
                </a:moveTo>
                <a:cubicBezTo>
                  <a:pt x="69" y="121"/>
                  <a:pt x="68" y="123"/>
                  <a:pt x="67" y="123"/>
                </a:cubicBezTo>
                <a:cubicBezTo>
                  <a:pt x="40" y="123"/>
                  <a:pt x="40" y="123"/>
                  <a:pt x="40" y="123"/>
                </a:cubicBezTo>
                <a:cubicBezTo>
                  <a:pt x="39" y="123"/>
                  <a:pt x="37" y="121"/>
                  <a:pt x="37" y="120"/>
                </a:cubicBezTo>
                <a:cubicBezTo>
                  <a:pt x="37" y="119"/>
                  <a:pt x="39" y="117"/>
                  <a:pt x="40" y="117"/>
                </a:cubicBezTo>
                <a:cubicBezTo>
                  <a:pt x="67" y="117"/>
                  <a:pt x="67" y="117"/>
                  <a:pt x="67" y="117"/>
                </a:cubicBezTo>
                <a:cubicBezTo>
                  <a:pt x="68" y="117"/>
                  <a:pt x="69" y="119"/>
                  <a:pt x="69" y="120"/>
                </a:cubicBezTo>
                <a:close/>
                <a:moveTo>
                  <a:pt x="29" y="118"/>
                </a:moveTo>
                <a:cubicBezTo>
                  <a:pt x="29" y="119"/>
                  <a:pt x="29" y="119"/>
                  <a:pt x="29" y="120"/>
                </a:cubicBezTo>
                <a:cubicBezTo>
                  <a:pt x="29" y="121"/>
                  <a:pt x="29" y="121"/>
                  <a:pt x="29" y="122"/>
                </a:cubicBezTo>
                <a:cubicBezTo>
                  <a:pt x="28" y="122"/>
                  <a:pt x="27" y="123"/>
                  <a:pt x="27" y="123"/>
                </a:cubicBezTo>
                <a:cubicBezTo>
                  <a:pt x="26" y="123"/>
                  <a:pt x="25" y="122"/>
                  <a:pt x="25" y="122"/>
                </a:cubicBezTo>
                <a:cubicBezTo>
                  <a:pt x="24" y="121"/>
                  <a:pt x="24" y="121"/>
                  <a:pt x="24" y="120"/>
                </a:cubicBezTo>
                <a:cubicBezTo>
                  <a:pt x="24" y="119"/>
                  <a:pt x="24" y="119"/>
                  <a:pt x="25" y="118"/>
                </a:cubicBezTo>
                <a:cubicBezTo>
                  <a:pt x="26" y="117"/>
                  <a:pt x="28" y="117"/>
                  <a:pt x="29" y="118"/>
                </a:cubicBezTo>
                <a:close/>
                <a:moveTo>
                  <a:pt x="101" y="62"/>
                </a:moveTo>
                <a:cubicBezTo>
                  <a:pt x="101" y="63"/>
                  <a:pt x="101" y="63"/>
                  <a:pt x="101" y="64"/>
                </a:cubicBezTo>
                <a:cubicBezTo>
                  <a:pt x="101" y="65"/>
                  <a:pt x="101" y="65"/>
                  <a:pt x="101" y="66"/>
                </a:cubicBezTo>
                <a:cubicBezTo>
                  <a:pt x="100" y="66"/>
                  <a:pt x="99" y="67"/>
                  <a:pt x="99" y="67"/>
                </a:cubicBezTo>
                <a:cubicBezTo>
                  <a:pt x="98" y="67"/>
                  <a:pt x="97" y="66"/>
                  <a:pt x="97" y="66"/>
                </a:cubicBezTo>
                <a:cubicBezTo>
                  <a:pt x="96" y="65"/>
                  <a:pt x="96" y="65"/>
                  <a:pt x="96" y="64"/>
                </a:cubicBezTo>
                <a:cubicBezTo>
                  <a:pt x="96" y="63"/>
                  <a:pt x="96" y="63"/>
                  <a:pt x="97" y="62"/>
                </a:cubicBezTo>
                <a:cubicBezTo>
                  <a:pt x="98" y="61"/>
                  <a:pt x="100" y="61"/>
                  <a:pt x="101" y="62"/>
                </a:cubicBezTo>
                <a:close/>
                <a:moveTo>
                  <a:pt x="85" y="104"/>
                </a:moveTo>
                <a:cubicBezTo>
                  <a:pt x="85" y="104"/>
                  <a:pt x="84" y="104"/>
                  <a:pt x="83" y="103"/>
                </a:cubicBezTo>
                <a:cubicBezTo>
                  <a:pt x="83" y="103"/>
                  <a:pt x="83" y="102"/>
                  <a:pt x="83" y="101"/>
                </a:cubicBezTo>
                <a:cubicBezTo>
                  <a:pt x="83" y="101"/>
                  <a:pt x="83" y="100"/>
                  <a:pt x="83" y="99"/>
                </a:cubicBezTo>
                <a:cubicBezTo>
                  <a:pt x="84" y="98"/>
                  <a:pt x="86" y="98"/>
                  <a:pt x="87" y="99"/>
                </a:cubicBezTo>
                <a:cubicBezTo>
                  <a:pt x="88" y="100"/>
                  <a:pt x="88" y="101"/>
                  <a:pt x="88" y="101"/>
                </a:cubicBezTo>
                <a:cubicBezTo>
                  <a:pt x="88" y="102"/>
                  <a:pt x="88" y="103"/>
                  <a:pt x="87" y="103"/>
                </a:cubicBezTo>
                <a:cubicBezTo>
                  <a:pt x="87" y="104"/>
                  <a:pt x="86" y="104"/>
                  <a:pt x="85" y="104"/>
                </a:cubicBezTo>
                <a:close/>
                <a:moveTo>
                  <a:pt x="101" y="99"/>
                </a:moveTo>
                <a:cubicBezTo>
                  <a:pt x="101" y="100"/>
                  <a:pt x="101" y="101"/>
                  <a:pt x="101" y="101"/>
                </a:cubicBezTo>
                <a:cubicBezTo>
                  <a:pt x="101" y="102"/>
                  <a:pt x="101" y="103"/>
                  <a:pt x="101" y="103"/>
                </a:cubicBezTo>
                <a:cubicBezTo>
                  <a:pt x="100" y="104"/>
                  <a:pt x="99" y="104"/>
                  <a:pt x="99" y="104"/>
                </a:cubicBezTo>
                <a:cubicBezTo>
                  <a:pt x="98" y="104"/>
                  <a:pt x="97" y="104"/>
                  <a:pt x="97" y="103"/>
                </a:cubicBezTo>
                <a:cubicBezTo>
                  <a:pt x="96" y="103"/>
                  <a:pt x="96" y="102"/>
                  <a:pt x="96" y="101"/>
                </a:cubicBezTo>
                <a:cubicBezTo>
                  <a:pt x="96" y="101"/>
                  <a:pt x="96" y="100"/>
                  <a:pt x="97" y="99"/>
                </a:cubicBezTo>
                <a:cubicBezTo>
                  <a:pt x="98" y="98"/>
                  <a:pt x="100" y="98"/>
                  <a:pt x="101" y="9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68" name="Freeform 1145">
            <a:extLst>
              <a:ext uri="{FF2B5EF4-FFF2-40B4-BE49-F238E27FC236}">
                <a16:creationId xmlns:a16="http://schemas.microsoft.com/office/drawing/2014/main" id="{EE16DC49-42C4-1448-945E-6D89A5740C3F}"/>
              </a:ext>
            </a:extLst>
          </p:cNvPr>
          <p:cNvSpPr>
            <a:spLocks noEditPoints="1"/>
          </p:cNvSpPr>
          <p:nvPr/>
        </p:nvSpPr>
        <p:spPr bwMode="auto">
          <a:xfrm>
            <a:off x="8289808" y="3462338"/>
            <a:ext cx="406400" cy="549275"/>
          </a:xfrm>
          <a:custGeom>
            <a:avLst/>
            <a:gdLst>
              <a:gd name="T0" fmla="*/ 57 w 119"/>
              <a:gd name="T1" fmla="*/ 99 h 160"/>
              <a:gd name="T2" fmla="*/ 57 w 119"/>
              <a:gd name="T3" fmla="*/ 3 h 160"/>
              <a:gd name="T4" fmla="*/ 60 w 119"/>
              <a:gd name="T5" fmla="*/ 0 h 160"/>
              <a:gd name="T6" fmla="*/ 62 w 119"/>
              <a:gd name="T7" fmla="*/ 3 h 160"/>
              <a:gd name="T8" fmla="*/ 62 w 119"/>
              <a:gd name="T9" fmla="*/ 99 h 160"/>
              <a:gd name="T10" fmla="*/ 85 w 119"/>
              <a:gd name="T11" fmla="*/ 77 h 160"/>
              <a:gd name="T12" fmla="*/ 89 w 119"/>
              <a:gd name="T13" fmla="*/ 77 h 160"/>
              <a:gd name="T14" fmla="*/ 89 w 119"/>
              <a:gd name="T15" fmla="*/ 81 h 160"/>
              <a:gd name="T16" fmla="*/ 62 w 119"/>
              <a:gd name="T17" fmla="*/ 107 h 160"/>
              <a:gd name="T18" fmla="*/ 60 w 119"/>
              <a:gd name="T19" fmla="*/ 108 h 160"/>
              <a:gd name="T20" fmla="*/ 60 w 119"/>
              <a:gd name="T21" fmla="*/ 108 h 160"/>
              <a:gd name="T22" fmla="*/ 60 w 119"/>
              <a:gd name="T23" fmla="*/ 108 h 160"/>
              <a:gd name="T24" fmla="*/ 58 w 119"/>
              <a:gd name="T25" fmla="*/ 108 h 160"/>
              <a:gd name="T26" fmla="*/ 31 w 119"/>
              <a:gd name="T27" fmla="*/ 81 h 160"/>
              <a:gd name="T28" fmla="*/ 31 w 119"/>
              <a:gd name="T29" fmla="*/ 77 h 160"/>
              <a:gd name="T30" fmla="*/ 34 w 119"/>
              <a:gd name="T31" fmla="*/ 77 h 160"/>
              <a:gd name="T32" fmla="*/ 57 w 119"/>
              <a:gd name="T33" fmla="*/ 99 h 160"/>
              <a:gd name="T34" fmla="*/ 79 w 119"/>
              <a:gd name="T35" fmla="*/ 43 h 160"/>
              <a:gd name="T36" fmla="*/ 76 w 119"/>
              <a:gd name="T37" fmla="*/ 46 h 160"/>
              <a:gd name="T38" fmla="*/ 79 w 119"/>
              <a:gd name="T39" fmla="*/ 49 h 160"/>
              <a:gd name="T40" fmla="*/ 114 w 119"/>
              <a:gd name="T41" fmla="*/ 49 h 160"/>
              <a:gd name="T42" fmla="*/ 114 w 119"/>
              <a:gd name="T43" fmla="*/ 155 h 160"/>
              <a:gd name="T44" fmla="*/ 5 w 119"/>
              <a:gd name="T45" fmla="*/ 155 h 160"/>
              <a:gd name="T46" fmla="*/ 5 w 119"/>
              <a:gd name="T47" fmla="*/ 49 h 160"/>
              <a:gd name="T48" fmla="*/ 41 w 119"/>
              <a:gd name="T49" fmla="*/ 49 h 160"/>
              <a:gd name="T50" fmla="*/ 43 w 119"/>
              <a:gd name="T51" fmla="*/ 46 h 160"/>
              <a:gd name="T52" fmla="*/ 41 w 119"/>
              <a:gd name="T53" fmla="*/ 43 h 160"/>
              <a:gd name="T54" fmla="*/ 0 w 119"/>
              <a:gd name="T55" fmla="*/ 43 h 160"/>
              <a:gd name="T56" fmla="*/ 0 w 119"/>
              <a:gd name="T57" fmla="*/ 160 h 160"/>
              <a:gd name="T58" fmla="*/ 119 w 119"/>
              <a:gd name="T59" fmla="*/ 160 h 160"/>
              <a:gd name="T60" fmla="*/ 119 w 119"/>
              <a:gd name="T61" fmla="*/ 43 h 160"/>
              <a:gd name="T62" fmla="*/ 79 w 119"/>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60">
                <a:moveTo>
                  <a:pt x="57" y="99"/>
                </a:moveTo>
                <a:cubicBezTo>
                  <a:pt x="57" y="3"/>
                  <a:pt x="57" y="3"/>
                  <a:pt x="57" y="3"/>
                </a:cubicBezTo>
                <a:cubicBezTo>
                  <a:pt x="57" y="1"/>
                  <a:pt x="58" y="0"/>
                  <a:pt x="60" y="0"/>
                </a:cubicBezTo>
                <a:cubicBezTo>
                  <a:pt x="61" y="0"/>
                  <a:pt x="62" y="1"/>
                  <a:pt x="62" y="3"/>
                </a:cubicBezTo>
                <a:cubicBezTo>
                  <a:pt x="62" y="99"/>
                  <a:pt x="62" y="99"/>
                  <a:pt x="62" y="99"/>
                </a:cubicBezTo>
                <a:cubicBezTo>
                  <a:pt x="85" y="77"/>
                  <a:pt x="85" y="77"/>
                  <a:pt x="85" y="77"/>
                </a:cubicBezTo>
                <a:cubicBezTo>
                  <a:pt x="86" y="76"/>
                  <a:pt x="88" y="76"/>
                  <a:pt x="89" y="77"/>
                </a:cubicBezTo>
                <a:cubicBezTo>
                  <a:pt x="90" y="78"/>
                  <a:pt x="90" y="79"/>
                  <a:pt x="89" y="81"/>
                </a:cubicBezTo>
                <a:cubicBezTo>
                  <a:pt x="62" y="107"/>
                  <a:pt x="62" y="107"/>
                  <a:pt x="62" y="107"/>
                </a:cubicBezTo>
                <a:cubicBezTo>
                  <a:pt x="61" y="108"/>
                  <a:pt x="61" y="108"/>
                  <a:pt x="60" y="108"/>
                </a:cubicBezTo>
                <a:cubicBezTo>
                  <a:pt x="60" y="108"/>
                  <a:pt x="60" y="108"/>
                  <a:pt x="60" y="108"/>
                </a:cubicBezTo>
                <a:cubicBezTo>
                  <a:pt x="60" y="108"/>
                  <a:pt x="60" y="108"/>
                  <a:pt x="60" y="108"/>
                </a:cubicBezTo>
                <a:cubicBezTo>
                  <a:pt x="59" y="108"/>
                  <a:pt x="58" y="108"/>
                  <a:pt x="58" y="108"/>
                </a:cubicBezTo>
                <a:cubicBezTo>
                  <a:pt x="31" y="81"/>
                  <a:pt x="31" y="81"/>
                  <a:pt x="31" y="81"/>
                </a:cubicBezTo>
                <a:cubicBezTo>
                  <a:pt x="30" y="80"/>
                  <a:pt x="30" y="78"/>
                  <a:pt x="31" y="77"/>
                </a:cubicBezTo>
                <a:cubicBezTo>
                  <a:pt x="32" y="76"/>
                  <a:pt x="33" y="76"/>
                  <a:pt x="34" y="77"/>
                </a:cubicBezTo>
                <a:lnTo>
                  <a:pt x="57" y="99"/>
                </a:lnTo>
                <a:close/>
                <a:moveTo>
                  <a:pt x="79" y="43"/>
                </a:moveTo>
                <a:cubicBezTo>
                  <a:pt x="77" y="43"/>
                  <a:pt x="76" y="45"/>
                  <a:pt x="76" y="46"/>
                </a:cubicBezTo>
                <a:cubicBezTo>
                  <a:pt x="76" y="48"/>
                  <a:pt x="77" y="49"/>
                  <a:pt x="79" y="49"/>
                </a:cubicBezTo>
                <a:cubicBezTo>
                  <a:pt x="114" y="49"/>
                  <a:pt x="114" y="49"/>
                  <a:pt x="114" y="49"/>
                </a:cubicBezTo>
                <a:cubicBezTo>
                  <a:pt x="114" y="155"/>
                  <a:pt x="114" y="155"/>
                  <a:pt x="114" y="155"/>
                </a:cubicBezTo>
                <a:cubicBezTo>
                  <a:pt x="5" y="155"/>
                  <a:pt x="5" y="155"/>
                  <a:pt x="5" y="155"/>
                </a:cubicBezTo>
                <a:cubicBezTo>
                  <a:pt x="5" y="49"/>
                  <a:pt x="5" y="49"/>
                  <a:pt x="5" y="49"/>
                </a:cubicBezTo>
                <a:cubicBezTo>
                  <a:pt x="41" y="49"/>
                  <a:pt x="41" y="49"/>
                  <a:pt x="41" y="49"/>
                </a:cubicBezTo>
                <a:cubicBezTo>
                  <a:pt x="42" y="49"/>
                  <a:pt x="43" y="48"/>
                  <a:pt x="43" y="46"/>
                </a:cubicBezTo>
                <a:cubicBezTo>
                  <a:pt x="43" y="45"/>
                  <a:pt x="42" y="43"/>
                  <a:pt x="41" y="43"/>
                </a:cubicBezTo>
                <a:cubicBezTo>
                  <a:pt x="0" y="43"/>
                  <a:pt x="0" y="43"/>
                  <a:pt x="0" y="43"/>
                </a:cubicBezTo>
                <a:cubicBezTo>
                  <a:pt x="0" y="160"/>
                  <a:pt x="0" y="160"/>
                  <a:pt x="0" y="160"/>
                </a:cubicBezTo>
                <a:cubicBezTo>
                  <a:pt x="119" y="160"/>
                  <a:pt x="119" y="160"/>
                  <a:pt x="119" y="160"/>
                </a:cubicBezTo>
                <a:cubicBezTo>
                  <a:pt x="119" y="43"/>
                  <a:pt x="119" y="43"/>
                  <a:pt x="119" y="43"/>
                </a:cubicBezTo>
                <a:lnTo>
                  <a:pt x="79" y="4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69" name="Freeform 1146">
            <a:extLst>
              <a:ext uri="{FF2B5EF4-FFF2-40B4-BE49-F238E27FC236}">
                <a16:creationId xmlns:a16="http://schemas.microsoft.com/office/drawing/2014/main" id="{1E20222C-26E2-684F-803D-E3FA560C7968}"/>
              </a:ext>
            </a:extLst>
          </p:cNvPr>
          <p:cNvSpPr>
            <a:spLocks noEditPoints="1"/>
          </p:cNvSpPr>
          <p:nvPr/>
        </p:nvSpPr>
        <p:spPr bwMode="auto">
          <a:xfrm>
            <a:off x="8221545" y="4078288"/>
            <a:ext cx="549275" cy="554038"/>
          </a:xfrm>
          <a:custGeom>
            <a:avLst/>
            <a:gdLst>
              <a:gd name="T0" fmla="*/ 158 w 161"/>
              <a:gd name="T1" fmla="*/ 11 h 161"/>
              <a:gd name="T2" fmla="*/ 150 w 161"/>
              <a:gd name="T3" fmla="*/ 3 h 161"/>
              <a:gd name="T4" fmla="*/ 139 w 161"/>
              <a:gd name="T5" fmla="*/ 3 h 161"/>
              <a:gd name="T6" fmla="*/ 130 w 161"/>
              <a:gd name="T7" fmla="*/ 12 h 161"/>
              <a:gd name="T8" fmla="*/ 0 w 161"/>
              <a:gd name="T9" fmla="*/ 12 h 161"/>
              <a:gd name="T10" fmla="*/ 0 w 161"/>
              <a:gd name="T11" fmla="*/ 161 h 161"/>
              <a:gd name="T12" fmla="*/ 149 w 161"/>
              <a:gd name="T13" fmla="*/ 161 h 161"/>
              <a:gd name="T14" fmla="*/ 149 w 161"/>
              <a:gd name="T15" fmla="*/ 31 h 161"/>
              <a:gd name="T16" fmla="*/ 150 w 161"/>
              <a:gd name="T17" fmla="*/ 30 h 161"/>
              <a:gd name="T18" fmla="*/ 150 w 161"/>
              <a:gd name="T19" fmla="*/ 30 h 161"/>
              <a:gd name="T20" fmla="*/ 158 w 161"/>
              <a:gd name="T21" fmla="*/ 22 h 161"/>
              <a:gd name="T22" fmla="*/ 158 w 161"/>
              <a:gd name="T23" fmla="*/ 11 h 161"/>
              <a:gd name="T24" fmla="*/ 53 w 161"/>
              <a:gd name="T25" fmla="*/ 99 h 161"/>
              <a:gd name="T26" fmla="*/ 62 w 161"/>
              <a:gd name="T27" fmla="*/ 108 h 161"/>
              <a:gd name="T28" fmla="*/ 50 w 161"/>
              <a:gd name="T29" fmla="*/ 111 h 161"/>
              <a:gd name="T30" fmla="*/ 53 w 161"/>
              <a:gd name="T31" fmla="*/ 99 h 161"/>
              <a:gd name="T32" fmla="*/ 139 w 161"/>
              <a:gd name="T33" fmla="*/ 34 h 161"/>
              <a:gd name="T34" fmla="*/ 127 w 161"/>
              <a:gd name="T35" fmla="*/ 22 h 161"/>
              <a:gd name="T36" fmla="*/ 131 w 161"/>
              <a:gd name="T37" fmla="*/ 18 h 161"/>
              <a:gd name="T38" fmla="*/ 143 w 161"/>
              <a:gd name="T39" fmla="*/ 30 h 161"/>
              <a:gd name="T40" fmla="*/ 139 w 161"/>
              <a:gd name="T41" fmla="*/ 34 h 161"/>
              <a:gd name="T42" fmla="*/ 135 w 161"/>
              <a:gd name="T43" fmla="*/ 37 h 161"/>
              <a:gd name="T44" fmla="*/ 67 w 161"/>
              <a:gd name="T45" fmla="*/ 105 h 161"/>
              <a:gd name="T46" fmla="*/ 56 w 161"/>
              <a:gd name="T47" fmla="*/ 94 h 161"/>
              <a:gd name="T48" fmla="*/ 124 w 161"/>
              <a:gd name="T49" fmla="*/ 26 h 161"/>
              <a:gd name="T50" fmla="*/ 135 w 161"/>
              <a:gd name="T51" fmla="*/ 37 h 161"/>
              <a:gd name="T52" fmla="*/ 144 w 161"/>
              <a:gd name="T53" fmla="*/ 36 h 161"/>
              <a:gd name="T54" fmla="*/ 144 w 161"/>
              <a:gd name="T55" fmla="*/ 156 h 161"/>
              <a:gd name="T56" fmla="*/ 5 w 161"/>
              <a:gd name="T57" fmla="*/ 156 h 161"/>
              <a:gd name="T58" fmla="*/ 5 w 161"/>
              <a:gd name="T59" fmla="*/ 17 h 161"/>
              <a:gd name="T60" fmla="*/ 125 w 161"/>
              <a:gd name="T61" fmla="*/ 17 h 161"/>
              <a:gd name="T62" fmla="*/ 50 w 161"/>
              <a:gd name="T63" fmla="*/ 92 h 161"/>
              <a:gd name="T64" fmla="*/ 50 w 161"/>
              <a:gd name="T65" fmla="*/ 92 h 161"/>
              <a:gd name="T66" fmla="*/ 44 w 161"/>
              <a:gd name="T67" fmla="*/ 113 h 161"/>
              <a:gd name="T68" fmla="*/ 41 w 161"/>
              <a:gd name="T69" fmla="*/ 116 h 161"/>
              <a:gd name="T70" fmla="*/ 41 w 161"/>
              <a:gd name="T71" fmla="*/ 120 h 161"/>
              <a:gd name="T72" fmla="*/ 43 w 161"/>
              <a:gd name="T73" fmla="*/ 121 h 161"/>
              <a:gd name="T74" fmla="*/ 45 w 161"/>
              <a:gd name="T75" fmla="*/ 120 h 161"/>
              <a:gd name="T76" fmla="*/ 48 w 161"/>
              <a:gd name="T77" fmla="*/ 117 h 161"/>
              <a:gd name="T78" fmla="*/ 69 w 161"/>
              <a:gd name="T79" fmla="*/ 111 h 161"/>
              <a:gd name="T80" fmla="*/ 139 w 161"/>
              <a:gd name="T81" fmla="*/ 41 h 161"/>
              <a:gd name="T82" fmla="*/ 139 w 161"/>
              <a:gd name="T83" fmla="*/ 41 h 161"/>
              <a:gd name="T84" fmla="*/ 140 w 161"/>
              <a:gd name="T85" fmla="*/ 40 h 161"/>
              <a:gd name="T86" fmla="*/ 144 w 161"/>
              <a:gd name="T87" fmla="*/ 36 h 161"/>
              <a:gd name="T88" fmla="*/ 154 w 161"/>
              <a:gd name="T89" fmla="*/ 18 h 161"/>
              <a:gd name="T90" fmla="*/ 146 w 161"/>
              <a:gd name="T91" fmla="*/ 26 h 161"/>
              <a:gd name="T92" fmla="*/ 135 w 161"/>
              <a:gd name="T93" fmla="*/ 15 h 161"/>
              <a:gd name="T94" fmla="*/ 143 w 161"/>
              <a:gd name="T95" fmla="*/ 7 h 161"/>
              <a:gd name="T96" fmla="*/ 146 w 161"/>
              <a:gd name="T97" fmla="*/ 7 h 161"/>
              <a:gd name="T98" fmla="*/ 154 w 161"/>
              <a:gd name="T99" fmla="*/ 15 h 161"/>
              <a:gd name="T100" fmla="*/ 154 w 161"/>
              <a:gd name="T101" fmla="*/ 1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1" h="161">
                <a:moveTo>
                  <a:pt x="158" y="11"/>
                </a:moveTo>
                <a:cubicBezTo>
                  <a:pt x="150" y="3"/>
                  <a:pt x="150" y="3"/>
                  <a:pt x="150" y="3"/>
                </a:cubicBezTo>
                <a:cubicBezTo>
                  <a:pt x="147" y="0"/>
                  <a:pt x="142" y="0"/>
                  <a:pt x="139" y="3"/>
                </a:cubicBezTo>
                <a:cubicBezTo>
                  <a:pt x="130" y="12"/>
                  <a:pt x="130" y="12"/>
                  <a:pt x="130" y="12"/>
                </a:cubicBezTo>
                <a:cubicBezTo>
                  <a:pt x="0" y="12"/>
                  <a:pt x="0" y="12"/>
                  <a:pt x="0" y="12"/>
                </a:cubicBezTo>
                <a:cubicBezTo>
                  <a:pt x="0" y="161"/>
                  <a:pt x="0" y="161"/>
                  <a:pt x="0" y="161"/>
                </a:cubicBezTo>
                <a:cubicBezTo>
                  <a:pt x="149" y="161"/>
                  <a:pt x="149" y="161"/>
                  <a:pt x="149" y="161"/>
                </a:cubicBezTo>
                <a:cubicBezTo>
                  <a:pt x="149" y="31"/>
                  <a:pt x="149" y="31"/>
                  <a:pt x="149" y="31"/>
                </a:cubicBezTo>
                <a:cubicBezTo>
                  <a:pt x="150" y="30"/>
                  <a:pt x="150" y="30"/>
                  <a:pt x="150" y="30"/>
                </a:cubicBezTo>
                <a:cubicBezTo>
                  <a:pt x="150" y="30"/>
                  <a:pt x="150" y="30"/>
                  <a:pt x="150" y="30"/>
                </a:cubicBezTo>
                <a:cubicBezTo>
                  <a:pt x="158" y="22"/>
                  <a:pt x="158" y="22"/>
                  <a:pt x="158" y="22"/>
                </a:cubicBezTo>
                <a:cubicBezTo>
                  <a:pt x="161" y="19"/>
                  <a:pt x="161" y="14"/>
                  <a:pt x="158" y="11"/>
                </a:cubicBezTo>
                <a:close/>
                <a:moveTo>
                  <a:pt x="53" y="99"/>
                </a:moveTo>
                <a:cubicBezTo>
                  <a:pt x="62" y="108"/>
                  <a:pt x="62" y="108"/>
                  <a:pt x="62" y="108"/>
                </a:cubicBezTo>
                <a:cubicBezTo>
                  <a:pt x="50" y="111"/>
                  <a:pt x="50" y="111"/>
                  <a:pt x="50" y="111"/>
                </a:cubicBezTo>
                <a:lnTo>
                  <a:pt x="53" y="99"/>
                </a:lnTo>
                <a:close/>
                <a:moveTo>
                  <a:pt x="139" y="34"/>
                </a:moveTo>
                <a:cubicBezTo>
                  <a:pt x="127" y="22"/>
                  <a:pt x="127" y="22"/>
                  <a:pt x="127" y="22"/>
                </a:cubicBezTo>
                <a:cubicBezTo>
                  <a:pt x="131" y="18"/>
                  <a:pt x="131" y="18"/>
                  <a:pt x="131" y="18"/>
                </a:cubicBezTo>
                <a:cubicBezTo>
                  <a:pt x="143" y="30"/>
                  <a:pt x="143" y="30"/>
                  <a:pt x="143" y="30"/>
                </a:cubicBezTo>
                <a:lnTo>
                  <a:pt x="139" y="34"/>
                </a:lnTo>
                <a:close/>
                <a:moveTo>
                  <a:pt x="135" y="37"/>
                </a:moveTo>
                <a:cubicBezTo>
                  <a:pt x="67" y="105"/>
                  <a:pt x="67" y="105"/>
                  <a:pt x="67" y="105"/>
                </a:cubicBezTo>
                <a:cubicBezTo>
                  <a:pt x="56" y="94"/>
                  <a:pt x="56" y="94"/>
                  <a:pt x="56" y="94"/>
                </a:cubicBezTo>
                <a:cubicBezTo>
                  <a:pt x="124" y="26"/>
                  <a:pt x="124" y="26"/>
                  <a:pt x="124" y="26"/>
                </a:cubicBezTo>
                <a:lnTo>
                  <a:pt x="135" y="37"/>
                </a:lnTo>
                <a:close/>
                <a:moveTo>
                  <a:pt x="144" y="36"/>
                </a:moveTo>
                <a:cubicBezTo>
                  <a:pt x="144" y="156"/>
                  <a:pt x="144" y="156"/>
                  <a:pt x="144" y="156"/>
                </a:cubicBezTo>
                <a:cubicBezTo>
                  <a:pt x="5" y="156"/>
                  <a:pt x="5" y="156"/>
                  <a:pt x="5" y="156"/>
                </a:cubicBezTo>
                <a:cubicBezTo>
                  <a:pt x="5" y="17"/>
                  <a:pt x="5" y="17"/>
                  <a:pt x="5" y="17"/>
                </a:cubicBezTo>
                <a:cubicBezTo>
                  <a:pt x="125" y="17"/>
                  <a:pt x="125" y="17"/>
                  <a:pt x="125" y="17"/>
                </a:cubicBezTo>
                <a:cubicBezTo>
                  <a:pt x="50" y="92"/>
                  <a:pt x="50" y="92"/>
                  <a:pt x="50" y="92"/>
                </a:cubicBezTo>
                <a:cubicBezTo>
                  <a:pt x="50" y="92"/>
                  <a:pt x="50" y="92"/>
                  <a:pt x="50" y="92"/>
                </a:cubicBezTo>
                <a:cubicBezTo>
                  <a:pt x="44" y="113"/>
                  <a:pt x="44" y="113"/>
                  <a:pt x="44" y="113"/>
                </a:cubicBezTo>
                <a:cubicBezTo>
                  <a:pt x="41" y="116"/>
                  <a:pt x="41" y="116"/>
                  <a:pt x="41" y="116"/>
                </a:cubicBezTo>
                <a:cubicBezTo>
                  <a:pt x="40" y="118"/>
                  <a:pt x="40" y="119"/>
                  <a:pt x="41" y="120"/>
                </a:cubicBezTo>
                <a:cubicBezTo>
                  <a:pt x="41" y="121"/>
                  <a:pt x="42" y="121"/>
                  <a:pt x="43" y="121"/>
                </a:cubicBezTo>
                <a:cubicBezTo>
                  <a:pt x="43" y="121"/>
                  <a:pt x="44" y="121"/>
                  <a:pt x="45" y="120"/>
                </a:cubicBezTo>
                <a:cubicBezTo>
                  <a:pt x="48" y="117"/>
                  <a:pt x="48" y="117"/>
                  <a:pt x="48" y="117"/>
                </a:cubicBezTo>
                <a:cubicBezTo>
                  <a:pt x="69" y="111"/>
                  <a:pt x="69" y="111"/>
                  <a:pt x="69" y="111"/>
                </a:cubicBezTo>
                <a:cubicBezTo>
                  <a:pt x="139" y="41"/>
                  <a:pt x="139" y="41"/>
                  <a:pt x="139" y="41"/>
                </a:cubicBezTo>
                <a:cubicBezTo>
                  <a:pt x="139" y="41"/>
                  <a:pt x="139" y="41"/>
                  <a:pt x="139" y="41"/>
                </a:cubicBezTo>
                <a:cubicBezTo>
                  <a:pt x="140" y="40"/>
                  <a:pt x="140" y="40"/>
                  <a:pt x="140" y="40"/>
                </a:cubicBezTo>
                <a:lnTo>
                  <a:pt x="144" y="36"/>
                </a:lnTo>
                <a:close/>
                <a:moveTo>
                  <a:pt x="154" y="18"/>
                </a:moveTo>
                <a:cubicBezTo>
                  <a:pt x="146" y="26"/>
                  <a:pt x="146" y="26"/>
                  <a:pt x="146" y="26"/>
                </a:cubicBezTo>
                <a:cubicBezTo>
                  <a:pt x="135" y="15"/>
                  <a:pt x="135" y="15"/>
                  <a:pt x="135" y="15"/>
                </a:cubicBezTo>
                <a:cubicBezTo>
                  <a:pt x="143" y="7"/>
                  <a:pt x="143" y="7"/>
                  <a:pt x="143" y="7"/>
                </a:cubicBezTo>
                <a:cubicBezTo>
                  <a:pt x="144" y="6"/>
                  <a:pt x="145" y="6"/>
                  <a:pt x="146" y="7"/>
                </a:cubicBezTo>
                <a:cubicBezTo>
                  <a:pt x="154" y="15"/>
                  <a:pt x="154" y="15"/>
                  <a:pt x="154" y="15"/>
                </a:cubicBezTo>
                <a:cubicBezTo>
                  <a:pt x="155" y="16"/>
                  <a:pt x="155" y="17"/>
                  <a:pt x="154" y="1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70" name="Freeform 1147">
            <a:extLst>
              <a:ext uri="{FF2B5EF4-FFF2-40B4-BE49-F238E27FC236}">
                <a16:creationId xmlns:a16="http://schemas.microsoft.com/office/drawing/2014/main" id="{8AD73603-B099-9940-BEA0-D41DE96334D1}"/>
              </a:ext>
            </a:extLst>
          </p:cNvPr>
          <p:cNvSpPr>
            <a:spLocks noEditPoints="1"/>
          </p:cNvSpPr>
          <p:nvPr/>
        </p:nvSpPr>
        <p:spPr bwMode="auto">
          <a:xfrm>
            <a:off x="8221545" y="4676775"/>
            <a:ext cx="557213" cy="560388"/>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71" name="Freeform 1148">
            <a:extLst>
              <a:ext uri="{FF2B5EF4-FFF2-40B4-BE49-F238E27FC236}">
                <a16:creationId xmlns:a16="http://schemas.microsoft.com/office/drawing/2014/main" id="{BB9FABEC-B8E6-9243-8811-C92FAD66F8E6}"/>
              </a:ext>
            </a:extLst>
          </p:cNvPr>
          <p:cNvSpPr>
            <a:spLocks noEditPoints="1"/>
          </p:cNvSpPr>
          <p:nvPr/>
        </p:nvSpPr>
        <p:spPr bwMode="auto">
          <a:xfrm>
            <a:off x="8221545" y="5319713"/>
            <a:ext cx="546100" cy="550863"/>
          </a:xfrm>
          <a:custGeom>
            <a:avLst/>
            <a:gdLst>
              <a:gd name="T0" fmla="*/ 40 w 160"/>
              <a:gd name="T1" fmla="*/ 93 h 160"/>
              <a:gd name="T2" fmla="*/ 120 w 160"/>
              <a:gd name="T3" fmla="*/ 93 h 160"/>
              <a:gd name="T4" fmla="*/ 122 w 160"/>
              <a:gd name="T5" fmla="*/ 92 h 160"/>
              <a:gd name="T6" fmla="*/ 122 w 160"/>
              <a:gd name="T7" fmla="*/ 89 h 160"/>
              <a:gd name="T8" fmla="*/ 82 w 160"/>
              <a:gd name="T9" fmla="*/ 31 h 160"/>
              <a:gd name="T10" fmla="*/ 78 w 160"/>
              <a:gd name="T11" fmla="*/ 31 h 160"/>
              <a:gd name="T12" fmla="*/ 38 w 160"/>
              <a:gd name="T13" fmla="*/ 89 h 160"/>
              <a:gd name="T14" fmla="*/ 38 w 160"/>
              <a:gd name="T15" fmla="*/ 92 h 160"/>
              <a:gd name="T16" fmla="*/ 40 w 160"/>
              <a:gd name="T17" fmla="*/ 93 h 160"/>
              <a:gd name="T18" fmla="*/ 80 w 160"/>
              <a:gd name="T19" fmla="*/ 37 h 160"/>
              <a:gd name="T20" fmla="*/ 115 w 160"/>
              <a:gd name="T21" fmla="*/ 88 h 160"/>
              <a:gd name="T22" fmla="*/ 45 w 160"/>
              <a:gd name="T23" fmla="*/ 88 h 160"/>
              <a:gd name="T24" fmla="*/ 80 w 160"/>
              <a:gd name="T25" fmla="*/ 37 h 160"/>
              <a:gd name="T26" fmla="*/ 80 w 160"/>
              <a:gd name="T27" fmla="*/ 0 h 160"/>
              <a:gd name="T28" fmla="*/ 0 w 160"/>
              <a:gd name="T29" fmla="*/ 80 h 160"/>
              <a:gd name="T30" fmla="*/ 80 w 160"/>
              <a:gd name="T31" fmla="*/ 160 h 160"/>
              <a:gd name="T32" fmla="*/ 160 w 160"/>
              <a:gd name="T33" fmla="*/ 80 h 160"/>
              <a:gd name="T34" fmla="*/ 80 w 160"/>
              <a:gd name="T35" fmla="*/ 0 h 160"/>
              <a:gd name="T36" fmla="*/ 80 w 160"/>
              <a:gd name="T37" fmla="*/ 155 h 160"/>
              <a:gd name="T38" fmla="*/ 5 w 160"/>
              <a:gd name="T39" fmla="*/ 80 h 160"/>
              <a:gd name="T40" fmla="*/ 80 w 160"/>
              <a:gd name="T41" fmla="*/ 5 h 160"/>
              <a:gd name="T42" fmla="*/ 155 w 160"/>
              <a:gd name="T43" fmla="*/ 80 h 160"/>
              <a:gd name="T44" fmla="*/ 80 w 160"/>
              <a:gd name="T45" fmla="*/ 155 h 160"/>
              <a:gd name="T46" fmla="*/ 37 w 160"/>
              <a:gd name="T47" fmla="*/ 120 h 160"/>
              <a:gd name="T48" fmla="*/ 123 w 160"/>
              <a:gd name="T49" fmla="*/ 120 h 160"/>
              <a:gd name="T50" fmla="*/ 123 w 160"/>
              <a:gd name="T51" fmla="*/ 101 h 160"/>
              <a:gd name="T52" fmla="*/ 37 w 160"/>
              <a:gd name="T53" fmla="*/ 101 h 160"/>
              <a:gd name="T54" fmla="*/ 37 w 160"/>
              <a:gd name="T55" fmla="*/ 120 h 160"/>
              <a:gd name="T56" fmla="*/ 43 w 160"/>
              <a:gd name="T57" fmla="*/ 107 h 160"/>
              <a:gd name="T58" fmla="*/ 117 w 160"/>
              <a:gd name="T59" fmla="*/ 107 h 160"/>
              <a:gd name="T60" fmla="*/ 117 w 160"/>
              <a:gd name="T61" fmla="*/ 115 h 160"/>
              <a:gd name="T62" fmla="*/ 43 w 160"/>
              <a:gd name="T63" fmla="*/ 115 h 160"/>
              <a:gd name="T64" fmla="*/ 43 w 160"/>
              <a:gd name="T65" fmla="*/ 10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40" y="93"/>
                </a:moveTo>
                <a:cubicBezTo>
                  <a:pt x="120" y="93"/>
                  <a:pt x="120" y="93"/>
                  <a:pt x="120" y="93"/>
                </a:cubicBezTo>
                <a:cubicBezTo>
                  <a:pt x="121" y="93"/>
                  <a:pt x="122" y="93"/>
                  <a:pt x="122" y="92"/>
                </a:cubicBezTo>
                <a:cubicBezTo>
                  <a:pt x="123" y="91"/>
                  <a:pt x="123" y="90"/>
                  <a:pt x="122" y="89"/>
                </a:cubicBezTo>
                <a:cubicBezTo>
                  <a:pt x="82" y="31"/>
                  <a:pt x="82" y="31"/>
                  <a:pt x="82" y="31"/>
                </a:cubicBezTo>
                <a:cubicBezTo>
                  <a:pt x="81" y="29"/>
                  <a:pt x="79" y="29"/>
                  <a:pt x="78" y="31"/>
                </a:cubicBezTo>
                <a:cubicBezTo>
                  <a:pt x="38" y="89"/>
                  <a:pt x="38" y="89"/>
                  <a:pt x="38" y="89"/>
                </a:cubicBezTo>
                <a:cubicBezTo>
                  <a:pt x="37" y="90"/>
                  <a:pt x="37" y="91"/>
                  <a:pt x="38" y="92"/>
                </a:cubicBezTo>
                <a:cubicBezTo>
                  <a:pt x="38" y="93"/>
                  <a:pt x="39" y="93"/>
                  <a:pt x="40" y="93"/>
                </a:cubicBezTo>
                <a:close/>
                <a:moveTo>
                  <a:pt x="80" y="37"/>
                </a:moveTo>
                <a:cubicBezTo>
                  <a:pt x="115" y="88"/>
                  <a:pt x="115" y="88"/>
                  <a:pt x="115" y="88"/>
                </a:cubicBezTo>
                <a:cubicBezTo>
                  <a:pt x="45" y="88"/>
                  <a:pt x="45" y="88"/>
                  <a:pt x="45" y="88"/>
                </a:cubicBezTo>
                <a:lnTo>
                  <a:pt x="80" y="37"/>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37" y="120"/>
                </a:moveTo>
                <a:cubicBezTo>
                  <a:pt x="123" y="120"/>
                  <a:pt x="123" y="120"/>
                  <a:pt x="123" y="120"/>
                </a:cubicBezTo>
                <a:cubicBezTo>
                  <a:pt x="123" y="101"/>
                  <a:pt x="123" y="101"/>
                  <a:pt x="123" y="101"/>
                </a:cubicBezTo>
                <a:cubicBezTo>
                  <a:pt x="37" y="101"/>
                  <a:pt x="37" y="101"/>
                  <a:pt x="37" y="101"/>
                </a:cubicBezTo>
                <a:lnTo>
                  <a:pt x="37" y="120"/>
                </a:lnTo>
                <a:close/>
                <a:moveTo>
                  <a:pt x="43" y="107"/>
                </a:moveTo>
                <a:cubicBezTo>
                  <a:pt x="117" y="107"/>
                  <a:pt x="117" y="107"/>
                  <a:pt x="117" y="107"/>
                </a:cubicBezTo>
                <a:cubicBezTo>
                  <a:pt x="117" y="115"/>
                  <a:pt x="117" y="115"/>
                  <a:pt x="117" y="115"/>
                </a:cubicBezTo>
                <a:cubicBezTo>
                  <a:pt x="43" y="115"/>
                  <a:pt x="43" y="115"/>
                  <a:pt x="43" y="115"/>
                </a:cubicBezTo>
                <a:lnTo>
                  <a:pt x="43" y="10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72" name="Freeform 1149">
            <a:extLst>
              <a:ext uri="{FF2B5EF4-FFF2-40B4-BE49-F238E27FC236}">
                <a16:creationId xmlns:a16="http://schemas.microsoft.com/office/drawing/2014/main" id="{0AB43196-0E3F-D649-B83E-EF1B60B75CD4}"/>
              </a:ext>
            </a:extLst>
          </p:cNvPr>
          <p:cNvSpPr>
            <a:spLocks noEditPoints="1"/>
          </p:cNvSpPr>
          <p:nvPr/>
        </p:nvSpPr>
        <p:spPr bwMode="auto">
          <a:xfrm>
            <a:off x="8221545" y="5949950"/>
            <a:ext cx="546100" cy="512763"/>
          </a:xfrm>
          <a:custGeom>
            <a:avLst/>
            <a:gdLst>
              <a:gd name="T0" fmla="*/ 4 w 160"/>
              <a:gd name="T1" fmla="*/ 119 h 149"/>
              <a:gd name="T2" fmla="*/ 156 w 160"/>
              <a:gd name="T3" fmla="*/ 119 h 149"/>
              <a:gd name="T4" fmla="*/ 160 w 160"/>
              <a:gd name="T5" fmla="*/ 117 h 149"/>
              <a:gd name="T6" fmla="*/ 159 w 160"/>
              <a:gd name="T7" fmla="*/ 113 h 149"/>
              <a:gd name="T8" fmla="*/ 83 w 160"/>
              <a:gd name="T9" fmla="*/ 3 h 149"/>
              <a:gd name="T10" fmla="*/ 77 w 160"/>
              <a:gd name="T11" fmla="*/ 3 h 149"/>
              <a:gd name="T12" fmla="*/ 1 w 160"/>
              <a:gd name="T13" fmla="*/ 113 h 149"/>
              <a:gd name="T14" fmla="*/ 0 w 160"/>
              <a:gd name="T15" fmla="*/ 117 h 149"/>
              <a:gd name="T16" fmla="*/ 4 w 160"/>
              <a:gd name="T17" fmla="*/ 119 h 149"/>
              <a:gd name="T18" fmla="*/ 80 w 160"/>
              <a:gd name="T19" fmla="*/ 11 h 149"/>
              <a:gd name="T20" fmla="*/ 149 w 160"/>
              <a:gd name="T21" fmla="*/ 111 h 149"/>
              <a:gd name="T22" fmla="*/ 11 w 160"/>
              <a:gd name="T23" fmla="*/ 111 h 149"/>
              <a:gd name="T24" fmla="*/ 80 w 160"/>
              <a:gd name="T25" fmla="*/ 11 h 149"/>
              <a:gd name="T26" fmla="*/ 160 w 160"/>
              <a:gd name="T27" fmla="*/ 146 h 149"/>
              <a:gd name="T28" fmla="*/ 156 w 160"/>
              <a:gd name="T29" fmla="*/ 149 h 149"/>
              <a:gd name="T30" fmla="*/ 4 w 160"/>
              <a:gd name="T31" fmla="*/ 149 h 149"/>
              <a:gd name="T32" fmla="*/ 0 w 160"/>
              <a:gd name="T33" fmla="*/ 146 h 149"/>
              <a:gd name="T34" fmla="*/ 4 w 160"/>
              <a:gd name="T35" fmla="*/ 142 h 149"/>
              <a:gd name="T36" fmla="*/ 156 w 160"/>
              <a:gd name="T37" fmla="*/ 142 h 149"/>
              <a:gd name="T38" fmla="*/ 160 w 160"/>
              <a:gd name="T39" fmla="*/ 14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49">
                <a:moveTo>
                  <a:pt x="4" y="119"/>
                </a:moveTo>
                <a:cubicBezTo>
                  <a:pt x="156" y="119"/>
                  <a:pt x="156" y="119"/>
                  <a:pt x="156" y="119"/>
                </a:cubicBezTo>
                <a:cubicBezTo>
                  <a:pt x="158" y="119"/>
                  <a:pt x="159" y="118"/>
                  <a:pt x="160" y="117"/>
                </a:cubicBezTo>
                <a:cubicBezTo>
                  <a:pt x="160" y="116"/>
                  <a:pt x="160" y="114"/>
                  <a:pt x="159" y="113"/>
                </a:cubicBezTo>
                <a:cubicBezTo>
                  <a:pt x="83" y="3"/>
                  <a:pt x="83" y="3"/>
                  <a:pt x="83" y="3"/>
                </a:cubicBezTo>
                <a:cubicBezTo>
                  <a:pt x="82" y="0"/>
                  <a:pt x="78" y="0"/>
                  <a:pt x="77" y="3"/>
                </a:cubicBezTo>
                <a:cubicBezTo>
                  <a:pt x="1" y="113"/>
                  <a:pt x="1" y="113"/>
                  <a:pt x="1" y="113"/>
                </a:cubicBezTo>
                <a:cubicBezTo>
                  <a:pt x="0" y="114"/>
                  <a:pt x="0" y="116"/>
                  <a:pt x="0" y="117"/>
                </a:cubicBezTo>
                <a:cubicBezTo>
                  <a:pt x="1" y="118"/>
                  <a:pt x="2" y="119"/>
                  <a:pt x="4" y="119"/>
                </a:cubicBezTo>
                <a:close/>
                <a:moveTo>
                  <a:pt x="80" y="11"/>
                </a:moveTo>
                <a:cubicBezTo>
                  <a:pt x="149" y="111"/>
                  <a:pt x="149" y="111"/>
                  <a:pt x="149" y="111"/>
                </a:cubicBezTo>
                <a:cubicBezTo>
                  <a:pt x="11" y="111"/>
                  <a:pt x="11" y="111"/>
                  <a:pt x="11" y="111"/>
                </a:cubicBezTo>
                <a:lnTo>
                  <a:pt x="80" y="11"/>
                </a:lnTo>
                <a:close/>
                <a:moveTo>
                  <a:pt x="160" y="146"/>
                </a:moveTo>
                <a:cubicBezTo>
                  <a:pt x="160" y="148"/>
                  <a:pt x="158" y="149"/>
                  <a:pt x="156" y="149"/>
                </a:cubicBezTo>
                <a:cubicBezTo>
                  <a:pt x="4" y="149"/>
                  <a:pt x="4" y="149"/>
                  <a:pt x="4" y="149"/>
                </a:cubicBezTo>
                <a:cubicBezTo>
                  <a:pt x="2" y="149"/>
                  <a:pt x="0" y="148"/>
                  <a:pt x="0" y="146"/>
                </a:cubicBezTo>
                <a:cubicBezTo>
                  <a:pt x="0" y="144"/>
                  <a:pt x="2" y="142"/>
                  <a:pt x="4" y="142"/>
                </a:cubicBezTo>
                <a:cubicBezTo>
                  <a:pt x="156" y="142"/>
                  <a:pt x="156" y="142"/>
                  <a:pt x="156" y="142"/>
                </a:cubicBezTo>
                <a:cubicBezTo>
                  <a:pt x="158" y="142"/>
                  <a:pt x="160" y="144"/>
                  <a:pt x="160" y="14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73" name="Freeform 1150">
            <a:extLst>
              <a:ext uri="{FF2B5EF4-FFF2-40B4-BE49-F238E27FC236}">
                <a16:creationId xmlns:a16="http://schemas.microsoft.com/office/drawing/2014/main" id="{ED104F23-0B92-1049-AFE5-4882FDE1FBEB}"/>
              </a:ext>
            </a:extLst>
          </p:cNvPr>
          <p:cNvSpPr>
            <a:spLocks noEditPoints="1"/>
          </p:cNvSpPr>
          <p:nvPr/>
        </p:nvSpPr>
        <p:spPr bwMode="auto">
          <a:xfrm>
            <a:off x="10986776" y="3532188"/>
            <a:ext cx="546100" cy="350838"/>
          </a:xfrm>
          <a:custGeom>
            <a:avLst/>
            <a:gdLst>
              <a:gd name="T0" fmla="*/ 22 w 160"/>
              <a:gd name="T1" fmla="*/ 44 h 102"/>
              <a:gd name="T2" fmla="*/ 138 w 160"/>
              <a:gd name="T3" fmla="*/ 44 h 102"/>
              <a:gd name="T4" fmla="*/ 160 w 160"/>
              <a:gd name="T5" fmla="*/ 22 h 102"/>
              <a:gd name="T6" fmla="*/ 138 w 160"/>
              <a:gd name="T7" fmla="*/ 0 h 102"/>
              <a:gd name="T8" fmla="*/ 22 w 160"/>
              <a:gd name="T9" fmla="*/ 0 h 102"/>
              <a:gd name="T10" fmla="*/ 0 w 160"/>
              <a:gd name="T11" fmla="*/ 22 h 102"/>
              <a:gd name="T12" fmla="*/ 22 w 160"/>
              <a:gd name="T13" fmla="*/ 44 h 102"/>
              <a:gd name="T14" fmla="*/ 22 w 160"/>
              <a:gd name="T15" fmla="*/ 7 h 102"/>
              <a:gd name="T16" fmla="*/ 138 w 160"/>
              <a:gd name="T17" fmla="*/ 7 h 102"/>
              <a:gd name="T18" fmla="*/ 153 w 160"/>
              <a:gd name="T19" fmla="*/ 22 h 102"/>
              <a:gd name="T20" fmla="*/ 138 w 160"/>
              <a:gd name="T21" fmla="*/ 36 h 102"/>
              <a:gd name="T22" fmla="*/ 22 w 160"/>
              <a:gd name="T23" fmla="*/ 36 h 102"/>
              <a:gd name="T24" fmla="*/ 7 w 160"/>
              <a:gd name="T25" fmla="*/ 22 h 102"/>
              <a:gd name="T26" fmla="*/ 22 w 160"/>
              <a:gd name="T27" fmla="*/ 7 h 102"/>
              <a:gd name="T28" fmla="*/ 138 w 160"/>
              <a:gd name="T29" fmla="*/ 58 h 102"/>
              <a:gd name="T30" fmla="*/ 22 w 160"/>
              <a:gd name="T31" fmla="*/ 58 h 102"/>
              <a:gd name="T32" fmla="*/ 0 w 160"/>
              <a:gd name="T33" fmla="*/ 80 h 102"/>
              <a:gd name="T34" fmla="*/ 22 w 160"/>
              <a:gd name="T35" fmla="*/ 102 h 102"/>
              <a:gd name="T36" fmla="*/ 138 w 160"/>
              <a:gd name="T37" fmla="*/ 102 h 102"/>
              <a:gd name="T38" fmla="*/ 160 w 160"/>
              <a:gd name="T39" fmla="*/ 80 h 102"/>
              <a:gd name="T40" fmla="*/ 138 w 160"/>
              <a:gd name="T41" fmla="*/ 58 h 102"/>
              <a:gd name="T42" fmla="*/ 138 w 160"/>
              <a:gd name="T43" fmla="*/ 95 h 102"/>
              <a:gd name="T44" fmla="*/ 22 w 160"/>
              <a:gd name="T45" fmla="*/ 95 h 102"/>
              <a:gd name="T46" fmla="*/ 7 w 160"/>
              <a:gd name="T47" fmla="*/ 80 h 102"/>
              <a:gd name="T48" fmla="*/ 22 w 160"/>
              <a:gd name="T49" fmla="*/ 65 h 102"/>
              <a:gd name="T50" fmla="*/ 138 w 160"/>
              <a:gd name="T51" fmla="*/ 65 h 102"/>
              <a:gd name="T52" fmla="*/ 153 w 160"/>
              <a:gd name="T53" fmla="*/ 80 h 102"/>
              <a:gd name="T54" fmla="*/ 138 w 160"/>
              <a:gd name="T55" fmla="*/ 9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02">
                <a:moveTo>
                  <a:pt x="22" y="44"/>
                </a:moveTo>
                <a:cubicBezTo>
                  <a:pt x="138" y="44"/>
                  <a:pt x="138" y="44"/>
                  <a:pt x="138" y="44"/>
                </a:cubicBezTo>
                <a:cubicBezTo>
                  <a:pt x="150" y="44"/>
                  <a:pt x="160" y="34"/>
                  <a:pt x="160" y="22"/>
                </a:cubicBezTo>
                <a:cubicBezTo>
                  <a:pt x="160" y="10"/>
                  <a:pt x="150" y="0"/>
                  <a:pt x="138" y="0"/>
                </a:cubicBezTo>
                <a:cubicBezTo>
                  <a:pt x="22" y="0"/>
                  <a:pt x="22" y="0"/>
                  <a:pt x="22" y="0"/>
                </a:cubicBezTo>
                <a:cubicBezTo>
                  <a:pt x="10" y="0"/>
                  <a:pt x="0" y="10"/>
                  <a:pt x="0" y="22"/>
                </a:cubicBezTo>
                <a:cubicBezTo>
                  <a:pt x="0" y="34"/>
                  <a:pt x="10" y="44"/>
                  <a:pt x="22" y="44"/>
                </a:cubicBezTo>
                <a:close/>
                <a:moveTo>
                  <a:pt x="22" y="7"/>
                </a:moveTo>
                <a:cubicBezTo>
                  <a:pt x="138" y="7"/>
                  <a:pt x="138" y="7"/>
                  <a:pt x="138" y="7"/>
                </a:cubicBezTo>
                <a:cubicBezTo>
                  <a:pt x="146" y="7"/>
                  <a:pt x="153" y="14"/>
                  <a:pt x="153" y="22"/>
                </a:cubicBezTo>
                <a:cubicBezTo>
                  <a:pt x="153" y="30"/>
                  <a:pt x="146" y="36"/>
                  <a:pt x="138" y="36"/>
                </a:cubicBezTo>
                <a:cubicBezTo>
                  <a:pt x="22" y="36"/>
                  <a:pt x="22" y="36"/>
                  <a:pt x="22" y="36"/>
                </a:cubicBezTo>
                <a:cubicBezTo>
                  <a:pt x="14" y="36"/>
                  <a:pt x="7" y="30"/>
                  <a:pt x="7" y="22"/>
                </a:cubicBezTo>
                <a:cubicBezTo>
                  <a:pt x="7" y="14"/>
                  <a:pt x="14" y="7"/>
                  <a:pt x="22" y="7"/>
                </a:cubicBezTo>
                <a:close/>
                <a:moveTo>
                  <a:pt x="138" y="58"/>
                </a:moveTo>
                <a:cubicBezTo>
                  <a:pt x="22" y="58"/>
                  <a:pt x="22" y="58"/>
                  <a:pt x="22" y="58"/>
                </a:cubicBezTo>
                <a:cubicBezTo>
                  <a:pt x="10" y="58"/>
                  <a:pt x="0" y="68"/>
                  <a:pt x="0" y="80"/>
                </a:cubicBezTo>
                <a:cubicBezTo>
                  <a:pt x="0" y="92"/>
                  <a:pt x="10" y="102"/>
                  <a:pt x="22" y="102"/>
                </a:cubicBezTo>
                <a:cubicBezTo>
                  <a:pt x="138" y="102"/>
                  <a:pt x="138" y="102"/>
                  <a:pt x="138" y="102"/>
                </a:cubicBezTo>
                <a:cubicBezTo>
                  <a:pt x="150" y="102"/>
                  <a:pt x="160" y="92"/>
                  <a:pt x="160" y="80"/>
                </a:cubicBezTo>
                <a:cubicBezTo>
                  <a:pt x="160" y="68"/>
                  <a:pt x="150" y="58"/>
                  <a:pt x="138" y="58"/>
                </a:cubicBezTo>
                <a:close/>
                <a:moveTo>
                  <a:pt x="138" y="95"/>
                </a:moveTo>
                <a:cubicBezTo>
                  <a:pt x="22" y="95"/>
                  <a:pt x="22" y="95"/>
                  <a:pt x="22" y="95"/>
                </a:cubicBezTo>
                <a:cubicBezTo>
                  <a:pt x="14" y="95"/>
                  <a:pt x="7" y="88"/>
                  <a:pt x="7" y="80"/>
                </a:cubicBezTo>
                <a:cubicBezTo>
                  <a:pt x="7" y="72"/>
                  <a:pt x="14" y="65"/>
                  <a:pt x="22" y="65"/>
                </a:cubicBezTo>
                <a:cubicBezTo>
                  <a:pt x="138" y="65"/>
                  <a:pt x="138" y="65"/>
                  <a:pt x="138" y="65"/>
                </a:cubicBezTo>
                <a:cubicBezTo>
                  <a:pt x="146" y="65"/>
                  <a:pt x="153" y="72"/>
                  <a:pt x="153" y="80"/>
                </a:cubicBezTo>
                <a:cubicBezTo>
                  <a:pt x="153" y="88"/>
                  <a:pt x="146" y="95"/>
                  <a:pt x="138" y="9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74" name="Freeform 1151">
            <a:extLst>
              <a:ext uri="{FF2B5EF4-FFF2-40B4-BE49-F238E27FC236}">
                <a16:creationId xmlns:a16="http://schemas.microsoft.com/office/drawing/2014/main" id="{8758F537-B00E-C841-A00F-50B975408481}"/>
              </a:ext>
            </a:extLst>
          </p:cNvPr>
          <p:cNvSpPr>
            <a:spLocks noEditPoints="1"/>
          </p:cNvSpPr>
          <p:nvPr/>
        </p:nvSpPr>
        <p:spPr bwMode="auto">
          <a:xfrm>
            <a:off x="10986776" y="4054475"/>
            <a:ext cx="546100" cy="550863"/>
          </a:xfrm>
          <a:custGeom>
            <a:avLst/>
            <a:gdLst>
              <a:gd name="T0" fmla="*/ 0 w 344"/>
              <a:gd name="T1" fmla="*/ 0 h 347"/>
              <a:gd name="T2" fmla="*/ 0 w 344"/>
              <a:gd name="T3" fmla="*/ 347 h 347"/>
              <a:gd name="T4" fmla="*/ 344 w 344"/>
              <a:gd name="T5" fmla="*/ 347 h 347"/>
              <a:gd name="T6" fmla="*/ 344 w 344"/>
              <a:gd name="T7" fmla="*/ 0 h 347"/>
              <a:gd name="T8" fmla="*/ 0 w 344"/>
              <a:gd name="T9" fmla="*/ 0 h 347"/>
              <a:gd name="T10" fmla="*/ 333 w 344"/>
              <a:gd name="T11" fmla="*/ 336 h 347"/>
              <a:gd name="T12" fmla="*/ 11 w 344"/>
              <a:gd name="T13" fmla="*/ 336 h 347"/>
              <a:gd name="T14" fmla="*/ 11 w 344"/>
              <a:gd name="T15" fmla="*/ 11 h 347"/>
              <a:gd name="T16" fmla="*/ 333 w 344"/>
              <a:gd name="T17" fmla="*/ 11 h 347"/>
              <a:gd name="T18" fmla="*/ 333 w 344"/>
              <a:gd name="T19" fmla="*/ 336 h 347"/>
              <a:gd name="T20" fmla="*/ 69 w 344"/>
              <a:gd name="T21" fmla="*/ 139 h 347"/>
              <a:gd name="T22" fmla="*/ 275 w 344"/>
              <a:gd name="T23" fmla="*/ 139 h 347"/>
              <a:gd name="T24" fmla="*/ 275 w 344"/>
              <a:gd name="T25" fmla="*/ 149 h 347"/>
              <a:gd name="T26" fmla="*/ 69 w 344"/>
              <a:gd name="T27" fmla="*/ 149 h 347"/>
              <a:gd name="T28" fmla="*/ 69 w 344"/>
              <a:gd name="T29" fmla="*/ 139 h 347"/>
              <a:gd name="T30" fmla="*/ 69 w 344"/>
              <a:gd name="T31" fmla="*/ 197 h 347"/>
              <a:gd name="T32" fmla="*/ 275 w 344"/>
              <a:gd name="T33" fmla="*/ 197 h 347"/>
              <a:gd name="T34" fmla="*/ 275 w 344"/>
              <a:gd name="T35" fmla="*/ 208 h 347"/>
              <a:gd name="T36" fmla="*/ 69 w 344"/>
              <a:gd name="T37" fmla="*/ 208 h 347"/>
              <a:gd name="T38" fmla="*/ 69 w 344"/>
              <a:gd name="T39" fmla="*/ 19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4" h="347">
                <a:moveTo>
                  <a:pt x="0" y="0"/>
                </a:moveTo>
                <a:lnTo>
                  <a:pt x="0" y="347"/>
                </a:lnTo>
                <a:lnTo>
                  <a:pt x="344" y="347"/>
                </a:lnTo>
                <a:lnTo>
                  <a:pt x="344" y="0"/>
                </a:lnTo>
                <a:lnTo>
                  <a:pt x="0" y="0"/>
                </a:lnTo>
                <a:close/>
                <a:moveTo>
                  <a:pt x="333" y="336"/>
                </a:moveTo>
                <a:lnTo>
                  <a:pt x="11" y="336"/>
                </a:lnTo>
                <a:lnTo>
                  <a:pt x="11" y="11"/>
                </a:lnTo>
                <a:lnTo>
                  <a:pt x="333" y="11"/>
                </a:lnTo>
                <a:lnTo>
                  <a:pt x="333" y="336"/>
                </a:lnTo>
                <a:close/>
                <a:moveTo>
                  <a:pt x="69" y="139"/>
                </a:moveTo>
                <a:lnTo>
                  <a:pt x="275" y="139"/>
                </a:lnTo>
                <a:lnTo>
                  <a:pt x="275" y="149"/>
                </a:lnTo>
                <a:lnTo>
                  <a:pt x="69" y="149"/>
                </a:lnTo>
                <a:lnTo>
                  <a:pt x="69" y="139"/>
                </a:lnTo>
                <a:close/>
                <a:moveTo>
                  <a:pt x="69" y="197"/>
                </a:moveTo>
                <a:lnTo>
                  <a:pt x="275" y="197"/>
                </a:lnTo>
                <a:lnTo>
                  <a:pt x="275" y="208"/>
                </a:lnTo>
                <a:lnTo>
                  <a:pt x="69" y="208"/>
                </a:lnTo>
                <a:lnTo>
                  <a:pt x="69" y="1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75" name="Freeform 1152">
            <a:extLst>
              <a:ext uri="{FF2B5EF4-FFF2-40B4-BE49-F238E27FC236}">
                <a16:creationId xmlns:a16="http://schemas.microsoft.com/office/drawing/2014/main" id="{D619562E-DD48-8144-9D4B-D464B22924EA}"/>
              </a:ext>
            </a:extLst>
          </p:cNvPr>
          <p:cNvSpPr>
            <a:spLocks noEditPoints="1"/>
          </p:cNvSpPr>
          <p:nvPr/>
        </p:nvSpPr>
        <p:spPr bwMode="auto">
          <a:xfrm>
            <a:off x="10986776" y="4852988"/>
            <a:ext cx="546100" cy="182563"/>
          </a:xfrm>
          <a:custGeom>
            <a:avLst/>
            <a:gdLst>
              <a:gd name="T0" fmla="*/ 0 w 344"/>
              <a:gd name="T1" fmla="*/ 0 h 115"/>
              <a:gd name="T2" fmla="*/ 344 w 344"/>
              <a:gd name="T3" fmla="*/ 0 h 115"/>
              <a:gd name="T4" fmla="*/ 344 w 344"/>
              <a:gd name="T5" fmla="*/ 19 h 115"/>
              <a:gd name="T6" fmla="*/ 0 w 344"/>
              <a:gd name="T7" fmla="*/ 19 h 115"/>
              <a:gd name="T8" fmla="*/ 0 w 344"/>
              <a:gd name="T9" fmla="*/ 0 h 115"/>
              <a:gd name="T10" fmla="*/ 0 w 344"/>
              <a:gd name="T11" fmla="*/ 115 h 115"/>
              <a:gd name="T12" fmla="*/ 344 w 344"/>
              <a:gd name="T13" fmla="*/ 115 h 115"/>
              <a:gd name="T14" fmla="*/ 344 w 344"/>
              <a:gd name="T15" fmla="*/ 95 h 115"/>
              <a:gd name="T16" fmla="*/ 0 w 344"/>
              <a:gd name="T17" fmla="*/ 95 h 115"/>
              <a:gd name="T18" fmla="*/ 0 w 344"/>
              <a:gd name="T19"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115">
                <a:moveTo>
                  <a:pt x="0" y="0"/>
                </a:moveTo>
                <a:lnTo>
                  <a:pt x="344" y="0"/>
                </a:lnTo>
                <a:lnTo>
                  <a:pt x="344" y="19"/>
                </a:lnTo>
                <a:lnTo>
                  <a:pt x="0" y="19"/>
                </a:lnTo>
                <a:lnTo>
                  <a:pt x="0" y="0"/>
                </a:lnTo>
                <a:close/>
                <a:moveTo>
                  <a:pt x="0" y="115"/>
                </a:moveTo>
                <a:lnTo>
                  <a:pt x="344" y="115"/>
                </a:lnTo>
                <a:lnTo>
                  <a:pt x="344" y="95"/>
                </a:lnTo>
                <a:lnTo>
                  <a:pt x="0" y="95"/>
                </a:lnTo>
                <a:lnTo>
                  <a:pt x="0" y="1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76" name="Freeform 1153">
            <a:extLst>
              <a:ext uri="{FF2B5EF4-FFF2-40B4-BE49-F238E27FC236}">
                <a16:creationId xmlns:a16="http://schemas.microsoft.com/office/drawing/2014/main" id="{B08FABA0-E8D4-2145-95E2-E10E11C32E01}"/>
              </a:ext>
            </a:extLst>
          </p:cNvPr>
          <p:cNvSpPr>
            <a:spLocks noEditPoints="1"/>
          </p:cNvSpPr>
          <p:nvPr/>
        </p:nvSpPr>
        <p:spPr bwMode="auto">
          <a:xfrm>
            <a:off x="10986776" y="5292725"/>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110 w 160"/>
              <a:gd name="T21" fmla="*/ 54 h 160"/>
              <a:gd name="T22" fmla="*/ 84 w 160"/>
              <a:gd name="T23" fmla="*/ 80 h 160"/>
              <a:gd name="T24" fmla="*/ 110 w 160"/>
              <a:gd name="T25" fmla="*/ 106 h 160"/>
              <a:gd name="T26" fmla="*/ 110 w 160"/>
              <a:gd name="T27" fmla="*/ 110 h 160"/>
              <a:gd name="T28" fmla="*/ 108 w 160"/>
              <a:gd name="T29" fmla="*/ 111 h 160"/>
              <a:gd name="T30" fmla="*/ 106 w 160"/>
              <a:gd name="T31" fmla="*/ 110 h 160"/>
              <a:gd name="T32" fmla="*/ 80 w 160"/>
              <a:gd name="T33" fmla="*/ 84 h 160"/>
              <a:gd name="T34" fmla="*/ 54 w 160"/>
              <a:gd name="T35" fmla="*/ 110 h 160"/>
              <a:gd name="T36" fmla="*/ 52 w 160"/>
              <a:gd name="T37" fmla="*/ 111 h 160"/>
              <a:gd name="T38" fmla="*/ 50 w 160"/>
              <a:gd name="T39" fmla="*/ 110 h 160"/>
              <a:gd name="T40" fmla="*/ 50 w 160"/>
              <a:gd name="T41" fmla="*/ 106 h 160"/>
              <a:gd name="T42" fmla="*/ 76 w 160"/>
              <a:gd name="T43" fmla="*/ 80 h 160"/>
              <a:gd name="T44" fmla="*/ 50 w 160"/>
              <a:gd name="T45" fmla="*/ 54 h 160"/>
              <a:gd name="T46" fmla="*/ 50 w 160"/>
              <a:gd name="T47" fmla="*/ 50 h 160"/>
              <a:gd name="T48" fmla="*/ 54 w 160"/>
              <a:gd name="T49" fmla="*/ 50 h 160"/>
              <a:gd name="T50" fmla="*/ 80 w 160"/>
              <a:gd name="T51" fmla="*/ 76 h 160"/>
              <a:gd name="T52" fmla="*/ 106 w 160"/>
              <a:gd name="T53" fmla="*/ 50 h 160"/>
              <a:gd name="T54" fmla="*/ 110 w 160"/>
              <a:gd name="T55" fmla="*/ 50 h 160"/>
              <a:gd name="T56" fmla="*/ 110 w 160"/>
              <a:gd name="T57" fmla="*/ 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110" y="54"/>
                </a:moveTo>
                <a:cubicBezTo>
                  <a:pt x="84" y="80"/>
                  <a:pt x="84" y="80"/>
                  <a:pt x="84" y="80"/>
                </a:cubicBezTo>
                <a:cubicBezTo>
                  <a:pt x="110" y="106"/>
                  <a:pt x="110" y="106"/>
                  <a:pt x="110" y="106"/>
                </a:cubicBezTo>
                <a:cubicBezTo>
                  <a:pt x="111" y="107"/>
                  <a:pt x="111" y="109"/>
                  <a:pt x="110" y="110"/>
                </a:cubicBezTo>
                <a:cubicBezTo>
                  <a:pt x="109" y="110"/>
                  <a:pt x="108" y="111"/>
                  <a:pt x="108" y="111"/>
                </a:cubicBezTo>
                <a:cubicBezTo>
                  <a:pt x="107" y="111"/>
                  <a:pt x="106" y="110"/>
                  <a:pt x="106" y="110"/>
                </a:cubicBezTo>
                <a:cubicBezTo>
                  <a:pt x="80" y="84"/>
                  <a:pt x="80" y="84"/>
                  <a:pt x="80" y="84"/>
                </a:cubicBezTo>
                <a:cubicBezTo>
                  <a:pt x="54" y="110"/>
                  <a:pt x="54" y="110"/>
                  <a:pt x="54" y="110"/>
                </a:cubicBezTo>
                <a:cubicBezTo>
                  <a:pt x="54" y="110"/>
                  <a:pt x="53" y="111"/>
                  <a:pt x="52" y="111"/>
                </a:cubicBezTo>
                <a:cubicBezTo>
                  <a:pt x="52" y="111"/>
                  <a:pt x="51" y="110"/>
                  <a:pt x="50" y="110"/>
                </a:cubicBezTo>
                <a:cubicBezTo>
                  <a:pt x="49" y="109"/>
                  <a:pt x="49" y="107"/>
                  <a:pt x="50" y="106"/>
                </a:cubicBezTo>
                <a:cubicBezTo>
                  <a:pt x="76" y="80"/>
                  <a:pt x="76" y="80"/>
                  <a:pt x="76" y="80"/>
                </a:cubicBezTo>
                <a:cubicBezTo>
                  <a:pt x="50" y="54"/>
                  <a:pt x="50" y="54"/>
                  <a:pt x="50" y="54"/>
                </a:cubicBezTo>
                <a:cubicBezTo>
                  <a:pt x="49" y="53"/>
                  <a:pt x="49" y="51"/>
                  <a:pt x="50" y="50"/>
                </a:cubicBezTo>
                <a:cubicBezTo>
                  <a:pt x="51" y="49"/>
                  <a:pt x="53" y="49"/>
                  <a:pt x="54" y="50"/>
                </a:cubicBezTo>
                <a:cubicBezTo>
                  <a:pt x="80" y="76"/>
                  <a:pt x="80" y="76"/>
                  <a:pt x="80" y="76"/>
                </a:cubicBezTo>
                <a:cubicBezTo>
                  <a:pt x="106" y="50"/>
                  <a:pt x="106" y="50"/>
                  <a:pt x="106" y="50"/>
                </a:cubicBezTo>
                <a:cubicBezTo>
                  <a:pt x="107" y="49"/>
                  <a:pt x="109" y="49"/>
                  <a:pt x="110" y="50"/>
                </a:cubicBezTo>
                <a:cubicBezTo>
                  <a:pt x="111" y="51"/>
                  <a:pt x="111" y="53"/>
                  <a:pt x="110" y="5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77" name="Freeform 1154">
            <a:extLst>
              <a:ext uri="{FF2B5EF4-FFF2-40B4-BE49-F238E27FC236}">
                <a16:creationId xmlns:a16="http://schemas.microsoft.com/office/drawing/2014/main" id="{C4B83E95-D0FC-3A44-9AA8-7180E5A665E7}"/>
              </a:ext>
            </a:extLst>
          </p:cNvPr>
          <p:cNvSpPr>
            <a:spLocks noEditPoints="1"/>
          </p:cNvSpPr>
          <p:nvPr/>
        </p:nvSpPr>
        <p:spPr bwMode="auto">
          <a:xfrm>
            <a:off x="11001064" y="5911850"/>
            <a:ext cx="525463" cy="550863"/>
          </a:xfrm>
          <a:custGeom>
            <a:avLst/>
            <a:gdLst>
              <a:gd name="T0" fmla="*/ 153 w 154"/>
              <a:gd name="T1" fmla="*/ 72 h 160"/>
              <a:gd name="T2" fmla="*/ 118 w 154"/>
              <a:gd name="T3" fmla="*/ 107 h 160"/>
              <a:gd name="T4" fmla="*/ 116 w 154"/>
              <a:gd name="T5" fmla="*/ 108 h 160"/>
              <a:gd name="T6" fmla="*/ 114 w 154"/>
              <a:gd name="T7" fmla="*/ 107 h 160"/>
              <a:gd name="T8" fmla="*/ 114 w 154"/>
              <a:gd name="T9" fmla="*/ 103 h 160"/>
              <a:gd name="T10" fmla="*/ 144 w 154"/>
              <a:gd name="T11" fmla="*/ 73 h 160"/>
              <a:gd name="T12" fmla="*/ 81 w 154"/>
              <a:gd name="T13" fmla="*/ 73 h 160"/>
              <a:gd name="T14" fmla="*/ 79 w 154"/>
              <a:gd name="T15" fmla="*/ 70 h 160"/>
              <a:gd name="T16" fmla="*/ 81 w 154"/>
              <a:gd name="T17" fmla="*/ 67 h 160"/>
              <a:gd name="T18" fmla="*/ 144 w 154"/>
              <a:gd name="T19" fmla="*/ 67 h 160"/>
              <a:gd name="T20" fmla="*/ 114 w 154"/>
              <a:gd name="T21" fmla="*/ 37 h 160"/>
              <a:gd name="T22" fmla="*/ 114 w 154"/>
              <a:gd name="T23" fmla="*/ 33 h 160"/>
              <a:gd name="T24" fmla="*/ 118 w 154"/>
              <a:gd name="T25" fmla="*/ 33 h 160"/>
              <a:gd name="T26" fmla="*/ 153 w 154"/>
              <a:gd name="T27" fmla="*/ 68 h 160"/>
              <a:gd name="T28" fmla="*/ 154 w 154"/>
              <a:gd name="T29" fmla="*/ 69 h 160"/>
              <a:gd name="T30" fmla="*/ 154 w 154"/>
              <a:gd name="T31" fmla="*/ 71 h 160"/>
              <a:gd name="T32" fmla="*/ 153 w 154"/>
              <a:gd name="T33" fmla="*/ 72 h 160"/>
              <a:gd name="T34" fmla="*/ 105 w 154"/>
              <a:gd name="T35" fmla="*/ 87 h 160"/>
              <a:gd name="T36" fmla="*/ 105 w 154"/>
              <a:gd name="T37" fmla="*/ 137 h 160"/>
              <a:gd name="T38" fmla="*/ 102 w 154"/>
              <a:gd name="T39" fmla="*/ 140 h 160"/>
              <a:gd name="T40" fmla="*/ 70 w 154"/>
              <a:gd name="T41" fmla="*/ 140 h 160"/>
              <a:gd name="T42" fmla="*/ 70 w 154"/>
              <a:gd name="T43" fmla="*/ 157 h 160"/>
              <a:gd name="T44" fmla="*/ 69 w 154"/>
              <a:gd name="T45" fmla="*/ 159 h 160"/>
              <a:gd name="T46" fmla="*/ 67 w 154"/>
              <a:gd name="T47" fmla="*/ 160 h 160"/>
              <a:gd name="T48" fmla="*/ 66 w 154"/>
              <a:gd name="T49" fmla="*/ 160 h 160"/>
              <a:gd name="T50" fmla="*/ 2 w 154"/>
              <a:gd name="T51" fmla="*/ 140 h 160"/>
              <a:gd name="T52" fmla="*/ 2 w 154"/>
              <a:gd name="T53" fmla="*/ 139 h 160"/>
              <a:gd name="T54" fmla="*/ 2 w 154"/>
              <a:gd name="T55" fmla="*/ 139 h 160"/>
              <a:gd name="T56" fmla="*/ 1 w 154"/>
              <a:gd name="T57" fmla="*/ 139 h 160"/>
              <a:gd name="T58" fmla="*/ 1 w 154"/>
              <a:gd name="T59" fmla="*/ 139 h 160"/>
              <a:gd name="T60" fmla="*/ 0 w 154"/>
              <a:gd name="T61" fmla="*/ 138 h 160"/>
              <a:gd name="T62" fmla="*/ 0 w 154"/>
              <a:gd name="T63" fmla="*/ 138 h 160"/>
              <a:gd name="T64" fmla="*/ 0 w 154"/>
              <a:gd name="T65" fmla="*/ 137 h 160"/>
              <a:gd name="T66" fmla="*/ 0 w 154"/>
              <a:gd name="T67" fmla="*/ 3 h 160"/>
              <a:gd name="T68" fmla="*/ 0 w 154"/>
              <a:gd name="T69" fmla="*/ 2 h 160"/>
              <a:gd name="T70" fmla="*/ 0 w 154"/>
              <a:gd name="T71" fmla="*/ 2 h 160"/>
              <a:gd name="T72" fmla="*/ 1 w 154"/>
              <a:gd name="T73" fmla="*/ 1 h 160"/>
              <a:gd name="T74" fmla="*/ 1 w 154"/>
              <a:gd name="T75" fmla="*/ 1 h 160"/>
              <a:gd name="T76" fmla="*/ 1 w 154"/>
              <a:gd name="T77" fmla="*/ 1 h 160"/>
              <a:gd name="T78" fmla="*/ 1 w 154"/>
              <a:gd name="T79" fmla="*/ 0 h 160"/>
              <a:gd name="T80" fmla="*/ 2 w 154"/>
              <a:gd name="T81" fmla="*/ 0 h 160"/>
              <a:gd name="T82" fmla="*/ 3 w 154"/>
              <a:gd name="T83" fmla="*/ 0 h 160"/>
              <a:gd name="T84" fmla="*/ 3 w 154"/>
              <a:gd name="T85" fmla="*/ 0 h 160"/>
              <a:gd name="T86" fmla="*/ 102 w 154"/>
              <a:gd name="T87" fmla="*/ 0 h 160"/>
              <a:gd name="T88" fmla="*/ 105 w 154"/>
              <a:gd name="T89" fmla="*/ 3 h 160"/>
              <a:gd name="T90" fmla="*/ 105 w 154"/>
              <a:gd name="T91" fmla="*/ 52 h 160"/>
              <a:gd name="T92" fmla="*/ 102 w 154"/>
              <a:gd name="T93" fmla="*/ 55 h 160"/>
              <a:gd name="T94" fmla="*/ 99 w 154"/>
              <a:gd name="T95" fmla="*/ 52 h 160"/>
              <a:gd name="T96" fmla="*/ 99 w 154"/>
              <a:gd name="T97" fmla="*/ 6 h 160"/>
              <a:gd name="T98" fmla="*/ 22 w 154"/>
              <a:gd name="T99" fmla="*/ 6 h 160"/>
              <a:gd name="T100" fmla="*/ 68 w 154"/>
              <a:gd name="T101" fmla="*/ 21 h 160"/>
              <a:gd name="T102" fmla="*/ 70 w 154"/>
              <a:gd name="T103" fmla="*/ 23 h 160"/>
              <a:gd name="T104" fmla="*/ 70 w 154"/>
              <a:gd name="T105" fmla="*/ 134 h 160"/>
              <a:gd name="T106" fmla="*/ 99 w 154"/>
              <a:gd name="T107" fmla="*/ 134 h 160"/>
              <a:gd name="T108" fmla="*/ 99 w 154"/>
              <a:gd name="T109" fmla="*/ 87 h 160"/>
              <a:gd name="T110" fmla="*/ 102 w 154"/>
              <a:gd name="T111" fmla="*/ 84 h 160"/>
              <a:gd name="T112" fmla="*/ 105 w 154"/>
              <a:gd name="T113" fmla="*/ 87 h 160"/>
              <a:gd name="T114" fmla="*/ 64 w 154"/>
              <a:gd name="T115" fmla="*/ 25 h 160"/>
              <a:gd name="T116" fmla="*/ 6 w 154"/>
              <a:gd name="T117" fmla="*/ 7 h 160"/>
              <a:gd name="T118" fmla="*/ 6 w 154"/>
              <a:gd name="T119" fmla="*/ 135 h 160"/>
              <a:gd name="T120" fmla="*/ 64 w 154"/>
              <a:gd name="T121" fmla="*/ 153 h 160"/>
              <a:gd name="T122" fmla="*/ 64 w 154"/>
              <a:gd name="T123" fmla="*/ 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 h="160">
                <a:moveTo>
                  <a:pt x="153" y="72"/>
                </a:moveTo>
                <a:cubicBezTo>
                  <a:pt x="118" y="107"/>
                  <a:pt x="118" y="107"/>
                  <a:pt x="118" y="107"/>
                </a:cubicBezTo>
                <a:cubicBezTo>
                  <a:pt x="118" y="107"/>
                  <a:pt x="117" y="108"/>
                  <a:pt x="116" y="108"/>
                </a:cubicBezTo>
                <a:cubicBezTo>
                  <a:pt x="116" y="108"/>
                  <a:pt x="115" y="107"/>
                  <a:pt x="114" y="107"/>
                </a:cubicBezTo>
                <a:cubicBezTo>
                  <a:pt x="113" y="106"/>
                  <a:pt x="113" y="104"/>
                  <a:pt x="114" y="103"/>
                </a:cubicBezTo>
                <a:cubicBezTo>
                  <a:pt x="144" y="73"/>
                  <a:pt x="144" y="73"/>
                  <a:pt x="144" y="73"/>
                </a:cubicBezTo>
                <a:cubicBezTo>
                  <a:pt x="81" y="73"/>
                  <a:pt x="81" y="73"/>
                  <a:pt x="81" y="73"/>
                </a:cubicBezTo>
                <a:cubicBezTo>
                  <a:pt x="80" y="73"/>
                  <a:pt x="79" y="71"/>
                  <a:pt x="79" y="70"/>
                </a:cubicBezTo>
                <a:cubicBezTo>
                  <a:pt x="79" y="68"/>
                  <a:pt x="80" y="67"/>
                  <a:pt x="81" y="67"/>
                </a:cubicBezTo>
                <a:cubicBezTo>
                  <a:pt x="144" y="67"/>
                  <a:pt x="144" y="67"/>
                  <a:pt x="144" y="67"/>
                </a:cubicBezTo>
                <a:cubicBezTo>
                  <a:pt x="114" y="37"/>
                  <a:pt x="114" y="37"/>
                  <a:pt x="114" y="37"/>
                </a:cubicBezTo>
                <a:cubicBezTo>
                  <a:pt x="113" y="36"/>
                  <a:pt x="113" y="34"/>
                  <a:pt x="114" y="33"/>
                </a:cubicBezTo>
                <a:cubicBezTo>
                  <a:pt x="115" y="32"/>
                  <a:pt x="117" y="32"/>
                  <a:pt x="118" y="33"/>
                </a:cubicBezTo>
                <a:cubicBezTo>
                  <a:pt x="153" y="68"/>
                  <a:pt x="153" y="68"/>
                  <a:pt x="153" y="68"/>
                </a:cubicBezTo>
                <a:cubicBezTo>
                  <a:pt x="154" y="68"/>
                  <a:pt x="154" y="68"/>
                  <a:pt x="154" y="69"/>
                </a:cubicBezTo>
                <a:cubicBezTo>
                  <a:pt x="154" y="69"/>
                  <a:pt x="154" y="70"/>
                  <a:pt x="154" y="71"/>
                </a:cubicBezTo>
                <a:cubicBezTo>
                  <a:pt x="154" y="71"/>
                  <a:pt x="154" y="72"/>
                  <a:pt x="153" y="72"/>
                </a:cubicBezTo>
                <a:close/>
                <a:moveTo>
                  <a:pt x="105" y="87"/>
                </a:moveTo>
                <a:cubicBezTo>
                  <a:pt x="105" y="137"/>
                  <a:pt x="105" y="137"/>
                  <a:pt x="105" y="137"/>
                </a:cubicBezTo>
                <a:cubicBezTo>
                  <a:pt x="105" y="138"/>
                  <a:pt x="103" y="140"/>
                  <a:pt x="102" y="140"/>
                </a:cubicBezTo>
                <a:cubicBezTo>
                  <a:pt x="70" y="140"/>
                  <a:pt x="70" y="140"/>
                  <a:pt x="70" y="140"/>
                </a:cubicBezTo>
                <a:cubicBezTo>
                  <a:pt x="70" y="157"/>
                  <a:pt x="70" y="157"/>
                  <a:pt x="70" y="157"/>
                </a:cubicBezTo>
                <a:cubicBezTo>
                  <a:pt x="70" y="158"/>
                  <a:pt x="69" y="159"/>
                  <a:pt x="69" y="159"/>
                </a:cubicBezTo>
                <a:cubicBezTo>
                  <a:pt x="68" y="160"/>
                  <a:pt x="68" y="160"/>
                  <a:pt x="67" y="160"/>
                </a:cubicBezTo>
                <a:cubicBezTo>
                  <a:pt x="67" y="160"/>
                  <a:pt x="66" y="160"/>
                  <a:pt x="66" y="160"/>
                </a:cubicBezTo>
                <a:cubicBezTo>
                  <a:pt x="2" y="140"/>
                  <a:pt x="2" y="140"/>
                  <a:pt x="2" y="140"/>
                </a:cubicBezTo>
                <a:cubicBezTo>
                  <a:pt x="2" y="139"/>
                  <a:pt x="2" y="139"/>
                  <a:pt x="2" y="139"/>
                </a:cubicBezTo>
                <a:cubicBezTo>
                  <a:pt x="2" y="139"/>
                  <a:pt x="2" y="139"/>
                  <a:pt x="2" y="139"/>
                </a:cubicBezTo>
                <a:cubicBezTo>
                  <a:pt x="1" y="139"/>
                  <a:pt x="1" y="139"/>
                  <a:pt x="1" y="139"/>
                </a:cubicBezTo>
                <a:cubicBezTo>
                  <a:pt x="1" y="139"/>
                  <a:pt x="1" y="139"/>
                  <a:pt x="1" y="139"/>
                </a:cubicBezTo>
                <a:cubicBezTo>
                  <a:pt x="1" y="138"/>
                  <a:pt x="0" y="138"/>
                  <a:pt x="0" y="138"/>
                </a:cubicBezTo>
                <a:cubicBezTo>
                  <a:pt x="0" y="138"/>
                  <a:pt x="0" y="138"/>
                  <a:pt x="0" y="138"/>
                </a:cubicBezTo>
                <a:cubicBezTo>
                  <a:pt x="0" y="137"/>
                  <a:pt x="0" y="137"/>
                  <a:pt x="0" y="137"/>
                </a:cubicBezTo>
                <a:cubicBezTo>
                  <a:pt x="0" y="3"/>
                  <a:pt x="0" y="3"/>
                  <a:pt x="0" y="3"/>
                </a:cubicBezTo>
                <a:cubicBezTo>
                  <a:pt x="0" y="3"/>
                  <a:pt x="0" y="2"/>
                  <a:pt x="0" y="2"/>
                </a:cubicBezTo>
                <a:cubicBezTo>
                  <a:pt x="0" y="2"/>
                  <a:pt x="0" y="2"/>
                  <a:pt x="0" y="2"/>
                </a:cubicBezTo>
                <a:cubicBezTo>
                  <a:pt x="0" y="1"/>
                  <a:pt x="1" y="1"/>
                  <a:pt x="1" y="1"/>
                </a:cubicBezTo>
                <a:cubicBezTo>
                  <a:pt x="1" y="1"/>
                  <a:pt x="1" y="1"/>
                  <a:pt x="1" y="1"/>
                </a:cubicBezTo>
                <a:cubicBezTo>
                  <a:pt x="1" y="1"/>
                  <a:pt x="1" y="1"/>
                  <a:pt x="1" y="1"/>
                </a:cubicBezTo>
                <a:cubicBezTo>
                  <a:pt x="1" y="1"/>
                  <a:pt x="1" y="1"/>
                  <a:pt x="1" y="0"/>
                </a:cubicBezTo>
                <a:cubicBezTo>
                  <a:pt x="2" y="0"/>
                  <a:pt x="2" y="0"/>
                  <a:pt x="2" y="0"/>
                </a:cubicBezTo>
                <a:cubicBezTo>
                  <a:pt x="2" y="0"/>
                  <a:pt x="2" y="0"/>
                  <a:pt x="3" y="0"/>
                </a:cubicBezTo>
                <a:cubicBezTo>
                  <a:pt x="3" y="0"/>
                  <a:pt x="3" y="0"/>
                  <a:pt x="3" y="0"/>
                </a:cubicBezTo>
                <a:cubicBezTo>
                  <a:pt x="102" y="0"/>
                  <a:pt x="102" y="0"/>
                  <a:pt x="102" y="0"/>
                </a:cubicBezTo>
                <a:cubicBezTo>
                  <a:pt x="103" y="0"/>
                  <a:pt x="105" y="1"/>
                  <a:pt x="105" y="3"/>
                </a:cubicBezTo>
                <a:cubicBezTo>
                  <a:pt x="105" y="52"/>
                  <a:pt x="105" y="52"/>
                  <a:pt x="105" y="52"/>
                </a:cubicBezTo>
                <a:cubicBezTo>
                  <a:pt x="105" y="54"/>
                  <a:pt x="103" y="55"/>
                  <a:pt x="102" y="55"/>
                </a:cubicBezTo>
                <a:cubicBezTo>
                  <a:pt x="100" y="55"/>
                  <a:pt x="99" y="54"/>
                  <a:pt x="99" y="52"/>
                </a:cubicBezTo>
                <a:cubicBezTo>
                  <a:pt x="99" y="6"/>
                  <a:pt x="99" y="6"/>
                  <a:pt x="99" y="6"/>
                </a:cubicBezTo>
                <a:cubicBezTo>
                  <a:pt x="22" y="6"/>
                  <a:pt x="22" y="6"/>
                  <a:pt x="22" y="6"/>
                </a:cubicBezTo>
                <a:cubicBezTo>
                  <a:pt x="68" y="21"/>
                  <a:pt x="68" y="21"/>
                  <a:pt x="68" y="21"/>
                </a:cubicBezTo>
                <a:cubicBezTo>
                  <a:pt x="69" y="21"/>
                  <a:pt x="70" y="22"/>
                  <a:pt x="70" y="23"/>
                </a:cubicBezTo>
                <a:cubicBezTo>
                  <a:pt x="70" y="134"/>
                  <a:pt x="70" y="134"/>
                  <a:pt x="70" y="134"/>
                </a:cubicBezTo>
                <a:cubicBezTo>
                  <a:pt x="99" y="134"/>
                  <a:pt x="99" y="134"/>
                  <a:pt x="99" y="134"/>
                </a:cubicBezTo>
                <a:cubicBezTo>
                  <a:pt x="99" y="87"/>
                  <a:pt x="99" y="87"/>
                  <a:pt x="99" y="87"/>
                </a:cubicBezTo>
                <a:cubicBezTo>
                  <a:pt x="99" y="86"/>
                  <a:pt x="100" y="84"/>
                  <a:pt x="102" y="84"/>
                </a:cubicBezTo>
                <a:cubicBezTo>
                  <a:pt x="103" y="84"/>
                  <a:pt x="105" y="86"/>
                  <a:pt x="105" y="87"/>
                </a:cubicBezTo>
                <a:close/>
                <a:moveTo>
                  <a:pt x="64" y="25"/>
                </a:moveTo>
                <a:cubicBezTo>
                  <a:pt x="6" y="7"/>
                  <a:pt x="6" y="7"/>
                  <a:pt x="6" y="7"/>
                </a:cubicBezTo>
                <a:cubicBezTo>
                  <a:pt x="6" y="135"/>
                  <a:pt x="6" y="135"/>
                  <a:pt x="6" y="135"/>
                </a:cubicBezTo>
                <a:cubicBezTo>
                  <a:pt x="64" y="153"/>
                  <a:pt x="64" y="153"/>
                  <a:pt x="64" y="153"/>
                </a:cubicBezTo>
                <a:lnTo>
                  <a:pt x="64" y="2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78" name="Freeform 1155">
            <a:extLst>
              <a:ext uri="{FF2B5EF4-FFF2-40B4-BE49-F238E27FC236}">
                <a16:creationId xmlns:a16="http://schemas.microsoft.com/office/drawing/2014/main" id="{A0BBEEF3-DFEB-C646-92BB-637743C0AC92}"/>
              </a:ext>
            </a:extLst>
          </p:cNvPr>
          <p:cNvSpPr>
            <a:spLocks noEditPoints="1"/>
          </p:cNvSpPr>
          <p:nvPr/>
        </p:nvSpPr>
        <p:spPr bwMode="auto">
          <a:xfrm>
            <a:off x="9177220" y="3462338"/>
            <a:ext cx="546100" cy="549275"/>
          </a:xfrm>
          <a:custGeom>
            <a:avLst/>
            <a:gdLst>
              <a:gd name="T0" fmla="*/ 160 w 160"/>
              <a:gd name="T1" fmla="*/ 71 h 160"/>
              <a:gd name="T2" fmla="*/ 160 w 160"/>
              <a:gd name="T3" fmla="*/ 69 h 160"/>
              <a:gd name="T4" fmla="*/ 159 w 160"/>
              <a:gd name="T5" fmla="*/ 68 h 160"/>
              <a:gd name="T6" fmla="*/ 124 w 160"/>
              <a:gd name="T7" fmla="*/ 33 h 160"/>
              <a:gd name="T8" fmla="*/ 120 w 160"/>
              <a:gd name="T9" fmla="*/ 33 h 160"/>
              <a:gd name="T10" fmla="*/ 120 w 160"/>
              <a:gd name="T11" fmla="*/ 37 h 160"/>
              <a:gd name="T12" fmla="*/ 150 w 160"/>
              <a:gd name="T13" fmla="*/ 67 h 160"/>
              <a:gd name="T14" fmla="*/ 105 w 160"/>
              <a:gd name="T15" fmla="*/ 67 h 160"/>
              <a:gd name="T16" fmla="*/ 105 w 160"/>
              <a:gd name="T17" fmla="*/ 3 h 160"/>
              <a:gd name="T18" fmla="*/ 102 w 160"/>
              <a:gd name="T19" fmla="*/ 0 h 160"/>
              <a:gd name="T20" fmla="*/ 3 w 160"/>
              <a:gd name="T21" fmla="*/ 0 h 160"/>
              <a:gd name="T22" fmla="*/ 3 w 160"/>
              <a:gd name="T23" fmla="*/ 0 h 160"/>
              <a:gd name="T24" fmla="*/ 2 w 160"/>
              <a:gd name="T25" fmla="*/ 0 h 160"/>
              <a:gd name="T26" fmla="*/ 1 w 160"/>
              <a:gd name="T27" fmla="*/ 0 h 160"/>
              <a:gd name="T28" fmla="*/ 1 w 160"/>
              <a:gd name="T29" fmla="*/ 1 h 160"/>
              <a:gd name="T30" fmla="*/ 1 w 160"/>
              <a:gd name="T31" fmla="*/ 1 h 160"/>
              <a:gd name="T32" fmla="*/ 1 w 160"/>
              <a:gd name="T33" fmla="*/ 1 h 160"/>
              <a:gd name="T34" fmla="*/ 0 w 160"/>
              <a:gd name="T35" fmla="*/ 2 h 160"/>
              <a:gd name="T36" fmla="*/ 0 w 160"/>
              <a:gd name="T37" fmla="*/ 2 h 160"/>
              <a:gd name="T38" fmla="*/ 0 w 160"/>
              <a:gd name="T39" fmla="*/ 3 h 160"/>
              <a:gd name="T40" fmla="*/ 0 w 160"/>
              <a:gd name="T41" fmla="*/ 137 h 160"/>
              <a:gd name="T42" fmla="*/ 0 w 160"/>
              <a:gd name="T43" fmla="*/ 138 h 160"/>
              <a:gd name="T44" fmla="*/ 0 w 160"/>
              <a:gd name="T45" fmla="*/ 138 h 160"/>
              <a:gd name="T46" fmla="*/ 1 w 160"/>
              <a:gd name="T47" fmla="*/ 139 h 160"/>
              <a:gd name="T48" fmla="*/ 1 w 160"/>
              <a:gd name="T49" fmla="*/ 139 h 160"/>
              <a:gd name="T50" fmla="*/ 2 w 160"/>
              <a:gd name="T51" fmla="*/ 139 h 160"/>
              <a:gd name="T52" fmla="*/ 2 w 160"/>
              <a:gd name="T53" fmla="*/ 139 h 160"/>
              <a:gd name="T54" fmla="*/ 2 w 160"/>
              <a:gd name="T55" fmla="*/ 140 h 160"/>
              <a:gd name="T56" fmla="*/ 66 w 160"/>
              <a:gd name="T57" fmla="*/ 160 h 160"/>
              <a:gd name="T58" fmla="*/ 67 w 160"/>
              <a:gd name="T59" fmla="*/ 160 h 160"/>
              <a:gd name="T60" fmla="*/ 69 w 160"/>
              <a:gd name="T61" fmla="*/ 159 h 160"/>
              <a:gd name="T62" fmla="*/ 70 w 160"/>
              <a:gd name="T63" fmla="*/ 157 h 160"/>
              <a:gd name="T64" fmla="*/ 70 w 160"/>
              <a:gd name="T65" fmla="*/ 140 h 160"/>
              <a:gd name="T66" fmla="*/ 102 w 160"/>
              <a:gd name="T67" fmla="*/ 140 h 160"/>
              <a:gd name="T68" fmla="*/ 105 w 160"/>
              <a:gd name="T69" fmla="*/ 137 h 160"/>
              <a:gd name="T70" fmla="*/ 105 w 160"/>
              <a:gd name="T71" fmla="*/ 73 h 160"/>
              <a:gd name="T72" fmla="*/ 150 w 160"/>
              <a:gd name="T73" fmla="*/ 73 h 160"/>
              <a:gd name="T74" fmla="*/ 120 w 160"/>
              <a:gd name="T75" fmla="*/ 103 h 160"/>
              <a:gd name="T76" fmla="*/ 120 w 160"/>
              <a:gd name="T77" fmla="*/ 107 h 160"/>
              <a:gd name="T78" fmla="*/ 122 w 160"/>
              <a:gd name="T79" fmla="*/ 108 h 160"/>
              <a:gd name="T80" fmla="*/ 124 w 160"/>
              <a:gd name="T81" fmla="*/ 107 h 160"/>
              <a:gd name="T82" fmla="*/ 159 w 160"/>
              <a:gd name="T83" fmla="*/ 72 h 160"/>
              <a:gd name="T84" fmla="*/ 160 w 160"/>
              <a:gd name="T85" fmla="*/ 71 h 160"/>
              <a:gd name="T86" fmla="*/ 64 w 160"/>
              <a:gd name="T87" fmla="*/ 153 h 160"/>
              <a:gd name="T88" fmla="*/ 6 w 160"/>
              <a:gd name="T89" fmla="*/ 135 h 160"/>
              <a:gd name="T90" fmla="*/ 6 w 160"/>
              <a:gd name="T91" fmla="*/ 7 h 160"/>
              <a:gd name="T92" fmla="*/ 64 w 160"/>
              <a:gd name="T93" fmla="*/ 25 h 160"/>
              <a:gd name="T94" fmla="*/ 64 w 160"/>
              <a:gd name="T95" fmla="*/ 153 h 160"/>
              <a:gd name="T96" fmla="*/ 99 w 160"/>
              <a:gd name="T97" fmla="*/ 134 h 160"/>
              <a:gd name="T98" fmla="*/ 70 w 160"/>
              <a:gd name="T99" fmla="*/ 134 h 160"/>
              <a:gd name="T100" fmla="*/ 70 w 160"/>
              <a:gd name="T101" fmla="*/ 23 h 160"/>
              <a:gd name="T102" fmla="*/ 68 w 160"/>
              <a:gd name="T103" fmla="*/ 21 h 160"/>
              <a:gd name="T104" fmla="*/ 22 w 160"/>
              <a:gd name="T105" fmla="*/ 6 h 160"/>
              <a:gd name="T106" fmla="*/ 99 w 160"/>
              <a:gd name="T107" fmla="*/ 6 h 160"/>
              <a:gd name="T108" fmla="*/ 99 w 160"/>
              <a:gd name="T109" fmla="*/ 134 h 160"/>
              <a:gd name="T110" fmla="*/ 61 w 160"/>
              <a:gd name="T111" fmla="*/ 94 h 160"/>
              <a:gd name="T112" fmla="*/ 58 w 160"/>
              <a:gd name="T113" fmla="*/ 96 h 160"/>
              <a:gd name="T114" fmla="*/ 57 w 160"/>
              <a:gd name="T115" fmla="*/ 96 h 160"/>
              <a:gd name="T116" fmla="*/ 43 w 160"/>
              <a:gd name="T117" fmla="*/ 90 h 160"/>
              <a:gd name="T118" fmla="*/ 41 w 160"/>
              <a:gd name="T119" fmla="*/ 86 h 160"/>
              <a:gd name="T120" fmla="*/ 45 w 160"/>
              <a:gd name="T121" fmla="*/ 85 h 160"/>
              <a:gd name="T122" fmla="*/ 59 w 160"/>
              <a:gd name="T123" fmla="*/ 90 h 160"/>
              <a:gd name="T124" fmla="*/ 61 w 160"/>
              <a:gd name="T125" fmla="*/ 9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160">
                <a:moveTo>
                  <a:pt x="160" y="71"/>
                </a:moveTo>
                <a:cubicBezTo>
                  <a:pt x="160" y="70"/>
                  <a:pt x="160" y="69"/>
                  <a:pt x="160" y="69"/>
                </a:cubicBezTo>
                <a:cubicBezTo>
                  <a:pt x="160" y="68"/>
                  <a:pt x="159" y="68"/>
                  <a:pt x="159" y="68"/>
                </a:cubicBezTo>
                <a:cubicBezTo>
                  <a:pt x="124" y="33"/>
                  <a:pt x="124" y="33"/>
                  <a:pt x="124" y="33"/>
                </a:cubicBezTo>
                <a:cubicBezTo>
                  <a:pt x="123" y="32"/>
                  <a:pt x="121" y="32"/>
                  <a:pt x="120" y="33"/>
                </a:cubicBezTo>
                <a:cubicBezTo>
                  <a:pt x="119" y="34"/>
                  <a:pt x="119" y="36"/>
                  <a:pt x="120" y="37"/>
                </a:cubicBezTo>
                <a:cubicBezTo>
                  <a:pt x="150" y="67"/>
                  <a:pt x="150" y="67"/>
                  <a:pt x="150" y="67"/>
                </a:cubicBezTo>
                <a:cubicBezTo>
                  <a:pt x="105" y="67"/>
                  <a:pt x="105" y="67"/>
                  <a:pt x="105" y="67"/>
                </a:cubicBezTo>
                <a:cubicBezTo>
                  <a:pt x="105" y="3"/>
                  <a:pt x="105" y="3"/>
                  <a:pt x="105" y="3"/>
                </a:cubicBezTo>
                <a:cubicBezTo>
                  <a:pt x="105" y="1"/>
                  <a:pt x="103" y="0"/>
                  <a:pt x="102" y="0"/>
                </a:cubicBezTo>
                <a:cubicBezTo>
                  <a:pt x="3" y="0"/>
                  <a:pt x="3" y="0"/>
                  <a:pt x="3" y="0"/>
                </a:cubicBezTo>
                <a:cubicBezTo>
                  <a:pt x="3" y="0"/>
                  <a:pt x="3" y="0"/>
                  <a:pt x="3" y="0"/>
                </a:cubicBezTo>
                <a:cubicBezTo>
                  <a:pt x="2" y="0"/>
                  <a:pt x="2" y="0"/>
                  <a:pt x="2" y="0"/>
                </a:cubicBezTo>
                <a:cubicBezTo>
                  <a:pt x="2" y="0"/>
                  <a:pt x="2" y="0"/>
                  <a:pt x="1" y="0"/>
                </a:cubicBezTo>
                <a:cubicBezTo>
                  <a:pt x="1" y="1"/>
                  <a:pt x="1" y="1"/>
                  <a:pt x="1" y="1"/>
                </a:cubicBezTo>
                <a:cubicBezTo>
                  <a:pt x="1" y="1"/>
                  <a:pt x="1" y="1"/>
                  <a:pt x="1" y="1"/>
                </a:cubicBezTo>
                <a:cubicBezTo>
                  <a:pt x="1" y="1"/>
                  <a:pt x="1" y="1"/>
                  <a:pt x="1" y="1"/>
                </a:cubicBezTo>
                <a:cubicBezTo>
                  <a:pt x="1" y="1"/>
                  <a:pt x="0" y="1"/>
                  <a:pt x="0" y="2"/>
                </a:cubicBezTo>
                <a:cubicBezTo>
                  <a:pt x="0" y="2"/>
                  <a:pt x="0" y="2"/>
                  <a:pt x="0" y="2"/>
                </a:cubicBezTo>
                <a:cubicBezTo>
                  <a:pt x="0" y="2"/>
                  <a:pt x="0" y="3"/>
                  <a:pt x="0" y="3"/>
                </a:cubicBezTo>
                <a:cubicBezTo>
                  <a:pt x="0" y="137"/>
                  <a:pt x="0" y="137"/>
                  <a:pt x="0" y="137"/>
                </a:cubicBezTo>
                <a:cubicBezTo>
                  <a:pt x="0" y="137"/>
                  <a:pt x="0" y="137"/>
                  <a:pt x="0" y="138"/>
                </a:cubicBezTo>
                <a:cubicBezTo>
                  <a:pt x="0" y="138"/>
                  <a:pt x="0" y="138"/>
                  <a:pt x="0" y="138"/>
                </a:cubicBezTo>
                <a:cubicBezTo>
                  <a:pt x="0" y="138"/>
                  <a:pt x="1" y="138"/>
                  <a:pt x="1" y="139"/>
                </a:cubicBezTo>
                <a:cubicBezTo>
                  <a:pt x="1" y="139"/>
                  <a:pt x="1" y="139"/>
                  <a:pt x="1" y="139"/>
                </a:cubicBezTo>
                <a:cubicBezTo>
                  <a:pt x="1" y="139"/>
                  <a:pt x="1" y="139"/>
                  <a:pt x="2" y="139"/>
                </a:cubicBezTo>
                <a:cubicBezTo>
                  <a:pt x="2" y="139"/>
                  <a:pt x="2" y="139"/>
                  <a:pt x="2" y="139"/>
                </a:cubicBezTo>
                <a:cubicBezTo>
                  <a:pt x="2" y="139"/>
                  <a:pt x="2" y="139"/>
                  <a:pt x="2" y="140"/>
                </a:cubicBezTo>
                <a:cubicBezTo>
                  <a:pt x="66" y="160"/>
                  <a:pt x="66" y="160"/>
                  <a:pt x="66" y="160"/>
                </a:cubicBezTo>
                <a:cubicBezTo>
                  <a:pt x="66" y="160"/>
                  <a:pt x="67" y="160"/>
                  <a:pt x="67" y="160"/>
                </a:cubicBezTo>
                <a:cubicBezTo>
                  <a:pt x="68" y="160"/>
                  <a:pt x="68" y="160"/>
                  <a:pt x="69" y="159"/>
                </a:cubicBezTo>
                <a:cubicBezTo>
                  <a:pt x="69" y="159"/>
                  <a:pt x="70" y="158"/>
                  <a:pt x="70" y="157"/>
                </a:cubicBezTo>
                <a:cubicBezTo>
                  <a:pt x="70" y="140"/>
                  <a:pt x="70" y="140"/>
                  <a:pt x="70" y="140"/>
                </a:cubicBezTo>
                <a:cubicBezTo>
                  <a:pt x="102" y="140"/>
                  <a:pt x="102" y="140"/>
                  <a:pt x="102" y="140"/>
                </a:cubicBezTo>
                <a:cubicBezTo>
                  <a:pt x="103" y="140"/>
                  <a:pt x="105" y="138"/>
                  <a:pt x="105" y="137"/>
                </a:cubicBezTo>
                <a:cubicBezTo>
                  <a:pt x="105" y="73"/>
                  <a:pt x="105" y="73"/>
                  <a:pt x="105" y="73"/>
                </a:cubicBezTo>
                <a:cubicBezTo>
                  <a:pt x="150" y="73"/>
                  <a:pt x="150" y="73"/>
                  <a:pt x="150" y="73"/>
                </a:cubicBezTo>
                <a:cubicBezTo>
                  <a:pt x="120" y="103"/>
                  <a:pt x="120" y="103"/>
                  <a:pt x="120" y="103"/>
                </a:cubicBezTo>
                <a:cubicBezTo>
                  <a:pt x="119" y="104"/>
                  <a:pt x="119" y="106"/>
                  <a:pt x="120" y="107"/>
                </a:cubicBezTo>
                <a:cubicBezTo>
                  <a:pt x="121" y="107"/>
                  <a:pt x="121" y="108"/>
                  <a:pt x="122" y="108"/>
                </a:cubicBezTo>
                <a:cubicBezTo>
                  <a:pt x="123" y="108"/>
                  <a:pt x="124" y="107"/>
                  <a:pt x="124" y="107"/>
                </a:cubicBezTo>
                <a:cubicBezTo>
                  <a:pt x="159" y="72"/>
                  <a:pt x="159" y="72"/>
                  <a:pt x="159" y="72"/>
                </a:cubicBezTo>
                <a:cubicBezTo>
                  <a:pt x="159" y="72"/>
                  <a:pt x="160" y="71"/>
                  <a:pt x="160" y="71"/>
                </a:cubicBezTo>
                <a:close/>
                <a:moveTo>
                  <a:pt x="64" y="153"/>
                </a:moveTo>
                <a:cubicBezTo>
                  <a:pt x="6" y="135"/>
                  <a:pt x="6" y="135"/>
                  <a:pt x="6" y="135"/>
                </a:cubicBezTo>
                <a:cubicBezTo>
                  <a:pt x="6" y="7"/>
                  <a:pt x="6" y="7"/>
                  <a:pt x="6" y="7"/>
                </a:cubicBezTo>
                <a:cubicBezTo>
                  <a:pt x="64" y="25"/>
                  <a:pt x="64" y="25"/>
                  <a:pt x="64" y="25"/>
                </a:cubicBezTo>
                <a:lnTo>
                  <a:pt x="64" y="153"/>
                </a:lnTo>
                <a:close/>
                <a:moveTo>
                  <a:pt x="99" y="134"/>
                </a:moveTo>
                <a:cubicBezTo>
                  <a:pt x="70" y="134"/>
                  <a:pt x="70" y="134"/>
                  <a:pt x="70" y="134"/>
                </a:cubicBezTo>
                <a:cubicBezTo>
                  <a:pt x="70" y="23"/>
                  <a:pt x="70" y="23"/>
                  <a:pt x="70" y="23"/>
                </a:cubicBezTo>
                <a:cubicBezTo>
                  <a:pt x="70" y="22"/>
                  <a:pt x="69" y="21"/>
                  <a:pt x="68" y="21"/>
                </a:cubicBezTo>
                <a:cubicBezTo>
                  <a:pt x="22" y="6"/>
                  <a:pt x="22" y="6"/>
                  <a:pt x="22" y="6"/>
                </a:cubicBezTo>
                <a:cubicBezTo>
                  <a:pt x="99" y="6"/>
                  <a:pt x="99" y="6"/>
                  <a:pt x="99" y="6"/>
                </a:cubicBezTo>
                <a:lnTo>
                  <a:pt x="99" y="134"/>
                </a:lnTo>
                <a:close/>
                <a:moveTo>
                  <a:pt x="61" y="94"/>
                </a:moveTo>
                <a:cubicBezTo>
                  <a:pt x="60" y="95"/>
                  <a:pt x="59" y="96"/>
                  <a:pt x="58" y="96"/>
                </a:cubicBezTo>
                <a:cubicBezTo>
                  <a:pt x="58" y="96"/>
                  <a:pt x="57" y="96"/>
                  <a:pt x="57" y="96"/>
                </a:cubicBezTo>
                <a:cubicBezTo>
                  <a:pt x="43" y="90"/>
                  <a:pt x="43" y="90"/>
                  <a:pt x="43" y="90"/>
                </a:cubicBezTo>
                <a:cubicBezTo>
                  <a:pt x="41" y="89"/>
                  <a:pt x="40" y="88"/>
                  <a:pt x="41" y="86"/>
                </a:cubicBezTo>
                <a:cubicBezTo>
                  <a:pt x="42" y="85"/>
                  <a:pt x="43" y="84"/>
                  <a:pt x="45" y="85"/>
                </a:cubicBezTo>
                <a:cubicBezTo>
                  <a:pt x="59" y="90"/>
                  <a:pt x="59" y="90"/>
                  <a:pt x="59" y="90"/>
                </a:cubicBezTo>
                <a:cubicBezTo>
                  <a:pt x="61" y="91"/>
                  <a:pt x="61" y="93"/>
                  <a:pt x="61" y="9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79" name="Freeform 1156">
            <a:extLst>
              <a:ext uri="{FF2B5EF4-FFF2-40B4-BE49-F238E27FC236}">
                <a16:creationId xmlns:a16="http://schemas.microsoft.com/office/drawing/2014/main" id="{0DC98388-0F91-4647-86DF-C48A49CD73AD}"/>
              </a:ext>
            </a:extLst>
          </p:cNvPr>
          <p:cNvSpPr>
            <a:spLocks noEditPoints="1"/>
          </p:cNvSpPr>
          <p:nvPr/>
        </p:nvSpPr>
        <p:spPr bwMode="auto">
          <a:xfrm>
            <a:off x="9191508" y="4081463"/>
            <a:ext cx="514350" cy="550863"/>
          </a:xfrm>
          <a:custGeom>
            <a:avLst/>
            <a:gdLst>
              <a:gd name="T0" fmla="*/ 151 w 151"/>
              <a:gd name="T1" fmla="*/ 82 h 160"/>
              <a:gd name="T2" fmla="*/ 116 w 151"/>
              <a:gd name="T3" fmla="*/ 116 h 160"/>
              <a:gd name="T4" fmla="*/ 114 w 151"/>
              <a:gd name="T5" fmla="*/ 117 h 160"/>
              <a:gd name="T6" fmla="*/ 112 w 151"/>
              <a:gd name="T7" fmla="*/ 116 h 160"/>
              <a:gd name="T8" fmla="*/ 112 w 151"/>
              <a:gd name="T9" fmla="*/ 112 h 160"/>
              <a:gd name="T10" fmla="*/ 142 w 151"/>
              <a:gd name="T11" fmla="*/ 83 h 160"/>
              <a:gd name="T12" fmla="*/ 54 w 151"/>
              <a:gd name="T13" fmla="*/ 83 h 160"/>
              <a:gd name="T14" fmla="*/ 51 w 151"/>
              <a:gd name="T15" fmla="*/ 80 h 160"/>
              <a:gd name="T16" fmla="*/ 54 w 151"/>
              <a:gd name="T17" fmla="*/ 77 h 160"/>
              <a:gd name="T18" fmla="*/ 142 w 151"/>
              <a:gd name="T19" fmla="*/ 77 h 160"/>
              <a:gd name="T20" fmla="*/ 112 w 151"/>
              <a:gd name="T21" fmla="*/ 48 h 160"/>
              <a:gd name="T22" fmla="*/ 112 w 151"/>
              <a:gd name="T23" fmla="*/ 44 h 160"/>
              <a:gd name="T24" fmla="*/ 116 w 151"/>
              <a:gd name="T25" fmla="*/ 44 h 160"/>
              <a:gd name="T26" fmla="*/ 151 w 151"/>
              <a:gd name="T27" fmla="*/ 78 h 160"/>
              <a:gd name="T28" fmla="*/ 151 w 151"/>
              <a:gd name="T29" fmla="*/ 79 h 160"/>
              <a:gd name="T30" fmla="*/ 151 w 151"/>
              <a:gd name="T31" fmla="*/ 81 h 160"/>
              <a:gd name="T32" fmla="*/ 151 w 151"/>
              <a:gd name="T33" fmla="*/ 82 h 160"/>
              <a:gd name="T34" fmla="*/ 100 w 151"/>
              <a:gd name="T35" fmla="*/ 94 h 160"/>
              <a:gd name="T36" fmla="*/ 97 w 151"/>
              <a:gd name="T37" fmla="*/ 97 h 160"/>
              <a:gd name="T38" fmla="*/ 97 w 151"/>
              <a:gd name="T39" fmla="*/ 154 h 160"/>
              <a:gd name="T40" fmla="*/ 6 w 151"/>
              <a:gd name="T41" fmla="*/ 154 h 160"/>
              <a:gd name="T42" fmla="*/ 6 w 151"/>
              <a:gd name="T43" fmla="*/ 6 h 160"/>
              <a:gd name="T44" fmla="*/ 97 w 151"/>
              <a:gd name="T45" fmla="*/ 6 h 160"/>
              <a:gd name="T46" fmla="*/ 97 w 151"/>
              <a:gd name="T47" fmla="*/ 63 h 160"/>
              <a:gd name="T48" fmla="*/ 100 w 151"/>
              <a:gd name="T49" fmla="*/ 66 h 160"/>
              <a:gd name="T50" fmla="*/ 103 w 151"/>
              <a:gd name="T51" fmla="*/ 63 h 160"/>
              <a:gd name="T52" fmla="*/ 103 w 151"/>
              <a:gd name="T53" fmla="*/ 3 h 160"/>
              <a:gd name="T54" fmla="*/ 100 w 151"/>
              <a:gd name="T55" fmla="*/ 0 h 160"/>
              <a:gd name="T56" fmla="*/ 3 w 151"/>
              <a:gd name="T57" fmla="*/ 0 h 160"/>
              <a:gd name="T58" fmla="*/ 0 w 151"/>
              <a:gd name="T59" fmla="*/ 3 h 160"/>
              <a:gd name="T60" fmla="*/ 0 w 151"/>
              <a:gd name="T61" fmla="*/ 157 h 160"/>
              <a:gd name="T62" fmla="*/ 3 w 151"/>
              <a:gd name="T63" fmla="*/ 160 h 160"/>
              <a:gd name="T64" fmla="*/ 100 w 151"/>
              <a:gd name="T65" fmla="*/ 160 h 160"/>
              <a:gd name="T66" fmla="*/ 103 w 151"/>
              <a:gd name="T67" fmla="*/ 157 h 160"/>
              <a:gd name="T68" fmla="*/ 103 w 151"/>
              <a:gd name="T69" fmla="*/ 97 h 160"/>
              <a:gd name="T70" fmla="*/ 100 w 151"/>
              <a:gd name="T71" fmla="*/ 9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1" h="160">
                <a:moveTo>
                  <a:pt x="151" y="82"/>
                </a:moveTo>
                <a:cubicBezTo>
                  <a:pt x="116" y="116"/>
                  <a:pt x="116" y="116"/>
                  <a:pt x="116" y="116"/>
                </a:cubicBezTo>
                <a:cubicBezTo>
                  <a:pt x="116" y="117"/>
                  <a:pt x="115" y="117"/>
                  <a:pt x="114" y="117"/>
                </a:cubicBezTo>
                <a:cubicBezTo>
                  <a:pt x="114" y="117"/>
                  <a:pt x="113" y="117"/>
                  <a:pt x="112" y="116"/>
                </a:cubicBezTo>
                <a:cubicBezTo>
                  <a:pt x="111" y="115"/>
                  <a:pt x="111" y="113"/>
                  <a:pt x="112" y="112"/>
                </a:cubicBezTo>
                <a:cubicBezTo>
                  <a:pt x="142" y="83"/>
                  <a:pt x="142" y="83"/>
                  <a:pt x="142" y="83"/>
                </a:cubicBezTo>
                <a:cubicBezTo>
                  <a:pt x="54" y="83"/>
                  <a:pt x="54" y="83"/>
                  <a:pt x="54" y="83"/>
                </a:cubicBezTo>
                <a:cubicBezTo>
                  <a:pt x="53" y="83"/>
                  <a:pt x="51" y="82"/>
                  <a:pt x="51" y="80"/>
                </a:cubicBezTo>
                <a:cubicBezTo>
                  <a:pt x="51" y="78"/>
                  <a:pt x="53" y="77"/>
                  <a:pt x="54" y="77"/>
                </a:cubicBezTo>
                <a:cubicBezTo>
                  <a:pt x="142" y="77"/>
                  <a:pt x="142" y="77"/>
                  <a:pt x="142" y="77"/>
                </a:cubicBezTo>
                <a:cubicBezTo>
                  <a:pt x="112" y="48"/>
                  <a:pt x="112" y="48"/>
                  <a:pt x="112" y="48"/>
                </a:cubicBezTo>
                <a:cubicBezTo>
                  <a:pt x="111" y="47"/>
                  <a:pt x="111" y="45"/>
                  <a:pt x="112" y="44"/>
                </a:cubicBezTo>
                <a:cubicBezTo>
                  <a:pt x="113" y="43"/>
                  <a:pt x="115" y="43"/>
                  <a:pt x="116" y="44"/>
                </a:cubicBezTo>
                <a:cubicBezTo>
                  <a:pt x="151" y="78"/>
                  <a:pt x="151" y="78"/>
                  <a:pt x="151" y="78"/>
                </a:cubicBezTo>
                <a:cubicBezTo>
                  <a:pt x="151" y="78"/>
                  <a:pt x="151" y="79"/>
                  <a:pt x="151" y="79"/>
                </a:cubicBezTo>
                <a:cubicBezTo>
                  <a:pt x="151" y="80"/>
                  <a:pt x="151" y="80"/>
                  <a:pt x="151" y="81"/>
                </a:cubicBezTo>
                <a:cubicBezTo>
                  <a:pt x="151" y="81"/>
                  <a:pt x="151" y="82"/>
                  <a:pt x="151" y="82"/>
                </a:cubicBezTo>
                <a:close/>
                <a:moveTo>
                  <a:pt x="100" y="94"/>
                </a:moveTo>
                <a:cubicBezTo>
                  <a:pt x="98" y="94"/>
                  <a:pt x="97" y="96"/>
                  <a:pt x="97" y="97"/>
                </a:cubicBezTo>
                <a:cubicBezTo>
                  <a:pt x="97" y="154"/>
                  <a:pt x="97" y="154"/>
                  <a:pt x="97" y="154"/>
                </a:cubicBezTo>
                <a:cubicBezTo>
                  <a:pt x="6" y="154"/>
                  <a:pt x="6" y="154"/>
                  <a:pt x="6" y="154"/>
                </a:cubicBezTo>
                <a:cubicBezTo>
                  <a:pt x="6" y="6"/>
                  <a:pt x="6" y="6"/>
                  <a:pt x="6" y="6"/>
                </a:cubicBezTo>
                <a:cubicBezTo>
                  <a:pt x="97" y="6"/>
                  <a:pt x="97" y="6"/>
                  <a:pt x="97" y="6"/>
                </a:cubicBezTo>
                <a:cubicBezTo>
                  <a:pt x="97" y="63"/>
                  <a:pt x="97" y="63"/>
                  <a:pt x="97" y="63"/>
                </a:cubicBezTo>
                <a:cubicBezTo>
                  <a:pt x="97" y="64"/>
                  <a:pt x="98" y="66"/>
                  <a:pt x="100" y="66"/>
                </a:cubicBezTo>
                <a:cubicBezTo>
                  <a:pt x="102" y="66"/>
                  <a:pt x="103" y="64"/>
                  <a:pt x="103" y="63"/>
                </a:cubicBezTo>
                <a:cubicBezTo>
                  <a:pt x="103" y="3"/>
                  <a:pt x="103" y="3"/>
                  <a:pt x="103" y="3"/>
                </a:cubicBezTo>
                <a:cubicBezTo>
                  <a:pt x="103" y="1"/>
                  <a:pt x="102" y="0"/>
                  <a:pt x="100" y="0"/>
                </a:cubicBezTo>
                <a:cubicBezTo>
                  <a:pt x="3" y="0"/>
                  <a:pt x="3" y="0"/>
                  <a:pt x="3" y="0"/>
                </a:cubicBezTo>
                <a:cubicBezTo>
                  <a:pt x="1" y="0"/>
                  <a:pt x="0" y="1"/>
                  <a:pt x="0" y="3"/>
                </a:cubicBezTo>
                <a:cubicBezTo>
                  <a:pt x="0" y="157"/>
                  <a:pt x="0" y="157"/>
                  <a:pt x="0" y="157"/>
                </a:cubicBezTo>
                <a:cubicBezTo>
                  <a:pt x="0" y="159"/>
                  <a:pt x="1" y="160"/>
                  <a:pt x="3" y="160"/>
                </a:cubicBezTo>
                <a:cubicBezTo>
                  <a:pt x="100" y="160"/>
                  <a:pt x="100" y="160"/>
                  <a:pt x="100" y="160"/>
                </a:cubicBezTo>
                <a:cubicBezTo>
                  <a:pt x="102" y="160"/>
                  <a:pt x="103" y="159"/>
                  <a:pt x="103" y="157"/>
                </a:cubicBezTo>
                <a:cubicBezTo>
                  <a:pt x="103" y="97"/>
                  <a:pt x="103" y="97"/>
                  <a:pt x="103" y="97"/>
                </a:cubicBezTo>
                <a:cubicBezTo>
                  <a:pt x="103" y="96"/>
                  <a:pt x="102" y="94"/>
                  <a:pt x="100" y="9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80" name="Freeform 1157">
            <a:extLst>
              <a:ext uri="{FF2B5EF4-FFF2-40B4-BE49-F238E27FC236}">
                <a16:creationId xmlns:a16="http://schemas.microsoft.com/office/drawing/2014/main" id="{2FF9AED8-E30F-3945-96BB-5F9BEDBCEAE5}"/>
              </a:ext>
            </a:extLst>
          </p:cNvPr>
          <p:cNvSpPr>
            <a:spLocks noEditPoints="1"/>
          </p:cNvSpPr>
          <p:nvPr/>
        </p:nvSpPr>
        <p:spPr bwMode="auto">
          <a:xfrm>
            <a:off x="9177220" y="4865688"/>
            <a:ext cx="546100" cy="220663"/>
          </a:xfrm>
          <a:custGeom>
            <a:avLst/>
            <a:gdLst>
              <a:gd name="T0" fmla="*/ 157 w 160"/>
              <a:gd name="T1" fmla="*/ 27 h 64"/>
              <a:gd name="T2" fmla="*/ 152 w 160"/>
              <a:gd name="T3" fmla="*/ 27 h 64"/>
              <a:gd name="T4" fmla="*/ 120 w 160"/>
              <a:gd name="T5" fmla="*/ 0 h 64"/>
              <a:gd name="T6" fmla="*/ 89 w 160"/>
              <a:gd name="T7" fmla="*/ 26 h 64"/>
              <a:gd name="T8" fmla="*/ 80 w 160"/>
              <a:gd name="T9" fmla="*/ 22 h 64"/>
              <a:gd name="T10" fmla="*/ 71 w 160"/>
              <a:gd name="T11" fmla="*/ 26 h 64"/>
              <a:gd name="T12" fmla="*/ 40 w 160"/>
              <a:gd name="T13" fmla="*/ 0 h 64"/>
              <a:gd name="T14" fmla="*/ 8 w 160"/>
              <a:gd name="T15" fmla="*/ 29 h 64"/>
              <a:gd name="T16" fmla="*/ 3 w 160"/>
              <a:gd name="T17" fmla="*/ 29 h 64"/>
              <a:gd name="T18" fmla="*/ 0 w 160"/>
              <a:gd name="T19" fmla="*/ 32 h 64"/>
              <a:gd name="T20" fmla="*/ 3 w 160"/>
              <a:gd name="T21" fmla="*/ 35 h 64"/>
              <a:gd name="T22" fmla="*/ 8 w 160"/>
              <a:gd name="T23" fmla="*/ 35 h 64"/>
              <a:gd name="T24" fmla="*/ 40 w 160"/>
              <a:gd name="T25" fmla="*/ 64 h 64"/>
              <a:gd name="T26" fmla="*/ 72 w 160"/>
              <a:gd name="T27" fmla="*/ 33 h 64"/>
              <a:gd name="T28" fmla="*/ 80 w 160"/>
              <a:gd name="T29" fmla="*/ 28 h 64"/>
              <a:gd name="T30" fmla="*/ 88 w 160"/>
              <a:gd name="T31" fmla="*/ 33 h 64"/>
              <a:gd name="T32" fmla="*/ 120 w 160"/>
              <a:gd name="T33" fmla="*/ 64 h 64"/>
              <a:gd name="T34" fmla="*/ 152 w 160"/>
              <a:gd name="T35" fmla="*/ 32 h 64"/>
              <a:gd name="T36" fmla="*/ 157 w 160"/>
              <a:gd name="T37" fmla="*/ 32 h 64"/>
              <a:gd name="T38" fmla="*/ 160 w 160"/>
              <a:gd name="T39" fmla="*/ 29 h 64"/>
              <a:gd name="T40" fmla="*/ 157 w 160"/>
              <a:gd name="T41" fmla="*/ 27 h 64"/>
              <a:gd name="T42" fmla="*/ 40 w 160"/>
              <a:gd name="T43" fmla="*/ 59 h 64"/>
              <a:gd name="T44" fmla="*/ 13 w 160"/>
              <a:gd name="T45" fmla="*/ 32 h 64"/>
              <a:gd name="T46" fmla="*/ 40 w 160"/>
              <a:gd name="T47" fmla="*/ 5 h 64"/>
              <a:gd name="T48" fmla="*/ 67 w 160"/>
              <a:gd name="T49" fmla="*/ 32 h 64"/>
              <a:gd name="T50" fmla="*/ 40 w 160"/>
              <a:gd name="T51" fmla="*/ 59 h 64"/>
              <a:gd name="T52" fmla="*/ 120 w 160"/>
              <a:gd name="T53" fmla="*/ 59 h 64"/>
              <a:gd name="T54" fmla="*/ 93 w 160"/>
              <a:gd name="T55" fmla="*/ 32 h 64"/>
              <a:gd name="T56" fmla="*/ 120 w 160"/>
              <a:gd name="T57" fmla="*/ 5 h 64"/>
              <a:gd name="T58" fmla="*/ 147 w 160"/>
              <a:gd name="T59" fmla="*/ 32 h 64"/>
              <a:gd name="T60" fmla="*/ 120 w 160"/>
              <a:gd name="T61" fmla="*/ 5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64">
                <a:moveTo>
                  <a:pt x="157" y="27"/>
                </a:moveTo>
                <a:cubicBezTo>
                  <a:pt x="152" y="27"/>
                  <a:pt x="152" y="27"/>
                  <a:pt x="152" y="27"/>
                </a:cubicBezTo>
                <a:cubicBezTo>
                  <a:pt x="149" y="12"/>
                  <a:pt x="136" y="0"/>
                  <a:pt x="120" y="0"/>
                </a:cubicBezTo>
                <a:cubicBezTo>
                  <a:pt x="105" y="0"/>
                  <a:pt x="92" y="11"/>
                  <a:pt x="89" y="26"/>
                </a:cubicBezTo>
                <a:cubicBezTo>
                  <a:pt x="86" y="23"/>
                  <a:pt x="83" y="22"/>
                  <a:pt x="80" y="22"/>
                </a:cubicBezTo>
                <a:cubicBezTo>
                  <a:pt x="77" y="22"/>
                  <a:pt x="74" y="23"/>
                  <a:pt x="71" y="26"/>
                </a:cubicBezTo>
                <a:cubicBezTo>
                  <a:pt x="68" y="11"/>
                  <a:pt x="56" y="0"/>
                  <a:pt x="40" y="0"/>
                </a:cubicBezTo>
                <a:cubicBezTo>
                  <a:pt x="23" y="0"/>
                  <a:pt x="10" y="13"/>
                  <a:pt x="8" y="29"/>
                </a:cubicBezTo>
                <a:cubicBezTo>
                  <a:pt x="3" y="29"/>
                  <a:pt x="3" y="29"/>
                  <a:pt x="3" y="29"/>
                </a:cubicBezTo>
                <a:cubicBezTo>
                  <a:pt x="1" y="29"/>
                  <a:pt x="0" y="31"/>
                  <a:pt x="0" y="32"/>
                </a:cubicBezTo>
                <a:cubicBezTo>
                  <a:pt x="0" y="33"/>
                  <a:pt x="1" y="35"/>
                  <a:pt x="3" y="35"/>
                </a:cubicBezTo>
                <a:cubicBezTo>
                  <a:pt x="8" y="35"/>
                  <a:pt x="8" y="35"/>
                  <a:pt x="8" y="35"/>
                </a:cubicBezTo>
                <a:cubicBezTo>
                  <a:pt x="10" y="51"/>
                  <a:pt x="23" y="64"/>
                  <a:pt x="40" y="64"/>
                </a:cubicBezTo>
                <a:cubicBezTo>
                  <a:pt x="57" y="64"/>
                  <a:pt x="71" y="50"/>
                  <a:pt x="72" y="33"/>
                </a:cubicBezTo>
                <a:cubicBezTo>
                  <a:pt x="74" y="29"/>
                  <a:pt x="77" y="28"/>
                  <a:pt x="80" y="28"/>
                </a:cubicBezTo>
                <a:cubicBezTo>
                  <a:pt x="83" y="28"/>
                  <a:pt x="86" y="29"/>
                  <a:pt x="88" y="33"/>
                </a:cubicBezTo>
                <a:cubicBezTo>
                  <a:pt x="89" y="50"/>
                  <a:pt x="103" y="64"/>
                  <a:pt x="120" y="64"/>
                </a:cubicBezTo>
                <a:cubicBezTo>
                  <a:pt x="138" y="64"/>
                  <a:pt x="152" y="50"/>
                  <a:pt x="152" y="32"/>
                </a:cubicBezTo>
                <a:cubicBezTo>
                  <a:pt x="157" y="32"/>
                  <a:pt x="157" y="32"/>
                  <a:pt x="157" y="32"/>
                </a:cubicBezTo>
                <a:cubicBezTo>
                  <a:pt x="159" y="32"/>
                  <a:pt x="160" y="31"/>
                  <a:pt x="160" y="29"/>
                </a:cubicBezTo>
                <a:cubicBezTo>
                  <a:pt x="160" y="28"/>
                  <a:pt x="159" y="27"/>
                  <a:pt x="157" y="27"/>
                </a:cubicBezTo>
                <a:close/>
                <a:moveTo>
                  <a:pt x="40" y="59"/>
                </a:moveTo>
                <a:cubicBezTo>
                  <a:pt x="25" y="59"/>
                  <a:pt x="13" y="47"/>
                  <a:pt x="13" y="32"/>
                </a:cubicBezTo>
                <a:cubicBezTo>
                  <a:pt x="13" y="17"/>
                  <a:pt x="25" y="5"/>
                  <a:pt x="40" y="5"/>
                </a:cubicBezTo>
                <a:cubicBezTo>
                  <a:pt x="55" y="5"/>
                  <a:pt x="67" y="17"/>
                  <a:pt x="67" y="32"/>
                </a:cubicBezTo>
                <a:cubicBezTo>
                  <a:pt x="67" y="47"/>
                  <a:pt x="55" y="59"/>
                  <a:pt x="40" y="59"/>
                </a:cubicBezTo>
                <a:close/>
                <a:moveTo>
                  <a:pt x="120" y="59"/>
                </a:moveTo>
                <a:cubicBezTo>
                  <a:pt x="105" y="59"/>
                  <a:pt x="93" y="47"/>
                  <a:pt x="93" y="32"/>
                </a:cubicBezTo>
                <a:cubicBezTo>
                  <a:pt x="93" y="17"/>
                  <a:pt x="105" y="5"/>
                  <a:pt x="120" y="5"/>
                </a:cubicBezTo>
                <a:cubicBezTo>
                  <a:pt x="135" y="5"/>
                  <a:pt x="147" y="17"/>
                  <a:pt x="147" y="32"/>
                </a:cubicBezTo>
                <a:cubicBezTo>
                  <a:pt x="147" y="47"/>
                  <a:pt x="135" y="59"/>
                  <a:pt x="120" y="5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81" name="Freeform 1158">
            <a:extLst>
              <a:ext uri="{FF2B5EF4-FFF2-40B4-BE49-F238E27FC236}">
                <a16:creationId xmlns:a16="http://schemas.microsoft.com/office/drawing/2014/main" id="{71CCD8A8-2761-5046-B350-08753A6F2303}"/>
              </a:ext>
            </a:extLst>
          </p:cNvPr>
          <p:cNvSpPr>
            <a:spLocks noEditPoints="1"/>
          </p:cNvSpPr>
          <p:nvPr/>
        </p:nvSpPr>
        <p:spPr bwMode="auto">
          <a:xfrm>
            <a:off x="9177220" y="5319713"/>
            <a:ext cx="546100" cy="550863"/>
          </a:xfrm>
          <a:custGeom>
            <a:avLst/>
            <a:gdLst>
              <a:gd name="T0" fmla="*/ 148 w 160"/>
              <a:gd name="T1" fmla="*/ 78 h 160"/>
              <a:gd name="T2" fmla="*/ 90 w 160"/>
              <a:gd name="T3" fmla="*/ 38 h 160"/>
              <a:gd name="T4" fmla="*/ 87 w 160"/>
              <a:gd name="T5" fmla="*/ 38 h 160"/>
              <a:gd name="T6" fmla="*/ 85 w 160"/>
              <a:gd name="T7" fmla="*/ 40 h 160"/>
              <a:gd name="T8" fmla="*/ 85 w 160"/>
              <a:gd name="T9" fmla="*/ 75 h 160"/>
              <a:gd name="T10" fmla="*/ 31 w 160"/>
              <a:gd name="T11" fmla="*/ 38 h 160"/>
              <a:gd name="T12" fmla="*/ 28 w 160"/>
              <a:gd name="T13" fmla="*/ 38 h 160"/>
              <a:gd name="T14" fmla="*/ 27 w 160"/>
              <a:gd name="T15" fmla="*/ 40 h 160"/>
              <a:gd name="T16" fmla="*/ 27 w 160"/>
              <a:gd name="T17" fmla="*/ 120 h 160"/>
              <a:gd name="T18" fmla="*/ 28 w 160"/>
              <a:gd name="T19" fmla="*/ 122 h 160"/>
              <a:gd name="T20" fmla="*/ 29 w 160"/>
              <a:gd name="T21" fmla="*/ 123 h 160"/>
              <a:gd name="T22" fmla="*/ 31 w 160"/>
              <a:gd name="T23" fmla="*/ 122 h 160"/>
              <a:gd name="T24" fmla="*/ 85 w 160"/>
              <a:gd name="T25" fmla="*/ 85 h 160"/>
              <a:gd name="T26" fmla="*/ 85 w 160"/>
              <a:gd name="T27" fmla="*/ 120 h 160"/>
              <a:gd name="T28" fmla="*/ 87 w 160"/>
              <a:gd name="T29" fmla="*/ 122 h 160"/>
              <a:gd name="T30" fmla="*/ 88 w 160"/>
              <a:gd name="T31" fmla="*/ 123 h 160"/>
              <a:gd name="T32" fmla="*/ 90 w 160"/>
              <a:gd name="T33" fmla="*/ 122 h 160"/>
              <a:gd name="T34" fmla="*/ 148 w 160"/>
              <a:gd name="T35" fmla="*/ 82 h 160"/>
              <a:gd name="T36" fmla="*/ 149 w 160"/>
              <a:gd name="T37" fmla="*/ 80 h 160"/>
              <a:gd name="T38" fmla="*/ 148 w 160"/>
              <a:gd name="T39" fmla="*/ 78 h 160"/>
              <a:gd name="T40" fmla="*/ 32 w 160"/>
              <a:gd name="T41" fmla="*/ 115 h 160"/>
              <a:gd name="T42" fmla="*/ 32 w 160"/>
              <a:gd name="T43" fmla="*/ 45 h 160"/>
              <a:gd name="T44" fmla="*/ 83 w 160"/>
              <a:gd name="T45" fmla="*/ 80 h 160"/>
              <a:gd name="T46" fmla="*/ 32 w 160"/>
              <a:gd name="T47" fmla="*/ 115 h 160"/>
              <a:gd name="T48" fmla="*/ 91 w 160"/>
              <a:gd name="T49" fmla="*/ 115 h 160"/>
              <a:gd name="T50" fmla="*/ 91 w 160"/>
              <a:gd name="T51" fmla="*/ 45 h 160"/>
              <a:gd name="T52" fmla="*/ 142 w 160"/>
              <a:gd name="T53" fmla="*/ 80 h 160"/>
              <a:gd name="T54" fmla="*/ 91 w 160"/>
              <a:gd name="T55" fmla="*/ 115 h 160"/>
              <a:gd name="T56" fmla="*/ 80 w 160"/>
              <a:gd name="T57" fmla="*/ 0 h 160"/>
              <a:gd name="T58" fmla="*/ 0 w 160"/>
              <a:gd name="T59" fmla="*/ 80 h 160"/>
              <a:gd name="T60" fmla="*/ 80 w 160"/>
              <a:gd name="T61" fmla="*/ 160 h 160"/>
              <a:gd name="T62" fmla="*/ 160 w 160"/>
              <a:gd name="T63" fmla="*/ 80 h 160"/>
              <a:gd name="T64" fmla="*/ 80 w 160"/>
              <a:gd name="T65" fmla="*/ 0 h 160"/>
              <a:gd name="T66" fmla="*/ 80 w 160"/>
              <a:gd name="T67" fmla="*/ 155 h 160"/>
              <a:gd name="T68" fmla="*/ 5 w 160"/>
              <a:gd name="T69" fmla="*/ 80 h 160"/>
              <a:gd name="T70" fmla="*/ 80 w 160"/>
              <a:gd name="T71" fmla="*/ 5 h 160"/>
              <a:gd name="T72" fmla="*/ 155 w 160"/>
              <a:gd name="T73" fmla="*/ 80 h 160"/>
              <a:gd name="T74" fmla="*/ 80 w 160"/>
              <a:gd name="T7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148" y="78"/>
                </a:moveTo>
                <a:cubicBezTo>
                  <a:pt x="90" y="38"/>
                  <a:pt x="90" y="38"/>
                  <a:pt x="90" y="38"/>
                </a:cubicBezTo>
                <a:cubicBezTo>
                  <a:pt x="89" y="37"/>
                  <a:pt x="88" y="37"/>
                  <a:pt x="87" y="38"/>
                </a:cubicBezTo>
                <a:cubicBezTo>
                  <a:pt x="86" y="38"/>
                  <a:pt x="85" y="39"/>
                  <a:pt x="85" y="40"/>
                </a:cubicBezTo>
                <a:cubicBezTo>
                  <a:pt x="85" y="75"/>
                  <a:pt x="85" y="75"/>
                  <a:pt x="85" y="75"/>
                </a:cubicBezTo>
                <a:cubicBezTo>
                  <a:pt x="31" y="38"/>
                  <a:pt x="31" y="38"/>
                  <a:pt x="31" y="38"/>
                </a:cubicBezTo>
                <a:cubicBezTo>
                  <a:pt x="30" y="37"/>
                  <a:pt x="29" y="37"/>
                  <a:pt x="28" y="38"/>
                </a:cubicBezTo>
                <a:cubicBezTo>
                  <a:pt x="27" y="38"/>
                  <a:pt x="27" y="39"/>
                  <a:pt x="27" y="40"/>
                </a:cubicBezTo>
                <a:cubicBezTo>
                  <a:pt x="27" y="120"/>
                  <a:pt x="27" y="120"/>
                  <a:pt x="27" y="120"/>
                </a:cubicBezTo>
                <a:cubicBezTo>
                  <a:pt x="27" y="121"/>
                  <a:pt x="27" y="122"/>
                  <a:pt x="28" y="122"/>
                </a:cubicBezTo>
                <a:cubicBezTo>
                  <a:pt x="28" y="123"/>
                  <a:pt x="29" y="123"/>
                  <a:pt x="29" y="123"/>
                </a:cubicBezTo>
                <a:cubicBezTo>
                  <a:pt x="30" y="123"/>
                  <a:pt x="30" y="123"/>
                  <a:pt x="31" y="122"/>
                </a:cubicBezTo>
                <a:cubicBezTo>
                  <a:pt x="85" y="85"/>
                  <a:pt x="85" y="85"/>
                  <a:pt x="85" y="85"/>
                </a:cubicBezTo>
                <a:cubicBezTo>
                  <a:pt x="85" y="120"/>
                  <a:pt x="85" y="120"/>
                  <a:pt x="85" y="120"/>
                </a:cubicBezTo>
                <a:cubicBezTo>
                  <a:pt x="85" y="121"/>
                  <a:pt x="86" y="122"/>
                  <a:pt x="87" y="122"/>
                </a:cubicBezTo>
                <a:cubicBezTo>
                  <a:pt x="87" y="123"/>
                  <a:pt x="88" y="123"/>
                  <a:pt x="88" y="123"/>
                </a:cubicBezTo>
                <a:cubicBezTo>
                  <a:pt x="89" y="123"/>
                  <a:pt x="89" y="123"/>
                  <a:pt x="90" y="122"/>
                </a:cubicBezTo>
                <a:cubicBezTo>
                  <a:pt x="148" y="82"/>
                  <a:pt x="148" y="82"/>
                  <a:pt x="148" y="82"/>
                </a:cubicBezTo>
                <a:cubicBezTo>
                  <a:pt x="149" y="82"/>
                  <a:pt x="149" y="81"/>
                  <a:pt x="149" y="80"/>
                </a:cubicBezTo>
                <a:cubicBezTo>
                  <a:pt x="149" y="79"/>
                  <a:pt x="149" y="78"/>
                  <a:pt x="148" y="78"/>
                </a:cubicBezTo>
                <a:close/>
                <a:moveTo>
                  <a:pt x="32" y="115"/>
                </a:moveTo>
                <a:cubicBezTo>
                  <a:pt x="32" y="45"/>
                  <a:pt x="32" y="45"/>
                  <a:pt x="32" y="45"/>
                </a:cubicBezTo>
                <a:cubicBezTo>
                  <a:pt x="83" y="80"/>
                  <a:pt x="83" y="80"/>
                  <a:pt x="83" y="80"/>
                </a:cubicBezTo>
                <a:lnTo>
                  <a:pt x="32" y="115"/>
                </a:lnTo>
                <a:close/>
                <a:moveTo>
                  <a:pt x="91" y="115"/>
                </a:moveTo>
                <a:cubicBezTo>
                  <a:pt x="91" y="45"/>
                  <a:pt x="91" y="45"/>
                  <a:pt x="91" y="45"/>
                </a:cubicBezTo>
                <a:cubicBezTo>
                  <a:pt x="142" y="80"/>
                  <a:pt x="142" y="80"/>
                  <a:pt x="142" y="80"/>
                </a:cubicBezTo>
                <a:lnTo>
                  <a:pt x="91" y="115"/>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82" name="Freeform 1159">
            <a:extLst>
              <a:ext uri="{FF2B5EF4-FFF2-40B4-BE49-F238E27FC236}">
                <a16:creationId xmlns:a16="http://schemas.microsoft.com/office/drawing/2014/main" id="{59FFF313-7DC9-194D-BA4A-E6ACDE4D77D4}"/>
              </a:ext>
            </a:extLst>
          </p:cNvPr>
          <p:cNvSpPr>
            <a:spLocks noEditPoints="1"/>
          </p:cNvSpPr>
          <p:nvPr/>
        </p:nvSpPr>
        <p:spPr bwMode="auto">
          <a:xfrm>
            <a:off x="9177220" y="6008688"/>
            <a:ext cx="546100" cy="384175"/>
          </a:xfrm>
          <a:custGeom>
            <a:avLst/>
            <a:gdLst>
              <a:gd name="T0" fmla="*/ 159 w 160"/>
              <a:gd name="T1" fmla="*/ 54 h 112"/>
              <a:gd name="T2" fmla="*/ 83 w 160"/>
              <a:gd name="T3" fmla="*/ 1 h 112"/>
              <a:gd name="T4" fmla="*/ 80 w 160"/>
              <a:gd name="T5" fmla="*/ 0 h 112"/>
              <a:gd name="T6" fmla="*/ 79 w 160"/>
              <a:gd name="T7" fmla="*/ 3 h 112"/>
              <a:gd name="T8" fmla="*/ 79 w 160"/>
              <a:gd name="T9" fmla="*/ 53 h 112"/>
              <a:gd name="T10" fmla="*/ 4 w 160"/>
              <a:gd name="T11" fmla="*/ 1 h 112"/>
              <a:gd name="T12" fmla="*/ 2 w 160"/>
              <a:gd name="T13" fmla="*/ 0 h 112"/>
              <a:gd name="T14" fmla="*/ 0 w 160"/>
              <a:gd name="T15" fmla="*/ 3 h 112"/>
              <a:gd name="T16" fmla="*/ 0 w 160"/>
              <a:gd name="T17" fmla="*/ 109 h 112"/>
              <a:gd name="T18" fmla="*/ 2 w 160"/>
              <a:gd name="T19" fmla="*/ 112 h 112"/>
              <a:gd name="T20" fmla="*/ 3 w 160"/>
              <a:gd name="T21" fmla="*/ 112 h 112"/>
              <a:gd name="T22" fmla="*/ 4 w 160"/>
              <a:gd name="T23" fmla="*/ 112 h 112"/>
              <a:gd name="T24" fmla="*/ 79 w 160"/>
              <a:gd name="T25" fmla="*/ 60 h 112"/>
              <a:gd name="T26" fmla="*/ 79 w 160"/>
              <a:gd name="T27" fmla="*/ 109 h 112"/>
              <a:gd name="T28" fmla="*/ 80 w 160"/>
              <a:gd name="T29" fmla="*/ 112 h 112"/>
              <a:gd name="T30" fmla="*/ 81 w 160"/>
              <a:gd name="T31" fmla="*/ 112 h 112"/>
              <a:gd name="T32" fmla="*/ 83 w 160"/>
              <a:gd name="T33" fmla="*/ 112 h 112"/>
              <a:gd name="T34" fmla="*/ 159 w 160"/>
              <a:gd name="T35" fmla="*/ 58 h 112"/>
              <a:gd name="T36" fmla="*/ 160 w 160"/>
              <a:gd name="T37" fmla="*/ 56 h 112"/>
              <a:gd name="T38" fmla="*/ 159 w 160"/>
              <a:gd name="T39" fmla="*/ 54 h 112"/>
              <a:gd name="T40" fmla="*/ 6 w 160"/>
              <a:gd name="T41" fmla="*/ 104 h 112"/>
              <a:gd name="T42" fmla="*/ 6 w 160"/>
              <a:gd name="T43" fmla="*/ 8 h 112"/>
              <a:gd name="T44" fmla="*/ 74 w 160"/>
              <a:gd name="T45" fmla="*/ 56 h 112"/>
              <a:gd name="T46" fmla="*/ 6 w 160"/>
              <a:gd name="T47" fmla="*/ 104 h 112"/>
              <a:gd name="T48" fmla="*/ 84 w 160"/>
              <a:gd name="T49" fmla="*/ 104 h 112"/>
              <a:gd name="T50" fmla="*/ 84 w 160"/>
              <a:gd name="T51" fmla="*/ 8 h 112"/>
              <a:gd name="T52" fmla="*/ 152 w 160"/>
              <a:gd name="T53" fmla="*/ 56 h 112"/>
              <a:gd name="T54" fmla="*/ 84 w 160"/>
              <a:gd name="T55"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12">
                <a:moveTo>
                  <a:pt x="159" y="54"/>
                </a:moveTo>
                <a:cubicBezTo>
                  <a:pt x="83" y="1"/>
                  <a:pt x="83" y="1"/>
                  <a:pt x="83" y="1"/>
                </a:cubicBezTo>
                <a:cubicBezTo>
                  <a:pt x="82" y="0"/>
                  <a:pt x="81" y="0"/>
                  <a:pt x="80" y="0"/>
                </a:cubicBezTo>
                <a:cubicBezTo>
                  <a:pt x="79" y="1"/>
                  <a:pt x="79" y="2"/>
                  <a:pt x="79" y="3"/>
                </a:cubicBezTo>
                <a:cubicBezTo>
                  <a:pt x="79" y="53"/>
                  <a:pt x="79" y="53"/>
                  <a:pt x="79" y="53"/>
                </a:cubicBezTo>
                <a:cubicBezTo>
                  <a:pt x="4" y="1"/>
                  <a:pt x="4" y="1"/>
                  <a:pt x="4" y="1"/>
                </a:cubicBezTo>
                <a:cubicBezTo>
                  <a:pt x="4" y="0"/>
                  <a:pt x="2" y="0"/>
                  <a:pt x="2" y="0"/>
                </a:cubicBezTo>
                <a:cubicBezTo>
                  <a:pt x="1" y="1"/>
                  <a:pt x="0" y="2"/>
                  <a:pt x="0" y="3"/>
                </a:cubicBezTo>
                <a:cubicBezTo>
                  <a:pt x="0" y="109"/>
                  <a:pt x="0" y="109"/>
                  <a:pt x="0" y="109"/>
                </a:cubicBezTo>
                <a:cubicBezTo>
                  <a:pt x="0" y="110"/>
                  <a:pt x="1" y="111"/>
                  <a:pt x="2" y="112"/>
                </a:cubicBezTo>
                <a:cubicBezTo>
                  <a:pt x="2" y="112"/>
                  <a:pt x="2" y="112"/>
                  <a:pt x="3" y="112"/>
                </a:cubicBezTo>
                <a:cubicBezTo>
                  <a:pt x="3" y="112"/>
                  <a:pt x="4" y="112"/>
                  <a:pt x="4" y="112"/>
                </a:cubicBezTo>
                <a:cubicBezTo>
                  <a:pt x="79" y="60"/>
                  <a:pt x="79" y="60"/>
                  <a:pt x="79" y="60"/>
                </a:cubicBezTo>
                <a:cubicBezTo>
                  <a:pt x="79" y="109"/>
                  <a:pt x="79" y="109"/>
                  <a:pt x="79" y="109"/>
                </a:cubicBezTo>
                <a:cubicBezTo>
                  <a:pt x="79" y="111"/>
                  <a:pt x="79" y="111"/>
                  <a:pt x="80" y="112"/>
                </a:cubicBezTo>
                <a:cubicBezTo>
                  <a:pt x="81" y="112"/>
                  <a:pt x="81" y="112"/>
                  <a:pt x="81" y="112"/>
                </a:cubicBezTo>
                <a:cubicBezTo>
                  <a:pt x="82" y="112"/>
                  <a:pt x="83" y="112"/>
                  <a:pt x="83" y="112"/>
                </a:cubicBezTo>
                <a:cubicBezTo>
                  <a:pt x="159" y="58"/>
                  <a:pt x="159" y="58"/>
                  <a:pt x="159" y="58"/>
                </a:cubicBezTo>
                <a:cubicBezTo>
                  <a:pt x="160" y="58"/>
                  <a:pt x="160" y="57"/>
                  <a:pt x="160" y="56"/>
                </a:cubicBezTo>
                <a:cubicBezTo>
                  <a:pt x="160" y="55"/>
                  <a:pt x="160" y="54"/>
                  <a:pt x="159" y="54"/>
                </a:cubicBezTo>
                <a:close/>
                <a:moveTo>
                  <a:pt x="6" y="104"/>
                </a:moveTo>
                <a:cubicBezTo>
                  <a:pt x="6" y="8"/>
                  <a:pt x="6" y="8"/>
                  <a:pt x="6" y="8"/>
                </a:cubicBezTo>
                <a:cubicBezTo>
                  <a:pt x="74" y="56"/>
                  <a:pt x="74" y="56"/>
                  <a:pt x="74" y="56"/>
                </a:cubicBezTo>
                <a:lnTo>
                  <a:pt x="6" y="104"/>
                </a:lnTo>
                <a:close/>
                <a:moveTo>
                  <a:pt x="84" y="104"/>
                </a:moveTo>
                <a:cubicBezTo>
                  <a:pt x="84" y="8"/>
                  <a:pt x="84" y="8"/>
                  <a:pt x="84" y="8"/>
                </a:cubicBezTo>
                <a:cubicBezTo>
                  <a:pt x="152" y="56"/>
                  <a:pt x="152" y="56"/>
                  <a:pt x="152" y="56"/>
                </a:cubicBezTo>
                <a:lnTo>
                  <a:pt x="84" y="10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2354712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Rectangle"/>
          <p:cNvSpPr/>
          <p:nvPr/>
        </p:nvSpPr>
        <p:spPr>
          <a:xfrm>
            <a:off x="2" y="2"/>
            <a:ext cx="12191999" cy="6857999"/>
          </a:xfrm>
          <a:prstGeom prst="rect">
            <a:avLst/>
          </a:prstGeom>
          <a:solidFill>
            <a:srgbClr val="016AC3"/>
          </a:solidFill>
          <a:ln w="3175">
            <a:noFill/>
            <a:miter lim="400000"/>
          </a:ln>
        </p:spPr>
        <p:txBody>
          <a:bodyPr lIns="35719" tIns="35719" rIns="35719" bIns="35719" anchor="ctr"/>
          <a:lstStyle/>
          <a:p>
            <a:pPr>
              <a:defRPr sz="3000">
                <a:solidFill>
                  <a:srgbClr val="FFFFFF"/>
                </a:solidFill>
              </a:defRPr>
            </a:pPr>
            <a:endParaRPr sz="1500"/>
          </a:p>
        </p:txBody>
      </p:sp>
      <p:sp>
        <p:nvSpPr>
          <p:cNvPr id="383" name="Freeform 1285">
            <a:extLst>
              <a:ext uri="{FF2B5EF4-FFF2-40B4-BE49-F238E27FC236}">
                <a16:creationId xmlns:a16="http://schemas.microsoft.com/office/drawing/2014/main" id="{C4FF0AC0-517E-C54A-B268-64BA1A207417}"/>
              </a:ext>
            </a:extLst>
          </p:cNvPr>
          <p:cNvSpPr>
            <a:spLocks noEditPoints="1"/>
          </p:cNvSpPr>
          <p:nvPr/>
        </p:nvSpPr>
        <p:spPr bwMode="auto">
          <a:xfrm>
            <a:off x="691725" y="365125"/>
            <a:ext cx="146050" cy="550863"/>
          </a:xfrm>
          <a:custGeom>
            <a:avLst/>
            <a:gdLst>
              <a:gd name="T0" fmla="*/ 21 w 43"/>
              <a:gd name="T1" fmla="*/ 43 h 160"/>
              <a:gd name="T2" fmla="*/ 43 w 43"/>
              <a:gd name="T3" fmla="*/ 21 h 160"/>
              <a:gd name="T4" fmla="*/ 21 w 43"/>
              <a:gd name="T5" fmla="*/ 0 h 160"/>
              <a:gd name="T6" fmla="*/ 0 w 43"/>
              <a:gd name="T7" fmla="*/ 21 h 160"/>
              <a:gd name="T8" fmla="*/ 21 w 43"/>
              <a:gd name="T9" fmla="*/ 43 h 160"/>
              <a:gd name="T10" fmla="*/ 21 w 43"/>
              <a:gd name="T11" fmla="*/ 5 h 160"/>
              <a:gd name="T12" fmla="*/ 37 w 43"/>
              <a:gd name="T13" fmla="*/ 21 h 160"/>
              <a:gd name="T14" fmla="*/ 21 w 43"/>
              <a:gd name="T15" fmla="*/ 37 h 160"/>
              <a:gd name="T16" fmla="*/ 5 w 43"/>
              <a:gd name="T17" fmla="*/ 21 h 160"/>
              <a:gd name="T18" fmla="*/ 21 w 43"/>
              <a:gd name="T19" fmla="*/ 5 h 160"/>
              <a:gd name="T20" fmla="*/ 21 w 43"/>
              <a:gd name="T21" fmla="*/ 117 h 160"/>
              <a:gd name="T22" fmla="*/ 0 w 43"/>
              <a:gd name="T23" fmla="*/ 139 h 160"/>
              <a:gd name="T24" fmla="*/ 21 w 43"/>
              <a:gd name="T25" fmla="*/ 160 h 160"/>
              <a:gd name="T26" fmla="*/ 43 w 43"/>
              <a:gd name="T27" fmla="*/ 139 h 160"/>
              <a:gd name="T28" fmla="*/ 21 w 43"/>
              <a:gd name="T29" fmla="*/ 117 h 160"/>
              <a:gd name="T30" fmla="*/ 21 w 43"/>
              <a:gd name="T31" fmla="*/ 155 h 160"/>
              <a:gd name="T32" fmla="*/ 5 w 43"/>
              <a:gd name="T33" fmla="*/ 139 h 160"/>
              <a:gd name="T34" fmla="*/ 21 w 43"/>
              <a:gd name="T35" fmla="*/ 123 h 160"/>
              <a:gd name="T36" fmla="*/ 37 w 43"/>
              <a:gd name="T37" fmla="*/ 139 h 160"/>
              <a:gd name="T38" fmla="*/ 21 w 43"/>
              <a:gd name="T39" fmla="*/ 155 h 160"/>
              <a:gd name="T40" fmla="*/ 21 w 43"/>
              <a:gd name="T41" fmla="*/ 59 h 160"/>
              <a:gd name="T42" fmla="*/ 0 w 43"/>
              <a:gd name="T43" fmla="*/ 80 h 160"/>
              <a:gd name="T44" fmla="*/ 21 w 43"/>
              <a:gd name="T45" fmla="*/ 101 h 160"/>
              <a:gd name="T46" fmla="*/ 43 w 43"/>
              <a:gd name="T47" fmla="*/ 80 h 160"/>
              <a:gd name="T48" fmla="*/ 21 w 43"/>
              <a:gd name="T49" fmla="*/ 59 h 160"/>
              <a:gd name="T50" fmla="*/ 21 w 43"/>
              <a:gd name="T51" fmla="*/ 96 h 160"/>
              <a:gd name="T52" fmla="*/ 5 w 43"/>
              <a:gd name="T53" fmla="*/ 80 h 160"/>
              <a:gd name="T54" fmla="*/ 21 w 43"/>
              <a:gd name="T55" fmla="*/ 64 h 160"/>
              <a:gd name="T56" fmla="*/ 37 w 43"/>
              <a:gd name="T57" fmla="*/ 80 h 160"/>
              <a:gd name="T58" fmla="*/ 21 w 43"/>
              <a:gd name="T59" fmla="*/ 9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160">
                <a:moveTo>
                  <a:pt x="21" y="43"/>
                </a:moveTo>
                <a:cubicBezTo>
                  <a:pt x="33" y="43"/>
                  <a:pt x="43" y="33"/>
                  <a:pt x="43" y="21"/>
                </a:cubicBezTo>
                <a:cubicBezTo>
                  <a:pt x="43" y="10"/>
                  <a:pt x="33" y="0"/>
                  <a:pt x="21" y="0"/>
                </a:cubicBezTo>
                <a:cubicBezTo>
                  <a:pt x="10" y="0"/>
                  <a:pt x="0" y="10"/>
                  <a:pt x="0" y="21"/>
                </a:cubicBezTo>
                <a:cubicBezTo>
                  <a:pt x="0" y="33"/>
                  <a:pt x="10" y="43"/>
                  <a:pt x="21" y="43"/>
                </a:cubicBezTo>
                <a:close/>
                <a:moveTo>
                  <a:pt x="21" y="5"/>
                </a:moveTo>
                <a:cubicBezTo>
                  <a:pt x="30" y="5"/>
                  <a:pt x="37" y="13"/>
                  <a:pt x="37" y="21"/>
                </a:cubicBezTo>
                <a:cubicBezTo>
                  <a:pt x="37" y="30"/>
                  <a:pt x="30" y="37"/>
                  <a:pt x="21" y="37"/>
                </a:cubicBezTo>
                <a:cubicBezTo>
                  <a:pt x="13" y="37"/>
                  <a:pt x="5" y="30"/>
                  <a:pt x="5" y="21"/>
                </a:cubicBezTo>
                <a:cubicBezTo>
                  <a:pt x="5" y="13"/>
                  <a:pt x="13" y="5"/>
                  <a:pt x="21" y="5"/>
                </a:cubicBezTo>
                <a:close/>
                <a:moveTo>
                  <a:pt x="21" y="117"/>
                </a:moveTo>
                <a:cubicBezTo>
                  <a:pt x="10" y="117"/>
                  <a:pt x="0" y="127"/>
                  <a:pt x="0" y="139"/>
                </a:cubicBezTo>
                <a:cubicBezTo>
                  <a:pt x="0" y="150"/>
                  <a:pt x="10" y="160"/>
                  <a:pt x="21" y="160"/>
                </a:cubicBezTo>
                <a:cubicBezTo>
                  <a:pt x="33" y="160"/>
                  <a:pt x="43" y="150"/>
                  <a:pt x="43" y="139"/>
                </a:cubicBezTo>
                <a:cubicBezTo>
                  <a:pt x="43" y="127"/>
                  <a:pt x="33" y="117"/>
                  <a:pt x="21" y="117"/>
                </a:cubicBezTo>
                <a:close/>
                <a:moveTo>
                  <a:pt x="21" y="155"/>
                </a:moveTo>
                <a:cubicBezTo>
                  <a:pt x="13" y="155"/>
                  <a:pt x="5" y="147"/>
                  <a:pt x="5" y="139"/>
                </a:cubicBezTo>
                <a:cubicBezTo>
                  <a:pt x="5" y="130"/>
                  <a:pt x="13" y="123"/>
                  <a:pt x="21" y="123"/>
                </a:cubicBezTo>
                <a:cubicBezTo>
                  <a:pt x="30" y="123"/>
                  <a:pt x="37" y="130"/>
                  <a:pt x="37" y="139"/>
                </a:cubicBezTo>
                <a:cubicBezTo>
                  <a:pt x="37" y="147"/>
                  <a:pt x="30" y="155"/>
                  <a:pt x="21" y="155"/>
                </a:cubicBezTo>
                <a:close/>
                <a:moveTo>
                  <a:pt x="21" y="59"/>
                </a:moveTo>
                <a:cubicBezTo>
                  <a:pt x="10" y="59"/>
                  <a:pt x="0" y="68"/>
                  <a:pt x="0" y="80"/>
                </a:cubicBezTo>
                <a:cubicBezTo>
                  <a:pt x="0" y="92"/>
                  <a:pt x="10" y="101"/>
                  <a:pt x="21" y="101"/>
                </a:cubicBezTo>
                <a:cubicBezTo>
                  <a:pt x="33" y="101"/>
                  <a:pt x="43" y="92"/>
                  <a:pt x="43" y="80"/>
                </a:cubicBezTo>
                <a:cubicBezTo>
                  <a:pt x="43" y="68"/>
                  <a:pt x="33" y="59"/>
                  <a:pt x="21" y="59"/>
                </a:cubicBezTo>
                <a:close/>
                <a:moveTo>
                  <a:pt x="21" y="96"/>
                </a:moveTo>
                <a:cubicBezTo>
                  <a:pt x="13" y="96"/>
                  <a:pt x="5" y="89"/>
                  <a:pt x="5" y="80"/>
                </a:cubicBezTo>
                <a:cubicBezTo>
                  <a:pt x="5" y="71"/>
                  <a:pt x="13" y="64"/>
                  <a:pt x="21" y="64"/>
                </a:cubicBezTo>
                <a:cubicBezTo>
                  <a:pt x="30" y="64"/>
                  <a:pt x="37" y="71"/>
                  <a:pt x="37" y="80"/>
                </a:cubicBezTo>
                <a:cubicBezTo>
                  <a:pt x="37" y="89"/>
                  <a:pt x="30" y="96"/>
                  <a:pt x="21" y="9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84" name="Freeform 1286">
            <a:extLst>
              <a:ext uri="{FF2B5EF4-FFF2-40B4-BE49-F238E27FC236}">
                <a16:creationId xmlns:a16="http://schemas.microsoft.com/office/drawing/2014/main" id="{02799F4E-E157-3849-BF2B-71EAB32B50CF}"/>
              </a:ext>
            </a:extLst>
          </p:cNvPr>
          <p:cNvSpPr>
            <a:spLocks noEditPoints="1"/>
          </p:cNvSpPr>
          <p:nvPr/>
        </p:nvSpPr>
        <p:spPr bwMode="auto">
          <a:xfrm>
            <a:off x="486937" y="1122363"/>
            <a:ext cx="546100" cy="274638"/>
          </a:xfrm>
          <a:custGeom>
            <a:avLst/>
            <a:gdLst>
              <a:gd name="T0" fmla="*/ 48 w 160"/>
              <a:gd name="T1" fmla="*/ 29 h 80"/>
              <a:gd name="T2" fmla="*/ 37 w 160"/>
              <a:gd name="T3" fmla="*/ 40 h 80"/>
              <a:gd name="T4" fmla="*/ 48 w 160"/>
              <a:gd name="T5" fmla="*/ 51 h 80"/>
              <a:gd name="T6" fmla="*/ 59 w 160"/>
              <a:gd name="T7" fmla="*/ 40 h 80"/>
              <a:gd name="T8" fmla="*/ 48 w 160"/>
              <a:gd name="T9" fmla="*/ 29 h 80"/>
              <a:gd name="T10" fmla="*/ 48 w 160"/>
              <a:gd name="T11" fmla="*/ 45 h 80"/>
              <a:gd name="T12" fmla="*/ 43 w 160"/>
              <a:gd name="T13" fmla="*/ 40 h 80"/>
              <a:gd name="T14" fmla="*/ 48 w 160"/>
              <a:gd name="T15" fmla="*/ 35 h 80"/>
              <a:gd name="T16" fmla="*/ 53 w 160"/>
              <a:gd name="T17" fmla="*/ 40 h 80"/>
              <a:gd name="T18" fmla="*/ 48 w 160"/>
              <a:gd name="T19" fmla="*/ 45 h 80"/>
              <a:gd name="T20" fmla="*/ 80 w 160"/>
              <a:gd name="T21" fmla="*/ 29 h 80"/>
              <a:gd name="T22" fmla="*/ 69 w 160"/>
              <a:gd name="T23" fmla="*/ 40 h 80"/>
              <a:gd name="T24" fmla="*/ 80 w 160"/>
              <a:gd name="T25" fmla="*/ 51 h 80"/>
              <a:gd name="T26" fmla="*/ 91 w 160"/>
              <a:gd name="T27" fmla="*/ 40 h 80"/>
              <a:gd name="T28" fmla="*/ 80 w 160"/>
              <a:gd name="T29" fmla="*/ 29 h 80"/>
              <a:gd name="T30" fmla="*/ 80 w 160"/>
              <a:gd name="T31" fmla="*/ 45 h 80"/>
              <a:gd name="T32" fmla="*/ 75 w 160"/>
              <a:gd name="T33" fmla="*/ 40 h 80"/>
              <a:gd name="T34" fmla="*/ 80 w 160"/>
              <a:gd name="T35" fmla="*/ 35 h 80"/>
              <a:gd name="T36" fmla="*/ 85 w 160"/>
              <a:gd name="T37" fmla="*/ 40 h 80"/>
              <a:gd name="T38" fmla="*/ 80 w 160"/>
              <a:gd name="T39" fmla="*/ 45 h 80"/>
              <a:gd name="T40" fmla="*/ 123 w 160"/>
              <a:gd name="T41" fmla="*/ 40 h 80"/>
              <a:gd name="T42" fmla="*/ 112 w 160"/>
              <a:gd name="T43" fmla="*/ 29 h 80"/>
              <a:gd name="T44" fmla="*/ 101 w 160"/>
              <a:gd name="T45" fmla="*/ 40 h 80"/>
              <a:gd name="T46" fmla="*/ 112 w 160"/>
              <a:gd name="T47" fmla="*/ 51 h 80"/>
              <a:gd name="T48" fmla="*/ 123 w 160"/>
              <a:gd name="T49" fmla="*/ 40 h 80"/>
              <a:gd name="T50" fmla="*/ 112 w 160"/>
              <a:gd name="T51" fmla="*/ 45 h 80"/>
              <a:gd name="T52" fmla="*/ 107 w 160"/>
              <a:gd name="T53" fmla="*/ 40 h 80"/>
              <a:gd name="T54" fmla="*/ 112 w 160"/>
              <a:gd name="T55" fmla="*/ 35 h 80"/>
              <a:gd name="T56" fmla="*/ 117 w 160"/>
              <a:gd name="T57" fmla="*/ 40 h 80"/>
              <a:gd name="T58" fmla="*/ 112 w 160"/>
              <a:gd name="T59" fmla="*/ 45 h 80"/>
              <a:gd name="T60" fmla="*/ 42 w 160"/>
              <a:gd name="T61" fmla="*/ 75 h 80"/>
              <a:gd name="T62" fmla="*/ 42 w 160"/>
              <a:gd name="T63" fmla="*/ 79 h 80"/>
              <a:gd name="T64" fmla="*/ 40 w 160"/>
              <a:gd name="T65" fmla="*/ 80 h 80"/>
              <a:gd name="T66" fmla="*/ 38 w 160"/>
              <a:gd name="T67" fmla="*/ 79 h 80"/>
              <a:gd name="T68" fmla="*/ 1 w 160"/>
              <a:gd name="T69" fmla="*/ 42 h 80"/>
              <a:gd name="T70" fmla="*/ 1 w 160"/>
              <a:gd name="T71" fmla="*/ 38 h 80"/>
              <a:gd name="T72" fmla="*/ 38 w 160"/>
              <a:gd name="T73" fmla="*/ 1 h 80"/>
              <a:gd name="T74" fmla="*/ 42 w 160"/>
              <a:gd name="T75" fmla="*/ 1 h 80"/>
              <a:gd name="T76" fmla="*/ 42 w 160"/>
              <a:gd name="T77" fmla="*/ 5 h 80"/>
              <a:gd name="T78" fmla="*/ 6 w 160"/>
              <a:gd name="T79" fmla="*/ 40 h 80"/>
              <a:gd name="T80" fmla="*/ 42 w 160"/>
              <a:gd name="T81" fmla="*/ 75 h 80"/>
              <a:gd name="T82" fmla="*/ 159 w 160"/>
              <a:gd name="T83" fmla="*/ 42 h 80"/>
              <a:gd name="T84" fmla="*/ 122 w 160"/>
              <a:gd name="T85" fmla="*/ 79 h 80"/>
              <a:gd name="T86" fmla="*/ 120 w 160"/>
              <a:gd name="T87" fmla="*/ 80 h 80"/>
              <a:gd name="T88" fmla="*/ 118 w 160"/>
              <a:gd name="T89" fmla="*/ 79 h 80"/>
              <a:gd name="T90" fmla="*/ 118 w 160"/>
              <a:gd name="T91" fmla="*/ 75 h 80"/>
              <a:gd name="T92" fmla="*/ 154 w 160"/>
              <a:gd name="T93" fmla="*/ 40 h 80"/>
              <a:gd name="T94" fmla="*/ 118 w 160"/>
              <a:gd name="T95" fmla="*/ 5 h 80"/>
              <a:gd name="T96" fmla="*/ 118 w 160"/>
              <a:gd name="T97" fmla="*/ 1 h 80"/>
              <a:gd name="T98" fmla="*/ 122 w 160"/>
              <a:gd name="T99" fmla="*/ 1 h 80"/>
              <a:gd name="T100" fmla="*/ 159 w 160"/>
              <a:gd name="T101" fmla="*/ 38 h 80"/>
              <a:gd name="T102" fmla="*/ 159 w 160"/>
              <a:gd name="T103" fmla="*/ 4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 h="80">
                <a:moveTo>
                  <a:pt x="48" y="29"/>
                </a:moveTo>
                <a:cubicBezTo>
                  <a:pt x="42" y="29"/>
                  <a:pt x="37" y="34"/>
                  <a:pt x="37" y="40"/>
                </a:cubicBezTo>
                <a:cubicBezTo>
                  <a:pt x="37" y="46"/>
                  <a:pt x="42" y="51"/>
                  <a:pt x="48" y="51"/>
                </a:cubicBezTo>
                <a:cubicBezTo>
                  <a:pt x="54" y="51"/>
                  <a:pt x="59" y="46"/>
                  <a:pt x="59" y="40"/>
                </a:cubicBezTo>
                <a:cubicBezTo>
                  <a:pt x="59" y="34"/>
                  <a:pt x="54" y="29"/>
                  <a:pt x="48" y="29"/>
                </a:cubicBezTo>
                <a:close/>
                <a:moveTo>
                  <a:pt x="48" y="45"/>
                </a:moveTo>
                <a:cubicBezTo>
                  <a:pt x="45" y="45"/>
                  <a:pt x="43" y="43"/>
                  <a:pt x="43" y="40"/>
                </a:cubicBezTo>
                <a:cubicBezTo>
                  <a:pt x="43" y="37"/>
                  <a:pt x="45" y="35"/>
                  <a:pt x="48" y="35"/>
                </a:cubicBezTo>
                <a:cubicBezTo>
                  <a:pt x="51" y="35"/>
                  <a:pt x="53" y="37"/>
                  <a:pt x="53" y="40"/>
                </a:cubicBezTo>
                <a:cubicBezTo>
                  <a:pt x="53" y="43"/>
                  <a:pt x="51" y="45"/>
                  <a:pt x="48" y="45"/>
                </a:cubicBezTo>
                <a:close/>
                <a:moveTo>
                  <a:pt x="80" y="29"/>
                </a:moveTo>
                <a:cubicBezTo>
                  <a:pt x="74" y="29"/>
                  <a:pt x="69" y="34"/>
                  <a:pt x="69" y="40"/>
                </a:cubicBezTo>
                <a:cubicBezTo>
                  <a:pt x="69" y="46"/>
                  <a:pt x="74" y="51"/>
                  <a:pt x="80" y="51"/>
                </a:cubicBezTo>
                <a:cubicBezTo>
                  <a:pt x="86" y="51"/>
                  <a:pt x="91" y="46"/>
                  <a:pt x="91" y="40"/>
                </a:cubicBezTo>
                <a:cubicBezTo>
                  <a:pt x="91" y="34"/>
                  <a:pt x="86" y="29"/>
                  <a:pt x="80" y="29"/>
                </a:cubicBezTo>
                <a:close/>
                <a:moveTo>
                  <a:pt x="80" y="45"/>
                </a:moveTo>
                <a:cubicBezTo>
                  <a:pt x="77" y="45"/>
                  <a:pt x="75" y="43"/>
                  <a:pt x="75" y="40"/>
                </a:cubicBezTo>
                <a:cubicBezTo>
                  <a:pt x="75" y="37"/>
                  <a:pt x="77" y="35"/>
                  <a:pt x="80" y="35"/>
                </a:cubicBezTo>
                <a:cubicBezTo>
                  <a:pt x="83" y="35"/>
                  <a:pt x="85" y="37"/>
                  <a:pt x="85" y="40"/>
                </a:cubicBezTo>
                <a:cubicBezTo>
                  <a:pt x="85" y="43"/>
                  <a:pt x="83" y="45"/>
                  <a:pt x="80" y="45"/>
                </a:cubicBezTo>
                <a:close/>
                <a:moveTo>
                  <a:pt x="123" y="40"/>
                </a:moveTo>
                <a:cubicBezTo>
                  <a:pt x="123" y="34"/>
                  <a:pt x="118" y="29"/>
                  <a:pt x="112" y="29"/>
                </a:cubicBezTo>
                <a:cubicBezTo>
                  <a:pt x="106" y="29"/>
                  <a:pt x="101" y="34"/>
                  <a:pt x="101" y="40"/>
                </a:cubicBezTo>
                <a:cubicBezTo>
                  <a:pt x="101" y="46"/>
                  <a:pt x="106" y="51"/>
                  <a:pt x="112" y="51"/>
                </a:cubicBezTo>
                <a:cubicBezTo>
                  <a:pt x="118" y="51"/>
                  <a:pt x="123" y="46"/>
                  <a:pt x="123" y="40"/>
                </a:cubicBezTo>
                <a:close/>
                <a:moveTo>
                  <a:pt x="112" y="45"/>
                </a:moveTo>
                <a:cubicBezTo>
                  <a:pt x="109" y="45"/>
                  <a:pt x="107" y="43"/>
                  <a:pt x="107" y="40"/>
                </a:cubicBezTo>
                <a:cubicBezTo>
                  <a:pt x="107" y="37"/>
                  <a:pt x="109" y="35"/>
                  <a:pt x="112" y="35"/>
                </a:cubicBezTo>
                <a:cubicBezTo>
                  <a:pt x="115" y="35"/>
                  <a:pt x="117" y="37"/>
                  <a:pt x="117" y="40"/>
                </a:cubicBezTo>
                <a:cubicBezTo>
                  <a:pt x="117" y="43"/>
                  <a:pt x="115" y="45"/>
                  <a:pt x="112" y="45"/>
                </a:cubicBezTo>
                <a:close/>
                <a:moveTo>
                  <a:pt x="42" y="75"/>
                </a:moveTo>
                <a:cubicBezTo>
                  <a:pt x="43" y="76"/>
                  <a:pt x="43" y="78"/>
                  <a:pt x="42" y="79"/>
                </a:cubicBezTo>
                <a:cubicBezTo>
                  <a:pt x="41" y="80"/>
                  <a:pt x="41" y="80"/>
                  <a:pt x="40" y="80"/>
                </a:cubicBezTo>
                <a:cubicBezTo>
                  <a:pt x="39" y="80"/>
                  <a:pt x="39" y="80"/>
                  <a:pt x="38" y="79"/>
                </a:cubicBezTo>
                <a:cubicBezTo>
                  <a:pt x="1" y="42"/>
                  <a:pt x="1" y="42"/>
                  <a:pt x="1" y="42"/>
                </a:cubicBezTo>
                <a:cubicBezTo>
                  <a:pt x="0" y="41"/>
                  <a:pt x="0" y="39"/>
                  <a:pt x="1" y="38"/>
                </a:cubicBezTo>
                <a:cubicBezTo>
                  <a:pt x="38" y="1"/>
                  <a:pt x="38" y="1"/>
                  <a:pt x="38" y="1"/>
                </a:cubicBezTo>
                <a:cubicBezTo>
                  <a:pt x="39" y="0"/>
                  <a:pt x="41" y="0"/>
                  <a:pt x="42" y="1"/>
                </a:cubicBezTo>
                <a:cubicBezTo>
                  <a:pt x="43" y="2"/>
                  <a:pt x="43" y="4"/>
                  <a:pt x="42" y="5"/>
                </a:cubicBezTo>
                <a:cubicBezTo>
                  <a:pt x="6" y="40"/>
                  <a:pt x="6" y="40"/>
                  <a:pt x="6" y="40"/>
                </a:cubicBezTo>
                <a:lnTo>
                  <a:pt x="42" y="75"/>
                </a:lnTo>
                <a:close/>
                <a:moveTo>
                  <a:pt x="159" y="42"/>
                </a:moveTo>
                <a:cubicBezTo>
                  <a:pt x="122" y="79"/>
                  <a:pt x="122" y="79"/>
                  <a:pt x="122" y="79"/>
                </a:cubicBezTo>
                <a:cubicBezTo>
                  <a:pt x="121" y="80"/>
                  <a:pt x="121" y="80"/>
                  <a:pt x="120" y="80"/>
                </a:cubicBezTo>
                <a:cubicBezTo>
                  <a:pt x="119" y="80"/>
                  <a:pt x="119" y="80"/>
                  <a:pt x="118" y="79"/>
                </a:cubicBezTo>
                <a:cubicBezTo>
                  <a:pt x="117" y="78"/>
                  <a:pt x="117" y="76"/>
                  <a:pt x="118" y="75"/>
                </a:cubicBezTo>
                <a:cubicBezTo>
                  <a:pt x="154" y="40"/>
                  <a:pt x="154" y="40"/>
                  <a:pt x="154" y="40"/>
                </a:cubicBezTo>
                <a:cubicBezTo>
                  <a:pt x="118" y="5"/>
                  <a:pt x="118" y="5"/>
                  <a:pt x="118" y="5"/>
                </a:cubicBezTo>
                <a:cubicBezTo>
                  <a:pt x="117" y="4"/>
                  <a:pt x="117" y="2"/>
                  <a:pt x="118" y="1"/>
                </a:cubicBezTo>
                <a:cubicBezTo>
                  <a:pt x="119" y="0"/>
                  <a:pt x="121" y="0"/>
                  <a:pt x="122" y="1"/>
                </a:cubicBezTo>
                <a:cubicBezTo>
                  <a:pt x="159" y="38"/>
                  <a:pt x="159" y="38"/>
                  <a:pt x="159" y="38"/>
                </a:cubicBezTo>
                <a:cubicBezTo>
                  <a:pt x="160" y="39"/>
                  <a:pt x="160" y="41"/>
                  <a:pt x="159" y="4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85" name="Freeform 1287">
            <a:extLst>
              <a:ext uri="{FF2B5EF4-FFF2-40B4-BE49-F238E27FC236}">
                <a16:creationId xmlns:a16="http://schemas.microsoft.com/office/drawing/2014/main" id="{6CB4DBF3-6578-394D-A4C4-7D49AC7D9E97}"/>
              </a:ext>
            </a:extLst>
          </p:cNvPr>
          <p:cNvSpPr>
            <a:spLocks noEditPoints="1"/>
          </p:cNvSpPr>
          <p:nvPr/>
        </p:nvSpPr>
        <p:spPr bwMode="auto">
          <a:xfrm>
            <a:off x="486937" y="1603375"/>
            <a:ext cx="546100" cy="550863"/>
          </a:xfrm>
          <a:custGeom>
            <a:avLst/>
            <a:gdLst>
              <a:gd name="T0" fmla="*/ 0 w 344"/>
              <a:gd name="T1" fmla="*/ 0 h 347"/>
              <a:gd name="T2" fmla="*/ 0 w 344"/>
              <a:gd name="T3" fmla="*/ 347 h 347"/>
              <a:gd name="T4" fmla="*/ 344 w 344"/>
              <a:gd name="T5" fmla="*/ 347 h 347"/>
              <a:gd name="T6" fmla="*/ 344 w 344"/>
              <a:gd name="T7" fmla="*/ 0 h 347"/>
              <a:gd name="T8" fmla="*/ 0 w 344"/>
              <a:gd name="T9" fmla="*/ 0 h 347"/>
              <a:gd name="T10" fmla="*/ 333 w 344"/>
              <a:gd name="T11" fmla="*/ 336 h 347"/>
              <a:gd name="T12" fmla="*/ 11 w 344"/>
              <a:gd name="T13" fmla="*/ 336 h 347"/>
              <a:gd name="T14" fmla="*/ 11 w 344"/>
              <a:gd name="T15" fmla="*/ 11 h 347"/>
              <a:gd name="T16" fmla="*/ 333 w 344"/>
              <a:gd name="T17" fmla="*/ 11 h 347"/>
              <a:gd name="T18" fmla="*/ 333 w 344"/>
              <a:gd name="T19" fmla="*/ 336 h 347"/>
              <a:gd name="T20" fmla="*/ 84 w 344"/>
              <a:gd name="T21" fmla="*/ 254 h 347"/>
              <a:gd name="T22" fmla="*/ 166 w 344"/>
              <a:gd name="T23" fmla="*/ 173 h 347"/>
              <a:gd name="T24" fmla="*/ 84 w 344"/>
              <a:gd name="T25" fmla="*/ 91 h 347"/>
              <a:gd name="T26" fmla="*/ 92 w 344"/>
              <a:gd name="T27" fmla="*/ 82 h 347"/>
              <a:gd name="T28" fmla="*/ 172 w 344"/>
              <a:gd name="T29" fmla="*/ 165 h 347"/>
              <a:gd name="T30" fmla="*/ 254 w 344"/>
              <a:gd name="T31" fmla="*/ 82 h 347"/>
              <a:gd name="T32" fmla="*/ 262 w 344"/>
              <a:gd name="T33" fmla="*/ 91 h 347"/>
              <a:gd name="T34" fmla="*/ 181 w 344"/>
              <a:gd name="T35" fmla="*/ 173 h 347"/>
              <a:gd name="T36" fmla="*/ 262 w 344"/>
              <a:gd name="T37" fmla="*/ 254 h 347"/>
              <a:gd name="T38" fmla="*/ 254 w 344"/>
              <a:gd name="T39" fmla="*/ 262 h 347"/>
              <a:gd name="T40" fmla="*/ 172 w 344"/>
              <a:gd name="T41" fmla="*/ 180 h 347"/>
              <a:gd name="T42" fmla="*/ 92 w 344"/>
              <a:gd name="T43" fmla="*/ 262 h 347"/>
              <a:gd name="T44" fmla="*/ 84 w 344"/>
              <a:gd name="T45" fmla="*/ 25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347">
                <a:moveTo>
                  <a:pt x="0" y="0"/>
                </a:moveTo>
                <a:lnTo>
                  <a:pt x="0" y="347"/>
                </a:lnTo>
                <a:lnTo>
                  <a:pt x="344" y="347"/>
                </a:lnTo>
                <a:lnTo>
                  <a:pt x="344" y="0"/>
                </a:lnTo>
                <a:lnTo>
                  <a:pt x="0" y="0"/>
                </a:lnTo>
                <a:close/>
                <a:moveTo>
                  <a:pt x="333" y="336"/>
                </a:moveTo>
                <a:lnTo>
                  <a:pt x="11" y="336"/>
                </a:lnTo>
                <a:lnTo>
                  <a:pt x="11" y="11"/>
                </a:lnTo>
                <a:lnTo>
                  <a:pt x="333" y="11"/>
                </a:lnTo>
                <a:lnTo>
                  <a:pt x="333" y="336"/>
                </a:lnTo>
                <a:close/>
                <a:moveTo>
                  <a:pt x="84" y="254"/>
                </a:moveTo>
                <a:lnTo>
                  <a:pt x="166" y="173"/>
                </a:lnTo>
                <a:lnTo>
                  <a:pt x="84" y="91"/>
                </a:lnTo>
                <a:lnTo>
                  <a:pt x="92" y="82"/>
                </a:lnTo>
                <a:lnTo>
                  <a:pt x="172" y="165"/>
                </a:lnTo>
                <a:lnTo>
                  <a:pt x="254" y="82"/>
                </a:lnTo>
                <a:lnTo>
                  <a:pt x="262" y="91"/>
                </a:lnTo>
                <a:lnTo>
                  <a:pt x="181" y="173"/>
                </a:lnTo>
                <a:lnTo>
                  <a:pt x="262" y="254"/>
                </a:lnTo>
                <a:lnTo>
                  <a:pt x="254" y="262"/>
                </a:lnTo>
                <a:lnTo>
                  <a:pt x="172" y="180"/>
                </a:lnTo>
                <a:lnTo>
                  <a:pt x="92" y="262"/>
                </a:lnTo>
                <a:lnTo>
                  <a:pt x="84" y="2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86" name="Freeform 1288">
            <a:extLst>
              <a:ext uri="{FF2B5EF4-FFF2-40B4-BE49-F238E27FC236}">
                <a16:creationId xmlns:a16="http://schemas.microsoft.com/office/drawing/2014/main" id="{F6279BFC-E91A-3445-B7DC-1CD50AB216F9}"/>
              </a:ext>
            </a:extLst>
          </p:cNvPr>
          <p:cNvSpPr>
            <a:spLocks/>
          </p:cNvSpPr>
          <p:nvPr/>
        </p:nvSpPr>
        <p:spPr bwMode="auto">
          <a:xfrm>
            <a:off x="486937" y="2222500"/>
            <a:ext cx="546100" cy="550863"/>
          </a:xfrm>
          <a:custGeom>
            <a:avLst/>
            <a:gdLst>
              <a:gd name="T0" fmla="*/ 187 w 344"/>
              <a:gd name="T1" fmla="*/ 174 h 347"/>
              <a:gd name="T2" fmla="*/ 344 w 344"/>
              <a:gd name="T3" fmla="*/ 332 h 347"/>
              <a:gd name="T4" fmla="*/ 329 w 344"/>
              <a:gd name="T5" fmla="*/ 347 h 347"/>
              <a:gd name="T6" fmla="*/ 172 w 344"/>
              <a:gd name="T7" fmla="*/ 189 h 347"/>
              <a:gd name="T8" fmla="*/ 15 w 344"/>
              <a:gd name="T9" fmla="*/ 347 h 347"/>
              <a:gd name="T10" fmla="*/ 0 w 344"/>
              <a:gd name="T11" fmla="*/ 332 h 347"/>
              <a:gd name="T12" fmla="*/ 157 w 344"/>
              <a:gd name="T13" fmla="*/ 174 h 347"/>
              <a:gd name="T14" fmla="*/ 0 w 344"/>
              <a:gd name="T15" fmla="*/ 15 h 347"/>
              <a:gd name="T16" fmla="*/ 15 w 344"/>
              <a:gd name="T17" fmla="*/ 0 h 347"/>
              <a:gd name="T18" fmla="*/ 172 w 344"/>
              <a:gd name="T19" fmla="*/ 158 h 347"/>
              <a:gd name="T20" fmla="*/ 329 w 344"/>
              <a:gd name="T21" fmla="*/ 0 h 347"/>
              <a:gd name="T22" fmla="*/ 344 w 344"/>
              <a:gd name="T23" fmla="*/ 15 h 347"/>
              <a:gd name="T24" fmla="*/ 187 w 344"/>
              <a:gd name="T25" fmla="*/ 17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347">
                <a:moveTo>
                  <a:pt x="187" y="174"/>
                </a:moveTo>
                <a:lnTo>
                  <a:pt x="344" y="332"/>
                </a:lnTo>
                <a:lnTo>
                  <a:pt x="329" y="347"/>
                </a:lnTo>
                <a:lnTo>
                  <a:pt x="172" y="189"/>
                </a:lnTo>
                <a:lnTo>
                  <a:pt x="15" y="347"/>
                </a:lnTo>
                <a:lnTo>
                  <a:pt x="0" y="332"/>
                </a:lnTo>
                <a:lnTo>
                  <a:pt x="157" y="174"/>
                </a:lnTo>
                <a:lnTo>
                  <a:pt x="0" y="15"/>
                </a:lnTo>
                <a:lnTo>
                  <a:pt x="15" y="0"/>
                </a:lnTo>
                <a:lnTo>
                  <a:pt x="172" y="158"/>
                </a:lnTo>
                <a:lnTo>
                  <a:pt x="329" y="0"/>
                </a:lnTo>
                <a:lnTo>
                  <a:pt x="344" y="15"/>
                </a:lnTo>
                <a:lnTo>
                  <a:pt x="187" y="17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87" name="Freeform 1289">
            <a:extLst>
              <a:ext uri="{FF2B5EF4-FFF2-40B4-BE49-F238E27FC236}">
                <a16:creationId xmlns:a16="http://schemas.microsoft.com/office/drawing/2014/main" id="{3CEFF198-AAEB-124C-AA01-D5468E2520EA}"/>
              </a:ext>
            </a:extLst>
          </p:cNvPr>
          <p:cNvSpPr>
            <a:spLocks noEditPoints="1"/>
          </p:cNvSpPr>
          <p:nvPr/>
        </p:nvSpPr>
        <p:spPr bwMode="auto">
          <a:xfrm>
            <a:off x="501225" y="2841625"/>
            <a:ext cx="504825" cy="550863"/>
          </a:xfrm>
          <a:custGeom>
            <a:avLst/>
            <a:gdLst>
              <a:gd name="T0" fmla="*/ 147 w 148"/>
              <a:gd name="T1" fmla="*/ 1 h 160"/>
              <a:gd name="T2" fmla="*/ 145 w 148"/>
              <a:gd name="T3" fmla="*/ 0 h 160"/>
              <a:gd name="T4" fmla="*/ 55 w 148"/>
              <a:gd name="T5" fmla="*/ 12 h 160"/>
              <a:gd name="T6" fmla="*/ 52 w 148"/>
              <a:gd name="T7" fmla="*/ 15 h 160"/>
              <a:gd name="T8" fmla="*/ 52 w 148"/>
              <a:gd name="T9" fmla="*/ 32 h 160"/>
              <a:gd name="T10" fmla="*/ 52 w 148"/>
              <a:gd name="T11" fmla="*/ 44 h 160"/>
              <a:gd name="T12" fmla="*/ 52 w 148"/>
              <a:gd name="T13" fmla="*/ 118 h 160"/>
              <a:gd name="T14" fmla="*/ 29 w 148"/>
              <a:gd name="T15" fmla="*/ 108 h 160"/>
              <a:gd name="T16" fmla="*/ 0 w 148"/>
              <a:gd name="T17" fmla="*/ 134 h 160"/>
              <a:gd name="T18" fmla="*/ 29 w 148"/>
              <a:gd name="T19" fmla="*/ 160 h 160"/>
              <a:gd name="T20" fmla="*/ 58 w 148"/>
              <a:gd name="T21" fmla="*/ 134 h 160"/>
              <a:gd name="T22" fmla="*/ 58 w 148"/>
              <a:gd name="T23" fmla="*/ 132 h 160"/>
              <a:gd name="T24" fmla="*/ 58 w 148"/>
              <a:gd name="T25" fmla="*/ 131 h 160"/>
              <a:gd name="T26" fmla="*/ 58 w 148"/>
              <a:gd name="T27" fmla="*/ 47 h 160"/>
              <a:gd name="T28" fmla="*/ 143 w 148"/>
              <a:gd name="T29" fmla="*/ 36 h 160"/>
              <a:gd name="T30" fmla="*/ 143 w 148"/>
              <a:gd name="T31" fmla="*/ 89 h 160"/>
              <a:gd name="T32" fmla="*/ 119 w 148"/>
              <a:gd name="T33" fmla="*/ 79 h 160"/>
              <a:gd name="T34" fmla="*/ 90 w 148"/>
              <a:gd name="T35" fmla="*/ 105 h 160"/>
              <a:gd name="T36" fmla="*/ 119 w 148"/>
              <a:gd name="T37" fmla="*/ 131 h 160"/>
              <a:gd name="T38" fmla="*/ 148 w 148"/>
              <a:gd name="T39" fmla="*/ 105 h 160"/>
              <a:gd name="T40" fmla="*/ 148 w 148"/>
              <a:gd name="T41" fmla="*/ 105 h 160"/>
              <a:gd name="T42" fmla="*/ 148 w 148"/>
              <a:gd name="T43" fmla="*/ 33 h 160"/>
              <a:gd name="T44" fmla="*/ 148 w 148"/>
              <a:gd name="T45" fmla="*/ 20 h 160"/>
              <a:gd name="T46" fmla="*/ 148 w 148"/>
              <a:gd name="T47" fmla="*/ 3 h 160"/>
              <a:gd name="T48" fmla="*/ 147 w 148"/>
              <a:gd name="T49" fmla="*/ 1 h 160"/>
              <a:gd name="T50" fmla="*/ 29 w 148"/>
              <a:gd name="T51" fmla="*/ 154 h 160"/>
              <a:gd name="T52" fmla="*/ 6 w 148"/>
              <a:gd name="T53" fmla="*/ 134 h 160"/>
              <a:gd name="T54" fmla="*/ 29 w 148"/>
              <a:gd name="T55" fmla="*/ 113 h 160"/>
              <a:gd name="T56" fmla="*/ 52 w 148"/>
              <a:gd name="T57" fmla="*/ 134 h 160"/>
              <a:gd name="T58" fmla="*/ 29 w 148"/>
              <a:gd name="T59" fmla="*/ 154 h 160"/>
              <a:gd name="T60" fmla="*/ 119 w 148"/>
              <a:gd name="T61" fmla="*/ 125 h 160"/>
              <a:gd name="T62" fmla="*/ 96 w 148"/>
              <a:gd name="T63" fmla="*/ 105 h 160"/>
              <a:gd name="T64" fmla="*/ 119 w 148"/>
              <a:gd name="T65" fmla="*/ 84 h 160"/>
              <a:gd name="T66" fmla="*/ 143 w 148"/>
              <a:gd name="T67" fmla="*/ 105 h 160"/>
              <a:gd name="T68" fmla="*/ 119 w 148"/>
              <a:gd name="T69" fmla="*/ 125 h 160"/>
              <a:gd name="T70" fmla="*/ 58 w 148"/>
              <a:gd name="T71" fmla="*/ 41 h 160"/>
              <a:gd name="T72" fmla="*/ 58 w 148"/>
              <a:gd name="T73" fmla="*/ 32 h 160"/>
              <a:gd name="T74" fmla="*/ 58 w 148"/>
              <a:gd name="T75" fmla="*/ 17 h 160"/>
              <a:gd name="T76" fmla="*/ 143 w 148"/>
              <a:gd name="T77" fmla="*/ 6 h 160"/>
              <a:gd name="T78" fmla="*/ 143 w 148"/>
              <a:gd name="T79" fmla="*/ 20 h 160"/>
              <a:gd name="T80" fmla="*/ 143 w 148"/>
              <a:gd name="T81" fmla="*/ 30 h 160"/>
              <a:gd name="T82" fmla="*/ 58 w 148"/>
              <a:gd name="T83" fmla="*/ 4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8" h="160">
                <a:moveTo>
                  <a:pt x="147" y="1"/>
                </a:moveTo>
                <a:cubicBezTo>
                  <a:pt x="147" y="0"/>
                  <a:pt x="146" y="0"/>
                  <a:pt x="145" y="0"/>
                </a:cubicBezTo>
                <a:cubicBezTo>
                  <a:pt x="55" y="12"/>
                  <a:pt x="55" y="12"/>
                  <a:pt x="55" y="12"/>
                </a:cubicBezTo>
                <a:cubicBezTo>
                  <a:pt x="53" y="12"/>
                  <a:pt x="52" y="13"/>
                  <a:pt x="52" y="15"/>
                </a:cubicBezTo>
                <a:cubicBezTo>
                  <a:pt x="52" y="32"/>
                  <a:pt x="52" y="32"/>
                  <a:pt x="52" y="32"/>
                </a:cubicBezTo>
                <a:cubicBezTo>
                  <a:pt x="52" y="44"/>
                  <a:pt x="52" y="44"/>
                  <a:pt x="52" y="44"/>
                </a:cubicBezTo>
                <a:cubicBezTo>
                  <a:pt x="52" y="118"/>
                  <a:pt x="52" y="118"/>
                  <a:pt x="52" y="118"/>
                </a:cubicBezTo>
                <a:cubicBezTo>
                  <a:pt x="47" y="112"/>
                  <a:pt x="39" y="108"/>
                  <a:pt x="29" y="108"/>
                </a:cubicBezTo>
                <a:cubicBezTo>
                  <a:pt x="13" y="108"/>
                  <a:pt x="0" y="119"/>
                  <a:pt x="0" y="134"/>
                </a:cubicBezTo>
                <a:cubicBezTo>
                  <a:pt x="0" y="148"/>
                  <a:pt x="13" y="160"/>
                  <a:pt x="29" y="160"/>
                </a:cubicBezTo>
                <a:cubicBezTo>
                  <a:pt x="45" y="160"/>
                  <a:pt x="58" y="148"/>
                  <a:pt x="58" y="134"/>
                </a:cubicBezTo>
                <a:cubicBezTo>
                  <a:pt x="58" y="133"/>
                  <a:pt x="58" y="132"/>
                  <a:pt x="58" y="132"/>
                </a:cubicBezTo>
                <a:cubicBezTo>
                  <a:pt x="58" y="132"/>
                  <a:pt x="58" y="131"/>
                  <a:pt x="58" y="131"/>
                </a:cubicBezTo>
                <a:cubicBezTo>
                  <a:pt x="58" y="47"/>
                  <a:pt x="58" y="47"/>
                  <a:pt x="58" y="47"/>
                </a:cubicBezTo>
                <a:cubicBezTo>
                  <a:pt x="143" y="36"/>
                  <a:pt x="143" y="36"/>
                  <a:pt x="143" y="36"/>
                </a:cubicBezTo>
                <a:cubicBezTo>
                  <a:pt x="143" y="89"/>
                  <a:pt x="143" y="89"/>
                  <a:pt x="143" y="89"/>
                </a:cubicBezTo>
                <a:cubicBezTo>
                  <a:pt x="137" y="83"/>
                  <a:pt x="129" y="79"/>
                  <a:pt x="119" y="79"/>
                </a:cubicBezTo>
                <a:cubicBezTo>
                  <a:pt x="103" y="79"/>
                  <a:pt x="90" y="90"/>
                  <a:pt x="90" y="105"/>
                </a:cubicBezTo>
                <a:cubicBezTo>
                  <a:pt x="90" y="119"/>
                  <a:pt x="103" y="131"/>
                  <a:pt x="119" y="131"/>
                </a:cubicBezTo>
                <a:cubicBezTo>
                  <a:pt x="135" y="131"/>
                  <a:pt x="148" y="119"/>
                  <a:pt x="148" y="105"/>
                </a:cubicBezTo>
                <a:cubicBezTo>
                  <a:pt x="148" y="105"/>
                  <a:pt x="148" y="105"/>
                  <a:pt x="148" y="105"/>
                </a:cubicBezTo>
                <a:cubicBezTo>
                  <a:pt x="148" y="33"/>
                  <a:pt x="148" y="33"/>
                  <a:pt x="148" y="33"/>
                </a:cubicBezTo>
                <a:cubicBezTo>
                  <a:pt x="148" y="20"/>
                  <a:pt x="148" y="20"/>
                  <a:pt x="148" y="20"/>
                </a:cubicBezTo>
                <a:cubicBezTo>
                  <a:pt x="148" y="3"/>
                  <a:pt x="148" y="3"/>
                  <a:pt x="148" y="3"/>
                </a:cubicBezTo>
                <a:cubicBezTo>
                  <a:pt x="148" y="2"/>
                  <a:pt x="148" y="1"/>
                  <a:pt x="147" y="1"/>
                </a:cubicBezTo>
                <a:close/>
                <a:moveTo>
                  <a:pt x="29" y="154"/>
                </a:moveTo>
                <a:cubicBezTo>
                  <a:pt x="16" y="154"/>
                  <a:pt x="6" y="145"/>
                  <a:pt x="6" y="134"/>
                </a:cubicBezTo>
                <a:cubicBezTo>
                  <a:pt x="6" y="123"/>
                  <a:pt x="16" y="113"/>
                  <a:pt x="29" y="113"/>
                </a:cubicBezTo>
                <a:cubicBezTo>
                  <a:pt x="42" y="113"/>
                  <a:pt x="52" y="123"/>
                  <a:pt x="52" y="134"/>
                </a:cubicBezTo>
                <a:cubicBezTo>
                  <a:pt x="52" y="145"/>
                  <a:pt x="42" y="154"/>
                  <a:pt x="29" y="154"/>
                </a:cubicBezTo>
                <a:close/>
                <a:moveTo>
                  <a:pt x="119" y="125"/>
                </a:moveTo>
                <a:cubicBezTo>
                  <a:pt x="106" y="125"/>
                  <a:pt x="96" y="116"/>
                  <a:pt x="96" y="105"/>
                </a:cubicBezTo>
                <a:cubicBezTo>
                  <a:pt x="96" y="94"/>
                  <a:pt x="106" y="84"/>
                  <a:pt x="119" y="84"/>
                </a:cubicBezTo>
                <a:cubicBezTo>
                  <a:pt x="132" y="84"/>
                  <a:pt x="143" y="94"/>
                  <a:pt x="143" y="105"/>
                </a:cubicBezTo>
                <a:cubicBezTo>
                  <a:pt x="143" y="116"/>
                  <a:pt x="132" y="125"/>
                  <a:pt x="119" y="125"/>
                </a:cubicBezTo>
                <a:close/>
                <a:moveTo>
                  <a:pt x="58" y="41"/>
                </a:moveTo>
                <a:cubicBezTo>
                  <a:pt x="58" y="32"/>
                  <a:pt x="58" y="32"/>
                  <a:pt x="58" y="32"/>
                </a:cubicBezTo>
                <a:cubicBezTo>
                  <a:pt x="58" y="17"/>
                  <a:pt x="58" y="17"/>
                  <a:pt x="58" y="17"/>
                </a:cubicBezTo>
                <a:cubicBezTo>
                  <a:pt x="143" y="6"/>
                  <a:pt x="143" y="6"/>
                  <a:pt x="143" y="6"/>
                </a:cubicBezTo>
                <a:cubicBezTo>
                  <a:pt x="143" y="20"/>
                  <a:pt x="143" y="20"/>
                  <a:pt x="143" y="20"/>
                </a:cubicBezTo>
                <a:cubicBezTo>
                  <a:pt x="143" y="30"/>
                  <a:pt x="143" y="30"/>
                  <a:pt x="143" y="30"/>
                </a:cubicBezTo>
                <a:lnTo>
                  <a:pt x="58" y="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88" name="Freeform 1290">
            <a:extLst>
              <a:ext uri="{FF2B5EF4-FFF2-40B4-BE49-F238E27FC236}">
                <a16:creationId xmlns:a16="http://schemas.microsoft.com/office/drawing/2014/main" id="{7FFB710B-C337-FF46-93FE-79A0262DEFBE}"/>
              </a:ext>
            </a:extLst>
          </p:cNvPr>
          <p:cNvSpPr>
            <a:spLocks noEditPoints="1"/>
          </p:cNvSpPr>
          <p:nvPr/>
        </p:nvSpPr>
        <p:spPr bwMode="auto">
          <a:xfrm>
            <a:off x="486937" y="3516313"/>
            <a:ext cx="546100" cy="441325"/>
          </a:xfrm>
          <a:custGeom>
            <a:avLst/>
            <a:gdLst>
              <a:gd name="T0" fmla="*/ 66 w 160"/>
              <a:gd name="T1" fmla="*/ 27 h 128"/>
              <a:gd name="T2" fmla="*/ 64 w 160"/>
              <a:gd name="T3" fmla="*/ 38 h 128"/>
              <a:gd name="T4" fmla="*/ 64 w 160"/>
              <a:gd name="T5" fmla="*/ 82 h 128"/>
              <a:gd name="T6" fmla="*/ 35 w 160"/>
              <a:gd name="T7" fmla="*/ 93 h 128"/>
              <a:gd name="T8" fmla="*/ 69 w 160"/>
              <a:gd name="T9" fmla="*/ 94 h 128"/>
              <a:gd name="T10" fmla="*/ 69 w 160"/>
              <a:gd name="T11" fmla="*/ 48 h 128"/>
              <a:gd name="T12" fmla="*/ 115 w 160"/>
              <a:gd name="T13" fmla="*/ 66 h 128"/>
              <a:gd name="T14" fmla="*/ 85 w 160"/>
              <a:gd name="T15" fmla="*/ 77 h 128"/>
              <a:gd name="T16" fmla="*/ 120 w 160"/>
              <a:gd name="T17" fmla="*/ 77 h 128"/>
              <a:gd name="T18" fmla="*/ 120 w 160"/>
              <a:gd name="T19" fmla="*/ 24 h 128"/>
              <a:gd name="T20" fmla="*/ 119 w 160"/>
              <a:gd name="T21" fmla="*/ 19 h 128"/>
              <a:gd name="T22" fmla="*/ 52 w 160"/>
              <a:gd name="T23" fmla="*/ 104 h 128"/>
              <a:gd name="T24" fmla="*/ 52 w 160"/>
              <a:gd name="T25" fmla="*/ 83 h 128"/>
              <a:gd name="T26" fmla="*/ 52 w 160"/>
              <a:gd name="T27" fmla="*/ 104 h 128"/>
              <a:gd name="T28" fmla="*/ 69 w 160"/>
              <a:gd name="T29" fmla="*/ 38 h 128"/>
              <a:gd name="T30" fmla="*/ 115 w 160"/>
              <a:gd name="T31" fmla="*/ 24 h 128"/>
              <a:gd name="T32" fmla="*/ 69 w 160"/>
              <a:gd name="T33" fmla="*/ 42 h 128"/>
              <a:gd name="T34" fmla="*/ 91 w 160"/>
              <a:gd name="T35" fmla="*/ 77 h 128"/>
              <a:gd name="T36" fmla="*/ 115 w 160"/>
              <a:gd name="T37" fmla="*/ 77 h 128"/>
              <a:gd name="T38" fmla="*/ 160 w 160"/>
              <a:gd name="T39" fmla="*/ 21 h 128"/>
              <a:gd name="T40" fmla="*/ 149 w 160"/>
              <a:gd name="T41" fmla="*/ 11 h 128"/>
              <a:gd name="T42" fmla="*/ 139 w 160"/>
              <a:gd name="T43" fmla="*/ 0 h 128"/>
              <a:gd name="T44" fmla="*/ 21 w 160"/>
              <a:gd name="T45" fmla="*/ 11 h 128"/>
              <a:gd name="T46" fmla="*/ 11 w 160"/>
              <a:gd name="T47" fmla="*/ 21 h 128"/>
              <a:gd name="T48" fmla="*/ 0 w 160"/>
              <a:gd name="T49" fmla="*/ 107 h 128"/>
              <a:gd name="T50" fmla="*/ 11 w 160"/>
              <a:gd name="T51" fmla="*/ 117 h 128"/>
              <a:gd name="T52" fmla="*/ 21 w 160"/>
              <a:gd name="T53" fmla="*/ 128 h 128"/>
              <a:gd name="T54" fmla="*/ 139 w 160"/>
              <a:gd name="T55" fmla="*/ 117 h 128"/>
              <a:gd name="T56" fmla="*/ 149 w 160"/>
              <a:gd name="T57" fmla="*/ 107 h 128"/>
              <a:gd name="T58" fmla="*/ 160 w 160"/>
              <a:gd name="T59" fmla="*/ 21 h 128"/>
              <a:gd name="T60" fmla="*/ 5 w 160"/>
              <a:gd name="T61" fmla="*/ 27 h 128"/>
              <a:gd name="T62" fmla="*/ 11 w 160"/>
              <a:gd name="T63" fmla="*/ 101 h 128"/>
              <a:gd name="T64" fmla="*/ 16 w 160"/>
              <a:gd name="T65" fmla="*/ 112 h 128"/>
              <a:gd name="T66" fmla="*/ 16 w 160"/>
              <a:gd name="T67" fmla="*/ 21 h 128"/>
              <a:gd name="T68" fmla="*/ 21 w 160"/>
              <a:gd name="T69" fmla="*/ 16 h 128"/>
              <a:gd name="T70" fmla="*/ 16 w 160"/>
              <a:gd name="T71" fmla="*/ 112 h 128"/>
              <a:gd name="T72" fmla="*/ 27 w 160"/>
              <a:gd name="T73" fmla="*/ 123 h 128"/>
              <a:gd name="T74" fmla="*/ 27 w 160"/>
              <a:gd name="T75" fmla="*/ 11 h 128"/>
              <a:gd name="T76" fmla="*/ 133 w 160"/>
              <a:gd name="T77" fmla="*/ 5 h 128"/>
              <a:gd name="T78" fmla="*/ 133 w 160"/>
              <a:gd name="T79" fmla="*/ 117 h 128"/>
              <a:gd name="T80" fmla="*/ 144 w 160"/>
              <a:gd name="T81" fmla="*/ 112 h 128"/>
              <a:gd name="T82" fmla="*/ 139 w 160"/>
              <a:gd name="T83" fmla="*/ 16 h 128"/>
              <a:gd name="T84" fmla="*/ 144 w 160"/>
              <a:gd name="T85" fmla="*/ 21 h 128"/>
              <a:gd name="T86" fmla="*/ 144 w 160"/>
              <a:gd name="T87" fmla="*/ 112 h 128"/>
              <a:gd name="T88" fmla="*/ 149 w 160"/>
              <a:gd name="T89" fmla="*/ 101 h 128"/>
              <a:gd name="T90" fmla="*/ 155 w 160"/>
              <a:gd name="T91" fmla="*/ 2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28">
                <a:moveTo>
                  <a:pt x="117" y="19"/>
                </a:moveTo>
                <a:cubicBezTo>
                  <a:pt x="66" y="27"/>
                  <a:pt x="66" y="27"/>
                  <a:pt x="66" y="27"/>
                </a:cubicBezTo>
                <a:cubicBezTo>
                  <a:pt x="65" y="27"/>
                  <a:pt x="64" y="28"/>
                  <a:pt x="64" y="29"/>
                </a:cubicBezTo>
                <a:cubicBezTo>
                  <a:pt x="64" y="38"/>
                  <a:pt x="64" y="38"/>
                  <a:pt x="64" y="38"/>
                </a:cubicBezTo>
                <a:cubicBezTo>
                  <a:pt x="64" y="45"/>
                  <a:pt x="64" y="45"/>
                  <a:pt x="64" y="45"/>
                </a:cubicBezTo>
                <a:cubicBezTo>
                  <a:pt x="64" y="82"/>
                  <a:pt x="64" y="82"/>
                  <a:pt x="64" y="82"/>
                </a:cubicBezTo>
                <a:cubicBezTo>
                  <a:pt x="61" y="79"/>
                  <a:pt x="57" y="77"/>
                  <a:pt x="52" y="77"/>
                </a:cubicBezTo>
                <a:cubicBezTo>
                  <a:pt x="42" y="77"/>
                  <a:pt x="35" y="85"/>
                  <a:pt x="35" y="93"/>
                </a:cubicBezTo>
                <a:cubicBezTo>
                  <a:pt x="35" y="102"/>
                  <a:pt x="42" y="109"/>
                  <a:pt x="52" y="109"/>
                </a:cubicBezTo>
                <a:cubicBezTo>
                  <a:pt x="61" y="109"/>
                  <a:pt x="69" y="102"/>
                  <a:pt x="69" y="94"/>
                </a:cubicBezTo>
                <a:cubicBezTo>
                  <a:pt x="69" y="94"/>
                  <a:pt x="69" y="94"/>
                  <a:pt x="69" y="94"/>
                </a:cubicBezTo>
                <a:cubicBezTo>
                  <a:pt x="69" y="48"/>
                  <a:pt x="69" y="48"/>
                  <a:pt x="69" y="48"/>
                </a:cubicBezTo>
                <a:cubicBezTo>
                  <a:pt x="115" y="40"/>
                  <a:pt x="115" y="40"/>
                  <a:pt x="115" y="40"/>
                </a:cubicBezTo>
                <a:cubicBezTo>
                  <a:pt x="115" y="66"/>
                  <a:pt x="115" y="66"/>
                  <a:pt x="115" y="66"/>
                </a:cubicBezTo>
                <a:cubicBezTo>
                  <a:pt x="112" y="63"/>
                  <a:pt x="107" y="61"/>
                  <a:pt x="103" y="61"/>
                </a:cubicBezTo>
                <a:cubicBezTo>
                  <a:pt x="93" y="61"/>
                  <a:pt x="85" y="69"/>
                  <a:pt x="85" y="77"/>
                </a:cubicBezTo>
                <a:cubicBezTo>
                  <a:pt x="85" y="86"/>
                  <a:pt x="93" y="93"/>
                  <a:pt x="103" y="93"/>
                </a:cubicBezTo>
                <a:cubicBezTo>
                  <a:pt x="112" y="93"/>
                  <a:pt x="120" y="86"/>
                  <a:pt x="120" y="77"/>
                </a:cubicBezTo>
                <a:cubicBezTo>
                  <a:pt x="120" y="37"/>
                  <a:pt x="120" y="37"/>
                  <a:pt x="120" y="37"/>
                </a:cubicBezTo>
                <a:cubicBezTo>
                  <a:pt x="120" y="24"/>
                  <a:pt x="120" y="24"/>
                  <a:pt x="120" y="24"/>
                </a:cubicBezTo>
                <a:cubicBezTo>
                  <a:pt x="120" y="21"/>
                  <a:pt x="120" y="21"/>
                  <a:pt x="120" y="21"/>
                </a:cubicBezTo>
                <a:cubicBezTo>
                  <a:pt x="120" y="21"/>
                  <a:pt x="120" y="20"/>
                  <a:pt x="119" y="19"/>
                </a:cubicBezTo>
                <a:cubicBezTo>
                  <a:pt x="118" y="19"/>
                  <a:pt x="118" y="19"/>
                  <a:pt x="117" y="19"/>
                </a:cubicBezTo>
                <a:close/>
                <a:moveTo>
                  <a:pt x="52" y="104"/>
                </a:moveTo>
                <a:cubicBezTo>
                  <a:pt x="45" y="104"/>
                  <a:pt x="40" y="99"/>
                  <a:pt x="40" y="93"/>
                </a:cubicBezTo>
                <a:cubicBezTo>
                  <a:pt x="40" y="87"/>
                  <a:pt x="45" y="83"/>
                  <a:pt x="52" y="83"/>
                </a:cubicBezTo>
                <a:cubicBezTo>
                  <a:pt x="59" y="83"/>
                  <a:pt x="64" y="87"/>
                  <a:pt x="64" y="93"/>
                </a:cubicBezTo>
                <a:cubicBezTo>
                  <a:pt x="64" y="99"/>
                  <a:pt x="59" y="104"/>
                  <a:pt x="52" y="104"/>
                </a:cubicBezTo>
                <a:close/>
                <a:moveTo>
                  <a:pt x="69" y="42"/>
                </a:moveTo>
                <a:cubicBezTo>
                  <a:pt x="69" y="38"/>
                  <a:pt x="69" y="38"/>
                  <a:pt x="69" y="38"/>
                </a:cubicBezTo>
                <a:cubicBezTo>
                  <a:pt x="69" y="32"/>
                  <a:pt x="69" y="32"/>
                  <a:pt x="69" y="32"/>
                </a:cubicBezTo>
                <a:cubicBezTo>
                  <a:pt x="115" y="24"/>
                  <a:pt x="115" y="24"/>
                  <a:pt x="115" y="24"/>
                </a:cubicBezTo>
                <a:cubicBezTo>
                  <a:pt x="115" y="35"/>
                  <a:pt x="115" y="35"/>
                  <a:pt x="115" y="35"/>
                </a:cubicBezTo>
                <a:lnTo>
                  <a:pt x="69" y="42"/>
                </a:lnTo>
                <a:close/>
                <a:moveTo>
                  <a:pt x="103" y="88"/>
                </a:moveTo>
                <a:cubicBezTo>
                  <a:pt x="96" y="88"/>
                  <a:pt x="91" y="83"/>
                  <a:pt x="91" y="77"/>
                </a:cubicBezTo>
                <a:cubicBezTo>
                  <a:pt x="91" y="71"/>
                  <a:pt x="96" y="67"/>
                  <a:pt x="103" y="67"/>
                </a:cubicBezTo>
                <a:cubicBezTo>
                  <a:pt x="109" y="67"/>
                  <a:pt x="115" y="71"/>
                  <a:pt x="115" y="77"/>
                </a:cubicBezTo>
                <a:cubicBezTo>
                  <a:pt x="115" y="83"/>
                  <a:pt x="109" y="88"/>
                  <a:pt x="103" y="88"/>
                </a:cubicBezTo>
                <a:close/>
                <a:moveTo>
                  <a:pt x="160" y="21"/>
                </a:moveTo>
                <a:cubicBezTo>
                  <a:pt x="149" y="21"/>
                  <a:pt x="149" y="21"/>
                  <a:pt x="149" y="21"/>
                </a:cubicBezTo>
                <a:cubicBezTo>
                  <a:pt x="149" y="11"/>
                  <a:pt x="149" y="11"/>
                  <a:pt x="149" y="11"/>
                </a:cubicBezTo>
                <a:cubicBezTo>
                  <a:pt x="139" y="11"/>
                  <a:pt x="139" y="11"/>
                  <a:pt x="139" y="11"/>
                </a:cubicBezTo>
                <a:cubicBezTo>
                  <a:pt x="139" y="0"/>
                  <a:pt x="139" y="0"/>
                  <a:pt x="139" y="0"/>
                </a:cubicBezTo>
                <a:cubicBezTo>
                  <a:pt x="21" y="0"/>
                  <a:pt x="21" y="0"/>
                  <a:pt x="21" y="0"/>
                </a:cubicBezTo>
                <a:cubicBezTo>
                  <a:pt x="21" y="11"/>
                  <a:pt x="21" y="11"/>
                  <a:pt x="21" y="11"/>
                </a:cubicBezTo>
                <a:cubicBezTo>
                  <a:pt x="11" y="11"/>
                  <a:pt x="11" y="11"/>
                  <a:pt x="11" y="11"/>
                </a:cubicBezTo>
                <a:cubicBezTo>
                  <a:pt x="11" y="21"/>
                  <a:pt x="11" y="21"/>
                  <a:pt x="11" y="21"/>
                </a:cubicBezTo>
                <a:cubicBezTo>
                  <a:pt x="0" y="21"/>
                  <a:pt x="0" y="21"/>
                  <a:pt x="0" y="21"/>
                </a:cubicBezTo>
                <a:cubicBezTo>
                  <a:pt x="0" y="107"/>
                  <a:pt x="0" y="107"/>
                  <a:pt x="0" y="107"/>
                </a:cubicBezTo>
                <a:cubicBezTo>
                  <a:pt x="11" y="107"/>
                  <a:pt x="11" y="107"/>
                  <a:pt x="11" y="107"/>
                </a:cubicBezTo>
                <a:cubicBezTo>
                  <a:pt x="11" y="117"/>
                  <a:pt x="11" y="117"/>
                  <a:pt x="11" y="117"/>
                </a:cubicBezTo>
                <a:cubicBezTo>
                  <a:pt x="21" y="117"/>
                  <a:pt x="21" y="117"/>
                  <a:pt x="21" y="117"/>
                </a:cubicBezTo>
                <a:cubicBezTo>
                  <a:pt x="21" y="128"/>
                  <a:pt x="21" y="128"/>
                  <a:pt x="21" y="128"/>
                </a:cubicBezTo>
                <a:cubicBezTo>
                  <a:pt x="139" y="128"/>
                  <a:pt x="139" y="128"/>
                  <a:pt x="139" y="128"/>
                </a:cubicBezTo>
                <a:cubicBezTo>
                  <a:pt x="139" y="117"/>
                  <a:pt x="139" y="117"/>
                  <a:pt x="139" y="117"/>
                </a:cubicBezTo>
                <a:cubicBezTo>
                  <a:pt x="149" y="117"/>
                  <a:pt x="149" y="117"/>
                  <a:pt x="149" y="117"/>
                </a:cubicBezTo>
                <a:cubicBezTo>
                  <a:pt x="149" y="107"/>
                  <a:pt x="149" y="107"/>
                  <a:pt x="149" y="107"/>
                </a:cubicBezTo>
                <a:cubicBezTo>
                  <a:pt x="160" y="107"/>
                  <a:pt x="160" y="107"/>
                  <a:pt x="160" y="107"/>
                </a:cubicBezTo>
                <a:lnTo>
                  <a:pt x="160" y="21"/>
                </a:lnTo>
                <a:close/>
                <a:moveTo>
                  <a:pt x="5" y="101"/>
                </a:moveTo>
                <a:cubicBezTo>
                  <a:pt x="5" y="27"/>
                  <a:pt x="5" y="27"/>
                  <a:pt x="5" y="27"/>
                </a:cubicBezTo>
                <a:cubicBezTo>
                  <a:pt x="11" y="27"/>
                  <a:pt x="11" y="27"/>
                  <a:pt x="11" y="27"/>
                </a:cubicBezTo>
                <a:cubicBezTo>
                  <a:pt x="11" y="101"/>
                  <a:pt x="11" y="101"/>
                  <a:pt x="11" y="101"/>
                </a:cubicBezTo>
                <a:lnTo>
                  <a:pt x="5" y="101"/>
                </a:lnTo>
                <a:close/>
                <a:moveTo>
                  <a:pt x="16" y="112"/>
                </a:moveTo>
                <a:cubicBezTo>
                  <a:pt x="16" y="107"/>
                  <a:pt x="16" y="107"/>
                  <a:pt x="16" y="107"/>
                </a:cubicBezTo>
                <a:cubicBezTo>
                  <a:pt x="16" y="21"/>
                  <a:pt x="16" y="21"/>
                  <a:pt x="16" y="21"/>
                </a:cubicBezTo>
                <a:cubicBezTo>
                  <a:pt x="16" y="16"/>
                  <a:pt x="16" y="16"/>
                  <a:pt x="16" y="16"/>
                </a:cubicBezTo>
                <a:cubicBezTo>
                  <a:pt x="21" y="16"/>
                  <a:pt x="21" y="16"/>
                  <a:pt x="21" y="16"/>
                </a:cubicBezTo>
                <a:cubicBezTo>
                  <a:pt x="21" y="112"/>
                  <a:pt x="21" y="112"/>
                  <a:pt x="21" y="112"/>
                </a:cubicBezTo>
                <a:lnTo>
                  <a:pt x="16" y="112"/>
                </a:lnTo>
                <a:close/>
                <a:moveTo>
                  <a:pt x="133" y="123"/>
                </a:moveTo>
                <a:cubicBezTo>
                  <a:pt x="27" y="123"/>
                  <a:pt x="27" y="123"/>
                  <a:pt x="27" y="123"/>
                </a:cubicBezTo>
                <a:cubicBezTo>
                  <a:pt x="27" y="117"/>
                  <a:pt x="27" y="117"/>
                  <a:pt x="27" y="117"/>
                </a:cubicBezTo>
                <a:cubicBezTo>
                  <a:pt x="27" y="11"/>
                  <a:pt x="27" y="11"/>
                  <a:pt x="27" y="11"/>
                </a:cubicBezTo>
                <a:cubicBezTo>
                  <a:pt x="27" y="5"/>
                  <a:pt x="27" y="5"/>
                  <a:pt x="27" y="5"/>
                </a:cubicBezTo>
                <a:cubicBezTo>
                  <a:pt x="133" y="5"/>
                  <a:pt x="133" y="5"/>
                  <a:pt x="133" y="5"/>
                </a:cubicBezTo>
                <a:cubicBezTo>
                  <a:pt x="133" y="11"/>
                  <a:pt x="133" y="11"/>
                  <a:pt x="133" y="11"/>
                </a:cubicBezTo>
                <a:cubicBezTo>
                  <a:pt x="133" y="117"/>
                  <a:pt x="133" y="117"/>
                  <a:pt x="133" y="117"/>
                </a:cubicBezTo>
                <a:lnTo>
                  <a:pt x="133" y="123"/>
                </a:lnTo>
                <a:close/>
                <a:moveTo>
                  <a:pt x="144" y="112"/>
                </a:moveTo>
                <a:cubicBezTo>
                  <a:pt x="139" y="112"/>
                  <a:pt x="139" y="112"/>
                  <a:pt x="139" y="112"/>
                </a:cubicBezTo>
                <a:cubicBezTo>
                  <a:pt x="139" y="16"/>
                  <a:pt x="139" y="16"/>
                  <a:pt x="139" y="16"/>
                </a:cubicBezTo>
                <a:cubicBezTo>
                  <a:pt x="144" y="16"/>
                  <a:pt x="144" y="16"/>
                  <a:pt x="144" y="16"/>
                </a:cubicBezTo>
                <a:cubicBezTo>
                  <a:pt x="144" y="21"/>
                  <a:pt x="144" y="21"/>
                  <a:pt x="144" y="21"/>
                </a:cubicBezTo>
                <a:cubicBezTo>
                  <a:pt x="144" y="107"/>
                  <a:pt x="144" y="107"/>
                  <a:pt x="144" y="107"/>
                </a:cubicBezTo>
                <a:lnTo>
                  <a:pt x="144" y="112"/>
                </a:lnTo>
                <a:close/>
                <a:moveTo>
                  <a:pt x="155" y="101"/>
                </a:moveTo>
                <a:cubicBezTo>
                  <a:pt x="149" y="101"/>
                  <a:pt x="149" y="101"/>
                  <a:pt x="149" y="101"/>
                </a:cubicBezTo>
                <a:cubicBezTo>
                  <a:pt x="149" y="27"/>
                  <a:pt x="149" y="27"/>
                  <a:pt x="149" y="27"/>
                </a:cubicBezTo>
                <a:cubicBezTo>
                  <a:pt x="155" y="27"/>
                  <a:pt x="155" y="27"/>
                  <a:pt x="155" y="27"/>
                </a:cubicBezTo>
                <a:lnTo>
                  <a:pt x="155" y="10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89" name="Freeform 1291">
            <a:extLst>
              <a:ext uri="{FF2B5EF4-FFF2-40B4-BE49-F238E27FC236}">
                <a16:creationId xmlns:a16="http://schemas.microsoft.com/office/drawing/2014/main" id="{08B1AA58-4391-D748-BF41-F4B2CBE3D094}"/>
              </a:ext>
            </a:extLst>
          </p:cNvPr>
          <p:cNvSpPr>
            <a:spLocks noEditPoints="1"/>
          </p:cNvSpPr>
          <p:nvPr/>
        </p:nvSpPr>
        <p:spPr bwMode="auto">
          <a:xfrm>
            <a:off x="486937" y="4108450"/>
            <a:ext cx="546100" cy="477838"/>
          </a:xfrm>
          <a:custGeom>
            <a:avLst/>
            <a:gdLst>
              <a:gd name="T0" fmla="*/ 27 w 160"/>
              <a:gd name="T1" fmla="*/ 0 h 139"/>
              <a:gd name="T2" fmla="*/ 21 w 160"/>
              <a:gd name="T3" fmla="*/ 0 h 139"/>
              <a:gd name="T4" fmla="*/ 0 w 160"/>
              <a:gd name="T5" fmla="*/ 0 h 139"/>
              <a:gd name="T6" fmla="*/ 0 w 160"/>
              <a:gd name="T7" fmla="*/ 139 h 139"/>
              <a:gd name="T8" fmla="*/ 21 w 160"/>
              <a:gd name="T9" fmla="*/ 139 h 139"/>
              <a:gd name="T10" fmla="*/ 27 w 160"/>
              <a:gd name="T11" fmla="*/ 139 h 139"/>
              <a:gd name="T12" fmla="*/ 160 w 160"/>
              <a:gd name="T13" fmla="*/ 139 h 139"/>
              <a:gd name="T14" fmla="*/ 160 w 160"/>
              <a:gd name="T15" fmla="*/ 0 h 139"/>
              <a:gd name="T16" fmla="*/ 27 w 160"/>
              <a:gd name="T17" fmla="*/ 0 h 139"/>
              <a:gd name="T18" fmla="*/ 21 w 160"/>
              <a:gd name="T19" fmla="*/ 133 h 139"/>
              <a:gd name="T20" fmla="*/ 5 w 160"/>
              <a:gd name="T21" fmla="*/ 133 h 139"/>
              <a:gd name="T22" fmla="*/ 5 w 160"/>
              <a:gd name="T23" fmla="*/ 5 h 139"/>
              <a:gd name="T24" fmla="*/ 21 w 160"/>
              <a:gd name="T25" fmla="*/ 5 h 139"/>
              <a:gd name="T26" fmla="*/ 21 w 160"/>
              <a:gd name="T27" fmla="*/ 133 h 139"/>
              <a:gd name="T28" fmla="*/ 155 w 160"/>
              <a:gd name="T29" fmla="*/ 133 h 139"/>
              <a:gd name="T30" fmla="*/ 27 w 160"/>
              <a:gd name="T31" fmla="*/ 133 h 139"/>
              <a:gd name="T32" fmla="*/ 27 w 160"/>
              <a:gd name="T33" fmla="*/ 5 h 139"/>
              <a:gd name="T34" fmla="*/ 155 w 160"/>
              <a:gd name="T35" fmla="*/ 5 h 139"/>
              <a:gd name="T36" fmla="*/ 155 w 160"/>
              <a:gd name="T37" fmla="*/ 133 h 139"/>
              <a:gd name="T38" fmla="*/ 57 w 160"/>
              <a:gd name="T39" fmla="*/ 115 h 139"/>
              <a:gd name="T40" fmla="*/ 75 w 160"/>
              <a:gd name="T41" fmla="*/ 99 h 139"/>
              <a:gd name="T42" fmla="*/ 75 w 160"/>
              <a:gd name="T43" fmla="*/ 99 h 139"/>
              <a:gd name="T44" fmla="*/ 75 w 160"/>
              <a:gd name="T45" fmla="*/ 53 h 139"/>
              <a:gd name="T46" fmla="*/ 120 w 160"/>
              <a:gd name="T47" fmla="*/ 46 h 139"/>
              <a:gd name="T48" fmla="*/ 120 w 160"/>
              <a:gd name="T49" fmla="*/ 71 h 139"/>
              <a:gd name="T50" fmla="*/ 108 w 160"/>
              <a:gd name="T51" fmla="*/ 67 h 139"/>
              <a:gd name="T52" fmla="*/ 91 w 160"/>
              <a:gd name="T53" fmla="*/ 83 h 139"/>
              <a:gd name="T54" fmla="*/ 108 w 160"/>
              <a:gd name="T55" fmla="*/ 99 h 139"/>
              <a:gd name="T56" fmla="*/ 125 w 160"/>
              <a:gd name="T57" fmla="*/ 83 h 139"/>
              <a:gd name="T58" fmla="*/ 125 w 160"/>
              <a:gd name="T59" fmla="*/ 43 h 139"/>
              <a:gd name="T60" fmla="*/ 125 w 160"/>
              <a:gd name="T61" fmla="*/ 29 h 139"/>
              <a:gd name="T62" fmla="*/ 125 w 160"/>
              <a:gd name="T63" fmla="*/ 27 h 139"/>
              <a:gd name="T64" fmla="*/ 124 w 160"/>
              <a:gd name="T65" fmla="*/ 25 h 139"/>
              <a:gd name="T66" fmla="*/ 122 w 160"/>
              <a:gd name="T67" fmla="*/ 24 h 139"/>
              <a:gd name="T68" fmla="*/ 72 w 160"/>
              <a:gd name="T69" fmla="*/ 32 h 139"/>
              <a:gd name="T70" fmla="*/ 69 w 160"/>
              <a:gd name="T71" fmla="*/ 35 h 139"/>
              <a:gd name="T72" fmla="*/ 69 w 160"/>
              <a:gd name="T73" fmla="*/ 43 h 139"/>
              <a:gd name="T74" fmla="*/ 69 w 160"/>
              <a:gd name="T75" fmla="*/ 51 h 139"/>
              <a:gd name="T76" fmla="*/ 69 w 160"/>
              <a:gd name="T77" fmla="*/ 87 h 139"/>
              <a:gd name="T78" fmla="*/ 57 w 160"/>
              <a:gd name="T79" fmla="*/ 83 h 139"/>
              <a:gd name="T80" fmla="*/ 40 w 160"/>
              <a:gd name="T81" fmla="*/ 99 h 139"/>
              <a:gd name="T82" fmla="*/ 57 w 160"/>
              <a:gd name="T83" fmla="*/ 115 h 139"/>
              <a:gd name="T84" fmla="*/ 108 w 160"/>
              <a:gd name="T85" fmla="*/ 93 h 139"/>
              <a:gd name="T86" fmla="*/ 96 w 160"/>
              <a:gd name="T87" fmla="*/ 83 h 139"/>
              <a:gd name="T88" fmla="*/ 108 w 160"/>
              <a:gd name="T89" fmla="*/ 72 h 139"/>
              <a:gd name="T90" fmla="*/ 120 w 160"/>
              <a:gd name="T91" fmla="*/ 83 h 139"/>
              <a:gd name="T92" fmla="*/ 108 w 160"/>
              <a:gd name="T93" fmla="*/ 93 h 139"/>
              <a:gd name="T94" fmla="*/ 75 w 160"/>
              <a:gd name="T95" fmla="*/ 37 h 139"/>
              <a:gd name="T96" fmla="*/ 120 w 160"/>
              <a:gd name="T97" fmla="*/ 30 h 139"/>
              <a:gd name="T98" fmla="*/ 120 w 160"/>
              <a:gd name="T99" fmla="*/ 40 h 139"/>
              <a:gd name="T100" fmla="*/ 75 w 160"/>
              <a:gd name="T101" fmla="*/ 48 h 139"/>
              <a:gd name="T102" fmla="*/ 75 w 160"/>
              <a:gd name="T103" fmla="*/ 43 h 139"/>
              <a:gd name="T104" fmla="*/ 75 w 160"/>
              <a:gd name="T105" fmla="*/ 37 h 139"/>
              <a:gd name="T106" fmla="*/ 57 w 160"/>
              <a:gd name="T107" fmla="*/ 88 h 139"/>
              <a:gd name="T108" fmla="*/ 69 w 160"/>
              <a:gd name="T109" fmla="*/ 99 h 139"/>
              <a:gd name="T110" fmla="*/ 57 w 160"/>
              <a:gd name="T111" fmla="*/ 109 h 139"/>
              <a:gd name="T112" fmla="*/ 45 w 160"/>
              <a:gd name="T113" fmla="*/ 99 h 139"/>
              <a:gd name="T114" fmla="*/ 57 w 160"/>
              <a:gd name="T115" fmla="*/ 8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39">
                <a:moveTo>
                  <a:pt x="27" y="0"/>
                </a:moveTo>
                <a:cubicBezTo>
                  <a:pt x="21" y="0"/>
                  <a:pt x="21" y="0"/>
                  <a:pt x="21" y="0"/>
                </a:cubicBezTo>
                <a:cubicBezTo>
                  <a:pt x="0" y="0"/>
                  <a:pt x="0" y="0"/>
                  <a:pt x="0" y="0"/>
                </a:cubicBezTo>
                <a:cubicBezTo>
                  <a:pt x="0" y="139"/>
                  <a:pt x="0" y="139"/>
                  <a:pt x="0" y="139"/>
                </a:cubicBezTo>
                <a:cubicBezTo>
                  <a:pt x="21" y="139"/>
                  <a:pt x="21" y="139"/>
                  <a:pt x="21" y="139"/>
                </a:cubicBezTo>
                <a:cubicBezTo>
                  <a:pt x="27" y="139"/>
                  <a:pt x="27" y="139"/>
                  <a:pt x="27" y="139"/>
                </a:cubicBezTo>
                <a:cubicBezTo>
                  <a:pt x="160" y="139"/>
                  <a:pt x="160" y="139"/>
                  <a:pt x="160" y="139"/>
                </a:cubicBezTo>
                <a:cubicBezTo>
                  <a:pt x="160" y="0"/>
                  <a:pt x="160" y="0"/>
                  <a:pt x="160" y="0"/>
                </a:cubicBezTo>
                <a:lnTo>
                  <a:pt x="27" y="0"/>
                </a:lnTo>
                <a:close/>
                <a:moveTo>
                  <a:pt x="21" y="133"/>
                </a:moveTo>
                <a:cubicBezTo>
                  <a:pt x="5" y="133"/>
                  <a:pt x="5" y="133"/>
                  <a:pt x="5" y="133"/>
                </a:cubicBezTo>
                <a:cubicBezTo>
                  <a:pt x="5" y="5"/>
                  <a:pt x="5" y="5"/>
                  <a:pt x="5" y="5"/>
                </a:cubicBezTo>
                <a:cubicBezTo>
                  <a:pt x="21" y="5"/>
                  <a:pt x="21" y="5"/>
                  <a:pt x="21" y="5"/>
                </a:cubicBezTo>
                <a:lnTo>
                  <a:pt x="21" y="133"/>
                </a:lnTo>
                <a:close/>
                <a:moveTo>
                  <a:pt x="155" y="133"/>
                </a:moveTo>
                <a:cubicBezTo>
                  <a:pt x="27" y="133"/>
                  <a:pt x="27" y="133"/>
                  <a:pt x="27" y="133"/>
                </a:cubicBezTo>
                <a:cubicBezTo>
                  <a:pt x="27" y="5"/>
                  <a:pt x="27" y="5"/>
                  <a:pt x="27" y="5"/>
                </a:cubicBezTo>
                <a:cubicBezTo>
                  <a:pt x="155" y="5"/>
                  <a:pt x="155" y="5"/>
                  <a:pt x="155" y="5"/>
                </a:cubicBezTo>
                <a:lnTo>
                  <a:pt x="155" y="133"/>
                </a:lnTo>
                <a:close/>
                <a:moveTo>
                  <a:pt x="57" y="115"/>
                </a:moveTo>
                <a:cubicBezTo>
                  <a:pt x="67" y="115"/>
                  <a:pt x="74" y="108"/>
                  <a:pt x="75" y="99"/>
                </a:cubicBezTo>
                <a:cubicBezTo>
                  <a:pt x="75" y="99"/>
                  <a:pt x="75" y="99"/>
                  <a:pt x="75" y="99"/>
                </a:cubicBezTo>
                <a:cubicBezTo>
                  <a:pt x="75" y="53"/>
                  <a:pt x="75" y="53"/>
                  <a:pt x="75" y="53"/>
                </a:cubicBezTo>
                <a:cubicBezTo>
                  <a:pt x="120" y="46"/>
                  <a:pt x="120" y="46"/>
                  <a:pt x="120" y="46"/>
                </a:cubicBezTo>
                <a:cubicBezTo>
                  <a:pt x="120" y="71"/>
                  <a:pt x="120" y="71"/>
                  <a:pt x="120" y="71"/>
                </a:cubicBezTo>
                <a:cubicBezTo>
                  <a:pt x="117" y="68"/>
                  <a:pt x="113" y="67"/>
                  <a:pt x="108" y="67"/>
                </a:cubicBezTo>
                <a:cubicBezTo>
                  <a:pt x="98" y="67"/>
                  <a:pt x="91" y="74"/>
                  <a:pt x="91" y="83"/>
                </a:cubicBezTo>
                <a:cubicBezTo>
                  <a:pt x="91" y="91"/>
                  <a:pt x="98" y="99"/>
                  <a:pt x="108" y="99"/>
                </a:cubicBezTo>
                <a:cubicBezTo>
                  <a:pt x="118" y="99"/>
                  <a:pt x="125" y="91"/>
                  <a:pt x="125" y="83"/>
                </a:cubicBezTo>
                <a:cubicBezTo>
                  <a:pt x="125" y="43"/>
                  <a:pt x="125" y="43"/>
                  <a:pt x="125" y="43"/>
                </a:cubicBezTo>
                <a:cubicBezTo>
                  <a:pt x="125" y="29"/>
                  <a:pt x="125" y="29"/>
                  <a:pt x="125" y="29"/>
                </a:cubicBezTo>
                <a:cubicBezTo>
                  <a:pt x="125" y="27"/>
                  <a:pt x="125" y="27"/>
                  <a:pt x="125" y="27"/>
                </a:cubicBezTo>
                <a:cubicBezTo>
                  <a:pt x="125" y="26"/>
                  <a:pt x="125" y="25"/>
                  <a:pt x="124" y="25"/>
                </a:cubicBezTo>
                <a:cubicBezTo>
                  <a:pt x="124" y="24"/>
                  <a:pt x="123" y="24"/>
                  <a:pt x="122" y="24"/>
                </a:cubicBezTo>
                <a:cubicBezTo>
                  <a:pt x="72" y="32"/>
                  <a:pt x="72" y="32"/>
                  <a:pt x="72" y="32"/>
                </a:cubicBezTo>
                <a:cubicBezTo>
                  <a:pt x="70" y="32"/>
                  <a:pt x="69" y="33"/>
                  <a:pt x="69" y="35"/>
                </a:cubicBezTo>
                <a:cubicBezTo>
                  <a:pt x="69" y="43"/>
                  <a:pt x="69" y="43"/>
                  <a:pt x="69" y="43"/>
                </a:cubicBezTo>
                <a:cubicBezTo>
                  <a:pt x="69" y="51"/>
                  <a:pt x="69" y="51"/>
                  <a:pt x="69" y="51"/>
                </a:cubicBezTo>
                <a:cubicBezTo>
                  <a:pt x="69" y="87"/>
                  <a:pt x="69" y="87"/>
                  <a:pt x="69" y="87"/>
                </a:cubicBezTo>
                <a:cubicBezTo>
                  <a:pt x="66" y="84"/>
                  <a:pt x="62" y="83"/>
                  <a:pt x="57" y="83"/>
                </a:cubicBezTo>
                <a:cubicBezTo>
                  <a:pt x="48" y="83"/>
                  <a:pt x="40" y="90"/>
                  <a:pt x="40" y="99"/>
                </a:cubicBezTo>
                <a:cubicBezTo>
                  <a:pt x="40" y="107"/>
                  <a:pt x="48" y="115"/>
                  <a:pt x="57" y="115"/>
                </a:cubicBezTo>
                <a:close/>
                <a:moveTo>
                  <a:pt x="108" y="93"/>
                </a:moveTo>
                <a:cubicBezTo>
                  <a:pt x="101" y="93"/>
                  <a:pt x="96" y="89"/>
                  <a:pt x="96" y="83"/>
                </a:cubicBezTo>
                <a:cubicBezTo>
                  <a:pt x="96" y="77"/>
                  <a:pt x="101" y="72"/>
                  <a:pt x="108" y="72"/>
                </a:cubicBezTo>
                <a:cubicBezTo>
                  <a:pt x="115" y="72"/>
                  <a:pt x="120" y="77"/>
                  <a:pt x="120" y="83"/>
                </a:cubicBezTo>
                <a:cubicBezTo>
                  <a:pt x="120" y="89"/>
                  <a:pt x="115" y="93"/>
                  <a:pt x="108" y="93"/>
                </a:cubicBezTo>
                <a:close/>
                <a:moveTo>
                  <a:pt x="75" y="37"/>
                </a:moveTo>
                <a:cubicBezTo>
                  <a:pt x="120" y="30"/>
                  <a:pt x="120" y="30"/>
                  <a:pt x="120" y="30"/>
                </a:cubicBezTo>
                <a:cubicBezTo>
                  <a:pt x="120" y="40"/>
                  <a:pt x="120" y="40"/>
                  <a:pt x="120" y="40"/>
                </a:cubicBezTo>
                <a:cubicBezTo>
                  <a:pt x="75" y="48"/>
                  <a:pt x="75" y="48"/>
                  <a:pt x="75" y="48"/>
                </a:cubicBezTo>
                <a:cubicBezTo>
                  <a:pt x="75" y="43"/>
                  <a:pt x="75" y="43"/>
                  <a:pt x="75" y="43"/>
                </a:cubicBezTo>
                <a:lnTo>
                  <a:pt x="75" y="37"/>
                </a:lnTo>
                <a:close/>
                <a:moveTo>
                  <a:pt x="57" y="88"/>
                </a:moveTo>
                <a:cubicBezTo>
                  <a:pt x="64" y="88"/>
                  <a:pt x="69" y="93"/>
                  <a:pt x="69" y="99"/>
                </a:cubicBezTo>
                <a:cubicBezTo>
                  <a:pt x="69" y="105"/>
                  <a:pt x="64" y="109"/>
                  <a:pt x="57" y="109"/>
                </a:cubicBezTo>
                <a:cubicBezTo>
                  <a:pt x="51" y="109"/>
                  <a:pt x="45" y="105"/>
                  <a:pt x="45" y="99"/>
                </a:cubicBezTo>
                <a:cubicBezTo>
                  <a:pt x="45" y="93"/>
                  <a:pt x="51" y="88"/>
                  <a:pt x="57" y="8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90" name="Freeform 1292">
            <a:extLst>
              <a:ext uri="{FF2B5EF4-FFF2-40B4-BE49-F238E27FC236}">
                <a16:creationId xmlns:a16="http://schemas.microsoft.com/office/drawing/2014/main" id="{1DE64588-DD23-824D-9A58-DAEE975CE423}"/>
              </a:ext>
            </a:extLst>
          </p:cNvPr>
          <p:cNvSpPr>
            <a:spLocks noEditPoints="1"/>
          </p:cNvSpPr>
          <p:nvPr/>
        </p:nvSpPr>
        <p:spPr bwMode="auto">
          <a:xfrm>
            <a:off x="486937" y="4700588"/>
            <a:ext cx="546100" cy="550863"/>
          </a:xfrm>
          <a:custGeom>
            <a:avLst/>
            <a:gdLst>
              <a:gd name="T0" fmla="*/ 124 w 160"/>
              <a:gd name="T1" fmla="*/ 0 h 160"/>
              <a:gd name="T2" fmla="*/ 36 w 160"/>
              <a:gd name="T3" fmla="*/ 0 h 160"/>
              <a:gd name="T4" fmla="*/ 0 w 160"/>
              <a:gd name="T5" fmla="*/ 36 h 160"/>
              <a:gd name="T6" fmla="*/ 0 w 160"/>
              <a:gd name="T7" fmla="*/ 124 h 160"/>
              <a:gd name="T8" fmla="*/ 36 w 160"/>
              <a:gd name="T9" fmla="*/ 160 h 160"/>
              <a:gd name="T10" fmla="*/ 124 w 160"/>
              <a:gd name="T11" fmla="*/ 160 h 160"/>
              <a:gd name="T12" fmla="*/ 160 w 160"/>
              <a:gd name="T13" fmla="*/ 124 h 160"/>
              <a:gd name="T14" fmla="*/ 160 w 160"/>
              <a:gd name="T15" fmla="*/ 36 h 160"/>
              <a:gd name="T16" fmla="*/ 124 w 160"/>
              <a:gd name="T17" fmla="*/ 0 h 160"/>
              <a:gd name="T18" fmla="*/ 154 w 160"/>
              <a:gd name="T19" fmla="*/ 124 h 160"/>
              <a:gd name="T20" fmla="*/ 124 w 160"/>
              <a:gd name="T21" fmla="*/ 154 h 160"/>
              <a:gd name="T22" fmla="*/ 36 w 160"/>
              <a:gd name="T23" fmla="*/ 154 h 160"/>
              <a:gd name="T24" fmla="*/ 6 w 160"/>
              <a:gd name="T25" fmla="*/ 124 h 160"/>
              <a:gd name="T26" fmla="*/ 6 w 160"/>
              <a:gd name="T27" fmla="*/ 36 h 160"/>
              <a:gd name="T28" fmla="*/ 36 w 160"/>
              <a:gd name="T29" fmla="*/ 6 h 160"/>
              <a:gd name="T30" fmla="*/ 124 w 160"/>
              <a:gd name="T31" fmla="*/ 6 h 160"/>
              <a:gd name="T32" fmla="*/ 154 w 160"/>
              <a:gd name="T33" fmla="*/ 36 h 160"/>
              <a:gd name="T34" fmla="*/ 154 w 160"/>
              <a:gd name="T35" fmla="*/ 124 h 160"/>
              <a:gd name="T36" fmla="*/ 127 w 160"/>
              <a:gd name="T37" fmla="*/ 26 h 160"/>
              <a:gd name="T38" fmla="*/ 62 w 160"/>
              <a:gd name="T39" fmla="*/ 35 h 160"/>
              <a:gd name="T40" fmla="*/ 59 w 160"/>
              <a:gd name="T41" fmla="*/ 38 h 160"/>
              <a:gd name="T42" fmla="*/ 59 w 160"/>
              <a:gd name="T43" fmla="*/ 50 h 160"/>
              <a:gd name="T44" fmla="*/ 59 w 160"/>
              <a:gd name="T45" fmla="*/ 59 h 160"/>
              <a:gd name="T46" fmla="*/ 59 w 160"/>
              <a:gd name="T47" fmla="*/ 109 h 160"/>
              <a:gd name="T48" fmla="*/ 43 w 160"/>
              <a:gd name="T49" fmla="*/ 102 h 160"/>
              <a:gd name="T50" fmla="*/ 21 w 160"/>
              <a:gd name="T51" fmla="*/ 122 h 160"/>
              <a:gd name="T52" fmla="*/ 43 w 160"/>
              <a:gd name="T53" fmla="*/ 142 h 160"/>
              <a:gd name="T54" fmla="*/ 65 w 160"/>
              <a:gd name="T55" fmla="*/ 122 h 160"/>
              <a:gd name="T56" fmla="*/ 65 w 160"/>
              <a:gd name="T57" fmla="*/ 62 h 160"/>
              <a:gd name="T58" fmla="*/ 124 w 160"/>
              <a:gd name="T59" fmla="*/ 54 h 160"/>
              <a:gd name="T60" fmla="*/ 124 w 160"/>
              <a:gd name="T61" fmla="*/ 90 h 160"/>
              <a:gd name="T62" fmla="*/ 108 w 160"/>
              <a:gd name="T63" fmla="*/ 83 h 160"/>
              <a:gd name="T64" fmla="*/ 86 w 160"/>
              <a:gd name="T65" fmla="*/ 103 h 160"/>
              <a:gd name="T66" fmla="*/ 108 w 160"/>
              <a:gd name="T67" fmla="*/ 123 h 160"/>
              <a:gd name="T68" fmla="*/ 130 w 160"/>
              <a:gd name="T69" fmla="*/ 103 h 160"/>
              <a:gd name="T70" fmla="*/ 130 w 160"/>
              <a:gd name="T71" fmla="*/ 51 h 160"/>
              <a:gd name="T72" fmla="*/ 130 w 160"/>
              <a:gd name="T73" fmla="*/ 42 h 160"/>
              <a:gd name="T74" fmla="*/ 130 w 160"/>
              <a:gd name="T75" fmla="*/ 29 h 160"/>
              <a:gd name="T76" fmla="*/ 129 w 160"/>
              <a:gd name="T77" fmla="*/ 27 h 160"/>
              <a:gd name="T78" fmla="*/ 127 w 160"/>
              <a:gd name="T79" fmla="*/ 26 h 160"/>
              <a:gd name="T80" fmla="*/ 43 w 160"/>
              <a:gd name="T81" fmla="*/ 136 h 160"/>
              <a:gd name="T82" fmla="*/ 27 w 160"/>
              <a:gd name="T83" fmla="*/ 122 h 160"/>
              <a:gd name="T84" fmla="*/ 43 w 160"/>
              <a:gd name="T85" fmla="*/ 108 h 160"/>
              <a:gd name="T86" fmla="*/ 59 w 160"/>
              <a:gd name="T87" fmla="*/ 122 h 160"/>
              <a:gd name="T88" fmla="*/ 43 w 160"/>
              <a:gd name="T89" fmla="*/ 136 h 160"/>
              <a:gd name="T90" fmla="*/ 65 w 160"/>
              <a:gd name="T91" fmla="*/ 56 h 160"/>
              <a:gd name="T92" fmla="*/ 65 w 160"/>
              <a:gd name="T93" fmla="*/ 50 h 160"/>
              <a:gd name="T94" fmla="*/ 65 w 160"/>
              <a:gd name="T95" fmla="*/ 40 h 160"/>
              <a:gd name="T96" fmla="*/ 124 w 160"/>
              <a:gd name="T97" fmla="*/ 33 h 160"/>
              <a:gd name="T98" fmla="*/ 124 w 160"/>
              <a:gd name="T99" fmla="*/ 42 h 160"/>
              <a:gd name="T100" fmla="*/ 124 w 160"/>
              <a:gd name="T101" fmla="*/ 48 h 160"/>
              <a:gd name="T102" fmla="*/ 65 w 160"/>
              <a:gd name="T103" fmla="*/ 56 h 160"/>
              <a:gd name="T104" fmla="*/ 108 w 160"/>
              <a:gd name="T105" fmla="*/ 117 h 160"/>
              <a:gd name="T106" fmla="*/ 92 w 160"/>
              <a:gd name="T107" fmla="*/ 103 h 160"/>
              <a:gd name="T108" fmla="*/ 108 w 160"/>
              <a:gd name="T109" fmla="*/ 89 h 160"/>
              <a:gd name="T110" fmla="*/ 124 w 160"/>
              <a:gd name="T111" fmla="*/ 103 h 160"/>
              <a:gd name="T112" fmla="*/ 108 w 160"/>
              <a:gd name="T113"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60">
                <a:moveTo>
                  <a:pt x="124" y="0"/>
                </a:moveTo>
                <a:cubicBezTo>
                  <a:pt x="36" y="0"/>
                  <a:pt x="36" y="0"/>
                  <a:pt x="36" y="0"/>
                </a:cubicBezTo>
                <a:cubicBezTo>
                  <a:pt x="16" y="0"/>
                  <a:pt x="0" y="16"/>
                  <a:pt x="0" y="36"/>
                </a:cubicBezTo>
                <a:cubicBezTo>
                  <a:pt x="0" y="124"/>
                  <a:pt x="0" y="124"/>
                  <a:pt x="0" y="124"/>
                </a:cubicBezTo>
                <a:cubicBezTo>
                  <a:pt x="0" y="144"/>
                  <a:pt x="16" y="160"/>
                  <a:pt x="36" y="160"/>
                </a:cubicBezTo>
                <a:cubicBezTo>
                  <a:pt x="124" y="160"/>
                  <a:pt x="124" y="160"/>
                  <a:pt x="124" y="160"/>
                </a:cubicBezTo>
                <a:cubicBezTo>
                  <a:pt x="144" y="160"/>
                  <a:pt x="160" y="144"/>
                  <a:pt x="160" y="124"/>
                </a:cubicBezTo>
                <a:cubicBezTo>
                  <a:pt x="160" y="36"/>
                  <a:pt x="160" y="36"/>
                  <a:pt x="160" y="36"/>
                </a:cubicBezTo>
                <a:cubicBezTo>
                  <a:pt x="160" y="16"/>
                  <a:pt x="144" y="0"/>
                  <a:pt x="124" y="0"/>
                </a:cubicBezTo>
                <a:close/>
                <a:moveTo>
                  <a:pt x="154" y="124"/>
                </a:moveTo>
                <a:cubicBezTo>
                  <a:pt x="154" y="141"/>
                  <a:pt x="141" y="154"/>
                  <a:pt x="124" y="154"/>
                </a:cubicBezTo>
                <a:cubicBezTo>
                  <a:pt x="36" y="154"/>
                  <a:pt x="36" y="154"/>
                  <a:pt x="36" y="154"/>
                </a:cubicBezTo>
                <a:cubicBezTo>
                  <a:pt x="19" y="154"/>
                  <a:pt x="6" y="141"/>
                  <a:pt x="6" y="124"/>
                </a:cubicBezTo>
                <a:cubicBezTo>
                  <a:pt x="6" y="36"/>
                  <a:pt x="6" y="36"/>
                  <a:pt x="6" y="36"/>
                </a:cubicBezTo>
                <a:cubicBezTo>
                  <a:pt x="6" y="19"/>
                  <a:pt x="19" y="6"/>
                  <a:pt x="36" y="6"/>
                </a:cubicBezTo>
                <a:cubicBezTo>
                  <a:pt x="124" y="6"/>
                  <a:pt x="124" y="6"/>
                  <a:pt x="124" y="6"/>
                </a:cubicBezTo>
                <a:cubicBezTo>
                  <a:pt x="141" y="6"/>
                  <a:pt x="154" y="19"/>
                  <a:pt x="154" y="36"/>
                </a:cubicBezTo>
                <a:lnTo>
                  <a:pt x="154" y="124"/>
                </a:lnTo>
                <a:close/>
                <a:moveTo>
                  <a:pt x="127" y="26"/>
                </a:moveTo>
                <a:cubicBezTo>
                  <a:pt x="62" y="35"/>
                  <a:pt x="62" y="35"/>
                  <a:pt x="62" y="35"/>
                </a:cubicBezTo>
                <a:cubicBezTo>
                  <a:pt x="60" y="35"/>
                  <a:pt x="59" y="36"/>
                  <a:pt x="59" y="38"/>
                </a:cubicBezTo>
                <a:cubicBezTo>
                  <a:pt x="59" y="50"/>
                  <a:pt x="59" y="50"/>
                  <a:pt x="59" y="50"/>
                </a:cubicBezTo>
                <a:cubicBezTo>
                  <a:pt x="59" y="59"/>
                  <a:pt x="59" y="59"/>
                  <a:pt x="59" y="59"/>
                </a:cubicBezTo>
                <a:cubicBezTo>
                  <a:pt x="59" y="109"/>
                  <a:pt x="59" y="109"/>
                  <a:pt x="59" y="109"/>
                </a:cubicBezTo>
                <a:cubicBezTo>
                  <a:pt x="55" y="105"/>
                  <a:pt x="49" y="102"/>
                  <a:pt x="43" y="102"/>
                </a:cubicBezTo>
                <a:cubicBezTo>
                  <a:pt x="31" y="102"/>
                  <a:pt x="21" y="111"/>
                  <a:pt x="21" y="122"/>
                </a:cubicBezTo>
                <a:cubicBezTo>
                  <a:pt x="21" y="133"/>
                  <a:pt x="31" y="142"/>
                  <a:pt x="43" y="142"/>
                </a:cubicBezTo>
                <a:cubicBezTo>
                  <a:pt x="55" y="142"/>
                  <a:pt x="65" y="133"/>
                  <a:pt x="65" y="122"/>
                </a:cubicBezTo>
                <a:cubicBezTo>
                  <a:pt x="65" y="62"/>
                  <a:pt x="65" y="62"/>
                  <a:pt x="65" y="62"/>
                </a:cubicBezTo>
                <a:cubicBezTo>
                  <a:pt x="124" y="54"/>
                  <a:pt x="124" y="54"/>
                  <a:pt x="124" y="54"/>
                </a:cubicBezTo>
                <a:cubicBezTo>
                  <a:pt x="124" y="90"/>
                  <a:pt x="124" y="90"/>
                  <a:pt x="124" y="90"/>
                </a:cubicBezTo>
                <a:cubicBezTo>
                  <a:pt x="120" y="86"/>
                  <a:pt x="115" y="83"/>
                  <a:pt x="108" y="83"/>
                </a:cubicBezTo>
                <a:cubicBezTo>
                  <a:pt x="96" y="83"/>
                  <a:pt x="86" y="92"/>
                  <a:pt x="86" y="103"/>
                </a:cubicBezTo>
                <a:cubicBezTo>
                  <a:pt x="86" y="114"/>
                  <a:pt x="96" y="123"/>
                  <a:pt x="108" y="123"/>
                </a:cubicBezTo>
                <a:cubicBezTo>
                  <a:pt x="120" y="123"/>
                  <a:pt x="130" y="114"/>
                  <a:pt x="130" y="103"/>
                </a:cubicBezTo>
                <a:cubicBezTo>
                  <a:pt x="130" y="51"/>
                  <a:pt x="130" y="51"/>
                  <a:pt x="130" y="51"/>
                </a:cubicBezTo>
                <a:cubicBezTo>
                  <a:pt x="130" y="42"/>
                  <a:pt x="130" y="42"/>
                  <a:pt x="130" y="42"/>
                </a:cubicBezTo>
                <a:cubicBezTo>
                  <a:pt x="130" y="29"/>
                  <a:pt x="130" y="29"/>
                  <a:pt x="130" y="29"/>
                </a:cubicBezTo>
                <a:cubicBezTo>
                  <a:pt x="130" y="28"/>
                  <a:pt x="130" y="28"/>
                  <a:pt x="129" y="27"/>
                </a:cubicBezTo>
                <a:cubicBezTo>
                  <a:pt x="129" y="26"/>
                  <a:pt x="128" y="26"/>
                  <a:pt x="127" y="26"/>
                </a:cubicBezTo>
                <a:close/>
                <a:moveTo>
                  <a:pt x="43" y="136"/>
                </a:moveTo>
                <a:cubicBezTo>
                  <a:pt x="34" y="136"/>
                  <a:pt x="27" y="130"/>
                  <a:pt x="27" y="122"/>
                </a:cubicBezTo>
                <a:cubicBezTo>
                  <a:pt x="27" y="115"/>
                  <a:pt x="34" y="108"/>
                  <a:pt x="43" y="108"/>
                </a:cubicBezTo>
                <a:cubicBezTo>
                  <a:pt x="52" y="108"/>
                  <a:pt x="59" y="115"/>
                  <a:pt x="59" y="122"/>
                </a:cubicBezTo>
                <a:cubicBezTo>
                  <a:pt x="59" y="130"/>
                  <a:pt x="52" y="136"/>
                  <a:pt x="43" y="136"/>
                </a:cubicBezTo>
                <a:close/>
                <a:moveTo>
                  <a:pt x="65" y="56"/>
                </a:moveTo>
                <a:cubicBezTo>
                  <a:pt x="65" y="50"/>
                  <a:pt x="65" y="50"/>
                  <a:pt x="65" y="50"/>
                </a:cubicBezTo>
                <a:cubicBezTo>
                  <a:pt x="65" y="40"/>
                  <a:pt x="65" y="40"/>
                  <a:pt x="65" y="40"/>
                </a:cubicBezTo>
                <a:cubicBezTo>
                  <a:pt x="124" y="33"/>
                  <a:pt x="124" y="33"/>
                  <a:pt x="124" y="33"/>
                </a:cubicBezTo>
                <a:cubicBezTo>
                  <a:pt x="124" y="42"/>
                  <a:pt x="124" y="42"/>
                  <a:pt x="124" y="42"/>
                </a:cubicBezTo>
                <a:cubicBezTo>
                  <a:pt x="124" y="48"/>
                  <a:pt x="124" y="48"/>
                  <a:pt x="124" y="48"/>
                </a:cubicBezTo>
                <a:lnTo>
                  <a:pt x="65" y="56"/>
                </a:lnTo>
                <a:close/>
                <a:moveTo>
                  <a:pt x="108" y="117"/>
                </a:moveTo>
                <a:cubicBezTo>
                  <a:pt x="99" y="117"/>
                  <a:pt x="92" y="111"/>
                  <a:pt x="92" y="103"/>
                </a:cubicBezTo>
                <a:cubicBezTo>
                  <a:pt x="92" y="96"/>
                  <a:pt x="99" y="89"/>
                  <a:pt x="108" y="89"/>
                </a:cubicBezTo>
                <a:cubicBezTo>
                  <a:pt x="117" y="89"/>
                  <a:pt x="124" y="96"/>
                  <a:pt x="124" y="103"/>
                </a:cubicBezTo>
                <a:cubicBezTo>
                  <a:pt x="124" y="111"/>
                  <a:pt x="117" y="117"/>
                  <a:pt x="108" y="11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91" name="Freeform 1293">
            <a:extLst>
              <a:ext uri="{FF2B5EF4-FFF2-40B4-BE49-F238E27FC236}">
                <a16:creationId xmlns:a16="http://schemas.microsoft.com/office/drawing/2014/main" id="{50BDF155-5CDA-864C-ADA6-6156B26A7720}"/>
              </a:ext>
            </a:extLst>
          </p:cNvPr>
          <p:cNvSpPr>
            <a:spLocks noEditPoints="1"/>
          </p:cNvSpPr>
          <p:nvPr/>
        </p:nvSpPr>
        <p:spPr bwMode="auto">
          <a:xfrm>
            <a:off x="486937" y="5292725"/>
            <a:ext cx="573088" cy="584200"/>
          </a:xfrm>
          <a:custGeom>
            <a:avLst/>
            <a:gdLst>
              <a:gd name="T0" fmla="*/ 137 w 168"/>
              <a:gd name="T1" fmla="*/ 31 h 170"/>
              <a:gd name="T2" fmla="*/ 23 w 168"/>
              <a:gd name="T3" fmla="*/ 31 h 170"/>
              <a:gd name="T4" fmla="*/ 0 w 168"/>
              <a:gd name="T5" fmla="*/ 88 h 170"/>
              <a:gd name="T6" fmla="*/ 23 w 168"/>
              <a:gd name="T7" fmla="*/ 145 h 170"/>
              <a:gd name="T8" fmla="*/ 80 w 168"/>
              <a:gd name="T9" fmla="*/ 168 h 170"/>
              <a:gd name="T10" fmla="*/ 137 w 168"/>
              <a:gd name="T11" fmla="*/ 145 h 170"/>
              <a:gd name="T12" fmla="*/ 137 w 168"/>
              <a:gd name="T13" fmla="*/ 31 h 170"/>
              <a:gd name="T14" fmla="*/ 27 w 168"/>
              <a:gd name="T15" fmla="*/ 35 h 170"/>
              <a:gd name="T16" fmla="*/ 80 w 168"/>
              <a:gd name="T17" fmla="*/ 13 h 170"/>
              <a:gd name="T18" fmla="*/ 131 w 168"/>
              <a:gd name="T19" fmla="*/ 33 h 170"/>
              <a:gd name="T20" fmla="*/ 112 w 168"/>
              <a:gd name="T21" fmla="*/ 52 h 170"/>
              <a:gd name="T22" fmla="*/ 112 w 168"/>
              <a:gd name="T23" fmla="*/ 35 h 170"/>
              <a:gd name="T24" fmla="*/ 108 w 168"/>
              <a:gd name="T25" fmla="*/ 28 h 170"/>
              <a:gd name="T26" fmla="*/ 100 w 168"/>
              <a:gd name="T27" fmla="*/ 28 h 170"/>
              <a:gd name="T28" fmla="*/ 99 w 168"/>
              <a:gd name="T29" fmla="*/ 28 h 170"/>
              <a:gd name="T30" fmla="*/ 64 w 168"/>
              <a:gd name="T31" fmla="*/ 61 h 170"/>
              <a:gd name="T32" fmla="*/ 62 w 168"/>
              <a:gd name="T33" fmla="*/ 61 h 170"/>
              <a:gd name="T34" fmla="*/ 40 w 168"/>
              <a:gd name="T35" fmla="*/ 61 h 170"/>
              <a:gd name="T36" fmla="*/ 32 w 168"/>
              <a:gd name="T37" fmla="*/ 70 h 170"/>
              <a:gd name="T38" fmla="*/ 32 w 168"/>
              <a:gd name="T39" fmla="*/ 104 h 170"/>
              <a:gd name="T40" fmla="*/ 40 w 168"/>
              <a:gd name="T41" fmla="*/ 112 h 170"/>
              <a:gd name="T42" fmla="*/ 52 w 168"/>
              <a:gd name="T43" fmla="*/ 112 h 170"/>
              <a:gd name="T44" fmla="*/ 25 w 168"/>
              <a:gd name="T45" fmla="*/ 139 h 170"/>
              <a:gd name="T46" fmla="*/ 5 w 168"/>
              <a:gd name="T47" fmla="*/ 88 h 170"/>
              <a:gd name="T48" fmla="*/ 27 w 168"/>
              <a:gd name="T49" fmla="*/ 35 h 170"/>
              <a:gd name="T50" fmla="*/ 58 w 168"/>
              <a:gd name="T51" fmla="*/ 107 h 170"/>
              <a:gd name="T52" fmla="*/ 40 w 168"/>
              <a:gd name="T53" fmla="*/ 107 h 170"/>
              <a:gd name="T54" fmla="*/ 37 w 168"/>
              <a:gd name="T55" fmla="*/ 104 h 170"/>
              <a:gd name="T56" fmla="*/ 37 w 168"/>
              <a:gd name="T57" fmla="*/ 70 h 170"/>
              <a:gd name="T58" fmla="*/ 40 w 168"/>
              <a:gd name="T59" fmla="*/ 67 h 170"/>
              <a:gd name="T60" fmla="*/ 62 w 168"/>
              <a:gd name="T61" fmla="*/ 67 h 170"/>
              <a:gd name="T62" fmla="*/ 67 w 168"/>
              <a:gd name="T63" fmla="*/ 65 h 170"/>
              <a:gd name="T64" fmla="*/ 67 w 168"/>
              <a:gd name="T65" fmla="*/ 65 h 170"/>
              <a:gd name="T66" fmla="*/ 102 w 168"/>
              <a:gd name="T67" fmla="*/ 32 h 170"/>
              <a:gd name="T68" fmla="*/ 105 w 168"/>
              <a:gd name="T69" fmla="*/ 32 h 170"/>
              <a:gd name="T70" fmla="*/ 107 w 168"/>
              <a:gd name="T71" fmla="*/ 35 h 170"/>
              <a:gd name="T72" fmla="*/ 107 w 168"/>
              <a:gd name="T73" fmla="*/ 58 h 170"/>
              <a:gd name="T74" fmla="*/ 58 w 168"/>
              <a:gd name="T75" fmla="*/ 107 h 170"/>
              <a:gd name="T76" fmla="*/ 107 w 168"/>
              <a:gd name="T77" fmla="*/ 65 h 170"/>
              <a:gd name="T78" fmla="*/ 107 w 168"/>
              <a:gd name="T79" fmla="*/ 138 h 170"/>
              <a:gd name="T80" fmla="*/ 105 w 168"/>
              <a:gd name="T81" fmla="*/ 141 h 170"/>
              <a:gd name="T82" fmla="*/ 102 w 168"/>
              <a:gd name="T83" fmla="*/ 141 h 170"/>
              <a:gd name="T84" fmla="*/ 67 w 168"/>
              <a:gd name="T85" fmla="*/ 108 h 170"/>
              <a:gd name="T86" fmla="*/ 67 w 168"/>
              <a:gd name="T87" fmla="*/ 108 h 170"/>
              <a:gd name="T88" fmla="*/ 65 w 168"/>
              <a:gd name="T89" fmla="*/ 107 h 170"/>
              <a:gd name="T90" fmla="*/ 107 w 168"/>
              <a:gd name="T91" fmla="*/ 65 h 170"/>
              <a:gd name="T92" fmla="*/ 133 w 168"/>
              <a:gd name="T93" fmla="*/ 141 h 170"/>
              <a:gd name="T94" fmla="*/ 29 w 168"/>
              <a:gd name="T95" fmla="*/ 143 h 170"/>
              <a:gd name="T96" fmla="*/ 60 w 168"/>
              <a:gd name="T97" fmla="*/ 112 h 170"/>
              <a:gd name="T98" fmla="*/ 62 w 168"/>
              <a:gd name="T99" fmla="*/ 112 h 170"/>
              <a:gd name="T100" fmla="*/ 64 w 168"/>
              <a:gd name="T101" fmla="*/ 112 h 170"/>
              <a:gd name="T102" fmla="*/ 99 w 168"/>
              <a:gd name="T103" fmla="*/ 145 h 170"/>
              <a:gd name="T104" fmla="*/ 100 w 168"/>
              <a:gd name="T105" fmla="*/ 146 h 170"/>
              <a:gd name="T106" fmla="*/ 104 w 168"/>
              <a:gd name="T107" fmla="*/ 147 h 170"/>
              <a:gd name="T108" fmla="*/ 108 w 168"/>
              <a:gd name="T109" fmla="*/ 146 h 170"/>
              <a:gd name="T110" fmla="*/ 112 w 168"/>
              <a:gd name="T111" fmla="*/ 138 h 170"/>
              <a:gd name="T112" fmla="*/ 112 w 168"/>
              <a:gd name="T113" fmla="*/ 60 h 170"/>
              <a:gd name="T114" fmla="*/ 135 w 168"/>
              <a:gd name="T115" fmla="*/ 37 h 170"/>
              <a:gd name="T116" fmla="*/ 133 w 168"/>
              <a:gd name="T117" fmla="*/ 14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 h="170">
                <a:moveTo>
                  <a:pt x="137" y="31"/>
                </a:moveTo>
                <a:cubicBezTo>
                  <a:pt x="105" y="0"/>
                  <a:pt x="55" y="0"/>
                  <a:pt x="23" y="31"/>
                </a:cubicBezTo>
                <a:cubicBezTo>
                  <a:pt x="8" y="47"/>
                  <a:pt x="0" y="67"/>
                  <a:pt x="0" y="88"/>
                </a:cubicBezTo>
                <a:cubicBezTo>
                  <a:pt x="0" y="109"/>
                  <a:pt x="8" y="129"/>
                  <a:pt x="23" y="145"/>
                </a:cubicBezTo>
                <a:cubicBezTo>
                  <a:pt x="39" y="160"/>
                  <a:pt x="60" y="168"/>
                  <a:pt x="80" y="168"/>
                </a:cubicBezTo>
                <a:cubicBezTo>
                  <a:pt x="101" y="168"/>
                  <a:pt x="121" y="160"/>
                  <a:pt x="137" y="145"/>
                </a:cubicBezTo>
                <a:cubicBezTo>
                  <a:pt x="168" y="113"/>
                  <a:pt x="168" y="63"/>
                  <a:pt x="137" y="31"/>
                </a:cubicBezTo>
                <a:close/>
                <a:moveTo>
                  <a:pt x="27" y="35"/>
                </a:moveTo>
                <a:cubicBezTo>
                  <a:pt x="42" y="21"/>
                  <a:pt x="61" y="13"/>
                  <a:pt x="80" y="13"/>
                </a:cubicBezTo>
                <a:cubicBezTo>
                  <a:pt x="98" y="13"/>
                  <a:pt x="117" y="20"/>
                  <a:pt x="131" y="33"/>
                </a:cubicBezTo>
                <a:cubicBezTo>
                  <a:pt x="112" y="52"/>
                  <a:pt x="112" y="52"/>
                  <a:pt x="112" y="52"/>
                </a:cubicBezTo>
                <a:cubicBezTo>
                  <a:pt x="112" y="35"/>
                  <a:pt x="112" y="35"/>
                  <a:pt x="112" y="35"/>
                </a:cubicBezTo>
                <a:cubicBezTo>
                  <a:pt x="112" y="32"/>
                  <a:pt x="110" y="29"/>
                  <a:pt x="108" y="28"/>
                </a:cubicBezTo>
                <a:cubicBezTo>
                  <a:pt x="105" y="26"/>
                  <a:pt x="102" y="26"/>
                  <a:pt x="100" y="28"/>
                </a:cubicBezTo>
                <a:cubicBezTo>
                  <a:pt x="99" y="28"/>
                  <a:pt x="99" y="28"/>
                  <a:pt x="99" y="28"/>
                </a:cubicBezTo>
                <a:cubicBezTo>
                  <a:pt x="64" y="61"/>
                  <a:pt x="64" y="61"/>
                  <a:pt x="64" y="61"/>
                </a:cubicBezTo>
                <a:cubicBezTo>
                  <a:pt x="63" y="61"/>
                  <a:pt x="63" y="61"/>
                  <a:pt x="62" y="61"/>
                </a:cubicBezTo>
                <a:cubicBezTo>
                  <a:pt x="40" y="61"/>
                  <a:pt x="40" y="61"/>
                  <a:pt x="40" y="61"/>
                </a:cubicBezTo>
                <a:cubicBezTo>
                  <a:pt x="36" y="61"/>
                  <a:pt x="32" y="65"/>
                  <a:pt x="32" y="70"/>
                </a:cubicBezTo>
                <a:cubicBezTo>
                  <a:pt x="32" y="104"/>
                  <a:pt x="32" y="104"/>
                  <a:pt x="32" y="104"/>
                </a:cubicBezTo>
                <a:cubicBezTo>
                  <a:pt x="32" y="108"/>
                  <a:pt x="36" y="112"/>
                  <a:pt x="40" y="112"/>
                </a:cubicBezTo>
                <a:cubicBezTo>
                  <a:pt x="52" y="112"/>
                  <a:pt x="52" y="112"/>
                  <a:pt x="52" y="112"/>
                </a:cubicBezTo>
                <a:cubicBezTo>
                  <a:pt x="25" y="139"/>
                  <a:pt x="25" y="139"/>
                  <a:pt x="25" y="139"/>
                </a:cubicBezTo>
                <a:cubicBezTo>
                  <a:pt x="12" y="125"/>
                  <a:pt x="5" y="107"/>
                  <a:pt x="5" y="88"/>
                </a:cubicBezTo>
                <a:cubicBezTo>
                  <a:pt x="5" y="68"/>
                  <a:pt x="13" y="49"/>
                  <a:pt x="27" y="35"/>
                </a:cubicBezTo>
                <a:close/>
                <a:moveTo>
                  <a:pt x="58" y="107"/>
                </a:moveTo>
                <a:cubicBezTo>
                  <a:pt x="40" y="107"/>
                  <a:pt x="40" y="107"/>
                  <a:pt x="40" y="107"/>
                </a:cubicBezTo>
                <a:cubicBezTo>
                  <a:pt x="39" y="107"/>
                  <a:pt x="37" y="105"/>
                  <a:pt x="37" y="104"/>
                </a:cubicBezTo>
                <a:cubicBezTo>
                  <a:pt x="37" y="70"/>
                  <a:pt x="37" y="70"/>
                  <a:pt x="37" y="70"/>
                </a:cubicBezTo>
                <a:cubicBezTo>
                  <a:pt x="37" y="68"/>
                  <a:pt x="39" y="67"/>
                  <a:pt x="40" y="67"/>
                </a:cubicBezTo>
                <a:cubicBezTo>
                  <a:pt x="62" y="67"/>
                  <a:pt x="62" y="67"/>
                  <a:pt x="62" y="67"/>
                </a:cubicBezTo>
                <a:cubicBezTo>
                  <a:pt x="64" y="67"/>
                  <a:pt x="65" y="66"/>
                  <a:pt x="67" y="65"/>
                </a:cubicBezTo>
                <a:cubicBezTo>
                  <a:pt x="67" y="65"/>
                  <a:pt x="67" y="65"/>
                  <a:pt x="67" y="65"/>
                </a:cubicBezTo>
                <a:cubicBezTo>
                  <a:pt x="102" y="32"/>
                  <a:pt x="102" y="32"/>
                  <a:pt x="102" y="32"/>
                </a:cubicBezTo>
                <a:cubicBezTo>
                  <a:pt x="104" y="32"/>
                  <a:pt x="105" y="32"/>
                  <a:pt x="105" y="32"/>
                </a:cubicBezTo>
                <a:cubicBezTo>
                  <a:pt x="106" y="33"/>
                  <a:pt x="107" y="33"/>
                  <a:pt x="107" y="35"/>
                </a:cubicBezTo>
                <a:cubicBezTo>
                  <a:pt x="107" y="58"/>
                  <a:pt x="107" y="58"/>
                  <a:pt x="107" y="58"/>
                </a:cubicBezTo>
                <a:lnTo>
                  <a:pt x="58" y="107"/>
                </a:lnTo>
                <a:close/>
                <a:moveTo>
                  <a:pt x="107" y="65"/>
                </a:moveTo>
                <a:cubicBezTo>
                  <a:pt x="107" y="138"/>
                  <a:pt x="107" y="138"/>
                  <a:pt x="107" y="138"/>
                </a:cubicBezTo>
                <a:cubicBezTo>
                  <a:pt x="107" y="140"/>
                  <a:pt x="106" y="141"/>
                  <a:pt x="105" y="141"/>
                </a:cubicBezTo>
                <a:cubicBezTo>
                  <a:pt x="105" y="141"/>
                  <a:pt x="104" y="142"/>
                  <a:pt x="102" y="141"/>
                </a:cubicBezTo>
                <a:cubicBezTo>
                  <a:pt x="67" y="108"/>
                  <a:pt x="67" y="108"/>
                  <a:pt x="67" y="108"/>
                </a:cubicBezTo>
                <a:cubicBezTo>
                  <a:pt x="67" y="108"/>
                  <a:pt x="67" y="108"/>
                  <a:pt x="67" y="108"/>
                </a:cubicBezTo>
                <a:cubicBezTo>
                  <a:pt x="66" y="107"/>
                  <a:pt x="65" y="107"/>
                  <a:pt x="65" y="107"/>
                </a:cubicBezTo>
                <a:lnTo>
                  <a:pt x="107" y="65"/>
                </a:lnTo>
                <a:close/>
                <a:moveTo>
                  <a:pt x="133" y="141"/>
                </a:moveTo>
                <a:cubicBezTo>
                  <a:pt x="104" y="169"/>
                  <a:pt x="58" y="170"/>
                  <a:pt x="29" y="143"/>
                </a:cubicBezTo>
                <a:cubicBezTo>
                  <a:pt x="60" y="112"/>
                  <a:pt x="60" y="112"/>
                  <a:pt x="60" y="112"/>
                </a:cubicBezTo>
                <a:cubicBezTo>
                  <a:pt x="62" y="112"/>
                  <a:pt x="62" y="112"/>
                  <a:pt x="62" y="112"/>
                </a:cubicBezTo>
                <a:cubicBezTo>
                  <a:pt x="63" y="112"/>
                  <a:pt x="63" y="112"/>
                  <a:pt x="64" y="112"/>
                </a:cubicBezTo>
                <a:cubicBezTo>
                  <a:pt x="99" y="145"/>
                  <a:pt x="99" y="145"/>
                  <a:pt x="99" y="145"/>
                </a:cubicBezTo>
                <a:cubicBezTo>
                  <a:pt x="99" y="145"/>
                  <a:pt x="99" y="145"/>
                  <a:pt x="100" y="146"/>
                </a:cubicBezTo>
                <a:cubicBezTo>
                  <a:pt x="101" y="146"/>
                  <a:pt x="102" y="147"/>
                  <a:pt x="104" y="147"/>
                </a:cubicBezTo>
                <a:cubicBezTo>
                  <a:pt x="105" y="147"/>
                  <a:pt x="107" y="146"/>
                  <a:pt x="108" y="146"/>
                </a:cubicBezTo>
                <a:cubicBezTo>
                  <a:pt x="110" y="144"/>
                  <a:pt x="112" y="141"/>
                  <a:pt x="112" y="138"/>
                </a:cubicBezTo>
                <a:cubicBezTo>
                  <a:pt x="112" y="60"/>
                  <a:pt x="112" y="60"/>
                  <a:pt x="112" y="60"/>
                </a:cubicBezTo>
                <a:cubicBezTo>
                  <a:pt x="135" y="37"/>
                  <a:pt x="135" y="37"/>
                  <a:pt x="135" y="37"/>
                </a:cubicBezTo>
                <a:cubicBezTo>
                  <a:pt x="162" y="66"/>
                  <a:pt x="161" y="112"/>
                  <a:pt x="133" y="14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92" name="Freeform 1294">
            <a:extLst>
              <a:ext uri="{FF2B5EF4-FFF2-40B4-BE49-F238E27FC236}">
                <a16:creationId xmlns:a16="http://schemas.microsoft.com/office/drawing/2014/main" id="{B06D5694-8A66-2844-9FF5-26090E722A80}"/>
              </a:ext>
            </a:extLst>
          </p:cNvPr>
          <p:cNvSpPr>
            <a:spLocks noEditPoints="1"/>
          </p:cNvSpPr>
          <p:nvPr/>
        </p:nvSpPr>
        <p:spPr bwMode="auto">
          <a:xfrm>
            <a:off x="540912" y="5938838"/>
            <a:ext cx="444500" cy="550863"/>
          </a:xfrm>
          <a:custGeom>
            <a:avLst/>
            <a:gdLst>
              <a:gd name="T0" fmla="*/ 110 w 130"/>
              <a:gd name="T1" fmla="*/ 80 h 160"/>
              <a:gd name="T2" fmla="*/ 110 w 130"/>
              <a:gd name="T3" fmla="*/ 97 h 160"/>
              <a:gd name="T4" fmla="*/ 69 w 130"/>
              <a:gd name="T5" fmla="*/ 141 h 160"/>
              <a:gd name="T6" fmla="*/ 69 w 130"/>
              <a:gd name="T7" fmla="*/ 154 h 160"/>
              <a:gd name="T8" fmla="*/ 83 w 130"/>
              <a:gd name="T9" fmla="*/ 154 h 160"/>
              <a:gd name="T10" fmla="*/ 86 w 130"/>
              <a:gd name="T11" fmla="*/ 157 h 160"/>
              <a:gd name="T12" fmla="*/ 83 w 130"/>
              <a:gd name="T13" fmla="*/ 160 h 160"/>
              <a:gd name="T14" fmla="*/ 50 w 130"/>
              <a:gd name="T15" fmla="*/ 160 h 160"/>
              <a:gd name="T16" fmla="*/ 47 w 130"/>
              <a:gd name="T17" fmla="*/ 157 h 160"/>
              <a:gd name="T18" fmla="*/ 50 w 130"/>
              <a:gd name="T19" fmla="*/ 154 h 160"/>
              <a:gd name="T20" fmla="*/ 63 w 130"/>
              <a:gd name="T21" fmla="*/ 154 h 160"/>
              <a:gd name="T22" fmla="*/ 63 w 130"/>
              <a:gd name="T23" fmla="*/ 141 h 160"/>
              <a:gd name="T24" fmla="*/ 22 w 130"/>
              <a:gd name="T25" fmla="*/ 97 h 160"/>
              <a:gd name="T26" fmla="*/ 22 w 130"/>
              <a:gd name="T27" fmla="*/ 80 h 160"/>
              <a:gd name="T28" fmla="*/ 25 w 130"/>
              <a:gd name="T29" fmla="*/ 77 h 160"/>
              <a:gd name="T30" fmla="*/ 28 w 130"/>
              <a:gd name="T31" fmla="*/ 80 h 160"/>
              <a:gd name="T32" fmla="*/ 28 w 130"/>
              <a:gd name="T33" fmla="*/ 97 h 160"/>
              <a:gd name="T34" fmla="*/ 66 w 130"/>
              <a:gd name="T35" fmla="*/ 135 h 160"/>
              <a:gd name="T36" fmla="*/ 105 w 130"/>
              <a:gd name="T37" fmla="*/ 97 h 160"/>
              <a:gd name="T38" fmla="*/ 105 w 130"/>
              <a:gd name="T39" fmla="*/ 80 h 160"/>
              <a:gd name="T40" fmla="*/ 108 w 130"/>
              <a:gd name="T41" fmla="*/ 77 h 160"/>
              <a:gd name="T42" fmla="*/ 110 w 130"/>
              <a:gd name="T43" fmla="*/ 80 h 160"/>
              <a:gd name="T44" fmla="*/ 36 w 130"/>
              <a:gd name="T45" fmla="*/ 97 h 160"/>
              <a:gd name="T46" fmla="*/ 36 w 130"/>
              <a:gd name="T47" fmla="*/ 30 h 160"/>
              <a:gd name="T48" fmla="*/ 66 w 130"/>
              <a:gd name="T49" fmla="*/ 0 h 160"/>
              <a:gd name="T50" fmla="*/ 97 w 130"/>
              <a:gd name="T51" fmla="*/ 30 h 160"/>
              <a:gd name="T52" fmla="*/ 97 w 130"/>
              <a:gd name="T53" fmla="*/ 97 h 160"/>
              <a:gd name="T54" fmla="*/ 66 w 130"/>
              <a:gd name="T55" fmla="*/ 127 h 160"/>
              <a:gd name="T56" fmla="*/ 36 w 130"/>
              <a:gd name="T57" fmla="*/ 97 h 160"/>
              <a:gd name="T58" fmla="*/ 41 w 130"/>
              <a:gd name="T59" fmla="*/ 97 h 160"/>
              <a:gd name="T60" fmla="*/ 66 w 130"/>
              <a:gd name="T61" fmla="*/ 121 h 160"/>
              <a:gd name="T62" fmla="*/ 91 w 130"/>
              <a:gd name="T63" fmla="*/ 97 h 160"/>
              <a:gd name="T64" fmla="*/ 91 w 130"/>
              <a:gd name="T65" fmla="*/ 30 h 160"/>
              <a:gd name="T66" fmla="*/ 66 w 130"/>
              <a:gd name="T67" fmla="*/ 6 h 160"/>
              <a:gd name="T68" fmla="*/ 41 w 130"/>
              <a:gd name="T69" fmla="*/ 30 h 160"/>
              <a:gd name="T70" fmla="*/ 41 w 130"/>
              <a:gd name="T71" fmla="*/ 97 h 160"/>
              <a:gd name="T72" fmla="*/ 129 w 130"/>
              <a:gd name="T73" fmla="*/ 12 h 160"/>
              <a:gd name="T74" fmla="*/ 125 w 130"/>
              <a:gd name="T75" fmla="*/ 12 h 160"/>
              <a:gd name="T76" fmla="*/ 100 w 130"/>
              <a:gd name="T77" fmla="*/ 37 h 160"/>
              <a:gd name="T78" fmla="*/ 100 w 130"/>
              <a:gd name="T79" fmla="*/ 41 h 160"/>
              <a:gd name="T80" fmla="*/ 102 w 130"/>
              <a:gd name="T81" fmla="*/ 41 h 160"/>
              <a:gd name="T82" fmla="*/ 104 w 130"/>
              <a:gd name="T83" fmla="*/ 41 h 160"/>
              <a:gd name="T84" fmla="*/ 129 w 130"/>
              <a:gd name="T85" fmla="*/ 16 h 160"/>
              <a:gd name="T86" fmla="*/ 129 w 130"/>
              <a:gd name="T87" fmla="*/ 12 h 160"/>
              <a:gd name="T88" fmla="*/ 87 w 130"/>
              <a:gd name="T89" fmla="*/ 57 h 160"/>
              <a:gd name="T90" fmla="*/ 87 w 130"/>
              <a:gd name="T91" fmla="*/ 53 h 160"/>
              <a:gd name="T92" fmla="*/ 84 w 130"/>
              <a:gd name="T93" fmla="*/ 53 h 160"/>
              <a:gd name="T94" fmla="*/ 45 w 130"/>
              <a:gd name="T95" fmla="*/ 92 h 160"/>
              <a:gd name="T96" fmla="*/ 45 w 130"/>
              <a:gd name="T97" fmla="*/ 96 h 160"/>
              <a:gd name="T98" fmla="*/ 47 w 130"/>
              <a:gd name="T99" fmla="*/ 97 h 160"/>
              <a:gd name="T100" fmla="*/ 49 w 130"/>
              <a:gd name="T101" fmla="*/ 96 h 160"/>
              <a:gd name="T102" fmla="*/ 87 w 130"/>
              <a:gd name="T103" fmla="*/ 57 h 160"/>
              <a:gd name="T104" fmla="*/ 20 w 130"/>
              <a:gd name="T105" fmla="*/ 117 h 160"/>
              <a:gd name="T106" fmla="*/ 1 w 130"/>
              <a:gd name="T107" fmla="*/ 136 h 160"/>
              <a:gd name="T108" fmla="*/ 1 w 130"/>
              <a:gd name="T109" fmla="*/ 140 h 160"/>
              <a:gd name="T110" fmla="*/ 3 w 130"/>
              <a:gd name="T111" fmla="*/ 141 h 160"/>
              <a:gd name="T112" fmla="*/ 5 w 130"/>
              <a:gd name="T113" fmla="*/ 140 h 160"/>
              <a:gd name="T114" fmla="*/ 24 w 130"/>
              <a:gd name="T115" fmla="*/ 121 h 160"/>
              <a:gd name="T116" fmla="*/ 24 w 130"/>
              <a:gd name="T117" fmla="*/ 117 h 160"/>
              <a:gd name="T118" fmla="*/ 20 w 130"/>
              <a:gd name="T119"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0" h="160">
                <a:moveTo>
                  <a:pt x="110" y="80"/>
                </a:moveTo>
                <a:cubicBezTo>
                  <a:pt x="110" y="97"/>
                  <a:pt x="110" y="97"/>
                  <a:pt x="110" y="97"/>
                </a:cubicBezTo>
                <a:cubicBezTo>
                  <a:pt x="110" y="120"/>
                  <a:pt x="92" y="139"/>
                  <a:pt x="69" y="141"/>
                </a:cubicBezTo>
                <a:cubicBezTo>
                  <a:pt x="69" y="154"/>
                  <a:pt x="69" y="154"/>
                  <a:pt x="69" y="154"/>
                </a:cubicBezTo>
                <a:cubicBezTo>
                  <a:pt x="83" y="154"/>
                  <a:pt x="83" y="154"/>
                  <a:pt x="83" y="154"/>
                </a:cubicBezTo>
                <a:cubicBezTo>
                  <a:pt x="84" y="154"/>
                  <a:pt x="86" y="156"/>
                  <a:pt x="86" y="157"/>
                </a:cubicBezTo>
                <a:cubicBezTo>
                  <a:pt x="86" y="159"/>
                  <a:pt x="84" y="160"/>
                  <a:pt x="83" y="160"/>
                </a:cubicBezTo>
                <a:cubicBezTo>
                  <a:pt x="50" y="160"/>
                  <a:pt x="50" y="160"/>
                  <a:pt x="50" y="160"/>
                </a:cubicBezTo>
                <a:cubicBezTo>
                  <a:pt x="48" y="160"/>
                  <a:pt x="47" y="159"/>
                  <a:pt x="47" y="157"/>
                </a:cubicBezTo>
                <a:cubicBezTo>
                  <a:pt x="47" y="156"/>
                  <a:pt x="48" y="154"/>
                  <a:pt x="50" y="154"/>
                </a:cubicBezTo>
                <a:cubicBezTo>
                  <a:pt x="63" y="154"/>
                  <a:pt x="63" y="154"/>
                  <a:pt x="63" y="154"/>
                </a:cubicBezTo>
                <a:cubicBezTo>
                  <a:pt x="63" y="141"/>
                  <a:pt x="63" y="141"/>
                  <a:pt x="63" y="141"/>
                </a:cubicBezTo>
                <a:cubicBezTo>
                  <a:pt x="40" y="139"/>
                  <a:pt x="22" y="120"/>
                  <a:pt x="22" y="97"/>
                </a:cubicBezTo>
                <a:cubicBezTo>
                  <a:pt x="22" y="80"/>
                  <a:pt x="22" y="80"/>
                  <a:pt x="22" y="80"/>
                </a:cubicBezTo>
                <a:cubicBezTo>
                  <a:pt x="22" y="78"/>
                  <a:pt x="23" y="77"/>
                  <a:pt x="25" y="77"/>
                </a:cubicBezTo>
                <a:cubicBezTo>
                  <a:pt x="26" y="77"/>
                  <a:pt x="28" y="78"/>
                  <a:pt x="28" y="80"/>
                </a:cubicBezTo>
                <a:cubicBezTo>
                  <a:pt x="28" y="97"/>
                  <a:pt x="28" y="97"/>
                  <a:pt x="28" y="97"/>
                </a:cubicBezTo>
                <a:cubicBezTo>
                  <a:pt x="28" y="118"/>
                  <a:pt x="45" y="135"/>
                  <a:pt x="66" y="135"/>
                </a:cubicBezTo>
                <a:cubicBezTo>
                  <a:pt x="88" y="135"/>
                  <a:pt x="105" y="118"/>
                  <a:pt x="105" y="97"/>
                </a:cubicBezTo>
                <a:cubicBezTo>
                  <a:pt x="105" y="80"/>
                  <a:pt x="105" y="80"/>
                  <a:pt x="105" y="80"/>
                </a:cubicBezTo>
                <a:cubicBezTo>
                  <a:pt x="105" y="78"/>
                  <a:pt x="106" y="77"/>
                  <a:pt x="108" y="77"/>
                </a:cubicBezTo>
                <a:cubicBezTo>
                  <a:pt x="109" y="77"/>
                  <a:pt x="110" y="78"/>
                  <a:pt x="110" y="80"/>
                </a:cubicBezTo>
                <a:close/>
                <a:moveTo>
                  <a:pt x="36" y="97"/>
                </a:moveTo>
                <a:cubicBezTo>
                  <a:pt x="36" y="30"/>
                  <a:pt x="36" y="30"/>
                  <a:pt x="36" y="30"/>
                </a:cubicBezTo>
                <a:cubicBezTo>
                  <a:pt x="36" y="14"/>
                  <a:pt x="49" y="0"/>
                  <a:pt x="66" y="0"/>
                </a:cubicBezTo>
                <a:cubicBezTo>
                  <a:pt x="83" y="0"/>
                  <a:pt x="97" y="14"/>
                  <a:pt x="97" y="30"/>
                </a:cubicBezTo>
                <a:cubicBezTo>
                  <a:pt x="97" y="97"/>
                  <a:pt x="97" y="97"/>
                  <a:pt x="97" y="97"/>
                </a:cubicBezTo>
                <a:cubicBezTo>
                  <a:pt x="97" y="113"/>
                  <a:pt x="83" y="127"/>
                  <a:pt x="66" y="127"/>
                </a:cubicBezTo>
                <a:cubicBezTo>
                  <a:pt x="49" y="127"/>
                  <a:pt x="36" y="113"/>
                  <a:pt x="36" y="97"/>
                </a:cubicBezTo>
                <a:close/>
                <a:moveTo>
                  <a:pt x="41" y="97"/>
                </a:moveTo>
                <a:cubicBezTo>
                  <a:pt x="41" y="110"/>
                  <a:pt x="53" y="121"/>
                  <a:pt x="66" y="121"/>
                </a:cubicBezTo>
                <a:cubicBezTo>
                  <a:pt x="80" y="121"/>
                  <a:pt x="91" y="110"/>
                  <a:pt x="91" y="97"/>
                </a:cubicBezTo>
                <a:cubicBezTo>
                  <a:pt x="91" y="30"/>
                  <a:pt x="91" y="30"/>
                  <a:pt x="91" y="30"/>
                </a:cubicBezTo>
                <a:cubicBezTo>
                  <a:pt x="91" y="17"/>
                  <a:pt x="80" y="6"/>
                  <a:pt x="66" y="6"/>
                </a:cubicBezTo>
                <a:cubicBezTo>
                  <a:pt x="53" y="6"/>
                  <a:pt x="41" y="17"/>
                  <a:pt x="41" y="30"/>
                </a:cubicBezTo>
                <a:lnTo>
                  <a:pt x="41" y="97"/>
                </a:lnTo>
                <a:close/>
                <a:moveTo>
                  <a:pt x="129" y="12"/>
                </a:moveTo>
                <a:cubicBezTo>
                  <a:pt x="128" y="11"/>
                  <a:pt x="126" y="11"/>
                  <a:pt x="125" y="12"/>
                </a:cubicBezTo>
                <a:cubicBezTo>
                  <a:pt x="100" y="37"/>
                  <a:pt x="100" y="37"/>
                  <a:pt x="100" y="37"/>
                </a:cubicBezTo>
                <a:cubicBezTo>
                  <a:pt x="99" y="38"/>
                  <a:pt x="99" y="39"/>
                  <a:pt x="100" y="41"/>
                </a:cubicBezTo>
                <a:cubicBezTo>
                  <a:pt x="101" y="41"/>
                  <a:pt x="101" y="41"/>
                  <a:pt x="102" y="41"/>
                </a:cubicBezTo>
                <a:cubicBezTo>
                  <a:pt x="103" y="41"/>
                  <a:pt x="103" y="41"/>
                  <a:pt x="104" y="41"/>
                </a:cubicBezTo>
                <a:cubicBezTo>
                  <a:pt x="129" y="16"/>
                  <a:pt x="129" y="16"/>
                  <a:pt x="129" y="16"/>
                </a:cubicBezTo>
                <a:cubicBezTo>
                  <a:pt x="130" y="15"/>
                  <a:pt x="130" y="13"/>
                  <a:pt x="129" y="12"/>
                </a:cubicBezTo>
                <a:close/>
                <a:moveTo>
                  <a:pt x="87" y="57"/>
                </a:moveTo>
                <a:cubicBezTo>
                  <a:pt x="89" y="56"/>
                  <a:pt x="89" y="54"/>
                  <a:pt x="87" y="53"/>
                </a:cubicBezTo>
                <a:cubicBezTo>
                  <a:pt x="86" y="52"/>
                  <a:pt x="85" y="52"/>
                  <a:pt x="84" y="53"/>
                </a:cubicBezTo>
                <a:cubicBezTo>
                  <a:pt x="45" y="92"/>
                  <a:pt x="45" y="92"/>
                  <a:pt x="45" y="92"/>
                </a:cubicBezTo>
                <a:cubicBezTo>
                  <a:pt x="44" y="93"/>
                  <a:pt x="44" y="95"/>
                  <a:pt x="45" y="96"/>
                </a:cubicBezTo>
                <a:cubicBezTo>
                  <a:pt x="45" y="96"/>
                  <a:pt x="46" y="97"/>
                  <a:pt x="47" y="97"/>
                </a:cubicBezTo>
                <a:cubicBezTo>
                  <a:pt x="48" y="97"/>
                  <a:pt x="48" y="96"/>
                  <a:pt x="49" y="96"/>
                </a:cubicBezTo>
                <a:lnTo>
                  <a:pt x="87" y="57"/>
                </a:lnTo>
                <a:close/>
                <a:moveTo>
                  <a:pt x="20" y="117"/>
                </a:moveTo>
                <a:cubicBezTo>
                  <a:pt x="1" y="136"/>
                  <a:pt x="1" y="136"/>
                  <a:pt x="1" y="136"/>
                </a:cubicBezTo>
                <a:cubicBezTo>
                  <a:pt x="0" y="137"/>
                  <a:pt x="0" y="139"/>
                  <a:pt x="1" y="140"/>
                </a:cubicBezTo>
                <a:cubicBezTo>
                  <a:pt x="1" y="140"/>
                  <a:pt x="2" y="141"/>
                  <a:pt x="3" y="141"/>
                </a:cubicBezTo>
                <a:cubicBezTo>
                  <a:pt x="3" y="141"/>
                  <a:pt x="4" y="140"/>
                  <a:pt x="5" y="140"/>
                </a:cubicBezTo>
                <a:cubicBezTo>
                  <a:pt x="24" y="121"/>
                  <a:pt x="24" y="121"/>
                  <a:pt x="24" y="121"/>
                </a:cubicBezTo>
                <a:cubicBezTo>
                  <a:pt x="25" y="119"/>
                  <a:pt x="25" y="118"/>
                  <a:pt x="24" y="117"/>
                </a:cubicBezTo>
                <a:cubicBezTo>
                  <a:pt x="23" y="116"/>
                  <a:pt x="21" y="116"/>
                  <a:pt x="20" y="11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93" name="Freeform 1295">
            <a:extLst>
              <a:ext uri="{FF2B5EF4-FFF2-40B4-BE49-F238E27FC236}">
                <a16:creationId xmlns:a16="http://schemas.microsoft.com/office/drawing/2014/main" id="{BA78A492-B851-B14F-AB05-5B130BE1FD46}"/>
              </a:ext>
            </a:extLst>
          </p:cNvPr>
          <p:cNvSpPr>
            <a:spLocks noEditPoints="1"/>
          </p:cNvSpPr>
          <p:nvPr/>
        </p:nvSpPr>
        <p:spPr bwMode="auto">
          <a:xfrm>
            <a:off x="1442612" y="365125"/>
            <a:ext cx="546100" cy="550863"/>
          </a:xfrm>
          <a:custGeom>
            <a:avLst/>
            <a:gdLst>
              <a:gd name="T0" fmla="*/ 118 w 160"/>
              <a:gd name="T1" fmla="*/ 35 h 160"/>
              <a:gd name="T2" fmla="*/ 23 w 160"/>
              <a:gd name="T3" fmla="*/ 79 h 160"/>
              <a:gd name="T4" fmla="*/ 21 w 160"/>
              <a:gd name="T5" fmla="*/ 81 h 160"/>
              <a:gd name="T6" fmla="*/ 24 w 160"/>
              <a:gd name="T7" fmla="*/ 84 h 160"/>
              <a:gd name="T8" fmla="*/ 66 w 160"/>
              <a:gd name="T9" fmla="*/ 91 h 160"/>
              <a:gd name="T10" fmla="*/ 71 w 160"/>
              <a:gd name="T11" fmla="*/ 131 h 160"/>
              <a:gd name="T12" fmla="*/ 73 w 160"/>
              <a:gd name="T13" fmla="*/ 133 h 160"/>
              <a:gd name="T14" fmla="*/ 73 w 160"/>
              <a:gd name="T15" fmla="*/ 133 h 160"/>
              <a:gd name="T16" fmla="*/ 76 w 160"/>
              <a:gd name="T17" fmla="*/ 132 h 160"/>
              <a:gd name="T18" fmla="*/ 122 w 160"/>
              <a:gd name="T19" fmla="*/ 39 h 160"/>
              <a:gd name="T20" fmla="*/ 121 w 160"/>
              <a:gd name="T21" fmla="*/ 35 h 160"/>
              <a:gd name="T22" fmla="*/ 118 w 160"/>
              <a:gd name="T23" fmla="*/ 35 h 160"/>
              <a:gd name="T24" fmla="*/ 75 w 160"/>
              <a:gd name="T25" fmla="*/ 121 h 160"/>
              <a:gd name="T26" fmla="*/ 71 w 160"/>
              <a:gd name="T27" fmla="*/ 88 h 160"/>
              <a:gd name="T28" fmla="*/ 69 w 160"/>
              <a:gd name="T29" fmla="*/ 86 h 160"/>
              <a:gd name="T30" fmla="*/ 33 w 160"/>
              <a:gd name="T31" fmla="*/ 80 h 160"/>
              <a:gd name="T32" fmla="*/ 114 w 160"/>
              <a:gd name="T33" fmla="*/ 43 h 160"/>
              <a:gd name="T34" fmla="*/ 75 w 160"/>
              <a:gd name="T35" fmla="*/ 121 h 160"/>
              <a:gd name="T36" fmla="*/ 80 w 160"/>
              <a:gd name="T37" fmla="*/ 0 h 160"/>
              <a:gd name="T38" fmla="*/ 0 w 160"/>
              <a:gd name="T39" fmla="*/ 80 h 160"/>
              <a:gd name="T40" fmla="*/ 80 w 160"/>
              <a:gd name="T41" fmla="*/ 160 h 160"/>
              <a:gd name="T42" fmla="*/ 160 w 160"/>
              <a:gd name="T43" fmla="*/ 80 h 160"/>
              <a:gd name="T44" fmla="*/ 80 w 160"/>
              <a:gd name="T45" fmla="*/ 0 h 160"/>
              <a:gd name="T46" fmla="*/ 80 w 160"/>
              <a:gd name="T47" fmla="*/ 155 h 160"/>
              <a:gd name="T48" fmla="*/ 5 w 160"/>
              <a:gd name="T49" fmla="*/ 80 h 160"/>
              <a:gd name="T50" fmla="*/ 80 w 160"/>
              <a:gd name="T51" fmla="*/ 5 h 160"/>
              <a:gd name="T52" fmla="*/ 155 w 160"/>
              <a:gd name="T53" fmla="*/ 80 h 160"/>
              <a:gd name="T54" fmla="*/ 80 w 160"/>
              <a:gd name="T5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60">
                <a:moveTo>
                  <a:pt x="118" y="35"/>
                </a:moveTo>
                <a:cubicBezTo>
                  <a:pt x="23" y="79"/>
                  <a:pt x="23" y="79"/>
                  <a:pt x="23" y="79"/>
                </a:cubicBezTo>
                <a:cubicBezTo>
                  <a:pt x="22" y="79"/>
                  <a:pt x="21" y="80"/>
                  <a:pt x="21" y="81"/>
                </a:cubicBezTo>
                <a:cubicBezTo>
                  <a:pt x="22" y="83"/>
                  <a:pt x="23" y="84"/>
                  <a:pt x="24" y="84"/>
                </a:cubicBezTo>
                <a:cubicBezTo>
                  <a:pt x="66" y="91"/>
                  <a:pt x="66" y="91"/>
                  <a:pt x="66" y="91"/>
                </a:cubicBezTo>
                <a:cubicBezTo>
                  <a:pt x="71" y="131"/>
                  <a:pt x="71" y="131"/>
                  <a:pt x="71" y="131"/>
                </a:cubicBezTo>
                <a:cubicBezTo>
                  <a:pt x="71" y="132"/>
                  <a:pt x="72" y="133"/>
                  <a:pt x="73" y="133"/>
                </a:cubicBezTo>
                <a:cubicBezTo>
                  <a:pt x="73" y="133"/>
                  <a:pt x="73" y="133"/>
                  <a:pt x="73" y="133"/>
                </a:cubicBezTo>
                <a:cubicBezTo>
                  <a:pt x="74" y="133"/>
                  <a:pt x="75" y="132"/>
                  <a:pt x="76" y="132"/>
                </a:cubicBezTo>
                <a:cubicBezTo>
                  <a:pt x="122" y="39"/>
                  <a:pt x="122" y="39"/>
                  <a:pt x="122" y="39"/>
                </a:cubicBezTo>
                <a:cubicBezTo>
                  <a:pt x="122" y="38"/>
                  <a:pt x="122" y="36"/>
                  <a:pt x="121" y="35"/>
                </a:cubicBezTo>
                <a:cubicBezTo>
                  <a:pt x="121" y="35"/>
                  <a:pt x="119" y="34"/>
                  <a:pt x="118" y="35"/>
                </a:cubicBezTo>
                <a:close/>
                <a:moveTo>
                  <a:pt x="75" y="121"/>
                </a:moveTo>
                <a:cubicBezTo>
                  <a:pt x="71" y="88"/>
                  <a:pt x="71" y="88"/>
                  <a:pt x="71" y="88"/>
                </a:cubicBezTo>
                <a:cubicBezTo>
                  <a:pt x="71" y="87"/>
                  <a:pt x="70" y="86"/>
                  <a:pt x="69" y="86"/>
                </a:cubicBezTo>
                <a:cubicBezTo>
                  <a:pt x="33" y="80"/>
                  <a:pt x="33" y="80"/>
                  <a:pt x="33" y="80"/>
                </a:cubicBezTo>
                <a:cubicBezTo>
                  <a:pt x="114" y="43"/>
                  <a:pt x="114" y="43"/>
                  <a:pt x="114" y="43"/>
                </a:cubicBezTo>
                <a:lnTo>
                  <a:pt x="75" y="121"/>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94" name="Freeform 1296">
            <a:extLst>
              <a:ext uri="{FF2B5EF4-FFF2-40B4-BE49-F238E27FC236}">
                <a16:creationId xmlns:a16="http://schemas.microsoft.com/office/drawing/2014/main" id="{5E9F7BF6-817B-914D-B6FF-DFF9A1A307FD}"/>
              </a:ext>
            </a:extLst>
          </p:cNvPr>
          <p:cNvSpPr>
            <a:spLocks noEditPoints="1"/>
          </p:cNvSpPr>
          <p:nvPr/>
        </p:nvSpPr>
        <p:spPr bwMode="auto">
          <a:xfrm>
            <a:off x="1442612" y="984250"/>
            <a:ext cx="546100" cy="536575"/>
          </a:xfrm>
          <a:custGeom>
            <a:avLst/>
            <a:gdLst>
              <a:gd name="T0" fmla="*/ 159 w 160"/>
              <a:gd name="T1" fmla="*/ 1 h 156"/>
              <a:gd name="T2" fmla="*/ 156 w 160"/>
              <a:gd name="T3" fmla="*/ 0 h 156"/>
              <a:gd name="T4" fmla="*/ 2 w 160"/>
              <a:gd name="T5" fmla="*/ 71 h 156"/>
              <a:gd name="T6" fmla="*/ 0 w 160"/>
              <a:gd name="T7" fmla="*/ 74 h 156"/>
              <a:gd name="T8" fmla="*/ 3 w 160"/>
              <a:gd name="T9" fmla="*/ 77 h 156"/>
              <a:gd name="T10" fmla="*/ 72 w 160"/>
              <a:gd name="T11" fmla="*/ 88 h 156"/>
              <a:gd name="T12" fmla="*/ 79 w 160"/>
              <a:gd name="T13" fmla="*/ 153 h 156"/>
              <a:gd name="T14" fmla="*/ 82 w 160"/>
              <a:gd name="T15" fmla="*/ 156 h 156"/>
              <a:gd name="T16" fmla="*/ 83 w 160"/>
              <a:gd name="T17" fmla="*/ 156 h 156"/>
              <a:gd name="T18" fmla="*/ 85 w 160"/>
              <a:gd name="T19" fmla="*/ 154 h 156"/>
              <a:gd name="T20" fmla="*/ 160 w 160"/>
              <a:gd name="T21" fmla="*/ 4 h 156"/>
              <a:gd name="T22" fmla="*/ 159 w 160"/>
              <a:gd name="T23" fmla="*/ 1 h 156"/>
              <a:gd name="T24" fmla="*/ 84 w 160"/>
              <a:gd name="T25" fmla="*/ 142 h 156"/>
              <a:gd name="T26" fmla="*/ 77 w 160"/>
              <a:gd name="T27" fmla="*/ 85 h 156"/>
              <a:gd name="T28" fmla="*/ 75 w 160"/>
              <a:gd name="T29" fmla="*/ 83 h 156"/>
              <a:gd name="T30" fmla="*/ 14 w 160"/>
              <a:gd name="T31" fmla="*/ 72 h 156"/>
              <a:gd name="T32" fmla="*/ 150 w 160"/>
              <a:gd name="T33" fmla="*/ 10 h 156"/>
              <a:gd name="T34" fmla="*/ 84 w 160"/>
              <a:gd name="T35" fmla="*/ 14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56">
                <a:moveTo>
                  <a:pt x="159" y="1"/>
                </a:moveTo>
                <a:cubicBezTo>
                  <a:pt x="158" y="0"/>
                  <a:pt x="157" y="0"/>
                  <a:pt x="156" y="0"/>
                </a:cubicBezTo>
                <a:cubicBezTo>
                  <a:pt x="2" y="71"/>
                  <a:pt x="2" y="71"/>
                  <a:pt x="2" y="71"/>
                </a:cubicBezTo>
                <a:cubicBezTo>
                  <a:pt x="1" y="71"/>
                  <a:pt x="0" y="73"/>
                  <a:pt x="0" y="74"/>
                </a:cubicBezTo>
                <a:cubicBezTo>
                  <a:pt x="0" y="75"/>
                  <a:pt x="1" y="77"/>
                  <a:pt x="3" y="77"/>
                </a:cubicBezTo>
                <a:cubicBezTo>
                  <a:pt x="72" y="88"/>
                  <a:pt x="72" y="88"/>
                  <a:pt x="72" y="88"/>
                </a:cubicBezTo>
                <a:cubicBezTo>
                  <a:pt x="79" y="153"/>
                  <a:pt x="79" y="153"/>
                  <a:pt x="79" y="153"/>
                </a:cubicBezTo>
                <a:cubicBezTo>
                  <a:pt x="80" y="155"/>
                  <a:pt x="81" y="156"/>
                  <a:pt x="82" y="156"/>
                </a:cubicBezTo>
                <a:cubicBezTo>
                  <a:pt x="82" y="156"/>
                  <a:pt x="82" y="156"/>
                  <a:pt x="83" y="156"/>
                </a:cubicBezTo>
                <a:cubicBezTo>
                  <a:pt x="84" y="156"/>
                  <a:pt x="85" y="156"/>
                  <a:pt x="85" y="154"/>
                </a:cubicBezTo>
                <a:cubicBezTo>
                  <a:pt x="160" y="4"/>
                  <a:pt x="160" y="4"/>
                  <a:pt x="160" y="4"/>
                </a:cubicBezTo>
                <a:cubicBezTo>
                  <a:pt x="160" y="3"/>
                  <a:pt x="160" y="2"/>
                  <a:pt x="159" y="1"/>
                </a:cubicBezTo>
                <a:close/>
                <a:moveTo>
                  <a:pt x="84" y="142"/>
                </a:moveTo>
                <a:cubicBezTo>
                  <a:pt x="77" y="85"/>
                  <a:pt x="77" y="85"/>
                  <a:pt x="77" y="85"/>
                </a:cubicBezTo>
                <a:cubicBezTo>
                  <a:pt x="77" y="84"/>
                  <a:pt x="76" y="83"/>
                  <a:pt x="75" y="83"/>
                </a:cubicBezTo>
                <a:cubicBezTo>
                  <a:pt x="14" y="72"/>
                  <a:pt x="14" y="72"/>
                  <a:pt x="14" y="72"/>
                </a:cubicBezTo>
                <a:cubicBezTo>
                  <a:pt x="150" y="10"/>
                  <a:pt x="150" y="10"/>
                  <a:pt x="150" y="10"/>
                </a:cubicBezTo>
                <a:lnTo>
                  <a:pt x="84" y="14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95" name="Freeform 1297">
            <a:extLst>
              <a:ext uri="{FF2B5EF4-FFF2-40B4-BE49-F238E27FC236}">
                <a16:creationId xmlns:a16="http://schemas.microsoft.com/office/drawing/2014/main" id="{1BC9029F-83C4-6C48-9CD4-F79A3221B6D0}"/>
              </a:ext>
            </a:extLst>
          </p:cNvPr>
          <p:cNvSpPr>
            <a:spLocks noEditPoints="1"/>
          </p:cNvSpPr>
          <p:nvPr/>
        </p:nvSpPr>
        <p:spPr bwMode="auto">
          <a:xfrm>
            <a:off x="1442612" y="1603375"/>
            <a:ext cx="546100" cy="550863"/>
          </a:xfrm>
          <a:custGeom>
            <a:avLst/>
            <a:gdLst>
              <a:gd name="T0" fmla="*/ 125 w 160"/>
              <a:gd name="T1" fmla="*/ 17 h 160"/>
              <a:gd name="T2" fmla="*/ 99 w 160"/>
              <a:gd name="T3" fmla="*/ 54 h 160"/>
              <a:gd name="T4" fmla="*/ 70 w 160"/>
              <a:gd name="T5" fmla="*/ 54 h 160"/>
              <a:gd name="T6" fmla="*/ 49 w 160"/>
              <a:gd name="T7" fmla="*/ 26 h 160"/>
              <a:gd name="T8" fmla="*/ 26 w 160"/>
              <a:gd name="T9" fmla="*/ 26 h 160"/>
              <a:gd name="T10" fmla="*/ 44 w 160"/>
              <a:gd name="T11" fmla="*/ 36 h 160"/>
              <a:gd name="T12" fmla="*/ 61 w 160"/>
              <a:gd name="T13" fmla="*/ 73 h 160"/>
              <a:gd name="T14" fmla="*/ 29 w 160"/>
              <a:gd name="T15" fmla="*/ 124 h 160"/>
              <a:gd name="T16" fmla="*/ 0 w 160"/>
              <a:gd name="T17" fmla="*/ 137 h 160"/>
              <a:gd name="T18" fmla="*/ 35 w 160"/>
              <a:gd name="T19" fmla="*/ 137 h 160"/>
              <a:gd name="T20" fmla="*/ 70 w 160"/>
              <a:gd name="T21" fmla="*/ 91 h 160"/>
              <a:gd name="T22" fmla="*/ 81 w 160"/>
              <a:gd name="T23" fmla="*/ 125 h 160"/>
              <a:gd name="T24" fmla="*/ 84 w 160"/>
              <a:gd name="T25" fmla="*/ 160 h 160"/>
              <a:gd name="T26" fmla="*/ 87 w 160"/>
              <a:gd name="T27" fmla="*/ 125 h 160"/>
              <a:gd name="T28" fmla="*/ 99 w 160"/>
              <a:gd name="T29" fmla="*/ 91 h 160"/>
              <a:gd name="T30" fmla="*/ 119 w 160"/>
              <a:gd name="T31" fmla="*/ 119 h 160"/>
              <a:gd name="T32" fmla="*/ 143 w 160"/>
              <a:gd name="T33" fmla="*/ 119 h 160"/>
              <a:gd name="T34" fmla="*/ 125 w 160"/>
              <a:gd name="T35" fmla="*/ 109 h 160"/>
              <a:gd name="T36" fmla="*/ 108 w 160"/>
              <a:gd name="T37" fmla="*/ 73 h 160"/>
              <a:gd name="T38" fmla="*/ 131 w 160"/>
              <a:gd name="T39" fmla="*/ 30 h 160"/>
              <a:gd name="T40" fmla="*/ 160 w 160"/>
              <a:gd name="T41" fmla="*/ 17 h 160"/>
              <a:gd name="T42" fmla="*/ 32 w 160"/>
              <a:gd name="T43" fmla="*/ 26 h 160"/>
              <a:gd name="T44" fmla="*/ 44 w 160"/>
              <a:gd name="T45" fmla="*/ 26 h 160"/>
              <a:gd name="T46" fmla="*/ 32 w 160"/>
              <a:gd name="T47" fmla="*/ 26 h 160"/>
              <a:gd name="T48" fmla="*/ 6 w 160"/>
              <a:gd name="T49" fmla="*/ 137 h 160"/>
              <a:gd name="T50" fmla="*/ 29 w 160"/>
              <a:gd name="T51" fmla="*/ 137 h 160"/>
              <a:gd name="T52" fmla="*/ 96 w 160"/>
              <a:gd name="T53" fmla="*/ 143 h 160"/>
              <a:gd name="T54" fmla="*/ 73 w 160"/>
              <a:gd name="T55" fmla="*/ 143 h 160"/>
              <a:gd name="T56" fmla="*/ 96 w 160"/>
              <a:gd name="T57" fmla="*/ 143 h 160"/>
              <a:gd name="T58" fmla="*/ 67 w 160"/>
              <a:gd name="T59" fmla="*/ 73 h 160"/>
              <a:gd name="T60" fmla="*/ 102 w 160"/>
              <a:gd name="T61" fmla="*/ 73 h 160"/>
              <a:gd name="T62" fmla="*/ 137 w 160"/>
              <a:gd name="T63" fmla="*/ 119 h 160"/>
              <a:gd name="T64" fmla="*/ 125 w 160"/>
              <a:gd name="T65" fmla="*/ 119 h 160"/>
              <a:gd name="T66" fmla="*/ 137 w 160"/>
              <a:gd name="T67" fmla="*/ 119 h 160"/>
              <a:gd name="T68" fmla="*/ 131 w 160"/>
              <a:gd name="T69" fmla="*/ 17 h 160"/>
              <a:gd name="T70" fmla="*/ 154 w 160"/>
              <a:gd name="T71" fmla="*/ 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60">
                <a:moveTo>
                  <a:pt x="143" y="0"/>
                </a:moveTo>
                <a:cubicBezTo>
                  <a:pt x="133" y="0"/>
                  <a:pt x="125" y="8"/>
                  <a:pt x="125" y="17"/>
                </a:cubicBezTo>
                <a:cubicBezTo>
                  <a:pt x="125" y="20"/>
                  <a:pt x="126" y="23"/>
                  <a:pt x="127" y="26"/>
                </a:cubicBezTo>
                <a:cubicBezTo>
                  <a:pt x="99" y="54"/>
                  <a:pt x="99" y="54"/>
                  <a:pt x="99" y="54"/>
                </a:cubicBezTo>
                <a:cubicBezTo>
                  <a:pt x="95" y="51"/>
                  <a:pt x="90" y="49"/>
                  <a:pt x="84" y="49"/>
                </a:cubicBezTo>
                <a:cubicBezTo>
                  <a:pt x="79" y="49"/>
                  <a:pt x="74" y="51"/>
                  <a:pt x="70" y="54"/>
                </a:cubicBezTo>
                <a:cubicBezTo>
                  <a:pt x="48" y="32"/>
                  <a:pt x="48" y="32"/>
                  <a:pt x="48" y="32"/>
                </a:cubicBezTo>
                <a:cubicBezTo>
                  <a:pt x="49" y="30"/>
                  <a:pt x="49" y="28"/>
                  <a:pt x="49" y="26"/>
                </a:cubicBezTo>
                <a:cubicBezTo>
                  <a:pt x="49" y="20"/>
                  <a:pt x="44" y="15"/>
                  <a:pt x="38" y="15"/>
                </a:cubicBezTo>
                <a:cubicBezTo>
                  <a:pt x="31" y="15"/>
                  <a:pt x="26" y="20"/>
                  <a:pt x="26" y="26"/>
                </a:cubicBezTo>
                <a:cubicBezTo>
                  <a:pt x="26" y="33"/>
                  <a:pt x="31" y="38"/>
                  <a:pt x="38" y="38"/>
                </a:cubicBezTo>
                <a:cubicBezTo>
                  <a:pt x="40" y="38"/>
                  <a:pt x="42" y="37"/>
                  <a:pt x="44" y="36"/>
                </a:cubicBezTo>
                <a:cubicBezTo>
                  <a:pt x="66" y="58"/>
                  <a:pt x="66" y="58"/>
                  <a:pt x="66" y="58"/>
                </a:cubicBezTo>
                <a:cubicBezTo>
                  <a:pt x="63" y="62"/>
                  <a:pt x="61" y="67"/>
                  <a:pt x="61" y="73"/>
                </a:cubicBezTo>
                <a:cubicBezTo>
                  <a:pt x="61" y="78"/>
                  <a:pt x="63" y="83"/>
                  <a:pt x="66" y="87"/>
                </a:cubicBezTo>
                <a:cubicBezTo>
                  <a:pt x="29" y="124"/>
                  <a:pt x="29" y="124"/>
                  <a:pt x="29" y="124"/>
                </a:cubicBezTo>
                <a:cubicBezTo>
                  <a:pt x="26" y="121"/>
                  <a:pt x="22" y="119"/>
                  <a:pt x="17" y="119"/>
                </a:cubicBezTo>
                <a:cubicBezTo>
                  <a:pt x="8" y="119"/>
                  <a:pt x="0" y="127"/>
                  <a:pt x="0" y="137"/>
                </a:cubicBezTo>
                <a:cubicBezTo>
                  <a:pt x="0" y="146"/>
                  <a:pt x="8" y="154"/>
                  <a:pt x="17" y="154"/>
                </a:cubicBezTo>
                <a:cubicBezTo>
                  <a:pt x="27" y="154"/>
                  <a:pt x="35" y="146"/>
                  <a:pt x="35" y="137"/>
                </a:cubicBezTo>
                <a:cubicBezTo>
                  <a:pt x="35" y="134"/>
                  <a:pt x="34" y="131"/>
                  <a:pt x="33" y="128"/>
                </a:cubicBezTo>
                <a:cubicBezTo>
                  <a:pt x="70" y="91"/>
                  <a:pt x="70" y="91"/>
                  <a:pt x="70" y="91"/>
                </a:cubicBezTo>
                <a:cubicBezTo>
                  <a:pt x="73" y="94"/>
                  <a:pt x="77" y="95"/>
                  <a:pt x="81" y="96"/>
                </a:cubicBezTo>
                <a:cubicBezTo>
                  <a:pt x="81" y="125"/>
                  <a:pt x="81" y="125"/>
                  <a:pt x="81" y="125"/>
                </a:cubicBezTo>
                <a:cubicBezTo>
                  <a:pt x="73" y="127"/>
                  <a:pt x="67" y="134"/>
                  <a:pt x="67" y="143"/>
                </a:cubicBezTo>
                <a:cubicBezTo>
                  <a:pt x="67" y="152"/>
                  <a:pt x="75" y="160"/>
                  <a:pt x="84" y="160"/>
                </a:cubicBezTo>
                <a:cubicBezTo>
                  <a:pt x="94" y="160"/>
                  <a:pt x="102" y="152"/>
                  <a:pt x="102" y="143"/>
                </a:cubicBezTo>
                <a:cubicBezTo>
                  <a:pt x="102" y="134"/>
                  <a:pt x="96" y="127"/>
                  <a:pt x="87" y="125"/>
                </a:cubicBezTo>
                <a:cubicBezTo>
                  <a:pt x="87" y="96"/>
                  <a:pt x="87" y="96"/>
                  <a:pt x="87" y="96"/>
                </a:cubicBezTo>
                <a:cubicBezTo>
                  <a:pt x="92" y="95"/>
                  <a:pt x="95" y="94"/>
                  <a:pt x="99" y="91"/>
                </a:cubicBezTo>
                <a:cubicBezTo>
                  <a:pt x="121" y="113"/>
                  <a:pt x="121" y="113"/>
                  <a:pt x="121" y="113"/>
                </a:cubicBezTo>
                <a:cubicBezTo>
                  <a:pt x="120" y="115"/>
                  <a:pt x="119" y="117"/>
                  <a:pt x="119" y="119"/>
                </a:cubicBezTo>
                <a:cubicBezTo>
                  <a:pt x="119" y="126"/>
                  <a:pt x="124" y="131"/>
                  <a:pt x="131" y="131"/>
                </a:cubicBezTo>
                <a:cubicBezTo>
                  <a:pt x="137" y="131"/>
                  <a:pt x="143" y="126"/>
                  <a:pt x="143" y="119"/>
                </a:cubicBezTo>
                <a:cubicBezTo>
                  <a:pt x="143" y="113"/>
                  <a:pt x="137" y="108"/>
                  <a:pt x="131" y="108"/>
                </a:cubicBezTo>
                <a:cubicBezTo>
                  <a:pt x="129" y="108"/>
                  <a:pt x="127" y="108"/>
                  <a:pt x="125" y="109"/>
                </a:cubicBezTo>
                <a:cubicBezTo>
                  <a:pt x="103" y="87"/>
                  <a:pt x="103" y="87"/>
                  <a:pt x="103" y="87"/>
                </a:cubicBezTo>
                <a:cubicBezTo>
                  <a:pt x="106" y="83"/>
                  <a:pt x="108" y="78"/>
                  <a:pt x="108" y="73"/>
                </a:cubicBezTo>
                <a:cubicBezTo>
                  <a:pt x="108" y="67"/>
                  <a:pt x="106" y="62"/>
                  <a:pt x="103" y="58"/>
                </a:cubicBezTo>
                <a:cubicBezTo>
                  <a:pt x="131" y="30"/>
                  <a:pt x="131" y="30"/>
                  <a:pt x="131" y="30"/>
                </a:cubicBezTo>
                <a:cubicBezTo>
                  <a:pt x="134" y="33"/>
                  <a:pt x="138" y="35"/>
                  <a:pt x="143" y="35"/>
                </a:cubicBezTo>
                <a:cubicBezTo>
                  <a:pt x="152" y="35"/>
                  <a:pt x="160" y="27"/>
                  <a:pt x="160" y="17"/>
                </a:cubicBezTo>
                <a:cubicBezTo>
                  <a:pt x="160" y="8"/>
                  <a:pt x="152" y="0"/>
                  <a:pt x="143" y="0"/>
                </a:cubicBezTo>
                <a:close/>
                <a:moveTo>
                  <a:pt x="32" y="26"/>
                </a:moveTo>
                <a:cubicBezTo>
                  <a:pt x="32" y="23"/>
                  <a:pt x="35" y="20"/>
                  <a:pt x="38" y="20"/>
                </a:cubicBezTo>
                <a:cubicBezTo>
                  <a:pt x="41" y="20"/>
                  <a:pt x="44" y="23"/>
                  <a:pt x="44" y="26"/>
                </a:cubicBezTo>
                <a:cubicBezTo>
                  <a:pt x="44" y="29"/>
                  <a:pt x="41" y="32"/>
                  <a:pt x="38" y="32"/>
                </a:cubicBezTo>
                <a:cubicBezTo>
                  <a:pt x="35" y="32"/>
                  <a:pt x="32" y="29"/>
                  <a:pt x="32" y="26"/>
                </a:cubicBezTo>
                <a:close/>
                <a:moveTo>
                  <a:pt x="17" y="148"/>
                </a:moveTo>
                <a:cubicBezTo>
                  <a:pt x="11" y="148"/>
                  <a:pt x="6" y="143"/>
                  <a:pt x="6" y="137"/>
                </a:cubicBezTo>
                <a:cubicBezTo>
                  <a:pt x="6" y="130"/>
                  <a:pt x="11" y="125"/>
                  <a:pt x="17" y="125"/>
                </a:cubicBezTo>
                <a:cubicBezTo>
                  <a:pt x="24" y="125"/>
                  <a:pt x="29" y="130"/>
                  <a:pt x="29" y="137"/>
                </a:cubicBezTo>
                <a:cubicBezTo>
                  <a:pt x="29" y="143"/>
                  <a:pt x="24" y="148"/>
                  <a:pt x="17" y="148"/>
                </a:cubicBezTo>
                <a:close/>
                <a:moveTo>
                  <a:pt x="96" y="143"/>
                </a:moveTo>
                <a:cubicBezTo>
                  <a:pt x="96" y="149"/>
                  <a:pt x="91" y="154"/>
                  <a:pt x="84" y="154"/>
                </a:cubicBezTo>
                <a:cubicBezTo>
                  <a:pt x="78" y="154"/>
                  <a:pt x="73" y="149"/>
                  <a:pt x="73" y="143"/>
                </a:cubicBezTo>
                <a:cubicBezTo>
                  <a:pt x="73" y="136"/>
                  <a:pt x="78" y="131"/>
                  <a:pt x="84" y="131"/>
                </a:cubicBezTo>
                <a:cubicBezTo>
                  <a:pt x="91" y="131"/>
                  <a:pt x="96" y="136"/>
                  <a:pt x="96" y="143"/>
                </a:cubicBezTo>
                <a:close/>
                <a:moveTo>
                  <a:pt x="84" y="90"/>
                </a:moveTo>
                <a:cubicBezTo>
                  <a:pt x="75" y="90"/>
                  <a:pt x="67" y="82"/>
                  <a:pt x="67" y="73"/>
                </a:cubicBezTo>
                <a:cubicBezTo>
                  <a:pt x="67" y="63"/>
                  <a:pt x="75" y="55"/>
                  <a:pt x="84" y="55"/>
                </a:cubicBezTo>
                <a:cubicBezTo>
                  <a:pt x="94" y="55"/>
                  <a:pt x="102" y="63"/>
                  <a:pt x="102" y="73"/>
                </a:cubicBezTo>
                <a:cubicBezTo>
                  <a:pt x="102" y="82"/>
                  <a:pt x="94" y="90"/>
                  <a:pt x="84" y="90"/>
                </a:cubicBezTo>
                <a:close/>
                <a:moveTo>
                  <a:pt x="137" y="119"/>
                </a:moveTo>
                <a:cubicBezTo>
                  <a:pt x="137" y="122"/>
                  <a:pt x="134" y="125"/>
                  <a:pt x="131" y="125"/>
                </a:cubicBezTo>
                <a:cubicBezTo>
                  <a:pt x="128" y="125"/>
                  <a:pt x="125" y="122"/>
                  <a:pt x="125" y="119"/>
                </a:cubicBezTo>
                <a:cubicBezTo>
                  <a:pt x="125" y="116"/>
                  <a:pt x="128" y="113"/>
                  <a:pt x="131" y="113"/>
                </a:cubicBezTo>
                <a:cubicBezTo>
                  <a:pt x="134" y="113"/>
                  <a:pt x="137" y="116"/>
                  <a:pt x="137" y="119"/>
                </a:cubicBezTo>
                <a:close/>
                <a:moveTo>
                  <a:pt x="143" y="29"/>
                </a:moveTo>
                <a:cubicBezTo>
                  <a:pt x="136" y="29"/>
                  <a:pt x="131" y="24"/>
                  <a:pt x="131" y="17"/>
                </a:cubicBezTo>
                <a:cubicBezTo>
                  <a:pt x="131" y="11"/>
                  <a:pt x="136" y="6"/>
                  <a:pt x="143" y="6"/>
                </a:cubicBezTo>
                <a:cubicBezTo>
                  <a:pt x="149" y="6"/>
                  <a:pt x="154" y="11"/>
                  <a:pt x="154" y="17"/>
                </a:cubicBezTo>
                <a:cubicBezTo>
                  <a:pt x="154" y="24"/>
                  <a:pt x="149" y="29"/>
                  <a:pt x="143" y="2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96" name="Freeform 1298">
            <a:extLst>
              <a:ext uri="{FF2B5EF4-FFF2-40B4-BE49-F238E27FC236}">
                <a16:creationId xmlns:a16="http://schemas.microsoft.com/office/drawing/2014/main" id="{B6F644D6-C9AB-7144-A7CA-6B8B81F68F0E}"/>
              </a:ext>
            </a:extLst>
          </p:cNvPr>
          <p:cNvSpPr>
            <a:spLocks noEditPoints="1"/>
          </p:cNvSpPr>
          <p:nvPr/>
        </p:nvSpPr>
        <p:spPr bwMode="auto">
          <a:xfrm>
            <a:off x="1456900" y="2222500"/>
            <a:ext cx="528638" cy="550863"/>
          </a:xfrm>
          <a:custGeom>
            <a:avLst/>
            <a:gdLst>
              <a:gd name="T0" fmla="*/ 43 w 155"/>
              <a:gd name="T1" fmla="*/ 43 h 160"/>
              <a:gd name="T2" fmla="*/ 80 w 155"/>
              <a:gd name="T3" fmla="*/ 80 h 160"/>
              <a:gd name="T4" fmla="*/ 75 w 155"/>
              <a:gd name="T5" fmla="*/ 75 h 160"/>
              <a:gd name="T6" fmla="*/ 48 w 155"/>
              <a:gd name="T7" fmla="*/ 48 h 160"/>
              <a:gd name="T8" fmla="*/ 75 w 155"/>
              <a:gd name="T9" fmla="*/ 75 h 160"/>
              <a:gd name="T10" fmla="*/ 136 w 155"/>
              <a:gd name="T11" fmla="*/ 48 h 160"/>
              <a:gd name="T12" fmla="*/ 91 w 155"/>
              <a:gd name="T13" fmla="*/ 45 h 160"/>
              <a:gd name="T14" fmla="*/ 136 w 155"/>
              <a:gd name="T15" fmla="*/ 43 h 160"/>
              <a:gd name="T16" fmla="*/ 139 w 155"/>
              <a:gd name="T17" fmla="*/ 61 h 160"/>
              <a:gd name="T18" fmla="*/ 93 w 155"/>
              <a:gd name="T19" fmla="*/ 64 h 160"/>
              <a:gd name="T20" fmla="*/ 93 w 155"/>
              <a:gd name="T21" fmla="*/ 59 h 160"/>
              <a:gd name="T22" fmla="*/ 139 w 155"/>
              <a:gd name="T23" fmla="*/ 61 h 160"/>
              <a:gd name="T24" fmla="*/ 136 w 155"/>
              <a:gd name="T25" fmla="*/ 80 h 160"/>
              <a:gd name="T26" fmla="*/ 91 w 155"/>
              <a:gd name="T27" fmla="*/ 77 h 160"/>
              <a:gd name="T28" fmla="*/ 136 w 155"/>
              <a:gd name="T29" fmla="*/ 75 h 160"/>
              <a:gd name="T30" fmla="*/ 139 w 155"/>
              <a:gd name="T31" fmla="*/ 93 h 160"/>
              <a:gd name="T32" fmla="*/ 48 w 155"/>
              <a:gd name="T33" fmla="*/ 96 h 160"/>
              <a:gd name="T34" fmla="*/ 48 w 155"/>
              <a:gd name="T35" fmla="*/ 91 h 160"/>
              <a:gd name="T36" fmla="*/ 139 w 155"/>
              <a:gd name="T37" fmla="*/ 93 h 160"/>
              <a:gd name="T38" fmla="*/ 88 w 155"/>
              <a:gd name="T39" fmla="*/ 112 h 160"/>
              <a:gd name="T40" fmla="*/ 45 w 155"/>
              <a:gd name="T41" fmla="*/ 109 h 160"/>
              <a:gd name="T42" fmla="*/ 88 w 155"/>
              <a:gd name="T43" fmla="*/ 107 h 160"/>
              <a:gd name="T44" fmla="*/ 91 w 155"/>
              <a:gd name="T45" fmla="*/ 125 h 160"/>
              <a:gd name="T46" fmla="*/ 48 w 155"/>
              <a:gd name="T47" fmla="*/ 128 h 160"/>
              <a:gd name="T48" fmla="*/ 48 w 155"/>
              <a:gd name="T49" fmla="*/ 123 h 160"/>
              <a:gd name="T50" fmla="*/ 91 w 155"/>
              <a:gd name="T51" fmla="*/ 125 h 160"/>
              <a:gd name="T52" fmla="*/ 88 w 155"/>
              <a:gd name="T53" fmla="*/ 144 h 160"/>
              <a:gd name="T54" fmla="*/ 45 w 155"/>
              <a:gd name="T55" fmla="*/ 141 h 160"/>
              <a:gd name="T56" fmla="*/ 88 w 155"/>
              <a:gd name="T57" fmla="*/ 139 h 160"/>
              <a:gd name="T58" fmla="*/ 101 w 155"/>
              <a:gd name="T59" fmla="*/ 144 h 160"/>
              <a:gd name="T60" fmla="*/ 139 w 155"/>
              <a:gd name="T61" fmla="*/ 107 h 160"/>
              <a:gd name="T62" fmla="*/ 101 w 155"/>
              <a:gd name="T63" fmla="*/ 144 h 160"/>
              <a:gd name="T64" fmla="*/ 133 w 155"/>
              <a:gd name="T65" fmla="*/ 112 h 160"/>
              <a:gd name="T66" fmla="*/ 107 w 155"/>
              <a:gd name="T67" fmla="*/ 139 h 160"/>
              <a:gd name="T68" fmla="*/ 155 w 155"/>
              <a:gd name="T69" fmla="*/ 35 h 160"/>
              <a:gd name="T70" fmla="*/ 155 w 155"/>
              <a:gd name="T71" fmla="*/ 0 h 160"/>
              <a:gd name="T72" fmla="*/ 27 w 155"/>
              <a:gd name="T73" fmla="*/ 80 h 160"/>
              <a:gd name="T74" fmla="*/ 0 w 155"/>
              <a:gd name="T75" fmla="*/ 144 h 160"/>
              <a:gd name="T76" fmla="*/ 139 w 155"/>
              <a:gd name="T77" fmla="*/ 160 h 160"/>
              <a:gd name="T78" fmla="*/ 155 w 155"/>
              <a:gd name="T79" fmla="*/ 35 h 160"/>
              <a:gd name="T80" fmla="*/ 149 w 155"/>
              <a:gd name="T81" fmla="*/ 5 h 160"/>
              <a:gd name="T82" fmla="*/ 32 w 155"/>
              <a:gd name="T83" fmla="*/ 32 h 160"/>
              <a:gd name="T84" fmla="*/ 149 w 155"/>
              <a:gd name="T85" fmla="*/ 5 h 160"/>
              <a:gd name="T86" fmla="*/ 5 w 155"/>
              <a:gd name="T87" fmla="*/ 85 h 160"/>
              <a:gd name="T88" fmla="*/ 27 w 155"/>
              <a:gd name="T89" fmla="*/ 144 h 160"/>
              <a:gd name="T90" fmla="*/ 5 w 155"/>
              <a:gd name="T91" fmla="*/ 144 h 160"/>
              <a:gd name="T92" fmla="*/ 28 w 155"/>
              <a:gd name="T93" fmla="*/ 155 h 160"/>
              <a:gd name="T94" fmla="*/ 30 w 155"/>
              <a:gd name="T95" fmla="*/ 153 h 160"/>
              <a:gd name="T96" fmla="*/ 31 w 155"/>
              <a:gd name="T97" fmla="*/ 150 h 160"/>
              <a:gd name="T98" fmla="*/ 32 w 155"/>
              <a:gd name="T99" fmla="*/ 147 h 160"/>
              <a:gd name="T100" fmla="*/ 32 w 155"/>
              <a:gd name="T101" fmla="*/ 144 h 160"/>
              <a:gd name="T102" fmla="*/ 32 w 155"/>
              <a:gd name="T103" fmla="*/ 37 h 160"/>
              <a:gd name="T104" fmla="*/ 149 w 155"/>
              <a:gd name="T105" fmla="*/ 144 h 160"/>
              <a:gd name="T106" fmla="*/ 123 w 155"/>
              <a:gd name="T107" fmla="*/ 11 h 160"/>
              <a:gd name="T108" fmla="*/ 59 w 155"/>
              <a:gd name="T109" fmla="*/ 27 h 160"/>
              <a:gd name="T110" fmla="*/ 123 w 155"/>
              <a:gd name="T111" fmla="*/ 11 h 160"/>
              <a:gd name="T112" fmla="*/ 64 w 155"/>
              <a:gd name="T113" fmla="*/ 21 h 160"/>
              <a:gd name="T114" fmla="*/ 117 w 155"/>
              <a:gd name="T115"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5" h="160">
                <a:moveTo>
                  <a:pt x="80" y="43"/>
                </a:moveTo>
                <a:cubicBezTo>
                  <a:pt x="43" y="43"/>
                  <a:pt x="43" y="43"/>
                  <a:pt x="43" y="43"/>
                </a:cubicBezTo>
                <a:cubicBezTo>
                  <a:pt x="43" y="80"/>
                  <a:pt x="43" y="80"/>
                  <a:pt x="43" y="80"/>
                </a:cubicBezTo>
                <a:cubicBezTo>
                  <a:pt x="80" y="80"/>
                  <a:pt x="80" y="80"/>
                  <a:pt x="80" y="80"/>
                </a:cubicBezTo>
                <a:lnTo>
                  <a:pt x="80" y="43"/>
                </a:lnTo>
                <a:close/>
                <a:moveTo>
                  <a:pt x="75" y="75"/>
                </a:moveTo>
                <a:cubicBezTo>
                  <a:pt x="48" y="75"/>
                  <a:pt x="48" y="75"/>
                  <a:pt x="48" y="75"/>
                </a:cubicBezTo>
                <a:cubicBezTo>
                  <a:pt x="48" y="48"/>
                  <a:pt x="48" y="48"/>
                  <a:pt x="48" y="48"/>
                </a:cubicBezTo>
                <a:cubicBezTo>
                  <a:pt x="75" y="48"/>
                  <a:pt x="75" y="48"/>
                  <a:pt x="75" y="48"/>
                </a:cubicBezTo>
                <a:lnTo>
                  <a:pt x="75" y="75"/>
                </a:lnTo>
                <a:close/>
                <a:moveTo>
                  <a:pt x="139" y="45"/>
                </a:moveTo>
                <a:cubicBezTo>
                  <a:pt x="139" y="47"/>
                  <a:pt x="137" y="48"/>
                  <a:pt x="136" y="48"/>
                </a:cubicBezTo>
                <a:cubicBezTo>
                  <a:pt x="93" y="48"/>
                  <a:pt x="93" y="48"/>
                  <a:pt x="93" y="48"/>
                </a:cubicBezTo>
                <a:cubicBezTo>
                  <a:pt x="92" y="48"/>
                  <a:pt x="91" y="47"/>
                  <a:pt x="91" y="45"/>
                </a:cubicBezTo>
                <a:cubicBezTo>
                  <a:pt x="91" y="44"/>
                  <a:pt x="92" y="43"/>
                  <a:pt x="93" y="43"/>
                </a:cubicBezTo>
                <a:cubicBezTo>
                  <a:pt x="136" y="43"/>
                  <a:pt x="136" y="43"/>
                  <a:pt x="136" y="43"/>
                </a:cubicBezTo>
                <a:cubicBezTo>
                  <a:pt x="137" y="43"/>
                  <a:pt x="139" y="44"/>
                  <a:pt x="139" y="45"/>
                </a:cubicBezTo>
                <a:close/>
                <a:moveTo>
                  <a:pt x="139" y="61"/>
                </a:moveTo>
                <a:cubicBezTo>
                  <a:pt x="139" y="63"/>
                  <a:pt x="137" y="64"/>
                  <a:pt x="136" y="64"/>
                </a:cubicBezTo>
                <a:cubicBezTo>
                  <a:pt x="93" y="64"/>
                  <a:pt x="93" y="64"/>
                  <a:pt x="93" y="64"/>
                </a:cubicBezTo>
                <a:cubicBezTo>
                  <a:pt x="92" y="64"/>
                  <a:pt x="91" y="63"/>
                  <a:pt x="91" y="61"/>
                </a:cubicBezTo>
                <a:cubicBezTo>
                  <a:pt x="91" y="60"/>
                  <a:pt x="92" y="59"/>
                  <a:pt x="93" y="59"/>
                </a:cubicBezTo>
                <a:cubicBezTo>
                  <a:pt x="136" y="59"/>
                  <a:pt x="136" y="59"/>
                  <a:pt x="136" y="59"/>
                </a:cubicBezTo>
                <a:cubicBezTo>
                  <a:pt x="137" y="59"/>
                  <a:pt x="139" y="60"/>
                  <a:pt x="139" y="61"/>
                </a:cubicBezTo>
                <a:close/>
                <a:moveTo>
                  <a:pt x="139" y="77"/>
                </a:moveTo>
                <a:cubicBezTo>
                  <a:pt x="139" y="79"/>
                  <a:pt x="137" y="80"/>
                  <a:pt x="136" y="80"/>
                </a:cubicBezTo>
                <a:cubicBezTo>
                  <a:pt x="93" y="80"/>
                  <a:pt x="93" y="80"/>
                  <a:pt x="93" y="80"/>
                </a:cubicBezTo>
                <a:cubicBezTo>
                  <a:pt x="92" y="80"/>
                  <a:pt x="91" y="79"/>
                  <a:pt x="91" y="77"/>
                </a:cubicBezTo>
                <a:cubicBezTo>
                  <a:pt x="91" y="76"/>
                  <a:pt x="92" y="75"/>
                  <a:pt x="93" y="75"/>
                </a:cubicBezTo>
                <a:cubicBezTo>
                  <a:pt x="136" y="75"/>
                  <a:pt x="136" y="75"/>
                  <a:pt x="136" y="75"/>
                </a:cubicBezTo>
                <a:cubicBezTo>
                  <a:pt x="137" y="75"/>
                  <a:pt x="139" y="76"/>
                  <a:pt x="139" y="77"/>
                </a:cubicBezTo>
                <a:close/>
                <a:moveTo>
                  <a:pt x="139" y="93"/>
                </a:moveTo>
                <a:cubicBezTo>
                  <a:pt x="139" y="95"/>
                  <a:pt x="137" y="96"/>
                  <a:pt x="136" y="96"/>
                </a:cubicBezTo>
                <a:cubicBezTo>
                  <a:pt x="48" y="96"/>
                  <a:pt x="48" y="96"/>
                  <a:pt x="48" y="96"/>
                </a:cubicBezTo>
                <a:cubicBezTo>
                  <a:pt x="47" y="96"/>
                  <a:pt x="45" y="95"/>
                  <a:pt x="45" y="93"/>
                </a:cubicBezTo>
                <a:cubicBezTo>
                  <a:pt x="45" y="92"/>
                  <a:pt x="47" y="91"/>
                  <a:pt x="48" y="91"/>
                </a:cubicBezTo>
                <a:cubicBezTo>
                  <a:pt x="136" y="91"/>
                  <a:pt x="136" y="91"/>
                  <a:pt x="136" y="91"/>
                </a:cubicBezTo>
                <a:cubicBezTo>
                  <a:pt x="137" y="91"/>
                  <a:pt x="139" y="92"/>
                  <a:pt x="139" y="93"/>
                </a:cubicBezTo>
                <a:close/>
                <a:moveTo>
                  <a:pt x="91" y="109"/>
                </a:moveTo>
                <a:cubicBezTo>
                  <a:pt x="91" y="111"/>
                  <a:pt x="89" y="112"/>
                  <a:pt x="88" y="112"/>
                </a:cubicBezTo>
                <a:cubicBezTo>
                  <a:pt x="48" y="112"/>
                  <a:pt x="48" y="112"/>
                  <a:pt x="48" y="112"/>
                </a:cubicBezTo>
                <a:cubicBezTo>
                  <a:pt x="47" y="112"/>
                  <a:pt x="45" y="111"/>
                  <a:pt x="45" y="109"/>
                </a:cubicBezTo>
                <a:cubicBezTo>
                  <a:pt x="45" y="108"/>
                  <a:pt x="47" y="107"/>
                  <a:pt x="48" y="107"/>
                </a:cubicBezTo>
                <a:cubicBezTo>
                  <a:pt x="88" y="107"/>
                  <a:pt x="88" y="107"/>
                  <a:pt x="88" y="107"/>
                </a:cubicBezTo>
                <a:cubicBezTo>
                  <a:pt x="89" y="107"/>
                  <a:pt x="91" y="108"/>
                  <a:pt x="91" y="109"/>
                </a:cubicBezTo>
                <a:close/>
                <a:moveTo>
                  <a:pt x="91" y="125"/>
                </a:moveTo>
                <a:cubicBezTo>
                  <a:pt x="91" y="127"/>
                  <a:pt x="89" y="128"/>
                  <a:pt x="88" y="128"/>
                </a:cubicBezTo>
                <a:cubicBezTo>
                  <a:pt x="48" y="128"/>
                  <a:pt x="48" y="128"/>
                  <a:pt x="48" y="128"/>
                </a:cubicBezTo>
                <a:cubicBezTo>
                  <a:pt x="47" y="128"/>
                  <a:pt x="45" y="127"/>
                  <a:pt x="45" y="125"/>
                </a:cubicBezTo>
                <a:cubicBezTo>
                  <a:pt x="45" y="124"/>
                  <a:pt x="47" y="123"/>
                  <a:pt x="48" y="123"/>
                </a:cubicBezTo>
                <a:cubicBezTo>
                  <a:pt x="88" y="123"/>
                  <a:pt x="88" y="123"/>
                  <a:pt x="88" y="123"/>
                </a:cubicBezTo>
                <a:cubicBezTo>
                  <a:pt x="89" y="123"/>
                  <a:pt x="91" y="124"/>
                  <a:pt x="91" y="125"/>
                </a:cubicBezTo>
                <a:close/>
                <a:moveTo>
                  <a:pt x="91" y="141"/>
                </a:moveTo>
                <a:cubicBezTo>
                  <a:pt x="91" y="143"/>
                  <a:pt x="89" y="144"/>
                  <a:pt x="88" y="144"/>
                </a:cubicBezTo>
                <a:cubicBezTo>
                  <a:pt x="48" y="144"/>
                  <a:pt x="48" y="144"/>
                  <a:pt x="48" y="144"/>
                </a:cubicBezTo>
                <a:cubicBezTo>
                  <a:pt x="47" y="144"/>
                  <a:pt x="45" y="143"/>
                  <a:pt x="45" y="141"/>
                </a:cubicBezTo>
                <a:cubicBezTo>
                  <a:pt x="45" y="140"/>
                  <a:pt x="47" y="139"/>
                  <a:pt x="48" y="139"/>
                </a:cubicBezTo>
                <a:cubicBezTo>
                  <a:pt x="88" y="139"/>
                  <a:pt x="88" y="139"/>
                  <a:pt x="88" y="139"/>
                </a:cubicBezTo>
                <a:cubicBezTo>
                  <a:pt x="89" y="139"/>
                  <a:pt x="91" y="140"/>
                  <a:pt x="91" y="141"/>
                </a:cubicBezTo>
                <a:close/>
                <a:moveTo>
                  <a:pt x="101" y="144"/>
                </a:moveTo>
                <a:cubicBezTo>
                  <a:pt x="139" y="144"/>
                  <a:pt x="139" y="144"/>
                  <a:pt x="139" y="144"/>
                </a:cubicBezTo>
                <a:cubicBezTo>
                  <a:pt x="139" y="107"/>
                  <a:pt x="139" y="107"/>
                  <a:pt x="139" y="107"/>
                </a:cubicBezTo>
                <a:cubicBezTo>
                  <a:pt x="101" y="107"/>
                  <a:pt x="101" y="107"/>
                  <a:pt x="101" y="107"/>
                </a:cubicBezTo>
                <a:lnTo>
                  <a:pt x="101" y="144"/>
                </a:lnTo>
                <a:close/>
                <a:moveTo>
                  <a:pt x="107" y="112"/>
                </a:moveTo>
                <a:cubicBezTo>
                  <a:pt x="133" y="112"/>
                  <a:pt x="133" y="112"/>
                  <a:pt x="133" y="112"/>
                </a:cubicBezTo>
                <a:cubicBezTo>
                  <a:pt x="133" y="139"/>
                  <a:pt x="133" y="139"/>
                  <a:pt x="133" y="139"/>
                </a:cubicBezTo>
                <a:cubicBezTo>
                  <a:pt x="107" y="139"/>
                  <a:pt x="107" y="139"/>
                  <a:pt x="107" y="139"/>
                </a:cubicBezTo>
                <a:lnTo>
                  <a:pt x="107" y="112"/>
                </a:lnTo>
                <a:close/>
                <a:moveTo>
                  <a:pt x="155" y="35"/>
                </a:moveTo>
                <a:cubicBezTo>
                  <a:pt x="155" y="35"/>
                  <a:pt x="155" y="35"/>
                  <a:pt x="155" y="35"/>
                </a:cubicBezTo>
                <a:cubicBezTo>
                  <a:pt x="155" y="0"/>
                  <a:pt x="155" y="0"/>
                  <a:pt x="155" y="0"/>
                </a:cubicBezTo>
                <a:cubicBezTo>
                  <a:pt x="27" y="0"/>
                  <a:pt x="27" y="0"/>
                  <a:pt x="27" y="0"/>
                </a:cubicBezTo>
                <a:cubicBezTo>
                  <a:pt x="27" y="80"/>
                  <a:pt x="27" y="80"/>
                  <a:pt x="27" y="80"/>
                </a:cubicBezTo>
                <a:cubicBezTo>
                  <a:pt x="0" y="80"/>
                  <a:pt x="0" y="80"/>
                  <a:pt x="0" y="80"/>
                </a:cubicBezTo>
                <a:cubicBezTo>
                  <a:pt x="0" y="144"/>
                  <a:pt x="0" y="144"/>
                  <a:pt x="0" y="144"/>
                </a:cubicBezTo>
                <a:cubicBezTo>
                  <a:pt x="0" y="153"/>
                  <a:pt x="7" y="160"/>
                  <a:pt x="16" y="160"/>
                </a:cubicBezTo>
                <a:cubicBezTo>
                  <a:pt x="139" y="160"/>
                  <a:pt x="139" y="160"/>
                  <a:pt x="139" y="160"/>
                </a:cubicBezTo>
                <a:cubicBezTo>
                  <a:pt x="147" y="160"/>
                  <a:pt x="155" y="153"/>
                  <a:pt x="155" y="144"/>
                </a:cubicBezTo>
                <a:cubicBezTo>
                  <a:pt x="155" y="35"/>
                  <a:pt x="155" y="35"/>
                  <a:pt x="155" y="35"/>
                </a:cubicBezTo>
                <a:cubicBezTo>
                  <a:pt x="155" y="35"/>
                  <a:pt x="155" y="35"/>
                  <a:pt x="155" y="35"/>
                </a:cubicBezTo>
                <a:close/>
                <a:moveTo>
                  <a:pt x="149" y="5"/>
                </a:moveTo>
                <a:cubicBezTo>
                  <a:pt x="149" y="32"/>
                  <a:pt x="149" y="32"/>
                  <a:pt x="149" y="32"/>
                </a:cubicBezTo>
                <a:cubicBezTo>
                  <a:pt x="32" y="32"/>
                  <a:pt x="32" y="32"/>
                  <a:pt x="32" y="32"/>
                </a:cubicBezTo>
                <a:cubicBezTo>
                  <a:pt x="32" y="5"/>
                  <a:pt x="32" y="5"/>
                  <a:pt x="32" y="5"/>
                </a:cubicBezTo>
                <a:lnTo>
                  <a:pt x="149" y="5"/>
                </a:lnTo>
                <a:close/>
                <a:moveTo>
                  <a:pt x="5" y="144"/>
                </a:moveTo>
                <a:cubicBezTo>
                  <a:pt x="5" y="85"/>
                  <a:pt x="5" y="85"/>
                  <a:pt x="5" y="85"/>
                </a:cubicBezTo>
                <a:cubicBezTo>
                  <a:pt x="27" y="85"/>
                  <a:pt x="27" y="85"/>
                  <a:pt x="27" y="85"/>
                </a:cubicBezTo>
                <a:cubicBezTo>
                  <a:pt x="27" y="144"/>
                  <a:pt x="27" y="144"/>
                  <a:pt x="27" y="144"/>
                </a:cubicBezTo>
                <a:cubicBezTo>
                  <a:pt x="27" y="150"/>
                  <a:pt x="22" y="155"/>
                  <a:pt x="16" y="155"/>
                </a:cubicBezTo>
                <a:cubicBezTo>
                  <a:pt x="10" y="155"/>
                  <a:pt x="5" y="150"/>
                  <a:pt x="5" y="144"/>
                </a:cubicBezTo>
                <a:close/>
                <a:moveTo>
                  <a:pt x="139" y="155"/>
                </a:moveTo>
                <a:cubicBezTo>
                  <a:pt x="28" y="155"/>
                  <a:pt x="28" y="155"/>
                  <a:pt x="28" y="155"/>
                </a:cubicBezTo>
                <a:cubicBezTo>
                  <a:pt x="28" y="155"/>
                  <a:pt x="28" y="155"/>
                  <a:pt x="28" y="155"/>
                </a:cubicBezTo>
                <a:cubicBezTo>
                  <a:pt x="29" y="154"/>
                  <a:pt x="29" y="153"/>
                  <a:pt x="30" y="153"/>
                </a:cubicBezTo>
                <a:cubicBezTo>
                  <a:pt x="30" y="152"/>
                  <a:pt x="30" y="152"/>
                  <a:pt x="30" y="152"/>
                </a:cubicBezTo>
                <a:cubicBezTo>
                  <a:pt x="30" y="151"/>
                  <a:pt x="31" y="151"/>
                  <a:pt x="31" y="150"/>
                </a:cubicBezTo>
                <a:cubicBezTo>
                  <a:pt x="31" y="150"/>
                  <a:pt x="31" y="150"/>
                  <a:pt x="31" y="150"/>
                </a:cubicBezTo>
                <a:cubicBezTo>
                  <a:pt x="31" y="149"/>
                  <a:pt x="32" y="148"/>
                  <a:pt x="32" y="147"/>
                </a:cubicBezTo>
                <a:cubicBezTo>
                  <a:pt x="32" y="147"/>
                  <a:pt x="32" y="147"/>
                  <a:pt x="32" y="147"/>
                </a:cubicBezTo>
                <a:cubicBezTo>
                  <a:pt x="32" y="146"/>
                  <a:pt x="32" y="145"/>
                  <a:pt x="32" y="144"/>
                </a:cubicBezTo>
                <a:cubicBezTo>
                  <a:pt x="32" y="80"/>
                  <a:pt x="32" y="80"/>
                  <a:pt x="32" y="80"/>
                </a:cubicBezTo>
                <a:cubicBezTo>
                  <a:pt x="32" y="37"/>
                  <a:pt x="32" y="37"/>
                  <a:pt x="32" y="37"/>
                </a:cubicBezTo>
                <a:cubicBezTo>
                  <a:pt x="149" y="37"/>
                  <a:pt x="149" y="37"/>
                  <a:pt x="149" y="37"/>
                </a:cubicBezTo>
                <a:cubicBezTo>
                  <a:pt x="149" y="144"/>
                  <a:pt x="149" y="144"/>
                  <a:pt x="149" y="144"/>
                </a:cubicBezTo>
                <a:cubicBezTo>
                  <a:pt x="149" y="150"/>
                  <a:pt x="145" y="155"/>
                  <a:pt x="139" y="155"/>
                </a:cubicBezTo>
                <a:close/>
                <a:moveTo>
                  <a:pt x="123" y="11"/>
                </a:moveTo>
                <a:cubicBezTo>
                  <a:pt x="59" y="11"/>
                  <a:pt x="59" y="11"/>
                  <a:pt x="59" y="11"/>
                </a:cubicBezTo>
                <a:cubicBezTo>
                  <a:pt x="59" y="27"/>
                  <a:pt x="59" y="27"/>
                  <a:pt x="59" y="27"/>
                </a:cubicBezTo>
                <a:cubicBezTo>
                  <a:pt x="123" y="27"/>
                  <a:pt x="123" y="27"/>
                  <a:pt x="123" y="27"/>
                </a:cubicBezTo>
                <a:lnTo>
                  <a:pt x="123" y="11"/>
                </a:lnTo>
                <a:close/>
                <a:moveTo>
                  <a:pt x="117" y="21"/>
                </a:moveTo>
                <a:cubicBezTo>
                  <a:pt x="64" y="21"/>
                  <a:pt x="64" y="21"/>
                  <a:pt x="64" y="21"/>
                </a:cubicBezTo>
                <a:cubicBezTo>
                  <a:pt x="64" y="16"/>
                  <a:pt x="64" y="16"/>
                  <a:pt x="64" y="16"/>
                </a:cubicBezTo>
                <a:cubicBezTo>
                  <a:pt x="117" y="16"/>
                  <a:pt x="117" y="16"/>
                  <a:pt x="117" y="16"/>
                </a:cubicBezTo>
                <a:lnTo>
                  <a:pt x="117" y="2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97" name="Freeform 1299">
            <a:extLst>
              <a:ext uri="{FF2B5EF4-FFF2-40B4-BE49-F238E27FC236}">
                <a16:creationId xmlns:a16="http://schemas.microsoft.com/office/drawing/2014/main" id="{B255CC1E-DFE5-D649-95F3-8A4A30FA20FF}"/>
              </a:ext>
            </a:extLst>
          </p:cNvPr>
          <p:cNvSpPr>
            <a:spLocks noEditPoints="1"/>
          </p:cNvSpPr>
          <p:nvPr/>
        </p:nvSpPr>
        <p:spPr bwMode="auto">
          <a:xfrm>
            <a:off x="1510875" y="2841625"/>
            <a:ext cx="403225" cy="550863"/>
          </a:xfrm>
          <a:custGeom>
            <a:avLst/>
            <a:gdLst>
              <a:gd name="T0" fmla="*/ 114 w 118"/>
              <a:gd name="T1" fmla="*/ 0 h 160"/>
              <a:gd name="T2" fmla="*/ 110 w 118"/>
              <a:gd name="T3" fmla="*/ 4 h 160"/>
              <a:gd name="T4" fmla="*/ 110 w 118"/>
              <a:gd name="T5" fmla="*/ 73 h 160"/>
              <a:gd name="T6" fmla="*/ 6 w 118"/>
              <a:gd name="T7" fmla="*/ 1 h 160"/>
              <a:gd name="T8" fmla="*/ 2 w 118"/>
              <a:gd name="T9" fmla="*/ 0 h 160"/>
              <a:gd name="T10" fmla="*/ 0 w 118"/>
              <a:gd name="T11" fmla="*/ 4 h 160"/>
              <a:gd name="T12" fmla="*/ 0 w 118"/>
              <a:gd name="T13" fmla="*/ 156 h 160"/>
              <a:gd name="T14" fmla="*/ 2 w 118"/>
              <a:gd name="T15" fmla="*/ 160 h 160"/>
              <a:gd name="T16" fmla="*/ 4 w 118"/>
              <a:gd name="T17" fmla="*/ 160 h 160"/>
              <a:gd name="T18" fmla="*/ 6 w 118"/>
              <a:gd name="T19" fmla="*/ 159 h 160"/>
              <a:gd name="T20" fmla="*/ 110 w 118"/>
              <a:gd name="T21" fmla="*/ 87 h 160"/>
              <a:gd name="T22" fmla="*/ 110 w 118"/>
              <a:gd name="T23" fmla="*/ 156 h 160"/>
              <a:gd name="T24" fmla="*/ 114 w 118"/>
              <a:gd name="T25" fmla="*/ 160 h 160"/>
              <a:gd name="T26" fmla="*/ 118 w 118"/>
              <a:gd name="T27" fmla="*/ 156 h 160"/>
              <a:gd name="T28" fmla="*/ 118 w 118"/>
              <a:gd name="T29" fmla="*/ 4 h 160"/>
              <a:gd name="T30" fmla="*/ 114 w 118"/>
              <a:gd name="T31" fmla="*/ 0 h 160"/>
              <a:gd name="T32" fmla="*/ 8 w 118"/>
              <a:gd name="T33" fmla="*/ 149 h 160"/>
              <a:gd name="T34" fmla="*/ 8 w 118"/>
              <a:gd name="T35" fmla="*/ 11 h 160"/>
              <a:gd name="T36" fmla="*/ 108 w 118"/>
              <a:gd name="T37" fmla="*/ 80 h 160"/>
              <a:gd name="T38" fmla="*/ 8 w 118"/>
              <a:gd name="T39"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60">
                <a:moveTo>
                  <a:pt x="114" y="0"/>
                </a:moveTo>
                <a:cubicBezTo>
                  <a:pt x="112" y="0"/>
                  <a:pt x="110" y="2"/>
                  <a:pt x="110" y="4"/>
                </a:cubicBezTo>
                <a:cubicBezTo>
                  <a:pt x="110" y="73"/>
                  <a:pt x="110" y="73"/>
                  <a:pt x="110" y="73"/>
                </a:cubicBezTo>
                <a:cubicBezTo>
                  <a:pt x="6" y="1"/>
                  <a:pt x="6" y="1"/>
                  <a:pt x="6" y="1"/>
                </a:cubicBezTo>
                <a:cubicBezTo>
                  <a:pt x="5" y="0"/>
                  <a:pt x="3" y="0"/>
                  <a:pt x="2" y="0"/>
                </a:cubicBezTo>
                <a:cubicBezTo>
                  <a:pt x="1" y="1"/>
                  <a:pt x="0" y="2"/>
                  <a:pt x="0" y="4"/>
                </a:cubicBezTo>
                <a:cubicBezTo>
                  <a:pt x="0" y="156"/>
                  <a:pt x="0" y="156"/>
                  <a:pt x="0" y="156"/>
                </a:cubicBezTo>
                <a:cubicBezTo>
                  <a:pt x="0" y="158"/>
                  <a:pt x="1" y="159"/>
                  <a:pt x="2" y="160"/>
                </a:cubicBezTo>
                <a:cubicBezTo>
                  <a:pt x="3" y="160"/>
                  <a:pt x="3" y="160"/>
                  <a:pt x="4" y="160"/>
                </a:cubicBezTo>
                <a:cubicBezTo>
                  <a:pt x="5" y="160"/>
                  <a:pt x="5" y="160"/>
                  <a:pt x="6" y="159"/>
                </a:cubicBezTo>
                <a:cubicBezTo>
                  <a:pt x="110" y="87"/>
                  <a:pt x="110" y="87"/>
                  <a:pt x="110" y="87"/>
                </a:cubicBezTo>
                <a:cubicBezTo>
                  <a:pt x="110" y="156"/>
                  <a:pt x="110" y="156"/>
                  <a:pt x="110" y="156"/>
                </a:cubicBezTo>
                <a:cubicBezTo>
                  <a:pt x="110" y="158"/>
                  <a:pt x="112" y="160"/>
                  <a:pt x="114" y="160"/>
                </a:cubicBezTo>
                <a:cubicBezTo>
                  <a:pt x="116" y="160"/>
                  <a:pt x="118" y="158"/>
                  <a:pt x="118" y="156"/>
                </a:cubicBezTo>
                <a:cubicBezTo>
                  <a:pt x="118" y="4"/>
                  <a:pt x="118" y="4"/>
                  <a:pt x="118" y="4"/>
                </a:cubicBezTo>
                <a:cubicBezTo>
                  <a:pt x="118" y="2"/>
                  <a:pt x="116" y="0"/>
                  <a:pt x="114" y="0"/>
                </a:cubicBezTo>
                <a:close/>
                <a:moveTo>
                  <a:pt x="8" y="149"/>
                </a:moveTo>
                <a:cubicBezTo>
                  <a:pt x="8" y="11"/>
                  <a:pt x="8" y="11"/>
                  <a:pt x="8" y="11"/>
                </a:cubicBezTo>
                <a:cubicBezTo>
                  <a:pt x="108" y="80"/>
                  <a:pt x="108" y="80"/>
                  <a:pt x="108" y="80"/>
                </a:cubicBezTo>
                <a:lnTo>
                  <a:pt x="8" y="14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98" name="Freeform 1300">
            <a:extLst>
              <a:ext uri="{FF2B5EF4-FFF2-40B4-BE49-F238E27FC236}">
                <a16:creationId xmlns:a16="http://schemas.microsoft.com/office/drawing/2014/main" id="{66E9520D-C77F-A644-87AE-2021E3475B88}"/>
              </a:ext>
            </a:extLst>
          </p:cNvPr>
          <p:cNvSpPr>
            <a:spLocks noEditPoints="1"/>
          </p:cNvSpPr>
          <p:nvPr/>
        </p:nvSpPr>
        <p:spPr bwMode="auto">
          <a:xfrm>
            <a:off x="1469600" y="3462338"/>
            <a:ext cx="481013" cy="549275"/>
          </a:xfrm>
          <a:custGeom>
            <a:avLst/>
            <a:gdLst>
              <a:gd name="T0" fmla="*/ 60 w 141"/>
              <a:gd name="T1" fmla="*/ 24 h 160"/>
              <a:gd name="T2" fmla="*/ 79 w 141"/>
              <a:gd name="T3" fmla="*/ 5 h 160"/>
              <a:gd name="T4" fmla="*/ 92 w 141"/>
              <a:gd name="T5" fmla="*/ 14 h 160"/>
              <a:gd name="T6" fmla="*/ 141 w 141"/>
              <a:gd name="T7" fmla="*/ 122 h 160"/>
              <a:gd name="T8" fmla="*/ 0 w 141"/>
              <a:gd name="T9" fmla="*/ 160 h 160"/>
              <a:gd name="T10" fmla="*/ 46 w 141"/>
              <a:gd name="T11" fmla="*/ 27 h 160"/>
              <a:gd name="T12" fmla="*/ 38 w 141"/>
              <a:gd name="T13" fmla="*/ 11 h 160"/>
              <a:gd name="T14" fmla="*/ 5 w 141"/>
              <a:gd name="T15" fmla="*/ 16 h 160"/>
              <a:gd name="T16" fmla="*/ 5 w 141"/>
              <a:gd name="T17" fmla="*/ 49 h 160"/>
              <a:gd name="T18" fmla="*/ 5 w 141"/>
              <a:gd name="T19" fmla="*/ 76 h 160"/>
              <a:gd name="T20" fmla="*/ 5 w 141"/>
              <a:gd name="T21" fmla="*/ 103 h 160"/>
              <a:gd name="T22" fmla="*/ 5 w 141"/>
              <a:gd name="T23" fmla="*/ 130 h 160"/>
              <a:gd name="T24" fmla="*/ 136 w 141"/>
              <a:gd name="T25" fmla="*/ 103 h 160"/>
              <a:gd name="T26" fmla="*/ 136 w 141"/>
              <a:gd name="T27" fmla="*/ 76 h 160"/>
              <a:gd name="T28" fmla="*/ 136 w 141"/>
              <a:gd name="T29" fmla="*/ 49 h 160"/>
              <a:gd name="T30" fmla="*/ 136 w 141"/>
              <a:gd name="T31" fmla="*/ 16 h 160"/>
              <a:gd name="T32" fmla="*/ 103 w 141"/>
              <a:gd name="T33" fmla="*/ 14 h 160"/>
              <a:gd name="T34" fmla="*/ 141 w 141"/>
              <a:gd name="T35" fmla="*/ 11 h 160"/>
              <a:gd name="T36" fmla="*/ 136 w 141"/>
              <a:gd name="T37" fmla="*/ 155 h 160"/>
              <a:gd name="T38" fmla="*/ 68 w 141"/>
              <a:gd name="T39" fmla="*/ 43 h 160"/>
              <a:gd name="T40" fmla="*/ 73 w 141"/>
              <a:gd name="T41" fmla="*/ 43 h 160"/>
              <a:gd name="T42" fmla="*/ 57 w 141"/>
              <a:gd name="T43" fmla="*/ 49 h 160"/>
              <a:gd name="T44" fmla="*/ 33 w 141"/>
              <a:gd name="T45" fmla="*/ 46 h 160"/>
              <a:gd name="T46" fmla="*/ 100 w 141"/>
              <a:gd name="T47" fmla="*/ 49 h 160"/>
              <a:gd name="T48" fmla="*/ 98 w 141"/>
              <a:gd name="T49" fmla="*/ 46 h 160"/>
              <a:gd name="T50" fmla="*/ 122 w 141"/>
              <a:gd name="T51" fmla="*/ 43 h 160"/>
              <a:gd name="T52" fmla="*/ 84 w 141"/>
              <a:gd name="T53" fmla="*/ 43 h 160"/>
              <a:gd name="T54" fmla="*/ 89 w 141"/>
              <a:gd name="T55" fmla="*/ 43 h 160"/>
              <a:gd name="T56" fmla="*/ 19 w 141"/>
              <a:gd name="T57" fmla="*/ 33 h 160"/>
              <a:gd name="T58" fmla="*/ 16 w 141"/>
              <a:gd name="T59" fmla="*/ 73 h 160"/>
              <a:gd name="T60" fmla="*/ 19 w 141"/>
              <a:gd name="T61" fmla="*/ 125 h 160"/>
              <a:gd name="T62" fmla="*/ 24 w 141"/>
              <a:gd name="T63" fmla="*/ 144 h 160"/>
              <a:gd name="T64" fmla="*/ 27 w 141"/>
              <a:gd name="T65" fmla="*/ 100 h 160"/>
              <a:gd name="T66" fmla="*/ 24 w 141"/>
              <a:gd name="T67" fmla="*/ 49 h 160"/>
              <a:gd name="T68" fmla="*/ 84 w 141"/>
              <a:gd name="T69" fmla="*/ 76 h 160"/>
              <a:gd name="T70" fmla="*/ 68 w 141"/>
              <a:gd name="T71" fmla="*/ 71 h 160"/>
              <a:gd name="T72" fmla="*/ 73 w 141"/>
              <a:gd name="T73" fmla="*/ 71 h 160"/>
              <a:gd name="T74" fmla="*/ 41 w 141"/>
              <a:gd name="T75" fmla="*/ 76 h 160"/>
              <a:gd name="T76" fmla="*/ 49 w 141"/>
              <a:gd name="T77" fmla="*/ 73 h 160"/>
              <a:gd name="T78" fmla="*/ 117 w 141"/>
              <a:gd name="T79" fmla="*/ 76 h 160"/>
              <a:gd name="T80" fmla="*/ 114 w 141"/>
              <a:gd name="T81" fmla="*/ 73 h 160"/>
              <a:gd name="T82" fmla="*/ 106 w 141"/>
              <a:gd name="T83" fmla="*/ 71 h 160"/>
              <a:gd name="T84" fmla="*/ 106 w 141"/>
              <a:gd name="T85" fmla="*/ 103 h 160"/>
              <a:gd name="T86" fmla="*/ 100 w 141"/>
              <a:gd name="T87" fmla="*/ 103 h 160"/>
              <a:gd name="T88" fmla="*/ 117 w 141"/>
              <a:gd name="T89" fmla="*/ 98 h 160"/>
              <a:gd name="T90" fmla="*/ 81 w 141"/>
              <a:gd name="T91" fmla="*/ 100 h 160"/>
              <a:gd name="T92" fmla="*/ 73 w 141"/>
              <a:gd name="T93" fmla="*/ 98 h 160"/>
              <a:gd name="T94" fmla="*/ 76 w 141"/>
              <a:gd name="T95" fmla="*/ 100 h 160"/>
              <a:gd name="T96" fmla="*/ 35 w 141"/>
              <a:gd name="T97" fmla="*/ 103 h 160"/>
              <a:gd name="T98" fmla="*/ 52 w 141"/>
              <a:gd name="T99" fmla="*/ 98 h 160"/>
              <a:gd name="T100" fmla="*/ 57 w 141"/>
              <a:gd name="T101" fmla="*/ 98 h 160"/>
              <a:gd name="T102" fmla="*/ 57 w 141"/>
              <a:gd name="T103" fmla="*/ 130 h 160"/>
              <a:gd name="T104" fmla="*/ 81 w 141"/>
              <a:gd name="T105" fmla="*/ 127 h 160"/>
              <a:gd name="T106" fmla="*/ 73 w 141"/>
              <a:gd name="T107" fmla="*/ 125 h 160"/>
              <a:gd name="T108" fmla="*/ 76 w 141"/>
              <a:gd name="T109" fmla="*/ 127 h 160"/>
              <a:gd name="T110" fmla="*/ 35 w 141"/>
              <a:gd name="T111" fmla="*/ 13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1" h="160">
                <a:moveTo>
                  <a:pt x="60" y="3"/>
                </a:moveTo>
                <a:cubicBezTo>
                  <a:pt x="60" y="1"/>
                  <a:pt x="61" y="0"/>
                  <a:pt x="62" y="0"/>
                </a:cubicBezTo>
                <a:cubicBezTo>
                  <a:pt x="70" y="0"/>
                  <a:pt x="76" y="6"/>
                  <a:pt x="76" y="14"/>
                </a:cubicBezTo>
                <a:cubicBezTo>
                  <a:pt x="76" y="21"/>
                  <a:pt x="70" y="27"/>
                  <a:pt x="62" y="27"/>
                </a:cubicBezTo>
                <a:cubicBezTo>
                  <a:pt x="61" y="27"/>
                  <a:pt x="60" y="26"/>
                  <a:pt x="60" y="24"/>
                </a:cubicBezTo>
                <a:cubicBezTo>
                  <a:pt x="60" y="23"/>
                  <a:pt x="61" y="22"/>
                  <a:pt x="62" y="22"/>
                </a:cubicBezTo>
                <a:cubicBezTo>
                  <a:pt x="67" y="22"/>
                  <a:pt x="71" y="18"/>
                  <a:pt x="71" y="14"/>
                </a:cubicBezTo>
                <a:cubicBezTo>
                  <a:pt x="71" y="9"/>
                  <a:pt x="67" y="5"/>
                  <a:pt x="62" y="5"/>
                </a:cubicBezTo>
                <a:cubicBezTo>
                  <a:pt x="61" y="5"/>
                  <a:pt x="60" y="4"/>
                  <a:pt x="60" y="3"/>
                </a:cubicBezTo>
                <a:close/>
                <a:moveTo>
                  <a:pt x="79" y="5"/>
                </a:moveTo>
                <a:cubicBezTo>
                  <a:pt x="83" y="5"/>
                  <a:pt x="87" y="9"/>
                  <a:pt x="87" y="14"/>
                </a:cubicBezTo>
                <a:cubicBezTo>
                  <a:pt x="87" y="18"/>
                  <a:pt x="83" y="22"/>
                  <a:pt x="79" y="22"/>
                </a:cubicBezTo>
                <a:cubicBezTo>
                  <a:pt x="77" y="22"/>
                  <a:pt x="76" y="23"/>
                  <a:pt x="76" y="24"/>
                </a:cubicBezTo>
                <a:cubicBezTo>
                  <a:pt x="76" y="26"/>
                  <a:pt x="77" y="27"/>
                  <a:pt x="79" y="27"/>
                </a:cubicBezTo>
                <a:cubicBezTo>
                  <a:pt x="86" y="27"/>
                  <a:pt x="92" y="21"/>
                  <a:pt x="92" y="14"/>
                </a:cubicBezTo>
                <a:cubicBezTo>
                  <a:pt x="92" y="6"/>
                  <a:pt x="86" y="0"/>
                  <a:pt x="79" y="0"/>
                </a:cubicBezTo>
                <a:cubicBezTo>
                  <a:pt x="77" y="0"/>
                  <a:pt x="76" y="1"/>
                  <a:pt x="76" y="3"/>
                </a:cubicBezTo>
                <a:cubicBezTo>
                  <a:pt x="76" y="4"/>
                  <a:pt x="77" y="5"/>
                  <a:pt x="79" y="5"/>
                </a:cubicBezTo>
                <a:close/>
                <a:moveTo>
                  <a:pt x="141" y="11"/>
                </a:moveTo>
                <a:cubicBezTo>
                  <a:pt x="141" y="122"/>
                  <a:pt x="141" y="122"/>
                  <a:pt x="141" y="122"/>
                </a:cubicBezTo>
                <a:cubicBezTo>
                  <a:pt x="141" y="126"/>
                  <a:pt x="141" y="126"/>
                  <a:pt x="141" y="126"/>
                </a:cubicBezTo>
                <a:cubicBezTo>
                  <a:pt x="141" y="160"/>
                  <a:pt x="141" y="160"/>
                  <a:pt x="141" y="160"/>
                </a:cubicBezTo>
                <a:cubicBezTo>
                  <a:pt x="107" y="160"/>
                  <a:pt x="107" y="160"/>
                  <a:pt x="107" y="160"/>
                </a:cubicBezTo>
                <a:cubicBezTo>
                  <a:pt x="103" y="160"/>
                  <a:pt x="103" y="160"/>
                  <a:pt x="103" y="160"/>
                </a:cubicBezTo>
                <a:cubicBezTo>
                  <a:pt x="0" y="160"/>
                  <a:pt x="0" y="160"/>
                  <a:pt x="0" y="160"/>
                </a:cubicBezTo>
                <a:cubicBezTo>
                  <a:pt x="0" y="11"/>
                  <a:pt x="0" y="11"/>
                  <a:pt x="0" y="11"/>
                </a:cubicBezTo>
                <a:cubicBezTo>
                  <a:pt x="33" y="11"/>
                  <a:pt x="33" y="11"/>
                  <a:pt x="33" y="11"/>
                </a:cubicBezTo>
                <a:cubicBezTo>
                  <a:pt x="34" y="5"/>
                  <a:pt x="40" y="0"/>
                  <a:pt x="46" y="0"/>
                </a:cubicBezTo>
                <a:cubicBezTo>
                  <a:pt x="54" y="0"/>
                  <a:pt x="60" y="6"/>
                  <a:pt x="60" y="14"/>
                </a:cubicBezTo>
                <a:cubicBezTo>
                  <a:pt x="60" y="21"/>
                  <a:pt x="54" y="27"/>
                  <a:pt x="46" y="27"/>
                </a:cubicBezTo>
                <a:cubicBezTo>
                  <a:pt x="45" y="27"/>
                  <a:pt x="43" y="26"/>
                  <a:pt x="43" y="24"/>
                </a:cubicBezTo>
                <a:cubicBezTo>
                  <a:pt x="43" y="23"/>
                  <a:pt x="45" y="22"/>
                  <a:pt x="46" y="22"/>
                </a:cubicBezTo>
                <a:cubicBezTo>
                  <a:pt x="51" y="22"/>
                  <a:pt x="54" y="18"/>
                  <a:pt x="54" y="14"/>
                </a:cubicBezTo>
                <a:cubicBezTo>
                  <a:pt x="54" y="9"/>
                  <a:pt x="51" y="5"/>
                  <a:pt x="46" y="5"/>
                </a:cubicBezTo>
                <a:cubicBezTo>
                  <a:pt x="43" y="5"/>
                  <a:pt x="40" y="8"/>
                  <a:pt x="38" y="11"/>
                </a:cubicBezTo>
                <a:cubicBezTo>
                  <a:pt x="43" y="11"/>
                  <a:pt x="43" y="11"/>
                  <a:pt x="43" y="11"/>
                </a:cubicBezTo>
                <a:cubicBezTo>
                  <a:pt x="45" y="11"/>
                  <a:pt x="46" y="12"/>
                  <a:pt x="46" y="14"/>
                </a:cubicBezTo>
                <a:cubicBezTo>
                  <a:pt x="46" y="15"/>
                  <a:pt x="45" y="16"/>
                  <a:pt x="43" y="16"/>
                </a:cubicBezTo>
                <a:cubicBezTo>
                  <a:pt x="35" y="16"/>
                  <a:pt x="35" y="16"/>
                  <a:pt x="35" y="16"/>
                </a:cubicBezTo>
                <a:cubicBezTo>
                  <a:pt x="5" y="16"/>
                  <a:pt x="5" y="16"/>
                  <a:pt x="5" y="16"/>
                </a:cubicBezTo>
                <a:cubicBezTo>
                  <a:pt x="5" y="43"/>
                  <a:pt x="5" y="43"/>
                  <a:pt x="5" y="43"/>
                </a:cubicBezTo>
                <a:cubicBezTo>
                  <a:pt x="8" y="43"/>
                  <a:pt x="8" y="43"/>
                  <a:pt x="8" y="43"/>
                </a:cubicBezTo>
                <a:cubicBezTo>
                  <a:pt x="10" y="43"/>
                  <a:pt x="11" y="45"/>
                  <a:pt x="11" y="46"/>
                </a:cubicBezTo>
                <a:cubicBezTo>
                  <a:pt x="11" y="48"/>
                  <a:pt x="10" y="49"/>
                  <a:pt x="8" y="49"/>
                </a:cubicBezTo>
                <a:cubicBezTo>
                  <a:pt x="5" y="49"/>
                  <a:pt x="5" y="49"/>
                  <a:pt x="5" y="49"/>
                </a:cubicBezTo>
                <a:cubicBezTo>
                  <a:pt x="5" y="71"/>
                  <a:pt x="5" y="71"/>
                  <a:pt x="5" y="71"/>
                </a:cubicBezTo>
                <a:cubicBezTo>
                  <a:pt x="8" y="71"/>
                  <a:pt x="8" y="71"/>
                  <a:pt x="8" y="71"/>
                </a:cubicBezTo>
                <a:cubicBezTo>
                  <a:pt x="10" y="71"/>
                  <a:pt x="11" y="72"/>
                  <a:pt x="11" y="73"/>
                </a:cubicBezTo>
                <a:cubicBezTo>
                  <a:pt x="11" y="75"/>
                  <a:pt x="10" y="76"/>
                  <a:pt x="8" y="76"/>
                </a:cubicBezTo>
                <a:cubicBezTo>
                  <a:pt x="5" y="76"/>
                  <a:pt x="5" y="76"/>
                  <a:pt x="5" y="76"/>
                </a:cubicBezTo>
                <a:cubicBezTo>
                  <a:pt x="5" y="98"/>
                  <a:pt x="5" y="98"/>
                  <a:pt x="5" y="98"/>
                </a:cubicBezTo>
                <a:cubicBezTo>
                  <a:pt x="8" y="98"/>
                  <a:pt x="8" y="98"/>
                  <a:pt x="8" y="98"/>
                </a:cubicBezTo>
                <a:cubicBezTo>
                  <a:pt x="10" y="98"/>
                  <a:pt x="11" y="99"/>
                  <a:pt x="11" y="100"/>
                </a:cubicBezTo>
                <a:cubicBezTo>
                  <a:pt x="11" y="102"/>
                  <a:pt x="10" y="103"/>
                  <a:pt x="8" y="103"/>
                </a:cubicBezTo>
                <a:cubicBezTo>
                  <a:pt x="5" y="103"/>
                  <a:pt x="5" y="103"/>
                  <a:pt x="5" y="103"/>
                </a:cubicBezTo>
                <a:cubicBezTo>
                  <a:pt x="5" y="125"/>
                  <a:pt x="5" y="125"/>
                  <a:pt x="5" y="125"/>
                </a:cubicBezTo>
                <a:cubicBezTo>
                  <a:pt x="8" y="125"/>
                  <a:pt x="8" y="125"/>
                  <a:pt x="8" y="125"/>
                </a:cubicBezTo>
                <a:cubicBezTo>
                  <a:pt x="10" y="125"/>
                  <a:pt x="11" y="126"/>
                  <a:pt x="11" y="127"/>
                </a:cubicBezTo>
                <a:cubicBezTo>
                  <a:pt x="11" y="129"/>
                  <a:pt x="10" y="130"/>
                  <a:pt x="8" y="130"/>
                </a:cubicBezTo>
                <a:cubicBezTo>
                  <a:pt x="5" y="130"/>
                  <a:pt x="5" y="130"/>
                  <a:pt x="5" y="130"/>
                </a:cubicBezTo>
                <a:cubicBezTo>
                  <a:pt x="5" y="155"/>
                  <a:pt x="5" y="155"/>
                  <a:pt x="5" y="155"/>
                </a:cubicBezTo>
                <a:cubicBezTo>
                  <a:pt x="103" y="155"/>
                  <a:pt x="103" y="155"/>
                  <a:pt x="103" y="155"/>
                </a:cubicBezTo>
                <a:cubicBezTo>
                  <a:pt x="103" y="122"/>
                  <a:pt x="103" y="122"/>
                  <a:pt x="103" y="122"/>
                </a:cubicBezTo>
                <a:cubicBezTo>
                  <a:pt x="136" y="122"/>
                  <a:pt x="136" y="122"/>
                  <a:pt x="136" y="122"/>
                </a:cubicBezTo>
                <a:cubicBezTo>
                  <a:pt x="136" y="103"/>
                  <a:pt x="136" y="103"/>
                  <a:pt x="136" y="103"/>
                </a:cubicBezTo>
                <a:cubicBezTo>
                  <a:pt x="133" y="103"/>
                  <a:pt x="133" y="103"/>
                  <a:pt x="133" y="103"/>
                </a:cubicBezTo>
                <a:cubicBezTo>
                  <a:pt x="131" y="103"/>
                  <a:pt x="130" y="102"/>
                  <a:pt x="130" y="100"/>
                </a:cubicBezTo>
                <a:cubicBezTo>
                  <a:pt x="130" y="99"/>
                  <a:pt x="131" y="98"/>
                  <a:pt x="133" y="98"/>
                </a:cubicBezTo>
                <a:cubicBezTo>
                  <a:pt x="136" y="98"/>
                  <a:pt x="136" y="98"/>
                  <a:pt x="136" y="98"/>
                </a:cubicBezTo>
                <a:cubicBezTo>
                  <a:pt x="136" y="76"/>
                  <a:pt x="136" y="76"/>
                  <a:pt x="136" y="76"/>
                </a:cubicBezTo>
                <a:cubicBezTo>
                  <a:pt x="133" y="76"/>
                  <a:pt x="133" y="76"/>
                  <a:pt x="133" y="76"/>
                </a:cubicBezTo>
                <a:cubicBezTo>
                  <a:pt x="131" y="76"/>
                  <a:pt x="130" y="75"/>
                  <a:pt x="130" y="73"/>
                </a:cubicBezTo>
                <a:cubicBezTo>
                  <a:pt x="130" y="72"/>
                  <a:pt x="131" y="71"/>
                  <a:pt x="133" y="71"/>
                </a:cubicBezTo>
                <a:cubicBezTo>
                  <a:pt x="136" y="71"/>
                  <a:pt x="136" y="71"/>
                  <a:pt x="136" y="71"/>
                </a:cubicBezTo>
                <a:cubicBezTo>
                  <a:pt x="136" y="49"/>
                  <a:pt x="136" y="49"/>
                  <a:pt x="136" y="49"/>
                </a:cubicBezTo>
                <a:cubicBezTo>
                  <a:pt x="133" y="49"/>
                  <a:pt x="133" y="49"/>
                  <a:pt x="133" y="49"/>
                </a:cubicBezTo>
                <a:cubicBezTo>
                  <a:pt x="131" y="49"/>
                  <a:pt x="130" y="48"/>
                  <a:pt x="130" y="46"/>
                </a:cubicBezTo>
                <a:cubicBezTo>
                  <a:pt x="130" y="45"/>
                  <a:pt x="131" y="43"/>
                  <a:pt x="133" y="43"/>
                </a:cubicBezTo>
                <a:cubicBezTo>
                  <a:pt x="136" y="43"/>
                  <a:pt x="136" y="43"/>
                  <a:pt x="136" y="43"/>
                </a:cubicBezTo>
                <a:cubicBezTo>
                  <a:pt x="136" y="16"/>
                  <a:pt x="136" y="16"/>
                  <a:pt x="136" y="16"/>
                </a:cubicBezTo>
                <a:cubicBezTo>
                  <a:pt x="108" y="16"/>
                  <a:pt x="108" y="16"/>
                  <a:pt x="108" y="16"/>
                </a:cubicBezTo>
                <a:cubicBezTo>
                  <a:pt x="107" y="22"/>
                  <a:pt x="101" y="27"/>
                  <a:pt x="95" y="27"/>
                </a:cubicBezTo>
                <a:cubicBezTo>
                  <a:pt x="93" y="27"/>
                  <a:pt x="92" y="26"/>
                  <a:pt x="92" y="24"/>
                </a:cubicBezTo>
                <a:cubicBezTo>
                  <a:pt x="92" y="23"/>
                  <a:pt x="93" y="22"/>
                  <a:pt x="95" y="22"/>
                </a:cubicBezTo>
                <a:cubicBezTo>
                  <a:pt x="99" y="22"/>
                  <a:pt x="103" y="18"/>
                  <a:pt x="103" y="14"/>
                </a:cubicBezTo>
                <a:cubicBezTo>
                  <a:pt x="103" y="9"/>
                  <a:pt x="99" y="5"/>
                  <a:pt x="95" y="5"/>
                </a:cubicBezTo>
                <a:cubicBezTo>
                  <a:pt x="93" y="5"/>
                  <a:pt x="92" y="4"/>
                  <a:pt x="92" y="3"/>
                </a:cubicBezTo>
                <a:cubicBezTo>
                  <a:pt x="92" y="1"/>
                  <a:pt x="93" y="0"/>
                  <a:pt x="95" y="0"/>
                </a:cubicBezTo>
                <a:cubicBezTo>
                  <a:pt x="101" y="0"/>
                  <a:pt x="107" y="5"/>
                  <a:pt x="108" y="11"/>
                </a:cubicBezTo>
                <a:lnTo>
                  <a:pt x="141" y="11"/>
                </a:lnTo>
                <a:close/>
                <a:moveTo>
                  <a:pt x="108" y="151"/>
                </a:moveTo>
                <a:cubicBezTo>
                  <a:pt x="132" y="127"/>
                  <a:pt x="132" y="127"/>
                  <a:pt x="132" y="127"/>
                </a:cubicBezTo>
                <a:cubicBezTo>
                  <a:pt x="108" y="127"/>
                  <a:pt x="108" y="127"/>
                  <a:pt x="108" y="127"/>
                </a:cubicBezTo>
                <a:lnTo>
                  <a:pt x="108" y="151"/>
                </a:lnTo>
                <a:close/>
                <a:moveTo>
                  <a:pt x="136" y="155"/>
                </a:moveTo>
                <a:cubicBezTo>
                  <a:pt x="136" y="131"/>
                  <a:pt x="136" y="131"/>
                  <a:pt x="136" y="131"/>
                </a:cubicBezTo>
                <a:cubicBezTo>
                  <a:pt x="112" y="155"/>
                  <a:pt x="112" y="155"/>
                  <a:pt x="112" y="155"/>
                </a:cubicBezTo>
                <a:lnTo>
                  <a:pt x="136" y="155"/>
                </a:lnTo>
                <a:close/>
                <a:moveTo>
                  <a:pt x="73" y="43"/>
                </a:moveTo>
                <a:cubicBezTo>
                  <a:pt x="68" y="43"/>
                  <a:pt x="68" y="43"/>
                  <a:pt x="68" y="43"/>
                </a:cubicBezTo>
                <a:cubicBezTo>
                  <a:pt x="66" y="43"/>
                  <a:pt x="65" y="45"/>
                  <a:pt x="65" y="46"/>
                </a:cubicBezTo>
                <a:cubicBezTo>
                  <a:pt x="65" y="48"/>
                  <a:pt x="66" y="49"/>
                  <a:pt x="68" y="49"/>
                </a:cubicBezTo>
                <a:cubicBezTo>
                  <a:pt x="73" y="49"/>
                  <a:pt x="73" y="49"/>
                  <a:pt x="73" y="49"/>
                </a:cubicBezTo>
                <a:cubicBezTo>
                  <a:pt x="75" y="49"/>
                  <a:pt x="76" y="48"/>
                  <a:pt x="76" y="46"/>
                </a:cubicBezTo>
                <a:cubicBezTo>
                  <a:pt x="76" y="45"/>
                  <a:pt x="75" y="43"/>
                  <a:pt x="73" y="43"/>
                </a:cubicBezTo>
                <a:close/>
                <a:moveTo>
                  <a:pt x="57" y="43"/>
                </a:moveTo>
                <a:cubicBezTo>
                  <a:pt x="52" y="43"/>
                  <a:pt x="52" y="43"/>
                  <a:pt x="52" y="43"/>
                </a:cubicBezTo>
                <a:cubicBezTo>
                  <a:pt x="50" y="43"/>
                  <a:pt x="49" y="45"/>
                  <a:pt x="49" y="46"/>
                </a:cubicBezTo>
                <a:cubicBezTo>
                  <a:pt x="49" y="48"/>
                  <a:pt x="50" y="49"/>
                  <a:pt x="52" y="49"/>
                </a:cubicBezTo>
                <a:cubicBezTo>
                  <a:pt x="57" y="49"/>
                  <a:pt x="57" y="49"/>
                  <a:pt x="57" y="49"/>
                </a:cubicBezTo>
                <a:cubicBezTo>
                  <a:pt x="58" y="49"/>
                  <a:pt x="60" y="48"/>
                  <a:pt x="60" y="46"/>
                </a:cubicBezTo>
                <a:cubicBezTo>
                  <a:pt x="60" y="45"/>
                  <a:pt x="58" y="43"/>
                  <a:pt x="57" y="43"/>
                </a:cubicBezTo>
                <a:close/>
                <a:moveTo>
                  <a:pt x="41" y="43"/>
                </a:moveTo>
                <a:cubicBezTo>
                  <a:pt x="35" y="43"/>
                  <a:pt x="35" y="43"/>
                  <a:pt x="35" y="43"/>
                </a:cubicBezTo>
                <a:cubicBezTo>
                  <a:pt x="34" y="43"/>
                  <a:pt x="33" y="45"/>
                  <a:pt x="33" y="46"/>
                </a:cubicBezTo>
                <a:cubicBezTo>
                  <a:pt x="33" y="48"/>
                  <a:pt x="34" y="49"/>
                  <a:pt x="35" y="49"/>
                </a:cubicBezTo>
                <a:cubicBezTo>
                  <a:pt x="41" y="49"/>
                  <a:pt x="41" y="49"/>
                  <a:pt x="41" y="49"/>
                </a:cubicBezTo>
                <a:cubicBezTo>
                  <a:pt x="42" y="49"/>
                  <a:pt x="43" y="48"/>
                  <a:pt x="43" y="46"/>
                </a:cubicBezTo>
                <a:cubicBezTo>
                  <a:pt x="43" y="45"/>
                  <a:pt x="42" y="43"/>
                  <a:pt x="41" y="43"/>
                </a:cubicBezTo>
                <a:close/>
                <a:moveTo>
                  <a:pt x="100" y="49"/>
                </a:moveTo>
                <a:cubicBezTo>
                  <a:pt x="106" y="49"/>
                  <a:pt x="106" y="49"/>
                  <a:pt x="106" y="49"/>
                </a:cubicBezTo>
                <a:cubicBezTo>
                  <a:pt x="107" y="49"/>
                  <a:pt x="108" y="48"/>
                  <a:pt x="108" y="46"/>
                </a:cubicBezTo>
                <a:cubicBezTo>
                  <a:pt x="108" y="45"/>
                  <a:pt x="107" y="43"/>
                  <a:pt x="106" y="43"/>
                </a:cubicBezTo>
                <a:cubicBezTo>
                  <a:pt x="100" y="43"/>
                  <a:pt x="100" y="43"/>
                  <a:pt x="100" y="43"/>
                </a:cubicBezTo>
                <a:cubicBezTo>
                  <a:pt x="99" y="43"/>
                  <a:pt x="98" y="45"/>
                  <a:pt x="98" y="46"/>
                </a:cubicBezTo>
                <a:cubicBezTo>
                  <a:pt x="98" y="48"/>
                  <a:pt x="99" y="49"/>
                  <a:pt x="100" y="49"/>
                </a:cubicBezTo>
                <a:close/>
                <a:moveTo>
                  <a:pt x="117" y="49"/>
                </a:moveTo>
                <a:cubicBezTo>
                  <a:pt x="122" y="49"/>
                  <a:pt x="122" y="49"/>
                  <a:pt x="122" y="49"/>
                </a:cubicBezTo>
                <a:cubicBezTo>
                  <a:pt x="124" y="49"/>
                  <a:pt x="125" y="48"/>
                  <a:pt x="125" y="46"/>
                </a:cubicBezTo>
                <a:cubicBezTo>
                  <a:pt x="125" y="45"/>
                  <a:pt x="124" y="43"/>
                  <a:pt x="122" y="43"/>
                </a:cubicBezTo>
                <a:cubicBezTo>
                  <a:pt x="117" y="43"/>
                  <a:pt x="117" y="43"/>
                  <a:pt x="117" y="43"/>
                </a:cubicBezTo>
                <a:cubicBezTo>
                  <a:pt x="115" y="43"/>
                  <a:pt x="114" y="45"/>
                  <a:pt x="114" y="46"/>
                </a:cubicBezTo>
                <a:cubicBezTo>
                  <a:pt x="114" y="48"/>
                  <a:pt x="115" y="49"/>
                  <a:pt x="117" y="49"/>
                </a:cubicBezTo>
                <a:close/>
                <a:moveTo>
                  <a:pt x="89" y="43"/>
                </a:moveTo>
                <a:cubicBezTo>
                  <a:pt x="84" y="43"/>
                  <a:pt x="84" y="43"/>
                  <a:pt x="84" y="43"/>
                </a:cubicBezTo>
                <a:cubicBezTo>
                  <a:pt x="83" y="43"/>
                  <a:pt x="81" y="45"/>
                  <a:pt x="81" y="46"/>
                </a:cubicBezTo>
                <a:cubicBezTo>
                  <a:pt x="81" y="48"/>
                  <a:pt x="83" y="49"/>
                  <a:pt x="84" y="49"/>
                </a:cubicBezTo>
                <a:cubicBezTo>
                  <a:pt x="89" y="49"/>
                  <a:pt x="89" y="49"/>
                  <a:pt x="89" y="49"/>
                </a:cubicBezTo>
                <a:cubicBezTo>
                  <a:pt x="91" y="49"/>
                  <a:pt x="92" y="48"/>
                  <a:pt x="92" y="46"/>
                </a:cubicBezTo>
                <a:cubicBezTo>
                  <a:pt x="92" y="45"/>
                  <a:pt x="91" y="43"/>
                  <a:pt x="89" y="43"/>
                </a:cubicBezTo>
                <a:close/>
                <a:moveTo>
                  <a:pt x="27" y="46"/>
                </a:moveTo>
                <a:cubicBezTo>
                  <a:pt x="27" y="45"/>
                  <a:pt x="26" y="43"/>
                  <a:pt x="24" y="43"/>
                </a:cubicBezTo>
                <a:cubicBezTo>
                  <a:pt x="24" y="33"/>
                  <a:pt x="24" y="33"/>
                  <a:pt x="24" y="33"/>
                </a:cubicBezTo>
                <a:cubicBezTo>
                  <a:pt x="24" y="31"/>
                  <a:pt x="23" y="30"/>
                  <a:pt x="22" y="30"/>
                </a:cubicBezTo>
                <a:cubicBezTo>
                  <a:pt x="20" y="30"/>
                  <a:pt x="19" y="31"/>
                  <a:pt x="19" y="33"/>
                </a:cubicBezTo>
                <a:cubicBezTo>
                  <a:pt x="19" y="43"/>
                  <a:pt x="19" y="43"/>
                  <a:pt x="19" y="43"/>
                </a:cubicBezTo>
                <a:cubicBezTo>
                  <a:pt x="17" y="43"/>
                  <a:pt x="16" y="45"/>
                  <a:pt x="16" y="46"/>
                </a:cubicBezTo>
                <a:cubicBezTo>
                  <a:pt x="16" y="48"/>
                  <a:pt x="17" y="49"/>
                  <a:pt x="19" y="49"/>
                </a:cubicBezTo>
                <a:cubicBezTo>
                  <a:pt x="19" y="71"/>
                  <a:pt x="19" y="71"/>
                  <a:pt x="19" y="71"/>
                </a:cubicBezTo>
                <a:cubicBezTo>
                  <a:pt x="17" y="71"/>
                  <a:pt x="16" y="72"/>
                  <a:pt x="16" y="73"/>
                </a:cubicBezTo>
                <a:cubicBezTo>
                  <a:pt x="16" y="75"/>
                  <a:pt x="17" y="76"/>
                  <a:pt x="19" y="76"/>
                </a:cubicBezTo>
                <a:cubicBezTo>
                  <a:pt x="19" y="98"/>
                  <a:pt x="19" y="98"/>
                  <a:pt x="19" y="98"/>
                </a:cubicBezTo>
                <a:cubicBezTo>
                  <a:pt x="17" y="98"/>
                  <a:pt x="16" y="99"/>
                  <a:pt x="16" y="100"/>
                </a:cubicBezTo>
                <a:cubicBezTo>
                  <a:pt x="16" y="102"/>
                  <a:pt x="17" y="103"/>
                  <a:pt x="19" y="103"/>
                </a:cubicBezTo>
                <a:cubicBezTo>
                  <a:pt x="19" y="125"/>
                  <a:pt x="19" y="125"/>
                  <a:pt x="19" y="125"/>
                </a:cubicBezTo>
                <a:cubicBezTo>
                  <a:pt x="17" y="125"/>
                  <a:pt x="16" y="126"/>
                  <a:pt x="16" y="127"/>
                </a:cubicBezTo>
                <a:cubicBezTo>
                  <a:pt x="16" y="129"/>
                  <a:pt x="17" y="130"/>
                  <a:pt x="19" y="130"/>
                </a:cubicBezTo>
                <a:cubicBezTo>
                  <a:pt x="19" y="144"/>
                  <a:pt x="19" y="144"/>
                  <a:pt x="19" y="144"/>
                </a:cubicBezTo>
                <a:cubicBezTo>
                  <a:pt x="19" y="145"/>
                  <a:pt x="20" y="146"/>
                  <a:pt x="22" y="146"/>
                </a:cubicBezTo>
                <a:cubicBezTo>
                  <a:pt x="23" y="146"/>
                  <a:pt x="24" y="145"/>
                  <a:pt x="24" y="144"/>
                </a:cubicBezTo>
                <a:cubicBezTo>
                  <a:pt x="24" y="130"/>
                  <a:pt x="24" y="130"/>
                  <a:pt x="24" y="130"/>
                </a:cubicBezTo>
                <a:cubicBezTo>
                  <a:pt x="26" y="130"/>
                  <a:pt x="27" y="129"/>
                  <a:pt x="27" y="127"/>
                </a:cubicBezTo>
                <a:cubicBezTo>
                  <a:pt x="27" y="126"/>
                  <a:pt x="26" y="125"/>
                  <a:pt x="24" y="125"/>
                </a:cubicBezTo>
                <a:cubicBezTo>
                  <a:pt x="24" y="103"/>
                  <a:pt x="24" y="103"/>
                  <a:pt x="24" y="103"/>
                </a:cubicBezTo>
                <a:cubicBezTo>
                  <a:pt x="26" y="103"/>
                  <a:pt x="27" y="102"/>
                  <a:pt x="27" y="100"/>
                </a:cubicBezTo>
                <a:cubicBezTo>
                  <a:pt x="27" y="99"/>
                  <a:pt x="26" y="98"/>
                  <a:pt x="24" y="98"/>
                </a:cubicBezTo>
                <a:cubicBezTo>
                  <a:pt x="24" y="76"/>
                  <a:pt x="24" y="76"/>
                  <a:pt x="24" y="76"/>
                </a:cubicBezTo>
                <a:cubicBezTo>
                  <a:pt x="26" y="76"/>
                  <a:pt x="27" y="75"/>
                  <a:pt x="27" y="73"/>
                </a:cubicBezTo>
                <a:cubicBezTo>
                  <a:pt x="27" y="72"/>
                  <a:pt x="26" y="71"/>
                  <a:pt x="24" y="71"/>
                </a:cubicBezTo>
                <a:cubicBezTo>
                  <a:pt x="24" y="49"/>
                  <a:pt x="24" y="49"/>
                  <a:pt x="24" y="49"/>
                </a:cubicBezTo>
                <a:cubicBezTo>
                  <a:pt x="26" y="49"/>
                  <a:pt x="27" y="48"/>
                  <a:pt x="27" y="46"/>
                </a:cubicBezTo>
                <a:close/>
                <a:moveTo>
                  <a:pt x="89" y="71"/>
                </a:moveTo>
                <a:cubicBezTo>
                  <a:pt x="84" y="71"/>
                  <a:pt x="84" y="71"/>
                  <a:pt x="84" y="71"/>
                </a:cubicBezTo>
                <a:cubicBezTo>
                  <a:pt x="83" y="71"/>
                  <a:pt x="81" y="72"/>
                  <a:pt x="81" y="73"/>
                </a:cubicBezTo>
                <a:cubicBezTo>
                  <a:pt x="81" y="75"/>
                  <a:pt x="83" y="76"/>
                  <a:pt x="84" y="76"/>
                </a:cubicBezTo>
                <a:cubicBezTo>
                  <a:pt x="89" y="76"/>
                  <a:pt x="89" y="76"/>
                  <a:pt x="89" y="76"/>
                </a:cubicBezTo>
                <a:cubicBezTo>
                  <a:pt x="91" y="76"/>
                  <a:pt x="92" y="75"/>
                  <a:pt x="92" y="73"/>
                </a:cubicBezTo>
                <a:cubicBezTo>
                  <a:pt x="92" y="72"/>
                  <a:pt x="91" y="71"/>
                  <a:pt x="89" y="71"/>
                </a:cubicBezTo>
                <a:close/>
                <a:moveTo>
                  <a:pt x="73" y="71"/>
                </a:moveTo>
                <a:cubicBezTo>
                  <a:pt x="68" y="71"/>
                  <a:pt x="68" y="71"/>
                  <a:pt x="68" y="71"/>
                </a:cubicBezTo>
                <a:cubicBezTo>
                  <a:pt x="66" y="71"/>
                  <a:pt x="65" y="72"/>
                  <a:pt x="65" y="73"/>
                </a:cubicBezTo>
                <a:cubicBezTo>
                  <a:pt x="65" y="75"/>
                  <a:pt x="66" y="76"/>
                  <a:pt x="68" y="76"/>
                </a:cubicBezTo>
                <a:cubicBezTo>
                  <a:pt x="73" y="76"/>
                  <a:pt x="73" y="76"/>
                  <a:pt x="73" y="76"/>
                </a:cubicBezTo>
                <a:cubicBezTo>
                  <a:pt x="75" y="76"/>
                  <a:pt x="76" y="75"/>
                  <a:pt x="76" y="73"/>
                </a:cubicBezTo>
                <a:cubicBezTo>
                  <a:pt x="76" y="72"/>
                  <a:pt x="75" y="71"/>
                  <a:pt x="73" y="71"/>
                </a:cubicBezTo>
                <a:close/>
                <a:moveTo>
                  <a:pt x="41" y="71"/>
                </a:moveTo>
                <a:cubicBezTo>
                  <a:pt x="35" y="71"/>
                  <a:pt x="35" y="71"/>
                  <a:pt x="35" y="71"/>
                </a:cubicBezTo>
                <a:cubicBezTo>
                  <a:pt x="34" y="71"/>
                  <a:pt x="33" y="72"/>
                  <a:pt x="33" y="73"/>
                </a:cubicBezTo>
                <a:cubicBezTo>
                  <a:pt x="33" y="75"/>
                  <a:pt x="34" y="76"/>
                  <a:pt x="35" y="76"/>
                </a:cubicBezTo>
                <a:cubicBezTo>
                  <a:pt x="41" y="76"/>
                  <a:pt x="41" y="76"/>
                  <a:pt x="41" y="76"/>
                </a:cubicBezTo>
                <a:cubicBezTo>
                  <a:pt x="42" y="76"/>
                  <a:pt x="43" y="75"/>
                  <a:pt x="43" y="73"/>
                </a:cubicBezTo>
                <a:cubicBezTo>
                  <a:pt x="43" y="72"/>
                  <a:pt x="42" y="71"/>
                  <a:pt x="41" y="71"/>
                </a:cubicBezTo>
                <a:close/>
                <a:moveTo>
                  <a:pt x="57" y="71"/>
                </a:moveTo>
                <a:cubicBezTo>
                  <a:pt x="52" y="71"/>
                  <a:pt x="52" y="71"/>
                  <a:pt x="52" y="71"/>
                </a:cubicBezTo>
                <a:cubicBezTo>
                  <a:pt x="50" y="71"/>
                  <a:pt x="49" y="72"/>
                  <a:pt x="49" y="73"/>
                </a:cubicBezTo>
                <a:cubicBezTo>
                  <a:pt x="49" y="75"/>
                  <a:pt x="50" y="76"/>
                  <a:pt x="52" y="76"/>
                </a:cubicBezTo>
                <a:cubicBezTo>
                  <a:pt x="57" y="76"/>
                  <a:pt x="57" y="76"/>
                  <a:pt x="57" y="76"/>
                </a:cubicBezTo>
                <a:cubicBezTo>
                  <a:pt x="58" y="76"/>
                  <a:pt x="60" y="75"/>
                  <a:pt x="60" y="73"/>
                </a:cubicBezTo>
                <a:cubicBezTo>
                  <a:pt x="60" y="72"/>
                  <a:pt x="58" y="71"/>
                  <a:pt x="57" y="71"/>
                </a:cubicBezTo>
                <a:close/>
                <a:moveTo>
                  <a:pt x="117" y="76"/>
                </a:moveTo>
                <a:cubicBezTo>
                  <a:pt x="122" y="76"/>
                  <a:pt x="122" y="76"/>
                  <a:pt x="122" y="76"/>
                </a:cubicBezTo>
                <a:cubicBezTo>
                  <a:pt x="124" y="76"/>
                  <a:pt x="125" y="75"/>
                  <a:pt x="125" y="73"/>
                </a:cubicBezTo>
                <a:cubicBezTo>
                  <a:pt x="125" y="72"/>
                  <a:pt x="124" y="71"/>
                  <a:pt x="122" y="71"/>
                </a:cubicBezTo>
                <a:cubicBezTo>
                  <a:pt x="117" y="71"/>
                  <a:pt x="117" y="71"/>
                  <a:pt x="117" y="71"/>
                </a:cubicBezTo>
                <a:cubicBezTo>
                  <a:pt x="115" y="71"/>
                  <a:pt x="114" y="72"/>
                  <a:pt x="114" y="73"/>
                </a:cubicBezTo>
                <a:cubicBezTo>
                  <a:pt x="114" y="75"/>
                  <a:pt x="115" y="76"/>
                  <a:pt x="117" y="76"/>
                </a:cubicBezTo>
                <a:close/>
                <a:moveTo>
                  <a:pt x="100" y="76"/>
                </a:moveTo>
                <a:cubicBezTo>
                  <a:pt x="106" y="76"/>
                  <a:pt x="106" y="76"/>
                  <a:pt x="106" y="76"/>
                </a:cubicBezTo>
                <a:cubicBezTo>
                  <a:pt x="107" y="76"/>
                  <a:pt x="108" y="75"/>
                  <a:pt x="108" y="73"/>
                </a:cubicBezTo>
                <a:cubicBezTo>
                  <a:pt x="108" y="72"/>
                  <a:pt x="107" y="71"/>
                  <a:pt x="106" y="71"/>
                </a:cubicBezTo>
                <a:cubicBezTo>
                  <a:pt x="100" y="71"/>
                  <a:pt x="100" y="71"/>
                  <a:pt x="100" y="71"/>
                </a:cubicBezTo>
                <a:cubicBezTo>
                  <a:pt x="99" y="71"/>
                  <a:pt x="98" y="72"/>
                  <a:pt x="98" y="73"/>
                </a:cubicBezTo>
                <a:cubicBezTo>
                  <a:pt x="98" y="75"/>
                  <a:pt x="99" y="76"/>
                  <a:pt x="100" y="76"/>
                </a:cubicBezTo>
                <a:close/>
                <a:moveTo>
                  <a:pt x="100" y="103"/>
                </a:moveTo>
                <a:cubicBezTo>
                  <a:pt x="106" y="103"/>
                  <a:pt x="106" y="103"/>
                  <a:pt x="106" y="103"/>
                </a:cubicBezTo>
                <a:cubicBezTo>
                  <a:pt x="107" y="103"/>
                  <a:pt x="108" y="102"/>
                  <a:pt x="108" y="100"/>
                </a:cubicBezTo>
                <a:cubicBezTo>
                  <a:pt x="108" y="99"/>
                  <a:pt x="107" y="98"/>
                  <a:pt x="106" y="98"/>
                </a:cubicBezTo>
                <a:cubicBezTo>
                  <a:pt x="100" y="98"/>
                  <a:pt x="100" y="98"/>
                  <a:pt x="100" y="98"/>
                </a:cubicBezTo>
                <a:cubicBezTo>
                  <a:pt x="99" y="98"/>
                  <a:pt x="98" y="99"/>
                  <a:pt x="98" y="100"/>
                </a:cubicBezTo>
                <a:cubicBezTo>
                  <a:pt x="98" y="102"/>
                  <a:pt x="99" y="103"/>
                  <a:pt x="100" y="103"/>
                </a:cubicBezTo>
                <a:close/>
                <a:moveTo>
                  <a:pt x="117" y="103"/>
                </a:moveTo>
                <a:cubicBezTo>
                  <a:pt x="122" y="103"/>
                  <a:pt x="122" y="103"/>
                  <a:pt x="122" y="103"/>
                </a:cubicBezTo>
                <a:cubicBezTo>
                  <a:pt x="124" y="103"/>
                  <a:pt x="125" y="102"/>
                  <a:pt x="125" y="100"/>
                </a:cubicBezTo>
                <a:cubicBezTo>
                  <a:pt x="125" y="99"/>
                  <a:pt x="124" y="98"/>
                  <a:pt x="122" y="98"/>
                </a:cubicBezTo>
                <a:cubicBezTo>
                  <a:pt x="117" y="98"/>
                  <a:pt x="117" y="98"/>
                  <a:pt x="117" y="98"/>
                </a:cubicBezTo>
                <a:cubicBezTo>
                  <a:pt x="115" y="98"/>
                  <a:pt x="114" y="99"/>
                  <a:pt x="114" y="100"/>
                </a:cubicBezTo>
                <a:cubicBezTo>
                  <a:pt x="114" y="102"/>
                  <a:pt x="115" y="103"/>
                  <a:pt x="117" y="103"/>
                </a:cubicBezTo>
                <a:close/>
                <a:moveTo>
                  <a:pt x="89" y="98"/>
                </a:moveTo>
                <a:cubicBezTo>
                  <a:pt x="84" y="98"/>
                  <a:pt x="84" y="98"/>
                  <a:pt x="84" y="98"/>
                </a:cubicBezTo>
                <a:cubicBezTo>
                  <a:pt x="83" y="98"/>
                  <a:pt x="81" y="99"/>
                  <a:pt x="81" y="100"/>
                </a:cubicBezTo>
                <a:cubicBezTo>
                  <a:pt x="81" y="102"/>
                  <a:pt x="83" y="103"/>
                  <a:pt x="84" y="103"/>
                </a:cubicBezTo>
                <a:cubicBezTo>
                  <a:pt x="89" y="103"/>
                  <a:pt x="89" y="103"/>
                  <a:pt x="89" y="103"/>
                </a:cubicBezTo>
                <a:cubicBezTo>
                  <a:pt x="91" y="103"/>
                  <a:pt x="92" y="102"/>
                  <a:pt x="92" y="100"/>
                </a:cubicBezTo>
                <a:cubicBezTo>
                  <a:pt x="92" y="99"/>
                  <a:pt x="91" y="98"/>
                  <a:pt x="89" y="98"/>
                </a:cubicBezTo>
                <a:close/>
                <a:moveTo>
                  <a:pt x="73" y="98"/>
                </a:moveTo>
                <a:cubicBezTo>
                  <a:pt x="68" y="98"/>
                  <a:pt x="68" y="98"/>
                  <a:pt x="68" y="98"/>
                </a:cubicBezTo>
                <a:cubicBezTo>
                  <a:pt x="66" y="98"/>
                  <a:pt x="65" y="99"/>
                  <a:pt x="65" y="100"/>
                </a:cubicBezTo>
                <a:cubicBezTo>
                  <a:pt x="65" y="102"/>
                  <a:pt x="66" y="103"/>
                  <a:pt x="68" y="103"/>
                </a:cubicBezTo>
                <a:cubicBezTo>
                  <a:pt x="73" y="103"/>
                  <a:pt x="73" y="103"/>
                  <a:pt x="73" y="103"/>
                </a:cubicBezTo>
                <a:cubicBezTo>
                  <a:pt x="75" y="103"/>
                  <a:pt x="76" y="102"/>
                  <a:pt x="76" y="100"/>
                </a:cubicBezTo>
                <a:cubicBezTo>
                  <a:pt x="76" y="99"/>
                  <a:pt x="75" y="98"/>
                  <a:pt x="73" y="98"/>
                </a:cubicBezTo>
                <a:close/>
                <a:moveTo>
                  <a:pt x="41" y="98"/>
                </a:moveTo>
                <a:cubicBezTo>
                  <a:pt x="35" y="98"/>
                  <a:pt x="35" y="98"/>
                  <a:pt x="35" y="98"/>
                </a:cubicBezTo>
                <a:cubicBezTo>
                  <a:pt x="34" y="98"/>
                  <a:pt x="33" y="99"/>
                  <a:pt x="33" y="100"/>
                </a:cubicBezTo>
                <a:cubicBezTo>
                  <a:pt x="33" y="102"/>
                  <a:pt x="34" y="103"/>
                  <a:pt x="35" y="103"/>
                </a:cubicBezTo>
                <a:cubicBezTo>
                  <a:pt x="41" y="103"/>
                  <a:pt x="41" y="103"/>
                  <a:pt x="41" y="103"/>
                </a:cubicBezTo>
                <a:cubicBezTo>
                  <a:pt x="42" y="103"/>
                  <a:pt x="43" y="102"/>
                  <a:pt x="43" y="100"/>
                </a:cubicBezTo>
                <a:cubicBezTo>
                  <a:pt x="43" y="99"/>
                  <a:pt x="42" y="98"/>
                  <a:pt x="41" y="98"/>
                </a:cubicBezTo>
                <a:close/>
                <a:moveTo>
                  <a:pt x="57" y="98"/>
                </a:moveTo>
                <a:cubicBezTo>
                  <a:pt x="52" y="98"/>
                  <a:pt x="52" y="98"/>
                  <a:pt x="52" y="98"/>
                </a:cubicBezTo>
                <a:cubicBezTo>
                  <a:pt x="50" y="98"/>
                  <a:pt x="49" y="99"/>
                  <a:pt x="49" y="100"/>
                </a:cubicBezTo>
                <a:cubicBezTo>
                  <a:pt x="49" y="102"/>
                  <a:pt x="50" y="103"/>
                  <a:pt x="52" y="103"/>
                </a:cubicBezTo>
                <a:cubicBezTo>
                  <a:pt x="57" y="103"/>
                  <a:pt x="57" y="103"/>
                  <a:pt x="57" y="103"/>
                </a:cubicBezTo>
                <a:cubicBezTo>
                  <a:pt x="58" y="103"/>
                  <a:pt x="60" y="102"/>
                  <a:pt x="60" y="100"/>
                </a:cubicBezTo>
                <a:cubicBezTo>
                  <a:pt x="60" y="99"/>
                  <a:pt x="58" y="98"/>
                  <a:pt x="57" y="98"/>
                </a:cubicBezTo>
                <a:close/>
                <a:moveTo>
                  <a:pt x="57" y="125"/>
                </a:moveTo>
                <a:cubicBezTo>
                  <a:pt x="52" y="125"/>
                  <a:pt x="52" y="125"/>
                  <a:pt x="52" y="125"/>
                </a:cubicBezTo>
                <a:cubicBezTo>
                  <a:pt x="50" y="125"/>
                  <a:pt x="49" y="126"/>
                  <a:pt x="49" y="127"/>
                </a:cubicBezTo>
                <a:cubicBezTo>
                  <a:pt x="49" y="129"/>
                  <a:pt x="50" y="130"/>
                  <a:pt x="52" y="130"/>
                </a:cubicBezTo>
                <a:cubicBezTo>
                  <a:pt x="57" y="130"/>
                  <a:pt x="57" y="130"/>
                  <a:pt x="57" y="130"/>
                </a:cubicBezTo>
                <a:cubicBezTo>
                  <a:pt x="58" y="130"/>
                  <a:pt x="60" y="129"/>
                  <a:pt x="60" y="127"/>
                </a:cubicBezTo>
                <a:cubicBezTo>
                  <a:pt x="60" y="126"/>
                  <a:pt x="58" y="125"/>
                  <a:pt x="57" y="125"/>
                </a:cubicBezTo>
                <a:close/>
                <a:moveTo>
                  <a:pt x="89" y="125"/>
                </a:moveTo>
                <a:cubicBezTo>
                  <a:pt x="84" y="125"/>
                  <a:pt x="84" y="125"/>
                  <a:pt x="84" y="125"/>
                </a:cubicBezTo>
                <a:cubicBezTo>
                  <a:pt x="83" y="125"/>
                  <a:pt x="81" y="126"/>
                  <a:pt x="81" y="127"/>
                </a:cubicBezTo>
                <a:cubicBezTo>
                  <a:pt x="81" y="129"/>
                  <a:pt x="83" y="130"/>
                  <a:pt x="84" y="130"/>
                </a:cubicBezTo>
                <a:cubicBezTo>
                  <a:pt x="89" y="130"/>
                  <a:pt x="89" y="130"/>
                  <a:pt x="89" y="130"/>
                </a:cubicBezTo>
                <a:cubicBezTo>
                  <a:pt x="91" y="130"/>
                  <a:pt x="92" y="129"/>
                  <a:pt x="92" y="127"/>
                </a:cubicBezTo>
                <a:cubicBezTo>
                  <a:pt x="92" y="126"/>
                  <a:pt x="91" y="125"/>
                  <a:pt x="89" y="125"/>
                </a:cubicBezTo>
                <a:close/>
                <a:moveTo>
                  <a:pt x="73" y="125"/>
                </a:moveTo>
                <a:cubicBezTo>
                  <a:pt x="68" y="125"/>
                  <a:pt x="68" y="125"/>
                  <a:pt x="68" y="125"/>
                </a:cubicBezTo>
                <a:cubicBezTo>
                  <a:pt x="66" y="125"/>
                  <a:pt x="65" y="126"/>
                  <a:pt x="65" y="127"/>
                </a:cubicBezTo>
                <a:cubicBezTo>
                  <a:pt x="65" y="129"/>
                  <a:pt x="66" y="130"/>
                  <a:pt x="68" y="130"/>
                </a:cubicBezTo>
                <a:cubicBezTo>
                  <a:pt x="73" y="130"/>
                  <a:pt x="73" y="130"/>
                  <a:pt x="73" y="130"/>
                </a:cubicBezTo>
                <a:cubicBezTo>
                  <a:pt x="75" y="130"/>
                  <a:pt x="76" y="129"/>
                  <a:pt x="76" y="127"/>
                </a:cubicBezTo>
                <a:cubicBezTo>
                  <a:pt x="76" y="126"/>
                  <a:pt x="75" y="125"/>
                  <a:pt x="73" y="125"/>
                </a:cubicBezTo>
                <a:close/>
                <a:moveTo>
                  <a:pt x="41" y="125"/>
                </a:moveTo>
                <a:cubicBezTo>
                  <a:pt x="35" y="125"/>
                  <a:pt x="35" y="125"/>
                  <a:pt x="35" y="125"/>
                </a:cubicBezTo>
                <a:cubicBezTo>
                  <a:pt x="34" y="125"/>
                  <a:pt x="33" y="126"/>
                  <a:pt x="33" y="127"/>
                </a:cubicBezTo>
                <a:cubicBezTo>
                  <a:pt x="33" y="129"/>
                  <a:pt x="34" y="130"/>
                  <a:pt x="35" y="130"/>
                </a:cubicBezTo>
                <a:cubicBezTo>
                  <a:pt x="41" y="130"/>
                  <a:pt x="41" y="130"/>
                  <a:pt x="41" y="130"/>
                </a:cubicBezTo>
                <a:cubicBezTo>
                  <a:pt x="42" y="130"/>
                  <a:pt x="43" y="129"/>
                  <a:pt x="43" y="127"/>
                </a:cubicBezTo>
                <a:cubicBezTo>
                  <a:pt x="43" y="126"/>
                  <a:pt x="42" y="125"/>
                  <a:pt x="41" y="12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399" name="Freeform 1301">
            <a:extLst>
              <a:ext uri="{FF2B5EF4-FFF2-40B4-BE49-F238E27FC236}">
                <a16:creationId xmlns:a16="http://schemas.microsoft.com/office/drawing/2014/main" id="{608875F7-C27D-2C4A-9E1A-5307E48F3E8D}"/>
              </a:ext>
            </a:extLst>
          </p:cNvPr>
          <p:cNvSpPr>
            <a:spLocks noEditPoints="1"/>
          </p:cNvSpPr>
          <p:nvPr/>
        </p:nvSpPr>
        <p:spPr bwMode="auto">
          <a:xfrm>
            <a:off x="1525162" y="4081463"/>
            <a:ext cx="392113" cy="550863"/>
          </a:xfrm>
          <a:custGeom>
            <a:avLst/>
            <a:gdLst>
              <a:gd name="T0" fmla="*/ 0 w 115"/>
              <a:gd name="T1" fmla="*/ 0 h 160"/>
              <a:gd name="T2" fmla="*/ 11 w 115"/>
              <a:gd name="T3" fmla="*/ 144 h 160"/>
              <a:gd name="T4" fmla="*/ 32 w 115"/>
              <a:gd name="T5" fmla="*/ 144 h 160"/>
              <a:gd name="T6" fmla="*/ 115 w 115"/>
              <a:gd name="T7" fmla="*/ 134 h 160"/>
              <a:gd name="T8" fmla="*/ 104 w 115"/>
              <a:gd name="T9" fmla="*/ 0 h 160"/>
              <a:gd name="T10" fmla="*/ 5 w 115"/>
              <a:gd name="T11" fmla="*/ 45 h 160"/>
              <a:gd name="T12" fmla="*/ 61 w 115"/>
              <a:gd name="T13" fmla="*/ 94 h 160"/>
              <a:gd name="T14" fmla="*/ 45 w 115"/>
              <a:gd name="T15" fmla="*/ 94 h 160"/>
              <a:gd name="T16" fmla="*/ 32 w 115"/>
              <a:gd name="T17" fmla="*/ 91 h 160"/>
              <a:gd name="T18" fmla="*/ 19 w 115"/>
              <a:gd name="T19" fmla="*/ 94 h 160"/>
              <a:gd name="T20" fmla="*/ 5 w 115"/>
              <a:gd name="T21" fmla="*/ 94 h 160"/>
              <a:gd name="T22" fmla="*/ 5 w 115"/>
              <a:gd name="T23" fmla="*/ 51 h 160"/>
              <a:gd name="T24" fmla="*/ 11 w 115"/>
              <a:gd name="T25" fmla="*/ 53 h 160"/>
              <a:gd name="T26" fmla="*/ 24 w 115"/>
              <a:gd name="T27" fmla="*/ 56 h 160"/>
              <a:gd name="T28" fmla="*/ 37 w 115"/>
              <a:gd name="T29" fmla="*/ 53 h 160"/>
              <a:gd name="T30" fmla="*/ 56 w 115"/>
              <a:gd name="T31" fmla="*/ 51 h 160"/>
              <a:gd name="T32" fmla="*/ 56 w 115"/>
              <a:gd name="T33" fmla="*/ 51 h 160"/>
              <a:gd name="T34" fmla="*/ 75 w 115"/>
              <a:gd name="T35" fmla="*/ 53 h 160"/>
              <a:gd name="T36" fmla="*/ 78 w 115"/>
              <a:gd name="T37" fmla="*/ 61 h 160"/>
              <a:gd name="T38" fmla="*/ 80 w 115"/>
              <a:gd name="T39" fmla="*/ 80 h 160"/>
              <a:gd name="T40" fmla="*/ 67 w 115"/>
              <a:gd name="T41" fmla="*/ 94 h 160"/>
              <a:gd name="T42" fmla="*/ 21 w 115"/>
              <a:gd name="T43" fmla="*/ 146 h 160"/>
              <a:gd name="T44" fmla="*/ 27 w 115"/>
              <a:gd name="T45" fmla="*/ 150 h 160"/>
              <a:gd name="T46" fmla="*/ 5 w 115"/>
              <a:gd name="T47" fmla="*/ 99 h 160"/>
              <a:gd name="T48" fmla="*/ 86 w 115"/>
              <a:gd name="T49" fmla="*/ 139 h 160"/>
              <a:gd name="T50" fmla="*/ 94 w 115"/>
              <a:gd name="T51" fmla="*/ 5 h 160"/>
              <a:gd name="T52" fmla="*/ 86 w 115"/>
              <a:gd name="T53" fmla="*/ 139 h 160"/>
              <a:gd name="T54" fmla="*/ 110 w 115"/>
              <a:gd name="T55" fmla="*/ 51 h 160"/>
              <a:gd name="T56" fmla="*/ 104 w 115"/>
              <a:gd name="T57" fmla="*/ 51 h 160"/>
              <a:gd name="T58" fmla="*/ 104 w 115"/>
              <a:gd name="T59" fmla="*/ 139 h 160"/>
              <a:gd name="T60" fmla="*/ 110 w 115"/>
              <a:gd name="T61" fmla="*/ 134 h 160"/>
              <a:gd name="T62" fmla="*/ 110 w 115"/>
              <a:gd name="T63" fmla="*/ 11 h 160"/>
              <a:gd name="T64" fmla="*/ 19 w 115"/>
              <a:gd name="T65" fmla="*/ 61 h 160"/>
              <a:gd name="T66" fmla="*/ 32 w 115"/>
              <a:gd name="T67" fmla="*/ 59 h 160"/>
              <a:gd name="T68" fmla="*/ 32 w 115"/>
              <a:gd name="T69" fmla="*/ 59 h 160"/>
              <a:gd name="T70" fmla="*/ 45 w 115"/>
              <a:gd name="T71" fmla="*/ 61 h 160"/>
              <a:gd name="T72" fmla="*/ 64 w 115"/>
              <a:gd name="T73" fmla="*/ 64 h 160"/>
              <a:gd name="T74" fmla="*/ 11 w 115"/>
              <a:gd name="T75" fmla="*/ 69 h 160"/>
              <a:gd name="T76" fmla="*/ 24 w 115"/>
              <a:gd name="T77" fmla="*/ 67 h 160"/>
              <a:gd name="T78" fmla="*/ 24 w 115"/>
              <a:gd name="T79" fmla="*/ 67 h 160"/>
              <a:gd name="T80" fmla="*/ 5 w 115"/>
              <a:gd name="T81" fmla="*/ 86 h 160"/>
              <a:gd name="T82" fmla="*/ 24 w 115"/>
              <a:gd name="T83" fmla="*/ 88 h 160"/>
              <a:gd name="T84" fmla="*/ 19 w 115"/>
              <a:gd name="T85" fmla="*/ 78 h 160"/>
              <a:gd name="T86" fmla="*/ 32 w 115"/>
              <a:gd name="T87" fmla="*/ 75 h 160"/>
              <a:gd name="T88" fmla="*/ 32 w 115"/>
              <a:gd name="T89" fmla="*/ 75 h 160"/>
              <a:gd name="T90" fmla="*/ 37 w 115"/>
              <a:gd name="T91" fmla="*/ 69 h 160"/>
              <a:gd name="T92" fmla="*/ 56 w 115"/>
              <a:gd name="T93" fmla="*/ 72 h 160"/>
              <a:gd name="T94" fmla="*/ 43 w 115"/>
              <a:gd name="T95" fmla="*/ 86 h 160"/>
              <a:gd name="T96" fmla="*/ 56 w 115"/>
              <a:gd name="T97" fmla="*/ 83 h 160"/>
              <a:gd name="T98" fmla="*/ 56 w 115"/>
              <a:gd name="T99" fmla="*/ 83 h 160"/>
              <a:gd name="T100" fmla="*/ 45 w 115"/>
              <a:gd name="T101" fmla="*/ 78 h 160"/>
              <a:gd name="T102" fmla="*/ 64 w 115"/>
              <a:gd name="T103" fmla="*/ 80 h 160"/>
              <a:gd name="T104" fmla="*/ 75 w 115"/>
              <a:gd name="T105" fmla="*/ 69 h 160"/>
              <a:gd name="T106" fmla="*/ 72 w 115"/>
              <a:gd name="T107" fmla="*/ 83 h 160"/>
              <a:gd name="T108" fmla="*/ 72 w 115"/>
              <a:gd name="T109" fmla="*/ 83 h 160"/>
              <a:gd name="T110" fmla="*/ 102 w 115"/>
              <a:gd name="T111" fmla="*/ 69 h 160"/>
              <a:gd name="T112" fmla="*/ 104 w 115"/>
              <a:gd name="T113" fmla="*/ 8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 h="160">
                <a:moveTo>
                  <a:pt x="104" y="0"/>
                </a:moveTo>
                <a:cubicBezTo>
                  <a:pt x="99" y="0"/>
                  <a:pt x="99" y="0"/>
                  <a:pt x="99" y="0"/>
                </a:cubicBezTo>
                <a:cubicBezTo>
                  <a:pt x="80" y="0"/>
                  <a:pt x="80" y="0"/>
                  <a:pt x="80" y="0"/>
                </a:cubicBezTo>
                <a:cubicBezTo>
                  <a:pt x="0" y="0"/>
                  <a:pt x="0" y="0"/>
                  <a:pt x="0" y="0"/>
                </a:cubicBezTo>
                <a:cubicBezTo>
                  <a:pt x="0" y="45"/>
                  <a:pt x="0" y="45"/>
                  <a:pt x="0" y="45"/>
                </a:cubicBezTo>
                <a:cubicBezTo>
                  <a:pt x="0" y="99"/>
                  <a:pt x="0" y="99"/>
                  <a:pt x="0" y="99"/>
                </a:cubicBezTo>
                <a:cubicBezTo>
                  <a:pt x="0" y="144"/>
                  <a:pt x="0" y="144"/>
                  <a:pt x="0" y="144"/>
                </a:cubicBezTo>
                <a:cubicBezTo>
                  <a:pt x="11" y="144"/>
                  <a:pt x="11" y="144"/>
                  <a:pt x="11" y="144"/>
                </a:cubicBezTo>
                <a:cubicBezTo>
                  <a:pt x="11" y="160"/>
                  <a:pt x="11" y="160"/>
                  <a:pt x="11" y="160"/>
                </a:cubicBezTo>
                <a:cubicBezTo>
                  <a:pt x="21" y="153"/>
                  <a:pt x="21" y="153"/>
                  <a:pt x="21" y="153"/>
                </a:cubicBezTo>
                <a:cubicBezTo>
                  <a:pt x="32" y="160"/>
                  <a:pt x="32" y="160"/>
                  <a:pt x="32" y="160"/>
                </a:cubicBezTo>
                <a:cubicBezTo>
                  <a:pt x="32" y="144"/>
                  <a:pt x="32" y="144"/>
                  <a:pt x="32" y="144"/>
                </a:cubicBezTo>
                <a:cubicBezTo>
                  <a:pt x="80" y="144"/>
                  <a:pt x="80" y="144"/>
                  <a:pt x="80" y="144"/>
                </a:cubicBezTo>
                <a:cubicBezTo>
                  <a:pt x="99" y="144"/>
                  <a:pt x="99" y="144"/>
                  <a:pt x="99" y="144"/>
                </a:cubicBezTo>
                <a:cubicBezTo>
                  <a:pt x="104" y="144"/>
                  <a:pt x="104" y="144"/>
                  <a:pt x="104" y="144"/>
                </a:cubicBezTo>
                <a:cubicBezTo>
                  <a:pt x="110" y="144"/>
                  <a:pt x="115" y="140"/>
                  <a:pt x="115" y="134"/>
                </a:cubicBezTo>
                <a:cubicBezTo>
                  <a:pt x="115" y="99"/>
                  <a:pt x="115" y="99"/>
                  <a:pt x="115" y="99"/>
                </a:cubicBezTo>
                <a:cubicBezTo>
                  <a:pt x="115" y="45"/>
                  <a:pt x="115" y="45"/>
                  <a:pt x="115" y="45"/>
                </a:cubicBezTo>
                <a:cubicBezTo>
                  <a:pt x="115" y="11"/>
                  <a:pt x="115" y="11"/>
                  <a:pt x="115" y="11"/>
                </a:cubicBezTo>
                <a:cubicBezTo>
                  <a:pt x="115" y="5"/>
                  <a:pt x="110" y="0"/>
                  <a:pt x="104" y="0"/>
                </a:cubicBezTo>
                <a:close/>
                <a:moveTo>
                  <a:pt x="5" y="5"/>
                </a:moveTo>
                <a:cubicBezTo>
                  <a:pt x="80" y="5"/>
                  <a:pt x="80" y="5"/>
                  <a:pt x="80" y="5"/>
                </a:cubicBezTo>
                <a:cubicBezTo>
                  <a:pt x="80" y="45"/>
                  <a:pt x="80" y="45"/>
                  <a:pt x="80" y="45"/>
                </a:cubicBezTo>
                <a:cubicBezTo>
                  <a:pt x="5" y="45"/>
                  <a:pt x="5" y="45"/>
                  <a:pt x="5" y="45"/>
                </a:cubicBezTo>
                <a:lnTo>
                  <a:pt x="5" y="5"/>
                </a:lnTo>
                <a:close/>
                <a:moveTo>
                  <a:pt x="64" y="91"/>
                </a:moveTo>
                <a:cubicBezTo>
                  <a:pt x="63" y="91"/>
                  <a:pt x="61" y="92"/>
                  <a:pt x="61" y="94"/>
                </a:cubicBezTo>
                <a:cubicBezTo>
                  <a:pt x="61" y="94"/>
                  <a:pt x="61" y="94"/>
                  <a:pt x="61" y="94"/>
                </a:cubicBezTo>
                <a:cubicBezTo>
                  <a:pt x="51" y="94"/>
                  <a:pt x="51" y="94"/>
                  <a:pt x="51" y="94"/>
                </a:cubicBezTo>
                <a:cubicBezTo>
                  <a:pt x="51" y="94"/>
                  <a:pt x="51" y="94"/>
                  <a:pt x="51" y="94"/>
                </a:cubicBezTo>
                <a:cubicBezTo>
                  <a:pt x="51" y="92"/>
                  <a:pt x="50" y="91"/>
                  <a:pt x="48" y="91"/>
                </a:cubicBezTo>
                <a:cubicBezTo>
                  <a:pt x="47" y="91"/>
                  <a:pt x="45" y="92"/>
                  <a:pt x="45" y="94"/>
                </a:cubicBezTo>
                <a:cubicBezTo>
                  <a:pt x="45" y="94"/>
                  <a:pt x="45" y="94"/>
                  <a:pt x="45" y="94"/>
                </a:cubicBezTo>
                <a:cubicBezTo>
                  <a:pt x="35" y="94"/>
                  <a:pt x="35" y="94"/>
                  <a:pt x="35" y="94"/>
                </a:cubicBezTo>
                <a:cubicBezTo>
                  <a:pt x="35" y="94"/>
                  <a:pt x="35" y="94"/>
                  <a:pt x="35" y="94"/>
                </a:cubicBezTo>
                <a:cubicBezTo>
                  <a:pt x="35" y="92"/>
                  <a:pt x="34" y="91"/>
                  <a:pt x="32" y="91"/>
                </a:cubicBezTo>
                <a:cubicBezTo>
                  <a:pt x="31" y="91"/>
                  <a:pt x="29" y="92"/>
                  <a:pt x="29" y="94"/>
                </a:cubicBezTo>
                <a:cubicBezTo>
                  <a:pt x="29" y="94"/>
                  <a:pt x="29" y="94"/>
                  <a:pt x="29" y="94"/>
                </a:cubicBezTo>
                <a:cubicBezTo>
                  <a:pt x="19" y="94"/>
                  <a:pt x="19" y="94"/>
                  <a:pt x="19" y="94"/>
                </a:cubicBezTo>
                <a:cubicBezTo>
                  <a:pt x="19" y="94"/>
                  <a:pt x="19" y="94"/>
                  <a:pt x="19" y="94"/>
                </a:cubicBezTo>
                <a:cubicBezTo>
                  <a:pt x="19" y="92"/>
                  <a:pt x="18" y="91"/>
                  <a:pt x="16" y="91"/>
                </a:cubicBezTo>
                <a:cubicBezTo>
                  <a:pt x="15" y="91"/>
                  <a:pt x="13" y="92"/>
                  <a:pt x="13" y="94"/>
                </a:cubicBezTo>
                <a:cubicBezTo>
                  <a:pt x="13" y="94"/>
                  <a:pt x="13" y="94"/>
                  <a:pt x="13" y="94"/>
                </a:cubicBezTo>
                <a:cubicBezTo>
                  <a:pt x="5" y="94"/>
                  <a:pt x="5" y="94"/>
                  <a:pt x="5" y="94"/>
                </a:cubicBezTo>
                <a:cubicBezTo>
                  <a:pt x="5" y="86"/>
                  <a:pt x="5" y="86"/>
                  <a:pt x="5" y="86"/>
                </a:cubicBezTo>
                <a:cubicBezTo>
                  <a:pt x="5" y="69"/>
                  <a:pt x="5" y="69"/>
                  <a:pt x="5" y="69"/>
                </a:cubicBezTo>
                <a:cubicBezTo>
                  <a:pt x="5" y="53"/>
                  <a:pt x="5" y="53"/>
                  <a:pt x="5" y="53"/>
                </a:cubicBezTo>
                <a:cubicBezTo>
                  <a:pt x="5" y="51"/>
                  <a:pt x="5" y="51"/>
                  <a:pt x="5" y="51"/>
                </a:cubicBezTo>
                <a:cubicBezTo>
                  <a:pt x="8" y="51"/>
                  <a:pt x="8" y="51"/>
                  <a:pt x="8" y="51"/>
                </a:cubicBezTo>
                <a:cubicBezTo>
                  <a:pt x="6" y="51"/>
                  <a:pt x="5" y="52"/>
                  <a:pt x="5" y="53"/>
                </a:cubicBezTo>
                <a:cubicBezTo>
                  <a:pt x="5" y="55"/>
                  <a:pt x="7" y="56"/>
                  <a:pt x="8" y="56"/>
                </a:cubicBezTo>
                <a:cubicBezTo>
                  <a:pt x="9" y="56"/>
                  <a:pt x="11" y="55"/>
                  <a:pt x="11" y="53"/>
                </a:cubicBezTo>
                <a:cubicBezTo>
                  <a:pt x="11" y="52"/>
                  <a:pt x="10" y="51"/>
                  <a:pt x="8" y="51"/>
                </a:cubicBezTo>
                <a:cubicBezTo>
                  <a:pt x="24" y="51"/>
                  <a:pt x="24" y="51"/>
                  <a:pt x="24" y="51"/>
                </a:cubicBezTo>
                <a:cubicBezTo>
                  <a:pt x="23" y="51"/>
                  <a:pt x="21" y="52"/>
                  <a:pt x="21" y="53"/>
                </a:cubicBezTo>
                <a:cubicBezTo>
                  <a:pt x="21" y="55"/>
                  <a:pt x="23" y="56"/>
                  <a:pt x="24" y="56"/>
                </a:cubicBezTo>
                <a:cubicBezTo>
                  <a:pt x="26" y="56"/>
                  <a:pt x="27" y="55"/>
                  <a:pt x="27" y="53"/>
                </a:cubicBezTo>
                <a:cubicBezTo>
                  <a:pt x="27" y="52"/>
                  <a:pt x="26" y="51"/>
                  <a:pt x="24" y="51"/>
                </a:cubicBezTo>
                <a:cubicBezTo>
                  <a:pt x="40" y="51"/>
                  <a:pt x="40" y="51"/>
                  <a:pt x="40" y="51"/>
                </a:cubicBezTo>
                <a:cubicBezTo>
                  <a:pt x="39" y="51"/>
                  <a:pt x="37" y="52"/>
                  <a:pt x="37" y="53"/>
                </a:cubicBezTo>
                <a:cubicBezTo>
                  <a:pt x="37" y="55"/>
                  <a:pt x="39" y="56"/>
                  <a:pt x="40" y="56"/>
                </a:cubicBezTo>
                <a:cubicBezTo>
                  <a:pt x="42" y="56"/>
                  <a:pt x="43" y="55"/>
                  <a:pt x="43" y="53"/>
                </a:cubicBezTo>
                <a:cubicBezTo>
                  <a:pt x="43" y="52"/>
                  <a:pt x="42" y="51"/>
                  <a:pt x="40" y="51"/>
                </a:cubicBezTo>
                <a:cubicBezTo>
                  <a:pt x="56" y="51"/>
                  <a:pt x="56" y="51"/>
                  <a:pt x="56" y="51"/>
                </a:cubicBezTo>
                <a:cubicBezTo>
                  <a:pt x="55" y="51"/>
                  <a:pt x="53" y="52"/>
                  <a:pt x="53" y="53"/>
                </a:cubicBezTo>
                <a:cubicBezTo>
                  <a:pt x="53" y="55"/>
                  <a:pt x="55" y="56"/>
                  <a:pt x="56" y="56"/>
                </a:cubicBezTo>
                <a:cubicBezTo>
                  <a:pt x="58" y="56"/>
                  <a:pt x="59" y="55"/>
                  <a:pt x="59" y="53"/>
                </a:cubicBezTo>
                <a:cubicBezTo>
                  <a:pt x="59" y="52"/>
                  <a:pt x="58" y="51"/>
                  <a:pt x="56" y="51"/>
                </a:cubicBezTo>
                <a:cubicBezTo>
                  <a:pt x="72" y="51"/>
                  <a:pt x="72" y="51"/>
                  <a:pt x="72" y="51"/>
                </a:cubicBezTo>
                <a:cubicBezTo>
                  <a:pt x="71" y="51"/>
                  <a:pt x="69" y="52"/>
                  <a:pt x="69" y="53"/>
                </a:cubicBezTo>
                <a:cubicBezTo>
                  <a:pt x="69" y="55"/>
                  <a:pt x="71" y="56"/>
                  <a:pt x="72" y="56"/>
                </a:cubicBezTo>
                <a:cubicBezTo>
                  <a:pt x="74" y="56"/>
                  <a:pt x="75" y="55"/>
                  <a:pt x="75" y="53"/>
                </a:cubicBezTo>
                <a:cubicBezTo>
                  <a:pt x="75" y="52"/>
                  <a:pt x="74" y="51"/>
                  <a:pt x="72" y="51"/>
                </a:cubicBezTo>
                <a:cubicBezTo>
                  <a:pt x="80" y="51"/>
                  <a:pt x="80" y="51"/>
                  <a:pt x="80" y="51"/>
                </a:cubicBezTo>
                <a:cubicBezTo>
                  <a:pt x="80" y="59"/>
                  <a:pt x="80" y="59"/>
                  <a:pt x="80" y="59"/>
                </a:cubicBezTo>
                <a:cubicBezTo>
                  <a:pt x="79" y="59"/>
                  <a:pt x="78" y="60"/>
                  <a:pt x="78" y="61"/>
                </a:cubicBezTo>
                <a:cubicBezTo>
                  <a:pt x="78" y="63"/>
                  <a:pt x="79" y="64"/>
                  <a:pt x="80" y="64"/>
                </a:cubicBezTo>
                <a:cubicBezTo>
                  <a:pt x="80" y="75"/>
                  <a:pt x="80" y="75"/>
                  <a:pt x="80" y="75"/>
                </a:cubicBezTo>
                <a:cubicBezTo>
                  <a:pt x="79" y="75"/>
                  <a:pt x="78" y="76"/>
                  <a:pt x="78" y="78"/>
                </a:cubicBezTo>
                <a:cubicBezTo>
                  <a:pt x="78" y="79"/>
                  <a:pt x="79" y="80"/>
                  <a:pt x="80" y="80"/>
                </a:cubicBezTo>
                <a:cubicBezTo>
                  <a:pt x="80" y="91"/>
                  <a:pt x="80" y="91"/>
                  <a:pt x="80" y="91"/>
                </a:cubicBezTo>
                <a:cubicBezTo>
                  <a:pt x="79" y="91"/>
                  <a:pt x="78" y="92"/>
                  <a:pt x="78" y="94"/>
                </a:cubicBezTo>
                <a:cubicBezTo>
                  <a:pt x="78" y="94"/>
                  <a:pt x="78" y="94"/>
                  <a:pt x="78" y="94"/>
                </a:cubicBezTo>
                <a:cubicBezTo>
                  <a:pt x="67" y="94"/>
                  <a:pt x="67" y="94"/>
                  <a:pt x="67" y="94"/>
                </a:cubicBezTo>
                <a:cubicBezTo>
                  <a:pt x="67" y="94"/>
                  <a:pt x="67" y="94"/>
                  <a:pt x="67" y="94"/>
                </a:cubicBezTo>
                <a:cubicBezTo>
                  <a:pt x="67" y="92"/>
                  <a:pt x="66" y="91"/>
                  <a:pt x="64" y="91"/>
                </a:cubicBezTo>
                <a:close/>
                <a:moveTo>
                  <a:pt x="27" y="150"/>
                </a:moveTo>
                <a:cubicBezTo>
                  <a:pt x="21" y="146"/>
                  <a:pt x="21" y="146"/>
                  <a:pt x="21" y="146"/>
                </a:cubicBezTo>
                <a:cubicBezTo>
                  <a:pt x="16" y="150"/>
                  <a:pt x="16" y="150"/>
                  <a:pt x="16" y="150"/>
                </a:cubicBezTo>
                <a:cubicBezTo>
                  <a:pt x="16" y="144"/>
                  <a:pt x="16" y="144"/>
                  <a:pt x="16" y="144"/>
                </a:cubicBezTo>
                <a:cubicBezTo>
                  <a:pt x="27" y="144"/>
                  <a:pt x="27" y="144"/>
                  <a:pt x="27" y="144"/>
                </a:cubicBezTo>
                <a:lnTo>
                  <a:pt x="27" y="150"/>
                </a:lnTo>
                <a:close/>
                <a:moveTo>
                  <a:pt x="32" y="139"/>
                </a:moveTo>
                <a:cubicBezTo>
                  <a:pt x="11" y="139"/>
                  <a:pt x="11" y="139"/>
                  <a:pt x="11" y="139"/>
                </a:cubicBezTo>
                <a:cubicBezTo>
                  <a:pt x="5" y="139"/>
                  <a:pt x="5" y="139"/>
                  <a:pt x="5" y="139"/>
                </a:cubicBezTo>
                <a:cubicBezTo>
                  <a:pt x="5" y="99"/>
                  <a:pt x="5" y="99"/>
                  <a:pt x="5" y="99"/>
                </a:cubicBezTo>
                <a:cubicBezTo>
                  <a:pt x="80" y="99"/>
                  <a:pt x="80" y="99"/>
                  <a:pt x="80" y="99"/>
                </a:cubicBezTo>
                <a:cubicBezTo>
                  <a:pt x="80" y="139"/>
                  <a:pt x="80" y="139"/>
                  <a:pt x="80" y="139"/>
                </a:cubicBezTo>
                <a:lnTo>
                  <a:pt x="32" y="139"/>
                </a:lnTo>
                <a:close/>
                <a:moveTo>
                  <a:pt x="86" y="139"/>
                </a:moveTo>
                <a:cubicBezTo>
                  <a:pt x="86" y="99"/>
                  <a:pt x="86" y="99"/>
                  <a:pt x="86" y="99"/>
                </a:cubicBezTo>
                <a:cubicBezTo>
                  <a:pt x="86" y="45"/>
                  <a:pt x="86" y="45"/>
                  <a:pt x="86" y="45"/>
                </a:cubicBezTo>
                <a:cubicBezTo>
                  <a:pt x="86" y="5"/>
                  <a:pt x="86" y="5"/>
                  <a:pt x="86" y="5"/>
                </a:cubicBezTo>
                <a:cubicBezTo>
                  <a:pt x="94" y="5"/>
                  <a:pt x="94" y="5"/>
                  <a:pt x="94" y="5"/>
                </a:cubicBezTo>
                <a:cubicBezTo>
                  <a:pt x="94" y="45"/>
                  <a:pt x="94" y="45"/>
                  <a:pt x="94" y="45"/>
                </a:cubicBezTo>
                <a:cubicBezTo>
                  <a:pt x="94" y="99"/>
                  <a:pt x="94" y="99"/>
                  <a:pt x="94" y="99"/>
                </a:cubicBezTo>
                <a:cubicBezTo>
                  <a:pt x="94" y="139"/>
                  <a:pt x="94" y="139"/>
                  <a:pt x="94" y="139"/>
                </a:cubicBezTo>
                <a:lnTo>
                  <a:pt x="86" y="139"/>
                </a:lnTo>
                <a:close/>
                <a:moveTo>
                  <a:pt x="104" y="56"/>
                </a:moveTo>
                <a:cubicBezTo>
                  <a:pt x="106" y="56"/>
                  <a:pt x="107" y="55"/>
                  <a:pt x="107" y="53"/>
                </a:cubicBezTo>
                <a:cubicBezTo>
                  <a:pt x="107" y="52"/>
                  <a:pt x="106" y="51"/>
                  <a:pt x="104" y="51"/>
                </a:cubicBezTo>
                <a:cubicBezTo>
                  <a:pt x="110" y="51"/>
                  <a:pt x="110" y="51"/>
                  <a:pt x="110" y="51"/>
                </a:cubicBezTo>
                <a:cubicBezTo>
                  <a:pt x="110" y="94"/>
                  <a:pt x="110" y="94"/>
                  <a:pt x="110" y="94"/>
                </a:cubicBezTo>
                <a:cubicBezTo>
                  <a:pt x="99" y="94"/>
                  <a:pt x="99" y="94"/>
                  <a:pt x="99" y="94"/>
                </a:cubicBezTo>
                <a:cubicBezTo>
                  <a:pt x="99" y="51"/>
                  <a:pt x="99" y="51"/>
                  <a:pt x="99" y="51"/>
                </a:cubicBezTo>
                <a:cubicBezTo>
                  <a:pt x="104" y="51"/>
                  <a:pt x="104" y="51"/>
                  <a:pt x="104" y="51"/>
                </a:cubicBezTo>
                <a:cubicBezTo>
                  <a:pt x="103" y="51"/>
                  <a:pt x="102" y="52"/>
                  <a:pt x="102" y="53"/>
                </a:cubicBezTo>
                <a:cubicBezTo>
                  <a:pt x="102" y="55"/>
                  <a:pt x="103" y="56"/>
                  <a:pt x="104" y="56"/>
                </a:cubicBezTo>
                <a:close/>
                <a:moveTo>
                  <a:pt x="110" y="134"/>
                </a:moveTo>
                <a:cubicBezTo>
                  <a:pt x="110" y="137"/>
                  <a:pt x="107" y="139"/>
                  <a:pt x="104" y="139"/>
                </a:cubicBezTo>
                <a:cubicBezTo>
                  <a:pt x="99" y="139"/>
                  <a:pt x="99" y="139"/>
                  <a:pt x="99" y="139"/>
                </a:cubicBezTo>
                <a:cubicBezTo>
                  <a:pt x="99" y="99"/>
                  <a:pt x="99" y="99"/>
                  <a:pt x="99" y="99"/>
                </a:cubicBezTo>
                <a:cubicBezTo>
                  <a:pt x="110" y="99"/>
                  <a:pt x="110" y="99"/>
                  <a:pt x="110" y="99"/>
                </a:cubicBezTo>
                <a:lnTo>
                  <a:pt x="110" y="134"/>
                </a:lnTo>
                <a:close/>
                <a:moveTo>
                  <a:pt x="99" y="45"/>
                </a:moveTo>
                <a:cubicBezTo>
                  <a:pt x="99" y="5"/>
                  <a:pt x="99" y="5"/>
                  <a:pt x="99" y="5"/>
                </a:cubicBezTo>
                <a:cubicBezTo>
                  <a:pt x="104" y="5"/>
                  <a:pt x="104" y="5"/>
                  <a:pt x="104" y="5"/>
                </a:cubicBezTo>
                <a:cubicBezTo>
                  <a:pt x="107" y="5"/>
                  <a:pt x="110" y="8"/>
                  <a:pt x="110" y="11"/>
                </a:cubicBezTo>
                <a:cubicBezTo>
                  <a:pt x="110" y="45"/>
                  <a:pt x="110" y="45"/>
                  <a:pt x="110" y="45"/>
                </a:cubicBezTo>
                <a:lnTo>
                  <a:pt x="99" y="45"/>
                </a:lnTo>
                <a:close/>
                <a:moveTo>
                  <a:pt x="16" y="59"/>
                </a:moveTo>
                <a:cubicBezTo>
                  <a:pt x="18" y="59"/>
                  <a:pt x="19" y="60"/>
                  <a:pt x="19" y="61"/>
                </a:cubicBezTo>
                <a:cubicBezTo>
                  <a:pt x="19" y="63"/>
                  <a:pt x="18" y="64"/>
                  <a:pt x="16" y="64"/>
                </a:cubicBezTo>
                <a:cubicBezTo>
                  <a:pt x="15" y="64"/>
                  <a:pt x="13" y="63"/>
                  <a:pt x="13" y="61"/>
                </a:cubicBezTo>
                <a:cubicBezTo>
                  <a:pt x="13" y="60"/>
                  <a:pt x="15" y="59"/>
                  <a:pt x="16" y="59"/>
                </a:cubicBezTo>
                <a:close/>
                <a:moveTo>
                  <a:pt x="32" y="59"/>
                </a:moveTo>
                <a:cubicBezTo>
                  <a:pt x="34" y="59"/>
                  <a:pt x="35" y="60"/>
                  <a:pt x="35" y="61"/>
                </a:cubicBezTo>
                <a:cubicBezTo>
                  <a:pt x="35" y="63"/>
                  <a:pt x="34" y="64"/>
                  <a:pt x="32" y="64"/>
                </a:cubicBezTo>
                <a:cubicBezTo>
                  <a:pt x="31" y="64"/>
                  <a:pt x="29" y="63"/>
                  <a:pt x="29" y="61"/>
                </a:cubicBezTo>
                <a:cubicBezTo>
                  <a:pt x="29" y="60"/>
                  <a:pt x="31" y="59"/>
                  <a:pt x="32" y="59"/>
                </a:cubicBezTo>
                <a:close/>
                <a:moveTo>
                  <a:pt x="48" y="59"/>
                </a:moveTo>
                <a:cubicBezTo>
                  <a:pt x="50" y="59"/>
                  <a:pt x="51" y="60"/>
                  <a:pt x="51" y="61"/>
                </a:cubicBezTo>
                <a:cubicBezTo>
                  <a:pt x="51" y="63"/>
                  <a:pt x="50" y="64"/>
                  <a:pt x="48" y="64"/>
                </a:cubicBezTo>
                <a:cubicBezTo>
                  <a:pt x="47" y="64"/>
                  <a:pt x="45" y="63"/>
                  <a:pt x="45" y="61"/>
                </a:cubicBezTo>
                <a:cubicBezTo>
                  <a:pt x="45" y="60"/>
                  <a:pt x="47" y="59"/>
                  <a:pt x="48" y="59"/>
                </a:cubicBezTo>
                <a:close/>
                <a:moveTo>
                  <a:pt x="64" y="59"/>
                </a:moveTo>
                <a:cubicBezTo>
                  <a:pt x="66" y="59"/>
                  <a:pt x="67" y="60"/>
                  <a:pt x="67" y="61"/>
                </a:cubicBezTo>
                <a:cubicBezTo>
                  <a:pt x="67" y="63"/>
                  <a:pt x="66" y="64"/>
                  <a:pt x="64" y="64"/>
                </a:cubicBezTo>
                <a:cubicBezTo>
                  <a:pt x="63" y="64"/>
                  <a:pt x="61" y="63"/>
                  <a:pt x="61" y="61"/>
                </a:cubicBezTo>
                <a:cubicBezTo>
                  <a:pt x="61" y="60"/>
                  <a:pt x="63" y="59"/>
                  <a:pt x="64" y="59"/>
                </a:cubicBezTo>
                <a:close/>
                <a:moveTo>
                  <a:pt x="8" y="67"/>
                </a:moveTo>
                <a:cubicBezTo>
                  <a:pt x="9" y="67"/>
                  <a:pt x="11" y="68"/>
                  <a:pt x="11" y="69"/>
                </a:cubicBezTo>
                <a:cubicBezTo>
                  <a:pt x="11" y="71"/>
                  <a:pt x="9" y="72"/>
                  <a:pt x="8" y="72"/>
                </a:cubicBezTo>
                <a:cubicBezTo>
                  <a:pt x="7" y="72"/>
                  <a:pt x="5" y="71"/>
                  <a:pt x="5" y="69"/>
                </a:cubicBezTo>
                <a:cubicBezTo>
                  <a:pt x="5" y="68"/>
                  <a:pt x="7" y="67"/>
                  <a:pt x="8" y="67"/>
                </a:cubicBezTo>
                <a:close/>
                <a:moveTo>
                  <a:pt x="24" y="67"/>
                </a:moveTo>
                <a:cubicBezTo>
                  <a:pt x="26" y="67"/>
                  <a:pt x="27" y="68"/>
                  <a:pt x="27" y="69"/>
                </a:cubicBezTo>
                <a:cubicBezTo>
                  <a:pt x="27" y="71"/>
                  <a:pt x="26" y="72"/>
                  <a:pt x="24" y="72"/>
                </a:cubicBezTo>
                <a:cubicBezTo>
                  <a:pt x="23" y="72"/>
                  <a:pt x="21" y="71"/>
                  <a:pt x="21" y="69"/>
                </a:cubicBezTo>
                <a:cubicBezTo>
                  <a:pt x="21" y="68"/>
                  <a:pt x="23" y="67"/>
                  <a:pt x="24" y="67"/>
                </a:cubicBezTo>
                <a:close/>
                <a:moveTo>
                  <a:pt x="8" y="83"/>
                </a:moveTo>
                <a:cubicBezTo>
                  <a:pt x="9" y="83"/>
                  <a:pt x="11" y="84"/>
                  <a:pt x="11" y="86"/>
                </a:cubicBezTo>
                <a:cubicBezTo>
                  <a:pt x="11" y="87"/>
                  <a:pt x="9" y="88"/>
                  <a:pt x="8" y="88"/>
                </a:cubicBezTo>
                <a:cubicBezTo>
                  <a:pt x="7" y="88"/>
                  <a:pt x="5" y="87"/>
                  <a:pt x="5" y="86"/>
                </a:cubicBezTo>
                <a:cubicBezTo>
                  <a:pt x="5" y="84"/>
                  <a:pt x="7" y="83"/>
                  <a:pt x="8" y="83"/>
                </a:cubicBezTo>
                <a:close/>
                <a:moveTo>
                  <a:pt x="24" y="83"/>
                </a:moveTo>
                <a:cubicBezTo>
                  <a:pt x="26" y="83"/>
                  <a:pt x="27" y="84"/>
                  <a:pt x="27" y="86"/>
                </a:cubicBezTo>
                <a:cubicBezTo>
                  <a:pt x="27" y="87"/>
                  <a:pt x="26" y="88"/>
                  <a:pt x="24" y="88"/>
                </a:cubicBezTo>
                <a:cubicBezTo>
                  <a:pt x="23" y="88"/>
                  <a:pt x="21" y="87"/>
                  <a:pt x="21" y="86"/>
                </a:cubicBezTo>
                <a:cubicBezTo>
                  <a:pt x="21" y="84"/>
                  <a:pt x="23" y="83"/>
                  <a:pt x="24" y="83"/>
                </a:cubicBezTo>
                <a:close/>
                <a:moveTo>
                  <a:pt x="16" y="75"/>
                </a:moveTo>
                <a:cubicBezTo>
                  <a:pt x="18" y="75"/>
                  <a:pt x="19" y="76"/>
                  <a:pt x="19" y="78"/>
                </a:cubicBezTo>
                <a:cubicBezTo>
                  <a:pt x="19" y="79"/>
                  <a:pt x="18" y="80"/>
                  <a:pt x="16" y="80"/>
                </a:cubicBezTo>
                <a:cubicBezTo>
                  <a:pt x="15" y="80"/>
                  <a:pt x="13" y="79"/>
                  <a:pt x="13" y="78"/>
                </a:cubicBezTo>
                <a:cubicBezTo>
                  <a:pt x="13" y="76"/>
                  <a:pt x="15" y="75"/>
                  <a:pt x="16" y="75"/>
                </a:cubicBezTo>
                <a:close/>
                <a:moveTo>
                  <a:pt x="32" y="75"/>
                </a:moveTo>
                <a:cubicBezTo>
                  <a:pt x="34" y="75"/>
                  <a:pt x="35" y="76"/>
                  <a:pt x="35" y="78"/>
                </a:cubicBezTo>
                <a:cubicBezTo>
                  <a:pt x="35" y="79"/>
                  <a:pt x="34" y="80"/>
                  <a:pt x="32" y="80"/>
                </a:cubicBezTo>
                <a:cubicBezTo>
                  <a:pt x="31" y="80"/>
                  <a:pt x="29" y="79"/>
                  <a:pt x="29" y="78"/>
                </a:cubicBezTo>
                <a:cubicBezTo>
                  <a:pt x="29" y="76"/>
                  <a:pt x="31" y="75"/>
                  <a:pt x="32" y="75"/>
                </a:cubicBezTo>
                <a:close/>
                <a:moveTo>
                  <a:pt x="40" y="67"/>
                </a:moveTo>
                <a:cubicBezTo>
                  <a:pt x="42" y="67"/>
                  <a:pt x="43" y="68"/>
                  <a:pt x="43" y="69"/>
                </a:cubicBezTo>
                <a:cubicBezTo>
                  <a:pt x="43" y="71"/>
                  <a:pt x="42" y="72"/>
                  <a:pt x="40" y="72"/>
                </a:cubicBezTo>
                <a:cubicBezTo>
                  <a:pt x="39" y="72"/>
                  <a:pt x="37" y="71"/>
                  <a:pt x="37" y="69"/>
                </a:cubicBezTo>
                <a:cubicBezTo>
                  <a:pt x="37" y="68"/>
                  <a:pt x="39" y="67"/>
                  <a:pt x="40" y="67"/>
                </a:cubicBezTo>
                <a:close/>
                <a:moveTo>
                  <a:pt x="56" y="67"/>
                </a:moveTo>
                <a:cubicBezTo>
                  <a:pt x="58" y="67"/>
                  <a:pt x="59" y="68"/>
                  <a:pt x="59" y="69"/>
                </a:cubicBezTo>
                <a:cubicBezTo>
                  <a:pt x="59" y="71"/>
                  <a:pt x="58" y="72"/>
                  <a:pt x="56" y="72"/>
                </a:cubicBezTo>
                <a:cubicBezTo>
                  <a:pt x="55" y="72"/>
                  <a:pt x="53" y="71"/>
                  <a:pt x="53" y="69"/>
                </a:cubicBezTo>
                <a:cubicBezTo>
                  <a:pt x="53" y="68"/>
                  <a:pt x="55" y="67"/>
                  <a:pt x="56" y="67"/>
                </a:cubicBezTo>
                <a:close/>
                <a:moveTo>
                  <a:pt x="40" y="83"/>
                </a:moveTo>
                <a:cubicBezTo>
                  <a:pt x="42" y="83"/>
                  <a:pt x="43" y="84"/>
                  <a:pt x="43" y="86"/>
                </a:cubicBezTo>
                <a:cubicBezTo>
                  <a:pt x="43" y="87"/>
                  <a:pt x="42" y="88"/>
                  <a:pt x="40" y="88"/>
                </a:cubicBezTo>
                <a:cubicBezTo>
                  <a:pt x="39" y="88"/>
                  <a:pt x="37" y="87"/>
                  <a:pt x="37" y="86"/>
                </a:cubicBezTo>
                <a:cubicBezTo>
                  <a:pt x="37" y="84"/>
                  <a:pt x="39" y="83"/>
                  <a:pt x="40" y="83"/>
                </a:cubicBezTo>
                <a:close/>
                <a:moveTo>
                  <a:pt x="56" y="83"/>
                </a:moveTo>
                <a:cubicBezTo>
                  <a:pt x="58" y="83"/>
                  <a:pt x="59" y="84"/>
                  <a:pt x="59" y="86"/>
                </a:cubicBezTo>
                <a:cubicBezTo>
                  <a:pt x="59" y="87"/>
                  <a:pt x="58" y="88"/>
                  <a:pt x="56" y="88"/>
                </a:cubicBezTo>
                <a:cubicBezTo>
                  <a:pt x="55" y="88"/>
                  <a:pt x="53" y="87"/>
                  <a:pt x="53" y="86"/>
                </a:cubicBezTo>
                <a:cubicBezTo>
                  <a:pt x="53" y="84"/>
                  <a:pt x="55" y="83"/>
                  <a:pt x="56" y="83"/>
                </a:cubicBezTo>
                <a:close/>
                <a:moveTo>
                  <a:pt x="48" y="75"/>
                </a:moveTo>
                <a:cubicBezTo>
                  <a:pt x="50" y="75"/>
                  <a:pt x="51" y="76"/>
                  <a:pt x="51" y="78"/>
                </a:cubicBezTo>
                <a:cubicBezTo>
                  <a:pt x="51" y="79"/>
                  <a:pt x="50" y="80"/>
                  <a:pt x="48" y="80"/>
                </a:cubicBezTo>
                <a:cubicBezTo>
                  <a:pt x="47" y="80"/>
                  <a:pt x="45" y="79"/>
                  <a:pt x="45" y="78"/>
                </a:cubicBezTo>
                <a:cubicBezTo>
                  <a:pt x="45" y="76"/>
                  <a:pt x="47" y="75"/>
                  <a:pt x="48" y="75"/>
                </a:cubicBezTo>
                <a:close/>
                <a:moveTo>
                  <a:pt x="64" y="75"/>
                </a:moveTo>
                <a:cubicBezTo>
                  <a:pt x="66" y="75"/>
                  <a:pt x="67" y="76"/>
                  <a:pt x="67" y="78"/>
                </a:cubicBezTo>
                <a:cubicBezTo>
                  <a:pt x="67" y="79"/>
                  <a:pt x="66" y="80"/>
                  <a:pt x="64" y="80"/>
                </a:cubicBezTo>
                <a:cubicBezTo>
                  <a:pt x="63" y="80"/>
                  <a:pt x="61" y="79"/>
                  <a:pt x="61" y="78"/>
                </a:cubicBezTo>
                <a:cubicBezTo>
                  <a:pt x="61" y="76"/>
                  <a:pt x="63" y="75"/>
                  <a:pt x="64" y="75"/>
                </a:cubicBezTo>
                <a:close/>
                <a:moveTo>
                  <a:pt x="72" y="67"/>
                </a:moveTo>
                <a:cubicBezTo>
                  <a:pt x="74" y="67"/>
                  <a:pt x="75" y="68"/>
                  <a:pt x="75" y="69"/>
                </a:cubicBezTo>
                <a:cubicBezTo>
                  <a:pt x="75" y="71"/>
                  <a:pt x="74" y="72"/>
                  <a:pt x="72" y="72"/>
                </a:cubicBezTo>
                <a:cubicBezTo>
                  <a:pt x="71" y="72"/>
                  <a:pt x="69" y="71"/>
                  <a:pt x="69" y="69"/>
                </a:cubicBezTo>
                <a:cubicBezTo>
                  <a:pt x="69" y="68"/>
                  <a:pt x="71" y="67"/>
                  <a:pt x="72" y="67"/>
                </a:cubicBezTo>
                <a:close/>
                <a:moveTo>
                  <a:pt x="72" y="83"/>
                </a:moveTo>
                <a:cubicBezTo>
                  <a:pt x="74" y="83"/>
                  <a:pt x="75" y="84"/>
                  <a:pt x="75" y="86"/>
                </a:cubicBezTo>
                <a:cubicBezTo>
                  <a:pt x="75" y="87"/>
                  <a:pt x="74" y="88"/>
                  <a:pt x="72" y="88"/>
                </a:cubicBezTo>
                <a:cubicBezTo>
                  <a:pt x="71" y="88"/>
                  <a:pt x="69" y="87"/>
                  <a:pt x="69" y="86"/>
                </a:cubicBezTo>
                <a:cubicBezTo>
                  <a:pt x="69" y="84"/>
                  <a:pt x="71" y="83"/>
                  <a:pt x="72" y="83"/>
                </a:cubicBezTo>
                <a:close/>
                <a:moveTo>
                  <a:pt x="104" y="67"/>
                </a:moveTo>
                <a:cubicBezTo>
                  <a:pt x="106" y="67"/>
                  <a:pt x="107" y="68"/>
                  <a:pt x="107" y="69"/>
                </a:cubicBezTo>
                <a:cubicBezTo>
                  <a:pt x="107" y="71"/>
                  <a:pt x="106" y="72"/>
                  <a:pt x="104" y="72"/>
                </a:cubicBezTo>
                <a:cubicBezTo>
                  <a:pt x="103" y="72"/>
                  <a:pt x="102" y="71"/>
                  <a:pt x="102" y="69"/>
                </a:cubicBezTo>
                <a:cubicBezTo>
                  <a:pt x="102" y="68"/>
                  <a:pt x="103" y="67"/>
                  <a:pt x="104" y="67"/>
                </a:cubicBezTo>
                <a:close/>
                <a:moveTo>
                  <a:pt x="104" y="83"/>
                </a:moveTo>
                <a:cubicBezTo>
                  <a:pt x="106" y="83"/>
                  <a:pt x="107" y="84"/>
                  <a:pt x="107" y="86"/>
                </a:cubicBezTo>
                <a:cubicBezTo>
                  <a:pt x="107" y="87"/>
                  <a:pt x="106" y="88"/>
                  <a:pt x="104" y="88"/>
                </a:cubicBezTo>
                <a:cubicBezTo>
                  <a:pt x="103" y="88"/>
                  <a:pt x="102" y="87"/>
                  <a:pt x="102" y="86"/>
                </a:cubicBezTo>
                <a:cubicBezTo>
                  <a:pt x="102" y="84"/>
                  <a:pt x="103" y="83"/>
                  <a:pt x="104" y="8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00" name="Freeform 1302">
            <a:extLst>
              <a:ext uri="{FF2B5EF4-FFF2-40B4-BE49-F238E27FC236}">
                <a16:creationId xmlns:a16="http://schemas.microsoft.com/office/drawing/2014/main" id="{6FBF0895-BDA9-0B4C-B7A7-1DF86601C954}"/>
              </a:ext>
            </a:extLst>
          </p:cNvPr>
          <p:cNvSpPr>
            <a:spLocks noEditPoints="1"/>
          </p:cNvSpPr>
          <p:nvPr/>
        </p:nvSpPr>
        <p:spPr bwMode="auto">
          <a:xfrm>
            <a:off x="1525162" y="4700588"/>
            <a:ext cx="392113" cy="550863"/>
          </a:xfrm>
          <a:custGeom>
            <a:avLst/>
            <a:gdLst>
              <a:gd name="T0" fmla="*/ 99 w 115"/>
              <a:gd name="T1" fmla="*/ 0 h 160"/>
              <a:gd name="T2" fmla="*/ 0 w 115"/>
              <a:gd name="T3" fmla="*/ 0 h 160"/>
              <a:gd name="T4" fmla="*/ 0 w 115"/>
              <a:gd name="T5" fmla="*/ 99 h 160"/>
              <a:gd name="T6" fmla="*/ 11 w 115"/>
              <a:gd name="T7" fmla="*/ 144 h 160"/>
              <a:gd name="T8" fmla="*/ 21 w 115"/>
              <a:gd name="T9" fmla="*/ 153 h 160"/>
              <a:gd name="T10" fmla="*/ 32 w 115"/>
              <a:gd name="T11" fmla="*/ 144 h 160"/>
              <a:gd name="T12" fmla="*/ 99 w 115"/>
              <a:gd name="T13" fmla="*/ 144 h 160"/>
              <a:gd name="T14" fmla="*/ 115 w 115"/>
              <a:gd name="T15" fmla="*/ 134 h 160"/>
              <a:gd name="T16" fmla="*/ 115 w 115"/>
              <a:gd name="T17" fmla="*/ 45 h 160"/>
              <a:gd name="T18" fmla="*/ 104 w 115"/>
              <a:gd name="T19" fmla="*/ 0 h 160"/>
              <a:gd name="T20" fmla="*/ 80 w 115"/>
              <a:gd name="T21" fmla="*/ 5 h 160"/>
              <a:gd name="T22" fmla="*/ 5 w 115"/>
              <a:gd name="T23" fmla="*/ 45 h 160"/>
              <a:gd name="T24" fmla="*/ 80 w 115"/>
              <a:gd name="T25" fmla="*/ 94 h 160"/>
              <a:gd name="T26" fmla="*/ 5 w 115"/>
              <a:gd name="T27" fmla="*/ 51 h 160"/>
              <a:gd name="T28" fmla="*/ 80 w 115"/>
              <a:gd name="T29" fmla="*/ 94 h 160"/>
              <a:gd name="T30" fmla="*/ 21 w 115"/>
              <a:gd name="T31" fmla="*/ 146 h 160"/>
              <a:gd name="T32" fmla="*/ 16 w 115"/>
              <a:gd name="T33" fmla="*/ 144 h 160"/>
              <a:gd name="T34" fmla="*/ 27 w 115"/>
              <a:gd name="T35" fmla="*/ 150 h 160"/>
              <a:gd name="T36" fmla="*/ 11 w 115"/>
              <a:gd name="T37" fmla="*/ 139 h 160"/>
              <a:gd name="T38" fmla="*/ 5 w 115"/>
              <a:gd name="T39" fmla="*/ 99 h 160"/>
              <a:gd name="T40" fmla="*/ 80 w 115"/>
              <a:gd name="T41" fmla="*/ 139 h 160"/>
              <a:gd name="T42" fmla="*/ 86 w 115"/>
              <a:gd name="T43" fmla="*/ 139 h 160"/>
              <a:gd name="T44" fmla="*/ 86 w 115"/>
              <a:gd name="T45" fmla="*/ 45 h 160"/>
              <a:gd name="T46" fmla="*/ 94 w 115"/>
              <a:gd name="T47" fmla="*/ 5 h 160"/>
              <a:gd name="T48" fmla="*/ 94 w 115"/>
              <a:gd name="T49" fmla="*/ 99 h 160"/>
              <a:gd name="T50" fmla="*/ 86 w 115"/>
              <a:gd name="T51" fmla="*/ 139 h 160"/>
              <a:gd name="T52" fmla="*/ 110 w 115"/>
              <a:gd name="T53" fmla="*/ 51 h 160"/>
              <a:gd name="T54" fmla="*/ 99 w 115"/>
              <a:gd name="T55" fmla="*/ 94 h 160"/>
              <a:gd name="T56" fmla="*/ 110 w 115"/>
              <a:gd name="T57" fmla="*/ 134 h 160"/>
              <a:gd name="T58" fmla="*/ 99 w 115"/>
              <a:gd name="T59" fmla="*/ 139 h 160"/>
              <a:gd name="T60" fmla="*/ 110 w 115"/>
              <a:gd name="T61" fmla="*/ 99 h 160"/>
              <a:gd name="T62" fmla="*/ 99 w 115"/>
              <a:gd name="T63" fmla="*/ 45 h 160"/>
              <a:gd name="T64" fmla="*/ 104 w 115"/>
              <a:gd name="T65" fmla="*/ 5 h 160"/>
              <a:gd name="T66" fmla="*/ 110 w 115"/>
              <a:gd name="T67" fmla="*/ 4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60">
                <a:moveTo>
                  <a:pt x="104" y="0"/>
                </a:moveTo>
                <a:cubicBezTo>
                  <a:pt x="99" y="0"/>
                  <a:pt x="99" y="0"/>
                  <a:pt x="99" y="0"/>
                </a:cubicBezTo>
                <a:cubicBezTo>
                  <a:pt x="80" y="0"/>
                  <a:pt x="80" y="0"/>
                  <a:pt x="80" y="0"/>
                </a:cubicBezTo>
                <a:cubicBezTo>
                  <a:pt x="0" y="0"/>
                  <a:pt x="0" y="0"/>
                  <a:pt x="0" y="0"/>
                </a:cubicBezTo>
                <a:cubicBezTo>
                  <a:pt x="0" y="45"/>
                  <a:pt x="0" y="45"/>
                  <a:pt x="0" y="45"/>
                </a:cubicBezTo>
                <a:cubicBezTo>
                  <a:pt x="0" y="99"/>
                  <a:pt x="0" y="99"/>
                  <a:pt x="0" y="99"/>
                </a:cubicBezTo>
                <a:cubicBezTo>
                  <a:pt x="0" y="144"/>
                  <a:pt x="0" y="144"/>
                  <a:pt x="0" y="144"/>
                </a:cubicBezTo>
                <a:cubicBezTo>
                  <a:pt x="11" y="144"/>
                  <a:pt x="11" y="144"/>
                  <a:pt x="11" y="144"/>
                </a:cubicBezTo>
                <a:cubicBezTo>
                  <a:pt x="11" y="160"/>
                  <a:pt x="11" y="160"/>
                  <a:pt x="11" y="160"/>
                </a:cubicBezTo>
                <a:cubicBezTo>
                  <a:pt x="21" y="153"/>
                  <a:pt x="21" y="153"/>
                  <a:pt x="21" y="153"/>
                </a:cubicBezTo>
                <a:cubicBezTo>
                  <a:pt x="32" y="160"/>
                  <a:pt x="32" y="160"/>
                  <a:pt x="32" y="160"/>
                </a:cubicBezTo>
                <a:cubicBezTo>
                  <a:pt x="32" y="144"/>
                  <a:pt x="32" y="144"/>
                  <a:pt x="32" y="144"/>
                </a:cubicBezTo>
                <a:cubicBezTo>
                  <a:pt x="80" y="144"/>
                  <a:pt x="80" y="144"/>
                  <a:pt x="80" y="144"/>
                </a:cubicBezTo>
                <a:cubicBezTo>
                  <a:pt x="99" y="144"/>
                  <a:pt x="99" y="144"/>
                  <a:pt x="99" y="144"/>
                </a:cubicBezTo>
                <a:cubicBezTo>
                  <a:pt x="104" y="144"/>
                  <a:pt x="104" y="144"/>
                  <a:pt x="104" y="144"/>
                </a:cubicBezTo>
                <a:cubicBezTo>
                  <a:pt x="110" y="144"/>
                  <a:pt x="115" y="140"/>
                  <a:pt x="115" y="134"/>
                </a:cubicBezTo>
                <a:cubicBezTo>
                  <a:pt x="115" y="99"/>
                  <a:pt x="115" y="99"/>
                  <a:pt x="115" y="99"/>
                </a:cubicBezTo>
                <a:cubicBezTo>
                  <a:pt x="115" y="45"/>
                  <a:pt x="115" y="45"/>
                  <a:pt x="115" y="45"/>
                </a:cubicBezTo>
                <a:cubicBezTo>
                  <a:pt x="115" y="11"/>
                  <a:pt x="115" y="11"/>
                  <a:pt x="115" y="11"/>
                </a:cubicBezTo>
                <a:cubicBezTo>
                  <a:pt x="115" y="5"/>
                  <a:pt x="110" y="0"/>
                  <a:pt x="104" y="0"/>
                </a:cubicBezTo>
                <a:close/>
                <a:moveTo>
                  <a:pt x="5" y="5"/>
                </a:moveTo>
                <a:cubicBezTo>
                  <a:pt x="80" y="5"/>
                  <a:pt x="80" y="5"/>
                  <a:pt x="80" y="5"/>
                </a:cubicBezTo>
                <a:cubicBezTo>
                  <a:pt x="80" y="45"/>
                  <a:pt x="80" y="45"/>
                  <a:pt x="80" y="45"/>
                </a:cubicBezTo>
                <a:cubicBezTo>
                  <a:pt x="5" y="45"/>
                  <a:pt x="5" y="45"/>
                  <a:pt x="5" y="45"/>
                </a:cubicBezTo>
                <a:lnTo>
                  <a:pt x="5" y="5"/>
                </a:lnTo>
                <a:close/>
                <a:moveTo>
                  <a:pt x="80" y="94"/>
                </a:moveTo>
                <a:cubicBezTo>
                  <a:pt x="5" y="94"/>
                  <a:pt x="5" y="94"/>
                  <a:pt x="5" y="94"/>
                </a:cubicBezTo>
                <a:cubicBezTo>
                  <a:pt x="5" y="51"/>
                  <a:pt x="5" y="51"/>
                  <a:pt x="5" y="51"/>
                </a:cubicBezTo>
                <a:cubicBezTo>
                  <a:pt x="80" y="51"/>
                  <a:pt x="80" y="51"/>
                  <a:pt x="80" y="51"/>
                </a:cubicBezTo>
                <a:lnTo>
                  <a:pt x="80" y="94"/>
                </a:lnTo>
                <a:close/>
                <a:moveTo>
                  <a:pt x="27" y="150"/>
                </a:moveTo>
                <a:cubicBezTo>
                  <a:pt x="21" y="146"/>
                  <a:pt x="21" y="146"/>
                  <a:pt x="21" y="146"/>
                </a:cubicBezTo>
                <a:cubicBezTo>
                  <a:pt x="16" y="150"/>
                  <a:pt x="16" y="150"/>
                  <a:pt x="16" y="150"/>
                </a:cubicBezTo>
                <a:cubicBezTo>
                  <a:pt x="16" y="144"/>
                  <a:pt x="16" y="144"/>
                  <a:pt x="16" y="144"/>
                </a:cubicBezTo>
                <a:cubicBezTo>
                  <a:pt x="27" y="144"/>
                  <a:pt x="27" y="144"/>
                  <a:pt x="27" y="144"/>
                </a:cubicBezTo>
                <a:lnTo>
                  <a:pt x="27" y="150"/>
                </a:lnTo>
                <a:close/>
                <a:moveTo>
                  <a:pt x="32" y="139"/>
                </a:moveTo>
                <a:cubicBezTo>
                  <a:pt x="11" y="139"/>
                  <a:pt x="11" y="139"/>
                  <a:pt x="11" y="139"/>
                </a:cubicBezTo>
                <a:cubicBezTo>
                  <a:pt x="5" y="139"/>
                  <a:pt x="5" y="139"/>
                  <a:pt x="5" y="139"/>
                </a:cubicBezTo>
                <a:cubicBezTo>
                  <a:pt x="5" y="99"/>
                  <a:pt x="5" y="99"/>
                  <a:pt x="5" y="99"/>
                </a:cubicBezTo>
                <a:cubicBezTo>
                  <a:pt x="80" y="99"/>
                  <a:pt x="80" y="99"/>
                  <a:pt x="80" y="99"/>
                </a:cubicBezTo>
                <a:cubicBezTo>
                  <a:pt x="80" y="139"/>
                  <a:pt x="80" y="139"/>
                  <a:pt x="80" y="139"/>
                </a:cubicBezTo>
                <a:lnTo>
                  <a:pt x="32" y="139"/>
                </a:lnTo>
                <a:close/>
                <a:moveTo>
                  <a:pt x="86" y="139"/>
                </a:moveTo>
                <a:cubicBezTo>
                  <a:pt x="86" y="99"/>
                  <a:pt x="86" y="99"/>
                  <a:pt x="86" y="99"/>
                </a:cubicBezTo>
                <a:cubicBezTo>
                  <a:pt x="86" y="45"/>
                  <a:pt x="86" y="45"/>
                  <a:pt x="86" y="45"/>
                </a:cubicBezTo>
                <a:cubicBezTo>
                  <a:pt x="86" y="5"/>
                  <a:pt x="86" y="5"/>
                  <a:pt x="86" y="5"/>
                </a:cubicBezTo>
                <a:cubicBezTo>
                  <a:pt x="94" y="5"/>
                  <a:pt x="94" y="5"/>
                  <a:pt x="94" y="5"/>
                </a:cubicBezTo>
                <a:cubicBezTo>
                  <a:pt x="94" y="45"/>
                  <a:pt x="94" y="45"/>
                  <a:pt x="94" y="45"/>
                </a:cubicBezTo>
                <a:cubicBezTo>
                  <a:pt x="94" y="99"/>
                  <a:pt x="94" y="99"/>
                  <a:pt x="94" y="99"/>
                </a:cubicBezTo>
                <a:cubicBezTo>
                  <a:pt x="94" y="139"/>
                  <a:pt x="94" y="139"/>
                  <a:pt x="94" y="139"/>
                </a:cubicBezTo>
                <a:lnTo>
                  <a:pt x="86" y="139"/>
                </a:lnTo>
                <a:close/>
                <a:moveTo>
                  <a:pt x="99" y="51"/>
                </a:moveTo>
                <a:cubicBezTo>
                  <a:pt x="110" y="51"/>
                  <a:pt x="110" y="51"/>
                  <a:pt x="110" y="51"/>
                </a:cubicBezTo>
                <a:cubicBezTo>
                  <a:pt x="110" y="94"/>
                  <a:pt x="110" y="94"/>
                  <a:pt x="110" y="94"/>
                </a:cubicBezTo>
                <a:cubicBezTo>
                  <a:pt x="99" y="94"/>
                  <a:pt x="99" y="94"/>
                  <a:pt x="99" y="94"/>
                </a:cubicBezTo>
                <a:lnTo>
                  <a:pt x="99" y="51"/>
                </a:lnTo>
                <a:close/>
                <a:moveTo>
                  <a:pt x="110" y="134"/>
                </a:moveTo>
                <a:cubicBezTo>
                  <a:pt x="110" y="137"/>
                  <a:pt x="107" y="139"/>
                  <a:pt x="104" y="139"/>
                </a:cubicBezTo>
                <a:cubicBezTo>
                  <a:pt x="99" y="139"/>
                  <a:pt x="99" y="139"/>
                  <a:pt x="99" y="139"/>
                </a:cubicBezTo>
                <a:cubicBezTo>
                  <a:pt x="99" y="99"/>
                  <a:pt x="99" y="99"/>
                  <a:pt x="99" y="99"/>
                </a:cubicBezTo>
                <a:cubicBezTo>
                  <a:pt x="110" y="99"/>
                  <a:pt x="110" y="99"/>
                  <a:pt x="110" y="99"/>
                </a:cubicBezTo>
                <a:lnTo>
                  <a:pt x="110" y="134"/>
                </a:lnTo>
                <a:close/>
                <a:moveTo>
                  <a:pt x="99" y="45"/>
                </a:moveTo>
                <a:cubicBezTo>
                  <a:pt x="99" y="5"/>
                  <a:pt x="99" y="5"/>
                  <a:pt x="99" y="5"/>
                </a:cubicBezTo>
                <a:cubicBezTo>
                  <a:pt x="104" y="5"/>
                  <a:pt x="104" y="5"/>
                  <a:pt x="104" y="5"/>
                </a:cubicBezTo>
                <a:cubicBezTo>
                  <a:pt x="107" y="5"/>
                  <a:pt x="110" y="8"/>
                  <a:pt x="110" y="11"/>
                </a:cubicBezTo>
                <a:cubicBezTo>
                  <a:pt x="110" y="45"/>
                  <a:pt x="110" y="45"/>
                  <a:pt x="110" y="45"/>
                </a:cubicBezTo>
                <a:lnTo>
                  <a:pt x="99" y="4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01" name="Freeform 1303">
            <a:extLst>
              <a:ext uri="{FF2B5EF4-FFF2-40B4-BE49-F238E27FC236}">
                <a16:creationId xmlns:a16="http://schemas.microsoft.com/office/drawing/2014/main" id="{210B3FF2-8ABB-A44E-9F23-AB5226149BB2}"/>
              </a:ext>
            </a:extLst>
          </p:cNvPr>
          <p:cNvSpPr>
            <a:spLocks noEditPoints="1"/>
          </p:cNvSpPr>
          <p:nvPr/>
        </p:nvSpPr>
        <p:spPr bwMode="auto">
          <a:xfrm>
            <a:off x="1456900" y="5319713"/>
            <a:ext cx="528638" cy="550863"/>
          </a:xfrm>
          <a:custGeom>
            <a:avLst/>
            <a:gdLst>
              <a:gd name="T0" fmla="*/ 99 w 155"/>
              <a:gd name="T1" fmla="*/ 0 h 160"/>
              <a:gd name="T2" fmla="*/ 0 w 155"/>
              <a:gd name="T3" fmla="*/ 0 h 160"/>
              <a:gd name="T4" fmla="*/ 0 w 155"/>
              <a:gd name="T5" fmla="*/ 99 h 160"/>
              <a:gd name="T6" fmla="*/ 11 w 155"/>
              <a:gd name="T7" fmla="*/ 144 h 160"/>
              <a:gd name="T8" fmla="*/ 21 w 155"/>
              <a:gd name="T9" fmla="*/ 153 h 160"/>
              <a:gd name="T10" fmla="*/ 32 w 155"/>
              <a:gd name="T11" fmla="*/ 144 h 160"/>
              <a:gd name="T12" fmla="*/ 99 w 155"/>
              <a:gd name="T13" fmla="*/ 144 h 160"/>
              <a:gd name="T14" fmla="*/ 115 w 155"/>
              <a:gd name="T15" fmla="*/ 133 h 160"/>
              <a:gd name="T16" fmla="*/ 115 w 155"/>
              <a:gd name="T17" fmla="*/ 45 h 160"/>
              <a:gd name="T18" fmla="*/ 104 w 155"/>
              <a:gd name="T19" fmla="*/ 0 h 160"/>
              <a:gd name="T20" fmla="*/ 80 w 155"/>
              <a:gd name="T21" fmla="*/ 5 h 160"/>
              <a:gd name="T22" fmla="*/ 5 w 155"/>
              <a:gd name="T23" fmla="*/ 45 h 160"/>
              <a:gd name="T24" fmla="*/ 80 w 155"/>
              <a:gd name="T25" fmla="*/ 93 h 160"/>
              <a:gd name="T26" fmla="*/ 5 w 155"/>
              <a:gd name="T27" fmla="*/ 51 h 160"/>
              <a:gd name="T28" fmla="*/ 80 w 155"/>
              <a:gd name="T29" fmla="*/ 93 h 160"/>
              <a:gd name="T30" fmla="*/ 21 w 155"/>
              <a:gd name="T31" fmla="*/ 146 h 160"/>
              <a:gd name="T32" fmla="*/ 16 w 155"/>
              <a:gd name="T33" fmla="*/ 144 h 160"/>
              <a:gd name="T34" fmla="*/ 27 w 155"/>
              <a:gd name="T35" fmla="*/ 150 h 160"/>
              <a:gd name="T36" fmla="*/ 11 w 155"/>
              <a:gd name="T37" fmla="*/ 139 h 160"/>
              <a:gd name="T38" fmla="*/ 5 w 155"/>
              <a:gd name="T39" fmla="*/ 99 h 160"/>
              <a:gd name="T40" fmla="*/ 80 w 155"/>
              <a:gd name="T41" fmla="*/ 139 h 160"/>
              <a:gd name="T42" fmla="*/ 85 w 155"/>
              <a:gd name="T43" fmla="*/ 139 h 160"/>
              <a:gd name="T44" fmla="*/ 85 w 155"/>
              <a:gd name="T45" fmla="*/ 45 h 160"/>
              <a:gd name="T46" fmla="*/ 93 w 155"/>
              <a:gd name="T47" fmla="*/ 5 h 160"/>
              <a:gd name="T48" fmla="*/ 93 w 155"/>
              <a:gd name="T49" fmla="*/ 99 h 160"/>
              <a:gd name="T50" fmla="*/ 85 w 155"/>
              <a:gd name="T51" fmla="*/ 139 h 160"/>
              <a:gd name="T52" fmla="*/ 109 w 155"/>
              <a:gd name="T53" fmla="*/ 51 h 160"/>
              <a:gd name="T54" fmla="*/ 99 w 155"/>
              <a:gd name="T55" fmla="*/ 93 h 160"/>
              <a:gd name="T56" fmla="*/ 109 w 155"/>
              <a:gd name="T57" fmla="*/ 133 h 160"/>
              <a:gd name="T58" fmla="*/ 99 w 155"/>
              <a:gd name="T59" fmla="*/ 139 h 160"/>
              <a:gd name="T60" fmla="*/ 109 w 155"/>
              <a:gd name="T61" fmla="*/ 99 h 160"/>
              <a:gd name="T62" fmla="*/ 99 w 155"/>
              <a:gd name="T63" fmla="*/ 45 h 160"/>
              <a:gd name="T64" fmla="*/ 104 w 155"/>
              <a:gd name="T65" fmla="*/ 5 h 160"/>
              <a:gd name="T66" fmla="*/ 109 w 155"/>
              <a:gd name="T67" fmla="*/ 45 h 160"/>
              <a:gd name="T68" fmla="*/ 147 w 155"/>
              <a:gd name="T69" fmla="*/ 0 h 160"/>
              <a:gd name="T70" fmla="*/ 128 w 155"/>
              <a:gd name="T71" fmla="*/ 8 h 160"/>
              <a:gd name="T72" fmla="*/ 128 w 155"/>
              <a:gd name="T73" fmla="*/ 35 h 160"/>
              <a:gd name="T74" fmla="*/ 139 w 155"/>
              <a:gd name="T75" fmla="*/ 153 h 160"/>
              <a:gd name="T76" fmla="*/ 141 w 155"/>
              <a:gd name="T77" fmla="*/ 160 h 160"/>
              <a:gd name="T78" fmla="*/ 144 w 155"/>
              <a:gd name="T79" fmla="*/ 153 h 160"/>
              <a:gd name="T80" fmla="*/ 155 w 155"/>
              <a:gd name="T81" fmla="*/ 35 h 160"/>
              <a:gd name="T82" fmla="*/ 155 w 155"/>
              <a:gd name="T83" fmla="*/ 8 h 160"/>
              <a:gd name="T84" fmla="*/ 133 w 155"/>
              <a:gd name="T85" fmla="*/ 24 h 160"/>
              <a:gd name="T86" fmla="*/ 149 w 155"/>
              <a:gd name="T87" fmla="*/ 29 h 160"/>
              <a:gd name="T88" fmla="*/ 133 w 155"/>
              <a:gd name="T89" fmla="*/ 24 h 160"/>
              <a:gd name="T90" fmla="*/ 135 w 155"/>
              <a:gd name="T91" fmla="*/ 136 h 160"/>
              <a:gd name="T92" fmla="*/ 141 w 155"/>
              <a:gd name="T93" fmla="*/ 147 h 160"/>
              <a:gd name="T94" fmla="*/ 133 w 155"/>
              <a:gd name="T95" fmla="*/ 131 h 160"/>
              <a:gd name="T96" fmla="*/ 149 w 155"/>
              <a:gd name="T97" fmla="*/ 35 h 160"/>
              <a:gd name="T98" fmla="*/ 133 w 155"/>
              <a:gd name="T99" fmla="*/ 19 h 160"/>
              <a:gd name="T100" fmla="*/ 136 w 155"/>
              <a:gd name="T101" fmla="*/ 5 h 160"/>
              <a:gd name="T102" fmla="*/ 149 w 155"/>
              <a:gd name="T103" fmla="*/ 8 h 160"/>
              <a:gd name="T104" fmla="*/ 133 w 155"/>
              <a:gd name="T105" fmla="*/ 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160">
                <a:moveTo>
                  <a:pt x="104" y="0"/>
                </a:moveTo>
                <a:cubicBezTo>
                  <a:pt x="99" y="0"/>
                  <a:pt x="99" y="0"/>
                  <a:pt x="99" y="0"/>
                </a:cubicBezTo>
                <a:cubicBezTo>
                  <a:pt x="80" y="0"/>
                  <a:pt x="80" y="0"/>
                  <a:pt x="80" y="0"/>
                </a:cubicBezTo>
                <a:cubicBezTo>
                  <a:pt x="0" y="0"/>
                  <a:pt x="0" y="0"/>
                  <a:pt x="0" y="0"/>
                </a:cubicBezTo>
                <a:cubicBezTo>
                  <a:pt x="0" y="45"/>
                  <a:pt x="0" y="45"/>
                  <a:pt x="0" y="45"/>
                </a:cubicBezTo>
                <a:cubicBezTo>
                  <a:pt x="0" y="99"/>
                  <a:pt x="0" y="99"/>
                  <a:pt x="0" y="99"/>
                </a:cubicBezTo>
                <a:cubicBezTo>
                  <a:pt x="0" y="144"/>
                  <a:pt x="0" y="144"/>
                  <a:pt x="0" y="144"/>
                </a:cubicBezTo>
                <a:cubicBezTo>
                  <a:pt x="11" y="144"/>
                  <a:pt x="11" y="144"/>
                  <a:pt x="11" y="144"/>
                </a:cubicBezTo>
                <a:cubicBezTo>
                  <a:pt x="11" y="160"/>
                  <a:pt x="11" y="160"/>
                  <a:pt x="11" y="160"/>
                </a:cubicBezTo>
                <a:cubicBezTo>
                  <a:pt x="21" y="153"/>
                  <a:pt x="21" y="153"/>
                  <a:pt x="21" y="153"/>
                </a:cubicBezTo>
                <a:cubicBezTo>
                  <a:pt x="32" y="160"/>
                  <a:pt x="32" y="160"/>
                  <a:pt x="32" y="160"/>
                </a:cubicBezTo>
                <a:cubicBezTo>
                  <a:pt x="32" y="144"/>
                  <a:pt x="32" y="144"/>
                  <a:pt x="32" y="144"/>
                </a:cubicBezTo>
                <a:cubicBezTo>
                  <a:pt x="80" y="144"/>
                  <a:pt x="80" y="144"/>
                  <a:pt x="80" y="144"/>
                </a:cubicBezTo>
                <a:cubicBezTo>
                  <a:pt x="99" y="144"/>
                  <a:pt x="99" y="144"/>
                  <a:pt x="99" y="144"/>
                </a:cubicBezTo>
                <a:cubicBezTo>
                  <a:pt x="104" y="144"/>
                  <a:pt x="104" y="144"/>
                  <a:pt x="104" y="144"/>
                </a:cubicBezTo>
                <a:cubicBezTo>
                  <a:pt x="110" y="144"/>
                  <a:pt x="115" y="139"/>
                  <a:pt x="115" y="133"/>
                </a:cubicBezTo>
                <a:cubicBezTo>
                  <a:pt x="115" y="99"/>
                  <a:pt x="115" y="99"/>
                  <a:pt x="115" y="99"/>
                </a:cubicBezTo>
                <a:cubicBezTo>
                  <a:pt x="115" y="45"/>
                  <a:pt x="115" y="45"/>
                  <a:pt x="115" y="45"/>
                </a:cubicBezTo>
                <a:cubicBezTo>
                  <a:pt x="115" y="11"/>
                  <a:pt x="115" y="11"/>
                  <a:pt x="115" y="11"/>
                </a:cubicBezTo>
                <a:cubicBezTo>
                  <a:pt x="115" y="5"/>
                  <a:pt x="110" y="0"/>
                  <a:pt x="104" y="0"/>
                </a:cubicBezTo>
                <a:close/>
                <a:moveTo>
                  <a:pt x="5" y="5"/>
                </a:moveTo>
                <a:cubicBezTo>
                  <a:pt x="80" y="5"/>
                  <a:pt x="80" y="5"/>
                  <a:pt x="80" y="5"/>
                </a:cubicBezTo>
                <a:cubicBezTo>
                  <a:pt x="80" y="45"/>
                  <a:pt x="80" y="45"/>
                  <a:pt x="80" y="45"/>
                </a:cubicBezTo>
                <a:cubicBezTo>
                  <a:pt x="5" y="45"/>
                  <a:pt x="5" y="45"/>
                  <a:pt x="5" y="45"/>
                </a:cubicBezTo>
                <a:lnTo>
                  <a:pt x="5" y="5"/>
                </a:lnTo>
                <a:close/>
                <a:moveTo>
                  <a:pt x="80" y="93"/>
                </a:moveTo>
                <a:cubicBezTo>
                  <a:pt x="5" y="93"/>
                  <a:pt x="5" y="93"/>
                  <a:pt x="5" y="93"/>
                </a:cubicBezTo>
                <a:cubicBezTo>
                  <a:pt x="5" y="51"/>
                  <a:pt x="5" y="51"/>
                  <a:pt x="5" y="51"/>
                </a:cubicBezTo>
                <a:cubicBezTo>
                  <a:pt x="80" y="51"/>
                  <a:pt x="80" y="51"/>
                  <a:pt x="80" y="51"/>
                </a:cubicBezTo>
                <a:lnTo>
                  <a:pt x="80" y="93"/>
                </a:lnTo>
                <a:close/>
                <a:moveTo>
                  <a:pt x="27" y="150"/>
                </a:moveTo>
                <a:cubicBezTo>
                  <a:pt x="21" y="146"/>
                  <a:pt x="21" y="146"/>
                  <a:pt x="21" y="146"/>
                </a:cubicBezTo>
                <a:cubicBezTo>
                  <a:pt x="16" y="150"/>
                  <a:pt x="16" y="150"/>
                  <a:pt x="16" y="150"/>
                </a:cubicBezTo>
                <a:cubicBezTo>
                  <a:pt x="16" y="144"/>
                  <a:pt x="16" y="144"/>
                  <a:pt x="16" y="144"/>
                </a:cubicBezTo>
                <a:cubicBezTo>
                  <a:pt x="27" y="144"/>
                  <a:pt x="27" y="144"/>
                  <a:pt x="27" y="144"/>
                </a:cubicBezTo>
                <a:lnTo>
                  <a:pt x="27" y="150"/>
                </a:lnTo>
                <a:close/>
                <a:moveTo>
                  <a:pt x="32" y="139"/>
                </a:moveTo>
                <a:cubicBezTo>
                  <a:pt x="11" y="139"/>
                  <a:pt x="11" y="139"/>
                  <a:pt x="11" y="139"/>
                </a:cubicBezTo>
                <a:cubicBezTo>
                  <a:pt x="5" y="139"/>
                  <a:pt x="5" y="139"/>
                  <a:pt x="5" y="139"/>
                </a:cubicBezTo>
                <a:cubicBezTo>
                  <a:pt x="5" y="99"/>
                  <a:pt x="5" y="99"/>
                  <a:pt x="5" y="99"/>
                </a:cubicBezTo>
                <a:cubicBezTo>
                  <a:pt x="80" y="99"/>
                  <a:pt x="80" y="99"/>
                  <a:pt x="80" y="99"/>
                </a:cubicBezTo>
                <a:cubicBezTo>
                  <a:pt x="80" y="139"/>
                  <a:pt x="80" y="139"/>
                  <a:pt x="80" y="139"/>
                </a:cubicBezTo>
                <a:lnTo>
                  <a:pt x="32" y="139"/>
                </a:lnTo>
                <a:close/>
                <a:moveTo>
                  <a:pt x="85" y="139"/>
                </a:moveTo>
                <a:cubicBezTo>
                  <a:pt x="85" y="99"/>
                  <a:pt x="85" y="99"/>
                  <a:pt x="85" y="99"/>
                </a:cubicBezTo>
                <a:cubicBezTo>
                  <a:pt x="85" y="45"/>
                  <a:pt x="85" y="45"/>
                  <a:pt x="85" y="45"/>
                </a:cubicBezTo>
                <a:cubicBezTo>
                  <a:pt x="85" y="5"/>
                  <a:pt x="85" y="5"/>
                  <a:pt x="85" y="5"/>
                </a:cubicBezTo>
                <a:cubicBezTo>
                  <a:pt x="93" y="5"/>
                  <a:pt x="93" y="5"/>
                  <a:pt x="93" y="5"/>
                </a:cubicBezTo>
                <a:cubicBezTo>
                  <a:pt x="93" y="45"/>
                  <a:pt x="93" y="45"/>
                  <a:pt x="93" y="45"/>
                </a:cubicBezTo>
                <a:cubicBezTo>
                  <a:pt x="93" y="99"/>
                  <a:pt x="93" y="99"/>
                  <a:pt x="93" y="99"/>
                </a:cubicBezTo>
                <a:cubicBezTo>
                  <a:pt x="93" y="139"/>
                  <a:pt x="93" y="139"/>
                  <a:pt x="93" y="139"/>
                </a:cubicBezTo>
                <a:lnTo>
                  <a:pt x="85" y="139"/>
                </a:lnTo>
                <a:close/>
                <a:moveTo>
                  <a:pt x="99" y="51"/>
                </a:moveTo>
                <a:cubicBezTo>
                  <a:pt x="109" y="51"/>
                  <a:pt x="109" y="51"/>
                  <a:pt x="109" y="51"/>
                </a:cubicBezTo>
                <a:cubicBezTo>
                  <a:pt x="109" y="93"/>
                  <a:pt x="109" y="93"/>
                  <a:pt x="109" y="93"/>
                </a:cubicBezTo>
                <a:cubicBezTo>
                  <a:pt x="99" y="93"/>
                  <a:pt x="99" y="93"/>
                  <a:pt x="99" y="93"/>
                </a:cubicBezTo>
                <a:lnTo>
                  <a:pt x="99" y="51"/>
                </a:lnTo>
                <a:close/>
                <a:moveTo>
                  <a:pt x="109" y="133"/>
                </a:moveTo>
                <a:cubicBezTo>
                  <a:pt x="109" y="136"/>
                  <a:pt x="107" y="139"/>
                  <a:pt x="104" y="139"/>
                </a:cubicBezTo>
                <a:cubicBezTo>
                  <a:pt x="99" y="139"/>
                  <a:pt x="99" y="139"/>
                  <a:pt x="99" y="139"/>
                </a:cubicBezTo>
                <a:cubicBezTo>
                  <a:pt x="99" y="99"/>
                  <a:pt x="99" y="99"/>
                  <a:pt x="99" y="99"/>
                </a:cubicBezTo>
                <a:cubicBezTo>
                  <a:pt x="109" y="99"/>
                  <a:pt x="109" y="99"/>
                  <a:pt x="109" y="99"/>
                </a:cubicBezTo>
                <a:lnTo>
                  <a:pt x="109" y="133"/>
                </a:lnTo>
                <a:close/>
                <a:moveTo>
                  <a:pt x="99" y="45"/>
                </a:moveTo>
                <a:cubicBezTo>
                  <a:pt x="99" y="5"/>
                  <a:pt x="99" y="5"/>
                  <a:pt x="99" y="5"/>
                </a:cubicBezTo>
                <a:cubicBezTo>
                  <a:pt x="104" y="5"/>
                  <a:pt x="104" y="5"/>
                  <a:pt x="104" y="5"/>
                </a:cubicBezTo>
                <a:cubicBezTo>
                  <a:pt x="107" y="5"/>
                  <a:pt x="109" y="8"/>
                  <a:pt x="109" y="11"/>
                </a:cubicBezTo>
                <a:cubicBezTo>
                  <a:pt x="109" y="45"/>
                  <a:pt x="109" y="45"/>
                  <a:pt x="109" y="45"/>
                </a:cubicBezTo>
                <a:lnTo>
                  <a:pt x="99" y="45"/>
                </a:lnTo>
                <a:close/>
                <a:moveTo>
                  <a:pt x="147" y="0"/>
                </a:moveTo>
                <a:cubicBezTo>
                  <a:pt x="136" y="0"/>
                  <a:pt x="136" y="0"/>
                  <a:pt x="136" y="0"/>
                </a:cubicBezTo>
                <a:cubicBezTo>
                  <a:pt x="132" y="0"/>
                  <a:pt x="128" y="4"/>
                  <a:pt x="128" y="8"/>
                </a:cubicBezTo>
                <a:cubicBezTo>
                  <a:pt x="128" y="19"/>
                  <a:pt x="128" y="19"/>
                  <a:pt x="128" y="19"/>
                </a:cubicBezTo>
                <a:cubicBezTo>
                  <a:pt x="128" y="35"/>
                  <a:pt x="128" y="35"/>
                  <a:pt x="128" y="35"/>
                </a:cubicBezTo>
                <a:cubicBezTo>
                  <a:pt x="128" y="134"/>
                  <a:pt x="128" y="134"/>
                  <a:pt x="128" y="134"/>
                </a:cubicBezTo>
                <a:cubicBezTo>
                  <a:pt x="139" y="153"/>
                  <a:pt x="139" y="153"/>
                  <a:pt x="139" y="153"/>
                </a:cubicBezTo>
                <a:cubicBezTo>
                  <a:pt x="139" y="157"/>
                  <a:pt x="139" y="157"/>
                  <a:pt x="139" y="157"/>
                </a:cubicBezTo>
                <a:cubicBezTo>
                  <a:pt x="139" y="159"/>
                  <a:pt x="140" y="160"/>
                  <a:pt x="141" y="160"/>
                </a:cubicBezTo>
                <a:cubicBezTo>
                  <a:pt x="143" y="160"/>
                  <a:pt x="144" y="159"/>
                  <a:pt x="144" y="157"/>
                </a:cubicBezTo>
                <a:cubicBezTo>
                  <a:pt x="144" y="153"/>
                  <a:pt x="144" y="153"/>
                  <a:pt x="144" y="153"/>
                </a:cubicBezTo>
                <a:cubicBezTo>
                  <a:pt x="155" y="134"/>
                  <a:pt x="155" y="134"/>
                  <a:pt x="155" y="134"/>
                </a:cubicBezTo>
                <a:cubicBezTo>
                  <a:pt x="155" y="35"/>
                  <a:pt x="155" y="35"/>
                  <a:pt x="155" y="35"/>
                </a:cubicBezTo>
                <a:cubicBezTo>
                  <a:pt x="155" y="19"/>
                  <a:pt x="155" y="19"/>
                  <a:pt x="155" y="19"/>
                </a:cubicBezTo>
                <a:cubicBezTo>
                  <a:pt x="155" y="8"/>
                  <a:pt x="155" y="8"/>
                  <a:pt x="155" y="8"/>
                </a:cubicBezTo>
                <a:cubicBezTo>
                  <a:pt x="155" y="4"/>
                  <a:pt x="151" y="0"/>
                  <a:pt x="147" y="0"/>
                </a:cubicBezTo>
                <a:close/>
                <a:moveTo>
                  <a:pt x="133" y="24"/>
                </a:moveTo>
                <a:cubicBezTo>
                  <a:pt x="149" y="24"/>
                  <a:pt x="149" y="24"/>
                  <a:pt x="149" y="24"/>
                </a:cubicBezTo>
                <a:cubicBezTo>
                  <a:pt x="149" y="29"/>
                  <a:pt x="149" y="29"/>
                  <a:pt x="149" y="29"/>
                </a:cubicBezTo>
                <a:cubicBezTo>
                  <a:pt x="133" y="29"/>
                  <a:pt x="133" y="29"/>
                  <a:pt x="133" y="29"/>
                </a:cubicBezTo>
                <a:lnTo>
                  <a:pt x="133" y="24"/>
                </a:lnTo>
                <a:close/>
                <a:moveTo>
                  <a:pt x="141" y="147"/>
                </a:moveTo>
                <a:cubicBezTo>
                  <a:pt x="135" y="136"/>
                  <a:pt x="135" y="136"/>
                  <a:pt x="135" y="136"/>
                </a:cubicBezTo>
                <a:cubicBezTo>
                  <a:pt x="147" y="136"/>
                  <a:pt x="147" y="136"/>
                  <a:pt x="147" y="136"/>
                </a:cubicBezTo>
                <a:lnTo>
                  <a:pt x="141" y="147"/>
                </a:lnTo>
                <a:close/>
                <a:moveTo>
                  <a:pt x="149" y="131"/>
                </a:moveTo>
                <a:cubicBezTo>
                  <a:pt x="133" y="131"/>
                  <a:pt x="133" y="131"/>
                  <a:pt x="133" y="131"/>
                </a:cubicBezTo>
                <a:cubicBezTo>
                  <a:pt x="133" y="35"/>
                  <a:pt x="133" y="35"/>
                  <a:pt x="133" y="35"/>
                </a:cubicBezTo>
                <a:cubicBezTo>
                  <a:pt x="149" y="35"/>
                  <a:pt x="149" y="35"/>
                  <a:pt x="149" y="35"/>
                </a:cubicBezTo>
                <a:lnTo>
                  <a:pt x="149" y="131"/>
                </a:lnTo>
                <a:close/>
                <a:moveTo>
                  <a:pt x="133" y="19"/>
                </a:moveTo>
                <a:cubicBezTo>
                  <a:pt x="133" y="8"/>
                  <a:pt x="133" y="8"/>
                  <a:pt x="133" y="8"/>
                </a:cubicBezTo>
                <a:cubicBezTo>
                  <a:pt x="133" y="7"/>
                  <a:pt x="135" y="5"/>
                  <a:pt x="136" y="5"/>
                </a:cubicBezTo>
                <a:cubicBezTo>
                  <a:pt x="147" y="5"/>
                  <a:pt x="147" y="5"/>
                  <a:pt x="147" y="5"/>
                </a:cubicBezTo>
                <a:cubicBezTo>
                  <a:pt x="148" y="5"/>
                  <a:pt x="149" y="7"/>
                  <a:pt x="149" y="8"/>
                </a:cubicBezTo>
                <a:cubicBezTo>
                  <a:pt x="149" y="19"/>
                  <a:pt x="149" y="19"/>
                  <a:pt x="149" y="19"/>
                </a:cubicBezTo>
                <a:lnTo>
                  <a:pt x="133" y="1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02" name="Freeform 1304">
            <a:extLst>
              <a:ext uri="{FF2B5EF4-FFF2-40B4-BE49-F238E27FC236}">
                <a16:creationId xmlns:a16="http://schemas.microsoft.com/office/drawing/2014/main" id="{02D799BE-5E30-744B-9A9E-73FFDA17A0B8}"/>
              </a:ext>
            </a:extLst>
          </p:cNvPr>
          <p:cNvSpPr>
            <a:spLocks noEditPoints="1"/>
          </p:cNvSpPr>
          <p:nvPr/>
        </p:nvSpPr>
        <p:spPr bwMode="auto">
          <a:xfrm>
            <a:off x="1442612" y="5938838"/>
            <a:ext cx="546100" cy="550863"/>
          </a:xfrm>
          <a:custGeom>
            <a:avLst/>
            <a:gdLst>
              <a:gd name="T0" fmla="*/ 141 w 160"/>
              <a:gd name="T1" fmla="*/ 0 h 160"/>
              <a:gd name="T2" fmla="*/ 133 w 160"/>
              <a:gd name="T3" fmla="*/ 19 h 160"/>
              <a:gd name="T4" fmla="*/ 133 w 160"/>
              <a:gd name="T5" fmla="*/ 134 h 160"/>
              <a:gd name="T6" fmla="*/ 144 w 160"/>
              <a:gd name="T7" fmla="*/ 157 h 160"/>
              <a:gd name="T8" fmla="*/ 149 w 160"/>
              <a:gd name="T9" fmla="*/ 157 h 160"/>
              <a:gd name="T10" fmla="*/ 160 w 160"/>
              <a:gd name="T11" fmla="*/ 134 h 160"/>
              <a:gd name="T12" fmla="*/ 160 w 160"/>
              <a:gd name="T13" fmla="*/ 19 h 160"/>
              <a:gd name="T14" fmla="*/ 152 w 160"/>
              <a:gd name="T15" fmla="*/ 0 h 160"/>
              <a:gd name="T16" fmla="*/ 155 w 160"/>
              <a:gd name="T17" fmla="*/ 24 h 160"/>
              <a:gd name="T18" fmla="*/ 139 w 160"/>
              <a:gd name="T19" fmla="*/ 29 h 160"/>
              <a:gd name="T20" fmla="*/ 147 w 160"/>
              <a:gd name="T21" fmla="*/ 147 h 160"/>
              <a:gd name="T22" fmla="*/ 153 w 160"/>
              <a:gd name="T23" fmla="*/ 136 h 160"/>
              <a:gd name="T24" fmla="*/ 155 w 160"/>
              <a:gd name="T25" fmla="*/ 131 h 160"/>
              <a:gd name="T26" fmla="*/ 139 w 160"/>
              <a:gd name="T27" fmla="*/ 35 h 160"/>
              <a:gd name="T28" fmla="*/ 155 w 160"/>
              <a:gd name="T29" fmla="*/ 131 h 160"/>
              <a:gd name="T30" fmla="*/ 139 w 160"/>
              <a:gd name="T31" fmla="*/ 8 h 160"/>
              <a:gd name="T32" fmla="*/ 152 w 160"/>
              <a:gd name="T33" fmla="*/ 5 h 160"/>
              <a:gd name="T34" fmla="*/ 155 w 160"/>
              <a:gd name="T35" fmla="*/ 19 h 160"/>
              <a:gd name="T36" fmla="*/ 0 w 160"/>
              <a:gd name="T37" fmla="*/ 0 h 160"/>
              <a:gd name="T38" fmla="*/ 27 w 160"/>
              <a:gd name="T39" fmla="*/ 160 h 160"/>
              <a:gd name="T40" fmla="*/ 123 w 160"/>
              <a:gd name="T41" fmla="*/ 0 h 160"/>
              <a:gd name="T42" fmla="*/ 0 w 160"/>
              <a:gd name="T43" fmla="*/ 0 h 160"/>
              <a:gd name="T44" fmla="*/ 5 w 160"/>
              <a:gd name="T45" fmla="*/ 5 h 160"/>
              <a:gd name="T46" fmla="*/ 21 w 160"/>
              <a:gd name="T47" fmla="*/ 155 h 160"/>
              <a:gd name="T48" fmla="*/ 117 w 160"/>
              <a:gd name="T49" fmla="*/ 5 h 160"/>
              <a:gd name="T50" fmla="*/ 27 w 160"/>
              <a:gd name="T51" fmla="*/ 155 h 160"/>
              <a:gd name="T52" fmla="*/ 117 w 160"/>
              <a:gd name="T53" fmla="*/ 5 h 160"/>
              <a:gd name="T54" fmla="*/ 104 w 160"/>
              <a:gd name="T55" fmla="*/ 27 h 160"/>
              <a:gd name="T56" fmla="*/ 40 w 160"/>
              <a:gd name="T57" fmla="*/ 64 h 160"/>
              <a:gd name="T58" fmla="*/ 45 w 160"/>
              <a:gd name="T59" fmla="*/ 32 h 160"/>
              <a:gd name="T60" fmla="*/ 99 w 160"/>
              <a:gd name="T61" fmla="*/ 59 h 160"/>
              <a:gd name="T62" fmla="*/ 45 w 160"/>
              <a:gd name="T63" fmla="*/ 32 h 160"/>
              <a:gd name="T64" fmla="*/ 91 w 160"/>
              <a:gd name="T65" fmla="*/ 37 h 160"/>
              <a:gd name="T66" fmla="*/ 53 w 160"/>
              <a:gd name="T67" fmla="*/ 43 h 160"/>
              <a:gd name="T68" fmla="*/ 53 w 160"/>
              <a:gd name="T69" fmla="*/ 48 h 160"/>
              <a:gd name="T70" fmla="*/ 91 w 160"/>
              <a:gd name="T71" fmla="*/ 53 h 160"/>
              <a:gd name="T72" fmla="*/ 53 w 160"/>
              <a:gd name="T73" fmla="*/ 4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60">
                <a:moveTo>
                  <a:pt x="152" y="0"/>
                </a:moveTo>
                <a:cubicBezTo>
                  <a:pt x="141" y="0"/>
                  <a:pt x="141" y="0"/>
                  <a:pt x="141" y="0"/>
                </a:cubicBezTo>
                <a:cubicBezTo>
                  <a:pt x="137" y="0"/>
                  <a:pt x="133" y="4"/>
                  <a:pt x="133" y="8"/>
                </a:cubicBezTo>
                <a:cubicBezTo>
                  <a:pt x="133" y="19"/>
                  <a:pt x="133" y="19"/>
                  <a:pt x="133" y="19"/>
                </a:cubicBezTo>
                <a:cubicBezTo>
                  <a:pt x="133" y="35"/>
                  <a:pt x="133" y="35"/>
                  <a:pt x="133" y="35"/>
                </a:cubicBezTo>
                <a:cubicBezTo>
                  <a:pt x="133" y="134"/>
                  <a:pt x="133" y="134"/>
                  <a:pt x="133" y="134"/>
                </a:cubicBezTo>
                <a:cubicBezTo>
                  <a:pt x="144" y="153"/>
                  <a:pt x="144" y="153"/>
                  <a:pt x="144" y="153"/>
                </a:cubicBezTo>
                <a:cubicBezTo>
                  <a:pt x="144" y="157"/>
                  <a:pt x="144" y="157"/>
                  <a:pt x="144" y="157"/>
                </a:cubicBezTo>
                <a:cubicBezTo>
                  <a:pt x="144" y="159"/>
                  <a:pt x="145" y="160"/>
                  <a:pt x="147" y="160"/>
                </a:cubicBezTo>
                <a:cubicBezTo>
                  <a:pt x="148" y="160"/>
                  <a:pt x="149" y="159"/>
                  <a:pt x="149" y="157"/>
                </a:cubicBezTo>
                <a:cubicBezTo>
                  <a:pt x="149" y="153"/>
                  <a:pt x="149" y="153"/>
                  <a:pt x="149" y="153"/>
                </a:cubicBezTo>
                <a:cubicBezTo>
                  <a:pt x="160" y="134"/>
                  <a:pt x="160" y="134"/>
                  <a:pt x="160" y="134"/>
                </a:cubicBezTo>
                <a:cubicBezTo>
                  <a:pt x="160" y="35"/>
                  <a:pt x="160" y="35"/>
                  <a:pt x="160" y="35"/>
                </a:cubicBezTo>
                <a:cubicBezTo>
                  <a:pt x="160" y="19"/>
                  <a:pt x="160" y="19"/>
                  <a:pt x="160" y="19"/>
                </a:cubicBezTo>
                <a:cubicBezTo>
                  <a:pt x="160" y="8"/>
                  <a:pt x="160" y="8"/>
                  <a:pt x="160" y="8"/>
                </a:cubicBezTo>
                <a:cubicBezTo>
                  <a:pt x="160" y="4"/>
                  <a:pt x="156" y="0"/>
                  <a:pt x="152" y="0"/>
                </a:cubicBezTo>
                <a:close/>
                <a:moveTo>
                  <a:pt x="139" y="24"/>
                </a:moveTo>
                <a:cubicBezTo>
                  <a:pt x="155" y="24"/>
                  <a:pt x="155" y="24"/>
                  <a:pt x="155" y="24"/>
                </a:cubicBezTo>
                <a:cubicBezTo>
                  <a:pt x="155" y="29"/>
                  <a:pt x="155" y="29"/>
                  <a:pt x="155" y="29"/>
                </a:cubicBezTo>
                <a:cubicBezTo>
                  <a:pt x="139" y="29"/>
                  <a:pt x="139" y="29"/>
                  <a:pt x="139" y="29"/>
                </a:cubicBezTo>
                <a:lnTo>
                  <a:pt x="139" y="24"/>
                </a:lnTo>
                <a:close/>
                <a:moveTo>
                  <a:pt x="147" y="147"/>
                </a:moveTo>
                <a:cubicBezTo>
                  <a:pt x="141" y="136"/>
                  <a:pt x="141" y="136"/>
                  <a:pt x="141" y="136"/>
                </a:cubicBezTo>
                <a:cubicBezTo>
                  <a:pt x="153" y="136"/>
                  <a:pt x="153" y="136"/>
                  <a:pt x="153" y="136"/>
                </a:cubicBezTo>
                <a:lnTo>
                  <a:pt x="147" y="147"/>
                </a:lnTo>
                <a:close/>
                <a:moveTo>
                  <a:pt x="155" y="131"/>
                </a:moveTo>
                <a:cubicBezTo>
                  <a:pt x="139" y="131"/>
                  <a:pt x="139" y="131"/>
                  <a:pt x="139" y="131"/>
                </a:cubicBezTo>
                <a:cubicBezTo>
                  <a:pt x="139" y="35"/>
                  <a:pt x="139" y="35"/>
                  <a:pt x="139" y="35"/>
                </a:cubicBezTo>
                <a:cubicBezTo>
                  <a:pt x="155" y="35"/>
                  <a:pt x="155" y="35"/>
                  <a:pt x="155" y="35"/>
                </a:cubicBezTo>
                <a:lnTo>
                  <a:pt x="155" y="131"/>
                </a:lnTo>
                <a:close/>
                <a:moveTo>
                  <a:pt x="139" y="19"/>
                </a:moveTo>
                <a:cubicBezTo>
                  <a:pt x="139" y="8"/>
                  <a:pt x="139" y="8"/>
                  <a:pt x="139" y="8"/>
                </a:cubicBezTo>
                <a:cubicBezTo>
                  <a:pt x="139" y="7"/>
                  <a:pt x="140" y="5"/>
                  <a:pt x="141" y="5"/>
                </a:cubicBezTo>
                <a:cubicBezTo>
                  <a:pt x="152" y="5"/>
                  <a:pt x="152" y="5"/>
                  <a:pt x="152" y="5"/>
                </a:cubicBezTo>
                <a:cubicBezTo>
                  <a:pt x="153" y="5"/>
                  <a:pt x="155" y="7"/>
                  <a:pt x="155" y="8"/>
                </a:cubicBezTo>
                <a:cubicBezTo>
                  <a:pt x="155" y="19"/>
                  <a:pt x="155" y="19"/>
                  <a:pt x="155" y="19"/>
                </a:cubicBezTo>
                <a:lnTo>
                  <a:pt x="139" y="19"/>
                </a:lnTo>
                <a:close/>
                <a:moveTo>
                  <a:pt x="0" y="0"/>
                </a:moveTo>
                <a:cubicBezTo>
                  <a:pt x="0" y="160"/>
                  <a:pt x="0" y="160"/>
                  <a:pt x="0" y="160"/>
                </a:cubicBezTo>
                <a:cubicBezTo>
                  <a:pt x="27" y="160"/>
                  <a:pt x="27" y="160"/>
                  <a:pt x="27" y="160"/>
                </a:cubicBezTo>
                <a:cubicBezTo>
                  <a:pt x="123" y="160"/>
                  <a:pt x="123" y="160"/>
                  <a:pt x="123" y="160"/>
                </a:cubicBezTo>
                <a:cubicBezTo>
                  <a:pt x="123" y="0"/>
                  <a:pt x="123" y="0"/>
                  <a:pt x="123" y="0"/>
                </a:cubicBezTo>
                <a:cubicBezTo>
                  <a:pt x="27" y="0"/>
                  <a:pt x="27" y="0"/>
                  <a:pt x="27" y="0"/>
                </a:cubicBezTo>
                <a:lnTo>
                  <a:pt x="0" y="0"/>
                </a:lnTo>
                <a:close/>
                <a:moveTo>
                  <a:pt x="5" y="155"/>
                </a:moveTo>
                <a:cubicBezTo>
                  <a:pt x="5" y="5"/>
                  <a:pt x="5" y="5"/>
                  <a:pt x="5" y="5"/>
                </a:cubicBezTo>
                <a:cubicBezTo>
                  <a:pt x="21" y="5"/>
                  <a:pt x="21" y="5"/>
                  <a:pt x="21" y="5"/>
                </a:cubicBezTo>
                <a:cubicBezTo>
                  <a:pt x="21" y="155"/>
                  <a:pt x="21" y="155"/>
                  <a:pt x="21" y="155"/>
                </a:cubicBezTo>
                <a:lnTo>
                  <a:pt x="5" y="155"/>
                </a:lnTo>
                <a:close/>
                <a:moveTo>
                  <a:pt x="117" y="5"/>
                </a:moveTo>
                <a:cubicBezTo>
                  <a:pt x="117" y="155"/>
                  <a:pt x="117" y="155"/>
                  <a:pt x="117" y="155"/>
                </a:cubicBezTo>
                <a:cubicBezTo>
                  <a:pt x="27" y="155"/>
                  <a:pt x="27" y="155"/>
                  <a:pt x="27" y="155"/>
                </a:cubicBezTo>
                <a:cubicBezTo>
                  <a:pt x="27" y="5"/>
                  <a:pt x="27" y="5"/>
                  <a:pt x="27" y="5"/>
                </a:cubicBezTo>
                <a:lnTo>
                  <a:pt x="117" y="5"/>
                </a:lnTo>
                <a:close/>
                <a:moveTo>
                  <a:pt x="104" y="64"/>
                </a:moveTo>
                <a:cubicBezTo>
                  <a:pt x="104" y="27"/>
                  <a:pt x="104" y="27"/>
                  <a:pt x="104" y="27"/>
                </a:cubicBezTo>
                <a:cubicBezTo>
                  <a:pt x="40" y="27"/>
                  <a:pt x="40" y="27"/>
                  <a:pt x="40" y="27"/>
                </a:cubicBezTo>
                <a:cubicBezTo>
                  <a:pt x="40" y="64"/>
                  <a:pt x="40" y="64"/>
                  <a:pt x="40" y="64"/>
                </a:cubicBezTo>
                <a:lnTo>
                  <a:pt x="104" y="64"/>
                </a:lnTo>
                <a:close/>
                <a:moveTo>
                  <a:pt x="45" y="32"/>
                </a:moveTo>
                <a:cubicBezTo>
                  <a:pt x="99" y="32"/>
                  <a:pt x="99" y="32"/>
                  <a:pt x="99" y="32"/>
                </a:cubicBezTo>
                <a:cubicBezTo>
                  <a:pt x="99" y="59"/>
                  <a:pt x="99" y="59"/>
                  <a:pt x="99" y="59"/>
                </a:cubicBezTo>
                <a:cubicBezTo>
                  <a:pt x="45" y="59"/>
                  <a:pt x="45" y="59"/>
                  <a:pt x="45" y="59"/>
                </a:cubicBezTo>
                <a:lnTo>
                  <a:pt x="45" y="32"/>
                </a:lnTo>
                <a:close/>
                <a:moveTo>
                  <a:pt x="53" y="37"/>
                </a:moveTo>
                <a:cubicBezTo>
                  <a:pt x="91" y="37"/>
                  <a:pt x="91" y="37"/>
                  <a:pt x="91" y="37"/>
                </a:cubicBezTo>
                <a:cubicBezTo>
                  <a:pt x="91" y="43"/>
                  <a:pt x="91" y="43"/>
                  <a:pt x="91" y="43"/>
                </a:cubicBezTo>
                <a:cubicBezTo>
                  <a:pt x="53" y="43"/>
                  <a:pt x="53" y="43"/>
                  <a:pt x="53" y="43"/>
                </a:cubicBezTo>
                <a:lnTo>
                  <a:pt x="53" y="37"/>
                </a:lnTo>
                <a:close/>
                <a:moveTo>
                  <a:pt x="53" y="48"/>
                </a:moveTo>
                <a:cubicBezTo>
                  <a:pt x="91" y="48"/>
                  <a:pt x="91" y="48"/>
                  <a:pt x="91" y="48"/>
                </a:cubicBezTo>
                <a:cubicBezTo>
                  <a:pt x="91" y="53"/>
                  <a:pt x="91" y="53"/>
                  <a:pt x="91" y="53"/>
                </a:cubicBezTo>
                <a:cubicBezTo>
                  <a:pt x="53" y="53"/>
                  <a:pt x="53" y="53"/>
                  <a:pt x="53" y="53"/>
                </a:cubicBezTo>
                <a:lnTo>
                  <a:pt x="53" y="4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03" name="Freeform 1305">
            <a:extLst>
              <a:ext uri="{FF2B5EF4-FFF2-40B4-BE49-F238E27FC236}">
                <a16:creationId xmlns:a16="http://schemas.microsoft.com/office/drawing/2014/main" id="{D1999764-9C36-A640-BCAB-D1295A6BDC0C}"/>
              </a:ext>
            </a:extLst>
          </p:cNvPr>
          <p:cNvSpPr>
            <a:spLocks noEditPoints="1"/>
          </p:cNvSpPr>
          <p:nvPr/>
        </p:nvSpPr>
        <p:spPr bwMode="auto">
          <a:xfrm>
            <a:off x="2466550" y="365125"/>
            <a:ext cx="420688" cy="550863"/>
          </a:xfrm>
          <a:custGeom>
            <a:avLst/>
            <a:gdLst>
              <a:gd name="T0" fmla="*/ 58 w 265"/>
              <a:gd name="T1" fmla="*/ 0 h 347"/>
              <a:gd name="T2" fmla="*/ 0 w 265"/>
              <a:gd name="T3" fmla="*/ 0 h 347"/>
              <a:gd name="T4" fmla="*/ 0 w 265"/>
              <a:gd name="T5" fmla="*/ 347 h 347"/>
              <a:gd name="T6" fmla="*/ 58 w 265"/>
              <a:gd name="T7" fmla="*/ 347 h 347"/>
              <a:gd name="T8" fmla="*/ 265 w 265"/>
              <a:gd name="T9" fmla="*/ 347 h 347"/>
              <a:gd name="T10" fmla="*/ 265 w 265"/>
              <a:gd name="T11" fmla="*/ 0 h 347"/>
              <a:gd name="T12" fmla="*/ 58 w 265"/>
              <a:gd name="T13" fmla="*/ 0 h 347"/>
              <a:gd name="T14" fmla="*/ 11 w 265"/>
              <a:gd name="T15" fmla="*/ 336 h 347"/>
              <a:gd name="T16" fmla="*/ 11 w 265"/>
              <a:gd name="T17" fmla="*/ 11 h 347"/>
              <a:gd name="T18" fmla="*/ 45 w 265"/>
              <a:gd name="T19" fmla="*/ 11 h 347"/>
              <a:gd name="T20" fmla="*/ 45 w 265"/>
              <a:gd name="T21" fmla="*/ 336 h 347"/>
              <a:gd name="T22" fmla="*/ 11 w 265"/>
              <a:gd name="T23" fmla="*/ 336 h 347"/>
              <a:gd name="T24" fmla="*/ 252 w 265"/>
              <a:gd name="T25" fmla="*/ 336 h 347"/>
              <a:gd name="T26" fmla="*/ 58 w 265"/>
              <a:gd name="T27" fmla="*/ 336 h 347"/>
              <a:gd name="T28" fmla="*/ 58 w 265"/>
              <a:gd name="T29" fmla="*/ 11 h 347"/>
              <a:gd name="T30" fmla="*/ 252 w 265"/>
              <a:gd name="T31" fmla="*/ 11 h 347"/>
              <a:gd name="T32" fmla="*/ 252 w 265"/>
              <a:gd name="T33" fmla="*/ 336 h 347"/>
              <a:gd name="T34" fmla="*/ 224 w 265"/>
              <a:gd name="T35" fmla="*/ 139 h 347"/>
              <a:gd name="T36" fmla="*/ 224 w 265"/>
              <a:gd name="T37" fmla="*/ 58 h 347"/>
              <a:gd name="T38" fmla="*/ 86 w 265"/>
              <a:gd name="T39" fmla="*/ 58 h 347"/>
              <a:gd name="T40" fmla="*/ 86 w 265"/>
              <a:gd name="T41" fmla="*/ 139 h 347"/>
              <a:gd name="T42" fmla="*/ 224 w 265"/>
              <a:gd name="T43" fmla="*/ 139 h 347"/>
              <a:gd name="T44" fmla="*/ 97 w 265"/>
              <a:gd name="T45" fmla="*/ 69 h 347"/>
              <a:gd name="T46" fmla="*/ 213 w 265"/>
              <a:gd name="T47" fmla="*/ 69 h 347"/>
              <a:gd name="T48" fmla="*/ 213 w 265"/>
              <a:gd name="T49" fmla="*/ 128 h 347"/>
              <a:gd name="T50" fmla="*/ 97 w 265"/>
              <a:gd name="T51" fmla="*/ 128 h 347"/>
              <a:gd name="T52" fmla="*/ 97 w 265"/>
              <a:gd name="T53" fmla="*/ 69 h 347"/>
              <a:gd name="T54" fmla="*/ 114 w 265"/>
              <a:gd name="T55" fmla="*/ 80 h 347"/>
              <a:gd name="T56" fmla="*/ 196 w 265"/>
              <a:gd name="T57" fmla="*/ 80 h 347"/>
              <a:gd name="T58" fmla="*/ 196 w 265"/>
              <a:gd name="T59" fmla="*/ 93 h 347"/>
              <a:gd name="T60" fmla="*/ 114 w 265"/>
              <a:gd name="T61" fmla="*/ 93 h 347"/>
              <a:gd name="T62" fmla="*/ 114 w 265"/>
              <a:gd name="T63" fmla="*/ 80 h 347"/>
              <a:gd name="T64" fmla="*/ 114 w 265"/>
              <a:gd name="T65" fmla="*/ 104 h 347"/>
              <a:gd name="T66" fmla="*/ 196 w 265"/>
              <a:gd name="T67" fmla="*/ 104 h 347"/>
              <a:gd name="T68" fmla="*/ 196 w 265"/>
              <a:gd name="T69" fmla="*/ 115 h 347"/>
              <a:gd name="T70" fmla="*/ 114 w 265"/>
              <a:gd name="T71" fmla="*/ 115 h 347"/>
              <a:gd name="T72" fmla="*/ 114 w 265"/>
              <a:gd name="T73"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47">
                <a:moveTo>
                  <a:pt x="58" y="0"/>
                </a:moveTo>
                <a:lnTo>
                  <a:pt x="0" y="0"/>
                </a:lnTo>
                <a:lnTo>
                  <a:pt x="0" y="347"/>
                </a:lnTo>
                <a:lnTo>
                  <a:pt x="58" y="347"/>
                </a:lnTo>
                <a:lnTo>
                  <a:pt x="265" y="347"/>
                </a:lnTo>
                <a:lnTo>
                  <a:pt x="265" y="0"/>
                </a:lnTo>
                <a:lnTo>
                  <a:pt x="58" y="0"/>
                </a:lnTo>
                <a:close/>
                <a:moveTo>
                  <a:pt x="11" y="336"/>
                </a:moveTo>
                <a:lnTo>
                  <a:pt x="11" y="11"/>
                </a:lnTo>
                <a:lnTo>
                  <a:pt x="45" y="11"/>
                </a:lnTo>
                <a:lnTo>
                  <a:pt x="45" y="336"/>
                </a:lnTo>
                <a:lnTo>
                  <a:pt x="11" y="336"/>
                </a:lnTo>
                <a:close/>
                <a:moveTo>
                  <a:pt x="252" y="336"/>
                </a:moveTo>
                <a:lnTo>
                  <a:pt x="58" y="336"/>
                </a:lnTo>
                <a:lnTo>
                  <a:pt x="58" y="11"/>
                </a:lnTo>
                <a:lnTo>
                  <a:pt x="252" y="11"/>
                </a:lnTo>
                <a:lnTo>
                  <a:pt x="252" y="336"/>
                </a:lnTo>
                <a:close/>
                <a:moveTo>
                  <a:pt x="224" y="139"/>
                </a:moveTo>
                <a:lnTo>
                  <a:pt x="224" y="58"/>
                </a:lnTo>
                <a:lnTo>
                  <a:pt x="86" y="58"/>
                </a:lnTo>
                <a:lnTo>
                  <a:pt x="86" y="139"/>
                </a:lnTo>
                <a:lnTo>
                  <a:pt x="224" y="139"/>
                </a:lnTo>
                <a:close/>
                <a:moveTo>
                  <a:pt x="97" y="69"/>
                </a:moveTo>
                <a:lnTo>
                  <a:pt x="213" y="69"/>
                </a:lnTo>
                <a:lnTo>
                  <a:pt x="213" y="128"/>
                </a:lnTo>
                <a:lnTo>
                  <a:pt x="97" y="128"/>
                </a:lnTo>
                <a:lnTo>
                  <a:pt x="97" y="69"/>
                </a:lnTo>
                <a:close/>
                <a:moveTo>
                  <a:pt x="114" y="80"/>
                </a:moveTo>
                <a:lnTo>
                  <a:pt x="196" y="80"/>
                </a:lnTo>
                <a:lnTo>
                  <a:pt x="196" y="93"/>
                </a:lnTo>
                <a:lnTo>
                  <a:pt x="114" y="93"/>
                </a:lnTo>
                <a:lnTo>
                  <a:pt x="114" y="80"/>
                </a:lnTo>
                <a:close/>
                <a:moveTo>
                  <a:pt x="114" y="104"/>
                </a:moveTo>
                <a:lnTo>
                  <a:pt x="196" y="104"/>
                </a:lnTo>
                <a:lnTo>
                  <a:pt x="196" y="115"/>
                </a:lnTo>
                <a:lnTo>
                  <a:pt x="114" y="115"/>
                </a:lnTo>
                <a:lnTo>
                  <a:pt x="114" y="10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04" name="Freeform 1306">
            <a:extLst>
              <a:ext uri="{FF2B5EF4-FFF2-40B4-BE49-F238E27FC236}">
                <a16:creationId xmlns:a16="http://schemas.microsoft.com/office/drawing/2014/main" id="{4E496A6D-AB15-5142-8619-4F3180BF3579}"/>
              </a:ext>
            </a:extLst>
          </p:cNvPr>
          <p:cNvSpPr>
            <a:spLocks noEditPoints="1"/>
          </p:cNvSpPr>
          <p:nvPr/>
        </p:nvSpPr>
        <p:spPr bwMode="auto">
          <a:xfrm>
            <a:off x="2412575" y="984250"/>
            <a:ext cx="508000" cy="550863"/>
          </a:xfrm>
          <a:custGeom>
            <a:avLst/>
            <a:gdLst>
              <a:gd name="T0" fmla="*/ 14 w 149"/>
              <a:gd name="T1" fmla="*/ 102 h 160"/>
              <a:gd name="T2" fmla="*/ 25 w 149"/>
              <a:gd name="T3" fmla="*/ 119 h 160"/>
              <a:gd name="T4" fmla="*/ 14 w 149"/>
              <a:gd name="T5" fmla="*/ 108 h 160"/>
              <a:gd name="T6" fmla="*/ 3 w 149"/>
              <a:gd name="T7" fmla="*/ 119 h 160"/>
              <a:gd name="T8" fmla="*/ 3 w 149"/>
              <a:gd name="T9" fmla="*/ 102 h 160"/>
              <a:gd name="T10" fmla="*/ 14 w 149"/>
              <a:gd name="T11" fmla="*/ 91 h 160"/>
              <a:gd name="T12" fmla="*/ 25 w 149"/>
              <a:gd name="T13" fmla="*/ 102 h 160"/>
              <a:gd name="T14" fmla="*/ 14 w 149"/>
              <a:gd name="T15" fmla="*/ 86 h 160"/>
              <a:gd name="T16" fmla="*/ 3 w 149"/>
              <a:gd name="T17" fmla="*/ 102 h 160"/>
              <a:gd name="T18" fmla="*/ 6 w 149"/>
              <a:gd name="T19" fmla="*/ 83 h 160"/>
              <a:gd name="T20" fmla="*/ 22 w 149"/>
              <a:gd name="T21" fmla="*/ 83 h 160"/>
              <a:gd name="T22" fmla="*/ 28 w 149"/>
              <a:gd name="T23" fmla="*/ 83 h 160"/>
              <a:gd name="T24" fmla="*/ 0 w 149"/>
              <a:gd name="T25" fmla="*/ 83 h 160"/>
              <a:gd name="T26" fmla="*/ 3 w 149"/>
              <a:gd name="T27" fmla="*/ 69 h 160"/>
              <a:gd name="T28" fmla="*/ 14 w 149"/>
              <a:gd name="T29" fmla="*/ 58 h 160"/>
              <a:gd name="T30" fmla="*/ 25 w 149"/>
              <a:gd name="T31" fmla="*/ 69 h 160"/>
              <a:gd name="T32" fmla="*/ 14 w 149"/>
              <a:gd name="T33" fmla="*/ 52 h 160"/>
              <a:gd name="T34" fmla="*/ 3 w 149"/>
              <a:gd name="T35" fmla="*/ 69 h 160"/>
              <a:gd name="T36" fmla="*/ 14 w 149"/>
              <a:gd name="T37" fmla="*/ 41 h 160"/>
              <a:gd name="T38" fmla="*/ 25 w 149"/>
              <a:gd name="T39" fmla="*/ 52 h 160"/>
              <a:gd name="T40" fmla="*/ 14 w 149"/>
              <a:gd name="T41" fmla="*/ 36 h 160"/>
              <a:gd name="T42" fmla="*/ 3 w 149"/>
              <a:gd name="T43" fmla="*/ 52 h 160"/>
              <a:gd name="T44" fmla="*/ 149 w 149"/>
              <a:gd name="T45" fmla="*/ 11 h 160"/>
              <a:gd name="T46" fmla="*/ 138 w 149"/>
              <a:gd name="T47" fmla="*/ 160 h 160"/>
              <a:gd name="T48" fmla="*/ 113 w 149"/>
              <a:gd name="T49" fmla="*/ 160 h 160"/>
              <a:gd name="T50" fmla="*/ 41 w 149"/>
              <a:gd name="T51" fmla="*/ 160 h 160"/>
              <a:gd name="T52" fmla="*/ 11 w 149"/>
              <a:gd name="T53" fmla="*/ 146 h 160"/>
              <a:gd name="T54" fmla="*/ 14 w 149"/>
              <a:gd name="T55" fmla="*/ 119 h 160"/>
              <a:gd name="T56" fmla="*/ 25 w 149"/>
              <a:gd name="T57" fmla="*/ 135 h 160"/>
              <a:gd name="T58" fmla="*/ 14 w 149"/>
              <a:gd name="T59" fmla="*/ 124 h 160"/>
              <a:gd name="T60" fmla="*/ 11 w 149"/>
              <a:gd name="T61" fmla="*/ 140 h 160"/>
              <a:gd name="T62" fmla="*/ 14 w 149"/>
              <a:gd name="T63" fmla="*/ 132 h 160"/>
              <a:gd name="T64" fmla="*/ 17 w 149"/>
              <a:gd name="T65" fmla="*/ 143 h 160"/>
              <a:gd name="T66" fmla="*/ 41 w 149"/>
              <a:gd name="T67" fmla="*/ 154 h 160"/>
              <a:gd name="T68" fmla="*/ 17 w 149"/>
              <a:gd name="T69" fmla="*/ 6 h 160"/>
              <a:gd name="T70" fmla="*/ 28 w 149"/>
              <a:gd name="T71" fmla="*/ 33 h 160"/>
              <a:gd name="T72" fmla="*/ 22 w 149"/>
              <a:gd name="T73" fmla="*/ 33 h 160"/>
              <a:gd name="T74" fmla="*/ 6 w 149"/>
              <a:gd name="T75" fmla="*/ 33 h 160"/>
              <a:gd name="T76" fmla="*/ 0 w 149"/>
              <a:gd name="T77" fmla="*/ 33 h 160"/>
              <a:gd name="T78" fmla="*/ 11 w 149"/>
              <a:gd name="T79" fmla="*/ 0 h 160"/>
              <a:gd name="T80" fmla="*/ 47 w 149"/>
              <a:gd name="T81" fmla="*/ 0 h 160"/>
              <a:gd name="T82" fmla="*/ 132 w 149"/>
              <a:gd name="T83" fmla="*/ 0 h 160"/>
              <a:gd name="T84" fmla="*/ 149 w 149"/>
              <a:gd name="T85" fmla="*/ 11 h 160"/>
              <a:gd name="T86" fmla="*/ 113 w 149"/>
              <a:gd name="T87" fmla="*/ 6 h 160"/>
              <a:gd name="T88" fmla="*/ 47 w 149"/>
              <a:gd name="T89" fmla="*/ 154 h 160"/>
              <a:gd name="T90" fmla="*/ 127 w 149"/>
              <a:gd name="T91" fmla="*/ 154 h 160"/>
              <a:gd name="T92" fmla="*/ 119 w 149"/>
              <a:gd name="T93" fmla="*/ 6 h 160"/>
              <a:gd name="T94" fmla="*/ 127 w 149"/>
              <a:gd name="T95" fmla="*/ 154 h 160"/>
              <a:gd name="T96" fmla="*/ 138 w 149"/>
              <a:gd name="T97" fmla="*/ 6 h 160"/>
              <a:gd name="T98" fmla="*/ 132 w 149"/>
              <a:gd name="T99" fmla="*/ 154 h 160"/>
              <a:gd name="T100" fmla="*/ 143 w 149"/>
              <a:gd name="T101"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 h="160">
                <a:moveTo>
                  <a:pt x="0" y="116"/>
                </a:moveTo>
                <a:cubicBezTo>
                  <a:pt x="0" y="108"/>
                  <a:pt x="6" y="102"/>
                  <a:pt x="14" y="102"/>
                </a:cubicBezTo>
                <a:cubicBezTo>
                  <a:pt x="21" y="102"/>
                  <a:pt x="28" y="108"/>
                  <a:pt x="28" y="116"/>
                </a:cubicBezTo>
                <a:cubicBezTo>
                  <a:pt x="28" y="117"/>
                  <a:pt x="26" y="119"/>
                  <a:pt x="25" y="119"/>
                </a:cubicBezTo>
                <a:cubicBezTo>
                  <a:pt x="23" y="119"/>
                  <a:pt x="22" y="117"/>
                  <a:pt x="22" y="116"/>
                </a:cubicBezTo>
                <a:cubicBezTo>
                  <a:pt x="22" y="111"/>
                  <a:pt x="18" y="108"/>
                  <a:pt x="14" y="108"/>
                </a:cubicBezTo>
                <a:cubicBezTo>
                  <a:pt x="9" y="108"/>
                  <a:pt x="6" y="111"/>
                  <a:pt x="6" y="116"/>
                </a:cubicBezTo>
                <a:cubicBezTo>
                  <a:pt x="6" y="117"/>
                  <a:pt x="4" y="119"/>
                  <a:pt x="3" y="119"/>
                </a:cubicBezTo>
                <a:cubicBezTo>
                  <a:pt x="1" y="119"/>
                  <a:pt x="0" y="117"/>
                  <a:pt x="0" y="116"/>
                </a:cubicBezTo>
                <a:close/>
                <a:moveTo>
                  <a:pt x="3" y="102"/>
                </a:moveTo>
                <a:cubicBezTo>
                  <a:pt x="4" y="102"/>
                  <a:pt x="6" y="101"/>
                  <a:pt x="6" y="99"/>
                </a:cubicBezTo>
                <a:cubicBezTo>
                  <a:pt x="6" y="95"/>
                  <a:pt x="9" y="91"/>
                  <a:pt x="14" y="91"/>
                </a:cubicBezTo>
                <a:cubicBezTo>
                  <a:pt x="18" y="91"/>
                  <a:pt x="22" y="95"/>
                  <a:pt x="22" y="99"/>
                </a:cubicBezTo>
                <a:cubicBezTo>
                  <a:pt x="22" y="101"/>
                  <a:pt x="23" y="102"/>
                  <a:pt x="25" y="102"/>
                </a:cubicBezTo>
                <a:cubicBezTo>
                  <a:pt x="26" y="102"/>
                  <a:pt x="28" y="101"/>
                  <a:pt x="28" y="99"/>
                </a:cubicBezTo>
                <a:cubicBezTo>
                  <a:pt x="28" y="92"/>
                  <a:pt x="21" y="86"/>
                  <a:pt x="14" y="86"/>
                </a:cubicBezTo>
                <a:cubicBezTo>
                  <a:pt x="6" y="86"/>
                  <a:pt x="0" y="92"/>
                  <a:pt x="0" y="99"/>
                </a:cubicBezTo>
                <a:cubicBezTo>
                  <a:pt x="0" y="101"/>
                  <a:pt x="1" y="102"/>
                  <a:pt x="3" y="102"/>
                </a:cubicBezTo>
                <a:close/>
                <a:moveTo>
                  <a:pt x="3" y="86"/>
                </a:moveTo>
                <a:cubicBezTo>
                  <a:pt x="4" y="86"/>
                  <a:pt x="6" y="84"/>
                  <a:pt x="6" y="83"/>
                </a:cubicBezTo>
                <a:cubicBezTo>
                  <a:pt x="6" y="78"/>
                  <a:pt x="9" y="74"/>
                  <a:pt x="14" y="74"/>
                </a:cubicBezTo>
                <a:cubicBezTo>
                  <a:pt x="18" y="74"/>
                  <a:pt x="22" y="78"/>
                  <a:pt x="22" y="83"/>
                </a:cubicBezTo>
                <a:cubicBezTo>
                  <a:pt x="22" y="84"/>
                  <a:pt x="23" y="86"/>
                  <a:pt x="25" y="86"/>
                </a:cubicBezTo>
                <a:cubicBezTo>
                  <a:pt x="26" y="86"/>
                  <a:pt x="28" y="84"/>
                  <a:pt x="28" y="83"/>
                </a:cubicBezTo>
                <a:cubicBezTo>
                  <a:pt x="28" y="75"/>
                  <a:pt x="21" y="69"/>
                  <a:pt x="14" y="69"/>
                </a:cubicBezTo>
                <a:cubicBezTo>
                  <a:pt x="6" y="69"/>
                  <a:pt x="0" y="75"/>
                  <a:pt x="0" y="83"/>
                </a:cubicBezTo>
                <a:cubicBezTo>
                  <a:pt x="0" y="84"/>
                  <a:pt x="1" y="86"/>
                  <a:pt x="3" y="86"/>
                </a:cubicBezTo>
                <a:close/>
                <a:moveTo>
                  <a:pt x="3" y="69"/>
                </a:moveTo>
                <a:cubicBezTo>
                  <a:pt x="4" y="69"/>
                  <a:pt x="6" y="68"/>
                  <a:pt x="6" y="66"/>
                </a:cubicBezTo>
                <a:cubicBezTo>
                  <a:pt x="6" y="62"/>
                  <a:pt x="9" y="58"/>
                  <a:pt x="14" y="58"/>
                </a:cubicBezTo>
                <a:cubicBezTo>
                  <a:pt x="18" y="58"/>
                  <a:pt x="22" y="62"/>
                  <a:pt x="22" y="66"/>
                </a:cubicBezTo>
                <a:cubicBezTo>
                  <a:pt x="22" y="68"/>
                  <a:pt x="23" y="69"/>
                  <a:pt x="25" y="69"/>
                </a:cubicBezTo>
                <a:cubicBezTo>
                  <a:pt x="26" y="69"/>
                  <a:pt x="28" y="68"/>
                  <a:pt x="28" y="66"/>
                </a:cubicBezTo>
                <a:cubicBezTo>
                  <a:pt x="28" y="59"/>
                  <a:pt x="21" y="52"/>
                  <a:pt x="14" y="52"/>
                </a:cubicBezTo>
                <a:cubicBezTo>
                  <a:pt x="6" y="52"/>
                  <a:pt x="0" y="59"/>
                  <a:pt x="0" y="66"/>
                </a:cubicBezTo>
                <a:cubicBezTo>
                  <a:pt x="0" y="68"/>
                  <a:pt x="1" y="69"/>
                  <a:pt x="3" y="69"/>
                </a:cubicBezTo>
                <a:close/>
                <a:moveTo>
                  <a:pt x="6" y="50"/>
                </a:moveTo>
                <a:cubicBezTo>
                  <a:pt x="6" y="45"/>
                  <a:pt x="9" y="41"/>
                  <a:pt x="14" y="41"/>
                </a:cubicBezTo>
                <a:cubicBezTo>
                  <a:pt x="18" y="41"/>
                  <a:pt x="22" y="45"/>
                  <a:pt x="22" y="50"/>
                </a:cubicBezTo>
                <a:cubicBezTo>
                  <a:pt x="22" y="51"/>
                  <a:pt x="23" y="52"/>
                  <a:pt x="25" y="52"/>
                </a:cubicBezTo>
                <a:cubicBezTo>
                  <a:pt x="26" y="52"/>
                  <a:pt x="28" y="51"/>
                  <a:pt x="28" y="50"/>
                </a:cubicBezTo>
                <a:cubicBezTo>
                  <a:pt x="28" y="42"/>
                  <a:pt x="21" y="36"/>
                  <a:pt x="14" y="36"/>
                </a:cubicBezTo>
                <a:cubicBezTo>
                  <a:pt x="6" y="36"/>
                  <a:pt x="0" y="42"/>
                  <a:pt x="0" y="50"/>
                </a:cubicBezTo>
                <a:cubicBezTo>
                  <a:pt x="0" y="51"/>
                  <a:pt x="1" y="52"/>
                  <a:pt x="3" y="52"/>
                </a:cubicBezTo>
                <a:cubicBezTo>
                  <a:pt x="4" y="52"/>
                  <a:pt x="6" y="51"/>
                  <a:pt x="6" y="50"/>
                </a:cubicBezTo>
                <a:close/>
                <a:moveTo>
                  <a:pt x="149" y="11"/>
                </a:moveTo>
                <a:cubicBezTo>
                  <a:pt x="149" y="149"/>
                  <a:pt x="149" y="149"/>
                  <a:pt x="149" y="149"/>
                </a:cubicBezTo>
                <a:cubicBezTo>
                  <a:pt x="149" y="155"/>
                  <a:pt x="144" y="160"/>
                  <a:pt x="138" y="160"/>
                </a:cubicBezTo>
                <a:cubicBezTo>
                  <a:pt x="132" y="160"/>
                  <a:pt x="132" y="160"/>
                  <a:pt x="132" y="160"/>
                </a:cubicBezTo>
                <a:cubicBezTo>
                  <a:pt x="113" y="160"/>
                  <a:pt x="113" y="160"/>
                  <a:pt x="113" y="160"/>
                </a:cubicBezTo>
                <a:cubicBezTo>
                  <a:pt x="47" y="160"/>
                  <a:pt x="47" y="160"/>
                  <a:pt x="47" y="160"/>
                </a:cubicBezTo>
                <a:cubicBezTo>
                  <a:pt x="41" y="160"/>
                  <a:pt x="41" y="160"/>
                  <a:pt x="41" y="160"/>
                </a:cubicBezTo>
                <a:cubicBezTo>
                  <a:pt x="11" y="160"/>
                  <a:pt x="11" y="160"/>
                  <a:pt x="11" y="160"/>
                </a:cubicBezTo>
                <a:cubicBezTo>
                  <a:pt x="11" y="146"/>
                  <a:pt x="11" y="146"/>
                  <a:pt x="11" y="146"/>
                </a:cubicBezTo>
                <a:cubicBezTo>
                  <a:pt x="5" y="145"/>
                  <a:pt x="0" y="139"/>
                  <a:pt x="0" y="132"/>
                </a:cubicBezTo>
                <a:cubicBezTo>
                  <a:pt x="0" y="125"/>
                  <a:pt x="6" y="119"/>
                  <a:pt x="14" y="119"/>
                </a:cubicBezTo>
                <a:cubicBezTo>
                  <a:pt x="21" y="119"/>
                  <a:pt x="28" y="125"/>
                  <a:pt x="28" y="132"/>
                </a:cubicBezTo>
                <a:cubicBezTo>
                  <a:pt x="28" y="134"/>
                  <a:pt x="26" y="135"/>
                  <a:pt x="25" y="135"/>
                </a:cubicBezTo>
                <a:cubicBezTo>
                  <a:pt x="23" y="135"/>
                  <a:pt x="22" y="134"/>
                  <a:pt x="22" y="132"/>
                </a:cubicBezTo>
                <a:cubicBezTo>
                  <a:pt x="22" y="128"/>
                  <a:pt x="18" y="124"/>
                  <a:pt x="14" y="124"/>
                </a:cubicBezTo>
                <a:cubicBezTo>
                  <a:pt x="9" y="124"/>
                  <a:pt x="6" y="128"/>
                  <a:pt x="6" y="132"/>
                </a:cubicBezTo>
                <a:cubicBezTo>
                  <a:pt x="6" y="136"/>
                  <a:pt x="8" y="139"/>
                  <a:pt x="11" y="140"/>
                </a:cubicBezTo>
                <a:cubicBezTo>
                  <a:pt x="11" y="135"/>
                  <a:pt x="11" y="135"/>
                  <a:pt x="11" y="135"/>
                </a:cubicBezTo>
                <a:cubicBezTo>
                  <a:pt x="11" y="134"/>
                  <a:pt x="12" y="132"/>
                  <a:pt x="14" y="132"/>
                </a:cubicBezTo>
                <a:cubicBezTo>
                  <a:pt x="15" y="132"/>
                  <a:pt x="17" y="134"/>
                  <a:pt x="17" y="135"/>
                </a:cubicBezTo>
                <a:cubicBezTo>
                  <a:pt x="17" y="143"/>
                  <a:pt x="17" y="143"/>
                  <a:pt x="17" y="143"/>
                </a:cubicBezTo>
                <a:cubicBezTo>
                  <a:pt x="17" y="154"/>
                  <a:pt x="17" y="154"/>
                  <a:pt x="17" y="154"/>
                </a:cubicBezTo>
                <a:cubicBezTo>
                  <a:pt x="41" y="154"/>
                  <a:pt x="41" y="154"/>
                  <a:pt x="41" y="154"/>
                </a:cubicBezTo>
                <a:cubicBezTo>
                  <a:pt x="41" y="6"/>
                  <a:pt x="41" y="6"/>
                  <a:pt x="41" y="6"/>
                </a:cubicBezTo>
                <a:cubicBezTo>
                  <a:pt x="17" y="6"/>
                  <a:pt x="17" y="6"/>
                  <a:pt x="17" y="6"/>
                </a:cubicBezTo>
                <a:cubicBezTo>
                  <a:pt x="17" y="20"/>
                  <a:pt x="17" y="20"/>
                  <a:pt x="17" y="20"/>
                </a:cubicBezTo>
                <a:cubicBezTo>
                  <a:pt x="23" y="21"/>
                  <a:pt x="28" y="26"/>
                  <a:pt x="28" y="33"/>
                </a:cubicBezTo>
                <a:cubicBezTo>
                  <a:pt x="28" y="35"/>
                  <a:pt x="26" y="36"/>
                  <a:pt x="25" y="36"/>
                </a:cubicBezTo>
                <a:cubicBezTo>
                  <a:pt x="23" y="36"/>
                  <a:pt x="22" y="35"/>
                  <a:pt x="22" y="33"/>
                </a:cubicBezTo>
                <a:cubicBezTo>
                  <a:pt x="22" y="29"/>
                  <a:pt x="18" y="25"/>
                  <a:pt x="14" y="25"/>
                </a:cubicBezTo>
                <a:cubicBezTo>
                  <a:pt x="9" y="25"/>
                  <a:pt x="6" y="29"/>
                  <a:pt x="6" y="33"/>
                </a:cubicBezTo>
                <a:cubicBezTo>
                  <a:pt x="6" y="35"/>
                  <a:pt x="4" y="36"/>
                  <a:pt x="3" y="36"/>
                </a:cubicBezTo>
                <a:cubicBezTo>
                  <a:pt x="1" y="36"/>
                  <a:pt x="0" y="35"/>
                  <a:pt x="0" y="33"/>
                </a:cubicBezTo>
                <a:cubicBezTo>
                  <a:pt x="0" y="26"/>
                  <a:pt x="5" y="21"/>
                  <a:pt x="11" y="20"/>
                </a:cubicBezTo>
                <a:cubicBezTo>
                  <a:pt x="11" y="0"/>
                  <a:pt x="11" y="0"/>
                  <a:pt x="11" y="0"/>
                </a:cubicBezTo>
                <a:cubicBezTo>
                  <a:pt x="47" y="0"/>
                  <a:pt x="47" y="0"/>
                  <a:pt x="47" y="0"/>
                </a:cubicBezTo>
                <a:cubicBezTo>
                  <a:pt x="47" y="0"/>
                  <a:pt x="47" y="0"/>
                  <a:pt x="47" y="0"/>
                </a:cubicBezTo>
                <a:cubicBezTo>
                  <a:pt x="113" y="0"/>
                  <a:pt x="113" y="0"/>
                  <a:pt x="113" y="0"/>
                </a:cubicBezTo>
                <a:cubicBezTo>
                  <a:pt x="132" y="0"/>
                  <a:pt x="132" y="0"/>
                  <a:pt x="132" y="0"/>
                </a:cubicBezTo>
                <a:cubicBezTo>
                  <a:pt x="138" y="0"/>
                  <a:pt x="138" y="0"/>
                  <a:pt x="138" y="0"/>
                </a:cubicBezTo>
                <a:cubicBezTo>
                  <a:pt x="144" y="0"/>
                  <a:pt x="149" y="5"/>
                  <a:pt x="149" y="11"/>
                </a:cubicBezTo>
                <a:close/>
                <a:moveTo>
                  <a:pt x="113" y="154"/>
                </a:moveTo>
                <a:cubicBezTo>
                  <a:pt x="113" y="6"/>
                  <a:pt x="113" y="6"/>
                  <a:pt x="113" y="6"/>
                </a:cubicBezTo>
                <a:cubicBezTo>
                  <a:pt x="47" y="6"/>
                  <a:pt x="47" y="6"/>
                  <a:pt x="47" y="6"/>
                </a:cubicBezTo>
                <a:cubicBezTo>
                  <a:pt x="47" y="154"/>
                  <a:pt x="47" y="154"/>
                  <a:pt x="47" y="154"/>
                </a:cubicBezTo>
                <a:lnTo>
                  <a:pt x="113" y="154"/>
                </a:lnTo>
                <a:close/>
                <a:moveTo>
                  <a:pt x="127" y="154"/>
                </a:moveTo>
                <a:cubicBezTo>
                  <a:pt x="127" y="6"/>
                  <a:pt x="127" y="6"/>
                  <a:pt x="127" y="6"/>
                </a:cubicBezTo>
                <a:cubicBezTo>
                  <a:pt x="119" y="6"/>
                  <a:pt x="119" y="6"/>
                  <a:pt x="119" y="6"/>
                </a:cubicBezTo>
                <a:cubicBezTo>
                  <a:pt x="119" y="154"/>
                  <a:pt x="119" y="154"/>
                  <a:pt x="119" y="154"/>
                </a:cubicBezTo>
                <a:lnTo>
                  <a:pt x="127" y="154"/>
                </a:lnTo>
                <a:close/>
                <a:moveTo>
                  <a:pt x="143" y="11"/>
                </a:moveTo>
                <a:cubicBezTo>
                  <a:pt x="143" y="8"/>
                  <a:pt x="141" y="6"/>
                  <a:pt x="138" y="6"/>
                </a:cubicBezTo>
                <a:cubicBezTo>
                  <a:pt x="132" y="6"/>
                  <a:pt x="132" y="6"/>
                  <a:pt x="132" y="6"/>
                </a:cubicBezTo>
                <a:cubicBezTo>
                  <a:pt x="132" y="154"/>
                  <a:pt x="132" y="154"/>
                  <a:pt x="132" y="154"/>
                </a:cubicBezTo>
                <a:cubicBezTo>
                  <a:pt x="138" y="154"/>
                  <a:pt x="138" y="154"/>
                  <a:pt x="138" y="154"/>
                </a:cubicBezTo>
                <a:cubicBezTo>
                  <a:pt x="141" y="154"/>
                  <a:pt x="143" y="152"/>
                  <a:pt x="143" y="149"/>
                </a:cubicBezTo>
                <a:lnTo>
                  <a:pt x="143"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05" name="Freeform 1307">
            <a:extLst>
              <a:ext uri="{FF2B5EF4-FFF2-40B4-BE49-F238E27FC236}">
                <a16:creationId xmlns:a16="http://schemas.microsoft.com/office/drawing/2014/main" id="{49CE2132-128A-6643-A780-F6BB9998A91A}"/>
              </a:ext>
            </a:extLst>
          </p:cNvPr>
          <p:cNvSpPr>
            <a:spLocks noEditPoints="1"/>
          </p:cNvSpPr>
          <p:nvPr/>
        </p:nvSpPr>
        <p:spPr bwMode="auto">
          <a:xfrm>
            <a:off x="2452262" y="1603375"/>
            <a:ext cx="447675" cy="550863"/>
          </a:xfrm>
          <a:custGeom>
            <a:avLst/>
            <a:gdLst>
              <a:gd name="T0" fmla="*/ 80 w 131"/>
              <a:gd name="T1" fmla="*/ 3 h 160"/>
              <a:gd name="T2" fmla="*/ 51 w 131"/>
              <a:gd name="T3" fmla="*/ 3 h 160"/>
              <a:gd name="T4" fmla="*/ 0 w 131"/>
              <a:gd name="T5" fmla="*/ 5 h 160"/>
              <a:gd name="T6" fmla="*/ 131 w 131"/>
              <a:gd name="T7" fmla="*/ 5 h 160"/>
              <a:gd name="T8" fmla="*/ 123 w 131"/>
              <a:gd name="T9" fmla="*/ 106 h 160"/>
              <a:gd name="T10" fmla="*/ 99 w 131"/>
              <a:gd name="T11" fmla="*/ 11 h 160"/>
              <a:gd name="T12" fmla="*/ 82 w 131"/>
              <a:gd name="T13" fmla="*/ 147 h 160"/>
              <a:gd name="T14" fmla="*/ 32 w 131"/>
              <a:gd name="T15" fmla="*/ 19 h 160"/>
              <a:gd name="T16" fmla="*/ 35 w 131"/>
              <a:gd name="T17" fmla="*/ 27 h 160"/>
              <a:gd name="T18" fmla="*/ 99 w 131"/>
              <a:gd name="T19" fmla="*/ 24 h 160"/>
              <a:gd name="T20" fmla="*/ 117 w 131"/>
              <a:gd name="T21" fmla="*/ 111 h 160"/>
              <a:gd name="T22" fmla="*/ 117 w 131"/>
              <a:gd name="T23" fmla="*/ 147 h 160"/>
              <a:gd name="T24" fmla="*/ 75 w 131"/>
              <a:gd name="T25" fmla="*/ 5 h 160"/>
              <a:gd name="T26" fmla="*/ 56 w 131"/>
              <a:gd name="T27" fmla="*/ 13 h 160"/>
              <a:gd name="T28" fmla="*/ 75 w 131"/>
              <a:gd name="T29" fmla="*/ 5 h 160"/>
              <a:gd name="T30" fmla="*/ 51 w 131"/>
              <a:gd name="T31" fmla="*/ 19 h 160"/>
              <a:gd name="T32" fmla="*/ 80 w 131"/>
              <a:gd name="T33" fmla="*/ 19 h 160"/>
              <a:gd name="T34" fmla="*/ 93 w 131"/>
              <a:gd name="T35" fmla="*/ 11 h 160"/>
              <a:gd name="T36" fmla="*/ 37 w 131"/>
              <a:gd name="T37" fmla="*/ 21 h 160"/>
              <a:gd name="T38" fmla="*/ 51 w 131"/>
              <a:gd name="T39" fmla="*/ 11 h 160"/>
              <a:gd name="T40" fmla="*/ 32 w 131"/>
              <a:gd name="T41" fmla="*/ 13 h 160"/>
              <a:gd name="T42" fmla="*/ 76 w 131"/>
              <a:gd name="T43" fmla="*/ 152 h 160"/>
              <a:gd name="T44" fmla="*/ 5 w 131"/>
              <a:gd name="T45" fmla="*/ 11 h 160"/>
              <a:gd name="T46" fmla="*/ 123 w 131"/>
              <a:gd name="T47" fmla="*/ 152 h 160"/>
              <a:gd name="T48" fmla="*/ 125 w 131"/>
              <a:gd name="T49" fmla="*/ 155 h 160"/>
              <a:gd name="T50" fmla="*/ 29 w 131"/>
              <a:gd name="T51" fmla="*/ 43 h 160"/>
              <a:gd name="T52" fmla="*/ 53 w 131"/>
              <a:gd name="T53" fmla="*/ 48 h 160"/>
              <a:gd name="T54" fmla="*/ 27 w 131"/>
              <a:gd name="T55" fmla="*/ 67 h 160"/>
              <a:gd name="T56" fmla="*/ 45 w 131"/>
              <a:gd name="T57" fmla="*/ 67 h 160"/>
              <a:gd name="T58" fmla="*/ 27 w 131"/>
              <a:gd name="T59" fmla="*/ 67 h 160"/>
              <a:gd name="T60" fmla="*/ 69 w 131"/>
              <a:gd name="T61" fmla="*/ 69 h 160"/>
              <a:gd name="T62" fmla="*/ 88 w 131"/>
              <a:gd name="T63" fmla="*/ 64 h 160"/>
              <a:gd name="T64" fmla="*/ 59 w 131"/>
              <a:gd name="T65" fmla="*/ 67 h 160"/>
              <a:gd name="T66" fmla="*/ 54 w 131"/>
              <a:gd name="T67" fmla="*/ 69 h 160"/>
              <a:gd name="T68" fmla="*/ 58 w 131"/>
              <a:gd name="T69" fmla="*/ 65 h 160"/>
              <a:gd name="T70" fmla="*/ 101 w 131"/>
              <a:gd name="T71" fmla="*/ 69 h 160"/>
              <a:gd name="T72" fmla="*/ 99 w 131"/>
              <a:gd name="T73" fmla="*/ 65 h 160"/>
              <a:gd name="T74" fmla="*/ 64 w 131"/>
              <a:gd name="T75" fmla="*/ 88 h 160"/>
              <a:gd name="T76" fmla="*/ 40 w 131"/>
              <a:gd name="T77" fmla="*/ 88 h 160"/>
              <a:gd name="T78" fmla="*/ 64 w 131"/>
              <a:gd name="T79" fmla="*/ 88 h 160"/>
              <a:gd name="T80" fmla="*/ 27 w 131"/>
              <a:gd name="T81" fmla="*/ 86 h 160"/>
              <a:gd name="T82" fmla="*/ 31 w 131"/>
              <a:gd name="T83" fmla="*/ 90 h 160"/>
              <a:gd name="T84" fmla="*/ 40 w 131"/>
              <a:gd name="T85" fmla="*/ 114 h 160"/>
              <a:gd name="T86" fmla="*/ 22 w 131"/>
              <a:gd name="T87" fmla="*/ 126 h 160"/>
              <a:gd name="T88" fmla="*/ 38 w 131"/>
              <a:gd name="T89" fmla="*/ 110 h 160"/>
              <a:gd name="T90" fmla="*/ 58 w 131"/>
              <a:gd name="T91" fmla="*/ 126 h 160"/>
              <a:gd name="T92" fmla="*/ 40 w 131"/>
              <a:gd name="T93" fmla="*/ 123 h 160"/>
              <a:gd name="T94" fmla="*/ 63 w 131"/>
              <a:gd name="T95"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1" h="160">
                <a:moveTo>
                  <a:pt x="96" y="5"/>
                </a:moveTo>
                <a:cubicBezTo>
                  <a:pt x="80" y="5"/>
                  <a:pt x="80" y="5"/>
                  <a:pt x="80" y="5"/>
                </a:cubicBezTo>
                <a:cubicBezTo>
                  <a:pt x="80" y="3"/>
                  <a:pt x="80" y="3"/>
                  <a:pt x="80" y="3"/>
                </a:cubicBezTo>
                <a:cubicBezTo>
                  <a:pt x="80" y="1"/>
                  <a:pt x="79" y="0"/>
                  <a:pt x="77" y="0"/>
                </a:cubicBezTo>
                <a:cubicBezTo>
                  <a:pt x="53" y="0"/>
                  <a:pt x="53" y="0"/>
                  <a:pt x="53" y="0"/>
                </a:cubicBezTo>
                <a:cubicBezTo>
                  <a:pt x="52" y="0"/>
                  <a:pt x="51" y="1"/>
                  <a:pt x="51" y="3"/>
                </a:cubicBezTo>
                <a:cubicBezTo>
                  <a:pt x="51" y="5"/>
                  <a:pt x="51" y="5"/>
                  <a:pt x="51" y="5"/>
                </a:cubicBezTo>
                <a:cubicBezTo>
                  <a:pt x="35" y="5"/>
                  <a:pt x="35" y="5"/>
                  <a:pt x="35" y="5"/>
                </a:cubicBezTo>
                <a:cubicBezTo>
                  <a:pt x="0" y="5"/>
                  <a:pt x="0" y="5"/>
                  <a:pt x="0" y="5"/>
                </a:cubicBezTo>
                <a:cubicBezTo>
                  <a:pt x="0" y="160"/>
                  <a:pt x="0" y="160"/>
                  <a:pt x="0" y="160"/>
                </a:cubicBezTo>
                <a:cubicBezTo>
                  <a:pt x="131" y="160"/>
                  <a:pt x="131" y="160"/>
                  <a:pt x="131" y="160"/>
                </a:cubicBezTo>
                <a:cubicBezTo>
                  <a:pt x="131" y="5"/>
                  <a:pt x="131" y="5"/>
                  <a:pt x="131" y="5"/>
                </a:cubicBezTo>
                <a:lnTo>
                  <a:pt x="96" y="5"/>
                </a:lnTo>
                <a:close/>
                <a:moveTo>
                  <a:pt x="125" y="103"/>
                </a:moveTo>
                <a:cubicBezTo>
                  <a:pt x="123" y="106"/>
                  <a:pt x="123" y="106"/>
                  <a:pt x="123" y="106"/>
                </a:cubicBezTo>
                <a:cubicBezTo>
                  <a:pt x="123" y="13"/>
                  <a:pt x="123" y="13"/>
                  <a:pt x="123" y="13"/>
                </a:cubicBezTo>
                <a:cubicBezTo>
                  <a:pt x="99" y="13"/>
                  <a:pt x="99" y="13"/>
                  <a:pt x="99" y="13"/>
                </a:cubicBezTo>
                <a:cubicBezTo>
                  <a:pt x="99" y="11"/>
                  <a:pt x="99" y="11"/>
                  <a:pt x="99" y="11"/>
                </a:cubicBezTo>
                <a:cubicBezTo>
                  <a:pt x="125" y="11"/>
                  <a:pt x="125" y="11"/>
                  <a:pt x="125" y="11"/>
                </a:cubicBezTo>
                <a:lnTo>
                  <a:pt x="125" y="103"/>
                </a:lnTo>
                <a:close/>
                <a:moveTo>
                  <a:pt x="82" y="147"/>
                </a:moveTo>
                <a:cubicBezTo>
                  <a:pt x="13" y="147"/>
                  <a:pt x="13" y="147"/>
                  <a:pt x="13" y="147"/>
                </a:cubicBezTo>
                <a:cubicBezTo>
                  <a:pt x="13" y="19"/>
                  <a:pt x="13" y="19"/>
                  <a:pt x="13" y="19"/>
                </a:cubicBezTo>
                <a:cubicBezTo>
                  <a:pt x="32" y="19"/>
                  <a:pt x="32" y="19"/>
                  <a:pt x="32" y="19"/>
                </a:cubicBezTo>
                <a:cubicBezTo>
                  <a:pt x="32" y="24"/>
                  <a:pt x="32" y="24"/>
                  <a:pt x="32" y="24"/>
                </a:cubicBezTo>
                <a:cubicBezTo>
                  <a:pt x="32" y="27"/>
                  <a:pt x="32" y="27"/>
                  <a:pt x="32" y="27"/>
                </a:cubicBezTo>
                <a:cubicBezTo>
                  <a:pt x="35" y="27"/>
                  <a:pt x="35" y="27"/>
                  <a:pt x="35" y="27"/>
                </a:cubicBezTo>
                <a:cubicBezTo>
                  <a:pt x="96" y="27"/>
                  <a:pt x="96" y="27"/>
                  <a:pt x="96" y="27"/>
                </a:cubicBezTo>
                <a:cubicBezTo>
                  <a:pt x="99" y="27"/>
                  <a:pt x="99" y="27"/>
                  <a:pt x="99" y="27"/>
                </a:cubicBezTo>
                <a:cubicBezTo>
                  <a:pt x="99" y="24"/>
                  <a:pt x="99" y="24"/>
                  <a:pt x="99" y="24"/>
                </a:cubicBezTo>
                <a:cubicBezTo>
                  <a:pt x="99" y="19"/>
                  <a:pt x="99" y="19"/>
                  <a:pt x="99" y="19"/>
                </a:cubicBezTo>
                <a:cubicBezTo>
                  <a:pt x="117" y="19"/>
                  <a:pt x="117" y="19"/>
                  <a:pt x="117" y="19"/>
                </a:cubicBezTo>
                <a:cubicBezTo>
                  <a:pt x="117" y="111"/>
                  <a:pt x="117" y="111"/>
                  <a:pt x="117" y="111"/>
                </a:cubicBezTo>
                <a:lnTo>
                  <a:pt x="82" y="147"/>
                </a:lnTo>
                <a:close/>
                <a:moveTo>
                  <a:pt x="117" y="118"/>
                </a:moveTo>
                <a:cubicBezTo>
                  <a:pt x="117" y="147"/>
                  <a:pt x="117" y="147"/>
                  <a:pt x="117" y="147"/>
                </a:cubicBezTo>
                <a:cubicBezTo>
                  <a:pt x="89" y="147"/>
                  <a:pt x="89" y="147"/>
                  <a:pt x="89" y="147"/>
                </a:cubicBezTo>
                <a:lnTo>
                  <a:pt x="117" y="118"/>
                </a:lnTo>
                <a:close/>
                <a:moveTo>
                  <a:pt x="75" y="5"/>
                </a:moveTo>
                <a:cubicBezTo>
                  <a:pt x="75" y="8"/>
                  <a:pt x="75" y="8"/>
                  <a:pt x="75" y="8"/>
                </a:cubicBezTo>
                <a:cubicBezTo>
                  <a:pt x="75" y="13"/>
                  <a:pt x="75" y="13"/>
                  <a:pt x="75" y="13"/>
                </a:cubicBezTo>
                <a:cubicBezTo>
                  <a:pt x="56" y="13"/>
                  <a:pt x="56" y="13"/>
                  <a:pt x="56" y="13"/>
                </a:cubicBezTo>
                <a:cubicBezTo>
                  <a:pt x="56" y="8"/>
                  <a:pt x="56" y="8"/>
                  <a:pt x="56" y="8"/>
                </a:cubicBezTo>
                <a:cubicBezTo>
                  <a:pt x="56" y="5"/>
                  <a:pt x="56" y="5"/>
                  <a:pt x="56" y="5"/>
                </a:cubicBezTo>
                <a:lnTo>
                  <a:pt x="75" y="5"/>
                </a:lnTo>
                <a:close/>
                <a:moveTo>
                  <a:pt x="51" y="11"/>
                </a:moveTo>
                <a:cubicBezTo>
                  <a:pt x="51" y="16"/>
                  <a:pt x="51" y="16"/>
                  <a:pt x="51" y="16"/>
                </a:cubicBezTo>
                <a:cubicBezTo>
                  <a:pt x="51" y="19"/>
                  <a:pt x="51" y="19"/>
                  <a:pt x="51" y="19"/>
                </a:cubicBezTo>
                <a:cubicBezTo>
                  <a:pt x="53" y="19"/>
                  <a:pt x="53" y="19"/>
                  <a:pt x="53" y="19"/>
                </a:cubicBezTo>
                <a:cubicBezTo>
                  <a:pt x="77" y="19"/>
                  <a:pt x="77" y="19"/>
                  <a:pt x="77" y="19"/>
                </a:cubicBezTo>
                <a:cubicBezTo>
                  <a:pt x="80" y="19"/>
                  <a:pt x="80" y="19"/>
                  <a:pt x="80" y="19"/>
                </a:cubicBezTo>
                <a:cubicBezTo>
                  <a:pt x="80" y="16"/>
                  <a:pt x="80" y="16"/>
                  <a:pt x="80" y="16"/>
                </a:cubicBezTo>
                <a:cubicBezTo>
                  <a:pt x="80" y="11"/>
                  <a:pt x="80" y="11"/>
                  <a:pt x="80" y="11"/>
                </a:cubicBezTo>
                <a:cubicBezTo>
                  <a:pt x="93" y="11"/>
                  <a:pt x="93" y="11"/>
                  <a:pt x="93" y="11"/>
                </a:cubicBezTo>
                <a:cubicBezTo>
                  <a:pt x="93" y="13"/>
                  <a:pt x="93" y="13"/>
                  <a:pt x="93" y="13"/>
                </a:cubicBezTo>
                <a:cubicBezTo>
                  <a:pt x="93" y="21"/>
                  <a:pt x="93" y="21"/>
                  <a:pt x="93" y="21"/>
                </a:cubicBezTo>
                <a:cubicBezTo>
                  <a:pt x="37" y="21"/>
                  <a:pt x="37" y="21"/>
                  <a:pt x="37" y="21"/>
                </a:cubicBezTo>
                <a:cubicBezTo>
                  <a:pt x="37" y="13"/>
                  <a:pt x="37" y="13"/>
                  <a:pt x="37" y="13"/>
                </a:cubicBezTo>
                <a:cubicBezTo>
                  <a:pt x="37" y="11"/>
                  <a:pt x="37" y="11"/>
                  <a:pt x="37" y="11"/>
                </a:cubicBezTo>
                <a:lnTo>
                  <a:pt x="51" y="11"/>
                </a:lnTo>
                <a:close/>
                <a:moveTo>
                  <a:pt x="5" y="11"/>
                </a:moveTo>
                <a:cubicBezTo>
                  <a:pt x="32" y="11"/>
                  <a:pt x="32" y="11"/>
                  <a:pt x="32" y="11"/>
                </a:cubicBezTo>
                <a:cubicBezTo>
                  <a:pt x="32" y="13"/>
                  <a:pt x="32" y="13"/>
                  <a:pt x="32" y="13"/>
                </a:cubicBezTo>
                <a:cubicBezTo>
                  <a:pt x="8" y="13"/>
                  <a:pt x="8" y="13"/>
                  <a:pt x="8" y="13"/>
                </a:cubicBezTo>
                <a:cubicBezTo>
                  <a:pt x="8" y="152"/>
                  <a:pt x="8" y="152"/>
                  <a:pt x="8" y="152"/>
                </a:cubicBezTo>
                <a:cubicBezTo>
                  <a:pt x="76" y="152"/>
                  <a:pt x="76" y="152"/>
                  <a:pt x="76" y="152"/>
                </a:cubicBezTo>
                <a:cubicBezTo>
                  <a:pt x="74" y="155"/>
                  <a:pt x="74" y="155"/>
                  <a:pt x="74" y="155"/>
                </a:cubicBezTo>
                <a:cubicBezTo>
                  <a:pt x="5" y="155"/>
                  <a:pt x="5" y="155"/>
                  <a:pt x="5" y="155"/>
                </a:cubicBezTo>
                <a:lnTo>
                  <a:pt x="5" y="11"/>
                </a:lnTo>
                <a:close/>
                <a:moveTo>
                  <a:pt x="81" y="155"/>
                </a:moveTo>
                <a:cubicBezTo>
                  <a:pt x="84" y="152"/>
                  <a:pt x="84" y="152"/>
                  <a:pt x="84" y="152"/>
                </a:cubicBezTo>
                <a:cubicBezTo>
                  <a:pt x="123" y="152"/>
                  <a:pt x="123" y="152"/>
                  <a:pt x="123" y="152"/>
                </a:cubicBezTo>
                <a:cubicBezTo>
                  <a:pt x="123" y="113"/>
                  <a:pt x="123" y="113"/>
                  <a:pt x="123" y="113"/>
                </a:cubicBezTo>
                <a:cubicBezTo>
                  <a:pt x="125" y="110"/>
                  <a:pt x="125" y="110"/>
                  <a:pt x="125" y="110"/>
                </a:cubicBezTo>
                <a:cubicBezTo>
                  <a:pt x="125" y="155"/>
                  <a:pt x="125" y="155"/>
                  <a:pt x="125" y="155"/>
                </a:cubicBezTo>
                <a:lnTo>
                  <a:pt x="81" y="155"/>
                </a:lnTo>
                <a:close/>
                <a:moveTo>
                  <a:pt x="27" y="45"/>
                </a:moveTo>
                <a:cubicBezTo>
                  <a:pt x="27" y="44"/>
                  <a:pt x="28" y="43"/>
                  <a:pt x="29" y="43"/>
                </a:cubicBezTo>
                <a:cubicBezTo>
                  <a:pt x="53" y="43"/>
                  <a:pt x="53" y="43"/>
                  <a:pt x="53" y="43"/>
                </a:cubicBezTo>
                <a:cubicBezTo>
                  <a:pt x="55" y="43"/>
                  <a:pt x="56" y="44"/>
                  <a:pt x="56" y="45"/>
                </a:cubicBezTo>
                <a:cubicBezTo>
                  <a:pt x="56" y="47"/>
                  <a:pt x="55" y="48"/>
                  <a:pt x="53" y="48"/>
                </a:cubicBezTo>
                <a:cubicBezTo>
                  <a:pt x="29" y="48"/>
                  <a:pt x="29" y="48"/>
                  <a:pt x="29" y="48"/>
                </a:cubicBezTo>
                <a:cubicBezTo>
                  <a:pt x="28" y="48"/>
                  <a:pt x="27" y="47"/>
                  <a:pt x="27" y="45"/>
                </a:cubicBezTo>
                <a:close/>
                <a:moveTo>
                  <a:pt x="27" y="67"/>
                </a:moveTo>
                <a:cubicBezTo>
                  <a:pt x="27" y="65"/>
                  <a:pt x="28" y="64"/>
                  <a:pt x="29" y="64"/>
                </a:cubicBezTo>
                <a:cubicBezTo>
                  <a:pt x="43" y="64"/>
                  <a:pt x="43" y="64"/>
                  <a:pt x="43" y="64"/>
                </a:cubicBezTo>
                <a:cubicBezTo>
                  <a:pt x="44" y="64"/>
                  <a:pt x="45" y="65"/>
                  <a:pt x="45" y="67"/>
                </a:cubicBezTo>
                <a:cubicBezTo>
                  <a:pt x="45" y="68"/>
                  <a:pt x="44" y="69"/>
                  <a:pt x="43" y="69"/>
                </a:cubicBezTo>
                <a:cubicBezTo>
                  <a:pt x="29" y="69"/>
                  <a:pt x="29" y="69"/>
                  <a:pt x="29" y="69"/>
                </a:cubicBezTo>
                <a:cubicBezTo>
                  <a:pt x="28" y="69"/>
                  <a:pt x="27" y="68"/>
                  <a:pt x="27" y="67"/>
                </a:cubicBezTo>
                <a:close/>
                <a:moveTo>
                  <a:pt x="91" y="67"/>
                </a:moveTo>
                <a:cubicBezTo>
                  <a:pt x="91" y="68"/>
                  <a:pt x="89" y="69"/>
                  <a:pt x="88" y="69"/>
                </a:cubicBezTo>
                <a:cubicBezTo>
                  <a:pt x="69" y="69"/>
                  <a:pt x="69" y="69"/>
                  <a:pt x="69" y="69"/>
                </a:cubicBezTo>
                <a:cubicBezTo>
                  <a:pt x="68" y="69"/>
                  <a:pt x="67" y="68"/>
                  <a:pt x="67" y="67"/>
                </a:cubicBezTo>
                <a:cubicBezTo>
                  <a:pt x="67" y="65"/>
                  <a:pt x="68" y="64"/>
                  <a:pt x="69" y="64"/>
                </a:cubicBezTo>
                <a:cubicBezTo>
                  <a:pt x="88" y="64"/>
                  <a:pt x="88" y="64"/>
                  <a:pt x="88" y="64"/>
                </a:cubicBezTo>
                <a:cubicBezTo>
                  <a:pt x="89" y="64"/>
                  <a:pt x="91" y="65"/>
                  <a:pt x="91" y="67"/>
                </a:cubicBezTo>
                <a:close/>
                <a:moveTo>
                  <a:pt x="58" y="65"/>
                </a:moveTo>
                <a:cubicBezTo>
                  <a:pt x="58" y="65"/>
                  <a:pt x="59" y="66"/>
                  <a:pt x="59" y="67"/>
                </a:cubicBezTo>
                <a:cubicBezTo>
                  <a:pt x="59" y="67"/>
                  <a:pt x="58" y="68"/>
                  <a:pt x="58" y="69"/>
                </a:cubicBezTo>
                <a:cubicBezTo>
                  <a:pt x="57" y="69"/>
                  <a:pt x="57" y="69"/>
                  <a:pt x="56" y="69"/>
                </a:cubicBezTo>
                <a:cubicBezTo>
                  <a:pt x="55" y="69"/>
                  <a:pt x="55" y="69"/>
                  <a:pt x="54" y="69"/>
                </a:cubicBezTo>
                <a:cubicBezTo>
                  <a:pt x="54" y="68"/>
                  <a:pt x="53" y="67"/>
                  <a:pt x="53" y="67"/>
                </a:cubicBezTo>
                <a:cubicBezTo>
                  <a:pt x="53" y="66"/>
                  <a:pt x="54" y="65"/>
                  <a:pt x="54" y="65"/>
                </a:cubicBezTo>
                <a:cubicBezTo>
                  <a:pt x="55" y="64"/>
                  <a:pt x="57" y="64"/>
                  <a:pt x="58" y="65"/>
                </a:cubicBezTo>
                <a:close/>
                <a:moveTo>
                  <a:pt x="104" y="67"/>
                </a:moveTo>
                <a:cubicBezTo>
                  <a:pt x="104" y="67"/>
                  <a:pt x="104" y="68"/>
                  <a:pt x="103" y="69"/>
                </a:cubicBezTo>
                <a:cubicBezTo>
                  <a:pt x="103" y="69"/>
                  <a:pt x="102" y="69"/>
                  <a:pt x="101" y="69"/>
                </a:cubicBezTo>
                <a:cubicBezTo>
                  <a:pt x="101" y="69"/>
                  <a:pt x="100" y="69"/>
                  <a:pt x="99" y="69"/>
                </a:cubicBezTo>
                <a:cubicBezTo>
                  <a:pt x="99" y="68"/>
                  <a:pt x="99" y="67"/>
                  <a:pt x="99" y="67"/>
                </a:cubicBezTo>
                <a:cubicBezTo>
                  <a:pt x="99" y="66"/>
                  <a:pt x="99" y="65"/>
                  <a:pt x="99" y="65"/>
                </a:cubicBezTo>
                <a:cubicBezTo>
                  <a:pt x="100" y="64"/>
                  <a:pt x="102" y="64"/>
                  <a:pt x="103" y="65"/>
                </a:cubicBezTo>
                <a:cubicBezTo>
                  <a:pt x="104" y="65"/>
                  <a:pt x="104" y="66"/>
                  <a:pt x="104" y="67"/>
                </a:cubicBezTo>
                <a:close/>
                <a:moveTo>
                  <a:pt x="64" y="88"/>
                </a:moveTo>
                <a:cubicBezTo>
                  <a:pt x="64" y="89"/>
                  <a:pt x="63" y="91"/>
                  <a:pt x="61" y="91"/>
                </a:cubicBezTo>
                <a:cubicBezTo>
                  <a:pt x="43" y="91"/>
                  <a:pt x="43" y="91"/>
                  <a:pt x="43" y="91"/>
                </a:cubicBezTo>
                <a:cubicBezTo>
                  <a:pt x="41" y="91"/>
                  <a:pt x="40" y="89"/>
                  <a:pt x="40" y="88"/>
                </a:cubicBezTo>
                <a:cubicBezTo>
                  <a:pt x="40" y="87"/>
                  <a:pt x="41" y="85"/>
                  <a:pt x="43" y="85"/>
                </a:cubicBezTo>
                <a:cubicBezTo>
                  <a:pt x="61" y="85"/>
                  <a:pt x="61" y="85"/>
                  <a:pt x="61" y="85"/>
                </a:cubicBezTo>
                <a:cubicBezTo>
                  <a:pt x="63" y="85"/>
                  <a:pt x="64" y="87"/>
                  <a:pt x="64" y="88"/>
                </a:cubicBezTo>
                <a:close/>
                <a:moveTo>
                  <a:pt x="27" y="90"/>
                </a:moveTo>
                <a:cubicBezTo>
                  <a:pt x="27" y="89"/>
                  <a:pt x="27" y="89"/>
                  <a:pt x="27" y="88"/>
                </a:cubicBezTo>
                <a:cubicBezTo>
                  <a:pt x="27" y="87"/>
                  <a:pt x="27" y="87"/>
                  <a:pt x="27" y="86"/>
                </a:cubicBezTo>
                <a:cubicBezTo>
                  <a:pt x="28" y="85"/>
                  <a:pt x="30" y="85"/>
                  <a:pt x="31" y="86"/>
                </a:cubicBezTo>
                <a:cubicBezTo>
                  <a:pt x="32" y="87"/>
                  <a:pt x="32" y="87"/>
                  <a:pt x="32" y="88"/>
                </a:cubicBezTo>
                <a:cubicBezTo>
                  <a:pt x="32" y="89"/>
                  <a:pt x="32" y="89"/>
                  <a:pt x="31" y="90"/>
                </a:cubicBezTo>
                <a:cubicBezTo>
                  <a:pt x="31" y="90"/>
                  <a:pt x="30" y="91"/>
                  <a:pt x="29" y="91"/>
                </a:cubicBezTo>
                <a:cubicBezTo>
                  <a:pt x="29" y="91"/>
                  <a:pt x="28" y="90"/>
                  <a:pt x="27" y="90"/>
                </a:cubicBezTo>
                <a:close/>
                <a:moveTo>
                  <a:pt x="40" y="114"/>
                </a:moveTo>
                <a:cubicBezTo>
                  <a:pt x="35" y="117"/>
                  <a:pt x="34" y="124"/>
                  <a:pt x="34" y="130"/>
                </a:cubicBezTo>
                <a:cubicBezTo>
                  <a:pt x="34" y="132"/>
                  <a:pt x="31" y="133"/>
                  <a:pt x="30" y="132"/>
                </a:cubicBezTo>
                <a:cubicBezTo>
                  <a:pt x="27" y="130"/>
                  <a:pt x="25" y="128"/>
                  <a:pt x="22" y="126"/>
                </a:cubicBezTo>
                <a:cubicBezTo>
                  <a:pt x="19" y="123"/>
                  <a:pt x="23" y="120"/>
                  <a:pt x="26" y="122"/>
                </a:cubicBezTo>
                <a:cubicBezTo>
                  <a:pt x="27" y="123"/>
                  <a:pt x="28" y="124"/>
                  <a:pt x="29" y="125"/>
                </a:cubicBezTo>
                <a:cubicBezTo>
                  <a:pt x="30" y="119"/>
                  <a:pt x="32" y="113"/>
                  <a:pt x="38" y="110"/>
                </a:cubicBezTo>
                <a:cubicBezTo>
                  <a:pt x="41" y="108"/>
                  <a:pt x="43" y="113"/>
                  <a:pt x="40" y="114"/>
                </a:cubicBezTo>
                <a:close/>
                <a:moveTo>
                  <a:pt x="63" y="123"/>
                </a:moveTo>
                <a:cubicBezTo>
                  <a:pt x="64" y="126"/>
                  <a:pt x="60" y="129"/>
                  <a:pt x="58" y="126"/>
                </a:cubicBezTo>
                <a:cubicBezTo>
                  <a:pt x="57" y="124"/>
                  <a:pt x="53" y="128"/>
                  <a:pt x="52" y="128"/>
                </a:cubicBezTo>
                <a:cubicBezTo>
                  <a:pt x="50" y="129"/>
                  <a:pt x="49" y="129"/>
                  <a:pt x="47" y="129"/>
                </a:cubicBezTo>
                <a:cubicBezTo>
                  <a:pt x="44" y="128"/>
                  <a:pt x="42" y="126"/>
                  <a:pt x="40" y="123"/>
                </a:cubicBezTo>
                <a:cubicBezTo>
                  <a:pt x="39" y="120"/>
                  <a:pt x="43" y="118"/>
                  <a:pt x="45" y="121"/>
                </a:cubicBezTo>
                <a:cubicBezTo>
                  <a:pt x="48" y="126"/>
                  <a:pt x="52" y="121"/>
                  <a:pt x="55" y="120"/>
                </a:cubicBezTo>
                <a:cubicBezTo>
                  <a:pt x="58" y="120"/>
                  <a:pt x="61" y="121"/>
                  <a:pt x="63" y="1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06" name="Freeform 1308">
            <a:extLst>
              <a:ext uri="{FF2B5EF4-FFF2-40B4-BE49-F238E27FC236}">
                <a16:creationId xmlns:a16="http://schemas.microsoft.com/office/drawing/2014/main" id="{81CEF562-C06C-1348-A5B1-C185E8A48FBE}"/>
              </a:ext>
            </a:extLst>
          </p:cNvPr>
          <p:cNvSpPr>
            <a:spLocks noEditPoints="1"/>
          </p:cNvSpPr>
          <p:nvPr/>
        </p:nvSpPr>
        <p:spPr bwMode="auto">
          <a:xfrm>
            <a:off x="2412575" y="2222500"/>
            <a:ext cx="508000" cy="550863"/>
          </a:xfrm>
          <a:custGeom>
            <a:avLst/>
            <a:gdLst>
              <a:gd name="T0" fmla="*/ 59 w 149"/>
              <a:gd name="T1" fmla="*/ 45 h 160"/>
              <a:gd name="T2" fmla="*/ 35 w 149"/>
              <a:gd name="T3" fmla="*/ 51 h 160"/>
              <a:gd name="T4" fmla="*/ 48 w 149"/>
              <a:gd name="T5" fmla="*/ 69 h 160"/>
              <a:gd name="T6" fmla="*/ 35 w 149"/>
              <a:gd name="T7" fmla="*/ 64 h 160"/>
              <a:gd name="T8" fmla="*/ 69 w 149"/>
              <a:gd name="T9" fmla="*/ 69 h 160"/>
              <a:gd name="T10" fmla="*/ 88 w 149"/>
              <a:gd name="T11" fmla="*/ 64 h 160"/>
              <a:gd name="T12" fmla="*/ 69 w 149"/>
              <a:gd name="T13" fmla="*/ 69 h 160"/>
              <a:gd name="T14" fmla="*/ 61 w 149"/>
              <a:gd name="T15" fmla="*/ 65 h 160"/>
              <a:gd name="T16" fmla="*/ 57 w 149"/>
              <a:gd name="T17" fmla="*/ 69 h 160"/>
              <a:gd name="T18" fmla="*/ 99 w 149"/>
              <a:gd name="T19" fmla="*/ 69 h 160"/>
              <a:gd name="T20" fmla="*/ 101 w 149"/>
              <a:gd name="T21" fmla="*/ 65 h 160"/>
              <a:gd name="T22" fmla="*/ 97 w 149"/>
              <a:gd name="T23" fmla="*/ 69 h 160"/>
              <a:gd name="T24" fmla="*/ 45 w 149"/>
              <a:gd name="T25" fmla="*/ 88 h 160"/>
              <a:gd name="T26" fmla="*/ 64 w 149"/>
              <a:gd name="T27" fmla="*/ 83 h 160"/>
              <a:gd name="T28" fmla="*/ 37 w 149"/>
              <a:gd name="T29" fmla="*/ 87 h 160"/>
              <a:gd name="T30" fmla="*/ 33 w 149"/>
              <a:gd name="T31" fmla="*/ 83 h 160"/>
              <a:gd name="T32" fmla="*/ 35 w 149"/>
              <a:gd name="T33" fmla="*/ 88 h 160"/>
              <a:gd name="T34" fmla="*/ 41 w 149"/>
              <a:gd name="T35" fmla="*/ 114 h 160"/>
              <a:gd name="T36" fmla="*/ 41 w 149"/>
              <a:gd name="T37" fmla="*/ 121 h 160"/>
              <a:gd name="T38" fmla="*/ 49 w 149"/>
              <a:gd name="T39" fmla="*/ 99 h 160"/>
              <a:gd name="T40" fmla="*/ 52 w 149"/>
              <a:gd name="T41" fmla="*/ 113 h 160"/>
              <a:gd name="T42" fmla="*/ 70 w 149"/>
              <a:gd name="T43" fmla="*/ 115 h 160"/>
              <a:gd name="T44" fmla="*/ 149 w 149"/>
              <a:gd name="T45" fmla="*/ 8 h 160"/>
              <a:gd name="T46" fmla="*/ 149 w 149"/>
              <a:gd name="T47" fmla="*/ 134 h 160"/>
              <a:gd name="T48" fmla="*/ 136 w 149"/>
              <a:gd name="T49" fmla="*/ 160 h 160"/>
              <a:gd name="T50" fmla="*/ 131 w 149"/>
              <a:gd name="T51" fmla="*/ 148 h 160"/>
              <a:gd name="T52" fmla="*/ 0 w 149"/>
              <a:gd name="T53" fmla="*/ 5 h 160"/>
              <a:gd name="T54" fmla="*/ 51 w 149"/>
              <a:gd name="T55" fmla="*/ 3 h 160"/>
              <a:gd name="T56" fmla="*/ 80 w 149"/>
              <a:gd name="T57" fmla="*/ 3 h 160"/>
              <a:gd name="T58" fmla="*/ 123 w 149"/>
              <a:gd name="T59" fmla="*/ 5 h 160"/>
              <a:gd name="T60" fmla="*/ 149 w 149"/>
              <a:gd name="T61" fmla="*/ 8 h 160"/>
              <a:gd name="T62" fmla="*/ 144 w 149"/>
              <a:gd name="T63" fmla="*/ 24 h 160"/>
              <a:gd name="T64" fmla="*/ 56 w 149"/>
              <a:gd name="T65" fmla="*/ 5 h 160"/>
              <a:gd name="T66" fmla="*/ 75 w 149"/>
              <a:gd name="T67" fmla="*/ 13 h 160"/>
              <a:gd name="T68" fmla="*/ 56 w 149"/>
              <a:gd name="T69" fmla="*/ 5 h 160"/>
              <a:gd name="T70" fmla="*/ 37 w 149"/>
              <a:gd name="T71" fmla="*/ 21 h 160"/>
              <a:gd name="T72" fmla="*/ 93 w 149"/>
              <a:gd name="T73" fmla="*/ 11 h 160"/>
              <a:gd name="T74" fmla="*/ 80 w 149"/>
              <a:gd name="T75" fmla="*/ 19 h 160"/>
              <a:gd name="T76" fmla="*/ 51 w 149"/>
              <a:gd name="T77" fmla="*/ 19 h 160"/>
              <a:gd name="T78" fmla="*/ 37 w 149"/>
              <a:gd name="T79" fmla="*/ 11 h 160"/>
              <a:gd name="T80" fmla="*/ 19 w 149"/>
              <a:gd name="T81" fmla="*/ 24 h 160"/>
              <a:gd name="T82" fmla="*/ 112 w 149"/>
              <a:gd name="T83" fmla="*/ 24 h 160"/>
              <a:gd name="T84" fmla="*/ 96 w 149"/>
              <a:gd name="T85" fmla="*/ 27 h 160"/>
              <a:gd name="T86" fmla="*/ 125 w 149"/>
              <a:gd name="T87" fmla="*/ 139 h 160"/>
              <a:gd name="T88" fmla="*/ 123 w 149"/>
              <a:gd name="T89" fmla="*/ 19 h 160"/>
              <a:gd name="T90" fmla="*/ 99 w 149"/>
              <a:gd name="T91" fmla="*/ 19 h 160"/>
              <a:gd name="T92" fmla="*/ 13 w 149"/>
              <a:gd name="T93" fmla="*/ 147 h 160"/>
              <a:gd name="T94" fmla="*/ 32 w 149"/>
              <a:gd name="T95" fmla="*/ 11 h 160"/>
              <a:gd name="T96" fmla="*/ 125 w 149"/>
              <a:gd name="T97" fmla="*/ 155 h 160"/>
              <a:gd name="T98" fmla="*/ 136 w 149"/>
              <a:gd name="T99" fmla="*/ 147 h 160"/>
              <a:gd name="T100" fmla="*/ 131 w 149"/>
              <a:gd name="T101" fmla="*/ 137 h 160"/>
              <a:gd name="T102" fmla="*/ 128 w 149"/>
              <a:gd name="T103" fmla="*/ 131 h 160"/>
              <a:gd name="T104" fmla="*/ 144 w 149"/>
              <a:gd name="T105" fmla="*/ 19 h 160"/>
              <a:gd name="T106" fmla="*/ 131 w 149"/>
              <a:gd name="T107" fmla="*/ 5 h 160"/>
              <a:gd name="T108" fmla="*/ 144 w 149"/>
              <a:gd name="T109" fmla="*/ 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160">
                <a:moveTo>
                  <a:pt x="32" y="48"/>
                </a:moveTo>
                <a:cubicBezTo>
                  <a:pt x="32" y="47"/>
                  <a:pt x="33" y="45"/>
                  <a:pt x="35" y="45"/>
                </a:cubicBezTo>
                <a:cubicBezTo>
                  <a:pt x="59" y="45"/>
                  <a:pt x="59" y="45"/>
                  <a:pt x="59" y="45"/>
                </a:cubicBezTo>
                <a:cubicBezTo>
                  <a:pt x="60" y="45"/>
                  <a:pt x="61" y="47"/>
                  <a:pt x="61" y="48"/>
                </a:cubicBezTo>
                <a:cubicBezTo>
                  <a:pt x="61" y="49"/>
                  <a:pt x="60" y="51"/>
                  <a:pt x="59" y="51"/>
                </a:cubicBezTo>
                <a:cubicBezTo>
                  <a:pt x="35" y="51"/>
                  <a:pt x="35" y="51"/>
                  <a:pt x="35" y="51"/>
                </a:cubicBezTo>
                <a:cubicBezTo>
                  <a:pt x="33" y="51"/>
                  <a:pt x="32" y="49"/>
                  <a:pt x="32" y="48"/>
                </a:cubicBezTo>
                <a:close/>
                <a:moveTo>
                  <a:pt x="35" y="69"/>
                </a:moveTo>
                <a:cubicBezTo>
                  <a:pt x="48" y="69"/>
                  <a:pt x="48" y="69"/>
                  <a:pt x="48" y="69"/>
                </a:cubicBezTo>
                <a:cubicBezTo>
                  <a:pt x="49" y="69"/>
                  <a:pt x="51" y="68"/>
                  <a:pt x="51" y="67"/>
                </a:cubicBezTo>
                <a:cubicBezTo>
                  <a:pt x="51" y="65"/>
                  <a:pt x="49" y="64"/>
                  <a:pt x="48" y="64"/>
                </a:cubicBezTo>
                <a:cubicBezTo>
                  <a:pt x="35" y="64"/>
                  <a:pt x="35" y="64"/>
                  <a:pt x="35" y="64"/>
                </a:cubicBezTo>
                <a:cubicBezTo>
                  <a:pt x="33" y="64"/>
                  <a:pt x="32" y="65"/>
                  <a:pt x="32" y="67"/>
                </a:cubicBezTo>
                <a:cubicBezTo>
                  <a:pt x="32" y="68"/>
                  <a:pt x="33" y="69"/>
                  <a:pt x="35" y="69"/>
                </a:cubicBezTo>
                <a:close/>
                <a:moveTo>
                  <a:pt x="69" y="69"/>
                </a:moveTo>
                <a:cubicBezTo>
                  <a:pt x="88" y="69"/>
                  <a:pt x="88" y="69"/>
                  <a:pt x="88" y="69"/>
                </a:cubicBezTo>
                <a:cubicBezTo>
                  <a:pt x="89" y="69"/>
                  <a:pt x="91" y="68"/>
                  <a:pt x="91" y="67"/>
                </a:cubicBezTo>
                <a:cubicBezTo>
                  <a:pt x="91" y="65"/>
                  <a:pt x="89" y="64"/>
                  <a:pt x="88" y="64"/>
                </a:cubicBezTo>
                <a:cubicBezTo>
                  <a:pt x="69" y="64"/>
                  <a:pt x="69" y="64"/>
                  <a:pt x="69" y="64"/>
                </a:cubicBezTo>
                <a:cubicBezTo>
                  <a:pt x="68" y="64"/>
                  <a:pt x="67" y="65"/>
                  <a:pt x="67" y="67"/>
                </a:cubicBezTo>
                <a:cubicBezTo>
                  <a:pt x="67" y="68"/>
                  <a:pt x="68" y="69"/>
                  <a:pt x="69" y="69"/>
                </a:cubicBezTo>
                <a:close/>
                <a:moveTo>
                  <a:pt x="61" y="69"/>
                </a:moveTo>
                <a:cubicBezTo>
                  <a:pt x="61" y="68"/>
                  <a:pt x="61" y="67"/>
                  <a:pt x="61" y="67"/>
                </a:cubicBezTo>
                <a:cubicBezTo>
                  <a:pt x="61" y="66"/>
                  <a:pt x="61" y="65"/>
                  <a:pt x="61" y="65"/>
                </a:cubicBezTo>
                <a:cubicBezTo>
                  <a:pt x="60" y="64"/>
                  <a:pt x="58" y="64"/>
                  <a:pt x="57" y="65"/>
                </a:cubicBezTo>
                <a:cubicBezTo>
                  <a:pt x="56" y="65"/>
                  <a:pt x="56" y="66"/>
                  <a:pt x="56" y="67"/>
                </a:cubicBezTo>
                <a:cubicBezTo>
                  <a:pt x="56" y="67"/>
                  <a:pt x="56" y="68"/>
                  <a:pt x="57" y="69"/>
                </a:cubicBezTo>
                <a:cubicBezTo>
                  <a:pt x="57" y="69"/>
                  <a:pt x="58" y="69"/>
                  <a:pt x="59" y="69"/>
                </a:cubicBezTo>
                <a:cubicBezTo>
                  <a:pt x="59" y="69"/>
                  <a:pt x="60" y="69"/>
                  <a:pt x="61" y="69"/>
                </a:cubicBezTo>
                <a:close/>
                <a:moveTo>
                  <a:pt x="99" y="69"/>
                </a:moveTo>
                <a:cubicBezTo>
                  <a:pt x="99" y="69"/>
                  <a:pt x="100" y="69"/>
                  <a:pt x="101" y="69"/>
                </a:cubicBezTo>
                <a:cubicBezTo>
                  <a:pt x="101" y="68"/>
                  <a:pt x="101" y="67"/>
                  <a:pt x="101" y="67"/>
                </a:cubicBezTo>
                <a:cubicBezTo>
                  <a:pt x="101" y="66"/>
                  <a:pt x="101" y="65"/>
                  <a:pt x="101" y="65"/>
                </a:cubicBezTo>
                <a:cubicBezTo>
                  <a:pt x="100" y="64"/>
                  <a:pt x="98" y="64"/>
                  <a:pt x="97" y="65"/>
                </a:cubicBezTo>
                <a:cubicBezTo>
                  <a:pt x="96" y="65"/>
                  <a:pt x="96" y="66"/>
                  <a:pt x="96" y="67"/>
                </a:cubicBezTo>
                <a:cubicBezTo>
                  <a:pt x="96" y="67"/>
                  <a:pt x="96" y="68"/>
                  <a:pt x="97" y="69"/>
                </a:cubicBezTo>
                <a:cubicBezTo>
                  <a:pt x="97" y="69"/>
                  <a:pt x="98" y="69"/>
                  <a:pt x="99" y="69"/>
                </a:cubicBezTo>
                <a:close/>
                <a:moveTo>
                  <a:pt x="43" y="85"/>
                </a:moveTo>
                <a:cubicBezTo>
                  <a:pt x="43" y="87"/>
                  <a:pt x="44" y="88"/>
                  <a:pt x="45" y="88"/>
                </a:cubicBezTo>
                <a:cubicBezTo>
                  <a:pt x="64" y="88"/>
                  <a:pt x="64" y="88"/>
                  <a:pt x="64" y="88"/>
                </a:cubicBezTo>
                <a:cubicBezTo>
                  <a:pt x="65" y="88"/>
                  <a:pt x="67" y="87"/>
                  <a:pt x="67" y="85"/>
                </a:cubicBezTo>
                <a:cubicBezTo>
                  <a:pt x="67" y="84"/>
                  <a:pt x="65" y="83"/>
                  <a:pt x="64" y="83"/>
                </a:cubicBezTo>
                <a:cubicBezTo>
                  <a:pt x="45" y="83"/>
                  <a:pt x="45" y="83"/>
                  <a:pt x="45" y="83"/>
                </a:cubicBezTo>
                <a:cubicBezTo>
                  <a:pt x="44" y="83"/>
                  <a:pt x="43" y="84"/>
                  <a:pt x="43" y="85"/>
                </a:cubicBezTo>
                <a:close/>
                <a:moveTo>
                  <a:pt x="37" y="87"/>
                </a:moveTo>
                <a:cubicBezTo>
                  <a:pt x="37" y="87"/>
                  <a:pt x="37" y="86"/>
                  <a:pt x="37" y="85"/>
                </a:cubicBezTo>
                <a:cubicBezTo>
                  <a:pt x="37" y="85"/>
                  <a:pt x="37" y="84"/>
                  <a:pt x="37" y="83"/>
                </a:cubicBezTo>
                <a:cubicBezTo>
                  <a:pt x="36" y="82"/>
                  <a:pt x="34" y="82"/>
                  <a:pt x="33" y="83"/>
                </a:cubicBezTo>
                <a:cubicBezTo>
                  <a:pt x="32" y="84"/>
                  <a:pt x="32" y="85"/>
                  <a:pt x="32" y="85"/>
                </a:cubicBezTo>
                <a:cubicBezTo>
                  <a:pt x="32" y="86"/>
                  <a:pt x="32" y="87"/>
                  <a:pt x="33" y="87"/>
                </a:cubicBezTo>
                <a:cubicBezTo>
                  <a:pt x="33" y="88"/>
                  <a:pt x="34" y="88"/>
                  <a:pt x="35" y="88"/>
                </a:cubicBezTo>
                <a:cubicBezTo>
                  <a:pt x="35" y="88"/>
                  <a:pt x="36" y="88"/>
                  <a:pt x="37" y="87"/>
                </a:cubicBezTo>
                <a:close/>
                <a:moveTo>
                  <a:pt x="49" y="99"/>
                </a:moveTo>
                <a:cubicBezTo>
                  <a:pt x="44" y="102"/>
                  <a:pt x="42" y="108"/>
                  <a:pt x="41" y="114"/>
                </a:cubicBezTo>
                <a:cubicBezTo>
                  <a:pt x="40" y="113"/>
                  <a:pt x="39" y="112"/>
                  <a:pt x="38" y="111"/>
                </a:cubicBezTo>
                <a:cubicBezTo>
                  <a:pt x="35" y="109"/>
                  <a:pt x="31" y="113"/>
                  <a:pt x="34" y="115"/>
                </a:cubicBezTo>
                <a:cubicBezTo>
                  <a:pt x="36" y="117"/>
                  <a:pt x="39" y="119"/>
                  <a:pt x="41" y="121"/>
                </a:cubicBezTo>
                <a:cubicBezTo>
                  <a:pt x="43" y="123"/>
                  <a:pt x="46" y="122"/>
                  <a:pt x="46" y="119"/>
                </a:cubicBezTo>
                <a:cubicBezTo>
                  <a:pt x="46" y="114"/>
                  <a:pt x="46" y="107"/>
                  <a:pt x="52" y="104"/>
                </a:cubicBezTo>
                <a:cubicBezTo>
                  <a:pt x="55" y="102"/>
                  <a:pt x="52" y="97"/>
                  <a:pt x="49" y="99"/>
                </a:cubicBezTo>
                <a:close/>
                <a:moveTo>
                  <a:pt x="67" y="110"/>
                </a:moveTo>
                <a:cubicBezTo>
                  <a:pt x="63" y="111"/>
                  <a:pt x="59" y="115"/>
                  <a:pt x="57" y="110"/>
                </a:cubicBezTo>
                <a:cubicBezTo>
                  <a:pt x="55" y="107"/>
                  <a:pt x="51" y="110"/>
                  <a:pt x="52" y="113"/>
                </a:cubicBezTo>
                <a:cubicBezTo>
                  <a:pt x="53" y="115"/>
                  <a:pt x="56" y="117"/>
                  <a:pt x="59" y="118"/>
                </a:cubicBezTo>
                <a:cubicBezTo>
                  <a:pt x="61" y="118"/>
                  <a:pt x="62" y="118"/>
                  <a:pt x="64" y="117"/>
                </a:cubicBezTo>
                <a:cubicBezTo>
                  <a:pt x="65" y="117"/>
                  <a:pt x="69" y="114"/>
                  <a:pt x="70" y="115"/>
                </a:cubicBezTo>
                <a:cubicBezTo>
                  <a:pt x="71" y="118"/>
                  <a:pt x="76" y="116"/>
                  <a:pt x="74" y="113"/>
                </a:cubicBezTo>
                <a:cubicBezTo>
                  <a:pt x="73" y="110"/>
                  <a:pt x="70" y="109"/>
                  <a:pt x="67" y="110"/>
                </a:cubicBezTo>
                <a:close/>
                <a:moveTo>
                  <a:pt x="149" y="8"/>
                </a:moveTo>
                <a:cubicBezTo>
                  <a:pt x="149" y="19"/>
                  <a:pt x="149" y="19"/>
                  <a:pt x="149" y="19"/>
                </a:cubicBezTo>
                <a:cubicBezTo>
                  <a:pt x="149" y="35"/>
                  <a:pt x="149" y="35"/>
                  <a:pt x="149" y="35"/>
                </a:cubicBezTo>
                <a:cubicBezTo>
                  <a:pt x="149" y="134"/>
                  <a:pt x="149" y="134"/>
                  <a:pt x="149" y="134"/>
                </a:cubicBezTo>
                <a:cubicBezTo>
                  <a:pt x="139" y="153"/>
                  <a:pt x="139" y="153"/>
                  <a:pt x="139" y="153"/>
                </a:cubicBezTo>
                <a:cubicBezTo>
                  <a:pt x="139" y="157"/>
                  <a:pt x="139" y="157"/>
                  <a:pt x="139" y="157"/>
                </a:cubicBezTo>
                <a:cubicBezTo>
                  <a:pt x="139" y="159"/>
                  <a:pt x="137" y="160"/>
                  <a:pt x="136" y="160"/>
                </a:cubicBezTo>
                <a:cubicBezTo>
                  <a:pt x="135" y="160"/>
                  <a:pt x="133" y="159"/>
                  <a:pt x="133" y="157"/>
                </a:cubicBezTo>
                <a:cubicBezTo>
                  <a:pt x="133" y="153"/>
                  <a:pt x="133" y="153"/>
                  <a:pt x="133" y="153"/>
                </a:cubicBezTo>
                <a:cubicBezTo>
                  <a:pt x="131" y="148"/>
                  <a:pt x="131" y="148"/>
                  <a:pt x="131" y="148"/>
                </a:cubicBezTo>
                <a:cubicBezTo>
                  <a:pt x="131" y="160"/>
                  <a:pt x="131" y="160"/>
                  <a:pt x="131" y="160"/>
                </a:cubicBezTo>
                <a:cubicBezTo>
                  <a:pt x="0" y="160"/>
                  <a:pt x="0" y="160"/>
                  <a:pt x="0" y="160"/>
                </a:cubicBezTo>
                <a:cubicBezTo>
                  <a:pt x="0" y="5"/>
                  <a:pt x="0" y="5"/>
                  <a:pt x="0" y="5"/>
                </a:cubicBezTo>
                <a:cubicBezTo>
                  <a:pt x="35" y="5"/>
                  <a:pt x="35" y="5"/>
                  <a:pt x="35" y="5"/>
                </a:cubicBezTo>
                <a:cubicBezTo>
                  <a:pt x="51" y="5"/>
                  <a:pt x="51" y="5"/>
                  <a:pt x="51" y="5"/>
                </a:cubicBezTo>
                <a:cubicBezTo>
                  <a:pt x="51" y="3"/>
                  <a:pt x="51" y="3"/>
                  <a:pt x="51" y="3"/>
                </a:cubicBezTo>
                <a:cubicBezTo>
                  <a:pt x="51" y="1"/>
                  <a:pt x="52" y="0"/>
                  <a:pt x="53" y="0"/>
                </a:cubicBezTo>
                <a:cubicBezTo>
                  <a:pt x="77" y="0"/>
                  <a:pt x="77" y="0"/>
                  <a:pt x="77" y="0"/>
                </a:cubicBezTo>
                <a:cubicBezTo>
                  <a:pt x="79" y="0"/>
                  <a:pt x="80" y="1"/>
                  <a:pt x="80" y="3"/>
                </a:cubicBezTo>
                <a:cubicBezTo>
                  <a:pt x="80" y="5"/>
                  <a:pt x="80" y="5"/>
                  <a:pt x="80" y="5"/>
                </a:cubicBezTo>
                <a:cubicBezTo>
                  <a:pt x="96" y="5"/>
                  <a:pt x="96" y="5"/>
                  <a:pt x="96" y="5"/>
                </a:cubicBezTo>
                <a:cubicBezTo>
                  <a:pt x="123" y="5"/>
                  <a:pt x="123" y="5"/>
                  <a:pt x="123" y="5"/>
                </a:cubicBezTo>
                <a:cubicBezTo>
                  <a:pt x="124" y="2"/>
                  <a:pt x="127" y="0"/>
                  <a:pt x="131" y="0"/>
                </a:cubicBezTo>
                <a:cubicBezTo>
                  <a:pt x="141" y="0"/>
                  <a:pt x="141" y="0"/>
                  <a:pt x="141" y="0"/>
                </a:cubicBezTo>
                <a:cubicBezTo>
                  <a:pt x="146" y="0"/>
                  <a:pt x="149" y="4"/>
                  <a:pt x="149" y="8"/>
                </a:cubicBezTo>
                <a:close/>
                <a:moveTo>
                  <a:pt x="128" y="29"/>
                </a:moveTo>
                <a:cubicBezTo>
                  <a:pt x="144" y="29"/>
                  <a:pt x="144" y="29"/>
                  <a:pt x="144" y="29"/>
                </a:cubicBezTo>
                <a:cubicBezTo>
                  <a:pt x="144" y="24"/>
                  <a:pt x="144" y="24"/>
                  <a:pt x="144" y="24"/>
                </a:cubicBezTo>
                <a:cubicBezTo>
                  <a:pt x="128" y="24"/>
                  <a:pt x="128" y="24"/>
                  <a:pt x="128" y="24"/>
                </a:cubicBezTo>
                <a:lnTo>
                  <a:pt x="128" y="29"/>
                </a:lnTo>
                <a:close/>
                <a:moveTo>
                  <a:pt x="56" y="5"/>
                </a:moveTo>
                <a:cubicBezTo>
                  <a:pt x="56" y="8"/>
                  <a:pt x="56" y="8"/>
                  <a:pt x="56" y="8"/>
                </a:cubicBezTo>
                <a:cubicBezTo>
                  <a:pt x="56" y="13"/>
                  <a:pt x="56" y="13"/>
                  <a:pt x="56" y="13"/>
                </a:cubicBezTo>
                <a:cubicBezTo>
                  <a:pt x="75" y="13"/>
                  <a:pt x="75" y="13"/>
                  <a:pt x="75" y="13"/>
                </a:cubicBezTo>
                <a:cubicBezTo>
                  <a:pt x="75" y="8"/>
                  <a:pt x="75" y="8"/>
                  <a:pt x="75" y="8"/>
                </a:cubicBezTo>
                <a:cubicBezTo>
                  <a:pt x="75" y="5"/>
                  <a:pt x="75" y="5"/>
                  <a:pt x="75" y="5"/>
                </a:cubicBezTo>
                <a:lnTo>
                  <a:pt x="56" y="5"/>
                </a:lnTo>
                <a:close/>
                <a:moveTo>
                  <a:pt x="37" y="11"/>
                </a:moveTo>
                <a:cubicBezTo>
                  <a:pt x="37" y="19"/>
                  <a:pt x="37" y="19"/>
                  <a:pt x="37" y="19"/>
                </a:cubicBezTo>
                <a:cubicBezTo>
                  <a:pt x="37" y="21"/>
                  <a:pt x="37" y="21"/>
                  <a:pt x="37" y="21"/>
                </a:cubicBezTo>
                <a:cubicBezTo>
                  <a:pt x="93" y="21"/>
                  <a:pt x="93" y="21"/>
                  <a:pt x="93" y="21"/>
                </a:cubicBezTo>
                <a:cubicBezTo>
                  <a:pt x="93" y="19"/>
                  <a:pt x="93" y="19"/>
                  <a:pt x="93" y="19"/>
                </a:cubicBezTo>
                <a:cubicBezTo>
                  <a:pt x="93" y="11"/>
                  <a:pt x="93" y="11"/>
                  <a:pt x="93" y="11"/>
                </a:cubicBezTo>
                <a:cubicBezTo>
                  <a:pt x="80" y="11"/>
                  <a:pt x="80" y="11"/>
                  <a:pt x="80" y="11"/>
                </a:cubicBezTo>
                <a:cubicBezTo>
                  <a:pt x="80" y="16"/>
                  <a:pt x="80" y="16"/>
                  <a:pt x="80" y="16"/>
                </a:cubicBezTo>
                <a:cubicBezTo>
                  <a:pt x="80" y="19"/>
                  <a:pt x="80" y="19"/>
                  <a:pt x="80" y="19"/>
                </a:cubicBezTo>
                <a:cubicBezTo>
                  <a:pt x="77" y="19"/>
                  <a:pt x="77" y="19"/>
                  <a:pt x="77" y="19"/>
                </a:cubicBezTo>
                <a:cubicBezTo>
                  <a:pt x="53" y="19"/>
                  <a:pt x="53" y="19"/>
                  <a:pt x="53" y="19"/>
                </a:cubicBezTo>
                <a:cubicBezTo>
                  <a:pt x="51" y="19"/>
                  <a:pt x="51" y="19"/>
                  <a:pt x="51" y="19"/>
                </a:cubicBezTo>
                <a:cubicBezTo>
                  <a:pt x="51" y="16"/>
                  <a:pt x="51" y="16"/>
                  <a:pt x="51" y="16"/>
                </a:cubicBezTo>
                <a:cubicBezTo>
                  <a:pt x="51" y="11"/>
                  <a:pt x="51" y="11"/>
                  <a:pt x="51" y="11"/>
                </a:cubicBezTo>
                <a:lnTo>
                  <a:pt x="37" y="11"/>
                </a:lnTo>
                <a:close/>
                <a:moveTo>
                  <a:pt x="32" y="27"/>
                </a:moveTo>
                <a:cubicBezTo>
                  <a:pt x="32" y="24"/>
                  <a:pt x="32" y="24"/>
                  <a:pt x="32" y="24"/>
                </a:cubicBezTo>
                <a:cubicBezTo>
                  <a:pt x="19" y="24"/>
                  <a:pt x="19" y="24"/>
                  <a:pt x="19" y="24"/>
                </a:cubicBezTo>
                <a:cubicBezTo>
                  <a:pt x="19" y="141"/>
                  <a:pt x="19" y="141"/>
                  <a:pt x="19" y="141"/>
                </a:cubicBezTo>
                <a:cubicBezTo>
                  <a:pt x="112" y="141"/>
                  <a:pt x="112" y="141"/>
                  <a:pt x="112" y="141"/>
                </a:cubicBezTo>
                <a:cubicBezTo>
                  <a:pt x="112" y="24"/>
                  <a:pt x="112" y="24"/>
                  <a:pt x="112" y="24"/>
                </a:cubicBezTo>
                <a:cubicBezTo>
                  <a:pt x="99" y="24"/>
                  <a:pt x="99" y="24"/>
                  <a:pt x="99" y="24"/>
                </a:cubicBezTo>
                <a:cubicBezTo>
                  <a:pt x="99" y="27"/>
                  <a:pt x="99" y="27"/>
                  <a:pt x="99" y="27"/>
                </a:cubicBezTo>
                <a:cubicBezTo>
                  <a:pt x="96" y="27"/>
                  <a:pt x="96" y="27"/>
                  <a:pt x="96" y="27"/>
                </a:cubicBezTo>
                <a:cubicBezTo>
                  <a:pt x="35" y="27"/>
                  <a:pt x="35" y="27"/>
                  <a:pt x="35" y="27"/>
                </a:cubicBezTo>
                <a:lnTo>
                  <a:pt x="32" y="27"/>
                </a:lnTo>
                <a:close/>
                <a:moveTo>
                  <a:pt x="125" y="139"/>
                </a:moveTo>
                <a:cubicBezTo>
                  <a:pt x="123" y="134"/>
                  <a:pt x="123" y="134"/>
                  <a:pt x="123" y="134"/>
                </a:cubicBezTo>
                <a:cubicBezTo>
                  <a:pt x="123" y="35"/>
                  <a:pt x="123" y="35"/>
                  <a:pt x="123" y="35"/>
                </a:cubicBezTo>
                <a:cubicBezTo>
                  <a:pt x="123" y="19"/>
                  <a:pt x="123" y="19"/>
                  <a:pt x="123" y="19"/>
                </a:cubicBezTo>
                <a:cubicBezTo>
                  <a:pt x="123" y="11"/>
                  <a:pt x="123" y="11"/>
                  <a:pt x="123" y="11"/>
                </a:cubicBezTo>
                <a:cubicBezTo>
                  <a:pt x="99" y="11"/>
                  <a:pt x="99" y="11"/>
                  <a:pt x="99" y="11"/>
                </a:cubicBezTo>
                <a:cubicBezTo>
                  <a:pt x="99" y="19"/>
                  <a:pt x="99" y="19"/>
                  <a:pt x="99" y="19"/>
                </a:cubicBezTo>
                <a:cubicBezTo>
                  <a:pt x="117" y="19"/>
                  <a:pt x="117" y="19"/>
                  <a:pt x="117" y="19"/>
                </a:cubicBezTo>
                <a:cubicBezTo>
                  <a:pt x="117" y="147"/>
                  <a:pt x="117" y="147"/>
                  <a:pt x="117" y="147"/>
                </a:cubicBezTo>
                <a:cubicBezTo>
                  <a:pt x="13" y="147"/>
                  <a:pt x="13" y="147"/>
                  <a:pt x="13" y="147"/>
                </a:cubicBezTo>
                <a:cubicBezTo>
                  <a:pt x="13" y="19"/>
                  <a:pt x="13" y="19"/>
                  <a:pt x="13" y="19"/>
                </a:cubicBezTo>
                <a:cubicBezTo>
                  <a:pt x="32" y="19"/>
                  <a:pt x="32" y="19"/>
                  <a:pt x="32" y="19"/>
                </a:cubicBezTo>
                <a:cubicBezTo>
                  <a:pt x="32" y="11"/>
                  <a:pt x="32" y="11"/>
                  <a:pt x="32" y="11"/>
                </a:cubicBezTo>
                <a:cubicBezTo>
                  <a:pt x="5" y="11"/>
                  <a:pt x="5" y="11"/>
                  <a:pt x="5" y="11"/>
                </a:cubicBezTo>
                <a:cubicBezTo>
                  <a:pt x="5" y="155"/>
                  <a:pt x="5" y="155"/>
                  <a:pt x="5" y="155"/>
                </a:cubicBezTo>
                <a:cubicBezTo>
                  <a:pt x="125" y="155"/>
                  <a:pt x="125" y="155"/>
                  <a:pt x="125" y="155"/>
                </a:cubicBezTo>
                <a:lnTo>
                  <a:pt x="125" y="139"/>
                </a:lnTo>
                <a:close/>
                <a:moveTo>
                  <a:pt x="131" y="137"/>
                </a:moveTo>
                <a:cubicBezTo>
                  <a:pt x="136" y="147"/>
                  <a:pt x="136" y="147"/>
                  <a:pt x="136" y="147"/>
                </a:cubicBezTo>
                <a:cubicBezTo>
                  <a:pt x="142" y="136"/>
                  <a:pt x="142" y="136"/>
                  <a:pt x="142" y="136"/>
                </a:cubicBezTo>
                <a:cubicBezTo>
                  <a:pt x="130" y="136"/>
                  <a:pt x="130" y="136"/>
                  <a:pt x="130" y="136"/>
                </a:cubicBezTo>
                <a:lnTo>
                  <a:pt x="131" y="137"/>
                </a:lnTo>
                <a:close/>
                <a:moveTo>
                  <a:pt x="144" y="35"/>
                </a:moveTo>
                <a:cubicBezTo>
                  <a:pt x="128" y="35"/>
                  <a:pt x="128" y="35"/>
                  <a:pt x="128" y="35"/>
                </a:cubicBezTo>
                <a:cubicBezTo>
                  <a:pt x="128" y="131"/>
                  <a:pt x="128" y="131"/>
                  <a:pt x="128" y="131"/>
                </a:cubicBezTo>
                <a:cubicBezTo>
                  <a:pt x="144" y="131"/>
                  <a:pt x="144" y="131"/>
                  <a:pt x="144" y="131"/>
                </a:cubicBezTo>
                <a:lnTo>
                  <a:pt x="144" y="35"/>
                </a:lnTo>
                <a:close/>
                <a:moveTo>
                  <a:pt x="144" y="19"/>
                </a:moveTo>
                <a:cubicBezTo>
                  <a:pt x="144" y="8"/>
                  <a:pt x="144" y="8"/>
                  <a:pt x="144" y="8"/>
                </a:cubicBezTo>
                <a:cubicBezTo>
                  <a:pt x="144" y="7"/>
                  <a:pt x="143" y="5"/>
                  <a:pt x="141" y="5"/>
                </a:cubicBezTo>
                <a:cubicBezTo>
                  <a:pt x="131" y="5"/>
                  <a:pt x="131" y="5"/>
                  <a:pt x="131" y="5"/>
                </a:cubicBezTo>
                <a:cubicBezTo>
                  <a:pt x="129" y="5"/>
                  <a:pt x="128" y="7"/>
                  <a:pt x="128" y="8"/>
                </a:cubicBezTo>
                <a:cubicBezTo>
                  <a:pt x="128" y="19"/>
                  <a:pt x="128" y="19"/>
                  <a:pt x="128" y="19"/>
                </a:cubicBezTo>
                <a:lnTo>
                  <a:pt x="144" y="1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07" name="Freeform 1309">
            <a:extLst>
              <a:ext uri="{FF2B5EF4-FFF2-40B4-BE49-F238E27FC236}">
                <a16:creationId xmlns:a16="http://schemas.microsoft.com/office/drawing/2014/main" id="{86A572E6-791E-5744-AE2F-60F5C77CCC07}"/>
              </a:ext>
            </a:extLst>
          </p:cNvPr>
          <p:cNvSpPr>
            <a:spLocks noEditPoints="1"/>
          </p:cNvSpPr>
          <p:nvPr/>
        </p:nvSpPr>
        <p:spPr bwMode="auto">
          <a:xfrm>
            <a:off x="2452262" y="2841625"/>
            <a:ext cx="447675" cy="550863"/>
          </a:xfrm>
          <a:custGeom>
            <a:avLst/>
            <a:gdLst>
              <a:gd name="T0" fmla="*/ 27 w 131"/>
              <a:gd name="T1" fmla="*/ 40 h 160"/>
              <a:gd name="T2" fmla="*/ 64 w 131"/>
              <a:gd name="T3" fmla="*/ 43 h 160"/>
              <a:gd name="T4" fmla="*/ 27 w 131"/>
              <a:gd name="T5" fmla="*/ 45 h 160"/>
              <a:gd name="T6" fmla="*/ 27 w 131"/>
              <a:gd name="T7" fmla="*/ 128 h 160"/>
              <a:gd name="T8" fmla="*/ 64 w 131"/>
              <a:gd name="T9" fmla="*/ 125 h 160"/>
              <a:gd name="T10" fmla="*/ 27 w 131"/>
              <a:gd name="T11" fmla="*/ 123 h 160"/>
              <a:gd name="T12" fmla="*/ 27 w 131"/>
              <a:gd name="T13" fmla="*/ 128 h 160"/>
              <a:gd name="T14" fmla="*/ 104 w 131"/>
              <a:gd name="T15" fmla="*/ 61 h 160"/>
              <a:gd name="T16" fmla="*/ 104 w 131"/>
              <a:gd name="T17" fmla="*/ 56 h 160"/>
              <a:gd name="T18" fmla="*/ 24 w 131"/>
              <a:gd name="T19" fmla="*/ 59 h 160"/>
              <a:gd name="T20" fmla="*/ 27 w 131"/>
              <a:gd name="T21" fmla="*/ 93 h 160"/>
              <a:gd name="T22" fmla="*/ 107 w 131"/>
              <a:gd name="T23" fmla="*/ 91 h 160"/>
              <a:gd name="T24" fmla="*/ 27 w 131"/>
              <a:gd name="T25" fmla="*/ 88 h 160"/>
              <a:gd name="T26" fmla="*/ 27 w 131"/>
              <a:gd name="T27" fmla="*/ 93 h 160"/>
              <a:gd name="T28" fmla="*/ 104 w 131"/>
              <a:gd name="T29" fmla="*/ 112 h 160"/>
              <a:gd name="T30" fmla="*/ 104 w 131"/>
              <a:gd name="T31" fmla="*/ 107 h 160"/>
              <a:gd name="T32" fmla="*/ 24 w 131"/>
              <a:gd name="T33" fmla="*/ 109 h 160"/>
              <a:gd name="T34" fmla="*/ 27 w 131"/>
              <a:gd name="T35" fmla="*/ 77 h 160"/>
              <a:gd name="T36" fmla="*/ 67 w 131"/>
              <a:gd name="T37" fmla="*/ 75 h 160"/>
              <a:gd name="T38" fmla="*/ 27 w 131"/>
              <a:gd name="T39" fmla="*/ 72 h 160"/>
              <a:gd name="T40" fmla="*/ 27 w 131"/>
              <a:gd name="T41" fmla="*/ 77 h 160"/>
              <a:gd name="T42" fmla="*/ 85 w 131"/>
              <a:gd name="T43" fmla="*/ 72 h 160"/>
              <a:gd name="T44" fmla="*/ 85 w 131"/>
              <a:gd name="T45" fmla="*/ 77 h 160"/>
              <a:gd name="T46" fmla="*/ 107 w 131"/>
              <a:gd name="T47" fmla="*/ 75 h 160"/>
              <a:gd name="T48" fmla="*/ 73 w 131"/>
              <a:gd name="T49" fmla="*/ 73 h 160"/>
              <a:gd name="T50" fmla="*/ 73 w 131"/>
              <a:gd name="T51" fmla="*/ 77 h 160"/>
              <a:gd name="T52" fmla="*/ 77 w 131"/>
              <a:gd name="T53" fmla="*/ 77 h 160"/>
              <a:gd name="T54" fmla="*/ 77 w 131"/>
              <a:gd name="T55" fmla="*/ 73 h 160"/>
              <a:gd name="T56" fmla="*/ 131 w 131"/>
              <a:gd name="T57" fmla="*/ 5 h 160"/>
              <a:gd name="T58" fmla="*/ 0 w 131"/>
              <a:gd name="T59" fmla="*/ 160 h 160"/>
              <a:gd name="T60" fmla="*/ 35 w 131"/>
              <a:gd name="T61" fmla="*/ 5 h 160"/>
              <a:gd name="T62" fmla="*/ 51 w 131"/>
              <a:gd name="T63" fmla="*/ 3 h 160"/>
              <a:gd name="T64" fmla="*/ 77 w 131"/>
              <a:gd name="T65" fmla="*/ 0 h 160"/>
              <a:gd name="T66" fmla="*/ 80 w 131"/>
              <a:gd name="T67" fmla="*/ 5 h 160"/>
              <a:gd name="T68" fmla="*/ 131 w 131"/>
              <a:gd name="T69" fmla="*/ 5 h 160"/>
              <a:gd name="T70" fmla="*/ 56 w 131"/>
              <a:gd name="T71" fmla="*/ 8 h 160"/>
              <a:gd name="T72" fmla="*/ 75 w 131"/>
              <a:gd name="T73" fmla="*/ 13 h 160"/>
              <a:gd name="T74" fmla="*/ 75 w 131"/>
              <a:gd name="T75" fmla="*/ 5 h 160"/>
              <a:gd name="T76" fmla="*/ 37 w 131"/>
              <a:gd name="T77" fmla="*/ 11 h 160"/>
              <a:gd name="T78" fmla="*/ 37 w 131"/>
              <a:gd name="T79" fmla="*/ 21 h 160"/>
              <a:gd name="T80" fmla="*/ 93 w 131"/>
              <a:gd name="T81" fmla="*/ 13 h 160"/>
              <a:gd name="T82" fmla="*/ 80 w 131"/>
              <a:gd name="T83" fmla="*/ 11 h 160"/>
              <a:gd name="T84" fmla="*/ 80 w 131"/>
              <a:gd name="T85" fmla="*/ 19 h 160"/>
              <a:gd name="T86" fmla="*/ 53 w 131"/>
              <a:gd name="T87" fmla="*/ 19 h 160"/>
              <a:gd name="T88" fmla="*/ 51 w 131"/>
              <a:gd name="T89" fmla="*/ 16 h 160"/>
              <a:gd name="T90" fmla="*/ 37 w 131"/>
              <a:gd name="T91" fmla="*/ 11 h 160"/>
              <a:gd name="T92" fmla="*/ 13 w 131"/>
              <a:gd name="T93" fmla="*/ 19 h 160"/>
              <a:gd name="T94" fmla="*/ 117 w 131"/>
              <a:gd name="T95" fmla="*/ 147 h 160"/>
              <a:gd name="T96" fmla="*/ 99 w 131"/>
              <a:gd name="T97" fmla="*/ 19 h 160"/>
              <a:gd name="T98" fmla="*/ 99 w 131"/>
              <a:gd name="T99" fmla="*/ 27 h 160"/>
              <a:gd name="T100" fmla="*/ 35 w 131"/>
              <a:gd name="T101" fmla="*/ 27 h 160"/>
              <a:gd name="T102" fmla="*/ 32 w 131"/>
              <a:gd name="T103" fmla="*/ 24 h 160"/>
              <a:gd name="T104" fmla="*/ 125 w 131"/>
              <a:gd name="T105" fmla="*/ 11 h 160"/>
              <a:gd name="T106" fmla="*/ 99 w 131"/>
              <a:gd name="T107" fmla="*/ 13 h 160"/>
              <a:gd name="T108" fmla="*/ 123 w 131"/>
              <a:gd name="T109" fmla="*/ 152 h 160"/>
              <a:gd name="T110" fmla="*/ 8 w 131"/>
              <a:gd name="T111" fmla="*/ 13 h 160"/>
              <a:gd name="T112" fmla="*/ 32 w 131"/>
              <a:gd name="T113" fmla="*/ 11 h 160"/>
              <a:gd name="T114" fmla="*/ 5 w 131"/>
              <a:gd name="T115" fmla="*/ 155 h 160"/>
              <a:gd name="T116" fmla="*/ 125 w 131"/>
              <a:gd name="T117" fmla="*/ 1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1" h="160">
                <a:moveTo>
                  <a:pt x="24" y="43"/>
                </a:moveTo>
                <a:cubicBezTo>
                  <a:pt x="24" y="41"/>
                  <a:pt x="25" y="40"/>
                  <a:pt x="27" y="40"/>
                </a:cubicBezTo>
                <a:cubicBezTo>
                  <a:pt x="61" y="40"/>
                  <a:pt x="61" y="40"/>
                  <a:pt x="61" y="40"/>
                </a:cubicBezTo>
                <a:cubicBezTo>
                  <a:pt x="63" y="40"/>
                  <a:pt x="64" y="41"/>
                  <a:pt x="64" y="43"/>
                </a:cubicBezTo>
                <a:cubicBezTo>
                  <a:pt x="64" y="44"/>
                  <a:pt x="63" y="45"/>
                  <a:pt x="61" y="45"/>
                </a:cubicBezTo>
                <a:cubicBezTo>
                  <a:pt x="27" y="45"/>
                  <a:pt x="27" y="45"/>
                  <a:pt x="27" y="45"/>
                </a:cubicBezTo>
                <a:cubicBezTo>
                  <a:pt x="25" y="45"/>
                  <a:pt x="24" y="44"/>
                  <a:pt x="24" y="43"/>
                </a:cubicBezTo>
                <a:close/>
                <a:moveTo>
                  <a:pt x="27" y="128"/>
                </a:moveTo>
                <a:cubicBezTo>
                  <a:pt x="61" y="128"/>
                  <a:pt x="61" y="128"/>
                  <a:pt x="61" y="128"/>
                </a:cubicBezTo>
                <a:cubicBezTo>
                  <a:pt x="63" y="128"/>
                  <a:pt x="64" y="127"/>
                  <a:pt x="64" y="125"/>
                </a:cubicBezTo>
                <a:cubicBezTo>
                  <a:pt x="64" y="124"/>
                  <a:pt x="63" y="123"/>
                  <a:pt x="61" y="123"/>
                </a:cubicBezTo>
                <a:cubicBezTo>
                  <a:pt x="27" y="123"/>
                  <a:pt x="27" y="123"/>
                  <a:pt x="27" y="123"/>
                </a:cubicBezTo>
                <a:cubicBezTo>
                  <a:pt x="25" y="123"/>
                  <a:pt x="24" y="124"/>
                  <a:pt x="24" y="125"/>
                </a:cubicBezTo>
                <a:cubicBezTo>
                  <a:pt x="24" y="127"/>
                  <a:pt x="25" y="128"/>
                  <a:pt x="27" y="128"/>
                </a:cubicBezTo>
                <a:close/>
                <a:moveTo>
                  <a:pt x="27" y="61"/>
                </a:moveTo>
                <a:cubicBezTo>
                  <a:pt x="104" y="61"/>
                  <a:pt x="104" y="61"/>
                  <a:pt x="104" y="61"/>
                </a:cubicBezTo>
                <a:cubicBezTo>
                  <a:pt x="105" y="61"/>
                  <a:pt x="107" y="60"/>
                  <a:pt x="107" y="59"/>
                </a:cubicBezTo>
                <a:cubicBezTo>
                  <a:pt x="107" y="57"/>
                  <a:pt x="105" y="56"/>
                  <a:pt x="104" y="56"/>
                </a:cubicBezTo>
                <a:cubicBezTo>
                  <a:pt x="27" y="56"/>
                  <a:pt x="27" y="56"/>
                  <a:pt x="27" y="56"/>
                </a:cubicBezTo>
                <a:cubicBezTo>
                  <a:pt x="25" y="56"/>
                  <a:pt x="24" y="57"/>
                  <a:pt x="24" y="59"/>
                </a:cubicBezTo>
                <a:cubicBezTo>
                  <a:pt x="24" y="60"/>
                  <a:pt x="25" y="61"/>
                  <a:pt x="27" y="61"/>
                </a:cubicBezTo>
                <a:close/>
                <a:moveTo>
                  <a:pt x="27" y="93"/>
                </a:moveTo>
                <a:cubicBezTo>
                  <a:pt x="104" y="93"/>
                  <a:pt x="104" y="93"/>
                  <a:pt x="104" y="93"/>
                </a:cubicBezTo>
                <a:cubicBezTo>
                  <a:pt x="105" y="93"/>
                  <a:pt x="107" y="92"/>
                  <a:pt x="107" y="91"/>
                </a:cubicBezTo>
                <a:cubicBezTo>
                  <a:pt x="107" y="89"/>
                  <a:pt x="105" y="88"/>
                  <a:pt x="104" y="88"/>
                </a:cubicBezTo>
                <a:cubicBezTo>
                  <a:pt x="27" y="88"/>
                  <a:pt x="27" y="88"/>
                  <a:pt x="27" y="88"/>
                </a:cubicBezTo>
                <a:cubicBezTo>
                  <a:pt x="25" y="88"/>
                  <a:pt x="24" y="89"/>
                  <a:pt x="24" y="91"/>
                </a:cubicBezTo>
                <a:cubicBezTo>
                  <a:pt x="24" y="92"/>
                  <a:pt x="25" y="93"/>
                  <a:pt x="27" y="93"/>
                </a:cubicBezTo>
                <a:close/>
                <a:moveTo>
                  <a:pt x="27" y="112"/>
                </a:moveTo>
                <a:cubicBezTo>
                  <a:pt x="104" y="112"/>
                  <a:pt x="104" y="112"/>
                  <a:pt x="104" y="112"/>
                </a:cubicBezTo>
                <a:cubicBezTo>
                  <a:pt x="105" y="112"/>
                  <a:pt x="107" y="111"/>
                  <a:pt x="107" y="109"/>
                </a:cubicBezTo>
                <a:cubicBezTo>
                  <a:pt x="107" y="108"/>
                  <a:pt x="105" y="107"/>
                  <a:pt x="104" y="107"/>
                </a:cubicBezTo>
                <a:cubicBezTo>
                  <a:pt x="27" y="107"/>
                  <a:pt x="27" y="107"/>
                  <a:pt x="27" y="107"/>
                </a:cubicBezTo>
                <a:cubicBezTo>
                  <a:pt x="25" y="107"/>
                  <a:pt x="24" y="108"/>
                  <a:pt x="24" y="109"/>
                </a:cubicBezTo>
                <a:cubicBezTo>
                  <a:pt x="24" y="111"/>
                  <a:pt x="25" y="112"/>
                  <a:pt x="27" y="112"/>
                </a:cubicBezTo>
                <a:close/>
                <a:moveTo>
                  <a:pt x="27" y="77"/>
                </a:moveTo>
                <a:cubicBezTo>
                  <a:pt x="64" y="77"/>
                  <a:pt x="64" y="77"/>
                  <a:pt x="64" y="77"/>
                </a:cubicBezTo>
                <a:cubicBezTo>
                  <a:pt x="65" y="77"/>
                  <a:pt x="67" y="76"/>
                  <a:pt x="67" y="75"/>
                </a:cubicBezTo>
                <a:cubicBezTo>
                  <a:pt x="67" y="73"/>
                  <a:pt x="65" y="72"/>
                  <a:pt x="64" y="72"/>
                </a:cubicBezTo>
                <a:cubicBezTo>
                  <a:pt x="27" y="72"/>
                  <a:pt x="27" y="72"/>
                  <a:pt x="27" y="72"/>
                </a:cubicBezTo>
                <a:cubicBezTo>
                  <a:pt x="25" y="72"/>
                  <a:pt x="24" y="73"/>
                  <a:pt x="24" y="75"/>
                </a:cubicBezTo>
                <a:cubicBezTo>
                  <a:pt x="24" y="76"/>
                  <a:pt x="25" y="77"/>
                  <a:pt x="27" y="77"/>
                </a:cubicBezTo>
                <a:close/>
                <a:moveTo>
                  <a:pt x="104" y="72"/>
                </a:moveTo>
                <a:cubicBezTo>
                  <a:pt x="85" y="72"/>
                  <a:pt x="85" y="72"/>
                  <a:pt x="85" y="72"/>
                </a:cubicBezTo>
                <a:cubicBezTo>
                  <a:pt x="84" y="72"/>
                  <a:pt x="83" y="73"/>
                  <a:pt x="83" y="75"/>
                </a:cubicBezTo>
                <a:cubicBezTo>
                  <a:pt x="83" y="76"/>
                  <a:pt x="84" y="77"/>
                  <a:pt x="85" y="77"/>
                </a:cubicBezTo>
                <a:cubicBezTo>
                  <a:pt x="104" y="77"/>
                  <a:pt x="104" y="77"/>
                  <a:pt x="104" y="77"/>
                </a:cubicBezTo>
                <a:cubicBezTo>
                  <a:pt x="105" y="77"/>
                  <a:pt x="107" y="76"/>
                  <a:pt x="107" y="75"/>
                </a:cubicBezTo>
                <a:cubicBezTo>
                  <a:pt x="107" y="73"/>
                  <a:pt x="105" y="72"/>
                  <a:pt x="104" y="72"/>
                </a:cubicBezTo>
                <a:close/>
                <a:moveTo>
                  <a:pt x="73" y="73"/>
                </a:moveTo>
                <a:cubicBezTo>
                  <a:pt x="72" y="73"/>
                  <a:pt x="72" y="74"/>
                  <a:pt x="72" y="75"/>
                </a:cubicBezTo>
                <a:cubicBezTo>
                  <a:pt x="72" y="75"/>
                  <a:pt x="72" y="76"/>
                  <a:pt x="73" y="77"/>
                </a:cubicBezTo>
                <a:cubicBezTo>
                  <a:pt x="73" y="77"/>
                  <a:pt x="74" y="77"/>
                  <a:pt x="75" y="77"/>
                </a:cubicBezTo>
                <a:cubicBezTo>
                  <a:pt x="75" y="77"/>
                  <a:pt x="76" y="77"/>
                  <a:pt x="77" y="77"/>
                </a:cubicBezTo>
                <a:cubicBezTo>
                  <a:pt x="77" y="76"/>
                  <a:pt x="77" y="75"/>
                  <a:pt x="77" y="75"/>
                </a:cubicBezTo>
                <a:cubicBezTo>
                  <a:pt x="77" y="74"/>
                  <a:pt x="77" y="73"/>
                  <a:pt x="77" y="73"/>
                </a:cubicBezTo>
                <a:cubicBezTo>
                  <a:pt x="76" y="72"/>
                  <a:pt x="74" y="72"/>
                  <a:pt x="73" y="73"/>
                </a:cubicBezTo>
                <a:close/>
                <a:moveTo>
                  <a:pt x="131" y="5"/>
                </a:moveTo>
                <a:cubicBezTo>
                  <a:pt x="131" y="160"/>
                  <a:pt x="131" y="160"/>
                  <a:pt x="131" y="160"/>
                </a:cubicBezTo>
                <a:cubicBezTo>
                  <a:pt x="0" y="160"/>
                  <a:pt x="0" y="160"/>
                  <a:pt x="0" y="160"/>
                </a:cubicBezTo>
                <a:cubicBezTo>
                  <a:pt x="0" y="5"/>
                  <a:pt x="0" y="5"/>
                  <a:pt x="0" y="5"/>
                </a:cubicBezTo>
                <a:cubicBezTo>
                  <a:pt x="35" y="5"/>
                  <a:pt x="35" y="5"/>
                  <a:pt x="35" y="5"/>
                </a:cubicBezTo>
                <a:cubicBezTo>
                  <a:pt x="51" y="5"/>
                  <a:pt x="51" y="5"/>
                  <a:pt x="51" y="5"/>
                </a:cubicBezTo>
                <a:cubicBezTo>
                  <a:pt x="51" y="3"/>
                  <a:pt x="51" y="3"/>
                  <a:pt x="51" y="3"/>
                </a:cubicBezTo>
                <a:cubicBezTo>
                  <a:pt x="51" y="1"/>
                  <a:pt x="52" y="0"/>
                  <a:pt x="53" y="0"/>
                </a:cubicBezTo>
                <a:cubicBezTo>
                  <a:pt x="77" y="0"/>
                  <a:pt x="77" y="0"/>
                  <a:pt x="77" y="0"/>
                </a:cubicBezTo>
                <a:cubicBezTo>
                  <a:pt x="79" y="0"/>
                  <a:pt x="80" y="1"/>
                  <a:pt x="80" y="3"/>
                </a:cubicBezTo>
                <a:cubicBezTo>
                  <a:pt x="80" y="5"/>
                  <a:pt x="80" y="5"/>
                  <a:pt x="80" y="5"/>
                </a:cubicBezTo>
                <a:cubicBezTo>
                  <a:pt x="96" y="5"/>
                  <a:pt x="96" y="5"/>
                  <a:pt x="96" y="5"/>
                </a:cubicBezTo>
                <a:lnTo>
                  <a:pt x="131" y="5"/>
                </a:lnTo>
                <a:close/>
                <a:moveTo>
                  <a:pt x="56" y="5"/>
                </a:moveTo>
                <a:cubicBezTo>
                  <a:pt x="56" y="8"/>
                  <a:pt x="56" y="8"/>
                  <a:pt x="56" y="8"/>
                </a:cubicBezTo>
                <a:cubicBezTo>
                  <a:pt x="56" y="13"/>
                  <a:pt x="56" y="13"/>
                  <a:pt x="56" y="13"/>
                </a:cubicBezTo>
                <a:cubicBezTo>
                  <a:pt x="75" y="13"/>
                  <a:pt x="75" y="13"/>
                  <a:pt x="75" y="13"/>
                </a:cubicBezTo>
                <a:cubicBezTo>
                  <a:pt x="75" y="8"/>
                  <a:pt x="75" y="8"/>
                  <a:pt x="75" y="8"/>
                </a:cubicBezTo>
                <a:cubicBezTo>
                  <a:pt x="75" y="5"/>
                  <a:pt x="75" y="5"/>
                  <a:pt x="75" y="5"/>
                </a:cubicBezTo>
                <a:lnTo>
                  <a:pt x="56" y="5"/>
                </a:lnTo>
                <a:close/>
                <a:moveTo>
                  <a:pt x="37" y="11"/>
                </a:moveTo>
                <a:cubicBezTo>
                  <a:pt x="37" y="13"/>
                  <a:pt x="37" y="13"/>
                  <a:pt x="37" y="13"/>
                </a:cubicBezTo>
                <a:cubicBezTo>
                  <a:pt x="37" y="21"/>
                  <a:pt x="37" y="21"/>
                  <a:pt x="37" y="21"/>
                </a:cubicBezTo>
                <a:cubicBezTo>
                  <a:pt x="93" y="21"/>
                  <a:pt x="93" y="21"/>
                  <a:pt x="93" y="21"/>
                </a:cubicBezTo>
                <a:cubicBezTo>
                  <a:pt x="93" y="13"/>
                  <a:pt x="93" y="13"/>
                  <a:pt x="93" y="13"/>
                </a:cubicBezTo>
                <a:cubicBezTo>
                  <a:pt x="93" y="11"/>
                  <a:pt x="93" y="11"/>
                  <a:pt x="93" y="11"/>
                </a:cubicBezTo>
                <a:cubicBezTo>
                  <a:pt x="80" y="11"/>
                  <a:pt x="80" y="11"/>
                  <a:pt x="80" y="11"/>
                </a:cubicBezTo>
                <a:cubicBezTo>
                  <a:pt x="80" y="16"/>
                  <a:pt x="80" y="16"/>
                  <a:pt x="80" y="16"/>
                </a:cubicBezTo>
                <a:cubicBezTo>
                  <a:pt x="80" y="19"/>
                  <a:pt x="80" y="19"/>
                  <a:pt x="80" y="19"/>
                </a:cubicBezTo>
                <a:cubicBezTo>
                  <a:pt x="77" y="19"/>
                  <a:pt x="77" y="19"/>
                  <a:pt x="77" y="19"/>
                </a:cubicBezTo>
                <a:cubicBezTo>
                  <a:pt x="53" y="19"/>
                  <a:pt x="53" y="19"/>
                  <a:pt x="53" y="19"/>
                </a:cubicBezTo>
                <a:cubicBezTo>
                  <a:pt x="51" y="19"/>
                  <a:pt x="51" y="19"/>
                  <a:pt x="51" y="19"/>
                </a:cubicBezTo>
                <a:cubicBezTo>
                  <a:pt x="51" y="16"/>
                  <a:pt x="51" y="16"/>
                  <a:pt x="51" y="16"/>
                </a:cubicBezTo>
                <a:cubicBezTo>
                  <a:pt x="51" y="11"/>
                  <a:pt x="51" y="11"/>
                  <a:pt x="51" y="11"/>
                </a:cubicBezTo>
                <a:lnTo>
                  <a:pt x="37" y="11"/>
                </a:lnTo>
                <a:close/>
                <a:moveTo>
                  <a:pt x="32" y="19"/>
                </a:moveTo>
                <a:cubicBezTo>
                  <a:pt x="13" y="19"/>
                  <a:pt x="13" y="19"/>
                  <a:pt x="13" y="19"/>
                </a:cubicBezTo>
                <a:cubicBezTo>
                  <a:pt x="13" y="147"/>
                  <a:pt x="13" y="147"/>
                  <a:pt x="13" y="147"/>
                </a:cubicBezTo>
                <a:cubicBezTo>
                  <a:pt x="117" y="147"/>
                  <a:pt x="117" y="147"/>
                  <a:pt x="117" y="147"/>
                </a:cubicBezTo>
                <a:cubicBezTo>
                  <a:pt x="117" y="19"/>
                  <a:pt x="117" y="19"/>
                  <a:pt x="117" y="19"/>
                </a:cubicBezTo>
                <a:cubicBezTo>
                  <a:pt x="99" y="19"/>
                  <a:pt x="99" y="19"/>
                  <a:pt x="99" y="19"/>
                </a:cubicBezTo>
                <a:cubicBezTo>
                  <a:pt x="99" y="24"/>
                  <a:pt x="99" y="24"/>
                  <a:pt x="99" y="24"/>
                </a:cubicBezTo>
                <a:cubicBezTo>
                  <a:pt x="99" y="27"/>
                  <a:pt x="99" y="27"/>
                  <a:pt x="99" y="27"/>
                </a:cubicBezTo>
                <a:cubicBezTo>
                  <a:pt x="96" y="27"/>
                  <a:pt x="96" y="27"/>
                  <a:pt x="96" y="27"/>
                </a:cubicBezTo>
                <a:cubicBezTo>
                  <a:pt x="35" y="27"/>
                  <a:pt x="35" y="27"/>
                  <a:pt x="35" y="27"/>
                </a:cubicBezTo>
                <a:cubicBezTo>
                  <a:pt x="32" y="27"/>
                  <a:pt x="32" y="27"/>
                  <a:pt x="32" y="27"/>
                </a:cubicBezTo>
                <a:cubicBezTo>
                  <a:pt x="32" y="24"/>
                  <a:pt x="32" y="24"/>
                  <a:pt x="32" y="24"/>
                </a:cubicBezTo>
                <a:lnTo>
                  <a:pt x="32" y="19"/>
                </a:lnTo>
                <a:close/>
                <a:moveTo>
                  <a:pt x="125" y="11"/>
                </a:moveTo>
                <a:cubicBezTo>
                  <a:pt x="99" y="11"/>
                  <a:pt x="99" y="11"/>
                  <a:pt x="99" y="11"/>
                </a:cubicBezTo>
                <a:cubicBezTo>
                  <a:pt x="99" y="13"/>
                  <a:pt x="99" y="13"/>
                  <a:pt x="99" y="13"/>
                </a:cubicBezTo>
                <a:cubicBezTo>
                  <a:pt x="123" y="13"/>
                  <a:pt x="123" y="13"/>
                  <a:pt x="123" y="13"/>
                </a:cubicBezTo>
                <a:cubicBezTo>
                  <a:pt x="123" y="152"/>
                  <a:pt x="123" y="152"/>
                  <a:pt x="123" y="152"/>
                </a:cubicBezTo>
                <a:cubicBezTo>
                  <a:pt x="8" y="152"/>
                  <a:pt x="8" y="152"/>
                  <a:pt x="8" y="152"/>
                </a:cubicBezTo>
                <a:cubicBezTo>
                  <a:pt x="8" y="13"/>
                  <a:pt x="8" y="13"/>
                  <a:pt x="8" y="13"/>
                </a:cubicBezTo>
                <a:cubicBezTo>
                  <a:pt x="32" y="13"/>
                  <a:pt x="32" y="13"/>
                  <a:pt x="32" y="13"/>
                </a:cubicBezTo>
                <a:cubicBezTo>
                  <a:pt x="32" y="11"/>
                  <a:pt x="32" y="11"/>
                  <a:pt x="32" y="11"/>
                </a:cubicBezTo>
                <a:cubicBezTo>
                  <a:pt x="5" y="11"/>
                  <a:pt x="5" y="11"/>
                  <a:pt x="5" y="11"/>
                </a:cubicBezTo>
                <a:cubicBezTo>
                  <a:pt x="5" y="155"/>
                  <a:pt x="5" y="155"/>
                  <a:pt x="5" y="155"/>
                </a:cubicBezTo>
                <a:cubicBezTo>
                  <a:pt x="125" y="155"/>
                  <a:pt x="125" y="155"/>
                  <a:pt x="125" y="155"/>
                </a:cubicBezTo>
                <a:lnTo>
                  <a:pt x="125"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08" name="Freeform 1310">
            <a:extLst>
              <a:ext uri="{FF2B5EF4-FFF2-40B4-BE49-F238E27FC236}">
                <a16:creationId xmlns:a16="http://schemas.microsoft.com/office/drawing/2014/main" id="{93183B0A-B344-FF4D-94E4-65FFF0D2225F}"/>
              </a:ext>
            </a:extLst>
          </p:cNvPr>
          <p:cNvSpPr>
            <a:spLocks noEditPoints="1"/>
          </p:cNvSpPr>
          <p:nvPr/>
        </p:nvSpPr>
        <p:spPr bwMode="auto">
          <a:xfrm>
            <a:off x="2398287" y="3462338"/>
            <a:ext cx="536575" cy="549275"/>
          </a:xfrm>
          <a:custGeom>
            <a:avLst/>
            <a:gdLst>
              <a:gd name="T0" fmla="*/ 157 w 157"/>
              <a:gd name="T1" fmla="*/ 29 h 160"/>
              <a:gd name="T2" fmla="*/ 128 w 157"/>
              <a:gd name="T3" fmla="*/ 0 h 160"/>
              <a:gd name="T4" fmla="*/ 100 w 157"/>
              <a:gd name="T5" fmla="*/ 20 h 160"/>
              <a:gd name="T6" fmla="*/ 15 w 157"/>
              <a:gd name="T7" fmla="*/ 20 h 160"/>
              <a:gd name="T8" fmla="*/ 0 w 157"/>
              <a:gd name="T9" fmla="*/ 36 h 160"/>
              <a:gd name="T10" fmla="*/ 0 w 157"/>
              <a:gd name="T11" fmla="*/ 145 h 160"/>
              <a:gd name="T12" fmla="*/ 15 w 157"/>
              <a:gd name="T13" fmla="*/ 160 h 160"/>
              <a:gd name="T14" fmla="*/ 124 w 157"/>
              <a:gd name="T15" fmla="*/ 160 h 160"/>
              <a:gd name="T16" fmla="*/ 140 w 157"/>
              <a:gd name="T17" fmla="*/ 145 h 160"/>
              <a:gd name="T18" fmla="*/ 140 w 157"/>
              <a:gd name="T19" fmla="*/ 56 h 160"/>
              <a:gd name="T20" fmla="*/ 157 w 157"/>
              <a:gd name="T21" fmla="*/ 29 h 160"/>
              <a:gd name="T22" fmla="*/ 134 w 157"/>
              <a:gd name="T23" fmla="*/ 145 h 160"/>
              <a:gd name="T24" fmla="*/ 124 w 157"/>
              <a:gd name="T25" fmla="*/ 154 h 160"/>
              <a:gd name="T26" fmla="*/ 15 w 157"/>
              <a:gd name="T27" fmla="*/ 154 h 160"/>
              <a:gd name="T28" fmla="*/ 6 w 157"/>
              <a:gd name="T29" fmla="*/ 145 h 160"/>
              <a:gd name="T30" fmla="*/ 6 w 157"/>
              <a:gd name="T31" fmla="*/ 36 h 160"/>
              <a:gd name="T32" fmla="*/ 15 w 157"/>
              <a:gd name="T33" fmla="*/ 26 h 160"/>
              <a:gd name="T34" fmla="*/ 99 w 157"/>
              <a:gd name="T35" fmla="*/ 26 h 160"/>
              <a:gd name="T36" fmla="*/ 99 w 157"/>
              <a:gd name="T37" fmla="*/ 29 h 160"/>
              <a:gd name="T38" fmla="*/ 128 w 157"/>
              <a:gd name="T39" fmla="*/ 58 h 160"/>
              <a:gd name="T40" fmla="*/ 134 w 157"/>
              <a:gd name="T41" fmla="*/ 58 h 160"/>
              <a:gd name="T42" fmla="*/ 134 w 157"/>
              <a:gd name="T43" fmla="*/ 145 h 160"/>
              <a:gd name="T44" fmla="*/ 136 w 157"/>
              <a:gd name="T45" fmla="*/ 51 h 160"/>
              <a:gd name="T46" fmla="*/ 134 w 157"/>
              <a:gd name="T47" fmla="*/ 52 h 160"/>
              <a:gd name="T48" fmla="*/ 134 w 157"/>
              <a:gd name="T49" fmla="*/ 52 h 160"/>
              <a:gd name="T50" fmla="*/ 132 w 157"/>
              <a:gd name="T51" fmla="*/ 52 h 160"/>
              <a:gd name="T52" fmla="*/ 131 w 157"/>
              <a:gd name="T53" fmla="*/ 52 h 160"/>
              <a:gd name="T54" fmla="*/ 130 w 157"/>
              <a:gd name="T55" fmla="*/ 52 h 160"/>
              <a:gd name="T56" fmla="*/ 128 w 157"/>
              <a:gd name="T57" fmla="*/ 52 h 160"/>
              <a:gd name="T58" fmla="*/ 105 w 157"/>
              <a:gd name="T59" fmla="*/ 29 h 160"/>
              <a:gd name="T60" fmla="*/ 105 w 157"/>
              <a:gd name="T61" fmla="*/ 24 h 160"/>
              <a:gd name="T62" fmla="*/ 128 w 157"/>
              <a:gd name="T63" fmla="*/ 6 h 160"/>
              <a:gd name="T64" fmla="*/ 151 w 157"/>
              <a:gd name="T65" fmla="*/ 29 h 160"/>
              <a:gd name="T66" fmla="*/ 136 w 157"/>
              <a:gd name="T67" fmla="*/ 5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160">
                <a:moveTo>
                  <a:pt x="157" y="29"/>
                </a:moveTo>
                <a:cubicBezTo>
                  <a:pt x="157" y="13"/>
                  <a:pt x="144" y="0"/>
                  <a:pt x="128" y="0"/>
                </a:cubicBezTo>
                <a:cubicBezTo>
                  <a:pt x="115" y="0"/>
                  <a:pt x="104" y="9"/>
                  <a:pt x="100" y="20"/>
                </a:cubicBezTo>
                <a:cubicBezTo>
                  <a:pt x="15" y="20"/>
                  <a:pt x="15" y="20"/>
                  <a:pt x="15" y="20"/>
                </a:cubicBezTo>
                <a:cubicBezTo>
                  <a:pt x="7" y="20"/>
                  <a:pt x="0" y="27"/>
                  <a:pt x="0" y="36"/>
                </a:cubicBezTo>
                <a:cubicBezTo>
                  <a:pt x="0" y="145"/>
                  <a:pt x="0" y="145"/>
                  <a:pt x="0" y="145"/>
                </a:cubicBezTo>
                <a:cubicBezTo>
                  <a:pt x="0" y="153"/>
                  <a:pt x="7" y="160"/>
                  <a:pt x="15" y="160"/>
                </a:cubicBezTo>
                <a:cubicBezTo>
                  <a:pt x="124" y="160"/>
                  <a:pt x="124" y="160"/>
                  <a:pt x="124" y="160"/>
                </a:cubicBezTo>
                <a:cubicBezTo>
                  <a:pt x="133" y="160"/>
                  <a:pt x="140" y="153"/>
                  <a:pt x="140" y="145"/>
                </a:cubicBezTo>
                <a:cubicBezTo>
                  <a:pt x="140" y="56"/>
                  <a:pt x="140" y="56"/>
                  <a:pt x="140" y="56"/>
                </a:cubicBezTo>
                <a:cubicBezTo>
                  <a:pt x="150" y="51"/>
                  <a:pt x="157" y="41"/>
                  <a:pt x="157" y="29"/>
                </a:cubicBezTo>
                <a:close/>
                <a:moveTo>
                  <a:pt x="134" y="145"/>
                </a:moveTo>
                <a:cubicBezTo>
                  <a:pt x="134" y="150"/>
                  <a:pt x="130" y="154"/>
                  <a:pt x="124" y="154"/>
                </a:cubicBezTo>
                <a:cubicBezTo>
                  <a:pt x="15" y="154"/>
                  <a:pt x="15" y="154"/>
                  <a:pt x="15" y="154"/>
                </a:cubicBezTo>
                <a:cubicBezTo>
                  <a:pt x="10" y="154"/>
                  <a:pt x="6" y="150"/>
                  <a:pt x="6" y="145"/>
                </a:cubicBezTo>
                <a:cubicBezTo>
                  <a:pt x="6" y="36"/>
                  <a:pt x="6" y="36"/>
                  <a:pt x="6" y="36"/>
                </a:cubicBezTo>
                <a:cubicBezTo>
                  <a:pt x="6" y="30"/>
                  <a:pt x="10" y="26"/>
                  <a:pt x="15" y="26"/>
                </a:cubicBezTo>
                <a:cubicBezTo>
                  <a:pt x="99" y="26"/>
                  <a:pt x="99" y="26"/>
                  <a:pt x="99" y="26"/>
                </a:cubicBezTo>
                <a:cubicBezTo>
                  <a:pt x="99" y="27"/>
                  <a:pt x="99" y="28"/>
                  <a:pt x="99" y="29"/>
                </a:cubicBezTo>
                <a:cubicBezTo>
                  <a:pt x="99" y="45"/>
                  <a:pt x="112" y="58"/>
                  <a:pt x="128" y="58"/>
                </a:cubicBezTo>
                <a:cubicBezTo>
                  <a:pt x="130" y="58"/>
                  <a:pt x="132" y="58"/>
                  <a:pt x="134" y="58"/>
                </a:cubicBezTo>
                <a:lnTo>
                  <a:pt x="134" y="145"/>
                </a:lnTo>
                <a:close/>
                <a:moveTo>
                  <a:pt x="136" y="51"/>
                </a:moveTo>
                <a:cubicBezTo>
                  <a:pt x="135" y="51"/>
                  <a:pt x="135" y="51"/>
                  <a:pt x="134" y="52"/>
                </a:cubicBezTo>
                <a:cubicBezTo>
                  <a:pt x="134" y="52"/>
                  <a:pt x="134" y="52"/>
                  <a:pt x="134" y="52"/>
                </a:cubicBezTo>
                <a:cubicBezTo>
                  <a:pt x="133" y="52"/>
                  <a:pt x="133" y="52"/>
                  <a:pt x="132" y="52"/>
                </a:cubicBezTo>
                <a:cubicBezTo>
                  <a:pt x="132" y="52"/>
                  <a:pt x="132" y="52"/>
                  <a:pt x="131" y="52"/>
                </a:cubicBezTo>
                <a:cubicBezTo>
                  <a:pt x="131" y="52"/>
                  <a:pt x="131" y="52"/>
                  <a:pt x="130" y="52"/>
                </a:cubicBezTo>
                <a:cubicBezTo>
                  <a:pt x="129" y="52"/>
                  <a:pt x="129" y="52"/>
                  <a:pt x="128" y="52"/>
                </a:cubicBezTo>
                <a:cubicBezTo>
                  <a:pt x="115" y="52"/>
                  <a:pt x="105" y="42"/>
                  <a:pt x="105" y="29"/>
                </a:cubicBezTo>
                <a:cubicBezTo>
                  <a:pt x="105" y="27"/>
                  <a:pt x="105" y="26"/>
                  <a:pt x="105" y="24"/>
                </a:cubicBezTo>
                <a:cubicBezTo>
                  <a:pt x="108" y="14"/>
                  <a:pt x="117" y="6"/>
                  <a:pt x="128" y="6"/>
                </a:cubicBezTo>
                <a:cubicBezTo>
                  <a:pt x="141" y="6"/>
                  <a:pt x="151" y="16"/>
                  <a:pt x="151" y="29"/>
                </a:cubicBezTo>
                <a:cubicBezTo>
                  <a:pt x="151" y="39"/>
                  <a:pt x="145" y="48"/>
                  <a:pt x="136" y="5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09" name="Freeform 1311">
            <a:extLst>
              <a:ext uri="{FF2B5EF4-FFF2-40B4-BE49-F238E27FC236}">
                <a16:creationId xmlns:a16="http://schemas.microsoft.com/office/drawing/2014/main" id="{597D33CF-09B3-BE42-B78B-19D2F688AE63}"/>
              </a:ext>
            </a:extLst>
          </p:cNvPr>
          <p:cNvSpPr>
            <a:spLocks noEditPoints="1"/>
          </p:cNvSpPr>
          <p:nvPr/>
        </p:nvSpPr>
        <p:spPr bwMode="auto">
          <a:xfrm>
            <a:off x="2398287" y="4164013"/>
            <a:ext cx="546100" cy="368300"/>
          </a:xfrm>
          <a:custGeom>
            <a:avLst/>
            <a:gdLst>
              <a:gd name="T0" fmla="*/ 160 w 160"/>
              <a:gd name="T1" fmla="*/ 3 h 107"/>
              <a:gd name="T2" fmla="*/ 160 w 160"/>
              <a:gd name="T3" fmla="*/ 2 h 107"/>
              <a:gd name="T4" fmla="*/ 160 w 160"/>
              <a:gd name="T5" fmla="*/ 1 h 107"/>
              <a:gd name="T6" fmla="*/ 160 w 160"/>
              <a:gd name="T7" fmla="*/ 1 h 107"/>
              <a:gd name="T8" fmla="*/ 159 w 160"/>
              <a:gd name="T9" fmla="*/ 1 h 107"/>
              <a:gd name="T10" fmla="*/ 158 w 160"/>
              <a:gd name="T11" fmla="*/ 0 h 107"/>
              <a:gd name="T12" fmla="*/ 157 w 160"/>
              <a:gd name="T13" fmla="*/ 0 h 107"/>
              <a:gd name="T14" fmla="*/ 157 w 160"/>
              <a:gd name="T15" fmla="*/ 0 h 107"/>
              <a:gd name="T16" fmla="*/ 0 w 160"/>
              <a:gd name="T17" fmla="*/ 34 h 107"/>
              <a:gd name="T18" fmla="*/ 46 w 160"/>
              <a:gd name="T19" fmla="*/ 60 h 107"/>
              <a:gd name="T20" fmla="*/ 53 w 160"/>
              <a:gd name="T21" fmla="*/ 104 h 107"/>
              <a:gd name="T22" fmla="*/ 54 w 160"/>
              <a:gd name="T23" fmla="*/ 104 h 107"/>
              <a:gd name="T24" fmla="*/ 54 w 160"/>
              <a:gd name="T25" fmla="*/ 105 h 107"/>
              <a:gd name="T26" fmla="*/ 54 w 160"/>
              <a:gd name="T27" fmla="*/ 106 h 107"/>
              <a:gd name="T28" fmla="*/ 55 w 160"/>
              <a:gd name="T29" fmla="*/ 106 h 107"/>
              <a:gd name="T30" fmla="*/ 55 w 160"/>
              <a:gd name="T31" fmla="*/ 106 h 107"/>
              <a:gd name="T32" fmla="*/ 56 w 160"/>
              <a:gd name="T33" fmla="*/ 107 h 107"/>
              <a:gd name="T34" fmla="*/ 56 w 160"/>
              <a:gd name="T35" fmla="*/ 107 h 107"/>
              <a:gd name="T36" fmla="*/ 56 w 160"/>
              <a:gd name="T37" fmla="*/ 107 h 107"/>
              <a:gd name="T38" fmla="*/ 58 w 160"/>
              <a:gd name="T39" fmla="*/ 106 h 107"/>
              <a:gd name="T40" fmla="*/ 119 w 160"/>
              <a:gd name="T41" fmla="*/ 106 h 107"/>
              <a:gd name="T42" fmla="*/ 121 w 160"/>
              <a:gd name="T43" fmla="*/ 106 h 107"/>
              <a:gd name="T44" fmla="*/ 160 w 160"/>
              <a:gd name="T45" fmla="*/ 4 h 107"/>
              <a:gd name="T46" fmla="*/ 160 w 160"/>
              <a:gd name="T47" fmla="*/ 3 h 107"/>
              <a:gd name="T48" fmla="*/ 129 w 160"/>
              <a:gd name="T49" fmla="*/ 20 h 107"/>
              <a:gd name="T50" fmla="*/ 65 w 160"/>
              <a:gd name="T51" fmla="*/ 67 h 107"/>
              <a:gd name="T52" fmla="*/ 65 w 160"/>
              <a:gd name="T53" fmla="*/ 68 h 107"/>
              <a:gd name="T54" fmla="*/ 64 w 160"/>
              <a:gd name="T55" fmla="*/ 68 h 107"/>
              <a:gd name="T56" fmla="*/ 64 w 160"/>
              <a:gd name="T57" fmla="*/ 68 h 107"/>
              <a:gd name="T58" fmla="*/ 51 w 160"/>
              <a:gd name="T59" fmla="*/ 60 h 107"/>
              <a:gd name="T60" fmla="*/ 61 w 160"/>
              <a:gd name="T61" fmla="*/ 97 h 107"/>
              <a:gd name="T62" fmla="*/ 80 w 160"/>
              <a:gd name="T63" fmla="*/ 81 h 107"/>
              <a:gd name="T64" fmla="*/ 72 w 160"/>
              <a:gd name="T65" fmla="*/ 90 h 107"/>
              <a:gd name="T66" fmla="*/ 139 w 160"/>
              <a:gd name="T67" fmla="*/ 9 h 107"/>
              <a:gd name="T68" fmla="*/ 10 w 160"/>
              <a:gd name="T69" fmla="*/ 36 h 107"/>
              <a:gd name="T70" fmla="*/ 119 w 160"/>
              <a:gd name="T71" fmla="*/ 100 h 107"/>
              <a:gd name="T72" fmla="*/ 71 w 160"/>
              <a:gd name="T73" fmla="*/ 69 h 107"/>
              <a:gd name="T74" fmla="*/ 119 w 160"/>
              <a:gd name="T75" fmla="*/ 10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07">
                <a:moveTo>
                  <a:pt x="160" y="3"/>
                </a:moveTo>
                <a:cubicBezTo>
                  <a:pt x="160" y="3"/>
                  <a:pt x="160" y="3"/>
                  <a:pt x="160" y="3"/>
                </a:cubicBezTo>
                <a:cubicBezTo>
                  <a:pt x="160" y="3"/>
                  <a:pt x="160" y="3"/>
                  <a:pt x="160" y="2"/>
                </a:cubicBezTo>
                <a:cubicBezTo>
                  <a:pt x="160" y="2"/>
                  <a:pt x="160" y="2"/>
                  <a:pt x="160" y="2"/>
                </a:cubicBezTo>
                <a:cubicBezTo>
                  <a:pt x="160" y="2"/>
                  <a:pt x="160" y="2"/>
                  <a:pt x="160" y="1"/>
                </a:cubicBezTo>
                <a:cubicBezTo>
                  <a:pt x="160" y="1"/>
                  <a:pt x="160" y="1"/>
                  <a:pt x="160" y="1"/>
                </a:cubicBezTo>
                <a:cubicBezTo>
                  <a:pt x="160" y="1"/>
                  <a:pt x="160" y="1"/>
                  <a:pt x="160" y="1"/>
                </a:cubicBezTo>
                <a:cubicBezTo>
                  <a:pt x="160" y="1"/>
                  <a:pt x="160" y="1"/>
                  <a:pt x="160" y="1"/>
                </a:cubicBezTo>
                <a:cubicBezTo>
                  <a:pt x="160" y="1"/>
                  <a:pt x="160" y="1"/>
                  <a:pt x="160" y="1"/>
                </a:cubicBezTo>
                <a:cubicBezTo>
                  <a:pt x="159" y="1"/>
                  <a:pt x="159" y="1"/>
                  <a:pt x="159" y="1"/>
                </a:cubicBezTo>
                <a:cubicBezTo>
                  <a:pt x="159" y="0"/>
                  <a:pt x="159" y="0"/>
                  <a:pt x="159" y="0"/>
                </a:cubicBezTo>
                <a:cubicBezTo>
                  <a:pt x="159" y="0"/>
                  <a:pt x="158" y="0"/>
                  <a:pt x="158" y="0"/>
                </a:cubicBezTo>
                <a:cubicBezTo>
                  <a:pt x="158" y="0"/>
                  <a:pt x="158" y="0"/>
                  <a:pt x="158" y="0"/>
                </a:cubicBezTo>
                <a:cubicBezTo>
                  <a:pt x="158" y="0"/>
                  <a:pt x="157" y="0"/>
                  <a:pt x="157" y="0"/>
                </a:cubicBezTo>
                <a:cubicBezTo>
                  <a:pt x="157" y="0"/>
                  <a:pt x="157" y="0"/>
                  <a:pt x="157" y="0"/>
                </a:cubicBezTo>
                <a:cubicBezTo>
                  <a:pt x="157" y="0"/>
                  <a:pt x="157" y="0"/>
                  <a:pt x="157" y="0"/>
                </a:cubicBezTo>
                <a:cubicBezTo>
                  <a:pt x="2" y="32"/>
                  <a:pt x="2" y="32"/>
                  <a:pt x="2" y="32"/>
                </a:cubicBezTo>
                <a:cubicBezTo>
                  <a:pt x="1" y="32"/>
                  <a:pt x="0" y="33"/>
                  <a:pt x="0" y="34"/>
                </a:cubicBezTo>
                <a:cubicBezTo>
                  <a:pt x="0" y="35"/>
                  <a:pt x="0" y="36"/>
                  <a:pt x="1" y="37"/>
                </a:cubicBezTo>
                <a:cubicBezTo>
                  <a:pt x="46" y="60"/>
                  <a:pt x="46" y="60"/>
                  <a:pt x="46" y="60"/>
                </a:cubicBezTo>
                <a:cubicBezTo>
                  <a:pt x="53" y="103"/>
                  <a:pt x="53" y="103"/>
                  <a:pt x="53" y="103"/>
                </a:cubicBezTo>
                <a:cubicBezTo>
                  <a:pt x="53" y="103"/>
                  <a:pt x="54" y="104"/>
                  <a:pt x="53" y="104"/>
                </a:cubicBezTo>
                <a:cubicBezTo>
                  <a:pt x="53" y="104"/>
                  <a:pt x="53" y="104"/>
                  <a:pt x="53" y="104"/>
                </a:cubicBezTo>
                <a:cubicBezTo>
                  <a:pt x="54" y="104"/>
                  <a:pt x="54" y="104"/>
                  <a:pt x="54" y="104"/>
                </a:cubicBezTo>
                <a:cubicBezTo>
                  <a:pt x="54" y="105"/>
                  <a:pt x="54" y="105"/>
                  <a:pt x="54" y="105"/>
                </a:cubicBezTo>
                <a:cubicBezTo>
                  <a:pt x="54" y="105"/>
                  <a:pt x="54" y="105"/>
                  <a:pt x="54" y="105"/>
                </a:cubicBezTo>
                <a:cubicBezTo>
                  <a:pt x="54" y="105"/>
                  <a:pt x="54" y="105"/>
                  <a:pt x="54" y="105"/>
                </a:cubicBezTo>
                <a:cubicBezTo>
                  <a:pt x="54" y="105"/>
                  <a:pt x="54" y="105"/>
                  <a:pt x="54" y="106"/>
                </a:cubicBezTo>
                <a:cubicBezTo>
                  <a:pt x="54" y="106"/>
                  <a:pt x="54" y="106"/>
                  <a:pt x="54" y="106"/>
                </a:cubicBezTo>
                <a:cubicBezTo>
                  <a:pt x="54" y="106"/>
                  <a:pt x="54" y="106"/>
                  <a:pt x="55" y="106"/>
                </a:cubicBezTo>
                <a:cubicBezTo>
                  <a:pt x="55" y="106"/>
                  <a:pt x="55" y="106"/>
                  <a:pt x="55" y="106"/>
                </a:cubicBezTo>
                <a:cubicBezTo>
                  <a:pt x="55" y="106"/>
                  <a:pt x="55" y="106"/>
                  <a:pt x="55" y="106"/>
                </a:cubicBezTo>
                <a:cubicBezTo>
                  <a:pt x="55" y="106"/>
                  <a:pt x="55" y="106"/>
                  <a:pt x="55" y="106"/>
                </a:cubicBezTo>
                <a:cubicBezTo>
                  <a:pt x="56" y="106"/>
                  <a:pt x="56" y="107"/>
                  <a:pt x="56" y="107"/>
                </a:cubicBezTo>
                <a:cubicBezTo>
                  <a:pt x="56" y="107"/>
                  <a:pt x="56" y="107"/>
                  <a:pt x="56" y="107"/>
                </a:cubicBezTo>
                <a:cubicBezTo>
                  <a:pt x="56" y="107"/>
                  <a:pt x="56" y="107"/>
                  <a:pt x="56" y="107"/>
                </a:cubicBezTo>
                <a:cubicBezTo>
                  <a:pt x="56" y="107"/>
                  <a:pt x="56" y="107"/>
                  <a:pt x="56" y="107"/>
                </a:cubicBezTo>
                <a:cubicBezTo>
                  <a:pt x="56" y="107"/>
                  <a:pt x="56" y="107"/>
                  <a:pt x="56" y="107"/>
                </a:cubicBezTo>
                <a:cubicBezTo>
                  <a:pt x="56" y="107"/>
                  <a:pt x="56" y="107"/>
                  <a:pt x="56" y="107"/>
                </a:cubicBezTo>
                <a:cubicBezTo>
                  <a:pt x="57" y="107"/>
                  <a:pt x="58" y="106"/>
                  <a:pt x="58" y="106"/>
                </a:cubicBezTo>
                <a:cubicBezTo>
                  <a:pt x="88" y="86"/>
                  <a:pt x="88" y="86"/>
                  <a:pt x="88" y="86"/>
                </a:cubicBezTo>
                <a:cubicBezTo>
                  <a:pt x="119" y="106"/>
                  <a:pt x="119" y="106"/>
                  <a:pt x="119" y="106"/>
                </a:cubicBezTo>
                <a:cubicBezTo>
                  <a:pt x="119" y="106"/>
                  <a:pt x="120" y="107"/>
                  <a:pt x="120" y="107"/>
                </a:cubicBezTo>
                <a:cubicBezTo>
                  <a:pt x="120" y="107"/>
                  <a:pt x="121" y="106"/>
                  <a:pt x="121" y="106"/>
                </a:cubicBezTo>
                <a:cubicBezTo>
                  <a:pt x="122" y="106"/>
                  <a:pt x="122" y="106"/>
                  <a:pt x="123" y="105"/>
                </a:cubicBezTo>
                <a:cubicBezTo>
                  <a:pt x="160" y="4"/>
                  <a:pt x="160" y="4"/>
                  <a:pt x="160" y="4"/>
                </a:cubicBezTo>
                <a:cubicBezTo>
                  <a:pt x="160" y="3"/>
                  <a:pt x="160" y="3"/>
                  <a:pt x="160" y="3"/>
                </a:cubicBezTo>
                <a:cubicBezTo>
                  <a:pt x="160" y="3"/>
                  <a:pt x="160" y="3"/>
                  <a:pt x="160" y="3"/>
                </a:cubicBezTo>
                <a:cubicBezTo>
                  <a:pt x="160" y="3"/>
                  <a:pt x="160" y="3"/>
                  <a:pt x="160" y="3"/>
                </a:cubicBezTo>
                <a:close/>
                <a:moveTo>
                  <a:pt x="129" y="20"/>
                </a:moveTo>
                <a:cubicBezTo>
                  <a:pt x="65" y="67"/>
                  <a:pt x="65" y="67"/>
                  <a:pt x="65" y="67"/>
                </a:cubicBezTo>
                <a:cubicBezTo>
                  <a:pt x="65" y="67"/>
                  <a:pt x="65" y="67"/>
                  <a:pt x="65" y="67"/>
                </a:cubicBezTo>
                <a:cubicBezTo>
                  <a:pt x="65" y="67"/>
                  <a:pt x="65" y="67"/>
                  <a:pt x="65" y="67"/>
                </a:cubicBezTo>
                <a:cubicBezTo>
                  <a:pt x="65" y="68"/>
                  <a:pt x="65" y="68"/>
                  <a:pt x="65" y="68"/>
                </a:cubicBezTo>
                <a:cubicBezTo>
                  <a:pt x="65" y="68"/>
                  <a:pt x="65" y="68"/>
                  <a:pt x="65" y="68"/>
                </a:cubicBezTo>
                <a:cubicBezTo>
                  <a:pt x="64" y="68"/>
                  <a:pt x="64" y="68"/>
                  <a:pt x="64" y="68"/>
                </a:cubicBezTo>
                <a:cubicBezTo>
                  <a:pt x="64" y="68"/>
                  <a:pt x="64" y="68"/>
                  <a:pt x="64" y="68"/>
                </a:cubicBezTo>
                <a:cubicBezTo>
                  <a:pt x="64" y="68"/>
                  <a:pt x="64" y="68"/>
                  <a:pt x="64" y="68"/>
                </a:cubicBezTo>
                <a:cubicBezTo>
                  <a:pt x="57" y="92"/>
                  <a:pt x="57" y="92"/>
                  <a:pt x="57" y="92"/>
                </a:cubicBezTo>
                <a:cubicBezTo>
                  <a:pt x="51" y="60"/>
                  <a:pt x="51" y="60"/>
                  <a:pt x="51" y="60"/>
                </a:cubicBezTo>
                <a:lnTo>
                  <a:pt x="129" y="20"/>
                </a:lnTo>
                <a:close/>
                <a:moveTo>
                  <a:pt x="61" y="97"/>
                </a:moveTo>
                <a:cubicBezTo>
                  <a:pt x="68" y="73"/>
                  <a:pt x="68" y="73"/>
                  <a:pt x="68" y="73"/>
                </a:cubicBezTo>
                <a:cubicBezTo>
                  <a:pt x="80" y="81"/>
                  <a:pt x="80" y="81"/>
                  <a:pt x="80" y="81"/>
                </a:cubicBezTo>
                <a:cubicBezTo>
                  <a:pt x="83" y="83"/>
                  <a:pt x="83" y="83"/>
                  <a:pt x="83" y="83"/>
                </a:cubicBezTo>
                <a:cubicBezTo>
                  <a:pt x="72" y="90"/>
                  <a:pt x="72" y="90"/>
                  <a:pt x="72" y="90"/>
                </a:cubicBezTo>
                <a:lnTo>
                  <a:pt x="61" y="97"/>
                </a:lnTo>
                <a:close/>
                <a:moveTo>
                  <a:pt x="139" y="9"/>
                </a:moveTo>
                <a:cubicBezTo>
                  <a:pt x="48" y="56"/>
                  <a:pt x="48" y="56"/>
                  <a:pt x="48" y="56"/>
                </a:cubicBezTo>
                <a:cubicBezTo>
                  <a:pt x="10" y="36"/>
                  <a:pt x="10" y="36"/>
                  <a:pt x="10" y="36"/>
                </a:cubicBezTo>
                <a:lnTo>
                  <a:pt x="139" y="9"/>
                </a:lnTo>
                <a:close/>
                <a:moveTo>
                  <a:pt x="119" y="100"/>
                </a:moveTo>
                <a:cubicBezTo>
                  <a:pt x="78" y="73"/>
                  <a:pt x="78" y="73"/>
                  <a:pt x="78" y="73"/>
                </a:cubicBezTo>
                <a:cubicBezTo>
                  <a:pt x="71" y="69"/>
                  <a:pt x="71" y="69"/>
                  <a:pt x="71" y="69"/>
                </a:cubicBezTo>
                <a:cubicBezTo>
                  <a:pt x="152" y="10"/>
                  <a:pt x="152" y="10"/>
                  <a:pt x="152" y="10"/>
                </a:cubicBezTo>
                <a:lnTo>
                  <a:pt x="11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10" name="Freeform 1312">
            <a:extLst>
              <a:ext uri="{FF2B5EF4-FFF2-40B4-BE49-F238E27FC236}">
                <a16:creationId xmlns:a16="http://schemas.microsoft.com/office/drawing/2014/main" id="{22B9B790-ADEC-4E46-931F-18F800904A91}"/>
              </a:ext>
            </a:extLst>
          </p:cNvPr>
          <p:cNvSpPr>
            <a:spLocks noEditPoints="1"/>
          </p:cNvSpPr>
          <p:nvPr/>
        </p:nvSpPr>
        <p:spPr bwMode="auto">
          <a:xfrm>
            <a:off x="2398287" y="4768850"/>
            <a:ext cx="546100" cy="412750"/>
          </a:xfrm>
          <a:custGeom>
            <a:avLst/>
            <a:gdLst>
              <a:gd name="T0" fmla="*/ 159 w 160"/>
              <a:gd name="T1" fmla="*/ 1 h 120"/>
              <a:gd name="T2" fmla="*/ 157 w 160"/>
              <a:gd name="T3" fmla="*/ 0 h 120"/>
              <a:gd name="T4" fmla="*/ 156 w 160"/>
              <a:gd name="T5" fmla="*/ 0 h 120"/>
              <a:gd name="T6" fmla="*/ 2 w 160"/>
              <a:gd name="T7" fmla="*/ 42 h 120"/>
              <a:gd name="T8" fmla="*/ 0 w 160"/>
              <a:gd name="T9" fmla="*/ 45 h 120"/>
              <a:gd name="T10" fmla="*/ 2 w 160"/>
              <a:gd name="T11" fmla="*/ 47 h 120"/>
              <a:gd name="T12" fmla="*/ 58 w 160"/>
              <a:gd name="T13" fmla="*/ 66 h 120"/>
              <a:gd name="T14" fmla="*/ 53 w 160"/>
              <a:gd name="T15" fmla="*/ 106 h 120"/>
              <a:gd name="T16" fmla="*/ 55 w 160"/>
              <a:gd name="T17" fmla="*/ 109 h 120"/>
              <a:gd name="T18" fmla="*/ 56 w 160"/>
              <a:gd name="T19" fmla="*/ 109 h 120"/>
              <a:gd name="T20" fmla="*/ 58 w 160"/>
              <a:gd name="T21" fmla="*/ 109 h 120"/>
              <a:gd name="T22" fmla="*/ 78 w 160"/>
              <a:gd name="T23" fmla="*/ 93 h 120"/>
              <a:gd name="T24" fmla="*/ 96 w 160"/>
              <a:gd name="T25" fmla="*/ 119 h 120"/>
              <a:gd name="T26" fmla="*/ 99 w 160"/>
              <a:gd name="T27" fmla="*/ 120 h 120"/>
              <a:gd name="T28" fmla="*/ 99 w 160"/>
              <a:gd name="T29" fmla="*/ 120 h 120"/>
              <a:gd name="T30" fmla="*/ 101 w 160"/>
              <a:gd name="T31" fmla="*/ 118 h 120"/>
              <a:gd name="T32" fmla="*/ 160 w 160"/>
              <a:gd name="T33" fmla="*/ 4 h 120"/>
              <a:gd name="T34" fmla="*/ 159 w 160"/>
              <a:gd name="T35" fmla="*/ 1 h 120"/>
              <a:gd name="T36" fmla="*/ 141 w 160"/>
              <a:gd name="T37" fmla="*/ 10 h 120"/>
              <a:gd name="T38" fmla="*/ 61 w 160"/>
              <a:gd name="T39" fmla="*/ 61 h 120"/>
              <a:gd name="T40" fmla="*/ 12 w 160"/>
              <a:gd name="T41" fmla="*/ 45 h 120"/>
              <a:gd name="T42" fmla="*/ 141 w 160"/>
              <a:gd name="T43" fmla="*/ 10 h 120"/>
              <a:gd name="T44" fmla="*/ 59 w 160"/>
              <a:gd name="T45" fmla="*/ 101 h 120"/>
              <a:gd name="T46" fmla="*/ 63 w 160"/>
              <a:gd name="T47" fmla="*/ 71 h 120"/>
              <a:gd name="T48" fmla="*/ 75 w 160"/>
              <a:gd name="T49" fmla="*/ 88 h 120"/>
              <a:gd name="T50" fmla="*/ 59 w 160"/>
              <a:gd name="T51" fmla="*/ 101 h 120"/>
              <a:gd name="T52" fmla="*/ 98 w 160"/>
              <a:gd name="T53" fmla="*/ 112 h 120"/>
              <a:gd name="T54" fmla="*/ 65 w 160"/>
              <a:gd name="T55" fmla="*/ 65 h 120"/>
              <a:gd name="T56" fmla="*/ 151 w 160"/>
              <a:gd name="T57" fmla="*/ 10 h 120"/>
              <a:gd name="T58" fmla="*/ 98 w 160"/>
              <a:gd name="T59"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120">
                <a:moveTo>
                  <a:pt x="159" y="1"/>
                </a:moveTo>
                <a:cubicBezTo>
                  <a:pt x="159" y="0"/>
                  <a:pt x="158" y="0"/>
                  <a:pt x="157" y="0"/>
                </a:cubicBezTo>
                <a:cubicBezTo>
                  <a:pt x="157" y="0"/>
                  <a:pt x="157" y="0"/>
                  <a:pt x="156" y="0"/>
                </a:cubicBezTo>
                <a:cubicBezTo>
                  <a:pt x="2" y="42"/>
                  <a:pt x="2" y="42"/>
                  <a:pt x="2" y="42"/>
                </a:cubicBezTo>
                <a:cubicBezTo>
                  <a:pt x="1" y="42"/>
                  <a:pt x="0" y="43"/>
                  <a:pt x="0" y="45"/>
                </a:cubicBezTo>
                <a:cubicBezTo>
                  <a:pt x="0" y="46"/>
                  <a:pt x="1" y="47"/>
                  <a:pt x="2" y="47"/>
                </a:cubicBezTo>
                <a:cubicBezTo>
                  <a:pt x="58" y="66"/>
                  <a:pt x="58" y="66"/>
                  <a:pt x="58" y="66"/>
                </a:cubicBezTo>
                <a:cubicBezTo>
                  <a:pt x="53" y="106"/>
                  <a:pt x="53" y="106"/>
                  <a:pt x="53" y="106"/>
                </a:cubicBezTo>
                <a:cubicBezTo>
                  <a:pt x="53" y="107"/>
                  <a:pt x="54" y="108"/>
                  <a:pt x="55" y="109"/>
                </a:cubicBezTo>
                <a:cubicBezTo>
                  <a:pt x="55" y="109"/>
                  <a:pt x="55" y="109"/>
                  <a:pt x="56" y="109"/>
                </a:cubicBezTo>
                <a:cubicBezTo>
                  <a:pt x="57" y="109"/>
                  <a:pt x="57" y="109"/>
                  <a:pt x="58" y="109"/>
                </a:cubicBezTo>
                <a:cubicBezTo>
                  <a:pt x="78" y="93"/>
                  <a:pt x="78" y="93"/>
                  <a:pt x="78" y="93"/>
                </a:cubicBezTo>
                <a:cubicBezTo>
                  <a:pt x="96" y="119"/>
                  <a:pt x="96" y="119"/>
                  <a:pt x="96" y="119"/>
                </a:cubicBezTo>
                <a:cubicBezTo>
                  <a:pt x="97" y="119"/>
                  <a:pt x="98" y="120"/>
                  <a:pt x="99" y="120"/>
                </a:cubicBezTo>
                <a:cubicBezTo>
                  <a:pt x="99" y="120"/>
                  <a:pt x="99" y="120"/>
                  <a:pt x="99" y="120"/>
                </a:cubicBezTo>
                <a:cubicBezTo>
                  <a:pt x="100" y="120"/>
                  <a:pt x="101" y="119"/>
                  <a:pt x="101" y="118"/>
                </a:cubicBezTo>
                <a:cubicBezTo>
                  <a:pt x="160" y="4"/>
                  <a:pt x="160" y="4"/>
                  <a:pt x="160" y="4"/>
                </a:cubicBezTo>
                <a:cubicBezTo>
                  <a:pt x="160" y="3"/>
                  <a:pt x="160" y="2"/>
                  <a:pt x="159" y="1"/>
                </a:cubicBezTo>
                <a:close/>
                <a:moveTo>
                  <a:pt x="141" y="10"/>
                </a:moveTo>
                <a:cubicBezTo>
                  <a:pt x="61" y="61"/>
                  <a:pt x="61" y="61"/>
                  <a:pt x="61" y="61"/>
                </a:cubicBezTo>
                <a:cubicBezTo>
                  <a:pt x="12" y="45"/>
                  <a:pt x="12" y="45"/>
                  <a:pt x="12" y="45"/>
                </a:cubicBezTo>
                <a:lnTo>
                  <a:pt x="141" y="10"/>
                </a:lnTo>
                <a:close/>
                <a:moveTo>
                  <a:pt x="59" y="101"/>
                </a:moveTo>
                <a:cubicBezTo>
                  <a:pt x="63" y="71"/>
                  <a:pt x="63" y="71"/>
                  <a:pt x="63" y="71"/>
                </a:cubicBezTo>
                <a:cubicBezTo>
                  <a:pt x="75" y="88"/>
                  <a:pt x="75" y="88"/>
                  <a:pt x="75" y="88"/>
                </a:cubicBezTo>
                <a:lnTo>
                  <a:pt x="59" y="101"/>
                </a:lnTo>
                <a:close/>
                <a:moveTo>
                  <a:pt x="98" y="112"/>
                </a:moveTo>
                <a:cubicBezTo>
                  <a:pt x="65" y="65"/>
                  <a:pt x="65" y="65"/>
                  <a:pt x="65" y="65"/>
                </a:cubicBezTo>
                <a:cubicBezTo>
                  <a:pt x="151" y="10"/>
                  <a:pt x="151" y="10"/>
                  <a:pt x="151" y="10"/>
                </a:cubicBezTo>
                <a:lnTo>
                  <a:pt x="98" y="1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11" name="Freeform 1313">
            <a:extLst>
              <a:ext uri="{FF2B5EF4-FFF2-40B4-BE49-F238E27FC236}">
                <a16:creationId xmlns:a16="http://schemas.microsoft.com/office/drawing/2014/main" id="{3E8BCDB7-8A9F-814F-B7CC-D97712B8D4D3}"/>
              </a:ext>
            </a:extLst>
          </p:cNvPr>
          <p:cNvSpPr>
            <a:spLocks noEditPoints="1"/>
          </p:cNvSpPr>
          <p:nvPr/>
        </p:nvSpPr>
        <p:spPr bwMode="auto">
          <a:xfrm>
            <a:off x="2398287" y="5319713"/>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5 h 160"/>
              <a:gd name="T12" fmla="*/ 5 w 160"/>
              <a:gd name="T13" fmla="*/ 80 h 160"/>
              <a:gd name="T14" fmla="*/ 80 w 160"/>
              <a:gd name="T15" fmla="*/ 5 h 160"/>
              <a:gd name="T16" fmla="*/ 155 w 160"/>
              <a:gd name="T17" fmla="*/ 80 h 160"/>
              <a:gd name="T18" fmla="*/ 80 w 160"/>
              <a:gd name="T19" fmla="*/ 155 h 160"/>
              <a:gd name="T20" fmla="*/ 88 w 160"/>
              <a:gd name="T21" fmla="*/ 123 h 160"/>
              <a:gd name="T22" fmla="*/ 109 w 160"/>
              <a:gd name="T23" fmla="*/ 123 h 160"/>
              <a:gd name="T24" fmla="*/ 109 w 160"/>
              <a:gd name="T25" fmla="*/ 37 h 160"/>
              <a:gd name="T26" fmla="*/ 88 w 160"/>
              <a:gd name="T27" fmla="*/ 37 h 160"/>
              <a:gd name="T28" fmla="*/ 88 w 160"/>
              <a:gd name="T29" fmla="*/ 123 h 160"/>
              <a:gd name="T30" fmla="*/ 93 w 160"/>
              <a:gd name="T31" fmla="*/ 43 h 160"/>
              <a:gd name="T32" fmla="*/ 104 w 160"/>
              <a:gd name="T33" fmla="*/ 43 h 160"/>
              <a:gd name="T34" fmla="*/ 104 w 160"/>
              <a:gd name="T35" fmla="*/ 117 h 160"/>
              <a:gd name="T36" fmla="*/ 93 w 160"/>
              <a:gd name="T37" fmla="*/ 117 h 160"/>
              <a:gd name="T38" fmla="*/ 93 w 160"/>
              <a:gd name="T39" fmla="*/ 43 h 160"/>
              <a:gd name="T40" fmla="*/ 51 w 160"/>
              <a:gd name="T41" fmla="*/ 123 h 160"/>
              <a:gd name="T42" fmla="*/ 72 w 160"/>
              <a:gd name="T43" fmla="*/ 123 h 160"/>
              <a:gd name="T44" fmla="*/ 72 w 160"/>
              <a:gd name="T45" fmla="*/ 37 h 160"/>
              <a:gd name="T46" fmla="*/ 51 w 160"/>
              <a:gd name="T47" fmla="*/ 37 h 160"/>
              <a:gd name="T48" fmla="*/ 51 w 160"/>
              <a:gd name="T49" fmla="*/ 123 h 160"/>
              <a:gd name="T50" fmla="*/ 56 w 160"/>
              <a:gd name="T51" fmla="*/ 43 h 160"/>
              <a:gd name="T52" fmla="*/ 67 w 160"/>
              <a:gd name="T53" fmla="*/ 43 h 160"/>
              <a:gd name="T54" fmla="*/ 67 w 160"/>
              <a:gd name="T55" fmla="*/ 117 h 160"/>
              <a:gd name="T56" fmla="*/ 56 w 160"/>
              <a:gd name="T57" fmla="*/ 117 h 160"/>
              <a:gd name="T58" fmla="*/ 56 w 160"/>
              <a:gd name="T59"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88" y="123"/>
                </a:moveTo>
                <a:cubicBezTo>
                  <a:pt x="109" y="123"/>
                  <a:pt x="109" y="123"/>
                  <a:pt x="109" y="123"/>
                </a:cubicBezTo>
                <a:cubicBezTo>
                  <a:pt x="109" y="37"/>
                  <a:pt x="109" y="37"/>
                  <a:pt x="109" y="37"/>
                </a:cubicBezTo>
                <a:cubicBezTo>
                  <a:pt x="88" y="37"/>
                  <a:pt x="88" y="37"/>
                  <a:pt x="88" y="37"/>
                </a:cubicBezTo>
                <a:lnTo>
                  <a:pt x="88" y="123"/>
                </a:lnTo>
                <a:close/>
                <a:moveTo>
                  <a:pt x="93" y="43"/>
                </a:moveTo>
                <a:cubicBezTo>
                  <a:pt x="104" y="43"/>
                  <a:pt x="104" y="43"/>
                  <a:pt x="104" y="43"/>
                </a:cubicBezTo>
                <a:cubicBezTo>
                  <a:pt x="104" y="117"/>
                  <a:pt x="104" y="117"/>
                  <a:pt x="104" y="117"/>
                </a:cubicBezTo>
                <a:cubicBezTo>
                  <a:pt x="93" y="117"/>
                  <a:pt x="93" y="117"/>
                  <a:pt x="93" y="117"/>
                </a:cubicBezTo>
                <a:lnTo>
                  <a:pt x="93" y="43"/>
                </a:lnTo>
                <a:close/>
                <a:moveTo>
                  <a:pt x="51" y="123"/>
                </a:moveTo>
                <a:cubicBezTo>
                  <a:pt x="72" y="123"/>
                  <a:pt x="72" y="123"/>
                  <a:pt x="72" y="123"/>
                </a:cubicBezTo>
                <a:cubicBezTo>
                  <a:pt x="72" y="37"/>
                  <a:pt x="72" y="37"/>
                  <a:pt x="72" y="37"/>
                </a:cubicBezTo>
                <a:cubicBezTo>
                  <a:pt x="51" y="37"/>
                  <a:pt x="51" y="37"/>
                  <a:pt x="51" y="37"/>
                </a:cubicBezTo>
                <a:lnTo>
                  <a:pt x="51" y="123"/>
                </a:lnTo>
                <a:close/>
                <a:moveTo>
                  <a:pt x="56" y="43"/>
                </a:moveTo>
                <a:cubicBezTo>
                  <a:pt x="67" y="43"/>
                  <a:pt x="67" y="43"/>
                  <a:pt x="67" y="43"/>
                </a:cubicBezTo>
                <a:cubicBezTo>
                  <a:pt x="67" y="117"/>
                  <a:pt x="67" y="117"/>
                  <a:pt x="67" y="117"/>
                </a:cubicBezTo>
                <a:cubicBezTo>
                  <a:pt x="56" y="117"/>
                  <a:pt x="56" y="117"/>
                  <a:pt x="56" y="117"/>
                </a:cubicBezTo>
                <a:lnTo>
                  <a:pt x="56" y="4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12" name="Freeform 1314">
            <a:extLst>
              <a:ext uri="{FF2B5EF4-FFF2-40B4-BE49-F238E27FC236}">
                <a16:creationId xmlns:a16="http://schemas.microsoft.com/office/drawing/2014/main" id="{E071BBBC-0610-4043-9909-3E13E8752493}"/>
              </a:ext>
            </a:extLst>
          </p:cNvPr>
          <p:cNvSpPr>
            <a:spLocks noEditPoints="1"/>
          </p:cNvSpPr>
          <p:nvPr/>
        </p:nvSpPr>
        <p:spPr bwMode="auto">
          <a:xfrm>
            <a:off x="2576087" y="5938838"/>
            <a:ext cx="193675" cy="550863"/>
          </a:xfrm>
          <a:custGeom>
            <a:avLst/>
            <a:gdLst>
              <a:gd name="T0" fmla="*/ 8 w 57"/>
              <a:gd name="T1" fmla="*/ 4 h 160"/>
              <a:gd name="T2" fmla="*/ 8 w 57"/>
              <a:gd name="T3" fmla="*/ 156 h 160"/>
              <a:gd name="T4" fmla="*/ 4 w 57"/>
              <a:gd name="T5" fmla="*/ 160 h 160"/>
              <a:gd name="T6" fmla="*/ 0 w 57"/>
              <a:gd name="T7" fmla="*/ 156 h 160"/>
              <a:gd name="T8" fmla="*/ 0 w 57"/>
              <a:gd name="T9" fmla="*/ 4 h 160"/>
              <a:gd name="T10" fmla="*/ 4 w 57"/>
              <a:gd name="T11" fmla="*/ 0 h 160"/>
              <a:gd name="T12" fmla="*/ 8 w 57"/>
              <a:gd name="T13" fmla="*/ 4 h 160"/>
              <a:gd name="T14" fmla="*/ 53 w 57"/>
              <a:gd name="T15" fmla="*/ 0 h 160"/>
              <a:gd name="T16" fmla="*/ 50 w 57"/>
              <a:gd name="T17" fmla="*/ 4 h 160"/>
              <a:gd name="T18" fmla="*/ 50 w 57"/>
              <a:gd name="T19" fmla="*/ 156 h 160"/>
              <a:gd name="T20" fmla="*/ 53 w 57"/>
              <a:gd name="T21" fmla="*/ 160 h 160"/>
              <a:gd name="T22" fmla="*/ 57 w 57"/>
              <a:gd name="T23" fmla="*/ 156 h 160"/>
              <a:gd name="T24" fmla="*/ 57 w 57"/>
              <a:gd name="T25" fmla="*/ 4 h 160"/>
              <a:gd name="T26" fmla="*/ 53 w 57"/>
              <a:gd name="T2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60">
                <a:moveTo>
                  <a:pt x="8" y="4"/>
                </a:moveTo>
                <a:cubicBezTo>
                  <a:pt x="8" y="156"/>
                  <a:pt x="8" y="156"/>
                  <a:pt x="8" y="156"/>
                </a:cubicBezTo>
                <a:cubicBezTo>
                  <a:pt x="8" y="158"/>
                  <a:pt x="6" y="160"/>
                  <a:pt x="4" y="160"/>
                </a:cubicBezTo>
                <a:cubicBezTo>
                  <a:pt x="2" y="160"/>
                  <a:pt x="0" y="158"/>
                  <a:pt x="0" y="156"/>
                </a:cubicBezTo>
                <a:cubicBezTo>
                  <a:pt x="0" y="4"/>
                  <a:pt x="0" y="4"/>
                  <a:pt x="0" y="4"/>
                </a:cubicBezTo>
                <a:cubicBezTo>
                  <a:pt x="0" y="2"/>
                  <a:pt x="2" y="0"/>
                  <a:pt x="4" y="0"/>
                </a:cubicBezTo>
                <a:cubicBezTo>
                  <a:pt x="6" y="0"/>
                  <a:pt x="8" y="2"/>
                  <a:pt x="8" y="4"/>
                </a:cubicBezTo>
                <a:close/>
                <a:moveTo>
                  <a:pt x="53" y="0"/>
                </a:moveTo>
                <a:cubicBezTo>
                  <a:pt x="51" y="0"/>
                  <a:pt x="50" y="2"/>
                  <a:pt x="50" y="4"/>
                </a:cubicBezTo>
                <a:cubicBezTo>
                  <a:pt x="50" y="156"/>
                  <a:pt x="50" y="156"/>
                  <a:pt x="50" y="156"/>
                </a:cubicBezTo>
                <a:cubicBezTo>
                  <a:pt x="50" y="158"/>
                  <a:pt x="51" y="160"/>
                  <a:pt x="53" y="160"/>
                </a:cubicBezTo>
                <a:cubicBezTo>
                  <a:pt x="55" y="160"/>
                  <a:pt x="57" y="158"/>
                  <a:pt x="57" y="156"/>
                </a:cubicBezTo>
                <a:cubicBezTo>
                  <a:pt x="57" y="4"/>
                  <a:pt x="57" y="4"/>
                  <a:pt x="57" y="4"/>
                </a:cubicBezTo>
                <a:cubicBezTo>
                  <a:pt x="57" y="2"/>
                  <a:pt x="55" y="0"/>
                  <a:pt x="53"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13" name="Freeform 1315">
            <a:extLst>
              <a:ext uri="{FF2B5EF4-FFF2-40B4-BE49-F238E27FC236}">
                <a16:creationId xmlns:a16="http://schemas.microsoft.com/office/drawing/2014/main" id="{16545F6A-EB2C-4A41-A932-6C19FB80D9A5}"/>
              </a:ext>
            </a:extLst>
          </p:cNvPr>
          <p:cNvSpPr>
            <a:spLocks noEditPoints="1"/>
          </p:cNvSpPr>
          <p:nvPr/>
        </p:nvSpPr>
        <p:spPr bwMode="auto">
          <a:xfrm>
            <a:off x="3353962" y="365125"/>
            <a:ext cx="546100" cy="550863"/>
          </a:xfrm>
          <a:custGeom>
            <a:avLst/>
            <a:gdLst>
              <a:gd name="T0" fmla="*/ 0 w 160"/>
              <a:gd name="T1" fmla="*/ 0 h 160"/>
              <a:gd name="T2" fmla="*/ 0 w 160"/>
              <a:gd name="T3" fmla="*/ 160 h 160"/>
              <a:gd name="T4" fmla="*/ 160 w 160"/>
              <a:gd name="T5" fmla="*/ 160 h 160"/>
              <a:gd name="T6" fmla="*/ 160 w 160"/>
              <a:gd name="T7" fmla="*/ 0 h 160"/>
              <a:gd name="T8" fmla="*/ 0 w 160"/>
              <a:gd name="T9" fmla="*/ 0 h 160"/>
              <a:gd name="T10" fmla="*/ 155 w 160"/>
              <a:gd name="T11" fmla="*/ 155 h 160"/>
              <a:gd name="T12" fmla="*/ 5 w 160"/>
              <a:gd name="T13" fmla="*/ 155 h 160"/>
              <a:gd name="T14" fmla="*/ 5 w 160"/>
              <a:gd name="T15" fmla="*/ 5 h 160"/>
              <a:gd name="T16" fmla="*/ 155 w 160"/>
              <a:gd name="T17" fmla="*/ 5 h 160"/>
              <a:gd name="T18" fmla="*/ 155 w 160"/>
              <a:gd name="T19" fmla="*/ 155 h 160"/>
              <a:gd name="T20" fmla="*/ 130 w 160"/>
              <a:gd name="T21" fmla="*/ 34 h 160"/>
              <a:gd name="T22" fmla="*/ 34 w 160"/>
              <a:gd name="T23" fmla="*/ 130 h 160"/>
              <a:gd name="T24" fmla="*/ 30 w 160"/>
              <a:gd name="T25" fmla="*/ 126 h 160"/>
              <a:gd name="T26" fmla="*/ 126 w 160"/>
              <a:gd name="T27" fmla="*/ 30 h 160"/>
              <a:gd name="T28" fmla="*/ 130 w 160"/>
              <a:gd name="T29" fmla="*/ 34 h 160"/>
              <a:gd name="T30" fmla="*/ 45 w 160"/>
              <a:gd name="T31" fmla="*/ 61 h 160"/>
              <a:gd name="T32" fmla="*/ 61 w 160"/>
              <a:gd name="T33" fmla="*/ 45 h 160"/>
              <a:gd name="T34" fmla="*/ 45 w 160"/>
              <a:gd name="T35" fmla="*/ 29 h 160"/>
              <a:gd name="T36" fmla="*/ 29 w 160"/>
              <a:gd name="T37" fmla="*/ 45 h 160"/>
              <a:gd name="T38" fmla="*/ 45 w 160"/>
              <a:gd name="T39" fmla="*/ 61 h 160"/>
              <a:gd name="T40" fmla="*/ 45 w 160"/>
              <a:gd name="T41" fmla="*/ 35 h 160"/>
              <a:gd name="T42" fmla="*/ 56 w 160"/>
              <a:gd name="T43" fmla="*/ 45 h 160"/>
              <a:gd name="T44" fmla="*/ 45 w 160"/>
              <a:gd name="T45" fmla="*/ 56 h 160"/>
              <a:gd name="T46" fmla="*/ 35 w 160"/>
              <a:gd name="T47" fmla="*/ 45 h 160"/>
              <a:gd name="T48" fmla="*/ 45 w 160"/>
              <a:gd name="T49" fmla="*/ 35 h 160"/>
              <a:gd name="T50" fmla="*/ 115 w 160"/>
              <a:gd name="T51" fmla="*/ 99 h 160"/>
              <a:gd name="T52" fmla="*/ 99 w 160"/>
              <a:gd name="T53" fmla="*/ 115 h 160"/>
              <a:gd name="T54" fmla="*/ 115 w 160"/>
              <a:gd name="T55" fmla="*/ 131 h 160"/>
              <a:gd name="T56" fmla="*/ 131 w 160"/>
              <a:gd name="T57" fmla="*/ 115 h 160"/>
              <a:gd name="T58" fmla="*/ 115 w 160"/>
              <a:gd name="T59" fmla="*/ 99 h 160"/>
              <a:gd name="T60" fmla="*/ 115 w 160"/>
              <a:gd name="T61" fmla="*/ 125 h 160"/>
              <a:gd name="T62" fmla="*/ 104 w 160"/>
              <a:gd name="T63" fmla="*/ 115 h 160"/>
              <a:gd name="T64" fmla="*/ 115 w 160"/>
              <a:gd name="T65" fmla="*/ 104 h 160"/>
              <a:gd name="T66" fmla="*/ 125 w 160"/>
              <a:gd name="T67" fmla="*/ 115 h 160"/>
              <a:gd name="T68" fmla="*/ 115 w 160"/>
              <a:gd name="T69" fmla="*/ 1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0" y="0"/>
                </a:moveTo>
                <a:cubicBezTo>
                  <a:pt x="0" y="160"/>
                  <a:pt x="0" y="160"/>
                  <a:pt x="0" y="160"/>
                </a:cubicBezTo>
                <a:cubicBezTo>
                  <a:pt x="160" y="160"/>
                  <a:pt x="160" y="160"/>
                  <a:pt x="160" y="160"/>
                </a:cubicBezTo>
                <a:cubicBezTo>
                  <a:pt x="160" y="0"/>
                  <a:pt x="160" y="0"/>
                  <a:pt x="160" y="0"/>
                </a:cubicBezTo>
                <a:lnTo>
                  <a:pt x="0" y="0"/>
                </a:lnTo>
                <a:close/>
                <a:moveTo>
                  <a:pt x="155" y="155"/>
                </a:moveTo>
                <a:cubicBezTo>
                  <a:pt x="5" y="155"/>
                  <a:pt x="5" y="155"/>
                  <a:pt x="5" y="155"/>
                </a:cubicBezTo>
                <a:cubicBezTo>
                  <a:pt x="5" y="5"/>
                  <a:pt x="5" y="5"/>
                  <a:pt x="5" y="5"/>
                </a:cubicBezTo>
                <a:cubicBezTo>
                  <a:pt x="155" y="5"/>
                  <a:pt x="155" y="5"/>
                  <a:pt x="155" y="5"/>
                </a:cubicBezTo>
                <a:lnTo>
                  <a:pt x="155" y="155"/>
                </a:lnTo>
                <a:close/>
                <a:moveTo>
                  <a:pt x="130" y="34"/>
                </a:moveTo>
                <a:cubicBezTo>
                  <a:pt x="34" y="130"/>
                  <a:pt x="34" y="130"/>
                  <a:pt x="34" y="130"/>
                </a:cubicBezTo>
                <a:cubicBezTo>
                  <a:pt x="30" y="126"/>
                  <a:pt x="30" y="126"/>
                  <a:pt x="30" y="126"/>
                </a:cubicBezTo>
                <a:cubicBezTo>
                  <a:pt x="126" y="30"/>
                  <a:pt x="126" y="30"/>
                  <a:pt x="126" y="30"/>
                </a:cubicBezTo>
                <a:lnTo>
                  <a:pt x="130" y="34"/>
                </a:lnTo>
                <a:close/>
                <a:moveTo>
                  <a:pt x="45" y="61"/>
                </a:moveTo>
                <a:cubicBezTo>
                  <a:pt x="54" y="61"/>
                  <a:pt x="61" y="54"/>
                  <a:pt x="61" y="45"/>
                </a:cubicBezTo>
                <a:cubicBezTo>
                  <a:pt x="61" y="37"/>
                  <a:pt x="54" y="29"/>
                  <a:pt x="45" y="29"/>
                </a:cubicBezTo>
                <a:cubicBezTo>
                  <a:pt x="37" y="29"/>
                  <a:pt x="29" y="37"/>
                  <a:pt x="29" y="45"/>
                </a:cubicBezTo>
                <a:cubicBezTo>
                  <a:pt x="29" y="54"/>
                  <a:pt x="37" y="61"/>
                  <a:pt x="45" y="61"/>
                </a:cubicBezTo>
                <a:close/>
                <a:moveTo>
                  <a:pt x="45" y="35"/>
                </a:moveTo>
                <a:cubicBezTo>
                  <a:pt x="51" y="35"/>
                  <a:pt x="56" y="39"/>
                  <a:pt x="56" y="45"/>
                </a:cubicBezTo>
                <a:cubicBezTo>
                  <a:pt x="56" y="51"/>
                  <a:pt x="51" y="56"/>
                  <a:pt x="45" y="56"/>
                </a:cubicBezTo>
                <a:cubicBezTo>
                  <a:pt x="39" y="56"/>
                  <a:pt x="35" y="51"/>
                  <a:pt x="35" y="45"/>
                </a:cubicBezTo>
                <a:cubicBezTo>
                  <a:pt x="35" y="39"/>
                  <a:pt x="39" y="35"/>
                  <a:pt x="45" y="35"/>
                </a:cubicBezTo>
                <a:close/>
                <a:moveTo>
                  <a:pt x="115" y="99"/>
                </a:moveTo>
                <a:cubicBezTo>
                  <a:pt x="106" y="99"/>
                  <a:pt x="99" y="106"/>
                  <a:pt x="99" y="115"/>
                </a:cubicBezTo>
                <a:cubicBezTo>
                  <a:pt x="99" y="123"/>
                  <a:pt x="106" y="131"/>
                  <a:pt x="115" y="131"/>
                </a:cubicBezTo>
                <a:cubicBezTo>
                  <a:pt x="123" y="131"/>
                  <a:pt x="131" y="123"/>
                  <a:pt x="131" y="115"/>
                </a:cubicBezTo>
                <a:cubicBezTo>
                  <a:pt x="131" y="106"/>
                  <a:pt x="123" y="99"/>
                  <a:pt x="115" y="99"/>
                </a:cubicBezTo>
                <a:close/>
                <a:moveTo>
                  <a:pt x="115" y="125"/>
                </a:moveTo>
                <a:cubicBezTo>
                  <a:pt x="109" y="125"/>
                  <a:pt x="104" y="121"/>
                  <a:pt x="104" y="115"/>
                </a:cubicBezTo>
                <a:cubicBezTo>
                  <a:pt x="104" y="109"/>
                  <a:pt x="109" y="104"/>
                  <a:pt x="115" y="104"/>
                </a:cubicBezTo>
                <a:cubicBezTo>
                  <a:pt x="121" y="104"/>
                  <a:pt x="125" y="109"/>
                  <a:pt x="125" y="115"/>
                </a:cubicBezTo>
                <a:cubicBezTo>
                  <a:pt x="125" y="121"/>
                  <a:pt x="121" y="125"/>
                  <a:pt x="115" y="12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14" name="Freeform 1316">
            <a:extLst>
              <a:ext uri="{FF2B5EF4-FFF2-40B4-BE49-F238E27FC236}">
                <a16:creationId xmlns:a16="http://schemas.microsoft.com/office/drawing/2014/main" id="{E5070212-17AE-B54C-A5F2-CA92DC2C55D7}"/>
              </a:ext>
            </a:extLst>
          </p:cNvPr>
          <p:cNvSpPr>
            <a:spLocks noEditPoints="1"/>
          </p:cNvSpPr>
          <p:nvPr/>
        </p:nvSpPr>
        <p:spPr bwMode="auto">
          <a:xfrm>
            <a:off x="3353962" y="984250"/>
            <a:ext cx="546100" cy="550863"/>
          </a:xfrm>
          <a:custGeom>
            <a:avLst/>
            <a:gdLst>
              <a:gd name="T0" fmla="*/ 1 w 160"/>
              <a:gd name="T1" fmla="*/ 153 h 160"/>
              <a:gd name="T2" fmla="*/ 153 w 160"/>
              <a:gd name="T3" fmla="*/ 1 h 160"/>
              <a:gd name="T4" fmla="*/ 159 w 160"/>
              <a:gd name="T5" fmla="*/ 7 h 160"/>
              <a:gd name="T6" fmla="*/ 7 w 160"/>
              <a:gd name="T7" fmla="*/ 159 h 160"/>
              <a:gd name="T8" fmla="*/ 1 w 160"/>
              <a:gd name="T9" fmla="*/ 153 h 160"/>
              <a:gd name="T10" fmla="*/ 0 w 160"/>
              <a:gd name="T11" fmla="*/ 25 h 160"/>
              <a:gd name="T12" fmla="*/ 25 w 160"/>
              <a:gd name="T13" fmla="*/ 0 h 160"/>
              <a:gd name="T14" fmla="*/ 51 w 160"/>
              <a:gd name="T15" fmla="*/ 25 h 160"/>
              <a:gd name="T16" fmla="*/ 25 w 160"/>
              <a:gd name="T17" fmla="*/ 51 h 160"/>
              <a:gd name="T18" fmla="*/ 0 w 160"/>
              <a:gd name="T19" fmla="*/ 25 h 160"/>
              <a:gd name="T20" fmla="*/ 8 w 160"/>
              <a:gd name="T21" fmla="*/ 25 h 160"/>
              <a:gd name="T22" fmla="*/ 25 w 160"/>
              <a:gd name="T23" fmla="*/ 42 h 160"/>
              <a:gd name="T24" fmla="*/ 42 w 160"/>
              <a:gd name="T25" fmla="*/ 25 h 160"/>
              <a:gd name="T26" fmla="*/ 25 w 160"/>
              <a:gd name="T27" fmla="*/ 8 h 160"/>
              <a:gd name="T28" fmla="*/ 8 w 160"/>
              <a:gd name="T29" fmla="*/ 25 h 160"/>
              <a:gd name="T30" fmla="*/ 160 w 160"/>
              <a:gd name="T31" fmla="*/ 135 h 160"/>
              <a:gd name="T32" fmla="*/ 135 w 160"/>
              <a:gd name="T33" fmla="*/ 160 h 160"/>
              <a:gd name="T34" fmla="*/ 109 w 160"/>
              <a:gd name="T35" fmla="*/ 135 h 160"/>
              <a:gd name="T36" fmla="*/ 135 w 160"/>
              <a:gd name="T37" fmla="*/ 109 h 160"/>
              <a:gd name="T38" fmla="*/ 160 w 160"/>
              <a:gd name="T39" fmla="*/ 135 h 160"/>
              <a:gd name="T40" fmla="*/ 152 w 160"/>
              <a:gd name="T41" fmla="*/ 135 h 160"/>
              <a:gd name="T42" fmla="*/ 135 w 160"/>
              <a:gd name="T43" fmla="*/ 118 h 160"/>
              <a:gd name="T44" fmla="*/ 118 w 160"/>
              <a:gd name="T45" fmla="*/ 135 h 160"/>
              <a:gd name="T46" fmla="*/ 135 w 160"/>
              <a:gd name="T47" fmla="*/ 152 h 160"/>
              <a:gd name="T48" fmla="*/ 152 w 160"/>
              <a:gd name="T49" fmla="*/ 13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 h="160">
                <a:moveTo>
                  <a:pt x="1" y="153"/>
                </a:moveTo>
                <a:cubicBezTo>
                  <a:pt x="153" y="1"/>
                  <a:pt x="153" y="1"/>
                  <a:pt x="153" y="1"/>
                </a:cubicBezTo>
                <a:cubicBezTo>
                  <a:pt x="159" y="7"/>
                  <a:pt x="159" y="7"/>
                  <a:pt x="159" y="7"/>
                </a:cubicBezTo>
                <a:cubicBezTo>
                  <a:pt x="7" y="159"/>
                  <a:pt x="7" y="159"/>
                  <a:pt x="7" y="159"/>
                </a:cubicBezTo>
                <a:lnTo>
                  <a:pt x="1" y="153"/>
                </a:lnTo>
                <a:close/>
                <a:moveTo>
                  <a:pt x="0" y="25"/>
                </a:moveTo>
                <a:cubicBezTo>
                  <a:pt x="0" y="11"/>
                  <a:pt x="11" y="0"/>
                  <a:pt x="25" y="0"/>
                </a:cubicBezTo>
                <a:cubicBezTo>
                  <a:pt x="39" y="0"/>
                  <a:pt x="51" y="11"/>
                  <a:pt x="51" y="25"/>
                </a:cubicBezTo>
                <a:cubicBezTo>
                  <a:pt x="51" y="39"/>
                  <a:pt x="39" y="51"/>
                  <a:pt x="25" y="51"/>
                </a:cubicBezTo>
                <a:cubicBezTo>
                  <a:pt x="11" y="51"/>
                  <a:pt x="0" y="39"/>
                  <a:pt x="0" y="25"/>
                </a:cubicBezTo>
                <a:close/>
                <a:moveTo>
                  <a:pt x="8" y="25"/>
                </a:moveTo>
                <a:cubicBezTo>
                  <a:pt x="8" y="35"/>
                  <a:pt x="16" y="42"/>
                  <a:pt x="25" y="42"/>
                </a:cubicBezTo>
                <a:cubicBezTo>
                  <a:pt x="35" y="42"/>
                  <a:pt x="42" y="35"/>
                  <a:pt x="42" y="25"/>
                </a:cubicBezTo>
                <a:cubicBezTo>
                  <a:pt x="42" y="16"/>
                  <a:pt x="35" y="8"/>
                  <a:pt x="25" y="8"/>
                </a:cubicBezTo>
                <a:cubicBezTo>
                  <a:pt x="16" y="8"/>
                  <a:pt x="8" y="16"/>
                  <a:pt x="8" y="25"/>
                </a:cubicBezTo>
                <a:close/>
                <a:moveTo>
                  <a:pt x="160" y="135"/>
                </a:moveTo>
                <a:cubicBezTo>
                  <a:pt x="160" y="149"/>
                  <a:pt x="149" y="160"/>
                  <a:pt x="135" y="160"/>
                </a:cubicBezTo>
                <a:cubicBezTo>
                  <a:pt x="121" y="160"/>
                  <a:pt x="109" y="149"/>
                  <a:pt x="109" y="135"/>
                </a:cubicBezTo>
                <a:cubicBezTo>
                  <a:pt x="109" y="121"/>
                  <a:pt x="121" y="109"/>
                  <a:pt x="135" y="109"/>
                </a:cubicBezTo>
                <a:cubicBezTo>
                  <a:pt x="149" y="109"/>
                  <a:pt x="160" y="121"/>
                  <a:pt x="160" y="135"/>
                </a:cubicBezTo>
                <a:close/>
                <a:moveTo>
                  <a:pt x="152" y="135"/>
                </a:moveTo>
                <a:cubicBezTo>
                  <a:pt x="152" y="125"/>
                  <a:pt x="144" y="118"/>
                  <a:pt x="135" y="118"/>
                </a:cubicBezTo>
                <a:cubicBezTo>
                  <a:pt x="125" y="118"/>
                  <a:pt x="118" y="125"/>
                  <a:pt x="118" y="135"/>
                </a:cubicBezTo>
                <a:cubicBezTo>
                  <a:pt x="118" y="144"/>
                  <a:pt x="125" y="152"/>
                  <a:pt x="135" y="152"/>
                </a:cubicBezTo>
                <a:cubicBezTo>
                  <a:pt x="144" y="152"/>
                  <a:pt x="152" y="144"/>
                  <a:pt x="152" y="1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15" name="Freeform 1317">
            <a:extLst>
              <a:ext uri="{FF2B5EF4-FFF2-40B4-BE49-F238E27FC236}">
                <a16:creationId xmlns:a16="http://schemas.microsoft.com/office/drawing/2014/main" id="{5EB5CD60-B404-9240-8283-5B5DA4C8693A}"/>
              </a:ext>
            </a:extLst>
          </p:cNvPr>
          <p:cNvSpPr>
            <a:spLocks noEditPoints="1"/>
          </p:cNvSpPr>
          <p:nvPr/>
        </p:nvSpPr>
        <p:spPr bwMode="auto">
          <a:xfrm>
            <a:off x="3353962" y="1603375"/>
            <a:ext cx="536575" cy="550863"/>
          </a:xfrm>
          <a:custGeom>
            <a:avLst/>
            <a:gdLst>
              <a:gd name="T0" fmla="*/ 136 w 157"/>
              <a:gd name="T1" fmla="*/ 58 h 160"/>
              <a:gd name="T2" fmla="*/ 21 w 157"/>
              <a:gd name="T3" fmla="*/ 58 h 160"/>
              <a:gd name="T4" fmla="*/ 0 w 157"/>
              <a:gd name="T5" fmla="*/ 80 h 160"/>
              <a:gd name="T6" fmla="*/ 21 w 157"/>
              <a:gd name="T7" fmla="*/ 100 h 160"/>
              <a:gd name="T8" fmla="*/ 78 w 157"/>
              <a:gd name="T9" fmla="*/ 124 h 160"/>
              <a:gd name="T10" fmla="*/ 136 w 157"/>
              <a:gd name="T11" fmla="*/ 100 h 160"/>
              <a:gd name="T12" fmla="*/ 157 w 157"/>
              <a:gd name="T13" fmla="*/ 79 h 160"/>
              <a:gd name="T14" fmla="*/ 136 w 157"/>
              <a:gd name="T15" fmla="*/ 58 h 160"/>
              <a:gd name="T16" fmla="*/ 132 w 157"/>
              <a:gd name="T17" fmla="*/ 96 h 160"/>
              <a:gd name="T18" fmla="*/ 78 w 157"/>
              <a:gd name="T19" fmla="*/ 119 h 160"/>
              <a:gd name="T20" fmla="*/ 24 w 157"/>
              <a:gd name="T21" fmla="*/ 96 h 160"/>
              <a:gd name="T22" fmla="*/ 8 w 157"/>
              <a:gd name="T23" fmla="*/ 80 h 160"/>
              <a:gd name="T24" fmla="*/ 25 w 157"/>
              <a:gd name="T25" fmla="*/ 62 h 160"/>
              <a:gd name="T26" fmla="*/ 132 w 157"/>
              <a:gd name="T27" fmla="*/ 62 h 160"/>
              <a:gd name="T28" fmla="*/ 149 w 157"/>
              <a:gd name="T29" fmla="*/ 79 h 160"/>
              <a:gd name="T30" fmla="*/ 132 w 157"/>
              <a:gd name="T31" fmla="*/ 96 h 160"/>
              <a:gd name="T32" fmla="*/ 77 w 157"/>
              <a:gd name="T33" fmla="*/ 45 h 160"/>
              <a:gd name="T34" fmla="*/ 43 w 157"/>
              <a:gd name="T35" fmla="*/ 79 h 160"/>
              <a:gd name="T36" fmla="*/ 77 w 157"/>
              <a:gd name="T37" fmla="*/ 114 h 160"/>
              <a:gd name="T38" fmla="*/ 112 w 157"/>
              <a:gd name="T39" fmla="*/ 79 h 160"/>
              <a:gd name="T40" fmla="*/ 77 w 157"/>
              <a:gd name="T41" fmla="*/ 45 h 160"/>
              <a:gd name="T42" fmla="*/ 77 w 157"/>
              <a:gd name="T43" fmla="*/ 108 h 160"/>
              <a:gd name="T44" fmla="*/ 49 w 157"/>
              <a:gd name="T45" fmla="*/ 79 h 160"/>
              <a:gd name="T46" fmla="*/ 77 w 157"/>
              <a:gd name="T47" fmla="*/ 51 h 160"/>
              <a:gd name="T48" fmla="*/ 106 w 157"/>
              <a:gd name="T49" fmla="*/ 79 h 160"/>
              <a:gd name="T50" fmla="*/ 77 w 157"/>
              <a:gd name="T51" fmla="*/ 108 h 160"/>
              <a:gd name="T52" fmla="*/ 65 w 157"/>
              <a:gd name="T53" fmla="*/ 15 h 160"/>
              <a:gd name="T54" fmla="*/ 65 w 157"/>
              <a:gd name="T55" fmla="*/ 11 h 160"/>
              <a:gd name="T56" fmla="*/ 76 w 157"/>
              <a:gd name="T57" fmla="*/ 1 h 160"/>
              <a:gd name="T58" fmla="*/ 77 w 157"/>
              <a:gd name="T59" fmla="*/ 0 h 160"/>
              <a:gd name="T60" fmla="*/ 79 w 157"/>
              <a:gd name="T61" fmla="*/ 0 h 160"/>
              <a:gd name="T62" fmla="*/ 80 w 157"/>
              <a:gd name="T63" fmla="*/ 1 h 160"/>
              <a:gd name="T64" fmla="*/ 91 w 157"/>
              <a:gd name="T65" fmla="*/ 11 h 160"/>
              <a:gd name="T66" fmla="*/ 91 w 157"/>
              <a:gd name="T67" fmla="*/ 15 h 160"/>
              <a:gd name="T68" fmla="*/ 89 w 157"/>
              <a:gd name="T69" fmla="*/ 16 h 160"/>
              <a:gd name="T70" fmla="*/ 87 w 157"/>
              <a:gd name="T71" fmla="*/ 15 h 160"/>
              <a:gd name="T72" fmla="*/ 81 w 157"/>
              <a:gd name="T73" fmla="*/ 9 h 160"/>
              <a:gd name="T74" fmla="*/ 81 w 157"/>
              <a:gd name="T75" fmla="*/ 29 h 160"/>
              <a:gd name="T76" fmla="*/ 78 w 157"/>
              <a:gd name="T77" fmla="*/ 32 h 160"/>
              <a:gd name="T78" fmla="*/ 75 w 157"/>
              <a:gd name="T79" fmla="*/ 29 h 160"/>
              <a:gd name="T80" fmla="*/ 75 w 157"/>
              <a:gd name="T81" fmla="*/ 9 h 160"/>
              <a:gd name="T82" fmla="*/ 69 w 157"/>
              <a:gd name="T83" fmla="*/ 15 h 160"/>
              <a:gd name="T84" fmla="*/ 67 w 157"/>
              <a:gd name="T85" fmla="*/ 16 h 160"/>
              <a:gd name="T86" fmla="*/ 65 w 157"/>
              <a:gd name="T87" fmla="*/ 15 h 160"/>
              <a:gd name="T88" fmla="*/ 91 w 157"/>
              <a:gd name="T89" fmla="*/ 145 h 160"/>
              <a:gd name="T90" fmla="*/ 91 w 157"/>
              <a:gd name="T91" fmla="*/ 149 h 160"/>
              <a:gd name="T92" fmla="*/ 80 w 157"/>
              <a:gd name="T93" fmla="*/ 159 h 160"/>
              <a:gd name="T94" fmla="*/ 79 w 157"/>
              <a:gd name="T95" fmla="*/ 160 h 160"/>
              <a:gd name="T96" fmla="*/ 78 w 157"/>
              <a:gd name="T97" fmla="*/ 160 h 160"/>
              <a:gd name="T98" fmla="*/ 77 w 157"/>
              <a:gd name="T99" fmla="*/ 160 h 160"/>
              <a:gd name="T100" fmla="*/ 76 w 157"/>
              <a:gd name="T101" fmla="*/ 159 h 160"/>
              <a:gd name="T102" fmla="*/ 65 w 157"/>
              <a:gd name="T103" fmla="*/ 149 h 160"/>
              <a:gd name="T104" fmla="*/ 65 w 157"/>
              <a:gd name="T105" fmla="*/ 145 h 160"/>
              <a:gd name="T106" fmla="*/ 69 w 157"/>
              <a:gd name="T107" fmla="*/ 145 h 160"/>
              <a:gd name="T108" fmla="*/ 75 w 157"/>
              <a:gd name="T109" fmla="*/ 151 h 160"/>
              <a:gd name="T110" fmla="*/ 75 w 157"/>
              <a:gd name="T111" fmla="*/ 131 h 160"/>
              <a:gd name="T112" fmla="*/ 78 w 157"/>
              <a:gd name="T113" fmla="*/ 128 h 160"/>
              <a:gd name="T114" fmla="*/ 81 w 157"/>
              <a:gd name="T115" fmla="*/ 131 h 160"/>
              <a:gd name="T116" fmla="*/ 81 w 157"/>
              <a:gd name="T117" fmla="*/ 151 h 160"/>
              <a:gd name="T118" fmla="*/ 87 w 157"/>
              <a:gd name="T119" fmla="*/ 145 h 160"/>
              <a:gd name="T120" fmla="*/ 91 w 157"/>
              <a:gd name="T121" fmla="*/ 14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7" h="160">
                <a:moveTo>
                  <a:pt x="136" y="58"/>
                </a:moveTo>
                <a:cubicBezTo>
                  <a:pt x="104" y="27"/>
                  <a:pt x="53" y="27"/>
                  <a:pt x="21" y="58"/>
                </a:cubicBezTo>
                <a:cubicBezTo>
                  <a:pt x="0" y="80"/>
                  <a:pt x="0" y="80"/>
                  <a:pt x="0" y="80"/>
                </a:cubicBezTo>
                <a:cubicBezTo>
                  <a:pt x="21" y="100"/>
                  <a:pt x="21" y="100"/>
                  <a:pt x="21" y="100"/>
                </a:cubicBezTo>
                <a:cubicBezTo>
                  <a:pt x="36" y="116"/>
                  <a:pt x="56" y="124"/>
                  <a:pt x="78" y="124"/>
                </a:cubicBezTo>
                <a:cubicBezTo>
                  <a:pt x="100" y="124"/>
                  <a:pt x="120" y="116"/>
                  <a:pt x="136" y="100"/>
                </a:cubicBezTo>
                <a:cubicBezTo>
                  <a:pt x="157" y="79"/>
                  <a:pt x="157" y="79"/>
                  <a:pt x="157" y="79"/>
                </a:cubicBezTo>
                <a:lnTo>
                  <a:pt x="136" y="58"/>
                </a:lnTo>
                <a:close/>
                <a:moveTo>
                  <a:pt x="132" y="96"/>
                </a:moveTo>
                <a:cubicBezTo>
                  <a:pt x="117" y="111"/>
                  <a:pt x="98" y="119"/>
                  <a:pt x="78" y="119"/>
                </a:cubicBezTo>
                <a:cubicBezTo>
                  <a:pt x="58" y="119"/>
                  <a:pt x="39" y="111"/>
                  <a:pt x="24" y="96"/>
                </a:cubicBezTo>
                <a:cubicBezTo>
                  <a:pt x="8" y="80"/>
                  <a:pt x="8" y="80"/>
                  <a:pt x="8" y="80"/>
                </a:cubicBezTo>
                <a:cubicBezTo>
                  <a:pt x="25" y="62"/>
                  <a:pt x="25" y="62"/>
                  <a:pt x="25" y="62"/>
                </a:cubicBezTo>
                <a:cubicBezTo>
                  <a:pt x="55" y="33"/>
                  <a:pt x="103" y="33"/>
                  <a:pt x="132" y="62"/>
                </a:cubicBezTo>
                <a:cubicBezTo>
                  <a:pt x="149" y="79"/>
                  <a:pt x="149" y="79"/>
                  <a:pt x="149" y="79"/>
                </a:cubicBezTo>
                <a:lnTo>
                  <a:pt x="132" y="96"/>
                </a:lnTo>
                <a:close/>
                <a:moveTo>
                  <a:pt x="77" y="45"/>
                </a:moveTo>
                <a:cubicBezTo>
                  <a:pt x="59" y="45"/>
                  <a:pt x="43" y="61"/>
                  <a:pt x="43" y="79"/>
                </a:cubicBezTo>
                <a:cubicBezTo>
                  <a:pt x="43" y="98"/>
                  <a:pt x="59" y="114"/>
                  <a:pt x="77" y="114"/>
                </a:cubicBezTo>
                <a:cubicBezTo>
                  <a:pt x="96" y="114"/>
                  <a:pt x="112" y="98"/>
                  <a:pt x="112" y="79"/>
                </a:cubicBezTo>
                <a:cubicBezTo>
                  <a:pt x="112" y="61"/>
                  <a:pt x="96" y="45"/>
                  <a:pt x="77" y="45"/>
                </a:cubicBezTo>
                <a:close/>
                <a:moveTo>
                  <a:pt x="77" y="108"/>
                </a:moveTo>
                <a:cubicBezTo>
                  <a:pt x="62" y="108"/>
                  <a:pt x="49" y="95"/>
                  <a:pt x="49" y="79"/>
                </a:cubicBezTo>
                <a:cubicBezTo>
                  <a:pt x="49" y="64"/>
                  <a:pt x="62" y="51"/>
                  <a:pt x="77" y="51"/>
                </a:cubicBezTo>
                <a:cubicBezTo>
                  <a:pt x="93" y="51"/>
                  <a:pt x="106" y="64"/>
                  <a:pt x="106" y="79"/>
                </a:cubicBezTo>
                <a:cubicBezTo>
                  <a:pt x="106" y="95"/>
                  <a:pt x="93" y="108"/>
                  <a:pt x="77" y="108"/>
                </a:cubicBezTo>
                <a:close/>
                <a:moveTo>
                  <a:pt x="65" y="15"/>
                </a:moveTo>
                <a:cubicBezTo>
                  <a:pt x="64" y="14"/>
                  <a:pt x="64" y="12"/>
                  <a:pt x="65" y="11"/>
                </a:cubicBezTo>
                <a:cubicBezTo>
                  <a:pt x="76" y="1"/>
                  <a:pt x="76" y="1"/>
                  <a:pt x="76" y="1"/>
                </a:cubicBezTo>
                <a:cubicBezTo>
                  <a:pt x="76" y="1"/>
                  <a:pt x="77" y="0"/>
                  <a:pt x="77" y="0"/>
                </a:cubicBezTo>
                <a:cubicBezTo>
                  <a:pt x="78" y="0"/>
                  <a:pt x="78" y="0"/>
                  <a:pt x="79" y="0"/>
                </a:cubicBezTo>
                <a:cubicBezTo>
                  <a:pt x="79" y="0"/>
                  <a:pt x="80" y="1"/>
                  <a:pt x="80" y="1"/>
                </a:cubicBezTo>
                <a:cubicBezTo>
                  <a:pt x="91" y="11"/>
                  <a:pt x="91" y="11"/>
                  <a:pt x="91" y="11"/>
                </a:cubicBezTo>
                <a:cubicBezTo>
                  <a:pt x="92" y="12"/>
                  <a:pt x="92" y="14"/>
                  <a:pt x="91" y="15"/>
                </a:cubicBezTo>
                <a:cubicBezTo>
                  <a:pt x="90" y="16"/>
                  <a:pt x="89" y="16"/>
                  <a:pt x="89" y="16"/>
                </a:cubicBezTo>
                <a:cubicBezTo>
                  <a:pt x="88" y="16"/>
                  <a:pt x="87" y="16"/>
                  <a:pt x="87" y="15"/>
                </a:cubicBezTo>
                <a:cubicBezTo>
                  <a:pt x="81" y="9"/>
                  <a:pt x="81" y="9"/>
                  <a:pt x="81" y="9"/>
                </a:cubicBezTo>
                <a:cubicBezTo>
                  <a:pt x="81" y="29"/>
                  <a:pt x="81" y="29"/>
                  <a:pt x="81" y="29"/>
                </a:cubicBezTo>
                <a:cubicBezTo>
                  <a:pt x="81" y="31"/>
                  <a:pt x="79" y="32"/>
                  <a:pt x="78" y="32"/>
                </a:cubicBezTo>
                <a:cubicBezTo>
                  <a:pt x="77" y="32"/>
                  <a:pt x="75" y="31"/>
                  <a:pt x="75" y="29"/>
                </a:cubicBezTo>
                <a:cubicBezTo>
                  <a:pt x="75" y="9"/>
                  <a:pt x="75" y="9"/>
                  <a:pt x="75" y="9"/>
                </a:cubicBezTo>
                <a:cubicBezTo>
                  <a:pt x="69" y="15"/>
                  <a:pt x="69" y="15"/>
                  <a:pt x="69" y="15"/>
                </a:cubicBezTo>
                <a:cubicBezTo>
                  <a:pt x="69" y="16"/>
                  <a:pt x="68" y="16"/>
                  <a:pt x="67" y="16"/>
                </a:cubicBezTo>
                <a:cubicBezTo>
                  <a:pt x="67" y="16"/>
                  <a:pt x="66" y="16"/>
                  <a:pt x="65" y="15"/>
                </a:cubicBezTo>
                <a:close/>
                <a:moveTo>
                  <a:pt x="91" y="145"/>
                </a:moveTo>
                <a:cubicBezTo>
                  <a:pt x="92" y="146"/>
                  <a:pt x="92" y="148"/>
                  <a:pt x="91" y="149"/>
                </a:cubicBezTo>
                <a:cubicBezTo>
                  <a:pt x="80" y="159"/>
                  <a:pt x="80" y="159"/>
                  <a:pt x="80" y="159"/>
                </a:cubicBezTo>
                <a:cubicBezTo>
                  <a:pt x="80" y="159"/>
                  <a:pt x="79" y="160"/>
                  <a:pt x="79" y="160"/>
                </a:cubicBezTo>
                <a:cubicBezTo>
                  <a:pt x="79" y="160"/>
                  <a:pt x="78" y="160"/>
                  <a:pt x="78" y="160"/>
                </a:cubicBezTo>
                <a:cubicBezTo>
                  <a:pt x="78" y="160"/>
                  <a:pt x="77" y="160"/>
                  <a:pt x="77" y="160"/>
                </a:cubicBezTo>
                <a:cubicBezTo>
                  <a:pt x="77" y="160"/>
                  <a:pt x="76" y="159"/>
                  <a:pt x="76" y="159"/>
                </a:cubicBezTo>
                <a:cubicBezTo>
                  <a:pt x="65" y="149"/>
                  <a:pt x="65" y="149"/>
                  <a:pt x="65" y="149"/>
                </a:cubicBezTo>
                <a:cubicBezTo>
                  <a:pt x="64" y="148"/>
                  <a:pt x="64" y="146"/>
                  <a:pt x="65" y="145"/>
                </a:cubicBezTo>
                <a:cubicBezTo>
                  <a:pt x="66" y="144"/>
                  <a:pt x="68" y="144"/>
                  <a:pt x="69" y="145"/>
                </a:cubicBezTo>
                <a:cubicBezTo>
                  <a:pt x="75" y="151"/>
                  <a:pt x="75" y="151"/>
                  <a:pt x="75" y="151"/>
                </a:cubicBezTo>
                <a:cubicBezTo>
                  <a:pt x="75" y="131"/>
                  <a:pt x="75" y="131"/>
                  <a:pt x="75" y="131"/>
                </a:cubicBezTo>
                <a:cubicBezTo>
                  <a:pt x="75" y="129"/>
                  <a:pt x="77" y="128"/>
                  <a:pt x="78" y="128"/>
                </a:cubicBezTo>
                <a:cubicBezTo>
                  <a:pt x="79" y="128"/>
                  <a:pt x="81" y="129"/>
                  <a:pt x="81" y="131"/>
                </a:cubicBezTo>
                <a:cubicBezTo>
                  <a:pt x="81" y="151"/>
                  <a:pt x="81" y="151"/>
                  <a:pt x="81" y="151"/>
                </a:cubicBezTo>
                <a:cubicBezTo>
                  <a:pt x="87" y="145"/>
                  <a:pt x="87" y="145"/>
                  <a:pt x="87" y="145"/>
                </a:cubicBezTo>
                <a:cubicBezTo>
                  <a:pt x="88" y="144"/>
                  <a:pt x="89" y="144"/>
                  <a:pt x="91" y="14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16" name="Freeform 1318">
            <a:extLst>
              <a:ext uri="{FF2B5EF4-FFF2-40B4-BE49-F238E27FC236}">
                <a16:creationId xmlns:a16="http://schemas.microsoft.com/office/drawing/2014/main" id="{2B132D78-3429-EC4B-9B56-DD0B32D1C4B3}"/>
              </a:ext>
            </a:extLst>
          </p:cNvPr>
          <p:cNvSpPr>
            <a:spLocks noEditPoints="1"/>
          </p:cNvSpPr>
          <p:nvPr/>
        </p:nvSpPr>
        <p:spPr bwMode="auto">
          <a:xfrm>
            <a:off x="3353962" y="2278063"/>
            <a:ext cx="546100" cy="436563"/>
          </a:xfrm>
          <a:custGeom>
            <a:avLst/>
            <a:gdLst>
              <a:gd name="T0" fmla="*/ 151 w 160"/>
              <a:gd name="T1" fmla="*/ 11 h 127"/>
              <a:gd name="T2" fmla="*/ 9 w 160"/>
              <a:gd name="T3" fmla="*/ 11 h 127"/>
              <a:gd name="T4" fmla="*/ 0 w 160"/>
              <a:gd name="T5" fmla="*/ 20 h 127"/>
              <a:gd name="T6" fmla="*/ 0 w 160"/>
              <a:gd name="T7" fmla="*/ 118 h 127"/>
              <a:gd name="T8" fmla="*/ 9 w 160"/>
              <a:gd name="T9" fmla="*/ 127 h 127"/>
              <a:gd name="T10" fmla="*/ 151 w 160"/>
              <a:gd name="T11" fmla="*/ 127 h 127"/>
              <a:gd name="T12" fmla="*/ 160 w 160"/>
              <a:gd name="T13" fmla="*/ 118 h 127"/>
              <a:gd name="T14" fmla="*/ 160 w 160"/>
              <a:gd name="T15" fmla="*/ 20 h 127"/>
              <a:gd name="T16" fmla="*/ 151 w 160"/>
              <a:gd name="T17" fmla="*/ 11 h 127"/>
              <a:gd name="T18" fmla="*/ 154 w 160"/>
              <a:gd name="T19" fmla="*/ 118 h 127"/>
              <a:gd name="T20" fmla="*/ 151 w 160"/>
              <a:gd name="T21" fmla="*/ 121 h 127"/>
              <a:gd name="T22" fmla="*/ 9 w 160"/>
              <a:gd name="T23" fmla="*/ 121 h 127"/>
              <a:gd name="T24" fmla="*/ 6 w 160"/>
              <a:gd name="T25" fmla="*/ 118 h 127"/>
              <a:gd name="T26" fmla="*/ 6 w 160"/>
              <a:gd name="T27" fmla="*/ 20 h 127"/>
              <a:gd name="T28" fmla="*/ 9 w 160"/>
              <a:gd name="T29" fmla="*/ 17 h 127"/>
              <a:gd name="T30" fmla="*/ 151 w 160"/>
              <a:gd name="T31" fmla="*/ 17 h 127"/>
              <a:gd name="T32" fmla="*/ 154 w 160"/>
              <a:gd name="T33" fmla="*/ 20 h 127"/>
              <a:gd name="T34" fmla="*/ 154 w 160"/>
              <a:gd name="T35" fmla="*/ 118 h 127"/>
              <a:gd name="T36" fmla="*/ 83 w 160"/>
              <a:gd name="T37" fmla="*/ 22 h 127"/>
              <a:gd name="T38" fmla="*/ 36 w 160"/>
              <a:gd name="T39" fmla="*/ 69 h 127"/>
              <a:gd name="T40" fmla="*/ 83 w 160"/>
              <a:gd name="T41" fmla="*/ 116 h 127"/>
              <a:gd name="T42" fmla="*/ 130 w 160"/>
              <a:gd name="T43" fmla="*/ 69 h 127"/>
              <a:gd name="T44" fmla="*/ 83 w 160"/>
              <a:gd name="T45" fmla="*/ 22 h 127"/>
              <a:gd name="T46" fmla="*/ 83 w 160"/>
              <a:gd name="T47" fmla="*/ 110 h 127"/>
              <a:gd name="T48" fmla="*/ 41 w 160"/>
              <a:gd name="T49" fmla="*/ 69 h 127"/>
              <a:gd name="T50" fmla="*/ 83 w 160"/>
              <a:gd name="T51" fmla="*/ 28 h 127"/>
              <a:gd name="T52" fmla="*/ 124 w 160"/>
              <a:gd name="T53" fmla="*/ 69 h 127"/>
              <a:gd name="T54" fmla="*/ 83 w 160"/>
              <a:gd name="T55" fmla="*/ 110 h 127"/>
              <a:gd name="T56" fmla="*/ 52 w 160"/>
              <a:gd name="T57" fmla="*/ 3 h 127"/>
              <a:gd name="T58" fmla="*/ 55 w 160"/>
              <a:gd name="T59" fmla="*/ 0 h 127"/>
              <a:gd name="T60" fmla="*/ 108 w 160"/>
              <a:gd name="T61" fmla="*/ 0 h 127"/>
              <a:gd name="T62" fmla="*/ 110 w 160"/>
              <a:gd name="T63" fmla="*/ 3 h 127"/>
              <a:gd name="T64" fmla="*/ 108 w 160"/>
              <a:gd name="T65" fmla="*/ 6 h 127"/>
              <a:gd name="T66" fmla="*/ 55 w 160"/>
              <a:gd name="T67" fmla="*/ 6 h 127"/>
              <a:gd name="T68" fmla="*/ 52 w 160"/>
              <a:gd name="T69"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27">
                <a:moveTo>
                  <a:pt x="151" y="11"/>
                </a:moveTo>
                <a:cubicBezTo>
                  <a:pt x="9" y="11"/>
                  <a:pt x="9" y="11"/>
                  <a:pt x="9" y="11"/>
                </a:cubicBezTo>
                <a:cubicBezTo>
                  <a:pt x="4" y="11"/>
                  <a:pt x="0" y="15"/>
                  <a:pt x="0" y="20"/>
                </a:cubicBezTo>
                <a:cubicBezTo>
                  <a:pt x="0" y="118"/>
                  <a:pt x="0" y="118"/>
                  <a:pt x="0" y="118"/>
                </a:cubicBezTo>
                <a:cubicBezTo>
                  <a:pt x="0" y="123"/>
                  <a:pt x="4" y="127"/>
                  <a:pt x="9" y="127"/>
                </a:cubicBezTo>
                <a:cubicBezTo>
                  <a:pt x="151" y="127"/>
                  <a:pt x="151" y="127"/>
                  <a:pt x="151" y="127"/>
                </a:cubicBezTo>
                <a:cubicBezTo>
                  <a:pt x="156" y="127"/>
                  <a:pt x="160" y="123"/>
                  <a:pt x="160" y="118"/>
                </a:cubicBezTo>
                <a:cubicBezTo>
                  <a:pt x="160" y="20"/>
                  <a:pt x="160" y="20"/>
                  <a:pt x="160" y="20"/>
                </a:cubicBezTo>
                <a:cubicBezTo>
                  <a:pt x="160" y="15"/>
                  <a:pt x="156" y="11"/>
                  <a:pt x="151" y="11"/>
                </a:cubicBezTo>
                <a:close/>
                <a:moveTo>
                  <a:pt x="154" y="118"/>
                </a:moveTo>
                <a:cubicBezTo>
                  <a:pt x="154" y="120"/>
                  <a:pt x="153" y="121"/>
                  <a:pt x="151" y="121"/>
                </a:cubicBezTo>
                <a:cubicBezTo>
                  <a:pt x="9" y="121"/>
                  <a:pt x="9" y="121"/>
                  <a:pt x="9" y="121"/>
                </a:cubicBezTo>
                <a:cubicBezTo>
                  <a:pt x="7" y="121"/>
                  <a:pt x="6" y="120"/>
                  <a:pt x="6" y="118"/>
                </a:cubicBezTo>
                <a:cubicBezTo>
                  <a:pt x="6" y="20"/>
                  <a:pt x="6" y="20"/>
                  <a:pt x="6" y="20"/>
                </a:cubicBezTo>
                <a:cubicBezTo>
                  <a:pt x="6" y="18"/>
                  <a:pt x="7" y="17"/>
                  <a:pt x="9" y="17"/>
                </a:cubicBezTo>
                <a:cubicBezTo>
                  <a:pt x="151" y="17"/>
                  <a:pt x="151" y="17"/>
                  <a:pt x="151" y="17"/>
                </a:cubicBezTo>
                <a:cubicBezTo>
                  <a:pt x="153" y="17"/>
                  <a:pt x="154" y="18"/>
                  <a:pt x="154" y="20"/>
                </a:cubicBezTo>
                <a:lnTo>
                  <a:pt x="154" y="118"/>
                </a:lnTo>
                <a:close/>
                <a:moveTo>
                  <a:pt x="83" y="22"/>
                </a:moveTo>
                <a:cubicBezTo>
                  <a:pt x="57" y="22"/>
                  <a:pt x="36" y="43"/>
                  <a:pt x="36" y="69"/>
                </a:cubicBezTo>
                <a:cubicBezTo>
                  <a:pt x="36" y="95"/>
                  <a:pt x="57" y="116"/>
                  <a:pt x="83" y="116"/>
                </a:cubicBezTo>
                <a:cubicBezTo>
                  <a:pt x="109" y="116"/>
                  <a:pt x="130" y="95"/>
                  <a:pt x="130" y="69"/>
                </a:cubicBezTo>
                <a:cubicBezTo>
                  <a:pt x="130" y="43"/>
                  <a:pt x="109" y="22"/>
                  <a:pt x="83" y="22"/>
                </a:cubicBezTo>
                <a:close/>
                <a:moveTo>
                  <a:pt x="83" y="110"/>
                </a:moveTo>
                <a:cubicBezTo>
                  <a:pt x="60" y="110"/>
                  <a:pt x="41" y="92"/>
                  <a:pt x="41" y="69"/>
                </a:cubicBezTo>
                <a:cubicBezTo>
                  <a:pt x="41" y="46"/>
                  <a:pt x="60" y="28"/>
                  <a:pt x="83" y="28"/>
                </a:cubicBezTo>
                <a:cubicBezTo>
                  <a:pt x="106" y="28"/>
                  <a:pt x="124" y="46"/>
                  <a:pt x="124" y="69"/>
                </a:cubicBezTo>
                <a:cubicBezTo>
                  <a:pt x="124" y="92"/>
                  <a:pt x="106" y="110"/>
                  <a:pt x="83" y="110"/>
                </a:cubicBezTo>
                <a:close/>
                <a:moveTo>
                  <a:pt x="52" y="3"/>
                </a:moveTo>
                <a:cubicBezTo>
                  <a:pt x="52" y="1"/>
                  <a:pt x="54" y="0"/>
                  <a:pt x="55" y="0"/>
                </a:cubicBezTo>
                <a:cubicBezTo>
                  <a:pt x="108" y="0"/>
                  <a:pt x="108" y="0"/>
                  <a:pt x="108" y="0"/>
                </a:cubicBezTo>
                <a:cubicBezTo>
                  <a:pt x="109" y="0"/>
                  <a:pt x="110" y="1"/>
                  <a:pt x="110" y="3"/>
                </a:cubicBezTo>
                <a:cubicBezTo>
                  <a:pt x="110" y="4"/>
                  <a:pt x="109" y="6"/>
                  <a:pt x="108" y="6"/>
                </a:cubicBezTo>
                <a:cubicBezTo>
                  <a:pt x="55" y="6"/>
                  <a:pt x="55" y="6"/>
                  <a:pt x="55" y="6"/>
                </a:cubicBezTo>
                <a:cubicBezTo>
                  <a:pt x="54" y="6"/>
                  <a:pt x="52" y="4"/>
                  <a:pt x="52" y="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17" name="Freeform 1319">
            <a:extLst>
              <a:ext uri="{FF2B5EF4-FFF2-40B4-BE49-F238E27FC236}">
                <a16:creationId xmlns:a16="http://schemas.microsoft.com/office/drawing/2014/main" id="{BE7D70D4-F17B-9B44-AF17-B2F3A641DBD3}"/>
              </a:ext>
            </a:extLst>
          </p:cNvPr>
          <p:cNvSpPr>
            <a:spLocks noEditPoints="1"/>
          </p:cNvSpPr>
          <p:nvPr/>
        </p:nvSpPr>
        <p:spPr bwMode="auto">
          <a:xfrm>
            <a:off x="3353962" y="2882900"/>
            <a:ext cx="546100" cy="450850"/>
          </a:xfrm>
          <a:custGeom>
            <a:avLst/>
            <a:gdLst>
              <a:gd name="T0" fmla="*/ 124 w 160"/>
              <a:gd name="T1" fmla="*/ 27 h 131"/>
              <a:gd name="T2" fmla="*/ 46 w 160"/>
              <a:gd name="T3" fmla="*/ 0 h 131"/>
              <a:gd name="T4" fmla="*/ 32 w 160"/>
              <a:gd name="T5" fmla="*/ 27 h 131"/>
              <a:gd name="T6" fmla="*/ 16 w 160"/>
              <a:gd name="T7" fmla="*/ 13 h 131"/>
              <a:gd name="T8" fmla="*/ 13 w 160"/>
              <a:gd name="T9" fmla="*/ 27 h 131"/>
              <a:gd name="T10" fmla="*/ 0 w 160"/>
              <a:gd name="T11" fmla="*/ 118 h 131"/>
              <a:gd name="T12" fmla="*/ 147 w 160"/>
              <a:gd name="T13" fmla="*/ 131 h 131"/>
              <a:gd name="T14" fmla="*/ 160 w 160"/>
              <a:gd name="T15" fmla="*/ 39 h 131"/>
              <a:gd name="T16" fmla="*/ 21 w 160"/>
              <a:gd name="T17" fmla="*/ 19 h 131"/>
              <a:gd name="T18" fmla="*/ 27 w 160"/>
              <a:gd name="T19" fmla="*/ 27 h 131"/>
              <a:gd name="T20" fmla="*/ 21 w 160"/>
              <a:gd name="T21" fmla="*/ 19 h 131"/>
              <a:gd name="T22" fmla="*/ 147 w 160"/>
              <a:gd name="T23" fmla="*/ 125 h 131"/>
              <a:gd name="T24" fmla="*/ 5 w 160"/>
              <a:gd name="T25" fmla="*/ 118 h 131"/>
              <a:gd name="T26" fmla="*/ 13 w 160"/>
              <a:gd name="T27" fmla="*/ 32 h 131"/>
              <a:gd name="T28" fmla="*/ 32 w 160"/>
              <a:gd name="T29" fmla="*/ 32 h 131"/>
              <a:gd name="T30" fmla="*/ 50 w 160"/>
              <a:gd name="T31" fmla="*/ 5 h 131"/>
              <a:gd name="T32" fmla="*/ 121 w 160"/>
              <a:gd name="T33" fmla="*/ 32 h 131"/>
              <a:gd name="T34" fmla="*/ 155 w 160"/>
              <a:gd name="T35" fmla="*/ 39 h 131"/>
              <a:gd name="T36" fmla="*/ 80 w 160"/>
              <a:gd name="T37" fmla="*/ 24 h 131"/>
              <a:gd name="T38" fmla="*/ 80 w 160"/>
              <a:gd name="T39" fmla="*/ 120 h 131"/>
              <a:gd name="T40" fmla="*/ 80 w 160"/>
              <a:gd name="T41" fmla="*/ 24 h 131"/>
              <a:gd name="T42" fmla="*/ 37 w 160"/>
              <a:gd name="T43" fmla="*/ 72 h 131"/>
              <a:gd name="T44" fmla="*/ 123 w 160"/>
              <a:gd name="T45" fmla="*/ 72 h 131"/>
              <a:gd name="T46" fmla="*/ 80 w 160"/>
              <a:gd name="T47" fmla="*/ 40 h 131"/>
              <a:gd name="T48" fmla="*/ 80 w 160"/>
              <a:gd name="T49" fmla="*/ 104 h 131"/>
              <a:gd name="T50" fmla="*/ 80 w 160"/>
              <a:gd name="T51" fmla="*/ 40 h 131"/>
              <a:gd name="T52" fmla="*/ 53 w 160"/>
              <a:gd name="T53" fmla="*/ 72 h 131"/>
              <a:gd name="T54" fmla="*/ 107 w 160"/>
              <a:gd name="T55" fmla="*/ 72 h 131"/>
              <a:gd name="T56" fmla="*/ 139 w 160"/>
              <a:gd name="T57" fmla="*/ 37 h 131"/>
              <a:gd name="T58" fmla="*/ 139 w 160"/>
              <a:gd name="T59" fmla="*/ 59 h 131"/>
              <a:gd name="T60" fmla="*/ 139 w 160"/>
              <a:gd name="T61" fmla="*/ 37 h 131"/>
              <a:gd name="T62" fmla="*/ 133 w 160"/>
              <a:gd name="T63" fmla="*/ 48 h 131"/>
              <a:gd name="T64" fmla="*/ 144 w 160"/>
              <a:gd name="T65" fmla="*/ 4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31">
                <a:moveTo>
                  <a:pt x="147" y="27"/>
                </a:moveTo>
                <a:cubicBezTo>
                  <a:pt x="124" y="27"/>
                  <a:pt x="124" y="27"/>
                  <a:pt x="124" y="27"/>
                </a:cubicBezTo>
                <a:cubicBezTo>
                  <a:pt x="114" y="0"/>
                  <a:pt x="114" y="0"/>
                  <a:pt x="114" y="0"/>
                </a:cubicBezTo>
                <a:cubicBezTo>
                  <a:pt x="46" y="0"/>
                  <a:pt x="46" y="0"/>
                  <a:pt x="46" y="0"/>
                </a:cubicBezTo>
                <a:cubicBezTo>
                  <a:pt x="36" y="27"/>
                  <a:pt x="36" y="27"/>
                  <a:pt x="36" y="27"/>
                </a:cubicBezTo>
                <a:cubicBezTo>
                  <a:pt x="32" y="27"/>
                  <a:pt x="32" y="27"/>
                  <a:pt x="32" y="27"/>
                </a:cubicBezTo>
                <a:cubicBezTo>
                  <a:pt x="32" y="13"/>
                  <a:pt x="32" y="13"/>
                  <a:pt x="32" y="13"/>
                </a:cubicBezTo>
                <a:cubicBezTo>
                  <a:pt x="16" y="13"/>
                  <a:pt x="16" y="13"/>
                  <a:pt x="16" y="13"/>
                </a:cubicBezTo>
                <a:cubicBezTo>
                  <a:pt x="16" y="27"/>
                  <a:pt x="16" y="27"/>
                  <a:pt x="16" y="27"/>
                </a:cubicBezTo>
                <a:cubicBezTo>
                  <a:pt x="13" y="27"/>
                  <a:pt x="13" y="27"/>
                  <a:pt x="13" y="27"/>
                </a:cubicBezTo>
                <a:cubicBezTo>
                  <a:pt x="6" y="27"/>
                  <a:pt x="0" y="32"/>
                  <a:pt x="0" y="39"/>
                </a:cubicBezTo>
                <a:cubicBezTo>
                  <a:pt x="0" y="118"/>
                  <a:pt x="0" y="118"/>
                  <a:pt x="0" y="118"/>
                </a:cubicBezTo>
                <a:cubicBezTo>
                  <a:pt x="0" y="125"/>
                  <a:pt x="6" y="131"/>
                  <a:pt x="13" y="131"/>
                </a:cubicBezTo>
                <a:cubicBezTo>
                  <a:pt x="147" y="131"/>
                  <a:pt x="147" y="131"/>
                  <a:pt x="147" y="131"/>
                </a:cubicBezTo>
                <a:cubicBezTo>
                  <a:pt x="154" y="131"/>
                  <a:pt x="160" y="125"/>
                  <a:pt x="160" y="118"/>
                </a:cubicBezTo>
                <a:cubicBezTo>
                  <a:pt x="160" y="39"/>
                  <a:pt x="160" y="39"/>
                  <a:pt x="160" y="39"/>
                </a:cubicBezTo>
                <a:cubicBezTo>
                  <a:pt x="160" y="32"/>
                  <a:pt x="154" y="27"/>
                  <a:pt x="147" y="27"/>
                </a:cubicBezTo>
                <a:close/>
                <a:moveTo>
                  <a:pt x="21" y="19"/>
                </a:moveTo>
                <a:cubicBezTo>
                  <a:pt x="27" y="19"/>
                  <a:pt x="27" y="19"/>
                  <a:pt x="27" y="19"/>
                </a:cubicBezTo>
                <a:cubicBezTo>
                  <a:pt x="27" y="27"/>
                  <a:pt x="27" y="27"/>
                  <a:pt x="27" y="27"/>
                </a:cubicBezTo>
                <a:cubicBezTo>
                  <a:pt x="21" y="27"/>
                  <a:pt x="21" y="27"/>
                  <a:pt x="21" y="27"/>
                </a:cubicBezTo>
                <a:lnTo>
                  <a:pt x="21" y="19"/>
                </a:lnTo>
                <a:close/>
                <a:moveTo>
                  <a:pt x="155" y="118"/>
                </a:moveTo>
                <a:cubicBezTo>
                  <a:pt x="155" y="122"/>
                  <a:pt x="151" y="125"/>
                  <a:pt x="147" y="125"/>
                </a:cubicBezTo>
                <a:cubicBezTo>
                  <a:pt x="13" y="125"/>
                  <a:pt x="13" y="125"/>
                  <a:pt x="13" y="125"/>
                </a:cubicBezTo>
                <a:cubicBezTo>
                  <a:pt x="9" y="125"/>
                  <a:pt x="5" y="122"/>
                  <a:pt x="5" y="118"/>
                </a:cubicBezTo>
                <a:cubicBezTo>
                  <a:pt x="5" y="39"/>
                  <a:pt x="5" y="39"/>
                  <a:pt x="5" y="39"/>
                </a:cubicBezTo>
                <a:cubicBezTo>
                  <a:pt x="5" y="35"/>
                  <a:pt x="9" y="32"/>
                  <a:pt x="13" y="32"/>
                </a:cubicBezTo>
                <a:cubicBezTo>
                  <a:pt x="16" y="32"/>
                  <a:pt x="16" y="32"/>
                  <a:pt x="16" y="32"/>
                </a:cubicBezTo>
                <a:cubicBezTo>
                  <a:pt x="32" y="32"/>
                  <a:pt x="32" y="32"/>
                  <a:pt x="32" y="32"/>
                </a:cubicBezTo>
                <a:cubicBezTo>
                  <a:pt x="39" y="32"/>
                  <a:pt x="39" y="32"/>
                  <a:pt x="39" y="32"/>
                </a:cubicBezTo>
                <a:cubicBezTo>
                  <a:pt x="50" y="5"/>
                  <a:pt x="50" y="5"/>
                  <a:pt x="50" y="5"/>
                </a:cubicBezTo>
                <a:cubicBezTo>
                  <a:pt x="110" y="5"/>
                  <a:pt x="110" y="5"/>
                  <a:pt x="110" y="5"/>
                </a:cubicBezTo>
                <a:cubicBezTo>
                  <a:pt x="121" y="32"/>
                  <a:pt x="121" y="32"/>
                  <a:pt x="121" y="32"/>
                </a:cubicBezTo>
                <a:cubicBezTo>
                  <a:pt x="147" y="32"/>
                  <a:pt x="147" y="32"/>
                  <a:pt x="147" y="32"/>
                </a:cubicBezTo>
                <a:cubicBezTo>
                  <a:pt x="151" y="32"/>
                  <a:pt x="155" y="35"/>
                  <a:pt x="155" y="39"/>
                </a:cubicBezTo>
                <a:lnTo>
                  <a:pt x="155" y="118"/>
                </a:lnTo>
                <a:close/>
                <a:moveTo>
                  <a:pt x="80" y="24"/>
                </a:moveTo>
                <a:cubicBezTo>
                  <a:pt x="54" y="24"/>
                  <a:pt x="32" y="46"/>
                  <a:pt x="32" y="72"/>
                </a:cubicBezTo>
                <a:cubicBezTo>
                  <a:pt x="32" y="98"/>
                  <a:pt x="54" y="120"/>
                  <a:pt x="80" y="120"/>
                </a:cubicBezTo>
                <a:cubicBezTo>
                  <a:pt x="106" y="120"/>
                  <a:pt x="128" y="98"/>
                  <a:pt x="128" y="72"/>
                </a:cubicBezTo>
                <a:cubicBezTo>
                  <a:pt x="128" y="46"/>
                  <a:pt x="106" y="24"/>
                  <a:pt x="80" y="24"/>
                </a:cubicBezTo>
                <a:close/>
                <a:moveTo>
                  <a:pt x="80" y="115"/>
                </a:moveTo>
                <a:cubicBezTo>
                  <a:pt x="56" y="115"/>
                  <a:pt x="37" y="96"/>
                  <a:pt x="37" y="72"/>
                </a:cubicBezTo>
                <a:cubicBezTo>
                  <a:pt x="37" y="48"/>
                  <a:pt x="56" y="29"/>
                  <a:pt x="80" y="29"/>
                </a:cubicBezTo>
                <a:cubicBezTo>
                  <a:pt x="104" y="29"/>
                  <a:pt x="123" y="48"/>
                  <a:pt x="123" y="72"/>
                </a:cubicBezTo>
                <a:cubicBezTo>
                  <a:pt x="123" y="96"/>
                  <a:pt x="104" y="115"/>
                  <a:pt x="80" y="115"/>
                </a:cubicBezTo>
                <a:close/>
                <a:moveTo>
                  <a:pt x="80" y="40"/>
                </a:moveTo>
                <a:cubicBezTo>
                  <a:pt x="62" y="40"/>
                  <a:pt x="48" y="54"/>
                  <a:pt x="48" y="72"/>
                </a:cubicBezTo>
                <a:cubicBezTo>
                  <a:pt x="48" y="90"/>
                  <a:pt x="62" y="104"/>
                  <a:pt x="80" y="104"/>
                </a:cubicBezTo>
                <a:cubicBezTo>
                  <a:pt x="98" y="104"/>
                  <a:pt x="112" y="90"/>
                  <a:pt x="112" y="72"/>
                </a:cubicBezTo>
                <a:cubicBezTo>
                  <a:pt x="112" y="54"/>
                  <a:pt x="98" y="40"/>
                  <a:pt x="80" y="40"/>
                </a:cubicBezTo>
                <a:close/>
                <a:moveTo>
                  <a:pt x="80" y="99"/>
                </a:moveTo>
                <a:cubicBezTo>
                  <a:pt x="65" y="99"/>
                  <a:pt x="53" y="87"/>
                  <a:pt x="53" y="72"/>
                </a:cubicBezTo>
                <a:cubicBezTo>
                  <a:pt x="53" y="57"/>
                  <a:pt x="65" y="45"/>
                  <a:pt x="80" y="45"/>
                </a:cubicBezTo>
                <a:cubicBezTo>
                  <a:pt x="95" y="45"/>
                  <a:pt x="107" y="57"/>
                  <a:pt x="107" y="72"/>
                </a:cubicBezTo>
                <a:cubicBezTo>
                  <a:pt x="107" y="87"/>
                  <a:pt x="95" y="99"/>
                  <a:pt x="80" y="99"/>
                </a:cubicBezTo>
                <a:close/>
                <a:moveTo>
                  <a:pt x="139" y="37"/>
                </a:moveTo>
                <a:cubicBezTo>
                  <a:pt x="133" y="37"/>
                  <a:pt x="128" y="42"/>
                  <a:pt x="128" y="48"/>
                </a:cubicBezTo>
                <a:cubicBezTo>
                  <a:pt x="128" y="54"/>
                  <a:pt x="133" y="59"/>
                  <a:pt x="139" y="59"/>
                </a:cubicBezTo>
                <a:cubicBezTo>
                  <a:pt x="145" y="59"/>
                  <a:pt x="149" y="54"/>
                  <a:pt x="149" y="48"/>
                </a:cubicBezTo>
                <a:cubicBezTo>
                  <a:pt x="149" y="42"/>
                  <a:pt x="145" y="37"/>
                  <a:pt x="139" y="37"/>
                </a:cubicBezTo>
                <a:close/>
                <a:moveTo>
                  <a:pt x="139" y="53"/>
                </a:moveTo>
                <a:cubicBezTo>
                  <a:pt x="136" y="53"/>
                  <a:pt x="133" y="51"/>
                  <a:pt x="133" y="48"/>
                </a:cubicBezTo>
                <a:cubicBezTo>
                  <a:pt x="133" y="45"/>
                  <a:pt x="136" y="43"/>
                  <a:pt x="139" y="43"/>
                </a:cubicBezTo>
                <a:cubicBezTo>
                  <a:pt x="142" y="43"/>
                  <a:pt x="144" y="45"/>
                  <a:pt x="144" y="48"/>
                </a:cubicBezTo>
                <a:cubicBezTo>
                  <a:pt x="144" y="51"/>
                  <a:pt x="142" y="53"/>
                  <a:pt x="139" y="5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18" name="Freeform 1320">
            <a:extLst>
              <a:ext uri="{FF2B5EF4-FFF2-40B4-BE49-F238E27FC236}">
                <a16:creationId xmlns:a16="http://schemas.microsoft.com/office/drawing/2014/main" id="{8C1EB1CA-D15D-9642-B9F5-9018C56A34C8}"/>
              </a:ext>
            </a:extLst>
          </p:cNvPr>
          <p:cNvSpPr>
            <a:spLocks noEditPoints="1"/>
          </p:cNvSpPr>
          <p:nvPr/>
        </p:nvSpPr>
        <p:spPr bwMode="auto">
          <a:xfrm>
            <a:off x="3353962" y="3462338"/>
            <a:ext cx="546100" cy="549275"/>
          </a:xfrm>
          <a:custGeom>
            <a:avLst/>
            <a:gdLst>
              <a:gd name="T0" fmla="*/ 137 w 160"/>
              <a:gd name="T1" fmla="*/ 23 h 160"/>
              <a:gd name="T2" fmla="*/ 55 w 160"/>
              <a:gd name="T3" fmla="*/ 19 h 160"/>
              <a:gd name="T4" fmla="*/ 0 w 160"/>
              <a:gd name="T5" fmla="*/ 80 h 160"/>
              <a:gd name="T6" fmla="*/ 42 w 160"/>
              <a:gd name="T7" fmla="*/ 144 h 160"/>
              <a:gd name="T8" fmla="*/ 105 w 160"/>
              <a:gd name="T9" fmla="*/ 141 h 160"/>
              <a:gd name="T10" fmla="*/ 141 w 160"/>
              <a:gd name="T11" fmla="*/ 105 h 160"/>
              <a:gd name="T12" fmla="*/ 22 w 160"/>
              <a:gd name="T13" fmla="*/ 59 h 160"/>
              <a:gd name="T14" fmla="*/ 23 w 160"/>
              <a:gd name="T15" fmla="*/ 99 h 160"/>
              <a:gd name="T16" fmla="*/ 50 w 160"/>
              <a:gd name="T17" fmla="*/ 80 h 160"/>
              <a:gd name="T18" fmla="*/ 50 w 160"/>
              <a:gd name="T19" fmla="*/ 80 h 160"/>
              <a:gd name="T20" fmla="*/ 28 w 160"/>
              <a:gd name="T21" fmla="*/ 101 h 160"/>
              <a:gd name="T22" fmla="*/ 46 w 160"/>
              <a:gd name="T23" fmla="*/ 76 h 160"/>
              <a:gd name="T24" fmla="*/ 53 w 160"/>
              <a:gd name="T25" fmla="*/ 69 h 160"/>
              <a:gd name="T26" fmla="*/ 24 w 160"/>
              <a:gd name="T27" fmla="*/ 107 h 160"/>
              <a:gd name="T28" fmla="*/ 53 w 160"/>
              <a:gd name="T29" fmla="*/ 133 h 160"/>
              <a:gd name="T30" fmla="*/ 53 w 160"/>
              <a:gd name="T31" fmla="*/ 27 h 160"/>
              <a:gd name="T32" fmla="*/ 24 w 160"/>
              <a:gd name="T33" fmla="*/ 53 h 160"/>
              <a:gd name="T34" fmla="*/ 53 w 160"/>
              <a:gd name="T35" fmla="*/ 24 h 160"/>
              <a:gd name="T36" fmla="*/ 101 w 160"/>
              <a:gd name="T37" fmla="*/ 22 h 160"/>
              <a:gd name="T38" fmla="*/ 61 w 160"/>
              <a:gd name="T39" fmla="*/ 23 h 160"/>
              <a:gd name="T40" fmla="*/ 84 w 160"/>
              <a:gd name="T41" fmla="*/ 53 h 160"/>
              <a:gd name="T42" fmla="*/ 84 w 160"/>
              <a:gd name="T43" fmla="*/ 53 h 160"/>
              <a:gd name="T44" fmla="*/ 69 w 160"/>
              <a:gd name="T45" fmla="*/ 53 h 160"/>
              <a:gd name="T46" fmla="*/ 59 w 160"/>
              <a:gd name="T47" fmla="*/ 59 h 160"/>
              <a:gd name="T48" fmla="*/ 59 w 160"/>
              <a:gd name="T49" fmla="*/ 59 h 160"/>
              <a:gd name="T50" fmla="*/ 59 w 160"/>
              <a:gd name="T51" fmla="*/ 101 h 160"/>
              <a:gd name="T52" fmla="*/ 69 w 160"/>
              <a:gd name="T53" fmla="*/ 107 h 160"/>
              <a:gd name="T54" fmla="*/ 59 w 160"/>
              <a:gd name="T55" fmla="*/ 107 h 160"/>
              <a:gd name="T56" fmla="*/ 61 w 160"/>
              <a:gd name="T57" fmla="*/ 137 h 160"/>
              <a:gd name="T58" fmla="*/ 101 w 160"/>
              <a:gd name="T59" fmla="*/ 138 h 160"/>
              <a:gd name="T60" fmla="*/ 84 w 160"/>
              <a:gd name="T61" fmla="*/ 107 h 160"/>
              <a:gd name="T62" fmla="*/ 101 w 160"/>
              <a:gd name="T63" fmla="*/ 132 h 160"/>
              <a:gd name="T64" fmla="*/ 101 w 160"/>
              <a:gd name="T65" fmla="*/ 107 h 160"/>
              <a:gd name="T66" fmla="*/ 96 w 160"/>
              <a:gd name="T67" fmla="*/ 101 h 160"/>
              <a:gd name="T68" fmla="*/ 101 w 160"/>
              <a:gd name="T69" fmla="*/ 89 h 160"/>
              <a:gd name="T70" fmla="*/ 59 w 160"/>
              <a:gd name="T71" fmla="*/ 89 h 160"/>
              <a:gd name="T72" fmla="*/ 89 w 160"/>
              <a:gd name="T73" fmla="*/ 59 h 160"/>
              <a:gd name="T74" fmla="*/ 101 w 160"/>
              <a:gd name="T75" fmla="*/ 64 h 160"/>
              <a:gd name="T76" fmla="*/ 101 w 160"/>
              <a:gd name="T77" fmla="*/ 64 h 160"/>
              <a:gd name="T78" fmla="*/ 84 w 160"/>
              <a:gd name="T79" fmla="*/ 46 h 160"/>
              <a:gd name="T80" fmla="*/ 118 w 160"/>
              <a:gd name="T81" fmla="*/ 21 h 160"/>
              <a:gd name="T82" fmla="*/ 133 w 160"/>
              <a:gd name="T83" fmla="*/ 53 h 160"/>
              <a:gd name="T84" fmla="*/ 107 w 160"/>
              <a:gd name="T85" fmla="*/ 24 h 160"/>
              <a:gd name="T86" fmla="*/ 132 w 160"/>
              <a:gd name="T87" fmla="*/ 101 h 160"/>
              <a:gd name="T88" fmla="*/ 114 w 160"/>
              <a:gd name="T89" fmla="*/ 84 h 160"/>
              <a:gd name="T90" fmla="*/ 110 w 160"/>
              <a:gd name="T91" fmla="*/ 80 h 160"/>
              <a:gd name="T92" fmla="*/ 107 w 160"/>
              <a:gd name="T93" fmla="*/ 59 h 160"/>
              <a:gd name="T94" fmla="*/ 107 w 160"/>
              <a:gd name="T95" fmla="*/ 69 h 160"/>
              <a:gd name="T96" fmla="*/ 107 w 160"/>
              <a:gd name="T97" fmla="*/ 133 h 160"/>
              <a:gd name="T98" fmla="*/ 136 w 160"/>
              <a:gd name="T99" fmla="*/ 107 h 160"/>
              <a:gd name="T100" fmla="*/ 137 w 160"/>
              <a:gd name="T101" fmla="*/ 99 h 160"/>
              <a:gd name="T102" fmla="*/ 138 w 160"/>
              <a:gd name="T103" fmla="*/ 5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 h="160">
                <a:moveTo>
                  <a:pt x="160" y="80"/>
                </a:moveTo>
                <a:cubicBezTo>
                  <a:pt x="160" y="68"/>
                  <a:pt x="152" y="58"/>
                  <a:pt x="141" y="55"/>
                </a:cubicBezTo>
                <a:cubicBezTo>
                  <a:pt x="147" y="45"/>
                  <a:pt x="145" y="32"/>
                  <a:pt x="137" y="23"/>
                </a:cubicBezTo>
                <a:cubicBezTo>
                  <a:pt x="128" y="15"/>
                  <a:pt x="115" y="13"/>
                  <a:pt x="105" y="19"/>
                </a:cubicBezTo>
                <a:cubicBezTo>
                  <a:pt x="102" y="8"/>
                  <a:pt x="92" y="0"/>
                  <a:pt x="80" y="0"/>
                </a:cubicBezTo>
                <a:cubicBezTo>
                  <a:pt x="68" y="0"/>
                  <a:pt x="58" y="8"/>
                  <a:pt x="55" y="19"/>
                </a:cubicBezTo>
                <a:cubicBezTo>
                  <a:pt x="45" y="13"/>
                  <a:pt x="32" y="15"/>
                  <a:pt x="23" y="23"/>
                </a:cubicBezTo>
                <a:cubicBezTo>
                  <a:pt x="15" y="32"/>
                  <a:pt x="13" y="45"/>
                  <a:pt x="19" y="55"/>
                </a:cubicBezTo>
                <a:cubicBezTo>
                  <a:pt x="8" y="58"/>
                  <a:pt x="0" y="68"/>
                  <a:pt x="0" y="80"/>
                </a:cubicBezTo>
                <a:cubicBezTo>
                  <a:pt x="0" y="92"/>
                  <a:pt x="8" y="102"/>
                  <a:pt x="19" y="105"/>
                </a:cubicBezTo>
                <a:cubicBezTo>
                  <a:pt x="13" y="115"/>
                  <a:pt x="15" y="128"/>
                  <a:pt x="23" y="137"/>
                </a:cubicBezTo>
                <a:cubicBezTo>
                  <a:pt x="29" y="142"/>
                  <a:pt x="35" y="144"/>
                  <a:pt x="42" y="144"/>
                </a:cubicBezTo>
                <a:cubicBezTo>
                  <a:pt x="47" y="144"/>
                  <a:pt x="51" y="143"/>
                  <a:pt x="55" y="141"/>
                </a:cubicBezTo>
                <a:cubicBezTo>
                  <a:pt x="58" y="152"/>
                  <a:pt x="68" y="160"/>
                  <a:pt x="80" y="160"/>
                </a:cubicBezTo>
                <a:cubicBezTo>
                  <a:pt x="92" y="160"/>
                  <a:pt x="102" y="152"/>
                  <a:pt x="105" y="141"/>
                </a:cubicBezTo>
                <a:cubicBezTo>
                  <a:pt x="109" y="143"/>
                  <a:pt x="113" y="144"/>
                  <a:pt x="118" y="144"/>
                </a:cubicBezTo>
                <a:cubicBezTo>
                  <a:pt x="125" y="144"/>
                  <a:pt x="131" y="142"/>
                  <a:pt x="137" y="137"/>
                </a:cubicBezTo>
                <a:cubicBezTo>
                  <a:pt x="145" y="128"/>
                  <a:pt x="147" y="115"/>
                  <a:pt x="141" y="105"/>
                </a:cubicBezTo>
                <a:cubicBezTo>
                  <a:pt x="152" y="102"/>
                  <a:pt x="160" y="92"/>
                  <a:pt x="160" y="80"/>
                </a:cubicBezTo>
                <a:close/>
                <a:moveTo>
                  <a:pt x="5" y="80"/>
                </a:moveTo>
                <a:cubicBezTo>
                  <a:pt x="5" y="70"/>
                  <a:pt x="12" y="62"/>
                  <a:pt x="22" y="59"/>
                </a:cubicBezTo>
                <a:cubicBezTo>
                  <a:pt x="22" y="60"/>
                  <a:pt x="23" y="61"/>
                  <a:pt x="23" y="61"/>
                </a:cubicBezTo>
                <a:cubicBezTo>
                  <a:pt x="42" y="80"/>
                  <a:pt x="42" y="80"/>
                  <a:pt x="42" y="80"/>
                </a:cubicBezTo>
                <a:cubicBezTo>
                  <a:pt x="23" y="99"/>
                  <a:pt x="23" y="99"/>
                  <a:pt x="23" y="99"/>
                </a:cubicBezTo>
                <a:cubicBezTo>
                  <a:pt x="23" y="99"/>
                  <a:pt x="22" y="100"/>
                  <a:pt x="22" y="101"/>
                </a:cubicBezTo>
                <a:cubicBezTo>
                  <a:pt x="12" y="99"/>
                  <a:pt x="5" y="90"/>
                  <a:pt x="5" y="80"/>
                </a:cubicBezTo>
                <a:close/>
                <a:moveTo>
                  <a:pt x="50" y="80"/>
                </a:moveTo>
                <a:cubicBezTo>
                  <a:pt x="53" y="77"/>
                  <a:pt x="53" y="77"/>
                  <a:pt x="53" y="77"/>
                </a:cubicBezTo>
                <a:cubicBezTo>
                  <a:pt x="53" y="84"/>
                  <a:pt x="53" y="84"/>
                  <a:pt x="53" y="84"/>
                </a:cubicBezTo>
                <a:lnTo>
                  <a:pt x="50" y="80"/>
                </a:lnTo>
                <a:close/>
                <a:moveTo>
                  <a:pt x="53" y="91"/>
                </a:moveTo>
                <a:cubicBezTo>
                  <a:pt x="53" y="101"/>
                  <a:pt x="53" y="101"/>
                  <a:pt x="53" y="101"/>
                </a:cubicBezTo>
                <a:cubicBezTo>
                  <a:pt x="28" y="101"/>
                  <a:pt x="28" y="101"/>
                  <a:pt x="28" y="101"/>
                </a:cubicBezTo>
                <a:cubicBezTo>
                  <a:pt x="46" y="84"/>
                  <a:pt x="46" y="84"/>
                  <a:pt x="46" y="84"/>
                </a:cubicBezTo>
                <a:lnTo>
                  <a:pt x="53" y="91"/>
                </a:lnTo>
                <a:close/>
                <a:moveTo>
                  <a:pt x="46" y="76"/>
                </a:moveTo>
                <a:cubicBezTo>
                  <a:pt x="28" y="59"/>
                  <a:pt x="28" y="59"/>
                  <a:pt x="28" y="59"/>
                </a:cubicBezTo>
                <a:cubicBezTo>
                  <a:pt x="53" y="59"/>
                  <a:pt x="53" y="59"/>
                  <a:pt x="53" y="59"/>
                </a:cubicBezTo>
                <a:cubicBezTo>
                  <a:pt x="53" y="69"/>
                  <a:pt x="53" y="69"/>
                  <a:pt x="53" y="69"/>
                </a:cubicBezTo>
                <a:lnTo>
                  <a:pt x="46" y="76"/>
                </a:lnTo>
                <a:close/>
                <a:moveTo>
                  <a:pt x="27" y="133"/>
                </a:moveTo>
                <a:cubicBezTo>
                  <a:pt x="20" y="126"/>
                  <a:pt x="19" y="115"/>
                  <a:pt x="24" y="107"/>
                </a:cubicBezTo>
                <a:cubicBezTo>
                  <a:pt x="25" y="107"/>
                  <a:pt x="26" y="107"/>
                  <a:pt x="27" y="107"/>
                </a:cubicBezTo>
                <a:cubicBezTo>
                  <a:pt x="53" y="107"/>
                  <a:pt x="53" y="107"/>
                  <a:pt x="53" y="107"/>
                </a:cubicBezTo>
                <a:cubicBezTo>
                  <a:pt x="53" y="133"/>
                  <a:pt x="53" y="133"/>
                  <a:pt x="53" y="133"/>
                </a:cubicBezTo>
                <a:cubicBezTo>
                  <a:pt x="53" y="134"/>
                  <a:pt x="53" y="135"/>
                  <a:pt x="53" y="136"/>
                </a:cubicBezTo>
                <a:cubicBezTo>
                  <a:pt x="45" y="141"/>
                  <a:pt x="34" y="140"/>
                  <a:pt x="27" y="133"/>
                </a:cubicBezTo>
                <a:close/>
                <a:moveTo>
                  <a:pt x="53" y="27"/>
                </a:moveTo>
                <a:cubicBezTo>
                  <a:pt x="53" y="53"/>
                  <a:pt x="53" y="53"/>
                  <a:pt x="53" y="53"/>
                </a:cubicBezTo>
                <a:cubicBezTo>
                  <a:pt x="27" y="53"/>
                  <a:pt x="27" y="53"/>
                  <a:pt x="27" y="53"/>
                </a:cubicBezTo>
                <a:cubicBezTo>
                  <a:pt x="26" y="53"/>
                  <a:pt x="25" y="53"/>
                  <a:pt x="24" y="53"/>
                </a:cubicBezTo>
                <a:cubicBezTo>
                  <a:pt x="19" y="45"/>
                  <a:pt x="20" y="34"/>
                  <a:pt x="27" y="27"/>
                </a:cubicBezTo>
                <a:cubicBezTo>
                  <a:pt x="31" y="23"/>
                  <a:pt x="37" y="21"/>
                  <a:pt x="42" y="21"/>
                </a:cubicBezTo>
                <a:cubicBezTo>
                  <a:pt x="46" y="21"/>
                  <a:pt x="50" y="22"/>
                  <a:pt x="53" y="24"/>
                </a:cubicBezTo>
                <a:cubicBezTo>
                  <a:pt x="53" y="25"/>
                  <a:pt x="53" y="26"/>
                  <a:pt x="53" y="27"/>
                </a:cubicBezTo>
                <a:close/>
                <a:moveTo>
                  <a:pt x="80" y="5"/>
                </a:moveTo>
                <a:cubicBezTo>
                  <a:pt x="90" y="5"/>
                  <a:pt x="99" y="12"/>
                  <a:pt x="101" y="22"/>
                </a:cubicBezTo>
                <a:cubicBezTo>
                  <a:pt x="100" y="22"/>
                  <a:pt x="99" y="23"/>
                  <a:pt x="99" y="23"/>
                </a:cubicBezTo>
                <a:cubicBezTo>
                  <a:pt x="80" y="42"/>
                  <a:pt x="80" y="42"/>
                  <a:pt x="80" y="42"/>
                </a:cubicBezTo>
                <a:cubicBezTo>
                  <a:pt x="61" y="23"/>
                  <a:pt x="61" y="23"/>
                  <a:pt x="61" y="23"/>
                </a:cubicBezTo>
                <a:cubicBezTo>
                  <a:pt x="61" y="23"/>
                  <a:pt x="60" y="22"/>
                  <a:pt x="59" y="22"/>
                </a:cubicBezTo>
                <a:cubicBezTo>
                  <a:pt x="61" y="12"/>
                  <a:pt x="70" y="5"/>
                  <a:pt x="80" y="5"/>
                </a:cubicBezTo>
                <a:close/>
                <a:moveTo>
                  <a:pt x="84" y="53"/>
                </a:moveTo>
                <a:cubicBezTo>
                  <a:pt x="76" y="53"/>
                  <a:pt x="76" y="53"/>
                  <a:pt x="76" y="53"/>
                </a:cubicBezTo>
                <a:cubicBezTo>
                  <a:pt x="80" y="50"/>
                  <a:pt x="80" y="50"/>
                  <a:pt x="80" y="50"/>
                </a:cubicBezTo>
                <a:lnTo>
                  <a:pt x="84" y="53"/>
                </a:lnTo>
                <a:close/>
                <a:moveTo>
                  <a:pt x="59" y="29"/>
                </a:moveTo>
                <a:cubicBezTo>
                  <a:pt x="76" y="46"/>
                  <a:pt x="76" y="46"/>
                  <a:pt x="76" y="46"/>
                </a:cubicBezTo>
                <a:cubicBezTo>
                  <a:pt x="69" y="53"/>
                  <a:pt x="69" y="53"/>
                  <a:pt x="69" y="53"/>
                </a:cubicBezTo>
                <a:cubicBezTo>
                  <a:pt x="59" y="53"/>
                  <a:pt x="59" y="53"/>
                  <a:pt x="59" y="53"/>
                </a:cubicBezTo>
                <a:lnTo>
                  <a:pt x="59" y="29"/>
                </a:lnTo>
                <a:close/>
                <a:moveTo>
                  <a:pt x="59" y="59"/>
                </a:moveTo>
                <a:cubicBezTo>
                  <a:pt x="64" y="59"/>
                  <a:pt x="64" y="59"/>
                  <a:pt x="64" y="59"/>
                </a:cubicBezTo>
                <a:cubicBezTo>
                  <a:pt x="59" y="64"/>
                  <a:pt x="59" y="64"/>
                  <a:pt x="59" y="64"/>
                </a:cubicBezTo>
                <a:lnTo>
                  <a:pt x="59" y="59"/>
                </a:lnTo>
                <a:close/>
                <a:moveTo>
                  <a:pt x="59" y="96"/>
                </a:moveTo>
                <a:cubicBezTo>
                  <a:pt x="64" y="101"/>
                  <a:pt x="64" y="101"/>
                  <a:pt x="64" y="101"/>
                </a:cubicBezTo>
                <a:cubicBezTo>
                  <a:pt x="59" y="101"/>
                  <a:pt x="59" y="101"/>
                  <a:pt x="59" y="101"/>
                </a:cubicBezTo>
                <a:lnTo>
                  <a:pt x="59" y="96"/>
                </a:lnTo>
                <a:close/>
                <a:moveTo>
                  <a:pt x="59" y="107"/>
                </a:moveTo>
                <a:cubicBezTo>
                  <a:pt x="69" y="107"/>
                  <a:pt x="69" y="107"/>
                  <a:pt x="69" y="107"/>
                </a:cubicBezTo>
                <a:cubicBezTo>
                  <a:pt x="76" y="114"/>
                  <a:pt x="76" y="114"/>
                  <a:pt x="76" y="114"/>
                </a:cubicBezTo>
                <a:cubicBezTo>
                  <a:pt x="59" y="132"/>
                  <a:pt x="59" y="132"/>
                  <a:pt x="59" y="132"/>
                </a:cubicBezTo>
                <a:lnTo>
                  <a:pt x="59" y="107"/>
                </a:lnTo>
                <a:close/>
                <a:moveTo>
                  <a:pt x="80" y="155"/>
                </a:moveTo>
                <a:cubicBezTo>
                  <a:pt x="70" y="155"/>
                  <a:pt x="61" y="148"/>
                  <a:pt x="59" y="138"/>
                </a:cubicBezTo>
                <a:cubicBezTo>
                  <a:pt x="60" y="138"/>
                  <a:pt x="61" y="137"/>
                  <a:pt x="61" y="137"/>
                </a:cubicBezTo>
                <a:cubicBezTo>
                  <a:pt x="80" y="118"/>
                  <a:pt x="80" y="118"/>
                  <a:pt x="80" y="118"/>
                </a:cubicBezTo>
                <a:cubicBezTo>
                  <a:pt x="99" y="137"/>
                  <a:pt x="99" y="137"/>
                  <a:pt x="99" y="137"/>
                </a:cubicBezTo>
                <a:cubicBezTo>
                  <a:pt x="99" y="137"/>
                  <a:pt x="100" y="138"/>
                  <a:pt x="101" y="138"/>
                </a:cubicBezTo>
                <a:cubicBezTo>
                  <a:pt x="99" y="148"/>
                  <a:pt x="90" y="155"/>
                  <a:pt x="80" y="155"/>
                </a:cubicBezTo>
                <a:close/>
                <a:moveTo>
                  <a:pt x="76" y="107"/>
                </a:moveTo>
                <a:cubicBezTo>
                  <a:pt x="84" y="107"/>
                  <a:pt x="84" y="107"/>
                  <a:pt x="84" y="107"/>
                </a:cubicBezTo>
                <a:cubicBezTo>
                  <a:pt x="80" y="110"/>
                  <a:pt x="80" y="110"/>
                  <a:pt x="80" y="110"/>
                </a:cubicBezTo>
                <a:lnTo>
                  <a:pt x="76" y="107"/>
                </a:lnTo>
                <a:close/>
                <a:moveTo>
                  <a:pt x="101" y="132"/>
                </a:moveTo>
                <a:cubicBezTo>
                  <a:pt x="84" y="114"/>
                  <a:pt x="84" y="114"/>
                  <a:pt x="84" y="114"/>
                </a:cubicBezTo>
                <a:cubicBezTo>
                  <a:pt x="91" y="107"/>
                  <a:pt x="91" y="107"/>
                  <a:pt x="91" y="107"/>
                </a:cubicBezTo>
                <a:cubicBezTo>
                  <a:pt x="101" y="107"/>
                  <a:pt x="101" y="107"/>
                  <a:pt x="101" y="107"/>
                </a:cubicBezTo>
                <a:lnTo>
                  <a:pt x="101" y="132"/>
                </a:lnTo>
                <a:close/>
                <a:moveTo>
                  <a:pt x="101" y="101"/>
                </a:moveTo>
                <a:cubicBezTo>
                  <a:pt x="96" y="101"/>
                  <a:pt x="96" y="101"/>
                  <a:pt x="96" y="101"/>
                </a:cubicBezTo>
                <a:cubicBezTo>
                  <a:pt x="101" y="96"/>
                  <a:pt x="101" y="96"/>
                  <a:pt x="101" y="96"/>
                </a:cubicBezTo>
                <a:lnTo>
                  <a:pt x="101" y="101"/>
                </a:lnTo>
                <a:close/>
                <a:moveTo>
                  <a:pt x="101" y="89"/>
                </a:moveTo>
                <a:cubicBezTo>
                  <a:pt x="89" y="101"/>
                  <a:pt x="89" y="101"/>
                  <a:pt x="89" y="101"/>
                </a:cubicBezTo>
                <a:cubicBezTo>
                  <a:pt x="71" y="101"/>
                  <a:pt x="71" y="101"/>
                  <a:pt x="71" y="101"/>
                </a:cubicBezTo>
                <a:cubicBezTo>
                  <a:pt x="59" y="89"/>
                  <a:pt x="59" y="89"/>
                  <a:pt x="59" y="89"/>
                </a:cubicBezTo>
                <a:cubicBezTo>
                  <a:pt x="59" y="71"/>
                  <a:pt x="59" y="71"/>
                  <a:pt x="59" y="71"/>
                </a:cubicBezTo>
                <a:cubicBezTo>
                  <a:pt x="71" y="59"/>
                  <a:pt x="71" y="59"/>
                  <a:pt x="71" y="59"/>
                </a:cubicBezTo>
                <a:cubicBezTo>
                  <a:pt x="89" y="59"/>
                  <a:pt x="89" y="59"/>
                  <a:pt x="89" y="59"/>
                </a:cubicBezTo>
                <a:cubicBezTo>
                  <a:pt x="101" y="71"/>
                  <a:pt x="101" y="71"/>
                  <a:pt x="101" y="71"/>
                </a:cubicBezTo>
                <a:lnTo>
                  <a:pt x="101" y="89"/>
                </a:lnTo>
                <a:close/>
                <a:moveTo>
                  <a:pt x="101" y="64"/>
                </a:moveTo>
                <a:cubicBezTo>
                  <a:pt x="96" y="59"/>
                  <a:pt x="96" y="59"/>
                  <a:pt x="96" y="59"/>
                </a:cubicBezTo>
                <a:cubicBezTo>
                  <a:pt x="101" y="59"/>
                  <a:pt x="101" y="59"/>
                  <a:pt x="101" y="59"/>
                </a:cubicBezTo>
                <a:lnTo>
                  <a:pt x="101" y="64"/>
                </a:lnTo>
                <a:close/>
                <a:moveTo>
                  <a:pt x="101" y="53"/>
                </a:moveTo>
                <a:cubicBezTo>
                  <a:pt x="91" y="53"/>
                  <a:pt x="91" y="53"/>
                  <a:pt x="91" y="53"/>
                </a:cubicBezTo>
                <a:cubicBezTo>
                  <a:pt x="84" y="46"/>
                  <a:pt x="84" y="46"/>
                  <a:pt x="84" y="46"/>
                </a:cubicBezTo>
                <a:cubicBezTo>
                  <a:pt x="101" y="29"/>
                  <a:pt x="101" y="29"/>
                  <a:pt x="101" y="29"/>
                </a:cubicBezTo>
                <a:lnTo>
                  <a:pt x="101" y="53"/>
                </a:lnTo>
                <a:close/>
                <a:moveTo>
                  <a:pt x="118" y="21"/>
                </a:moveTo>
                <a:cubicBezTo>
                  <a:pt x="123" y="21"/>
                  <a:pt x="129" y="23"/>
                  <a:pt x="133" y="27"/>
                </a:cubicBezTo>
                <a:cubicBezTo>
                  <a:pt x="140" y="34"/>
                  <a:pt x="141" y="45"/>
                  <a:pt x="136" y="53"/>
                </a:cubicBezTo>
                <a:cubicBezTo>
                  <a:pt x="135" y="53"/>
                  <a:pt x="134" y="53"/>
                  <a:pt x="133" y="53"/>
                </a:cubicBezTo>
                <a:cubicBezTo>
                  <a:pt x="107" y="53"/>
                  <a:pt x="107" y="53"/>
                  <a:pt x="107" y="53"/>
                </a:cubicBezTo>
                <a:cubicBezTo>
                  <a:pt x="107" y="27"/>
                  <a:pt x="107" y="27"/>
                  <a:pt x="107" y="27"/>
                </a:cubicBezTo>
                <a:cubicBezTo>
                  <a:pt x="107" y="26"/>
                  <a:pt x="107" y="25"/>
                  <a:pt x="107" y="24"/>
                </a:cubicBezTo>
                <a:cubicBezTo>
                  <a:pt x="110" y="22"/>
                  <a:pt x="114" y="21"/>
                  <a:pt x="118" y="21"/>
                </a:cubicBezTo>
                <a:close/>
                <a:moveTo>
                  <a:pt x="114" y="84"/>
                </a:moveTo>
                <a:cubicBezTo>
                  <a:pt x="132" y="101"/>
                  <a:pt x="132" y="101"/>
                  <a:pt x="132" y="101"/>
                </a:cubicBezTo>
                <a:cubicBezTo>
                  <a:pt x="107" y="101"/>
                  <a:pt x="107" y="101"/>
                  <a:pt x="107" y="101"/>
                </a:cubicBezTo>
                <a:cubicBezTo>
                  <a:pt x="107" y="91"/>
                  <a:pt x="107" y="91"/>
                  <a:pt x="107" y="91"/>
                </a:cubicBezTo>
                <a:lnTo>
                  <a:pt x="114" y="84"/>
                </a:lnTo>
                <a:close/>
                <a:moveTo>
                  <a:pt x="107" y="84"/>
                </a:moveTo>
                <a:cubicBezTo>
                  <a:pt x="107" y="76"/>
                  <a:pt x="107" y="76"/>
                  <a:pt x="107" y="76"/>
                </a:cubicBezTo>
                <a:cubicBezTo>
                  <a:pt x="110" y="80"/>
                  <a:pt x="110" y="80"/>
                  <a:pt x="110" y="80"/>
                </a:cubicBezTo>
                <a:lnTo>
                  <a:pt x="107" y="84"/>
                </a:lnTo>
                <a:close/>
                <a:moveTo>
                  <a:pt x="107" y="69"/>
                </a:moveTo>
                <a:cubicBezTo>
                  <a:pt x="107" y="59"/>
                  <a:pt x="107" y="59"/>
                  <a:pt x="107" y="59"/>
                </a:cubicBezTo>
                <a:cubicBezTo>
                  <a:pt x="132" y="59"/>
                  <a:pt x="132" y="59"/>
                  <a:pt x="132" y="59"/>
                </a:cubicBezTo>
                <a:cubicBezTo>
                  <a:pt x="114" y="76"/>
                  <a:pt x="114" y="76"/>
                  <a:pt x="114" y="76"/>
                </a:cubicBezTo>
                <a:lnTo>
                  <a:pt x="107" y="69"/>
                </a:lnTo>
                <a:close/>
                <a:moveTo>
                  <a:pt x="133" y="133"/>
                </a:moveTo>
                <a:cubicBezTo>
                  <a:pt x="126" y="140"/>
                  <a:pt x="115" y="141"/>
                  <a:pt x="107" y="136"/>
                </a:cubicBezTo>
                <a:cubicBezTo>
                  <a:pt x="107" y="135"/>
                  <a:pt x="107" y="134"/>
                  <a:pt x="107" y="133"/>
                </a:cubicBezTo>
                <a:cubicBezTo>
                  <a:pt x="107" y="107"/>
                  <a:pt x="107" y="107"/>
                  <a:pt x="107" y="107"/>
                </a:cubicBezTo>
                <a:cubicBezTo>
                  <a:pt x="133" y="107"/>
                  <a:pt x="133" y="107"/>
                  <a:pt x="133" y="107"/>
                </a:cubicBezTo>
                <a:cubicBezTo>
                  <a:pt x="134" y="107"/>
                  <a:pt x="135" y="107"/>
                  <a:pt x="136" y="107"/>
                </a:cubicBezTo>
                <a:cubicBezTo>
                  <a:pt x="141" y="115"/>
                  <a:pt x="140" y="126"/>
                  <a:pt x="133" y="133"/>
                </a:cubicBezTo>
                <a:close/>
                <a:moveTo>
                  <a:pt x="138" y="101"/>
                </a:moveTo>
                <a:cubicBezTo>
                  <a:pt x="138" y="100"/>
                  <a:pt x="137" y="99"/>
                  <a:pt x="137" y="99"/>
                </a:cubicBezTo>
                <a:cubicBezTo>
                  <a:pt x="118" y="80"/>
                  <a:pt x="118" y="80"/>
                  <a:pt x="118" y="80"/>
                </a:cubicBezTo>
                <a:cubicBezTo>
                  <a:pt x="137" y="61"/>
                  <a:pt x="137" y="61"/>
                  <a:pt x="137" y="61"/>
                </a:cubicBezTo>
                <a:cubicBezTo>
                  <a:pt x="137" y="61"/>
                  <a:pt x="138" y="60"/>
                  <a:pt x="138" y="59"/>
                </a:cubicBezTo>
                <a:cubicBezTo>
                  <a:pt x="148" y="62"/>
                  <a:pt x="155" y="70"/>
                  <a:pt x="155" y="80"/>
                </a:cubicBezTo>
                <a:cubicBezTo>
                  <a:pt x="155" y="90"/>
                  <a:pt x="148" y="99"/>
                  <a:pt x="138" y="10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19" name="Freeform 1321">
            <a:extLst>
              <a:ext uri="{FF2B5EF4-FFF2-40B4-BE49-F238E27FC236}">
                <a16:creationId xmlns:a16="http://schemas.microsoft.com/office/drawing/2014/main" id="{2E2C6009-47B3-1846-9CB9-A25B0949E281}"/>
              </a:ext>
            </a:extLst>
          </p:cNvPr>
          <p:cNvSpPr>
            <a:spLocks noEditPoints="1"/>
          </p:cNvSpPr>
          <p:nvPr/>
        </p:nvSpPr>
        <p:spPr bwMode="auto">
          <a:xfrm>
            <a:off x="3368250" y="4081463"/>
            <a:ext cx="525463" cy="550863"/>
          </a:xfrm>
          <a:custGeom>
            <a:avLst/>
            <a:gdLst>
              <a:gd name="T0" fmla="*/ 143 w 154"/>
              <a:gd name="T1" fmla="*/ 149 h 160"/>
              <a:gd name="T2" fmla="*/ 11 w 154"/>
              <a:gd name="T3" fmla="*/ 53 h 160"/>
              <a:gd name="T4" fmla="*/ 138 w 154"/>
              <a:gd name="T5" fmla="*/ 143 h 160"/>
              <a:gd name="T6" fmla="*/ 62 w 154"/>
              <a:gd name="T7" fmla="*/ 108 h 160"/>
              <a:gd name="T8" fmla="*/ 95 w 154"/>
              <a:gd name="T9" fmla="*/ 137 h 160"/>
              <a:gd name="T10" fmla="*/ 81 w 154"/>
              <a:gd name="T11" fmla="*/ 119 h 160"/>
              <a:gd name="T12" fmla="*/ 138 w 154"/>
              <a:gd name="T13" fmla="*/ 119 h 160"/>
              <a:gd name="T14" fmla="*/ 17 w 154"/>
              <a:gd name="T15" fmla="*/ 59 h 160"/>
              <a:gd name="T16" fmla="*/ 138 w 154"/>
              <a:gd name="T17" fmla="*/ 112 h 160"/>
              <a:gd name="T18" fmla="*/ 107 w 154"/>
              <a:gd name="T19" fmla="*/ 84 h 160"/>
              <a:gd name="T20" fmla="*/ 77 w 154"/>
              <a:gd name="T21" fmla="*/ 115 h 160"/>
              <a:gd name="T22" fmla="*/ 60 w 154"/>
              <a:gd name="T23" fmla="*/ 102 h 160"/>
              <a:gd name="T24" fmla="*/ 17 w 154"/>
              <a:gd name="T25" fmla="*/ 59 h 160"/>
              <a:gd name="T26" fmla="*/ 24 w 154"/>
              <a:gd name="T27" fmla="*/ 83 h 160"/>
              <a:gd name="T28" fmla="*/ 55 w 154"/>
              <a:gd name="T29" fmla="*/ 83 h 160"/>
              <a:gd name="T30" fmla="*/ 39 w 154"/>
              <a:gd name="T31" fmla="*/ 93 h 160"/>
              <a:gd name="T32" fmla="*/ 39 w 154"/>
              <a:gd name="T33" fmla="*/ 73 h 160"/>
              <a:gd name="T34" fmla="*/ 39 w 154"/>
              <a:gd name="T35" fmla="*/ 93 h 160"/>
              <a:gd name="T36" fmla="*/ 89 w 154"/>
              <a:gd name="T37" fmla="*/ 4 h 160"/>
              <a:gd name="T38" fmla="*/ 68 w 154"/>
              <a:gd name="T39" fmla="*/ 4 h 160"/>
              <a:gd name="T40" fmla="*/ 0 w 154"/>
              <a:gd name="T41" fmla="*/ 42 h 160"/>
              <a:gd name="T42" fmla="*/ 154 w 154"/>
              <a:gd name="T43" fmla="*/ 160 h 160"/>
              <a:gd name="T44" fmla="*/ 136 w 154"/>
              <a:gd name="T45" fmla="*/ 42 h 160"/>
              <a:gd name="T46" fmla="*/ 70 w 154"/>
              <a:gd name="T47" fmla="*/ 12 h 160"/>
              <a:gd name="T48" fmla="*/ 72 w 154"/>
              <a:gd name="T49" fmla="*/ 8 h 160"/>
              <a:gd name="T50" fmla="*/ 85 w 154"/>
              <a:gd name="T51" fmla="*/ 8 h 160"/>
              <a:gd name="T52" fmla="*/ 87 w 154"/>
              <a:gd name="T53" fmla="*/ 12 h 160"/>
              <a:gd name="T54" fmla="*/ 87 w 154"/>
              <a:gd name="T55" fmla="*/ 14 h 160"/>
              <a:gd name="T56" fmla="*/ 70 w 154"/>
              <a:gd name="T57" fmla="*/ 14 h 160"/>
              <a:gd name="T58" fmla="*/ 65 w 154"/>
              <a:gd name="T59" fmla="*/ 14 h 160"/>
              <a:gd name="T60" fmla="*/ 79 w 154"/>
              <a:gd name="T61" fmla="*/ 28 h 160"/>
              <a:gd name="T62" fmla="*/ 93 w 154"/>
              <a:gd name="T63" fmla="*/ 14 h 160"/>
              <a:gd name="T64" fmla="*/ 30 w 154"/>
              <a:gd name="T65" fmla="*/ 42 h 160"/>
              <a:gd name="T66" fmla="*/ 149 w 154"/>
              <a:gd name="T67" fmla="*/ 154 h 160"/>
              <a:gd name="T68" fmla="*/ 6 w 154"/>
              <a:gd name="T69" fmla="*/ 48 h 160"/>
              <a:gd name="T70" fmla="*/ 135 w 154"/>
              <a:gd name="T71" fmla="*/ 48 h 160"/>
              <a:gd name="T72" fmla="*/ 149 w 154"/>
              <a:gd name="T73" fmla="*/ 1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4" h="160">
                <a:moveTo>
                  <a:pt x="11" y="149"/>
                </a:moveTo>
                <a:cubicBezTo>
                  <a:pt x="143" y="149"/>
                  <a:pt x="143" y="149"/>
                  <a:pt x="143" y="149"/>
                </a:cubicBezTo>
                <a:cubicBezTo>
                  <a:pt x="143" y="53"/>
                  <a:pt x="143" y="53"/>
                  <a:pt x="143" y="53"/>
                </a:cubicBezTo>
                <a:cubicBezTo>
                  <a:pt x="11" y="53"/>
                  <a:pt x="11" y="53"/>
                  <a:pt x="11" y="53"/>
                </a:cubicBezTo>
                <a:lnTo>
                  <a:pt x="11" y="149"/>
                </a:lnTo>
                <a:close/>
                <a:moveTo>
                  <a:pt x="138" y="143"/>
                </a:moveTo>
                <a:cubicBezTo>
                  <a:pt x="21" y="143"/>
                  <a:pt x="21" y="143"/>
                  <a:pt x="21" y="143"/>
                </a:cubicBezTo>
                <a:cubicBezTo>
                  <a:pt x="62" y="108"/>
                  <a:pt x="62" y="108"/>
                  <a:pt x="62" y="108"/>
                </a:cubicBezTo>
                <a:cubicBezTo>
                  <a:pt x="91" y="137"/>
                  <a:pt x="91" y="137"/>
                  <a:pt x="91" y="137"/>
                </a:cubicBezTo>
                <a:cubicBezTo>
                  <a:pt x="92" y="138"/>
                  <a:pt x="93" y="138"/>
                  <a:pt x="95" y="137"/>
                </a:cubicBezTo>
                <a:cubicBezTo>
                  <a:pt x="96" y="136"/>
                  <a:pt x="96" y="134"/>
                  <a:pt x="95" y="133"/>
                </a:cubicBezTo>
                <a:cubicBezTo>
                  <a:pt x="81" y="119"/>
                  <a:pt x="81" y="119"/>
                  <a:pt x="81" y="119"/>
                </a:cubicBezTo>
                <a:cubicBezTo>
                  <a:pt x="107" y="91"/>
                  <a:pt x="107" y="91"/>
                  <a:pt x="107" y="91"/>
                </a:cubicBezTo>
                <a:cubicBezTo>
                  <a:pt x="138" y="119"/>
                  <a:pt x="138" y="119"/>
                  <a:pt x="138" y="119"/>
                </a:cubicBezTo>
                <a:lnTo>
                  <a:pt x="138" y="143"/>
                </a:lnTo>
                <a:close/>
                <a:moveTo>
                  <a:pt x="17" y="59"/>
                </a:moveTo>
                <a:cubicBezTo>
                  <a:pt x="138" y="59"/>
                  <a:pt x="138" y="59"/>
                  <a:pt x="138" y="59"/>
                </a:cubicBezTo>
                <a:cubicBezTo>
                  <a:pt x="138" y="112"/>
                  <a:pt x="138" y="112"/>
                  <a:pt x="138" y="112"/>
                </a:cubicBezTo>
                <a:cubicBezTo>
                  <a:pt x="109" y="85"/>
                  <a:pt x="109" y="85"/>
                  <a:pt x="109" y="85"/>
                </a:cubicBezTo>
                <a:cubicBezTo>
                  <a:pt x="108" y="84"/>
                  <a:pt x="107" y="84"/>
                  <a:pt x="107" y="84"/>
                </a:cubicBezTo>
                <a:cubicBezTo>
                  <a:pt x="106" y="84"/>
                  <a:pt x="105" y="85"/>
                  <a:pt x="105" y="85"/>
                </a:cubicBezTo>
                <a:cubicBezTo>
                  <a:pt x="77" y="115"/>
                  <a:pt x="77" y="115"/>
                  <a:pt x="77" y="115"/>
                </a:cubicBezTo>
                <a:cubicBezTo>
                  <a:pt x="64" y="102"/>
                  <a:pt x="64" y="102"/>
                  <a:pt x="64" y="102"/>
                </a:cubicBezTo>
                <a:cubicBezTo>
                  <a:pt x="63" y="101"/>
                  <a:pt x="61" y="101"/>
                  <a:pt x="60" y="102"/>
                </a:cubicBezTo>
                <a:cubicBezTo>
                  <a:pt x="17" y="140"/>
                  <a:pt x="17" y="140"/>
                  <a:pt x="17" y="140"/>
                </a:cubicBezTo>
                <a:lnTo>
                  <a:pt x="17" y="59"/>
                </a:lnTo>
                <a:close/>
                <a:moveTo>
                  <a:pt x="39" y="67"/>
                </a:moveTo>
                <a:cubicBezTo>
                  <a:pt x="31" y="67"/>
                  <a:pt x="24" y="74"/>
                  <a:pt x="24" y="83"/>
                </a:cubicBezTo>
                <a:cubicBezTo>
                  <a:pt x="24" y="92"/>
                  <a:pt x="31" y="99"/>
                  <a:pt x="39" y="99"/>
                </a:cubicBezTo>
                <a:cubicBezTo>
                  <a:pt x="48" y="99"/>
                  <a:pt x="55" y="92"/>
                  <a:pt x="55" y="83"/>
                </a:cubicBezTo>
                <a:cubicBezTo>
                  <a:pt x="55" y="74"/>
                  <a:pt x="48" y="67"/>
                  <a:pt x="39" y="67"/>
                </a:cubicBezTo>
                <a:close/>
                <a:moveTo>
                  <a:pt x="39" y="93"/>
                </a:moveTo>
                <a:cubicBezTo>
                  <a:pt x="34" y="93"/>
                  <a:pt x="29" y="89"/>
                  <a:pt x="29" y="83"/>
                </a:cubicBezTo>
                <a:cubicBezTo>
                  <a:pt x="29" y="77"/>
                  <a:pt x="34" y="73"/>
                  <a:pt x="39" y="73"/>
                </a:cubicBezTo>
                <a:cubicBezTo>
                  <a:pt x="45" y="73"/>
                  <a:pt x="49" y="77"/>
                  <a:pt x="49" y="83"/>
                </a:cubicBezTo>
                <a:cubicBezTo>
                  <a:pt x="49" y="89"/>
                  <a:pt x="45" y="93"/>
                  <a:pt x="39" y="93"/>
                </a:cubicBezTo>
                <a:close/>
                <a:moveTo>
                  <a:pt x="136" y="42"/>
                </a:moveTo>
                <a:cubicBezTo>
                  <a:pt x="131" y="38"/>
                  <a:pt x="104" y="14"/>
                  <a:pt x="89" y="4"/>
                </a:cubicBezTo>
                <a:cubicBezTo>
                  <a:pt x="86" y="2"/>
                  <a:pt x="83" y="0"/>
                  <a:pt x="79" y="0"/>
                </a:cubicBezTo>
                <a:cubicBezTo>
                  <a:pt x="75" y="0"/>
                  <a:pt x="71" y="2"/>
                  <a:pt x="68" y="4"/>
                </a:cubicBezTo>
                <a:cubicBezTo>
                  <a:pt x="53" y="14"/>
                  <a:pt x="26" y="38"/>
                  <a:pt x="21" y="42"/>
                </a:cubicBezTo>
                <a:cubicBezTo>
                  <a:pt x="0" y="42"/>
                  <a:pt x="0" y="42"/>
                  <a:pt x="0" y="42"/>
                </a:cubicBezTo>
                <a:cubicBezTo>
                  <a:pt x="0" y="160"/>
                  <a:pt x="0" y="160"/>
                  <a:pt x="0" y="160"/>
                </a:cubicBezTo>
                <a:cubicBezTo>
                  <a:pt x="154" y="160"/>
                  <a:pt x="154" y="160"/>
                  <a:pt x="154" y="160"/>
                </a:cubicBezTo>
                <a:cubicBezTo>
                  <a:pt x="154" y="42"/>
                  <a:pt x="154" y="42"/>
                  <a:pt x="154" y="42"/>
                </a:cubicBezTo>
                <a:lnTo>
                  <a:pt x="136" y="42"/>
                </a:lnTo>
                <a:close/>
                <a:moveTo>
                  <a:pt x="70" y="12"/>
                </a:moveTo>
                <a:cubicBezTo>
                  <a:pt x="70" y="12"/>
                  <a:pt x="70" y="12"/>
                  <a:pt x="70" y="12"/>
                </a:cubicBezTo>
                <a:cubicBezTo>
                  <a:pt x="71" y="10"/>
                  <a:pt x="72" y="9"/>
                  <a:pt x="72" y="8"/>
                </a:cubicBezTo>
                <a:cubicBezTo>
                  <a:pt x="72" y="8"/>
                  <a:pt x="72" y="8"/>
                  <a:pt x="72" y="8"/>
                </a:cubicBezTo>
                <a:cubicBezTo>
                  <a:pt x="74" y="7"/>
                  <a:pt x="76" y="6"/>
                  <a:pt x="79" y="6"/>
                </a:cubicBezTo>
                <a:cubicBezTo>
                  <a:pt x="81" y="6"/>
                  <a:pt x="83" y="7"/>
                  <a:pt x="85" y="8"/>
                </a:cubicBezTo>
                <a:cubicBezTo>
                  <a:pt x="85" y="8"/>
                  <a:pt x="85" y="8"/>
                  <a:pt x="85" y="8"/>
                </a:cubicBezTo>
                <a:cubicBezTo>
                  <a:pt x="86" y="9"/>
                  <a:pt x="86" y="10"/>
                  <a:pt x="87" y="12"/>
                </a:cubicBezTo>
                <a:cubicBezTo>
                  <a:pt x="87" y="12"/>
                  <a:pt x="87" y="12"/>
                  <a:pt x="87" y="12"/>
                </a:cubicBezTo>
                <a:cubicBezTo>
                  <a:pt x="87" y="13"/>
                  <a:pt x="87" y="13"/>
                  <a:pt x="87" y="14"/>
                </a:cubicBezTo>
                <a:cubicBezTo>
                  <a:pt x="87" y="19"/>
                  <a:pt x="83" y="22"/>
                  <a:pt x="79" y="22"/>
                </a:cubicBezTo>
                <a:cubicBezTo>
                  <a:pt x="74" y="22"/>
                  <a:pt x="70" y="19"/>
                  <a:pt x="70" y="14"/>
                </a:cubicBezTo>
                <a:cubicBezTo>
                  <a:pt x="70" y="13"/>
                  <a:pt x="70" y="13"/>
                  <a:pt x="70" y="12"/>
                </a:cubicBezTo>
                <a:close/>
                <a:moveTo>
                  <a:pt x="65" y="14"/>
                </a:moveTo>
                <a:cubicBezTo>
                  <a:pt x="65" y="14"/>
                  <a:pt x="65" y="14"/>
                  <a:pt x="65" y="14"/>
                </a:cubicBezTo>
                <a:cubicBezTo>
                  <a:pt x="65" y="22"/>
                  <a:pt x="71" y="28"/>
                  <a:pt x="79" y="28"/>
                </a:cubicBezTo>
                <a:cubicBezTo>
                  <a:pt x="86" y="28"/>
                  <a:pt x="93" y="22"/>
                  <a:pt x="93" y="14"/>
                </a:cubicBezTo>
                <a:cubicBezTo>
                  <a:pt x="93" y="14"/>
                  <a:pt x="93" y="14"/>
                  <a:pt x="93" y="14"/>
                </a:cubicBezTo>
                <a:cubicBezTo>
                  <a:pt x="104" y="22"/>
                  <a:pt x="119" y="35"/>
                  <a:pt x="127" y="42"/>
                </a:cubicBezTo>
                <a:cubicBezTo>
                  <a:pt x="30" y="42"/>
                  <a:pt x="30" y="42"/>
                  <a:pt x="30" y="42"/>
                </a:cubicBezTo>
                <a:cubicBezTo>
                  <a:pt x="38" y="35"/>
                  <a:pt x="53" y="22"/>
                  <a:pt x="65" y="14"/>
                </a:cubicBezTo>
                <a:close/>
                <a:moveTo>
                  <a:pt x="149" y="154"/>
                </a:moveTo>
                <a:cubicBezTo>
                  <a:pt x="6" y="154"/>
                  <a:pt x="6" y="154"/>
                  <a:pt x="6" y="154"/>
                </a:cubicBezTo>
                <a:cubicBezTo>
                  <a:pt x="6" y="48"/>
                  <a:pt x="6" y="48"/>
                  <a:pt x="6" y="48"/>
                </a:cubicBezTo>
                <a:cubicBezTo>
                  <a:pt x="22" y="48"/>
                  <a:pt x="22" y="48"/>
                  <a:pt x="22" y="48"/>
                </a:cubicBezTo>
                <a:cubicBezTo>
                  <a:pt x="135" y="48"/>
                  <a:pt x="135" y="48"/>
                  <a:pt x="135" y="48"/>
                </a:cubicBezTo>
                <a:cubicBezTo>
                  <a:pt x="149" y="48"/>
                  <a:pt x="149" y="48"/>
                  <a:pt x="149" y="48"/>
                </a:cubicBezTo>
                <a:lnTo>
                  <a:pt x="149" y="1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20" name="Freeform 1322">
            <a:extLst>
              <a:ext uri="{FF2B5EF4-FFF2-40B4-BE49-F238E27FC236}">
                <a16:creationId xmlns:a16="http://schemas.microsoft.com/office/drawing/2014/main" id="{DFDAF9A5-D8F5-B54E-ABBF-3F0A83BC2A14}"/>
              </a:ext>
            </a:extLst>
          </p:cNvPr>
          <p:cNvSpPr>
            <a:spLocks noEditPoints="1"/>
          </p:cNvSpPr>
          <p:nvPr/>
        </p:nvSpPr>
        <p:spPr bwMode="auto">
          <a:xfrm>
            <a:off x="3368250" y="4700588"/>
            <a:ext cx="525463" cy="550863"/>
          </a:xfrm>
          <a:custGeom>
            <a:avLst/>
            <a:gdLst>
              <a:gd name="T0" fmla="*/ 40 w 154"/>
              <a:gd name="T1" fmla="*/ 74 h 160"/>
              <a:gd name="T2" fmla="*/ 57 w 154"/>
              <a:gd name="T3" fmla="*/ 57 h 160"/>
              <a:gd name="T4" fmla="*/ 40 w 154"/>
              <a:gd name="T5" fmla="*/ 40 h 160"/>
              <a:gd name="T6" fmla="*/ 23 w 154"/>
              <a:gd name="T7" fmla="*/ 57 h 160"/>
              <a:gd name="T8" fmla="*/ 40 w 154"/>
              <a:gd name="T9" fmla="*/ 74 h 160"/>
              <a:gd name="T10" fmla="*/ 40 w 154"/>
              <a:gd name="T11" fmla="*/ 46 h 160"/>
              <a:gd name="T12" fmla="*/ 51 w 154"/>
              <a:gd name="T13" fmla="*/ 57 h 160"/>
              <a:gd name="T14" fmla="*/ 40 w 154"/>
              <a:gd name="T15" fmla="*/ 68 h 160"/>
              <a:gd name="T16" fmla="*/ 29 w 154"/>
              <a:gd name="T17" fmla="*/ 57 h 160"/>
              <a:gd name="T18" fmla="*/ 40 w 154"/>
              <a:gd name="T19" fmla="*/ 46 h 160"/>
              <a:gd name="T20" fmla="*/ 0 w 154"/>
              <a:gd name="T21" fmla="*/ 0 h 160"/>
              <a:gd name="T22" fmla="*/ 0 w 154"/>
              <a:gd name="T23" fmla="*/ 123 h 160"/>
              <a:gd name="T24" fmla="*/ 0 w 154"/>
              <a:gd name="T25" fmla="*/ 160 h 160"/>
              <a:gd name="T26" fmla="*/ 154 w 154"/>
              <a:gd name="T27" fmla="*/ 160 h 160"/>
              <a:gd name="T28" fmla="*/ 154 w 154"/>
              <a:gd name="T29" fmla="*/ 123 h 160"/>
              <a:gd name="T30" fmla="*/ 154 w 154"/>
              <a:gd name="T31" fmla="*/ 0 h 160"/>
              <a:gd name="T32" fmla="*/ 0 w 154"/>
              <a:gd name="T33" fmla="*/ 0 h 160"/>
              <a:gd name="T34" fmla="*/ 6 w 154"/>
              <a:gd name="T35" fmla="*/ 6 h 160"/>
              <a:gd name="T36" fmla="*/ 148 w 154"/>
              <a:gd name="T37" fmla="*/ 6 h 160"/>
              <a:gd name="T38" fmla="*/ 148 w 154"/>
              <a:gd name="T39" fmla="*/ 88 h 160"/>
              <a:gd name="T40" fmla="*/ 116 w 154"/>
              <a:gd name="T41" fmla="*/ 59 h 160"/>
              <a:gd name="T42" fmla="*/ 114 w 154"/>
              <a:gd name="T43" fmla="*/ 58 h 160"/>
              <a:gd name="T44" fmla="*/ 112 w 154"/>
              <a:gd name="T45" fmla="*/ 59 h 160"/>
              <a:gd name="T46" fmla="*/ 81 w 154"/>
              <a:gd name="T47" fmla="*/ 92 h 160"/>
              <a:gd name="T48" fmla="*/ 67 w 154"/>
              <a:gd name="T49" fmla="*/ 78 h 160"/>
              <a:gd name="T50" fmla="*/ 63 w 154"/>
              <a:gd name="T51" fmla="*/ 78 h 160"/>
              <a:gd name="T52" fmla="*/ 11 w 154"/>
              <a:gd name="T53" fmla="*/ 123 h 160"/>
              <a:gd name="T54" fmla="*/ 6 w 154"/>
              <a:gd name="T55" fmla="*/ 123 h 160"/>
              <a:gd name="T56" fmla="*/ 6 w 154"/>
              <a:gd name="T57" fmla="*/ 6 h 160"/>
              <a:gd name="T58" fmla="*/ 148 w 154"/>
              <a:gd name="T59" fmla="*/ 154 h 160"/>
              <a:gd name="T60" fmla="*/ 6 w 154"/>
              <a:gd name="T61" fmla="*/ 154 h 160"/>
              <a:gd name="T62" fmla="*/ 6 w 154"/>
              <a:gd name="T63" fmla="*/ 129 h 160"/>
              <a:gd name="T64" fmla="*/ 148 w 154"/>
              <a:gd name="T65" fmla="*/ 129 h 160"/>
              <a:gd name="T66" fmla="*/ 148 w 154"/>
              <a:gd name="T67" fmla="*/ 154 h 160"/>
              <a:gd name="T68" fmla="*/ 20 w 154"/>
              <a:gd name="T69" fmla="*/ 123 h 160"/>
              <a:gd name="T70" fmla="*/ 65 w 154"/>
              <a:gd name="T71" fmla="*/ 84 h 160"/>
              <a:gd name="T72" fmla="*/ 96 w 154"/>
              <a:gd name="T73" fmla="*/ 116 h 160"/>
              <a:gd name="T74" fmla="*/ 101 w 154"/>
              <a:gd name="T75" fmla="*/ 116 h 160"/>
              <a:gd name="T76" fmla="*/ 101 w 154"/>
              <a:gd name="T77" fmla="*/ 112 h 160"/>
              <a:gd name="T78" fmla="*/ 86 w 154"/>
              <a:gd name="T79" fmla="*/ 97 h 160"/>
              <a:gd name="T80" fmla="*/ 114 w 154"/>
              <a:gd name="T81" fmla="*/ 66 h 160"/>
              <a:gd name="T82" fmla="*/ 148 w 154"/>
              <a:gd name="T83" fmla="*/ 97 h 160"/>
              <a:gd name="T84" fmla="*/ 148 w 154"/>
              <a:gd name="T85" fmla="*/ 123 h 160"/>
              <a:gd name="T86" fmla="*/ 20 w 154"/>
              <a:gd name="T87"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160">
                <a:moveTo>
                  <a:pt x="40" y="74"/>
                </a:moveTo>
                <a:cubicBezTo>
                  <a:pt x="49" y="74"/>
                  <a:pt x="57" y="67"/>
                  <a:pt x="57" y="57"/>
                </a:cubicBezTo>
                <a:cubicBezTo>
                  <a:pt x="57" y="48"/>
                  <a:pt x="49" y="40"/>
                  <a:pt x="40" y="40"/>
                </a:cubicBezTo>
                <a:cubicBezTo>
                  <a:pt x="31" y="40"/>
                  <a:pt x="23" y="48"/>
                  <a:pt x="23" y="57"/>
                </a:cubicBezTo>
                <a:cubicBezTo>
                  <a:pt x="23" y="67"/>
                  <a:pt x="31" y="74"/>
                  <a:pt x="40" y="74"/>
                </a:cubicBezTo>
                <a:close/>
                <a:moveTo>
                  <a:pt x="40" y="46"/>
                </a:moveTo>
                <a:cubicBezTo>
                  <a:pt x="46" y="46"/>
                  <a:pt x="51" y="51"/>
                  <a:pt x="51" y="57"/>
                </a:cubicBezTo>
                <a:cubicBezTo>
                  <a:pt x="51" y="63"/>
                  <a:pt x="46" y="68"/>
                  <a:pt x="40" y="68"/>
                </a:cubicBezTo>
                <a:cubicBezTo>
                  <a:pt x="34" y="68"/>
                  <a:pt x="29" y="63"/>
                  <a:pt x="29" y="57"/>
                </a:cubicBezTo>
                <a:cubicBezTo>
                  <a:pt x="29" y="51"/>
                  <a:pt x="34" y="46"/>
                  <a:pt x="40" y="46"/>
                </a:cubicBezTo>
                <a:close/>
                <a:moveTo>
                  <a:pt x="0" y="0"/>
                </a:moveTo>
                <a:cubicBezTo>
                  <a:pt x="0" y="123"/>
                  <a:pt x="0" y="123"/>
                  <a:pt x="0" y="123"/>
                </a:cubicBezTo>
                <a:cubicBezTo>
                  <a:pt x="0" y="160"/>
                  <a:pt x="0" y="160"/>
                  <a:pt x="0" y="160"/>
                </a:cubicBezTo>
                <a:cubicBezTo>
                  <a:pt x="154" y="160"/>
                  <a:pt x="154" y="160"/>
                  <a:pt x="154" y="160"/>
                </a:cubicBezTo>
                <a:cubicBezTo>
                  <a:pt x="154" y="123"/>
                  <a:pt x="154" y="123"/>
                  <a:pt x="154" y="123"/>
                </a:cubicBezTo>
                <a:cubicBezTo>
                  <a:pt x="154" y="0"/>
                  <a:pt x="154" y="0"/>
                  <a:pt x="154" y="0"/>
                </a:cubicBezTo>
                <a:lnTo>
                  <a:pt x="0" y="0"/>
                </a:lnTo>
                <a:close/>
                <a:moveTo>
                  <a:pt x="6" y="6"/>
                </a:moveTo>
                <a:cubicBezTo>
                  <a:pt x="148" y="6"/>
                  <a:pt x="148" y="6"/>
                  <a:pt x="148" y="6"/>
                </a:cubicBezTo>
                <a:cubicBezTo>
                  <a:pt x="148" y="88"/>
                  <a:pt x="148" y="88"/>
                  <a:pt x="148" y="88"/>
                </a:cubicBezTo>
                <a:cubicBezTo>
                  <a:pt x="116" y="59"/>
                  <a:pt x="116" y="59"/>
                  <a:pt x="116" y="59"/>
                </a:cubicBezTo>
                <a:cubicBezTo>
                  <a:pt x="115" y="59"/>
                  <a:pt x="115" y="58"/>
                  <a:pt x="114" y="58"/>
                </a:cubicBezTo>
                <a:cubicBezTo>
                  <a:pt x="113" y="59"/>
                  <a:pt x="112" y="59"/>
                  <a:pt x="112" y="59"/>
                </a:cubicBezTo>
                <a:cubicBezTo>
                  <a:pt x="81" y="92"/>
                  <a:pt x="81" y="92"/>
                  <a:pt x="81" y="92"/>
                </a:cubicBezTo>
                <a:cubicBezTo>
                  <a:pt x="67" y="78"/>
                  <a:pt x="67" y="78"/>
                  <a:pt x="67" y="78"/>
                </a:cubicBezTo>
                <a:cubicBezTo>
                  <a:pt x="66" y="77"/>
                  <a:pt x="64" y="77"/>
                  <a:pt x="63" y="78"/>
                </a:cubicBezTo>
                <a:cubicBezTo>
                  <a:pt x="11" y="123"/>
                  <a:pt x="11" y="123"/>
                  <a:pt x="11" y="123"/>
                </a:cubicBezTo>
                <a:cubicBezTo>
                  <a:pt x="6" y="123"/>
                  <a:pt x="6" y="123"/>
                  <a:pt x="6" y="123"/>
                </a:cubicBezTo>
                <a:lnTo>
                  <a:pt x="6" y="6"/>
                </a:lnTo>
                <a:close/>
                <a:moveTo>
                  <a:pt x="148" y="154"/>
                </a:moveTo>
                <a:cubicBezTo>
                  <a:pt x="6" y="154"/>
                  <a:pt x="6" y="154"/>
                  <a:pt x="6" y="154"/>
                </a:cubicBezTo>
                <a:cubicBezTo>
                  <a:pt x="6" y="129"/>
                  <a:pt x="6" y="129"/>
                  <a:pt x="6" y="129"/>
                </a:cubicBezTo>
                <a:cubicBezTo>
                  <a:pt x="148" y="129"/>
                  <a:pt x="148" y="129"/>
                  <a:pt x="148" y="129"/>
                </a:cubicBezTo>
                <a:lnTo>
                  <a:pt x="148" y="154"/>
                </a:lnTo>
                <a:close/>
                <a:moveTo>
                  <a:pt x="20" y="123"/>
                </a:moveTo>
                <a:cubicBezTo>
                  <a:pt x="65" y="84"/>
                  <a:pt x="65" y="84"/>
                  <a:pt x="65" y="84"/>
                </a:cubicBezTo>
                <a:cubicBezTo>
                  <a:pt x="96" y="116"/>
                  <a:pt x="96" y="116"/>
                  <a:pt x="96" y="116"/>
                </a:cubicBezTo>
                <a:cubicBezTo>
                  <a:pt x="97" y="117"/>
                  <a:pt x="99" y="117"/>
                  <a:pt x="101" y="116"/>
                </a:cubicBezTo>
                <a:cubicBezTo>
                  <a:pt x="102" y="115"/>
                  <a:pt x="102" y="113"/>
                  <a:pt x="101" y="112"/>
                </a:cubicBezTo>
                <a:cubicBezTo>
                  <a:pt x="86" y="97"/>
                  <a:pt x="86" y="97"/>
                  <a:pt x="86" y="97"/>
                </a:cubicBezTo>
                <a:cubicBezTo>
                  <a:pt x="114" y="66"/>
                  <a:pt x="114" y="66"/>
                  <a:pt x="114" y="66"/>
                </a:cubicBezTo>
                <a:cubicBezTo>
                  <a:pt x="148" y="97"/>
                  <a:pt x="148" y="97"/>
                  <a:pt x="148" y="97"/>
                </a:cubicBezTo>
                <a:cubicBezTo>
                  <a:pt x="148" y="123"/>
                  <a:pt x="148" y="123"/>
                  <a:pt x="148" y="123"/>
                </a:cubicBezTo>
                <a:lnTo>
                  <a:pt x="20" y="1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21" name="Freeform 1323">
            <a:extLst>
              <a:ext uri="{FF2B5EF4-FFF2-40B4-BE49-F238E27FC236}">
                <a16:creationId xmlns:a16="http://schemas.microsoft.com/office/drawing/2014/main" id="{E11B65CD-FC0B-0D43-8A48-08E5B1415FEE}"/>
              </a:ext>
            </a:extLst>
          </p:cNvPr>
          <p:cNvSpPr>
            <a:spLocks noEditPoints="1"/>
          </p:cNvSpPr>
          <p:nvPr/>
        </p:nvSpPr>
        <p:spPr bwMode="auto">
          <a:xfrm>
            <a:off x="3353962" y="5375275"/>
            <a:ext cx="546100" cy="436563"/>
          </a:xfrm>
          <a:custGeom>
            <a:avLst/>
            <a:gdLst>
              <a:gd name="T0" fmla="*/ 157 w 160"/>
              <a:gd name="T1" fmla="*/ 0 h 127"/>
              <a:gd name="T2" fmla="*/ 3 w 160"/>
              <a:gd name="T3" fmla="*/ 0 h 127"/>
              <a:gd name="T4" fmla="*/ 0 w 160"/>
              <a:gd name="T5" fmla="*/ 3 h 127"/>
              <a:gd name="T6" fmla="*/ 0 w 160"/>
              <a:gd name="T7" fmla="*/ 124 h 127"/>
              <a:gd name="T8" fmla="*/ 3 w 160"/>
              <a:gd name="T9" fmla="*/ 127 h 127"/>
              <a:gd name="T10" fmla="*/ 157 w 160"/>
              <a:gd name="T11" fmla="*/ 127 h 127"/>
              <a:gd name="T12" fmla="*/ 160 w 160"/>
              <a:gd name="T13" fmla="*/ 124 h 127"/>
              <a:gd name="T14" fmla="*/ 160 w 160"/>
              <a:gd name="T15" fmla="*/ 3 h 127"/>
              <a:gd name="T16" fmla="*/ 157 w 160"/>
              <a:gd name="T17" fmla="*/ 0 h 127"/>
              <a:gd name="T18" fmla="*/ 154 w 160"/>
              <a:gd name="T19" fmla="*/ 121 h 127"/>
              <a:gd name="T20" fmla="*/ 6 w 160"/>
              <a:gd name="T21" fmla="*/ 121 h 127"/>
              <a:gd name="T22" fmla="*/ 6 w 160"/>
              <a:gd name="T23" fmla="*/ 6 h 127"/>
              <a:gd name="T24" fmla="*/ 154 w 160"/>
              <a:gd name="T25" fmla="*/ 6 h 127"/>
              <a:gd name="T26" fmla="*/ 154 w 160"/>
              <a:gd name="T27" fmla="*/ 121 h 127"/>
              <a:gd name="T28" fmla="*/ 44 w 160"/>
              <a:gd name="T29" fmla="*/ 61 h 127"/>
              <a:gd name="T30" fmla="*/ 60 w 160"/>
              <a:gd name="T31" fmla="*/ 46 h 127"/>
              <a:gd name="T32" fmla="*/ 44 w 160"/>
              <a:gd name="T33" fmla="*/ 30 h 127"/>
              <a:gd name="T34" fmla="*/ 29 w 160"/>
              <a:gd name="T35" fmla="*/ 46 h 127"/>
              <a:gd name="T36" fmla="*/ 44 w 160"/>
              <a:gd name="T37" fmla="*/ 61 h 127"/>
              <a:gd name="T38" fmla="*/ 44 w 160"/>
              <a:gd name="T39" fmla="*/ 36 h 127"/>
              <a:gd name="T40" fmla="*/ 54 w 160"/>
              <a:gd name="T41" fmla="*/ 46 h 127"/>
              <a:gd name="T42" fmla="*/ 44 w 160"/>
              <a:gd name="T43" fmla="*/ 56 h 127"/>
              <a:gd name="T44" fmla="*/ 34 w 160"/>
              <a:gd name="T45" fmla="*/ 46 h 127"/>
              <a:gd name="T46" fmla="*/ 44 w 160"/>
              <a:gd name="T47" fmla="*/ 36 h 127"/>
              <a:gd name="T48" fmla="*/ 17 w 160"/>
              <a:gd name="T49" fmla="*/ 109 h 127"/>
              <a:gd name="T50" fmla="*/ 17 w 160"/>
              <a:gd name="T51" fmla="*/ 106 h 127"/>
              <a:gd name="T52" fmla="*/ 64 w 160"/>
              <a:gd name="T53" fmla="*/ 64 h 127"/>
              <a:gd name="T54" fmla="*/ 68 w 160"/>
              <a:gd name="T55" fmla="*/ 64 h 127"/>
              <a:gd name="T56" fmla="*/ 81 w 160"/>
              <a:gd name="T57" fmla="*/ 77 h 127"/>
              <a:gd name="T58" fmla="*/ 108 w 160"/>
              <a:gd name="T59" fmla="*/ 48 h 127"/>
              <a:gd name="T60" fmla="*/ 110 w 160"/>
              <a:gd name="T61" fmla="*/ 47 h 127"/>
              <a:gd name="T62" fmla="*/ 112 w 160"/>
              <a:gd name="T63" fmla="*/ 48 h 127"/>
              <a:gd name="T64" fmla="*/ 145 w 160"/>
              <a:gd name="T65" fmla="*/ 78 h 127"/>
              <a:gd name="T66" fmla="*/ 145 w 160"/>
              <a:gd name="T67" fmla="*/ 82 h 127"/>
              <a:gd name="T68" fmla="*/ 142 w 160"/>
              <a:gd name="T69" fmla="*/ 82 h 127"/>
              <a:gd name="T70" fmla="*/ 111 w 160"/>
              <a:gd name="T71" fmla="*/ 54 h 127"/>
              <a:gd name="T72" fmla="*/ 85 w 160"/>
              <a:gd name="T73" fmla="*/ 81 h 127"/>
              <a:gd name="T74" fmla="*/ 98 w 160"/>
              <a:gd name="T75" fmla="*/ 95 h 127"/>
              <a:gd name="T76" fmla="*/ 98 w 160"/>
              <a:gd name="T77" fmla="*/ 98 h 127"/>
              <a:gd name="T78" fmla="*/ 95 w 160"/>
              <a:gd name="T79" fmla="*/ 98 h 127"/>
              <a:gd name="T80" fmla="*/ 66 w 160"/>
              <a:gd name="T81" fmla="*/ 70 h 127"/>
              <a:gd name="T82" fmla="*/ 21 w 160"/>
              <a:gd name="T83" fmla="*/ 110 h 127"/>
              <a:gd name="T84" fmla="*/ 19 w 160"/>
              <a:gd name="T85" fmla="*/ 110 h 127"/>
              <a:gd name="T86" fmla="*/ 17 w 160"/>
              <a:gd name="T87" fmla="*/ 10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27">
                <a:moveTo>
                  <a:pt x="157" y="0"/>
                </a:moveTo>
                <a:cubicBezTo>
                  <a:pt x="3" y="0"/>
                  <a:pt x="3" y="0"/>
                  <a:pt x="3" y="0"/>
                </a:cubicBezTo>
                <a:cubicBezTo>
                  <a:pt x="1" y="0"/>
                  <a:pt x="0" y="1"/>
                  <a:pt x="0" y="3"/>
                </a:cubicBezTo>
                <a:cubicBezTo>
                  <a:pt x="0" y="124"/>
                  <a:pt x="0" y="124"/>
                  <a:pt x="0" y="124"/>
                </a:cubicBezTo>
                <a:cubicBezTo>
                  <a:pt x="0" y="126"/>
                  <a:pt x="1" y="127"/>
                  <a:pt x="3" y="127"/>
                </a:cubicBezTo>
                <a:cubicBezTo>
                  <a:pt x="157" y="127"/>
                  <a:pt x="157" y="127"/>
                  <a:pt x="157" y="127"/>
                </a:cubicBezTo>
                <a:cubicBezTo>
                  <a:pt x="159" y="127"/>
                  <a:pt x="160" y="126"/>
                  <a:pt x="160" y="124"/>
                </a:cubicBezTo>
                <a:cubicBezTo>
                  <a:pt x="160" y="3"/>
                  <a:pt x="160" y="3"/>
                  <a:pt x="160" y="3"/>
                </a:cubicBezTo>
                <a:cubicBezTo>
                  <a:pt x="160" y="1"/>
                  <a:pt x="159" y="0"/>
                  <a:pt x="157" y="0"/>
                </a:cubicBezTo>
                <a:close/>
                <a:moveTo>
                  <a:pt x="154" y="121"/>
                </a:moveTo>
                <a:cubicBezTo>
                  <a:pt x="6" y="121"/>
                  <a:pt x="6" y="121"/>
                  <a:pt x="6" y="121"/>
                </a:cubicBezTo>
                <a:cubicBezTo>
                  <a:pt x="6" y="6"/>
                  <a:pt x="6" y="6"/>
                  <a:pt x="6" y="6"/>
                </a:cubicBezTo>
                <a:cubicBezTo>
                  <a:pt x="154" y="6"/>
                  <a:pt x="154" y="6"/>
                  <a:pt x="154" y="6"/>
                </a:cubicBezTo>
                <a:lnTo>
                  <a:pt x="154" y="121"/>
                </a:lnTo>
                <a:close/>
                <a:moveTo>
                  <a:pt x="44" y="61"/>
                </a:moveTo>
                <a:cubicBezTo>
                  <a:pt x="53" y="61"/>
                  <a:pt x="60" y="54"/>
                  <a:pt x="60" y="46"/>
                </a:cubicBezTo>
                <a:cubicBezTo>
                  <a:pt x="60" y="37"/>
                  <a:pt x="53" y="30"/>
                  <a:pt x="44" y="30"/>
                </a:cubicBezTo>
                <a:cubicBezTo>
                  <a:pt x="36" y="30"/>
                  <a:pt x="29" y="37"/>
                  <a:pt x="29" y="46"/>
                </a:cubicBezTo>
                <a:cubicBezTo>
                  <a:pt x="29" y="54"/>
                  <a:pt x="36" y="61"/>
                  <a:pt x="44" y="61"/>
                </a:cubicBezTo>
                <a:close/>
                <a:moveTo>
                  <a:pt x="44" y="36"/>
                </a:moveTo>
                <a:cubicBezTo>
                  <a:pt x="50" y="36"/>
                  <a:pt x="54" y="40"/>
                  <a:pt x="54" y="46"/>
                </a:cubicBezTo>
                <a:cubicBezTo>
                  <a:pt x="54" y="51"/>
                  <a:pt x="50" y="56"/>
                  <a:pt x="44" y="56"/>
                </a:cubicBezTo>
                <a:cubicBezTo>
                  <a:pt x="39" y="56"/>
                  <a:pt x="34" y="51"/>
                  <a:pt x="34" y="46"/>
                </a:cubicBezTo>
                <a:cubicBezTo>
                  <a:pt x="34" y="40"/>
                  <a:pt x="39" y="36"/>
                  <a:pt x="44" y="36"/>
                </a:cubicBezTo>
                <a:close/>
                <a:moveTo>
                  <a:pt x="17" y="109"/>
                </a:moveTo>
                <a:cubicBezTo>
                  <a:pt x="16" y="108"/>
                  <a:pt x="16" y="107"/>
                  <a:pt x="17" y="106"/>
                </a:cubicBezTo>
                <a:cubicBezTo>
                  <a:pt x="64" y="64"/>
                  <a:pt x="64" y="64"/>
                  <a:pt x="64" y="64"/>
                </a:cubicBezTo>
                <a:cubicBezTo>
                  <a:pt x="66" y="63"/>
                  <a:pt x="67" y="63"/>
                  <a:pt x="68" y="64"/>
                </a:cubicBezTo>
                <a:cubicBezTo>
                  <a:pt x="81" y="77"/>
                  <a:pt x="81" y="77"/>
                  <a:pt x="81" y="77"/>
                </a:cubicBezTo>
                <a:cubicBezTo>
                  <a:pt x="108" y="48"/>
                  <a:pt x="108" y="48"/>
                  <a:pt x="108" y="48"/>
                </a:cubicBezTo>
                <a:cubicBezTo>
                  <a:pt x="109" y="47"/>
                  <a:pt x="109" y="47"/>
                  <a:pt x="110" y="47"/>
                </a:cubicBezTo>
                <a:cubicBezTo>
                  <a:pt x="111" y="47"/>
                  <a:pt x="112" y="47"/>
                  <a:pt x="112" y="48"/>
                </a:cubicBezTo>
                <a:cubicBezTo>
                  <a:pt x="145" y="78"/>
                  <a:pt x="145" y="78"/>
                  <a:pt x="145" y="78"/>
                </a:cubicBezTo>
                <a:cubicBezTo>
                  <a:pt x="146" y="79"/>
                  <a:pt x="147" y="81"/>
                  <a:pt x="145" y="82"/>
                </a:cubicBezTo>
                <a:cubicBezTo>
                  <a:pt x="144" y="83"/>
                  <a:pt x="143" y="83"/>
                  <a:pt x="142" y="82"/>
                </a:cubicBezTo>
                <a:cubicBezTo>
                  <a:pt x="111" y="54"/>
                  <a:pt x="111" y="54"/>
                  <a:pt x="111" y="54"/>
                </a:cubicBezTo>
                <a:cubicBezTo>
                  <a:pt x="85" y="81"/>
                  <a:pt x="85" y="81"/>
                  <a:pt x="85" y="81"/>
                </a:cubicBezTo>
                <a:cubicBezTo>
                  <a:pt x="98" y="95"/>
                  <a:pt x="98" y="95"/>
                  <a:pt x="98" y="95"/>
                </a:cubicBezTo>
                <a:cubicBezTo>
                  <a:pt x="100" y="96"/>
                  <a:pt x="100" y="97"/>
                  <a:pt x="98" y="98"/>
                </a:cubicBezTo>
                <a:cubicBezTo>
                  <a:pt x="97" y="100"/>
                  <a:pt x="96" y="100"/>
                  <a:pt x="95" y="98"/>
                </a:cubicBezTo>
                <a:cubicBezTo>
                  <a:pt x="66" y="70"/>
                  <a:pt x="66" y="70"/>
                  <a:pt x="66" y="70"/>
                </a:cubicBezTo>
                <a:cubicBezTo>
                  <a:pt x="21" y="110"/>
                  <a:pt x="21" y="110"/>
                  <a:pt x="21" y="110"/>
                </a:cubicBezTo>
                <a:cubicBezTo>
                  <a:pt x="21" y="110"/>
                  <a:pt x="20" y="110"/>
                  <a:pt x="19" y="110"/>
                </a:cubicBezTo>
                <a:cubicBezTo>
                  <a:pt x="19" y="110"/>
                  <a:pt x="18" y="110"/>
                  <a:pt x="17" y="10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22" name="Freeform 1324">
            <a:extLst>
              <a:ext uri="{FF2B5EF4-FFF2-40B4-BE49-F238E27FC236}">
                <a16:creationId xmlns:a16="http://schemas.microsoft.com/office/drawing/2014/main" id="{39D018DA-0CAB-584A-9E0E-C6875646486F}"/>
              </a:ext>
            </a:extLst>
          </p:cNvPr>
          <p:cNvSpPr>
            <a:spLocks noEditPoints="1"/>
          </p:cNvSpPr>
          <p:nvPr/>
        </p:nvSpPr>
        <p:spPr bwMode="auto">
          <a:xfrm>
            <a:off x="3490487" y="5938838"/>
            <a:ext cx="276225" cy="550863"/>
          </a:xfrm>
          <a:custGeom>
            <a:avLst/>
            <a:gdLst>
              <a:gd name="T0" fmla="*/ 81 w 81"/>
              <a:gd name="T1" fmla="*/ 41 h 160"/>
              <a:gd name="T2" fmla="*/ 41 w 81"/>
              <a:gd name="T3" fmla="*/ 0 h 160"/>
              <a:gd name="T4" fmla="*/ 0 w 81"/>
              <a:gd name="T5" fmla="*/ 41 h 160"/>
              <a:gd name="T6" fmla="*/ 38 w 81"/>
              <a:gd name="T7" fmla="*/ 81 h 160"/>
              <a:gd name="T8" fmla="*/ 38 w 81"/>
              <a:gd name="T9" fmla="*/ 157 h 160"/>
              <a:gd name="T10" fmla="*/ 41 w 81"/>
              <a:gd name="T11" fmla="*/ 160 h 160"/>
              <a:gd name="T12" fmla="*/ 43 w 81"/>
              <a:gd name="T13" fmla="*/ 157 h 160"/>
              <a:gd name="T14" fmla="*/ 43 w 81"/>
              <a:gd name="T15" fmla="*/ 81 h 160"/>
              <a:gd name="T16" fmla="*/ 81 w 81"/>
              <a:gd name="T17" fmla="*/ 41 h 160"/>
              <a:gd name="T18" fmla="*/ 41 w 81"/>
              <a:gd name="T19" fmla="*/ 76 h 160"/>
              <a:gd name="T20" fmla="*/ 5 w 81"/>
              <a:gd name="T21" fmla="*/ 41 h 160"/>
              <a:gd name="T22" fmla="*/ 41 w 81"/>
              <a:gd name="T23" fmla="*/ 5 h 160"/>
              <a:gd name="T24" fmla="*/ 76 w 81"/>
              <a:gd name="T25" fmla="*/ 41 h 160"/>
              <a:gd name="T26" fmla="*/ 41 w 81"/>
              <a:gd name="T27" fmla="*/ 76 h 160"/>
              <a:gd name="T28" fmla="*/ 27 w 81"/>
              <a:gd name="T29" fmla="*/ 19 h 160"/>
              <a:gd name="T30" fmla="*/ 16 w 81"/>
              <a:gd name="T31" fmla="*/ 30 h 160"/>
              <a:gd name="T32" fmla="*/ 27 w 81"/>
              <a:gd name="T33" fmla="*/ 41 h 160"/>
              <a:gd name="T34" fmla="*/ 38 w 81"/>
              <a:gd name="T35" fmla="*/ 30 h 160"/>
              <a:gd name="T36" fmla="*/ 27 w 81"/>
              <a:gd name="T37" fmla="*/ 19 h 160"/>
              <a:gd name="T38" fmla="*/ 27 w 81"/>
              <a:gd name="T39" fmla="*/ 35 h 160"/>
              <a:gd name="T40" fmla="*/ 22 w 81"/>
              <a:gd name="T41" fmla="*/ 30 h 160"/>
              <a:gd name="T42" fmla="*/ 27 w 81"/>
              <a:gd name="T43" fmla="*/ 24 h 160"/>
              <a:gd name="T44" fmla="*/ 33 w 81"/>
              <a:gd name="T45" fmla="*/ 30 h 160"/>
              <a:gd name="T46" fmla="*/ 27 w 81"/>
              <a:gd name="T47" fmla="*/ 3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160">
                <a:moveTo>
                  <a:pt x="81" y="41"/>
                </a:moveTo>
                <a:cubicBezTo>
                  <a:pt x="81" y="18"/>
                  <a:pt x="63" y="0"/>
                  <a:pt x="41" y="0"/>
                </a:cubicBezTo>
                <a:cubicBezTo>
                  <a:pt x="18" y="0"/>
                  <a:pt x="0" y="18"/>
                  <a:pt x="0" y="41"/>
                </a:cubicBezTo>
                <a:cubicBezTo>
                  <a:pt x="0" y="62"/>
                  <a:pt x="17" y="80"/>
                  <a:pt x="38" y="81"/>
                </a:cubicBezTo>
                <a:cubicBezTo>
                  <a:pt x="38" y="157"/>
                  <a:pt x="38" y="157"/>
                  <a:pt x="38" y="157"/>
                </a:cubicBezTo>
                <a:cubicBezTo>
                  <a:pt x="38" y="159"/>
                  <a:pt x="39" y="160"/>
                  <a:pt x="41" y="160"/>
                </a:cubicBezTo>
                <a:cubicBezTo>
                  <a:pt x="42" y="160"/>
                  <a:pt x="43" y="159"/>
                  <a:pt x="43" y="157"/>
                </a:cubicBezTo>
                <a:cubicBezTo>
                  <a:pt x="43" y="81"/>
                  <a:pt x="43" y="81"/>
                  <a:pt x="43" y="81"/>
                </a:cubicBezTo>
                <a:cubicBezTo>
                  <a:pt x="65" y="80"/>
                  <a:pt x="81" y="62"/>
                  <a:pt x="81" y="41"/>
                </a:cubicBezTo>
                <a:close/>
                <a:moveTo>
                  <a:pt x="41" y="76"/>
                </a:moveTo>
                <a:cubicBezTo>
                  <a:pt x="21" y="76"/>
                  <a:pt x="5" y="60"/>
                  <a:pt x="5" y="41"/>
                </a:cubicBezTo>
                <a:cubicBezTo>
                  <a:pt x="5" y="21"/>
                  <a:pt x="21" y="5"/>
                  <a:pt x="41" y="5"/>
                </a:cubicBezTo>
                <a:cubicBezTo>
                  <a:pt x="60" y="5"/>
                  <a:pt x="76" y="21"/>
                  <a:pt x="76" y="41"/>
                </a:cubicBezTo>
                <a:cubicBezTo>
                  <a:pt x="76" y="60"/>
                  <a:pt x="60" y="76"/>
                  <a:pt x="41" y="76"/>
                </a:cubicBezTo>
                <a:close/>
                <a:moveTo>
                  <a:pt x="27" y="19"/>
                </a:moveTo>
                <a:cubicBezTo>
                  <a:pt x="21" y="19"/>
                  <a:pt x="16" y="24"/>
                  <a:pt x="16" y="30"/>
                </a:cubicBezTo>
                <a:cubicBezTo>
                  <a:pt x="16" y="36"/>
                  <a:pt x="21" y="41"/>
                  <a:pt x="27" y="41"/>
                </a:cubicBezTo>
                <a:cubicBezTo>
                  <a:pt x="33" y="41"/>
                  <a:pt x="38" y="36"/>
                  <a:pt x="38" y="30"/>
                </a:cubicBezTo>
                <a:cubicBezTo>
                  <a:pt x="38" y="24"/>
                  <a:pt x="33" y="19"/>
                  <a:pt x="27" y="19"/>
                </a:cubicBezTo>
                <a:close/>
                <a:moveTo>
                  <a:pt x="27" y="35"/>
                </a:moveTo>
                <a:cubicBezTo>
                  <a:pt x="24" y="35"/>
                  <a:pt x="22" y="33"/>
                  <a:pt x="22" y="30"/>
                </a:cubicBezTo>
                <a:cubicBezTo>
                  <a:pt x="22" y="27"/>
                  <a:pt x="24" y="24"/>
                  <a:pt x="27" y="24"/>
                </a:cubicBezTo>
                <a:cubicBezTo>
                  <a:pt x="30" y="24"/>
                  <a:pt x="33" y="27"/>
                  <a:pt x="33" y="30"/>
                </a:cubicBezTo>
                <a:cubicBezTo>
                  <a:pt x="33" y="33"/>
                  <a:pt x="30" y="35"/>
                  <a:pt x="2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23" name="Freeform 1325">
            <a:extLst>
              <a:ext uri="{FF2B5EF4-FFF2-40B4-BE49-F238E27FC236}">
                <a16:creationId xmlns:a16="http://schemas.microsoft.com/office/drawing/2014/main" id="{C1B8120B-DC5B-CE4A-9D9E-5D380A2641B3}"/>
              </a:ext>
            </a:extLst>
          </p:cNvPr>
          <p:cNvSpPr>
            <a:spLocks noEditPoints="1"/>
          </p:cNvSpPr>
          <p:nvPr/>
        </p:nvSpPr>
        <p:spPr bwMode="auto">
          <a:xfrm>
            <a:off x="4309637" y="365125"/>
            <a:ext cx="546100" cy="550863"/>
          </a:xfrm>
          <a:custGeom>
            <a:avLst/>
            <a:gdLst>
              <a:gd name="T0" fmla="*/ 84 w 160"/>
              <a:gd name="T1" fmla="*/ 32 h 160"/>
              <a:gd name="T2" fmla="*/ 84 w 160"/>
              <a:gd name="T3" fmla="*/ 37 h 160"/>
              <a:gd name="T4" fmla="*/ 70 w 160"/>
              <a:gd name="T5" fmla="*/ 51 h 160"/>
              <a:gd name="T6" fmla="*/ 124 w 160"/>
              <a:gd name="T7" fmla="*/ 87 h 160"/>
              <a:gd name="T8" fmla="*/ 47 w 160"/>
              <a:gd name="T9" fmla="*/ 15 h 160"/>
              <a:gd name="T10" fmla="*/ 51 w 160"/>
              <a:gd name="T11" fmla="*/ 19 h 160"/>
              <a:gd name="T12" fmla="*/ 120 w 160"/>
              <a:gd name="T13" fmla="*/ 84 h 160"/>
              <a:gd name="T14" fmla="*/ 51 w 160"/>
              <a:gd name="T15" fmla="*/ 19 h 160"/>
              <a:gd name="T16" fmla="*/ 5 w 160"/>
              <a:gd name="T17" fmla="*/ 159 h 160"/>
              <a:gd name="T18" fmla="*/ 1 w 160"/>
              <a:gd name="T19" fmla="*/ 155 h 160"/>
              <a:gd name="T20" fmla="*/ 28 w 160"/>
              <a:gd name="T21" fmla="*/ 139 h 160"/>
              <a:gd name="T22" fmla="*/ 23 w 160"/>
              <a:gd name="T23" fmla="*/ 144 h 160"/>
              <a:gd name="T24" fmla="*/ 28 w 160"/>
              <a:gd name="T25" fmla="*/ 139 h 160"/>
              <a:gd name="T26" fmla="*/ 11 w 160"/>
              <a:gd name="T27" fmla="*/ 151 h 160"/>
              <a:gd name="T28" fmla="*/ 13 w 160"/>
              <a:gd name="T29" fmla="*/ 143 h 160"/>
              <a:gd name="T30" fmla="*/ 57 w 160"/>
              <a:gd name="T31" fmla="*/ 139 h 160"/>
              <a:gd name="T32" fmla="*/ 52 w 160"/>
              <a:gd name="T33" fmla="*/ 144 h 160"/>
              <a:gd name="T34" fmla="*/ 57 w 160"/>
              <a:gd name="T35" fmla="*/ 139 h 160"/>
              <a:gd name="T36" fmla="*/ 42 w 160"/>
              <a:gd name="T37" fmla="*/ 144 h 160"/>
              <a:gd name="T38" fmla="*/ 38 w 160"/>
              <a:gd name="T39" fmla="*/ 139 h 160"/>
              <a:gd name="T40" fmla="*/ 72 w 160"/>
              <a:gd name="T41" fmla="*/ 141 h 160"/>
              <a:gd name="T42" fmla="*/ 64 w 160"/>
              <a:gd name="T43" fmla="*/ 141 h 160"/>
              <a:gd name="T44" fmla="*/ 1 w 160"/>
              <a:gd name="T45" fmla="*/ 143 h 160"/>
              <a:gd name="T46" fmla="*/ 13 w 160"/>
              <a:gd name="T47" fmla="*/ 127 h 160"/>
              <a:gd name="T48" fmla="*/ 15 w 160"/>
              <a:gd name="T49" fmla="*/ 126 h 160"/>
              <a:gd name="T50" fmla="*/ 17 w 160"/>
              <a:gd name="T51" fmla="*/ 126 h 160"/>
              <a:gd name="T52" fmla="*/ 61 w 160"/>
              <a:gd name="T53" fmla="*/ 128 h 160"/>
              <a:gd name="T54" fmla="*/ 18 w 160"/>
              <a:gd name="T55" fmla="*/ 131 h 160"/>
              <a:gd name="T56" fmla="*/ 16 w 160"/>
              <a:gd name="T57" fmla="*/ 132 h 160"/>
              <a:gd name="T58" fmla="*/ 3 w 160"/>
              <a:gd name="T59" fmla="*/ 143 h 160"/>
              <a:gd name="T60" fmla="*/ 154 w 160"/>
              <a:gd name="T61" fmla="*/ 125 h 160"/>
              <a:gd name="T62" fmla="*/ 159 w 160"/>
              <a:gd name="T63" fmla="*/ 127 h 160"/>
              <a:gd name="T64" fmla="*/ 154 w 160"/>
              <a:gd name="T65" fmla="*/ 129 h 160"/>
              <a:gd name="T66" fmla="*/ 145 w 160"/>
              <a:gd name="T67" fmla="*/ 141 h 160"/>
              <a:gd name="T68" fmla="*/ 141 w 160"/>
              <a:gd name="T69" fmla="*/ 137 h 160"/>
              <a:gd name="T70" fmla="*/ 133 w 160"/>
              <a:gd name="T71" fmla="*/ 139 h 160"/>
              <a:gd name="T72" fmla="*/ 127 w 160"/>
              <a:gd name="T73" fmla="*/ 144 h 160"/>
              <a:gd name="T74" fmla="*/ 133 w 160"/>
              <a:gd name="T75" fmla="*/ 139 h 160"/>
              <a:gd name="T76" fmla="*/ 116 w 160"/>
              <a:gd name="T77" fmla="*/ 144 h 160"/>
              <a:gd name="T78" fmla="*/ 110 w 160"/>
              <a:gd name="T79" fmla="*/ 139 h 160"/>
              <a:gd name="T80" fmla="*/ 101 w 160"/>
              <a:gd name="T81" fmla="*/ 141 h 160"/>
              <a:gd name="T82" fmla="*/ 93 w 160"/>
              <a:gd name="T83" fmla="*/ 141 h 160"/>
              <a:gd name="T84" fmla="*/ 159 w 160"/>
              <a:gd name="T85" fmla="*/ 140 h 160"/>
              <a:gd name="T86" fmla="*/ 147 w 160"/>
              <a:gd name="T87" fmla="*/ 156 h 160"/>
              <a:gd name="T88" fmla="*/ 145 w 160"/>
              <a:gd name="T89" fmla="*/ 157 h 160"/>
              <a:gd name="T90" fmla="*/ 143 w 160"/>
              <a:gd name="T91" fmla="*/ 157 h 160"/>
              <a:gd name="T92" fmla="*/ 20 w 160"/>
              <a:gd name="T93" fmla="*/ 159 h 160"/>
              <a:gd name="T94" fmla="*/ 17 w 160"/>
              <a:gd name="T95" fmla="*/ 155 h 160"/>
              <a:gd name="T96" fmla="*/ 142 w 160"/>
              <a:gd name="T97" fmla="*/ 152 h 160"/>
              <a:gd name="T98" fmla="*/ 144 w 160"/>
              <a:gd name="T99" fmla="*/ 151 h 160"/>
              <a:gd name="T100" fmla="*/ 155 w 160"/>
              <a:gd name="T101" fmla="*/ 140 h 160"/>
              <a:gd name="T102" fmla="*/ 137 w 160"/>
              <a:gd name="T103" fmla="*/ 125 h 160"/>
              <a:gd name="T104" fmla="*/ 148 w 160"/>
              <a:gd name="T105" fmla="*/ 122 h 160"/>
              <a:gd name="T106" fmla="*/ 104 w 160"/>
              <a:gd name="T107"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60">
                <a:moveTo>
                  <a:pt x="84" y="69"/>
                </a:moveTo>
                <a:cubicBezTo>
                  <a:pt x="94" y="69"/>
                  <a:pt x="102" y="61"/>
                  <a:pt x="102" y="51"/>
                </a:cubicBezTo>
                <a:cubicBezTo>
                  <a:pt x="102" y="40"/>
                  <a:pt x="94" y="32"/>
                  <a:pt x="84" y="32"/>
                </a:cubicBezTo>
                <a:cubicBezTo>
                  <a:pt x="73" y="32"/>
                  <a:pt x="65" y="40"/>
                  <a:pt x="65" y="51"/>
                </a:cubicBezTo>
                <a:cubicBezTo>
                  <a:pt x="65" y="61"/>
                  <a:pt x="73" y="69"/>
                  <a:pt x="84" y="69"/>
                </a:cubicBezTo>
                <a:close/>
                <a:moveTo>
                  <a:pt x="84" y="37"/>
                </a:moveTo>
                <a:cubicBezTo>
                  <a:pt x="91" y="37"/>
                  <a:pt x="97" y="43"/>
                  <a:pt x="97" y="51"/>
                </a:cubicBezTo>
                <a:cubicBezTo>
                  <a:pt x="97" y="58"/>
                  <a:pt x="91" y="64"/>
                  <a:pt x="84" y="64"/>
                </a:cubicBezTo>
                <a:cubicBezTo>
                  <a:pt x="76" y="64"/>
                  <a:pt x="70" y="58"/>
                  <a:pt x="70" y="51"/>
                </a:cubicBezTo>
                <a:cubicBezTo>
                  <a:pt x="70" y="43"/>
                  <a:pt x="76" y="37"/>
                  <a:pt x="84" y="37"/>
                </a:cubicBezTo>
                <a:close/>
                <a:moveTo>
                  <a:pt x="83" y="146"/>
                </a:moveTo>
                <a:cubicBezTo>
                  <a:pt x="124" y="87"/>
                  <a:pt x="124" y="87"/>
                  <a:pt x="124" y="87"/>
                </a:cubicBezTo>
                <a:cubicBezTo>
                  <a:pt x="139" y="66"/>
                  <a:pt x="137" y="33"/>
                  <a:pt x="119" y="15"/>
                </a:cubicBezTo>
                <a:cubicBezTo>
                  <a:pt x="110" y="5"/>
                  <a:pt x="97" y="0"/>
                  <a:pt x="83" y="0"/>
                </a:cubicBezTo>
                <a:cubicBezTo>
                  <a:pt x="69" y="0"/>
                  <a:pt x="57" y="5"/>
                  <a:pt x="47" y="15"/>
                </a:cubicBezTo>
                <a:cubicBezTo>
                  <a:pt x="29" y="33"/>
                  <a:pt x="27" y="66"/>
                  <a:pt x="42" y="87"/>
                </a:cubicBezTo>
                <a:lnTo>
                  <a:pt x="83" y="146"/>
                </a:lnTo>
                <a:close/>
                <a:moveTo>
                  <a:pt x="51" y="19"/>
                </a:moveTo>
                <a:cubicBezTo>
                  <a:pt x="59" y="10"/>
                  <a:pt x="71" y="5"/>
                  <a:pt x="83" y="5"/>
                </a:cubicBezTo>
                <a:cubicBezTo>
                  <a:pt x="95" y="5"/>
                  <a:pt x="107" y="10"/>
                  <a:pt x="116" y="19"/>
                </a:cubicBezTo>
                <a:cubicBezTo>
                  <a:pt x="132" y="35"/>
                  <a:pt x="134" y="65"/>
                  <a:pt x="120" y="84"/>
                </a:cubicBezTo>
                <a:cubicBezTo>
                  <a:pt x="83" y="137"/>
                  <a:pt x="83" y="137"/>
                  <a:pt x="83" y="137"/>
                </a:cubicBezTo>
                <a:cubicBezTo>
                  <a:pt x="46" y="84"/>
                  <a:pt x="46" y="84"/>
                  <a:pt x="46" y="84"/>
                </a:cubicBezTo>
                <a:cubicBezTo>
                  <a:pt x="33" y="65"/>
                  <a:pt x="35" y="35"/>
                  <a:pt x="51" y="19"/>
                </a:cubicBezTo>
                <a:close/>
                <a:moveTo>
                  <a:pt x="6" y="154"/>
                </a:moveTo>
                <a:cubicBezTo>
                  <a:pt x="7" y="155"/>
                  <a:pt x="7" y="156"/>
                  <a:pt x="6" y="157"/>
                </a:cubicBezTo>
                <a:cubicBezTo>
                  <a:pt x="5" y="159"/>
                  <a:pt x="5" y="159"/>
                  <a:pt x="5" y="159"/>
                </a:cubicBezTo>
                <a:cubicBezTo>
                  <a:pt x="4" y="160"/>
                  <a:pt x="3" y="160"/>
                  <a:pt x="3" y="160"/>
                </a:cubicBezTo>
                <a:cubicBezTo>
                  <a:pt x="2" y="160"/>
                  <a:pt x="1" y="160"/>
                  <a:pt x="1" y="159"/>
                </a:cubicBezTo>
                <a:cubicBezTo>
                  <a:pt x="0" y="158"/>
                  <a:pt x="0" y="156"/>
                  <a:pt x="1" y="155"/>
                </a:cubicBezTo>
                <a:cubicBezTo>
                  <a:pt x="3" y="154"/>
                  <a:pt x="3" y="154"/>
                  <a:pt x="3" y="154"/>
                </a:cubicBezTo>
                <a:cubicBezTo>
                  <a:pt x="4" y="153"/>
                  <a:pt x="5" y="153"/>
                  <a:pt x="6" y="154"/>
                </a:cubicBezTo>
                <a:close/>
                <a:moveTo>
                  <a:pt x="28" y="139"/>
                </a:moveTo>
                <a:cubicBezTo>
                  <a:pt x="29" y="139"/>
                  <a:pt x="30" y="140"/>
                  <a:pt x="30" y="141"/>
                </a:cubicBezTo>
                <a:cubicBezTo>
                  <a:pt x="30" y="143"/>
                  <a:pt x="29" y="144"/>
                  <a:pt x="28" y="144"/>
                </a:cubicBezTo>
                <a:cubicBezTo>
                  <a:pt x="23" y="144"/>
                  <a:pt x="23" y="144"/>
                  <a:pt x="23" y="144"/>
                </a:cubicBezTo>
                <a:cubicBezTo>
                  <a:pt x="22" y="144"/>
                  <a:pt x="20" y="143"/>
                  <a:pt x="20" y="141"/>
                </a:cubicBezTo>
                <a:cubicBezTo>
                  <a:pt x="20" y="140"/>
                  <a:pt x="22" y="139"/>
                  <a:pt x="23" y="139"/>
                </a:cubicBezTo>
                <a:lnTo>
                  <a:pt x="28" y="139"/>
                </a:lnTo>
                <a:close/>
                <a:moveTo>
                  <a:pt x="17" y="147"/>
                </a:moveTo>
                <a:cubicBezTo>
                  <a:pt x="13" y="150"/>
                  <a:pt x="13" y="150"/>
                  <a:pt x="13" y="150"/>
                </a:cubicBezTo>
                <a:cubicBezTo>
                  <a:pt x="13" y="151"/>
                  <a:pt x="12" y="151"/>
                  <a:pt x="11" y="151"/>
                </a:cubicBezTo>
                <a:cubicBezTo>
                  <a:pt x="11" y="151"/>
                  <a:pt x="10" y="151"/>
                  <a:pt x="10" y="150"/>
                </a:cubicBezTo>
                <a:cubicBezTo>
                  <a:pt x="8" y="149"/>
                  <a:pt x="8" y="148"/>
                  <a:pt x="10" y="147"/>
                </a:cubicBezTo>
                <a:cubicBezTo>
                  <a:pt x="13" y="143"/>
                  <a:pt x="13" y="143"/>
                  <a:pt x="13" y="143"/>
                </a:cubicBezTo>
                <a:cubicBezTo>
                  <a:pt x="14" y="142"/>
                  <a:pt x="16" y="142"/>
                  <a:pt x="17" y="143"/>
                </a:cubicBezTo>
                <a:cubicBezTo>
                  <a:pt x="18" y="144"/>
                  <a:pt x="18" y="146"/>
                  <a:pt x="17" y="147"/>
                </a:cubicBezTo>
                <a:close/>
                <a:moveTo>
                  <a:pt x="57" y="139"/>
                </a:moveTo>
                <a:cubicBezTo>
                  <a:pt x="58" y="139"/>
                  <a:pt x="60" y="140"/>
                  <a:pt x="60" y="141"/>
                </a:cubicBezTo>
                <a:cubicBezTo>
                  <a:pt x="60" y="143"/>
                  <a:pt x="58" y="144"/>
                  <a:pt x="57" y="144"/>
                </a:cubicBezTo>
                <a:cubicBezTo>
                  <a:pt x="52" y="144"/>
                  <a:pt x="52" y="144"/>
                  <a:pt x="52" y="144"/>
                </a:cubicBezTo>
                <a:cubicBezTo>
                  <a:pt x="51" y="144"/>
                  <a:pt x="49" y="143"/>
                  <a:pt x="49" y="141"/>
                </a:cubicBezTo>
                <a:cubicBezTo>
                  <a:pt x="49" y="140"/>
                  <a:pt x="51" y="139"/>
                  <a:pt x="52" y="139"/>
                </a:cubicBezTo>
                <a:lnTo>
                  <a:pt x="57" y="139"/>
                </a:lnTo>
                <a:close/>
                <a:moveTo>
                  <a:pt x="42" y="139"/>
                </a:moveTo>
                <a:cubicBezTo>
                  <a:pt x="44" y="139"/>
                  <a:pt x="45" y="140"/>
                  <a:pt x="45" y="141"/>
                </a:cubicBezTo>
                <a:cubicBezTo>
                  <a:pt x="45" y="143"/>
                  <a:pt x="44" y="144"/>
                  <a:pt x="42" y="144"/>
                </a:cubicBezTo>
                <a:cubicBezTo>
                  <a:pt x="38" y="144"/>
                  <a:pt x="38" y="144"/>
                  <a:pt x="38" y="144"/>
                </a:cubicBezTo>
                <a:cubicBezTo>
                  <a:pt x="36" y="144"/>
                  <a:pt x="35" y="143"/>
                  <a:pt x="35" y="141"/>
                </a:cubicBezTo>
                <a:cubicBezTo>
                  <a:pt x="35" y="140"/>
                  <a:pt x="36" y="139"/>
                  <a:pt x="38" y="139"/>
                </a:cubicBezTo>
                <a:lnTo>
                  <a:pt x="42" y="139"/>
                </a:lnTo>
                <a:close/>
                <a:moveTo>
                  <a:pt x="69" y="139"/>
                </a:moveTo>
                <a:cubicBezTo>
                  <a:pt x="71" y="139"/>
                  <a:pt x="72" y="140"/>
                  <a:pt x="72" y="141"/>
                </a:cubicBezTo>
                <a:cubicBezTo>
                  <a:pt x="72" y="143"/>
                  <a:pt x="71" y="144"/>
                  <a:pt x="69" y="144"/>
                </a:cubicBezTo>
                <a:cubicBezTo>
                  <a:pt x="67" y="144"/>
                  <a:pt x="67" y="144"/>
                  <a:pt x="67" y="144"/>
                </a:cubicBezTo>
                <a:cubicBezTo>
                  <a:pt x="65" y="144"/>
                  <a:pt x="64" y="143"/>
                  <a:pt x="64" y="141"/>
                </a:cubicBezTo>
                <a:cubicBezTo>
                  <a:pt x="64" y="140"/>
                  <a:pt x="65" y="139"/>
                  <a:pt x="67" y="139"/>
                </a:cubicBezTo>
                <a:lnTo>
                  <a:pt x="69" y="139"/>
                </a:lnTo>
                <a:close/>
                <a:moveTo>
                  <a:pt x="1" y="143"/>
                </a:moveTo>
                <a:cubicBezTo>
                  <a:pt x="0" y="142"/>
                  <a:pt x="0" y="140"/>
                  <a:pt x="1" y="139"/>
                </a:cubicBezTo>
                <a:cubicBezTo>
                  <a:pt x="11" y="128"/>
                  <a:pt x="11" y="128"/>
                  <a:pt x="11" y="128"/>
                </a:cubicBezTo>
                <a:cubicBezTo>
                  <a:pt x="12" y="128"/>
                  <a:pt x="12" y="128"/>
                  <a:pt x="13" y="127"/>
                </a:cubicBezTo>
                <a:cubicBezTo>
                  <a:pt x="13" y="127"/>
                  <a:pt x="13" y="127"/>
                  <a:pt x="13" y="127"/>
                </a:cubicBezTo>
                <a:cubicBezTo>
                  <a:pt x="14" y="127"/>
                  <a:pt x="14" y="127"/>
                  <a:pt x="14" y="127"/>
                </a:cubicBezTo>
                <a:cubicBezTo>
                  <a:pt x="14" y="126"/>
                  <a:pt x="14" y="126"/>
                  <a:pt x="15" y="126"/>
                </a:cubicBezTo>
                <a:cubicBezTo>
                  <a:pt x="15" y="126"/>
                  <a:pt x="15" y="126"/>
                  <a:pt x="15" y="126"/>
                </a:cubicBezTo>
                <a:cubicBezTo>
                  <a:pt x="16" y="126"/>
                  <a:pt x="16" y="126"/>
                  <a:pt x="16" y="126"/>
                </a:cubicBezTo>
                <a:cubicBezTo>
                  <a:pt x="16" y="126"/>
                  <a:pt x="16" y="126"/>
                  <a:pt x="17" y="126"/>
                </a:cubicBezTo>
                <a:cubicBezTo>
                  <a:pt x="17" y="125"/>
                  <a:pt x="18" y="125"/>
                  <a:pt x="19" y="125"/>
                </a:cubicBezTo>
                <a:cubicBezTo>
                  <a:pt x="59" y="125"/>
                  <a:pt x="59" y="125"/>
                  <a:pt x="59" y="125"/>
                </a:cubicBezTo>
                <a:cubicBezTo>
                  <a:pt x="60" y="125"/>
                  <a:pt x="61" y="127"/>
                  <a:pt x="61" y="128"/>
                </a:cubicBezTo>
                <a:cubicBezTo>
                  <a:pt x="61" y="129"/>
                  <a:pt x="60" y="131"/>
                  <a:pt x="59" y="131"/>
                </a:cubicBezTo>
                <a:cubicBezTo>
                  <a:pt x="19" y="131"/>
                  <a:pt x="19" y="131"/>
                  <a:pt x="19" y="131"/>
                </a:cubicBezTo>
                <a:cubicBezTo>
                  <a:pt x="18" y="131"/>
                  <a:pt x="18" y="131"/>
                  <a:pt x="18" y="131"/>
                </a:cubicBezTo>
                <a:cubicBezTo>
                  <a:pt x="17" y="131"/>
                  <a:pt x="17" y="131"/>
                  <a:pt x="17" y="131"/>
                </a:cubicBezTo>
                <a:cubicBezTo>
                  <a:pt x="17" y="131"/>
                  <a:pt x="16" y="131"/>
                  <a:pt x="16" y="131"/>
                </a:cubicBezTo>
                <a:cubicBezTo>
                  <a:pt x="16" y="132"/>
                  <a:pt x="16" y="132"/>
                  <a:pt x="16" y="132"/>
                </a:cubicBezTo>
                <a:cubicBezTo>
                  <a:pt x="15" y="132"/>
                  <a:pt x="15" y="132"/>
                  <a:pt x="15" y="132"/>
                </a:cubicBezTo>
                <a:cubicBezTo>
                  <a:pt x="5" y="143"/>
                  <a:pt x="5" y="143"/>
                  <a:pt x="5" y="143"/>
                </a:cubicBezTo>
                <a:cubicBezTo>
                  <a:pt x="4" y="143"/>
                  <a:pt x="3" y="143"/>
                  <a:pt x="3" y="143"/>
                </a:cubicBezTo>
                <a:cubicBezTo>
                  <a:pt x="2" y="143"/>
                  <a:pt x="1" y="143"/>
                  <a:pt x="1" y="143"/>
                </a:cubicBezTo>
                <a:close/>
                <a:moveTo>
                  <a:pt x="154" y="129"/>
                </a:moveTo>
                <a:cubicBezTo>
                  <a:pt x="153" y="128"/>
                  <a:pt x="153" y="126"/>
                  <a:pt x="154" y="125"/>
                </a:cubicBezTo>
                <a:cubicBezTo>
                  <a:pt x="155" y="123"/>
                  <a:pt x="155" y="123"/>
                  <a:pt x="155" y="123"/>
                </a:cubicBezTo>
                <a:cubicBezTo>
                  <a:pt x="156" y="122"/>
                  <a:pt x="158" y="122"/>
                  <a:pt x="159" y="123"/>
                </a:cubicBezTo>
                <a:cubicBezTo>
                  <a:pt x="160" y="124"/>
                  <a:pt x="160" y="126"/>
                  <a:pt x="159" y="127"/>
                </a:cubicBezTo>
                <a:cubicBezTo>
                  <a:pt x="157" y="129"/>
                  <a:pt x="157" y="129"/>
                  <a:pt x="157" y="129"/>
                </a:cubicBezTo>
                <a:cubicBezTo>
                  <a:pt x="157" y="130"/>
                  <a:pt x="156" y="130"/>
                  <a:pt x="155" y="130"/>
                </a:cubicBezTo>
                <a:cubicBezTo>
                  <a:pt x="155" y="130"/>
                  <a:pt x="154" y="130"/>
                  <a:pt x="154" y="129"/>
                </a:cubicBezTo>
                <a:close/>
                <a:moveTo>
                  <a:pt x="149" y="133"/>
                </a:moveTo>
                <a:cubicBezTo>
                  <a:pt x="150" y="134"/>
                  <a:pt x="150" y="136"/>
                  <a:pt x="149" y="137"/>
                </a:cubicBezTo>
                <a:cubicBezTo>
                  <a:pt x="145" y="141"/>
                  <a:pt x="145" y="141"/>
                  <a:pt x="145" y="141"/>
                </a:cubicBezTo>
                <a:cubicBezTo>
                  <a:pt x="145" y="142"/>
                  <a:pt x="144" y="142"/>
                  <a:pt x="143" y="142"/>
                </a:cubicBezTo>
                <a:cubicBezTo>
                  <a:pt x="143" y="142"/>
                  <a:pt x="142" y="142"/>
                  <a:pt x="141" y="141"/>
                </a:cubicBezTo>
                <a:cubicBezTo>
                  <a:pt x="140" y="140"/>
                  <a:pt x="140" y="138"/>
                  <a:pt x="141" y="137"/>
                </a:cubicBezTo>
                <a:cubicBezTo>
                  <a:pt x="146" y="133"/>
                  <a:pt x="146" y="133"/>
                  <a:pt x="146" y="133"/>
                </a:cubicBezTo>
                <a:cubicBezTo>
                  <a:pt x="147" y="132"/>
                  <a:pt x="148" y="132"/>
                  <a:pt x="149" y="133"/>
                </a:cubicBezTo>
                <a:close/>
                <a:moveTo>
                  <a:pt x="133" y="139"/>
                </a:moveTo>
                <a:cubicBezTo>
                  <a:pt x="134" y="139"/>
                  <a:pt x="135" y="140"/>
                  <a:pt x="135" y="141"/>
                </a:cubicBezTo>
                <a:cubicBezTo>
                  <a:pt x="135" y="143"/>
                  <a:pt x="134" y="144"/>
                  <a:pt x="133" y="144"/>
                </a:cubicBezTo>
                <a:cubicBezTo>
                  <a:pt x="127" y="144"/>
                  <a:pt x="127" y="144"/>
                  <a:pt x="127" y="144"/>
                </a:cubicBezTo>
                <a:cubicBezTo>
                  <a:pt x="126" y="144"/>
                  <a:pt x="124" y="143"/>
                  <a:pt x="124" y="141"/>
                </a:cubicBezTo>
                <a:cubicBezTo>
                  <a:pt x="124" y="140"/>
                  <a:pt x="126" y="139"/>
                  <a:pt x="127" y="139"/>
                </a:cubicBezTo>
                <a:lnTo>
                  <a:pt x="133" y="139"/>
                </a:lnTo>
                <a:close/>
                <a:moveTo>
                  <a:pt x="116" y="139"/>
                </a:moveTo>
                <a:cubicBezTo>
                  <a:pt x="117" y="139"/>
                  <a:pt x="118" y="140"/>
                  <a:pt x="118" y="141"/>
                </a:cubicBezTo>
                <a:cubicBezTo>
                  <a:pt x="118" y="143"/>
                  <a:pt x="117" y="144"/>
                  <a:pt x="116" y="144"/>
                </a:cubicBezTo>
                <a:cubicBezTo>
                  <a:pt x="110" y="144"/>
                  <a:pt x="110" y="144"/>
                  <a:pt x="110" y="144"/>
                </a:cubicBezTo>
                <a:cubicBezTo>
                  <a:pt x="109" y="144"/>
                  <a:pt x="107" y="143"/>
                  <a:pt x="107" y="141"/>
                </a:cubicBezTo>
                <a:cubicBezTo>
                  <a:pt x="107" y="140"/>
                  <a:pt x="109" y="139"/>
                  <a:pt x="110" y="139"/>
                </a:cubicBezTo>
                <a:lnTo>
                  <a:pt x="116" y="139"/>
                </a:lnTo>
                <a:close/>
                <a:moveTo>
                  <a:pt x="99" y="139"/>
                </a:moveTo>
                <a:cubicBezTo>
                  <a:pt x="100" y="139"/>
                  <a:pt x="101" y="140"/>
                  <a:pt x="101" y="141"/>
                </a:cubicBezTo>
                <a:cubicBezTo>
                  <a:pt x="101" y="143"/>
                  <a:pt x="100" y="144"/>
                  <a:pt x="99" y="144"/>
                </a:cubicBezTo>
                <a:cubicBezTo>
                  <a:pt x="96" y="144"/>
                  <a:pt x="96" y="144"/>
                  <a:pt x="96" y="144"/>
                </a:cubicBezTo>
                <a:cubicBezTo>
                  <a:pt x="95" y="144"/>
                  <a:pt x="93" y="143"/>
                  <a:pt x="93" y="141"/>
                </a:cubicBezTo>
                <a:cubicBezTo>
                  <a:pt x="93" y="140"/>
                  <a:pt x="95" y="139"/>
                  <a:pt x="96" y="139"/>
                </a:cubicBezTo>
                <a:lnTo>
                  <a:pt x="99" y="139"/>
                </a:lnTo>
                <a:close/>
                <a:moveTo>
                  <a:pt x="159" y="140"/>
                </a:moveTo>
                <a:cubicBezTo>
                  <a:pt x="160" y="141"/>
                  <a:pt x="160" y="143"/>
                  <a:pt x="159" y="144"/>
                </a:cubicBezTo>
                <a:cubicBezTo>
                  <a:pt x="149" y="154"/>
                  <a:pt x="149" y="154"/>
                  <a:pt x="149" y="154"/>
                </a:cubicBezTo>
                <a:cubicBezTo>
                  <a:pt x="148" y="155"/>
                  <a:pt x="148" y="155"/>
                  <a:pt x="147" y="156"/>
                </a:cubicBezTo>
                <a:cubicBezTo>
                  <a:pt x="147" y="156"/>
                  <a:pt x="147" y="156"/>
                  <a:pt x="147" y="156"/>
                </a:cubicBezTo>
                <a:cubicBezTo>
                  <a:pt x="146" y="156"/>
                  <a:pt x="146" y="156"/>
                  <a:pt x="146" y="156"/>
                </a:cubicBezTo>
                <a:cubicBezTo>
                  <a:pt x="146" y="156"/>
                  <a:pt x="146" y="156"/>
                  <a:pt x="145" y="157"/>
                </a:cubicBezTo>
                <a:cubicBezTo>
                  <a:pt x="145" y="157"/>
                  <a:pt x="145" y="157"/>
                  <a:pt x="145" y="157"/>
                </a:cubicBezTo>
                <a:cubicBezTo>
                  <a:pt x="144" y="157"/>
                  <a:pt x="144" y="157"/>
                  <a:pt x="144" y="157"/>
                </a:cubicBezTo>
                <a:cubicBezTo>
                  <a:pt x="144" y="157"/>
                  <a:pt x="144" y="157"/>
                  <a:pt x="143" y="157"/>
                </a:cubicBezTo>
                <a:cubicBezTo>
                  <a:pt x="143" y="157"/>
                  <a:pt x="142" y="157"/>
                  <a:pt x="141" y="157"/>
                </a:cubicBezTo>
                <a:cubicBezTo>
                  <a:pt x="23" y="157"/>
                  <a:pt x="23" y="157"/>
                  <a:pt x="23" y="157"/>
                </a:cubicBezTo>
                <a:cubicBezTo>
                  <a:pt x="20" y="159"/>
                  <a:pt x="20" y="159"/>
                  <a:pt x="20" y="159"/>
                </a:cubicBezTo>
                <a:cubicBezTo>
                  <a:pt x="20" y="160"/>
                  <a:pt x="19" y="160"/>
                  <a:pt x="19" y="160"/>
                </a:cubicBezTo>
                <a:cubicBezTo>
                  <a:pt x="18" y="160"/>
                  <a:pt x="17" y="160"/>
                  <a:pt x="17" y="159"/>
                </a:cubicBezTo>
                <a:cubicBezTo>
                  <a:pt x="16" y="158"/>
                  <a:pt x="16" y="156"/>
                  <a:pt x="17" y="155"/>
                </a:cubicBezTo>
                <a:cubicBezTo>
                  <a:pt x="21" y="152"/>
                  <a:pt x="21" y="152"/>
                  <a:pt x="21" y="152"/>
                </a:cubicBezTo>
                <a:cubicBezTo>
                  <a:pt x="141" y="152"/>
                  <a:pt x="141" y="152"/>
                  <a:pt x="141" y="152"/>
                </a:cubicBezTo>
                <a:cubicBezTo>
                  <a:pt x="142" y="152"/>
                  <a:pt x="142" y="152"/>
                  <a:pt x="142" y="152"/>
                </a:cubicBezTo>
                <a:cubicBezTo>
                  <a:pt x="143" y="152"/>
                  <a:pt x="143" y="152"/>
                  <a:pt x="143" y="152"/>
                </a:cubicBezTo>
                <a:cubicBezTo>
                  <a:pt x="143" y="152"/>
                  <a:pt x="143" y="152"/>
                  <a:pt x="143" y="152"/>
                </a:cubicBezTo>
                <a:cubicBezTo>
                  <a:pt x="143" y="152"/>
                  <a:pt x="144" y="151"/>
                  <a:pt x="144" y="151"/>
                </a:cubicBezTo>
                <a:cubicBezTo>
                  <a:pt x="144" y="151"/>
                  <a:pt x="144" y="151"/>
                  <a:pt x="144" y="151"/>
                </a:cubicBezTo>
                <a:cubicBezTo>
                  <a:pt x="145" y="151"/>
                  <a:pt x="145" y="151"/>
                  <a:pt x="145" y="150"/>
                </a:cubicBezTo>
                <a:cubicBezTo>
                  <a:pt x="155" y="140"/>
                  <a:pt x="155" y="140"/>
                  <a:pt x="155" y="140"/>
                </a:cubicBezTo>
                <a:cubicBezTo>
                  <a:pt x="156" y="139"/>
                  <a:pt x="158" y="139"/>
                  <a:pt x="159" y="140"/>
                </a:cubicBezTo>
                <a:close/>
                <a:moveTo>
                  <a:pt x="107" y="125"/>
                </a:moveTo>
                <a:cubicBezTo>
                  <a:pt x="137" y="125"/>
                  <a:pt x="137" y="125"/>
                  <a:pt x="137" y="125"/>
                </a:cubicBezTo>
                <a:cubicBezTo>
                  <a:pt x="144" y="118"/>
                  <a:pt x="144" y="118"/>
                  <a:pt x="144" y="118"/>
                </a:cubicBezTo>
                <a:cubicBezTo>
                  <a:pt x="145" y="117"/>
                  <a:pt x="147" y="117"/>
                  <a:pt x="148" y="118"/>
                </a:cubicBezTo>
                <a:cubicBezTo>
                  <a:pt x="149" y="119"/>
                  <a:pt x="149" y="121"/>
                  <a:pt x="148" y="122"/>
                </a:cubicBezTo>
                <a:cubicBezTo>
                  <a:pt x="139" y="131"/>
                  <a:pt x="139" y="131"/>
                  <a:pt x="139" y="131"/>
                </a:cubicBezTo>
                <a:cubicBezTo>
                  <a:pt x="107" y="131"/>
                  <a:pt x="107" y="131"/>
                  <a:pt x="107" y="131"/>
                </a:cubicBezTo>
                <a:cubicBezTo>
                  <a:pt x="105" y="131"/>
                  <a:pt x="104" y="129"/>
                  <a:pt x="104" y="128"/>
                </a:cubicBezTo>
                <a:cubicBezTo>
                  <a:pt x="104" y="127"/>
                  <a:pt x="105" y="125"/>
                  <a:pt x="107" y="12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24" name="Freeform 1326">
            <a:extLst>
              <a:ext uri="{FF2B5EF4-FFF2-40B4-BE49-F238E27FC236}">
                <a16:creationId xmlns:a16="http://schemas.microsoft.com/office/drawing/2014/main" id="{149D5782-51DB-4945-9973-458B42E8B2E7}"/>
              </a:ext>
            </a:extLst>
          </p:cNvPr>
          <p:cNvSpPr>
            <a:spLocks noEditPoints="1"/>
          </p:cNvSpPr>
          <p:nvPr/>
        </p:nvSpPr>
        <p:spPr bwMode="auto">
          <a:xfrm>
            <a:off x="4309637" y="984250"/>
            <a:ext cx="546100" cy="539750"/>
          </a:xfrm>
          <a:custGeom>
            <a:avLst/>
            <a:gdLst>
              <a:gd name="T0" fmla="*/ 81 w 160"/>
              <a:gd name="T1" fmla="*/ 68 h 157"/>
              <a:gd name="T2" fmla="*/ 99 w 160"/>
              <a:gd name="T3" fmla="*/ 50 h 157"/>
              <a:gd name="T4" fmla="*/ 81 w 160"/>
              <a:gd name="T5" fmla="*/ 31 h 157"/>
              <a:gd name="T6" fmla="*/ 63 w 160"/>
              <a:gd name="T7" fmla="*/ 50 h 157"/>
              <a:gd name="T8" fmla="*/ 81 w 160"/>
              <a:gd name="T9" fmla="*/ 68 h 157"/>
              <a:gd name="T10" fmla="*/ 81 w 160"/>
              <a:gd name="T11" fmla="*/ 37 h 157"/>
              <a:gd name="T12" fmla="*/ 94 w 160"/>
              <a:gd name="T13" fmla="*/ 50 h 157"/>
              <a:gd name="T14" fmla="*/ 81 w 160"/>
              <a:gd name="T15" fmla="*/ 63 h 157"/>
              <a:gd name="T16" fmla="*/ 68 w 160"/>
              <a:gd name="T17" fmla="*/ 50 h 157"/>
              <a:gd name="T18" fmla="*/ 81 w 160"/>
              <a:gd name="T19" fmla="*/ 37 h 157"/>
              <a:gd name="T20" fmla="*/ 131 w 160"/>
              <a:gd name="T21" fmla="*/ 97 h 157"/>
              <a:gd name="T22" fmla="*/ 113 w 160"/>
              <a:gd name="T23" fmla="*/ 97 h 157"/>
              <a:gd name="T24" fmla="*/ 121 w 160"/>
              <a:gd name="T25" fmla="*/ 85 h 157"/>
              <a:gd name="T26" fmla="*/ 116 w 160"/>
              <a:gd name="T27" fmla="*/ 15 h 157"/>
              <a:gd name="T28" fmla="*/ 80 w 160"/>
              <a:gd name="T29" fmla="*/ 0 h 157"/>
              <a:gd name="T30" fmla="*/ 45 w 160"/>
              <a:gd name="T31" fmla="*/ 15 h 157"/>
              <a:gd name="T32" fmla="*/ 40 w 160"/>
              <a:gd name="T33" fmla="*/ 85 h 157"/>
              <a:gd name="T34" fmla="*/ 48 w 160"/>
              <a:gd name="T35" fmla="*/ 97 h 157"/>
              <a:gd name="T36" fmla="*/ 29 w 160"/>
              <a:gd name="T37" fmla="*/ 97 h 157"/>
              <a:gd name="T38" fmla="*/ 0 w 160"/>
              <a:gd name="T39" fmla="*/ 157 h 157"/>
              <a:gd name="T40" fmla="*/ 160 w 160"/>
              <a:gd name="T41" fmla="*/ 157 h 157"/>
              <a:gd name="T42" fmla="*/ 131 w 160"/>
              <a:gd name="T43" fmla="*/ 97 h 157"/>
              <a:gd name="T44" fmla="*/ 45 w 160"/>
              <a:gd name="T45" fmla="*/ 82 h 157"/>
              <a:gd name="T46" fmla="*/ 49 w 160"/>
              <a:gd name="T47" fmla="*/ 18 h 157"/>
              <a:gd name="T48" fmla="*/ 80 w 160"/>
              <a:gd name="T49" fmla="*/ 5 h 157"/>
              <a:gd name="T50" fmla="*/ 112 w 160"/>
              <a:gd name="T51" fmla="*/ 18 h 157"/>
              <a:gd name="T52" fmla="*/ 116 w 160"/>
              <a:gd name="T53" fmla="*/ 82 h 157"/>
              <a:gd name="T54" fmla="*/ 80 w 160"/>
              <a:gd name="T55" fmla="*/ 134 h 157"/>
              <a:gd name="T56" fmla="*/ 55 w 160"/>
              <a:gd name="T57" fmla="*/ 97 h 157"/>
              <a:gd name="T58" fmla="*/ 55 w 160"/>
              <a:gd name="T59" fmla="*/ 97 h 157"/>
              <a:gd name="T60" fmla="*/ 45 w 160"/>
              <a:gd name="T61" fmla="*/ 82 h 157"/>
              <a:gd name="T62" fmla="*/ 32 w 160"/>
              <a:gd name="T63" fmla="*/ 102 h 157"/>
              <a:gd name="T64" fmla="*/ 52 w 160"/>
              <a:gd name="T65" fmla="*/ 102 h 157"/>
              <a:gd name="T66" fmla="*/ 80 w 160"/>
              <a:gd name="T67" fmla="*/ 143 h 157"/>
              <a:gd name="T68" fmla="*/ 109 w 160"/>
              <a:gd name="T69" fmla="*/ 102 h 157"/>
              <a:gd name="T70" fmla="*/ 128 w 160"/>
              <a:gd name="T71" fmla="*/ 102 h 157"/>
              <a:gd name="T72" fmla="*/ 152 w 160"/>
              <a:gd name="T73" fmla="*/ 152 h 157"/>
              <a:gd name="T74" fmla="*/ 8 w 160"/>
              <a:gd name="T75" fmla="*/ 152 h 157"/>
              <a:gd name="T76" fmla="*/ 32 w 160"/>
              <a:gd name="T77" fmla="*/ 10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57">
                <a:moveTo>
                  <a:pt x="81" y="68"/>
                </a:moveTo>
                <a:cubicBezTo>
                  <a:pt x="91" y="68"/>
                  <a:pt x="99" y="60"/>
                  <a:pt x="99" y="50"/>
                </a:cubicBezTo>
                <a:cubicBezTo>
                  <a:pt x="99" y="40"/>
                  <a:pt x="91" y="31"/>
                  <a:pt x="81" y="31"/>
                </a:cubicBezTo>
                <a:cubicBezTo>
                  <a:pt x="71" y="31"/>
                  <a:pt x="63" y="40"/>
                  <a:pt x="63" y="50"/>
                </a:cubicBezTo>
                <a:cubicBezTo>
                  <a:pt x="63" y="60"/>
                  <a:pt x="71" y="68"/>
                  <a:pt x="81" y="68"/>
                </a:cubicBezTo>
                <a:close/>
                <a:moveTo>
                  <a:pt x="81" y="37"/>
                </a:moveTo>
                <a:cubicBezTo>
                  <a:pt x="88" y="37"/>
                  <a:pt x="94" y="42"/>
                  <a:pt x="94" y="50"/>
                </a:cubicBezTo>
                <a:cubicBezTo>
                  <a:pt x="94" y="57"/>
                  <a:pt x="88" y="63"/>
                  <a:pt x="81" y="63"/>
                </a:cubicBezTo>
                <a:cubicBezTo>
                  <a:pt x="74" y="63"/>
                  <a:pt x="68" y="57"/>
                  <a:pt x="68" y="50"/>
                </a:cubicBezTo>
                <a:cubicBezTo>
                  <a:pt x="68" y="42"/>
                  <a:pt x="74" y="37"/>
                  <a:pt x="81" y="37"/>
                </a:cubicBezTo>
                <a:close/>
                <a:moveTo>
                  <a:pt x="131" y="97"/>
                </a:moveTo>
                <a:cubicBezTo>
                  <a:pt x="113" y="97"/>
                  <a:pt x="113" y="97"/>
                  <a:pt x="113" y="97"/>
                </a:cubicBezTo>
                <a:cubicBezTo>
                  <a:pt x="121" y="85"/>
                  <a:pt x="121" y="85"/>
                  <a:pt x="121" y="85"/>
                </a:cubicBezTo>
                <a:cubicBezTo>
                  <a:pt x="136" y="65"/>
                  <a:pt x="133" y="32"/>
                  <a:pt x="116" y="15"/>
                </a:cubicBezTo>
                <a:cubicBezTo>
                  <a:pt x="106" y="5"/>
                  <a:pt x="94" y="0"/>
                  <a:pt x="80" y="0"/>
                </a:cubicBezTo>
                <a:cubicBezTo>
                  <a:pt x="67" y="0"/>
                  <a:pt x="54" y="5"/>
                  <a:pt x="45" y="15"/>
                </a:cubicBezTo>
                <a:cubicBezTo>
                  <a:pt x="27" y="32"/>
                  <a:pt x="25" y="65"/>
                  <a:pt x="40" y="85"/>
                </a:cubicBezTo>
                <a:cubicBezTo>
                  <a:pt x="48" y="97"/>
                  <a:pt x="48" y="97"/>
                  <a:pt x="48" y="97"/>
                </a:cubicBezTo>
                <a:cubicBezTo>
                  <a:pt x="29" y="97"/>
                  <a:pt x="29" y="97"/>
                  <a:pt x="29" y="97"/>
                </a:cubicBezTo>
                <a:cubicBezTo>
                  <a:pt x="0" y="157"/>
                  <a:pt x="0" y="157"/>
                  <a:pt x="0" y="157"/>
                </a:cubicBezTo>
                <a:cubicBezTo>
                  <a:pt x="160" y="157"/>
                  <a:pt x="160" y="157"/>
                  <a:pt x="160" y="157"/>
                </a:cubicBezTo>
                <a:lnTo>
                  <a:pt x="131" y="97"/>
                </a:lnTo>
                <a:close/>
                <a:moveTo>
                  <a:pt x="45" y="82"/>
                </a:moveTo>
                <a:cubicBezTo>
                  <a:pt x="31" y="64"/>
                  <a:pt x="33" y="34"/>
                  <a:pt x="49" y="18"/>
                </a:cubicBezTo>
                <a:cubicBezTo>
                  <a:pt x="57" y="10"/>
                  <a:pt x="68" y="5"/>
                  <a:pt x="80" y="5"/>
                </a:cubicBezTo>
                <a:cubicBezTo>
                  <a:pt x="92" y="5"/>
                  <a:pt x="104" y="10"/>
                  <a:pt x="112" y="18"/>
                </a:cubicBezTo>
                <a:cubicBezTo>
                  <a:pt x="128" y="34"/>
                  <a:pt x="130" y="64"/>
                  <a:pt x="116" y="82"/>
                </a:cubicBezTo>
                <a:cubicBezTo>
                  <a:pt x="80" y="134"/>
                  <a:pt x="80" y="134"/>
                  <a:pt x="80" y="134"/>
                </a:cubicBezTo>
                <a:cubicBezTo>
                  <a:pt x="55" y="97"/>
                  <a:pt x="55" y="97"/>
                  <a:pt x="55" y="97"/>
                </a:cubicBezTo>
                <a:cubicBezTo>
                  <a:pt x="55" y="97"/>
                  <a:pt x="55" y="97"/>
                  <a:pt x="55" y="97"/>
                </a:cubicBezTo>
                <a:lnTo>
                  <a:pt x="45" y="82"/>
                </a:lnTo>
                <a:close/>
                <a:moveTo>
                  <a:pt x="32" y="102"/>
                </a:moveTo>
                <a:cubicBezTo>
                  <a:pt x="52" y="102"/>
                  <a:pt x="52" y="102"/>
                  <a:pt x="52" y="102"/>
                </a:cubicBezTo>
                <a:cubicBezTo>
                  <a:pt x="80" y="143"/>
                  <a:pt x="80" y="143"/>
                  <a:pt x="80" y="143"/>
                </a:cubicBezTo>
                <a:cubicBezTo>
                  <a:pt x="109" y="102"/>
                  <a:pt x="109" y="102"/>
                  <a:pt x="109" y="102"/>
                </a:cubicBezTo>
                <a:cubicBezTo>
                  <a:pt x="128" y="102"/>
                  <a:pt x="128" y="102"/>
                  <a:pt x="128" y="102"/>
                </a:cubicBezTo>
                <a:cubicBezTo>
                  <a:pt x="152" y="152"/>
                  <a:pt x="152" y="152"/>
                  <a:pt x="152" y="152"/>
                </a:cubicBezTo>
                <a:cubicBezTo>
                  <a:pt x="8" y="152"/>
                  <a:pt x="8" y="152"/>
                  <a:pt x="8" y="152"/>
                </a:cubicBezTo>
                <a:lnTo>
                  <a:pt x="32" y="10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25" name="Freeform 1327">
            <a:extLst>
              <a:ext uri="{FF2B5EF4-FFF2-40B4-BE49-F238E27FC236}">
                <a16:creationId xmlns:a16="http://schemas.microsoft.com/office/drawing/2014/main" id="{D8C6875B-D868-474E-A74F-992FB47F7D33}"/>
              </a:ext>
            </a:extLst>
          </p:cNvPr>
          <p:cNvSpPr>
            <a:spLocks noEditPoints="1"/>
          </p:cNvSpPr>
          <p:nvPr/>
        </p:nvSpPr>
        <p:spPr bwMode="auto">
          <a:xfrm>
            <a:off x="4371550" y="1603375"/>
            <a:ext cx="422275" cy="550863"/>
          </a:xfrm>
          <a:custGeom>
            <a:avLst/>
            <a:gdLst>
              <a:gd name="T0" fmla="*/ 63 w 124"/>
              <a:gd name="T1" fmla="*/ 35 h 160"/>
              <a:gd name="T2" fmla="*/ 42 w 124"/>
              <a:gd name="T3" fmla="*/ 56 h 160"/>
              <a:gd name="T4" fmla="*/ 63 w 124"/>
              <a:gd name="T5" fmla="*/ 76 h 160"/>
              <a:gd name="T6" fmla="*/ 83 w 124"/>
              <a:gd name="T7" fmla="*/ 56 h 160"/>
              <a:gd name="T8" fmla="*/ 63 w 124"/>
              <a:gd name="T9" fmla="*/ 35 h 160"/>
              <a:gd name="T10" fmla="*/ 63 w 124"/>
              <a:gd name="T11" fmla="*/ 70 h 160"/>
              <a:gd name="T12" fmla="*/ 48 w 124"/>
              <a:gd name="T13" fmla="*/ 56 h 160"/>
              <a:gd name="T14" fmla="*/ 63 w 124"/>
              <a:gd name="T15" fmla="*/ 41 h 160"/>
              <a:gd name="T16" fmla="*/ 77 w 124"/>
              <a:gd name="T17" fmla="*/ 56 h 160"/>
              <a:gd name="T18" fmla="*/ 63 w 124"/>
              <a:gd name="T19" fmla="*/ 70 h 160"/>
              <a:gd name="T20" fmla="*/ 102 w 124"/>
              <a:gd name="T21" fmla="*/ 16 h 160"/>
              <a:gd name="T22" fmla="*/ 62 w 124"/>
              <a:gd name="T23" fmla="*/ 0 h 160"/>
              <a:gd name="T24" fmla="*/ 22 w 124"/>
              <a:gd name="T25" fmla="*/ 16 h 160"/>
              <a:gd name="T26" fmla="*/ 17 w 124"/>
              <a:gd name="T27" fmla="*/ 95 h 160"/>
              <a:gd name="T28" fmla="*/ 62 w 124"/>
              <a:gd name="T29" fmla="*/ 160 h 160"/>
              <a:gd name="T30" fmla="*/ 107 w 124"/>
              <a:gd name="T31" fmla="*/ 95 h 160"/>
              <a:gd name="T32" fmla="*/ 102 w 124"/>
              <a:gd name="T33" fmla="*/ 16 h 160"/>
              <a:gd name="T34" fmla="*/ 102 w 124"/>
              <a:gd name="T35" fmla="*/ 92 h 160"/>
              <a:gd name="T36" fmla="*/ 62 w 124"/>
              <a:gd name="T37" fmla="*/ 150 h 160"/>
              <a:gd name="T38" fmla="*/ 22 w 124"/>
              <a:gd name="T39" fmla="*/ 92 h 160"/>
              <a:gd name="T40" fmla="*/ 27 w 124"/>
              <a:gd name="T41" fmla="*/ 21 h 160"/>
              <a:gd name="T42" fmla="*/ 62 w 124"/>
              <a:gd name="T43" fmla="*/ 6 h 160"/>
              <a:gd name="T44" fmla="*/ 98 w 124"/>
              <a:gd name="T45" fmla="*/ 21 h 160"/>
              <a:gd name="T46" fmla="*/ 102 w 124"/>
              <a:gd name="T47" fmla="*/ 9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4" h="160">
                <a:moveTo>
                  <a:pt x="63" y="35"/>
                </a:moveTo>
                <a:cubicBezTo>
                  <a:pt x="51" y="35"/>
                  <a:pt x="42" y="44"/>
                  <a:pt x="42" y="56"/>
                </a:cubicBezTo>
                <a:cubicBezTo>
                  <a:pt x="42" y="67"/>
                  <a:pt x="51" y="76"/>
                  <a:pt x="63" y="76"/>
                </a:cubicBezTo>
                <a:cubicBezTo>
                  <a:pt x="74" y="76"/>
                  <a:pt x="83" y="67"/>
                  <a:pt x="83" y="56"/>
                </a:cubicBezTo>
                <a:cubicBezTo>
                  <a:pt x="83" y="44"/>
                  <a:pt x="74" y="35"/>
                  <a:pt x="63" y="35"/>
                </a:cubicBezTo>
                <a:close/>
                <a:moveTo>
                  <a:pt x="63" y="70"/>
                </a:moveTo>
                <a:cubicBezTo>
                  <a:pt x="54" y="70"/>
                  <a:pt x="48" y="64"/>
                  <a:pt x="48" y="56"/>
                </a:cubicBezTo>
                <a:cubicBezTo>
                  <a:pt x="48" y="47"/>
                  <a:pt x="54" y="41"/>
                  <a:pt x="63" y="41"/>
                </a:cubicBezTo>
                <a:cubicBezTo>
                  <a:pt x="71" y="41"/>
                  <a:pt x="77" y="47"/>
                  <a:pt x="77" y="56"/>
                </a:cubicBezTo>
                <a:cubicBezTo>
                  <a:pt x="77" y="64"/>
                  <a:pt x="71" y="70"/>
                  <a:pt x="63" y="70"/>
                </a:cubicBezTo>
                <a:close/>
                <a:moveTo>
                  <a:pt x="102" y="16"/>
                </a:moveTo>
                <a:cubicBezTo>
                  <a:pt x="91" y="6"/>
                  <a:pt x="77" y="0"/>
                  <a:pt x="62" y="0"/>
                </a:cubicBezTo>
                <a:cubicBezTo>
                  <a:pt x="47" y="0"/>
                  <a:pt x="33" y="6"/>
                  <a:pt x="22" y="16"/>
                </a:cubicBezTo>
                <a:cubicBezTo>
                  <a:pt x="3" y="36"/>
                  <a:pt x="0" y="73"/>
                  <a:pt x="17" y="95"/>
                </a:cubicBezTo>
                <a:cubicBezTo>
                  <a:pt x="62" y="160"/>
                  <a:pt x="62" y="160"/>
                  <a:pt x="62" y="160"/>
                </a:cubicBezTo>
                <a:cubicBezTo>
                  <a:pt x="107" y="95"/>
                  <a:pt x="107" y="95"/>
                  <a:pt x="107" y="95"/>
                </a:cubicBezTo>
                <a:cubicBezTo>
                  <a:pt x="124" y="73"/>
                  <a:pt x="121" y="36"/>
                  <a:pt x="102" y="16"/>
                </a:cubicBezTo>
                <a:close/>
                <a:moveTo>
                  <a:pt x="102" y="92"/>
                </a:moveTo>
                <a:cubicBezTo>
                  <a:pt x="62" y="150"/>
                  <a:pt x="62" y="150"/>
                  <a:pt x="62" y="150"/>
                </a:cubicBezTo>
                <a:cubicBezTo>
                  <a:pt x="22" y="92"/>
                  <a:pt x="22" y="92"/>
                  <a:pt x="22" y="92"/>
                </a:cubicBezTo>
                <a:cubicBezTo>
                  <a:pt x="7" y="71"/>
                  <a:pt x="9" y="38"/>
                  <a:pt x="27" y="21"/>
                </a:cubicBezTo>
                <a:cubicBezTo>
                  <a:pt x="36" y="11"/>
                  <a:pt x="49" y="6"/>
                  <a:pt x="62" y="6"/>
                </a:cubicBezTo>
                <a:cubicBezTo>
                  <a:pt x="75" y="6"/>
                  <a:pt x="88" y="11"/>
                  <a:pt x="98" y="21"/>
                </a:cubicBezTo>
                <a:cubicBezTo>
                  <a:pt x="115" y="38"/>
                  <a:pt x="117" y="71"/>
                  <a:pt x="102" y="9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26" name="Freeform 1328">
            <a:extLst>
              <a:ext uri="{FF2B5EF4-FFF2-40B4-BE49-F238E27FC236}">
                <a16:creationId xmlns:a16="http://schemas.microsoft.com/office/drawing/2014/main" id="{8C824010-978D-B845-AE9C-5C69DC535539}"/>
              </a:ext>
            </a:extLst>
          </p:cNvPr>
          <p:cNvSpPr>
            <a:spLocks noEditPoints="1"/>
          </p:cNvSpPr>
          <p:nvPr/>
        </p:nvSpPr>
        <p:spPr bwMode="auto">
          <a:xfrm>
            <a:off x="4309637" y="2222500"/>
            <a:ext cx="546100" cy="550863"/>
          </a:xfrm>
          <a:custGeom>
            <a:avLst/>
            <a:gdLst>
              <a:gd name="T0" fmla="*/ 80 w 160"/>
              <a:gd name="T1" fmla="*/ 69 h 160"/>
              <a:gd name="T2" fmla="*/ 99 w 160"/>
              <a:gd name="T3" fmla="*/ 51 h 160"/>
              <a:gd name="T4" fmla="*/ 80 w 160"/>
              <a:gd name="T5" fmla="*/ 32 h 160"/>
              <a:gd name="T6" fmla="*/ 61 w 160"/>
              <a:gd name="T7" fmla="*/ 51 h 160"/>
              <a:gd name="T8" fmla="*/ 80 w 160"/>
              <a:gd name="T9" fmla="*/ 69 h 160"/>
              <a:gd name="T10" fmla="*/ 80 w 160"/>
              <a:gd name="T11" fmla="*/ 37 h 160"/>
              <a:gd name="T12" fmla="*/ 93 w 160"/>
              <a:gd name="T13" fmla="*/ 51 h 160"/>
              <a:gd name="T14" fmla="*/ 80 w 160"/>
              <a:gd name="T15" fmla="*/ 64 h 160"/>
              <a:gd name="T16" fmla="*/ 67 w 160"/>
              <a:gd name="T17" fmla="*/ 51 h 160"/>
              <a:gd name="T18" fmla="*/ 80 w 160"/>
              <a:gd name="T19" fmla="*/ 37 h 160"/>
              <a:gd name="T20" fmla="*/ 80 w 160"/>
              <a:gd name="T21" fmla="*/ 146 h 160"/>
              <a:gd name="T22" fmla="*/ 120 w 160"/>
              <a:gd name="T23" fmla="*/ 87 h 160"/>
              <a:gd name="T24" fmla="*/ 116 w 160"/>
              <a:gd name="T25" fmla="*/ 15 h 160"/>
              <a:gd name="T26" fmla="*/ 80 w 160"/>
              <a:gd name="T27" fmla="*/ 0 h 160"/>
              <a:gd name="T28" fmla="*/ 43 w 160"/>
              <a:gd name="T29" fmla="*/ 15 h 160"/>
              <a:gd name="T30" fmla="*/ 39 w 160"/>
              <a:gd name="T31" fmla="*/ 87 h 160"/>
              <a:gd name="T32" fmla="*/ 80 w 160"/>
              <a:gd name="T33" fmla="*/ 146 h 160"/>
              <a:gd name="T34" fmla="*/ 47 w 160"/>
              <a:gd name="T35" fmla="*/ 19 h 160"/>
              <a:gd name="T36" fmla="*/ 80 w 160"/>
              <a:gd name="T37" fmla="*/ 5 h 160"/>
              <a:gd name="T38" fmla="*/ 112 w 160"/>
              <a:gd name="T39" fmla="*/ 19 h 160"/>
              <a:gd name="T40" fmla="*/ 116 w 160"/>
              <a:gd name="T41" fmla="*/ 84 h 160"/>
              <a:gd name="T42" fmla="*/ 80 w 160"/>
              <a:gd name="T43" fmla="*/ 137 h 160"/>
              <a:gd name="T44" fmla="*/ 43 w 160"/>
              <a:gd name="T45" fmla="*/ 84 h 160"/>
              <a:gd name="T46" fmla="*/ 47 w 160"/>
              <a:gd name="T47" fmla="*/ 19 h 160"/>
              <a:gd name="T48" fmla="*/ 160 w 160"/>
              <a:gd name="T49" fmla="*/ 137 h 160"/>
              <a:gd name="T50" fmla="*/ 80 w 160"/>
              <a:gd name="T51" fmla="*/ 160 h 160"/>
              <a:gd name="T52" fmla="*/ 0 w 160"/>
              <a:gd name="T53" fmla="*/ 137 h 160"/>
              <a:gd name="T54" fmla="*/ 48 w 160"/>
              <a:gd name="T55" fmla="*/ 115 h 160"/>
              <a:gd name="T56" fmla="*/ 51 w 160"/>
              <a:gd name="T57" fmla="*/ 117 h 160"/>
              <a:gd name="T58" fmla="*/ 48 w 160"/>
              <a:gd name="T59" fmla="*/ 120 h 160"/>
              <a:gd name="T60" fmla="*/ 5 w 160"/>
              <a:gd name="T61" fmla="*/ 137 h 160"/>
              <a:gd name="T62" fmla="*/ 80 w 160"/>
              <a:gd name="T63" fmla="*/ 155 h 160"/>
              <a:gd name="T64" fmla="*/ 155 w 160"/>
              <a:gd name="T65" fmla="*/ 137 h 160"/>
              <a:gd name="T66" fmla="*/ 112 w 160"/>
              <a:gd name="T67" fmla="*/ 120 h 160"/>
              <a:gd name="T68" fmla="*/ 109 w 160"/>
              <a:gd name="T69" fmla="*/ 117 h 160"/>
              <a:gd name="T70" fmla="*/ 112 w 160"/>
              <a:gd name="T71" fmla="*/ 115 h 160"/>
              <a:gd name="T72" fmla="*/ 160 w 160"/>
              <a:gd name="T73" fmla="*/ 1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60">
                <a:moveTo>
                  <a:pt x="80" y="69"/>
                </a:moveTo>
                <a:cubicBezTo>
                  <a:pt x="90" y="69"/>
                  <a:pt x="99" y="61"/>
                  <a:pt x="99" y="51"/>
                </a:cubicBezTo>
                <a:cubicBezTo>
                  <a:pt x="99" y="40"/>
                  <a:pt x="90" y="32"/>
                  <a:pt x="80" y="32"/>
                </a:cubicBezTo>
                <a:cubicBezTo>
                  <a:pt x="70" y="32"/>
                  <a:pt x="61" y="40"/>
                  <a:pt x="61" y="51"/>
                </a:cubicBezTo>
                <a:cubicBezTo>
                  <a:pt x="61" y="61"/>
                  <a:pt x="70" y="69"/>
                  <a:pt x="80" y="69"/>
                </a:cubicBezTo>
                <a:close/>
                <a:moveTo>
                  <a:pt x="80" y="37"/>
                </a:moveTo>
                <a:cubicBezTo>
                  <a:pt x="87" y="37"/>
                  <a:pt x="93" y="43"/>
                  <a:pt x="93" y="51"/>
                </a:cubicBezTo>
                <a:cubicBezTo>
                  <a:pt x="93" y="58"/>
                  <a:pt x="87" y="64"/>
                  <a:pt x="80" y="64"/>
                </a:cubicBezTo>
                <a:cubicBezTo>
                  <a:pt x="73" y="64"/>
                  <a:pt x="67" y="58"/>
                  <a:pt x="67" y="51"/>
                </a:cubicBezTo>
                <a:cubicBezTo>
                  <a:pt x="67" y="43"/>
                  <a:pt x="73" y="37"/>
                  <a:pt x="80" y="37"/>
                </a:cubicBezTo>
                <a:close/>
                <a:moveTo>
                  <a:pt x="80" y="146"/>
                </a:moveTo>
                <a:cubicBezTo>
                  <a:pt x="120" y="87"/>
                  <a:pt x="120" y="87"/>
                  <a:pt x="120" y="87"/>
                </a:cubicBezTo>
                <a:cubicBezTo>
                  <a:pt x="136" y="66"/>
                  <a:pt x="134" y="33"/>
                  <a:pt x="116" y="15"/>
                </a:cubicBezTo>
                <a:cubicBezTo>
                  <a:pt x="106" y="5"/>
                  <a:pt x="93" y="0"/>
                  <a:pt x="80" y="0"/>
                </a:cubicBezTo>
                <a:cubicBezTo>
                  <a:pt x="66" y="0"/>
                  <a:pt x="53" y="5"/>
                  <a:pt x="43" y="15"/>
                </a:cubicBezTo>
                <a:cubicBezTo>
                  <a:pt x="25" y="33"/>
                  <a:pt x="23" y="66"/>
                  <a:pt x="39" y="87"/>
                </a:cubicBezTo>
                <a:lnTo>
                  <a:pt x="80" y="146"/>
                </a:lnTo>
                <a:close/>
                <a:moveTo>
                  <a:pt x="47" y="19"/>
                </a:moveTo>
                <a:cubicBezTo>
                  <a:pt x="56" y="10"/>
                  <a:pt x="67" y="5"/>
                  <a:pt x="80" y="5"/>
                </a:cubicBezTo>
                <a:cubicBezTo>
                  <a:pt x="92" y="5"/>
                  <a:pt x="103" y="10"/>
                  <a:pt x="112" y="19"/>
                </a:cubicBezTo>
                <a:cubicBezTo>
                  <a:pt x="128" y="35"/>
                  <a:pt x="130" y="65"/>
                  <a:pt x="116" y="84"/>
                </a:cubicBezTo>
                <a:cubicBezTo>
                  <a:pt x="80" y="137"/>
                  <a:pt x="80" y="137"/>
                  <a:pt x="80" y="137"/>
                </a:cubicBezTo>
                <a:cubicBezTo>
                  <a:pt x="43" y="84"/>
                  <a:pt x="43" y="84"/>
                  <a:pt x="43" y="84"/>
                </a:cubicBezTo>
                <a:cubicBezTo>
                  <a:pt x="29" y="65"/>
                  <a:pt x="31" y="35"/>
                  <a:pt x="47" y="19"/>
                </a:cubicBezTo>
                <a:close/>
                <a:moveTo>
                  <a:pt x="160" y="137"/>
                </a:moveTo>
                <a:cubicBezTo>
                  <a:pt x="160" y="149"/>
                  <a:pt x="133" y="160"/>
                  <a:pt x="80" y="160"/>
                </a:cubicBezTo>
                <a:cubicBezTo>
                  <a:pt x="27" y="160"/>
                  <a:pt x="0" y="149"/>
                  <a:pt x="0" y="137"/>
                </a:cubicBezTo>
                <a:cubicBezTo>
                  <a:pt x="0" y="127"/>
                  <a:pt x="20" y="118"/>
                  <a:pt x="48" y="115"/>
                </a:cubicBezTo>
                <a:cubicBezTo>
                  <a:pt x="49" y="115"/>
                  <a:pt x="50" y="116"/>
                  <a:pt x="51" y="117"/>
                </a:cubicBezTo>
                <a:cubicBezTo>
                  <a:pt x="51" y="118"/>
                  <a:pt x="50" y="120"/>
                  <a:pt x="48" y="120"/>
                </a:cubicBezTo>
                <a:cubicBezTo>
                  <a:pt x="20" y="123"/>
                  <a:pt x="5" y="132"/>
                  <a:pt x="5" y="137"/>
                </a:cubicBezTo>
                <a:cubicBezTo>
                  <a:pt x="5" y="145"/>
                  <a:pt x="34" y="155"/>
                  <a:pt x="80" y="155"/>
                </a:cubicBezTo>
                <a:cubicBezTo>
                  <a:pt x="126" y="155"/>
                  <a:pt x="155" y="145"/>
                  <a:pt x="155" y="137"/>
                </a:cubicBezTo>
                <a:cubicBezTo>
                  <a:pt x="155" y="132"/>
                  <a:pt x="140" y="123"/>
                  <a:pt x="112" y="120"/>
                </a:cubicBezTo>
                <a:cubicBezTo>
                  <a:pt x="110" y="120"/>
                  <a:pt x="109" y="118"/>
                  <a:pt x="109" y="117"/>
                </a:cubicBezTo>
                <a:cubicBezTo>
                  <a:pt x="110" y="116"/>
                  <a:pt x="111" y="115"/>
                  <a:pt x="112" y="115"/>
                </a:cubicBezTo>
                <a:cubicBezTo>
                  <a:pt x="140" y="118"/>
                  <a:pt x="160" y="127"/>
                  <a:pt x="160" y="1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27" name="Freeform 1329">
            <a:extLst>
              <a:ext uri="{FF2B5EF4-FFF2-40B4-BE49-F238E27FC236}">
                <a16:creationId xmlns:a16="http://schemas.microsoft.com/office/drawing/2014/main" id="{8FFD2E90-A84C-4843-8555-9D65CC416692}"/>
              </a:ext>
            </a:extLst>
          </p:cNvPr>
          <p:cNvSpPr>
            <a:spLocks noEditPoints="1"/>
          </p:cNvSpPr>
          <p:nvPr/>
        </p:nvSpPr>
        <p:spPr bwMode="auto">
          <a:xfrm>
            <a:off x="4365200" y="2841625"/>
            <a:ext cx="446088" cy="550863"/>
          </a:xfrm>
          <a:custGeom>
            <a:avLst/>
            <a:gdLst>
              <a:gd name="T0" fmla="*/ 43 w 131"/>
              <a:gd name="T1" fmla="*/ 34 h 160"/>
              <a:gd name="T2" fmla="*/ 17 w 131"/>
              <a:gd name="T3" fmla="*/ 60 h 160"/>
              <a:gd name="T4" fmla="*/ 43 w 131"/>
              <a:gd name="T5" fmla="*/ 86 h 160"/>
              <a:gd name="T6" fmla="*/ 70 w 131"/>
              <a:gd name="T7" fmla="*/ 60 h 160"/>
              <a:gd name="T8" fmla="*/ 43 w 131"/>
              <a:gd name="T9" fmla="*/ 34 h 160"/>
              <a:gd name="T10" fmla="*/ 43 w 131"/>
              <a:gd name="T11" fmla="*/ 81 h 160"/>
              <a:gd name="T12" fmla="*/ 23 w 131"/>
              <a:gd name="T13" fmla="*/ 60 h 160"/>
              <a:gd name="T14" fmla="*/ 43 w 131"/>
              <a:gd name="T15" fmla="*/ 39 h 160"/>
              <a:gd name="T16" fmla="*/ 64 w 131"/>
              <a:gd name="T17" fmla="*/ 60 h 160"/>
              <a:gd name="T18" fmla="*/ 43 w 131"/>
              <a:gd name="T19" fmla="*/ 81 h 160"/>
              <a:gd name="T20" fmla="*/ 130 w 131"/>
              <a:gd name="T21" fmla="*/ 36 h 160"/>
              <a:gd name="T22" fmla="*/ 87 w 131"/>
              <a:gd name="T23" fmla="*/ 0 h 160"/>
              <a:gd name="T24" fmla="*/ 48 w 131"/>
              <a:gd name="T25" fmla="*/ 20 h 160"/>
              <a:gd name="T26" fmla="*/ 43 w 131"/>
              <a:gd name="T27" fmla="*/ 19 h 160"/>
              <a:gd name="T28" fmla="*/ 1 w 131"/>
              <a:gd name="T29" fmla="*/ 56 h 160"/>
              <a:gd name="T30" fmla="*/ 2 w 131"/>
              <a:gd name="T31" fmla="*/ 81 h 160"/>
              <a:gd name="T32" fmla="*/ 40 w 131"/>
              <a:gd name="T33" fmla="*/ 159 h 160"/>
              <a:gd name="T34" fmla="*/ 43 w 131"/>
              <a:gd name="T35" fmla="*/ 160 h 160"/>
              <a:gd name="T36" fmla="*/ 47 w 131"/>
              <a:gd name="T37" fmla="*/ 159 h 160"/>
              <a:gd name="T38" fmla="*/ 71 w 131"/>
              <a:gd name="T39" fmla="*/ 122 h 160"/>
              <a:gd name="T40" fmla="*/ 84 w 131"/>
              <a:gd name="T41" fmla="*/ 139 h 160"/>
              <a:gd name="T42" fmla="*/ 87 w 131"/>
              <a:gd name="T43" fmla="*/ 141 h 160"/>
              <a:gd name="T44" fmla="*/ 91 w 131"/>
              <a:gd name="T45" fmla="*/ 139 h 160"/>
              <a:gd name="T46" fmla="*/ 129 w 131"/>
              <a:gd name="T47" fmla="*/ 62 h 160"/>
              <a:gd name="T48" fmla="*/ 130 w 131"/>
              <a:gd name="T49" fmla="*/ 36 h 160"/>
              <a:gd name="T50" fmla="*/ 43 w 131"/>
              <a:gd name="T51" fmla="*/ 154 h 160"/>
              <a:gd name="T52" fmla="*/ 7 w 131"/>
              <a:gd name="T53" fmla="*/ 80 h 160"/>
              <a:gd name="T54" fmla="*/ 6 w 131"/>
              <a:gd name="T55" fmla="*/ 57 h 160"/>
              <a:gd name="T56" fmla="*/ 43 w 131"/>
              <a:gd name="T57" fmla="*/ 25 h 160"/>
              <a:gd name="T58" fmla="*/ 66 w 131"/>
              <a:gd name="T59" fmla="*/ 31 h 160"/>
              <a:gd name="T60" fmla="*/ 81 w 131"/>
              <a:gd name="T61" fmla="*/ 57 h 160"/>
              <a:gd name="T62" fmla="*/ 81 w 131"/>
              <a:gd name="T63" fmla="*/ 60 h 160"/>
              <a:gd name="T64" fmla="*/ 81 w 131"/>
              <a:gd name="T65" fmla="*/ 60 h 160"/>
              <a:gd name="T66" fmla="*/ 81 w 131"/>
              <a:gd name="T67" fmla="*/ 63 h 160"/>
              <a:gd name="T68" fmla="*/ 79 w 131"/>
              <a:gd name="T69" fmla="*/ 80 h 160"/>
              <a:gd name="T70" fmla="*/ 43 w 131"/>
              <a:gd name="T71" fmla="*/ 154 h 160"/>
              <a:gd name="T72" fmla="*/ 71 w 131"/>
              <a:gd name="T73" fmla="*/ 27 h 160"/>
              <a:gd name="T74" fmla="*/ 88 w 131"/>
              <a:gd name="T75" fmla="*/ 19 h 160"/>
              <a:gd name="T76" fmla="*/ 109 w 131"/>
              <a:gd name="T77" fmla="*/ 40 h 160"/>
              <a:gd name="T78" fmla="*/ 88 w 131"/>
              <a:gd name="T79" fmla="*/ 61 h 160"/>
              <a:gd name="T80" fmla="*/ 87 w 131"/>
              <a:gd name="T81" fmla="*/ 61 h 160"/>
              <a:gd name="T82" fmla="*/ 86 w 131"/>
              <a:gd name="T83" fmla="*/ 56 h 160"/>
              <a:gd name="T84" fmla="*/ 71 w 131"/>
              <a:gd name="T85" fmla="*/ 27 h 160"/>
              <a:gd name="T86" fmla="*/ 124 w 131"/>
              <a:gd name="T87" fmla="*/ 61 h 160"/>
              <a:gd name="T88" fmla="*/ 87 w 131"/>
              <a:gd name="T89" fmla="*/ 134 h 160"/>
              <a:gd name="T90" fmla="*/ 74 w 131"/>
              <a:gd name="T91" fmla="*/ 116 h 160"/>
              <a:gd name="T92" fmla="*/ 85 w 131"/>
              <a:gd name="T93" fmla="*/ 81 h 160"/>
              <a:gd name="T94" fmla="*/ 87 w 131"/>
              <a:gd name="T95" fmla="*/ 66 h 160"/>
              <a:gd name="T96" fmla="*/ 88 w 131"/>
              <a:gd name="T97" fmla="*/ 66 h 160"/>
              <a:gd name="T98" fmla="*/ 114 w 131"/>
              <a:gd name="T99" fmla="*/ 40 h 160"/>
              <a:gd name="T100" fmla="*/ 88 w 131"/>
              <a:gd name="T101" fmla="*/ 14 h 160"/>
              <a:gd name="T102" fmla="*/ 66 w 131"/>
              <a:gd name="T103" fmla="*/ 24 h 160"/>
              <a:gd name="T104" fmla="*/ 54 w 131"/>
              <a:gd name="T105" fmla="*/ 20 h 160"/>
              <a:gd name="T106" fmla="*/ 87 w 131"/>
              <a:gd name="T107" fmla="*/ 6 h 160"/>
              <a:gd name="T108" fmla="*/ 125 w 131"/>
              <a:gd name="T109" fmla="*/ 37 h 160"/>
              <a:gd name="T110" fmla="*/ 124 w 131"/>
              <a:gd name="T111" fmla="*/ 6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 h="160">
                <a:moveTo>
                  <a:pt x="43" y="34"/>
                </a:moveTo>
                <a:cubicBezTo>
                  <a:pt x="29" y="34"/>
                  <a:pt x="17" y="46"/>
                  <a:pt x="17" y="60"/>
                </a:cubicBezTo>
                <a:cubicBezTo>
                  <a:pt x="17" y="74"/>
                  <a:pt x="29" y="86"/>
                  <a:pt x="43" y="86"/>
                </a:cubicBezTo>
                <a:cubicBezTo>
                  <a:pt x="58" y="86"/>
                  <a:pt x="70" y="74"/>
                  <a:pt x="70" y="60"/>
                </a:cubicBezTo>
                <a:cubicBezTo>
                  <a:pt x="70" y="46"/>
                  <a:pt x="58" y="34"/>
                  <a:pt x="43" y="34"/>
                </a:cubicBezTo>
                <a:close/>
                <a:moveTo>
                  <a:pt x="43" y="81"/>
                </a:moveTo>
                <a:cubicBezTo>
                  <a:pt x="32" y="81"/>
                  <a:pt x="23" y="71"/>
                  <a:pt x="23" y="60"/>
                </a:cubicBezTo>
                <a:cubicBezTo>
                  <a:pt x="23" y="49"/>
                  <a:pt x="32" y="39"/>
                  <a:pt x="43" y="39"/>
                </a:cubicBezTo>
                <a:cubicBezTo>
                  <a:pt x="55" y="39"/>
                  <a:pt x="64" y="49"/>
                  <a:pt x="64" y="60"/>
                </a:cubicBezTo>
                <a:cubicBezTo>
                  <a:pt x="64" y="71"/>
                  <a:pt x="55" y="81"/>
                  <a:pt x="43" y="81"/>
                </a:cubicBezTo>
                <a:close/>
                <a:moveTo>
                  <a:pt x="130" y="36"/>
                </a:moveTo>
                <a:cubicBezTo>
                  <a:pt x="127" y="13"/>
                  <a:pt x="112" y="0"/>
                  <a:pt x="87" y="0"/>
                </a:cubicBezTo>
                <a:cubicBezTo>
                  <a:pt x="63" y="0"/>
                  <a:pt x="53" y="10"/>
                  <a:pt x="48" y="20"/>
                </a:cubicBezTo>
                <a:cubicBezTo>
                  <a:pt x="47" y="20"/>
                  <a:pt x="45" y="19"/>
                  <a:pt x="43" y="19"/>
                </a:cubicBezTo>
                <a:cubicBezTo>
                  <a:pt x="18" y="19"/>
                  <a:pt x="4" y="32"/>
                  <a:pt x="1" y="56"/>
                </a:cubicBezTo>
                <a:cubicBezTo>
                  <a:pt x="0" y="64"/>
                  <a:pt x="0" y="72"/>
                  <a:pt x="2" y="81"/>
                </a:cubicBezTo>
                <a:cubicBezTo>
                  <a:pt x="11" y="125"/>
                  <a:pt x="34" y="152"/>
                  <a:pt x="40" y="159"/>
                </a:cubicBezTo>
                <a:cubicBezTo>
                  <a:pt x="41" y="159"/>
                  <a:pt x="42" y="160"/>
                  <a:pt x="43" y="160"/>
                </a:cubicBezTo>
                <a:cubicBezTo>
                  <a:pt x="45" y="160"/>
                  <a:pt x="46" y="159"/>
                  <a:pt x="47" y="159"/>
                </a:cubicBezTo>
                <a:cubicBezTo>
                  <a:pt x="51" y="154"/>
                  <a:pt x="61" y="142"/>
                  <a:pt x="71" y="122"/>
                </a:cubicBezTo>
                <a:cubicBezTo>
                  <a:pt x="77" y="131"/>
                  <a:pt x="82" y="137"/>
                  <a:pt x="84" y="139"/>
                </a:cubicBezTo>
                <a:cubicBezTo>
                  <a:pt x="85" y="140"/>
                  <a:pt x="86" y="141"/>
                  <a:pt x="87" y="141"/>
                </a:cubicBezTo>
                <a:cubicBezTo>
                  <a:pt x="89" y="141"/>
                  <a:pt x="90" y="140"/>
                  <a:pt x="91" y="139"/>
                </a:cubicBezTo>
                <a:cubicBezTo>
                  <a:pt x="97" y="132"/>
                  <a:pt x="120" y="106"/>
                  <a:pt x="129" y="62"/>
                </a:cubicBezTo>
                <a:cubicBezTo>
                  <a:pt x="131" y="53"/>
                  <a:pt x="131" y="44"/>
                  <a:pt x="130" y="36"/>
                </a:cubicBezTo>
                <a:close/>
                <a:moveTo>
                  <a:pt x="43" y="154"/>
                </a:moveTo>
                <a:cubicBezTo>
                  <a:pt x="37" y="147"/>
                  <a:pt x="16" y="121"/>
                  <a:pt x="7" y="80"/>
                </a:cubicBezTo>
                <a:cubicBezTo>
                  <a:pt x="6" y="72"/>
                  <a:pt x="5" y="64"/>
                  <a:pt x="6" y="57"/>
                </a:cubicBezTo>
                <a:cubicBezTo>
                  <a:pt x="9" y="36"/>
                  <a:pt x="21" y="25"/>
                  <a:pt x="43" y="25"/>
                </a:cubicBezTo>
                <a:cubicBezTo>
                  <a:pt x="53" y="25"/>
                  <a:pt x="60" y="27"/>
                  <a:pt x="66" y="31"/>
                </a:cubicBezTo>
                <a:cubicBezTo>
                  <a:pt x="77" y="38"/>
                  <a:pt x="80" y="50"/>
                  <a:pt x="81" y="57"/>
                </a:cubicBezTo>
                <a:cubicBezTo>
                  <a:pt x="81" y="58"/>
                  <a:pt x="81" y="59"/>
                  <a:pt x="81" y="60"/>
                </a:cubicBezTo>
                <a:cubicBezTo>
                  <a:pt x="81" y="60"/>
                  <a:pt x="81" y="60"/>
                  <a:pt x="81" y="60"/>
                </a:cubicBezTo>
                <a:cubicBezTo>
                  <a:pt x="81" y="61"/>
                  <a:pt x="81" y="62"/>
                  <a:pt x="81" y="63"/>
                </a:cubicBezTo>
                <a:cubicBezTo>
                  <a:pt x="81" y="69"/>
                  <a:pt x="81" y="74"/>
                  <a:pt x="79" y="80"/>
                </a:cubicBezTo>
                <a:cubicBezTo>
                  <a:pt x="71" y="121"/>
                  <a:pt x="49" y="147"/>
                  <a:pt x="43" y="154"/>
                </a:cubicBezTo>
                <a:close/>
                <a:moveTo>
                  <a:pt x="71" y="27"/>
                </a:moveTo>
                <a:cubicBezTo>
                  <a:pt x="74" y="22"/>
                  <a:pt x="81" y="19"/>
                  <a:pt x="88" y="19"/>
                </a:cubicBezTo>
                <a:cubicBezTo>
                  <a:pt x="99" y="19"/>
                  <a:pt x="109" y="29"/>
                  <a:pt x="109" y="40"/>
                </a:cubicBezTo>
                <a:cubicBezTo>
                  <a:pt x="109" y="52"/>
                  <a:pt x="99" y="61"/>
                  <a:pt x="88" y="61"/>
                </a:cubicBezTo>
                <a:cubicBezTo>
                  <a:pt x="87" y="61"/>
                  <a:pt x="87" y="61"/>
                  <a:pt x="87" y="61"/>
                </a:cubicBezTo>
                <a:cubicBezTo>
                  <a:pt x="86" y="59"/>
                  <a:pt x="86" y="57"/>
                  <a:pt x="86" y="56"/>
                </a:cubicBezTo>
                <a:cubicBezTo>
                  <a:pt x="84" y="43"/>
                  <a:pt x="79" y="33"/>
                  <a:pt x="71" y="27"/>
                </a:cubicBezTo>
                <a:close/>
                <a:moveTo>
                  <a:pt x="124" y="61"/>
                </a:moveTo>
                <a:cubicBezTo>
                  <a:pt x="115" y="102"/>
                  <a:pt x="94" y="128"/>
                  <a:pt x="87" y="134"/>
                </a:cubicBezTo>
                <a:cubicBezTo>
                  <a:pt x="85" y="132"/>
                  <a:pt x="80" y="125"/>
                  <a:pt x="74" y="116"/>
                </a:cubicBezTo>
                <a:cubicBezTo>
                  <a:pt x="78" y="106"/>
                  <a:pt x="82" y="94"/>
                  <a:pt x="85" y="81"/>
                </a:cubicBezTo>
                <a:cubicBezTo>
                  <a:pt x="86" y="76"/>
                  <a:pt x="86" y="71"/>
                  <a:pt x="87" y="66"/>
                </a:cubicBezTo>
                <a:cubicBezTo>
                  <a:pt x="87" y="66"/>
                  <a:pt x="87" y="66"/>
                  <a:pt x="88" y="66"/>
                </a:cubicBezTo>
                <a:cubicBezTo>
                  <a:pt x="102" y="66"/>
                  <a:pt x="114" y="55"/>
                  <a:pt x="114" y="40"/>
                </a:cubicBezTo>
                <a:cubicBezTo>
                  <a:pt x="114" y="26"/>
                  <a:pt x="102" y="14"/>
                  <a:pt x="88" y="14"/>
                </a:cubicBezTo>
                <a:cubicBezTo>
                  <a:pt x="79" y="14"/>
                  <a:pt x="71" y="18"/>
                  <a:pt x="66" y="24"/>
                </a:cubicBezTo>
                <a:cubicBezTo>
                  <a:pt x="62" y="22"/>
                  <a:pt x="59" y="21"/>
                  <a:pt x="54" y="20"/>
                </a:cubicBezTo>
                <a:cubicBezTo>
                  <a:pt x="60" y="11"/>
                  <a:pt x="71" y="6"/>
                  <a:pt x="87" y="6"/>
                </a:cubicBezTo>
                <a:cubicBezTo>
                  <a:pt x="109" y="6"/>
                  <a:pt x="122" y="16"/>
                  <a:pt x="125" y="37"/>
                </a:cubicBezTo>
                <a:cubicBezTo>
                  <a:pt x="126" y="44"/>
                  <a:pt x="125" y="52"/>
                  <a:pt x="124" y="6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28" name="Freeform 1330">
            <a:extLst>
              <a:ext uri="{FF2B5EF4-FFF2-40B4-BE49-F238E27FC236}">
                <a16:creationId xmlns:a16="http://schemas.microsoft.com/office/drawing/2014/main" id="{EB62E1EF-A513-2440-810A-49A10F9D099B}"/>
              </a:ext>
            </a:extLst>
          </p:cNvPr>
          <p:cNvSpPr>
            <a:spLocks noEditPoints="1"/>
          </p:cNvSpPr>
          <p:nvPr/>
        </p:nvSpPr>
        <p:spPr bwMode="auto">
          <a:xfrm>
            <a:off x="4309637" y="3462338"/>
            <a:ext cx="546100" cy="549275"/>
          </a:xfrm>
          <a:custGeom>
            <a:avLst/>
            <a:gdLst>
              <a:gd name="T0" fmla="*/ 122 w 160"/>
              <a:gd name="T1" fmla="*/ 78 h 160"/>
              <a:gd name="T2" fmla="*/ 63 w 160"/>
              <a:gd name="T3" fmla="*/ 38 h 160"/>
              <a:gd name="T4" fmla="*/ 60 w 160"/>
              <a:gd name="T5" fmla="*/ 38 h 160"/>
              <a:gd name="T6" fmla="*/ 59 w 160"/>
              <a:gd name="T7" fmla="*/ 40 h 160"/>
              <a:gd name="T8" fmla="*/ 59 w 160"/>
              <a:gd name="T9" fmla="*/ 120 h 160"/>
              <a:gd name="T10" fmla="*/ 60 w 160"/>
              <a:gd name="T11" fmla="*/ 122 h 160"/>
              <a:gd name="T12" fmla="*/ 61 w 160"/>
              <a:gd name="T13" fmla="*/ 123 h 160"/>
              <a:gd name="T14" fmla="*/ 63 w 160"/>
              <a:gd name="T15" fmla="*/ 122 h 160"/>
              <a:gd name="T16" fmla="*/ 122 w 160"/>
              <a:gd name="T17" fmla="*/ 82 h 160"/>
              <a:gd name="T18" fmla="*/ 123 w 160"/>
              <a:gd name="T19" fmla="*/ 80 h 160"/>
              <a:gd name="T20" fmla="*/ 122 w 160"/>
              <a:gd name="T21" fmla="*/ 78 h 160"/>
              <a:gd name="T22" fmla="*/ 64 w 160"/>
              <a:gd name="T23" fmla="*/ 115 h 160"/>
              <a:gd name="T24" fmla="*/ 64 w 160"/>
              <a:gd name="T25" fmla="*/ 45 h 160"/>
              <a:gd name="T26" fmla="*/ 115 w 160"/>
              <a:gd name="T27" fmla="*/ 80 h 160"/>
              <a:gd name="T28" fmla="*/ 64 w 160"/>
              <a:gd name="T29" fmla="*/ 115 h 160"/>
              <a:gd name="T30" fmla="*/ 80 w 160"/>
              <a:gd name="T31" fmla="*/ 0 h 160"/>
              <a:gd name="T32" fmla="*/ 0 w 160"/>
              <a:gd name="T33" fmla="*/ 80 h 160"/>
              <a:gd name="T34" fmla="*/ 80 w 160"/>
              <a:gd name="T35" fmla="*/ 160 h 160"/>
              <a:gd name="T36" fmla="*/ 160 w 160"/>
              <a:gd name="T37" fmla="*/ 80 h 160"/>
              <a:gd name="T38" fmla="*/ 80 w 160"/>
              <a:gd name="T39" fmla="*/ 0 h 160"/>
              <a:gd name="T40" fmla="*/ 80 w 160"/>
              <a:gd name="T41" fmla="*/ 155 h 160"/>
              <a:gd name="T42" fmla="*/ 5 w 160"/>
              <a:gd name="T43" fmla="*/ 80 h 160"/>
              <a:gd name="T44" fmla="*/ 80 w 160"/>
              <a:gd name="T45" fmla="*/ 5 h 160"/>
              <a:gd name="T46" fmla="*/ 155 w 160"/>
              <a:gd name="T47" fmla="*/ 80 h 160"/>
              <a:gd name="T48" fmla="*/ 80 w 160"/>
              <a:gd name="T4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 h="160">
                <a:moveTo>
                  <a:pt x="122" y="78"/>
                </a:moveTo>
                <a:cubicBezTo>
                  <a:pt x="63" y="38"/>
                  <a:pt x="63" y="38"/>
                  <a:pt x="63" y="38"/>
                </a:cubicBezTo>
                <a:cubicBezTo>
                  <a:pt x="62" y="37"/>
                  <a:pt x="61" y="37"/>
                  <a:pt x="60" y="38"/>
                </a:cubicBezTo>
                <a:cubicBezTo>
                  <a:pt x="59" y="38"/>
                  <a:pt x="59" y="39"/>
                  <a:pt x="59" y="40"/>
                </a:cubicBezTo>
                <a:cubicBezTo>
                  <a:pt x="59" y="120"/>
                  <a:pt x="59" y="120"/>
                  <a:pt x="59" y="120"/>
                </a:cubicBezTo>
                <a:cubicBezTo>
                  <a:pt x="59" y="121"/>
                  <a:pt x="59" y="122"/>
                  <a:pt x="60" y="122"/>
                </a:cubicBezTo>
                <a:cubicBezTo>
                  <a:pt x="60" y="123"/>
                  <a:pt x="61" y="123"/>
                  <a:pt x="61" y="123"/>
                </a:cubicBezTo>
                <a:cubicBezTo>
                  <a:pt x="62" y="123"/>
                  <a:pt x="62" y="123"/>
                  <a:pt x="63" y="122"/>
                </a:cubicBezTo>
                <a:cubicBezTo>
                  <a:pt x="122" y="82"/>
                  <a:pt x="122" y="82"/>
                  <a:pt x="122" y="82"/>
                </a:cubicBezTo>
                <a:cubicBezTo>
                  <a:pt x="122" y="82"/>
                  <a:pt x="123" y="81"/>
                  <a:pt x="123" y="80"/>
                </a:cubicBezTo>
                <a:cubicBezTo>
                  <a:pt x="123" y="79"/>
                  <a:pt x="122" y="78"/>
                  <a:pt x="122" y="78"/>
                </a:cubicBezTo>
                <a:close/>
                <a:moveTo>
                  <a:pt x="64" y="115"/>
                </a:moveTo>
                <a:cubicBezTo>
                  <a:pt x="64" y="45"/>
                  <a:pt x="64" y="45"/>
                  <a:pt x="64" y="45"/>
                </a:cubicBezTo>
                <a:cubicBezTo>
                  <a:pt x="115" y="80"/>
                  <a:pt x="115" y="80"/>
                  <a:pt x="115" y="80"/>
                </a:cubicBezTo>
                <a:lnTo>
                  <a:pt x="64" y="115"/>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29" name="Freeform 1331">
            <a:extLst>
              <a:ext uri="{FF2B5EF4-FFF2-40B4-BE49-F238E27FC236}">
                <a16:creationId xmlns:a16="http://schemas.microsoft.com/office/drawing/2014/main" id="{1B6AB58D-881A-A243-A7D2-A23B4DA04A80}"/>
              </a:ext>
            </a:extLst>
          </p:cNvPr>
          <p:cNvSpPr>
            <a:spLocks noEditPoints="1"/>
          </p:cNvSpPr>
          <p:nvPr/>
        </p:nvSpPr>
        <p:spPr bwMode="auto">
          <a:xfrm>
            <a:off x="4377900" y="4067175"/>
            <a:ext cx="403225" cy="550863"/>
          </a:xfrm>
          <a:custGeom>
            <a:avLst/>
            <a:gdLst>
              <a:gd name="T0" fmla="*/ 116 w 118"/>
              <a:gd name="T1" fmla="*/ 77 h 160"/>
              <a:gd name="T2" fmla="*/ 6 w 118"/>
              <a:gd name="T3" fmla="*/ 1 h 160"/>
              <a:gd name="T4" fmla="*/ 2 w 118"/>
              <a:gd name="T5" fmla="*/ 0 h 160"/>
              <a:gd name="T6" fmla="*/ 0 w 118"/>
              <a:gd name="T7" fmla="*/ 4 h 160"/>
              <a:gd name="T8" fmla="*/ 0 w 118"/>
              <a:gd name="T9" fmla="*/ 156 h 160"/>
              <a:gd name="T10" fmla="*/ 2 w 118"/>
              <a:gd name="T11" fmla="*/ 160 h 160"/>
              <a:gd name="T12" fmla="*/ 4 w 118"/>
              <a:gd name="T13" fmla="*/ 160 h 160"/>
              <a:gd name="T14" fmla="*/ 6 w 118"/>
              <a:gd name="T15" fmla="*/ 159 h 160"/>
              <a:gd name="T16" fmla="*/ 116 w 118"/>
              <a:gd name="T17" fmla="*/ 83 h 160"/>
              <a:gd name="T18" fmla="*/ 118 w 118"/>
              <a:gd name="T19" fmla="*/ 80 h 160"/>
              <a:gd name="T20" fmla="*/ 116 w 118"/>
              <a:gd name="T21" fmla="*/ 77 h 160"/>
              <a:gd name="T22" fmla="*/ 8 w 118"/>
              <a:gd name="T23" fmla="*/ 149 h 160"/>
              <a:gd name="T24" fmla="*/ 8 w 118"/>
              <a:gd name="T25" fmla="*/ 11 h 160"/>
              <a:gd name="T26" fmla="*/ 108 w 118"/>
              <a:gd name="T27" fmla="*/ 80 h 160"/>
              <a:gd name="T28" fmla="*/ 8 w 118"/>
              <a:gd name="T29"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60">
                <a:moveTo>
                  <a:pt x="116" y="77"/>
                </a:moveTo>
                <a:cubicBezTo>
                  <a:pt x="6" y="1"/>
                  <a:pt x="6" y="1"/>
                  <a:pt x="6" y="1"/>
                </a:cubicBezTo>
                <a:cubicBezTo>
                  <a:pt x="5" y="0"/>
                  <a:pt x="3" y="0"/>
                  <a:pt x="2" y="0"/>
                </a:cubicBezTo>
                <a:cubicBezTo>
                  <a:pt x="1" y="1"/>
                  <a:pt x="0" y="2"/>
                  <a:pt x="0" y="4"/>
                </a:cubicBezTo>
                <a:cubicBezTo>
                  <a:pt x="0" y="156"/>
                  <a:pt x="0" y="156"/>
                  <a:pt x="0" y="156"/>
                </a:cubicBezTo>
                <a:cubicBezTo>
                  <a:pt x="0" y="158"/>
                  <a:pt x="1" y="159"/>
                  <a:pt x="2" y="160"/>
                </a:cubicBezTo>
                <a:cubicBezTo>
                  <a:pt x="3" y="160"/>
                  <a:pt x="3" y="160"/>
                  <a:pt x="4" y="160"/>
                </a:cubicBezTo>
                <a:cubicBezTo>
                  <a:pt x="5" y="160"/>
                  <a:pt x="5" y="160"/>
                  <a:pt x="6" y="159"/>
                </a:cubicBezTo>
                <a:cubicBezTo>
                  <a:pt x="116" y="83"/>
                  <a:pt x="116" y="83"/>
                  <a:pt x="116" y="83"/>
                </a:cubicBezTo>
                <a:cubicBezTo>
                  <a:pt x="117" y="82"/>
                  <a:pt x="118" y="81"/>
                  <a:pt x="118" y="80"/>
                </a:cubicBezTo>
                <a:cubicBezTo>
                  <a:pt x="118" y="79"/>
                  <a:pt x="117" y="78"/>
                  <a:pt x="116" y="77"/>
                </a:cubicBezTo>
                <a:close/>
                <a:moveTo>
                  <a:pt x="8" y="149"/>
                </a:moveTo>
                <a:cubicBezTo>
                  <a:pt x="8" y="11"/>
                  <a:pt x="8" y="11"/>
                  <a:pt x="8" y="11"/>
                </a:cubicBezTo>
                <a:cubicBezTo>
                  <a:pt x="108" y="80"/>
                  <a:pt x="108" y="80"/>
                  <a:pt x="108" y="80"/>
                </a:cubicBezTo>
                <a:lnTo>
                  <a:pt x="8" y="14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30" name="Freeform 1332">
            <a:extLst>
              <a:ext uri="{FF2B5EF4-FFF2-40B4-BE49-F238E27FC236}">
                <a16:creationId xmlns:a16="http://schemas.microsoft.com/office/drawing/2014/main" id="{5CB34FBE-1215-1C47-9138-D06CCBBBF446}"/>
              </a:ext>
            </a:extLst>
          </p:cNvPr>
          <p:cNvSpPr>
            <a:spLocks noEditPoints="1"/>
          </p:cNvSpPr>
          <p:nvPr/>
        </p:nvSpPr>
        <p:spPr bwMode="auto">
          <a:xfrm>
            <a:off x="4309637" y="4700588"/>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122 w 160"/>
              <a:gd name="T21" fmla="*/ 80 h 160"/>
              <a:gd name="T22" fmla="*/ 118 w 160"/>
              <a:gd name="T23" fmla="*/ 83 h 160"/>
              <a:gd name="T24" fmla="*/ 83 w 160"/>
              <a:gd name="T25" fmla="*/ 83 h 160"/>
              <a:gd name="T26" fmla="*/ 83 w 160"/>
              <a:gd name="T27" fmla="*/ 120 h 160"/>
              <a:gd name="T28" fmla="*/ 80 w 160"/>
              <a:gd name="T29" fmla="*/ 123 h 160"/>
              <a:gd name="T30" fmla="*/ 77 w 160"/>
              <a:gd name="T31" fmla="*/ 120 h 160"/>
              <a:gd name="T32" fmla="*/ 77 w 160"/>
              <a:gd name="T33" fmla="*/ 83 h 160"/>
              <a:gd name="T34" fmla="*/ 42 w 160"/>
              <a:gd name="T35" fmla="*/ 83 h 160"/>
              <a:gd name="T36" fmla="*/ 38 w 160"/>
              <a:gd name="T37" fmla="*/ 80 h 160"/>
              <a:gd name="T38" fmla="*/ 42 w 160"/>
              <a:gd name="T39" fmla="*/ 77 h 160"/>
              <a:gd name="T40" fmla="*/ 77 w 160"/>
              <a:gd name="T41" fmla="*/ 77 h 160"/>
              <a:gd name="T42" fmla="*/ 77 w 160"/>
              <a:gd name="T43" fmla="*/ 43 h 160"/>
              <a:gd name="T44" fmla="*/ 80 w 160"/>
              <a:gd name="T45" fmla="*/ 40 h 160"/>
              <a:gd name="T46" fmla="*/ 83 w 160"/>
              <a:gd name="T47" fmla="*/ 43 h 160"/>
              <a:gd name="T48" fmla="*/ 83 w 160"/>
              <a:gd name="T49" fmla="*/ 77 h 160"/>
              <a:gd name="T50" fmla="*/ 118 w 160"/>
              <a:gd name="T51" fmla="*/ 77 h 160"/>
              <a:gd name="T52" fmla="*/ 122 w 160"/>
              <a:gd name="T5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122" y="80"/>
                </a:moveTo>
                <a:cubicBezTo>
                  <a:pt x="122" y="82"/>
                  <a:pt x="120" y="83"/>
                  <a:pt x="118" y="83"/>
                </a:cubicBezTo>
                <a:cubicBezTo>
                  <a:pt x="83" y="83"/>
                  <a:pt x="83" y="83"/>
                  <a:pt x="83" y="83"/>
                </a:cubicBezTo>
                <a:cubicBezTo>
                  <a:pt x="83" y="120"/>
                  <a:pt x="83" y="120"/>
                  <a:pt x="83" y="120"/>
                </a:cubicBezTo>
                <a:cubicBezTo>
                  <a:pt x="83" y="122"/>
                  <a:pt x="82" y="123"/>
                  <a:pt x="80" y="123"/>
                </a:cubicBezTo>
                <a:cubicBezTo>
                  <a:pt x="78" y="123"/>
                  <a:pt x="77" y="122"/>
                  <a:pt x="77" y="120"/>
                </a:cubicBezTo>
                <a:cubicBezTo>
                  <a:pt x="77" y="83"/>
                  <a:pt x="77" y="83"/>
                  <a:pt x="77" y="83"/>
                </a:cubicBezTo>
                <a:cubicBezTo>
                  <a:pt x="42" y="83"/>
                  <a:pt x="42" y="83"/>
                  <a:pt x="42" y="83"/>
                </a:cubicBezTo>
                <a:cubicBezTo>
                  <a:pt x="40" y="83"/>
                  <a:pt x="38" y="82"/>
                  <a:pt x="38" y="80"/>
                </a:cubicBezTo>
                <a:cubicBezTo>
                  <a:pt x="38" y="78"/>
                  <a:pt x="40" y="77"/>
                  <a:pt x="42" y="77"/>
                </a:cubicBezTo>
                <a:cubicBezTo>
                  <a:pt x="77" y="77"/>
                  <a:pt x="77" y="77"/>
                  <a:pt x="77" y="77"/>
                </a:cubicBezTo>
                <a:cubicBezTo>
                  <a:pt x="77" y="43"/>
                  <a:pt x="77" y="43"/>
                  <a:pt x="77" y="43"/>
                </a:cubicBezTo>
                <a:cubicBezTo>
                  <a:pt x="77" y="41"/>
                  <a:pt x="78" y="40"/>
                  <a:pt x="80" y="40"/>
                </a:cubicBezTo>
                <a:cubicBezTo>
                  <a:pt x="82" y="40"/>
                  <a:pt x="83" y="41"/>
                  <a:pt x="83" y="43"/>
                </a:cubicBezTo>
                <a:cubicBezTo>
                  <a:pt x="83" y="77"/>
                  <a:pt x="83" y="77"/>
                  <a:pt x="83" y="77"/>
                </a:cubicBezTo>
                <a:cubicBezTo>
                  <a:pt x="118" y="77"/>
                  <a:pt x="118" y="77"/>
                  <a:pt x="118" y="77"/>
                </a:cubicBezTo>
                <a:cubicBezTo>
                  <a:pt x="120" y="77"/>
                  <a:pt x="122" y="78"/>
                  <a:pt x="122" y="8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31" name="Freeform 1333">
            <a:extLst>
              <a:ext uri="{FF2B5EF4-FFF2-40B4-BE49-F238E27FC236}">
                <a16:creationId xmlns:a16="http://schemas.microsoft.com/office/drawing/2014/main" id="{25B565EA-1FDE-CA41-A425-B5E5E37EE7D5}"/>
              </a:ext>
            </a:extLst>
          </p:cNvPr>
          <p:cNvSpPr>
            <a:spLocks noEditPoints="1"/>
          </p:cNvSpPr>
          <p:nvPr/>
        </p:nvSpPr>
        <p:spPr bwMode="auto">
          <a:xfrm>
            <a:off x="4323925" y="5319713"/>
            <a:ext cx="508000" cy="550863"/>
          </a:xfrm>
          <a:custGeom>
            <a:avLst/>
            <a:gdLst>
              <a:gd name="T0" fmla="*/ 149 w 149"/>
              <a:gd name="T1" fmla="*/ 86 h 160"/>
              <a:gd name="T2" fmla="*/ 74 w 149"/>
              <a:gd name="T3" fmla="*/ 160 h 160"/>
              <a:gd name="T4" fmla="*/ 0 w 149"/>
              <a:gd name="T5" fmla="*/ 86 h 160"/>
              <a:gd name="T6" fmla="*/ 53 w 149"/>
              <a:gd name="T7" fmla="*/ 14 h 160"/>
              <a:gd name="T8" fmla="*/ 57 w 149"/>
              <a:gd name="T9" fmla="*/ 16 h 160"/>
              <a:gd name="T10" fmla="*/ 55 w 149"/>
              <a:gd name="T11" fmla="*/ 20 h 160"/>
              <a:gd name="T12" fmla="*/ 6 w 149"/>
              <a:gd name="T13" fmla="*/ 86 h 160"/>
              <a:gd name="T14" fmla="*/ 74 w 149"/>
              <a:gd name="T15" fmla="*/ 154 h 160"/>
              <a:gd name="T16" fmla="*/ 143 w 149"/>
              <a:gd name="T17" fmla="*/ 86 h 160"/>
              <a:gd name="T18" fmla="*/ 94 w 149"/>
              <a:gd name="T19" fmla="*/ 20 h 160"/>
              <a:gd name="T20" fmla="*/ 92 w 149"/>
              <a:gd name="T21" fmla="*/ 16 h 160"/>
              <a:gd name="T22" fmla="*/ 95 w 149"/>
              <a:gd name="T23" fmla="*/ 14 h 160"/>
              <a:gd name="T24" fmla="*/ 149 w 149"/>
              <a:gd name="T25" fmla="*/ 86 h 160"/>
              <a:gd name="T26" fmla="*/ 74 w 149"/>
              <a:gd name="T27" fmla="*/ 77 h 160"/>
              <a:gd name="T28" fmla="*/ 77 w 149"/>
              <a:gd name="T29" fmla="*/ 74 h 160"/>
              <a:gd name="T30" fmla="*/ 77 w 149"/>
              <a:gd name="T31" fmla="*/ 3 h 160"/>
              <a:gd name="T32" fmla="*/ 74 w 149"/>
              <a:gd name="T33" fmla="*/ 0 h 160"/>
              <a:gd name="T34" fmla="*/ 71 w 149"/>
              <a:gd name="T35" fmla="*/ 3 h 160"/>
              <a:gd name="T36" fmla="*/ 71 w 149"/>
              <a:gd name="T37" fmla="*/ 74 h 160"/>
              <a:gd name="T38" fmla="*/ 74 w 149"/>
              <a:gd name="T39" fmla="*/ 7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60">
                <a:moveTo>
                  <a:pt x="149" y="86"/>
                </a:moveTo>
                <a:cubicBezTo>
                  <a:pt x="149" y="127"/>
                  <a:pt x="115" y="160"/>
                  <a:pt x="74" y="160"/>
                </a:cubicBezTo>
                <a:cubicBezTo>
                  <a:pt x="33" y="160"/>
                  <a:pt x="0" y="127"/>
                  <a:pt x="0" y="86"/>
                </a:cubicBezTo>
                <a:cubicBezTo>
                  <a:pt x="0" y="53"/>
                  <a:pt x="22" y="24"/>
                  <a:pt x="53" y="14"/>
                </a:cubicBezTo>
                <a:cubicBezTo>
                  <a:pt x="55" y="14"/>
                  <a:pt x="57" y="15"/>
                  <a:pt x="57" y="16"/>
                </a:cubicBezTo>
                <a:cubicBezTo>
                  <a:pt x="57" y="18"/>
                  <a:pt x="57" y="19"/>
                  <a:pt x="55" y="20"/>
                </a:cubicBezTo>
                <a:cubicBezTo>
                  <a:pt x="26" y="28"/>
                  <a:pt x="6" y="55"/>
                  <a:pt x="6" y="86"/>
                </a:cubicBezTo>
                <a:cubicBezTo>
                  <a:pt x="6" y="124"/>
                  <a:pt x="36" y="154"/>
                  <a:pt x="74" y="154"/>
                </a:cubicBezTo>
                <a:cubicBezTo>
                  <a:pt x="112" y="154"/>
                  <a:pt x="143" y="124"/>
                  <a:pt x="143" y="86"/>
                </a:cubicBezTo>
                <a:cubicBezTo>
                  <a:pt x="143" y="55"/>
                  <a:pt x="123" y="28"/>
                  <a:pt x="94" y="20"/>
                </a:cubicBezTo>
                <a:cubicBezTo>
                  <a:pt x="92" y="19"/>
                  <a:pt x="91" y="18"/>
                  <a:pt x="92" y="16"/>
                </a:cubicBezTo>
                <a:cubicBezTo>
                  <a:pt x="92" y="15"/>
                  <a:pt x="94" y="14"/>
                  <a:pt x="95" y="14"/>
                </a:cubicBezTo>
                <a:cubicBezTo>
                  <a:pt x="127" y="24"/>
                  <a:pt x="149" y="53"/>
                  <a:pt x="149" y="86"/>
                </a:cubicBezTo>
                <a:close/>
                <a:moveTo>
                  <a:pt x="74" y="77"/>
                </a:moveTo>
                <a:cubicBezTo>
                  <a:pt x="76" y="77"/>
                  <a:pt x="77" y="76"/>
                  <a:pt x="77" y="74"/>
                </a:cubicBezTo>
                <a:cubicBezTo>
                  <a:pt x="77" y="3"/>
                  <a:pt x="77" y="3"/>
                  <a:pt x="77" y="3"/>
                </a:cubicBezTo>
                <a:cubicBezTo>
                  <a:pt x="77" y="1"/>
                  <a:pt x="76" y="0"/>
                  <a:pt x="74" y="0"/>
                </a:cubicBezTo>
                <a:cubicBezTo>
                  <a:pt x="73" y="0"/>
                  <a:pt x="71" y="1"/>
                  <a:pt x="71" y="3"/>
                </a:cubicBezTo>
                <a:cubicBezTo>
                  <a:pt x="71" y="74"/>
                  <a:pt x="71" y="74"/>
                  <a:pt x="71" y="74"/>
                </a:cubicBezTo>
                <a:cubicBezTo>
                  <a:pt x="71" y="76"/>
                  <a:pt x="73" y="77"/>
                  <a:pt x="74" y="7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32" name="Freeform 1334">
            <a:extLst>
              <a:ext uri="{FF2B5EF4-FFF2-40B4-BE49-F238E27FC236}">
                <a16:creationId xmlns:a16="http://schemas.microsoft.com/office/drawing/2014/main" id="{E8BAE487-0D11-8B44-AAB5-B317BB8028B8}"/>
              </a:ext>
            </a:extLst>
          </p:cNvPr>
          <p:cNvSpPr>
            <a:spLocks noEditPoints="1"/>
          </p:cNvSpPr>
          <p:nvPr/>
        </p:nvSpPr>
        <p:spPr bwMode="auto">
          <a:xfrm>
            <a:off x="4309637" y="5938838"/>
            <a:ext cx="546100" cy="550863"/>
          </a:xfrm>
          <a:custGeom>
            <a:avLst/>
            <a:gdLst>
              <a:gd name="T0" fmla="*/ 121 w 160"/>
              <a:gd name="T1" fmla="*/ 38 h 160"/>
              <a:gd name="T2" fmla="*/ 118 w 160"/>
              <a:gd name="T3" fmla="*/ 38 h 160"/>
              <a:gd name="T4" fmla="*/ 60 w 160"/>
              <a:gd name="T5" fmla="*/ 78 h 160"/>
              <a:gd name="T6" fmla="*/ 59 w 160"/>
              <a:gd name="T7" fmla="*/ 80 h 160"/>
              <a:gd name="T8" fmla="*/ 60 w 160"/>
              <a:gd name="T9" fmla="*/ 82 h 160"/>
              <a:gd name="T10" fmla="*/ 119 w 160"/>
              <a:gd name="T11" fmla="*/ 122 h 160"/>
              <a:gd name="T12" fmla="*/ 120 w 160"/>
              <a:gd name="T13" fmla="*/ 123 h 160"/>
              <a:gd name="T14" fmla="*/ 121 w 160"/>
              <a:gd name="T15" fmla="*/ 122 h 160"/>
              <a:gd name="T16" fmla="*/ 123 w 160"/>
              <a:gd name="T17" fmla="*/ 120 h 160"/>
              <a:gd name="T18" fmla="*/ 123 w 160"/>
              <a:gd name="T19" fmla="*/ 40 h 160"/>
              <a:gd name="T20" fmla="*/ 121 w 160"/>
              <a:gd name="T21" fmla="*/ 38 h 160"/>
              <a:gd name="T22" fmla="*/ 117 w 160"/>
              <a:gd name="T23" fmla="*/ 115 h 160"/>
              <a:gd name="T24" fmla="*/ 66 w 160"/>
              <a:gd name="T25" fmla="*/ 80 h 160"/>
              <a:gd name="T26" fmla="*/ 117 w 160"/>
              <a:gd name="T27" fmla="*/ 45 h 160"/>
              <a:gd name="T28" fmla="*/ 117 w 160"/>
              <a:gd name="T29" fmla="*/ 115 h 160"/>
              <a:gd name="T30" fmla="*/ 80 w 160"/>
              <a:gd name="T31" fmla="*/ 0 h 160"/>
              <a:gd name="T32" fmla="*/ 0 w 160"/>
              <a:gd name="T33" fmla="*/ 80 h 160"/>
              <a:gd name="T34" fmla="*/ 80 w 160"/>
              <a:gd name="T35" fmla="*/ 160 h 160"/>
              <a:gd name="T36" fmla="*/ 160 w 160"/>
              <a:gd name="T37" fmla="*/ 80 h 160"/>
              <a:gd name="T38" fmla="*/ 80 w 160"/>
              <a:gd name="T39" fmla="*/ 0 h 160"/>
              <a:gd name="T40" fmla="*/ 80 w 160"/>
              <a:gd name="T41" fmla="*/ 155 h 160"/>
              <a:gd name="T42" fmla="*/ 5 w 160"/>
              <a:gd name="T43" fmla="*/ 80 h 160"/>
              <a:gd name="T44" fmla="*/ 80 w 160"/>
              <a:gd name="T45" fmla="*/ 5 h 160"/>
              <a:gd name="T46" fmla="*/ 155 w 160"/>
              <a:gd name="T47" fmla="*/ 80 h 160"/>
              <a:gd name="T48" fmla="*/ 80 w 160"/>
              <a:gd name="T49" fmla="*/ 155 h 160"/>
              <a:gd name="T50" fmla="*/ 35 w 160"/>
              <a:gd name="T51" fmla="*/ 123 h 160"/>
              <a:gd name="T52" fmla="*/ 53 w 160"/>
              <a:gd name="T53" fmla="*/ 123 h 160"/>
              <a:gd name="T54" fmla="*/ 53 w 160"/>
              <a:gd name="T55" fmla="*/ 37 h 160"/>
              <a:gd name="T56" fmla="*/ 35 w 160"/>
              <a:gd name="T57" fmla="*/ 37 h 160"/>
              <a:gd name="T58" fmla="*/ 35 w 160"/>
              <a:gd name="T59" fmla="*/ 123 h 160"/>
              <a:gd name="T60" fmla="*/ 40 w 160"/>
              <a:gd name="T61" fmla="*/ 43 h 160"/>
              <a:gd name="T62" fmla="*/ 48 w 160"/>
              <a:gd name="T63" fmla="*/ 43 h 160"/>
              <a:gd name="T64" fmla="*/ 48 w 160"/>
              <a:gd name="T65" fmla="*/ 117 h 160"/>
              <a:gd name="T66" fmla="*/ 40 w 160"/>
              <a:gd name="T67" fmla="*/ 117 h 160"/>
              <a:gd name="T68" fmla="*/ 40 w 160"/>
              <a:gd name="T69"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121" y="38"/>
                </a:moveTo>
                <a:cubicBezTo>
                  <a:pt x="120" y="37"/>
                  <a:pt x="119" y="37"/>
                  <a:pt x="118" y="38"/>
                </a:cubicBezTo>
                <a:cubicBezTo>
                  <a:pt x="60" y="78"/>
                  <a:pt x="60" y="78"/>
                  <a:pt x="60" y="78"/>
                </a:cubicBezTo>
                <a:cubicBezTo>
                  <a:pt x="59" y="78"/>
                  <a:pt x="59" y="79"/>
                  <a:pt x="59" y="80"/>
                </a:cubicBezTo>
                <a:cubicBezTo>
                  <a:pt x="59" y="81"/>
                  <a:pt x="59" y="82"/>
                  <a:pt x="60" y="82"/>
                </a:cubicBezTo>
                <a:cubicBezTo>
                  <a:pt x="119" y="122"/>
                  <a:pt x="119" y="122"/>
                  <a:pt x="119" y="122"/>
                </a:cubicBezTo>
                <a:cubicBezTo>
                  <a:pt x="119" y="123"/>
                  <a:pt x="119" y="123"/>
                  <a:pt x="120" y="123"/>
                </a:cubicBezTo>
                <a:cubicBezTo>
                  <a:pt x="120" y="123"/>
                  <a:pt x="121" y="123"/>
                  <a:pt x="121" y="122"/>
                </a:cubicBezTo>
                <a:cubicBezTo>
                  <a:pt x="122" y="122"/>
                  <a:pt x="123" y="121"/>
                  <a:pt x="123" y="120"/>
                </a:cubicBezTo>
                <a:cubicBezTo>
                  <a:pt x="123" y="40"/>
                  <a:pt x="123" y="40"/>
                  <a:pt x="123" y="40"/>
                </a:cubicBezTo>
                <a:cubicBezTo>
                  <a:pt x="123" y="39"/>
                  <a:pt x="122" y="38"/>
                  <a:pt x="121" y="38"/>
                </a:cubicBezTo>
                <a:close/>
                <a:moveTo>
                  <a:pt x="117" y="115"/>
                </a:moveTo>
                <a:cubicBezTo>
                  <a:pt x="66" y="80"/>
                  <a:pt x="66" y="80"/>
                  <a:pt x="66" y="80"/>
                </a:cubicBezTo>
                <a:cubicBezTo>
                  <a:pt x="117" y="45"/>
                  <a:pt x="117" y="45"/>
                  <a:pt x="117" y="45"/>
                </a:cubicBezTo>
                <a:lnTo>
                  <a:pt x="117" y="115"/>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35" y="123"/>
                </a:moveTo>
                <a:cubicBezTo>
                  <a:pt x="53" y="123"/>
                  <a:pt x="53" y="123"/>
                  <a:pt x="53" y="123"/>
                </a:cubicBezTo>
                <a:cubicBezTo>
                  <a:pt x="53" y="37"/>
                  <a:pt x="53" y="37"/>
                  <a:pt x="53" y="37"/>
                </a:cubicBezTo>
                <a:cubicBezTo>
                  <a:pt x="35" y="37"/>
                  <a:pt x="35" y="37"/>
                  <a:pt x="35" y="37"/>
                </a:cubicBezTo>
                <a:lnTo>
                  <a:pt x="35" y="123"/>
                </a:lnTo>
                <a:close/>
                <a:moveTo>
                  <a:pt x="40" y="43"/>
                </a:moveTo>
                <a:cubicBezTo>
                  <a:pt x="48" y="43"/>
                  <a:pt x="48" y="43"/>
                  <a:pt x="48" y="43"/>
                </a:cubicBezTo>
                <a:cubicBezTo>
                  <a:pt x="48" y="117"/>
                  <a:pt x="48" y="117"/>
                  <a:pt x="48" y="117"/>
                </a:cubicBezTo>
                <a:cubicBezTo>
                  <a:pt x="40" y="117"/>
                  <a:pt x="40" y="117"/>
                  <a:pt x="40" y="117"/>
                </a:cubicBezTo>
                <a:lnTo>
                  <a:pt x="40" y="4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33" name="Freeform 1335">
            <a:extLst>
              <a:ext uri="{FF2B5EF4-FFF2-40B4-BE49-F238E27FC236}">
                <a16:creationId xmlns:a16="http://schemas.microsoft.com/office/drawing/2014/main" id="{D6160122-6FC4-9745-877E-AEED194BFD74}"/>
              </a:ext>
            </a:extLst>
          </p:cNvPr>
          <p:cNvSpPr>
            <a:spLocks noEditPoints="1"/>
          </p:cNvSpPr>
          <p:nvPr/>
        </p:nvSpPr>
        <p:spPr bwMode="auto">
          <a:xfrm>
            <a:off x="5265312" y="365125"/>
            <a:ext cx="566738" cy="550863"/>
          </a:xfrm>
          <a:custGeom>
            <a:avLst/>
            <a:gdLst>
              <a:gd name="T0" fmla="*/ 160 w 166"/>
              <a:gd name="T1" fmla="*/ 31 h 160"/>
              <a:gd name="T2" fmla="*/ 128 w 166"/>
              <a:gd name="T3" fmla="*/ 0 h 160"/>
              <a:gd name="T4" fmla="*/ 89 w 166"/>
              <a:gd name="T5" fmla="*/ 0 h 160"/>
              <a:gd name="T6" fmla="*/ 73 w 166"/>
              <a:gd name="T7" fmla="*/ 16 h 160"/>
              <a:gd name="T8" fmla="*/ 2 w 166"/>
              <a:gd name="T9" fmla="*/ 35 h 160"/>
              <a:gd name="T10" fmla="*/ 2 w 166"/>
              <a:gd name="T11" fmla="*/ 39 h 160"/>
              <a:gd name="T12" fmla="*/ 4 w 166"/>
              <a:gd name="T13" fmla="*/ 40 h 160"/>
              <a:gd name="T14" fmla="*/ 6 w 166"/>
              <a:gd name="T15" fmla="*/ 39 h 160"/>
              <a:gd name="T16" fmla="*/ 68 w 166"/>
              <a:gd name="T17" fmla="*/ 21 h 160"/>
              <a:gd name="T18" fmla="*/ 17 w 166"/>
              <a:gd name="T19" fmla="*/ 72 h 160"/>
              <a:gd name="T20" fmla="*/ 17 w 166"/>
              <a:gd name="T21" fmla="*/ 72 h 160"/>
              <a:gd name="T22" fmla="*/ 0 w 166"/>
              <a:gd name="T23" fmla="*/ 89 h 160"/>
              <a:gd name="T24" fmla="*/ 71 w 166"/>
              <a:gd name="T25" fmla="*/ 160 h 160"/>
              <a:gd name="T26" fmla="*/ 100 w 166"/>
              <a:gd name="T27" fmla="*/ 132 h 160"/>
              <a:gd name="T28" fmla="*/ 119 w 166"/>
              <a:gd name="T29" fmla="*/ 136 h 160"/>
              <a:gd name="T30" fmla="*/ 145 w 166"/>
              <a:gd name="T31" fmla="*/ 127 h 160"/>
              <a:gd name="T32" fmla="*/ 155 w 166"/>
              <a:gd name="T33" fmla="*/ 77 h 160"/>
              <a:gd name="T34" fmla="*/ 160 w 166"/>
              <a:gd name="T35" fmla="*/ 72 h 160"/>
              <a:gd name="T36" fmla="*/ 160 w 166"/>
              <a:gd name="T37" fmla="*/ 31 h 160"/>
              <a:gd name="T38" fmla="*/ 126 w 166"/>
              <a:gd name="T39" fmla="*/ 6 h 160"/>
              <a:gd name="T40" fmla="*/ 154 w 166"/>
              <a:gd name="T41" fmla="*/ 34 h 160"/>
              <a:gd name="T42" fmla="*/ 154 w 166"/>
              <a:gd name="T43" fmla="*/ 69 h 160"/>
              <a:gd name="T44" fmla="*/ 99 w 166"/>
              <a:gd name="T45" fmla="*/ 124 h 160"/>
              <a:gd name="T46" fmla="*/ 89 w 166"/>
              <a:gd name="T47" fmla="*/ 80 h 160"/>
              <a:gd name="T48" fmla="*/ 87 w 166"/>
              <a:gd name="T49" fmla="*/ 77 h 160"/>
              <a:gd name="T50" fmla="*/ 84 w 166"/>
              <a:gd name="T51" fmla="*/ 79 h 160"/>
              <a:gd name="T52" fmla="*/ 95 w 166"/>
              <a:gd name="T53" fmla="*/ 128 h 160"/>
              <a:gd name="T54" fmla="*/ 88 w 166"/>
              <a:gd name="T55" fmla="*/ 135 h 160"/>
              <a:gd name="T56" fmla="*/ 25 w 166"/>
              <a:gd name="T57" fmla="*/ 72 h 160"/>
              <a:gd name="T58" fmla="*/ 75 w 166"/>
              <a:gd name="T59" fmla="*/ 22 h 160"/>
              <a:gd name="T60" fmla="*/ 112 w 166"/>
              <a:gd name="T61" fmla="*/ 35 h 160"/>
              <a:gd name="T62" fmla="*/ 112 w 166"/>
              <a:gd name="T63" fmla="*/ 37 h 160"/>
              <a:gd name="T64" fmla="*/ 123 w 166"/>
              <a:gd name="T65" fmla="*/ 48 h 160"/>
              <a:gd name="T66" fmla="*/ 134 w 166"/>
              <a:gd name="T67" fmla="*/ 37 h 160"/>
              <a:gd name="T68" fmla="*/ 123 w 166"/>
              <a:gd name="T69" fmla="*/ 26 h 160"/>
              <a:gd name="T70" fmla="*/ 115 w 166"/>
              <a:gd name="T71" fmla="*/ 30 h 160"/>
              <a:gd name="T72" fmla="*/ 80 w 166"/>
              <a:gd name="T73" fmla="*/ 16 h 160"/>
              <a:gd name="T74" fmla="*/ 91 w 166"/>
              <a:gd name="T75" fmla="*/ 6 h 160"/>
              <a:gd name="T76" fmla="*/ 126 w 166"/>
              <a:gd name="T77" fmla="*/ 6 h 160"/>
              <a:gd name="T78" fmla="*/ 119 w 166"/>
              <a:gd name="T79" fmla="*/ 39 h 160"/>
              <a:gd name="T80" fmla="*/ 123 w 166"/>
              <a:gd name="T81" fmla="*/ 39 h 160"/>
              <a:gd name="T82" fmla="*/ 122 w 166"/>
              <a:gd name="T83" fmla="*/ 35 h 160"/>
              <a:gd name="T84" fmla="*/ 119 w 166"/>
              <a:gd name="T85" fmla="*/ 33 h 160"/>
              <a:gd name="T86" fmla="*/ 123 w 166"/>
              <a:gd name="T87" fmla="*/ 31 h 160"/>
              <a:gd name="T88" fmla="*/ 129 w 166"/>
              <a:gd name="T89" fmla="*/ 37 h 160"/>
              <a:gd name="T90" fmla="*/ 123 w 166"/>
              <a:gd name="T91" fmla="*/ 42 h 160"/>
              <a:gd name="T92" fmla="*/ 118 w 166"/>
              <a:gd name="T93" fmla="*/ 39 h 160"/>
              <a:gd name="T94" fmla="*/ 119 w 166"/>
              <a:gd name="T95" fmla="*/ 39 h 160"/>
              <a:gd name="T96" fmla="*/ 8 w 166"/>
              <a:gd name="T97" fmla="*/ 89 h 160"/>
              <a:gd name="T98" fmla="*/ 21 w 166"/>
              <a:gd name="T99" fmla="*/ 76 h 160"/>
              <a:gd name="T100" fmla="*/ 84 w 166"/>
              <a:gd name="T101" fmla="*/ 139 h 160"/>
              <a:gd name="T102" fmla="*/ 71 w 166"/>
              <a:gd name="T103" fmla="*/ 152 h 160"/>
              <a:gd name="T104" fmla="*/ 8 w 166"/>
              <a:gd name="T105" fmla="*/ 89 h 160"/>
              <a:gd name="T106" fmla="*/ 141 w 166"/>
              <a:gd name="T107" fmla="*/ 123 h 160"/>
              <a:gd name="T108" fmla="*/ 104 w 166"/>
              <a:gd name="T109" fmla="*/ 127 h 160"/>
              <a:gd name="T110" fmla="*/ 150 w 166"/>
              <a:gd name="T111" fmla="*/ 81 h 160"/>
              <a:gd name="T112" fmla="*/ 141 w 166"/>
              <a:gd name="T113"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 h="160">
                <a:moveTo>
                  <a:pt x="160" y="31"/>
                </a:moveTo>
                <a:cubicBezTo>
                  <a:pt x="128" y="0"/>
                  <a:pt x="128" y="0"/>
                  <a:pt x="128" y="0"/>
                </a:cubicBezTo>
                <a:cubicBezTo>
                  <a:pt x="89" y="0"/>
                  <a:pt x="89" y="0"/>
                  <a:pt x="89" y="0"/>
                </a:cubicBezTo>
                <a:cubicBezTo>
                  <a:pt x="73" y="16"/>
                  <a:pt x="73" y="16"/>
                  <a:pt x="73" y="16"/>
                </a:cubicBezTo>
                <a:cubicBezTo>
                  <a:pt x="34" y="12"/>
                  <a:pt x="3" y="34"/>
                  <a:pt x="2" y="35"/>
                </a:cubicBezTo>
                <a:cubicBezTo>
                  <a:pt x="1" y="35"/>
                  <a:pt x="1" y="37"/>
                  <a:pt x="2" y="39"/>
                </a:cubicBezTo>
                <a:cubicBezTo>
                  <a:pt x="2" y="39"/>
                  <a:pt x="3" y="40"/>
                  <a:pt x="4" y="40"/>
                </a:cubicBezTo>
                <a:cubicBezTo>
                  <a:pt x="5" y="40"/>
                  <a:pt x="5" y="40"/>
                  <a:pt x="6" y="39"/>
                </a:cubicBezTo>
                <a:cubicBezTo>
                  <a:pt x="6" y="39"/>
                  <a:pt x="33" y="20"/>
                  <a:pt x="68" y="21"/>
                </a:cubicBezTo>
                <a:cubicBezTo>
                  <a:pt x="17" y="72"/>
                  <a:pt x="17" y="72"/>
                  <a:pt x="17" y="72"/>
                </a:cubicBezTo>
                <a:cubicBezTo>
                  <a:pt x="17" y="72"/>
                  <a:pt x="17" y="72"/>
                  <a:pt x="17" y="72"/>
                </a:cubicBezTo>
                <a:cubicBezTo>
                  <a:pt x="0" y="89"/>
                  <a:pt x="0" y="89"/>
                  <a:pt x="0" y="89"/>
                </a:cubicBezTo>
                <a:cubicBezTo>
                  <a:pt x="71" y="160"/>
                  <a:pt x="71" y="160"/>
                  <a:pt x="71" y="160"/>
                </a:cubicBezTo>
                <a:cubicBezTo>
                  <a:pt x="100" y="132"/>
                  <a:pt x="100" y="132"/>
                  <a:pt x="100" y="132"/>
                </a:cubicBezTo>
                <a:cubicBezTo>
                  <a:pt x="106" y="135"/>
                  <a:pt x="112" y="136"/>
                  <a:pt x="119" y="136"/>
                </a:cubicBezTo>
                <a:cubicBezTo>
                  <a:pt x="129" y="136"/>
                  <a:pt x="139" y="133"/>
                  <a:pt x="145" y="127"/>
                </a:cubicBezTo>
                <a:cubicBezTo>
                  <a:pt x="166" y="106"/>
                  <a:pt x="158" y="83"/>
                  <a:pt x="155" y="77"/>
                </a:cubicBezTo>
                <a:cubicBezTo>
                  <a:pt x="160" y="72"/>
                  <a:pt x="160" y="72"/>
                  <a:pt x="160" y="72"/>
                </a:cubicBezTo>
                <a:cubicBezTo>
                  <a:pt x="160" y="31"/>
                  <a:pt x="160" y="31"/>
                  <a:pt x="160" y="31"/>
                </a:cubicBezTo>
                <a:close/>
                <a:moveTo>
                  <a:pt x="126" y="6"/>
                </a:moveTo>
                <a:cubicBezTo>
                  <a:pt x="154" y="34"/>
                  <a:pt x="154" y="34"/>
                  <a:pt x="154" y="34"/>
                </a:cubicBezTo>
                <a:cubicBezTo>
                  <a:pt x="154" y="69"/>
                  <a:pt x="154" y="69"/>
                  <a:pt x="154" y="69"/>
                </a:cubicBezTo>
                <a:cubicBezTo>
                  <a:pt x="99" y="124"/>
                  <a:pt x="99" y="124"/>
                  <a:pt x="99" y="124"/>
                </a:cubicBezTo>
                <a:cubicBezTo>
                  <a:pt x="87" y="116"/>
                  <a:pt x="84" y="101"/>
                  <a:pt x="89" y="80"/>
                </a:cubicBezTo>
                <a:cubicBezTo>
                  <a:pt x="89" y="79"/>
                  <a:pt x="88" y="77"/>
                  <a:pt x="87" y="77"/>
                </a:cubicBezTo>
                <a:cubicBezTo>
                  <a:pt x="85" y="76"/>
                  <a:pt x="84" y="77"/>
                  <a:pt x="84" y="79"/>
                </a:cubicBezTo>
                <a:cubicBezTo>
                  <a:pt x="76" y="108"/>
                  <a:pt x="86" y="122"/>
                  <a:pt x="95" y="128"/>
                </a:cubicBezTo>
                <a:cubicBezTo>
                  <a:pt x="88" y="135"/>
                  <a:pt x="88" y="135"/>
                  <a:pt x="88" y="135"/>
                </a:cubicBezTo>
                <a:cubicBezTo>
                  <a:pt x="25" y="72"/>
                  <a:pt x="25" y="72"/>
                  <a:pt x="25" y="72"/>
                </a:cubicBezTo>
                <a:cubicBezTo>
                  <a:pt x="75" y="22"/>
                  <a:pt x="75" y="22"/>
                  <a:pt x="75" y="22"/>
                </a:cubicBezTo>
                <a:cubicBezTo>
                  <a:pt x="87" y="23"/>
                  <a:pt x="100" y="27"/>
                  <a:pt x="112" y="35"/>
                </a:cubicBezTo>
                <a:cubicBezTo>
                  <a:pt x="112" y="35"/>
                  <a:pt x="112" y="36"/>
                  <a:pt x="112" y="37"/>
                </a:cubicBezTo>
                <a:cubicBezTo>
                  <a:pt x="112" y="43"/>
                  <a:pt x="117" y="48"/>
                  <a:pt x="123" y="48"/>
                </a:cubicBezTo>
                <a:cubicBezTo>
                  <a:pt x="129" y="48"/>
                  <a:pt x="134" y="43"/>
                  <a:pt x="134" y="37"/>
                </a:cubicBezTo>
                <a:cubicBezTo>
                  <a:pt x="134" y="31"/>
                  <a:pt x="129" y="26"/>
                  <a:pt x="123" y="26"/>
                </a:cubicBezTo>
                <a:cubicBezTo>
                  <a:pt x="120" y="26"/>
                  <a:pt x="117" y="27"/>
                  <a:pt x="115" y="30"/>
                </a:cubicBezTo>
                <a:cubicBezTo>
                  <a:pt x="103" y="22"/>
                  <a:pt x="91" y="18"/>
                  <a:pt x="80" y="16"/>
                </a:cubicBezTo>
                <a:cubicBezTo>
                  <a:pt x="91" y="6"/>
                  <a:pt x="91" y="6"/>
                  <a:pt x="91" y="6"/>
                </a:cubicBezTo>
                <a:lnTo>
                  <a:pt x="126" y="6"/>
                </a:lnTo>
                <a:close/>
                <a:moveTo>
                  <a:pt x="119" y="39"/>
                </a:moveTo>
                <a:cubicBezTo>
                  <a:pt x="120" y="40"/>
                  <a:pt x="122" y="40"/>
                  <a:pt x="123" y="39"/>
                </a:cubicBezTo>
                <a:cubicBezTo>
                  <a:pt x="124" y="37"/>
                  <a:pt x="123" y="36"/>
                  <a:pt x="122" y="35"/>
                </a:cubicBezTo>
                <a:cubicBezTo>
                  <a:pt x="121" y="34"/>
                  <a:pt x="120" y="33"/>
                  <a:pt x="119" y="33"/>
                </a:cubicBezTo>
                <a:cubicBezTo>
                  <a:pt x="120" y="32"/>
                  <a:pt x="122" y="31"/>
                  <a:pt x="123" y="31"/>
                </a:cubicBezTo>
                <a:cubicBezTo>
                  <a:pt x="126" y="31"/>
                  <a:pt x="129" y="34"/>
                  <a:pt x="129" y="37"/>
                </a:cubicBezTo>
                <a:cubicBezTo>
                  <a:pt x="129" y="40"/>
                  <a:pt x="126" y="42"/>
                  <a:pt x="123" y="42"/>
                </a:cubicBezTo>
                <a:cubicBezTo>
                  <a:pt x="121" y="42"/>
                  <a:pt x="119" y="41"/>
                  <a:pt x="118" y="39"/>
                </a:cubicBezTo>
                <a:cubicBezTo>
                  <a:pt x="118" y="39"/>
                  <a:pt x="118" y="39"/>
                  <a:pt x="119" y="39"/>
                </a:cubicBezTo>
                <a:close/>
                <a:moveTo>
                  <a:pt x="8" y="89"/>
                </a:moveTo>
                <a:cubicBezTo>
                  <a:pt x="21" y="76"/>
                  <a:pt x="21" y="76"/>
                  <a:pt x="21" y="76"/>
                </a:cubicBezTo>
                <a:cubicBezTo>
                  <a:pt x="84" y="139"/>
                  <a:pt x="84" y="139"/>
                  <a:pt x="84" y="139"/>
                </a:cubicBezTo>
                <a:cubicBezTo>
                  <a:pt x="71" y="152"/>
                  <a:pt x="71" y="152"/>
                  <a:pt x="71" y="152"/>
                </a:cubicBezTo>
                <a:lnTo>
                  <a:pt x="8" y="89"/>
                </a:lnTo>
                <a:close/>
                <a:moveTo>
                  <a:pt x="141" y="123"/>
                </a:moveTo>
                <a:cubicBezTo>
                  <a:pt x="134" y="130"/>
                  <a:pt x="117" y="133"/>
                  <a:pt x="104" y="127"/>
                </a:cubicBezTo>
                <a:cubicBezTo>
                  <a:pt x="150" y="81"/>
                  <a:pt x="150" y="81"/>
                  <a:pt x="150" y="81"/>
                </a:cubicBezTo>
                <a:cubicBezTo>
                  <a:pt x="153" y="88"/>
                  <a:pt x="158" y="106"/>
                  <a:pt x="141" y="1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34" name="Freeform 1336">
            <a:extLst>
              <a:ext uri="{FF2B5EF4-FFF2-40B4-BE49-F238E27FC236}">
                <a16:creationId xmlns:a16="http://schemas.microsoft.com/office/drawing/2014/main" id="{8BBF1226-03CC-0446-B732-D9B4ADEB431C}"/>
              </a:ext>
            </a:extLst>
          </p:cNvPr>
          <p:cNvSpPr>
            <a:spLocks noEditPoints="1"/>
          </p:cNvSpPr>
          <p:nvPr/>
        </p:nvSpPr>
        <p:spPr bwMode="auto">
          <a:xfrm>
            <a:off x="5265312" y="984250"/>
            <a:ext cx="546100" cy="550863"/>
          </a:xfrm>
          <a:custGeom>
            <a:avLst/>
            <a:gdLst>
              <a:gd name="T0" fmla="*/ 147 w 160"/>
              <a:gd name="T1" fmla="*/ 72 h 160"/>
              <a:gd name="T2" fmla="*/ 120 w 160"/>
              <a:gd name="T3" fmla="*/ 72 h 160"/>
              <a:gd name="T4" fmla="*/ 133 w 160"/>
              <a:gd name="T5" fmla="*/ 64 h 160"/>
              <a:gd name="T6" fmla="*/ 133 w 160"/>
              <a:gd name="T7" fmla="*/ 80 h 160"/>
              <a:gd name="T8" fmla="*/ 133 w 160"/>
              <a:gd name="T9" fmla="*/ 64 h 160"/>
              <a:gd name="T10" fmla="*/ 112 w 160"/>
              <a:gd name="T11" fmla="*/ 120 h 160"/>
              <a:gd name="T12" fmla="*/ 45 w 160"/>
              <a:gd name="T13" fmla="*/ 117 h 160"/>
              <a:gd name="T14" fmla="*/ 112 w 160"/>
              <a:gd name="T15" fmla="*/ 115 h 160"/>
              <a:gd name="T16" fmla="*/ 115 w 160"/>
              <a:gd name="T17" fmla="*/ 131 h 160"/>
              <a:gd name="T18" fmla="*/ 48 w 160"/>
              <a:gd name="T19" fmla="*/ 133 h 160"/>
              <a:gd name="T20" fmla="*/ 48 w 160"/>
              <a:gd name="T21" fmla="*/ 128 h 160"/>
              <a:gd name="T22" fmla="*/ 115 w 160"/>
              <a:gd name="T23" fmla="*/ 131 h 160"/>
              <a:gd name="T24" fmla="*/ 136 w 160"/>
              <a:gd name="T25" fmla="*/ 0 h 160"/>
              <a:gd name="T26" fmla="*/ 24 w 160"/>
              <a:gd name="T27" fmla="*/ 45 h 160"/>
              <a:gd name="T28" fmla="*/ 0 w 160"/>
              <a:gd name="T29" fmla="*/ 136 h 160"/>
              <a:gd name="T30" fmla="*/ 16 w 160"/>
              <a:gd name="T31" fmla="*/ 144 h 160"/>
              <a:gd name="T32" fmla="*/ 24 w 160"/>
              <a:gd name="T33" fmla="*/ 160 h 160"/>
              <a:gd name="T34" fmla="*/ 136 w 160"/>
              <a:gd name="T35" fmla="*/ 144 h 160"/>
              <a:gd name="T36" fmla="*/ 144 w 160"/>
              <a:gd name="T37" fmla="*/ 136 h 160"/>
              <a:gd name="T38" fmla="*/ 160 w 160"/>
              <a:gd name="T39" fmla="*/ 45 h 160"/>
              <a:gd name="T40" fmla="*/ 29 w 160"/>
              <a:gd name="T41" fmla="*/ 5 h 160"/>
              <a:gd name="T42" fmla="*/ 131 w 160"/>
              <a:gd name="T43" fmla="*/ 45 h 160"/>
              <a:gd name="T44" fmla="*/ 29 w 160"/>
              <a:gd name="T45" fmla="*/ 5 h 160"/>
              <a:gd name="T46" fmla="*/ 136 w 160"/>
              <a:gd name="T47" fmla="*/ 51 h 160"/>
              <a:gd name="T48" fmla="*/ 155 w 160"/>
              <a:gd name="T49" fmla="*/ 93 h 160"/>
              <a:gd name="T50" fmla="*/ 5 w 160"/>
              <a:gd name="T51" fmla="*/ 51 h 160"/>
              <a:gd name="T52" fmla="*/ 21 w 160"/>
              <a:gd name="T53" fmla="*/ 139 h 160"/>
              <a:gd name="T54" fmla="*/ 21 w 160"/>
              <a:gd name="T55" fmla="*/ 131 h 160"/>
              <a:gd name="T56" fmla="*/ 19 w 160"/>
              <a:gd name="T57" fmla="*/ 117 h 160"/>
              <a:gd name="T58" fmla="*/ 16 w 160"/>
              <a:gd name="T59" fmla="*/ 131 h 160"/>
              <a:gd name="T60" fmla="*/ 5 w 160"/>
              <a:gd name="T61" fmla="*/ 99 h 160"/>
              <a:gd name="T62" fmla="*/ 24 w 160"/>
              <a:gd name="T63" fmla="*/ 139 h 160"/>
              <a:gd name="T64" fmla="*/ 131 w 160"/>
              <a:gd name="T65" fmla="*/ 155 h 160"/>
              <a:gd name="T66" fmla="*/ 29 w 160"/>
              <a:gd name="T67" fmla="*/ 144 h 160"/>
              <a:gd name="T68" fmla="*/ 131 w 160"/>
              <a:gd name="T69" fmla="*/ 99 h 160"/>
              <a:gd name="T70" fmla="*/ 131 w 160"/>
              <a:gd name="T71" fmla="*/ 155 h 160"/>
              <a:gd name="T72" fmla="*/ 144 w 160"/>
              <a:gd name="T73" fmla="*/ 120 h 160"/>
              <a:gd name="T74" fmla="*/ 139 w 160"/>
              <a:gd name="T75" fmla="*/ 120 h 160"/>
              <a:gd name="T76" fmla="*/ 139 w 160"/>
              <a:gd name="T77" fmla="*/ 133 h 160"/>
              <a:gd name="T78" fmla="*/ 136 w 160"/>
              <a:gd name="T79" fmla="*/ 139 h 160"/>
              <a:gd name="T80" fmla="*/ 155 w 160"/>
              <a:gd name="T81" fmla="*/ 99 h 160"/>
              <a:gd name="T82" fmla="*/ 144 w 160"/>
              <a:gd name="T83" fmla="*/ 13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60">
                <a:moveTo>
                  <a:pt x="133" y="85"/>
                </a:moveTo>
                <a:cubicBezTo>
                  <a:pt x="141" y="85"/>
                  <a:pt x="147" y="79"/>
                  <a:pt x="147" y="72"/>
                </a:cubicBezTo>
                <a:cubicBezTo>
                  <a:pt x="147" y="65"/>
                  <a:pt x="141" y="59"/>
                  <a:pt x="133" y="59"/>
                </a:cubicBezTo>
                <a:cubicBezTo>
                  <a:pt x="126" y="59"/>
                  <a:pt x="120" y="65"/>
                  <a:pt x="120" y="72"/>
                </a:cubicBezTo>
                <a:cubicBezTo>
                  <a:pt x="120" y="79"/>
                  <a:pt x="126" y="85"/>
                  <a:pt x="133" y="85"/>
                </a:cubicBezTo>
                <a:close/>
                <a:moveTo>
                  <a:pt x="133" y="64"/>
                </a:moveTo>
                <a:cubicBezTo>
                  <a:pt x="138" y="64"/>
                  <a:pt x="141" y="68"/>
                  <a:pt x="141" y="72"/>
                </a:cubicBezTo>
                <a:cubicBezTo>
                  <a:pt x="141" y="76"/>
                  <a:pt x="138" y="80"/>
                  <a:pt x="133" y="80"/>
                </a:cubicBezTo>
                <a:cubicBezTo>
                  <a:pt x="129" y="80"/>
                  <a:pt x="125" y="76"/>
                  <a:pt x="125" y="72"/>
                </a:cubicBezTo>
                <a:cubicBezTo>
                  <a:pt x="125" y="68"/>
                  <a:pt x="129" y="64"/>
                  <a:pt x="133" y="64"/>
                </a:cubicBezTo>
                <a:close/>
                <a:moveTo>
                  <a:pt x="115" y="117"/>
                </a:moveTo>
                <a:cubicBezTo>
                  <a:pt x="115" y="119"/>
                  <a:pt x="113" y="120"/>
                  <a:pt x="112" y="120"/>
                </a:cubicBezTo>
                <a:cubicBezTo>
                  <a:pt x="48" y="120"/>
                  <a:pt x="48" y="120"/>
                  <a:pt x="48" y="120"/>
                </a:cubicBezTo>
                <a:cubicBezTo>
                  <a:pt x="47" y="120"/>
                  <a:pt x="45" y="119"/>
                  <a:pt x="45" y="117"/>
                </a:cubicBezTo>
                <a:cubicBezTo>
                  <a:pt x="45" y="116"/>
                  <a:pt x="47" y="115"/>
                  <a:pt x="48" y="115"/>
                </a:cubicBezTo>
                <a:cubicBezTo>
                  <a:pt x="112" y="115"/>
                  <a:pt x="112" y="115"/>
                  <a:pt x="112" y="115"/>
                </a:cubicBezTo>
                <a:cubicBezTo>
                  <a:pt x="113" y="115"/>
                  <a:pt x="115" y="116"/>
                  <a:pt x="115" y="117"/>
                </a:cubicBezTo>
                <a:close/>
                <a:moveTo>
                  <a:pt x="115" y="131"/>
                </a:moveTo>
                <a:cubicBezTo>
                  <a:pt x="115" y="132"/>
                  <a:pt x="113" y="133"/>
                  <a:pt x="112" y="133"/>
                </a:cubicBezTo>
                <a:cubicBezTo>
                  <a:pt x="48" y="133"/>
                  <a:pt x="48" y="133"/>
                  <a:pt x="48" y="133"/>
                </a:cubicBezTo>
                <a:cubicBezTo>
                  <a:pt x="47" y="133"/>
                  <a:pt x="45" y="132"/>
                  <a:pt x="45" y="131"/>
                </a:cubicBezTo>
                <a:cubicBezTo>
                  <a:pt x="45" y="129"/>
                  <a:pt x="47" y="128"/>
                  <a:pt x="48" y="128"/>
                </a:cubicBezTo>
                <a:cubicBezTo>
                  <a:pt x="112" y="128"/>
                  <a:pt x="112" y="128"/>
                  <a:pt x="112" y="128"/>
                </a:cubicBezTo>
                <a:cubicBezTo>
                  <a:pt x="113" y="128"/>
                  <a:pt x="115" y="129"/>
                  <a:pt x="115" y="131"/>
                </a:cubicBezTo>
                <a:close/>
                <a:moveTo>
                  <a:pt x="136" y="45"/>
                </a:moveTo>
                <a:cubicBezTo>
                  <a:pt x="136" y="0"/>
                  <a:pt x="136" y="0"/>
                  <a:pt x="136" y="0"/>
                </a:cubicBezTo>
                <a:cubicBezTo>
                  <a:pt x="24" y="0"/>
                  <a:pt x="24" y="0"/>
                  <a:pt x="24" y="0"/>
                </a:cubicBezTo>
                <a:cubicBezTo>
                  <a:pt x="24" y="45"/>
                  <a:pt x="24" y="45"/>
                  <a:pt x="24" y="45"/>
                </a:cubicBezTo>
                <a:cubicBezTo>
                  <a:pt x="0" y="45"/>
                  <a:pt x="0" y="45"/>
                  <a:pt x="0" y="45"/>
                </a:cubicBezTo>
                <a:cubicBezTo>
                  <a:pt x="0" y="136"/>
                  <a:pt x="0" y="136"/>
                  <a:pt x="0" y="136"/>
                </a:cubicBezTo>
                <a:cubicBezTo>
                  <a:pt x="16" y="136"/>
                  <a:pt x="16" y="136"/>
                  <a:pt x="16" y="136"/>
                </a:cubicBezTo>
                <a:cubicBezTo>
                  <a:pt x="16" y="144"/>
                  <a:pt x="16" y="144"/>
                  <a:pt x="16" y="144"/>
                </a:cubicBezTo>
                <a:cubicBezTo>
                  <a:pt x="24" y="144"/>
                  <a:pt x="24" y="144"/>
                  <a:pt x="24" y="144"/>
                </a:cubicBezTo>
                <a:cubicBezTo>
                  <a:pt x="24" y="160"/>
                  <a:pt x="24" y="160"/>
                  <a:pt x="24" y="160"/>
                </a:cubicBezTo>
                <a:cubicBezTo>
                  <a:pt x="136" y="160"/>
                  <a:pt x="136" y="160"/>
                  <a:pt x="136" y="160"/>
                </a:cubicBezTo>
                <a:cubicBezTo>
                  <a:pt x="136" y="144"/>
                  <a:pt x="136" y="144"/>
                  <a:pt x="136" y="144"/>
                </a:cubicBezTo>
                <a:cubicBezTo>
                  <a:pt x="144" y="144"/>
                  <a:pt x="144" y="144"/>
                  <a:pt x="144" y="144"/>
                </a:cubicBezTo>
                <a:cubicBezTo>
                  <a:pt x="144" y="136"/>
                  <a:pt x="144" y="136"/>
                  <a:pt x="144" y="136"/>
                </a:cubicBezTo>
                <a:cubicBezTo>
                  <a:pt x="160" y="136"/>
                  <a:pt x="160" y="136"/>
                  <a:pt x="160" y="136"/>
                </a:cubicBezTo>
                <a:cubicBezTo>
                  <a:pt x="160" y="45"/>
                  <a:pt x="160" y="45"/>
                  <a:pt x="160" y="45"/>
                </a:cubicBezTo>
                <a:lnTo>
                  <a:pt x="136" y="45"/>
                </a:lnTo>
                <a:close/>
                <a:moveTo>
                  <a:pt x="29" y="5"/>
                </a:moveTo>
                <a:cubicBezTo>
                  <a:pt x="131" y="5"/>
                  <a:pt x="131" y="5"/>
                  <a:pt x="131" y="5"/>
                </a:cubicBezTo>
                <a:cubicBezTo>
                  <a:pt x="131" y="45"/>
                  <a:pt x="131" y="45"/>
                  <a:pt x="131" y="45"/>
                </a:cubicBezTo>
                <a:cubicBezTo>
                  <a:pt x="29" y="45"/>
                  <a:pt x="29" y="45"/>
                  <a:pt x="29" y="45"/>
                </a:cubicBezTo>
                <a:lnTo>
                  <a:pt x="29" y="5"/>
                </a:lnTo>
                <a:close/>
                <a:moveTo>
                  <a:pt x="24" y="51"/>
                </a:moveTo>
                <a:cubicBezTo>
                  <a:pt x="136" y="51"/>
                  <a:pt x="136" y="51"/>
                  <a:pt x="136" y="51"/>
                </a:cubicBezTo>
                <a:cubicBezTo>
                  <a:pt x="155" y="51"/>
                  <a:pt x="155" y="51"/>
                  <a:pt x="155" y="51"/>
                </a:cubicBezTo>
                <a:cubicBezTo>
                  <a:pt x="155" y="93"/>
                  <a:pt x="155" y="93"/>
                  <a:pt x="155" y="93"/>
                </a:cubicBezTo>
                <a:cubicBezTo>
                  <a:pt x="5" y="93"/>
                  <a:pt x="5" y="93"/>
                  <a:pt x="5" y="93"/>
                </a:cubicBezTo>
                <a:cubicBezTo>
                  <a:pt x="5" y="51"/>
                  <a:pt x="5" y="51"/>
                  <a:pt x="5" y="51"/>
                </a:cubicBezTo>
                <a:lnTo>
                  <a:pt x="24" y="51"/>
                </a:lnTo>
                <a:close/>
                <a:moveTo>
                  <a:pt x="21" y="139"/>
                </a:moveTo>
                <a:cubicBezTo>
                  <a:pt x="21" y="133"/>
                  <a:pt x="21" y="133"/>
                  <a:pt x="21" y="133"/>
                </a:cubicBezTo>
                <a:cubicBezTo>
                  <a:pt x="21" y="131"/>
                  <a:pt x="21" y="131"/>
                  <a:pt x="21" y="131"/>
                </a:cubicBezTo>
                <a:cubicBezTo>
                  <a:pt x="21" y="120"/>
                  <a:pt x="21" y="120"/>
                  <a:pt x="21" y="120"/>
                </a:cubicBezTo>
                <a:cubicBezTo>
                  <a:pt x="21" y="119"/>
                  <a:pt x="20" y="117"/>
                  <a:pt x="19" y="117"/>
                </a:cubicBezTo>
                <a:cubicBezTo>
                  <a:pt x="17" y="117"/>
                  <a:pt x="16" y="119"/>
                  <a:pt x="16" y="120"/>
                </a:cubicBezTo>
                <a:cubicBezTo>
                  <a:pt x="16" y="131"/>
                  <a:pt x="16" y="131"/>
                  <a:pt x="16" y="131"/>
                </a:cubicBezTo>
                <a:cubicBezTo>
                  <a:pt x="5" y="131"/>
                  <a:pt x="5" y="131"/>
                  <a:pt x="5" y="131"/>
                </a:cubicBezTo>
                <a:cubicBezTo>
                  <a:pt x="5" y="99"/>
                  <a:pt x="5" y="99"/>
                  <a:pt x="5" y="99"/>
                </a:cubicBezTo>
                <a:cubicBezTo>
                  <a:pt x="24" y="99"/>
                  <a:pt x="24" y="99"/>
                  <a:pt x="24" y="99"/>
                </a:cubicBezTo>
                <a:cubicBezTo>
                  <a:pt x="24" y="139"/>
                  <a:pt x="24" y="139"/>
                  <a:pt x="24" y="139"/>
                </a:cubicBezTo>
                <a:lnTo>
                  <a:pt x="21" y="139"/>
                </a:lnTo>
                <a:close/>
                <a:moveTo>
                  <a:pt x="131" y="155"/>
                </a:moveTo>
                <a:cubicBezTo>
                  <a:pt x="29" y="155"/>
                  <a:pt x="29" y="155"/>
                  <a:pt x="29" y="155"/>
                </a:cubicBezTo>
                <a:cubicBezTo>
                  <a:pt x="29" y="144"/>
                  <a:pt x="29" y="144"/>
                  <a:pt x="29" y="144"/>
                </a:cubicBezTo>
                <a:cubicBezTo>
                  <a:pt x="29" y="99"/>
                  <a:pt x="29" y="99"/>
                  <a:pt x="29" y="99"/>
                </a:cubicBezTo>
                <a:cubicBezTo>
                  <a:pt x="131" y="99"/>
                  <a:pt x="131" y="99"/>
                  <a:pt x="131" y="99"/>
                </a:cubicBezTo>
                <a:cubicBezTo>
                  <a:pt x="131" y="144"/>
                  <a:pt x="131" y="144"/>
                  <a:pt x="131" y="144"/>
                </a:cubicBezTo>
                <a:lnTo>
                  <a:pt x="131" y="155"/>
                </a:lnTo>
                <a:close/>
                <a:moveTo>
                  <a:pt x="144" y="131"/>
                </a:moveTo>
                <a:cubicBezTo>
                  <a:pt x="144" y="120"/>
                  <a:pt x="144" y="120"/>
                  <a:pt x="144" y="120"/>
                </a:cubicBezTo>
                <a:cubicBezTo>
                  <a:pt x="144" y="119"/>
                  <a:pt x="143" y="117"/>
                  <a:pt x="141" y="117"/>
                </a:cubicBezTo>
                <a:cubicBezTo>
                  <a:pt x="140" y="117"/>
                  <a:pt x="139" y="119"/>
                  <a:pt x="139" y="120"/>
                </a:cubicBezTo>
                <a:cubicBezTo>
                  <a:pt x="139" y="131"/>
                  <a:pt x="139" y="131"/>
                  <a:pt x="139" y="131"/>
                </a:cubicBezTo>
                <a:cubicBezTo>
                  <a:pt x="139" y="133"/>
                  <a:pt x="139" y="133"/>
                  <a:pt x="139" y="133"/>
                </a:cubicBezTo>
                <a:cubicBezTo>
                  <a:pt x="139" y="139"/>
                  <a:pt x="139" y="139"/>
                  <a:pt x="139" y="139"/>
                </a:cubicBezTo>
                <a:cubicBezTo>
                  <a:pt x="136" y="139"/>
                  <a:pt x="136" y="139"/>
                  <a:pt x="136" y="139"/>
                </a:cubicBezTo>
                <a:cubicBezTo>
                  <a:pt x="136" y="99"/>
                  <a:pt x="136" y="99"/>
                  <a:pt x="136" y="99"/>
                </a:cubicBezTo>
                <a:cubicBezTo>
                  <a:pt x="155" y="99"/>
                  <a:pt x="155" y="99"/>
                  <a:pt x="155" y="99"/>
                </a:cubicBezTo>
                <a:cubicBezTo>
                  <a:pt x="155" y="131"/>
                  <a:pt x="155" y="131"/>
                  <a:pt x="155" y="131"/>
                </a:cubicBezTo>
                <a:lnTo>
                  <a:pt x="144"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35" name="Freeform 1337">
            <a:extLst>
              <a:ext uri="{FF2B5EF4-FFF2-40B4-BE49-F238E27FC236}">
                <a16:creationId xmlns:a16="http://schemas.microsoft.com/office/drawing/2014/main" id="{4FE30C1D-48CA-4740-9158-D3202BC37260}"/>
              </a:ext>
            </a:extLst>
          </p:cNvPr>
          <p:cNvSpPr>
            <a:spLocks noEditPoints="1"/>
          </p:cNvSpPr>
          <p:nvPr/>
        </p:nvSpPr>
        <p:spPr bwMode="auto">
          <a:xfrm>
            <a:off x="5265312" y="1589088"/>
            <a:ext cx="546100" cy="550863"/>
          </a:xfrm>
          <a:custGeom>
            <a:avLst/>
            <a:gdLst>
              <a:gd name="T0" fmla="*/ 160 w 160"/>
              <a:gd name="T1" fmla="*/ 64 h 160"/>
              <a:gd name="T2" fmla="*/ 158 w 160"/>
              <a:gd name="T3" fmla="*/ 62 h 160"/>
              <a:gd name="T4" fmla="*/ 103 w 160"/>
              <a:gd name="T5" fmla="*/ 63 h 160"/>
              <a:gd name="T6" fmla="*/ 58 w 160"/>
              <a:gd name="T7" fmla="*/ 25 h 160"/>
              <a:gd name="T8" fmla="*/ 51 w 160"/>
              <a:gd name="T9" fmla="*/ 1 h 160"/>
              <a:gd name="T10" fmla="*/ 49 w 160"/>
              <a:gd name="T11" fmla="*/ 0 h 160"/>
              <a:gd name="T12" fmla="*/ 47 w 160"/>
              <a:gd name="T13" fmla="*/ 1 h 160"/>
              <a:gd name="T14" fmla="*/ 1 w 160"/>
              <a:gd name="T15" fmla="*/ 47 h 160"/>
              <a:gd name="T16" fmla="*/ 0 w 160"/>
              <a:gd name="T17" fmla="*/ 49 h 160"/>
              <a:gd name="T18" fmla="*/ 1 w 160"/>
              <a:gd name="T19" fmla="*/ 51 h 160"/>
              <a:gd name="T20" fmla="*/ 24 w 160"/>
              <a:gd name="T21" fmla="*/ 58 h 160"/>
              <a:gd name="T22" fmla="*/ 63 w 160"/>
              <a:gd name="T23" fmla="*/ 103 h 160"/>
              <a:gd name="T24" fmla="*/ 62 w 160"/>
              <a:gd name="T25" fmla="*/ 158 h 160"/>
              <a:gd name="T26" fmla="*/ 64 w 160"/>
              <a:gd name="T27" fmla="*/ 160 h 160"/>
              <a:gd name="T28" fmla="*/ 65 w 160"/>
              <a:gd name="T29" fmla="*/ 160 h 160"/>
              <a:gd name="T30" fmla="*/ 67 w 160"/>
              <a:gd name="T31" fmla="*/ 159 h 160"/>
              <a:gd name="T32" fmla="*/ 111 w 160"/>
              <a:gd name="T33" fmla="*/ 115 h 160"/>
              <a:gd name="T34" fmla="*/ 152 w 160"/>
              <a:gd name="T35" fmla="*/ 156 h 160"/>
              <a:gd name="T36" fmla="*/ 154 w 160"/>
              <a:gd name="T37" fmla="*/ 157 h 160"/>
              <a:gd name="T38" fmla="*/ 156 w 160"/>
              <a:gd name="T39" fmla="*/ 156 h 160"/>
              <a:gd name="T40" fmla="*/ 156 w 160"/>
              <a:gd name="T41" fmla="*/ 152 h 160"/>
              <a:gd name="T42" fmla="*/ 115 w 160"/>
              <a:gd name="T43" fmla="*/ 111 h 160"/>
              <a:gd name="T44" fmla="*/ 159 w 160"/>
              <a:gd name="T45" fmla="*/ 67 h 160"/>
              <a:gd name="T46" fmla="*/ 160 w 160"/>
              <a:gd name="T47" fmla="*/ 64 h 160"/>
              <a:gd name="T48" fmla="*/ 107 w 160"/>
              <a:gd name="T49" fmla="*/ 111 h 160"/>
              <a:gd name="T50" fmla="*/ 66 w 160"/>
              <a:gd name="T51" fmla="*/ 151 h 160"/>
              <a:gd name="T52" fmla="*/ 69 w 160"/>
              <a:gd name="T53" fmla="*/ 103 h 160"/>
              <a:gd name="T54" fmla="*/ 69 w 160"/>
              <a:gd name="T55" fmla="*/ 100 h 160"/>
              <a:gd name="T56" fmla="*/ 28 w 160"/>
              <a:gd name="T57" fmla="*/ 52 h 160"/>
              <a:gd name="T58" fmla="*/ 26 w 160"/>
              <a:gd name="T59" fmla="*/ 51 h 160"/>
              <a:gd name="T60" fmla="*/ 25 w 160"/>
              <a:gd name="T61" fmla="*/ 51 h 160"/>
              <a:gd name="T62" fmla="*/ 8 w 160"/>
              <a:gd name="T63" fmla="*/ 49 h 160"/>
              <a:gd name="T64" fmla="*/ 49 w 160"/>
              <a:gd name="T65" fmla="*/ 8 h 160"/>
              <a:gd name="T66" fmla="*/ 51 w 160"/>
              <a:gd name="T67" fmla="*/ 25 h 160"/>
              <a:gd name="T68" fmla="*/ 52 w 160"/>
              <a:gd name="T69" fmla="*/ 28 h 160"/>
              <a:gd name="T70" fmla="*/ 100 w 160"/>
              <a:gd name="T71" fmla="*/ 69 h 160"/>
              <a:gd name="T72" fmla="*/ 103 w 160"/>
              <a:gd name="T73" fmla="*/ 69 h 160"/>
              <a:gd name="T74" fmla="*/ 151 w 160"/>
              <a:gd name="T75" fmla="*/ 66 h 160"/>
              <a:gd name="T76" fmla="*/ 107 w 160"/>
              <a:gd name="T77" fmla="*/ 11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60">
                <a:moveTo>
                  <a:pt x="160" y="64"/>
                </a:moveTo>
                <a:cubicBezTo>
                  <a:pt x="160" y="63"/>
                  <a:pt x="159" y="62"/>
                  <a:pt x="158" y="62"/>
                </a:cubicBezTo>
                <a:cubicBezTo>
                  <a:pt x="132" y="52"/>
                  <a:pt x="109" y="60"/>
                  <a:pt x="103" y="63"/>
                </a:cubicBezTo>
                <a:cubicBezTo>
                  <a:pt x="58" y="25"/>
                  <a:pt x="58" y="25"/>
                  <a:pt x="58" y="25"/>
                </a:cubicBezTo>
                <a:cubicBezTo>
                  <a:pt x="59" y="11"/>
                  <a:pt x="52" y="2"/>
                  <a:pt x="51" y="1"/>
                </a:cubicBezTo>
                <a:cubicBezTo>
                  <a:pt x="51" y="0"/>
                  <a:pt x="50" y="0"/>
                  <a:pt x="49" y="0"/>
                </a:cubicBezTo>
                <a:cubicBezTo>
                  <a:pt x="48" y="0"/>
                  <a:pt x="48" y="0"/>
                  <a:pt x="47" y="1"/>
                </a:cubicBezTo>
                <a:cubicBezTo>
                  <a:pt x="1" y="47"/>
                  <a:pt x="1" y="47"/>
                  <a:pt x="1" y="47"/>
                </a:cubicBezTo>
                <a:cubicBezTo>
                  <a:pt x="0" y="48"/>
                  <a:pt x="0" y="48"/>
                  <a:pt x="0" y="49"/>
                </a:cubicBezTo>
                <a:cubicBezTo>
                  <a:pt x="0" y="50"/>
                  <a:pt x="0" y="51"/>
                  <a:pt x="1" y="51"/>
                </a:cubicBezTo>
                <a:cubicBezTo>
                  <a:pt x="10" y="58"/>
                  <a:pt x="20" y="58"/>
                  <a:pt x="24" y="58"/>
                </a:cubicBezTo>
                <a:cubicBezTo>
                  <a:pt x="63" y="103"/>
                  <a:pt x="63" y="103"/>
                  <a:pt x="63" y="103"/>
                </a:cubicBezTo>
                <a:cubicBezTo>
                  <a:pt x="60" y="109"/>
                  <a:pt x="52" y="134"/>
                  <a:pt x="62" y="158"/>
                </a:cubicBezTo>
                <a:cubicBezTo>
                  <a:pt x="62" y="159"/>
                  <a:pt x="63" y="160"/>
                  <a:pt x="64" y="160"/>
                </a:cubicBezTo>
                <a:cubicBezTo>
                  <a:pt x="64" y="160"/>
                  <a:pt x="65" y="160"/>
                  <a:pt x="65" y="160"/>
                </a:cubicBezTo>
                <a:cubicBezTo>
                  <a:pt x="66" y="160"/>
                  <a:pt x="66" y="160"/>
                  <a:pt x="67" y="159"/>
                </a:cubicBezTo>
                <a:cubicBezTo>
                  <a:pt x="111" y="115"/>
                  <a:pt x="111" y="115"/>
                  <a:pt x="111" y="115"/>
                </a:cubicBezTo>
                <a:cubicBezTo>
                  <a:pt x="152" y="156"/>
                  <a:pt x="152" y="156"/>
                  <a:pt x="152" y="156"/>
                </a:cubicBezTo>
                <a:cubicBezTo>
                  <a:pt x="152" y="157"/>
                  <a:pt x="153" y="157"/>
                  <a:pt x="154" y="157"/>
                </a:cubicBezTo>
                <a:cubicBezTo>
                  <a:pt x="155" y="157"/>
                  <a:pt x="155" y="157"/>
                  <a:pt x="156" y="156"/>
                </a:cubicBezTo>
                <a:cubicBezTo>
                  <a:pt x="157" y="155"/>
                  <a:pt x="157" y="153"/>
                  <a:pt x="156" y="152"/>
                </a:cubicBezTo>
                <a:cubicBezTo>
                  <a:pt x="115" y="111"/>
                  <a:pt x="115" y="111"/>
                  <a:pt x="115" y="111"/>
                </a:cubicBezTo>
                <a:cubicBezTo>
                  <a:pt x="159" y="67"/>
                  <a:pt x="159" y="67"/>
                  <a:pt x="159" y="67"/>
                </a:cubicBezTo>
                <a:cubicBezTo>
                  <a:pt x="160" y="66"/>
                  <a:pt x="160" y="65"/>
                  <a:pt x="160" y="64"/>
                </a:cubicBezTo>
                <a:close/>
                <a:moveTo>
                  <a:pt x="107" y="111"/>
                </a:moveTo>
                <a:cubicBezTo>
                  <a:pt x="66" y="151"/>
                  <a:pt x="66" y="151"/>
                  <a:pt x="66" y="151"/>
                </a:cubicBezTo>
                <a:cubicBezTo>
                  <a:pt x="59" y="127"/>
                  <a:pt x="69" y="104"/>
                  <a:pt x="69" y="103"/>
                </a:cubicBezTo>
                <a:cubicBezTo>
                  <a:pt x="70" y="102"/>
                  <a:pt x="69" y="101"/>
                  <a:pt x="69" y="100"/>
                </a:cubicBezTo>
                <a:cubicBezTo>
                  <a:pt x="28" y="52"/>
                  <a:pt x="28" y="52"/>
                  <a:pt x="28" y="52"/>
                </a:cubicBezTo>
                <a:cubicBezTo>
                  <a:pt x="27" y="52"/>
                  <a:pt x="27" y="51"/>
                  <a:pt x="26" y="51"/>
                </a:cubicBezTo>
                <a:cubicBezTo>
                  <a:pt x="26" y="51"/>
                  <a:pt x="25" y="51"/>
                  <a:pt x="25" y="51"/>
                </a:cubicBezTo>
                <a:cubicBezTo>
                  <a:pt x="25" y="51"/>
                  <a:pt x="16" y="53"/>
                  <a:pt x="8" y="49"/>
                </a:cubicBezTo>
                <a:cubicBezTo>
                  <a:pt x="49" y="8"/>
                  <a:pt x="49" y="8"/>
                  <a:pt x="49" y="8"/>
                </a:cubicBezTo>
                <a:cubicBezTo>
                  <a:pt x="50" y="11"/>
                  <a:pt x="53" y="18"/>
                  <a:pt x="51" y="25"/>
                </a:cubicBezTo>
                <a:cubicBezTo>
                  <a:pt x="51" y="27"/>
                  <a:pt x="52" y="28"/>
                  <a:pt x="52" y="28"/>
                </a:cubicBezTo>
                <a:cubicBezTo>
                  <a:pt x="100" y="69"/>
                  <a:pt x="100" y="69"/>
                  <a:pt x="100" y="69"/>
                </a:cubicBezTo>
                <a:cubicBezTo>
                  <a:pt x="101" y="70"/>
                  <a:pt x="102" y="70"/>
                  <a:pt x="103" y="69"/>
                </a:cubicBezTo>
                <a:cubicBezTo>
                  <a:pt x="104" y="69"/>
                  <a:pt x="126" y="58"/>
                  <a:pt x="151" y="66"/>
                </a:cubicBezTo>
                <a:lnTo>
                  <a:pt x="107" y="1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36" name="Freeform 1338">
            <a:extLst>
              <a:ext uri="{FF2B5EF4-FFF2-40B4-BE49-F238E27FC236}">
                <a16:creationId xmlns:a16="http://schemas.microsoft.com/office/drawing/2014/main" id="{EB040B50-707F-9643-BA6B-F4FF2B08D562}"/>
              </a:ext>
            </a:extLst>
          </p:cNvPr>
          <p:cNvSpPr>
            <a:spLocks noEditPoints="1"/>
          </p:cNvSpPr>
          <p:nvPr/>
        </p:nvSpPr>
        <p:spPr bwMode="auto">
          <a:xfrm>
            <a:off x="5238325" y="2184400"/>
            <a:ext cx="600075" cy="582613"/>
          </a:xfrm>
          <a:custGeom>
            <a:avLst/>
            <a:gdLst>
              <a:gd name="T0" fmla="*/ 152 w 176"/>
              <a:gd name="T1" fmla="*/ 23 h 169"/>
              <a:gd name="T2" fmla="*/ 42 w 176"/>
              <a:gd name="T3" fmla="*/ 21 h 169"/>
              <a:gd name="T4" fmla="*/ 31 w 176"/>
              <a:gd name="T5" fmla="*/ 144 h 169"/>
              <a:gd name="T6" fmla="*/ 146 w 176"/>
              <a:gd name="T7" fmla="*/ 32 h 169"/>
              <a:gd name="T8" fmla="*/ 39 w 176"/>
              <a:gd name="T9" fmla="*/ 26 h 169"/>
              <a:gd name="T10" fmla="*/ 41 w 176"/>
              <a:gd name="T11" fmla="*/ 31 h 169"/>
              <a:gd name="T12" fmla="*/ 41 w 176"/>
              <a:gd name="T13" fmla="*/ 32 h 169"/>
              <a:gd name="T14" fmla="*/ 40 w 176"/>
              <a:gd name="T15" fmla="*/ 35 h 169"/>
              <a:gd name="T16" fmla="*/ 39 w 176"/>
              <a:gd name="T17" fmla="*/ 38 h 169"/>
              <a:gd name="T18" fmla="*/ 31 w 176"/>
              <a:gd name="T19" fmla="*/ 40 h 169"/>
              <a:gd name="T20" fmla="*/ 29 w 176"/>
              <a:gd name="T21" fmla="*/ 39 h 169"/>
              <a:gd name="T22" fmla="*/ 28 w 176"/>
              <a:gd name="T23" fmla="*/ 38 h 169"/>
              <a:gd name="T24" fmla="*/ 141 w 176"/>
              <a:gd name="T25" fmla="*/ 140 h 169"/>
              <a:gd name="T26" fmla="*/ 29 w 176"/>
              <a:gd name="T27" fmla="*/ 45 h 169"/>
              <a:gd name="T28" fmla="*/ 31 w 176"/>
              <a:gd name="T29" fmla="*/ 45 h 169"/>
              <a:gd name="T30" fmla="*/ 37 w 176"/>
              <a:gd name="T31" fmla="*/ 45 h 169"/>
              <a:gd name="T32" fmla="*/ 41 w 176"/>
              <a:gd name="T33" fmla="*/ 43 h 169"/>
              <a:gd name="T34" fmla="*/ 45 w 176"/>
              <a:gd name="T35" fmla="*/ 39 h 169"/>
              <a:gd name="T36" fmla="*/ 46 w 176"/>
              <a:gd name="T37" fmla="*/ 35 h 169"/>
              <a:gd name="T38" fmla="*/ 46 w 176"/>
              <a:gd name="T39" fmla="*/ 28 h 169"/>
              <a:gd name="T40" fmla="*/ 45 w 176"/>
              <a:gd name="T41" fmla="*/ 26 h 169"/>
              <a:gd name="T42" fmla="*/ 45 w 176"/>
              <a:gd name="T43" fmla="*/ 44 h 169"/>
              <a:gd name="T44" fmla="*/ 131 w 176"/>
              <a:gd name="T45" fmla="*/ 130 h 169"/>
              <a:gd name="T46" fmla="*/ 154 w 176"/>
              <a:gd name="T47" fmla="*/ 71 h 169"/>
              <a:gd name="T48" fmla="*/ 143 w 176"/>
              <a:gd name="T49" fmla="*/ 36 h 169"/>
              <a:gd name="T50" fmla="*/ 150 w 176"/>
              <a:gd name="T51" fmla="*/ 75 h 169"/>
              <a:gd name="T52" fmla="*/ 145 w 176"/>
              <a:gd name="T53" fmla="*/ 89 h 169"/>
              <a:gd name="T54" fmla="*/ 140 w 176"/>
              <a:gd name="T55" fmla="*/ 88 h 169"/>
              <a:gd name="T56" fmla="*/ 139 w 176"/>
              <a:gd name="T57" fmla="*/ 75 h 169"/>
              <a:gd name="T58" fmla="*/ 145 w 176"/>
              <a:gd name="T59" fmla="*/ 73 h 169"/>
              <a:gd name="T60" fmla="*/ 137 w 176"/>
              <a:gd name="T61" fmla="*/ 70 h 169"/>
              <a:gd name="T62" fmla="*/ 137 w 176"/>
              <a:gd name="T63" fmla="*/ 92 h 169"/>
              <a:gd name="T64" fmla="*/ 140 w 176"/>
              <a:gd name="T65" fmla="*/ 94 h 169"/>
              <a:gd name="T66" fmla="*/ 143 w 176"/>
              <a:gd name="T67" fmla="*/ 95 h 169"/>
              <a:gd name="T68" fmla="*/ 49 w 176"/>
              <a:gd name="T69" fmla="*/ 48 h 169"/>
              <a:gd name="T70" fmla="*/ 113 w 176"/>
              <a:gd name="T71" fmla="*/ 58 h 169"/>
              <a:gd name="T72" fmla="*/ 49 w 176"/>
              <a:gd name="T73" fmla="*/ 87 h 169"/>
              <a:gd name="T74" fmla="*/ 115 w 176"/>
              <a:gd name="T75" fmla="*/ 114 h 169"/>
              <a:gd name="T76" fmla="*/ 129 w 176"/>
              <a:gd name="T77" fmla="*/ 50 h 169"/>
              <a:gd name="T78" fmla="*/ 86 w 176"/>
              <a:gd name="T79" fmla="*/ 89 h 169"/>
              <a:gd name="T80" fmla="*/ 113 w 176"/>
              <a:gd name="T81" fmla="*/ 66 h 169"/>
              <a:gd name="T82" fmla="*/ 88 w 176"/>
              <a:gd name="T83" fmla="*/ 120 h 169"/>
              <a:gd name="T84" fmla="*/ 65 w 176"/>
              <a:gd name="T85" fmla="*/ 64 h 169"/>
              <a:gd name="T86" fmla="*/ 86 w 176"/>
              <a:gd name="T87"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6" h="169">
                <a:moveTo>
                  <a:pt x="146" y="32"/>
                </a:moveTo>
                <a:cubicBezTo>
                  <a:pt x="152" y="27"/>
                  <a:pt x="152" y="27"/>
                  <a:pt x="152" y="27"/>
                </a:cubicBezTo>
                <a:cubicBezTo>
                  <a:pt x="153" y="26"/>
                  <a:pt x="153" y="24"/>
                  <a:pt x="152" y="23"/>
                </a:cubicBezTo>
                <a:cubicBezTo>
                  <a:pt x="151" y="22"/>
                  <a:pt x="149" y="22"/>
                  <a:pt x="148" y="23"/>
                </a:cubicBezTo>
                <a:cubicBezTo>
                  <a:pt x="143" y="28"/>
                  <a:pt x="143" y="28"/>
                  <a:pt x="143" y="28"/>
                </a:cubicBezTo>
                <a:cubicBezTo>
                  <a:pt x="115" y="3"/>
                  <a:pt x="73" y="0"/>
                  <a:pt x="42" y="21"/>
                </a:cubicBezTo>
                <a:cubicBezTo>
                  <a:pt x="36" y="17"/>
                  <a:pt x="28" y="17"/>
                  <a:pt x="23" y="22"/>
                </a:cubicBezTo>
                <a:cubicBezTo>
                  <a:pt x="18" y="27"/>
                  <a:pt x="18" y="35"/>
                  <a:pt x="22" y="41"/>
                </a:cubicBezTo>
                <a:cubicBezTo>
                  <a:pt x="0" y="72"/>
                  <a:pt x="4" y="116"/>
                  <a:pt x="31" y="144"/>
                </a:cubicBezTo>
                <a:cubicBezTo>
                  <a:pt x="47" y="159"/>
                  <a:pt x="67" y="167"/>
                  <a:pt x="88" y="167"/>
                </a:cubicBezTo>
                <a:cubicBezTo>
                  <a:pt x="108" y="167"/>
                  <a:pt x="129" y="159"/>
                  <a:pt x="145" y="144"/>
                </a:cubicBezTo>
                <a:cubicBezTo>
                  <a:pt x="175" y="113"/>
                  <a:pt x="176" y="64"/>
                  <a:pt x="146" y="32"/>
                </a:cubicBezTo>
                <a:close/>
                <a:moveTo>
                  <a:pt x="27" y="26"/>
                </a:moveTo>
                <a:cubicBezTo>
                  <a:pt x="28" y="24"/>
                  <a:pt x="31" y="23"/>
                  <a:pt x="33" y="23"/>
                </a:cubicBezTo>
                <a:cubicBezTo>
                  <a:pt x="35" y="23"/>
                  <a:pt x="37" y="24"/>
                  <a:pt x="39" y="26"/>
                </a:cubicBezTo>
                <a:cubicBezTo>
                  <a:pt x="39" y="26"/>
                  <a:pt x="39" y="26"/>
                  <a:pt x="39" y="27"/>
                </a:cubicBezTo>
                <a:cubicBezTo>
                  <a:pt x="39" y="27"/>
                  <a:pt x="39" y="27"/>
                  <a:pt x="39" y="27"/>
                </a:cubicBezTo>
                <a:cubicBezTo>
                  <a:pt x="40" y="28"/>
                  <a:pt x="41" y="29"/>
                  <a:pt x="41" y="31"/>
                </a:cubicBezTo>
                <a:cubicBezTo>
                  <a:pt x="41" y="31"/>
                  <a:pt x="41" y="31"/>
                  <a:pt x="41" y="31"/>
                </a:cubicBezTo>
                <a:cubicBezTo>
                  <a:pt x="41" y="31"/>
                  <a:pt x="41" y="32"/>
                  <a:pt x="41" y="32"/>
                </a:cubicBezTo>
                <a:cubicBezTo>
                  <a:pt x="41" y="32"/>
                  <a:pt x="41" y="32"/>
                  <a:pt x="41" y="32"/>
                </a:cubicBezTo>
                <a:cubicBezTo>
                  <a:pt x="41" y="33"/>
                  <a:pt x="41" y="33"/>
                  <a:pt x="41" y="34"/>
                </a:cubicBezTo>
                <a:cubicBezTo>
                  <a:pt x="41" y="34"/>
                  <a:pt x="41" y="34"/>
                  <a:pt x="41" y="34"/>
                </a:cubicBezTo>
                <a:cubicBezTo>
                  <a:pt x="41" y="34"/>
                  <a:pt x="40" y="35"/>
                  <a:pt x="40" y="35"/>
                </a:cubicBezTo>
                <a:cubicBezTo>
                  <a:pt x="40" y="35"/>
                  <a:pt x="40" y="35"/>
                  <a:pt x="40" y="36"/>
                </a:cubicBezTo>
                <a:cubicBezTo>
                  <a:pt x="40" y="36"/>
                  <a:pt x="40" y="36"/>
                  <a:pt x="40" y="36"/>
                </a:cubicBezTo>
                <a:cubicBezTo>
                  <a:pt x="39" y="37"/>
                  <a:pt x="39" y="37"/>
                  <a:pt x="39" y="38"/>
                </a:cubicBezTo>
                <a:cubicBezTo>
                  <a:pt x="38" y="38"/>
                  <a:pt x="38" y="38"/>
                  <a:pt x="37" y="39"/>
                </a:cubicBezTo>
                <a:cubicBezTo>
                  <a:pt x="37" y="39"/>
                  <a:pt x="37" y="39"/>
                  <a:pt x="37" y="39"/>
                </a:cubicBezTo>
                <a:cubicBezTo>
                  <a:pt x="35" y="40"/>
                  <a:pt x="33" y="40"/>
                  <a:pt x="31" y="40"/>
                </a:cubicBezTo>
                <a:cubicBezTo>
                  <a:pt x="31" y="40"/>
                  <a:pt x="31" y="40"/>
                  <a:pt x="31" y="40"/>
                </a:cubicBezTo>
                <a:cubicBezTo>
                  <a:pt x="31" y="40"/>
                  <a:pt x="30" y="40"/>
                  <a:pt x="30" y="39"/>
                </a:cubicBezTo>
                <a:cubicBezTo>
                  <a:pt x="30" y="39"/>
                  <a:pt x="30" y="39"/>
                  <a:pt x="29" y="39"/>
                </a:cubicBezTo>
                <a:cubicBezTo>
                  <a:pt x="29" y="39"/>
                  <a:pt x="29" y="39"/>
                  <a:pt x="29" y="39"/>
                </a:cubicBezTo>
                <a:cubicBezTo>
                  <a:pt x="28" y="39"/>
                  <a:pt x="28" y="39"/>
                  <a:pt x="28" y="38"/>
                </a:cubicBezTo>
                <a:cubicBezTo>
                  <a:pt x="28" y="38"/>
                  <a:pt x="28" y="38"/>
                  <a:pt x="28" y="38"/>
                </a:cubicBezTo>
                <a:cubicBezTo>
                  <a:pt x="27" y="38"/>
                  <a:pt x="27" y="38"/>
                  <a:pt x="27" y="38"/>
                </a:cubicBezTo>
                <a:cubicBezTo>
                  <a:pt x="24" y="34"/>
                  <a:pt x="24" y="29"/>
                  <a:pt x="27" y="26"/>
                </a:cubicBezTo>
                <a:close/>
                <a:moveTo>
                  <a:pt x="141" y="140"/>
                </a:moveTo>
                <a:cubicBezTo>
                  <a:pt x="112" y="169"/>
                  <a:pt x="64" y="169"/>
                  <a:pt x="35" y="140"/>
                </a:cubicBezTo>
                <a:cubicBezTo>
                  <a:pt x="10" y="114"/>
                  <a:pt x="6" y="74"/>
                  <a:pt x="27" y="44"/>
                </a:cubicBezTo>
                <a:cubicBezTo>
                  <a:pt x="27" y="44"/>
                  <a:pt x="28" y="45"/>
                  <a:pt x="29" y="45"/>
                </a:cubicBezTo>
                <a:cubicBezTo>
                  <a:pt x="29" y="45"/>
                  <a:pt x="29" y="45"/>
                  <a:pt x="29" y="45"/>
                </a:cubicBezTo>
                <a:cubicBezTo>
                  <a:pt x="30" y="45"/>
                  <a:pt x="30" y="45"/>
                  <a:pt x="31" y="45"/>
                </a:cubicBezTo>
                <a:cubicBezTo>
                  <a:pt x="31" y="45"/>
                  <a:pt x="31" y="45"/>
                  <a:pt x="31" y="45"/>
                </a:cubicBezTo>
                <a:cubicBezTo>
                  <a:pt x="32" y="45"/>
                  <a:pt x="32" y="46"/>
                  <a:pt x="33" y="46"/>
                </a:cubicBezTo>
                <a:cubicBezTo>
                  <a:pt x="34" y="46"/>
                  <a:pt x="35" y="45"/>
                  <a:pt x="37" y="45"/>
                </a:cubicBezTo>
                <a:cubicBezTo>
                  <a:pt x="37" y="45"/>
                  <a:pt x="37" y="45"/>
                  <a:pt x="37" y="45"/>
                </a:cubicBezTo>
                <a:cubicBezTo>
                  <a:pt x="38" y="45"/>
                  <a:pt x="38" y="44"/>
                  <a:pt x="39" y="44"/>
                </a:cubicBezTo>
                <a:cubicBezTo>
                  <a:pt x="39" y="44"/>
                  <a:pt x="39" y="44"/>
                  <a:pt x="40" y="44"/>
                </a:cubicBezTo>
                <a:cubicBezTo>
                  <a:pt x="40" y="43"/>
                  <a:pt x="40" y="43"/>
                  <a:pt x="41" y="43"/>
                </a:cubicBezTo>
                <a:cubicBezTo>
                  <a:pt x="41" y="43"/>
                  <a:pt x="42" y="42"/>
                  <a:pt x="43" y="41"/>
                </a:cubicBezTo>
                <a:cubicBezTo>
                  <a:pt x="43" y="41"/>
                  <a:pt x="44" y="40"/>
                  <a:pt x="44" y="40"/>
                </a:cubicBezTo>
                <a:cubicBezTo>
                  <a:pt x="44" y="39"/>
                  <a:pt x="44" y="39"/>
                  <a:pt x="45" y="39"/>
                </a:cubicBezTo>
                <a:cubicBezTo>
                  <a:pt x="45" y="38"/>
                  <a:pt x="45" y="38"/>
                  <a:pt x="45" y="37"/>
                </a:cubicBezTo>
                <a:cubicBezTo>
                  <a:pt x="45" y="37"/>
                  <a:pt x="46" y="37"/>
                  <a:pt x="46" y="36"/>
                </a:cubicBezTo>
                <a:cubicBezTo>
                  <a:pt x="46" y="36"/>
                  <a:pt x="46" y="36"/>
                  <a:pt x="46" y="35"/>
                </a:cubicBezTo>
                <a:cubicBezTo>
                  <a:pt x="46" y="34"/>
                  <a:pt x="47" y="32"/>
                  <a:pt x="46" y="30"/>
                </a:cubicBezTo>
                <a:cubicBezTo>
                  <a:pt x="46" y="30"/>
                  <a:pt x="46" y="30"/>
                  <a:pt x="46" y="30"/>
                </a:cubicBezTo>
                <a:cubicBezTo>
                  <a:pt x="46" y="29"/>
                  <a:pt x="46" y="29"/>
                  <a:pt x="46" y="28"/>
                </a:cubicBezTo>
                <a:cubicBezTo>
                  <a:pt x="46" y="28"/>
                  <a:pt x="46" y="28"/>
                  <a:pt x="46" y="28"/>
                </a:cubicBezTo>
                <a:cubicBezTo>
                  <a:pt x="46" y="27"/>
                  <a:pt x="45" y="26"/>
                  <a:pt x="45" y="26"/>
                </a:cubicBezTo>
                <a:cubicBezTo>
                  <a:pt x="45" y="26"/>
                  <a:pt x="45" y="26"/>
                  <a:pt x="45" y="26"/>
                </a:cubicBezTo>
                <a:cubicBezTo>
                  <a:pt x="74" y="6"/>
                  <a:pt x="113" y="9"/>
                  <a:pt x="139" y="32"/>
                </a:cubicBezTo>
                <a:cubicBezTo>
                  <a:pt x="129" y="42"/>
                  <a:pt x="129" y="42"/>
                  <a:pt x="129" y="42"/>
                </a:cubicBezTo>
                <a:cubicBezTo>
                  <a:pt x="105" y="20"/>
                  <a:pt x="68" y="21"/>
                  <a:pt x="45" y="44"/>
                </a:cubicBezTo>
                <a:cubicBezTo>
                  <a:pt x="21" y="68"/>
                  <a:pt x="21" y="106"/>
                  <a:pt x="45" y="130"/>
                </a:cubicBezTo>
                <a:cubicBezTo>
                  <a:pt x="57" y="142"/>
                  <a:pt x="72" y="148"/>
                  <a:pt x="88" y="148"/>
                </a:cubicBezTo>
                <a:cubicBezTo>
                  <a:pt x="104" y="148"/>
                  <a:pt x="119" y="142"/>
                  <a:pt x="131" y="130"/>
                </a:cubicBezTo>
                <a:cubicBezTo>
                  <a:pt x="140" y="120"/>
                  <a:pt x="147" y="108"/>
                  <a:pt x="148" y="94"/>
                </a:cubicBezTo>
                <a:cubicBezTo>
                  <a:pt x="150" y="94"/>
                  <a:pt x="153" y="93"/>
                  <a:pt x="154" y="91"/>
                </a:cubicBezTo>
                <a:cubicBezTo>
                  <a:pt x="160" y="85"/>
                  <a:pt x="160" y="77"/>
                  <a:pt x="154" y="71"/>
                </a:cubicBezTo>
                <a:cubicBezTo>
                  <a:pt x="152" y="69"/>
                  <a:pt x="149" y="68"/>
                  <a:pt x="145" y="67"/>
                </a:cubicBezTo>
                <a:cubicBezTo>
                  <a:pt x="143" y="59"/>
                  <a:pt x="138" y="52"/>
                  <a:pt x="133" y="46"/>
                </a:cubicBezTo>
                <a:cubicBezTo>
                  <a:pt x="143" y="36"/>
                  <a:pt x="143" y="36"/>
                  <a:pt x="143" y="36"/>
                </a:cubicBezTo>
                <a:cubicBezTo>
                  <a:pt x="170" y="65"/>
                  <a:pt x="169" y="111"/>
                  <a:pt x="141" y="140"/>
                </a:cubicBezTo>
                <a:close/>
                <a:moveTo>
                  <a:pt x="145" y="73"/>
                </a:moveTo>
                <a:cubicBezTo>
                  <a:pt x="147" y="73"/>
                  <a:pt x="149" y="74"/>
                  <a:pt x="150" y="75"/>
                </a:cubicBezTo>
                <a:cubicBezTo>
                  <a:pt x="154" y="78"/>
                  <a:pt x="154" y="84"/>
                  <a:pt x="150" y="87"/>
                </a:cubicBezTo>
                <a:cubicBezTo>
                  <a:pt x="149" y="88"/>
                  <a:pt x="148" y="89"/>
                  <a:pt x="146" y="89"/>
                </a:cubicBezTo>
                <a:cubicBezTo>
                  <a:pt x="145" y="89"/>
                  <a:pt x="145" y="89"/>
                  <a:pt x="145" y="89"/>
                </a:cubicBezTo>
                <a:cubicBezTo>
                  <a:pt x="144" y="89"/>
                  <a:pt x="143" y="89"/>
                  <a:pt x="142" y="89"/>
                </a:cubicBezTo>
                <a:cubicBezTo>
                  <a:pt x="142" y="89"/>
                  <a:pt x="142" y="89"/>
                  <a:pt x="142" y="89"/>
                </a:cubicBezTo>
                <a:cubicBezTo>
                  <a:pt x="141" y="89"/>
                  <a:pt x="141" y="88"/>
                  <a:pt x="140" y="88"/>
                </a:cubicBezTo>
                <a:cubicBezTo>
                  <a:pt x="140" y="88"/>
                  <a:pt x="140" y="88"/>
                  <a:pt x="140" y="88"/>
                </a:cubicBezTo>
                <a:cubicBezTo>
                  <a:pt x="140" y="88"/>
                  <a:pt x="139" y="87"/>
                  <a:pt x="139" y="87"/>
                </a:cubicBezTo>
                <a:cubicBezTo>
                  <a:pt x="136" y="84"/>
                  <a:pt x="136" y="78"/>
                  <a:pt x="139" y="75"/>
                </a:cubicBezTo>
                <a:cubicBezTo>
                  <a:pt x="140" y="74"/>
                  <a:pt x="142" y="73"/>
                  <a:pt x="144" y="73"/>
                </a:cubicBezTo>
                <a:cubicBezTo>
                  <a:pt x="145" y="73"/>
                  <a:pt x="145" y="73"/>
                  <a:pt x="145" y="73"/>
                </a:cubicBezTo>
                <a:cubicBezTo>
                  <a:pt x="145" y="73"/>
                  <a:pt x="145" y="73"/>
                  <a:pt x="145" y="73"/>
                </a:cubicBezTo>
                <a:close/>
                <a:moveTo>
                  <a:pt x="140" y="68"/>
                </a:moveTo>
                <a:cubicBezTo>
                  <a:pt x="139" y="68"/>
                  <a:pt x="138" y="69"/>
                  <a:pt x="138" y="69"/>
                </a:cubicBezTo>
                <a:cubicBezTo>
                  <a:pt x="137" y="69"/>
                  <a:pt x="137" y="69"/>
                  <a:pt x="137" y="70"/>
                </a:cubicBezTo>
                <a:cubicBezTo>
                  <a:pt x="136" y="70"/>
                  <a:pt x="136" y="71"/>
                  <a:pt x="135" y="71"/>
                </a:cubicBezTo>
                <a:cubicBezTo>
                  <a:pt x="129" y="77"/>
                  <a:pt x="129" y="85"/>
                  <a:pt x="135" y="91"/>
                </a:cubicBezTo>
                <a:cubicBezTo>
                  <a:pt x="135" y="91"/>
                  <a:pt x="136" y="92"/>
                  <a:pt x="137" y="92"/>
                </a:cubicBezTo>
                <a:cubicBezTo>
                  <a:pt x="137" y="93"/>
                  <a:pt x="137" y="93"/>
                  <a:pt x="138" y="93"/>
                </a:cubicBezTo>
                <a:cubicBezTo>
                  <a:pt x="138" y="93"/>
                  <a:pt x="138" y="93"/>
                  <a:pt x="139" y="94"/>
                </a:cubicBezTo>
                <a:cubicBezTo>
                  <a:pt x="139" y="94"/>
                  <a:pt x="140" y="94"/>
                  <a:pt x="140" y="94"/>
                </a:cubicBezTo>
                <a:cubicBezTo>
                  <a:pt x="140" y="94"/>
                  <a:pt x="141" y="94"/>
                  <a:pt x="141" y="94"/>
                </a:cubicBezTo>
                <a:cubicBezTo>
                  <a:pt x="142" y="95"/>
                  <a:pt x="142" y="95"/>
                  <a:pt x="142" y="95"/>
                </a:cubicBezTo>
                <a:cubicBezTo>
                  <a:pt x="143" y="95"/>
                  <a:pt x="143" y="95"/>
                  <a:pt x="143" y="95"/>
                </a:cubicBezTo>
                <a:cubicBezTo>
                  <a:pt x="141" y="107"/>
                  <a:pt x="135" y="118"/>
                  <a:pt x="127" y="126"/>
                </a:cubicBezTo>
                <a:cubicBezTo>
                  <a:pt x="105" y="148"/>
                  <a:pt x="70" y="148"/>
                  <a:pt x="49" y="126"/>
                </a:cubicBezTo>
                <a:cubicBezTo>
                  <a:pt x="27" y="104"/>
                  <a:pt x="27" y="69"/>
                  <a:pt x="49" y="48"/>
                </a:cubicBezTo>
                <a:cubicBezTo>
                  <a:pt x="60" y="37"/>
                  <a:pt x="74" y="32"/>
                  <a:pt x="88" y="32"/>
                </a:cubicBezTo>
                <a:cubicBezTo>
                  <a:pt x="101" y="32"/>
                  <a:pt x="114" y="37"/>
                  <a:pt x="125" y="46"/>
                </a:cubicBezTo>
                <a:cubicBezTo>
                  <a:pt x="113" y="58"/>
                  <a:pt x="113" y="58"/>
                  <a:pt x="113" y="58"/>
                </a:cubicBezTo>
                <a:cubicBezTo>
                  <a:pt x="106" y="52"/>
                  <a:pt x="97" y="48"/>
                  <a:pt x="88" y="48"/>
                </a:cubicBezTo>
                <a:cubicBezTo>
                  <a:pt x="78" y="48"/>
                  <a:pt x="68" y="52"/>
                  <a:pt x="61" y="60"/>
                </a:cubicBezTo>
                <a:cubicBezTo>
                  <a:pt x="53" y="67"/>
                  <a:pt x="49" y="77"/>
                  <a:pt x="49" y="87"/>
                </a:cubicBezTo>
                <a:cubicBezTo>
                  <a:pt x="49" y="97"/>
                  <a:pt x="53" y="107"/>
                  <a:pt x="61" y="114"/>
                </a:cubicBezTo>
                <a:cubicBezTo>
                  <a:pt x="68" y="122"/>
                  <a:pt x="78" y="126"/>
                  <a:pt x="88" y="126"/>
                </a:cubicBezTo>
                <a:cubicBezTo>
                  <a:pt x="98" y="126"/>
                  <a:pt x="108" y="122"/>
                  <a:pt x="115" y="114"/>
                </a:cubicBezTo>
                <a:cubicBezTo>
                  <a:pt x="123" y="107"/>
                  <a:pt x="127" y="97"/>
                  <a:pt x="127" y="87"/>
                </a:cubicBezTo>
                <a:cubicBezTo>
                  <a:pt x="127" y="78"/>
                  <a:pt x="123" y="69"/>
                  <a:pt x="117" y="62"/>
                </a:cubicBezTo>
                <a:cubicBezTo>
                  <a:pt x="129" y="50"/>
                  <a:pt x="129" y="50"/>
                  <a:pt x="129" y="50"/>
                </a:cubicBezTo>
                <a:cubicBezTo>
                  <a:pt x="134" y="55"/>
                  <a:pt x="137" y="61"/>
                  <a:pt x="140" y="68"/>
                </a:cubicBezTo>
                <a:cubicBezTo>
                  <a:pt x="140" y="68"/>
                  <a:pt x="140" y="68"/>
                  <a:pt x="140" y="68"/>
                </a:cubicBezTo>
                <a:close/>
                <a:moveTo>
                  <a:pt x="86" y="89"/>
                </a:moveTo>
                <a:cubicBezTo>
                  <a:pt x="87" y="89"/>
                  <a:pt x="87" y="90"/>
                  <a:pt x="88" y="90"/>
                </a:cubicBezTo>
                <a:cubicBezTo>
                  <a:pt x="89" y="90"/>
                  <a:pt x="89" y="89"/>
                  <a:pt x="90" y="89"/>
                </a:cubicBezTo>
                <a:cubicBezTo>
                  <a:pt x="113" y="66"/>
                  <a:pt x="113" y="66"/>
                  <a:pt x="113" y="66"/>
                </a:cubicBezTo>
                <a:cubicBezTo>
                  <a:pt x="118" y="72"/>
                  <a:pt x="121" y="79"/>
                  <a:pt x="121" y="87"/>
                </a:cubicBezTo>
                <a:cubicBezTo>
                  <a:pt x="121" y="96"/>
                  <a:pt x="118" y="104"/>
                  <a:pt x="111" y="110"/>
                </a:cubicBezTo>
                <a:cubicBezTo>
                  <a:pt x="105" y="117"/>
                  <a:pt x="97" y="120"/>
                  <a:pt x="88" y="120"/>
                </a:cubicBezTo>
                <a:cubicBezTo>
                  <a:pt x="79" y="120"/>
                  <a:pt x="71" y="117"/>
                  <a:pt x="65" y="110"/>
                </a:cubicBezTo>
                <a:cubicBezTo>
                  <a:pt x="58" y="104"/>
                  <a:pt x="55" y="96"/>
                  <a:pt x="55" y="87"/>
                </a:cubicBezTo>
                <a:cubicBezTo>
                  <a:pt x="55" y="78"/>
                  <a:pt x="58" y="70"/>
                  <a:pt x="65" y="64"/>
                </a:cubicBezTo>
                <a:cubicBezTo>
                  <a:pt x="71" y="57"/>
                  <a:pt x="79" y="54"/>
                  <a:pt x="88" y="54"/>
                </a:cubicBezTo>
                <a:cubicBezTo>
                  <a:pt x="96" y="54"/>
                  <a:pt x="103" y="57"/>
                  <a:pt x="109" y="62"/>
                </a:cubicBezTo>
                <a:cubicBezTo>
                  <a:pt x="86" y="85"/>
                  <a:pt x="86" y="85"/>
                  <a:pt x="86" y="85"/>
                </a:cubicBezTo>
                <a:cubicBezTo>
                  <a:pt x="85" y="86"/>
                  <a:pt x="85" y="88"/>
                  <a:pt x="86" y="8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37" name="Freeform 1339">
            <a:extLst>
              <a:ext uri="{FF2B5EF4-FFF2-40B4-BE49-F238E27FC236}">
                <a16:creationId xmlns:a16="http://schemas.microsoft.com/office/drawing/2014/main" id="{B131049F-150D-0F42-90F3-B14970597F63}"/>
              </a:ext>
            </a:extLst>
          </p:cNvPr>
          <p:cNvSpPr>
            <a:spLocks noEditPoints="1"/>
          </p:cNvSpPr>
          <p:nvPr/>
        </p:nvSpPr>
        <p:spPr bwMode="auto">
          <a:xfrm>
            <a:off x="5265312" y="2882900"/>
            <a:ext cx="546100" cy="468313"/>
          </a:xfrm>
          <a:custGeom>
            <a:avLst/>
            <a:gdLst>
              <a:gd name="T0" fmla="*/ 149 w 160"/>
              <a:gd name="T1" fmla="*/ 0 h 136"/>
              <a:gd name="T2" fmla="*/ 88 w 160"/>
              <a:gd name="T3" fmla="*/ 0 h 136"/>
              <a:gd name="T4" fmla="*/ 80 w 160"/>
              <a:gd name="T5" fmla="*/ 4 h 136"/>
              <a:gd name="T6" fmla="*/ 72 w 160"/>
              <a:gd name="T7" fmla="*/ 0 h 136"/>
              <a:gd name="T8" fmla="*/ 11 w 160"/>
              <a:gd name="T9" fmla="*/ 0 h 136"/>
              <a:gd name="T10" fmla="*/ 0 w 160"/>
              <a:gd name="T11" fmla="*/ 11 h 136"/>
              <a:gd name="T12" fmla="*/ 0 w 160"/>
              <a:gd name="T13" fmla="*/ 115 h 136"/>
              <a:gd name="T14" fmla="*/ 11 w 160"/>
              <a:gd name="T15" fmla="*/ 125 h 136"/>
              <a:gd name="T16" fmla="*/ 69 w 160"/>
              <a:gd name="T17" fmla="*/ 125 h 136"/>
              <a:gd name="T18" fmla="*/ 77 w 160"/>
              <a:gd name="T19" fmla="*/ 133 h 136"/>
              <a:gd name="T20" fmla="*/ 80 w 160"/>
              <a:gd name="T21" fmla="*/ 136 h 136"/>
              <a:gd name="T22" fmla="*/ 83 w 160"/>
              <a:gd name="T23" fmla="*/ 133 h 136"/>
              <a:gd name="T24" fmla="*/ 91 w 160"/>
              <a:gd name="T25" fmla="*/ 125 h 136"/>
              <a:gd name="T26" fmla="*/ 149 w 160"/>
              <a:gd name="T27" fmla="*/ 125 h 136"/>
              <a:gd name="T28" fmla="*/ 160 w 160"/>
              <a:gd name="T29" fmla="*/ 115 h 136"/>
              <a:gd name="T30" fmla="*/ 160 w 160"/>
              <a:gd name="T31" fmla="*/ 11 h 136"/>
              <a:gd name="T32" fmla="*/ 149 w 160"/>
              <a:gd name="T33" fmla="*/ 0 h 136"/>
              <a:gd name="T34" fmla="*/ 77 w 160"/>
              <a:gd name="T35" fmla="*/ 123 h 136"/>
              <a:gd name="T36" fmla="*/ 69 w 160"/>
              <a:gd name="T37" fmla="*/ 120 h 136"/>
              <a:gd name="T38" fmla="*/ 11 w 160"/>
              <a:gd name="T39" fmla="*/ 120 h 136"/>
              <a:gd name="T40" fmla="*/ 5 w 160"/>
              <a:gd name="T41" fmla="*/ 115 h 136"/>
              <a:gd name="T42" fmla="*/ 5 w 160"/>
              <a:gd name="T43" fmla="*/ 11 h 136"/>
              <a:gd name="T44" fmla="*/ 11 w 160"/>
              <a:gd name="T45" fmla="*/ 5 h 136"/>
              <a:gd name="T46" fmla="*/ 72 w 160"/>
              <a:gd name="T47" fmla="*/ 5 h 136"/>
              <a:gd name="T48" fmla="*/ 77 w 160"/>
              <a:gd name="T49" fmla="*/ 11 h 136"/>
              <a:gd name="T50" fmla="*/ 77 w 160"/>
              <a:gd name="T51" fmla="*/ 123 h 136"/>
              <a:gd name="T52" fmla="*/ 155 w 160"/>
              <a:gd name="T53" fmla="*/ 115 h 136"/>
              <a:gd name="T54" fmla="*/ 149 w 160"/>
              <a:gd name="T55" fmla="*/ 120 h 136"/>
              <a:gd name="T56" fmla="*/ 91 w 160"/>
              <a:gd name="T57" fmla="*/ 120 h 136"/>
              <a:gd name="T58" fmla="*/ 83 w 160"/>
              <a:gd name="T59" fmla="*/ 123 h 136"/>
              <a:gd name="T60" fmla="*/ 83 w 160"/>
              <a:gd name="T61" fmla="*/ 11 h 136"/>
              <a:gd name="T62" fmla="*/ 88 w 160"/>
              <a:gd name="T63" fmla="*/ 5 h 136"/>
              <a:gd name="T64" fmla="*/ 149 w 160"/>
              <a:gd name="T65" fmla="*/ 5 h 136"/>
              <a:gd name="T66" fmla="*/ 155 w 160"/>
              <a:gd name="T67" fmla="*/ 11 h 136"/>
              <a:gd name="T68" fmla="*/ 155 w 160"/>
              <a:gd name="T69" fmla="*/ 11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36">
                <a:moveTo>
                  <a:pt x="149" y="0"/>
                </a:moveTo>
                <a:cubicBezTo>
                  <a:pt x="88" y="0"/>
                  <a:pt x="88" y="0"/>
                  <a:pt x="88" y="0"/>
                </a:cubicBezTo>
                <a:cubicBezTo>
                  <a:pt x="85" y="0"/>
                  <a:pt x="82" y="1"/>
                  <a:pt x="80" y="4"/>
                </a:cubicBezTo>
                <a:cubicBezTo>
                  <a:pt x="78" y="1"/>
                  <a:pt x="75" y="0"/>
                  <a:pt x="72" y="0"/>
                </a:cubicBezTo>
                <a:cubicBezTo>
                  <a:pt x="11" y="0"/>
                  <a:pt x="11" y="0"/>
                  <a:pt x="11" y="0"/>
                </a:cubicBezTo>
                <a:cubicBezTo>
                  <a:pt x="5" y="0"/>
                  <a:pt x="0" y="5"/>
                  <a:pt x="0" y="11"/>
                </a:cubicBezTo>
                <a:cubicBezTo>
                  <a:pt x="0" y="115"/>
                  <a:pt x="0" y="115"/>
                  <a:pt x="0" y="115"/>
                </a:cubicBezTo>
                <a:cubicBezTo>
                  <a:pt x="0" y="121"/>
                  <a:pt x="5" y="125"/>
                  <a:pt x="11" y="125"/>
                </a:cubicBezTo>
                <a:cubicBezTo>
                  <a:pt x="69" y="125"/>
                  <a:pt x="69" y="125"/>
                  <a:pt x="69" y="125"/>
                </a:cubicBezTo>
                <a:cubicBezTo>
                  <a:pt x="72" y="125"/>
                  <a:pt x="77" y="129"/>
                  <a:pt x="77" y="133"/>
                </a:cubicBezTo>
                <a:cubicBezTo>
                  <a:pt x="77" y="135"/>
                  <a:pt x="79" y="136"/>
                  <a:pt x="80" y="136"/>
                </a:cubicBezTo>
                <a:cubicBezTo>
                  <a:pt x="81" y="136"/>
                  <a:pt x="83" y="135"/>
                  <a:pt x="83" y="133"/>
                </a:cubicBezTo>
                <a:cubicBezTo>
                  <a:pt x="83" y="129"/>
                  <a:pt x="88" y="125"/>
                  <a:pt x="91" y="125"/>
                </a:cubicBezTo>
                <a:cubicBezTo>
                  <a:pt x="149" y="125"/>
                  <a:pt x="149" y="125"/>
                  <a:pt x="149" y="125"/>
                </a:cubicBezTo>
                <a:cubicBezTo>
                  <a:pt x="155" y="125"/>
                  <a:pt x="160" y="121"/>
                  <a:pt x="160" y="115"/>
                </a:cubicBezTo>
                <a:cubicBezTo>
                  <a:pt x="160" y="11"/>
                  <a:pt x="160" y="11"/>
                  <a:pt x="160" y="11"/>
                </a:cubicBezTo>
                <a:cubicBezTo>
                  <a:pt x="160" y="5"/>
                  <a:pt x="155" y="0"/>
                  <a:pt x="149" y="0"/>
                </a:cubicBezTo>
                <a:close/>
                <a:moveTo>
                  <a:pt x="77" y="123"/>
                </a:moveTo>
                <a:cubicBezTo>
                  <a:pt x="75" y="121"/>
                  <a:pt x="72" y="120"/>
                  <a:pt x="69" y="120"/>
                </a:cubicBezTo>
                <a:cubicBezTo>
                  <a:pt x="11" y="120"/>
                  <a:pt x="11" y="120"/>
                  <a:pt x="11" y="120"/>
                </a:cubicBezTo>
                <a:cubicBezTo>
                  <a:pt x="8" y="120"/>
                  <a:pt x="5" y="118"/>
                  <a:pt x="5" y="115"/>
                </a:cubicBezTo>
                <a:cubicBezTo>
                  <a:pt x="5" y="11"/>
                  <a:pt x="5" y="11"/>
                  <a:pt x="5" y="11"/>
                </a:cubicBezTo>
                <a:cubicBezTo>
                  <a:pt x="5" y="8"/>
                  <a:pt x="8" y="5"/>
                  <a:pt x="11" y="5"/>
                </a:cubicBezTo>
                <a:cubicBezTo>
                  <a:pt x="72" y="5"/>
                  <a:pt x="72" y="5"/>
                  <a:pt x="72" y="5"/>
                </a:cubicBezTo>
                <a:cubicBezTo>
                  <a:pt x="75" y="5"/>
                  <a:pt x="77" y="8"/>
                  <a:pt x="77" y="11"/>
                </a:cubicBezTo>
                <a:lnTo>
                  <a:pt x="77" y="123"/>
                </a:lnTo>
                <a:close/>
                <a:moveTo>
                  <a:pt x="155" y="115"/>
                </a:moveTo>
                <a:cubicBezTo>
                  <a:pt x="155" y="118"/>
                  <a:pt x="152" y="120"/>
                  <a:pt x="149" y="120"/>
                </a:cubicBezTo>
                <a:cubicBezTo>
                  <a:pt x="91" y="120"/>
                  <a:pt x="91" y="120"/>
                  <a:pt x="91" y="120"/>
                </a:cubicBezTo>
                <a:cubicBezTo>
                  <a:pt x="88" y="120"/>
                  <a:pt x="85" y="121"/>
                  <a:pt x="83" y="123"/>
                </a:cubicBezTo>
                <a:cubicBezTo>
                  <a:pt x="83" y="11"/>
                  <a:pt x="83" y="11"/>
                  <a:pt x="83" y="11"/>
                </a:cubicBezTo>
                <a:cubicBezTo>
                  <a:pt x="83" y="8"/>
                  <a:pt x="85" y="5"/>
                  <a:pt x="88" y="5"/>
                </a:cubicBezTo>
                <a:cubicBezTo>
                  <a:pt x="149" y="5"/>
                  <a:pt x="149" y="5"/>
                  <a:pt x="149" y="5"/>
                </a:cubicBezTo>
                <a:cubicBezTo>
                  <a:pt x="152" y="5"/>
                  <a:pt x="155" y="8"/>
                  <a:pt x="155" y="11"/>
                </a:cubicBezTo>
                <a:lnTo>
                  <a:pt x="155" y="1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38" name="Freeform 1340">
            <a:extLst>
              <a:ext uri="{FF2B5EF4-FFF2-40B4-BE49-F238E27FC236}">
                <a16:creationId xmlns:a16="http://schemas.microsoft.com/office/drawing/2014/main" id="{5E5B93C3-6A3A-804E-9D77-CFCB3EECF5CE}"/>
              </a:ext>
            </a:extLst>
          </p:cNvPr>
          <p:cNvSpPr>
            <a:spLocks noEditPoints="1"/>
          </p:cNvSpPr>
          <p:nvPr/>
        </p:nvSpPr>
        <p:spPr bwMode="auto">
          <a:xfrm>
            <a:off x="5265312" y="3613150"/>
            <a:ext cx="546100" cy="236538"/>
          </a:xfrm>
          <a:custGeom>
            <a:avLst/>
            <a:gdLst>
              <a:gd name="T0" fmla="*/ 125 w 160"/>
              <a:gd name="T1" fmla="*/ 0 h 69"/>
              <a:gd name="T2" fmla="*/ 91 w 160"/>
              <a:gd name="T3" fmla="*/ 35 h 69"/>
              <a:gd name="T4" fmla="*/ 107 w 160"/>
              <a:gd name="T5" fmla="*/ 64 h 69"/>
              <a:gd name="T6" fmla="*/ 53 w 160"/>
              <a:gd name="T7" fmla="*/ 64 h 69"/>
              <a:gd name="T8" fmla="*/ 69 w 160"/>
              <a:gd name="T9" fmla="*/ 35 h 69"/>
              <a:gd name="T10" fmla="*/ 35 w 160"/>
              <a:gd name="T11" fmla="*/ 0 h 69"/>
              <a:gd name="T12" fmla="*/ 0 w 160"/>
              <a:gd name="T13" fmla="*/ 35 h 69"/>
              <a:gd name="T14" fmla="*/ 35 w 160"/>
              <a:gd name="T15" fmla="*/ 69 h 69"/>
              <a:gd name="T16" fmla="*/ 125 w 160"/>
              <a:gd name="T17" fmla="*/ 69 h 69"/>
              <a:gd name="T18" fmla="*/ 160 w 160"/>
              <a:gd name="T19" fmla="*/ 35 h 69"/>
              <a:gd name="T20" fmla="*/ 125 w 160"/>
              <a:gd name="T21" fmla="*/ 0 h 69"/>
              <a:gd name="T22" fmla="*/ 5 w 160"/>
              <a:gd name="T23" fmla="*/ 35 h 69"/>
              <a:gd name="T24" fmla="*/ 35 w 160"/>
              <a:gd name="T25" fmla="*/ 5 h 69"/>
              <a:gd name="T26" fmla="*/ 64 w 160"/>
              <a:gd name="T27" fmla="*/ 35 h 69"/>
              <a:gd name="T28" fmla="*/ 35 w 160"/>
              <a:gd name="T29" fmla="*/ 64 h 69"/>
              <a:gd name="T30" fmla="*/ 5 w 160"/>
              <a:gd name="T31" fmla="*/ 35 h 69"/>
              <a:gd name="T32" fmla="*/ 125 w 160"/>
              <a:gd name="T33" fmla="*/ 64 h 69"/>
              <a:gd name="T34" fmla="*/ 96 w 160"/>
              <a:gd name="T35" fmla="*/ 35 h 69"/>
              <a:gd name="T36" fmla="*/ 125 w 160"/>
              <a:gd name="T37" fmla="*/ 5 h 69"/>
              <a:gd name="T38" fmla="*/ 155 w 160"/>
              <a:gd name="T39" fmla="*/ 35 h 69"/>
              <a:gd name="T40" fmla="*/ 125 w 160"/>
              <a:gd name="T41" fmla="*/ 6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69">
                <a:moveTo>
                  <a:pt x="125" y="0"/>
                </a:moveTo>
                <a:cubicBezTo>
                  <a:pt x="106" y="0"/>
                  <a:pt x="91" y="16"/>
                  <a:pt x="91" y="35"/>
                </a:cubicBezTo>
                <a:cubicBezTo>
                  <a:pt x="91" y="47"/>
                  <a:pt x="97" y="58"/>
                  <a:pt x="107" y="64"/>
                </a:cubicBezTo>
                <a:cubicBezTo>
                  <a:pt x="53" y="64"/>
                  <a:pt x="53" y="64"/>
                  <a:pt x="53" y="64"/>
                </a:cubicBezTo>
                <a:cubicBezTo>
                  <a:pt x="63" y="58"/>
                  <a:pt x="69" y="47"/>
                  <a:pt x="69" y="35"/>
                </a:cubicBezTo>
                <a:cubicBezTo>
                  <a:pt x="69" y="16"/>
                  <a:pt x="54" y="0"/>
                  <a:pt x="35" y="0"/>
                </a:cubicBezTo>
                <a:cubicBezTo>
                  <a:pt x="16" y="0"/>
                  <a:pt x="0" y="16"/>
                  <a:pt x="0" y="35"/>
                </a:cubicBezTo>
                <a:cubicBezTo>
                  <a:pt x="0" y="54"/>
                  <a:pt x="16" y="69"/>
                  <a:pt x="35" y="69"/>
                </a:cubicBezTo>
                <a:cubicBezTo>
                  <a:pt x="125" y="69"/>
                  <a:pt x="125" y="69"/>
                  <a:pt x="125" y="69"/>
                </a:cubicBezTo>
                <a:cubicBezTo>
                  <a:pt x="144" y="69"/>
                  <a:pt x="160" y="54"/>
                  <a:pt x="160" y="35"/>
                </a:cubicBezTo>
                <a:cubicBezTo>
                  <a:pt x="160" y="16"/>
                  <a:pt x="144" y="0"/>
                  <a:pt x="125" y="0"/>
                </a:cubicBezTo>
                <a:close/>
                <a:moveTo>
                  <a:pt x="5" y="35"/>
                </a:moveTo>
                <a:cubicBezTo>
                  <a:pt x="5" y="18"/>
                  <a:pt x="18" y="5"/>
                  <a:pt x="35" y="5"/>
                </a:cubicBezTo>
                <a:cubicBezTo>
                  <a:pt x="51" y="5"/>
                  <a:pt x="64" y="18"/>
                  <a:pt x="64" y="35"/>
                </a:cubicBezTo>
                <a:cubicBezTo>
                  <a:pt x="64" y="51"/>
                  <a:pt x="51" y="64"/>
                  <a:pt x="35" y="64"/>
                </a:cubicBezTo>
                <a:cubicBezTo>
                  <a:pt x="18" y="64"/>
                  <a:pt x="5" y="51"/>
                  <a:pt x="5" y="35"/>
                </a:cubicBezTo>
                <a:close/>
                <a:moveTo>
                  <a:pt x="125" y="64"/>
                </a:moveTo>
                <a:cubicBezTo>
                  <a:pt x="109" y="64"/>
                  <a:pt x="96" y="51"/>
                  <a:pt x="96" y="35"/>
                </a:cubicBezTo>
                <a:cubicBezTo>
                  <a:pt x="96" y="18"/>
                  <a:pt x="109" y="5"/>
                  <a:pt x="125" y="5"/>
                </a:cubicBezTo>
                <a:cubicBezTo>
                  <a:pt x="142" y="5"/>
                  <a:pt x="155" y="18"/>
                  <a:pt x="155" y="35"/>
                </a:cubicBezTo>
                <a:cubicBezTo>
                  <a:pt x="155" y="51"/>
                  <a:pt x="142" y="64"/>
                  <a:pt x="125"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39" name="Freeform 1341">
            <a:extLst>
              <a:ext uri="{FF2B5EF4-FFF2-40B4-BE49-F238E27FC236}">
                <a16:creationId xmlns:a16="http://schemas.microsoft.com/office/drawing/2014/main" id="{6C40537E-924E-2E44-8F6D-4ABFAA4599F0}"/>
              </a:ext>
            </a:extLst>
          </p:cNvPr>
          <p:cNvSpPr>
            <a:spLocks noEditPoints="1"/>
          </p:cNvSpPr>
          <p:nvPr/>
        </p:nvSpPr>
        <p:spPr bwMode="auto">
          <a:xfrm>
            <a:off x="5265312" y="4081463"/>
            <a:ext cx="546100" cy="550863"/>
          </a:xfrm>
          <a:custGeom>
            <a:avLst/>
            <a:gdLst>
              <a:gd name="T0" fmla="*/ 61 w 160"/>
              <a:gd name="T1" fmla="*/ 53 h 160"/>
              <a:gd name="T2" fmla="*/ 32 w 160"/>
              <a:gd name="T3" fmla="*/ 83 h 160"/>
              <a:gd name="T4" fmla="*/ 29 w 160"/>
              <a:gd name="T5" fmla="*/ 85 h 160"/>
              <a:gd name="T6" fmla="*/ 27 w 160"/>
              <a:gd name="T7" fmla="*/ 83 h 160"/>
              <a:gd name="T8" fmla="*/ 61 w 160"/>
              <a:gd name="T9" fmla="*/ 48 h 160"/>
              <a:gd name="T10" fmla="*/ 93 w 160"/>
              <a:gd name="T11" fmla="*/ 48 h 160"/>
              <a:gd name="T12" fmla="*/ 70 w 160"/>
              <a:gd name="T13" fmla="*/ 31 h 160"/>
              <a:gd name="T14" fmla="*/ 70 w 160"/>
              <a:gd name="T15" fmla="*/ 28 h 160"/>
              <a:gd name="T16" fmla="*/ 74 w 160"/>
              <a:gd name="T17" fmla="*/ 27 h 160"/>
              <a:gd name="T18" fmla="*/ 106 w 160"/>
              <a:gd name="T19" fmla="*/ 51 h 160"/>
              <a:gd name="T20" fmla="*/ 74 w 160"/>
              <a:gd name="T21" fmla="*/ 74 h 160"/>
              <a:gd name="T22" fmla="*/ 72 w 160"/>
              <a:gd name="T23" fmla="*/ 75 h 160"/>
              <a:gd name="T24" fmla="*/ 70 w 160"/>
              <a:gd name="T25" fmla="*/ 74 h 160"/>
              <a:gd name="T26" fmla="*/ 70 w 160"/>
              <a:gd name="T27" fmla="*/ 70 h 160"/>
              <a:gd name="T28" fmla="*/ 93 w 160"/>
              <a:gd name="T29" fmla="*/ 53 h 160"/>
              <a:gd name="T30" fmla="*/ 61 w 160"/>
              <a:gd name="T31" fmla="*/ 53 h 160"/>
              <a:gd name="T32" fmla="*/ 160 w 160"/>
              <a:gd name="T33" fmla="*/ 80 h 160"/>
              <a:gd name="T34" fmla="*/ 80 w 160"/>
              <a:gd name="T35" fmla="*/ 160 h 160"/>
              <a:gd name="T36" fmla="*/ 0 w 160"/>
              <a:gd name="T37" fmla="*/ 80 h 160"/>
              <a:gd name="T38" fmla="*/ 80 w 160"/>
              <a:gd name="T39" fmla="*/ 0 h 160"/>
              <a:gd name="T40" fmla="*/ 160 w 160"/>
              <a:gd name="T41" fmla="*/ 80 h 160"/>
              <a:gd name="T42" fmla="*/ 155 w 160"/>
              <a:gd name="T43" fmla="*/ 80 h 160"/>
              <a:gd name="T44" fmla="*/ 80 w 160"/>
              <a:gd name="T45" fmla="*/ 5 h 160"/>
              <a:gd name="T46" fmla="*/ 5 w 160"/>
              <a:gd name="T47" fmla="*/ 80 h 160"/>
              <a:gd name="T48" fmla="*/ 80 w 160"/>
              <a:gd name="T49" fmla="*/ 155 h 160"/>
              <a:gd name="T50" fmla="*/ 155 w 160"/>
              <a:gd name="T51" fmla="*/ 80 h 160"/>
              <a:gd name="T52" fmla="*/ 128 w 160"/>
              <a:gd name="T53" fmla="*/ 75 h 160"/>
              <a:gd name="T54" fmla="*/ 125 w 160"/>
              <a:gd name="T55" fmla="*/ 77 h 160"/>
              <a:gd name="T56" fmla="*/ 96 w 160"/>
              <a:gd name="T57" fmla="*/ 107 h 160"/>
              <a:gd name="T58" fmla="*/ 64 w 160"/>
              <a:gd name="T59" fmla="*/ 107 h 160"/>
              <a:gd name="T60" fmla="*/ 87 w 160"/>
              <a:gd name="T61" fmla="*/ 90 h 160"/>
              <a:gd name="T62" fmla="*/ 87 w 160"/>
              <a:gd name="T63" fmla="*/ 86 h 160"/>
              <a:gd name="T64" fmla="*/ 84 w 160"/>
              <a:gd name="T65" fmla="*/ 86 h 160"/>
              <a:gd name="T66" fmla="*/ 51 w 160"/>
              <a:gd name="T67" fmla="*/ 109 h 160"/>
              <a:gd name="T68" fmla="*/ 84 w 160"/>
              <a:gd name="T69" fmla="*/ 133 h 160"/>
              <a:gd name="T70" fmla="*/ 85 w 160"/>
              <a:gd name="T71" fmla="*/ 133 h 160"/>
              <a:gd name="T72" fmla="*/ 87 w 160"/>
              <a:gd name="T73" fmla="*/ 132 h 160"/>
              <a:gd name="T74" fmla="*/ 87 w 160"/>
              <a:gd name="T75" fmla="*/ 129 h 160"/>
              <a:gd name="T76" fmla="*/ 64 w 160"/>
              <a:gd name="T77" fmla="*/ 112 h 160"/>
              <a:gd name="T78" fmla="*/ 96 w 160"/>
              <a:gd name="T79" fmla="*/ 112 h 160"/>
              <a:gd name="T80" fmla="*/ 131 w 160"/>
              <a:gd name="T81" fmla="*/ 77 h 160"/>
              <a:gd name="T82" fmla="*/ 128 w 160"/>
              <a:gd name="T83" fmla="*/ 7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60">
                <a:moveTo>
                  <a:pt x="61" y="53"/>
                </a:moveTo>
                <a:cubicBezTo>
                  <a:pt x="45" y="53"/>
                  <a:pt x="32" y="66"/>
                  <a:pt x="32" y="83"/>
                </a:cubicBezTo>
                <a:cubicBezTo>
                  <a:pt x="32" y="84"/>
                  <a:pt x="31" y="85"/>
                  <a:pt x="29" y="85"/>
                </a:cubicBezTo>
                <a:cubicBezTo>
                  <a:pt x="28" y="85"/>
                  <a:pt x="27" y="84"/>
                  <a:pt x="27" y="83"/>
                </a:cubicBezTo>
                <a:cubicBezTo>
                  <a:pt x="27" y="64"/>
                  <a:pt x="42" y="48"/>
                  <a:pt x="61" y="48"/>
                </a:cubicBezTo>
                <a:cubicBezTo>
                  <a:pt x="93" y="48"/>
                  <a:pt x="93" y="48"/>
                  <a:pt x="93" y="48"/>
                </a:cubicBezTo>
                <a:cubicBezTo>
                  <a:pt x="70" y="31"/>
                  <a:pt x="70" y="31"/>
                  <a:pt x="70" y="31"/>
                </a:cubicBezTo>
                <a:cubicBezTo>
                  <a:pt x="69" y="31"/>
                  <a:pt x="69" y="29"/>
                  <a:pt x="70" y="28"/>
                </a:cubicBezTo>
                <a:cubicBezTo>
                  <a:pt x="71" y="27"/>
                  <a:pt x="72" y="26"/>
                  <a:pt x="74" y="27"/>
                </a:cubicBezTo>
                <a:cubicBezTo>
                  <a:pt x="106" y="51"/>
                  <a:pt x="106" y="51"/>
                  <a:pt x="106" y="51"/>
                </a:cubicBezTo>
                <a:cubicBezTo>
                  <a:pt x="74" y="74"/>
                  <a:pt x="74" y="74"/>
                  <a:pt x="74" y="74"/>
                </a:cubicBezTo>
                <a:cubicBezTo>
                  <a:pt x="73" y="74"/>
                  <a:pt x="73" y="75"/>
                  <a:pt x="72" y="75"/>
                </a:cubicBezTo>
                <a:cubicBezTo>
                  <a:pt x="71" y="75"/>
                  <a:pt x="70" y="74"/>
                  <a:pt x="70" y="74"/>
                </a:cubicBezTo>
                <a:cubicBezTo>
                  <a:pt x="69" y="72"/>
                  <a:pt x="69" y="71"/>
                  <a:pt x="70" y="70"/>
                </a:cubicBezTo>
                <a:cubicBezTo>
                  <a:pt x="93" y="53"/>
                  <a:pt x="93" y="53"/>
                  <a:pt x="93" y="53"/>
                </a:cubicBezTo>
                <a:lnTo>
                  <a:pt x="61" y="53"/>
                </a:lnTo>
                <a:close/>
                <a:moveTo>
                  <a:pt x="160" y="80"/>
                </a:moveTo>
                <a:cubicBezTo>
                  <a:pt x="160" y="124"/>
                  <a:pt x="124" y="160"/>
                  <a:pt x="80" y="160"/>
                </a:cubicBezTo>
                <a:cubicBezTo>
                  <a:pt x="36" y="160"/>
                  <a:pt x="0" y="124"/>
                  <a:pt x="0" y="80"/>
                </a:cubicBezTo>
                <a:cubicBezTo>
                  <a:pt x="0" y="36"/>
                  <a:pt x="36" y="0"/>
                  <a:pt x="80" y="0"/>
                </a:cubicBezTo>
                <a:cubicBezTo>
                  <a:pt x="124" y="0"/>
                  <a:pt x="160" y="36"/>
                  <a:pt x="160" y="80"/>
                </a:cubicBezTo>
                <a:close/>
                <a:moveTo>
                  <a:pt x="155" y="80"/>
                </a:moveTo>
                <a:cubicBezTo>
                  <a:pt x="155" y="39"/>
                  <a:pt x="121" y="5"/>
                  <a:pt x="80" y="5"/>
                </a:cubicBezTo>
                <a:cubicBezTo>
                  <a:pt x="39" y="5"/>
                  <a:pt x="5" y="39"/>
                  <a:pt x="5" y="80"/>
                </a:cubicBezTo>
                <a:cubicBezTo>
                  <a:pt x="5" y="121"/>
                  <a:pt x="39" y="155"/>
                  <a:pt x="80" y="155"/>
                </a:cubicBezTo>
                <a:cubicBezTo>
                  <a:pt x="121" y="155"/>
                  <a:pt x="155" y="121"/>
                  <a:pt x="155" y="80"/>
                </a:cubicBezTo>
                <a:close/>
                <a:moveTo>
                  <a:pt x="128" y="75"/>
                </a:moveTo>
                <a:cubicBezTo>
                  <a:pt x="127" y="75"/>
                  <a:pt x="125" y="76"/>
                  <a:pt x="125" y="77"/>
                </a:cubicBezTo>
                <a:cubicBezTo>
                  <a:pt x="125" y="94"/>
                  <a:pt x="112" y="107"/>
                  <a:pt x="96" y="107"/>
                </a:cubicBezTo>
                <a:cubicBezTo>
                  <a:pt x="64" y="107"/>
                  <a:pt x="64" y="107"/>
                  <a:pt x="64" y="107"/>
                </a:cubicBezTo>
                <a:cubicBezTo>
                  <a:pt x="87" y="90"/>
                  <a:pt x="87" y="90"/>
                  <a:pt x="87" y="90"/>
                </a:cubicBezTo>
                <a:cubicBezTo>
                  <a:pt x="88" y="89"/>
                  <a:pt x="88" y="88"/>
                  <a:pt x="87" y="86"/>
                </a:cubicBezTo>
                <a:cubicBezTo>
                  <a:pt x="87" y="85"/>
                  <a:pt x="85" y="85"/>
                  <a:pt x="84" y="86"/>
                </a:cubicBezTo>
                <a:cubicBezTo>
                  <a:pt x="51" y="109"/>
                  <a:pt x="51" y="109"/>
                  <a:pt x="51" y="109"/>
                </a:cubicBezTo>
                <a:cubicBezTo>
                  <a:pt x="84" y="133"/>
                  <a:pt x="84" y="133"/>
                  <a:pt x="84" y="133"/>
                </a:cubicBezTo>
                <a:cubicBezTo>
                  <a:pt x="84" y="133"/>
                  <a:pt x="85" y="133"/>
                  <a:pt x="85" y="133"/>
                </a:cubicBezTo>
                <a:cubicBezTo>
                  <a:pt x="86" y="133"/>
                  <a:pt x="87" y="133"/>
                  <a:pt x="87" y="132"/>
                </a:cubicBezTo>
                <a:cubicBezTo>
                  <a:pt x="88" y="131"/>
                  <a:pt x="88" y="129"/>
                  <a:pt x="87" y="129"/>
                </a:cubicBezTo>
                <a:cubicBezTo>
                  <a:pt x="64" y="112"/>
                  <a:pt x="64" y="112"/>
                  <a:pt x="64" y="112"/>
                </a:cubicBezTo>
                <a:cubicBezTo>
                  <a:pt x="96" y="112"/>
                  <a:pt x="96" y="112"/>
                  <a:pt x="96" y="112"/>
                </a:cubicBezTo>
                <a:cubicBezTo>
                  <a:pt x="115" y="112"/>
                  <a:pt x="131" y="96"/>
                  <a:pt x="131" y="77"/>
                </a:cubicBezTo>
                <a:cubicBezTo>
                  <a:pt x="131" y="76"/>
                  <a:pt x="129" y="75"/>
                  <a:pt x="128" y="7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40" name="Freeform 1342">
            <a:extLst>
              <a:ext uri="{FF2B5EF4-FFF2-40B4-BE49-F238E27FC236}">
                <a16:creationId xmlns:a16="http://schemas.microsoft.com/office/drawing/2014/main" id="{1EBFBF29-9580-1A4A-8199-B2AC3CDEB0E4}"/>
              </a:ext>
            </a:extLst>
          </p:cNvPr>
          <p:cNvSpPr>
            <a:spLocks noEditPoints="1"/>
          </p:cNvSpPr>
          <p:nvPr/>
        </p:nvSpPr>
        <p:spPr bwMode="auto">
          <a:xfrm>
            <a:off x="5265312" y="4714875"/>
            <a:ext cx="546100" cy="501650"/>
          </a:xfrm>
          <a:custGeom>
            <a:avLst/>
            <a:gdLst>
              <a:gd name="T0" fmla="*/ 5 w 160"/>
              <a:gd name="T1" fmla="*/ 71 h 146"/>
              <a:gd name="T2" fmla="*/ 8 w 160"/>
              <a:gd name="T3" fmla="*/ 68 h 146"/>
              <a:gd name="T4" fmla="*/ 43 w 160"/>
              <a:gd name="T5" fmla="*/ 34 h 146"/>
              <a:gd name="T6" fmla="*/ 117 w 160"/>
              <a:gd name="T7" fmla="*/ 34 h 146"/>
              <a:gd name="T8" fmla="*/ 117 w 160"/>
              <a:gd name="T9" fmla="*/ 62 h 146"/>
              <a:gd name="T10" fmla="*/ 160 w 160"/>
              <a:gd name="T11" fmla="*/ 31 h 146"/>
              <a:gd name="T12" fmla="*/ 117 w 160"/>
              <a:gd name="T13" fmla="*/ 0 h 146"/>
              <a:gd name="T14" fmla="*/ 117 w 160"/>
              <a:gd name="T15" fmla="*/ 28 h 146"/>
              <a:gd name="T16" fmla="*/ 43 w 160"/>
              <a:gd name="T17" fmla="*/ 28 h 146"/>
              <a:gd name="T18" fmla="*/ 2 w 160"/>
              <a:gd name="T19" fmla="*/ 68 h 146"/>
              <a:gd name="T20" fmla="*/ 5 w 160"/>
              <a:gd name="T21" fmla="*/ 71 h 146"/>
              <a:gd name="T22" fmla="*/ 124 w 160"/>
              <a:gd name="T23" fmla="*/ 12 h 146"/>
              <a:gd name="T24" fmla="*/ 149 w 160"/>
              <a:gd name="T25" fmla="*/ 31 h 146"/>
              <a:gd name="T26" fmla="*/ 124 w 160"/>
              <a:gd name="T27" fmla="*/ 50 h 146"/>
              <a:gd name="T28" fmla="*/ 124 w 160"/>
              <a:gd name="T29" fmla="*/ 12 h 146"/>
              <a:gd name="T30" fmla="*/ 155 w 160"/>
              <a:gd name="T31" fmla="*/ 75 h 146"/>
              <a:gd name="T32" fmla="*/ 152 w 160"/>
              <a:gd name="T33" fmla="*/ 78 h 146"/>
              <a:gd name="T34" fmla="*/ 117 w 160"/>
              <a:gd name="T35" fmla="*/ 112 h 146"/>
              <a:gd name="T36" fmla="*/ 43 w 160"/>
              <a:gd name="T37" fmla="*/ 112 h 146"/>
              <a:gd name="T38" fmla="*/ 43 w 160"/>
              <a:gd name="T39" fmla="*/ 84 h 146"/>
              <a:gd name="T40" fmla="*/ 0 w 160"/>
              <a:gd name="T41" fmla="*/ 115 h 146"/>
              <a:gd name="T42" fmla="*/ 43 w 160"/>
              <a:gd name="T43" fmla="*/ 146 h 146"/>
              <a:gd name="T44" fmla="*/ 43 w 160"/>
              <a:gd name="T45" fmla="*/ 118 h 146"/>
              <a:gd name="T46" fmla="*/ 117 w 160"/>
              <a:gd name="T47" fmla="*/ 118 h 146"/>
              <a:gd name="T48" fmla="*/ 158 w 160"/>
              <a:gd name="T49" fmla="*/ 78 h 146"/>
              <a:gd name="T50" fmla="*/ 155 w 160"/>
              <a:gd name="T51" fmla="*/ 75 h 146"/>
              <a:gd name="T52" fmla="*/ 36 w 160"/>
              <a:gd name="T53" fmla="*/ 134 h 146"/>
              <a:gd name="T54" fmla="*/ 11 w 160"/>
              <a:gd name="T55" fmla="*/ 115 h 146"/>
              <a:gd name="T56" fmla="*/ 36 w 160"/>
              <a:gd name="T57" fmla="*/ 96 h 146"/>
              <a:gd name="T58" fmla="*/ 36 w 160"/>
              <a:gd name="T59" fmla="*/ 13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146">
                <a:moveTo>
                  <a:pt x="5" y="71"/>
                </a:moveTo>
                <a:cubicBezTo>
                  <a:pt x="7" y="71"/>
                  <a:pt x="8" y="70"/>
                  <a:pt x="8" y="68"/>
                </a:cubicBezTo>
                <a:cubicBezTo>
                  <a:pt x="8" y="49"/>
                  <a:pt x="24" y="34"/>
                  <a:pt x="43" y="34"/>
                </a:cubicBezTo>
                <a:cubicBezTo>
                  <a:pt x="117" y="34"/>
                  <a:pt x="117" y="34"/>
                  <a:pt x="117" y="34"/>
                </a:cubicBezTo>
                <a:cubicBezTo>
                  <a:pt x="117" y="62"/>
                  <a:pt x="117" y="62"/>
                  <a:pt x="117" y="62"/>
                </a:cubicBezTo>
                <a:cubicBezTo>
                  <a:pt x="160" y="31"/>
                  <a:pt x="160" y="31"/>
                  <a:pt x="160" y="31"/>
                </a:cubicBezTo>
                <a:cubicBezTo>
                  <a:pt x="117" y="0"/>
                  <a:pt x="117" y="0"/>
                  <a:pt x="117" y="0"/>
                </a:cubicBezTo>
                <a:cubicBezTo>
                  <a:pt x="117" y="28"/>
                  <a:pt x="117" y="28"/>
                  <a:pt x="117" y="28"/>
                </a:cubicBezTo>
                <a:cubicBezTo>
                  <a:pt x="43" y="28"/>
                  <a:pt x="43" y="28"/>
                  <a:pt x="43" y="28"/>
                </a:cubicBezTo>
                <a:cubicBezTo>
                  <a:pt x="20" y="28"/>
                  <a:pt x="2" y="46"/>
                  <a:pt x="2" y="68"/>
                </a:cubicBezTo>
                <a:cubicBezTo>
                  <a:pt x="2" y="70"/>
                  <a:pt x="4" y="71"/>
                  <a:pt x="5" y="71"/>
                </a:cubicBezTo>
                <a:close/>
                <a:moveTo>
                  <a:pt x="124" y="12"/>
                </a:moveTo>
                <a:cubicBezTo>
                  <a:pt x="149" y="31"/>
                  <a:pt x="149" y="31"/>
                  <a:pt x="149" y="31"/>
                </a:cubicBezTo>
                <a:cubicBezTo>
                  <a:pt x="124" y="50"/>
                  <a:pt x="124" y="50"/>
                  <a:pt x="124" y="50"/>
                </a:cubicBezTo>
                <a:lnTo>
                  <a:pt x="124" y="12"/>
                </a:lnTo>
                <a:close/>
                <a:moveTo>
                  <a:pt x="155" y="75"/>
                </a:moveTo>
                <a:cubicBezTo>
                  <a:pt x="153" y="75"/>
                  <a:pt x="152" y="76"/>
                  <a:pt x="152" y="78"/>
                </a:cubicBezTo>
                <a:cubicBezTo>
                  <a:pt x="152" y="97"/>
                  <a:pt x="136" y="112"/>
                  <a:pt x="117" y="112"/>
                </a:cubicBezTo>
                <a:cubicBezTo>
                  <a:pt x="43" y="112"/>
                  <a:pt x="43" y="112"/>
                  <a:pt x="43" y="112"/>
                </a:cubicBezTo>
                <a:cubicBezTo>
                  <a:pt x="43" y="84"/>
                  <a:pt x="43" y="84"/>
                  <a:pt x="43" y="84"/>
                </a:cubicBezTo>
                <a:cubicBezTo>
                  <a:pt x="0" y="115"/>
                  <a:pt x="0" y="115"/>
                  <a:pt x="0" y="115"/>
                </a:cubicBezTo>
                <a:cubicBezTo>
                  <a:pt x="43" y="146"/>
                  <a:pt x="43" y="146"/>
                  <a:pt x="43" y="146"/>
                </a:cubicBezTo>
                <a:cubicBezTo>
                  <a:pt x="43" y="118"/>
                  <a:pt x="43" y="118"/>
                  <a:pt x="43" y="118"/>
                </a:cubicBezTo>
                <a:cubicBezTo>
                  <a:pt x="117" y="118"/>
                  <a:pt x="117" y="118"/>
                  <a:pt x="117" y="118"/>
                </a:cubicBezTo>
                <a:cubicBezTo>
                  <a:pt x="140" y="118"/>
                  <a:pt x="158" y="100"/>
                  <a:pt x="158" y="78"/>
                </a:cubicBezTo>
                <a:cubicBezTo>
                  <a:pt x="158" y="76"/>
                  <a:pt x="156" y="75"/>
                  <a:pt x="155" y="75"/>
                </a:cubicBezTo>
                <a:close/>
                <a:moveTo>
                  <a:pt x="36" y="134"/>
                </a:moveTo>
                <a:cubicBezTo>
                  <a:pt x="11" y="115"/>
                  <a:pt x="11" y="115"/>
                  <a:pt x="11" y="115"/>
                </a:cubicBezTo>
                <a:cubicBezTo>
                  <a:pt x="36" y="96"/>
                  <a:pt x="36" y="96"/>
                  <a:pt x="36" y="96"/>
                </a:cubicBezTo>
                <a:lnTo>
                  <a:pt x="36"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41" name="Freeform 1343">
            <a:extLst>
              <a:ext uri="{FF2B5EF4-FFF2-40B4-BE49-F238E27FC236}">
                <a16:creationId xmlns:a16="http://schemas.microsoft.com/office/drawing/2014/main" id="{3D59075D-0653-F64A-95A3-F6F76E95ABE0}"/>
              </a:ext>
            </a:extLst>
          </p:cNvPr>
          <p:cNvSpPr>
            <a:spLocks noEditPoints="1"/>
          </p:cNvSpPr>
          <p:nvPr/>
        </p:nvSpPr>
        <p:spPr bwMode="auto">
          <a:xfrm>
            <a:off x="5265312" y="5319713"/>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98 w 160"/>
              <a:gd name="T21" fmla="*/ 113 h 160"/>
              <a:gd name="T22" fmla="*/ 98 w 160"/>
              <a:gd name="T23" fmla="*/ 48 h 160"/>
              <a:gd name="T24" fmla="*/ 43 w 160"/>
              <a:gd name="T25" fmla="*/ 79 h 160"/>
              <a:gd name="T26" fmla="*/ 98 w 160"/>
              <a:gd name="T27" fmla="*/ 113 h 160"/>
              <a:gd name="T28" fmla="*/ 92 w 160"/>
              <a:gd name="T29" fmla="*/ 102 h 160"/>
              <a:gd name="T30" fmla="*/ 55 w 160"/>
              <a:gd name="T31" fmla="*/ 80 h 160"/>
              <a:gd name="T32" fmla="*/ 92 w 160"/>
              <a:gd name="T33" fmla="*/ 58 h 160"/>
              <a:gd name="T34" fmla="*/ 92 w 160"/>
              <a:gd name="T35" fmla="*/ 10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98" y="113"/>
                </a:moveTo>
                <a:cubicBezTo>
                  <a:pt x="98" y="48"/>
                  <a:pt x="98" y="48"/>
                  <a:pt x="98" y="48"/>
                </a:cubicBezTo>
                <a:cubicBezTo>
                  <a:pt x="43" y="79"/>
                  <a:pt x="43" y="79"/>
                  <a:pt x="43" y="79"/>
                </a:cubicBezTo>
                <a:lnTo>
                  <a:pt x="98" y="113"/>
                </a:lnTo>
                <a:close/>
                <a:moveTo>
                  <a:pt x="92" y="102"/>
                </a:moveTo>
                <a:cubicBezTo>
                  <a:pt x="55" y="80"/>
                  <a:pt x="55" y="80"/>
                  <a:pt x="55" y="80"/>
                </a:cubicBezTo>
                <a:cubicBezTo>
                  <a:pt x="92" y="58"/>
                  <a:pt x="92" y="58"/>
                  <a:pt x="92" y="58"/>
                </a:cubicBezTo>
                <a:lnTo>
                  <a:pt x="92" y="10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42" name="Freeform 1344">
            <a:extLst>
              <a:ext uri="{FF2B5EF4-FFF2-40B4-BE49-F238E27FC236}">
                <a16:creationId xmlns:a16="http://schemas.microsoft.com/office/drawing/2014/main" id="{99167A9F-82D7-8D40-8C4E-6ECF761D4DDE}"/>
              </a:ext>
            </a:extLst>
          </p:cNvPr>
          <p:cNvSpPr>
            <a:spLocks noEditPoints="1"/>
          </p:cNvSpPr>
          <p:nvPr/>
        </p:nvSpPr>
        <p:spPr bwMode="auto">
          <a:xfrm>
            <a:off x="5320875" y="5938838"/>
            <a:ext cx="425450" cy="550863"/>
          </a:xfrm>
          <a:custGeom>
            <a:avLst/>
            <a:gdLst>
              <a:gd name="T0" fmla="*/ 0 w 125"/>
              <a:gd name="T1" fmla="*/ 160 h 160"/>
              <a:gd name="T2" fmla="*/ 86 w 125"/>
              <a:gd name="T3" fmla="*/ 0 h 160"/>
              <a:gd name="T4" fmla="*/ 88 w 125"/>
              <a:gd name="T5" fmla="*/ 37 h 160"/>
              <a:gd name="T6" fmla="*/ 5 w 125"/>
              <a:gd name="T7" fmla="*/ 5 h 160"/>
              <a:gd name="T8" fmla="*/ 120 w 125"/>
              <a:gd name="T9" fmla="*/ 43 h 160"/>
              <a:gd name="T10" fmla="*/ 29 w 125"/>
              <a:gd name="T11" fmla="*/ 99 h 160"/>
              <a:gd name="T12" fmla="*/ 75 w 125"/>
              <a:gd name="T13" fmla="*/ 93 h 160"/>
              <a:gd name="T14" fmla="*/ 29 w 125"/>
              <a:gd name="T15" fmla="*/ 99 h 160"/>
              <a:gd name="T16" fmla="*/ 83 w 125"/>
              <a:gd name="T17" fmla="*/ 85 h 160"/>
              <a:gd name="T18" fmla="*/ 101 w 125"/>
              <a:gd name="T19" fmla="*/ 80 h 160"/>
              <a:gd name="T20" fmla="*/ 69 w 125"/>
              <a:gd name="T21" fmla="*/ 80 h 160"/>
              <a:gd name="T22" fmla="*/ 43 w 125"/>
              <a:gd name="T23" fmla="*/ 85 h 160"/>
              <a:gd name="T24" fmla="*/ 31 w 125"/>
              <a:gd name="T25" fmla="*/ 81 h 160"/>
              <a:gd name="T26" fmla="*/ 29 w 125"/>
              <a:gd name="T27" fmla="*/ 85 h 160"/>
              <a:gd name="T28" fmla="*/ 27 w 125"/>
              <a:gd name="T29" fmla="*/ 81 h 160"/>
              <a:gd name="T30" fmla="*/ 91 w 125"/>
              <a:gd name="T31" fmla="*/ 96 h 160"/>
              <a:gd name="T32" fmla="*/ 86 w 125"/>
              <a:gd name="T33" fmla="*/ 98 h 160"/>
              <a:gd name="T34" fmla="*/ 90 w 125"/>
              <a:gd name="T35" fmla="*/ 94 h 160"/>
              <a:gd name="T36" fmla="*/ 103 w 125"/>
              <a:gd name="T37" fmla="*/ 98 h 160"/>
              <a:gd name="T38" fmla="*/ 99 w 125"/>
              <a:gd name="T39" fmla="*/ 96 h 160"/>
              <a:gd name="T40" fmla="*/ 47 w 125"/>
              <a:gd name="T41" fmla="*/ 112 h 160"/>
              <a:gd name="T42" fmla="*/ 28 w 125"/>
              <a:gd name="T43" fmla="*/ 123 h 160"/>
              <a:gd name="T44" fmla="*/ 44 w 125"/>
              <a:gd name="T45" fmla="*/ 107 h 160"/>
              <a:gd name="T46" fmla="*/ 80 w 125"/>
              <a:gd name="T47" fmla="*/ 123 h 160"/>
              <a:gd name="T48" fmla="*/ 47 w 125"/>
              <a:gd name="T49" fmla="*/ 122 h 160"/>
              <a:gd name="T50" fmla="*/ 67 w 125"/>
              <a:gd name="T51" fmla="*/ 118 h 160"/>
              <a:gd name="T52" fmla="*/ 59 w 125"/>
              <a:gd name="T53" fmla="*/ 64 h 160"/>
              <a:gd name="T54" fmla="*/ 56 w 125"/>
              <a:gd name="T55" fmla="*/ 57 h 160"/>
              <a:gd name="T56" fmla="*/ 59 w 125"/>
              <a:gd name="T57" fmla="*/ 41 h 160"/>
              <a:gd name="T58" fmla="*/ 42 w 125"/>
              <a:gd name="T59" fmla="*/ 24 h 160"/>
              <a:gd name="T60" fmla="*/ 34 w 125"/>
              <a:gd name="T61" fmla="*/ 22 h 160"/>
              <a:gd name="T62" fmla="*/ 29 w 125"/>
              <a:gd name="T63" fmla="*/ 26 h 160"/>
              <a:gd name="T64" fmla="*/ 29 w 125"/>
              <a:gd name="T65" fmla="*/ 30 h 160"/>
              <a:gd name="T66" fmla="*/ 25 w 125"/>
              <a:gd name="T67" fmla="*/ 41 h 160"/>
              <a:gd name="T68" fmla="*/ 28 w 125"/>
              <a:gd name="T69" fmla="*/ 57 h 160"/>
              <a:gd name="T70" fmla="*/ 25 w 125"/>
              <a:gd name="T71" fmla="*/ 64 h 160"/>
              <a:gd name="T72" fmla="*/ 31 w 125"/>
              <a:gd name="T73" fmla="*/ 61 h 160"/>
              <a:gd name="T74" fmla="*/ 39 w 125"/>
              <a:gd name="T75" fmla="*/ 50 h 160"/>
              <a:gd name="T76" fmla="*/ 33 w 125"/>
              <a:gd name="T77" fmla="*/ 42 h 160"/>
              <a:gd name="T78" fmla="*/ 31 w 125"/>
              <a:gd name="T79" fmla="*/ 39 h 160"/>
              <a:gd name="T80" fmla="*/ 32 w 125"/>
              <a:gd name="T81" fmla="*/ 36 h 160"/>
              <a:gd name="T82" fmla="*/ 35 w 125"/>
              <a:gd name="T83" fmla="*/ 28 h 160"/>
              <a:gd name="T84" fmla="*/ 52 w 125"/>
              <a:gd name="T85" fmla="*/ 36 h 160"/>
              <a:gd name="T86" fmla="*/ 54 w 125"/>
              <a:gd name="T87" fmla="*/ 39 h 160"/>
              <a:gd name="T88" fmla="*/ 52 w 125"/>
              <a:gd name="T89" fmla="*/ 42 h 160"/>
              <a:gd name="T90" fmla="*/ 45 w 125"/>
              <a:gd name="T91" fmla="*/ 50 h 160"/>
              <a:gd name="T92" fmla="*/ 53 w 125"/>
              <a:gd name="T93" fmla="*/ 6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160">
                <a:moveTo>
                  <a:pt x="86" y="0"/>
                </a:moveTo>
                <a:cubicBezTo>
                  <a:pt x="0" y="0"/>
                  <a:pt x="0" y="0"/>
                  <a:pt x="0" y="0"/>
                </a:cubicBezTo>
                <a:cubicBezTo>
                  <a:pt x="0" y="160"/>
                  <a:pt x="0" y="160"/>
                  <a:pt x="0" y="160"/>
                </a:cubicBezTo>
                <a:cubicBezTo>
                  <a:pt x="125" y="160"/>
                  <a:pt x="125" y="160"/>
                  <a:pt x="125" y="160"/>
                </a:cubicBezTo>
                <a:cubicBezTo>
                  <a:pt x="125" y="39"/>
                  <a:pt x="125" y="39"/>
                  <a:pt x="125" y="39"/>
                </a:cubicBezTo>
                <a:lnTo>
                  <a:pt x="86" y="0"/>
                </a:lnTo>
                <a:close/>
                <a:moveTo>
                  <a:pt x="88" y="9"/>
                </a:moveTo>
                <a:cubicBezTo>
                  <a:pt x="116" y="37"/>
                  <a:pt x="116" y="37"/>
                  <a:pt x="116" y="37"/>
                </a:cubicBezTo>
                <a:cubicBezTo>
                  <a:pt x="88" y="37"/>
                  <a:pt x="88" y="37"/>
                  <a:pt x="88" y="37"/>
                </a:cubicBezTo>
                <a:lnTo>
                  <a:pt x="88" y="9"/>
                </a:lnTo>
                <a:close/>
                <a:moveTo>
                  <a:pt x="5" y="155"/>
                </a:moveTo>
                <a:cubicBezTo>
                  <a:pt x="5" y="5"/>
                  <a:pt x="5" y="5"/>
                  <a:pt x="5" y="5"/>
                </a:cubicBezTo>
                <a:cubicBezTo>
                  <a:pt x="83" y="5"/>
                  <a:pt x="83" y="5"/>
                  <a:pt x="83" y="5"/>
                </a:cubicBezTo>
                <a:cubicBezTo>
                  <a:pt x="83" y="43"/>
                  <a:pt x="83" y="43"/>
                  <a:pt x="83" y="43"/>
                </a:cubicBezTo>
                <a:cubicBezTo>
                  <a:pt x="120" y="43"/>
                  <a:pt x="120" y="43"/>
                  <a:pt x="120" y="43"/>
                </a:cubicBezTo>
                <a:cubicBezTo>
                  <a:pt x="120" y="155"/>
                  <a:pt x="120" y="155"/>
                  <a:pt x="120" y="155"/>
                </a:cubicBezTo>
                <a:lnTo>
                  <a:pt x="5" y="155"/>
                </a:lnTo>
                <a:close/>
                <a:moveTo>
                  <a:pt x="29" y="99"/>
                </a:moveTo>
                <a:cubicBezTo>
                  <a:pt x="28" y="99"/>
                  <a:pt x="27" y="97"/>
                  <a:pt x="27" y="96"/>
                </a:cubicBezTo>
                <a:cubicBezTo>
                  <a:pt x="27" y="95"/>
                  <a:pt x="28" y="93"/>
                  <a:pt x="29" y="93"/>
                </a:cubicBezTo>
                <a:cubicBezTo>
                  <a:pt x="75" y="93"/>
                  <a:pt x="75" y="93"/>
                  <a:pt x="75" y="93"/>
                </a:cubicBezTo>
                <a:cubicBezTo>
                  <a:pt x="76" y="93"/>
                  <a:pt x="77" y="95"/>
                  <a:pt x="77" y="96"/>
                </a:cubicBezTo>
                <a:cubicBezTo>
                  <a:pt x="77" y="97"/>
                  <a:pt x="76" y="99"/>
                  <a:pt x="75" y="99"/>
                </a:cubicBezTo>
                <a:lnTo>
                  <a:pt x="29" y="99"/>
                </a:lnTo>
                <a:close/>
                <a:moveTo>
                  <a:pt x="104" y="83"/>
                </a:moveTo>
                <a:cubicBezTo>
                  <a:pt x="104" y="84"/>
                  <a:pt x="103" y="85"/>
                  <a:pt x="101" y="85"/>
                </a:cubicBezTo>
                <a:cubicBezTo>
                  <a:pt x="83" y="85"/>
                  <a:pt x="83" y="85"/>
                  <a:pt x="83" y="85"/>
                </a:cubicBezTo>
                <a:cubicBezTo>
                  <a:pt x="81" y="85"/>
                  <a:pt x="80" y="84"/>
                  <a:pt x="80" y="83"/>
                </a:cubicBezTo>
                <a:cubicBezTo>
                  <a:pt x="80" y="81"/>
                  <a:pt x="81" y="80"/>
                  <a:pt x="83" y="80"/>
                </a:cubicBezTo>
                <a:cubicBezTo>
                  <a:pt x="101" y="80"/>
                  <a:pt x="101" y="80"/>
                  <a:pt x="101" y="80"/>
                </a:cubicBezTo>
                <a:cubicBezTo>
                  <a:pt x="103" y="80"/>
                  <a:pt x="104" y="81"/>
                  <a:pt x="104" y="83"/>
                </a:cubicBezTo>
                <a:close/>
                <a:moveTo>
                  <a:pt x="43" y="80"/>
                </a:moveTo>
                <a:cubicBezTo>
                  <a:pt x="69" y="80"/>
                  <a:pt x="69" y="80"/>
                  <a:pt x="69" y="80"/>
                </a:cubicBezTo>
                <a:cubicBezTo>
                  <a:pt x="71" y="80"/>
                  <a:pt x="72" y="81"/>
                  <a:pt x="72" y="83"/>
                </a:cubicBezTo>
                <a:cubicBezTo>
                  <a:pt x="72" y="84"/>
                  <a:pt x="71" y="85"/>
                  <a:pt x="69" y="85"/>
                </a:cubicBezTo>
                <a:cubicBezTo>
                  <a:pt x="43" y="85"/>
                  <a:pt x="43" y="85"/>
                  <a:pt x="43" y="85"/>
                </a:cubicBezTo>
                <a:cubicBezTo>
                  <a:pt x="41" y="85"/>
                  <a:pt x="40" y="84"/>
                  <a:pt x="40" y="83"/>
                </a:cubicBezTo>
                <a:cubicBezTo>
                  <a:pt x="40" y="81"/>
                  <a:pt x="41" y="80"/>
                  <a:pt x="43" y="80"/>
                </a:cubicBezTo>
                <a:close/>
                <a:moveTo>
                  <a:pt x="31" y="81"/>
                </a:moveTo>
                <a:cubicBezTo>
                  <a:pt x="32" y="81"/>
                  <a:pt x="32" y="82"/>
                  <a:pt x="32" y="83"/>
                </a:cubicBezTo>
                <a:cubicBezTo>
                  <a:pt x="32" y="83"/>
                  <a:pt x="32" y="84"/>
                  <a:pt x="31" y="85"/>
                </a:cubicBezTo>
                <a:cubicBezTo>
                  <a:pt x="31" y="85"/>
                  <a:pt x="30" y="85"/>
                  <a:pt x="29" y="85"/>
                </a:cubicBezTo>
                <a:cubicBezTo>
                  <a:pt x="29" y="85"/>
                  <a:pt x="28" y="85"/>
                  <a:pt x="27" y="85"/>
                </a:cubicBezTo>
                <a:cubicBezTo>
                  <a:pt x="27" y="84"/>
                  <a:pt x="27" y="83"/>
                  <a:pt x="27" y="83"/>
                </a:cubicBezTo>
                <a:cubicBezTo>
                  <a:pt x="27" y="82"/>
                  <a:pt x="27" y="81"/>
                  <a:pt x="27" y="81"/>
                </a:cubicBezTo>
                <a:cubicBezTo>
                  <a:pt x="28" y="80"/>
                  <a:pt x="30" y="80"/>
                  <a:pt x="31" y="81"/>
                </a:cubicBezTo>
                <a:close/>
                <a:moveTo>
                  <a:pt x="90" y="94"/>
                </a:moveTo>
                <a:cubicBezTo>
                  <a:pt x="90" y="95"/>
                  <a:pt x="91" y="95"/>
                  <a:pt x="91" y="96"/>
                </a:cubicBezTo>
                <a:cubicBezTo>
                  <a:pt x="91" y="97"/>
                  <a:pt x="90" y="97"/>
                  <a:pt x="90" y="98"/>
                </a:cubicBezTo>
                <a:cubicBezTo>
                  <a:pt x="89" y="98"/>
                  <a:pt x="89" y="99"/>
                  <a:pt x="88" y="99"/>
                </a:cubicBezTo>
                <a:cubicBezTo>
                  <a:pt x="87" y="99"/>
                  <a:pt x="87" y="98"/>
                  <a:pt x="86" y="98"/>
                </a:cubicBezTo>
                <a:cubicBezTo>
                  <a:pt x="86" y="97"/>
                  <a:pt x="85" y="97"/>
                  <a:pt x="85" y="96"/>
                </a:cubicBezTo>
                <a:cubicBezTo>
                  <a:pt x="85" y="95"/>
                  <a:pt x="86" y="95"/>
                  <a:pt x="86" y="94"/>
                </a:cubicBezTo>
                <a:cubicBezTo>
                  <a:pt x="87" y="93"/>
                  <a:pt x="89" y="93"/>
                  <a:pt x="90" y="94"/>
                </a:cubicBezTo>
                <a:close/>
                <a:moveTo>
                  <a:pt x="103" y="94"/>
                </a:moveTo>
                <a:cubicBezTo>
                  <a:pt x="104" y="95"/>
                  <a:pt x="104" y="95"/>
                  <a:pt x="104" y="96"/>
                </a:cubicBezTo>
                <a:cubicBezTo>
                  <a:pt x="104" y="97"/>
                  <a:pt x="104" y="97"/>
                  <a:pt x="103" y="98"/>
                </a:cubicBezTo>
                <a:cubicBezTo>
                  <a:pt x="103" y="98"/>
                  <a:pt x="102" y="99"/>
                  <a:pt x="101" y="99"/>
                </a:cubicBezTo>
                <a:cubicBezTo>
                  <a:pt x="101" y="99"/>
                  <a:pt x="100" y="98"/>
                  <a:pt x="99" y="98"/>
                </a:cubicBezTo>
                <a:cubicBezTo>
                  <a:pt x="99" y="97"/>
                  <a:pt x="99" y="97"/>
                  <a:pt x="99" y="96"/>
                </a:cubicBezTo>
                <a:cubicBezTo>
                  <a:pt x="99" y="95"/>
                  <a:pt x="99" y="95"/>
                  <a:pt x="99" y="94"/>
                </a:cubicBezTo>
                <a:cubicBezTo>
                  <a:pt x="100" y="93"/>
                  <a:pt x="102" y="93"/>
                  <a:pt x="103" y="94"/>
                </a:cubicBezTo>
                <a:close/>
                <a:moveTo>
                  <a:pt x="47" y="112"/>
                </a:moveTo>
                <a:cubicBezTo>
                  <a:pt x="41" y="115"/>
                  <a:pt x="41" y="122"/>
                  <a:pt x="40" y="127"/>
                </a:cubicBezTo>
                <a:cubicBezTo>
                  <a:pt x="40" y="130"/>
                  <a:pt x="38" y="131"/>
                  <a:pt x="36" y="129"/>
                </a:cubicBezTo>
                <a:cubicBezTo>
                  <a:pt x="33" y="127"/>
                  <a:pt x="31" y="125"/>
                  <a:pt x="28" y="123"/>
                </a:cubicBezTo>
                <a:cubicBezTo>
                  <a:pt x="26" y="121"/>
                  <a:pt x="30" y="117"/>
                  <a:pt x="32" y="119"/>
                </a:cubicBezTo>
                <a:cubicBezTo>
                  <a:pt x="33" y="120"/>
                  <a:pt x="34" y="121"/>
                  <a:pt x="36" y="122"/>
                </a:cubicBezTo>
                <a:cubicBezTo>
                  <a:pt x="36" y="116"/>
                  <a:pt x="38" y="110"/>
                  <a:pt x="44" y="107"/>
                </a:cubicBezTo>
                <a:cubicBezTo>
                  <a:pt x="47" y="106"/>
                  <a:pt x="50" y="110"/>
                  <a:pt x="47" y="112"/>
                </a:cubicBezTo>
                <a:close/>
                <a:moveTo>
                  <a:pt x="85" y="121"/>
                </a:moveTo>
                <a:cubicBezTo>
                  <a:pt x="87" y="123"/>
                  <a:pt x="82" y="126"/>
                  <a:pt x="80" y="123"/>
                </a:cubicBezTo>
                <a:cubicBezTo>
                  <a:pt x="80" y="123"/>
                  <a:pt x="71" y="126"/>
                  <a:pt x="69" y="126"/>
                </a:cubicBezTo>
                <a:cubicBezTo>
                  <a:pt x="67" y="125"/>
                  <a:pt x="66" y="124"/>
                  <a:pt x="64" y="123"/>
                </a:cubicBezTo>
                <a:cubicBezTo>
                  <a:pt x="59" y="126"/>
                  <a:pt x="52" y="128"/>
                  <a:pt x="47" y="122"/>
                </a:cubicBezTo>
                <a:cubicBezTo>
                  <a:pt x="45" y="120"/>
                  <a:pt x="49" y="116"/>
                  <a:pt x="51" y="118"/>
                </a:cubicBezTo>
                <a:cubicBezTo>
                  <a:pt x="55" y="123"/>
                  <a:pt x="60" y="119"/>
                  <a:pt x="64" y="117"/>
                </a:cubicBezTo>
                <a:cubicBezTo>
                  <a:pt x="65" y="116"/>
                  <a:pt x="67" y="117"/>
                  <a:pt x="67" y="118"/>
                </a:cubicBezTo>
                <a:cubicBezTo>
                  <a:pt x="70" y="123"/>
                  <a:pt x="76" y="117"/>
                  <a:pt x="80" y="118"/>
                </a:cubicBezTo>
                <a:cubicBezTo>
                  <a:pt x="82" y="118"/>
                  <a:pt x="84" y="119"/>
                  <a:pt x="85" y="121"/>
                </a:cubicBezTo>
                <a:close/>
                <a:moveTo>
                  <a:pt x="59" y="64"/>
                </a:moveTo>
                <a:cubicBezTo>
                  <a:pt x="61" y="63"/>
                  <a:pt x="61" y="63"/>
                  <a:pt x="61" y="63"/>
                </a:cubicBezTo>
                <a:cubicBezTo>
                  <a:pt x="60" y="61"/>
                  <a:pt x="60" y="61"/>
                  <a:pt x="60" y="61"/>
                </a:cubicBezTo>
                <a:cubicBezTo>
                  <a:pt x="59" y="59"/>
                  <a:pt x="58" y="57"/>
                  <a:pt x="56" y="57"/>
                </a:cubicBezTo>
                <a:cubicBezTo>
                  <a:pt x="50" y="54"/>
                  <a:pt x="50" y="54"/>
                  <a:pt x="50" y="54"/>
                </a:cubicBezTo>
                <a:cubicBezTo>
                  <a:pt x="53" y="52"/>
                  <a:pt x="55" y="49"/>
                  <a:pt x="56" y="46"/>
                </a:cubicBezTo>
                <a:cubicBezTo>
                  <a:pt x="58" y="45"/>
                  <a:pt x="59" y="43"/>
                  <a:pt x="59" y="41"/>
                </a:cubicBezTo>
                <a:cubicBezTo>
                  <a:pt x="59" y="39"/>
                  <a:pt x="59" y="39"/>
                  <a:pt x="59" y="39"/>
                </a:cubicBezTo>
                <a:cubicBezTo>
                  <a:pt x="59" y="37"/>
                  <a:pt x="58" y="36"/>
                  <a:pt x="57" y="34"/>
                </a:cubicBezTo>
                <a:cubicBezTo>
                  <a:pt x="56" y="29"/>
                  <a:pt x="53" y="24"/>
                  <a:pt x="42" y="24"/>
                </a:cubicBezTo>
                <a:cubicBezTo>
                  <a:pt x="42" y="24"/>
                  <a:pt x="41" y="24"/>
                  <a:pt x="41" y="24"/>
                </a:cubicBezTo>
                <a:cubicBezTo>
                  <a:pt x="40" y="24"/>
                  <a:pt x="38" y="24"/>
                  <a:pt x="36" y="23"/>
                </a:cubicBezTo>
                <a:cubicBezTo>
                  <a:pt x="35" y="22"/>
                  <a:pt x="35" y="22"/>
                  <a:pt x="34" y="22"/>
                </a:cubicBezTo>
                <a:cubicBezTo>
                  <a:pt x="34" y="21"/>
                  <a:pt x="32" y="20"/>
                  <a:pt x="31" y="21"/>
                </a:cubicBezTo>
                <a:cubicBezTo>
                  <a:pt x="30" y="21"/>
                  <a:pt x="29" y="22"/>
                  <a:pt x="29" y="24"/>
                </a:cubicBezTo>
                <a:cubicBezTo>
                  <a:pt x="29" y="24"/>
                  <a:pt x="29" y="25"/>
                  <a:pt x="29" y="26"/>
                </a:cubicBezTo>
                <a:cubicBezTo>
                  <a:pt x="30" y="27"/>
                  <a:pt x="30" y="28"/>
                  <a:pt x="30" y="28"/>
                </a:cubicBezTo>
                <a:cubicBezTo>
                  <a:pt x="30" y="28"/>
                  <a:pt x="29" y="28"/>
                  <a:pt x="29" y="28"/>
                </a:cubicBezTo>
                <a:cubicBezTo>
                  <a:pt x="29" y="29"/>
                  <a:pt x="29" y="29"/>
                  <a:pt x="29" y="30"/>
                </a:cubicBezTo>
                <a:cubicBezTo>
                  <a:pt x="28" y="31"/>
                  <a:pt x="28" y="33"/>
                  <a:pt x="27" y="35"/>
                </a:cubicBezTo>
                <a:cubicBezTo>
                  <a:pt x="26" y="36"/>
                  <a:pt x="25" y="37"/>
                  <a:pt x="25" y="39"/>
                </a:cubicBezTo>
                <a:cubicBezTo>
                  <a:pt x="25" y="41"/>
                  <a:pt x="25" y="41"/>
                  <a:pt x="25" y="41"/>
                </a:cubicBezTo>
                <a:cubicBezTo>
                  <a:pt x="25" y="43"/>
                  <a:pt x="26" y="45"/>
                  <a:pt x="28" y="46"/>
                </a:cubicBezTo>
                <a:cubicBezTo>
                  <a:pt x="29" y="49"/>
                  <a:pt x="31" y="52"/>
                  <a:pt x="34" y="54"/>
                </a:cubicBezTo>
                <a:cubicBezTo>
                  <a:pt x="28" y="57"/>
                  <a:pt x="28" y="57"/>
                  <a:pt x="28" y="57"/>
                </a:cubicBezTo>
                <a:cubicBezTo>
                  <a:pt x="26" y="57"/>
                  <a:pt x="25" y="59"/>
                  <a:pt x="24" y="61"/>
                </a:cubicBezTo>
                <a:cubicBezTo>
                  <a:pt x="23" y="63"/>
                  <a:pt x="23" y="63"/>
                  <a:pt x="23" y="63"/>
                </a:cubicBezTo>
                <a:cubicBezTo>
                  <a:pt x="25" y="64"/>
                  <a:pt x="25" y="64"/>
                  <a:pt x="25" y="64"/>
                </a:cubicBezTo>
                <a:cubicBezTo>
                  <a:pt x="30" y="67"/>
                  <a:pt x="36" y="69"/>
                  <a:pt x="42" y="69"/>
                </a:cubicBezTo>
                <a:cubicBezTo>
                  <a:pt x="48" y="69"/>
                  <a:pt x="54" y="67"/>
                  <a:pt x="59" y="64"/>
                </a:cubicBezTo>
                <a:close/>
                <a:moveTo>
                  <a:pt x="31" y="61"/>
                </a:moveTo>
                <a:cubicBezTo>
                  <a:pt x="37" y="58"/>
                  <a:pt x="37" y="58"/>
                  <a:pt x="37" y="58"/>
                </a:cubicBezTo>
                <a:cubicBezTo>
                  <a:pt x="39" y="57"/>
                  <a:pt x="39" y="56"/>
                  <a:pt x="39" y="54"/>
                </a:cubicBezTo>
                <a:cubicBezTo>
                  <a:pt x="39" y="50"/>
                  <a:pt x="39" y="50"/>
                  <a:pt x="39" y="50"/>
                </a:cubicBezTo>
                <a:cubicBezTo>
                  <a:pt x="38" y="50"/>
                  <a:pt x="38" y="50"/>
                  <a:pt x="38" y="50"/>
                </a:cubicBezTo>
                <a:cubicBezTo>
                  <a:pt x="35" y="49"/>
                  <a:pt x="34" y="47"/>
                  <a:pt x="33" y="44"/>
                </a:cubicBezTo>
                <a:cubicBezTo>
                  <a:pt x="33" y="42"/>
                  <a:pt x="33" y="42"/>
                  <a:pt x="33" y="42"/>
                </a:cubicBezTo>
                <a:cubicBezTo>
                  <a:pt x="31" y="42"/>
                  <a:pt x="31" y="42"/>
                  <a:pt x="31" y="42"/>
                </a:cubicBezTo>
                <a:cubicBezTo>
                  <a:pt x="31" y="42"/>
                  <a:pt x="31" y="41"/>
                  <a:pt x="31" y="41"/>
                </a:cubicBezTo>
                <a:cubicBezTo>
                  <a:pt x="31" y="39"/>
                  <a:pt x="31" y="39"/>
                  <a:pt x="31" y="39"/>
                </a:cubicBezTo>
                <a:cubicBezTo>
                  <a:pt x="31" y="39"/>
                  <a:pt x="31" y="38"/>
                  <a:pt x="31" y="38"/>
                </a:cubicBezTo>
                <a:cubicBezTo>
                  <a:pt x="32" y="38"/>
                  <a:pt x="32" y="38"/>
                  <a:pt x="32" y="38"/>
                </a:cubicBezTo>
                <a:cubicBezTo>
                  <a:pt x="32" y="36"/>
                  <a:pt x="32" y="36"/>
                  <a:pt x="32" y="36"/>
                </a:cubicBezTo>
                <a:cubicBezTo>
                  <a:pt x="33" y="35"/>
                  <a:pt x="33" y="33"/>
                  <a:pt x="34" y="32"/>
                </a:cubicBezTo>
                <a:cubicBezTo>
                  <a:pt x="34" y="31"/>
                  <a:pt x="34" y="31"/>
                  <a:pt x="34" y="31"/>
                </a:cubicBezTo>
                <a:cubicBezTo>
                  <a:pt x="35" y="30"/>
                  <a:pt x="35" y="29"/>
                  <a:pt x="35" y="28"/>
                </a:cubicBezTo>
                <a:cubicBezTo>
                  <a:pt x="37" y="29"/>
                  <a:pt x="39" y="29"/>
                  <a:pt x="41" y="29"/>
                </a:cubicBezTo>
                <a:cubicBezTo>
                  <a:pt x="42" y="29"/>
                  <a:pt x="42" y="29"/>
                  <a:pt x="42" y="29"/>
                </a:cubicBezTo>
                <a:cubicBezTo>
                  <a:pt x="50" y="29"/>
                  <a:pt x="51" y="33"/>
                  <a:pt x="52" y="36"/>
                </a:cubicBezTo>
                <a:cubicBezTo>
                  <a:pt x="52" y="38"/>
                  <a:pt x="52" y="38"/>
                  <a:pt x="52" y="38"/>
                </a:cubicBezTo>
                <a:cubicBezTo>
                  <a:pt x="53" y="38"/>
                  <a:pt x="53" y="38"/>
                  <a:pt x="53" y="38"/>
                </a:cubicBezTo>
                <a:cubicBezTo>
                  <a:pt x="53" y="38"/>
                  <a:pt x="54" y="39"/>
                  <a:pt x="54" y="39"/>
                </a:cubicBezTo>
                <a:cubicBezTo>
                  <a:pt x="54" y="41"/>
                  <a:pt x="54" y="41"/>
                  <a:pt x="54" y="41"/>
                </a:cubicBezTo>
                <a:cubicBezTo>
                  <a:pt x="54" y="41"/>
                  <a:pt x="53" y="42"/>
                  <a:pt x="53" y="42"/>
                </a:cubicBezTo>
                <a:cubicBezTo>
                  <a:pt x="52" y="42"/>
                  <a:pt x="52" y="42"/>
                  <a:pt x="52" y="42"/>
                </a:cubicBezTo>
                <a:cubicBezTo>
                  <a:pt x="51" y="44"/>
                  <a:pt x="51" y="44"/>
                  <a:pt x="51" y="44"/>
                </a:cubicBezTo>
                <a:cubicBezTo>
                  <a:pt x="50" y="47"/>
                  <a:pt x="49" y="49"/>
                  <a:pt x="46" y="50"/>
                </a:cubicBezTo>
                <a:cubicBezTo>
                  <a:pt x="45" y="50"/>
                  <a:pt x="45" y="50"/>
                  <a:pt x="45" y="50"/>
                </a:cubicBezTo>
                <a:cubicBezTo>
                  <a:pt x="45" y="54"/>
                  <a:pt x="45" y="54"/>
                  <a:pt x="45" y="54"/>
                </a:cubicBezTo>
                <a:cubicBezTo>
                  <a:pt x="45" y="56"/>
                  <a:pt x="46" y="57"/>
                  <a:pt x="47" y="58"/>
                </a:cubicBezTo>
                <a:cubicBezTo>
                  <a:pt x="53" y="61"/>
                  <a:pt x="53" y="61"/>
                  <a:pt x="53" y="61"/>
                </a:cubicBezTo>
                <a:cubicBezTo>
                  <a:pt x="46" y="65"/>
                  <a:pt x="38" y="65"/>
                  <a:pt x="31" y="6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43" name="Freeform 1345">
            <a:extLst>
              <a:ext uri="{FF2B5EF4-FFF2-40B4-BE49-F238E27FC236}">
                <a16:creationId xmlns:a16="http://schemas.microsoft.com/office/drawing/2014/main" id="{046612F3-5C47-5349-86A0-7EFF1D9D9CB4}"/>
              </a:ext>
            </a:extLst>
          </p:cNvPr>
          <p:cNvSpPr>
            <a:spLocks noEditPoints="1"/>
          </p:cNvSpPr>
          <p:nvPr/>
        </p:nvSpPr>
        <p:spPr bwMode="auto">
          <a:xfrm>
            <a:off x="6220987" y="365125"/>
            <a:ext cx="546100" cy="550863"/>
          </a:xfrm>
          <a:custGeom>
            <a:avLst/>
            <a:gdLst>
              <a:gd name="T0" fmla="*/ 132 w 160"/>
              <a:gd name="T1" fmla="*/ 38 h 160"/>
              <a:gd name="T2" fmla="*/ 129 w 160"/>
              <a:gd name="T3" fmla="*/ 38 h 160"/>
              <a:gd name="T4" fmla="*/ 75 w 160"/>
              <a:gd name="T5" fmla="*/ 75 h 160"/>
              <a:gd name="T6" fmla="*/ 75 w 160"/>
              <a:gd name="T7" fmla="*/ 40 h 160"/>
              <a:gd name="T8" fmla="*/ 73 w 160"/>
              <a:gd name="T9" fmla="*/ 38 h 160"/>
              <a:gd name="T10" fmla="*/ 71 w 160"/>
              <a:gd name="T11" fmla="*/ 38 h 160"/>
              <a:gd name="T12" fmla="*/ 12 w 160"/>
              <a:gd name="T13" fmla="*/ 78 h 160"/>
              <a:gd name="T14" fmla="*/ 11 w 160"/>
              <a:gd name="T15" fmla="*/ 80 h 160"/>
              <a:gd name="T16" fmla="*/ 12 w 160"/>
              <a:gd name="T17" fmla="*/ 82 h 160"/>
              <a:gd name="T18" fmla="*/ 71 w 160"/>
              <a:gd name="T19" fmla="*/ 122 h 160"/>
              <a:gd name="T20" fmla="*/ 72 w 160"/>
              <a:gd name="T21" fmla="*/ 123 h 160"/>
              <a:gd name="T22" fmla="*/ 73 w 160"/>
              <a:gd name="T23" fmla="*/ 122 h 160"/>
              <a:gd name="T24" fmla="*/ 75 w 160"/>
              <a:gd name="T25" fmla="*/ 120 h 160"/>
              <a:gd name="T26" fmla="*/ 75 w 160"/>
              <a:gd name="T27" fmla="*/ 85 h 160"/>
              <a:gd name="T28" fmla="*/ 129 w 160"/>
              <a:gd name="T29" fmla="*/ 122 h 160"/>
              <a:gd name="T30" fmla="*/ 131 w 160"/>
              <a:gd name="T31" fmla="*/ 123 h 160"/>
              <a:gd name="T32" fmla="*/ 132 w 160"/>
              <a:gd name="T33" fmla="*/ 122 h 160"/>
              <a:gd name="T34" fmla="*/ 133 w 160"/>
              <a:gd name="T35" fmla="*/ 120 h 160"/>
              <a:gd name="T36" fmla="*/ 133 w 160"/>
              <a:gd name="T37" fmla="*/ 40 h 160"/>
              <a:gd name="T38" fmla="*/ 132 w 160"/>
              <a:gd name="T39" fmla="*/ 38 h 160"/>
              <a:gd name="T40" fmla="*/ 69 w 160"/>
              <a:gd name="T41" fmla="*/ 115 h 160"/>
              <a:gd name="T42" fmla="*/ 18 w 160"/>
              <a:gd name="T43" fmla="*/ 80 h 160"/>
              <a:gd name="T44" fmla="*/ 69 w 160"/>
              <a:gd name="T45" fmla="*/ 45 h 160"/>
              <a:gd name="T46" fmla="*/ 69 w 160"/>
              <a:gd name="T47" fmla="*/ 115 h 160"/>
              <a:gd name="T48" fmla="*/ 128 w 160"/>
              <a:gd name="T49" fmla="*/ 115 h 160"/>
              <a:gd name="T50" fmla="*/ 77 w 160"/>
              <a:gd name="T51" fmla="*/ 80 h 160"/>
              <a:gd name="T52" fmla="*/ 128 w 160"/>
              <a:gd name="T53" fmla="*/ 45 h 160"/>
              <a:gd name="T54" fmla="*/ 128 w 160"/>
              <a:gd name="T55" fmla="*/ 115 h 160"/>
              <a:gd name="T56" fmla="*/ 80 w 160"/>
              <a:gd name="T57" fmla="*/ 0 h 160"/>
              <a:gd name="T58" fmla="*/ 0 w 160"/>
              <a:gd name="T59" fmla="*/ 80 h 160"/>
              <a:gd name="T60" fmla="*/ 80 w 160"/>
              <a:gd name="T61" fmla="*/ 160 h 160"/>
              <a:gd name="T62" fmla="*/ 160 w 160"/>
              <a:gd name="T63" fmla="*/ 80 h 160"/>
              <a:gd name="T64" fmla="*/ 80 w 160"/>
              <a:gd name="T65" fmla="*/ 0 h 160"/>
              <a:gd name="T66" fmla="*/ 80 w 160"/>
              <a:gd name="T67" fmla="*/ 155 h 160"/>
              <a:gd name="T68" fmla="*/ 5 w 160"/>
              <a:gd name="T69" fmla="*/ 80 h 160"/>
              <a:gd name="T70" fmla="*/ 80 w 160"/>
              <a:gd name="T71" fmla="*/ 5 h 160"/>
              <a:gd name="T72" fmla="*/ 155 w 160"/>
              <a:gd name="T73" fmla="*/ 80 h 160"/>
              <a:gd name="T74" fmla="*/ 80 w 160"/>
              <a:gd name="T7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132" y="38"/>
                </a:moveTo>
                <a:cubicBezTo>
                  <a:pt x="131" y="37"/>
                  <a:pt x="130" y="37"/>
                  <a:pt x="129" y="38"/>
                </a:cubicBezTo>
                <a:cubicBezTo>
                  <a:pt x="75" y="75"/>
                  <a:pt x="75" y="75"/>
                  <a:pt x="75" y="75"/>
                </a:cubicBezTo>
                <a:cubicBezTo>
                  <a:pt x="75" y="40"/>
                  <a:pt x="75" y="40"/>
                  <a:pt x="75" y="40"/>
                </a:cubicBezTo>
                <a:cubicBezTo>
                  <a:pt x="75" y="39"/>
                  <a:pt x="74" y="38"/>
                  <a:pt x="73" y="38"/>
                </a:cubicBezTo>
                <a:cubicBezTo>
                  <a:pt x="72" y="37"/>
                  <a:pt x="71" y="37"/>
                  <a:pt x="71" y="38"/>
                </a:cubicBezTo>
                <a:cubicBezTo>
                  <a:pt x="12" y="78"/>
                  <a:pt x="12" y="78"/>
                  <a:pt x="12" y="78"/>
                </a:cubicBezTo>
                <a:cubicBezTo>
                  <a:pt x="11" y="78"/>
                  <a:pt x="11" y="79"/>
                  <a:pt x="11" y="80"/>
                </a:cubicBezTo>
                <a:cubicBezTo>
                  <a:pt x="11" y="81"/>
                  <a:pt x="11" y="82"/>
                  <a:pt x="12" y="82"/>
                </a:cubicBezTo>
                <a:cubicBezTo>
                  <a:pt x="71" y="122"/>
                  <a:pt x="71" y="122"/>
                  <a:pt x="71" y="122"/>
                </a:cubicBezTo>
                <a:cubicBezTo>
                  <a:pt x="71" y="123"/>
                  <a:pt x="71" y="123"/>
                  <a:pt x="72" y="123"/>
                </a:cubicBezTo>
                <a:cubicBezTo>
                  <a:pt x="72" y="123"/>
                  <a:pt x="73" y="123"/>
                  <a:pt x="73" y="122"/>
                </a:cubicBezTo>
                <a:cubicBezTo>
                  <a:pt x="74" y="122"/>
                  <a:pt x="75" y="121"/>
                  <a:pt x="75" y="120"/>
                </a:cubicBezTo>
                <a:cubicBezTo>
                  <a:pt x="75" y="85"/>
                  <a:pt x="75" y="85"/>
                  <a:pt x="75" y="85"/>
                </a:cubicBezTo>
                <a:cubicBezTo>
                  <a:pt x="129" y="122"/>
                  <a:pt x="129" y="122"/>
                  <a:pt x="129" y="122"/>
                </a:cubicBezTo>
                <a:cubicBezTo>
                  <a:pt x="130" y="123"/>
                  <a:pt x="130" y="123"/>
                  <a:pt x="131" y="123"/>
                </a:cubicBezTo>
                <a:cubicBezTo>
                  <a:pt x="131" y="123"/>
                  <a:pt x="132" y="123"/>
                  <a:pt x="132" y="122"/>
                </a:cubicBezTo>
                <a:cubicBezTo>
                  <a:pt x="133" y="122"/>
                  <a:pt x="133" y="121"/>
                  <a:pt x="133" y="120"/>
                </a:cubicBezTo>
                <a:cubicBezTo>
                  <a:pt x="133" y="40"/>
                  <a:pt x="133" y="40"/>
                  <a:pt x="133" y="40"/>
                </a:cubicBezTo>
                <a:cubicBezTo>
                  <a:pt x="133" y="39"/>
                  <a:pt x="133" y="38"/>
                  <a:pt x="132" y="38"/>
                </a:cubicBezTo>
                <a:close/>
                <a:moveTo>
                  <a:pt x="69" y="115"/>
                </a:moveTo>
                <a:cubicBezTo>
                  <a:pt x="18" y="80"/>
                  <a:pt x="18" y="80"/>
                  <a:pt x="18" y="80"/>
                </a:cubicBezTo>
                <a:cubicBezTo>
                  <a:pt x="69" y="45"/>
                  <a:pt x="69" y="45"/>
                  <a:pt x="69" y="45"/>
                </a:cubicBezTo>
                <a:lnTo>
                  <a:pt x="69" y="115"/>
                </a:lnTo>
                <a:close/>
                <a:moveTo>
                  <a:pt x="128" y="115"/>
                </a:moveTo>
                <a:cubicBezTo>
                  <a:pt x="77" y="80"/>
                  <a:pt x="77" y="80"/>
                  <a:pt x="77" y="80"/>
                </a:cubicBezTo>
                <a:cubicBezTo>
                  <a:pt x="128" y="45"/>
                  <a:pt x="128" y="45"/>
                  <a:pt x="128" y="45"/>
                </a:cubicBezTo>
                <a:lnTo>
                  <a:pt x="128" y="115"/>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44" name="Freeform 1346">
            <a:extLst>
              <a:ext uri="{FF2B5EF4-FFF2-40B4-BE49-F238E27FC236}">
                <a16:creationId xmlns:a16="http://schemas.microsoft.com/office/drawing/2014/main" id="{7452F075-815F-EC49-BF89-ECA9791890F9}"/>
              </a:ext>
            </a:extLst>
          </p:cNvPr>
          <p:cNvSpPr>
            <a:spLocks noEditPoints="1"/>
          </p:cNvSpPr>
          <p:nvPr/>
        </p:nvSpPr>
        <p:spPr bwMode="auto">
          <a:xfrm>
            <a:off x="6220987" y="1052513"/>
            <a:ext cx="546100" cy="385763"/>
          </a:xfrm>
          <a:custGeom>
            <a:avLst/>
            <a:gdLst>
              <a:gd name="T0" fmla="*/ 158 w 160"/>
              <a:gd name="T1" fmla="*/ 0 h 112"/>
              <a:gd name="T2" fmla="*/ 156 w 160"/>
              <a:gd name="T3" fmla="*/ 1 h 112"/>
              <a:gd name="T4" fmla="*/ 81 w 160"/>
              <a:gd name="T5" fmla="*/ 53 h 112"/>
              <a:gd name="T6" fmla="*/ 81 w 160"/>
              <a:gd name="T7" fmla="*/ 3 h 112"/>
              <a:gd name="T8" fmla="*/ 80 w 160"/>
              <a:gd name="T9" fmla="*/ 0 h 112"/>
              <a:gd name="T10" fmla="*/ 77 w 160"/>
              <a:gd name="T11" fmla="*/ 1 h 112"/>
              <a:gd name="T12" fmla="*/ 1 w 160"/>
              <a:gd name="T13" fmla="*/ 54 h 112"/>
              <a:gd name="T14" fmla="*/ 0 w 160"/>
              <a:gd name="T15" fmla="*/ 56 h 112"/>
              <a:gd name="T16" fmla="*/ 1 w 160"/>
              <a:gd name="T17" fmla="*/ 58 h 112"/>
              <a:gd name="T18" fmla="*/ 77 w 160"/>
              <a:gd name="T19" fmla="*/ 112 h 112"/>
              <a:gd name="T20" fmla="*/ 79 w 160"/>
              <a:gd name="T21" fmla="*/ 112 h 112"/>
              <a:gd name="T22" fmla="*/ 80 w 160"/>
              <a:gd name="T23" fmla="*/ 112 h 112"/>
              <a:gd name="T24" fmla="*/ 81 w 160"/>
              <a:gd name="T25" fmla="*/ 109 h 112"/>
              <a:gd name="T26" fmla="*/ 81 w 160"/>
              <a:gd name="T27" fmla="*/ 60 h 112"/>
              <a:gd name="T28" fmla="*/ 156 w 160"/>
              <a:gd name="T29" fmla="*/ 112 h 112"/>
              <a:gd name="T30" fmla="*/ 157 w 160"/>
              <a:gd name="T31" fmla="*/ 112 h 112"/>
              <a:gd name="T32" fmla="*/ 158 w 160"/>
              <a:gd name="T33" fmla="*/ 112 h 112"/>
              <a:gd name="T34" fmla="*/ 160 w 160"/>
              <a:gd name="T35" fmla="*/ 109 h 112"/>
              <a:gd name="T36" fmla="*/ 160 w 160"/>
              <a:gd name="T37" fmla="*/ 3 h 112"/>
              <a:gd name="T38" fmla="*/ 158 w 160"/>
              <a:gd name="T39" fmla="*/ 0 h 112"/>
              <a:gd name="T40" fmla="*/ 76 w 160"/>
              <a:gd name="T41" fmla="*/ 104 h 112"/>
              <a:gd name="T42" fmla="*/ 8 w 160"/>
              <a:gd name="T43" fmla="*/ 56 h 112"/>
              <a:gd name="T44" fmla="*/ 76 w 160"/>
              <a:gd name="T45" fmla="*/ 8 h 112"/>
              <a:gd name="T46" fmla="*/ 76 w 160"/>
              <a:gd name="T47" fmla="*/ 104 h 112"/>
              <a:gd name="T48" fmla="*/ 154 w 160"/>
              <a:gd name="T49" fmla="*/ 104 h 112"/>
              <a:gd name="T50" fmla="*/ 86 w 160"/>
              <a:gd name="T51" fmla="*/ 56 h 112"/>
              <a:gd name="T52" fmla="*/ 154 w 160"/>
              <a:gd name="T53" fmla="*/ 8 h 112"/>
              <a:gd name="T54" fmla="*/ 154 w 160"/>
              <a:gd name="T55"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12">
                <a:moveTo>
                  <a:pt x="158" y="0"/>
                </a:moveTo>
                <a:cubicBezTo>
                  <a:pt x="158" y="0"/>
                  <a:pt x="156" y="0"/>
                  <a:pt x="156" y="1"/>
                </a:cubicBezTo>
                <a:cubicBezTo>
                  <a:pt x="81" y="53"/>
                  <a:pt x="81" y="53"/>
                  <a:pt x="81" y="53"/>
                </a:cubicBezTo>
                <a:cubicBezTo>
                  <a:pt x="81" y="3"/>
                  <a:pt x="81" y="3"/>
                  <a:pt x="81" y="3"/>
                </a:cubicBezTo>
                <a:cubicBezTo>
                  <a:pt x="81" y="2"/>
                  <a:pt x="81" y="1"/>
                  <a:pt x="80" y="0"/>
                </a:cubicBezTo>
                <a:cubicBezTo>
                  <a:pt x="79" y="0"/>
                  <a:pt x="78" y="0"/>
                  <a:pt x="77" y="1"/>
                </a:cubicBezTo>
                <a:cubicBezTo>
                  <a:pt x="1" y="54"/>
                  <a:pt x="1" y="54"/>
                  <a:pt x="1" y="54"/>
                </a:cubicBezTo>
                <a:cubicBezTo>
                  <a:pt x="0" y="54"/>
                  <a:pt x="0" y="55"/>
                  <a:pt x="0" y="56"/>
                </a:cubicBezTo>
                <a:cubicBezTo>
                  <a:pt x="0" y="57"/>
                  <a:pt x="0" y="58"/>
                  <a:pt x="1" y="58"/>
                </a:cubicBezTo>
                <a:cubicBezTo>
                  <a:pt x="77" y="112"/>
                  <a:pt x="77" y="112"/>
                  <a:pt x="77" y="112"/>
                </a:cubicBezTo>
                <a:cubicBezTo>
                  <a:pt x="77" y="112"/>
                  <a:pt x="78" y="112"/>
                  <a:pt x="79" y="112"/>
                </a:cubicBezTo>
                <a:cubicBezTo>
                  <a:pt x="79" y="112"/>
                  <a:pt x="79" y="112"/>
                  <a:pt x="80" y="112"/>
                </a:cubicBezTo>
                <a:cubicBezTo>
                  <a:pt x="81" y="111"/>
                  <a:pt x="81" y="111"/>
                  <a:pt x="81" y="109"/>
                </a:cubicBezTo>
                <a:cubicBezTo>
                  <a:pt x="81" y="60"/>
                  <a:pt x="81" y="60"/>
                  <a:pt x="81" y="60"/>
                </a:cubicBezTo>
                <a:cubicBezTo>
                  <a:pt x="156" y="112"/>
                  <a:pt x="156" y="112"/>
                  <a:pt x="156" y="112"/>
                </a:cubicBezTo>
                <a:cubicBezTo>
                  <a:pt x="156" y="112"/>
                  <a:pt x="157" y="112"/>
                  <a:pt x="157" y="112"/>
                </a:cubicBezTo>
                <a:cubicBezTo>
                  <a:pt x="158" y="112"/>
                  <a:pt x="158" y="112"/>
                  <a:pt x="158" y="112"/>
                </a:cubicBezTo>
                <a:cubicBezTo>
                  <a:pt x="159" y="111"/>
                  <a:pt x="160" y="110"/>
                  <a:pt x="160" y="109"/>
                </a:cubicBezTo>
                <a:cubicBezTo>
                  <a:pt x="160" y="3"/>
                  <a:pt x="160" y="3"/>
                  <a:pt x="160" y="3"/>
                </a:cubicBezTo>
                <a:cubicBezTo>
                  <a:pt x="160" y="2"/>
                  <a:pt x="159" y="1"/>
                  <a:pt x="158" y="0"/>
                </a:cubicBezTo>
                <a:close/>
                <a:moveTo>
                  <a:pt x="76" y="104"/>
                </a:moveTo>
                <a:cubicBezTo>
                  <a:pt x="8" y="56"/>
                  <a:pt x="8" y="56"/>
                  <a:pt x="8" y="56"/>
                </a:cubicBezTo>
                <a:cubicBezTo>
                  <a:pt x="76" y="8"/>
                  <a:pt x="76" y="8"/>
                  <a:pt x="76" y="8"/>
                </a:cubicBezTo>
                <a:lnTo>
                  <a:pt x="76" y="104"/>
                </a:lnTo>
                <a:close/>
                <a:moveTo>
                  <a:pt x="154" y="104"/>
                </a:moveTo>
                <a:cubicBezTo>
                  <a:pt x="86" y="56"/>
                  <a:pt x="86" y="56"/>
                  <a:pt x="86" y="56"/>
                </a:cubicBezTo>
                <a:cubicBezTo>
                  <a:pt x="154" y="8"/>
                  <a:pt x="154" y="8"/>
                  <a:pt x="154" y="8"/>
                </a:cubicBezTo>
                <a:lnTo>
                  <a:pt x="154" y="10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45" name="Freeform 1347">
            <a:extLst>
              <a:ext uri="{FF2B5EF4-FFF2-40B4-BE49-F238E27FC236}">
                <a16:creationId xmlns:a16="http://schemas.microsoft.com/office/drawing/2014/main" id="{33796CDB-DC4B-6048-93AD-105BE615CDC9}"/>
              </a:ext>
            </a:extLst>
          </p:cNvPr>
          <p:cNvSpPr>
            <a:spLocks noEditPoints="1"/>
          </p:cNvSpPr>
          <p:nvPr/>
        </p:nvSpPr>
        <p:spPr bwMode="auto">
          <a:xfrm>
            <a:off x="6211462" y="1603375"/>
            <a:ext cx="546100" cy="550863"/>
          </a:xfrm>
          <a:custGeom>
            <a:avLst/>
            <a:gdLst>
              <a:gd name="T0" fmla="*/ 12 w 160"/>
              <a:gd name="T1" fmla="*/ 128 h 160"/>
              <a:gd name="T2" fmla="*/ 54 w 160"/>
              <a:gd name="T3" fmla="*/ 124 h 160"/>
              <a:gd name="T4" fmla="*/ 35 w 160"/>
              <a:gd name="T5" fmla="*/ 72 h 160"/>
              <a:gd name="T6" fmla="*/ 149 w 160"/>
              <a:gd name="T7" fmla="*/ 46 h 160"/>
              <a:gd name="T8" fmla="*/ 114 w 160"/>
              <a:gd name="T9" fmla="*/ 46 h 160"/>
              <a:gd name="T10" fmla="*/ 145 w 160"/>
              <a:gd name="T11" fmla="*/ 12 h 160"/>
              <a:gd name="T12" fmla="*/ 118 w 160"/>
              <a:gd name="T13" fmla="*/ 12 h 160"/>
              <a:gd name="T14" fmla="*/ 137 w 160"/>
              <a:gd name="T15" fmla="*/ 155 h 160"/>
              <a:gd name="T16" fmla="*/ 144 w 160"/>
              <a:gd name="T17" fmla="*/ 149 h 160"/>
              <a:gd name="T18" fmla="*/ 87 w 160"/>
              <a:gd name="T19" fmla="*/ 88 h 160"/>
              <a:gd name="T20" fmla="*/ 87 w 160"/>
              <a:gd name="T21" fmla="*/ 83 h 160"/>
              <a:gd name="T22" fmla="*/ 85 w 160"/>
              <a:gd name="T23" fmla="*/ 59 h 160"/>
              <a:gd name="T24" fmla="*/ 81 w 160"/>
              <a:gd name="T25" fmla="*/ 66 h 160"/>
              <a:gd name="T26" fmla="*/ 44 w 160"/>
              <a:gd name="T27" fmla="*/ 160 h 160"/>
              <a:gd name="T28" fmla="*/ 52 w 160"/>
              <a:gd name="T29" fmla="*/ 157 h 160"/>
              <a:gd name="T30" fmla="*/ 97 w 160"/>
              <a:gd name="T31" fmla="*/ 112 h 160"/>
              <a:gd name="T32" fmla="*/ 98 w 160"/>
              <a:gd name="T33" fmla="*/ 107 h 160"/>
              <a:gd name="T34" fmla="*/ 102 w 160"/>
              <a:gd name="T35" fmla="*/ 59 h 160"/>
              <a:gd name="T36" fmla="*/ 94 w 160"/>
              <a:gd name="T37" fmla="*/ 61 h 160"/>
              <a:gd name="T38" fmla="*/ 129 w 160"/>
              <a:gd name="T39" fmla="*/ 112 h 160"/>
              <a:gd name="T40" fmla="*/ 136 w 160"/>
              <a:gd name="T41" fmla="*/ 88 h 160"/>
              <a:gd name="T42" fmla="*/ 136 w 160"/>
              <a:gd name="T43" fmla="*/ 83 h 160"/>
              <a:gd name="T44" fmla="*/ 113 w 160"/>
              <a:gd name="T45" fmla="*/ 107 h 160"/>
              <a:gd name="T46" fmla="*/ 113 w 160"/>
              <a:gd name="T47" fmla="*/ 112 h 160"/>
              <a:gd name="T48" fmla="*/ 112 w 160"/>
              <a:gd name="T49" fmla="*/ 59 h 160"/>
              <a:gd name="T50" fmla="*/ 112 w 160"/>
              <a:gd name="T51" fmla="*/ 64 h 160"/>
              <a:gd name="T52" fmla="*/ 99 w 160"/>
              <a:gd name="T53" fmla="*/ 88 h 160"/>
              <a:gd name="T54" fmla="*/ 120 w 160"/>
              <a:gd name="T55" fmla="*/ 88 h 160"/>
              <a:gd name="T56" fmla="*/ 120 w 160"/>
              <a:gd name="T57" fmla="*/ 83 h 160"/>
              <a:gd name="T58" fmla="*/ 160 w 160"/>
              <a:gd name="T59" fmla="*/ 101 h 160"/>
              <a:gd name="T60" fmla="*/ 155 w 160"/>
              <a:gd name="T61" fmla="*/ 97 h 160"/>
              <a:gd name="T62" fmla="*/ 160 w 160"/>
              <a:gd name="T63" fmla="*/ 97 h 160"/>
              <a:gd name="T64" fmla="*/ 106 w 160"/>
              <a:gd name="T65" fmla="*/ 157 h 160"/>
              <a:gd name="T66" fmla="*/ 100 w 160"/>
              <a:gd name="T67" fmla="*/ 157 h 160"/>
              <a:gd name="T68" fmla="*/ 92 w 160"/>
              <a:gd name="T69" fmla="*/ 155 h 160"/>
              <a:gd name="T70" fmla="*/ 119 w 160"/>
              <a:gd name="T71" fmla="*/ 136 h 160"/>
              <a:gd name="T72" fmla="*/ 127 w 160"/>
              <a:gd name="T73" fmla="*/ 133 h 160"/>
              <a:gd name="T74" fmla="*/ 100 w 160"/>
              <a:gd name="T75" fmla="*/ 133 h 160"/>
              <a:gd name="T76" fmla="*/ 108 w 160"/>
              <a:gd name="T77" fmla="*/ 136 h 160"/>
              <a:gd name="T78" fmla="*/ 130 w 160"/>
              <a:gd name="T79" fmla="*/ 160 h 160"/>
              <a:gd name="T80" fmla="*/ 130 w 160"/>
              <a:gd name="T81" fmla="*/ 155 h 160"/>
              <a:gd name="T82" fmla="*/ 133 w 160"/>
              <a:gd name="T83" fmla="*/ 133 h 160"/>
              <a:gd name="T84" fmla="*/ 139 w 160"/>
              <a:gd name="T85" fmla="*/ 141 h 160"/>
              <a:gd name="T86" fmla="*/ 146 w 160"/>
              <a:gd name="T87" fmla="*/ 112 h 160"/>
              <a:gd name="T88" fmla="*/ 146 w 160"/>
              <a:gd name="T89" fmla="*/ 107 h 160"/>
              <a:gd name="T90" fmla="*/ 73 w 160"/>
              <a:gd name="T91" fmla="*/ 78 h 160"/>
              <a:gd name="T92" fmla="*/ 78 w 160"/>
              <a:gd name="T93" fmla="*/ 72 h 160"/>
              <a:gd name="T94" fmla="*/ 76 w 160"/>
              <a:gd name="T95" fmla="*/ 80 h 160"/>
              <a:gd name="T96" fmla="*/ 58 w 160"/>
              <a:gd name="T97" fmla="*/ 157 h 160"/>
              <a:gd name="T98" fmla="*/ 92 w 160"/>
              <a:gd name="T99" fmla="*/ 135 h 160"/>
              <a:gd name="T100" fmla="*/ 94 w 160"/>
              <a:gd name="T101" fmla="*/ 130 h 160"/>
              <a:gd name="T102" fmla="*/ 154 w 160"/>
              <a:gd name="T103" fmla="*/ 88 h 160"/>
              <a:gd name="T104" fmla="*/ 144 w 160"/>
              <a:gd name="T105" fmla="*/ 85 h 160"/>
              <a:gd name="T106" fmla="*/ 84 w 160"/>
              <a:gd name="T107" fmla="*/ 157 h 160"/>
              <a:gd name="T108" fmla="*/ 76 w 160"/>
              <a:gd name="T109" fmla="*/ 155 h 160"/>
              <a:gd name="T110" fmla="*/ 85 w 160"/>
              <a:gd name="T111" fmla="*/ 122 h 160"/>
              <a:gd name="T112" fmla="*/ 90 w 160"/>
              <a:gd name="T113" fmla="*/ 116 h 160"/>
              <a:gd name="T114" fmla="*/ 147 w 160"/>
              <a:gd name="T115" fmla="*/ 25 h 160"/>
              <a:gd name="T116" fmla="*/ 132 w 160"/>
              <a:gd name="T117" fmla="*/ 16 h 160"/>
              <a:gd name="T118" fmla="*/ 132 w 160"/>
              <a:gd name="T119" fmla="*/ 16 h 160"/>
              <a:gd name="T120" fmla="*/ 51 w 160"/>
              <a:gd name="T121" fmla="*/ 99 h 160"/>
              <a:gd name="T122" fmla="*/ 35 w 160"/>
              <a:gd name="T123" fmla="*/ 8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 h="160">
                <a:moveTo>
                  <a:pt x="58" y="77"/>
                </a:moveTo>
                <a:cubicBezTo>
                  <a:pt x="52" y="70"/>
                  <a:pt x="44" y="67"/>
                  <a:pt x="35" y="67"/>
                </a:cubicBezTo>
                <a:cubicBezTo>
                  <a:pt x="26" y="67"/>
                  <a:pt x="18" y="70"/>
                  <a:pt x="12" y="77"/>
                </a:cubicBezTo>
                <a:cubicBezTo>
                  <a:pt x="0" y="91"/>
                  <a:pt x="0" y="114"/>
                  <a:pt x="12" y="128"/>
                </a:cubicBezTo>
                <a:cubicBezTo>
                  <a:pt x="35" y="153"/>
                  <a:pt x="35" y="153"/>
                  <a:pt x="35" y="153"/>
                </a:cubicBezTo>
                <a:cubicBezTo>
                  <a:pt x="58" y="128"/>
                  <a:pt x="58" y="128"/>
                  <a:pt x="58" y="128"/>
                </a:cubicBezTo>
                <a:cubicBezTo>
                  <a:pt x="70" y="114"/>
                  <a:pt x="70" y="91"/>
                  <a:pt x="58" y="77"/>
                </a:cubicBezTo>
                <a:close/>
                <a:moveTo>
                  <a:pt x="54" y="124"/>
                </a:moveTo>
                <a:cubicBezTo>
                  <a:pt x="35" y="145"/>
                  <a:pt x="35" y="145"/>
                  <a:pt x="35" y="145"/>
                </a:cubicBezTo>
                <a:cubicBezTo>
                  <a:pt x="16" y="124"/>
                  <a:pt x="16" y="124"/>
                  <a:pt x="16" y="124"/>
                </a:cubicBezTo>
                <a:cubicBezTo>
                  <a:pt x="6" y="112"/>
                  <a:pt x="6" y="93"/>
                  <a:pt x="16" y="81"/>
                </a:cubicBezTo>
                <a:cubicBezTo>
                  <a:pt x="21" y="75"/>
                  <a:pt x="28" y="72"/>
                  <a:pt x="35" y="72"/>
                </a:cubicBezTo>
                <a:cubicBezTo>
                  <a:pt x="42" y="72"/>
                  <a:pt x="49" y="75"/>
                  <a:pt x="54" y="81"/>
                </a:cubicBezTo>
                <a:cubicBezTo>
                  <a:pt x="64" y="93"/>
                  <a:pt x="64" y="112"/>
                  <a:pt x="54" y="124"/>
                </a:cubicBezTo>
                <a:close/>
                <a:moveTo>
                  <a:pt x="132" y="65"/>
                </a:moveTo>
                <a:cubicBezTo>
                  <a:pt x="149" y="46"/>
                  <a:pt x="149" y="46"/>
                  <a:pt x="149" y="46"/>
                </a:cubicBezTo>
                <a:cubicBezTo>
                  <a:pt x="158" y="35"/>
                  <a:pt x="158" y="18"/>
                  <a:pt x="149" y="8"/>
                </a:cubicBezTo>
                <a:cubicBezTo>
                  <a:pt x="144" y="3"/>
                  <a:pt x="138" y="0"/>
                  <a:pt x="132" y="0"/>
                </a:cubicBezTo>
                <a:cubicBezTo>
                  <a:pt x="125" y="0"/>
                  <a:pt x="119" y="3"/>
                  <a:pt x="114" y="8"/>
                </a:cubicBezTo>
                <a:cubicBezTo>
                  <a:pt x="105" y="18"/>
                  <a:pt x="105" y="35"/>
                  <a:pt x="114" y="46"/>
                </a:cubicBezTo>
                <a:lnTo>
                  <a:pt x="132" y="65"/>
                </a:lnTo>
                <a:close/>
                <a:moveTo>
                  <a:pt x="118" y="12"/>
                </a:moveTo>
                <a:cubicBezTo>
                  <a:pt x="122" y="8"/>
                  <a:pt x="127" y="5"/>
                  <a:pt x="132" y="5"/>
                </a:cubicBezTo>
                <a:cubicBezTo>
                  <a:pt x="137" y="5"/>
                  <a:pt x="141" y="8"/>
                  <a:pt x="145" y="12"/>
                </a:cubicBezTo>
                <a:cubicBezTo>
                  <a:pt x="152" y="20"/>
                  <a:pt x="152" y="34"/>
                  <a:pt x="145" y="42"/>
                </a:cubicBezTo>
                <a:cubicBezTo>
                  <a:pt x="132" y="57"/>
                  <a:pt x="132" y="57"/>
                  <a:pt x="132" y="57"/>
                </a:cubicBezTo>
                <a:cubicBezTo>
                  <a:pt x="118" y="42"/>
                  <a:pt x="118" y="42"/>
                  <a:pt x="118" y="42"/>
                </a:cubicBezTo>
                <a:cubicBezTo>
                  <a:pt x="111" y="34"/>
                  <a:pt x="111" y="20"/>
                  <a:pt x="118" y="12"/>
                </a:cubicBezTo>
                <a:close/>
                <a:moveTo>
                  <a:pt x="144" y="149"/>
                </a:moveTo>
                <a:cubicBezTo>
                  <a:pt x="143" y="151"/>
                  <a:pt x="143" y="153"/>
                  <a:pt x="141" y="154"/>
                </a:cubicBezTo>
                <a:cubicBezTo>
                  <a:pt x="141" y="155"/>
                  <a:pt x="140" y="155"/>
                  <a:pt x="139" y="155"/>
                </a:cubicBezTo>
                <a:cubicBezTo>
                  <a:pt x="138" y="155"/>
                  <a:pt x="138" y="155"/>
                  <a:pt x="137" y="155"/>
                </a:cubicBezTo>
                <a:cubicBezTo>
                  <a:pt x="136" y="154"/>
                  <a:pt x="136" y="152"/>
                  <a:pt x="137" y="151"/>
                </a:cubicBezTo>
                <a:cubicBezTo>
                  <a:pt x="138" y="150"/>
                  <a:pt x="138" y="149"/>
                  <a:pt x="139" y="147"/>
                </a:cubicBezTo>
                <a:cubicBezTo>
                  <a:pt x="139" y="146"/>
                  <a:pt x="140" y="145"/>
                  <a:pt x="142" y="145"/>
                </a:cubicBezTo>
                <a:cubicBezTo>
                  <a:pt x="143" y="146"/>
                  <a:pt x="144" y="147"/>
                  <a:pt x="144" y="149"/>
                </a:cubicBezTo>
                <a:close/>
                <a:moveTo>
                  <a:pt x="88" y="83"/>
                </a:moveTo>
                <a:cubicBezTo>
                  <a:pt x="89" y="83"/>
                  <a:pt x="91" y="84"/>
                  <a:pt x="91" y="85"/>
                </a:cubicBezTo>
                <a:cubicBezTo>
                  <a:pt x="91" y="87"/>
                  <a:pt x="89" y="88"/>
                  <a:pt x="88" y="88"/>
                </a:cubicBezTo>
                <a:cubicBezTo>
                  <a:pt x="87" y="88"/>
                  <a:pt x="87" y="88"/>
                  <a:pt x="87" y="88"/>
                </a:cubicBezTo>
                <a:cubicBezTo>
                  <a:pt x="85" y="88"/>
                  <a:pt x="83" y="88"/>
                  <a:pt x="82" y="87"/>
                </a:cubicBezTo>
                <a:cubicBezTo>
                  <a:pt x="80" y="87"/>
                  <a:pt x="80" y="85"/>
                  <a:pt x="80" y="84"/>
                </a:cubicBezTo>
                <a:cubicBezTo>
                  <a:pt x="81" y="82"/>
                  <a:pt x="82" y="82"/>
                  <a:pt x="84" y="82"/>
                </a:cubicBezTo>
                <a:cubicBezTo>
                  <a:pt x="85" y="82"/>
                  <a:pt x="86" y="83"/>
                  <a:pt x="87" y="83"/>
                </a:cubicBezTo>
                <a:lnTo>
                  <a:pt x="88" y="83"/>
                </a:lnTo>
                <a:close/>
                <a:moveTo>
                  <a:pt x="78" y="65"/>
                </a:moveTo>
                <a:cubicBezTo>
                  <a:pt x="78" y="63"/>
                  <a:pt x="78" y="62"/>
                  <a:pt x="79" y="61"/>
                </a:cubicBezTo>
                <a:cubicBezTo>
                  <a:pt x="81" y="60"/>
                  <a:pt x="83" y="59"/>
                  <a:pt x="85" y="59"/>
                </a:cubicBezTo>
                <a:cubicBezTo>
                  <a:pt x="87" y="59"/>
                  <a:pt x="88" y="60"/>
                  <a:pt x="88" y="61"/>
                </a:cubicBezTo>
                <a:cubicBezTo>
                  <a:pt x="88" y="63"/>
                  <a:pt x="87" y="64"/>
                  <a:pt x="86" y="64"/>
                </a:cubicBezTo>
                <a:cubicBezTo>
                  <a:pt x="85" y="64"/>
                  <a:pt x="83" y="65"/>
                  <a:pt x="82" y="65"/>
                </a:cubicBezTo>
                <a:cubicBezTo>
                  <a:pt x="82" y="66"/>
                  <a:pt x="81" y="66"/>
                  <a:pt x="81" y="66"/>
                </a:cubicBezTo>
                <a:cubicBezTo>
                  <a:pt x="80" y="66"/>
                  <a:pt x="79" y="65"/>
                  <a:pt x="78" y="65"/>
                </a:cubicBezTo>
                <a:close/>
                <a:moveTo>
                  <a:pt x="52" y="157"/>
                </a:moveTo>
                <a:cubicBezTo>
                  <a:pt x="52" y="159"/>
                  <a:pt x="51" y="160"/>
                  <a:pt x="50" y="160"/>
                </a:cubicBezTo>
                <a:cubicBezTo>
                  <a:pt x="44" y="160"/>
                  <a:pt x="44" y="160"/>
                  <a:pt x="44" y="160"/>
                </a:cubicBezTo>
                <a:cubicBezTo>
                  <a:pt x="43" y="160"/>
                  <a:pt x="42" y="159"/>
                  <a:pt x="42" y="157"/>
                </a:cubicBezTo>
                <a:cubicBezTo>
                  <a:pt x="42" y="156"/>
                  <a:pt x="43" y="155"/>
                  <a:pt x="44" y="155"/>
                </a:cubicBezTo>
                <a:cubicBezTo>
                  <a:pt x="50" y="155"/>
                  <a:pt x="50" y="155"/>
                  <a:pt x="50" y="155"/>
                </a:cubicBezTo>
                <a:cubicBezTo>
                  <a:pt x="51" y="155"/>
                  <a:pt x="52" y="156"/>
                  <a:pt x="52" y="157"/>
                </a:cubicBezTo>
                <a:close/>
                <a:moveTo>
                  <a:pt x="102" y="107"/>
                </a:moveTo>
                <a:cubicBezTo>
                  <a:pt x="104" y="107"/>
                  <a:pt x="105" y="108"/>
                  <a:pt x="105" y="109"/>
                </a:cubicBezTo>
                <a:cubicBezTo>
                  <a:pt x="105" y="111"/>
                  <a:pt x="104" y="112"/>
                  <a:pt x="102" y="112"/>
                </a:cubicBezTo>
                <a:cubicBezTo>
                  <a:pt x="97" y="112"/>
                  <a:pt x="97" y="112"/>
                  <a:pt x="97" y="112"/>
                </a:cubicBezTo>
                <a:cubicBezTo>
                  <a:pt x="97" y="112"/>
                  <a:pt x="97" y="112"/>
                  <a:pt x="97" y="112"/>
                </a:cubicBezTo>
                <a:cubicBezTo>
                  <a:pt x="96" y="112"/>
                  <a:pt x="94" y="111"/>
                  <a:pt x="94" y="109"/>
                </a:cubicBezTo>
                <a:cubicBezTo>
                  <a:pt x="94" y="108"/>
                  <a:pt x="95" y="107"/>
                  <a:pt x="97" y="107"/>
                </a:cubicBezTo>
                <a:cubicBezTo>
                  <a:pt x="97" y="107"/>
                  <a:pt x="97" y="107"/>
                  <a:pt x="98" y="107"/>
                </a:cubicBezTo>
                <a:lnTo>
                  <a:pt x="102" y="107"/>
                </a:lnTo>
                <a:close/>
                <a:moveTo>
                  <a:pt x="94" y="61"/>
                </a:moveTo>
                <a:cubicBezTo>
                  <a:pt x="94" y="60"/>
                  <a:pt x="95" y="59"/>
                  <a:pt x="96" y="59"/>
                </a:cubicBezTo>
                <a:cubicBezTo>
                  <a:pt x="102" y="59"/>
                  <a:pt x="102" y="59"/>
                  <a:pt x="102" y="59"/>
                </a:cubicBezTo>
                <a:cubicBezTo>
                  <a:pt x="103" y="59"/>
                  <a:pt x="104" y="60"/>
                  <a:pt x="104" y="61"/>
                </a:cubicBezTo>
                <a:cubicBezTo>
                  <a:pt x="104" y="63"/>
                  <a:pt x="103" y="64"/>
                  <a:pt x="102" y="64"/>
                </a:cubicBezTo>
                <a:cubicBezTo>
                  <a:pt x="96" y="64"/>
                  <a:pt x="96" y="64"/>
                  <a:pt x="96" y="64"/>
                </a:cubicBezTo>
                <a:cubicBezTo>
                  <a:pt x="95" y="64"/>
                  <a:pt x="94" y="63"/>
                  <a:pt x="94" y="61"/>
                </a:cubicBezTo>
                <a:close/>
                <a:moveTo>
                  <a:pt x="134" y="107"/>
                </a:moveTo>
                <a:cubicBezTo>
                  <a:pt x="136" y="107"/>
                  <a:pt x="137" y="108"/>
                  <a:pt x="137" y="109"/>
                </a:cubicBezTo>
                <a:cubicBezTo>
                  <a:pt x="137" y="111"/>
                  <a:pt x="136" y="112"/>
                  <a:pt x="134" y="112"/>
                </a:cubicBezTo>
                <a:cubicBezTo>
                  <a:pt x="129" y="112"/>
                  <a:pt x="129" y="112"/>
                  <a:pt x="129" y="112"/>
                </a:cubicBezTo>
                <a:cubicBezTo>
                  <a:pt x="128" y="112"/>
                  <a:pt x="126" y="111"/>
                  <a:pt x="126" y="109"/>
                </a:cubicBezTo>
                <a:cubicBezTo>
                  <a:pt x="126" y="108"/>
                  <a:pt x="128" y="107"/>
                  <a:pt x="129" y="107"/>
                </a:cubicBezTo>
                <a:lnTo>
                  <a:pt x="134" y="107"/>
                </a:lnTo>
                <a:close/>
                <a:moveTo>
                  <a:pt x="136" y="88"/>
                </a:moveTo>
                <a:cubicBezTo>
                  <a:pt x="131" y="88"/>
                  <a:pt x="131" y="88"/>
                  <a:pt x="131" y="88"/>
                </a:cubicBezTo>
                <a:cubicBezTo>
                  <a:pt x="129" y="88"/>
                  <a:pt x="128" y="87"/>
                  <a:pt x="128" y="85"/>
                </a:cubicBezTo>
                <a:cubicBezTo>
                  <a:pt x="128" y="84"/>
                  <a:pt x="129" y="83"/>
                  <a:pt x="131" y="83"/>
                </a:cubicBezTo>
                <a:cubicBezTo>
                  <a:pt x="136" y="83"/>
                  <a:pt x="136" y="83"/>
                  <a:pt x="136" y="83"/>
                </a:cubicBezTo>
                <a:cubicBezTo>
                  <a:pt x="137" y="83"/>
                  <a:pt x="139" y="84"/>
                  <a:pt x="139" y="85"/>
                </a:cubicBezTo>
                <a:cubicBezTo>
                  <a:pt x="139" y="87"/>
                  <a:pt x="137" y="88"/>
                  <a:pt x="136" y="88"/>
                </a:cubicBezTo>
                <a:close/>
                <a:moveTo>
                  <a:pt x="110" y="109"/>
                </a:moveTo>
                <a:cubicBezTo>
                  <a:pt x="110" y="108"/>
                  <a:pt x="112" y="107"/>
                  <a:pt x="113" y="107"/>
                </a:cubicBezTo>
                <a:cubicBezTo>
                  <a:pt x="118" y="107"/>
                  <a:pt x="118" y="107"/>
                  <a:pt x="118" y="107"/>
                </a:cubicBezTo>
                <a:cubicBezTo>
                  <a:pt x="120" y="107"/>
                  <a:pt x="121" y="108"/>
                  <a:pt x="121" y="109"/>
                </a:cubicBezTo>
                <a:cubicBezTo>
                  <a:pt x="121" y="111"/>
                  <a:pt x="120" y="112"/>
                  <a:pt x="118" y="112"/>
                </a:cubicBezTo>
                <a:cubicBezTo>
                  <a:pt x="113" y="112"/>
                  <a:pt x="113" y="112"/>
                  <a:pt x="113" y="112"/>
                </a:cubicBezTo>
                <a:cubicBezTo>
                  <a:pt x="112" y="112"/>
                  <a:pt x="110" y="111"/>
                  <a:pt x="110" y="109"/>
                </a:cubicBezTo>
                <a:close/>
                <a:moveTo>
                  <a:pt x="112" y="64"/>
                </a:moveTo>
                <a:cubicBezTo>
                  <a:pt x="111" y="64"/>
                  <a:pt x="110" y="63"/>
                  <a:pt x="110" y="61"/>
                </a:cubicBezTo>
                <a:cubicBezTo>
                  <a:pt x="110" y="60"/>
                  <a:pt x="111" y="59"/>
                  <a:pt x="112" y="59"/>
                </a:cubicBezTo>
                <a:cubicBezTo>
                  <a:pt x="118" y="59"/>
                  <a:pt x="118" y="59"/>
                  <a:pt x="118" y="59"/>
                </a:cubicBezTo>
                <a:cubicBezTo>
                  <a:pt x="119" y="59"/>
                  <a:pt x="120" y="60"/>
                  <a:pt x="120" y="61"/>
                </a:cubicBezTo>
                <a:cubicBezTo>
                  <a:pt x="120" y="63"/>
                  <a:pt x="119" y="64"/>
                  <a:pt x="118" y="64"/>
                </a:cubicBezTo>
                <a:lnTo>
                  <a:pt x="112" y="64"/>
                </a:lnTo>
                <a:close/>
                <a:moveTo>
                  <a:pt x="104" y="83"/>
                </a:moveTo>
                <a:cubicBezTo>
                  <a:pt x="105" y="83"/>
                  <a:pt x="107" y="84"/>
                  <a:pt x="107" y="85"/>
                </a:cubicBezTo>
                <a:cubicBezTo>
                  <a:pt x="107" y="87"/>
                  <a:pt x="105" y="88"/>
                  <a:pt x="104" y="88"/>
                </a:cubicBezTo>
                <a:cubicBezTo>
                  <a:pt x="99" y="88"/>
                  <a:pt x="99" y="88"/>
                  <a:pt x="99" y="88"/>
                </a:cubicBezTo>
                <a:cubicBezTo>
                  <a:pt x="97" y="88"/>
                  <a:pt x="96" y="87"/>
                  <a:pt x="96" y="85"/>
                </a:cubicBezTo>
                <a:cubicBezTo>
                  <a:pt x="96" y="84"/>
                  <a:pt x="97" y="83"/>
                  <a:pt x="99" y="83"/>
                </a:cubicBezTo>
                <a:lnTo>
                  <a:pt x="104" y="83"/>
                </a:lnTo>
                <a:close/>
                <a:moveTo>
                  <a:pt x="120" y="88"/>
                </a:moveTo>
                <a:cubicBezTo>
                  <a:pt x="115" y="88"/>
                  <a:pt x="115" y="88"/>
                  <a:pt x="115" y="88"/>
                </a:cubicBezTo>
                <a:cubicBezTo>
                  <a:pt x="113" y="88"/>
                  <a:pt x="112" y="87"/>
                  <a:pt x="112" y="85"/>
                </a:cubicBezTo>
                <a:cubicBezTo>
                  <a:pt x="112" y="84"/>
                  <a:pt x="113" y="83"/>
                  <a:pt x="115" y="83"/>
                </a:cubicBezTo>
                <a:cubicBezTo>
                  <a:pt x="120" y="83"/>
                  <a:pt x="120" y="83"/>
                  <a:pt x="120" y="83"/>
                </a:cubicBezTo>
                <a:cubicBezTo>
                  <a:pt x="121" y="83"/>
                  <a:pt x="123" y="84"/>
                  <a:pt x="123" y="85"/>
                </a:cubicBezTo>
                <a:cubicBezTo>
                  <a:pt x="123" y="87"/>
                  <a:pt x="121" y="88"/>
                  <a:pt x="120" y="88"/>
                </a:cubicBezTo>
                <a:close/>
                <a:moveTo>
                  <a:pt x="160" y="97"/>
                </a:moveTo>
                <a:cubicBezTo>
                  <a:pt x="160" y="99"/>
                  <a:pt x="160" y="100"/>
                  <a:pt x="160" y="101"/>
                </a:cubicBezTo>
                <a:cubicBezTo>
                  <a:pt x="159" y="103"/>
                  <a:pt x="158" y="103"/>
                  <a:pt x="157" y="103"/>
                </a:cubicBezTo>
                <a:cubicBezTo>
                  <a:pt x="157" y="103"/>
                  <a:pt x="157" y="103"/>
                  <a:pt x="156" y="103"/>
                </a:cubicBezTo>
                <a:cubicBezTo>
                  <a:pt x="155" y="103"/>
                  <a:pt x="154" y="101"/>
                  <a:pt x="155" y="100"/>
                </a:cubicBezTo>
                <a:cubicBezTo>
                  <a:pt x="155" y="99"/>
                  <a:pt x="155" y="98"/>
                  <a:pt x="155" y="97"/>
                </a:cubicBezTo>
                <a:cubicBezTo>
                  <a:pt x="155" y="97"/>
                  <a:pt x="155" y="96"/>
                  <a:pt x="155" y="96"/>
                </a:cubicBezTo>
                <a:cubicBezTo>
                  <a:pt x="155" y="94"/>
                  <a:pt x="156" y="93"/>
                  <a:pt x="157" y="93"/>
                </a:cubicBezTo>
                <a:cubicBezTo>
                  <a:pt x="159" y="93"/>
                  <a:pt x="160" y="94"/>
                  <a:pt x="160" y="95"/>
                </a:cubicBezTo>
                <a:cubicBezTo>
                  <a:pt x="160" y="96"/>
                  <a:pt x="160" y="97"/>
                  <a:pt x="160" y="97"/>
                </a:cubicBezTo>
                <a:close/>
                <a:moveTo>
                  <a:pt x="116" y="157"/>
                </a:moveTo>
                <a:cubicBezTo>
                  <a:pt x="116" y="159"/>
                  <a:pt x="115" y="160"/>
                  <a:pt x="114" y="160"/>
                </a:cubicBezTo>
                <a:cubicBezTo>
                  <a:pt x="108" y="160"/>
                  <a:pt x="108" y="160"/>
                  <a:pt x="108" y="160"/>
                </a:cubicBezTo>
                <a:cubicBezTo>
                  <a:pt x="107" y="160"/>
                  <a:pt x="106" y="159"/>
                  <a:pt x="106" y="157"/>
                </a:cubicBezTo>
                <a:cubicBezTo>
                  <a:pt x="106" y="156"/>
                  <a:pt x="107" y="155"/>
                  <a:pt x="108" y="155"/>
                </a:cubicBezTo>
                <a:cubicBezTo>
                  <a:pt x="114" y="155"/>
                  <a:pt x="114" y="155"/>
                  <a:pt x="114" y="155"/>
                </a:cubicBezTo>
                <a:cubicBezTo>
                  <a:pt x="115" y="155"/>
                  <a:pt x="116" y="156"/>
                  <a:pt x="116" y="157"/>
                </a:cubicBezTo>
                <a:close/>
                <a:moveTo>
                  <a:pt x="100" y="157"/>
                </a:moveTo>
                <a:cubicBezTo>
                  <a:pt x="100" y="159"/>
                  <a:pt x="99" y="160"/>
                  <a:pt x="98" y="160"/>
                </a:cubicBezTo>
                <a:cubicBezTo>
                  <a:pt x="92" y="160"/>
                  <a:pt x="92" y="160"/>
                  <a:pt x="92" y="160"/>
                </a:cubicBezTo>
                <a:cubicBezTo>
                  <a:pt x="91" y="160"/>
                  <a:pt x="90" y="159"/>
                  <a:pt x="90" y="157"/>
                </a:cubicBezTo>
                <a:cubicBezTo>
                  <a:pt x="90" y="156"/>
                  <a:pt x="91" y="155"/>
                  <a:pt x="92" y="155"/>
                </a:cubicBezTo>
                <a:cubicBezTo>
                  <a:pt x="98" y="155"/>
                  <a:pt x="98" y="155"/>
                  <a:pt x="98" y="155"/>
                </a:cubicBezTo>
                <a:cubicBezTo>
                  <a:pt x="99" y="155"/>
                  <a:pt x="100" y="156"/>
                  <a:pt x="100" y="157"/>
                </a:cubicBezTo>
                <a:close/>
                <a:moveTo>
                  <a:pt x="124" y="136"/>
                </a:moveTo>
                <a:cubicBezTo>
                  <a:pt x="119" y="136"/>
                  <a:pt x="119" y="136"/>
                  <a:pt x="119" y="136"/>
                </a:cubicBezTo>
                <a:cubicBezTo>
                  <a:pt x="118" y="136"/>
                  <a:pt x="116" y="135"/>
                  <a:pt x="116" y="133"/>
                </a:cubicBezTo>
                <a:cubicBezTo>
                  <a:pt x="116" y="132"/>
                  <a:pt x="118" y="131"/>
                  <a:pt x="119" y="131"/>
                </a:cubicBezTo>
                <a:cubicBezTo>
                  <a:pt x="124" y="131"/>
                  <a:pt x="124" y="131"/>
                  <a:pt x="124" y="131"/>
                </a:cubicBezTo>
                <a:cubicBezTo>
                  <a:pt x="126" y="131"/>
                  <a:pt x="127" y="132"/>
                  <a:pt x="127" y="133"/>
                </a:cubicBezTo>
                <a:cubicBezTo>
                  <a:pt x="127" y="135"/>
                  <a:pt x="126" y="136"/>
                  <a:pt x="124" y="136"/>
                </a:cubicBezTo>
                <a:close/>
                <a:moveTo>
                  <a:pt x="108" y="136"/>
                </a:moveTo>
                <a:cubicBezTo>
                  <a:pt x="103" y="136"/>
                  <a:pt x="103" y="136"/>
                  <a:pt x="103" y="136"/>
                </a:cubicBezTo>
                <a:cubicBezTo>
                  <a:pt x="102" y="136"/>
                  <a:pt x="100" y="135"/>
                  <a:pt x="100" y="133"/>
                </a:cubicBezTo>
                <a:cubicBezTo>
                  <a:pt x="100" y="132"/>
                  <a:pt x="102" y="131"/>
                  <a:pt x="103" y="131"/>
                </a:cubicBezTo>
                <a:cubicBezTo>
                  <a:pt x="108" y="131"/>
                  <a:pt x="108" y="131"/>
                  <a:pt x="108" y="131"/>
                </a:cubicBezTo>
                <a:cubicBezTo>
                  <a:pt x="110" y="131"/>
                  <a:pt x="111" y="132"/>
                  <a:pt x="111" y="133"/>
                </a:cubicBezTo>
                <a:cubicBezTo>
                  <a:pt x="111" y="135"/>
                  <a:pt x="110" y="136"/>
                  <a:pt x="108" y="136"/>
                </a:cubicBezTo>
                <a:close/>
                <a:moveTo>
                  <a:pt x="132" y="157"/>
                </a:moveTo>
                <a:cubicBezTo>
                  <a:pt x="132" y="159"/>
                  <a:pt x="131" y="160"/>
                  <a:pt x="130" y="160"/>
                </a:cubicBezTo>
                <a:cubicBezTo>
                  <a:pt x="130" y="157"/>
                  <a:pt x="130" y="157"/>
                  <a:pt x="130" y="157"/>
                </a:cubicBezTo>
                <a:cubicBezTo>
                  <a:pt x="130" y="160"/>
                  <a:pt x="130" y="160"/>
                  <a:pt x="130" y="160"/>
                </a:cubicBezTo>
                <a:cubicBezTo>
                  <a:pt x="124" y="160"/>
                  <a:pt x="124" y="160"/>
                  <a:pt x="124" y="160"/>
                </a:cubicBezTo>
                <a:cubicBezTo>
                  <a:pt x="123" y="160"/>
                  <a:pt x="122" y="159"/>
                  <a:pt x="122" y="157"/>
                </a:cubicBezTo>
                <a:cubicBezTo>
                  <a:pt x="122" y="156"/>
                  <a:pt x="123" y="155"/>
                  <a:pt x="124" y="155"/>
                </a:cubicBezTo>
                <a:cubicBezTo>
                  <a:pt x="130" y="155"/>
                  <a:pt x="130" y="155"/>
                  <a:pt x="130" y="155"/>
                </a:cubicBezTo>
                <a:cubicBezTo>
                  <a:pt x="131" y="155"/>
                  <a:pt x="132" y="156"/>
                  <a:pt x="132" y="157"/>
                </a:cubicBezTo>
                <a:close/>
                <a:moveTo>
                  <a:pt x="137" y="140"/>
                </a:moveTo>
                <a:cubicBezTo>
                  <a:pt x="136" y="138"/>
                  <a:pt x="135" y="138"/>
                  <a:pt x="134" y="137"/>
                </a:cubicBezTo>
                <a:cubicBezTo>
                  <a:pt x="132" y="136"/>
                  <a:pt x="132" y="135"/>
                  <a:pt x="133" y="133"/>
                </a:cubicBezTo>
                <a:cubicBezTo>
                  <a:pt x="133" y="132"/>
                  <a:pt x="135" y="132"/>
                  <a:pt x="136" y="132"/>
                </a:cubicBezTo>
                <a:cubicBezTo>
                  <a:pt x="138" y="133"/>
                  <a:pt x="140" y="135"/>
                  <a:pt x="141" y="136"/>
                </a:cubicBezTo>
                <a:cubicBezTo>
                  <a:pt x="142" y="137"/>
                  <a:pt x="142" y="139"/>
                  <a:pt x="141" y="140"/>
                </a:cubicBezTo>
                <a:cubicBezTo>
                  <a:pt x="140" y="140"/>
                  <a:pt x="140" y="141"/>
                  <a:pt x="139" y="141"/>
                </a:cubicBezTo>
                <a:cubicBezTo>
                  <a:pt x="138" y="141"/>
                  <a:pt x="137" y="140"/>
                  <a:pt x="137" y="140"/>
                </a:cubicBezTo>
                <a:close/>
                <a:moveTo>
                  <a:pt x="153" y="107"/>
                </a:moveTo>
                <a:cubicBezTo>
                  <a:pt x="153" y="109"/>
                  <a:pt x="153" y="110"/>
                  <a:pt x="151" y="111"/>
                </a:cubicBezTo>
                <a:cubicBezTo>
                  <a:pt x="150" y="112"/>
                  <a:pt x="148" y="112"/>
                  <a:pt x="146" y="112"/>
                </a:cubicBezTo>
                <a:cubicBezTo>
                  <a:pt x="145" y="112"/>
                  <a:pt x="145" y="112"/>
                  <a:pt x="145" y="112"/>
                </a:cubicBezTo>
                <a:cubicBezTo>
                  <a:pt x="144" y="112"/>
                  <a:pt x="142" y="111"/>
                  <a:pt x="142" y="109"/>
                </a:cubicBezTo>
                <a:cubicBezTo>
                  <a:pt x="142" y="108"/>
                  <a:pt x="144" y="107"/>
                  <a:pt x="145" y="107"/>
                </a:cubicBezTo>
                <a:cubicBezTo>
                  <a:pt x="146" y="107"/>
                  <a:pt x="146" y="107"/>
                  <a:pt x="146" y="107"/>
                </a:cubicBezTo>
                <a:cubicBezTo>
                  <a:pt x="147" y="107"/>
                  <a:pt x="148" y="106"/>
                  <a:pt x="149" y="106"/>
                </a:cubicBezTo>
                <a:cubicBezTo>
                  <a:pt x="151" y="105"/>
                  <a:pt x="152" y="106"/>
                  <a:pt x="153" y="107"/>
                </a:cubicBezTo>
                <a:close/>
                <a:moveTo>
                  <a:pt x="76" y="80"/>
                </a:moveTo>
                <a:cubicBezTo>
                  <a:pt x="74" y="80"/>
                  <a:pt x="73" y="79"/>
                  <a:pt x="73" y="78"/>
                </a:cubicBezTo>
                <a:cubicBezTo>
                  <a:pt x="73" y="76"/>
                  <a:pt x="72" y="75"/>
                  <a:pt x="72" y="73"/>
                </a:cubicBezTo>
                <a:cubicBezTo>
                  <a:pt x="72" y="73"/>
                  <a:pt x="72" y="72"/>
                  <a:pt x="72" y="71"/>
                </a:cubicBezTo>
                <a:cubicBezTo>
                  <a:pt x="73" y="70"/>
                  <a:pt x="74" y="69"/>
                  <a:pt x="75" y="69"/>
                </a:cubicBezTo>
                <a:cubicBezTo>
                  <a:pt x="77" y="69"/>
                  <a:pt x="78" y="71"/>
                  <a:pt x="78" y="72"/>
                </a:cubicBezTo>
                <a:cubicBezTo>
                  <a:pt x="78" y="73"/>
                  <a:pt x="78" y="73"/>
                  <a:pt x="78" y="73"/>
                </a:cubicBezTo>
                <a:cubicBezTo>
                  <a:pt x="78" y="74"/>
                  <a:pt x="78" y="75"/>
                  <a:pt x="78" y="76"/>
                </a:cubicBezTo>
                <a:cubicBezTo>
                  <a:pt x="79" y="78"/>
                  <a:pt x="78" y="79"/>
                  <a:pt x="76" y="80"/>
                </a:cubicBezTo>
                <a:cubicBezTo>
                  <a:pt x="76" y="80"/>
                  <a:pt x="76" y="80"/>
                  <a:pt x="76" y="80"/>
                </a:cubicBezTo>
                <a:close/>
                <a:moveTo>
                  <a:pt x="68" y="157"/>
                </a:moveTo>
                <a:cubicBezTo>
                  <a:pt x="68" y="159"/>
                  <a:pt x="67" y="160"/>
                  <a:pt x="66" y="160"/>
                </a:cubicBezTo>
                <a:cubicBezTo>
                  <a:pt x="60" y="160"/>
                  <a:pt x="60" y="160"/>
                  <a:pt x="60" y="160"/>
                </a:cubicBezTo>
                <a:cubicBezTo>
                  <a:pt x="59" y="160"/>
                  <a:pt x="58" y="159"/>
                  <a:pt x="58" y="157"/>
                </a:cubicBezTo>
                <a:cubicBezTo>
                  <a:pt x="58" y="156"/>
                  <a:pt x="59" y="155"/>
                  <a:pt x="60" y="155"/>
                </a:cubicBezTo>
                <a:cubicBezTo>
                  <a:pt x="66" y="155"/>
                  <a:pt x="66" y="155"/>
                  <a:pt x="66" y="155"/>
                </a:cubicBezTo>
                <a:cubicBezTo>
                  <a:pt x="67" y="155"/>
                  <a:pt x="68" y="156"/>
                  <a:pt x="68" y="157"/>
                </a:cubicBezTo>
                <a:close/>
                <a:moveTo>
                  <a:pt x="92" y="135"/>
                </a:moveTo>
                <a:cubicBezTo>
                  <a:pt x="90" y="134"/>
                  <a:pt x="88" y="132"/>
                  <a:pt x="86" y="131"/>
                </a:cubicBezTo>
                <a:cubicBezTo>
                  <a:pt x="85" y="130"/>
                  <a:pt x="86" y="128"/>
                  <a:pt x="87" y="127"/>
                </a:cubicBezTo>
                <a:cubicBezTo>
                  <a:pt x="88" y="126"/>
                  <a:pt x="90" y="126"/>
                  <a:pt x="90" y="127"/>
                </a:cubicBezTo>
                <a:cubicBezTo>
                  <a:pt x="91" y="128"/>
                  <a:pt x="93" y="129"/>
                  <a:pt x="94" y="130"/>
                </a:cubicBezTo>
                <a:cubicBezTo>
                  <a:pt x="95" y="130"/>
                  <a:pt x="96" y="132"/>
                  <a:pt x="95" y="133"/>
                </a:cubicBezTo>
                <a:cubicBezTo>
                  <a:pt x="95" y="134"/>
                  <a:pt x="94" y="135"/>
                  <a:pt x="93" y="135"/>
                </a:cubicBezTo>
                <a:cubicBezTo>
                  <a:pt x="92" y="135"/>
                  <a:pt x="92" y="135"/>
                  <a:pt x="92" y="135"/>
                </a:cubicBezTo>
                <a:close/>
                <a:moveTo>
                  <a:pt x="154" y="88"/>
                </a:moveTo>
                <a:cubicBezTo>
                  <a:pt x="153" y="89"/>
                  <a:pt x="153" y="90"/>
                  <a:pt x="152" y="90"/>
                </a:cubicBezTo>
                <a:cubicBezTo>
                  <a:pt x="151" y="90"/>
                  <a:pt x="151" y="89"/>
                  <a:pt x="150" y="89"/>
                </a:cubicBezTo>
                <a:cubicBezTo>
                  <a:pt x="149" y="89"/>
                  <a:pt x="148" y="88"/>
                  <a:pt x="146" y="88"/>
                </a:cubicBezTo>
                <a:cubicBezTo>
                  <a:pt x="145" y="88"/>
                  <a:pt x="144" y="87"/>
                  <a:pt x="144" y="85"/>
                </a:cubicBezTo>
                <a:cubicBezTo>
                  <a:pt x="144" y="84"/>
                  <a:pt x="145" y="83"/>
                  <a:pt x="147" y="83"/>
                </a:cubicBezTo>
                <a:cubicBezTo>
                  <a:pt x="149" y="83"/>
                  <a:pt x="151" y="84"/>
                  <a:pt x="153" y="85"/>
                </a:cubicBezTo>
                <a:cubicBezTo>
                  <a:pt x="154" y="85"/>
                  <a:pt x="155" y="87"/>
                  <a:pt x="154" y="88"/>
                </a:cubicBezTo>
                <a:close/>
                <a:moveTo>
                  <a:pt x="84" y="157"/>
                </a:moveTo>
                <a:cubicBezTo>
                  <a:pt x="84" y="159"/>
                  <a:pt x="83" y="160"/>
                  <a:pt x="82" y="160"/>
                </a:cubicBezTo>
                <a:cubicBezTo>
                  <a:pt x="76" y="160"/>
                  <a:pt x="76" y="160"/>
                  <a:pt x="76" y="160"/>
                </a:cubicBezTo>
                <a:cubicBezTo>
                  <a:pt x="75" y="160"/>
                  <a:pt x="74" y="159"/>
                  <a:pt x="74" y="157"/>
                </a:cubicBezTo>
                <a:cubicBezTo>
                  <a:pt x="74" y="156"/>
                  <a:pt x="75" y="155"/>
                  <a:pt x="76" y="155"/>
                </a:cubicBezTo>
                <a:cubicBezTo>
                  <a:pt x="82" y="155"/>
                  <a:pt x="82" y="155"/>
                  <a:pt x="82" y="155"/>
                </a:cubicBezTo>
                <a:cubicBezTo>
                  <a:pt x="83" y="155"/>
                  <a:pt x="84" y="156"/>
                  <a:pt x="84" y="157"/>
                </a:cubicBezTo>
                <a:close/>
                <a:moveTo>
                  <a:pt x="86" y="122"/>
                </a:moveTo>
                <a:cubicBezTo>
                  <a:pt x="86" y="122"/>
                  <a:pt x="86" y="122"/>
                  <a:pt x="85" y="122"/>
                </a:cubicBezTo>
                <a:cubicBezTo>
                  <a:pt x="84" y="121"/>
                  <a:pt x="83" y="120"/>
                  <a:pt x="83" y="119"/>
                </a:cubicBezTo>
                <a:cubicBezTo>
                  <a:pt x="84" y="116"/>
                  <a:pt x="85" y="114"/>
                  <a:pt x="86" y="113"/>
                </a:cubicBezTo>
                <a:cubicBezTo>
                  <a:pt x="87" y="111"/>
                  <a:pt x="88" y="111"/>
                  <a:pt x="90" y="112"/>
                </a:cubicBezTo>
                <a:cubicBezTo>
                  <a:pt x="91" y="113"/>
                  <a:pt x="91" y="115"/>
                  <a:pt x="90" y="116"/>
                </a:cubicBezTo>
                <a:cubicBezTo>
                  <a:pt x="89" y="117"/>
                  <a:pt x="89" y="118"/>
                  <a:pt x="88" y="120"/>
                </a:cubicBezTo>
                <a:cubicBezTo>
                  <a:pt x="88" y="121"/>
                  <a:pt x="87" y="122"/>
                  <a:pt x="86" y="122"/>
                </a:cubicBezTo>
                <a:close/>
                <a:moveTo>
                  <a:pt x="132" y="40"/>
                </a:moveTo>
                <a:cubicBezTo>
                  <a:pt x="140" y="40"/>
                  <a:pt x="147" y="33"/>
                  <a:pt x="147" y="25"/>
                </a:cubicBezTo>
                <a:cubicBezTo>
                  <a:pt x="147" y="17"/>
                  <a:pt x="140" y="11"/>
                  <a:pt x="132" y="11"/>
                </a:cubicBezTo>
                <a:cubicBezTo>
                  <a:pt x="124" y="11"/>
                  <a:pt x="118" y="17"/>
                  <a:pt x="118" y="25"/>
                </a:cubicBezTo>
                <a:cubicBezTo>
                  <a:pt x="118" y="33"/>
                  <a:pt x="124" y="40"/>
                  <a:pt x="132" y="40"/>
                </a:cubicBezTo>
                <a:close/>
                <a:moveTo>
                  <a:pt x="132" y="16"/>
                </a:moveTo>
                <a:cubicBezTo>
                  <a:pt x="137" y="16"/>
                  <a:pt x="142" y="20"/>
                  <a:pt x="142" y="25"/>
                </a:cubicBezTo>
                <a:cubicBezTo>
                  <a:pt x="142" y="30"/>
                  <a:pt x="137" y="35"/>
                  <a:pt x="132" y="35"/>
                </a:cubicBezTo>
                <a:cubicBezTo>
                  <a:pt x="127" y="35"/>
                  <a:pt x="123" y="30"/>
                  <a:pt x="123" y="25"/>
                </a:cubicBezTo>
                <a:cubicBezTo>
                  <a:pt x="123" y="20"/>
                  <a:pt x="127" y="16"/>
                  <a:pt x="132" y="16"/>
                </a:cubicBezTo>
                <a:close/>
                <a:moveTo>
                  <a:pt x="35" y="83"/>
                </a:moveTo>
                <a:cubicBezTo>
                  <a:pt x="26" y="83"/>
                  <a:pt x="19" y="90"/>
                  <a:pt x="19" y="99"/>
                </a:cubicBezTo>
                <a:cubicBezTo>
                  <a:pt x="19" y="107"/>
                  <a:pt x="26" y="115"/>
                  <a:pt x="35" y="115"/>
                </a:cubicBezTo>
                <a:cubicBezTo>
                  <a:pt x="44" y="115"/>
                  <a:pt x="51" y="107"/>
                  <a:pt x="51" y="99"/>
                </a:cubicBezTo>
                <a:cubicBezTo>
                  <a:pt x="51" y="90"/>
                  <a:pt x="44" y="83"/>
                  <a:pt x="35" y="83"/>
                </a:cubicBezTo>
                <a:close/>
                <a:moveTo>
                  <a:pt x="35" y="109"/>
                </a:moveTo>
                <a:cubicBezTo>
                  <a:pt x="29" y="109"/>
                  <a:pt x="24" y="105"/>
                  <a:pt x="24" y="99"/>
                </a:cubicBezTo>
                <a:cubicBezTo>
                  <a:pt x="24" y="93"/>
                  <a:pt x="29" y="88"/>
                  <a:pt x="35" y="88"/>
                </a:cubicBezTo>
                <a:cubicBezTo>
                  <a:pt x="41" y="88"/>
                  <a:pt x="46" y="93"/>
                  <a:pt x="46" y="99"/>
                </a:cubicBezTo>
                <a:cubicBezTo>
                  <a:pt x="46" y="105"/>
                  <a:pt x="41" y="109"/>
                  <a:pt x="35" y="10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46" name="Freeform 1348">
            <a:extLst>
              <a:ext uri="{FF2B5EF4-FFF2-40B4-BE49-F238E27FC236}">
                <a16:creationId xmlns:a16="http://schemas.microsoft.com/office/drawing/2014/main" id="{A14092B4-3399-1F48-BBDD-91715BEFA344}"/>
              </a:ext>
            </a:extLst>
          </p:cNvPr>
          <p:cNvSpPr>
            <a:spLocks noEditPoints="1"/>
          </p:cNvSpPr>
          <p:nvPr/>
        </p:nvSpPr>
        <p:spPr bwMode="auto">
          <a:xfrm>
            <a:off x="6220987" y="2222500"/>
            <a:ext cx="536575" cy="550863"/>
          </a:xfrm>
          <a:custGeom>
            <a:avLst/>
            <a:gdLst>
              <a:gd name="T0" fmla="*/ 121 w 157"/>
              <a:gd name="T1" fmla="*/ 0 h 160"/>
              <a:gd name="T2" fmla="*/ 0 w 157"/>
              <a:gd name="T3" fmla="*/ 0 h 160"/>
              <a:gd name="T4" fmla="*/ 23 w 157"/>
              <a:gd name="T5" fmla="*/ 160 h 160"/>
              <a:gd name="T6" fmla="*/ 157 w 157"/>
              <a:gd name="T7" fmla="*/ 160 h 160"/>
              <a:gd name="T8" fmla="*/ 129 w 157"/>
              <a:gd name="T9" fmla="*/ 0 h 160"/>
              <a:gd name="T10" fmla="*/ 114 w 157"/>
              <a:gd name="T11" fmla="*/ 52 h 160"/>
              <a:gd name="T12" fmla="*/ 36 w 157"/>
              <a:gd name="T13" fmla="*/ 7 h 160"/>
              <a:gd name="T14" fmla="*/ 29 w 157"/>
              <a:gd name="T15" fmla="*/ 153 h 160"/>
              <a:gd name="T16" fmla="*/ 124 w 157"/>
              <a:gd name="T17" fmla="*/ 91 h 160"/>
              <a:gd name="T18" fmla="*/ 29 w 157"/>
              <a:gd name="T19" fmla="*/ 153 h 160"/>
              <a:gd name="T20" fmla="*/ 131 w 157"/>
              <a:gd name="T21" fmla="*/ 153 h 160"/>
              <a:gd name="T22" fmla="*/ 23 w 157"/>
              <a:gd name="T23" fmla="*/ 85 h 160"/>
              <a:gd name="T24" fmla="*/ 7 w 157"/>
              <a:gd name="T25" fmla="*/ 153 h 160"/>
              <a:gd name="T26" fmla="*/ 29 w 157"/>
              <a:gd name="T27" fmla="*/ 7 h 160"/>
              <a:gd name="T28" fmla="*/ 121 w 157"/>
              <a:gd name="T29" fmla="*/ 59 h 160"/>
              <a:gd name="T30" fmla="*/ 126 w 157"/>
              <a:gd name="T31" fmla="*/ 7 h 160"/>
              <a:gd name="T32" fmla="*/ 150 w 157"/>
              <a:gd name="T33" fmla="*/ 153 h 160"/>
              <a:gd name="T34" fmla="*/ 42 w 157"/>
              <a:gd name="T35" fmla="*/ 101 h 160"/>
              <a:gd name="T36" fmla="*/ 69 w 157"/>
              <a:gd name="T37" fmla="*/ 104 h 160"/>
              <a:gd name="T38" fmla="*/ 42 w 157"/>
              <a:gd name="T39" fmla="*/ 108 h 160"/>
              <a:gd name="T40" fmla="*/ 78 w 157"/>
              <a:gd name="T41" fmla="*/ 118 h 160"/>
              <a:gd name="T42" fmla="*/ 42 w 157"/>
              <a:gd name="T43" fmla="*/ 121 h 160"/>
              <a:gd name="T44" fmla="*/ 42 w 157"/>
              <a:gd name="T45" fmla="*/ 114 h 160"/>
              <a:gd name="T46" fmla="*/ 78 w 157"/>
              <a:gd name="T47" fmla="*/ 118 h 160"/>
              <a:gd name="T48" fmla="*/ 88 w 157"/>
              <a:gd name="T49" fmla="*/ 118 h 160"/>
              <a:gd name="T50" fmla="*/ 85 w 157"/>
              <a:gd name="T51" fmla="*/ 121 h 160"/>
              <a:gd name="T52" fmla="*/ 82 w 157"/>
              <a:gd name="T53" fmla="*/ 118 h 160"/>
              <a:gd name="T54" fmla="*/ 87 w 157"/>
              <a:gd name="T55" fmla="*/ 115 h 160"/>
              <a:gd name="T56" fmla="*/ 88 w 157"/>
              <a:gd name="T57" fmla="*/ 13 h 160"/>
              <a:gd name="T58" fmla="*/ 108 w 157"/>
              <a:gd name="T59" fmla="*/ 46 h 160"/>
              <a:gd name="T60" fmla="*/ 101 w 157"/>
              <a:gd name="T61" fmla="*/ 39 h 160"/>
              <a:gd name="T62" fmla="*/ 95 w 157"/>
              <a:gd name="T63" fmla="*/ 20 h 160"/>
              <a:gd name="T64" fmla="*/ 101 w 157"/>
              <a:gd name="T6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 h="160">
                <a:moveTo>
                  <a:pt x="129" y="0"/>
                </a:moveTo>
                <a:cubicBezTo>
                  <a:pt x="121" y="0"/>
                  <a:pt x="121" y="0"/>
                  <a:pt x="121" y="0"/>
                </a:cubicBezTo>
                <a:cubicBezTo>
                  <a:pt x="29" y="0"/>
                  <a:pt x="29" y="0"/>
                  <a:pt x="29" y="0"/>
                </a:cubicBezTo>
                <a:cubicBezTo>
                  <a:pt x="0" y="0"/>
                  <a:pt x="0" y="0"/>
                  <a:pt x="0" y="0"/>
                </a:cubicBezTo>
                <a:cubicBezTo>
                  <a:pt x="0" y="160"/>
                  <a:pt x="0" y="160"/>
                  <a:pt x="0" y="160"/>
                </a:cubicBezTo>
                <a:cubicBezTo>
                  <a:pt x="23" y="160"/>
                  <a:pt x="23" y="160"/>
                  <a:pt x="23" y="160"/>
                </a:cubicBezTo>
                <a:cubicBezTo>
                  <a:pt x="131" y="160"/>
                  <a:pt x="131" y="160"/>
                  <a:pt x="131" y="160"/>
                </a:cubicBezTo>
                <a:cubicBezTo>
                  <a:pt x="157" y="160"/>
                  <a:pt x="157" y="160"/>
                  <a:pt x="157" y="160"/>
                </a:cubicBezTo>
                <a:cubicBezTo>
                  <a:pt x="157" y="28"/>
                  <a:pt x="157" y="28"/>
                  <a:pt x="157" y="28"/>
                </a:cubicBezTo>
                <a:lnTo>
                  <a:pt x="129" y="0"/>
                </a:lnTo>
                <a:close/>
                <a:moveTo>
                  <a:pt x="114" y="7"/>
                </a:moveTo>
                <a:cubicBezTo>
                  <a:pt x="114" y="52"/>
                  <a:pt x="114" y="52"/>
                  <a:pt x="114" y="52"/>
                </a:cubicBezTo>
                <a:cubicBezTo>
                  <a:pt x="36" y="52"/>
                  <a:pt x="36" y="52"/>
                  <a:pt x="36" y="52"/>
                </a:cubicBezTo>
                <a:cubicBezTo>
                  <a:pt x="36" y="7"/>
                  <a:pt x="36" y="7"/>
                  <a:pt x="36" y="7"/>
                </a:cubicBezTo>
                <a:lnTo>
                  <a:pt x="114" y="7"/>
                </a:lnTo>
                <a:close/>
                <a:moveTo>
                  <a:pt x="29" y="153"/>
                </a:moveTo>
                <a:cubicBezTo>
                  <a:pt x="29" y="91"/>
                  <a:pt x="29" y="91"/>
                  <a:pt x="29" y="91"/>
                </a:cubicBezTo>
                <a:cubicBezTo>
                  <a:pt x="124" y="91"/>
                  <a:pt x="124" y="91"/>
                  <a:pt x="124" y="91"/>
                </a:cubicBezTo>
                <a:cubicBezTo>
                  <a:pt x="124" y="153"/>
                  <a:pt x="124" y="153"/>
                  <a:pt x="124" y="153"/>
                </a:cubicBezTo>
                <a:lnTo>
                  <a:pt x="29" y="153"/>
                </a:lnTo>
                <a:close/>
                <a:moveTo>
                  <a:pt x="150" y="153"/>
                </a:moveTo>
                <a:cubicBezTo>
                  <a:pt x="131" y="153"/>
                  <a:pt x="131" y="153"/>
                  <a:pt x="131" y="153"/>
                </a:cubicBezTo>
                <a:cubicBezTo>
                  <a:pt x="131" y="85"/>
                  <a:pt x="131" y="85"/>
                  <a:pt x="131" y="85"/>
                </a:cubicBezTo>
                <a:cubicBezTo>
                  <a:pt x="23" y="85"/>
                  <a:pt x="23" y="85"/>
                  <a:pt x="23" y="85"/>
                </a:cubicBezTo>
                <a:cubicBezTo>
                  <a:pt x="23" y="153"/>
                  <a:pt x="23" y="153"/>
                  <a:pt x="23" y="153"/>
                </a:cubicBezTo>
                <a:cubicBezTo>
                  <a:pt x="7" y="153"/>
                  <a:pt x="7" y="153"/>
                  <a:pt x="7" y="153"/>
                </a:cubicBezTo>
                <a:cubicBezTo>
                  <a:pt x="7" y="7"/>
                  <a:pt x="7" y="7"/>
                  <a:pt x="7" y="7"/>
                </a:cubicBezTo>
                <a:cubicBezTo>
                  <a:pt x="29" y="7"/>
                  <a:pt x="29" y="7"/>
                  <a:pt x="29" y="7"/>
                </a:cubicBezTo>
                <a:cubicBezTo>
                  <a:pt x="29" y="59"/>
                  <a:pt x="29" y="59"/>
                  <a:pt x="29" y="59"/>
                </a:cubicBezTo>
                <a:cubicBezTo>
                  <a:pt x="121" y="59"/>
                  <a:pt x="121" y="59"/>
                  <a:pt x="121" y="59"/>
                </a:cubicBezTo>
                <a:cubicBezTo>
                  <a:pt x="121" y="7"/>
                  <a:pt x="121" y="7"/>
                  <a:pt x="121" y="7"/>
                </a:cubicBezTo>
                <a:cubicBezTo>
                  <a:pt x="126" y="7"/>
                  <a:pt x="126" y="7"/>
                  <a:pt x="126" y="7"/>
                </a:cubicBezTo>
                <a:cubicBezTo>
                  <a:pt x="150" y="31"/>
                  <a:pt x="150" y="31"/>
                  <a:pt x="150" y="31"/>
                </a:cubicBezTo>
                <a:lnTo>
                  <a:pt x="150" y="153"/>
                </a:lnTo>
                <a:close/>
                <a:moveTo>
                  <a:pt x="39" y="104"/>
                </a:moveTo>
                <a:cubicBezTo>
                  <a:pt x="39" y="103"/>
                  <a:pt x="41" y="101"/>
                  <a:pt x="42" y="101"/>
                </a:cubicBezTo>
                <a:cubicBezTo>
                  <a:pt x="65" y="101"/>
                  <a:pt x="65" y="101"/>
                  <a:pt x="65" y="101"/>
                </a:cubicBezTo>
                <a:cubicBezTo>
                  <a:pt x="67" y="101"/>
                  <a:pt x="69" y="103"/>
                  <a:pt x="69" y="104"/>
                </a:cubicBezTo>
                <a:cubicBezTo>
                  <a:pt x="69" y="106"/>
                  <a:pt x="67" y="108"/>
                  <a:pt x="65" y="108"/>
                </a:cubicBezTo>
                <a:cubicBezTo>
                  <a:pt x="42" y="108"/>
                  <a:pt x="42" y="108"/>
                  <a:pt x="42" y="108"/>
                </a:cubicBezTo>
                <a:cubicBezTo>
                  <a:pt x="41" y="108"/>
                  <a:pt x="39" y="106"/>
                  <a:pt x="39" y="104"/>
                </a:cubicBezTo>
                <a:close/>
                <a:moveTo>
                  <a:pt x="78" y="118"/>
                </a:moveTo>
                <a:cubicBezTo>
                  <a:pt x="78" y="119"/>
                  <a:pt x="77" y="121"/>
                  <a:pt x="75" y="121"/>
                </a:cubicBezTo>
                <a:cubicBezTo>
                  <a:pt x="42" y="121"/>
                  <a:pt x="42" y="121"/>
                  <a:pt x="42" y="121"/>
                </a:cubicBezTo>
                <a:cubicBezTo>
                  <a:pt x="41" y="121"/>
                  <a:pt x="39" y="119"/>
                  <a:pt x="39" y="118"/>
                </a:cubicBezTo>
                <a:cubicBezTo>
                  <a:pt x="39" y="116"/>
                  <a:pt x="41" y="114"/>
                  <a:pt x="42" y="114"/>
                </a:cubicBezTo>
                <a:cubicBezTo>
                  <a:pt x="75" y="114"/>
                  <a:pt x="75" y="114"/>
                  <a:pt x="75" y="114"/>
                </a:cubicBezTo>
                <a:cubicBezTo>
                  <a:pt x="77" y="114"/>
                  <a:pt x="78" y="116"/>
                  <a:pt x="78" y="118"/>
                </a:cubicBezTo>
                <a:close/>
                <a:moveTo>
                  <a:pt x="87" y="115"/>
                </a:moveTo>
                <a:cubicBezTo>
                  <a:pt x="88" y="116"/>
                  <a:pt x="88" y="117"/>
                  <a:pt x="88" y="118"/>
                </a:cubicBezTo>
                <a:cubicBezTo>
                  <a:pt x="88" y="118"/>
                  <a:pt x="88" y="119"/>
                  <a:pt x="87" y="120"/>
                </a:cubicBezTo>
                <a:cubicBezTo>
                  <a:pt x="87" y="120"/>
                  <a:pt x="86" y="121"/>
                  <a:pt x="85" y="121"/>
                </a:cubicBezTo>
                <a:cubicBezTo>
                  <a:pt x="84" y="121"/>
                  <a:pt x="83" y="120"/>
                  <a:pt x="83" y="120"/>
                </a:cubicBezTo>
                <a:cubicBezTo>
                  <a:pt x="82" y="119"/>
                  <a:pt x="82" y="118"/>
                  <a:pt x="82" y="118"/>
                </a:cubicBezTo>
                <a:cubicBezTo>
                  <a:pt x="82" y="117"/>
                  <a:pt x="82" y="116"/>
                  <a:pt x="83" y="115"/>
                </a:cubicBezTo>
                <a:cubicBezTo>
                  <a:pt x="84" y="114"/>
                  <a:pt x="86" y="114"/>
                  <a:pt x="87" y="115"/>
                </a:cubicBezTo>
                <a:close/>
                <a:moveTo>
                  <a:pt x="108" y="13"/>
                </a:moveTo>
                <a:cubicBezTo>
                  <a:pt x="88" y="13"/>
                  <a:pt x="88" y="13"/>
                  <a:pt x="88" y="13"/>
                </a:cubicBezTo>
                <a:cubicBezTo>
                  <a:pt x="88" y="46"/>
                  <a:pt x="88" y="46"/>
                  <a:pt x="88" y="46"/>
                </a:cubicBezTo>
                <a:cubicBezTo>
                  <a:pt x="108" y="46"/>
                  <a:pt x="108" y="46"/>
                  <a:pt x="108" y="46"/>
                </a:cubicBezTo>
                <a:lnTo>
                  <a:pt x="108" y="13"/>
                </a:lnTo>
                <a:close/>
                <a:moveTo>
                  <a:pt x="101" y="39"/>
                </a:moveTo>
                <a:cubicBezTo>
                  <a:pt x="95" y="39"/>
                  <a:pt x="95" y="39"/>
                  <a:pt x="95" y="39"/>
                </a:cubicBezTo>
                <a:cubicBezTo>
                  <a:pt x="95" y="20"/>
                  <a:pt x="95" y="20"/>
                  <a:pt x="95" y="20"/>
                </a:cubicBezTo>
                <a:cubicBezTo>
                  <a:pt x="101" y="20"/>
                  <a:pt x="101" y="20"/>
                  <a:pt x="101" y="20"/>
                </a:cubicBezTo>
                <a:lnTo>
                  <a:pt x="101"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47" name="Freeform 1349">
            <a:extLst>
              <a:ext uri="{FF2B5EF4-FFF2-40B4-BE49-F238E27FC236}">
                <a16:creationId xmlns:a16="http://schemas.microsoft.com/office/drawing/2014/main" id="{BE81E9A6-FBA8-3B47-9BEE-E04B4CF9B37D}"/>
              </a:ext>
            </a:extLst>
          </p:cNvPr>
          <p:cNvSpPr>
            <a:spLocks noEditPoints="1"/>
          </p:cNvSpPr>
          <p:nvPr/>
        </p:nvSpPr>
        <p:spPr bwMode="auto">
          <a:xfrm>
            <a:off x="6220987" y="2841625"/>
            <a:ext cx="546100" cy="550863"/>
          </a:xfrm>
          <a:custGeom>
            <a:avLst/>
            <a:gdLst>
              <a:gd name="T0" fmla="*/ 160 w 160"/>
              <a:gd name="T1" fmla="*/ 147 h 160"/>
              <a:gd name="T2" fmla="*/ 113 w 160"/>
              <a:gd name="T3" fmla="*/ 100 h 160"/>
              <a:gd name="T4" fmla="*/ 125 w 160"/>
              <a:gd name="T5" fmla="*/ 63 h 160"/>
              <a:gd name="T6" fmla="*/ 63 w 160"/>
              <a:gd name="T7" fmla="*/ 0 h 160"/>
              <a:gd name="T8" fmla="*/ 0 w 160"/>
              <a:gd name="T9" fmla="*/ 63 h 160"/>
              <a:gd name="T10" fmla="*/ 63 w 160"/>
              <a:gd name="T11" fmla="*/ 125 h 160"/>
              <a:gd name="T12" fmla="*/ 100 w 160"/>
              <a:gd name="T13" fmla="*/ 113 h 160"/>
              <a:gd name="T14" fmla="*/ 147 w 160"/>
              <a:gd name="T15" fmla="*/ 160 h 160"/>
              <a:gd name="T16" fmla="*/ 160 w 160"/>
              <a:gd name="T17" fmla="*/ 147 h 160"/>
              <a:gd name="T18" fmla="*/ 6 w 160"/>
              <a:gd name="T19" fmla="*/ 63 h 160"/>
              <a:gd name="T20" fmla="*/ 63 w 160"/>
              <a:gd name="T21" fmla="*/ 6 h 160"/>
              <a:gd name="T22" fmla="*/ 119 w 160"/>
              <a:gd name="T23" fmla="*/ 63 h 160"/>
              <a:gd name="T24" fmla="*/ 63 w 160"/>
              <a:gd name="T25" fmla="*/ 119 h 160"/>
              <a:gd name="T26" fmla="*/ 6 w 160"/>
              <a:gd name="T27" fmla="*/ 63 h 160"/>
              <a:gd name="T28" fmla="*/ 106 w 160"/>
              <a:gd name="T29" fmla="*/ 108 h 160"/>
              <a:gd name="T30" fmla="*/ 108 w 160"/>
              <a:gd name="T31" fmla="*/ 106 h 160"/>
              <a:gd name="T32" fmla="*/ 109 w 160"/>
              <a:gd name="T33" fmla="*/ 105 h 160"/>
              <a:gd name="T34" fmla="*/ 152 w 160"/>
              <a:gd name="T35" fmla="*/ 147 h 160"/>
              <a:gd name="T36" fmla="*/ 147 w 160"/>
              <a:gd name="T37" fmla="*/ 152 h 160"/>
              <a:gd name="T38" fmla="*/ 105 w 160"/>
              <a:gd name="T39" fmla="*/ 109 h 160"/>
              <a:gd name="T40" fmla="*/ 106 w 160"/>
              <a:gd name="T41" fmla="*/ 10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60">
                <a:moveTo>
                  <a:pt x="160" y="147"/>
                </a:moveTo>
                <a:cubicBezTo>
                  <a:pt x="113" y="100"/>
                  <a:pt x="113" y="100"/>
                  <a:pt x="113" y="100"/>
                </a:cubicBezTo>
                <a:cubicBezTo>
                  <a:pt x="121" y="90"/>
                  <a:pt x="125" y="77"/>
                  <a:pt x="125" y="63"/>
                </a:cubicBezTo>
                <a:cubicBezTo>
                  <a:pt x="125" y="28"/>
                  <a:pt x="97" y="0"/>
                  <a:pt x="63" y="0"/>
                </a:cubicBezTo>
                <a:cubicBezTo>
                  <a:pt x="28" y="0"/>
                  <a:pt x="0" y="28"/>
                  <a:pt x="0" y="63"/>
                </a:cubicBezTo>
                <a:cubicBezTo>
                  <a:pt x="0" y="97"/>
                  <a:pt x="28" y="125"/>
                  <a:pt x="63" y="125"/>
                </a:cubicBezTo>
                <a:cubicBezTo>
                  <a:pt x="77" y="125"/>
                  <a:pt x="90" y="121"/>
                  <a:pt x="100" y="113"/>
                </a:cubicBezTo>
                <a:cubicBezTo>
                  <a:pt x="147" y="160"/>
                  <a:pt x="147" y="160"/>
                  <a:pt x="147" y="160"/>
                </a:cubicBezTo>
                <a:lnTo>
                  <a:pt x="160" y="147"/>
                </a:lnTo>
                <a:close/>
                <a:moveTo>
                  <a:pt x="6" y="63"/>
                </a:moveTo>
                <a:cubicBezTo>
                  <a:pt x="6" y="31"/>
                  <a:pt x="31" y="6"/>
                  <a:pt x="63" y="6"/>
                </a:cubicBezTo>
                <a:cubicBezTo>
                  <a:pt x="94" y="6"/>
                  <a:pt x="119" y="31"/>
                  <a:pt x="119" y="63"/>
                </a:cubicBezTo>
                <a:cubicBezTo>
                  <a:pt x="119" y="94"/>
                  <a:pt x="94" y="119"/>
                  <a:pt x="63" y="119"/>
                </a:cubicBezTo>
                <a:cubicBezTo>
                  <a:pt x="31" y="119"/>
                  <a:pt x="6" y="94"/>
                  <a:pt x="6" y="63"/>
                </a:cubicBezTo>
                <a:close/>
                <a:moveTo>
                  <a:pt x="106" y="108"/>
                </a:moveTo>
                <a:cubicBezTo>
                  <a:pt x="107" y="107"/>
                  <a:pt x="107" y="107"/>
                  <a:pt x="108" y="106"/>
                </a:cubicBezTo>
                <a:cubicBezTo>
                  <a:pt x="108" y="106"/>
                  <a:pt x="109" y="105"/>
                  <a:pt x="109" y="105"/>
                </a:cubicBezTo>
                <a:cubicBezTo>
                  <a:pt x="152" y="147"/>
                  <a:pt x="152" y="147"/>
                  <a:pt x="152" y="147"/>
                </a:cubicBezTo>
                <a:cubicBezTo>
                  <a:pt x="147" y="152"/>
                  <a:pt x="147" y="152"/>
                  <a:pt x="147" y="152"/>
                </a:cubicBezTo>
                <a:cubicBezTo>
                  <a:pt x="105" y="109"/>
                  <a:pt x="105" y="109"/>
                  <a:pt x="105" y="109"/>
                </a:cubicBezTo>
                <a:cubicBezTo>
                  <a:pt x="105" y="109"/>
                  <a:pt x="106" y="108"/>
                  <a:pt x="106" y="1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48" name="Freeform 1350">
            <a:extLst>
              <a:ext uri="{FF2B5EF4-FFF2-40B4-BE49-F238E27FC236}">
                <a16:creationId xmlns:a16="http://schemas.microsoft.com/office/drawing/2014/main" id="{9D253703-1DCB-1140-9EB2-D92917E0D82C}"/>
              </a:ext>
            </a:extLst>
          </p:cNvPr>
          <p:cNvSpPr>
            <a:spLocks noEditPoints="1"/>
          </p:cNvSpPr>
          <p:nvPr/>
        </p:nvSpPr>
        <p:spPr bwMode="auto">
          <a:xfrm>
            <a:off x="6235275" y="3462338"/>
            <a:ext cx="525463" cy="549275"/>
          </a:xfrm>
          <a:custGeom>
            <a:avLst/>
            <a:gdLst>
              <a:gd name="T0" fmla="*/ 153 w 154"/>
              <a:gd name="T1" fmla="*/ 155 h 160"/>
              <a:gd name="T2" fmla="*/ 108 w 154"/>
              <a:gd name="T3" fmla="*/ 108 h 160"/>
              <a:gd name="T4" fmla="*/ 127 w 154"/>
              <a:gd name="T5" fmla="*/ 63 h 160"/>
              <a:gd name="T6" fmla="*/ 63 w 154"/>
              <a:gd name="T7" fmla="*/ 0 h 160"/>
              <a:gd name="T8" fmla="*/ 0 w 154"/>
              <a:gd name="T9" fmla="*/ 63 h 160"/>
              <a:gd name="T10" fmla="*/ 63 w 154"/>
              <a:gd name="T11" fmla="*/ 127 h 160"/>
              <a:gd name="T12" fmla="*/ 104 w 154"/>
              <a:gd name="T13" fmla="*/ 112 h 160"/>
              <a:gd name="T14" fmla="*/ 149 w 154"/>
              <a:gd name="T15" fmla="*/ 159 h 160"/>
              <a:gd name="T16" fmla="*/ 151 w 154"/>
              <a:gd name="T17" fmla="*/ 160 h 160"/>
              <a:gd name="T18" fmla="*/ 153 w 154"/>
              <a:gd name="T19" fmla="*/ 159 h 160"/>
              <a:gd name="T20" fmla="*/ 153 w 154"/>
              <a:gd name="T21" fmla="*/ 155 h 160"/>
              <a:gd name="T22" fmla="*/ 63 w 154"/>
              <a:gd name="T23" fmla="*/ 121 h 160"/>
              <a:gd name="T24" fmla="*/ 6 w 154"/>
              <a:gd name="T25" fmla="*/ 63 h 160"/>
              <a:gd name="T26" fmla="*/ 63 w 154"/>
              <a:gd name="T27" fmla="*/ 6 h 160"/>
              <a:gd name="T28" fmla="*/ 121 w 154"/>
              <a:gd name="T29" fmla="*/ 63 h 160"/>
              <a:gd name="T30" fmla="*/ 63 w 154"/>
              <a:gd name="T31" fmla="*/ 12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60">
                <a:moveTo>
                  <a:pt x="153" y="155"/>
                </a:moveTo>
                <a:cubicBezTo>
                  <a:pt x="108" y="108"/>
                  <a:pt x="108" y="108"/>
                  <a:pt x="108" y="108"/>
                </a:cubicBezTo>
                <a:cubicBezTo>
                  <a:pt x="120" y="97"/>
                  <a:pt x="127" y="81"/>
                  <a:pt x="127" y="63"/>
                </a:cubicBezTo>
                <a:cubicBezTo>
                  <a:pt x="127" y="28"/>
                  <a:pt x="98" y="0"/>
                  <a:pt x="63" y="0"/>
                </a:cubicBezTo>
                <a:cubicBezTo>
                  <a:pt x="28" y="0"/>
                  <a:pt x="0" y="28"/>
                  <a:pt x="0" y="63"/>
                </a:cubicBezTo>
                <a:cubicBezTo>
                  <a:pt x="0" y="98"/>
                  <a:pt x="28" y="127"/>
                  <a:pt x="63" y="127"/>
                </a:cubicBezTo>
                <a:cubicBezTo>
                  <a:pt x="79" y="127"/>
                  <a:pt x="93" y="121"/>
                  <a:pt x="104" y="112"/>
                </a:cubicBezTo>
                <a:cubicBezTo>
                  <a:pt x="149" y="159"/>
                  <a:pt x="149" y="159"/>
                  <a:pt x="149" y="159"/>
                </a:cubicBezTo>
                <a:cubicBezTo>
                  <a:pt x="149" y="160"/>
                  <a:pt x="150" y="160"/>
                  <a:pt x="151" y="160"/>
                </a:cubicBezTo>
                <a:cubicBezTo>
                  <a:pt x="152" y="160"/>
                  <a:pt x="153" y="160"/>
                  <a:pt x="153" y="159"/>
                </a:cubicBezTo>
                <a:cubicBezTo>
                  <a:pt x="154" y="158"/>
                  <a:pt x="154" y="156"/>
                  <a:pt x="153" y="155"/>
                </a:cubicBezTo>
                <a:close/>
                <a:moveTo>
                  <a:pt x="63" y="121"/>
                </a:moveTo>
                <a:cubicBezTo>
                  <a:pt x="32" y="121"/>
                  <a:pt x="6" y="95"/>
                  <a:pt x="6" y="63"/>
                </a:cubicBezTo>
                <a:cubicBezTo>
                  <a:pt x="6" y="32"/>
                  <a:pt x="32" y="6"/>
                  <a:pt x="63" y="6"/>
                </a:cubicBezTo>
                <a:cubicBezTo>
                  <a:pt x="95" y="6"/>
                  <a:pt x="121" y="32"/>
                  <a:pt x="121" y="63"/>
                </a:cubicBezTo>
                <a:cubicBezTo>
                  <a:pt x="121" y="95"/>
                  <a:pt x="95" y="121"/>
                  <a:pt x="63" y="12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49" name="Freeform 1351">
            <a:extLst>
              <a:ext uri="{FF2B5EF4-FFF2-40B4-BE49-F238E27FC236}">
                <a16:creationId xmlns:a16="http://schemas.microsoft.com/office/drawing/2014/main" id="{7DD5DBCB-38F8-E844-B2F0-D6DA6E088235}"/>
              </a:ext>
            </a:extLst>
          </p:cNvPr>
          <p:cNvSpPr>
            <a:spLocks noEditPoints="1"/>
          </p:cNvSpPr>
          <p:nvPr/>
        </p:nvSpPr>
        <p:spPr bwMode="auto">
          <a:xfrm>
            <a:off x="6235275" y="4081463"/>
            <a:ext cx="525463" cy="550863"/>
          </a:xfrm>
          <a:custGeom>
            <a:avLst/>
            <a:gdLst>
              <a:gd name="T0" fmla="*/ 115 w 154"/>
              <a:gd name="T1" fmla="*/ 0 h 160"/>
              <a:gd name="T2" fmla="*/ 92 w 154"/>
              <a:gd name="T3" fmla="*/ 29 h 160"/>
              <a:gd name="T4" fmla="*/ 0 w 154"/>
              <a:gd name="T5" fmla="*/ 160 h 160"/>
              <a:gd name="T6" fmla="*/ 131 w 154"/>
              <a:gd name="T7" fmla="*/ 63 h 160"/>
              <a:gd name="T8" fmla="*/ 116 w 154"/>
              <a:gd name="T9" fmla="*/ 29 h 160"/>
              <a:gd name="T10" fmla="*/ 120 w 154"/>
              <a:gd name="T11" fmla="*/ 29 h 160"/>
              <a:gd name="T12" fmla="*/ 147 w 154"/>
              <a:gd name="T13" fmla="*/ 40 h 160"/>
              <a:gd name="T14" fmla="*/ 131 w 154"/>
              <a:gd name="T15" fmla="*/ 55 h 160"/>
              <a:gd name="T16" fmla="*/ 120 w 154"/>
              <a:gd name="T17" fmla="*/ 66 h 160"/>
              <a:gd name="T18" fmla="*/ 120 w 154"/>
              <a:gd name="T19" fmla="*/ 51 h 160"/>
              <a:gd name="T20" fmla="*/ 100 w 154"/>
              <a:gd name="T21" fmla="*/ 51 h 160"/>
              <a:gd name="T22" fmla="*/ 78 w 154"/>
              <a:gd name="T23" fmla="*/ 63 h 160"/>
              <a:gd name="T24" fmla="*/ 81 w 154"/>
              <a:gd name="T25" fmla="*/ 44 h 160"/>
              <a:gd name="T26" fmla="*/ 88 w 154"/>
              <a:gd name="T27" fmla="*/ 37 h 160"/>
              <a:gd name="T28" fmla="*/ 88 w 154"/>
              <a:gd name="T29" fmla="*/ 37 h 160"/>
              <a:gd name="T30" fmla="*/ 89 w 154"/>
              <a:gd name="T31" fmla="*/ 36 h 160"/>
              <a:gd name="T32" fmla="*/ 90 w 154"/>
              <a:gd name="T33" fmla="*/ 36 h 160"/>
              <a:gd name="T34" fmla="*/ 91 w 154"/>
              <a:gd name="T35" fmla="*/ 35 h 160"/>
              <a:gd name="T36" fmla="*/ 126 w 154"/>
              <a:gd name="T37" fmla="*/ 68 h 160"/>
              <a:gd name="T38" fmla="*/ 5 w 154"/>
              <a:gd name="T39" fmla="*/ 155 h 160"/>
              <a:gd name="T40" fmla="*/ 83 w 154"/>
              <a:gd name="T41" fmla="*/ 34 h 160"/>
              <a:gd name="T42" fmla="*/ 82 w 154"/>
              <a:gd name="T43" fmla="*/ 35 h 160"/>
              <a:gd name="T44" fmla="*/ 80 w 154"/>
              <a:gd name="T45" fmla="*/ 37 h 160"/>
              <a:gd name="T46" fmla="*/ 78 w 154"/>
              <a:gd name="T47" fmla="*/ 39 h 160"/>
              <a:gd name="T48" fmla="*/ 76 w 154"/>
              <a:gd name="T49" fmla="*/ 41 h 160"/>
              <a:gd name="T50" fmla="*/ 75 w 154"/>
              <a:gd name="T51" fmla="*/ 43 h 160"/>
              <a:gd name="T52" fmla="*/ 74 w 154"/>
              <a:gd name="T53" fmla="*/ 45 h 160"/>
              <a:gd name="T54" fmla="*/ 72 w 154"/>
              <a:gd name="T55" fmla="*/ 47 h 160"/>
              <a:gd name="T56" fmla="*/ 71 w 154"/>
              <a:gd name="T57" fmla="*/ 49 h 160"/>
              <a:gd name="T58" fmla="*/ 70 w 154"/>
              <a:gd name="T59" fmla="*/ 51 h 160"/>
              <a:gd name="T60" fmla="*/ 69 w 154"/>
              <a:gd name="T61" fmla="*/ 53 h 160"/>
              <a:gd name="T62" fmla="*/ 69 w 154"/>
              <a:gd name="T63" fmla="*/ 55 h 160"/>
              <a:gd name="T64" fmla="*/ 68 w 154"/>
              <a:gd name="T65" fmla="*/ 56 h 160"/>
              <a:gd name="T66" fmla="*/ 67 w 154"/>
              <a:gd name="T67" fmla="*/ 58 h 160"/>
              <a:gd name="T68" fmla="*/ 67 w 154"/>
              <a:gd name="T69" fmla="*/ 60 h 160"/>
              <a:gd name="T70" fmla="*/ 67 w 154"/>
              <a:gd name="T71" fmla="*/ 62 h 160"/>
              <a:gd name="T72" fmla="*/ 66 w 154"/>
              <a:gd name="T73" fmla="*/ 64 h 160"/>
              <a:gd name="T74" fmla="*/ 66 w 154"/>
              <a:gd name="T75" fmla="*/ 65 h 160"/>
              <a:gd name="T76" fmla="*/ 66 w 154"/>
              <a:gd name="T77" fmla="*/ 67 h 160"/>
              <a:gd name="T78" fmla="*/ 66 w 154"/>
              <a:gd name="T79" fmla="*/ 68 h 160"/>
              <a:gd name="T80" fmla="*/ 65 w 154"/>
              <a:gd name="T81" fmla="*/ 70 h 160"/>
              <a:gd name="T82" fmla="*/ 65 w 154"/>
              <a:gd name="T83" fmla="*/ 71 h 160"/>
              <a:gd name="T84" fmla="*/ 65 w 154"/>
              <a:gd name="T85" fmla="*/ 72 h 160"/>
              <a:gd name="T86" fmla="*/ 65 w 154"/>
              <a:gd name="T87" fmla="*/ 74 h 160"/>
              <a:gd name="T88" fmla="*/ 65 w 154"/>
              <a:gd name="T89" fmla="*/ 75 h 160"/>
              <a:gd name="T90" fmla="*/ 65 w 154"/>
              <a:gd name="T91" fmla="*/ 76 h 160"/>
              <a:gd name="T92" fmla="*/ 66 w 154"/>
              <a:gd name="T93" fmla="*/ 77 h 160"/>
              <a:gd name="T94" fmla="*/ 66 w 154"/>
              <a:gd name="T95" fmla="*/ 78 h 160"/>
              <a:gd name="T96" fmla="*/ 66 w 154"/>
              <a:gd name="T97" fmla="*/ 78 h 160"/>
              <a:gd name="T98" fmla="*/ 66 w 154"/>
              <a:gd name="T99" fmla="*/ 79 h 160"/>
              <a:gd name="T100" fmla="*/ 66 w 154"/>
              <a:gd name="T101" fmla="*/ 80 h 160"/>
              <a:gd name="T102" fmla="*/ 67 w 154"/>
              <a:gd name="T103" fmla="*/ 87 h 160"/>
              <a:gd name="T104" fmla="*/ 108 w 154"/>
              <a:gd name="T105" fmla="*/ 55 h 160"/>
              <a:gd name="T106" fmla="*/ 115 w 154"/>
              <a:gd name="T107" fmla="*/ 79 h 160"/>
              <a:gd name="T108" fmla="*/ 126 w 154"/>
              <a:gd name="T109" fmla="*/ 6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4" h="160">
                <a:moveTo>
                  <a:pt x="154" y="40"/>
                </a:moveTo>
                <a:cubicBezTo>
                  <a:pt x="115" y="0"/>
                  <a:pt x="115" y="0"/>
                  <a:pt x="115" y="0"/>
                </a:cubicBezTo>
                <a:cubicBezTo>
                  <a:pt x="115" y="24"/>
                  <a:pt x="115" y="24"/>
                  <a:pt x="115" y="24"/>
                </a:cubicBezTo>
                <a:cubicBezTo>
                  <a:pt x="104" y="24"/>
                  <a:pt x="97" y="26"/>
                  <a:pt x="92" y="29"/>
                </a:cubicBezTo>
                <a:cubicBezTo>
                  <a:pt x="0" y="29"/>
                  <a:pt x="0" y="29"/>
                  <a:pt x="0" y="29"/>
                </a:cubicBezTo>
                <a:cubicBezTo>
                  <a:pt x="0" y="160"/>
                  <a:pt x="0" y="160"/>
                  <a:pt x="0" y="160"/>
                </a:cubicBezTo>
                <a:cubicBezTo>
                  <a:pt x="131" y="160"/>
                  <a:pt x="131" y="160"/>
                  <a:pt x="131" y="160"/>
                </a:cubicBezTo>
                <a:cubicBezTo>
                  <a:pt x="131" y="63"/>
                  <a:pt x="131" y="63"/>
                  <a:pt x="131" y="63"/>
                </a:cubicBezTo>
                <a:lnTo>
                  <a:pt x="154" y="40"/>
                </a:lnTo>
                <a:close/>
                <a:moveTo>
                  <a:pt x="116" y="29"/>
                </a:moveTo>
                <a:cubicBezTo>
                  <a:pt x="116" y="29"/>
                  <a:pt x="117" y="29"/>
                  <a:pt x="118" y="29"/>
                </a:cubicBezTo>
                <a:cubicBezTo>
                  <a:pt x="120" y="29"/>
                  <a:pt x="120" y="29"/>
                  <a:pt x="120" y="29"/>
                </a:cubicBezTo>
                <a:cubicBezTo>
                  <a:pt x="120" y="13"/>
                  <a:pt x="120" y="13"/>
                  <a:pt x="120" y="13"/>
                </a:cubicBezTo>
                <a:cubicBezTo>
                  <a:pt x="147" y="40"/>
                  <a:pt x="147" y="40"/>
                  <a:pt x="147" y="40"/>
                </a:cubicBezTo>
                <a:cubicBezTo>
                  <a:pt x="131" y="55"/>
                  <a:pt x="131" y="55"/>
                  <a:pt x="131" y="55"/>
                </a:cubicBezTo>
                <a:cubicBezTo>
                  <a:pt x="131" y="55"/>
                  <a:pt x="131" y="55"/>
                  <a:pt x="131" y="55"/>
                </a:cubicBezTo>
                <a:cubicBezTo>
                  <a:pt x="129" y="58"/>
                  <a:pt x="129" y="58"/>
                  <a:pt x="129" y="58"/>
                </a:cubicBezTo>
                <a:cubicBezTo>
                  <a:pt x="120" y="66"/>
                  <a:pt x="120" y="66"/>
                  <a:pt x="120" y="66"/>
                </a:cubicBezTo>
                <a:cubicBezTo>
                  <a:pt x="120" y="51"/>
                  <a:pt x="120" y="51"/>
                  <a:pt x="120" y="51"/>
                </a:cubicBezTo>
                <a:cubicBezTo>
                  <a:pt x="120" y="51"/>
                  <a:pt x="120" y="51"/>
                  <a:pt x="120" y="51"/>
                </a:cubicBezTo>
                <a:cubicBezTo>
                  <a:pt x="118" y="50"/>
                  <a:pt x="118" y="50"/>
                  <a:pt x="118" y="50"/>
                </a:cubicBezTo>
                <a:cubicBezTo>
                  <a:pt x="118" y="50"/>
                  <a:pt x="110" y="48"/>
                  <a:pt x="100" y="51"/>
                </a:cubicBezTo>
                <a:cubicBezTo>
                  <a:pt x="97" y="52"/>
                  <a:pt x="93" y="53"/>
                  <a:pt x="89" y="55"/>
                </a:cubicBezTo>
                <a:cubicBezTo>
                  <a:pt x="86" y="57"/>
                  <a:pt x="82" y="59"/>
                  <a:pt x="78" y="63"/>
                </a:cubicBezTo>
                <a:cubicBezTo>
                  <a:pt x="76" y="65"/>
                  <a:pt x="73" y="68"/>
                  <a:pt x="71" y="71"/>
                </a:cubicBezTo>
                <a:cubicBezTo>
                  <a:pt x="71" y="64"/>
                  <a:pt x="73" y="54"/>
                  <a:pt x="81" y="44"/>
                </a:cubicBezTo>
                <a:cubicBezTo>
                  <a:pt x="83" y="42"/>
                  <a:pt x="85" y="39"/>
                  <a:pt x="88" y="37"/>
                </a:cubicBezTo>
                <a:cubicBezTo>
                  <a:pt x="88" y="37"/>
                  <a:pt x="88" y="37"/>
                  <a:pt x="88" y="37"/>
                </a:cubicBezTo>
                <a:cubicBezTo>
                  <a:pt x="88" y="37"/>
                  <a:pt x="88" y="37"/>
                  <a:pt x="88" y="37"/>
                </a:cubicBezTo>
                <a:cubicBezTo>
                  <a:pt x="88" y="37"/>
                  <a:pt x="88" y="37"/>
                  <a:pt x="88" y="37"/>
                </a:cubicBezTo>
                <a:cubicBezTo>
                  <a:pt x="89" y="37"/>
                  <a:pt x="89" y="37"/>
                  <a:pt x="89" y="37"/>
                </a:cubicBezTo>
                <a:cubicBezTo>
                  <a:pt x="89" y="36"/>
                  <a:pt x="89" y="36"/>
                  <a:pt x="89" y="36"/>
                </a:cubicBezTo>
                <a:cubicBezTo>
                  <a:pt x="89" y="36"/>
                  <a:pt x="89" y="36"/>
                  <a:pt x="89" y="36"/>
                </a:cubicBezTo>
                <a:cubicBezTo>
                  <a:pt x="89" y="36"/>
                  <a:pt x="90" y="36"/>
                  <a:pt x="90" y="36"/>
                </a:cubicBezTo>
                <a:cubicBezTo>
                  <a:pt x="90" y="36"/>
                  <a:pt x="90" y="36"/>
                  <a:pt x="90" y="35"/>
                </a:cubicBezTo>
                <a:cubicBezTo>
                  <a:pt x="90" y="35"/>
                  <a:pt x="91" y="35"/>
                  <a:pt x="91" y="35"/>
                </a:cubicBezTo>
                <a:cubicBezTo>
                  <a:pt x="95" y="33"/>
                  <a:pt x="103" y="29"/>
                  <a:pt x="116" y="29"/>
                </a:cubicBezTo>
                <a:close/>
                <a:moveTo>
                  <a:pt x="126" y="68"/>
                </a:moveTo>
                <a:cubicBezTo>
                  <a:pt x="126" y="155"/>
                  <a:pt x="126" y="155"/>
                  <a:pt x="126" y="155"/>
                </a:cubicBezTo>
                <a:cubicBezTo>
                  <a:pt x="5" y="155"/>
                  <a:pt x="5" y="155"/>
                  <a:pt x="5" y="155"/>
                </a:cubicBezTo>
                <a:cubicBezTo>
                  <a:pt x="5" y="34"/>
                  <a:pt x="5" y="34"/>
                  <a:pt x="5" y="34"/>
                </a:cubicBezTo>
                <a:cubicBezTo>
                  <a:pt x="83" y="34"/>
                  <a:pt x="83" y="34"/>
                  <a:pt x="83" y="34"/>
                </a:cubicBezTo>
                <a:cubicBezTo>
                  <a:pt x="83" y="34"/>
                  <a:pt x="83" y="34"/>
                  <a:pt x="83" y="35"/>
                </a:cubicBezTo>
                <a:cubicBezTo>
                  <a:pt x="82" y="35"/>
                  <a:pt x="82" y="35"/>
                  <a:pt x="82" y="35"/>
                </a:cubicBezTo>
                <a:cubicBezTo>
                  <a:pt x="81" y="36"/>
                  <a:pt x="81" y="36"/>
                  <a:pt x="81" y="36"/>
                </a:cubicBezTo>
                <a:cubicBezTo>
                  <a:pt x="80" y="37"/>
                  <a:pt x="80" y="37"/>
                  <a:pt x="80" y="37"/>
                </a:cubicBezTo>
                <a:cubicBezTo>
                  <a:pt x="79" y="38"/>
                  <a:pt x="79" y="38"/>
                  <a:pt x="79" y="38"/>
                </a:cubicBezTo>
                <a:cubicBezTo>
                  <a:pt x="79" y="39"/>
                  <a:pt x="78" y="39"/>
                  <a:pt x="78" y="39"/>
                </a:cubicBezTo>
                <a:cubicBezTo>
                  <a:pt x="78" y="39"/>
                  <a:pt x="77" y="40"/>
                  <a:pt x="77" y="40"/>
                </a:cubicBezTo>
                <a:cubicBezTo>
                  <a:pt x="77" y="40"/>
                  <a:pt x="77" y="41"/>
                  <a:pt x="76" y="41"/>
                </a:cubicBezTo>
                <a:cubicBezTo>
                  <a:pt x="76" y="41"/>
                  <a:pt x="76" y="42"/>
                  <a:pt x="76" y="42"/>
                </a:cubicBezTo>
                <a:cubicBezTo>
                  <a:pt x="75" y="42"/>
                  <a:pt x="75" y="43"/>
                  <a:pt x="75" y="43"/>
                </a:cubicBezTo>
                <a:cubicBezTo>
                  <a:pt x="75" y="43"/>
                  <a:pt x="74" y="44"/>
                  <a:pt x="74" y="44"/>
                </a:cubicBezTo>
                <a:cubicBezTo>
                  <a:pt x="74" y="44"/>
                  <a:pt x="74" y="45"/>
                  <a:pt x="74" y="45"/>
                </a:cubicBezTo>
                <a:cubicBezTo>
                  <a:pt x="73" y="45"/>
                  <a:pt x="73" y="46"/>
                  <a:pt x="73" y="46"/>
                </a:cubicBezTo>
                <a:cubicBezTo>
                  <a:pt x="73" y="46"/>
                  <a:pt x="73" y="47"/>
                  <a:pt x="72" y="47"/>
                </a:cubicBezTo>
                <a:cubicBezTo>
                  <a:pt x="72" y="47"/>
                  <a:pt x="72" y="48"/>
                  <a:pt x="72" y="48"/>
                </a:cubicBezTo>
                <a:cubicBezTo>
                  <a:pt x="72" y="48"/>
                  <a:pt x="71" y="48"/>
                  <a:pt x="71" y="49"/>
                </a:cubicBezTo>
                <a:cubicBezTo>
                  <a:pt x="71" y="49"/>
                  <a:pt x="71" y="49"/>
                  <a:pt x="71" y="50"/>
                </a:cubicBezTo>
                <a:cubicBezTo>
                  <a:pt x="71" y="50"/>
                  <a:pt x="70" y="50"/>
                  <a:pt x="70" y="51"/>
                </a:cubicBezTo>
                <a:cubicBezTo>
                  <a:pt x="70" y="51"/>
                  <a:pt x="70" y="51"/>
                  <a:pt x="70" y="52"/>
                </a:cubicBezTo>
                <a:cubicBezTo>
                  <a:pt x="70" y="52"/>
                  <a:pt x="70" y="52"/>
                  <a:pt x="69" y="53"/>
                </a:cubicBezTo>
                <a:cubicBezTo>
                  <a:pt x="69" y="53"/>
                  <a:pt x="69" y="53"/>
                  <a:pt x="69" y="54"/>
                </a:cubicBezTo>
                <a:cubicBezTo>
                  <a:pt x="69" y="54"/>
                  <a:pt x="69" y="54"/>
                  <a:pt x="69" y="55"/>
                </a:cubicBezTo>
                <a:cubicBezTo>
                  <a:pt x="69" y="55"/>
                  <a:pt x="68" y="55"/>
                  <a:pt x="68" y="56"/>
                </a:cubicBezTo>
                <a:cubicBezTo>
                  <a:pt x="68" y="56"/>
                  <a:pt x="68" y="56"/>
                  <a:pt x="68" y="56"/>
                </a:cubicBezTo>
                <a:cubicBezTo>
                  <a:pt x="68" y="57"/>
                  <a:pt x="68" y="57"/>
                  <a:pt x="68" y="57"/>
                </a:cubicBezTo>
                <a:cubicBezTo>
                  <a:pt x="68" y="58"/>
                  <a:pt x="68" y="58"/>
                  <a:pt x="67" y="58"/>
                </a:cubicBezTo>
                <a:cubicBezTo>
                  <a:pt x="67" y="59"/>
                  <a:pt x="67" y="59"/>
                  <a:pt x="67" y="59"/>
                </a:cubicBezTo>
                <a:cubicBezTo>
                  <a:pt x="67" y="60"/>
                  <a:pt x="67" y="60"/>
                  <a:pt x="67" y="60"/>
                </a:cubicBezTo>
                <a:cubicBezTo>
                  <a:pt x="67" y="60"/>
                  <a:pt x="67" y="61"/>
                  <a:pt x="67" y="61"/>
                </a:cubicBezTo>
                <a:cubicBezTo>
                  <a:pt x="67" y="61"/>
                  <a:pt x="67" y="62"/>
                  <a:pt x="67" y="62"/>
                </a:cubicBezTo>
                <a:cubicBezTo>
                  <a:pt x="67" y="62"/>
                  <a:pt x="66" y="62"/>
                  <a:pt x="66" y="63"/>
                </a:cubicBezTo>
                <a:cubicBezTo>
                  <a:pt x="66" y="63"/>
                  <a:pt x="66" y="63"/>
                  <a:pt x="66" y="64"/>
                </a:cubicBezTo>
                <a:cubicBezTo>
                  <a:pt x="66" y="64"/>
                  <a:pt x="66" y="64"/>
                  <a:pt x="66" y="65"/>
                </a:cubicBezTo>
                <a:cubicBezTo>
                  <a:pt x="66" y="65"/>
                  <a:pt x="66" y="65"/>
                  <a:pt x="66" y="65"/>
                </a:cubicBezTo>
                <a:cubicBezTo>
                  <a:pt x="66" y="66"/>
                  <a:pt x="66" y="66"/>
                  <a:pt x="66" y="66"/>
                </a:cubicBezTo>
                <a:cubicBezTo>
                  <a:pt x="66" y="66"/>
                  <a:pt x="66" y="67"/>
                  <a:pt x="66" y="67"/>
                </a:cubicBezTo>
                <a:cubicBezTo>
                  <a:pt x="66" y="67"/>
                  <a:pt x="66" y="67"/>
                  <a:pt x="66" y="68"/>
                </a:cubicBezTo>
                <a:cubicBezTo>
                  <a:pt x="66" y="68"/>
                  <a:pt x="66" y="68"/>
                  <a:pt x="66" y="68"/>
                </a:cubicBezTo>
                <a:cubicBezTo>
                  <a:pt x="66" y="69"/>
                  <a:pt x="66" y="69"/>
                  <a:pt x="66" y="69"/>
                </a:cubicBezTo>
                <a:cubicBezTo>
                  <a:pt x="66" y="69"/>
                  <a:pt x="66" y="70"/>
                  <a:pt x="65" y="70"/>
                </a:cubicBezTo>
                <a:cubicBezTo>
                  <a:pt x="65" y="70"/>
                  <a:pt x="65" y="70"/>
                  <a:pt x="65" y="71"/>
                </a:cubicBezTo>
                <a:cubicBezTo>
                  <a:pt x="65" y="71"/>
                  <a:pt x="65" y="71"/>
                  <a:pt x="65" y="71"/>
                </a:cubicBezTo>
                <a:cubicBezTo>
                  <a:pt x="65" y="71"/>
                  <a:pt x="65" y="72"/>
                  <a:pt x="65" y="72"/>
                </a:cubicBezTo>
                <a:cubicBezTo>
                  <a:pt x="65" y="72"/>
                  <a:pt x="65" y="72"/>
                  <a:pt x="65" y="72"/>
                </a:cubicBezTo>
                <a:cubicBezTo>
                  <a:pt x="65" y="73"/>
                  <a:pt x="65" y="73"/>
                  <a:pt x="65" y="73"/>
                </a:cubicBezTo>
                <a:cubicBezTo>
                  <a:pt x="65" y="73"/>
                  <a:pt x="65" y="74"/>
                  <a:pt x="65" y="74"/>
                </a:cubicBezTo>
                <a:cubicBezTo>
                  <a:pt x="65" y="74"/>
                  <a:pt x="65" y="74"/>
                  <a:pt x="65" y="74"/>
                </a:cubicBezTo>
                <a:cubicBezTo>
                  <a:pt x="65" y="75"/>
                  <a:pt x="65" y="75"/>
                  <a:pt x="65" y="75"/>
                </a:cubicBezTo>
                <a:cubicBezTo>
                  <a:pt x="65" y="75"/>
                  <a:pt x="65" y="75"/>
                  <a:pt x="65" y="76"/>
                </a:cubicBezTo>
                <a:cubicBezTo>
                  <a:pt x="65" y="76"/>
                  <a:pt x="65" y="76"/>
                  <a:pt x="65" y="76"/>
                </a:cubicBezTo>
                <a:cubicBezTo>
                  <a:pt x="66" y="76"/>
                  <a:pt x="66" y="76"/>
                  <a:pt x="66" y="77"/>
                </a:cubicBezTo>
                <a:cubicBezTo>
                  <a:pt x="66" y="77"/>
                  <a:pt x="66" y="77"/>
                  <a:pt x="66" y="77"/>
                </a:cubicBezTo>
                <a:cubicBezTo>
                  <a:pt x="66" y="77"/>
                  <a:pt x="66" y="77"/>
                  <a:pt x="66" y="77"/>
                </a:cubicBezTo>
                <a:cubicBezTo>
                  <a:pt x="66" y="77"/>
                  <a:pt x="66" y="78"/>
                  <a:pt x="66" y="78"/>
                </a:cubicBezTo>
                <a:cubicBezTo>
                  <a:pt x="66" y="78"/>
                  <a:pt x="66" y="78"/>
                  <a:pt x="66" y="78"/>
                </a:cubicBezTo>
                <a:cubicBezTo>
                  <a:pt x="66" y="78"/>
                  <a:pt x="66" y="78"/>
                  <a:pt x="66" y="78"/>
                </a:cubicBezTo>
                <a:cubicBezTo>
                  <a:pt x="66" y="79"/>
                  <a:pt x="66" y="79"/>
                  <a:pt x="66" y="79"/>
                </a:cubicBezTo>
                <a:cubicBezTo>
                  <a:pt x="66" y="79"/>
                  <a:pt x="66" y="79"/>
                  <a:pt x="66" y="79"/>
                </a:cubicBezTo>
                <a:cubicBezTo>
                  <a:pt x="66" y="79"/>
                  <a:pt x="66" y="79"/>
                  <a:pt x="66" y="80"/>
                </a:cubicBezTo>
                <a:cubicBezTo>
                  <a:pt x="66" y="80"/>
                  <a:pt x="66" y="80"/>
                  <a:pt x="66" y="80"/>
                </a:cubicBezTo>
                <a:cubicBezTo>
                  <a:pt x="66" y="80"/>
                  <a:pt x="66" y="80"/>
                  <a:pt x="66" y="80"/>
                </a:cubicBezTo>
                <a:cubicBezTo>
                  <a:pt x="67" y="87"/>
                  <a:pt x="67" y="87"/>
                  <a:pt x="67" y="87"/>
                </a:cubicBezTo>
                <a:cubicBezTo>
                  <a:pt x="71" y="81"/>
                  <a:pt x="71" y="81"/>
                  <a:pt x="71" y="81"/>
                </a:cubicBezTo>
                <a:cubicBezTo>
                  <a:pt x="83" y="60"/>
                  <a:pt x="99" y="56"/>
                  <a:pt x="108" y="55"/>
                </a:cubicBezTo>
                <a:cubicBezTo>
                  <a:pt x="111" y="55"/>
                  <a:pt x="113" y="55"/>
                  <a:pt x="115" y="55"/>
                </a:cubicBezTo>
                <a:cubicBezTo>
                  <a:pt x="115" y="79"/>
                  <a:pt x="115" y="79"/>
                  <a:pt x="115" y="79"/>
                </a:cubicBezTo>
                <a:cubicBezTo>
                  <a:pt x="115" y="79"/>
                  <a:pt x="115" y="79"/>
                  <a:pt x="115" y="79"/>
                </a:cubicBezTo>
                <a:lnTo>
                  <a:pt x="126"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50" name="Freeform 1352">
            <a:extLst>
              <a:ext uri="{FF2B5EF4-FFF2-40B4-BE49-F238E27FC236}">
                <a16:creationId xmlns:a16="http://schemas.microsoft.com/office/drawing/2014/main" id="{CE675494-CFBA-2249-9277-0C41546EF6DC}"/>
              </a:ext>
            </a:extLst>
          </p:cNvPr>
          <p:cNvSpPr>
            <a:spLocks noEditPoints="1"/>
          </p:cNvSpPr>
          <p:nvPr/>
        </p:nvSpPr>
        <p:spPr bwMode="auto">
          <a:xfrm>
            <a:off x="6220987" y="4700588"/>
            <a:ext cx="546100" cy="533400"/>
          </a:xfrm>
          <a:custGeom>
            <a:avLst/>
            <a:gdLst>
              <a:gd name="T0" fmla="*/ 28 w 160"/>
              <a:gd name="T1" fmla="*/ 40 h 155"/>
              <a:gd name="T2" fmla="*/ 28 w 160"/>
              <a:gd name="T3" fmla="*/ 35 h 155"/>
              <a:gd name="T4" fmla="*/ 35 w 160"/>
              <a:gd name="T5" fmla="*/ 28 h 155"/>
              <a:gd name="T6" fmla="*/ 136 w 160"/>
              <a:gd name="T7" fmla="*/ 24 h 155"/>
              <a:gd name="T8" fmla="*/ 133 w 160"/>
              <a:gd name="T9" fmla="*/ 21 h 155"/>
              <a:gd name="T10" fmla="*/ 123 w 160"/>
              <a:gd name="T11" fmla="*/ 27 h 155"/>
              <a:gd name="T12" fmla="*/ 139 w 160"/>
              <a:gd name="T13" fmla="*/ 29 h 155"/>
              <a:gd name="T14" fmla="*/ 136 w 160"/>
              <a:gd name="T15" fmla="*/ 32 h 155"/>
              <a:gd name="T16" fmla="*/ 131 w 160"/>
              <a:gd name="T17" fmla="*/ 32 h 155"/>
              <a:gd name="T18" fmla="*/ 128 w 160"/>
              <a:gd name="T19" fmla="*/ 29 h 155"/>
              <a:gd name="T20" fmla="*/ 112 w 160"/>
              <a:gd name="T21" fmla="*/ 27 h 155"/>
              <a:gd name="T22" fmla="*/ 117 w 160"/>
              <a:gd name="T23" fmla="*/ 29 h 155"/>
              <a:gd name="T24" fmla="*/ 115 w 160"/>
              <a:gd name="T25" fmla="*/ 32 h 155"/>
              <a:gd name="T26" fmla="*/ 104 w 160"/>
              <a:gd name="T27" fmla="*/ 24 h 155"/>
              <a:gd name="T28" fmla="*/ 101 w 160"/>
              <a:gd name="T29" fmla="*/ 21 h 155"/>
              <a:gd name="T30" fmla="*/ 107 w 160"/>
              <a:gd name="T31" fmla="*/ 35 h 155"/>
              <a:gd name="T32" fmla="*/ 91 w 160"/>
              <a:gd name="T33" fmla="*/ 21 h 155"/>
              <a:gd name="T34" fmla="*/ 88 w 160"/>
              <a:gd name="T35" fmla="*/ 24 h 155"/>
              <a:gd name="T36" fmla="*/ 99 w 160"/>
              <a:gd name="T37" fmla="*/ 32 h 155"/>
              <a:gd name="T38" fmla="*/ 96 w 160"/>
              <a:gd name="T39" fmla="*/ 29 h 155"/>
              <a:gd name="T40" fmla="*/ 148 w 160"/>
              <a:gd name="T41" fmla="*/ 0 h 155"/>
              <a:gd name="T42" fmla="*/ 0 w 160"/>
              <a:gd name="T43" fmla="*/ 44 h 155"/>
              <a:gd name="T44" fmla="*/ 0 w 160"/>
              <a:gd name="T45" fmla="*/ 94 h 155"/>
              <a:gd name="T46" fmla="*/ 77 w 160"/>
              <a:gd name="T47" fmla="*/ 128 h 155"/>
              <a:gd name="T48" fmla="*/ 0 w 160"/>
              <a:gd name="T49" fmla="*/ 141 h 155"/>
              <a:gd name="T50" fmla="*/ 80 w 160"/>
              <a:gd name="T51" fmla="*/ 155 h 155"/>
              <a:gd name="T52" fmla="*/ 160 w 160"/>
              <a:gd name="T53" fmla="*/ 141 h 155"/>
              <a:gd name="T54" fmla="*/ 83 w 160"/>
              <a:gd name="T55" fmla="*/ 128 h 155"/>
              <a:gd name="T56" fmla="*/ 160 w 160"/>
              <a:gd name="T57" fmla="*/ 94 h 155"/>
              <a:gd name="T58" fmla="*/ 160 w 160"/>
              <a:gd name="T59" fmla="*/ 44 h 155"/>
              <a:gd name="T60" fmla="*/ 72 w 160"/>
              <a:gd name="T61" fmla="*/ 141 h 155"/>
              <a:gd name="T62" fmla="*/ 155 w 160"/>
              <a:gd name="T63" fmla="*/ 63 h 155"/>
              <a:gd name="T64" fmla="*/ 12 w 160"/>
              <a:gd name="T65" fmla="*/ 101 h 155"/>
              <a:gd name="T66" fmla="*/ 12 w 160"/>
              <a:gd name="T67" fmla="*/ 56 h 155"/>
              <a:gd name="T68" fmla="*/ 12 w 160"/>
              <a:gd name="T69" fmla="*/ 51 h 155"/>
              <a:gd name="T70" fmla="*/ 12 w 160"/>
              <a:gd name="T71" fmla="*/ 5 h 155"/>
              <a:gd name="T72" fmla="*/ 155 w 160"/>
              <a:gd name="T73" fmla="*/ 44 h 155"/>
              <a:gd name="T74" fmla="*/ 28 w 160"/>
              <a:gd name="T75" fmla="*/ 91 h 155"/>
              <a:gd name="T76" fmla="*/ 16 w 160"/>
              <a:gd name="T77" fmla="*/ 79 h 155"/>
              <a:gd name="T78" fmla="*/ 35 w 160"/>
              <a:gd name="T79" fmla="*/ 79 h 155"/>
              <a:gd name="T80" fmla="*/ 28 w 160"/>
              <a:gd name="T81" fmla="*/ 72 h 155"/>
              <a:gd name="T82" fmla="*/ 133 w 160"/>
              <a:gd name="T83" fmla="*/ 77 h 155"/>
              <a:gd name="T84" fmla="*/ 123 w 160"/>
              <a:gd name="T85" fmla="*/ 72 h 155"/>
              <a:gd name="T86" fmla="*/ 120 w 160"/>
              <a:gd name="T87" fmla="*/ 75 h 155"/>
              <a:gd name="T88" fmla="*/ 141 w 160"/>
              <a:gd name="T89" fmla="*/ 83 h 155"/>
              <a:gd name="T90" fmla="*/ 139 w 160"/>
              <a:gd name="T91" fmla="*/ 80 h 155"/>
              <a:gd name="T92" fmla="*/ 128 w 160"/>
              <a:gd name="T93" fmla="*/ 85 h 155"/>
              <a:gd name="T94" fmla="*/ 112 w 160"/>
              <a:gd name="T95" fmla="*/ 72 h 155"/>
              <a:gd name="T96" fmla="*/ 109 w 160"/>
              <a:gd name="T97" fmla="*/ 75 h 155"/>
              <a:gd name="T98" fmla="*/ 120 w 160"/>
              <a:gd name="T99" fmla="*/ 83 h 155"/>
              <a:gd name="T100" fmla="*/ 117 w 160"/>
              <a:gd name="T101" fmla="*/ 80 h 155"/>
              <a:gd name="T102" fmla="*/ 101 w 160"/>
              <a:gd name="T103" fmla="*/ 77 h 155"/>
              <a:gd name="T104" fmla="*/ 107 w 160"/>
              <a:gd name="T105" fmla="*/ 80 h 155"/>
              <a:gd name="T106" fmla="*/ 104 w 160"/>
              <a:gd name="T107" fmla="*/ 83 h 155"/>
              <a:gd name="T108" fmla="*/ 93 w 160"/>
              <a:gd name="T109" fmla="*/ 75 h 155"/>
              <a:gd name="T110" fmla="*/ 91 w 160"/>
              <a:gd name="T111" fmla="*/ 72 h 155"/>
              <a:gd name="T112" fmla="*/ 96 w 160"/>
              <a:gd name="T113" fmla="*/ 8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5">
                <a:moveTo>
                  <a:pt x="28" y="16"/>
                </a:moveTo>
                <a:cubicBezTo>
                  <a:pt x="21" y="16"/>
                  <a:pt x="16" y="21"/>
                  <a:pt x="16" y="28"/>
                </a:cubicBezTo>
                <a:cubicBezTo>
                  <a:pt x="16" y="35"/>
                  <a:pt x="21" y="40"/>
                  <a:pt x="28" y="40"/>
                </a:cubicBezTo>
                <a:cubicBezTo>
                  <a:pt x="35" y="40"/>
                  <a:pt x="40" y="35"/>
                  <a:pt x="40" y="28"/>
                </a:cubicBezTo>
                <a:cubicBezTo>
                  <a:pt x="40" y="21"/>
                  <a:pt x="35" y="16"/>
                  <a:pt x="28" y="16"/>
                </a:cubicBezTo>
                <a:close/>
                <a:moveTo>
                  <a:pt x="28" y="35"/>
                </a:moveTo>
                <a:cubicBezTo>
                  <a:pt x="24" y="35"/>
                  <a:pt x="21" y="32"/>
                  <a:pt x="21" y="28"/>
                </a:cubicBezTo>
                <a:cubicBezTo>
                  <a:pt x="21" y="24"/>
                  <a:pt x="24" y="21"/>
                  <a:pt x="28" y="21"/>
                </a:cubicBezTo>
                <a:cubicBezTo>
                  <a:pt x="32" y="21"/>
                  <a:pt x="35" y="24"/>
                  <a:pt x="35" y="28"/>
                </a:cubicBezTo>
                <a:cubicBezTo>
                  <a:pt x="35" y="32"/>
                  <a:pt x="32" y="35"/>
                  <a:pt x="28" y="35"/>
                </a:cubicBezTo>
                <a:close/>
                <a:moveTo>
                  <a:pt x="133" y="21"/>
                </a:moveTo>
                <a:cubicBezTo>
                  <a:pt x="135" y="21"/>
                  <a:pt x="136" y="23"/>
                  <a:pt x="136" y="24"/>
                </a:cubicBezTo>
                <a:cubicBezTo>
                  <a:pt x="136" y="25"/>
                  <a:pt x="135" y="27"/>
                  <a:pt x="133" y="27"/>
                </a:cubicBezTo>
                <a:cubicBezTo>
                  <a:pt x="132" y="27"/>
                  <a:pt x="131" y="25"/>
                  <a:pt x="131" y="24"/>
                </a:cubicBezTo>
                <a:cubicBezTo>
                  <a:pt x="131" y="23"/>
                  <a:pt x="132" y="21"/>
                  <a:pt x="133" y="21"/>
                </a:cubicBezTo>
                <a:close/>
                <a:moveTo>
                  <a:pt x="123" y="21"/>
                </a:moveTo>
                <a:cubicBezTo>
                  <a:pt x="124" y="21"/>
                  <a:pt x="125" y="23"/>
                  <a:pt x="125" y="24"/>
                </a:cubicBezTo>
                <a:cubicBezTo>
                  <a:pt x="125" y="25"/>
                  <a:pt x="124" y="27"/>
                  <a:pt x="123" y="27"/>
                </a:cubicBezTo>
                <a:cubicBezTo>
                  <a:pt x="121" y="27"/>
                  <a:pt x="120" y="25"/>
                  <a:pt x="120" y="24"/>
                </a:cubicBezTo>
                <a:cubicBezTo>
                  <a:pt x="120" y="23"/>
                  <a:pt x="121" y="21"/>
                  <a:pt x="123" y="21"/>
                </a:cubicBezTo>
                <a:close/>
                <a:moveTo>
                  <a:pt x="139" y="29"/>
                </a:moveTo>
                <a:cubicBezTo>
                  <a:pt x="140" y="29"/>
                  <a:pt x="141" y="31"/>
                  <a:pt x="141" y="32"/>
                </a:cubicBezTo>
                <a:cubicBezTo>
                  <a:pt x="141" y="33"/>
                  <a:pt x="140" y="35"/>
                  <a:pt x="139" y="35"/>
                </a:cubicBezTo>
                <a:cubicBezTo>
                  <a:pt x="137" y="35"/>
                  <a:pt x="136" y="33"/>
                  <a:pt x="136" y="32"/>
                </a:cubicBezTo>
                <a:cubicBezTo>
                  <a:pt x="136" y="31"/>
                  <a:pt x="137" y="29"/>
                  <a:pt x="139" y="29"/>
                </a:cubicBezTo>
                <a:close/>
                <a:moveTo>
                  <a:pt x="128" y="29"/>
                </a:moveTo>
                <a:cubicBezTo>
                  <a:pt x="129" y="29"/>
                  <a:pt x="131" y="31"/>
                  <a:pt x="131" y="32"/>
                </a:cubicBezTo>
                <a:cubicBezTo>
                  <a:pt x="131" y="33"/>
                  <a:pt x="129" y="35"/>
                  <a:pt x="128" y="35"/>
                </a:cubicBezTo>
                <a:cubicBezTo>
                  <a:pt x="127" y="35"/>
                  <a:pt x="125" y="33"/>
                  <a:pt x="125" y="32"/>
                </a:cubicBezTo>
                <a:cubicBezTo>
                  <a:pt x="125" y="31"/>
                  <a:pt x="127" y="29"/>
                  <a:pt x="128" y="29"/>
                </a:cubicBezTo>
                <a:close/>
                <a:moveTo>
                  <a:pt x="112" y="21"/>
                </a:moveTo>
                <a:cubicBezTo>
                  <a:pt x="113" y="21"/>
                  <a:pt x="115" y="23"/>
                  <a:pt x="115" y="24"/>
                </a:cubicBezTo>
                <a:cubicBezTo>
                  <a:pt x="115" y="25"/>
                  <a:pt x="113" y="27"/>
                  <a:pt x="112" y="27"/>
                </a:cubicBezTo>
                <a:cubicBezTo>
                  <a:pt x="111" y="27"/>
                  <a:pt x="109" y="25"/>
                  <a:pt x="109" y="24"/>
                </a:cubicBezTo>
                <a:cubicBezTo>
                  <a:pt x="109" y="23"/>
                  <a:pt x="111" y="21"/>
                  <a:pt x="112" y="21"/>
                </a:cubicBezTo>
                <a:close/>
                <a:moveTo>
                  <a:pt x="117" y="29"/>
                </a:moveTo>
                <a:cubicBezTo>
                  <a:pt x="119" y="29"/>
                  <a:pt x="120" y="31"/>
                  <a:pt x="120" y="32"/>
                </a:cubicBezTo>
                <a:cubicBezTo>
                  <a:pt x="120" y="33"/>
                  <a:pt x="119" y="35"/>
                  <a:pt x="117" y="35"/>
                </a:cubicBezTo>
                <a:cubicBezTo>
                  <a:pt x="116" y="35"/>
                  <a:pt x="115" y="33"/>
                  <a:pt x="115" y="32"/>
                </a:cubicBezTo>
                <a:cubicBezTo>
                  <a:pt x="115" y="31"/>
                  <a:pt x="116" y="29"/>
                  <a:pt x="117" y="29"/>
                </a:cubicBezTo>
                <a:close/>
                <a:moveTo>
                  <a:pt x="101" y="21"/>
                </a:moveTo>
                <a:cubicBezTo>
                  <a:pt x="103" y="21"/>
                  <a:pt x="104" y="23"/>
                  <a:pt x="104" y="24"/>
                </a:cubicBezTo>
                <a:cubicBezTo>
                  <a:pt x="104" y="25"/>
                  <a:pt x="103" y="27"/>
                  <a:pt x="101" y="27"/>
                </a:cubicBezTo>
                <a:cubicBezTo>
                  <a:pt x="100" y="27"/>
                  <a:pt x="99" y="25"/>
                  <a:pt x="99" y="24"/>
                </a:cubicBezTo>
                <a:cubicBezTo>
                  <a:pt x="99" y="23"/>
                  <a:pt x="100" y="21"/>
                  <a:pt x="101" y="21"/>
                </a:cubicBezTo>
                <a:close/>
                <a:moveTo>
                  <a:pt x="107" y="29"/>
                </a:moveTo>
                <a:cubicBezTo>
                  <a:pt x="108" y="29"/>
                  <a:pt x="109" y="31"/>
                  <a:pt x="109" y="32"/>
                </a:cubicBezTo>
                <a:cubicBezTo>
                  <a:pt x="109" y="33"/>
                  <a:pt x="108" y="35"/>
                  <a:pt x="107" y="35"/>
                </a:cubicBezTo>
                <a:cubicBezTo>
                  <a:pt x="105" y="35"/>
                  <a:pt x="104" y="33"/>
                  <a:pt x="104" y="32"/>
                </a:cubicBezTo>
                <a:cubicBezTo>
                  <a:pt x="104" y="31"/>
                  <a:pt x="105" y="29"/>
                  <a:pt x="107" y="29"/>
                </a:cubicBezTo>
                <a:close/>
                <a:moveTo>
                  <a:pt x="91" y="21"/>
                </a:moveTo>
                <a:cubicBezTo>
                  <a:pt x="92" y="21"/>
                  <a:pt x="93" y="23"/>
                  <a:pt x="93" y="24"/>
                </a:cubicBezTo>
                <a:cubicBezTo>
                  <a:pt x="93" y="25"/>
                  <a:pt x="92" y="27"/>
                  <a:pt x="91" y="27"/>
                </a:cubicBezTo>
                <a:cubicBezTo>
                  <a:pt x="89" y="27"/>
                  <a:pt x="88" y="25"/>
                  <a:pt x="88" y="24"/>
                </a:cubicBezTo>
                <a:cubicBezTo>
                  <a:pt x="88" y="23"/>
                  <a:pt x="89" y="21"/>
                  <a:pt x="91" y="21"/>
                </a:cubicBezTo>
                <a:close/>
                <a:moveTo>
                  <a:pt x="96" y="29"/>
                </a:moveTo>
                <a:cubicBezTo>
                  <a:pt x="97" y="29"/>
                  <a:pt x="99" y="31"/>
                  <a:pt x="99" y="32"/>
                </a:cubicBezTo>
                <a:cubicBezTo>
                  <a:pt x="99" y="33"/>
                  <a:pt x="97" y="35"/>
                  <a:pt x="96" y="35"/>
                </a:cubicBezTo>
                <a:cubicBezTo>
                  <a:pt x="95" y="35"/>
                  <a:pt x="93" y="33"/>
                  <a:pt x="93" y="32"/>
                </a:cubicBezTo>
                <a:cubicBezTo>
                  <a:pt x="93" y="31"/>
                  <a:pt x="95" y="29"/>
                  <a:pt x="96" y="29"/>
                </a:cubicBezTo>
                <a:close/>
                <a:moveTo>
                  <a:pt x="160" y="44"/>
                </a:moveTo>
                <a:cubicBezTo>
                  <a:pt x="160" y="12"/>
                  <a:pt x="160" y="12"/>
                  <a:pt x="160" y="12"/>
                </a:cubicBezTo>
                <a:cubicBezTo>
                  <a:pt x="160" y="6"/>
                  <a:pt x="154" y="0"/>
                  <a:pt x="148" y="0"/>
                </a:cubicBezTo>
                <a:cubicBezTo>
                  <a:pt x="12" y="0"/>
                  <a:pt x="12" y="0"/>
                  <a:pt x="12" y="0"/>
                </a:cubicBezTo>
                <a:cubicBezTo>
                  <a:pt x="6" y="0"/>
                  <a:pt x="0" y="6"/>
                  <a:pt x="0" y="12"/>
                </a:cubicBezTo>
                <a:cubicBezTo>
                  <a:pt x="0" y="44"/>
                  <a:pt x="0" y="44"/>
                  <a:pt x="0" y="44"/>
                </a:cubicBezTo>
                <a:cubicBezTo>
                  <a:pt x="0" y="48"/>
                  <a:pt x="2" y="51"/>
                  <a:pt x="5" y="53"/>
                </a:cubicBezTo>
                <a:cubicBezTo>
                  <a:pt x="2" y="56"/>
                  <a:pt x="0" y="59"/>
                  <a:pt x="0" y="63"/>
                </a:cubicBezTo>
                <a:cubicBezTo>
                  <a:pt x="0" y="94"/>
                  <a:pt x="0" y="94"/>
                  <a:pt x="0" y="94"/>
                </a:cubicBezTo>
                <a:cubicBezTo>
                  <a:pt x="0" y="101"/>
                  <a:pt x="6" y="107"/>
                  <a:pt x="12" y="107"/>
                </a:cubicBezTo>
                <a:cubicBezTo>
                  <a:pt x="77" y="107"/>
                  <a:pt x="77" y="107"/>
                  <a:pt x="77" y="107"/>
                </a:cubicBezTo>
                <a:cubicBezTo>
                  <a:pt x="77" y="128"/>
                  <a:pt x="77" y="128"/>
                  <a:pt x="77" y="128"/>
                </a:cubicBezTo>
                <a:cubicBezTo>
                  <a:pt x="72" y="129"/>
                  <a:pt x="68" y="133"/>
                  <a:pt x="67" y="139"/>
                </a:cubicBezTo>
                <a:cubicBezTo>
                  <a:pt x="3" y="139"/>
                  <a:pt x="3" y="139"/>
                  <a:pt x="3" y="139"/>
                </a:cubicBezTo>
                <a:cubicBezTo>
                  <a:pt x="1" y="139"/>
                  <a:pt x="0" y="140"/>
                  <a:pt x="0" y="141"/>
                </a:cubicBezTo>
                <a:cubicBezTo>
                  <a:pt x="0" y="143"/>
                  <a:pt x="1" y="144"/>
                  <a:pt x="3" y="144"/>
                </a:cubicBezTo>
                <a:cubicBezTo>
                  <a:pt x="67" y="144"/>
                  <a:pt x="67" y="144"/>
                  <a:pt x="67" y="144"/>
                </a:cubicBezTo>
                <a:cubicBezTo>
                  <a:pt x="68" y="150"/>
                  <a:pt x="74" y="155"/>
                  <a:pt x="80" y="155"/>
                </a:cubicBezTo>
                <a:cubicBezTo>
                  <a:pt x="86" y="155"/>
                  <a:pt x="92" y="150"/>
                  <a:pt x="93" y="144"/>
                </a:cubicBezTo>
                <a:cubicBezTo>
                  <a:pt x="157" y="144"/>
                  <a:pt x="157" y="144"/>
                  <a:pt x="157" y="144"/>
                </a:cubicBezTo>
                <a:cubicBezTo>
                  <a:pt x="159" y="144"/>
                  <a:pt x="160" y="143"/>
                  <a:pt x="160" y="141"/>
                </a:cubicBezTo>
                <a:cubicBezTo>
                  <a:pt x="160" y="140"/>
                  <a:pt x="159" y="139"/>
                  <a:pt x="157" y="139"/>
                </a:cubicBezTo>
                <a:cubicBezTo>
                  <a:pt x="93" y="139"/>
                  <a:pt x="93" y="139"/>
                  <a:pt x="93" y="139"/>
                </a:cubicBezTo>
                <a:cubicBezTo>
                  <a:pt x="92" y="133"/>
                  <a:pt x="88" y="129"/>
                  <a:pt x="83" y="128"/>
                </a:cubicBezTo>
                <a:cubicBezTo>
                  <a:pt x="83" y="107"/>
                  <a:pt x="83" y="107"/>
                  <a:pt x="83" y="107"/>
                </a:cubicBezTo>
                <a:cubicBezTo>
                  <a:pt x="148" y="107"/>
                  <a:pt x="148" y="107"/>
                  <a:pt x="148" y="107"/>
                </a:cubicBezTo>
                <a:cubicBezTo>
                  <a:pt x="154" y="107"/>
                  <a:pt x="160" y="101"/>
                  <a:pt x="160" y="94"/>
                </a:cubicBezTo>
                <a:cubicBezTo>
                  <a:pt x="160" y="63"/>
                  <a:pt x="160" y="63"/>
                  <a:pt x="160" y="63"/>
                </a:cubicBezTo>
                <a:cubicBezTo>
                  <a:pt x="160" y="59"/>
                  <a:pt x="158" y="56"/>
                  <a:pt x="155" y="53"/>
                </a:cubicBezTo>
                <a:cubicBezTo>
                  <a:pt x="158" y="51"/>
                  <a:pt x="160" y="48"/>
                  <a:pt x="160" y="44"/>
                </a:cubicBezTo>
                <a:close/>
                <a:moveTo>
                  <a:pt x="88" y="141"/>
                </a:moveTo>
                <a:cubicBezTo>
                  <a:pt x="88" y="146"/>
                  <a:pt x="84" y="149"/>
                  <a:pt x="80" y="149"/>
                </a:cubicBezTo>
                <a:cubicBezTo>
                  <a:pt x="76" y="149"/>
                  <a:pt x="72" y="146"/>
                  <a:pt x="72" y="141"/>
                </a:cubicBezTo>
                <a:cubicBezTo>
                  <a:pt x="72" y="137"/>
                  <a:pt x="76" y="133"/>
                  <a:pt x="80" y="133"/>
                </a:cubicBezTo>
                <a:cubicBezTo>
                  <a:pt x="84" y="133"/>
                  <a:pt x="88" y="137"/>
                  <a:pt x="88" y="141"/>
                </a:cubicBezTo>
                <a:close/>
                <a:moveTo>
                  <a:pt x="155" y="63"/>
                </a:moveTo>
                <a:cubicBezTo>
                  <a:pt x="155" y="94"/>
                  <a:pt x="155" y="94"/>
                  <a:pt x="155" y="94"/>
                </a:cubicBezTo>
                <a:cubicBezTo>
                  <a:pt x="155" y="98"/>
                  <a:pt x="152" y="101"/>
                  <a:pt x="148" y="101"/>
                </a:cubicBezTo>
                <a:cubicBezTo>
                  <a:pt x="12" y="101"/>
                  <a:pt x="12" y="101"/>
                  <a:pt x="12" y="101"/>
                </a:cubicBezTo>
                <a:cubicBezTo>
                  <a:pt x="8" y="101"/>
                  <a:pt x="5" y="98"/>
                  <a:pt x="5" y="94"/>
                </a:cubicBezTo>
                <a:cubicBezTo>
                  <a:pt x="5" y="63"/>
                  <a:pt x="5" y="63"/>
                  <a:pt x="5" y="63"/>
                </a:cubicBezTo>
                <a:cubicBezTo>
                  <a:pt x="5" y="59"/>
                  <a:pt x="8" y="56"/>
                  <a:pt x="12" y="56"/>
                </a:cubicBezTo>
                <a:cubicBezTo>
                  <a:pt x="148" y="56"/>
                  <a:pt x="148" y="56"/>
                  <a:pt x="148" y="56"/>
                </a:cubicBezTo>
                <a:cubicBezTo>
                  <a:pt x="152" y="56"/>
                  <a:pt x="155" y="59"/>
                  <a:pt x="155" y="63"/>
                </a:cubicBezTo>
                <a:close/>
                <a:moveTo>
                  <a:pt x="12" y="51"/>
                </a:moveTo>
                <a:cubicBezTo>
                  <a:pt x="8" y="51"/>
                  <a:pt x="5" y="48"/>
                  <a:pt x="5" y="44"/>
                </a:cubicBezTo>
                <a:cubicBezTo>
                  <a:pt x="5" y="12"/>
                  <a:pt x="5" y="12"/>
                  <a:pt x="5" y="12"/>
                </a:cubicBezTo>
                <a:cubicBezTo>
                  <a:pt x="5" y="8"/>
                  <a:pt x="8" y="5"/>
                  <a:pt x="12" y="5"/>
                </a:cubicBezTo>
                <a:cubicBezTo>
                  <a:pt x="148" y="5"/>
                  <a:pt x="148" y="5"/>
                  <a:pt x="148" y="5"/>
                </a:cubicBezTo>
                <a:cubicBezTo>
                  <a:pt x="152" y="5"/>
                  <a:pt x="155" y="8"/>
                  <a:pt x="155" y="12"/>
                </a:cubicBezTo>
                <a:cubicBezTo>
                  <a:pt x="155" y="44"/>
                  <a:pt x="155" y="44"/>
                  <a:pt x="155" y="44"/>
                </a:cubicBezTo>
                <a:cubicBezTo>
                  <a:pt x="155" y="48"/>
                  <a:pt x="152" y="51"/>
                  <a:pt x="148" y="51"/>
                </a:cubicBezTo>
                <a:lnTo>
                  <a:pt x="12" y="51"/>
                </a:lnTo>
                <a:close/>
                <a:moveTo>
                  <a:pt x="28" y="91"/>
                </a:moveTo>
                <a:cubicBezTo>
                  <a:pt x="35" y="91"/>
                  <a:pt x="40" y="85"/>
                  <a:pt x="40" y="79"/>
                </a:cubicBezTo>
                <a:cubicBezTo>
                  <a:pt x="40" y="72"/>
                  <a:pt x="35" y="67"/>
                  <a:pt x="28" y="67"/>
                </a:cubicBezTo>
                <a:cubicBezTo>
                  <a:pt x="21" y="67"/>
                  <a:pt x="16" y="72"/>
                  <a:pt x="16" y="79"/>
                </a:cubicBezTo>
                <a:cubicBezTo>
                  <a:pt x="16" y="85"/>
                  <a:pt x="21" y="91"/>
                  <a:pt x="28" y="91"/>
                </a:cubicBezTo>
                <a:close/>
                <a:moveTo>
                  <a:pt x="28" y="72"/>
                </a:moveTo>
                <a:cubicBezTo>
                  <a:pt x="32" y="72"/>
                  <a:pt x="35" y="75"/>
                  <a:pt x="35" y="79"/>
                </a:cubicBezTo>
                <a:cubicBezTo>
                  <a:pt x="35" y="82"/>
                  <a:pt x="32" y="85"/>
                  <a:pt x="28" y="85"/>
                </a:cubicBezTo>
                <a:cubicBezTo>
                  <a:pt x="24" y="85"/>
                  <a:pt x="21" y="82"/>
                  <a:pt x="21" y="79"/>
                </a:cubicBezTo>
                <a:cubicBezTo>
                  <a:pt x="21" y="75"/>
                  <a:pt x="24" y="72"/>
                  <a:pt x="28" y="72"/>
                </a:cubicBezTo>
                <a:close/>
                <a:moveTo>
                  <a:pt x="133" y="72"/>
                </a:moveTo>
                <a:cubicBezTo>
                  <a:pt x="135" y="72"/>
                  <a:pt x="136" y="73"/>
                  <a:pt x="136" y="75"/>
                </a:cubicBezTo>
                <a:cubicBezTo>
                  <a:pt x="136" y="76"/>
                  <a:pt x="135" y="77"/>
                  <a:pt x="133" y="77"/>
                </a:cubicBezTo>
                <a:cubicBezTo>
                  <a:pt x="132" y="77"/>
                  <a:pt x="131" y="76"/>
                  <a:pt x="131" y="75"/>
                </a:cubicBezTo>
                <a:cubicBezTo>
                  <a:pt x="131" y="73"/>
                  <a:pt x="132" y="72"/>
                  <a:pt x="133" y="72"/>
                </a:cubicBezTo>
                <a:close/>
                <a:moveTo>
                  <a:pt x="123" y="72"/>
                </a:moveTo>
                <a:cubicBezTo>
                  <a:pt x="124" y="72"/>
                  <a:pt x="125" y="73"/>
                  <a:pt x="125" y="75"/>
                </a:cubicBezTo>
                <a:cubicBezTo>
                  <a:pt x="125" y="76"/>
                  <a:pt x="124" y="77"/>
                  <a:pt x="123" y="77"/>
                </a:cubicBezTo>
                <a:cubicBezTo>
                  <a:pt x="121" y="77"/>
                  <a:pt x="120" y="76"/>
                  <a:pt x="120" y="75"/>
                </a:cubicBezTo>
                <a:cubicBezTo>
                  <a:pt x="120" y="73"/>
                  <a:pt x="121" y="72"/>
                  <a:pt x="123" y="72"/>
                </a:cubicBezTo>
                <a:close/>
                <a:moveTo>
                  <a:pt x="139" y="80"/>
                </a:moveTo>
                <a:cubicBezTo>
                  <a:pt x="140" y="80"/>
                  <a:pt x="141" y="81"/>
                  <a:pt x="141" y="83"/>
                </a:cubicBezTo>
                <a:cubicBezTo>
                  <a:pt x="141" y="84"/>
                  <a:pt x="140" y="85"/>
                  <a:pt x="139" y="85"/>
                </a:cubicBezTo>
                <a:cubicBezTo>
                  <a:pt x="137" y="85"/>
                  <a:pt x="136" y="84"/>
                  <a:pt x="136" y="83"/>
                </a:cubicBezTo>
                <a:cubicBezTo>
                  <a:pt x="136" y="81"/>
                  <a:pt x="137" y="80"/>
                  <a:pt x="139" y="80"/>
                </a:cubicBezTo>
                <a:close/>
                <a:moveTo>
                  <a:pt x="128" y="80"/>
                </a:moveTo>
                <a:cubicBezTo>
                  <a:pt x="129" y="80"/>
                  <a:pt x="131" y="81"/>
                  <a:pt x="131" y="83"/>
                </a:cubicBezTo>
                <a:cubicBezTo>
                  <a:pt x="131" y="84"/>
                  <a:pt x="129" y="85"/>
                  <a:pt x="128" y="85"/>
                </a:cubicBezTo>
                <a:cubicBezTo>
                  <a:pt x="127" y="85"/>
                  <a:pt x="125" y="84"/>
                  <a:pt x="125" y="83"/>
                </a:cubicBezTo>
                <a:cubicBezTo>
                  <a:pt x="125" y="81"/>
                  <a:pt x="127" y="80"/>
                  <a:pt x="128" y="80"/>
                </a:cubicBezTo>
                <a:close/>
                <a:moveTo>
                  <a:pt x="112" y="72"/>
                </a:moveTo>
                <a:cubicBezTo>
                  <a:pt x="113" y="72"/>
                  <a:pt x="115" y="73"/>
                  <a:pt x="115" y="75"/>
                </a:cubicBezTo>
                <a:cubicBezTo>
                  <a:pt x="115" y="76"/>
                  <a:pt x="113" y="77"/>
                  <a:pt x="112" y="77"/>
                </a:cubicBezTo>
                <a:cubicBezTo>
                  <a:pt x="111" y="77"/>
                  <a:pt x="109" y="76"/>
                  <a:pt x="109" y="75"/>
                </a:cubicBezTo>
                <a:cubicBezTo>
                  <a:pt x="109" y="73"/>
                  <a:pt x="111" y="72"/>
                  <a:pt x="112" y="72"/>
                </a:cubicBezTo>
                <a:close/>
                <a:moveTo>
                  <a:pt x="117" y="80"/>
                </a:moveTo>
                <a:cubicBezTo>
                  <a:pt x="119" y="80"/>
                  <a:pt x="120" y="81"/>
                  <a:pt x="120" y="83"/>
                </a:cubicBezTo>
                <a:cubicBezTo>
                  <a:pt x="120" y="84"/>
                  <a:pt x="119" y="85"/>
                  <a:pt x="117" y="85"/>
                </a:cubicBezTo>
                <a:cubicBezTo>
                  <a:pt x="116" y="85"/>
                  <a:pt x="115" y="84"/>
                  <a:pt x="115" y="83"/>
                </a:cubicBezTo>
                <a:cubicBezTo>
                  <a:pt x="115" y="81"/>
                  <a:pt x="116" y="80"/>
                  <a:pt x="117" y="80"/>
                </a:cubicBezTo>
                <a:close/>
                <a:moveTo>
                  <a:pt x="101" y="72"/>
                </a:moveTo>
                <a:cubicBezTo>
                  <a:pt x="103" y="72"/>
                  <a:pt x="104" y="73"/>
                  <a:pt x="104" y="75"/>
                </a:cubicBezTo>
                <a:cubicBezTo>
                  <a:pt x="104" y="76"/>
                  <a:pt x="103" y="77"/>
                  <a:pt x="101" y="77"/>
                </a:cubicBezTo>
                <a:cubicBezTo>
                  <a:pt x="100" y="77"/>
                  <a:pt x="99" y="76"/>
                  <a:pt x="99" y="75"/>
                </a:cubicBezTo>
                <a:cubicBezTo>
                  <a:pt x="99" y="73"/>
                  <a:pt x="100" y="72"/>
                  <a:pt x="101" y="72"/>
                </a:cubicBezTo>
                <a:close/>
                <a:moveTo>
                  <a:pt x="107" y="80"/>
                </a:moveTo>
                <a:cubicBezTo>
                  <a:pt x="108" y="80"/>
                  <a:pt x="109" y="81"/>
                  <a:pt x="109" y="83"/>
                </a:cubicBezTo>
                <a:cubicBezTo>
                  <a:pt x="109" y="84"/>
                  <a:pt x="108" y="85"/>
                  <a:pt x="107" y="85"/>
                </a:cubicBezTo>
                <a:cubicBezTo>
                  <a:pt x="105" y="85"/>
                  <a:pt x="104" y="84"/>
                  <a:pt x="104" y="83"/>
                </a:cubicBezTo>
                <a:cubicBezTo>
                  <a:pt x="104" y="81"/>
                  <a:pt x="105" y="80"/>
                  <a:pt x="107" y="80"/>
                </a:cubicBezTo>
                <a:close/>
                <a:moveTo>
                  <a:pt x="91" y="72"/>
                </a:moveTo>
                <a:cubicBezTo>
                  <a:pt x="92" y="72"/>
                  <a:pt x="93" y="73"/>
                  <a:pt x="93" y="75"/>
                </a:cubicBezTo>
                <a:cubicBezTo>
                  <a:pt x="93" y="76"/>
                  <a:pt x="92" y="77"/>
                  <a:pt x="91" y="77"/>
                </a:cubicBezTo>
                <a:cubicBezTo>
                  <a:pt x="89" y="77"/>
                  <a:pt x="88" y="76"/>
                  <a:pt x="88" y="75"/>
                </a:cubicBezTo>
                <a:cubicBezTo>
                  <a:pt x="88" y="73"/>
                  <a:pt x="89" y="72"/>
                  <a:pt x="91" y="72"/>
                </a:cubicBezTo>
                <a:close/>
                <a:moveTo>
                  <a:pt x="96" y="80"/>
                </a:moveTo>
                <a:cubicBezTo>
                  <a:pt x="97" y="80"/>
                  <a:pt x="99" y="81"/>
                  <a:pt x="99" y="83"/>
                </a:cubicBezTo>
                <a:cubicBezTo>
                  <a:pt x="99" y="84"/>
                  <a:pt x="97" y="85"/>
                  <a:pt x="96" y="85"/>
                </a:cubicBezTo>
                <a:cubicBezTo>
                  <a:pt x="95" y="85"/>
                  <a:pt x="93" y="84"/>
                  <a:pt x="93" y="83"/>
                </a:cubicBezTo>
                <a:cubicBezTo>
                  <a:pt x="93" y="81"/>
                  <a:pt x="95" y="80"/>
                  <a:pt x="96" y="8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51" name="Freeform 1353">
            <a:extLst>
              <a:ext uri="{FF2B5EF4-FFF2-40B4-BE49-F238E27FC236}">
                <a16:creationId xmlns:a16="http://schemas.microsoft.com/office/drawing/2014/main" id="{E4985700-F138-A947-9C63-CBA41BA6F6F8}"/>
              </a:ext>
            </a:extLst>
          </p:cNvPr>
          <p:cNvSpPr>
            <a:spLocks noEditPoints="1"/>
          </p:cNvSpPr>
          <p:nvPr/>
        </p:nvSpPr>
        <p:spPr bwMode="auto">
          <a:xfrm>
            <a:off x="6220987" y="5319713"/>
            <a:ext cx="546100" cy="533400"/>
          </a:xfrm>
          <a:custGeom>
            <a:avLst/>
            <a:gdLst>
              <a:gd name="T0" fmla="*/ 28 w 160"/>
              <a:gd name="T1" fmla="*/ 21 h 155"/>
              <a:gd name="T2" fmla="*/ 123 w 160"/>
              <a:gd name="T3" fmla="*/ 21 h 155"/>
              <a:gd name="T4" fmla="*/ 128 w 160"/>
              <a:gd name="T5" fmla="*/ 29 h 155"/>
              <a:gd name="T6" fmla="*/ 117 w 160"/>
              <a:gd name="T7" fmla="*/ 29 h 155"/>
              <a:gd name="T8" fmla="*/ 107 w 160"/>
              <a:gd name="T9" fmla="*/ 29 h 155"/>
              <a:gd name="T10" fmla="*/ 96 w 160"/>
              <a:gd name="T11" fmla="*/ 29 h 155"/>
              <a:gd name="T12" fmla="*/ 26 w 160"/>
              <a:gd name="T13" fmla="*/ 0 h 155"/>
              <a:gd name="T14" fmla="*/ 34 w 160"/>
              <a:gd name="T15" fmla="*/ 56 h 155"/>
              <a:gd name="T16" fmla="*/ 37 w 160"/>
              <a:gd name="T17" fmla="*/ 5 h 155"/>
              <a:gd name="T18" fmla="*/ 108 w 160"/>
              <a:gd name="T19" fmla="*/ 3 h 155"/>
              <a:gd name="T20" fmla="*/ 105 w 160"/>
              <a:gd name="T21" fmla="*/ 3 h 155"/>
              <a:gd name="T22" fmla="*/ 130 w 160"/>
              <a:gd name="T23" fmla="*/ 3 h 155"/>
              <a:gd name="T24" fmla="*/ 92 w 160"/>
              <a:gd name="T25" fmla="*/ 0 h 155"/>
              <a:gd name="T26" fmla="*/ 67 w 160"/>
              <a:gd name="T27" fmla="*/ 5 h 155"/>
              <a:gd name="T28" fmla="*/ 122 w 160"/>
              <a:gd name="T29" fmla="*/ 0 h 155"/>
              <a:gd name="T30" fmla="*/ 15 w 160"/>
              <a:gd name="T31" fmla="*/ 5 h 155"/>
              <a:gd name="T32" fmla="*/ 153 w 160"/>
              <a:gd name="T33" fmla="*/ 48 h 155"/>
              <a:gd name="T34" fmla="*/ 3 w 160"/>
              <a:gd name="T35" fmla="*/ 25 h 155"/>
              <a:gd name="T36" fmla="*/ 53 w 160"/>
              <a:gd name="T37" fmla="*/ 53 h 155"/>
              <a:gd name="T38" fmla="*/ 148 w 160"/>
              <a:gd name="T39" fmla="*/ 55 h 155"/>
              <a:gd name="T40" fmla="*/ 0 w 160"/>
              <a:gd name="T41" fmla="*/ 41 h 155"/>
              <a:gd name="T42" fmla="*/ 155 w 160"/>
              <a:gd name="T43" fmla="*/ 29 h 155"/>
              <a:gd name="T44" fmla="*/ 154 w 160"/>
              <a:gd name="T45" fmla="*/ 8 h 155"/>
              <a:gd name="T46" fmla="*/ 3 w 160"/>
              <a:gd name="T47" fmla="*/ 4 h 155"/>
              <a:gd name="T48" fmla="*/ 6 w 160"/>
              <a:gd name="T49" fmla="*/ 54 h 155"/>
              <a:gd name="T50" fmla="*/ 157 w 160"/>
              <a:gd name="T51" fmla="*/ 12 h 155"/>
              <a:gd name="T52" fmla="*/ 35 w 160"/>
              <a:gd name="T53" fmla="*/ 79 h 155"/>
              <a:gd name="T54" fmla="*/ 120 w 160"/>
              <a:gd name="T55" fmla="*/ 75 h 155"/>
              <a:gd name="T56" fmla="*/ 125 w 160"/>
              <a:gd name="T57" fmla="*/ 83 h 155"/>
              <a:gd name="T58" fmla="*/ 115 w 160"/>
              <a:gd name="T59" fmla="*/ 83 h 155"/>
              <a:gd name="T60" fmla="*/ 104 w 160"/>
              <a:gd name="T61" fmla="*/ 83 h 155"/>
              <a:gd name="T62" fmla="*/ 93 w 160"/>
              <a:gd name="T63" fmla="*/ 83 h 155"/>
              <a:gd name="T64" fmla="*/ 112 w 160"/>
              <a:gd name="T65" fmla="*/ 101 h 155"/>
              <a:gd name="T66" fmla="*/ 124 w 160"/>
              <a:gd name="T67" fmla="*/ 51 h 155"/>
              <a:gd name="T68" fmla="*/ 158 w 160"/>
              <a:gd name="T69" fmla="*/ 56 h 155"/>
              <a:gd name="T70" fmla="*/ 139 w 160"/>
              <a:gd name="T71" fmla="*/ 53 h 155"/>
              <a:gd name="T72" fmla="*/ 107 w 160"/>
              <a:gd name="T73" fmla="*/ 53 h 155"/>
              <a:gd name="T74" fmla="*/ 139 w 160"/>
              <a:gd name="T75" fmla="*/ 104 h 155"/>
              <a:gd name="T76" fmla="*/ 148 w 160"/>
              <a:gd name="T77" fmla="*/ 101 h 155"/>
              <a:gd name="T78" fmla="*/ 153 w 160"/>
              <a:gd name="T79" fmla="*/ 99 h 155"/>
              <a:gd name="T80" fmla="*/ 112 w 160"/>
              <a:gd name="T81" fmla="*/ 56 h 155"/>
              <a:gd name="T82" fmla="*/ 0 w 160"/>
              <a:gd name="T83" fmla="*/ 67 h 155"/>
              <a:gd name="T84" fmla="*/ 5 w 160"/>
              <a:gd name="T85" fmla="*/ 92 h 155"/>
              <a:gd name="T86" fmla="*/ 6 w 160"/>
              <a:gd name="T87" fmla="*/ 60 h 155"/>
              <a:gd name="T88" fmla="*/ 8 w 160"/>
              <a:gd name="T89" fmla="*/ 103 h 155"/>
              <a:gd name="T90" fmla="*/ 93 w 160"/>
              <a:gd name="T91" fmla="*/ 51 h 155"/>
              <a:gd name="T92" fmla="*/ 155 w 160"/>
              <a:gd name="T93" fmla="*/ 79 h 155"/>
              <a:gd name="T94" fmla="*/ 160 w 160"/>
              <a:gd name="T95" fmla="*/ 66 h 155"/>
              <a:gd name="T96" fmla="*/ 14 w 160"/>
              <a:gd name="T97" fmla="*/ 51 h 155"/>
              <a:gd name="T98" fmla="*/ 0 w 160"/>
              <a:gd name="T99" fmla="*/ 78 h 155"/>
              <a:gd name="T100" fmla="*/ 38 w 160"/>
              <a:gd name="T101" fmla="*/ 107 h 155"/>
              <a:gd name="T102" fmla="*/ 48 w 160"/>
              <a:gd name="T103" fmla="*/ 56 h 155"/>
              <a:gd name="T104" fmla="*/ 71 w 160"/>
              <a:gd name="T105" fmla="*/ 56 h 155"/>
              <a:gd name="T106" fmla="*/ 85 w 160"/>
              <a:gd name="T107" fmla="*/ 53 h 155"/>
              <a:gd name="T108" fmla="*/ 90 w 160"/>
              <a:gd name="T109" fmla="*/ 107 h 155"/>
              <a:gd name="T110" fmla="*/ 23 w 160"/>
              <a:gd name="T111" fmla="*/ 56 h 155"/>
              <a:gd name="T112" fmla="*/ 23 w 160"/>
              <a:gd name="T113" fmla="*/ 56 h 155"/>
              <a:gd name="T114" fmla="*/ 16 w 160"/>
              <a:gd name="T115" fmla="*/ 107 h 155"/>
              <a:gd name="T116" fmla="*/ 25 w 160"/>
              <a:gd name="T117" fmla="*/ 101 h 155"/>
              <a:gd name="T118" fmla="*/ 157 w 160"/>
              <a:gd name="T119" fmla="*/ 144 h 155"/>
              <a:gd name="T120" fmla="*/ 82 w 160"/>
              <a:gd name="T121" fmla="*/ 101 h 155"/>
              <a:gd name="T122" fmla="*/ 85 w 160"/>
              <a:gd name="T123" fmla="*/ 12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 h="155">
                <a:moveTo>
                  <a:pt x="28" y="40"/>
                </a:moveTo>
                <a:cubicBezTo>
                  <a:pt x="35" y="40"/>
                  <a:pt x="40" y="35"/>
                  <a:pt x="40" y="28"/>
                </a:cubicBezTo>
                <a:cubicBezTo>
                  <a:pt x="40" y="21"/>
                  <a:pt x="35" y="16"/>
                  <a:pt x="28" y="16"/>
                </a:cubicBezTo>
                <a:cubicBezTo>
                  <a:pt x="21" y="16"/>
                  <a:pt x="16" y="21"/>
                  <a:pt x="16" y="28"/>
                </a:cubicBezTo>
                <a:cubicBezTo>
                  <a:pt x="16" y="35"/>
                  <a:pt x="21" y="40"/>
                  <a:pt x="28" y="40"/>
                </a:cubicBezTo>
                <a:close/>
                <a:moveTo>
                  <a:pt x="28" y="21"/>
                </a:moveTo>
                <a:cubicBezTo>
                  <a:pt x="32" y="21"/>
                  <a:pt x="35" y="24"/>
                  <a:pt x="35" y="28"/>
                </a:cubicBezTo>
                <a:cubicBezTo>
                  <a:pt x="35" y="32"/>
                  <a:pt x="32" y="35"/>
                  <a:pt x="28" y="35"/>
                </a:cubicBezTo>
                <a:cubicBezTo>
                  <a:pt x="24" y="35"/>
                  <a:pt x="21" y="32"/>
                  <a:pt x="21" y="28"/>
                </a:cubicBezTo>
                <a:cubicBezTo>
                  <a:pt x="21" y="24"/>
                  <a:pt x="24" y="21"/>
                  <a:pt x="28" y="21"/>
                </a:cubicBezTo>
                <a:close/>
                <a:moveTo>
                  <a:pt x="133" y="21"/>
                </a:moveTo>
                <a:cubicBezTo>
                  <a:pt x="135" y="21"/>
                  <a:pt x="136" y="23"/>
                  <a:pt x="136" y="24"/>
                </a:cubicBezTo>
                <a:cubicBezTo>
                  <a:pt x="136" y="25"/>
                  <a:pt x="135" y="27"/>
                  <a:pt x="133" y="27"/>
                </a:cubicBezTo>
                <a:cubicBezTo>
                  <a:pt x="132" y="27"/>
                  <a:pt x="131" y="25"/>
                  <a:pt x="131" y="24"/>
                </a:cubicBezTo>
                <a:cubicBezTo>
                  <a:pt x="131" y="23"/>
                  <a:pt x="132" y="21"/>
                  <a:pt x="133" y="21"/>
                </a:cubicBezTo>
                <a:close/>
                <a:moveTo>
                  <a:pt x="123" y="21"/>
                </a:moveTo>
                <a:cubicBezTo>
                  <a:pt x="124" y="21"/>
                  <a:pt x="125" y="23"/>
                  <a:pt x="125" y="24"/>
                </a:cubicBezTo>
                <a:cubicBezTo>
                  <a:pt x="125" y="25"/>
                  <a:pt x="124" y="27"/>
                  <a:pt x="123" y="27"/>
                </a:cubicBezTo>
                <a:cubicBezTo>
                  <a:pt x="121" y="27"/>
                  <a:pt x="120" y="25"/>
                  <a:pt x="120" y="24"/>
                </a:cubicBezTo>
                <a:cubicBezTo>
                  <a:pt x="120" y="23"/>
                  <a:pt x="121" y="21"/>
                  <a:pt x="123" y="21"/>
                </a:cubicBezTo>
                <a:close/>
                <a:moveTo>
                  <a:pt x="139" y="29"/>
                </a:moveTo>
                <a:cubicBezTo>
                  <a:pt x="140" y="29"/>
                  <a:pt x="141" y="31"/>
                  <a:pt x="141" y="32"/>
                </a:cubicBezTo>
                <a:cubicBezTo>
                  <a:pt x="141" y="33"/>
                  <a:pt x="140" y="35"/>
                  <a:pt x="139" y="35"/>
                </a:cubicBezTo>
                <a:cubicBezTo>
                  <a:pt x="137" y="35"/>
                  <a:pt x="136" y="33"/>
                  <a:pt x="136" y="32"/>
                </a:cubicBezTo>
                <a:cubicBezTo>
                  <a:pt x="136" y="31"/>
                  <a:pt x="137" y="29"/>
                  <a:pt x="139" y="29"/>
                </a:cubicBezTo>
                <a:close/>
                <a:moveTo>
                  <a:pt x="128" y="29"/>
                </a:moveTo>
                <a:cubicBezTo>
                  <a:pt x="129" y="29"/>
                  <a:pt x="131" y="31"/>
                  <a:pt x="131" y="32"/>
                </a:cubicBezTo>
                <a:cubicBezTo>
                  <a:pt x="131" y="33"/>
                  <a:pt x="129" y="35"/>
                  <a:pt x="128" y="35"/>
                </a:cubicBezTo>
                <a:cubicBezTo>
                  <a:pt x="127" y="35"/>
                  <a:pt x="125" y="33"/>
                  <a:pt x="125" y="32"/>
                </a:cubicBezTo>
                <a:cubicBezTo>
                  <a:pt x="125" y="31"/>
                  <a:pt x="127" y="29"/>
                  <a:pt x="128" y="29"/>
                </a:cubicBezTo>
                <a:close/>
                <a:moveTo>
                  <a:pt x="112" y="21"/>
                </a:moveTo>
                <a:cubicBezTo>
                  <a:pt x="113" y="21"/>
                  <a:pt x="115" y="23"/>
                  <a:pt x="115" y="24"/>
                </a:cubicBezTo>
                <a:cubicBezTo>
                  <a:pt x="115" y="25"/>
                  <a:pt x="113" y="27"/>
                  <a:pt x="112" y="27"/>
                </a:cubicBezTo>
                <a:cubicBezTo>
                  <a:pt x="111" y="27"/>
                  <a:pt x="109" y="25"/>
                  <a:pt x="109" y="24"/>
                </a:cubicBezTo>
                <a:cubicBezTo>
                  <a:pt x="109" y="23"/>
                  <a:pt x="111" y="21"/>
                  <a:pt x="112" y="21"/>
                </a:cubicBezTo>
                <a:close/>
                <a:moveTo>
                  <a:pt x="117" y="29"/>
                </a:moveTo>
                <a:cubicBezTo>
                  <a:pt x="119" y="29"/>
                  <a:pt x="120" y="31"/>
                  <a:pt x="120" y="32"/>
                </a:cubicBezTo>
                <a:cubicBezTo>
                  <a:pt x="120" y="33"/>
                  <a:pt x="119" y="35"/>
                  <a:pt x="117" y="35"/>
                </a:cubicBezTo>
                <a:cubicBezTo>
                  <a:pt x="116" y="35"/>
                  <a:pt x="115" y="33"/>
                  <a:pt x="115" y="32"/>
                </a:cubicBezTo>
                <a:cubicBezTo>
                  <a:pt x="115" y="31"/>
                  <a:pt x="116" y="29"/>
                  <a:pt x="117" y="29"/>
                </a:cubicBezTo>
                <a:close/>
                <a:moveTo>
                  <a:pt x="101" y="21"/>
                </a:moveTo>
                <a:cubicBezTo>
                  <a:pt x="103" y="21"/>
                  <a:pt x="104" y="23"/>
                  <a:pt x="104" y="24"/>
                </a:cubicBezTo>
                <a:cubicBezTo>
                  <a:pt x="104" y="25"/>
                  <a:pt x="103" y="27"/>
                  <a:pt x="101" y="27"/>
                </a:cubicBezTo>
                <a:cubicBezTo>
                  <a:pt x="100" y="27"/>
                  <a:pt x="99" y="25"/>
                  <a:pt x="99" y="24"/>
                </a:cubicBezTo>
                <a:cubicBezTo>
                  <a:pt x="99" y="23"/>
                  <a:pt x="100" y="21"/>
                  <a:pt x="101" y="21"/>
                </a:cubicBezTo>
                <a:close/>
                <a:moveTo>
                  <a:pt x="107" y="29"/>
                </a:moveTo>
                <a:cubicBezTo>
                  <a:pt x="108" y="29"/>
                  <a:pt x="109" y="31"/>
                  <a:pt x="109" y="32"/>
                </a:cubicBezTo>
                <a:cubicBezTo>
                  <a:pt x="109" y="33"/>
                  <a:pt x="108" y="35"/>
                  <a:pt x="107" y="35"/>
                </a:cubicBezTo>
                <a:cubicBezTo>
                  <a:pt x="105" y="35"/>
                  <a:pt x="104" y="33"/>
                  <a:pt x="104" y="32"/>
                </a:cubicBezTo>
                <a:cubicBezTo>
                  <a:pt x="104" y="31"/>
                  <a:pt x="105" y="29"/>
                  <a:pt x="107" y="29"/>
                </a:cubicBezTo>
                <a:close/>
                <a:moveTo>
                  <a:pt x="91" y="21"/>
                </a:moveTo>
                <a:cubicBezTo>
                  <a:pt x="92" y="21"/>
                  <a:pt x="93" y="23"/>
                  <a:pt x="93" y="24"/>
                </a:cubicBezTo>
                <a:cubicBezTo>
                  <a:pt x="93" y="25"/>
                  <a:pt x="92" y="27"/>
                  <a:pt x="91" y="27"/>
                </a:cubicBezTo>
                <a:cubicBezTo>
                  <a:pt x="89" y="27"/>
                  <a:pt x="88" y="25"/>
                  <a:pt x="88" y="24"/>
                </a:cubicBezTo>
                <a:cubicBezTo>
                  <a:pt x="88" y="23"/>
                  <a:pt x="89" y="21"/>
                  <a:pt x="91" y="21"/>
                </a:cubicBezTo>
                <a:close/>
                <a:moveTo>
                  <a:pt x="96" y="29"/>
                </a:moveTo>
                <a:cubicBezTo>
                  <a:pt x="97" y="29"/>
                  <a:pt x="99" y="31"/>
                  <a:pt x="99" y="32"/>
                </a:cubicBezTo>
                <a:cubicBezTo>
                  <a:pt x="99" y="33"/>
                  <a:pt x="97" y="35"/>
                  <a:pt x="96" y="35"/>
                </a:cubicBezTo>
                <a:cubicBezTo>
                  <a:pt x="95" y="35"/>
                  <a:pt x="93" y="33"/>
                  <a:pt x="93" y="32"/>
                </a:cubicBezTo>
                <a:cubicBezTo>
                  <a:pt x="93" y="31"/>
                  <a:pt x="95" y="29"/>
                  <a:pt x="96" y="29"/>
                </a:cubicBezTo>
                <a:close/>
                <a:moveTo>
                  <a:pt x="42" y="3"/>
                </a:moveTo>
                <a:cubicBezTo>
                  <a:pt x="42" y="1"/>
                  <a:pt x="44" y="0"/>
                  <a:pt x="45" y="0"/>
                </a:cubicBezTo>
                <a:cubicBezTo>
                  <a:pt x="48" y="0"/>
                  <a:pt x="48" y="0"/>
                  <a:pt x="48" y="0"/>
                </a:cubicBezTo>
                <a:cubicBezTo>
                  <a:pt x="49" y="0"/>
                  <a:pt x="50" y="1"/>
                  <a:pt x="50" y="3"/>
                </a:cubicBezTo>
                <a:cubicBezTo>
                  <a:pt x="50" y="4"/>
                  <a:pt x="49" y="5"/>
                  <a:pt x="48" y="5"/>
                </a:cubicBezTo>
                <a:cubicBezTo>
                  <a:pt x="45" y="5"/>
                  <a:pt x="45" y="5"/>
                  <a:pt x="45" y="5"/>
                </a:cubicBezTo>
                <a:cubicBezTo>
                  <a:pt x="44" y="5"/>
                  <a:pt x="42" y="4"/>
                  <a:pt x="42" y="3"/>
                </a:cubicBezTo>
                <a:close/>
                <a:moveTo>
                  <a:pt x="21" y="3"/>
                </a:moveTo>
                <a:cubicBezTo>
                  <a:pt x="21" y="1"/>
                  <a:pt x="22" y="0"/>
                  <a:pt x="23" y="0"/>
                </a:cubicBezTo>
                <a:cubicBezTo>
                  <a:pt x="26" y="0"/>
                  <a:pt x="26" y="0"/>
                  <a:pt x="26" y="0"/>
                </a:cubicBezTo>
                <a:cubicBezTo>
                  <a:pt x="27" y="0"/>
                  <a:pt x="29" y="1"/>
                  <a:pt x="29" y="3"/>
                </a:cubicBezTo>
                <a:cubicBezTo>
                  <a:pt x="29" y="4"/>
                  <a:pt x="27" y="5"/>
                  <a:pt x="26" y="5"/>
                </a:cubicBezTo>
                <a:cubicBezTo>
                  <a:pt x="23" y="5"/>
                  <a:pt x="23" y="5"/>
                  <a:pt x="23" y="5"/>
                </a:cubicBezTo>
                <a:cubicBezTo>
                  <a:pt x="22" y="5"/>
                  <a:pt x="21" y="4"/>
                  <a:pt x="21" y="3"/>
                </a:cubicBezTo>
                <a:close/>
                <a:moveTo>
                  <a:pt x="38" y="51"/>
                </a:moveTo>
                <a:cubicBezTo>
                  <a:pt x="40" y="51"/>
                  <a:pt x="41" y="52"/>
                  <a:pt x="41" y="53"/>
                </a:cubicBezTo>
                <a:cubicBezTo>
                  <a:pt x="41" y="55"/>
                  <a:pt x="40" y="56"/>
                  <a:pt x="38" y="56"/>
                </a:cubicBezTo>
                <a:cubicBezTo>
                  <a:pt x="37" y="56"/>
                  <a:pt x="37" y="56"/>
                  <a:pt x="37" y="56"/>
                </a:cubicBezTo>
                <a:cubicBezTo>
                  <a:pt x="36" y="56"/>
                  <a:pt x="36" y="56"/>
                  <a:pt x="36" y="56"/>
                </a:cubicBezTo>
                <a:cubicBezTo>
                  <a:pt x="34" y="56"/>
                  <a:pt x="34" y="56"/>
                  <a:pt x="34" y="56"/>
                </a:cubicBezTo>
                <a:cubicBezTo>
                  <a:pt x="33" y="56"/>
                  <a:pt x="31" y="55"/>
                  <a:pt x="31" y="53"/>
                </a:cubicBezTo>
                <a:cubicBezTo>
                  <a:pt x="31" y="52"/>
                  <a:pt x="33" y="51"/>
                  <a:pt x="34" y="51"/>
                </a:cubicBezTo>
                <a:cubicBezTo>
                  <a:pt x="36" y="51"/>
                  <a:pt x="36" y="51"/>
                  <a:pt x="36" y="51"/>
                </a:cubicBezTo>
                <a:cubicBezTo>
                  <a:pt x="37" y="51"/>
                  <a:pt x="37" y="51"/>
                  <a:pt x="37" y="51"/>
                </a:cubicBezTo>
                <a:lnTo>
                  <a:pt x="38" y="51"/>
                </a:lnTo>
                <a:close/>
                <a:moveTo>
                  <a:pt x="31" y="3"/>
                </a:moveTo>
                <a:cubicBezTo>
                  <a:pt x="31" y="1"/>
                  <a:pt x="33" y="0"/>
                  <a:pt x="34" y="0"/>
                </a:cubicBezTo>
                <a:cubicBezTo>
                  <a:pt x="37" y="0"/>
                  <a:pt x="37" y="0"/>
                  <a:pt x="37" y="0"/>
                </a:cubicBezTo>
                <a:cubicBezTo>
                  <a:pt x="38" y="0"/>
                  <a:pt x="40" y="1"/>
                  <a:pt x="40" y="3"/>
                </a:cubicBezTo>
                <a:cubicBezTo>
                  <a:pt x="40" y="4"/>
                  <a:pt x="38" y="5"/>
                  <a:pt x="37" y="5"/>
                </a:cubicBezTo>
                <a:cubicBezTo>
                  <a:pt x="34" y="5"/>
                  <a:pt x="34" y="5"/>
                  <a:pt x="34" y="5"/>
                </a:cubicBezTo>
                <a:cubicBezTo>
                  <a:pt x="33" y="5"/>
                  <a:pt x="31" y="4"/>
                  <a:pt x="31" y="3"/>
                </a:cubicBezTo>
                <a:close/>
                <a:moveTo>
                  <a:pt x="53" y="3"/>
                </a:moveTo>
                <a:cubicBezTo>
                  <a:pt x="53" y="1"/>
                  <a:pt x="55" y="0"/>
                  <a:pt x="56" y="0"/>
                </a:cubicBezTo>
                <a:cubicBezTo>
                  <a:pt x="59" y="0"/>
                  <a:pt x="59" y="0"/>
                  <a:pt x="59" y="0"/>
                </a:cubicBezTo>
                <a:cubicBezTo>
                  <a:pt x="60" y="0"/>
                  <a:pt x="61" y="1"/>
                  <a:pt x="61" y="3"/>
                </a:cubicBezTo>
                <a:cubicBezTo>
                  <a:pt x="61" y="4"/>
                  <a:pt x="60" y="5"/>
                  <a:pt x="59" y="5"/>
                </a:cubicBezTo>
                <a:cubicBezTo>
                  <a:pt x="56" y="5"/>
                  <a:pt x="56" y="5"/>
                  <a:pt x="56" y="5"/>
                </a:cubicBezTo>
                <a:cubicBezTo>
                  <a:pt x="55" y="5"/>
                  <a:pt x="53" y="4"/>
                  <a:pt x="53" y="3"/>
                </a:cubicBezTo>
                <a:close/>
                <a:moveTo>
                  <a:pt x="108" y="3"/>
                </a:moveTo>
                <a:cubicBezTo>
                  <a:pt x="108" y="1"/>
                  <a:pt x="109" y="0"/>
                  <a:pt x="111" y="0"/>
                </a:cubicBezTo>
                <a:cubicBezTo>
                  <a:pt x="113" y="0"/>
                  <a:pt x="113" y="0"/>
                  <a:pt x="113" y="0"/>
                </a:cubicBezTo>
                <a:cubicBezTo>
                  <a:pt x="115" y="0"/>
                  <a:pt x="116" y="1"/>
                  <a:pt x="116" y="3"/>
                </a:cubicBezTo>
                <a:cubicBezTo>
                  <a:pt x="116" y="4"/>
                  <a:pt x="115" y="5"/>
                  <a:pt x="113" y="5"/>
                </a:cubicBezTo>
                <a:cubicBezTo>
                  <a:pt x="111" y="5"/>
                  <a:pt x="111" y="5"/>
                  <a:pt x="111" y="5"/>
                </a:cubicBezTo>
                <a:cubicBezTo>
                  <a:pt x="109" y="5"/>
                  <a:pt x="108" y="4"/>
                  <a:pt x="108" y="3"/>
                </a:cubicBezTo>
                <a:close/>
                <a:moveTo>
                  <a:pt x="97" y="3"/>
                </a:moveTo>
                <a:cubicBezTo>
                  <a:pt x="97" y="1"/>
                  <a:pt x="98" y="0"/>
                  <a:pt x="100" y="0"/>
                </a:cubicBezTo>
                <a:cubicBezTo>
                  <a:pt x="103" y="0"/>
                  <a:pt x="103" y="0"/>
                  <a:pt x="103" y="0"/>
                </a:cubicBezTo>
                <a:cubicBezTo>
                  <a:pt x="104" y="0"/>
                  <a:pt x="105" y="1"/>
                  <a:pt x="105" y="3"/>
                </a:cubicBezTo>
                <a:cubicBezTo>
                  <a:pt x="105" y="4"/>
                  <a:pt x="104" y="5"/>
                  <a:pt x="103" y="5"/>
                </a:cubicBezTo>
                <a:cubicBezTo>
                  <a:pt x="100" y="5"/>
                  <a:pt x="100" y="5"/>
                  <a:pt x="100" y="5"/>
                </a:cubicBezTo>
                <a:cubicBezTo>
                  <a:pt x="98" y="5"/>
                  <a:pt x="97" y="4"/>
                  <a:pt x="97" y="3"/>
                </a:cubicBezTo>
                <a:close/>
                <a:moveTo>
                  <a:pt x="130" y="3"/>
                </a:moveTo>
                <a:cubicBezTo>
                  <a:pt x="130" y="1"/>
                  <a:pt x="131" y="0"/>
                  <a:pt x="133" y="0"/>
                </a:cubicBezTo>
                <a:cubicBezTo>
                  <a:pt x="135" y="0"/>
                  <a:pt x="135" y="0"/>
                  <a:pt x="135" y="0"/>
                </a:cubicBezTo>
                <a:cubicBezTo>
                  <a:pt x="137" y="0"/>
                  <a:pt x="138" y="1"/>
                  <a:pt x="138" y="3"/>
                </a:cubicBezTo>
                <a:cubicBezTo>
                  <a:pt x="138" y="4"/>
                  <a:pt x="137" y="5"/>
                  <a:pt x="135" y="5"/>
                </a:cubicBezTo>
                <a:cubicBezTo>
                  <a:pt x="133" y="5"/>
                  <a:pt x="133" y="5"/>
                  <a:pt x="133" y="5"/>
                </a:cubicBezTo>
                <a:cubicBezTo>
                  <a:pt x="131" y="5"/>
                  <a:pt x="130" y="4"/>
                  <a:pt x="130" y="3"/>
                </a:cubicBezTo>
                <a:close/>
                <a:moveTo>
                  <a:pt x="141" y="3"/>
                </a:moveTo>
                <a:cubicBezTo>
                  <a:pt x="141" y="1"/>
                  <a:pt x="142" y="0"/>
                  <a:pt x="144" y="0"/>
                </a:cubicBezTo>
                <a:cubicBezTo>
                  <a:pt x="146" y="0"/>
                  <a:pt x="146" y="0"/>
                  <a:pt x="146" y="0"/>
                </a:cubicBezTo>
                <a:cubicBezTo>
                  <a:pt x="148" y="0"/>
                  <a:pt x="149" y="1"/>
                  <a:pt x="149" y="3"/>
                </a:cubicBezTo>
                <a:cubicBezTo>
                  <a:pt x="149" y="4"/>
                  <a:pt x="148" y="5"/>
                  <a:pt x="146" y="5"/>
                </a:cubicBezTo>
                <a:cubicBezTo>
                  <a:pt x="144" y="5"/>
                  <a:pt x="144" y="5"/>
                  <a:pt x="144" y="5"/>
                </a:cubicBezTo>
                <a:cubicBezTo>
                  <a:pt x="142" y="5"/>
                  <a:pt x="141" y="4"/>
                  <a:pt x="141" y="3"/>
                </a:cubicBezTo>
                <a:close/>
                <a:moveTo>
                  <a:pt x="86" y="3"/>
                </a:moveTo>
                <a:cubicBezTo>
                  <a:pt x="86" y="1"/>
                  <a:pt x="87" y="0"/>
                  <a:pt x="89" y="0"/>
                </a:cubicBezTo>
                <a:cubicBezTo>
                  <a:pt x="92" y="0"/>
                  <a:pt x="92" y="0"/>
                  <a:pt x="92" y="0"/>
                </a:cubicBezTo>
                <a:cubicBezTo>
                  <a:pt x="93" y="0"/>
                  <a:pt x="94" y="1"/>
                  <a:pt x="94" y="3"/>
                </a:cubicBezTo>
                <a:cubicBezTo>
                  <a:pt x="94" y="4"/>
                  <a:pt x="93" y="5"/>
                  <a:pt x="92" y="5"/>
                </a:cubicBezTo>
                <a:cubicBezTo>
                  <a:pt x="89" y="5"/>
                  <a:pt x="89" y="5"/>
                  <a:pt x="89" y="5"/>
                </a:cubicBezTo>
                <a:cubicBezTo>
                  <a:pt x="87" y="5"/>
                  <a:pt x="86" y="4"/>
                  <a:pt x="86" y="3"/>
                </a:cubicBezTo>
                <a:close/>
                <a:moveTo>
                  <a:pt x="64" y="3"/>
                </a:moveTo>
                <a:cubicBezTo>
                  <a:pt x="64" y="1"/>
                  <a:pt x="65" y="0"/>
                  <a:pt x="67" y="0"/>
                </a:cubicBezTo>
                <a:cubicBezTo>
                  <a:pt x="70" y="0"/>
                  <a:pt x="70" y="0"/>
                  <a:pt x="70" y="0"/>
                </a:cubicBezTo>
                <a:cubicBezTo>
                  <a:pt x="71" y="0"/>
                  <a:pt x="72" y="1"/>
                  <a:pt x="72" y="3"/>
                </a:cubicBezTo>
                <a:cubicBezTo>
                  <a:pt x="72" y="4"/>
                  <a:pt x="71" y="5"/>
                  <a:pt x="70" y="5"/>
                </a:cubicBezTo>
                <a:cubicBezTo>
                  <a:pt x="67" y="5"/>
                  <a:pt x="67" y="5"/>
                  <a:pt x="67" y="5"/>
                </a:cubicBezTo>
                <a:cubicBezTo>
                  <a:pt x="65" y="5"/>
                  <a:pt x="64" y="4"/>
                  <a:pt x="64" y="3"/>
                </a:cubicBezTo>
                <a:close/>
                <a:moveTo>
                  <a:pt x="75" y="3"/>
                </a:moveTo>
                <a:cubicBezTo>
                  <a:pt x="75" y="1"/>
                  <a:pt x="76" y="0"/>
                  <a:pt x="78" y="0"/>
                </a:cubicBezTo>
                <a:cubicBezTo>
                  <a:pt x="81" y="0"/>
                  <a:pt x="81" y="0"/>
                  <a:pt x="81" y="0"/>
                </a:cubicBezTo>
                <a:cubicBezTo>
                  <a:pt x="82" y="0"/>
                  <a:pt x="83" y="1"/>
                  <a:pt x="83" y="3"/>
                </a:cubicBezTo>
                <a:cubicBezTo>
                  <a:pt x="83" y="4"/>
                  <a:pt x="82" y="5"/>
                  <a:pt x="81" y="5"/>
                </a:cubicBezTo>
                <a:cubicBezTo>
                  <a:pt x="78" y="5"/>
                  <a:pt x="78" y="5"/>
                  <a:pt x="78" y="5"/>
                </a:cubicBezTo>
                <a:cubicBezTo>
                  <a:pt x="76" y="5"/>
                  <a:pt x="75" y="4"/>
                  <a:pt x="75" y="3"/>
                </a:cubicBezTo>
                <a:close/>
                <a:moveTo>
                  <a:pt x="119" y="3"/>
                </a:moveTo>
                <a:cubicBezTo>
                  <a:pt x="119" y="1"/>
                  <a:pt x="120" y="0"/>
                  <a:pt x="122" y="0"/>
                </a:cubicBezTo>
                <a:cubicBezTo>
                  <a:pt x="124" y="0"/>
                  <a:pt x="124" y="0"/>
                  <a:pt x="124" y="0"/>
                </a:cubicBezTo>
                <a:cubicBezTo>
                  <a:pt x="126" y="0"/>
                  <a:pt x="127" y="1"/>
                  <a:pt x="127" y="3"/>
                </a:cubicBezTo>
                <a:cubicBezTo>
                  <a:pt x="127" y="4"/>
                  <a:pt x="126" y="5"/>
                  <a:pt x="124" y="5"/>
                </a:cubicBezTo>
                <a:cubicBezTo>
                  <a:pt x="122" y="5"/>
                  <a:pt x="122" y="5"/>
                  <a:pt x="122" y="5"/>
                </a:cubicBezTo>
                <a:cubicBezTo>
                  <a:pt x="120" y="5"/>
                  <a:pt x="119" y="4"/>
                  <a:pt x="119" y="3"/>
                </a:cubicBezTo>
                <a:close/>
                <a:moveTo>
                  <a:pt x="10" y="3"/>
                </a:moveTo>
                <a:cubicBezTo>
                  <a:pt x="10" y="1"/>
                  <a:pt x="11" y="0"/>
                  <a:pt x="12" y="0"/>
                </a:cubicBezTo>
                <a:cubicBezTo>
                  <a:pt x="15" y="0"/>
                  <a:pt x="15" y="0"/>
                  <a:pt x="15" y="0"/>
                </a:cubicBezTo>
                <a:cubicBezTo>
                  <a:pt x="16" y="0"/>
                  <a:pt x="18" y="1"/>
                  <a:pt x="18" y="3"/>
                </a:cubicBezTo>
                <a:cubicBezTo>
                  <a:pt x="18" y="4"/>
                  <a:pt x="16" y="5"/>
                  <a:pt x="15" y="5"/>
                </a:cubicBezTo>
                <a:cubicBezTo>
                  <a:pt x="12" y="5"/>
                  <a:pt x="12" y="5"/>
                  <a:pt x="12" y="5"/>
                </a:cubicBezTo>
                <a:cubicBezTo>
                  <a:pt x="11" y="5"/>
                  <a:pt x="10" y="4"/>
                  <a:pt x="10" y="3"/>
                </a:cubicBezTo>
                <a:close/>
                <a:moveTo>
                  <a:pt x="153" y="48"/>
                </a:moveTo>
                <a:cubicBezTo>
                  <a:pt x="153" y="48"/>
                  <a:pt x="154" y="47"/>
                  <a:pt x="154" y="47"/>
                </a:cubicBezTo>
                <a:cubicBezTo>
                  <a:pt x="155" y="45"/>
                  <a:pt x="156" y="45"/>
                  <a:pt x="158" y="45"/>
                </a:cubicBezTo>
                <a:cubicBezTo>
                  <a:pt x="159" y="46"/>
                  <a:pt x="160" y="47"/>
                  <a:pt x="159" y="49"/>
                </a:cubicBezTo>
                <a:cubicBezTo>
                  <a:pt x="158" y="50"/>
                  <a:pt x="158" y="51"/>
                  <a:pt x="157" y="52"/>
                </a:cubicBezTo>
                <a:cubicBezTo>
                  <a:pt x="157" y="52"/>
                  <a:pt x="156" y="53"/>
                  <a:pt x="155" y="53"/>
                </a:cubicBezTo>
                <a:cubicBezTo>
                  <a:pt x="154" y="53"/>
                  <a:pt x="154" y="52"/>
                  <a:pt x="153" y="52"/>
                </a:cubicBezTo>
                <a:cubicBezTo>
                  <a:pt x="152" y="51"/>
                  <a:pt x="152" y="49"/>
                  <a:pt x="153" y="48"/>
                </a:cubicBezTo>
                <a:close/>
                <a:moveTo>
                  <a:pt x="0" y="19"/>
                </a:moveTo>
                <a:cubicBezTo>
                  <a:pt x="0" y="16"/>
                  <a:pt x="0" y="16"/>
                  <a:pt x="0" y="16"/>
                </a:cubicBezTo>
                <a:cubicBezTo>
                  <a:pt x="0" y="15"/>
                  <a:pt x="1" y="14"/>
                  <a:pt x="3" y="14"/>
                </a:cubicBezTo>
                <a:cubicBezTo>
                  <a:pt x="4" y="14"/>
                  <a:pt x="5" y="15"/>
                  <a:pt x="5" y="16"/>
                </a:cubicBezTo>
                <a:cubicBezTo>
                  <a:pt x="5" y="19"/>
                  <a:pt x="5" y="19"/>
                  <a:pt x="5" y="19"/>
                </a:cubicBezTo>
                <a:cubicBezTo>
                  <a:pt x="5" y="21"/>
                  <a:pt x="4" y="22"/>
                  <a:pt x="3" y="22"/>
                </a:cubicBezTo>
                <a:cubicBezTo>
                  <a:pt x="1" y="22"/>
                  <a:pt x="0" y="21"/>
                  <a:pt x="0" y="19"/>
                </a:cubicBezTo>
                <a:close/>
                <a:moveTo>
                  <a:pt x="0" y="30"/>
                </a:moveTo>
                <a:cubicBezTo>
                  <a:pt x="0" y="27"/>
                  <a:pt x="0" y="27"/>
                  <a:pt x="0" y="27"/>
                </a:cubicBezTo>
                <a:cubicBezTo>
                  <a:pt x="0" y="26"/>
                  <a:pt x="1" y="25"/>
                  <a:pt x="3" y="25"/>
                </a:cubicBezTo>
                <a:cubicBezTo>
                  <a:pt x="4" y="25"/>
                  <a:pt x="5" y="26"/>
                  <a:pt x="5" y="27"/>
                </a:cubicBezTo>
                <a:cubicBezTo>
                  <a:pt x="5" y="30"/>
                  <a:pt x="5" y="30"/>
                  <a:pt x="5" y="30"/>
                </a:cubicBezTo>
                <a:cubicBezTo>
                  <a:pt x="5" y="32"/>
                  <a:pt x="4" y="33"/>
                  <a:pt x="3" y="33"/>
                </a:cubicBezTo>
                <a:cubicBezTo>
                  <a:pt x="1" y="33"/>
                  <a:pt x="0" y="32"/>
                  <a:pt x="0" y="30"/>
                </a:cubicBezTo>
                <a:close/>
                <a:moveTo>
                  <a:pt x="63" y="53"/>
                </a:moveTo>
                <a:cubicBezTo>
                  <a:pt x="63" y="55"/>
                  <a:pt x="62" y="56"/>
                  <a:pt x="60" y="56"/>
                </a:cubicBezTo>
                <a:cubicBezTo>
                  <a:pt x="59" y="56"/>
                  <a:pt x="59" y="56"/>
                  <a:pt x="59" y="56"/>
                </a:cubicBezTo>
                <a:cubicBezTo>
                  <a:pt x="57" y="56"/>
                  <a:pt x="57" y="56"/>
                  <a:pt x="57" y="56"/>
                </a:cubicBezTo>
                <a:cubicBezTo>
                  <a:pt x="56" y="56"/>
                  <a:pt x="56" y="56"/>
                  <a:pt x="56" y="56"/>
                </a:cubicBezTo>
                <a:cubicBezTo>
                  <a:pt x="55" y="56"/>
                  <a:pt x="53" y="55"/>
                  <a:pt x="53" y="53"/>
                </a:cubicBezTo>
                <a:cubicBezTo>
                  <a:pt x="53" y="52"/>
                  <a:pt x="55" y="51"/>
                  <a:pt x="56" y="51"/>
                </a:cubicBezTo>
                <a:cubicBezTo>
                  <a:pt x="57" y="51"/>
                  <a:pt x="57" y="51"/>
                  <a:pt x="57" y="51"/>
                </a:cubicBezTo>
                <a:cubicBezTo>
                  <a:pt x="59" y="51"/>
                  <a:pt x="59" y="51"/>
                  <a:pt x="59" y="51"/>
                </a:cubicBezTo>
                <a:cubicBezTo>
                  <a:pt x="60" y="51"/>
                  <a:pt x="60" y="51"/>
                  <a:pt x="60" y="51"/>
                </a:cubicBezTo>
                <a:cubicBezTo>
                  <a:pt x="62" y="51"/>
                  <a:pt x="63" y="52"/>
                  <a:pt x="63" y="53"/>
                </a:cubicBezTo>
                <a:close/>
                <a:moveTo>
                  <a:pt x="146" y="51"/>
                </a:moveTo>
                <a:cubicBezTo>
                  <a:pt x="148" y="51"/>
                  <a:pt x="148" y="51"/>
                  <a:pt x="148" y="51"/>
                </a:cubicBezTo>
                <a:cubicBezTo>
                  <a:pt x="149" y="51"/>
                  <a:pt x="150" y="52"/>
                  <a:pt x="150" y="53"/>
                </a:cubicBezTo>
                <a:cubicBezTo>
                  <a:pt x="150" y="55"/>
                  <a:pt x="149" y="56"/>
                  <a:pt x="148" y="56"/>
                </a:cubicBezTo>
                <a:cubicBezTo>
                  <a:pt x="148" y="55"/>
                  <a:pt x="148" y="55"/>
                  <a:pt x="148" y="55"/>
                </a:cubicBezTo>
                <a:cubicBezTo>
                  <a:pt x="148" y="55"/>
                  <a:pt x="148" y="55"/>
                  <a:pt x="148" y="55"/>
                </a:cubicBezTo>
                <a:cubicBezTo>
                  <a:pt x="148" y="56"/>
                  <a:pt x="148" y="56"/>
                  <a:pt x="148" y="56"/>
                </a:cubicBezTo>
                <a:cubicBezTo>
                  <a:pt x="146" y="56"/>
                  <a:pt x="146" y="56"/>
                  <a:pt x="146" y="56"/>
                </a:cubicBezTo>
                <a:cubicBezTo>
                  <a:pt x="146" y="56"/>
                  <a:pt x="146" y="56"/>
                  <a:pt x="146" y="56"/>
                </a:cubicBezTo>
                <a:cubicBezTo>
                  <a:pt x="144" y="56"/>
                  <a:pt x="144" y="56"/>
                  <a:pt x="144" y="56"/>
                </a:cubicBezTo>
                <a:cubicBezTo>
                  <a:pt x="142" y="56"/>
                  <a:pt x="141" y="55"/>
                  <a:pt x="141" y="53"/>
                </a:cubicBezTo>
                <a:cubicBezTo>
                  <a:pt x="141" y="52"/>
                  <a:pt x="142" y="51"/>
                  <a:pt x="144" y="51"/>
                </a:cubicBezTo>
                <a:cubicBezTo>
                  <a:pt x="145" y="51"/>
                  <a:pt x="145" y="51"/>
                  <a:pt x="145" y="51"/>
                </a:cubicBezTo>
                <a:cubicBezTo>
                  <a:pt x="146" y="51"/>
                  <a:pt x="146" y="51"/>
                  <a:pt x="146" y="51"/>
                </a:cubicBezTo>
                <a:close/>
                <a:moveTo>
                  <a:pt x="0" y="41"/>
                </a:moveTo>
                <a:cubicBezTo>
                  <a:pt x="0" y="38"/>
                  <a:pt x="0" y="38"/>
                  <a:pt x="0" y="38"/>
                </a:cubicBezTo>
                <a:cubicBezTo>
                  <a:pt x="0" y="37"/>
                  <a:pt x="1" y="36"/>
                  <a:pt x="3" y="36"/>
                </a:cubicBezTo>
                <a:cubicBezTo>
                  <a:pt x="4" y="36"/>
                  <a:pt x="5" y="37"/>
                  <a:pt x="5" y="38"/>
                </a:cubicBezTo>
                <a:cubicBezTo>
                  <a:pt x="5" y="41"/>
                  <a:pt x="5" y="41"/>
                  <a:pt x="5" y="41"/>
                </a:cubicBezTo>
                <a:cubicBezTo>
                  <a:pt x="5" y="42"/>
                  <a:pt x="4" y="44"/>
                  <a:pt x="3" y="44"/>
                </a:cubicBezTo>
                <a:cubicBezTo>
                  <a:pt x="1" y="44"/>
                  <a:pt x="0" y="42"/>
                  <a:pt x="0" y="41"/>
                </a:cubicBezTo>
                <a:close/>
                <a:moveTo>
                  <a:pt x="160" y="26"/>
                </a:moveTo>
                <a:cubicBezTo>
                  <a:pt x="160" y="29"/>
                  <a:pt x="160" y="29"/>
                  <a:pt x="160" y="29"/>
                </a:cubicBezTo>
                <a:cubicBezTo>
                  <a:pt x="160" y="30"/>
                  <a:pt x="159" y="31"/>
                  <a:pt x="157" y="31"/>
                </a:cubicBezTo>
                <a:cubicBezTo>
                  <a:pt x="156" y="31"/>
                  <a:pt x="155" y="30"/>
                  <a:pt x="155" y="29"/>
                </a:cubicBezTo>
                <a:cubicBezTo>
                  <a:pt x="155" y="26"/>
                  <a:pt x="155" y="26"/>
                  <a:pt x="155" y="26"/>
                </a:cubicBezTo>
                <a:cubicBezTo>
                  <a:pt x="155" y="24"/>
                  <a:pt x="156" y="23"/>
                  <a:pt x="157" y="23"/>
                </a:cubicBezTo>
                <a:cubicBezTo>
                  <a:pt x="159" y="23"/>
                  <a:pt x="160" y="24"/>
                  <a:pt x="160" y="26"/>
                </a:cubicBezTo>
                <a:close/>
                <a:moveTo>
                  <a:pt x="152" y="7"/>
                </a:moveTo>
                <a:cubicBezTo>
                  <a:pt x="151" y="6"/>
                  <a:pt x="151" y="4"/>
                  <a:pt x="152" y="3"/>
                </a:cubicBezTo>
                <a:cubicBezTo>
                  <a:pt x="153" y="2"/>
                  <a:pt x="155" y="2"/>
                  <a:pt x="156" y="3"/>
                </a:cubicBezTo>
                <a:cubicBezTo>
                  <a:pt x="157" y="4"/>
                  <a:pt x="157" y="5"/>
                  <a:pt x="158" y="6"/>
                </a:cubicBezTo>
                <a:cubicBezTo>
                  <a:pt x="159" y="7"/>
                  <a:pt x="158" y="8"/>
                  <a:pt x="157" y="9"/>
                </a:cubicBezTo>
                <a:cubicBezTo>
                  <a:pt x="157" y="10"/>
                  <a:pt x="156" y="10"/>
                  <a:pt x="156" y="10"/>
                </a:cubicBezTo>
                <a:cubicBezTo>
                  <a:pt x="155" y="10"/>
                  <a:pt x="154" y="9"/>
                  <a:pt x="154" y="8"/>
                </a:cubicBezTo>
                <a:cubicBezTo>
                  <a:pt x="153" y="8"/>
                  <a:pt x="153" y="7"/>
                  <a:pt x="152" y="7"/>
                </a:cubicBezTo>
                <a:close/>
                <a:moveTo>
                  <a:pt x="160" y="37"/>
                </a:moveTo>
                <a:cubicBezTo>
                  <a:pt x="160" y="40"/>
                  <a:pt x="160" y="40"/>
                  <a:pt x="160" y="40"/>
                </a:cubicBezTo>
                <a:cubicBezTo>
                  <a:pt x="160" y="41"/>
                  <a:pt x="159" y="42"/>
                  <a:pt x="157" y="42"/>
                </a:cubicBezTo>
                <a:cubicBezTo>
                  <a:pt x="156" y="42"/>
                  <a:pt x="155" y="41"/>
                  <a:pt x="155" y="40"/>
                </a:cubicBezTo>
                <a:cubicBezTo>
                  <a:pt x="155" y="37"/>
                  <a:pt x="155" y="37"/>
                  <a:pt x="155" y="37"/>
                </a:cubicBezTo>
                <a:cubicBezTo>
                  <a:pt x="155" y="35"/>
                  <a:pt x="156" y="34"/>
                  <a:pt x="157" y="34"/>
                </a:cubicBezTo>
                <a:cubicBezTo>
                  <a:pt x="159" y="34"/>
                  <a:pt x="160" y="35"/>
                  <a:pt x="160" y="37"/>
                </a:cubicBezTo>
                <a:close/>
                <a:moveTo>
                  <a:pt x="1" y="7"/>
                </a:moveTo>
                <a:cubicBezTo>
                  <a:pt x="2" y="6"/>
                  <a:pt x="2" y="5"/>
                  <a:pt x="3" y="4"/>
                </a:cubicBezTo>
                <a:cubicBezTo>
                  <a:pt x="4" y="3"/>
                  <a:pt x="6" y="3"/>
                  <a:pt x="7" y="4"/>
                </a:cubicBezTo>
                <a:cubicBezTo>
                  <a:pt x="8" y="5"/>
                  <a:pt x="8" y="7"/>
                  <a:pt x="7" y="8"/>
                </a:cubicBezTo>
                <a:cubicBezTo>
                  <a:pt x="7" y="8"/>
                  <a:pt x="6" y="9"/>
                  <a:pt x="6" y="9"/>
                </a:cubicBezTo>
                <a:cubicBezTo>
                  <a:pt x="6" y="10"/>
                  <a:pt x="5" y="11"/>
                  <a:pt x="4" y="11"/>
                </a:cubicBezTo>
                <a:cubicBezTo>
                  <a:pt x="3" y="11"/>
                  <a:pt x="3" y="11"/>
                  <a:pt x="2" y="11"/>
                </a:cubicBezTo>
                <a:cubicBezTo>
                  <a:pt x="1" y="10"/>
                  <a:pt x="0" y="9"/>
                  <a:pt x="1" y="7"/>
                </a:cubicBezTo>
                <a:close/>
                <a:moveTo>
                  <a:pt x="6" y="47"/>
                </a:moveTo>
                <a:cubicBezTo>
                  <a:pt x="7" y="48"/>
                  <a:pt x="7" y="49"/>
                  <a:pt x="8" y="49"/>
                </a:cubicBezTo>
                <a:cubicBezTo>
                  <a:pt x="9" y="50"/>
                  <a:pt x="9" y="52"/>
                  <a:pt x="8" y="53"/>
                </a:cubicBezTo>
                <a:cubicBezTo>
                  <a:pt x="7" y="53"/>
                  <a:pt x="7" y="54"/>
                  <a:pt x="6" y="54"/>
                </a:cubicBezTo>
                <a:cubicBezTo>
                  <a:pt x="5" y="54"/>
                  <a:pt x="5" y="53"/>
                  <a:pt x="4" y="53"/>
                </a:cubicBezTo>
                <a:cubicBezTo>
                  <a:pt x="3" y="52"/>
                  <a:pt x="3" y="51"/>
                  <a:pt x="2" y="50"/>
                </a:cubicBezTo>
                <a:cubicBezTo>
                  <a:pt x="1" y="49"/>
                  <a:pt x="2" y="47"/>
                  <a:pt x="3" y="47"/>
                </a:cubicBezTo>
                <a:cubicBezTo>
                  <a:pt x="4" y="46"/>
                  <a:pt x="6" y="46"/>
                  <a:pt x="6" y="47"/>
                </a:cubicBezTo>
                <a:close/>
                <a:moveTo>
                  <a:pt x="160" y="15"/>
                </a:moveTo>
                <a:cubicBezTo>
                  <a:pt x="160" y="18"/>
                  <a:pt x="160" y="18"/>
                  <a:pt x="160" y="18"/>
                </a:cubicBezTo>
                <a:cubicBezTo>
                  <a:pt x="160" y="19"/>
                  <a:pt x="159" y="20"/>
                  <a:pt x="157" y="20"/>
                </a:cubicBezTo>
                <a:cubicBezTo>
                  <a:pt x="156" y="20"/>
                  <a:pt x="155" y="19"/>
                  <a:pt x="155" y="18"/>
                </a:cubicBezTo>
                <a:cubicBezTo>
                  <a:pt x="155" y="15"/>
                  <a:pt x="155" y="15"/>
                  <a:pt x="155" y="15"/>
                </a:cubicBezTo>
                <a:cubicBezTo>
                  <a:pt x="155" y="13"/>
                  <a:pt x="156" y="12"/>
                  <a:pt x="157" y="12"/>
                </a:cubicBezTo>
                <a:cubicBezTo>
                  <a:pt x="159" y="12"/>
                  <a:pt x="160" y="13"/>
                  <a:pt x="160" y="15"/>
                </a:cubicBezTo>
                <a:close/>
                <a:moveTo>
                  <a:pt x="40" y="79"/>
                </a:moveTo>
                <a:cubicBezTo>
                  <a:pt x="40" y="72"/>
                  <a:pt x="35" y="67"/>
                  <a:pt x="28" y="67"/>
                </a:cubicBezTo>
                <a:cubicBezTo>
                  <a:pt x="21" y="67"/>
                  <a:pt x="16" y="72"/>
                  <a:pt x="16" y="79"/>
                </a:cubicBezTo>
                <a:cubicBezTo>
                  <a:pt x="16" y="85"/>
                  <a:pt x="21" y="91"/>
                  <a:pt x="28" y="91"/>
                </a:cubicBezTo>
                <a:cubicBezTo>
                  <a:pt x="35" y="91"/>
                  <a:pt x="40" y="85"/>
                  <a:pt x="40" y="79"/>
                </a:cubicBezTo>
                <a:close/>
                <a:moveTo>
                  <a:pt x="28" y="85"/>
                </a:moveTo>
                <a:cubicBezTo>
                  <a:pt x="24" y="85"/>
                  <a:pt x="21" y="82"/>
                  <a:pt x="21" y="79"/>
                </a:cubicBezTo>
                <a:cubicBezTo>
                  <a:pt x="21" y="75"/>
                  <a:pt x="24" y="72"/>
                  <a:pt x="28" y="72"/>
                </a:cubicBezTo>
                <a:cubicBezTo>
                  <a:pt x="32" y="72"/>
                  <a:pt x="35" y="75"/>
                  <a:pt x="35" y="79"/>
                </a:cubicBezTo>
                <a:cubicBezTo>
                  <a:pt x="35" y="82"/>
                  <a:pt x="32" y="85"/>
                  <a:pt x="28" y="85"/>
                </a:cubicBezTo>
                <a:close/>
                <a:moveTo>
                  <a:pt x="133" y="72"/>
                </a:moveTo>
                <a:cubicBezTo>
                  <a:pt x="135" y="72"/>
                  <a:pt x="136" y="73"/>
                  <a:pt x="136" y="75"/>
                </a:cubicBezTo>
                <a:cubicBezTo>
                  <a:pt x="136" y="76"/>
                  <a:pt x="135" y="77"/>
                  <a:pt x="133" y="77"/>
                </a:cubicBezTo>
                <a:cubicBezTo>
                  <a:pt x="132" y="77"/>
                  <a:pt x="131" y="76"/>
                  <a:pt x="131" y="75"/>
                </a:cubicBezTo>
                <a:cubicBezTo>
                  <a:pt x="131" y="73"/>
                  <a:pt x="132" y="72"/>
                  <a:pt x="133" y="72"/>
                </a:cubicBezTo>
                <a:close/>
                <a:moveTo>
                  <a:pt x="123" y="72"/>
                </a:moveTo>
                <a:cubicBezTo>
                  <a:pt x="124" y="72"/>
                  <a:pt x="125" y="73"/>
                  <a:pt x="125" y="75"/>
                </a:cubicBezTo>
                <a:cubicBezTo>
                  <a:pt x="125" y="76"/>
                  <a:pt x="124" y="77"/>
                  <a:pt x="123" y="77"/>
                </a:cubicBezTo>
                <a:cubicBezTo>
                  <a:pt x="121" y="77"/>
                  <a:pt x="120" y="76"/>
                  <a:pt x="120" y="75"/>
                </a:cubicBezTo>
                <a:cubicBezTo>
                  <a:pt x="120" y="73"/>
                  <a:pt x="121" y="72"/>
                  <a:pt x="123" y="72"/>
                </a:cubicBezTo>
                <a:close/>
                <a:moveTo>
                  <a:pt x="139" y="80"/>
                </a:moveTo>
                <a:cubicBezTo>
                  <a:pt x="140" y="80"/>
                  <a:pt x="141" y="81"/>
                  <a:pt x="141" y="83"/>
                </a:cubicBezTo>
                <a:cubicBezTo>
                  <a:pt x="141" y="84"/>
                  <a:pt x="140" y="85"/>
                  <a:pt x="139" y="85"/>
                </a:cubicBezTo>
                <a:cubicBezTo>
                  <a:pt x="137" y="85"/>
                  <a:pt x="136" y="84"/>
                  <a:pt x="136" y="83"/>
                </a:cubicBezTo>
                <a:cubicBezTo>
                  <a:pt x="136" y="81"/>
                  <a:pt x="137" y="80"/>
                  <a:pt x="139" y="80"/>
                </a:cubicBezTo>
                <a:close/>
                <a:moveTo>
                  <a:pt x="128" y="80"/>
                </a:moveTo>
                <a:cubicBezTo>
                  <a:pt x="129" y="80"/>
                  <a:pt x="131" y="81"/>
                  <a:pt x="131" y="83"/>
                </a:cubicBezTo>
                <a:cubicBezTo>
                  <a:pt x="131" y="84"/>
                  <a:pt x="129" y="85"/>
                  <a:pt x="128" y="85"/>
                </a:cubicBezTo>
                <a:cubicBezTo>
                  <a:pt x="127" y="85"/>
                  <a:pt x="125" y="84"/>
                  <a:pt x="125" y="83"/>
                </a:cubicBezTo>
                <a:cubicBezTo>
                  <a:pt x="125" y="81"/>
                  <a:pt x="127" y="80"/>
                  <a:pt x="128" y="80"/>
                </a:cubicBezTo>
                <a:close/>
                <a:moveTo>
                  <a:pt x="112" y="72"/>
                </a:moveTo>
                <a:cubicBezTo>
                  <a:pt x="113" y="72"/>
                  <a:pt x="115" y="73"/>
                  <a:pt x="115" y="75"/>
                </a:cubicBezTo>
                <a:cubicBezTo>
                  <a:pt x="115" y="76"/>
                  <a:pt x="113" y="77"/>
                  <a:pt x="112" y="77"/>
                </a:cubicBezTo>
                <a:cubicBezTo>
                  <a:pt x="111" y="77"/>
                  <a:pt x="109" y="76"/>
                  <a:pt x="109" y="75"/>
                </a:cubicBezTo>
                <a:cubicBezTo>
                  <a:pt x="109" y="73"/>
                  <a:pt x="111" y="72"/>
                  <a:pt x="112" y="72"/>
                </a:cubicBezTo>
                <a:close/>
                <a:moveTo>
                  <a:pt x="117" y="80"/>
                </a:moveTo>
                <a:cubicBezTo>
                  <a:pt x="119" y="80"/>
                  <a:pt x="120" y="81"/>
                  <a:pt x="120" y="83"/>
                </a:cubicBezTo>
                <a:cubicBezTo>
                  <a:pt x="120" y="84"/>
                  <a:pt x="119" y="85"/>
                  <a:pt x="117" y="85"/>
                </a:cubicBezTo>
                <a:cubicBezTo>
                  <a:pt x="116" y="85"/>
                  <a:pt x="115" y="84"/>
                  <a:pt x="115" y="83"/>
                </a:cubicBezTo>
                <a:cubicBezTo>
                  <a:pt x="115" y="81"/>
                  <a:pt x="116" y="80"/>
                  <a:pt x="117" y="80"/>
                </a:cubicBezTo>
                <a:close/>
                <a:moveTo>
                  <a:pt x="101" y="72"/>
                </a:moveTo>
                <a:cubicBezTo>
                  <a:pt x="103" y="72"/>
                  <a:pt x="104" y="73"/>
                  <a:pt x="104" y="75"/>
                </a:cubicBezTo>
                <a:cubicBezTo>
                  <a:pt x="104" y="76"/>
                  <a:pt x="103" y="77"/>
                  <a:pt x="101" y="77"/>
                </a:cubicBezTo>
                <a:cubicBezTo>
                  <a:pt x="100" y="77"/>
                  <a:pt x="99" y="76"/>
                  <a:pt x="99" y="75"/>
                </a:cubicBezTo>
                <a:cubicBezTo>
                  <a:pt x="99" y="73"/>
                  <a:pt x="100" y="72"/>
                  <a:pt x="101" y="72"/>
                </a:cubicBezTo>
                <a:close/>
                <a:moveTo>
                  <a:pt x="107" y="80"/>
                </a:moveTo>
                <a:cubicBezTo>
                  <a:pt x="108" y="80"/>
                  <a:pt x="109" y="81"/>
                  <a:pt x="109" y="83"/>
                </a:cubicBezTo>
                <a:cubicBezTo>
                  <a:pt x="109" y="84"/>
                  <a:pt x="108" y="85"/>
                  <a:pt x="107" y="85"/>
                </a:cubicBezTo>
                <a:cubicBezTo>
                  <a:pt x="105" y="85"/>
                  <a:pt x="104" y="84"/>
                  <a:pt x="104" y="83"/>
                </a:cubicBezTo>
                <a:cubicBezTo>
                  <a:pt x="104" y="81"/>
                  <a:pt x="105" y="80"/>
                  <a:pt x="107" y="80"/>
                </a:cubicBezTo>
                <a:close/>
                <a:moveTo>
                  <a:pt x="91" y="72"/>
                </a:moveTo>
                <a:cubicBezTo>
                  <a:pt x="92" y="72"/>
                  <a:pt x="93" y="73"/>
                  <a:pt x="93" y="75"/>
                </a:cubicBezTo>
                <a:cubicBezTo>
                  <a:pt x="93" y="76"/>
                  <a:pt x="92" y="77"/>
                  <a:pt x="91" y="77"/>
                </a:cubicBezTo>
                <a:cubicBezTo>
                  <a:pt x="89" y="77"/>
                  <a:pt x="88" y="76"/>
                  <a:pt x="88" y="75"/>
                </a:cubicBezTo>
                <a:cubicBezTo>
                  <a:pt x="88" y="73"/>
                  <a:pt x="89" y="72"/>
                  <a:pt x="91" y="72"/>
                </a:cubicBezTo>
                <a:close/>
                <a:moveTo>
                  <a:pt x="96" y="80"/>
                </a:moveTo>
                <a:cubicBezTo>
                  <a:pt x="97" y="80"/>
                  <a:pt x="99" y="81"/>
                  <a:pt x="99" y="83"/>
                </a:cubicBezTo>
                <a:cubicBezTo>
                  <a:pt x="99" y="84"/>
                  <a:pt x="97" y="85"/>
                  <a:pt x="96" y="85"/>
                </a:cubicBezTo>
                <a:cubicBezTo>
                  <a:pt x="95" y="85"/>
                  <a:pt x="93" y="84"/>
                  <a:pt x="93" y="83"/>
                </a:cubicBezTo>
                <a:cubicBezTo>
                  <a:pt x="93" y="81"/>
                  <a:pt x="95" y="80"/>
                  <a:pt x="96" y="80"/>
                </a:cubicBezTo>
                <a:close/>
                <a:moveTo>
                  <a:pt x="120" y="104"/>
                </a:moveTo>
                <a:cubicBezTo>
                  <a:pt x="120" y="103"/>
                  <a:pt x="122" y="101"/>
                  <a:pt x="123" y="101"/>
                </a:cubicBezTo>
                <a:cubicBezTo>
                  <a:pt x="126" y="101"/>
                  <a:pt x="126" y="101"/>
                  <a:pt x="126" y="101"/>
                </a:cubicBezTo>
                <a:cubicBezTo>
                  <a:pt x="127" y="101"/>
                  <a:pt x="128" y="103"/>
                  <a:pt x="128" y="104"/>
                </a:cubicBezTo>
                <a:cubicBezTo>
                  <a:pt x="128" y="105"/>
                  <a:pt x="127" y="107"/>
                  <a:pt x="126" y="107"/>
                </a:cubicBezTo>
                <a:cubicBezTo>
                  <a:pt x="123" y="107"/>
                  <a:pt x="123" y="107"/>
                  <a:pt x="123" y="107"/>
                </a:cubicBezTo>
                <a:cubicBezTo>
                  <a:pt x="122" y="107"/>
                  <a:pt x="120" y="105"/>
                  <a:pt x="120" y="104"/>
                </a:cubicBezTo>
                <a:close/>
                <a:moveTo>
                  <a:pt x="109" y="104"/>
                </a:moveTo>
                <a:cubicBezTo>
                  <a:pt x="109" y="103"/>
                  <a:pt x="111" y="101"/>
                  <a:pt x="112" y="101"/>
                </a:cubicBezTo>
                <a:cubicBezTo>
                  <a:pt x="115" y="101"/>
                  <a:pt x="115" y="101"/>
                  <a:pt x="115" y="101"/>
                </a:cubicBezTo>
                <a:cubicBezTo>
                  <a:pt x="116" y="101"/>
                  <a:pt x="118" y="103"/>
                  <a:pt x="118" y="104"/>
                </a:cubicBezTo>
                <a:cubicBezTo>
                  <a:pt x="118" y="105"/>
                  <a:pt x="116" y="107"/>
                  <a:pt x="115" y="107"/>
                </a:cubicBezTo>
                <a:cubicBezTo>
                  <a:pt x="112" y="107"/>
                  <a:pt x="112" y="107"/>
                  <a:pt x="112" y="107"/>
                </a:cubicBezTo>
                <a:cubicBezTo>
                  <a:pt x="111" y="107"/>
                  <a:pt x="109" y="105"/>
                  <a:pt x="109" y="104"/>
                </a:cubicBezTo>
                <a:close/>
                <a:moveTo>
                  <a:pt x="122" y="56"/>
                </a:moveTo>
                <a:cubicBezTo>
                  <a:pt x="120" y="56"/>
                  <a:pt x="119" y="55"/>
                  <a:pt x="119" y="53"/>
                </a:cubicBezTo>
                <a:cubicBezTo>
                  <a:pt x="119" y="52"/>
                  <a:pt x="120" y="51"/>
                  <a:pt x="122" y="51"/>
                </a:cubicBezTo>
                <a:cubicBezTo>
                  <a:pt x="123" y="51"/>
                  <a:pt x="123" y="51"/>
                  <a:pt x="123" y="51"/>
                </a:cubicBezTo>
                <a:cubicBezTo>
                  <a:pt x="124" y="51"/>
                  <a:pt x="124" y="51"/>
                  <a:pt x="124" y="51"/>
                </a:cubicBezTo>
                <a:cubicBezTo>
                  <a:pt x="126" y="51"/>
                  <a:pt x="126" y="51"/>
                  <a:pt x="126" y="51"/>
                </a:cubicBezTo>
                <a:cubicBezTo>
                  <a:pt x="127" y="51"/>
                  <a:pt x="128" y="52"/>
                  <a:pt x="128" y="53"/>
                </a:cubicBezTo>
                <a:cubicBezTo>
                  <a:pt x="128" y="55"/>
                  <a:pt x="127" y="56"/>
                  <a:pt x="126" y="56"/>
                </a:cubicBezTo>
                <a:cubicBezTo>
                  <a:pt x="124" y="56"/>
                  <a:pt x="124" y="56"/>
                  <a:pt x="124" y="56"/>
                </a:cubicBezTo>
                <a:cubicBezTo>
                  <a:pt x="123" y="56"/>
                  <a:pt x="123" y="56"/>
                  <a:pt x="123" y="56"/>
                </a:cubicBezTo>
                <a:lnTo>
                  <a:pt x="122" y="56"/>
                </a:lnTo>
                <a:close/>
                <a:moveTo>
                  <a:pt x="152" y="58"/>
                </a:moveTo>
                <a:cubicBezTo>
                  <a:pt x="151" y="57"/>
                  <a:pt x="151" y="55"/>
                  <a:pt x="152" y="54"/>
                </a:cubicBezTo>
                <a:cubicBezTo>
                  <a:pt x="153" y="53"/>
                  <a:pt x="155" y="53"/>
                  <a:pt x="156" y="54"/>
                </a:cubicBezTo>
                <a:cubicBezTo>
                  <a:pt x="157" y="54"/>
                  <a:pt x="157" y="55"/>
                  <a:pt x="158" y="56"/>
                </a:cubicBezTo>
                <a:cubicBezTo>
                  <a:pt x="159" y="57"/>
                  <a:pt x="158" y="59"/>
                  <a:pt x="157" y="60"/>
                </a:cubicBezTo>
                <a:cubicBezTo>
                  <a:pt x="157" y="60"/>
                  <a:pt x="156" y="60"/>
                  <a:pt x="156" y="60"/>
                </a:cubicBezTo>
                <a:cubicBezTo>
                  <a:pt x="155" y="60"/>
                  <a:pt x="154" y="60"/>
                  <a:pt x="154" y="59"/>
                </a:cubicBezTo>
                <a:cubicBezTo>
                  <a:pt x="153" y="59"/>
                  <a:pt x="153" y="58"/>
                  <a:pt x="152" y="58"/>
                </a:cubicBezTo>
                <a:close/>
                <a:moveTo>
                  <a:pt x="130" y="53"/>
                </a:moveTo>
                <a:cubicBezTo>
                  <a:pt x="130" y="52"/>
                  <a:pt x="131" y="51"/>
                  <a:pt x="133" y="51"/>
                </a:cubicBezTo>
                <a:cubicBezTo>
                  <a:pt x="134" y="51"/>
                  <a:pt x="134" y="51"/>
                  <a:pt x="134" y="51"/>
                </a:cubicBezTo>
                <a:cubicBezTo>
                  <a:pt x="135" y="51"/>
                  <a:pt x="135" y="51"/>
                  <a:pt x="135" y="51"/>
                </a:cubicBezTo>
                <a:cubicBezTo>
                  <a:pt x="137" y="51"/>
                  <a:pt x="137" y="51"/>
                  <a:pt x="137" y="51"/>
                </a:cubicBezTo>
                <a:cubicBezTo>
                  <a:pt x="138" y="51"/>
                  <a:pt x="139" y="52"/>
                  <a:pt x="139" y="53"/>
                </a:cubicBezTo>
                <a:cubicBezTo>
                  <a:pt x="139" y="55"/>
                  <a:pt x="138" y="56"/>
                  <a:pt x="137" y="56"/>
                </a:cubicBezTo>
                <a:cubicBezTo>
                  <a:pt x="135" y="56"/>
                  <a:pt x="135" y="56"/>
                  <a:pt x="135" y="56"/>
                </a:cubicBezTo>
                <a:cubicBezTo>
                  <a:pt x="134" y="56"/>
                  <a:pt x="134" y="56"/>
                  <a:pt x="134" y="56"/>
                </a:cubicBezTo>
                <a:cubicBezTo>
                  <a:pt x="133" y="56"/>
                  <a:pt x="133" y="56"/>
                  <a:pt x="133" y="56"/>
                </a:cubicBezTo>
                <a:cubicBezTo>
                  <a:pt x="131" y="56"/>
                  <a:pt x="130" y="55"/>
                  <a:pt x="130" y="53"/>
                </a:cubicBezTo>
                <a:close/>
                <a:moveTo>
                  <a:pt x="100" y="51"/>
                </a:moveTo>
                <a:cubicBezTo>
                  <a:pt x="101" y="51"/>
                  <a:pt x="101" y="51"/>
                  <a:pt x="101" y="51"/>
                </a:cubicBezTo>
                <a:cubicBezTo>
                  <a:pt x="103" y="51"/>
                  <a:pt x="103" y="51"/>
                  <a:pt x="103" y="51"/>
                </a:cubicBezTo>
                <a:cubicBezTo>
                  <a:pt x="104" y="51"/>
                  <a:pt x="104" y="51"/>
                  <a:pt x="104" y="51"/>
                </a:cubicBezTo>
                <a:cubicBezTo>
                  <a:pt x="105" y="51"/>
                  <a:pt x="107" y="52"/>
                  <a:pt x="107" y="53"/>
                </a:cubicBezTo>
                <a:cubicBezTo>
                  <a:pt x="107" y="55"/>
                  <a:pt x="105" y="56"/>
                  <a:pt x="104" y="56"/>
                </a:cubicBezTo>
                <a:cubicBezTo>
                  <a:pt x="103" y="56"/>
                  <a:pt x="103" y="56"/>
                  <a:pt x="103" y="56"/>
                </a:cubicBezTo>
                <a:cubicBezTo>
                  <a:pt x="101" y="56"/>
                  <a:pt x="101" y="56"/>
                  <a:pt x="101" y="56"/>
                </a:cubicBezTo>
                <a:cubicBezTo>
                  <a:pt x="100" y="56"/>
                  <a:pt x="100" y="56"/>
                  <a:pt x="100" y="56"/>
                </a:cubicBezTo>
                <a:cubicBezTo>
                  <a:pt x="98" y="56"/>
                  <a:pt x="97" y="55"/>
                  <a:pt x="97" y="53"/>
                </a:cubicBezTo>
                <a:cubicBezTo>
                  <a:pt x="97" y="52"/>
                  <a:pt x="98" y="51"/>
                  <a:pt x="100" y="51"/>
                </a:cubicBezTo>
                <a:close/>
                <a:moveTo>
                  <a:pt x="131" y="104"/>
                </a:moveTo>
                <a:cubicBezTo>
                  <a:pt x="131" y="103"/>
                  <a:pt x="133" y="101"/>
                  <a:pt x="134" y="101"/>
                </a:cubicBezTo>
                <a:cubicBezTo>
                  <a:pt x="137" y="101"/>
                  <a:pt x="137" y="101"/>
                  <a:pt x="137" y="101"/>
                </a:cubicBezTo>
                <a:cubicBezTo>
                  <a:pt x="138" y="101"/>
                  <a:pt x="139" y="103"/>
                  <a:pt x="139" y="104"/>
                </a:cubicBezTo>
                <a:cubicBezTo>
                  <a:pt x="139" y="105"/>
                  <a:pt x="138" y="107"/>
                  <a:pt x="137" y="107"/>
                </a:cubicBezTo>
                <a:cubicBezTo>
                  <a:pt x="134" y="107"/>
                  <a:pt x="134" y="107"/>
                  <a:pt x="134" y="107"/>
                </a:cubicBezTo>
                <a:cubicBezTo>
                  <a:pt x="133" y="107"/>
                  <a:pt x="131" y="105"/>
                  <a:pt x="131" y="104"/>
                </a:cubicBezTo>
                <a:close/>
                <a:moveTo>
                  <a:pt x="148" y="107"/>
                </a:moveTo>
                <a:cubicBezTo>
                  <a:pt x="148" y="104"/>
                  <a:pt x="148" y="104"/>
                  <a:pt x="148" y="104"/>
                </a:cubicBezTo>
                <a:cubicBezTo>
                  <a:pt x="148" y="107"/>
                  <a:pt x="148" y="107"/>
                  <a:pt x="148" y="107"/>
                </a:cubicBezTo>
                <a:cubicBezTo>
                  <a:pt x="145" y="107"/>
                  <a:pt x="145" y="107"/>
                  <a:pt x="145" y="107"/>
                </a:cubicBezTo>
                <a:cubicBezTo>
                  <a:pt x="144" y="107"/>
                  <a:pt x="142" y="105"/>
                  <a:pt x="142" y="104"/>
                </a:cubicBezTo>
                <a:cubicBezTo>
                  <a:pt x="142" y="103"/>
                  <a:pt x="144" y="101"/>
                  <a:pt x="145" y="101"/>
                </a:cubicBezTo>
                <a:cubicBezTo>
                  <a:pt x="148" y="101"/>
                  <a:pt x="148" y="101"/>
                  <a:pt x="148" y="101"/>
                </a:cubicBezTo>
                <a:cubicBezTo>
                  <a:pt x="149" y="101"/>
                  <a:pt x="150" y="103"/>
                  <a:pt x="150" y="104"/>
                </a:cubicBezTo>
                <a:cubicBezTo>
                  <a:pt x="150" y="105"/>
                  <a:pt x="149" y="107"/>
                  <a:pt x="148" y="107"/>
                </a:cubicBezTo>
                <a:close/>
                <a:moveTo>
                  <a:pt x="153" y="99"/>
                </a:moveTo>
                <a:cubicBezTo>
                  <a:pt x="153" y="98"/>
                  <a:pt x="154" y="98"/>
                  <a:pt x="154" y="97"/>
                </a:cubicBezTo>
                <a:cubicBezTo>
                  <a:pt x="155" y="96"/>
                  <a:pt x="156" y="95"/>
                  <a:pt x="158" y="96"/>
                </a:cubicBezTo>
                <a:cubicBezTo>
                  <a:pt x="159" y="96"/>
                  <a:pt x="160" y="98"/>
                  <a:pt x="159" y="99"/>
                </a:cubicBezTo>
                <a:cubicBezTo>
                  <a:pt x="158" y="100"/>
                  <a:pt x="158" y="101"/>
                  <a:pt x="157" y="102"/>
                </a:cubicBezTo>
                <a:cubicBezTo>
                  <a:pt x="157" y="103"/>
                  <a:pt x="156" y="103"/>
                  <a:pt x="155" y="103"/>
                </a:cubicBezTo>
                <a:cubicBezTo>
                  <a:pt x="154" y="103"/>
                  <a:pt x="154" y="103"/>
                  <a:pt x="153" y="103"/>
                </a:cubicBezTo>
                <a:cubicBezTo>
                  <a:pt x="152" y="102"/>
                  <a:pt x="152" y="100"/>
                  <a:pt x="153" y="99"/>
                </a:cubicBezTo>
                <a:close/>
                <a:moveTo>
                  <a:pt x="111" y="56"/>
                </a:moveTo>
                <a:cubicBezTo>
                  <a:pt x="109" y="56"/>
                  <a:pt x="108" y="55"/>
                  <a:pt x="108" y="53"/>
                </a:cubicBezTo>
                <a:cubicBezTo>
                  <a:pt x="108" y="52"/>
                  <a:pt x="109" y="51"/>
                  <a:pt x="111" y="51"/>
                </a:cubicBezTo>
                <a:cubicBezTo>
                  <a:pt x="112" y="51"/>
                  <a:pt x="112" y="51"/>
                  <a:pt x="112" y="51"/>
                </a:cubicBezTo>
                <a:cubicBezTo>
                  <a:pt x="113" y="51"/>
                  <a:pt x="113" y="51"/>
                  <a:pt x="113" y="51"/>
                </a:cubicBezTo>
                <a:cubicBezTo>
                  <a:pt x="115" y="51"/>
                  <a:pt x="115" y="51"/>
                  <a:pt x="115" y="51"/>
                </a:cubicBezTo>
                <a:cubicBezTo>
                  <a:pt x="116" y="51"/>
                  <a:pt x="118" y="52"/>
                  <a:pt x="118" y="53"/>
                </a:cubicBezTo>
                <a:cubicBezTo>
                  <a:pt x="118" y="55"/>
                  <a:pt x="116" y="56"/>
                  <a:pt x="115" y="56"/>
                </a:cubicBezTo>
                <a:cubicBezTo>
                  <a:pt x="113" y="56"/>
                  <a:pt x="113" y="56"/>
                  <a:pt x="113" y="56"/>
                </a:cubicBezTo>
                <a:cubicBezTo>
                  <a:pt x="112" y="56"/>
                  <a:pt x="112" y="56"/>
                  <a:pt x="112" y="56"/>
                </a:cubicBezTo>
                <a:lnTo>
                  <a:pt x="111" y="56"/>
                </a:lnTo>
                <a:close/>
                <a:moveTo>
                  <a:pt x="99" y="104"/>
                </a:moveTo>
                <a:cubicBezTo>
                  <a:pt x="99" y="103"/>
                  <a:pt x="100" y="101"/>
                  <a:pt x="101" y="101"/>
                </a:cubicBezTo>
                <a:cubicBezTo>
                  <a:pt x="104" y="101"/>
                  <a:pt x="104" y="101"/>
                  <a:pt x="104" y="101"/>
                </a:cubicBezTo>
                <a:cubicBezTo>
                  <a:pt x="105" y="101"/>
                  <a:pt x="107" y="103"/>
                  <a:pt x="107" y="104"/>
                </a:cubicBezTo>
                <a:cubicBezTo>
                  <a:pt x="107" y="105"/>
                  <a:pt x="105" y="107"/>
                  <a:pt x="104" y="107"/>
                </a:cubicBezTo>
                <a:cubicBezTo>
                  <a:pt x="101" y="107"/>
                  <a:pt x="101" y="107"/>
                  <a:pt x="101" y="107"/>
                </a:cubicBezTo>
                <a:cubicBezTo>
                  <a:pt x="100" y="107"/>
                  <a:pt x="99" y="105"/>
                  <a:pt x="99" y="104"/>
                </a:cubicBezTo>
                <a:close/>
                <a:moveTo>
                  <a:pt x="0" y="70"/>
                </a:moveTo>
                <a:cubicBezTo>
                  <a:pt x="0" y="67"/>
                  <a:pt x="0" y="67"/>
                  <a:pt x="0" y="67"/>
                </a:cubicBezTo>
                <a:cubicBezTo>
                  <a:pt x="0" y="66"/>
                  <a:pt x="1" y="64"/>
                  <a:pt x="3" y="64"/>
                </a:cubicBezTo>
                <a:cubicBezTo>
                  <a:pt x="4" y="64"/>
                  <a:pt x="5" y="66"/>
                  <a:pt x="5" y="67"/>
                </a:cubicBezTo>
                <a:cubicBezTo>
                  <a:pt x="5" y="70"/>
                  <a:pt x="5" y="70"/>
                  <a:pt x="5" y="70"/>
                </a:cubicBezTo>
                <a:cubicBezTo>
                  <a:pt x="5" y="71"/>
                  <a:pt x="4" y="72"/>
                  <a:pt x="3" y="72"/>
                </a:cubicBezTo>
                <a:cubicBezTo>
                  <a:pt x="1" y="72"/>
                  <a:pt x="0" y="71"/>
                  <a:pt x="0" y="70"/>
                </a:cubicBezTo>
                <a:close/>
                <a:moveTo>
                  <a:pt x="0" y="92"/>
                </a:moveTo>
                <a:cubicBezTo>
                  <a:pt x="0" y="89"/>
                  <a:pt x="0" y="89"/>
                  <a:pt x="0" y="89"/>
                </a:cubicBezTo>
                <a:cubicBezTo>
                  <a:pt x="0" y="87"/>
                  <a:pt x="1" y="86"/>
                  <a:pt x="3" y="86"/>
                </a:cubicBezTo>
                <a:cubicBezTo>
                  <a:pt x="4" y="86"/>
                  <a:pt x="5" y="87"/>
                  <a:pt x="5" y="89"/>
                </a:cubicBezTo>
                <a:cubicBezTo>
                  <a:pt x="5" y="92"/>
                  <a:pt x="5" y="92"/>
                  <a:pt x="5" y="92"/>
                </a:cubicBezTo>
                <a:cubicBezTo>
                  <a:pt x="5" y="93"/>
                  <a:pt x="4" y="94"/>
                  <a:pt x="3" y="94"/>
                </a:cubicBezTo>
                <a:cubicBezTo>
                  <a:pt x="1" y="94"/>
                  <a:pt x="0" y="93"/>
                  <a:pt x="0" y="92"/>
                </a:cubicBezTo>
                <a:close/>
                <a:moveTo>
                  <a:pt x="160" y="87"/>
                </a:moveTo>
                <a:cubicBezTo>
                  <a:pt x="160" y="90"/>
                  <a:pt x="160" y="90"/>
                  <a:pt x="160" y="90"/>
                </a:cubicBezTo>
                <a:cubicBezTo>
                  <a:pt x="160" y="92"/>
                  <a:pt x="159" y="93"/>
                  <a:pt x="157" y="93"/>
                </a:cubicBezTo>
                <a:cubicBezTo>
                  <a:pt x="156" y="93"/>
                  <a:pt x="155" y="92"/>
                  <a:pt x="155" y="90"/>
                </a:cubicBezTo>
                <a:cubicBezTo>
                  <a:pt x="155" y="87"/>
                  <a:pt x="155" y="87"/>
                  <a:pt x="155" y="87"/>
                </a:cubicBezTo>
                <a:cubicBezTo>
                  <a:pt x="155" y="86"/>
                  <a:pt x="156" y="85"/>
                  <a:pt x="157" y="85"/>
                </a:cubicBezTo>
                <a:cubicBezTo>
                  <a:pt x="159" y="85"/>
                  <a:pt x="160" y="86"/>
                  <a:pt x="160" y="87"/>
                </a:cubicBezTo>
                <a:close/>
                <a:moveTo>
                  <a:pt x="6" y="60"/>
                </a:moveTo>
                <a:cubicBezTo>
                  <a:pt x="6" y="61"/>
                  <a:pt x="5" y="62"/>
                  <a:pt x="4" y="62"/>
                </a:cubicBezTo>
                <a:cubicBezTo>
                  <a:pt x="3" y="62"/>
                  <a:pt x="3" y="62"/>
                  <a:pt x="2" y="61"/>
                </a:cubicBezTo>
                <a:cubicBezTo>
                  <a:pt x="1" y="61"/>
                  <a:pt x="0" y="59"/>
                  <a:pt x="1" y="58"/>
                </a:cubicBezTo>
                <a:cubicBezTo>
                  <a:pt x="2" y="57"/>
                  <a:pt x="2" y="56"/>
                  <a:pt x="3" y="55"/>
                </a:cubicBezTo>
                <a:cubicBezTo>
                  <a:pt x="4" y="54"/>
                  <a:pt x="6" y="54"/>
                  <a:pt x="7" y="55"/>
                </a:cubicBezTo>
                <a:cubicBezTo>
                  <a:pt x="8" y="56"/>
                  <a:pt x="8" y="57"/>
                  <a:pt x="7" y="58"/>
                </a:cubicBezTo>
                <a:cubicBezTo>
                  <a:pt x="7" y="59"/>
                  <a:pt x="6" y="59"/>
                  <a:pt x="6" y="60"/>
                </a:cubicBezTo>
                <a:close/>
                <a:moveTo>
                  <a:pt x="6" y="98"/>
                </a:moveTo>
                <a:cubicBezTo>
                  <a:pt x="7" y="99"/>
                  <a:pt x="7" y="99"/>
                  <a:pt x="8" y="100"/>
                </a:cubicBezTo>
                <a:cubicBezTo>
                  <a:pt x="9" y="101"/>
                  <a:pt x="9" y="102"/>
                  <a:pt x="8" y="103"/>
                </a:cubicBezTo>
                <a:cubicBezTo>
                  <a:pt x="7" y="104"/>
                  <a:pt x="7" y="104"/>
                  <a:pt x="6" y="104"/>
                </a:cubicBezTo>
                <a:cubicBezTo>
                  <a:pt x="5" y="104"/>
                  <a:pt x="5" y="104"/>
                  <a:pt x="4" y="104"/>
                </a:cubicBezTo>
                <a:cubicBezTo>
                  <a:pt x="3" y="103"/>
                  <a:pt x="3" y="102"/>
                  <a:pt x="2" y="101"/>
                </a:cubicBezTo>
                <a:cubicBezTo>
                  <a:pt x="1" y="100"/>
                  <a:pt x="2" y="98"/>
                  <a:pt x="3" y="97"/>
                </a:cubicBezTo>
                <a:cubicBezTo>
                  <a:pt x="4" y="97"/>
                  <a:pt x="6" y="97"/>
                  <a:pt x="6" y="98"/>
                </a:cubicBezTo>
                <a:close/>
                <a:moveTo>
                  <a:pt x="86" y="53"/>
                </a:moveTo>
                <a:cubicBezTo>
                  <a:pt x="86" y="52"/>
                  <a:pt x="87" y="51"/>
                  <a:pt x="89" y="51"/>
                </a:cubicBezTo>
                <a:cubicBezTo>
                  <a:pt x="90" y="51"/>
                  <a:pt x="90" y="51"/>
                  <a:pt x="90" y="51"/>
                </a:cubicBezTo>
                <a:cubicBezTo>
                  <a:pt x="92" y="51"/>
                  <a:pt x="92" y="51"/>
                  <a:pt x="92" y="51"/>
                </a:cubicBezTo>
                <a:cubicBezTo>
                  <a:pt x="93" y="51"/>
                  <a:pt x="93" y="51"/>
                  <a:pt x="93" y="51"/>
                </a:cubicBezTo>
                <a:cubicBezTo>
                  <a:pt x="94" y="51"/>
                  <a:pt x="96" y="52"/>
                  <a:pt x="96" y="53"/>
                </a:cubicBezTo>
                <a:cubicBezTo>
                  <a:pt x="96" y="55"/>
                  <a:pt x="94" y="56"/>
                  <a:pt x="93" y="56"/>
                </a:cubicBezTo>
                <a:cubicBezTo>
                  <a:pt x="92" y="56"/>
                  <a:pt x="92" y="56"/>
                  <a:pt x="92" y="56"/>
                </a:cubicBezTo>
                <a:cubicBezTo>
                  <a:pt x="90" y="56"/>
                  <a:pt x="90" y="56"/>
                  <a:pt x="90" y="56"/>
                </a:cubicBezTo>
                <a:cubicBezTo>
                  <a:pt x="89" y="56"/>
                  <a:pt x="89" y="56"/>
                  <a:pt x="89" y="56"/>
                </a:cubicBezTo>
                <a:cubicBezTo>
                  <a:pt x="87" y="56"/>
                  <a:pt x="86" y="55"/>
                  <a:pt x="86" y="53"/>
                </a:cubicBezTo>
                <a:close/>
                <a:moveTo>
                  <a:pt x="160" y="77"/>
                </a:moveTo>
                <a:cubicBezTo>
                  <a:pt x="160" y="79"/>
                  <a:pt x="160" y="79"/>
                  <a:pt x="160" y="79"/>
                </a:cubicBezTo>
                <a:cubicBezTo>
                  <a:pt x="160" y="81"/>
                  <a:pt x="159" y="82"/>
                  <a:pt x="157" y="82"/>
                </a:cubicBezTo>
                <a:cubicBezTo>
                  <a:pt x="156" y="82"/>
                  <a:pt x="155" y="81"/>
                  <a:pt x="155" y="79"/>
                </a:cubicBezTo>
                <a:cubicBezTo>
                  <a:pt x="155" y="77"/>
                  <a:pt x="155" y="77"/>
                  <a:pt x="155" y="77"/>
                </a:cubicBezTo>
                <a:cubicBezTo>
                  <a:pt x="155" y="75"/>
                  <a:pt x="156" y="74"/>
                  <a:pt x="157" y="74"/>
                </a:cubicBezTo>
                <a:cubicBezTo>
                  <a:pt x="159" y="74"/>
                  <a:pt x="160" y="75"/>
                  <a:pt x="160" y="77"/>
                </a:cubicBezTo>
                <a:close/>
                <a:moveTo>
                  <a:pt x="160" y="66"/>
                </a:moveTo>
                <a:cubicBezTo>
                  <a:pt x="160" y="68"/>
                  <a:pt x="160" y="68"/>
                  <a:pt x="160" y="68"/>
                </a:cubicBezTo>
                <a:cubicBezTo>
                  <a:pt x="160" y="70"/>
                  <a:pt x="159" y="71"/>
                  <a:pt x="157" y="71"/>
                </a:cubicBezTo>
                <a:cubicBezTo>
                  <a:pt x="156" y="71"/>
                  <a:pt x="155" y="70"/>
                  <a:pt x="155" y="68"/>
                </a:cubicBezTo>
                <a:cubicBezTo>
                  <a:pt x="155" y="66"/>
                  <a:pt x="155" y="66"/>
                  <a:pt x="155" y="66"/>
                </a:cubicBezTo>
                <a:cubicBezTo>
                  <a:pt x="155" y="64"/>
                  <a:pt x="156" y="63"/>
                  <a:pt x="157" y="63"/>
                </a:cubicBezTo>
                <a:cubicBezTo>
                  <a:pt x="159" y="63"/>
                  <a:pt x="160" y="64"/>
                  <a:pt x="160" y="66"/>
                </a:cubicBezTo>
                <a:close/>
                <a:moveTo>
                  <a:pt x="63" y="104"/>
                </a:moveTo>
                <a:cubicBezTo>
                  <a:pt x="63" y="105"/>
                  <a:pt x="62" y="107"/>
                  <a:pt x="60" y="107"/>
                </a:cubicBezTo>
                <a:cubicBezTo>
                  <a:pt x="57" y="107"/>
                  <a:pt x="57" y="107"/>
                  <a:pt x="57" y="107"/>
                </a:cubicBezTo>
                <a:cubicBezTo>
                  <a:pt x="56" y="107"/>
                  <a:pt x="55" y="105"/>
                  <a:pt x="55" y="104"/>
                </a:cubicBezTo>
                <a:cubicBezTo>
                  <a:pt x="55" y="103"/>
                  <a:pt x="56" y="101"/>
                  <a:pt x="57" y="101"/>
                </a:cubicBezTo>
                <a:cubicBezTo>
                  <a:pt x="60" y="101"/>
                  <a:pt x="60" y="101"/>
                  <a:pt x="60" y="101"/>
                </a:cubicBezTo>
                <a:cubicBezTo>
                  <a:pt x="62" y="101"/>
                  <a:pt x="63" y="103"/>
                  <a:pt x="63" y="104"/>
                </a:cubicBezTo>
                <a:close/>
                <a:moveTo>
                  <a:pt x="10" y="53"/>
                </a:moveTo>
                <a:cubicBezTo>
                  <a:pt x="10" y="52"/>
                  <a:pt x="11" y="51"/>
                  <a:pt x="12" y="51"/>
                </a:cubicBezTo>
                <a:cubicBezTo>
                  <a:pt x="14" y="51"/>
                  <a:pt x="14" y="51"/>
                  <a:pt x="14" y="51"/>
                </a:cubicBezTo>
                <a:cubicBezTo>
                  <a:pt x="15" y="51"/>
                  <a:pt x="15" y="51"/>
                  <a:pt x="15" y="51"/>
                </a:cubicBezTo>
                <a:cubicBezTo>
                  <a:pt x="16" y="51"/>
                  <a:pt x="16" y="51"/>
                  <a:pt x="16" y="51"/>
                </a:cubicBezTo>
                <a:cubicBezTo>
                  <a:pt x="18" y="51"/>
                  <a:pt x="19" y="52"/>
                  <a:pt x="19" y="53"/>
                </a:cubicBezTo>
                <a:cubicBezTo>
                  <a:pt x="19" y="55"/>
                  <a:pt x="18" y="56"/>
                  <a:pt x="16" y="56"/>
                </a:cubicBezTo>
                <a:cubicBezTo>
                  <a:pt x="15" y="56"/>
                  <a:pt x="15" y="56"/>
                  <a:pt x="15" y="56"/>
                </a:cubicBezTo>
                <a:cubicBezTo>
                  <a:pt x="14" y="56"/>
                  <a:pt x="14" y="56"/>
                  <a:pt x="14" y="56"/>
                </a:cubicBezTo>
                <a:cubicBezTo>
                  <a:pt x="12" y="56"/>
                  <a:pt x="12" y="56"/>
                  <a:pt x="12" y="56"/>
                </a:cubicBezTo>
                <a:cubicBezTo>
                  <a:pt x="11" y="56"/>
                  <a:pt x="10" y="55"/>
                  <a:pt x="10" y="53"/>
                </a:cubicBezTo>
                <a:close/>
                <a:moveTo>
                  <a:pt x="0" y="81"/>
                </a:moveTo>
                <a:cubicBezTo>
                  <a:pt x="0" y="78"/>
                  <a:pt x="0" y="78"/>
                  <a:pt x="0" y="78"/>
                </a:cubicBezTo>
                <a:cubicBezTo>
                  <a:pt x="0" y="77"/>
                  <a:pt x="1" y="75"/>
                  <a:pt x="3" y="75"/>
                </a:cubicBezTo>
                <a:cubicBezTo>
                  <a:pt x="4" y="75"/>
                  <a:pt x="5" y="77"/>
                  <a:pt x="5" y="78"/>
                </a:cubicBezTo>
                <a:cubicBezTo>
                  <a:pt x="5" y="81"/>
                  <a:pt x="5" y="81"/>
                  <a:pt x="5" y="81"/>
                </a:cubicBezTo>
                <a:cubicBezTo>
                  <a:pt x="5" y="82"/>
                  <a:pt x="4" y="83"/>
                  <a:pt x="3" y="83"/>
                </a:cubicBezTo>
                <a:cubicBezTo>
                  <a:pt x="1" y="83"/>
                  <a:pt x="0" y="82"/>
                  <a:pt x="0" y="81"/>
                </a:cubicBezTo>
                <a:close/>
                <a:moveTo>
                  <a:pt x="33" y="104"/>
                </a:moveTo>
                <a:cubicBezTo>
                  <a:pt x="33" y="103"/>
                  <a:pt x="34" y="101"/>
                  <a:pt x="36" y="101"/>
                </a:cubicBezTo>
                <a:cubicBezTo>
                  <a:pt x="38" y="101"/>
                  <a:pt x="38" y="101"/>
                  <a:pt x="38" y="101"/>
                </a:cubicBezTo>
                <a:cubicBezTo>
                  <a:pt x="40" y="101"/>
                  <a:pt x="41" y="103"/>
                  <a:pt x="41" y="104"/>
                </a:cubicBezTo>
                <a:cubicBezTo>
                  <a:pt x="41" y="105"/>
                  <a:pt x="40" y="107"/>
                  <a:pt x="38" y="107"/>
                </a:cubicBezTo>
                <a:cubicBezTo>
                  <a:pt x="36" y="107"/>
                  <a:pt x="36" y="107"/>
                  <a:pt x="36" y="107"/>
                </a:cubicBezTo>
                <a:cubicBezTo>
                  <a:pt x="34" y="107"/>
                  <a:pt x="33" y="105"/>
                  <a:pt x="33" y="104"/>
                </a:cubicBezTo>
                <a:close/>
                <a:moveTo>
                  <a:pt x="42" y="53"/>
                </a:moveTo>
                <a:cubicBezTo>
                  <a:pt x="42" y="52"/>
                  <a:pt x="44" y="51"/>
                  <a:pt x="45" y="51"/>
                </a:cubicBezTo>
                <a:cubicBezTo>
                  <a:pt x="46" y="51"/>
                  <a:pt x="46" y="51"/>
                  <a:pt x="46" y="51"/>
                </a:cubicBezTo>
                <a:cubicBezTo>
                  <a:pt x="48" y="51"/>
                  <a:pt x="48" y="51"/>
                  <a:pt x="48" y="51"/>
                </a:cubicBezTo>
                <a:cubicBezTo>
                  <a:pt x="49" y="51"/>
                  <a:pt x="49" y="51"/>
                  <a:pt x="49" y="51"/>
                </a:cubicBezTo>
                <a:cubicBezTo>
                  <a:pt x="51" y="51"/>
                  <a:pt x="52" y="52"/>
                  <a:pt x="52" y="53"/>
                </a:cubicBezTo>
                <a:cubicBezTo>
                  <a:pt x="52" y="55"/>
                  <a:pt x="51" y="56"/>
                  <a:pt x="49" y="56"/>
                </a:cubicBezTo>
                <a:cubicBezTo>
                  <a:pt x="48" y="56"/>
                  <a:pt x="48" y="56"/>
                  <a:pt x="48" y="56"/>
                </a:cubicBezTo>
                <a:cubicBezTo>
                  <a:pt x="46" y="56"/>
                  <a:pt x="46" y="56"/>
                  <a:pt x="46" y="56"/>
                </a:cubicBezTo>
                <a:cubicBezTo>
                  <a:pt x="45" y="56"/>
                  <a:pt x="45" y="56"/>
                  <a:pt x="45" y="56"/>
                </a:cubicBezTo>
                <a:cubicBezTo>
                  <a:pt x="44" y="56"/>
                  <a:pt x="42" y="55"/>
                  <a:pt x="42" y="53"/>
                </a:cubicBezTo>
                <a:close/>
                <a:moveTo>
                  <a:pt x="64" y="53"/>
                </a:moveTo>
                <a:cubicBezTo>
                  <a:pt x="64" y="52"/>
                  <a:pt x="65" y="51"/>
                  <a:pt x="67" y="51"/>
                </a:cubicBezTo>
                <a:cubicBezTo>
                  <a:pt x="68" y="51"/>
                  <a:pt x="68" y="51"/>
                  <a:pt x="68" y="51"/>
                </a:cubicBezTo>
                <a:cubicBezTo>
                  <a:pt x="70" y="51"/>
                  <a:pt x="70" y="51"/>
                  <a:pt x="70" y="51"/>
                </a:cubicBezTo>
                <a:cubicBezTo>
                  <a:pt x="71" y="51"/>
                  <a:pt x="71" y="51"/>
                  <a:pt x="71" y="51"/>
                </a:cubicBezTo>
                <a:cubicBezTo>
                  <a:pt x="73" y="51"/>
                  <a:pt x="74" y="52"/>
                  <a:pt x="74" y="53"/>
                </a:cubicBezTo>
                <a:cubicBezTo>
                  <a:pt x="74" y="55"/>
                  <a:pt x="73" y="56"/>
                  <a:pt x="71" y="56"/>
                </a:cubicBezTo>
                <a:cubicBezTo>
                  <a:pt x="70" y="56"/>
                  <a:pt x="70" y="56"/>
                  <a:pt x="70" y="56"/>
                </a:cubicBezTo>
                <a:cubicBezTo>
                  <a:pt x="68" y="56"/>
                  <a:pt x="68" y="56"/>
                  <a:pt x="68" y="56"/>
                </a:cubicBezTo>
                <a:cubicBezTo>
                  <a:pt x="67" y="56"/>
                  <a:pt x="67" y="56"/>
                  <a:pt x="67" y="56"/>
                </a:cubicBezTo>
                <a:cubicBezTo>
                  <a:pt x="65" y="56"/>
                  <a:pt x="64" y="55"/>
                  <a:pt x="64" y="53"/>
                </a:cubicBezTo>
                <a:close/>
                <a:moveTo>
                  <a:pt x="75" y="53"/>
                </a:moveTo>
                <a:cubicBezTo>
                  <a:pt x="75" y="52"/>
                  <a:pt x="76" y="51"/>
                  <a:pt x="78" y="51"/>
                </a:cubicBezTo>
                <a:cubicBezTo>
                  <a:pt x="79" y="51"/>
                  <a:pt x="79" y="51"/>
                  <a:pt x="79" y="51"/>
                </a:cubicBezTo>
                <a:cubicBezTo>
                  <a:pt x="81" y="51"/>
                  <a:pt x="81" y="51"/>
                  <a:pt x="81" y="51"/>
                </a:cubicBezTo>
                <a:cubicBezTo>
                  <a:pt x="82" y="51"/>
                  <a:pt x="82" y="51"/>
                  <a:pt x="82" y="51"/>
                </a:cubicBezTo>
                <a:cubicBezTo>
                  <a:pt x="84" y="51"/>
                  <a:pt x="85" y="52"/>
                  <a:pt x="85" y="53"/>
                </a:cubicBezTo>
                <a:cubicBezTo>
                  <a:pt x="85" y="55"/>
                  <a:pt x="84" y="56"/>
                  <a:pt x="82" y="56"/>
                </a:cubicBezTo>
                <a:cubicBezTo>
                  <a:pt x="81" y="56"/>
                  <a:pt x="81" y="56"/>
                  <a:pt x="81" y="56"/>
                </a:cubicBezTo>
                <a:cubicBezTo>
                  <a:pt x="79" y="56"/>
                  <a:pt x="79" y="56"/>
                  <a:pt x="79" y="56"/>
                </a:cubicBezTo>
                <a:cubicBezTo>
                  <a:pt x="78" y="56"/>
                  <a:pt x="78" y="56"/>
                  <a:pt x="78" y="56"/>
                </a:cubicBezTo>
                <a:cubicBezTo>
                  <a:pt x="76" y="56"/>
                  <a:pt x="75" y="55"/>
                  <a:pt x="75" y="53"/>
                </a:cubicBezTo>
                <a:close/>
                <a:moveTo>
                  <a:pt x="90" y="101"/>
                </a:moveTo>
                <a:cubicBezTo>
                  <a:pt x="93" y="101"/>
                  <a:pt x="93" y="101"/>
                  <a:pt x="93" y="101"/>
                </a:cubicBezTo>
                <a:cubicBezTo>
                  <a:pt x="94" y="101"/>
                  <a:pt x="96" y="103"/>
                  <a:pt x="96" y="104"/>
                </a:cubicBezTo>
                <a:cubicBezTo>
                  <a:pt x="96" y="105"/>
                  <a:pt x="94" y="107"/>
                  <a:pt x="93" y="107"/>
                </a:cubicBezTo>
                <a:cubicBezTo>
                  <a:pt x="90" y="107"/>
                  <a:pt x="90" y="107"/>
                  <a:pt x="90" y="107"/>
                </a:cubicBezTo>
                <a:cubicBezTo>
                  <a:pt x="89" y="107"/>
                  <a:pt x="88" y="105"/>
                  <a:pt x="88" y="104"/>
                </a:cubicBezTo>
                <a:cubicBezTo>
                  <a:pt x="88" y="103"/>
                  <a:pt x="89" y="101"/>
                  <a:pt x="90" y="101"/>
                </a:cubicBezTo>
                <a:close/>
                <a:moveTo>
                  <a:pt x="74" y="104"/>
                </a:moveTo>
                <a:cubicBezTo>
                  <a:pt x="74" y="105"/>
                  <a:pt x="73" y="107"/>
                  <a:pt x="71" y="107"/>
                </a:cubicBezTo>
                <a:cubicBezTo>
                  <a:pt x="68" y="107"/>
                  <a:pt x="68" y="107"/>
                  <a:pt x="68" y="107"/>
                </a:cubicBezTo>
                <a:cubicBezTo>
                  <a:pt x="67" y="107"/>
                  <a:pt x="66" y="105"/>
                  <a:pt x="66" y="104"/>
                </a:cubicBezTo>
                <a:cubicBezTo>
                  <a:pt x="66" y="103"/>
                  <a:pt x="67" y="101"/>
                  <a:pt x="68" y="101"/>
                </a:cubicBezTo>
                <a:cubicBezTo>
                  <a:pt x="71" y="101"/>
                  <a:pt x="71" y="101"/>
                  <a:pt x="71" y="101"/>
                </a:cubicBezTo>
                <a:cubicBezTo>
                  <a:pt x="73" y="101"/>
                  <a:pt x="74" y="103"/>
                  <a:pt x="74" y="104"/>
                </a:cubicBezTo>
                <a:close/>
                <a:moveTo>
                  <a:pt x="23" y="56"/>
                </a:moveTo>
                <a:cubicBezTo>
                  <a:pt x="22" y="56"/>
                  <a:pt x="21" y="55"/>
                  <a:pt x="21" y="53"/>
                </a:cubicBezTo>
                <a:cubicBezTo>
                  <a:pt x="21" y="52"/>
                  <a:pt x="22" y="51"/>
                  <a:pt x="23" y="51"/>
                </a:cubicBezTo>
                <a:cubicBezTo>
                  <a:pt x="25" y="51"/>
                  <a:pt x="25" y="51"/>
                  <a:pt x="25" y="51"/>
                </a:cubicBezTo>
                <a:cubicBezTo>
                  <a:pt x="26" y="51"/>
                  <a:pt x="26" y="51"/>
                  <a:pt x="26" y="51"/>
                </a:cubicBezTo>
                <a:cubicBezTo>
                  <a:pt x="27" y="51"/>
                  <a:pt x="27" y="51"/>
                  <a:pt x="27" y="51"/>
                </a:cubicBezTo>
                <a:cubicBezTo>
                  <a:pt x="29" y="51"/>
                  <a:pt x="30" y="52"/>
                  <a:pt x="30" y="53"/>
                </a:cubicBezTo>
                <a:cubicBezTo>
                  <a:pt x="30" y="55"/>
                  <a:pt x="29" y="56"/>
                  <a:pt x="27" y="56"/>
                </a:cubicBezTo>
                <a:cubicBezTo>
                  <a:pt x="26" y="56"/>
                  <a:pt x="26" y="56"/>
                  <a:pt x="26" y="56"/>
                </a:cubicBezTo>
                <a:cubicBezTo>
                  <a:pt x="25" y="56"/>
                  <a:pt x="25" y="56"/>
                  <a:pt x="25" y="56"/>
                </a:cubicBezTo>
                <a:lnTo>
                  <a:pt x="23" y="56"/>
                </a:lnTo>
                <a:close/>
                <a:moveTo>
                  <a:pt x="52" y="104"/>
                </a:moveTo>
                <a:cubicBezTo>
                  <a:pt x="52" y="105"/>
                  <a:pt x="51" y="107"/>
                  <a:pt x="49" y="107"/>
                </a:cubicBezTo>
                <a:cubicBezTo>
                  <a:pt x="46" y="107"/>
                  <a:pt x="46" y="107"/>
                  <a:pt x="46" y="107"/>
                </a:cubicBezTo>
                <a:cubicBezTo>
                  <a:pt x="45" y="107"/>
                  <a:pt x="44" y="105"/>
                  <a:pt x="44" y="104"/>
                </a:cubicBezTo>
                <a:cubicBezTo>
                  <a:pt x="44" y="103"/>
                  <a:pt x="45" y="101"/>
                  <a:pt x="46" y="101"/>
                </a:cubicBezTo>
                <a:cubicBezTo>
                  <a:pt x="49" y="101"/>
                  <a:pt x="49" y="101"/>
                  <a:pt x="49" y="101"/>
                </a:cubicBezTo>
                <a:cubicBezTo>
                  <a:pt x="51" y="101"/>
                  <a:pt x="52" y="103"/>
                  <a:pt x="52" y="104"/>
                </a:cubicBezTo>
                <a:close/>
                <a:moveTo>
                  <a:pt x="16" y="101"/>
                </a:moveTo>
                <a:cubicBezTo>
                  <a:pt x="18" y="101"/>
                  <a:pt x="19" y="103"/>
                  <a:pt x="19" y="104"/>
                </a:cubicBezTo>
                <a:cubicBezTo>
                  <a:pt x="19" y="105"/>
                  <a:pt x="18" y="107"/>
                  <a:pt x="16" y="107"/>
                </a:cubicBezTo>
                <a:cubicBezTo>
                  <a:pt x="14" y="107"/>
                  <a:pt x="14" y="107"/>
                  <a:pt x="14" y="107"/>
                </a:cubicBezTo>
                <a:cubicBezTo>
                  <a:pt x="12" y="107"/>
                  <a:pt x="11" y="105"/>
                  <a:pt x="11" y="104"/>
                </a:cubicBezTo>
                <a:cubicBezTo>
                  <a:pt x="11" y="103"/>
                  <a:pt x="12" y="101"/>
                  <a:pt x="14" y="101"/>
                </a:cubicBezTo>
                <a:lnTo>
                  <a:pt x="16" y="101"/>
                </a:lnTo>
                <a:close/>
                <a:moveTo>
                  <a:pt x="27" y="101"/>
                </a:moveTo>
                <a:cubicBezTo>
                  <a:pt x="29" y="101"/>
                  <a:pt x="30" y="103"/>
                  <a:pt x="30" y="104"/>
                </a:cubicBezTo>
                <a:cubicBezTo>
                  <a:pt x="30" y="105"/>
                  <a:pt x="29" y="107"/>
                  <a:pt x="27" y="107"/>
                </a:cubicBezTo>
                <a:cubicBezTo>
                  <a:pt x="25" y="107"/>
                  <a:pt x="25" y="107"/>
                  <a:pt x="25" y="107"/>
                </a:cubicBezTo>
                <a:cubicBezTo>
                  <a:pt x="23" y="107"/>
                  <a:pt x="22" y="105"/>
                  <a:pt x="22" y="104"/>
                </a:cubicBezTo>
                <a:cubicBezTo>
                  <a:pt x="22" y="103"/>
                  <a:pt x="23" y="101"/>
                  <a:pt x="25" y="101"/>
                </a:cubicBezTo>
                <a:lnTo>
                  <a:pt x="27" y="101"/>
                </a:lnTo>
                <a:close/>
                <a:moveTo>
                  <a:pt x="61" y="141"/>
                </a:moveTo>
                <a:cubicBezTo>
                  <a:pt x="61" y="143"/>
                  <a:pt x="60" y="144"/>
                  <a:pt x="59" y="144"/>
                </a:cubicBezTo>
                <a:cubicBezTo>
                  <a:pt x="3" y="144"/>
                  <a:pt x="3" y="144"/>
                  <a:pt x="3" y="144"/>
                </a:cubicBezTo>
                <a:cubicBezTo>
                  <a:pt x="1" y="144"/>
                  <a:pt x="0" y="143"/>
                  <a:pt x="0" y="141"/>
                </a:cubicBezTo>
                <a:cubicBezTo>
                  <a:pt x="0" y="140"/>
                  <a:pt x="1" y="139"/>
                  <a:pt x="3" y="139"/>
                </a:cubicBezTo>
                <a:cubicBezTo>
                  <a:pt x="59" y="139"/>
                  <a:pt x="59" y="139"/>
                  <a:pt x="59" y="139"/>
                </a:cubicBezTo>
                <a:cubicBezTo>
                  <a:pt x="60" y="139"/>
                  <a:pt x="61" y="140"/>
                  <a:pt x="61" y="141"/>
                </a:cubicBezTo>
                <a:close/>
                <a:moveTo>
                  <a:pt x="160" y="141"/>
                </a:moveTo>
                <a:cubicBezTo>
                  <a:pt x="160" y="143"/>
                  <a:pt x="159" y="144"/>
                  <a:pt x="157" y="144"/>
                </a:cubicBezTo>
                <a:cubicBezTo>
                  <a:pt x="101" y="144"/>
                  <a:pt x="101" y="144"/>
                  <a:pt x="101" y="144"/>
                </a:cubicBezTo>
                <a:cubicBezTo>
                  <a:pt x="100" y="144"/>
                  <a:pt x="99" y="143"/>
                  <a:pt x="99" y="141"/>
                </a:cubicBezTo>
                <a:cubicBezTo>
                  <a:pt x="99" y="140"/>
                  <a:pt x="100" y="139"/>
                  <a:pt x="101" y="139"/>
                </a:cubicBezTo>
                <a:cubicBezTo>
                  <a:pt x="157" y="139"/>
                  <a:pt x="157" y="139"/>
                  <a:pt x="157" y="139"/>
                </a:cubicBezTo>
                <a:cubicBezTo>
                  <a:pt x="159" y="139"/>
                  <a:pt x="160" y="140"/>
                  <a:pt x="160" y="141"/>
                </a:cubicBezTo>
                <a:close/>
                <a:moveTo>
                  <a:pt x="67" y="121"/>
                </a:moveTo>
                <a:cubicBezTo>
                  <a:pt x="63" y="117"/>
                  <a:pt x="63" y="117"/>
                  <a:pt x="63" y="117"/>
                </a:cubicBezTo>
                <a:cubicBezTo>
                  <a:pt x="77" y="103"/>
                  <a:pt x="77" y="103"/>
                  <a:pt x="77" y="103"/>
                </a:cubicBezTo>
                <a:cubicBezTo>
                  <a:pt x="77" y="102"/>
                  <a:pt x="78" y="101"/>
                  <a:pt x="79" y="101"/>
                </a:cubicBezTo>
                <a:cubicBezTo>
                  <a:pt x="82" y="101"/>
                  <a:pt x="82" y="101"/>
                  <a:pt x="82" y="101"/>
                </a:cubicBezTo>
                <a:cubicBezTo>
                  <a:pt x="84" y="101"/>
                  <a:pt x="85" y="103"/>
                  <a:pt x="85" y="104"/>
                </a:cubicBezTo>
                <a:cubicBezTo>
                  <a:pt x="85" y="105"/>
                  <a:pt x="84" y="107"/>
                  <a:pt x="82" y="107"/>
                </a:cubicBezTo>
                <a:cubicBezTo>
                  <a:pt x="81" y="107"/>
                  <a:pt x="81" y="107"/>
                  <a:pt x="81" y="107"/>
                </a:cubicBezTo>
                <a:lnTo>
                  <a:pt x="67" y="121"/>
                </a:lnTo>
                <a:close/>
                <a:moveTo>
                  <a:pt x="93" y="114"/>
                </a:moveTo>
                <a:cubicBezTo>
                  <a:pt x="79" y="128"/>
                  <a:pt x="79" y="128"/>
                  <a:pt x="79" y="128"/>
                </a:cubicBezTo>
                <a:cubicBezTo>
                  <a:pt x="72" y="129"/>
                  <a:pt x="67" y="134"/>
                  <a:pt x="67" y="141"/>
                </a:cubicBezTo>
                <a:cubicBezTo>
                  <a:pt x="67" y="149"/>
                  <a:pt x="73" y="155"/>
                  <a:pt x="80" y="155"/>
                </a:cubicBezTo>
                <a:cubicBezTo>
                  <a:pt x="87" y="155"/>
                  <a:pt x="93" y="149"/>
                  <a:pt x="93" y="141"/>
                </a:cubicBezTo>
                <a:cubicBezTo>
                  <a:pt x="93" y="136"/>
                  <a:pt x="90" y="131"/>
                  <a:pt x="85" y="129"/>
                </a:cubicBezTo>
                <a:cubicBezTo>
                  <a:pt x="97" y="118"/>
                  <a:pt x="97" y="118"/>
                  <a:pt x="97" y="118"/>
                </a:cubicBezTo>
                <a:lnTo>
                  <a:pt x="93" y="114"/>
                </a:lnTo>
                <a:close/>
                <a:moveTo>
                  <a:pt x="88" y="141"/>
                </a:moveTo>
                <a:cubicBezTo>
                  <a:pt x="88" y="146"/>
                  <a:pt x="84" y="149"/>
                  <a:pt x="80" y="149"/>
                </a:cubicBezTo>
                <a:cubicBezTo>
                  <a:pt x="76" y="149"/>
                  <a:pt x="72" y="146"/>
                  <a:pt x="72" y="141"/>
                </a:cubicBezTo>
                <a:cubicBezTo>
                  <a:pt x="72" y="137"/>
                  <a:pt x="76" y="133"/>
                  <a:pt x="80" y="133"/>
                </a:cubicBezTo>
                <a:cubicBezTo>
                  <a:pt x="84" y="133"/>
                  <a:pt x="88" y="137"/>
                  <a:pt x="88" y="14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52" name="Freeform 1354">
            <a:extLst>
              <a:ext uri="{FF2B5EF4-FFF2-40B4-BE49-F238E27FC236}">
                <a16:creationId xmlns:a16="http://schemas.microsoft.com/office/drawing/2014/main" id="{4EC940D8-1BF9-6947-844E-019FE60A1B57}"/>
              </a:ext>
            </a:extLst>
          </p:cNvPr>
          <p:cNvSpPr>
            <a:spLocks noEditPoints="1"/>
          </p:cNvSpPr>
          <p:nvPr/>
        </p:nvSpPr>
        <p:spPr bwMode="auto">
          <a:xfrm>
            <a:off x="6220987" y="5938838"/>
            <a:ext cx="546100" cy="530225"/>
          </a:xfrm>
          <a:custGeom>
            <a:avLst/>
            <a:gdLst>
              <a:gd name="T0" fmla="*/ 28 w 160"/>
              <a:gd name="T1" fmla="*/ 16 h 154"/>
              <a:gd name="T2" fmla="*/ 28 w 160"/>
              <a:gd name="T3" fmla="*/ 35 h 154"/>
              <a:gd name="T4" fmla="*/ 133 w 160"/>
              <a:gd name="T5" fmla="*/ 21 h 154"/>
              <a:gd name="T6" fmla="*/ 123 w 160"/>
              <a:gd name="T7" fmla="*/ 21 h 154"/>
              <a:gd name="T8" fmla="*/ 139 w 160"/>
              <a:gd name="T9" fmla="*/ 29 h 154"/>
              <a:gd name="T10" fmla="*/ 128 w 160"/>
              <a:gd name="T11" fmla="*/ 29 h 154"/>
              <a:gd name="T12" fmla="*/ 112 w 160"/>
              <a:gd name="T13" fmla="*/ 21 h 154"/>
              <a:gd name="T14" fmla="*/ 117 w 160"/>
              <a:gd name="T15" fmla="*/ 29 h 154"/>
              <a:gd name="T16" fmla="*/ 101 w 160"/>
              <a:gd name="T17" fmla="*/ 21 h 154"/>
              <a:gd name="T18" fmla="*/ 107 w 160"/>
              <a:gd name="T19" fmla="*/ 29 h 154"/>
              <a:gd name="T20" fmla="*/ 91 w 160"/>
              <a:gd name="T21" fmla="*/ 21 h 154"/>
              <a:gd name="T22" fmla="*/ 96 w 160"/>
              <a:gd name="T23" fmla="*/ 29 h 154"/>
              <a:gd name="T24" fmla="*/ 0 w 160"/>
              <a:gd name="T25" fmla="*/ 12 h 154"/>
              <a:gd name="T26" fmla="*/ 12 w 160"/>
              <a:gd name="T27" fmla="*/ 107 h 154"/>
              <a:gd name="T28" fmla="*/ 155 w 160"/>
              <a:gd name="T29" fmla="*/ 53 h 154"/>
              <a:gd name="T30" fmla="*/ 12 w 160"/>
              <a:gd name="T31" fmla="*/ 101 h 154"/>
              <a:gd name="T32" fmla="*/ 155 w 160"/>
              <a:gd name="T33" fmla="*/ 63 h 154"/>
              <a:gd name="T34" fmla="*/ 148 w 160"/>
              <a:gd name="T35" fmla="*/ 5 h 154"/>
              <a:gd name="T36" fmla="*/ 28 w 160"/>
              <a:gd name="T37" fmla="*/ 91 h 154"/>
              <a:gd name="T38" fmla="*/ 28 w 160"/>
              <a:gd name="T39" fmla="*/ 72 h 154"/>
              <a:gd name="T40" fmla="*/ 83 w 160"/>
              <a:gd name="T41" fmla="*/ 131 h 154"/>
              <a:gd name="T42" fmla="*/ 86 w 160"/>
              <a:gd name="T43" fmla="*/ 136 h 154"/>
              <a:gd name="T44" fmla="*/ 83 w 160"/>
              <a:gd name="T45" fmla="*/ 154 h 154"/>
              <a:gd name="T46" fmla="*/ 88 w 160"/>
              <a:gd name="T47" fmla="*/ 149 h 154"/>
              <a:gd name="T48" fmla="*/ 90 w 160"/>
              <a:gd name="T49" fmla="*/ 147 h 154"/>
              <a:gd name="T50" fmla="*/ 77 w 160"/>
              <a:gd name="T51" fmla="*/ 152 h 154"/>
              <a:gd name="T52" fmla="*/ 74 w 160"/>
              <a:gd name="T53" fmla="*/ 147 h 154"/>
              <a:gd name="T54" fmla="*/ 76 w 160"/>
              <a:gd name="T55" fmla="*/ 134 h 154"/>
              <a:gd name="T56" fmla="*/ 80 w 160"/>
              <a:gd name="T57" fmla="*/ 130 h 154"/>
              <a:gd name="T58" fmla="*/ 67 w 160"/>
              <a:gd name="T59" fmla="*/ 138 h 154"/>
              <a:gd name="T60" fmla="*/ 133 w 160"/>
              <a:gd name="T61" fmla="*/ 72 h 154"/>
              <a:gd name="T62" fmla="*/ 123 w 160"/>
              <a:gd name="T63" fmla="*/ 72 h 154"/>
              <a:gd name="T64" fmla="*/ 139 w 160"/>
              <a:gd name="T65" fmla="*/ 80 h 154"/>
              <a:gd name="T66" fmla="*/ 128 w 160"/>
              <a:gd name="T67" fmla="*/ 80 h 154"/>
              <a:gd name="T68" fmla="*/ 112 w 160"/>
              <a:gd name="T69" fmla="*/ 72 h 154"/>
              <a:gd name="T70" fmla="*/ 117 w 160"/>
              <a:gd name="T71" fmla="*/ 80 h 154"/>
              <a:gd name="T72" fmla="*/ 101 w 160"/>
              <a:gd name="T73" fmla="*/ 72 h 154"/>
              <a:gd name="T74" fmla="*/ 107 w 160"/>
              <a:gd name="T75" fmla="*/ 80 h 154"/>
              <a:gd name="T76" fmla="*/ 91 w 160"/>
              <a:gd name="T77" fmla="*/ 72 h 154"/>
              <a:gd name="T78" fmla="*/ 96 w 160"/>
              <a:gd name="T79" fmla="*/ 80 h 154"/>
              <a:gd name="T80" fmla="*/ 61 w 160"/>
              <a:gd name="T81" fmla="*/ 141 h 154"/>
              <a:gd name="T82" fmla="*/ 59 w 160"/>
              <a:gd name="T83" fmla="*/ 139 h 154"/>
              <a:gd name="T84" fmla="*/ 32 w 160"/>
              <a:gd name="T85" fmla="*/ 141 h 154"/>
              <a:gd name="T86" fmla="*/ 48 w 160"/>
              <a:gd name="T87" fmla="*/ 144 h 154"/>
              <a:gd name="T88" fmla="*/ 51 w 160"/>
              <a:gd name="T89" fmla="*/ 141 h 154"/>
              <a:gd name="T90" fmla="*/ 3 w 160"/>
              <a:gd name="T91" fmla="*/ 139 h 154"/>
              <a:gd name="T92" fmla="*/ 13 w 160"/>
              <a:gd name="T93" fmla="*/ 144 h 154"/>
              <a:gd name="T94" fmla="*/ 29 w 160"/>
              <a:gd name="T95" fmla="*/ 141 h 154"/>
              <a:gd name="T96" fmla="*/ 27 w 160"/>
              <a:gd name="T97" fmla="*/ 139 h 154"/>
              <a:gd name="T98" fmla="*/ 99 w 160"/>
              <a:gd name="T99" fmla="*/ 141 h 154"/>
              <a:gd name="T100" fmla="*/ 125 w 160"/>
              <a:gd name="T101" fmla="*/ 144 h 154"/>
              <a:gd name="T102" fmla="*/ 128 w 160"/>
              <a:gd name="T103" fmla="*/ 141 h 154"/>
              <a:gd name="T104" fmla="*/ 112 w 160"/>
              <a:gd name="T105" fmla="*/ 139 h 154"/>
              <a:gd name="T106" fmla="*/ 155 w 160"/>
              <a:gd name="T107" fmla="*/ 144 h 154"/>
              <a:gd name="T108" fmla="*/ 139 w 160"/>
              <a:gd name="T109" fmla="*/ 141 h 154"/>
              <a:gd name="T110" fmla="*/ 136 w 160"/>
              <a:gd name="T111" fmla="*/ 139 h 154"/>
              <a:gd name="T112" fmla="*/ 141 w 160"/>
              <a:gd name="T113" fmla="*/ 141 h 154"/>
              <a:gd name="T114" fmla="*/ 77 w 160"/>
              <a:gd name="T115" fmla="*/ 123 h 154"/>
              <a:gd name="T116" fmla="*/ 80 w 160"/>
              <a:gd name="T117" fmla="*/ 125 h 154"/>
              <a:gd name="T118" fmla="*/ 77 w 160"/>
              <a:gd name="T119" fmla="*/ 1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54">
                <a:moveTo>
                  <a:pt x="28" y="16"/>
                </a:moveTo>
                <a:cubicBezTo>
                  <a:pt x="21" y="16"/>
                  <a:pt x="16" y="21"/>
                  <a:pt x="16" y="28"/>
                </a:cubicBezTo>
                <a:cubicBezTo>
                  <a:pt x="16" y="35"/>
                  <a:pt x="21" y="40"/>
                  <a:pt x="28" y="40"/>
                </a:cubicBezTo>
                <a:cubicBezTo>
                  <a:pt x="35" y="40"/>
                  <a:pt x="40" y="35"/>
                  <a:pt x="40" y="28"/>
                </a:cubicBezTo>
                <a:cubicBezTo>
                  <a:pt x="40" y="21"/>
                  <a:pt x="35" y="16"/>
                  <a:pt x="28" y="16"/>
                </a:cubicBezTo>
                <a:close/>
                <a:moveTo>
                  <a:pt x="28" y="35"/>
                </a:moveTo>
                <a:cubicBezTo>
                  <a:pt x="24" y="35"/>
                  <a:pt x="21" y="32"/>
                  <a:pt x="21" y="28"/>
                </a:cubicBezTo>
                <a:cubicBezTo>
                  <a:pt x="21" y="24"/>
                  <a:pt x="24" y="21"/>
                  <a:pt x="28" y="21"/>
                </a:cubicBezTo>
                <a:cubicBezTo>
                  <a:pt x="32" y="21"/>
                  <a:pt x="35" y="24"/>
                  <a:pt x="35" y="28"/>
                </a:cubicBezTo>
                <a:cubicBezTo>
                  <a:pt x="35" y="32"/>
                  <a:pt x="32" y="35"/>
                  <a:pt x="28" y="35"/>
                </a:cubicBezTo>
                <a:close/>
                <a:moveTo>
                  <a:pt x="133" y="21"/>
                </a:moveTo>
                <a:cubicBezTo>
                  <a:pt x="135" y="21"/>
                  <a:pt x="136" y="23"/>
                  <a:pt x="136" y="24"/>
                </a:cubicBezTo>
                <a:cubicBezTo>
                  <a:pt x="136" y="25"/>
                  <a:pt x="135" y="27"/>
                  <a:pt x="133" y="27"/>
                </a:cubicBezTo>
                <a:cubicBezTo>
                  <a:pt x="132" y="27"/>
                  <a:pt x="131" y="25"/>
                  <a:pt x="131" y="24"/>
                </a:cubicBezTo>
                <a:cubicBezTo>
                  <a:pt x="131" y="23"/>
                  <a:pt x="132" y="21"/>
                  <a:pt x="133" y="21"/>
                </a:cubicBezTo>
                <a:close/>
                <a:moveTo>
                  <a:pt x="123" y="21"/>
                </a:moveTo>
                <a:cubicBezTo>
                  <a:pt x="124" y="21"/>
                  <a:pt x="125" y="23"/>
                  <a:pt x="125" y="24"/>
                </a:cubicBezTo>
                <a:cubicBezTo>
                  <a:pt x="125" y="25"/>
                  <a:pt x="124" y="27"/>
                  <a:pt x="123" y="27"/>
                </a:cubicBezTo>
                <a:cubicBezTo>
                  <a:pt x="121" y="27"/>
                  <a:pt x="120" y="25"/>
                  <a:pt x="120" y="24"/>
                </a:cubicBezTo>
                <a:cubicBezTo>
                  <a:pt x="120" y="23"/>
                  <a:pt x="121" y="21"/>
                  <a:pt x="123" y="21"/>
                </a:cubicBezTo>
                <a:close/>
                <a:moveTo>
                  <a:pt x="139" y="29"/>
                </a:moveTo>
                <a:cubicBezTo>
                  <a:pt x="140" y="29"/>
                  <a:pt x="141" y="31"/>
                  <a:pt x="141" y="32"/>
                </a:cubicBezTo>
                <a:cubicBezTo>
                  <a:pt x="141" y="33"/>
                  <a:pt x="140" y="35"/>
                  <a:pt x="139" y="35"/>
                </a:cubicBezTo>
                <a:cubicBezTo>
                  <a:pt x="137" y="35"/>
                  <a:pt x="136" y="33"/>
                  <a:pt x="136" y="32"/>
                </a:cubicBezTo>
                <a:cubicBezTo>
                  <a:pt x="136" y="31"/>
                  <a:pt x="137" y="29"/>
                  <a:pt x="139" y="29"/>
                </a:cubicBezTo>
                <a:close/>
                <a:moveTo>
                  <a:pt x="128" y="29"/>
                </a:moveTo>
                <a:cubicBezTo>
                  <a:pt x="129" y="29"/>
                  <a:pt x="131" y="31"/>
                  <a:pt x="131" y="32"/>
                </a:cubicBezTo>
                <a:cubicBezTo>
                  <a:pt x="131" y="33"/>
                  <a:pt x="129" y="35"/>
                  <a:pt x="128" y="35"/>
                </a:cubicBezTo>
                <a:cubicBezTo>
                  <a:pt x="127" y="35"/>
                  <a:pt x="125" y="33"/>
                  <a:pt x="125" y="32"/>
                </a:cubicBezTo>
                <a:cubicBezTo>
                  <a:pt x="125" y="31"/>
                  <a:pt x="127" y="29"/>
                  <a:pt x="128" y="29"/>
                </a:cubicBezTo>
                <a:close/>
                <a:moveTo>
                  <a:pt x="112" y="21"/>
                </a:moveTo>
                <a:cubicBezTo>
                  <a:pt x="113" y="21"/>
                  <a:pt x="115" y="23"/>
                  <a:pt x="115" y="24"/>
                </a:cubicBezTo>
                <a:cubicBezTo>
                  <a:pt x="115" y="25"/>
                  <a:pt x="113" y="27"/>
                  <a:pt x="112" y="27"/>
                </a:cubicBezTo>
                <a:cubicBezTo>
                  <a:pt x="111" y="27"/>
                  <a:pt x="109" y="25"/>
                  <a:pt x="109" y="24"/>
                </a:cubicBezTo>
                <a:cubicBezTo>
                  <a:pt x="109" y="23"/>
                  <a:pt x="111" y="21"/>
                  <a:pt x="112" y="21"/>
                </a:cubicBezTo>
                <a:close/>
                <a:moveTo>
                  <a:pt x="117" y="29"/>
                </a:moveTo>
                <a:cubicBezTo>
                  <a:pt x="119" y="29"/>
                  <a:pt x="120" y="31"/>
                  <a:pt x="120" y="32"/>
                </a:cubicBezTo>
                <a:cubicBezTo>
                  <a:pt x="120" y="33"/>
                  <a:pt x="119" y="35"/>
                  <a:pt x="117" y="35"/>
                </a:cubicBezTo>
                <a:cubicBezTo>
                  <a:pt x="116" y="35"/>
                  <a:pt x="115" y="33"/>
                  <a:pt x="115" y="32"/>
                </a:cubicBezTo>
                <a:cubicBezTo>
                  <a:pt x="115" y="31"/>
                  <a:pt x="116" y="29"/>
                  <a:pt x="117" y="29"/>
                </a:cubicBezTo>
                <a:close/>
                <a:moveTo>
                  <a:pt x="101" y="21"/>
                </a:moveTo>
                <a:cubicBezTo>
                  <a:pt x="103" y="21"/>
                  <a:pt x="104" y="23"/>
                  <a:pt x="104" y="24"/>
                </a:cubicBezTo>
                <a:cubicBezTo>
                  <a:pt x="104" y="25"/>
                  <a:pt x="103" y="27"/>
                  <a:pt x="101" y="27"/>
                </a:cubicBezTo>
                <a:cubicBezTo>
                  <a:pt x="100" y="27"/>
                  <a:pt x="99" y="25"/>
                  <a:pt x="99" y="24"/>
                </a:cubicBezTo>
                <a:cubicBezTo>
                  <a:pt x="99" y="23"/>
                  <a:pt x="100" y="21"/>
                  <a:pt x="101" y="21"/>
                </a:cubicBezTo>
                <a:close/>
                <a:moveTo>
                  <a:pt x="107" y="29"/>
                </a:moveTo>
                <a:cubicBezTo>
                  <a:pt x="108" y="29"/>
                  <a:pt x="109" y="31"/>
                  <a:pt x="109" y="32"/>
                </a:cubicBezTo>
                <a:cubicBezTo>
                  <a:pt x="109" y="33"/>
                  <a:pt x="108" y="35"/>
                  <a:pt x="107" y="35"/>
                </a:cubicBezTo>
                <a:cubicBezTo>
                  <a:pt x="105" y="35"/>
                  <a:pt x="104" y="33"/>
                  <a:pt x="104" y="32"/>
                </a:cubicBezTo>
                <a:cubicBezTo>
                  <a:pt x="104" y="31"/>
                  <a:pt x="105" y="29"/>
                  <a:pt x="107" y="29"/>
                </a:cubicBezTo>
                <a:close/>
                <a:moveTo>
                  <a:pt x="91" y="21"/>
                </a:moveTo>
                <a:cubicBezTo>
                  <a:pt x="92" y="21"/>
                  <a:pt x="93" y="23"/>
                  <a:pt x="93" y="24"/>
                </a:cubicBezTo>
                <a:cubicBezTo>
                  <a:pt x="93" y="25"/>
                  <a:pt x="92" y="27"/>
                  <a:pt x="91" y="27"/>
                </a:cubicBezTo>
                <a:cubicBezTo>
                  <a:pt x="89" y="27"/>
                  <a:pt x="88" y="25"/>
                  <a:pt x="88" y="24"/>
                </a:cubicBezTo>
                <a:cubicBezTo>
                  <a:pt x="88" y="23"/>
                  <a:pt x="89" y="21"/>
                  <a:pt x="91" y="21"/>
                </a:cubicBezTo>
                <a:close/>
                <a:moveTo>
                  <a:pt x="96" y="29"/>
                </a:moveTo>
                <a:cubicBezTo>
                  <a:pt x="97" y="29"/>
                  <a:pt x="99" y="31"/>
                  <a:pt x="99" y="32"/>
                </a:cubicBezTo>
                <a:cubicBezTo>
                  <a:pt x="99" y="33"/>
                  <a:pt x="97" y="35"/>
                  <a:pt x="96" y="35"/>
                </a:cubicBezTo>
                <a:cubicBezTo>
                  <a:pt x="95" y="35"/>
                  <a:pt x="93" y="33"/>
                  <a:pt x="93" y="32"/>
                </a:cubicBezTo>
                <a:cubicBezTo>
                  <a:pt x="93" y="31"/>
                  <a:pt x="95" y="29"/>
                  <a:pt x="96" y="29"/>
                </a:cubicBezTo>
                <a:close/>
                <a:moveTo>
                  <a:pt x="160" y="44"/>
                </a:moveTo>
                <a:cubicBezTo>
                  <a:pt x="160" y="12"/>
                  <a:pt x="160" y="12"/>
                  <a:pt x="160" y="12"/>
                </a:cubicBezTo>
                <a:cubicBezTo>
                  <a:pt x="160" y="6"/>
                  <a:pt x="154" y="0"/>
                  <a:pt x="148" y="0"/>
                </a:cubicBezTo>
                <a:cubicBezTo>
                  <a:pt x="12" y="0"/>
                  <a:pt x="12" y="0"/>
                  <a:pt x="12" y="0"/>
                </a:cubicBezTo>
                <a:cubicBezTo>
                  <a:pt x="6" y="0"/>
                  <a:pt x="0" y="6"/>
                  <a:pt x="0" y="12"/>
                </a:cubicBezTo>
                <a:cubicBezTo>
                  <a:pt x="0" y="44"/>
                  <a:pt x="0" y="44"/>
                  <a:pt x="0" y="44"/>
                </a:cubicBezTo>
                <a:cubicBezTo>
                  <a:pt x="0" y="48"/>
                  <a:pt x="2" y="51"/>
                  <a:pt x="5" y="53"/>
                </a:cubicBezTo>
                <a:cubicBezTo>
                  <a:pt x="2" y="56"/>
                  <a:pt x="0" y="59"/>
                  <a:pt x="0" y="63"/>
                </a:cubicBezTo>
                <a:cubicBezTo>
                  <a:pt x="0" y="94"/>
                  <a:pt x="0" y="94"/>
                  <a:pt x="0" y="94"/>
                </a:cubicBezTo>
                <a:cubicBezTo>
                  <a:pt x="0" y="101"/>
                  <a:pt x="6" y="107"/>
                  <a:pt x="12" y="107"/>
                </a:cubicBezTo>
                <a:cubicBezTo>
                  <a:pt x="80" y="107"/>
                  <a:pt x="80" y="107"/>
                  <a:pt x="80" y="107"/>
                </a:cubicBezTo>
                <a:cubicBezTo>
                  <a:pt x="148" y="107"/>
                  <a:pt x="148" y="107"/>
                  <a:pt x="148" y="107"/>
                </a:cubicBezTo>
                <a:cubicBezTo>
                  <a:pt x="154" y="107"/>
                  <a:pt x="160" y="101"/>
                  <a:pt x="160" y="94"/>
                </a:cubicBezTo>
                <a:cubicBezTo>
                  <a:pt x="160" y="63"/>
                  <a:pt x="160" y="63"/>
                  <a:pt x="160" y="63"/>
                </a:cubicBezTo>
                <a:cubicBezTo>
                  <a:pt x="160" y="59"/>
                  <a:pt x="158" y="56"/>
                  <a:pt x="155" y="53"/>
                </a:cubicBezTo>
                <a:cubicBezTo>
                  <a:pt x="158" y="51"/>
                  <a:pt x="160" y="48"/>
                  <a:pt x="160" y="44"/>
                </a:cubicBezTo>
                <a:close/>
                <a:moveTo>
                  <a:pt x="155" y="63"/>
                </a:moveTo>
                <a:cubicBezTo>
                  <a:pt x="155" y="94"/>
                  <a:pt x="155" y="94"/>
                  <a:pt x="155" y="94"/>
                </a:cubicBezTo>
                <a:cubicBezTo>
                  <a:pt x="155" y="98"/>
                  <a:pt x="152" y="101"/>
                  <a:pt x="148" y="101"/>
                </a:cubicBezTo>
                <a:cubicBezTo>
                  <a:pt x="12" y="101"/>
                  <a:pt x="12" y="101"/>
                  <a:pt x="12" y="101"/>
                </a:cubicBezTo>
                <a:cubicBezTo>
                  <a:pt x="8" y="101"/>
                  <a:pt x="5" y="98"/>
                  <a:pt x="5" y="94"/>
                </a:cubicBezTo>
                <a:cubicBezTo>
                  <a:pt x="5" y="63"/>
                  <a:pt x="5" y="63"/>
                  <a:pt x="5" y="63"/>
                </a:cubicBezTo>
                <a:cubicBezTo>
                  <a:pt x="5" y="59"/>
                  <a:pt x="8" y="56"/>
                  <a:pt x="12" y="56"/>
                </a:cubicBezTo>
                <a:cubicBezTo>
                  <a:pt x="148" y="56"/>
                  <a:pt x="148" y="56"/>
                  <a:pt x="148" y="56"/>
                </a:cubicBezTo>
                <a:cubicBezTo>
                  <a:pt x="152" y="56"/>
                  <a:pt x="155" y="59"/>
                  <a:pt x="155" y="63"/>
                </a:cubicBezTo>
                <a:close/>
                <a:moveTo>
                  <a:pt x="12" y="51"/>
                </a:moveTo>
                <a:cubicBezTo>
                  <a:pt x="8" y="51"/>
                  <a:pt x="5" y="48"/>
                  <a:pt x="5" y="44"/>
                </a:cubicBezTo>
                <a:cubicBezTo>
                  <a:pt x="5" y="12"/>
                  <a:pt x="5" y="12"/>
                  <a:pt x="5" y="12"/>
                </a:cubicBezTo>
                <a:cubicBezTo>
                  <a:pt x="5" y="8"/>
                  <a:pt x="8" y="5"/>
                  <a:pt x="12" y="5"/>
                </a:cubicBezTo>
                <a:cubicBezTo>
                  <a:pt x="148" y="5"/>
                  <a:pt x="148" y="5"/>
                  <a:pt x="148" y="5"/>
                </a:cubicBezTo>
                <a:cubicBezTo>
                  <a:pt x="152" y="5"/>
                  <a:pt x="155" y="8"/>
                  <a:pt x="155" y="12"/>
                </a:cubicBezTo>
                <a:cubicBezTo>
                  <a:pt x="155" y="44"/>
                  <a:pt x="155" y="44"/>
                  <a:pt x="155" y="44"/>
                </a:cubicBezTo>
                <a:cubicBezTo>
                  <a:pt x="155" y="48"/>
                  <a:pt x="152" y="51"/>
                  <a:pt x="148" y="51"/>
                </a:cubicBezTo>
                <a:cubicBezTo>
                  <a:pt x="12" y="51"/>
                  <a:pt x="12" y="51"/>
                  <a:pt x="12" y="51"/>
                </a:cubicBezTo>
                <a:close/>
                <a:moveTo>
                  <a:pt x="28" y="91"/>
                </a:moveTo>
                <a:cubicBezTo>
                  <a:pt x="35" y="91"/>
                  <a:pt x="40" y="85"/>
                  <a:pt x="40" y="79"/>
                </a:cubicBezTo>
                <a:cubicBezTo>
                  <a:pt x="40" y="72"/>
                  <a:pt x="35" y="67"/>
                  <a:pt x="28" y="67"/>
                </a:cubicBezTo>
                <a:cubicBezTo>
                  <a:pt x="21" y="67"/>
                  <a:pt x="16" y="72"/>
                  <a:pt x="16" y="79"/>
                </a:cubicBezTo>
                <a:cubicBezTo>
                  <a:pt x="16" y="85"/>
                  <a:pt x="21" y="91"/>
                  <a:pt x="28" y="91"/>
                </a:cubicBezTo>
                <a:close/>
                <a:moveTo>
                  <a:pt x="28" y="72"/>
                </a:moveTo>
                <a:cubicBezTo>
                  <a:pt x="32" y="72"/>
                  <a:pt x="35" y="75"/>
                  <a:pt x="35" y="79"/>
                </a:cubicBezTo>
                <a:cubicBezTo>
                  <a:pt x="35" y="82"/>
                  <a:pt x="32" y="85"/>
                  <a:pt x="28" y="85"/>
                </a:cubicBezTo>
                <a:cubicBezTo>
                  <a:pt x="24" y="85"/>
                  <a:pt x="21" y="82"/>
                  <a:pt x="21" y="79"/>
                </a:cubicBezTo>
                <a:cubicBezTo>
                  <a:pt x="21" y="75"/>
                  <a:pt x="24" y="72"/>
                  <a:pt x="28" y="72"/>
                </a:cubicBezTo>
                <a:close/>
                <a:moveTo>
                  <a:pt x="83" y="131"/>
                </a:moveTo>
                <a:cubicBezTo>
                  <a:pt x="84" y="129"/>
                  <a:pt x="85" y="129"/>
                  <a:pt x="87" y="130"/>
                </a:cubicBezTo>
                <a:cubicBezTo>
                  <a:pt x="88" y="130"/>
                  <a:pt x="89" y="131"/>
                  <a:pt x="89" y="132"/>
                </a:cubicBezTo>
                <a:cubicBezTo>
                  <a:pt x="90" y="133"/>
                  <a:pt x="90" y="135"/>
                  <a:pt x="89" y="136"/>
                </a:cubicBezTo>
                <a:cubicBezTo>
                  <a:pt x="89" y="136"/>
                  <a:pt x="88" y="136"/>
                  <a:pt x="87" y="136"/>
                </a:cubicBezTo>
                <a:cubicBezTo>
                  <a:pt x="87" y="136"/>
                  <a:pt x="86" y="136"/>
                  <a:pt x="86" y="136"/>
                </a:cubicBezTo>
                <a:cubicBezTo>
                  <a:pt x="85" y="135"/>
                  <a:pt x="85" y="135"/>
                  <a:pt x="84" y="134"/>
                </a:cubicBezTo>
                <a:cubicBezTo>
                  <a:pt x="83" y="134"/>
                  <a:pt x="82" y="132"/>
                  <a:pt x="83" y="131"/>
                </a:cubicBezTo>
                <a:close/>
                <a:moveTo>
                  <a:pt x="88" y="149"/>
                </a:moveTo>
                <a:cubicBezTo>
                  <a:pt x="88" y="150"/>
                  <a:pt x="88" y="152"/>
                  <a:pt x="87" y="153"/>
                </a:cubicBezTo>
                <a:cubicBezTo>
                  <a:pt x="86" y="153"/>
                  <a:pt x="85" y="154"/>
                  <a:pt x="83" y="154"/>
                </a:cubicBezTo>
                <a:cubicBezTo>
                  <a:pt x="83" y="154"/>
                  <a:pt x="83" y="154"/>
                  <a:pt x="83" y="154"/>
                </a:cubicBezTo>
                <a:cubicBezTo>
                  <a:pt x="82" y="154"/>
                  <a:pt x="81" y="154"/>
                  <a:pt x="80" y="152"/>
                </a:cubicBezTo>
                <a:cubicBezTo>
                  <a:pt x="80" y="151"/>
                  <a:pt x="81" y="149"/>
                  <a:pt x="82" y="149"/>
                </a:cubicBezTo>
                <a:cubicBezTo>
                  <a:pt x="83" y="149"/>
                  <a:pt x="83" y="149"/>
                  <a:pt x="84" y="148"/>
                </a:cubicBezTo>
                <a:cubicBezTo>
                  <a:pt x="85" y="148"/>
                  <a:pt x="87" y="148"/>
                  <a:pt x="88" y="149"/>
                </a:cubicBezTo>
                <a:close/>
                <a:moveTo>
                  <a:pt x="93" y="141"/>
                </a:moveTo>
                <a:cubicBezTo>
                  <a:pt x="93" y="141"/>
                  <a:pt x="93" y="141"/>
                  <a:pt x="93" y="141"/>
                </a:cubicBezTo>
                <a:cubicBezTo>
                  <a:pt x="93" y="142"/>
                  <a:pt x="93" y="144"/>
                  <a:pt x="93" y="145"/>
                </a:cubicBezTo>
                <a:cubicBezTo>
                  <a:pt x="93" y="146"/>
                  <a:pt x="91" y="147"/>
                  <a:pt x="90" y="147"/>
                </a:cubicBezTo>
                <a:cubicBezTo>
                  <a:pt x="90" y="147"/>
                  <a:pt x="90" y="147"/>
                  <a:pt x="90" y="147"/>
                </a:cubicBezTo>
                <a:cubicBezTo>
                  <a:pt x="88" y="146"/>
                  <a:pt x="87" y="145"/>
                  <a:pt x="88" y="143"/>
                </a:cubicBezTo>
                <a:cubicBezTo>
                  <a:pt x="88" y="143"/>
                  <a:pt x="88" y="142"/>
                  <a:pt x="88" y="141"/>
                </a:cubicBezTo>
                <a:cubicBezTo>
                  <a:pt x="88" y="140"/>
                  <a:pt x="89" y="139"/>
                  <a:pt x="91" y="139"/>
                </a:cubicBezTo>
                <a:cubicBezTo>
                  <a:pt x="92" y="139"/>
                  <a:pt x="93" y="140"/>
                  <a:pt x="93" y="141"/>
                </a:cubicBezTo>
                <a:close/>
                <a:moveTo>
                  <a:pt x="77" y="152"/>
                </a:moveTo>
                <a:cubicBezTo>
                  <a:pt x="77" y="153"/>
                  <a:pt x="76" y="153"/>
                  <a:pt x="75" y="153"/>
                </a:cubicBezTo>
                <a:cubicBezTo>
                  <a:pt x="74" y="153"/>
                  <a:pt x="74" y="153"/>
                  <a:pt x="73" y="153"/>
                </a:cubicBezTo>
                <a:cubicBezTo>
                  <a:pt x="72" y="152"/>
                  <a:pt x="71" y="152"/>
                  <a:pt x="71" y="151"/>
                </a:cubicBezTo>
                <a:cubicBezTo>
                  <a:pt x="70" y="150"/>
                  <a:pt x="70" y="148"/>
                  <a:pt x="71" y="147"/>
                </a:cubicBezTo>
                <a:cubicBezTo>
                  <a:pt x="72" y="146"/>
                  <a:pt x="73" y="146"/>
                  <a:pt x="74" y="147"/>
                </a:cubicBezTo>
                <a:cubicBezTo>
                  <a:pt x="75" y="148"/>
                  <a:pt x="75" y="148"/>
                  <a:pt x="76" y="148"/>
                </a:cubicBezTo>
                <a:cubicBezTo>
                  <a:pt x="77" y="149"/>
                  <a:pt x="78" y="151"/>
                  <a:pt x="77" y="152"/>
                </a:cubicBezTo>
                <a:close/>
                <a:moveTo>
                  <a:pt x="80" y="130"/>
                </a:moveTo>
                <a:cubicBezTo>
                  <a:pt x="80" y="132"/>
                  <a:pt x="79" y="133"/>
                  <a:pt x="78" y="134"/>
                </a:cubicBezTo>
                <a:cubicBezTo>
                  <a:pt x="77" y="134"/>
                  <a:pt x="77" y="134"/>
                  <a:pt x="76" y="134"/>
                </a:cubicBezTo>
                <a:cubicBezTo>
                  <a:pt x="76" y="135"/>
                  <a:pt x="75" y="135"/>
                  <a:pt x="75" y="135"/>
                </a:cubicBezTo>
                <a:cubicBezTo>
                  <a:pt x="74" y="135"/>
                  <a:pt x="73" y="134"/>
                  <a:pt x="72" y="133"/>
                </a:cubicBezTo>
                <a:cubicBezTo>
                  <a:pt x="72" y="132"/>
                  <a:pt x="72" y="131"/>
                  <a:pt x="73" y="130"/>
                </a:cubicBezTo>
                <a:cubicBezTo>
                  <a:pt x="74" y="129"/>
                  <a:pt x="75" y="129"/>
                  <a:pt x="76" y="128"/>
                </a:cubicBezTo>
                <a:cubicBezTo>
                  <a:pt x="78" y="128"/>
                  <a:pt x="79" y="129"/>
                  <a:pt x="80" y="130"/>
                </a:cubicBezTo>
                <a:close/>
                <a:moveTo>
                  <a:pt x="69" y="144"/>
                </a:moveTo>
                <a:cubicBezTo>
                  <a:pt x="68" y="144"/>
                  <a:pt x="67" y="143"/>
                  <a:pt x="67" y="141"/>
                </a:cubicBezTo>
                <a:cubicBezTo>
                  <a:pt x="69" y="141"/>
                  <a:pt x="69" y="141"/>
                  <a:pt x="69" y="141"/>
                </a:cubicBezTo>
                <a:cubicBezTo>
                  <a:pt x="67" y="141"/>
                  <a:pt x="67" y="141"/>
                  <a:pt x="67" y="141"/>
                </a:cubicBezTo>
                <a:cubicBezTo>
                  <a:pt x="67" y="140"/>
                  <a:pt x="67" y="139"/>
                  <a:pt x="67" y="138"/>
                </a:cubicBezTo>
                <a:cubicBezTo>
                  <a:pt x="67" y="137"/>
                  <a:pt x="69" y="136"/>
                  <a:pt x="70" y="136"/>
                </a:cubicBezTo>
                <a:cubicBezTo>
                  <a:pt x="72" y="136"/>
                  <a:pt x="73" y="138"/>
                  <a:pt x="72" y="139"/>
                </a:cubicBezTo>
                <a:cubicBezTo>
                  <a:pt x="72" y="140"/>
                  <a:pt x="72" y="141"/>
                  <a:pt x="72" y="141"/>
                </a:cubicBezTo>
                <a:cubicBezTo>
                  <a:pt x="72" y="143"/>
                  <a:pt x="71" y="144"/>
                  <a:pt x="69" y="144"/>
                </a:cubicBezTo>
                <a:close/>
                <a:moveTo>
                  <a:pt x="133" y="72"/>
                </a:moveTo>
                <a:cubicBezTo>
                  <a:pt x="135" y="72"/>
                  <a:pt x="136" y="73"/>
                  <a:pt x="136" y="75"/>
                </a:cubicBezTo>
                <a:cubicBezTo>
                  <a:pt x="136" y="76"/>
                  <a:pt x="135" y="77"/>
                  <a:pt x="133" y="77"/>
                </a:cubicBezTo>
                <a:cubicBezTo>
                  <a:pt x="132" y="77"/>
                  <a:pt x="131" y="76"/>
                  <a:pt x="131" y="75"/>
                </a:cubicBezTo>
                <a:cubicBezTo>
                  <a:pt x="131" y="73"/>
                  <a:pt x="132" y="72"/>
                  <a:pt x="133" y="72"/>
                </a:cubicBezTo>
                <a:close/>
                <a:moveTo>
                  <a:pt x="123" y="72"/>
                </a:moveTo>
                <a:cubicBezTo>
                  <a:pt x="124" y="72"/>
                  <a:pt x="125" y="73"/>
                  <a:pt x="125" y="75"/>
                </a:cubicBezTo>
                <a:cubicBezTo>
                  <a:pt x="125" y="76"/>
                  <a:pt x="124" y="77"/>
                  <a:pt x="123" y="77"/>
                </a:cubicBezTo>
                <a:cubicBezTo>
                  <a:pt x="121" y="77"/>
                  <a:pt x="120" y="76"/>
                  <a:pt x="120" y="75"/>
                </a:cubicBezTo>
                <a:cubicBezTo>
                  <a:pt x="120" y="73"/>
                  <a:pt x="121" y="72"/>
                  <a:pt x="123" y="72"/>
                </a:cubicBezTo>
                <a:close/>
                <a:moveTo>
                  <a:pt x="139" y="80"/>
                </a:moveTo>
                <a:cubicBezTo>
                  <a:pt x="140" y="80"/>
                  <a:pt x="141" y="81"/>
                  <a:pt x="141" y="83"/>
                </a:cubicBezTo>
                <a:cubicBezTo>
                  <a:pt x="141" y="84"/>
                  <a:pt x="140" y="85"/>
                  <a:pt x="139" y="85"/>
                </a:cubicBezTo>
                <a:cubicBezTo>
                  <a:pt x="137" y="85"/>
                  <a:pt x="136" y="84"/>
                  <a:pt x="136" y="83"/>
                </a:cubicBezTo>
                <a:cubicBezTo>
                  <a:pt x="136" y="81"/>
                  <a:pt x="137" y="80"/>
                  <a:pt x="139" y="80"/>
                </a:cubicBezTo>
                <a:close/>
                <a:moveTo>
                  <a:pt x="128" y="80"/>
                </a:moveTo>
                <a:cubicBezTo>
                  <a:pt x="129" y="80"/>
                  <a:pt x="131" y="81"/>
                  <a:pt x="131" y="83"/>
                </a:cubicBezTo>
                <a:cubicBezTo>
                  <a:pt x="131" y="84"/>
                  <a:pt x="129" y="85"/>
                  <a:pt x="128" y="85"/>
                </a:cubicBezTo>
                <a:cubicBezTo>
                  <a:pt x="127" y="85"/>
                  <a:pt x="125" y="84"/>
                  <a:pt x="125" y="83"/>
                </a:cubicBezTo>
                <a:cubicBezTo>
                  <a:pt x="125" y="81"/>
                  <a:pt x="127" y="80"/>
                  <a:pt x="128" y="80"/>
                </a:cubicBezTo>
                <a:close/>
                <a:moveTo>
                  <a:pt x="112" y="72"/>
                </a:moveTo>
                <a:cubicBezTo>
                  <a:pt x="113" y="72"/>
                  <a:pt x="115" y="73"/>
                  <a:pt x="115" y="75"/>
                </a:cubicBezTo>
                <a:cubicBezTo>
                  <a:pt x="115" y="76"/>
                  <a:pt x="113" y="77"/>
                  <a:pt x="112" y="77"/>
                </a:cubicBezTo>
                <a:cubicBezTo>
                  <a:pt x="111" y="77"/>
                  <a:pt x="109" y="76"/>
                  <a:pt x="109" y="75"/>
                </a:cubicBezTo>
                <a:cubicBezTo>
                  <a:pt x="109" y="73"/>
                  <a:pt x="111" y="72"/>
                  <a:pt x="112" y="72"/>
                </a:cubicBezTo>
                <a:close/>
                <a:moveTo>
                  <a:pt x="117" y="80"/>
                </a:moveTo>
                <a:cubicBezTo>
                  <a:pt x="119" y="80"/>
                  <a:pt x="120" y="81"/>
                  <a:pt x="120" y="83"/>
                </a:cubicBezTo>
                <a:cubicBezTo>
                  <a:pt x="120" y="84"/>
                  <a:pt x="119" y="85"/>
                  <a:pt x="117" y="85"/>
                </a:cubicBezTo>
                <a:cubicBezTo>
                  <a:pt x="116" y="85"/>
                  <a:pt x="115" y="84"/>
                  <a:pt x="115" y="83"/>
                </a:cubicBezTo>
                <a:cubicBezTo>
                  <a:pt x="115" y="81"/>
                  <a:pt x="116" y="80"/>
                  <a:pt x="117" y="80"/>
                </a:cubicBezTo>
                <a:close/>
                <a:moveTo>
                  <a:pt x="101" y="72"/>
                </a:moveTo>
                <a:cubicBezTo>
                  <a:pt x="103" y="72"/>
                  <a:pt x="104" y="73"/>
                  <a:pt x="104" y="75"/>
                </a:cubicBezTo>
                <a:cubicBezTo>
                  <a:pt x="104" y="76"/>
                  <a:pt x="103" y="77"/>
                  <a:pt x="101" y="77"/>
                </a:cubicBezTo>
                <a:cubicBezTo>
                  <a:pt x="100" y="77"/>
                  <a:pt x="99" y="76"/>
                  <a:pt x="99" y="75"/>
                </a:cubicBezTo>
                <a:cubicBezTo>
                  <a:pt x="99" y="73"/>
                  <a:pt x="100" y="72"/>
                  <a:pt x="101" y="72"/>
                </a:cubicBezTo>
                <a:close/>
                <a:moveTo>
                  <a:pt x="107" y="80"/>
                </a:moveTo>
                <a:cubicBezTo>
                  <a:pt x="108" y="80"/>
                  <a:pt x="109" y="81"/>
                  <a:pt x="109" y="83"/>
                </a:cubicBezTo>
                <a:cubicBezTo>
                  <a:pt x="109" y="84"/>
                  <a:pt x="108" y="85"/>
                  <a:pt x="107" y="85"/>
                </a:cubicBezTo>
                <a:cubicBezTo>
                  <a:pt x="105" y="85"/>
                  <a:pt x="104" y="84"/>
                  <a:pt x="104" y="83"/>
                </a:cubicBezTo>
                <a:cubicBezTo>
                  <a:pt x="104" y="81"/>
                  <a:pt x="105" y="80"/>
                  <a:pt x="107" y="80"/>
                </a:cubicBezTo>
                <a:close/>
                <a:moveTo>
                  <a:pt x="91" y="72"/>
                </a:moveTo>
                <a:cubicBezTo>
                  <a:pt x="92" y="72"/>
                  <a:pt x="93" y="73"/>
                  <a:pt x="93" y="75"/>
                </a:cubicBezTo>
                <a:cubicBezTo>
                  <a:pt x="93" y="76"/>
                  <a:pt x="92" y="77"/>
                  <a:pt x="91" y="77"/>
                </a:cubicBezTo>
                <a:cubicBezTo>
                  <a:pt x="89" y="77"/>
                  <a:pt x="88" y="76"/>
                  <a:pt x="88" y="75"/>
                </a:cubicBezTo>
                <a:cubicBezTo>
                  <a:pt x="88" y="73"/>
                  <a:pt x="89" y="72"/>
                  <a:pt x="91" y="72"/>
                </a:cubicBezTo>
                <a:close/>
                <a:moveTo>
                  <a:pt x="96" y="80"/>
                </a:moveTo>
                <a:cubicBezTo>
                  <a:pt x="97" y="80"/>
                  <a:pt x="99" y="81"/>
                  <a:pt x="99" y="83"/>
                </a:cubicBezTo>
                <a:cubicBezTo>
                  <a:pt x="99" y="84"/>
                  <a:pt x="97" y="85"/>
                  <a:pt x="96" y="85"/>
                </a:cubicBezTo>
                <a:cubicBezTo>
                  <a:pt x="95" y="85"/>
                  <a:pt x="93" y="84"/>
                  <a:pt x="93" y="83"/>
                </a:cubicBezTo>
                <a:cubicBezTo>
                  <a:pt x="93" y="81"/>
                  <a:pt x="95" y="80"/>
                  <a:pt x="96" y="80"/>
                </a:cubicBezTo>
                <a:close/>
                <a:moveTo>
                  <a:pt x="61" y="141"/>
                </a:moveTo>
                <a:cubicBezTo>
                  <a:pt x="61" y="143"/>
                  <a:pt x="60" y="144"/>
                  <a:pt x="59" y="144"/>
                </a:cubicBezTo>
                <a:cubicBezTo>
                  <a:pt x="56" y="144"/>
                  <a:pt x="56" y="144"/>
                  <a:pt x="56" y="144"/>
                </a:cubicBezTo>
                <a:cubicBezTo>
                  <a:pt x="55" y="144"/>
                  <a:pt x="53" y="143"/>
                  <a:pt x="53" y="141"/>
                </a:cubicBezTo>
                <a:cubicBezTo>
                  <a:pt x="53" y="140"/>
                  <a:pt x="55" y="139"/>
                  <a:pt x="56" y="139"/>
                </a:cubicBezTo>
                <a:cubicBezTo>
                  <a:pt x="59" y="139"/>
                  <a:pt x="59" y="139"/>
                  <a:pt x="59" y="139"/>
                </a:cubicBezTo>
                <a:cubicBezTo>
                  <a:pt x="60" y="139"/>
                  <a:pt x="61" y="140"/>
                  <a:pt x="61" y="141"/>
                </a:cubicBezTo>
                <a:close/>
                <a:moveTo>
                  <a:pt x="40" y="141"/>
                </a:moveTo>
                <a:cubicBezTo>
                  <a:pt x="40" y="143"/>
                  <a:pt x="39" y="144"/>
                  <a:pt x="37" y="144"/>
                </a:cubicBezTo>
                <a:cubicBezTo>
                  <a:pt x="35" y="144"/>
                  <a:pt x="35" y="144"/>
                  <a:pt x="35" y="144"/>
                </a:cubicBezTo>
                <a:cubicBezTo>
                  <a:pt x="33" y="144"/>
                  <a:pt x="32" y="143"/>
                  <a:pt x="32" y="141"/>
                </a:cubicBezTo>
                <a:cubicBezTo>
                  <a:pt x="32" y="140"/>
                  <a:pt x="33" y="139"/>
                  <a:pt x="35" y="139"/>
                </a:cubicBezTo>
                <a:cubicBezTo>
                  <a:pt x="37" y="139"/>
                  <a:pt x="37" y="139"/>
                  <a:pt x="37" y="139"/>
                </a:cubicBezTo>
                <a:cubicBezTo>
                  <a:pt x="39" y="139"/>
                  <a:pt x="40" y="140"/>
                  <a:pt x="40" y="141"/>
                </a:cubicBezTo>
                <a:close/>
                <a:moveTo>
                  <a:pt x="51" y="141"/>
                </a:moveTo>
                <a:cubicBezTo>
                  <a:pt x="51" y="143"/>
                  <a:pt x="49" y="144"/>
                  <a:pt x="48" y="144"/>
                </a:cubicBezTo>
                <a:cubicBezTo>
                  <a:pt x="45" y="144"/>
                  <a:pt x="45" y="144"/>
                  <a:pt x="45" y="144"/>
                </a:cubicBezTo>
                <a:cubicBezTo>
                  <a:pt x="44" y="144"/>
                  <a:pt x="43" y="143"/>
                  <a:pt x="43" y="141"/>
                </a:cubicBezTo>
                <a:cubicBezTo>
                  <a:pt x="43" y="140"/>
                  <a:pt x="44" y="139"/>
                  <a:pt x="45" y="139"/>
                </a:cubicBezTo>
                <a:cubicBezTo>
                  <a:pt x="48" y="139"/>
                  <a:pt x="48" y="139"/>
                  <a:pt x="48" y="139"/>
                </a:cubicBezTo>
                <a:cubicBezTo>
                  <a:pt x="49" y="139"/>
                  <a:pt x="51" y="140"/>
                  <a:pt x="51" y="141"/>
                </a:cubicBezTo>
                <a:close/>
                <a:moveTo>
                  <a:pt x="8" y="141"/>
                </a:moveTo>
                <a:cubicBezTo>
                  <a:pt x="8" y="143"/>
                  <a:pt x="7" y="144"/>
                  <a:pt x="5" y="144"/>
                </a:cubicBezTo>
                <a:cubicBezTo>
                  <a:pt x="3" y="144"/>
                  <a:pt x="3" y="144"/>
                  <a:pt x="3" y="144"/>
                </a:cubicBezTo>
                <a:cubicBezTo>
                  <a:pt x="1" y="144"/>
                  <a:pt x="0" y="143"/>
                  <a:pt x="0" y="141"/>
                </a:cubicBezTo>
                <a:cubicBezTo>
                  <a:pt x="0" y="140"/>
                  <a:pt x="1" y="139"/>
                  <a:pt x="3" y="139"/>
                </a:cubicBezTo>
                <a:cubicBezTo>
                  <a:pt x="5" y="139"/>
                  <a:pt x="5" y="139"/>
                  <a:pt x="5" y="139"/>
                </a:cubicBezTo>
                <a:cubicBezTo>
                  <a:pt x="7" y="139"/>
                  <a:pt x="8" y="140"/>
                  <a:pt x="8" y="141"/>
                </a:cubicBezTo>
                <a:close/>
                <a:moveTo>
                  <a:pt x="19" y="141"/>
                </a:moveTo>
                <a:cubicBezTo>
                  <a:pt x="19" y="143"/>
                  <a:pt x="17" y="144"/>
                  <a:pt x="16" y="144"/>
                </a:cubicBezTo>
                <a:cubicBezTo>
                  <a:pt x="13" y="144"/>
                  <a:pt x="13" y="144"/>
                  <a:pt x="13" y="144"/>
                </a:cubicBezTo>
                <a:cubicBezTo>
                  <a:pt x="12" y="144"/>
                  <a:pt x="11" y="143"/>
                  <a:pt x="11" y="141"/>
                </a:cubicBezTo>
                <a:cubicBezTo>
                  <a:pt x="11" y="140"/>
                  <a:pt x="12" y="139"/>
                  <a:pt x="13" y="139"/>
                </a:cubicBezTo>
                <a:cubicBezTo>
                  <a:pt x="16" y="139"/>
                  <a:pt x="16" y="139"/>
                  <a:pt x="16" y="139"/>
                </a:cubicBezTo>
                <a:cubicBezTo>
                  <a:pt x="17" y="139"/>
                  <a:pt x="19" y="140"/>
                  <a:pt x="19" y="141"/>
                </a:cubicBezTo>
                <a:close/>
                <a:moveTo>
                  <a:pt x="29" y="141"/>
                </a:moveTo>
                <a:cubicBezTo>
                  <a:pt x="29" y="143"/>
                  <a:pt x="28" y="144"/>
                  <a:pt x="27" y="144"/>
                </a:cubicBezTo>
                <a:cubicBezTo>
                  <a:pt x="24" y="144"/>
                  <a:pt x="24" y="144"/>
                  <a:pt x="24" y="144"/>
                </a:cubicBezTo>
                <a:cubicBezTo>
                  <a:pt x="23" y="144"/>
                  <a:pt x="21" y="143"/>
                  <a:pt x="21" y="141"/>
                </a:cubicBezTo>
                <a:cubicBezTo>
                  <a:pt x="21" y="140"/>
                  <a:pt x="23" y="139"/>
                  <a:pt x="24" y="139"/>
                </a:cubicBezTo>
                <a:cubicBezTo>
                  <a:pt x="27" y="139"/>
                  <a:pt x="27" y="139"/>
                  <a:pt x="27" y="139"/>
                </a:cubicBezTo>
                <a:cubicBezTo>
                  <a:pt x="28" y="139"/>
                  <a:pt x="29" y="140"/>
                  <a:pt x="29" y="141"/>
                </a:cubicBezTo>
                <a:close/>
                <a:moveTo>
                  <a:pt x="107" y="141"/>
                </a:moveTo>
                <a:cubicBezTo>
                  <a:pt x="107" y="143"/>
                  <a:pt x="105" y="144"/>
                  <a:pt x="104" y="144"/>
                </a:cubicBezTo>
                <a:cubicBezTo>
                  <a:pt x="101" y="144"/>
                  <a:pt x="101" y="144"/>
                  <a:pt x="101" y="144"/>
                </a:cubicBezTo>
                <a:cubicBezTo>
                  <a:pt x="100" y="144"/>
                  <a:pt x="99" y="143"/>
                  <a:pt x="99" y="141"/>
                </a:cubicBezTo>
                <a:cubicBezTo>
                  <a:pt x="99" y="140"/>
                  <a:pt x="100" y="139"/>
                  <a:pt x="101" y="139"/>
                </a:cubicBezTo>
                <a:cubicBezTo>
                  <a:pt x="104" y="139"/>
                  <a:pt x="104" y="139"/>
                  <a:pt x="104" y="139"/>
                </a:cubicBezTo>
                <a:cubicBezTo>
                  <a:pt x="105" y="139"/>
                  <a:pt x="107" y="140"/>
                  <a:pt x="107" y="141"/>
                </a:cubicBezTo>
                <a:close/>
                <a:moveTo>
                  <a:pt x="128" y="141"/>
                </a:moveTo>
                <a:cubicBezTo>
                  <a:pt x="128" y="143"/>
                  <a:pt x="127" y="144"/>
                  <a:pt x="125" y="144"/>
                </a:cubicBezTo>
                <a:cubicBezTo>
                  <a:pt x="123" y="144"/>
                  <a:pt x="123" y="144"/>
                  <a:pt x="123" y="144"/>
                </a:cubicBezTo>
                <a:cubicBezTo>
                  <a:pt x="121" y="144"/>
                  <a:pt x="120" y="143"/>
                  <a:pt x="120" y="141"/>
                </a:cubicBezTo>
                <a:cubicBezTo>
                  <a:pt x="120" y="140"/>
                  <a:pt x="121" y="139"/>
                  <a:pt x="123" y="139"/>
                </a:cubicBezTo>
                <a:cubicBezTo>
                  <a:pt x="125" y="139"/>
                  <a:pt x="125" y="139"/>
                  <a:pt x="125" y="139"/>
                </a:cubicBezTo>
                <a:cubicBezTo>
                  <a:pt x="127" y="139"/>
                  <a:pt x="128" y="140"/>
                  <a:pt x="128" y="141"/>
                </a:cubicBezTo>
                <a:close/>
                <a:moveTo>
                  <a:pt x="117" y="141"/>
                </a:moveTo>
                <a:cubicBezTo>
                  <a:pt x="117" y="143"/>
                  <a:pt x="116" y="144"/>
                  <a:pt x="115" y="144"/>
                </a:cubicBezTo>
                <a:cubicBezTo>
                  <a:pt x="112" y="144"/>
                  <a:pt x="112" y="144"/>
                  <a:pt x="112" y="144"/>
                </a:cubicBezTo>
                <a:cubicBezTo>
                  <a:pt x="111" y="144"/>
                  <a:pt x="109" y="143"/>
                  <a:pt x="109" y="141"/>
                </a:cubicBezTo>
                <a:cubicBezTo>
                  <a:pt x="109" y="140"/>
                  <a:pt x="111" y="139"/>
                  <a:pt x="112" y="139"/>
                </a:cubicBezTo>
                <a:cubicBezTo>
                  <a:pt x="115" y="139"/>
                  <a:pt x="115" y="139"/>
                  <a:pt x="115" y="139"/>
                </a:cubicBezTo>
                <a:cubicBezTo>
                  <a:pt x="116" y="139"/>
                  <a:pt x="117" y="140"/>
                  <a:pt x="117" y="141"/>
                </a:cubicBezTo>
                <a:close/>
                <a:moveTo>
                  <a:pt x="160" y="141"/>
                </a:moveTo>
                <a:cubicBezTo>
                  <a:pt x="160" y="143"/>
                  <a:pt x="159" y="144"/>
                  <a:pt x="157" y="144"/>
                </a:cubicBezTo>
                <a:cubicBezTo>
                  <a:pt x="155" y="144"/>
                  <a:pt x="155" y="144"/>
                  <a:pt x="155" y="144"/>
                </a:cubicBezTo>
                <a:cubicBezTo>
                  <a:pt x="153" y="144"/>
                  <a:pt x="152" y="143"/>
                  <a:pt x="152" y="141"/>
                </a:cubicBezTo>
                <a:cubicBezTo>
                  <a:pt x="152" y="140"/>
                  <a:pt x="153" y="139"/>
                  <a:pt x="155" y="139"/>
                </a:cubicBezTo>
                <a:cubicBezTo>
                  <a:pt x="157" y="139"/>
                  <a:pt x="157" y="139"/>
                  <a:pt x="157" y="139"/>
                </a:cubicBezTo>
                <a:cubicBezTo>
                  <a:pt x="159" y="139"/>
                  <a:pt x="160" y="140"/>
                  <a:pt x="160" y="141"/>
                </a:cubicBezTo>
                <a:close/>
                <a:moveTo>
                  <a:pt x="139" y="141"/>
                </a:moveTo>
                <a:cubicBezTo>
                  <a:pt x="139" y="143"/>
                  <a:pt x="137" y="144"/>
                  <a:pt x="136" y="144"/>
                </a:cubicBezTo>
                <a:cubicBezTo>
                  <a:pt x="133" y="144"/>
                  <a:pt x="133" y="144"/>
                  <a:pt x="133" y="144"/>
                </a:cubicBezTo>
                <a:cubicBezTo>
                  <a:pt x="132" y="144"/>
                  <a:pt x="131" y="143"/>
                  <a:pt x="131" y="141"/>
                </a:cubicBezTo>
                <a:cubicBezTo>
                  <a:pt x="131" y="140"/>
                  <a:pt x="132" y="139"/>
                  <a:pt x="133" y="139"/>
                </a:cubicBezTo>
                <a:cubicBezTo>
                  <a:pt x="136" y="139"/>
                  <a:pt x="136" y="139"/>
                  <a:pt x="136" y="139"/>
                </a:cubicBezTo>
                <a:cubicBezTo>
                  <a:pt x="137" y="139"/>
                  <a:pt x="139" y="140"/>
                  <a:pt x="139" y="141"/>
                </a:cubicBezTo>
                <a:close/>
                <a:moveTo>
                  <a:pt x="149" y="141"/>
                </a:moveTo>
                <a:cubicBezTo>
                  <a:pt x="149" y="143"/>
                  <a:pt x="148" y="144"/>
                  <a:pt x="147" y="144"/>
                </a:cubicBezTo>
                <a:cubicBezTo>
                  <a:pt x="144" y="144"/>
                  <a:pt x="144" y="144"/>
                  <a:pt x="144" y="144"/>
                </a:cubicBezTo>
                <a:cubicBezTo>
                  <a:pt x="143" y="144"/>
                  <a:pt x="141" y="143"/>
                  <a:pt x="141" y="141"/>
                </a:cubicBezTo>
                <a:cubicBezTo>
                  <a:pt x="141" y="140"/>
                  <a:pt x="143" y="139"/>
                  <a:pt x="144" y="139"/>
                </a:cubicBezTo>
                <a:cubicBezTo>
                  <a:pt x="147" y="139"/>
                  <a:pt x="147" y="139"/>
                  <a:pt x="147" y="139"/>
                </a:cubicBezTo>
                <a:cubicBezTo>
                  <a:pt x="148" y="139"/>
                  <a:pt x="149" y="140"/>
                  <a:pt x="149" y="141"/>
                </a:cubicBezTo>
                <a:close/>
                <a:moveTo>
                  <a:pt x="80" y="125"/>
                </a:moveTo>
                <a:cubicBezTo>
                  <a:pt x="79" y="125"/>
                  <a:pt x="77" y="124"/>
                  <a:pt x="77" y="123"/>
                </a:cubicBezTo>
                <a:cubicBezTo>
                  <a:pt x="77" y="120"/>
                  <a:pt x="77" y="120"/>
                  <a:pt x="77" y="120"/>
                </a:cubicBezTo>
                <a:cubicBezTo>
                  <a:pt x="77" y="119"/>
                  <a:pt x="79" y="117"/>
                  <a:pt x="80" y="117"/>
                </a:cubicBezTo>
                <a:cubicBezTo>
                  <a:pt x="81" y="117"/>
                  <a:pt x="83" y="119"/>
                  <a:pt x="83" y="120"/>
                </a:cubicBezTo>
                <a:cubicBezTo>
                  <a:pt x="83" y="123"/>
                  <a:pt x="83" y="123"/>
                  <a:pt x="83" y="123"/>
                </a:cubicBezTo>
                <a:cubicBezTo>
                  <a:pt x="83" y="124"/>
                  <a:pt x="81" y="125"/>
                  <a:pt x="80" y="125"/>
                </a:cubicBezTo>
                <a:close/>
                <a:moveTo>
                  <a:pt x="80" y="107"/>
                </a:moveTo>
                <a:cubicBezTo>
                  <a:pt x="81" y="107"/>
                  <a:pt x="83" y="108"/>
                  <a:pt x="83" y="109"/>
                </a:cubicBezTo>
                <a:cubicBezTo>
                  <a:pt x="83" y="112"/>
                  <a:pt x="83" y="112"/>
                  <a:pt x="83" y="112"/>
                </a:cubicBezTo>
                <a:cubicBezTo>
                  <a:pt x="83" y="113"/>
                  <a:pt x="81" y="115"/>
                  <a:pt x="80" y="115"/>
                </a:cubicBezTo>
                <a:cubicBezTo>
                  <a:pt x="79" y="115"/>
                  <a:pt x="77" y="113"/>
                  <a:pt x="77" y="112"/>
                </a:cubicBezTo>
                <a:cubicBezTo>
                  <a:pt x="77" y="109"/>
                  <a:pt x="77" y="109"/>
                  <a:pt x="77" y="109"/>
                </a:cubicBezTo>
                <a:cubicBezTo>
                  <a:pt x="77" y="108"/>
                  <a:pt x="79" y="107"/>
                  <a:pt x="80" y="10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53" name="Freeform 1355">
            <a:extLst>
              <a:ext uri="{FF2B5EF4-FFF2-40B4-BE49-F238E27FC236}">
                <a16:creationId xmlns:a16="http://schemas.microsoft.com/office/drawing/2014/main" id="{4274DF21-A3A0-D44D-993C-C58AE321A1BC}"/>
              </a:ext>
            </a:extLst>
          </p:cNvPr>
          <p:cNvSpPr>
            <a:spLocks noEditPoints="1"/>
          </p:cNvSpPr>
          <p:nvPr/>
        </p:nvSpPr>
        <p:spPr bwMode="auto">
          <a:xfrm>
            <a:off x="7176662" y="365125"/>
            <a:ext cx="546100" cy="539750"/>
          </a:xfrm>
          <a:custGeom>
            <a:avLst/>
            <a:gdLst>
              <a:gd name="T0" fmla="*/ 40 w 160"/>
              <a:gd name="T1" fmla="*/ 28 h 157"/>
              <a:gd name="T2" fmla="*/ 28 w 160"/>
              <a:gd name="T3" fmla="*/ 21 h 157"/>
              <a:gd name="T4" fmla="*/ 136 w 160"/>
              <a:gd name="T5" fmla="*/ 24 h 157"/>
              <a:gd name="T6" fmla="*/ 123 w 160"/>
              <a:gd name="T7" fmla="*/ 21 h 157"/>
              <a:gd name="T8" fmla="*/ 123 w 160"/>
              <a:gd name="T9" fmla="*/ 21 h 157"/>
              <a:gd name="T10" fmla="*/ 136 w 160"/>
              <a:gd name="T11" fmla="*/ 32 h 157"/>
              <a:gd name="T12" fmla="*/ 128 w 160"/>
              <a:gd name="T13" fmla="*/ 35 h 157"/>
              <a:gd name="T14" fmla="*/ 115 w 160"/>
              <a:gd name="T15" fmla="*/ 24 h 157"/>
              <a:gd name="T16" fmla="*/ 117 w 160"/>
              <a:gd name="T17" fmla="*/ 29 h 157"/>
              <a:gd name="T18" fmla="*/ 117 w 160"/>
              <a:gd name="T19" fmla="*/ 29 h 157"/>
              <a:gd name="T20" fmla="*/ 99 w 160"/>
              <a:gd name="T21" fmla="*/ 24 h 157"/>
              <a:gd name="T22" fmla="*/ 107 w 160"/>
              <a:gd name="T23" fmla="*/ 35 h 157"/>
              <a:gd name="T24" fmla="*/ 93 w 160"/>
              <a:gd name="T25" fmla="*/ 24 h 157"/>
              <a:gd name="T26" fmla="*/ 96 w 160"/>
              <a:gd name="T27" fmla="*/ 29 h 157"/>
              <a:gd name="T28" fmla="*/ 96 w 160"/>
              <a:gd name="T29" fmla="*/ 29 h 157"/>
              <a:gd name="T30" fmla="*/ 12 w 160"/>
              <a:gd name="T31" fmla="*/ 0 h 157"/>
              <a:gd name="T32" fmla="*/ 0 w 160"/>
              <a:gd name="T33" fmla="*/ 63 h 157"/>
              <a:gd name="T34" fmla="*/ 0 w 160"/>
              <a:gd name="T35" fmla="*/ 145 h 157"/>
              <a:gd name="T36" fmla="*/ 160 w 160"/>
              <a:gd name="T37" fmla="*/ 114 h 157"/>
              <a:gd name="T38" fmla="*/ 155 w 160"/>
              <a:gd name="T39" fmla="*/ 53 h 157"/>
              <a:gd name="T40" fmla="*/ 148 w 160"/>
              <a:gd name="T41" fmla="*/ 152 h 157"/>
              <a:gd name="T42" fmla="*/ 12 w 160"/>
              <a:gd name="T43" fmla="*/ 107 h 157"/>
              <a:gd name="T44" fmla="*/ 155 w 160"/>
              <a:gd name="T45" fmla="*/ 94 h 157"/>
              <a:gd name="T46" fmla="*/ 5 w 160"/>
              <a:gd name="T47" fmla="*/ 63 h 157"/>
              <a:gd name="T48" fmla="*/ 12 w 160"/>
              <a:gd name="T49" fmla="*/ 51 h 157"/>
              <a:gd name="T50" fmla="*/ 148 w 160"/>
              <a:gd name="T51" fmla="*/ 5 h 157"/>
              <a:gd name="T52" fmla="*/ 12 w 160"/>
              <a:gd name="T53" fmla="*/ 51 h 157"/>
              <a:gd name="T54" fmla="*/ 16 w 160"/>
              <a:gd name="T55" fmla="*/ 79 h 157"/>
              <a:gd name="T56" fmla="*/ 28 w 160"/>
              <a:gd name="T57" fmla="*/ 85 h 157"/>
              <a:gd name="T58" fmla="*/ 136 w 160"/>
              <a:gd name="T59" fmla="*/ 75 h 157"/>
              <a:gd name="T60" fmla="*/ 123 w 160"/>
              <a:gd name="T61" fmla="*/ 72 h 157"/>
              <a:gd name="T62" fmla="*/ 123 w 160"/>
              <a:gd name="T63" fmla="*/ 72 h 157"/>
              <a:gd name="T64" fmla="*/ 136 w 160"/>
              <a:gd name="T65" fmla="*/ 83 h 157"/>
              <a:gd name="T66" fmla="*/ 128 w 160"/>
              <a:gd name="T67" fmla="*/ 85 h 157"/>
              <a:gd name="T68" fmla="*/ 115 w 160"/>
              <a:gd name="T69" fmla="*/ 75 h 157"/>
              <a:gd name="T70" fmla="*/ 117 w 160"/>
              <a:gd name="T71" fmla="*/ 80 h 157"/>
              <a:gd name="T72" fmla="*/ 117 w 160"/>
              <a:gd name="T73" fmla="*/ 80 h 157"/>
              <a:gd name="T74" fmla="*/ 99 w 160"/>
              <a:gd name="T75" fmla="*/ 75 h 157"/>
              <a:gd name="T76" fmla="*/ 107 w 160"/>
              <a:gd name="T77" fmla="*/ 85 h 157"/>
              <a:gd name="T78" fmla="*/ 93 w 160"/>
              <a:gd name="T79" fmla="*/ 75 h 157"/>
              <a:gd name="T80" fmla="*/ 96 w 160"/>
              <a:gd name="T81" fmla="*/ 80 h 157"/>
              <a:gd name="T82" fmla="*/ 96 w 160"/>
              <a:gd name="T83" fmla="*/ 80 h 157"/>
              <a:gd name="T84" fmla="*/ 16 w 160"/>
              <a:gd name="T85" fmla="*/ 129 h 157"/>
              <a:gd name="T86" fmla="*/ 28 w 160"/>
              <a:gd name="T87" fmla="*/ 136 h 157"/>
              <a:gd name="T88" fmla="*/ 136 w 160"/>
              <a:gd name="T89" fmla="*/ 125 h 157"/>
              <a:gd name="T90" fmla="*/ 123 w 160"/>
              <a:gd name="T91" fmla="*/ 123 h 157"/>
              <a:gd name="T92" fmla="*/ 123 w 160"/>
              <a:gd name="T93" fmla="*/ 123 h 157"/>
              <a:gd name="T94" fmla="*/ 136 w 160"/>
              <a:gd name="T95" fmla="*/ 133 h 157"/>
              <a:gd name="T96" fmla="*/ 128 w 160"/>
              <a:gd name="T97" fmla="*/ 136 h 157"/>
              <a:gd name="T98" fmla="*/ 115 w 160"/>
              <a:gd name="T99" fmla="*/ 125 h 157"/>
              <a:gd name="T100" fmla="*/ 117 w 160"/>
              <a:gd name="T101" fmla="*/ 131 h 157"/>
              <a:gd name="T102" fmla="*/ 117 w 160"/>
              <a:gd name="T103" fmla="*/ 131 h 157"/>
              <a:gd name="T104" fmla="*/ 99 w 160"/>
              <a:gd name="T105" fmla="*/ 125 h 157"/>
              <a:gd name="T106" fmla="*/ 107 w 160"/>
              <a:gd name="T107" fmla="*/ 136 h 157"/>
              <a:gd name="T108" fmla="*/ 93 w 160"/>
              <a:gd name="T109" fmla="*/ 125 h 157"/>
              <a:gd name="T110" fmla="*/ 96 w 160"/>
              <a:gd name="T111" fmla="*/ 131 h 157"/>
              <a:gd name="T112" fmla="*/ 96 w 160"/>
              <a:gd name="T113" fmla="*/ 131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7">
                <a:moveTo>
                  <a:pt x="28" y="16"/>
                </a:moveTo>
                <a:cubicBezTo>
                  <a:pt x="21" y="16"/>
                  <a:pt x="16" y="21"/>
                  <a:pt x="16" y="28"/>
                </a:cubicBezTo>
                <a:cubicBezTo>
                  <a:pt x="16" y="35"/>
                  <a:pt x="21" y="40"/>
                  <a:pt x="28" y="40"/>
                </a:cubicBezTo>
                <a:cubicBezTo>
                  <a:pt x="35" y="40"/>
                  <a:pt x="40" y="35"/>
                  <a:pt x="40" y="28"/>
                </a:cubicBezTo>
                <a:cubicBezTo>
                  <a:pt x="40" y="21"/>
                  <a:pt x="35" y="16"/>
                  <a:pt x="28" y="16"/>
                </a:cubicBezTo>
                <a:close/>
                <a:moveTo>
                  <a:pt x="28" y="35"/>
                </a:moveTo>
                <a:cubicBezTo>
                  <a:pt x="24" y="35"/>
                  <a:pt x="21" y="32"/>
                  <a:pt x="21" y="28"/>
                </a:cubicBezTo>
                <a:cubicBezTo>
                  <a:pt x="21" y="24"/>
                  <a:pt x="24" y="21"/>
                  <a:pt x="28" y="21"/>
                </a:cubicBezTo>
                <a:cubicBezTo>
                  <a:pt x="32" y="21"/>
                  <a:pt x="35" y="24"/>
                  <a:pt x="35" y="28"/>
                </a:cubicBezTo>
                <a:cubicBezTo>
                  <a:pt x="35" y="32"/>
                  <a:pt x="32" y="35"/>
                  <a:pt x="28" y="35"/>
                </a:cubicBezTo>
                <a:close/>
                <a:moveTo>
                  <a:pt x="133" y="21"/>
                </a:moveTo>
                <a:cubicBezTo>
                  <a:pt x="135" y="21"/>
                  <a:pt x="136" y="23"/>
                  <a:pt x="136" y="24"/>
                </a:cubicBezTo>
                <a:cubicBezTo>
                  <a:pt x="136" y="25"/>
                  <a:pt x="135" y="27"/>
                  <a:pt x="133" y="27"/>
                </a:cubicBezTo>
                <a:cubicBezTo>
                  <a:pt x="132" y="27"/>
                  <a:pt x="131" y="25"/>
                  <a:pt x="131" y="24"/>
                </a:cubicBezTo>
                <a:cubicBezTo>
                  <a:pt x="131" y="23"/>
                  <a:pt x="132" y="21"/>
                  <a:pt x="133" y="21"/>
                </a:cubicBezTo>
                <a:close/>
                <a:moveTo>
                  <a:pt x="123" y="21"/>
                </a:moveTo>
                <a:cubicBezTo>
                  <a:pt x="124" y="21"/>
                  <a:pt x="125" y="23"/>
                  <a:pt x="125" y="24"/>
                </a:cubicBezTo>
                <a:cubicBezTo>
                  <a:pt x="125" y="25"/>
                  <a:pt x="124" y="27"/>
                  <a:pt x="123" y="27"/>
                </a:cubicBezTo>
                <a:cubicBezTo>
                  <a:pt x="121" y="27"/>
                  <a:pt x="120" y="25"/>
                  <a:pt x="120" y="24"/>
                </a:cubicBezTo>
                <a:cubicBezTo>
                  <a:pt x="120" y="23"/>
                  <a:pt x="121" y="21"/>
                  <a:pt x="123" y="21"/>
                </a:cubicBezTo>
                <a:close/>
                <a:moveTo>
                  <a:pt x="139" y="29"/>
                </a:moveTo>
                <a:cubicBezTo>
                  <a:pt x="140" y="29"/>
                  <a:pt x="141" y="31"/>
                  <a:pt x="141" y="32"/>
                </a:cubicBezTo>
                <a:cubicBezTo>
                  <a:pt x="141" y="33"/>
                  <a:pt x="140" y="35"/>
                  <a:pt x="139" y="35"/>
                </a:cubicBezTo>
                <a:cubicBezTo>
                  <a:pt x="137" y="35"/>
                  <a:pt x="136" y="33"/>
                  <a:pt x="136" y="32"/>
                </a:cubicBezTo>
                <a:cubicBezTo>
                  <a:pt x="136" y="31"/>
                  <a:pt x="137" y="29"/>
                  <a:pt x="139" y="29"/>
                </a:cubicBezTo>
                <a:close/>
                <a:moveTo>
                  <a:pt x="128" y="29"/>
                </a:moveTo>
                <a:cubicBezTo>
                  <a:pt x="129" y="29"/>
                  <a:pt x="131" y="31"/>
                  <a:pt x="131" y="32"/>
                </a:cubicBezTo>
                <a:cubicBezTo>
                  <a:pt x="131" y="33"/>
                  <a:pt x="129" y="35"/>
                  <a:pt x="128" y="35"/>
                </a:cubicBezTo>
                <a:cubicBezTo>
                  <a:pt x="127" y="35"/>
                  <a:pt x="125" y="33"/>
                  <a:pt x="125" y="32"/>
                </a:cubicBezTo>
                <a:cubicBezTo>
                  <a:pt x="125" y="31"/>
                  <a:pt x="127" y="29"/>
                  <a:pt x="128" y="29"/>
                </a:cubicBezTo>
                <a:close/>
                <a:moveTo>
                  <a:pt x="112" y="21"/>
                </a:moveTo>
                <a:cubicBezTo>
                  <a:pt x="113" y="21"/>
                  <a:pt x="115" y="23"/>
                  <a:pt x="115" y="24"/>
                </a:cubicBezTo>
                <a:cubicBezTo>
                  <a:pt x="115" y="25"/>
                  <a:pt x="113" y="27"/>
                  <a:pt x="112" y="27"/>
                </a:cubicBezTo>
                <a:cubicBezTo>
                  <a:pt x="111" y="27"/>
                  <a:pt x="109" y="25"/>
                  <a:pt x="109" y="24"/>
                </a:cubicBezTo>
                <a:cubicBezTo>
                  <a:pt x="109" y="23"/>
                  <a:pt x="111" y="21"/>
                  <a:pt x="112" y="21"/>
                </a:cubicBezTo>
                <a:close/>
                <a:moveTo>
                  <a:pt x="117" y="29"/>
                </a:moveTo>
                <a:cubicBezTo>
                  <a:pt x="119" y="29"/>
                  <a:pt x="120" y="31"/>
                  <a:pt x="120" y="32"/>
                </a:cubicBezTo>
                <a:cubicBezTo>
                  <a:pt x="120" y="33"/>
                  <a:pt x="119" y="35"/>
                  <a:pt x="117" y="35"/>
                </a:cubicBezTo>
                <a:cubicBezTo>
                  <a:pt x="116" y="35"/>
                  <a:pt x="115" y="33"/>
                  <a:pt x="115" y="32"/>
                </a:cubicBezTo>
                <a:cubicBezTo>
                  <a:pt x="115" y="31"/>
                  <a:pt x="116" y="29"/>
                  <a:pt x="117" y="29"/>
                </a:cubicBezTo>
                <a:close/>
                <a:moveTo>
                  <a:pt x="101" y="21"/>
                </a:moveTo>
                <a:cubicBezTo>
                  <a:pt x="103" y="21"/>
                  <a:pt x="104" y="23"/>
                  <a:pt x="104" y="24"/>
                </a:cubicBezTo>
                <a:cubicBezTo>
                  <a:pt x="104" y="25"/>
                  <a:pt x="103" y="27"/>
                  <a:pt x="101" y="27"/>
                </a:cubicBezTo>
                <a:cubicBezTo>
                  <a:pt x="100" y="27"/>
                  <a:pt x="99" y="25"/>
                  <a:pt x="99" y="24"/>
                </a:cubicBezTo>
                <a:cubicBezTo>
                  <a:pt x="99" y="23"/>
                  <a:pt x="100" y="21"/>
                  <a:pt x="101" y="21"/>
                </a:cubicBezTo>
                <a:close/>
                <a:moveTo>
                  <a:pt x="107" y="29"/>
                </a:moveTo>
                <a:cubicBezTo>
                  <a:pt x="108" y="29"/>
                  <a:pt x="109" y="31"/>
                  <a:pt x="109" y="32"/>
                </a:cubicBezTo>
                <a:cubicBezTo>
                  <a:pt x="109" y="33"/>
                  <a:pt x="108" y="35"/>
                  <a:pt x="107" y="35"/>
                </a:cubicBezTo>
                <a:cubicBezTo>
                  <a:pt x="105" y="35"/>
                  <a:pt x="104" y="33"/>
                  <a:pt x="104" y="32"/>
                </a:cubicBezTo>
                <a:cubicBezTo>
                  <a:pt x="104" y="31"/>
                  <a:pt x="105" y="29"/>
                  <a:pt x="107" y="29"/>
                </a:cubicBezTo>
                <a:close/>
                <a:moveTo>
                  <a:pt x="91" y="21"/>
                </a:moveTo>
                <a:cubicBezTo>
                  <a:pt x="92" y="21"/>
                  <a:pt x="93" y="23"/>
                  <a:pt x="93" y="24"/>
                </a:cubicBezTo>
                <a:cubicBezTo>
                  <a:pt x="93" y="25"/>
                  <a:pt x="92" y="27"/>
                  <a:pt x="91" y="27"/>
                </a:cubicBezTo>
                <a:cubicBezTo>
                  <a:pt x="89" y="27"/>
                  <a:pt x="88" y="25"/>
                  <a:pt x="88" y="24"/>
                </a:cubicBezTo>
                <a:cubicBezTo>
                  <a:pt x="88" y="23"/>
                  <a:pt x="89" y="21"/>
                  <a:pt x="91" y="21"/>
                </a:cubicBezTo>
                <a:close/>
                <a:moveTo>
                  <a:pt x="96" y="29"/>
                </a:moveTo>
                <a:cubicBezTo>
                  <a:pt x="97" y="29"/>
                  <a:pt x="99" y="31"/>
                  <a:pt x="99" y="32"/>
                </a:cubicBezTo>
                <a:cubicBezTo>
                  <a:pt x="99" y="33"/>
                  <a:pt x="97" y="35"/>
                  <a:pt x="96" y="35"/>
                </a:cubicBezTo>
                <a:cubicBezTo>
                  <a:pt x="95" y="35"/>
                  <a:pt x="93" y="33"/>
                  <a:pt x="93" y="32"/>
                </a:cubicBezTo>
                <a:cubicBezTo>
                  <a:pt x="93" y="31"/>
                  <a:pt x="95" y="29"/>
                  <a:pt x="96" y="29"/>
                </a:cubicBezTo>
                <a:close/>
                <a:moveTo>
                  <a:pt x="160" y="44"/>
                </a:moveTo>
                <a:cubicBezTo>
                  <a:pt x="160" y="12"/>
                  <a:pt x="160" y="12"/>
                  <a:pt x="160" y="12"/>
                </a:cubicBezTo>
                <a:cubicBezTo>
                  <a:pt x="160" y="6"/>
                  <a:pt x="154" y="0"/>
                  <a:pt x="148" y="0"/>
                </a:cubicBezTo>
                <a:cubicBezTo>
                  <a:pt x="12" y="0"/>
                  <a:pt x="12" y="0"/>
                  <a:pt x="12" y="0"/>
                </a:cubicBezTo>
                <a:cubicBezTo>
                  <a:pt x="6" y="0"/>
                  <a:pt x="0" y="6"/>
                  <a:pt x="0" y="12"/>
                </a:cubicBezTo>
                <a:cubicBezTo>
                  <a:pt x="0" y="44"/>
                  <a:pt x="0" y="44"/>
                  <a:pt x="0" y="44"/>
                </a:cubicBezTo>
                <a:cubicBezTo>
                  <a:pt x="0" y="48"/>
                  <a:pt x="2" y="51"/>
                  <a:pt x="5" y="53"/>
                </a:cubicBezTo>
                <a:cubicBezTo>
                  <a:pt x="2" y="56"/>
                  <a:pt x="0" y="59"/>
                  <a:pt x="0" y="63"/>
                </a:cubicBezTo>
                <a:cubicBezTo>
                  <a:pt x="0" y="94"/>
                  <a:pt x="0" y="94"/>
                  <a:pt x="0" y="94"/>
                </a:cubicBezTo>
                <a:cubicBezTo>
                  <a:pt x="0" y="98"/>
                  <a:pt x="2" y="102"/>
                  <a:pt x="5" y="104"/>
                </a:cubicBezTo>
                <a:cubicBezTo>
                  <a:pt x="2" y="106"/>
                  <a:pt x="0" y="110"/>
                  <a:pt x="0" y="114"/>
                </a:cubicBezTo>
                <a:cubicBezTo>
                  <a:pt x="0" y="145"/>
                  <a:pt x="0" y="145"/>
                  <a:pt x="0" y="145"/>
                </a:cubicBezTo>
                <a:cubicBezTo>
                  <a:pt x="0" y="152"/>
                  <a:pt x="6" y="157"/>
                  <a:pt x="12" y="157"/>
                </a:cubicBezTo>
                <a:cubicBezTo>
                  <a:pt x="148" y="157"/>
                  <a:pt x="148" y="157"/>
                  <a:pt x="148" y="157"/>
                </a:cubicBezTo>
                <a:cubicBezTo>
                  <a:pt x="154" y="157"/>
                  <a:pt x="160" y="152"/>
                  <a:pt x="160" y="145"/>
                </a:cubicBezTo>
                <a:cubicBezTo>
                  <a:pt x="160" y="114"/>
                  <a:pt x="160" y="114"/>
                  <a:pt x="160" y="114"/>
                </a:cubicBezTo>
                <a:cubicBezTo>
                  <a:pt x="160" y="110"/>
                  <a:pt x="158" y="106"/>
                  <a:pt x="155" y="104"/>
                </a:cubicBezTo>
                <a:cubicBezTo>
                  <a:pt x="158" y="102"/>
                  <a:pt x="160" y="98"/>
                  <a:pt x="160" y="94"/>
                </a:cubicBezTo>
                <a:cubicBezTo>
                  <a:pt x="160" y="63"/>
                  <a:pt x="160" y="63"/>
                  <a:pt x="160" y="63"/>
                </a:cubicBezTo>
                <a:cubicBezTo>
                  <a:pt x="160" y="59"/>
                  <a:pt x="158" y="56"/>
                  <a:pt x="155" y="53"/>
                </a:cubicBezTo>
                <a:cubicBezTo>
                  <a:pt x="158" y="51"/>
                  <a:pt x="160" y="48"/>
                  <a:pt x="160" y="44"/>
                </a:cubicBezTo>
                <a:close/>
                <a:moveTo>
                  <a:pt x="155" y="114"/>
                </a:moveTo>
                <a:cubicBezTo>
                  <a:pt x="155" y="145"/>
                  <a:pt x="155" y="145"/>
                  <a:pt x="155" y="145"/>
                </a:cubicBezTo>
                <a:cubicBezTo>
                  <a:pt x="155" y="149"/>
                  <a:pt x="152" y="152"/>
                  <a:pt x="148" y="152"/>
                </a:cubicBezTo>
                <a:cubicBezTo>
                  <a:pt x="12" y="152"/>
                  <a:pt x="12" y="152"/>
                  <a:pt x="12" y="152"/>
                </a:cubicBezTo>
                <a:cubicBezTo>
                  <a:pt x="8" y="152"/>
                  <a:pt x="5" y="149"/>
                  <a:pt x="5" y="145"/>
                </a:cubicBezTo>
                <a:cubicBezTo>
                  <a:pt x="5" y="114"/>
                  <a:pt x="5" y="114"/>
                  <a:pt x="5" y="114"/>
                </a:cubicBezTo>
                <a:cubicBezTo>
                  <a:pt x="5" y="110"/>
                  <a:pt x="8" y="107"/>
                  <a:pt x="12" y="107"/>
                </a:cubicBezTo>
                <a:cubicBezTo>
                  <a:pt x="148" y="107"/>
                  <a:pt x="148" y="107"/>
                  <a:pt x="148" y="107"/>
                </a:cubicBezTo>
                <a:cubicBezTo>
                  <a:pt x="152" y="107"/>
                  <a:pt x="155" y="110"/>
                  <a:pt x="155" y="114"/>
                </a:cubicBezTo>
                <a:close/>
                <a:moveTo>
                  <a:pt x="155" y="63"/>
                </a:moveTo>
                <a:cubicBezTo>
                  <a:pt x="155" y="94"/>
                  <a:pt x="155" y="94"/>
                  <a:pt x="155" y="94"/>
                </a:cubicBezTo>
                <a:cubicBezTo>
                  <a:pt x="155" y="98"/>
                  <a:pt x="152" y="101"/>
                  <a:pt x="148" y="101"/>
                </a:cubicBezTo>
                <a:cubicBezTo>
                  <a:pt x="12" y="101"/>
                  <a:pt x="12" y="101"/>
                  <a:pt x="12" y="101"/>
                </a:cubicBezTo>
                <a:cubicBezTo>
                  <a:pt x="8" y="101"/>
                  <a:pt x="5" y="98"/>
                  <a:pt x="5" y="94"/>
                </a:cubicBezTo>
                <a:cubicBezTo>
                  <a:pt x="5" y="63"/>
                  <a:pt x="5" y="63"/>
                  <a:pt x="5" y="63"/>
                </a:cubicBezTo>
                <a:cubicBezTo>
                  <a:pt x="5" y="59"/>
                  <a:pt x="8" y="56"/>
                  <a:pt x="12" y="56"/>
                </a:cubicBezTo>
                <a:cubicBezTo>
                  <a:pt x="148" y="56"/>
                  <a:pt x="148" y="56"/>
                  <a:pt x="148" y="56"/>
                </a:cubicBezTo>
                <a:cubicBezTo>
                  <a:pt x="152" y="56"/>
                  <a:pt x="155" y="59"/>
                  <a:pt x="155" y="63"/>
                </a:cubicBezTo>
                <a:close/>
                <a:moveTo>
                  <a:pt x="12" y="51"/>
                </a:moveTo>
                <a:cubicBezTo>
                  <a:pt x="8" y="51"/>
                  <a:pt x="5" y="48"/>
                  <a:pt x="5" y="44"/>
                </a:cubicBezTo>
                <a:cubicBezTo>
                  <a:pt x="5" y="12"/>
                  <a:pt x="5" y="12"/>
                  <a:pt x="5" y="12"/>
                </a:cubicBezTo>
                <a:cubicBezTo>
                  <a:pt x="5" y="8"/>
                  <a:pt x="8" y="5"/>
                  <a:pt x="12" y="5"/>
                </a:cubicBezTo>
                <a:cubicBezTo>
                  <a:pt x="148" y="5"/>
                  <a:pt x="148" y="5"/>
                  <a:pt x="148" y="5"/>
                </a:cubicBezTo>
                <a:cubicBezTo>
                  <a:pt x="152" y="5"/>
                  <a:pt x="155" y="8"/>
                  <a:pt x="155" y="12"/>
                </a:cubicBezTo>
                <a:cubicBezTo>
                  <a:pt x="155" y="44"/>
                  <a:pt x="155" y="44"/>
                  <a:pt x="155" y="44"/>
                </a:cubicBezTo>
                <a:cubicBezTo>
                  <a:pt x="155" y="48"/>
                  <a:pt x="152" y="51"/>
                  <a:pt x="148" y="51"/>
                </a:cubicBezTo>
                <a:cubicBezTo>
                  <a:pt x="12" y="51"/>
                  <a:pt x="12" y="51"/>
                  <a:pt x="12" y="51"/>
                </a:cubicBezTo>
                <a:close/>
                <a:moveTo>
                  <a:pt x="28" y="91"/>
                </a:moveTo>
                <a:cubicBezTo>
                  <a:pt x="35" y="91"/>
                  <a:pt x="40" y="85"/>
                  <a:pt x="40" y="79"/>
                </a:cubicBezTo>
                <a:cubicBezTo>
                  <a:pt x="40" y="72"/>
                  <a:pt x="35" y="67"/>
                  <a:pt x="28" y="67"/>
                </a:cubicBezTo>
                <a:cubicBezTo>
                  <a:pt x="21" y="67"/>
                  <a:pt x="16" y="72"/>
                  <a:pt x="16" y="79"/>
                </a:cubicBezTo>
                <a:cubicBezTo>
                  <a:pt x="16" y="85"/>
                  <a:pt x="21" y="91"/>
                  <a:pt x="28" y="91"/>
                </a:cubicBezTo>
                <a:close/>
                <a:moveTo>
                  <a:pt x="28" y="72"/>
                </a:moveTo>
                <a:cubicBezTo>
                  <a:pt x="32" y="72"/>
                  <a:pt x="35" y="75"/>
                  <a:pt x="35" y="79"/>
                </a:cubicBezTo>
                <a:cubicBezTo>
                  <a:pt x="35" y="82"/>
                  <a:pt x="32" y="85"/>
                  <a:pt x="28" y="85"/>
                </a:cubicBezTo>
                <a:cubicBezTo>
                  <a:pt x="24" y="85"/>
                  <a:pt x="21" y="82"/>
                  <a:pt x="21" y="79"/>
                </a:cubicBezTo>
                <a:cubicBezTo>
                  <a:pt x="21" y="75"/>
                  <a:pt x="24" y="72"/>
                  <a:pt x="28" y="72"/>
                </a:cubicBezTo>
                <a:close/>
                <a:moveTo>
                  <a:pt x="133" y="72"/>
                </a:moveTo>
                <a:cubicBezTo>
                  <a:pt x="135" y="72"/>
                  <a:pt x="136" y="73"/>
                  <a:pt x="136" y="75"/>
                </a:cubicBezTo>
                <a:cubicBezTo>
                  <a:pt x="136" y="76"/>
                  <a:pt x="135" y="77"/>
                  <a:pt x="133" y="77"/>
                </a:cubicBezTo>
                <a:cubicBezTo>
                  <a:pt x="132" y="77"/>
                  <a:pt x="131" y="76"/>
                  <a:pt x="131" y="75"/>
                </a:cubicBezTo>
                <a:cubicBezTo>
                  <a:pt x="131" y="73"/>
                  <a:pt x="132" y="72"/>
                  <a:pt x="133" y="72"/>
                </a:cubicBezTo>
                <a:close/>
                <a:moveTo>
                  <a:pt x="123" y="72"/>
                </a:moveTo>
                <a:cubicBezTo>
                  <a:pt x="124" y="72"/>
                  <a:pt x="125" y="73"/>
                  <a:pt x="125" y="75"/>
                </a:cubicBezTo>
                <a:cubicBezTo>
                  <a:pt x="125" y="76"/>
                  <a:pt x="124" y="77"/>
                  <a:pt x="123" y="77"/>
                </a:cubicBezTo>
                <a:cubicBezTo>
                  <a:pt x="121" y="77"/>
                  <a:pt x="120" y="76"/>
                  <a:pt x="120" y="75"/>
                </a:cubicBezTo>
                <a:cubicBezTo>
                  <a:pt x="120" y="73"/>
                  <a:pt x="121" y="72"/>
                  <a:pt x="123" y="72"/>
                </a:cubicBezTo>
                <a:close/>
                <a:moveTo>
                  <a:pt x="139" y="80"/>
                </a:moveTo>
                <a:cubicBezTo>
                  <a:pt x="140" y="80"/>
                  <a:pt x="141" y="81"/>
                  <a:pt x="141" y="83"/>
                </a:cubicBezTo>
                <a:cubicBezTo>
                  <a:pt x="141" y="84"/>
                  <a:pt x="140" y="85"/>
                  <a:pt x="139" y="85"/>
                </a:cubicBezTo>
                <a:cubicBezTo>
                  <a:pt x="137" y="85"/>
                  <a:pt x="136" y="84"/>
                  <a:pt x="136" y="83"/>
                </a:cubicBezTo>
                <a:cubicBezTo>
                  <a:pt x="136" y="81"/>
                  <a:pt x="137" y="80"/>
                  <a:pt x="139" y="80"/>
                </a:cubicBezTo>
                <a:close/>
                <a:moveTo>
                  <a:pt x="128" y="80"/>
                </a:moveTo>
                <a:cubicBezTo>
                  <a:pt x="129" y="80"/>
                  <a:pt x="131" y="81"/>
                  <a:pt x="131" y="83"/>
                </a:cubicBezTo>
                <a:cubicBezTo>
                  <a:pt x="131" y="84"/>
                  <a:pt x="129" y="85"/>
                  <a:pt x="128" y="85"/>
                </a:cubicBezTo>
                <a:cubicBezTo>
                  <a:pt x="127" y="85"/>
                  <a:pt x="125" y="84"/>
                  <a:pt x="125" y="83"/>
                </a:cubicBezTo>
                <a:cubicBezTo>
                  <a:pt x="125" y="81"/>
                  <a:pt x="127" y="80"/>
                  <a:pt x="128" y="80"/>
                </a:cubicBezTo>
                <a:close/>
                <a:moveTo>
                  <a:pt x="112" y="72"/>
                </a:moveTo>
                <a:cubicBezTo>
                  <a:pt x="113" y="72"/>
                  <a:pt x="115" y="73"/>
                  <a:pt x="115" y="75"/>
                </a:cubicBezTo>
                <a:cubicBezTo>
                  <a:pt x="115" y="76"/>
                  <a:pt x="113" y="77"/>
                  <a:pt x="112" y="77"/>
                </a:cubicBezTo>
                <a:cubicBezTo>
                  <a:pt x="111" y="77"/>
                  <a:pt x="109" y="76"/>
                  <a:pt x="109" y="75"/>
                </a:cubicBezTo>
                <a:cubicBezTo>
                  <a:pt x="109" y="73"/>
                  <a:pt x="111" y="72"/>
                  <a:pt x="112" y="72"/>
                </a:cubicBezTo>
                <a:close/>
                <a:moveTo>
                  <a:pt x="117" y="80"/>
                </a:moveTo>
                <a:cubicBezTo>
                  <a:pt x="119" y="80"/>
                  <a:pt x="120" y="81"/>
                  <a:pt x="120" y="83"/>
                </a:cubicBezTo>
                <a:cubicBezTo>
                  <a:pt x="120" y="84"/>
                  <a:pt x="119" y="85"/>
                  <a:pt x="117" y="85"/>
                </a:cubicBezTo>
                <a:cubicBezTo>
                  <a:pt x="116" y="85"/>
                  <a:pt x="115" y="84"/>
                  <a:pt x="115" y="83"/>
                </a:cubicBezTo>
                <a:cubicBezTo>
                  <a:pt x="115" y="81"/>
                  <a:pt x="116" y="80"/>
                  <a:pt x="117" y="80"/>
                </a:cubicBezTo>
                <a:close/>
                <a:moveTo>
                  <a:pt x="101" y="72"/>
                </a:moveTo>
                <a:cubicBezTo>
                  <a:pt x="103" y="72"/>
                  <a:pt x="104" y="73"/>
                  <a:pt x="104" y="75"/>
                </a:cubicBezTo>
                <a:cubicBezTo>
                  <a:pt x="104" y="76"/>
                  <a:pt x="103" y="77"/>
                  <a:pt x="101" y="77"/>
                </a:cubicBezTo>
                <a:cubicBezTo>
                  <a:pt x="100" y="77"/>
                  <a:pt x="99" y="76"/>
                  <a:pt x="99" y="75"/>
                </a:cubicBezTo>
                <a:cubicBezTo>
                  <a:pt x="99" y="73"/>
                  <a:pt x="100" y="72"/>
                  <a:pt x="101" y="72"/>
                </a:cubicBezTo>
                <a:close/>
                <a:moveTo>
                  <a:pt x="107" y="80"/>
                </a:moveTo>
                <a:cubicBezTo>
                  <a:pt x="108" y="80"/>
                  <a:pt x="109" y="81"/>
                  <a:pt x="109" y="83"/>
                </a:cubicBezTo>
                <a:cubicBezTo>
                  <a:pt x="109" y="84"/>
                  <a:pt x="108" y="85"/>
                  <a:pt x="107" y="85"/>
                </a:cubicBezTo>
                <a:cubicBezTo>
                  <a:pt x="105" y="85"/>
                  <a:pt x="104" y="84"/>
                  <a:pt x="104" y="83"/>
                </a:cubicBezTo>
                <a:cubicBezTo>
                  <a:pt x="104" y="81"/>
                  <a:pt x="105" y="80"/>
                  <a:pt x="107" y="80"/>
                </a:cubicBezTo>
                <a:close/>
                <a:moveTo>
                  <a:pt x="91" y="72"/>
                </a:moveTo>
                <a:cubicBezTo>
                  <a:pt x="92" y="72"/>
                  <a:pt x="93" y="73"/>
                  <a:pt x="93" y="75"/>
                </a:cubicBezTo>
                <a:cubicBezTo>
                  <a:pt x="93" y="76"/>
                  <a:pt x="92" y="77"/>
                  <a:pt x="91" y="77"/>
                </a:cubicBezTo>
                <a:cubicBezTo>
                  <a:pt x="89" y="77"/>
                  <a:pt x="88" y="76"/>
                  <a:pt x="88" y="75"/>
                </a:cubicBezTo>
                <a:cubicBezTo>
                  <a:pt x="88" y="73"/>
                  <a:pt x="89" y="72"/>
                  <a:pt x="91" y="72"/>
                </a:cubicBezTo>
                <a:close/>
                <a:moveTo>
                  <a:pt x="96" y="80"/>
                </a:moveTo>
                <a:cubicBezTo>
                  <a:pt x="97" y="80"/>
                  <a:pt x="99" y="81"/>
                  <a:pt x="99" y="83"/>
                </a:cubicBezTo>
                <a:cubicBezTo>
                  <a:pt x="99" y="84"/>
                  <a:pt x="97" y="85"/>
                  <a:pt x="96" y="85"/>
                </a:cubicBezTo>
                <a:cubicBezTo>
                  <a:pt x="95" y="85"/>
                  <a:pt x="93" y="84"/>
                  <a:pt x="93" y="83"/>
                </a:cubicBezTo>
                <a:cubicBezTo>
                  <a:pt x="93" y="81"/>
                  <a:pt x="95" y="80"/>
                  <a:pt x="96" y="80"/>
                </a:cubicBezTo>
                <a:close/>
                <a:moveTo>
                  <a:pt x="28" y="141"/>
                </a:moveTo>
                <a:cubicBezTo>
                  <a:pt x="35" y="141"/>
                  <a:pt x="40" y="136"/>
                  <a:pt x="40" y="129"/>
                </a:cubicBezTo>
                <a:cubicBezTo>
                  <a:pt x="40" y="123"/>
                  <a:pt x="35" y="117"/>
                  <a:pt x="28" y="117"/>
                </a:cubicBezTo>
                <a:cubicBezTo>
                  <a:pt x="21" y="117"/>
                  <a:pt x="16" y="123"/>
                  <a:pt x="16" y="129"/>
                </a:cubicBezTo>
                <a:cubicBezTo>
                  <a:pt x="16" y="136"/>
                  <a:pt x="21" y="141"/>
                  <a:pt x="28" y="141"/>
                </a:cubicBezTo>
                <a:close/>
                <a:moveTo>
                  <a:pt x="28" y="123"/>
                </a:moveTo>
                <a:cubicBezTo>
                  <a:pt x="32" y="123"/>
                  <a:pt x="35" y="126"/>
                  <a:pt x="35" y="129"/>
                </a:cubicBezTo>
                <a:cubicBezTo>
                  <a:pt x="35" y="133"/>
                  <a:pt x="32" y="136"/>
                  <a:pt x="28" y="136"/>
                </a:cubicBezTo>
                <a:cubicBezTo>
                  <a:pt x="24" y="136"/>
                  <a:pt x="21" y="133"/>
                  <a:pt x="21" y="129"/>
                </a:cubicBezTo>
                <a:cubicBezTo>
                  <a:pt x="21" y="126"/>
                  <a:pt x="24" y="123"/>
                  <a:pt x="28" y="123"/>
                </a:cubicBezTo>
                <a:close/>
                <a:moveTo>
                  <a:pt x="133" y="123"/>
                </a:moveTo>
                <a:cubicBezTo>
                  <a:pt x="135" y="123"/>
                  <a:pt x="136" y="124"/>
                  <a:pt x="136" y="125"/>
                </a:cubicBezTo>
                <a:cubicBezTo>
                  <a:pt x="136" y="127"/>
                  <a:pt x="135" y="128"/>
                  <a:pt x="133" y="128"/>
                </a:cubicBezTo>
                <a:cubicBezTo>
                  <a:pt x="132" y="128"/>
                  <a:pt x="131" y="127"/>
                  <a:pt x="131" y="125"/>
                </a:cubicBezTo>
                <a:cubicBezTo>
                  <a:pt x="131" y="124"/>
                  <a:pt x="132" y="123"/>
                  <a:pt x="133" y="123"/>
                </a:cubicBezTo>
                <a:close/>
                <a:moveTo>
                  <a:pt x="123" y="123"/>
                </a:moveTo>
                <a:cubicBezTo>
                  <a:pt x="124" y="123"/>
                  <a:pt x="125" y="124"/>
                  <a:pt x="125" y="125"/>
                </a:cubicBezTo>
                <a:cubicBezTo>
                  <a:pt x="125" y="127"/>
                  <a:pt x="124" y="128"/>
                  <a:pt x="123" y="128"/>
                </a:cubicBezTo>
                <a:cubicBezTo>
                  <a:pt x="121" y="128"/>
                  <a:pt x="120" y="127"/>
                  <a:pt x="120" y="125"/>
                </a:cubicBezTo>
                <a:cubicBezTo>
                  <a:pt x="120" y="124"/>
                  <a:pt x="121" y="123"/>
                  <a:pt x="123" y="123"/>
                </a:cubicBezTo>
                <a:close/>
                <a:moveTo>
                  <a:pt x="139" y="131"/>
                </a:moveTo>
                <a:cubicBezTo>
                  <a:pt x="140" y="131"/>
                  <a:pt x="141" y="132"/>
                  <a:pt x="141" y="133"/>
                </a:cubicBezTo>
                <a:cubicBezTo>
                  <a:pt x="141" y="135"/>
                  <a:pt x="140" y="136"/>
                  <a:pt x="139" y="136"/>
                </a:cubicBezTo>
                <a:cubicBezTo>
                  <a:pt x="137" y="136"/>
                  <a:pt x="136" y="135"/>
                  <a:pt x="136" y="133"/>
                </a:cubicBezTo>
                <a:cubicBezTo>
                  <a:pt x="136" y="132"/>
                  <a:pt x="137" y="131"/>
                  <a:pt x="139" y="131"/>
                </a:cubicBezTo>
                <a:close/>
                <a:moveTo>
                  <a:pt x="128" y="131"/>
                </a:moveTo>
                <a:cubicBezTo>
                  <a:pt x="129" y="131"/>
                  <a:pt x="131" y="132"/>
                  <a:pt x="131" y="133"/>
                </a:cubicBezTo>
                <a:cubicBezTo>
                  <a:pt x="131" y="135"/>
                  <a:pt x="129" y="136"/>
                  <a:pt x="128" y="136"/>
                </a:cubicBezTo>
                <a:cubicBezTo>
                  <a:pt x="127" y="136"/>
                  <a:pt x="125" y="135"/>
                  <a:pt x="125" y="133"/>
                </a:cubicBezTo>
                <a:cubicBezTo>
                  <a:pt x="125" y="132"/>
                  <a:pt x="127" y="131"/>
                  <a:pt x="128" y="131"/>
                </a:cubicBezTo>
                <a:close/>
                <a:moveTo>
                  <a:pt x="112" y="123"/>
                </a:moveTo>
                <a:cubicBezTo>
                  <a:pt x="113" y="123"/>
                  <a:pt x="115" y="124"/>
                  <a:pt x="115" y="125"/>
                </a:cubicBezTo>
                <a:cubicBezTo>
                  <a:pt x="115" y="127"/>
                  <a:pt x="113" y="128"/>
                  <a:pt x="112" y="128"/>
                </a:cubicBezTo>
                <a:cubicBezTo>
                  <a:pt x="111" y="128"/>
                  <a:pt x="109" y="127"/>
                  <a:pt x="109" y="125"/>
                </a:cubicBezTo>
                <a:cubicBezTo>
                  <a:pt x="109" y="124"/>
                  <a:pt x="111" y="123"/>
                  <a:pt x="112" y="123"/>
                </a:cubicBezTo>
                <a:close/>
                <a:moveTo>
                  <a:pt x="117" y="131"/>
                </a:moveTo>
                <a:cubicBezTo>
                  <a:pt x="119" y="131"/>
                  <a:pt x="120" y="132"/>
                  <a:pt x="120" y="133"/>
                </a:cubicBezTo>
                <a:cubicBezTo>
                  <a:pt x="120" y="135"/>
                  <a:pt x="119" y="136"/>
                  <a:pt x="117" y="136"/>
                </a:cubicBezTo>
                <a:cubicBezTo>
                  <a:pt x="116" y="136"/>
                  <a:pt x="115" y="135"/>
                  <a:pt x="115" y="133"/>
                </a:cubicBezTo>
                <a:cubicBezTo>
                  <a:pt x="115" y="132"/>
                  <a:pt x="116" y="131"/>
                  <a:pt x="117" y="131"/>
                </a:cubicBezTo>
                <a:close/>
                <a:moveTo>
                  <a:pt x="101" y="123"/>
                </a:moveTo>
                <a:cubicBezTo>
                  <a:pt x="103" y="123"/>
                  <a:pt x="104" y="124"/>
                  <a:pt x="104" y="125"/>
                </a:cubicBezTo>
                <a:cubicBezTo>
                  <a:pt x="104" y="127"/>
                  <a:pt x="103" y="128"/>
                  <a:pt x="101" y="128"/>
                </a:cubicBezTo>
                <a:cubicBezTo>
                  <a:pt x="100" y="128"/>
                  <a:pt x="99" y="127"/>
                  <a:pt x="99" y="125"/>
                </a:cubicBezTo>
                <a:cubicBezTo>
                  <a:pt x="99" y="124"/>
                  <a:pt x="100" y="123"/>
                  <a:pt x="101" y="123"/>
                </a:cubicBezTo>
                <a:close/>
                <a:moveTo>
                  <a:pt x="107" y="131"/>
                </a:moveTo>
                <a:cubicBezTo>
                  <a:pt x="108" y="131"/>
                  <a:pt x="109" y="132"/>
                  <a:pt x="109" y="133"/>
                </a:cubicBezTo>
                <a:cubicBezTo>
                  <a:pt x="109" y="135"/>
                  <a:pt x="108" y="136"/>
                  <a:pt x="107" y="136"/>
                </a:cubicBezTo>
                <a:cubicBezTo>
                  <a:pt x="105" y="136"/>
                  <a:pt x="104" y="135"/>
                  <a:pt x="104" y="133"/>
                </a:cubicBezTo>
                <a:cubicBezTo>
                  <a:pt x="104" y="132"/>
                  <a:pt x="105" y="131"/>
                  <a:pt x="107" y="131"/>
                </a:cubicBezTo>
                <a:close/>
                <a:moveTo>
                  <a:pt x="91" y="123"/>
                </a:moveTo>
                <a:cubicBezTo>
                  <a:pt x="92" y="123"/>
                  <a:pt x="93" y="124"/>
                  <a:pt x="93" y="125"/>
                </a:cubicBezTo>
                <a:cubicBezTo>
                  <a:pt x="93" y="127"/>
                  <a:pt x="92" y="128"/>
                  <a:pt x="91" y="128"/>
                </a:cubicBezTo>
                <a:cubicBezTo>
                  <a:pt x="89" y="128"/>
                  <a:pt x="88" y="127"/>
                  <a:pt x="88" y="125"/>
                </a:cubicBezTo>
                <a:cubicBezTo>
                  <a:pt x="88" y="124"/>
                  <a:pt x="89" y="123"/>
                  <a:pt x="91" y="123"/>
                </a:cubicBezTo>
                <a:close/>
                <a:moveTo>
                  <a:pt x="96" y="131"/>
                </a:moveTo>
                <a:cubicBezTo>
                  <a:pt x="97" y="131"/>
                  <a:pt x="99" y="132"/>
                  <a:pt x="99" y="133"/>
                </a:cubicBezTo>
                <a:cubicBezTo>
                  <a:pt x="99" y="135"/>
                  <a:pt x="97" y="136"/>
                  <a:pt x="96" y="136"/>
                </a:cubicBezTo>
                <a:cubicBezTo>
                  <a:pt x="95" y="136"/>
                  <a:pt x="93" y="135"/>
                  <a:pt x="93" y="133"/>
                </a:cubicBezTo>
                <a:cubicBezTo>
                  <a:pt x="93" y="132"/>
                  <a:pt x="95" y="131"/>
                  <a:pt x="96" y="13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54" name="Freeform 1356">
            <a:extLst>
              <a:ext uri="{FF2B5EF4-FFF2-40B4-BE49-F238E27FC236}">
                <a16:creationId xmlns:a16="http://schemas.microsoft.com/office/drawing/2014/main" id="{5513D1B1-B627-8C45-B079-A460BA4DF993}"/>
              </a:ext>
            </a:extLst>
          </p:cNvPr>
          <p:cNvSpPr>
            <a:spLocks noEditPoints="1"/>
          </p:cNvSpPr>
          <p:nvPr/>
        </p:nvSpPr>
        <p:spPr bwMode="auto">
          <a:xfrm>
            <a:off x="7176662" y="984250"/>
            <a:ext cx="546100" cy="550863"/>
          </a:xfrm>
          <a:custGeom>
            <a:avLst/>
            <a:gdLst>
              <a:gd name="T0" fmla="*/ 157 w 160"/>
              <a:gd name="T1" fmla="*/ 101 h 160"/>
              <a:gd name="T2" fmla="*/ 3 w 160"/>
              <a:gd name="T3" fmla="*/ 102 h 160"/>
              <a:gd name="T4" fmla="*/ 6 w 160"/>
              <a:gd name="T5" fmla="*/ 111 h 160"/>
              <a:gd name="T6" fmla="*/ 45 w 160"/>
              <a:gd name="T7" fmla="*/ 152 h 160"/>
              <a:gd name="T8" fmla="*/ 55 w 160"/>
              <a:gd name="T9" fmla="*/ 156 h 160"/>
              <a:gd name="T10" fmla="*/ 105 w 160"/>
              <a:gd name="T11" fmla="*/ 156 h 160"/>
              <a:gd name="T12" fmla="*/ 153 w 160"/>
              <a:gd name="T13" fmla="*/ 112 h 160"/>
              <a:gd name="T14" fmla="*/ 11 w 160"/>
              <a:gd name="T15" fmla="*/ 107 h 160"/>
              <a:gd name="T16" fmla="*/ 16 w 160"/>
              <a:gd name="T17" fmla="*/ 118 h 160"/>
              <a:gd name="T18" fmla="*/ 23 w 160"/>
              <a:gd name="T19" fmla="*/ 113 h 160"/>
              <a:gd name="T20" fmla="*/ 63 w 160"/>
              <a:gd name="T21" fmla="*/ 129 h 160"/>
              <a:gd name="T22" fmla="*/ 43 w 160"/>
              <a:gd name="T23" fmla="*/ 118 h 160"/>
              <a:gd name="T24" fmla="*/ 40 w 160"/>
              <a:gd name="T25" fmla="*/ 143 h 160"/>
              <a:gd name="T26" fmla="*/ 23 w 160"/>
              <a:gd name="T27" fmla="*/ 119 h 160"/>
              <a:gd name="T28" fmla="*/ 32 w 160"/>
              <a:gd name="T29" fmla="*/ 137 h 160"/>
              <a:gd name="T30" fmla="*/ 21 w 160"/>
              <a:gd name="T31" fmla="*/ 126 h 160"/>
              <a:gd name="T32" fmla="*/ 65 w 160"/>
              <a:gd name="T33" fmla="*/ 145 h 160"/>
              <a:gd name="T34" fmla="*/ 75 w 160"/>
              <a:gd name="T35" fmla="*/ 129 h 160"/>
              <a:gd name="T36" fmla="*/ 69 w 160"/>
              <a:gd name="T37" fmla="*/ 107 h 160"/>
              <a:gd name="T38" fmla="*/ 56 w 160"/>
              <a:gd name="T39" fmla="*/ 100 h 160"/>
              <a:gd name="T40" fmla="*/ 47 w 160"/>
              <a:gd name="T41" fmla="*/ 94 h 160"/>
              <a:gd name="T42" fmla="*/ 27 w 160"/>
              <a:gd name="T43" fmla="*/ 90 h 160"/>
              <a:gd name="T44" fmla="*/ 155 w 160"/>
              <a:gd name="T45" fmla="*/ 80 h 160"/>
              <a:gd name="T46" fmla="*/ 128 w 160"/>
              <a:gd name="T47" fmla="*/ 85 h 160"/>
              <a:gd name="T48" fmla="*/ 107 w 160"/>
              <a:gd name="T49" fmla="*/ 92 h 160"/>
              <a:gd name="T50" fmla="*/ 92 w 160"/>
              <a:gd name="T51" fmla="*/ 109 h 160"/>
              <a:gd name="T52" fmla="*/ 88 w 160"/>
              <a:gd name="T53" fmla="*/ 131 h 160"/>
              <a:gd name="T54" fmla="*/ 97 w 160"/>
              <a:gd name="T55" fmla="*/ 148 h 160"/>
              <a:gd name="T56" fmla="*/ 151 w 160"/>
              <a:gd name="T57" fmla="*/ 104 h 160"/>
              <a:gd name="T58" fmla="*/ 145 w 160"/>
              <a:gd name="T59" fmla="*/ 118 h 160"/>
              <a:gd name="T60" fmla="*/ 152 w 160"/>
              <a:gd name="T61" fmla="*/ 102 h 160"/>
              <a:gd name="T62" fmla="*/ 105 w 160"/>
              <a:gd name="T63" fmla="*/ 150 h 160"/>
              <a:gd name="T64" fmla="*/ 116 w 160"/>
              <a:gd name="T65" fmla="*/ 137 h 160"/>
              <a:gd name="T66" fmla="*/ 120 w 160"/>
              <a:gd name="T67" fmla="*/ 114 h 160"/>
              <a:gd name="T68" fmla="*/ 141 w 160"/>
              <a:gd name="T69" fmla="*/ 122 h 160"/>
              <a:gd name="T70" fmla="*/ 135 w 160"/>
              <a:gd name="T71" fmla="*/ 130 h 160"/>
              <a:gd name="T72" fmla="*/ 126 w 160"/>
              <a:gd name="T73" fmla="*/ 139 h 160"/>
              <a:gd name="T74" fmla="*/ 101 w 160"/>
              <a:gd name="T75" fmla="*/ 65 h 160"/>
              <a:gd name="T76" fmla="*/ 135 w 160"/>
              <a:gd name="T77" fmla="*/ 80 h 160"/>
              <a:gd name="T78" fmla="*/ 144 w 160"/>
              <a:gd name="T79" fmla="*/ 60 h 160"/>
              <a:gd name="T80" fmla="*/ 138 w 160"/>
              <a:gd name="T81" fmla="*/ 44 h 160"/>
              <a:gd name="T82" fmla="*/ 127 w 160"/>
              <a:gd name="T83" fmla="*/ 30 h 160"/>
              <a:gd name="T84" fmla="*/ 113 w 160"/>
              <a:gd name="T85" fmla="*/ 20 h 160"/>
              <a:gd name="T86" fmla="*/ 97 w 160"/>
              <a:gd name="T87" fmla="*/ 13 h 160"/>
              <a:gd name="T88" fmla="*/ 80 w 160"/>
              <a:gd name="T89" fmla="*/ 11 h 160"/>
              <a:gd name="T90" fmla="*/ 63 w 160"/>
              <a:gd name="T91" fmla="*/ 13 h 160"/>
              <a:gd name="T92" fmla="*/ 47 w 160"/>
              <a:gd name="T93" fmla="*/ 20 h 160"/>
              <a:gd name="T94" fmla="*/ 33 w 160"/>
              <a:gd name="T95" fmla="*/ 30 h 160"/>
              <a:gd name="T96" fmla="*/ 22 w 160"/>
              <a:gd name="T97" fmla="*/ 44 h 160"/>
              <a:gd name="T98" fmla="*/ 16 w 160"/>
              <a:gd name="T99" fmla="*/ 60 h 160"/>
              <a:gd name="T100" fmla="*/ 25 w 160"/>
              <a:gd name="T101" fmla="*/ 80 h 160"/>
              <a:gd name="T102" fmla="*/ 59 w 160"/>
              <a:gd name="T103" fmla="*/ 89 h 160"/>
              <a:gd name="T104" fmla="*/ 68 w 160"/>
              <a:gd name="T105" fmla="*/ 57 h 160"/>
              <a:gd name="T106" fmla="*/ 95 w 160"/>
              <a:gd name="T107" fmla="*/ 59 h 160"/>
              <a:gd name="T108" fmla="*/ 62 w 160"/>
              <a:gd name="T109" fmla="*/ 73 h 160"/>
              <a:gd name="T110" fmla="*/ 98 w 160"/>
              <a:gd name="T111" fmla="*/ 8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60">
                <a:moveTo>
                  <a:pt x="155" y="109"/>
                </a:moveTo>
                <a:cubicBezTo>
                  <a:pt x="155" y="108"/>
                  <a:pt x="155" y="107"/>
                  <a:pt x="155" y="106"/>
                </a:cubicBezTo>
                <a:cubicBezTo>
                  <a:pt x="156" y="106"/>
                  <a:pt x="156" y="105"/>
                  <a:pt x="156" y="105"/>
                </a:cubicBezTo>
                <a:cubicBezTo>
                  <a:pt x="156" y="104"/>
                  <a:pt x="157" y="103"/>
                  <a:pt x="157" y="101"/>
                </a:cubicBezTo>
                <a:cubicBezTo>
                  <a:pt x="157" y="101"/>
                  <a:pt x="157" y="101"/>
                  <a:pt x="157" y="101"/>
                </a:cubicBezTo>
                <a:cubicBezTo>
                  <a:pt x="157" y="101"/>
                  <a:pt x="157" y="101"/>
                  <a:pt x="157" y="101"/>
                </a:cubicBezTo>
                <a:cubicBezTo>
                  <a:pt x="159" y="94"/>
                  <a:pt x="160" y="87"/>
                  <a:pt x="160" y="80"/>
                </a:cubicBezTo>
                <a:cubicBezTo>
                  <a:pt x="160" y="36"/>
                  <a:pt x="124" y="0"/>
                  <a:pt x="80" y="0"/>
                </a:cubicBezTo>
                <a:cubicBezTo>
                  <a:pt x="36" y="0"/>
                  <a:pt x="0" y="36"/>
                  <a:pt x="0" y="80"/>
                </a:cubicBezTo>
                <a:cubicBezTo>
                  <a:pt x="0" y="88"/>
                  <a:pt x="1" y="95"/>
                  <a:pt x="3" y="102"/>
                </a:cubicBezTo>
                <a:cubicBezTo>
                  <a:pt x="3" y="102"/>
                  <a:pt x="3" y="102"/>
                  <a:pt x="3" y="102"/>
                </a:cubicBezTo>
                <a:cubicBezTo>
                  <a:pt x="3" y="102"/>
                  <a:pt x="3" y="102"/>
                  <a:pt x="3" y="102"/>
                </a:cubicBezTo>
                <a:cubicBezTo>
                  <a:pt x="4" y="104"/>
                  <a:pt x="4" y="105"/>
                  <a:pt x="4" y="106"/>
                </a:cubicBezTo>
                <a:cubicBezTo>
                  <a:pt x="5" y="106"/>
                  <a:pt x="5" y="107"/>
                  <a:pt x="5" y="107"/>
                </a:cubicBezTo>
                <a:cubicBezTo>
                  <a:pt x="5" y="108"/>
                  <a:pt x="6" y="110"/>
                  <a:pt x="6" y="111"/>
                </a:cubicBezTo>
                <a:cubicBezTo>
                  <a:pt x="7" y="112"/>
                  <a:pt x="7" y="113"/>
                  <a:pt x="7" y="113"/>
                </a:cubicBezTo>
                <a:cubicBezTo>
                  <a:pt x="8" y="114"/>
                  <a:pt x="8" y="114"/>
                  <a:pt x="8" y="115"/>
                </a:cubicBezTo>
                <a:cubicBezTo>
                  <a:pt x="9" y="116"/>
                  <a:pt x="9" y="117"/>
                  <a:pt x="10" y="118"/>
                </a:cubicBezTo>
                <a:cubicBezTo>
                  <a:pt x="10" y="118"/>
                  <a:pt x="10" y="118"/>
                  <a:pt x="10" y="118"/>
                </a:cubicBezTo>
                <a:cubicBezTo>
                  <a:pt x="18" y="133"/>
                  <a:pt x="30" y="145"/>
                  <a:pt x="45" y="152"/>
                </a:cubicBezTo>
                <a:cubicBezTo>
                  <a:pt x="45" y="152"/>
                  <a:pt x="45" y="152"/>
                  <a:pt x="45" y="152"/>
                </a:cubicBezTo>
                <a:cubicBezTo>
                  <a:pt x="46" y="153"/>
                  <a:pt x="47" y="153"/>
                  <a:pt x="48" y="153"/>
                </a:cubicBezTo>
                <a:cubicBezTo>
                  <a:pt x="49" y="154"/>
                  <a:pt x="49" y="154"/>
                  <a:pt x="50" y="154"/>
                </a:cubicBezTo>
                <a:cubicBezTo>
                  <a:pt x="50" y="154"/>
                  <a:pt x="51" y="155"/>
                  <a:pt x="52" y="155"/>
                </a:cubicBezTo>
                <a:cubicBezTo>
                  <a:pt x="53" y="155"/>
                  <a:pt x="54" y="156"/>
                  <a:pt x="55" y="156"/>
                </a:cubicBezTo>
                <a:cubicBezTo>
                  <a:pt x="55" y="156"/>
                  <a:pt x="55" y="156"/>
                  <a:pt x="56" y="156"/>
                </a:cubicBezTo>
                <a:cubicBezTo>
                  <a:pt x="56" y="156"/>
                  <a:pt x="56" y="156"/>
                  <a:pt x="56" y="156"/>
                </a:cubicBezTo>
                <a:cubicBezTo>
                  <a:pt x="64" y="159"/>
                  <a:pt x="72" y="160"/>
                  <a:pt x="80" y="160"/>
                </a:cubicBezTo>
                <a:cubicBezTo>
                  <a:pt x="89" y="160"/>
                  <a:pt x="97" y="159"/>
                  <a:pt x="105" y="156"/>
                </a:cubicBezTo>
                <a:cubicBezTo>
                  <a:pt x="105" y="156"/>
                  <a:pt x="105" y="156"/>
                  <a:pt x="105" y="156"/>
                </a:cubicBezTo>
                <a:cubicBezTo>
                  <a:pt x="105" y="156"/>
                  <a:pt x="105" y="156"/>
                  <a:pt x="106" y="156"/>
                </a:cubicBezTo>
                <a:cubicBezTo>
                  <a:pt x="107" y="155"/>
                  <a:pt x="108" y="155"/>
                  <a:pt x="109" y="155"/>
                </a:cubicBezTo>
                <a:cubicBezTo>
                  <a:pt x="109" y="154"/>
                  <a:pt x="110" y="154"/>
                  <a:pt x="110" y="154"/>
                </a:cubicBezTo>
                <a:cubicBezTo>
                  <a:pt x="111" y="154"/>
                  <a:pt x="112" y="153"/>
                  <a:pt x="113" y="153"/>
                </a:cubicBezTo>
                <a:cubicBezTo>
                  <a:pt x="131" y="145"/>
                  <a:pt x="145" y="130"/>
                  <a:pt x="153" y="112"/>
                </a:cubicBezTo>
                <a:cubicBezTo>
                  <a:pt x="153" y="112"/>
                  <a:pt x="154" y="111"/>
                  <a:pt x="154" y="111"/>
                </a:cubicBezTo>
                <a:cubicBezTo>
                  <a:pt x="154" y="110"/>
                  <a:pt x="154" y="110"/>
                  <a:pt x="155" y="109"/>
                </a:cubicBezTo>
                <a:close/>
                <a:moveTo>
                  <a:pt x="12" y="112"/>
                </a:moveTo>
                <a:cubicBezTo>
                  <a:pt x="12" y="111"/>
                  <a:pt x="12" y="110"/>
                  <a:pt x="12" y="110"/>
                </a:cubicBezTo>
                <a:cubicBezTo>
                  <a:pt x="11" y="109"/>
                  <a:pt x="11" y="108"/>
                  <a:pt x="11" y="107"/>
                </a:cubicBezTo>
                <a:cubicBezTo>
                  <a:pt x="10" y="107"/>
                  <a:pt x="10" y="107"/>
                  <a:pt x="10" y="106"/>
                </a:cubicBezTo>
                <a:cubicBezTo>
                  <a:pt x="10" y="105"/>
                  <a:pt x="9" y="104"/>
                  <a:pt x="9" y="102"/>
                </a:cubicBezTo>
                <a:cubicBezTo>
                  <a:pt x="9" y="102"/>
                  <a:pt x="10" y="102"/>
                  <a:pt x="10" y="101"/>
                </a:cubicBezTo>
                <a:cubicBezTo>
                  <a:pt x="18" y="116"/>
                  <a:pt x="18" y="116"/>
                  <a:pt x="18" y="116"/>
                </a:cubicBezTo>
                <a:cubicBezTo>
                  <a:pt x="18" y="117"/>
                  <a:pt x="17" y="117"/>
                  <a:pt x="16" y="118"/>
                </a:cubicBezTo>
                <a:cubicBezTo>
                  <a:pt x="15" y="117"/>
                  <a:pt x="14" y="115"/>
                  <a:pt x="13" y="113"/>
                </a:cubicBezTo>
                <a:cubicBezTo>
                  <a:pt x="13" y="113"/>
                  <a:pt x="13" y="112"/>
                  <a:pt x="12" y="112"/>
                </a:cubicBezTo>
                <a:close/>
                <a:moveTo>
                  <a:pt x="50" y="102"/>
                </a:moveTo>
                <a:cubicBezTo>
                  <a:pt x="39" y="115"/>
                  <a:pt x="39" y="115"/>
                  <a:pt x="39" y="115"/>
                </a:cubicBezTo>
                <a:cubicBezTo>
                  <a:pt x="34" y="112"/>
                  <a:pt x="28" y="111"/>
                  <a:pt x="23" y="113"/>
                </a:cubicBezTo>
                <a:cubicBezTo>
                  <a:pt x="15" y="99"/>
                  <a:pt x="15" y="99"/>
                  <a:pt x="15" y="99"/>
                </a:cubicBezTo>
                <a:cubicBezTo>
                  <a:pt x="26" y="93"/>
                  <a:pt x="40" y="95"/>
                  <a:pt x="50" y="102"/>
                </a:cubicBezTo>
                <a:close/>
                <a:moveTo>
                  <a:pt x="59" y="112"/>
                </a:moveTo>
                <a:cubicBezTo>
                  <a:pt x="62" y="118"/>
                  <a:pt x="63" y="123"/>
                  <a:pt x="63" y="129"/>
                </a:cubicBezTo>
                <a:cubicBezTo>
                  <a:pt x="63" y="129"/>
                  <a:pt x="63" y="129"/>
                  <a:pt x="63" y="129"/>
                </a:cubicBezTo>
                <a:cubicBezTo>
                  <a:pt x="63" y="129"/>
                  <a:pt x="63" y="129"/>
                  <a:pt x="63" y="129"/>
                </a:cubicBezTo>
                <a:cubicBezTo>
                  <a:pt x="63" y="133"/>
                  <a:pt x="63" y="137"/>
                  <a:pt x="61" y="141"/>
                </a:cubicBezTo>
                <a:cubicBezTo>
                  <a:pt x="46" y="134"/>
                  <a:pt x="46" y="134"/>
                  <a:pt x="46" y="134"/>
                </a:cubicBezTo>
                <a:cubicBezTo>
                  <a:pt x="47" y="130"/>
                  <a:pt x="47" y="125"/>
                  <a:pt x="44" y="121"/>
                </a:cubicBezTo>
                <a:cubicBezTo>
                  <a:pt x="44" y="120"/>
                  <a:pt x="43" y="119"/>
                  <a:pt x="43" y="118"/>
                </a:cubicBezTo>
                <a:cubicBezTo>
                  <a:pt x="54" y="106"/>
                  <a:pt x="54" y="106"/>
                  <a:pt x="54" y="106"/>
                </a:cubicBezTo>
                <a:cubicBezTo>
                  <a:pt x="56" y="108"/>
                  <a:pt x="58" y="110"/>
                  <a:pt x="59" y="112"/>
                </a:cubicBezTo>
                <a:close/>
                <a:moveTo>
                  <a:pt x="55" y="150"/>
                </a:moveTo>
                <a:cubicBezTo>
                  <a:pt x="54" y="150"/>
                  <a:pt x="54" y="150"/>
                  <a:pt x="53" y="150"/>
                </a:cubicBezTo>
                <a:cubicBezTo>
                  <a:pt x="49" y="148"/>
                  <a:pt x="44" y="146"/>
                  <a:pt x="40" y="143"/>
                </a:cubicBezTo>
                <a:cubicBezTo>
                  <a:pt x="42" y="142"/>
                  <a:pt x="43" y="140"/>
                  <a:pt x="44" y="139"/>
                </a:cubicBezTo>
                <a:cubicBezTo>
                  <a:pt x="59" y="146"/>
                  <a:pt x="59" y="146"/>
                  <a:pt x="59" y="146"/>
                </a:cubicBezTo>
                <a:cubicBezTo>
                  <a:pt x="58" y="147"/>
                  <a:pt x="57" y="149"/>
                  <a:pt x="56" y="151"/>
                </a:cubicBezTo>
                <a:cubicBezTo>
                  <a:pt x="56" y="151"/>
                  <a:pt x="55" y="150"/>
                  <a:pt x="55" y="150"/>
                </a:cubicBezTo>
                <a:close/>
                <a:moveTo>
                  <a:pt x="23" y="119"/>
                </a:moveTo>
                <a:cubicBezTo>
                  <a:pt x="29" y="116"/>
                  <a:pt x="36" y="118"/>
                  <a:pt x="40" y="123"/>
                </a:cubicBezTo>
                <a:cubicBezTo>
                  <a:pt x="43" y="129"/>
                  <a:pt x="41" y="136"/>
                  <a:pt x="35" y="140"/>
                </a:cubicBezTo>
                <a:cubicBezTo>
                  <a:pt x="35" y="140"/>
                  <a:pt x="35" y="140"/>
                  <a:pt x="35" y="140"/>
                </a:cubicBezTo>
                <a:cubicBezTo>
                  <a:pt x="35" y="140"/>
                  <a:pt x="35" y="139"/>
                  <a:pt x="35" y="139"/>
                </a:cubicBezTo>
                <a:cubicBezTo>
                  <a:pt x="34" y="138"/>
                  <a:pt x="33" y="138"/>
                  <a:pt x="32" y="137"/>
                </a:cubicBezTo>
                <a:cubicBezTo>
                  <a:pt x="31" y="136"/>
                  <a:pt x="31" y="136"/>
                  <a:pt x="30" y="136"/>
                </a:cubicBezTo>
                <a:cubicBezTo>
                  <a:pt x="29" y="135"/>
                  <a:pt x="28" y="134"/>
                  <a:pt x="27" y="133"/>
                </a:cubicBezTo>
                <a:cubicBezTo>
                  <a:pt x="27" y="132"/>
                  <a:pt x="26" y="131"/>
                  <a:pt x="25" y="131"/>
                </a:cubicBezTo>
                <a:cubicBezTo>
                  <a:pt x="25" y="130"/>
                  <a:pt x="24" y="130"/>
                  <a:pt x="24" y="129"/>
                </a:cubicBezTo>
                <a:cubicBezTo>
                  <a:pt x="23" y="128"/>
                  <a:pt x="22" y="127"/>
                  <a:pt x="21" y="126"/>
                </a:cubicBezTo>
                <a:cubicBezTo>
                  <a:pt x="21" y="126"/>
                  <a:pt x="20" y="125"/>
                  <a:pt x="20" y="124"/>
                </a:cubicBezTo>
                <a:cubicBezTo>
                  <a:pt x="20" y="124"/>
                  <a:pt x="19" y="123"/>
                  <a:pt x="19" y="123"/>
                </a:cubicBezTo>
                <a:cubicBezTo>
                  <a:pt x="20" y="121"/>
                  <a:pt x="22" y="120"/>
                  <a:pt x="23" y="119"/>
                </a:cubicBezTo>
                <a:close/>
                <a:moveTo>
                  <a:pt x="61" y="152"/>
                </a:moveTo>
                <a:cubicBezTo>
                  <a:pt x="63" y="150"/>
                  <a:pt x="64" y="148"/>
                  <a:pt x="65" y="145"/>
                </a:cubicBezTo>
                <a:cubicBezTo>
                  <a:pt x="65" y="145"/>
                  <a:pt x="65" y="145"/>
                  <a:pt x="65" y="145"/>
                </a:cubicBezTo>
                <a:cubicBezTo>
                  <a:pt x="65" y="145"/>
                  <a:pt x="65" y="145"/>
                  <a:pt x="65" y="145"/>
                </a:cubicBezTo>
                <a:cubicBezTo>
                  <a:pt x="67" y="141"/>
                  <a:pt x="68" y="137"/>
                  <a:pt x="69" y="132"/>
                </a:cubicBezTo>
                <a:cubicBezTo>
                  <a:pt x="72" y="132"/>
                  <a:pt x="72" y="132"/>
                  <a:pt x="72" y="132"/>
                </a:cubicBezTo>
                <a:cubicBezTo>
                  <a:pt x="73" y="132"/>
                  <a:pt x="75" y="131"/>
                  <a:pt x="75" y="129"/>
                </a:cubicBezTo>
                <a:cubicBezTo>
                  <a:pt x="75" y="128"/>
                  <a:pt x="73" y="127"/>
                  <a:pt x="72" y="127"/>
                </a:cubicBezTo>
                <a:cubicBezTo>
                  <a:pt x="69" y="127"/>
                  <a:pt x="69" y="127"/>
                  <a:pt x="69" y="127"/>
                </a:cubicBezTo>
                <a:cubicBezTo>
                  <a:pt x="68" y="122"/>
                  <a:pt x="67" y="117"/>
                  <a:pt x="65" y="112"/>
                </a:cubicBezTo>
                <a:cubicBezTo>
                  <a:pt x="68" y="110"/>
                  <a:pt x="68" y="110"/>
                  <a:pt x="68" y="110"/>
                </a:cubicBezTo>
                <a:cubicBezTo>
                  <a:pt x="69" y="110"/>
                  <a:pt x="69" y="108"/>
                  <a:pt x="69" y="107"/>
                </a:cubicBezTo>
                <a:cubicBezTo>
                  <a:pt x="68" y="105"/>
                  <a:pt x="66" y="105"/>
                  <a:pt x="65" y="106"/>
                </a:cubicBezTo>
                <a:cubicBezTo>
                  <a:pt x="62" y="107"/>
                  <a:pt x="62" y="107"/>
                  <a:pt x="62" y="107"/>
                </a:cubicBezTo>
                <a:cubicBezTo>
                  <a:pt x="60" y="105"/>
                  <a:pt x="58" y="102"/>
                  <a:pt x="56" y="100"/>
                </a:cubicBezTo>
                <a:cubicBezTo>
                  <a:pt x="56" y="100"/>
                  <a:pt x="56" y="100"/>
                  <a:pt x="56" y="100"/>
                </a:cubicBezTo>
                <a:cubicBezTo>
                  <a:pt x="56" y="100"/>
                  <a:pt x="56" y="100"/>
                  <a:pt x="56" y="100"/>
                </a:cubicBezTo>
                <a:cubicBezTo>
                  <a:pt x="54" y="99"/>
                  <a:pt x="53" y="98"/>
                  <a:pt x="51" y="97"/>
                </a:cubicBezTo>
                <a:cubicBezTo>
                  <a:pt x="53" y="94"/>
                  <a:pt x="53" y="94"/>
                  <a:pt x="53" y="94"/>
                </a:cubicBezTo>
                <a:cubicBezTo>
                  <a:pt x="54" y="92"/>
                  <a:pt x="53" y="91"/>
                  <a:pt x="52" y="90"/>
                </a:cubicBezTo>
                <a:cubicBezTo>
                  <a:pt x="51" y="89"/>
                  <a:pt x="49" y="90"/>
                  <a:pt x="48" y="91"/>
                </a:cubicBezTo>
                <a:cubicBezTo>
                  <a:pt x="47" y="94"/>
                  <a:pt x="47" y="94"/>
                  <a:pt x="47" y="94"/>
                </a:cubicBezTo>
                <a:cubicBezTo>
                  <a:pt x="42" y="92"/>
                  <a:pt x="37" y="90"/>
                  <a:pt x="32" y="90"/>
                </a:cubicBezTo>
                <a:cubicBezTo>
                  <a:pt x="32" y="87"/>
                  <a:pt x="32" y="87"/>
                  <a:pt x="32" y="87"/>
                </a:cubicBezTo>
                <a:cubicBezTo>
                  <a:pt x="32" y="85"/>
                  <a:pt x="31" y="84"/>
                  <a:pt x="29" y="84"/>
                </a:cubicBezTo>
                <a:cubicBezTo>
                  <a:pt x="28" y="84"/>
                  <a:pt x="27" y="85"/>
                  <a:pt x="27" y="87"/>
                </a:cubicBezTo>
                <a:cubicBezTo>
                  <a:pt x="27" y="90"/>
                  <a:pt x="27" y="90"/>
                  <a:pt x="27" y="90"/>
                </a:cubicBezTo>
                <a:cubicBezTo>
                  <a:pt x="21" y="90"/>
                  <a:pt x="15" y="92"/>
                  <a:pt x="10" y="95"/>
                </a:cubicBezTo>
                <a:cubicBezTo>
                  <a:pt x="9" y="96"/>
                  <a:pt x="8" y="96"/>
                  <a:pt x="7" y="97"/>
                </a:cubicBezTo>
                <a:cubicBezTo>
                  <a:pt x="6" y="91"/>
                  <a:pt x="5" y="86"/>
                  <a:pt x="5" y="80"/>
                </a:cubicBezTo>
                <a:cubicBezTo>
                  <a:pt x="5" y="39"/>
                  <a:pt x="39" y="5"/>
                  <a:pt x="80" y="5"/>
                </a:cubicBezTo>
                <a:cubicBezTo>
                  <a:pt x="121" y="5"/>
                  <a:pt x="155" y="39"/>
                  <a:pt x="155" y="80"/>
                </a:cubicBezTo>
                <a:cubicBezTo>
                  <a:pt x="155" y="85"/>
                  <a:pt x="154" y="91"/>
                  <a:pt x="153" y="96"/>
                </a:cubicBezTo>
                <a:cubicBezTo>
                  <a:pt x="147" y="91"/>
                  <a:pt x="140" y="89"/>
                  <a:pt x="133" y="89"/>
                </a:cubicBezTo>
                <a:cubicBezTo>
                  <a:pt x="133" y="85"/>
                  <a:pt x="133" y="85"/>
                  <a:pt x="133" y="85"/>
                </a:cubicBezTo>
                <a:cubicBezTo>
                  <a:pt x="133" y="84"/>
                  <a:pt x="132" y="83"/>
                  <a:pt x="131" y="83"/>
                </a:cubicBezTo>
                <a:cubicBezTo>
                  <a:pt x="129" y="83"/>
                  <a:pt x="128" y="84"/>
                  <a:pt x="128" y="85"/>
                </a:cubicBezTo>
                <a:cubicBezTo>
                  <a:pt x="128" y="89"/>
                  <a:pt x="128" y="89"/>
                  <a:pt x="128" y="89"/>
                </a:cubicBezTo>
                <a:cubicBezTo>
                  <a:pt x="123" y="89"/>
                  <a:pt x="118" y="90"/>
                  <a:pt x="113" y="93"/>
                </a:cubicBezTo>
                <a:cubicBezTo>
                  <a:pt x="112" y="90"/>
                  <a:pt x="112" y="90"/>
                  <a:pt x="112" y="90"/>
                </a:cubicBezTo>
                <a:cubicBezTo>
                  <a:pt x="111" y="88"/>
                  <a:pt x="109" y="88"/>
                  <a:pt x="108" y="89"/>
                </a:cubicBezTo>
                <a:cubicBezTo>
                  <a:pt x="107" y="89"/>
                  <a:pt x="106" y="91"/>
                  <a:pt x="107" y="92"/>
                </a:cubicBezTo>
                <a:cubicBezTo>
                  <a:pt x="109" y="95"/>
                  <a:pt x="109" y="95"/>
                  <a:pt x="109" y="95"/>
                </a:cubicBezTo>
                <a:cubicBezTo>
                  <a:pt x="104" y="98"/>
                  <a:pt x="101" y="102"/>
                  <a:pt x="98" y="106"/>
                </a:cubicBezTo>
                <a:cubicBezTo>
                  <a:pt x="95" y="104"/>
                  <a:pt x="95" y="104"/>
                  <a:pt x="95" y="104"/>
                </a:cubicBezTo>
                <a:cubicBezTo>
                  <a:pt x="94" y="104"/>
                  <a:pt x="92" y="104"/>
                  <a:pt x="91" y="105"/>
                </a:cubicBezTo>
                <a:cubicBezTo>
                  <a:pt x="91" y="107"/>
                  <a:pt x="91" y="108"/>
                  <a:pt x="92" y="109"/>
                </a:cubicBezTo>
                <a:cubicBezTo>
                  <a:pt x="95" y="111"/>
                  <a:pt x="95" y="111"/>
                  <a:pt x="95" y="111"/>
                </a:cubicBezTo>
                <a:cubicBezTo>
                  <a:pt x="93" y="115"/>
                  <a:pt x="92" y="120"/>
                  <a:pt x="91" y="125"/>
                </a:cubicBezTo>
                <a:cubicBezTo>
                  <a:pt x="88" y="125"/>
                  <a:pt x="88" y="125"/>
                  <a:pt x="88" y="125"/>
                </a:cubicBezTo>
                <a:cubicBezTo>
                  <a:pt x="87" y="125"/>
                  <a:pt x="85" y="127"/>
                  <a:pt x="85" y="128"/>
                </a:cubicBezTo>
                <a:cubicBezTo>
                  <a:pt x="85" y="129"/>
                  <a:pt x="87" y="131"/>
                  <a:pt x="88" y="131"/>
                </a:cubicBezTo>
                <a:cubicBezTo>
                  <a:pt x="91" y="131"/>
                  <a:pt x="91" y="131"/>
                  <a:pt x="91" y="131"/>
                </a:cubicBezTo>
                <a:cubicBezTo>
                  <a:pt x="91" y="132"/>
                  <a:pt x="92" y="134"/>
                  <a:pt x="92" y="136"/>
                </a:cubicBezTo>
                <a:cubicBezTo>
                  <a:pt x="92" y="136"/>
                  <a:pt x="92" y="136"/>
                  <a:pt x="92" y="136"/>
                </a:cubicBezTo>
                <a:cubicBezTo>
                  <a:pt x="92" y="136"/>
                  <a:pt x="92" y="136"/>
                  <a:pt x="92" y="136"/>
                </a:cubicBezTo>
                <a:cubicBezTo>
                  <a:pt x="93" y="140"/>
                  <a:pt x="94" y="144"/>
                  <a:pt x="97" y="148"/>
                </a:cubicBezTo>
                <a:cubicBezTo>
                  <a:pt x="97" y="149"/>
                  <a:pt x="98" y="151"/>
                  <a:pt x="99" y="152"/>
                </a:cubicBezTo>
                <a:cubicBezTo>
                  <a:pt x="93" y="154"/>
                  <a:pt x="87" y="155"/>
                  <a:pt x="80" y="155"/>
                </a:cubicBezTo>
                <a:cubicBezTo>
                  <a:pt x="74" y="155"/>
                  <a:pt x="67" y="154"/>
                  <a:pt x="61" y="152"/>
                </a:cubicBezTo>
                <a:close/>
                <a:moveTo>
                  <a:pt x="152" y="102"/>
                </a:moveTo>
                <a:cubicBezTo>
                  <a:pt x="151" y="102"/>
                  <a:pt x="151" y="103"/>
                  <a:pt x="151" y="104"/>
                </a:cubicBezTo>
                <a:cubicBezTo>
                  <a:pt x="150" y="105"/>
                  <a:pt x="150" y="105"/>
                  <a:pt x="150" y="106"/>
                </a:cubicBezTo>
                <a:cubicBezTo>
                  <a:pt x="150" y="106"/>
                  <a:pt x="149" y="107"/>
                  <a:pt x="149" y="108"/>
                </a:cubicBezTo>
                <a:cubicBezTo>
                  <a:pt x="149" y="110"/>
                  <a:pt x="148" y="111"/>
                  <a:pt x="147" y="112"/>
                </a:cubicBezTo>
                <a:cubicBezTo>
                  <a:pt x="147" y="112"/>
                  <a:pt x="147" y="112"/>
                  <a:pt x="147" y="112"/>
                </a:cubicBezTo>
                <a:cubicBezTo>
                  <a:pt x="146" y="114"/>
                  <a:pt x="145" y="116"/>
                  <a:pt x="145" y="118"/>
                </a:cubicBezTo>
                <a:cubicBezTo>
                  <a:pt x="140" y="111"/>
                  <a:pt x="132" y="109"/>
                  <a:pt x="124" y="112"/>
                </a:cubicBezTo>
                <a:cubicBezTo>
                  <a:pt x="116" y="97"/>
                  <a:pt x="116" y="97"/>
                  <a:pt x="116" y="97"/>
                </a:cubicBezTo>
                <a:cubicBezTo>
                  <a:pt x="121" y="95"/>
                  <a:pt x="126" y="94"/>
                  <a:pt x="131" y="94"/>
                </a:cubicBezTo>
                <a:cubicBezTo>
                  <a:pt x="138" y="94"/>
                  <a:pt x="145" y="96"/>
                  <a:pt x="152" y="101"/>
                </a:cubicBezTo>
                <a:cubicBezTo>
                  <a:pt x="152" y="101"/>
                  <a:pt x="152" y="101"/>
                  <a:pt x="152" y="102"/>
                </a:cubicBezTo>
                <a:close/>
                <a:moveTo>
                  <a:pt x="115" y="146"/>
                </a:moveTo>
                <a:cubicBezTo>
                  <a:pt x="114" y="146"/>
                  <a:pt x="113" y="147"/>
                  <a:pt x="113" y="147"/>
                </a:cubicBezTo>
                <a:cubicBezTo>
                  <a:pt x="112" y="148"/>
                  <a:pt x="111" y="148"/>
                  <a:pt x="110" y="148"/>
                </a:cubicBezTo>
                <a:cubicBezTo>
                  <a:pt x="110" y="148"/>
                  <a:pt x="110" y="149"/>
                  <a:pt x="109" y="149"/>
                </a:cubicBezTo>
                <a:cubicBezTo>
                  <a:pt x="108" y="149"/>
                  <a:pt x="106" y="150"/>
                  <a:pt x="105" y="150"/>
                </a:cubicBezTo>
                <a:cubicBezTo>
                  <a:pt x="105" y="150"/>
                  <a:pt x="105" y="150"/>
                  <a:pt x="105" y="150"/>
                </a:cubicBezTo>
                <a:cubicBezTo>
                  <a:pt x="103" y="149"/>
                  <a:pt x="102" y="147"/>
                  <a:pt x="101" y="145"/>
                </a:cubicBezTo>
                <a:cubicBezTo>
                  <a:pt x="100" y="143"/>
                  <a:pt x="99" y="140"/>
                  <a:pt x="98" y="138"/>
                </a:cubicBezTo>
                <a:cubicBezTo>
                  <a:pt x="114" y="134"/>
                  <a:pt x="114" y="134"/>
                  <a:pt x="114" y="134"/>
                </a:cubicBezTo>
                <a:cubicBezTo>
                  <a:pt x="115" y="135"/>
                  <a:pt x="115" y="136"/>
                  <a:pt x="116" y="137"/>
                </a:cubicBezTo>
                <a:cubicBezTo>
                  <a:pt x="117" y="139"/>
                  <a:pt x="119" y="141"/>
                  <a:pt x="121" y="142"/>
                </a:cubicBezTo>
                <a:cubicBezTo>
                  <a:pt x="119" y="143"/>
                  <a:pt x="118" y="145"/>
                  <a:pt x="116" y="146"/>
                </a:cubicBezTo>
                <a:cubicBezTo>
                  <a:pt x="116" y="146"/>
                  <a:pt x="115" y="146"/>
                  <a:pt x="115" y="146"/>
                </a:cubicBezTo>
                <a:close/>
                <a:moveTo>
                  <a:pt x="111" y="100"/>
                </a:moveTo>
                <a:cubicBezTo>
                  <a:pt x="120" y="114"/>
                  <a:pt x="120" y="114"/>
                  <a:pt x="120" y="114"/>
                </a:cubicBezTo>
                <a:cubicBezTo>
                  <a:pt x="115" y="118"/>
                  <a:pt x="113" y="123"/>
                  <a:pt x="113" y="129"/>
                </a:cubicBezTo>
                <a:cubicBezTo>
                  <a:pt x="97" y="132"/>
                  <a:pt x="97" y="132"/>
                  <a:pt x="97" y="132"/>
                </a:cubicBezTo>
                <a:cubicBezTo>
                  <a:pt x="95" y="120"/>
                  <a:pt x="101" y="107"/>
                  <a:pt x="111" y="100"/>
                </a:cubicBezTo>
                <a:close/>
                <a:moveTo>
                  <a:pt x="131" y="116"/>
                </a:moveTo>
                <a:cubicBezTo>
                  <a:pt x="135" y="116"/>
                  <a:pt x="139" y="118"/>
                  <a:pt x="141" y="122"/>
                </a:cubicBezTo>
                <a:cubicBezTo>
                  <a:pt x="141" y="122"/>
                  <a:pt x="141" y="122"/>
                  <a:pt x="141" y="122"/>
                </a:cubicBezTo>
                <a:cubicBezTo>
                  <a:pt x="141" y="123"/>
                  <a:pt x="141" y="123"/>
                  <a:pt x="141" y="124"/>
                </a:cubicBezTo>
                <a:cubicBezTo>
                  <a:pt x="140" y="124"/>
                  <a:pt x="139" y="125"/>
                  <a:pt x="139" y="126"/>
                </a:cubicBezTo>
                <a:cubicBezTo>
                  <a:pt x="138" y="127"/>
                  <a:pt x="137" y="128"/>
                  <a:pt x="137" y="129"/>
                </a:cubicBezTo>
                <a:cubicBezTo>
                  <a:pt x="136" y="129"/>
                  <a:pt x="136" y="130"/>
                  <a:pt x="135" y="130"/>
                </a:cubicBezTo>
                <a:cubicBezTo>
                  <a:pt x="134" y="131"/>
                  <a:pt x="134" y="132"/>
                  <a:pt x="133" y="132"/>
                </a:cubicBezTo>
                <a:cubicBezTo>
                  <a:pt x="133" y="133"/>
                  <a:pt x="132" y="133"/>
                  <a:pt x="132" y="134"/>
                </a:cubicBezTo>
                <a:cubicBezTo>
                  <a:pt x="131" y="135"/>
                  <a:pt x="130" y="136"/>
                  <a:pt x="128" y="137"/>
                </a:cubicBezTo>
                <a:cubicBezTo>
                  <a:pt x="128" y="137"/>
                  <a:pt x="127" y="138"/>
                  <a:pt x="127" y="138"/>
                </a:cubicBezTo>
                <a:cubicBezTo>
                  <a:pt x="127" y="138"/>
                  <a:pt x="126" y="139"/>
                  <a:pt x="126" y="139"/>
                </a:cubicBezTo>
                <a:cubicBezTo>
                  <a:pt x="123" y="138"/>
                  <a:pt x="122" y="136"/>
                  <a:pt x="120" y="134"/>
                </a:cubicBezTo>
                <a:cubicBezTo>
                  <a:pt x="117" y="128"/>
                  <a:pt x="119" y="121"/>
                  <a:pt x="125" y="118"/>
                </a:cubicBezTo>
                <a:cubicBezTo>
                  <a:pt x="127" y="116"/>
                  <a:pt x="129" y="116"/>
                  <a:pt x="131" y="116"/>
                </a:cubicBezTo>
                <a:close/>
                <a:moveTo>
                  <a:pt x="103" y="84"/>
                </a:moveTo>
                <a:cubicBezTo>
                  <a:pt x="105" y="77"/>
                  <a:pt x="104" y="71"/>
                  <a:pt x="101" y="65"/>
                </a:cubicBezTo>
                <a:cubicBezTo>
                  <a:pt x="100" y="64"/>
                  <a:pt x="99" y="63"/>
                  <a:pt x="99" y="62"/>
                </a:cubicBezTo>
                <a:cubicBezTo>
                  <a:pt x="119" y="42"/>
                  <a:pt x="119" y="42"/>
                  <a:pt x="119" y="42"/>
                </a:cubicBezTo>
                <a:cubicBezTo>
                  <a:pt x="121" y="45"/>
                  <a:pt x="124" y="48"/>
                  <a:pt x="125" y="51"/>
                </a:cubicBezTo>
                <a:cubicBezTo>
                  <a:pt x="130" y="59"/>
                  <a:pt x="133" y="68"/>
                  <a:pt x="132" y="78"/>
                </a:cubicBezTo>
                <a:cubicBezTo>
                  <a:pt x="132" y="79"/>
                  <a:pt x="134" y="80"/>
                  <a:pt x="135" y="80"/>
                </a:cubicBezTo>
                <a:cubicBezTo>
                  <a:pt x="135" y="80"/>
                  <a:pt x="135" y="80"/>
                  <a:pt x="135" y="80"/>
                </a:cubicBezTo>
                <a:cubicBezTo>
                  <a:pt x="137" y="80"/>
                  <a:pt x="138" y="79"/>
                  <a:pt x="138" y="78"/>
                </a:cubicBezTo>
                <a:cubicBezTo>
                  <a:pt x="138" y="73"/>
                  <a:pt x="137" y="69"/>
                  <a:pt x="136" y="65"/>
                </a:cubicBezTo>
                <a:cubicBezTo>
                  <a:pt x="143" y="63"/>
                  <a:pt x="143" y="63"/>
                  <a:pt x="143" y="63"/>
                </a:cubicBezTo>
                <a:cubicBezTo>
                  <a:pt x="144" y="63"/>
                  <a:pt x="145" y="62"/>
                  <a:pt x="144" y="60"/>
                </a:cubicBezTo>
                <a:cubicBezTo>
                  <a:pt x="144" y="59"/>
                  <a:pt x="143" y="58"/>
                  <a:pt x="141" y="58"/>
                </a:cubicBezTo>
                <a:cubicBezTo>
                  <a:pt x="135" y="60"/>
                  <a:pt x="135" y="60"/>
                  <a:pt x="135" y="60"/>
                </a:cubicBezTo>
                <a:cubicBezTo>
                  <a:pt x="134" y="57"/>
                  <a:pt x="133" y="54"/>
                  <a:pt x="131" y="51"/>
                </a:cubicBezTo>
                <a:cubicBezTo>
                  <a:pt x="137" y="48"/>
                  <a:pt x="137" y="48"/>
                  <a:pt x="137" y="48"/>
                </a:cubicBezTo>
                <a:cubicBezTo>
                  <a:pt x="138" y="47"/>
                  <a:pt x="138" y="45"/>
                  <a:pt x="138" y="44"/>
                </a:cubicBezTo>
                <a:cubicBezTo>
                  <a:pt x="137" y="43"/>
                  <a:pt x="135" y="42"/>
                  <a:pt x="134" y="43"/>
                </a:cubicBezTo>
                <a:cubicBezTo>
                  <a:pt x="129" y="46"/>
                  <a:pt x="129" y="46"/>
                  <a:pt x="129" y="46"/>
                </a:cubicBezTo>
                <a:cubicBezTo>
                  <a:pt x="127" y="43"/>
                  <a:pt x="125" y="41"/>
                  <a:pt x="123" y="38"/>
                </a:cubicBezTo>
                <a:cubicBezTo>
                  <a:pt x="127" y="34"/>
                  <a:pt x="127" y="34"/>
                  <a:pt x="127" y="34"/>
                </a:cubicBezTo>
                <a:cubicBezTo>
                  <a:pt x="128" y="33"/>
                  <a:pt x="128" y="31"/>
                  <a:pt x="127" y="30"/>
                </a:cubicBezTo>
                <a:cubicBezTo>
                  <a:pt x="126" y="29"/>
                  <a:pt x="124" y="29"/>
                  <a:pt x="123" y="30"/>
                </a:cubicBezTo>
                <a:cubicBezTo>
                  <a:pt x="119" y="35"/>
                  <a:pt x="119" y="35"/>
                  <a:pt x="119" y="35"/>
                </a:cubicBezTo>
                <a:cubicBezTo>
                  <a:pt x="117" y="32"/>
                  <a:pt x="114" y="30"/>
                  <a:pt x="111" y="29"/>
                </a:cubicBezTo>
                <a:cubicBezTo>
                  <a:pt x="114" y="23"/>
                  <a:pt x="114" y="23"/>
                  <a:pt x="114" y="23"/>
                </a:cubicBezTo>
                <a:cubicBezTo>
                  <a:pt x="115" y="22"/>
                  <a:pt x="115" y="20"/>
                  <a:pt x="113" y="20"/>
                </a:cubicBezTo>
                <a:cubicBezTo>
                  <a:pt x="112" y="19"/>
                  <a:pt x="110" y="19"/>
                  <a:pt x="110" y="21"/>
                </a:cubicBezTo>
                <a:cubicBezTo>
                  <a:pt x="107" y="26"/>
                  <a:pt x="107" y="26"/>
                  <a:pt x="107" y="26"/>
                </a:cubicBezTo>
                <a:cubicBezTo>
                  <a:pt x="104" y="25"/>
                  <a:pt x="101" y="23"/>
                  <a:pt x="98" y="22"/>
                </a:cubicBezTo>
                <a:cubicBezTo>
                  <a:pt x="99" y="16"/>
                  <a:pt x="99" y="16"/>
                  <a:pt x="99" y="16"/>
                </a:cubicBezTo>
                <a:cubicBezTo>
                  <a:pt x="100" y="15"/>
                  <a:pt x="99" y="13"/>
                  <a:pt x="97" y="13"/>
                </a:cubicBezTo>
                <a:cubicBezTo>
                  <a:pt x="96" y="13"/>
                  <a:pt x="94" y="13"/>
                  <a:pt x="94" y="15"/>
                </a:cubicBezTo>
                <a:cubicBezTo>
                  <a:pt x="92" y="21"/>
                  <a:pt x="92" y="21"/>
                  <a:pt x="92" y="21"/>
                </a:cubicBezTo>
                <a:cubicBezTo>
                  <a:pt x="89" y="20"/>
                  <a:pt x="86" y="20"/>
                  <a:pt x="83" y="20"/>
                </a:cubicBezTo>
                <a:cubicBezTo>
                  <a:pt x="83" y="13"/>
                  <a:pt x="83" y="13"/>
                  <a:pt x="83" y="13"/>
                </a:cubicBezTo>
                <a:cubicBezTo>
                  <a:pt x="83" y="12"/>
                  <a:pt x="81" y="11"/>
                  <a:pt x="80" y="11"/>
                </a:cubicBezTo>
                <a:cubicBezTo>
                  <a:pt x="79" y="11"/>
                  <a:pt x="77" y="12"/>
                  <a:pt x="77" y="13"/>
                </a:cubicBezTo>
                <a:cubicBezTo>
                  <a:pt x="77" y="20"/>
                  <a:pt x="77" y="20"/>
                  <a:pt x="77" y="20"/>
                </a:cubicBezTo>
                <a:cubicBezTo>
                  <a:pt x="74" y="20"/>
                  <a:pt x="71" y="20"/>
                  <a:pt x="68" y="21"/>
                </a:cubicBezTo>
                <a:cubicBezTo>
                  <a:pt x="66" y="15"/>
                  <a:pt x="66" y="15"/>
                  <a:pt x="66" y="15"/>
                </a:cubicBezTo>
                <a:cubicBezTo>
                  <a:pt x="66" y="13"/>
                  <a:pt x="64" y="13"/>
                  <a:pt x="63" y="13"/>
                </a:cubicBezTo>
                <a:cubicBezTo>
                  <a:pt x="61" y="13"/>
                  <a:pt x="60" y="15"/>
                  <a:pt x="61" y="16"/>
                </a:cubicBezTo>
                <a:cubicBezTo>
                  <a:pt x="62" y="22"/>
                  <a:pt x="62" y="22"/>
                  <a:pt x="62" y="22"/>
                </a:cubicBezTo>
                <a:cubicBezTo>
                  <a:pt x="59" y="23"/>
                  <a:pt x="56" y="25"/>
                  <a:pt x="53" y="26"/>
                </a:cubicBezTo>
                <a:cubicBezTo>
                  <a:pt x="50" y="21"/>
                  <a:pt x="50" y="21"/>
                  <a:pt x="50" y="21"/>
                </a:cubicBezTo>
                <a:cubicBezTo>
                  <a:pt x="50" y="19"/>
                  <a:pt x="48" y="19"/>
                  <a:pt x="47" y="20"/>
                </a:cubicBezTo>
                <a:cubicBezTo>
                  <a:pt x="45" y="20"/>
                  <a:pt x="45" y="22"/>
                  <a:pt x="46" y="23"/>
                </a:cubicBezTo>
                <a:cubicBezTo>
                  <a:pt x="49" y="29"/>
                  <a:pt x="49" y="29"/>
                  <a:pt x="49" y="29"/>
                </a:cubicBezTo>
                <a:cubicBezTo>
                  <a:pt x="46" y="30"/>
                  <a:pt x="43" y="32"/>
                  <a:pt x="41" y="35"/>
                </a:cubicBezTo>
                <a:cubicBezTo>
                  <a:pt x="37" y="30"/>
                  <a:pt x="37" y="30"/>
                  <a:pt x="37" y="30"/>
                </a:cubicBezTo>
                <a:cubicBezTo>
                  <a:pt x="36" y="29"/>
                  <a:pt x="34" y="29"/>
                  <a:pt x="33" y="30"/>
                </a:cubicBezTo>
                <a:cubicBezTo>
                  <a:pt x="32" y="31"/>
                  <a:pt x="32" y="33"/>
                  <a:pt x="33" y="34"/>
                </a:cubicBezTo>
                <a:cubicBezTo>
                  <a:pt x="37" y="38"/>
                  <a:pt x="37" y="38"/>
                  <a:pt x="37" y="38"/>
                </a:cubicBezTo>
                <a:cubicBezTo>
                  <a:pt x="35" y="41"/>
                  <a:pt x="33" y="43"/>
                  <a:pt x="31" y="46"/>
                </a:cubicBezTo>
                <a:cubicBezTo>
                  <a:pt x="26" y="43"/>
                  <a:pt x="26" y="43"/>
                  <a:pt x="26" y="43"/>
                </a:cubicBezTo>
                <a:cubicBezTo>
                  <a:pt x="25" y="42"/>
                  <a:pt x="23" y="43"/>
                  <a:pt x="22" y="44"/>
                </a:cubicBezTo>
                <a:cubicBezTo>
                  <a:pt x="22" y="45"/>
                  <a:pt x="22" y="47"/>
                  <a:pt x="23" y="48"/>
                </a:cubicBezTo>
                <a:cubicBezTo>
                  <a:pt x="29" y="51"/>
                  <a:pt x="29" y="51"/>
                  <a:pt x="29" y="51"/>
                </a:cubicBezTo>
                <a:cubicBezTo>
                  <a:pt x="27" y="54"/>
                  <a:pt x="26" y="57"/>
                  <a:pt x="25" y="60"/>
                </a:cubicBezTo>
                <a:cubicBezTo>
                  <a:pt x="19" y="58"/>
                  <a:pt x="19" y="58"/>
                  <a:pt x="19" y="58"/>
                </a:cubicBezTo>
                <a:cubicBezTo>
                  <a:pt x="17" y="58"/>
                  <a:pt x="16" y="59"/>
                  <a:pt x="16" y="60"/>
                </a:cubicBezTo>
                <a:cubicBezTo>
                  <a:pt x="15" y="61"/>
                  <a:pt x="16" y="63"/>
                  <a:pt x="17" y="63"/>
                </a:cubicBezTo>
                <a:cubicBezTo>
                  <a:pt x="24" y="65"/>
                  <a:pt x="24" y="65"/>
                  <a:pt x="24" y="65"/>
                </a:cubicBezTo>
                <a:cubicBezTo>
                  <a:pt x="23" y="69"/>
                  <a:pt x="22" y="73"/>
                  <a:pt x="22" y="78"/>
                </a:cubicBezTo>
                <a:cubicBezTo>
                  <a:pt x="22" y="79"/>
                  <a:pt x="23" y="80"/>
                  <a:pt x="25" y="80"/>
                </a:cubicBezTo>
                <a:cubicBezTo>
                  <a:pt x="25" y="80"/>
                  <a:pt x="25" y="80"/>
                  <a:pt x="25" y="80"/>
                </a:cubicBezTo>
                <a:cubicBezTo>
                  <a:pt x="26" y="80"/>
                  <a:pt x="28" y="79"/>
                  <a:pt x="28" y="78"/>
                </a:cubicBezTo>
                <a:cubicBezTo>
                  <a:pt x="27" y="64"/>
                  <a:pt x="32" y="52"/>
                  <a:pt x="41" y="42"/>
                </a:cubicBezTo>
                <a:cubicBezTo>
                  <a:pt x="61" y="62"/>
                  <a:pt x="61" y="62"/>
                  <a:pt x="61" y="62"/>
                </a:cubicBezTo>
                <a:cubicBezTo>
                  <a:pt x="59" y="65"/>
                  <a:pt x="58" y="68"/>
                  <a:pt x="57" y="71"/>
                </a:cubicBezTo>
                <a:cubicBezTo>
                  <a:pt x="55" y="77"/>
                  <a:pt x="56" y="84"/>
                  <a:pt x="59" y="89"/>
                </a:cubicBezTo>
                <a:cubicBezTo>
                  <a:pt x="62" y="95"/>
                  <a:pt x="68" y="99"/>
                  <a:pt x="74" y="101"/>
                </a:cubicBezTo>
                <a:cubicBezTo>
                  <a:pt x="76" y="101"/>
                  <a:pt x="78" y="101"/>
                  <a:pt x="80" y="101"/>
                </a:cubicBezTo>
                <a:cubicBezTo>
                  <a:pt x="84" y="101"/>
                  <a:pt x="88" y="100"/>
                  <a:pt x="92" y="98"/>
                </a:cubicBezTo>
                <a:cubicBezTo>
                  <a:pt x="98" y="95"/>
                  <a:pt x="102" y="90"/>
                  <a:pt x="103" y="84"/>
                </a:cubicBezTo>
                <a:close/>
                <a:moveTo>
                  <a:pt x="68" y="57"/>
                </a:moveTo>
                <a:cubicBezTo>
                  <a:pt x="67" y="57"/>
                  <a:pt x="66" y="58"/>
                  <a:pt x="65" y="59"/>
                </a:cubicBezTo>
                <a:cubicBezTo>
                  <a:pt x="45" y="38"/>
                  <a:pt x="45" y="38"/>
                  <a:pt x="45" y="38"/>
                </a:cubicBezTo>
                <a:cubicBezTo>
                  <a:pt x="48" y="36"/>
                  <a:pt x="51" y="34"/>
                  <a:pt x="54" y="32"/>
                </a:cubicBezTo>
                <a:cubicBezTo>
                  <a:pt x="74" y="20"/>
                  <a:pt x="99" y="24"/>
                  <a:pt x="115" y="38"/>
                </a:cubicBezTo>
                <a:cubicBezTo>
                  <a:pt x="95" y="59"/>
                  <a:pt x="95" y="59"/>
                  <a:pt x="95" y="59"/>
                </a:cubicBezTo>
                <a:cubicBezTo>
                  <a:pt x="92" y="57"/>
                  <a:pt x="89" y="55"/>
                  <a:pt x="86" y="54"/>
                </a:cubicBezTo>
                <a:cubicBezTo>
                  <a:pt x="80" y="53"/>
                  <a:pt x="74" y="53"/>
                  <a:pt x="68" y="57"/>
                </a:cubicBezTo>
                <a:close/>
                <a:moveTo>
                  <a:pt x="75" y="95"/>
                </a:moveTo>
                <a:cubicBezTo>
                  <a:pt x="70" y="94"/>
                  <a:pt x="66" y="91"/>
                  <a:pt x="64" y="87"/>
                </a:cubicBezTo>
                <a:cubicBezTo>
                  <a:pt x="61" y="82"/>
                  <a:pt x="61" y="77"/>
                  <a:pt x="62" y="73"/>
                </a:cubicBezTo>
                <a:cubicBezTo>
                  <a:pt x="63" y="68"/>
                  <a:pt x="66" y="64"/>
                  <a:pt x="71" y="61"/>
                </a:cubicBezTo>
                <a:cubicBezTo>
                  <a:pt x="74" y="60"/>
                  <a:pt x="77" y="59"/>
                  <a:pt x="80" y="59"/>
                </a:cubicBezTo>
                <a:cubicBezTo>
                  <a:pt x="82" y="59"/>
                  <a:pt x="83" y="59"/>
                  <a:pt x="85" y="59"/>
                </a:cubicBezTo>
                <a:cubicBezTo>
                  <a:pt x="90" y="61"/>
                  <a:pt x="94" y="64"/>
                  <a:pt x="96" y="68"/>
                </a:cubicBezTo>
                <a:cubicBezTo>
                  <a:pt x="99" y="72"/>
                  <a:pt x="99" y="77"/>
                  <a:pt x="98" y="82"/>
                </a:cubicBezTo>
                <a:cubicBezTo>
                  <a:pt x="97" y="87"/>
                  <a:pt x="94" y="91"/>
                  <a:pt x="89" y="93"/>
                </a:cubicBezTo>
                <a:cubicBezTo>
                  <a:pt x="85" y="96"/>
                  <a:pt x="80" y="97"/>
                  <a:pt x="75" y="9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55" name="Freeform 1357">
            <a:extLst>
              <a:ext uri="{FF2B5EF4-FFF2-40B4-BE49-F238E27FC236}">
                <a16:creationId xmlns:a16="http://schemas.microsoft.com/office/drawing/2014/main" id="{A0744B8D-2437-9346-A65E-630C89168AA2}"/>
              </a:ext>
            </a:extLst>
          </p:cNvPr>
          <p:cNvSpPr>
            <a:spLocks noEditPoints="1"/>
          </p:cNvSpPr>
          <p:nvPr/>
        </p:nvSpPr>
        <p:spPr bwMode="auto">
          <a:xfrm>
            <a:off x="7176662" y="1603375"/>
            <a:ext cx="546100" cy="550863"/>
          </a:xfrm>
          <a:custGeom>
            <a:avLst/>
            <a:gdLst>
              <a:gd name="T0" fmla="*/ 61 w 160"/>
              <a:gd name="T1" fmla="*/ 83 h 160"/>
              <a:gd name="T2" fmla="*/ 80 w 160"/>
              <a:gd name="T3" fmla="*/ 96 h 160"/>
              <a:gd name="T4" fmla="*/ 83 w 160"/>
              <a:gd name="T5" fmla="*/ 83 h 160"/>
              <a:gd name="T6" fmla="*/ 0 w 160"/>
              <a:gd name="T7" fmla="*/ 0 h 160"/>
              <a:gd name="T8" fmla="*/ 0 w 160"/>
              <a:gd name="T9" fmla="*/ 160 h 160"/>
              <a:gd name="T10" fmla="*/ 100 w 160"/>
              <a:gd name="T11" fmla="*/ 160 h 160"/>
              <a:gd name="T12" fmla="*/ 160 w 160"/>
              <a:gd name="T13" fmla="*/ 152 h 160"/>
              <a:gd name="T14" fmla="*/ 0 w 160"/>
              <a:gd name="T15" fmla="*/ 0 h 160"/>
              <a:gd name="T16" fmla="*/ 83 w 160"/>
              <a:gd name="T17" fmla="*/ 13 h 160"/>
              <a:gd name="T18" fmla="*/ 65 w 160"/>
              <a:gd name="T19" fmla="*/ 15 h 160"/>
              <a:gd name="T20" fmla="*/ 77 w 160"/>
              <a:gd name="T21" fmla="*/ 13 h 160"/>
              <a:gd name="T22" fmla="*/ 60 w 160"/>
              <a:gd name="T23" fmla="*/ 17 h 160"/>
              <a:gd name="T24" fmla="*/ 39 w 160"/>
              <a:gd name="T25" fmla="*/ 17 h 160"/>
              <a:gd name="T26" fmla="*/ 23 w 160"/>
              <a:gd name="T27" fmla="*/ 26 h 160"/>
              <a:gd name="T28" fmla="*/ 14 w 160"/>
              <a:gd name="T29" fmla="*/ 42 h 160"/>
              <a:gd name="T30" fmla="*/ 14 w 160"/>
              <a:gd name="T31" fmla="*/ 61 h 160"/>
              <a:gd name="T32" fmla="*/ 14 w 160"/>
              <a:gd name="T33" fmla="*/ 71 h 160"/>
              <a:gd name="T34" fmla="*/ 55 w 160"/>
              <a:gd name="T35" fmla="*/ 77 h 160"/>
              <a:gd name="T36" fmla="*/ 77 w 160"/>
              <a:gd name="T37" fmla="*/ 19 h 160"/>
              <a:gd name="T38" fmla="*/ 83 w 160"/>
              <a:gd name="T39" fmla="*/ 19 h 160"/>
              <a:gd name="T40" fmla="*/ 105 w 160"/>
              <a:gd name="T41" fmla="*/ 77 h 160"/>
              <a:gd name="T42" fmla="*/ 145 w 160"/>
              <a:gd name="T43" fmla="*/ 71 h 160"/>
              <a:gd name="T44" fmla="*/ 146 w 160"/>
              <a:gd name="T45" fmla="*/ 61 h 160"/>
              <a:gd name="T46" fmla="*/ 149 w 160"/>
              <a:gd name="T47" fmla="*/ 43 h 160"/>
              <a:gd name="T48" fmla="*/ 137 w 160"/>
              <a:gd name="T49" fmla="*/ 30 h 160"/>
              <a:gd name="T50" fmla="*/ 117 w 160"/>
              <a:gd name="T51" fmla="*/ 24 h 160"/>
              <a:gd name="T52" fmla="*/ 112 w 160"/>
              <a:gd name="T53" fmla="*/ 22 h 160"/>
              <a:gd name="T54" fmla="*/ 100 w 160"/>
              <a:gd name="T55" fmla="*/ 5 h 160"/>
              <a:gd name="T56" fmla="*/ 147 w 160"/>
              <a:gd name="T57" fmla="*/ 85 h 160"/>
              <a:gd name="T58" fmla="*/ 112 w 160"/>
              <a:gd name="T59" fmla="*/ 102 h 160"/>
              <a:gd name="T60" fmla="*/ 99 w 160"/>
              <a:gd name="T61" fmla="*/ 125 h 160"/>
              <a:gd name="T62" fmla="*/ 91 w 160"/>
              <a:gd name="T63" fmla="*/ 151 h 160"/>
              <a:gd name="T64" fmla="*/ 77 w 160"/>
              <a:gd name="T65" fmla="*/ 149 h 160"/>
              <a:gd name="T66" fmla="*/ 63 w 160"/>
              <a:gd name="T67" fmla="*/ 115 h 160"/>
              <a:gd name="T68" fmla="*/ 38 w 160"/>
              <a:gd name="T69" fmla="*/ 103 h 160"/>
              <a:gd name="T70" fmla="*/ 12 w 160"/>
              <a:gd name="T71" fmla="*/ 94 h 160"/>
              <a:gd name="T72" fmla="*/ 8 w 160"/>
              <a:gd name="T73" fmla="*/ 155 h 160"/>
              <a:gd name="T74" fmla="*/ 40 w 160"/>
              <a:gd name="T75" fmla="*/ 141 h 160"/>
              <a:gd name="T76" fmla="*/ 45 w 160"/>
              <a:gd name="T77" fmla="*/ 141 h 160"/>
              <a:gd name="T78" fmla="*/ 17 w 160"/>
              <a:gd name="T79" fmla="*/ 95 h 160"/>
              <a:gd name="T80" fmla="*/ 36 w 160"/>
              <a:gd name="T81" fmla="*/ 108 h 160"/>
              <a:gd name="T82" fmla="*/ 58 w 160"/>
              <a:gd name="T83" fmla="*/ 112 h 160"/>
              <a:gd name="T84" fmla="*/ 72 w 160"/>
              <a:gd name="T85" fmla="*/ 145 h 160"/>
              <a:gd name="T86" fmla="*/ 92 w 160"/>
              <a:gd name="T87" fmla="*/ 145 h 160"/>
              <a:gd name="T88" fmla="*/ 104 w 160"/>
              <a:gd name="T89" fmla="*/ 127 h 160"/>
              <a:gd name="T90" fmla="*/ 109 w 160"/>
              <a:gd name="T91" fmla="*/ 107 h 160"/>
              <a:gd name="T92" fmla="*/ 142 w 160"/>
              <a:gd name="T93" fmla="*/ 91 h 160"/>
              <a:gd name="T94" fmla="*/ 139 w 160"/>
              <a:gd name="T95" fmla="*/ 117 h 160"/>
              <a:gd name="T96" fmla="*/ 92 w 160"/>
              <a:gd name="T97" fmla="*/ 145 h 160"/>
              <a:gd name="T98" fmla="*/ 155 w 160"/>
              <a:gd name="T99" fmla="*/ 13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60">
                <a:moveTo>
                  <a:pt x="80" y="101"/>
                </a:moveTo>
                <a:cubicBezTo>
                  <a:pt x="90" y="101"/>
                  <a:pt x="99" y="93"/>
                  <a:pt x="99" y="83"/>
                </a:cubicBezTo>
                <a:cubicBezTo>
                  <a:pt x="99" y="72"/>
                  <a:pt x="90" y="64"/>
                  <a:pt x="80" y="64"/>
                </a:cubicBezTo>
                <a:cubicBezTo>
                  <a:pt x="70" y="64"/>
                  <a:pt x="61" y="72"/>
                  <a:pt x="61" y="83"/>
                </a:cubicBezTo>
                <a:cubicBezTo>
                  <a:pt x="61" y="93"/>
                  <a:pt x="70" y="101"/>
                  <a:pt x="80" y="101"/>
                </a:cubicBezTo>
                <a:close/>
                <a:moveTo>
                  <a:pt x="80" y="69"/>
                </a:moveTo>
                <a:cubicBezTo>
                  <a:pt x="87" y="69"/>
                  <a:pt x="93" y="75"/>
                  <a:pt x="93" y="83"/>
                </a:cubicBezTo>
                <a:cubicBezTo>
                  <a:pt x="93" y="90"/>
                  <a:pt x="87" y="96"/>
                  <a:pt x="80" y="96"/>
                </a:cubicBezTo>
                <a:cubicBezTo>
                  <a:pt x="73" y="96"/>
                  <a:pt x="67" y="90"/>
                  <a:pt x="67" y="83"/>
                </a:cubicBezTo>
                <a:cubicBezTo>
                  <a:pt x="67" y="75"/>
                  <a:pt x="73" y="69"/>
                  <a:pt x="80" y="69"/>
                </a:cubicBezTo>
                <a:close/>
                <a:moveTo>
                  <a:pt x="80" y="80"/>
                </a:moveTo>
                <a:cubicBezTo>
                  <a:pt x="81" y="80"/>
                  <a:pt x="83" y="81"/>
                  <a:pt x="83" y="83"/>
                </a:cubicBezTo>
                <a:cubicBezTo>
                  <a:pt x="83" y="84"/>
                  <a:pt x="81" y="85"/>
                  <a:pt x="80" y="85"/>
                </a:cubicBezTo>
                <a:cubicBezTo>
                  <a:pt x="78" y="85"/>
                  <a:pt x="77" y="84"/>
                  <a:pt x="77" y="83"/>
                </a:cubicBezTo>
                <a:cubicBezTo>
                  <a:pt x="77" y="81"/>
                  <a:pt x="78" y="80"/>
                  <a:pt x="80" y="80"/>
                </a:cubicBezTo>
                <a:close/>
                <a:moveTo>
                  <a:pt x="0" y="0"/>
                </a:moveTo>
                <a:cubicBezTo>
                  <a:pt x="0" y="103"/>
                  <a:pt x="0" y="103"/>
                  <a:pt x="0" y="103"/>
                </a:cubicBezTo>
                <a:cubicBezTo>
                  <a:pt x="0" y="130"/>
                  <a:pt x="0" y="130"/>
                  <a:pt x="0" y="130"/>
                </a:cubicBezTo>
                <a:cubicBezTo>
                  <a:pt x="0" y="152"/>
                  <a:pt x="0" y="152"/>
                  <a:pt x="0" y="152"/>
                </a:cubicBezTo>
                <a:cubicBezTo>
                  <a:pt x="0" y="160"/>
                  <a:pt x="0" y="160"/>
                  <a:pt x="0" y="160"/>
                </a:cubicBezTo>
                <a:cubicBezTo>
                  <a:pt x="6" y="160"/>
                  <a:pt x="6" y="160"/>
                  <a:pt x="6" y="160"/>
                </a:cubicBezTo>
                <a:cubicBezTo>
                  <a:pt x="36" y="160"/>
                  <a:pt x="36" y="160"/>
                  <a:pt x="36" y="160"/>
                </a:cubicBezTo>
                <a:cubicBezTo>
                  <a:pt x="60" y="160"/>
                  <a:pt x="60" y="160"/>
                  <a:pt x="60" y="160"/>
                </a:cubicBezTo>
                <a:cubicBezTo>
                  <a:pt x="100" y="160"/>
                  <a:pt x="100" y="160"/>
                  <a:pt x="100" y="160"/>
                </a:cubicBezTo>
                <a:cubicBezTo>
                  <a:pt x="124" y="160"/>
                  <a:pt x="124" y="160"/>
                  <a:pt x="124" y="160"/>
                </a:cubicBezTo>
                <a:cubicBezTo>
                  <a:pt x="154" y="160"/>
                  <a:pt x="154" y="160"/>
                  <a:pt x="154" y="160"/>
                </a:cubicBezTo>
                <a:cubicBezTo>
                  <a:pt x="160" y="160"/>
                  <a:pt x="160" y="160"/>
                  <a:pt x="160" y="160"/>
                </a:cubicBezTo>
                <a:cubicBezTo>
                  <a:pt x="160" y="152"/>
                  <a:pt x="160" y="152"/>
                  <a:pt x="160" y="152"/>
                </a:cubicBezTo>
                <a:cubicBezTo>
                  <a:pt x="160" y="130"/>
                  <a:pt x="160" y="130"/>
                  <a:pt x="160" y="130"/>
                </a:cubicBezTo>
                <a:cubicBezTo>
                  <a:pt x="160" y="103"/>
                  <a:pt x="160" y="103"/>
                  <a:pt x="160" y="103"/>
                </a:cubicBezTo>
                <a:cubicBezTo>
                  <a:pt x="160" y="0"/>
                  <a:pt x="160" y="0"/>
                  <a:pt x="160" y="0"/>
                </a:cubicBezTo>
                <a:lnTo>
                  <a:pt x="0" y="0"/>
                </a:lnTo>
                <a:close/>
                <a:moveTo>
                  <a:pt x="100" y="5"/>
                </a:moveTo>
                <a:cubicBezTo>
                  <a:pt x="99" y="5"/>
                  <a:pt x="98" y="6"/>
                  <a:pt x="97" y="7"/>
                </a:cubicBezTo>
                <a:cubicBezTo>
                  <a:pt x="95" y="15"/>
                  <a:pt x="95" y="15"/>
                  <a:pt x="95" y="15"/>
                </a:cubicBezTo>
                <a:cubicBezTo>
                  <a:pt x="91" y="14"/>
                  <a:pt x="87" y="14"/>
                  <a:pt x="83" y="13"/>
                </a:cubicBezTo>
                <a:cubicBezTo>
                  <a:pt x="83" y="5"/>
                  <a:pt x="83" y="5"/>
                  <a:pt x="83" y="5"/>
                </a:cubicBezTo>
                <a:lnTo>
                  <a:pt x="100" y="5"/>
                </a:lnTo>
                <a:close/>
                <a:moveTo>
                  <a:pt x="77" y="13"/>
                </a:moveTo>
                <a:cubicBezTo>
                  <a:pt x="73" y="14"/>
                  <a:pt x="69" y="14"/>
                  <a:pt x="65" y="15"/>
                </a:cubicBezTo>
                <a:cubicBezTo>
                  <a:pt x="63" y="7"/>
                  <a:pt x="63" y="7"/>
                  <a:pt x="63" y="7"/>
                </a:cubicBezTo>
                <a:cubicBezTo>
                  <a:pt x="62" y="6"/>
                  <a:pt x="61" y="5"/>
                  <a:pt x="60" y="5"/>
                </a:cubicBezTo>
                <a:cubicBezTo>
                  <a:pt x="77" y="5"/>
                  <a:pt x="77" y="5"/>
                  <a:pt x="77" y="5"/>
                </a:cubicBezTo>
                <a:lnTo>
                  <a:pt x="77" y="13"/>
                </a:lnTo>
                <a:close/>
                <a:moveTo>
                  <a:pt x="60" y="5"/>
                </a:moveTo>
                <a:cubicBezTo>
                  <a:pt x="60" y="5"/>
                  <a:pt x="60" y="5"/>
                  <a:pt x="59" y="5"/>
                </a:cubicBezTo>
                <a:cubicBezTo>
                  <a:pt x="58" y="6"/>
                  <a:pt x="57" y="7"/>
                  <a:pt x="57" y="9"/>
                </a:cubicBezTo>
                <a:cubicBezTo>
                  <a:pt x="60" y="17"/>
                  <a:pt x="60" y="17"/>
                  <a:pt x="60" y="17"/>
                </a:cubicBezTo>
                <a:cubicBezTo>
                  <a:pt x="55" y="18"/>
                  <a:pt x="52" y="20"/>
                  <a:pt x="48" y="22"/>
                </a:cubicBezTo>
                <a:cubicBezTo>
                  <a:pt x="44" y="14"/>
                  <a:pt x="44" y="14"/>
                  <a:pt x="44" y="14"/>
                </a:cubicBezTo>
                <a:cubicBezTo>
                  <a:pt x="43" y="13"/>
                  <a:pt x="41" y="13"/>
                  <a:pt x="40" y="13"/>
                </a:cubicBezTo>
                <a:cubicBezTo>
                  <a:pt x="39" y="14"/>
                  <a:pt x="38" y="16"/>
                  <a:pt x="39" y="17"/>
                </a:cubicBezTo>
                <a:cubicBezTo>
                  <a:pt x="43" y="24"/>
                  <a:pt x="43" y="24"/>
                  <a:pt x="43" y="24"/>
                </a:cubicBezTo>
                <a:cubicBezTo>
                  <a:pt x="40" y="27"/>
                  <a:pt x="36" y="29"/>
                  <a:pt x="33" y="32"/>
                </a:cubicBezTo>
                <a:cubicBezTo>
                  <a:pt x="27" y="26"/>
                  <a:pt x="27" y="26"/>
                  <a:pt x="27" y="26"/>
                </a:cubicBezTo>
                <a:cubicBezTo>
                  <a:pt x="26" y="25"/>
                  <a:pt x="24" y="25"/>
                  <a:pt x="23" y="26"/>
                </a:cubicBezTo>
                <a:cubicBezTo>
                  <a:pt x="22" y="27"/>
                  <a:pt x="22" y="29"/>
                  <a:pt x="23" y="30"/>
                </a:cubicBezTo>
                <a:cubicBezTo>
                  <a:pt x="29" y="36"/>
                  <a:pt x="29" y="36"/>
                  <a:pt x="29" y="36"/>
                </a:cubicBezTo>
                <a:cubicBezTo>
                  <a:pt x="27" y="39"/>
                  <a:pt x="24" y="42"/>
                  <a:pt x="22" y="46"/>
                </a:cubicBezTo>
                <a:cubicBezTo>
                  <a:pt x="14" y="42"/>
                  <a:pt x="14" y="42"/>
                  <a:pt x="14" y="42"/>
                </a:cubicBezTo>
                <a:cubicBezTo>
                  <a:pt x="13" y="41"/>
                  <a:pt x="11" y="41"/>
                  <a:pt x="11" y="43"/>
                </a:cubicBezTo>
                <a:cubicBezTo>
                  <a:pt x="10" y="44"/>
                  <a:pt x="10" y="46"/>
                  <a:pt x="12" y="46"/>
                </a:cubicBezTo>
                <a:cubicBezTo>
                  <a:pt x="19" y="50"/>
                  <a:pt x="19" y="50"/>
                  <a:pt x="19" y="50"/>
                </a:cubicBezTo>
                <a:cubicBezTo>
                  <a:pt x="17" y="54"/>
                  <a:pt x="16" y="57"/>
                  <a:pt x="14" y="61"/>
                </a:cubicBezTo>
                <a:cubicBezTo>
                  <a:pt x="14" y="61"/>
                  <a:pt x="14" y="61"/>
                  <a:pt x="14" y="61"/>
                </a:cubicBezTo>
                <a:cubicBezTo>
                  <a:pt x="14" y="61"/>
                  <a:pt x="14" y="62"/>
                  <a:pt x="14" y="62"/>
                </a:cubicBezTo>
                <a:cubicBezTo>
                  <a:pt x="13" y="64"/>
                  <a:pt x="13" y="66"/>
                  <a:pt x="12" y="68"/>
                </a:cubicBezTo>
                <a:cubicBezTo>
                  <a:pt x="12" y="69"/>
                  <a:pt x="13" y="71"/>
                  <a:pt x="14" y="71"/>
                </a:cubicBezTo>
                <a:cubicBezTo>
                  <a:pt x="16" y="71"/>
                  <a:pt x="17" y="71"/>
                  <a:pt x="17" y="69"/>
                </a:cubicBezTo>
                <a:cubicBezTo>
                  <a:pt x="18" y="68"/>
                  <a:pt x="18" y="67"/>
                  <a:pt x="18" y="65"/>
                </a:cubicBezTo>
                <a:cubicBezTo>
                  <a:pt x="54" y="77"/>
                  <a:pt x="54" y="77"/>
                  <a:pt x="54" y="77"/>
                </a:cubicBezTo>
                <a:cubicBezTo>
                  <a:pt x="54" y="77"/>
                  <a:pt x="54" y="77"/>
                  <a:pt x="55" y="77"/>
                </a:cubicBezTo>
                <a:cubicBezTo>
                  <a:pt x="56" y="77"/>
                  <a:pt x="57" y="76"/>
                  <a:pt x="57" y="75"/>
                </a:cubicBezTo>
                <a:cubicBezTo>
                  <a:pt x="58" y="74"/>
                  <a:pt x="57" y="72"/>
                  <a:pt x="55" y="72"/>
                </a:cubicBezTo>
                <a:cubicBezTo>
                  <a:pt x="20" y="60"/>
                  <a:pt x="20" y="60"/>
                  <a:pt x="20" y="60"/>
                </a:cubicBezTo>
                <a:cubicBezTo>
                  <a:pt x="29" y="37"/>
                  <a:pt x="52" y="20"/>
                  <a:pt x="77" y="19"/>
                </a:cubicBezTo>
                <a:cubicBezTo>
                  <a:pt x="77" y="56"/>
                  <a:pt x="77" y="56"/>
                  <a:pt x="77" y="56"/>
                </a:cubicBezTo>
                <a:cubicBezTo>
                  <a:pt x="77" y="57"/>
                  <a:pt x="79" y="59"/>
                  <a:pt x="80" y="59"/>
                </a:cubicBezTo>
                <a:cubicBezTo>
                  <a:pt x="81" y="59"/>
                  <a:pt x="83" y="57"/>
                  <a:pt x="83" y="56"/>
                </a:cubicBezTo>
                <a:cubicBezTo>
                  <a:pt x="83" y="19"/>
                  <a:pt x="83" y="19"/>
                  <a:pt x="83" y="19"/>
                </a:cubicBezTo>
                <a:cubicBezTo>
                  <a:pt x="108" y="20"/>
                  <a:pt x="131" y="37"/>
                  <a:pt x="140" y="60"/>
                </a:cubicBezTo>
                <a:cubicBezTo>
                  <a:pt x="105" y="72"/>
                  <a:pt x="105" y="72"/>
                  <a:pt x="105" y="72"/>
                </a:cubicBezTo>
                <a:cubicBezTo>
                  <a:pt x="103" y="72"/>
                  <a:pt x="102" y="74"/>
                  <a:pt x="103" y="75"/>
                </a:cubicBezTo>
                <a:cubicBezTo>
                  <a:pt x="103" y="76"/>
                  <a:pt x="104" y="77"/>
                  <a:pt x="105" y="77"/>
                </a:cubicBezTo>
                <a:cubicBezTo>
                  <a:pt x="106" y="77"/>
                  <a:pt x="106" y="77"/>
                  <a:pt x="106" y="77"/>
                </a:cubicBezTo>
                <a:cubicBezTo>
                  <a:pt x="142" y="65"/>
                  <a:pt x="142" y="65"/>
                  <a:pt x="142" y="65"/>
                </a:cubicBezTo>
                <a:cubicBezTo>
                  <a:pt x="142" y="67"/>
                  <a:pt x="142" y="68"/>
                  <a:pt x="143" y="69"/>
                </a:cubicBezTo>
                <a:cubicBezTo>
                  <a:pt x="143" y="70"/>
                  <a:pt x="144" y="71"/>
                  <a:pt x="145" y="71"/>
                </a:cubicBezTo>
                <a:cubicBezTo>
                  <a:pt x="145" y="71"/>
                  <a:pt x="146" y="71"/>
                  <a:pt x="146" y="71"/>
                </a:cubicBezTo>
                <a:cubicBezTo>
                  <a:pt x="147" y="71"/>
                  <a:pt x="148" y="69"/>
                  <a:pt x="148" y="68"/>
                </a:cubicBezTo>
                <a:cubicBezTo>
                  <a:pt x="147" y="66"/>
                  <a:pt x="147" y="64"/>
                  <a:pt x="146" y="61"/>
                </a:cubicBezTo>
                <a:cubicBezTo>
                  <a:pt x="146" y="61"/>
                  <a:pt x="146" y="61"/>
                  <a:pt x="146" y="61"/>
                </a:cubicBezTo>
                <a:cubicBezTo>
                  <a:pt x="146" y="61"/>
                  <a:pt x="146" y="61"/>
                  <a:pt x="146" y="61"/>
                </a:cubicBezTo>
                <a:cubicBezTo>
                  <a:pt x="145" y="57"/>
                  <a:pt x="143" y="54"/>
                  <a:pt x="141" y="50"/>
                </a:cubicBezTo>
                <a:cubicBezTo>
                  <a:pt x="148" y="46"/>
                  <a:pt x="148" y="46"/>
                  <a:pt x="148" y="46"/>
                </a:cubicBezTo>
                <a:cubicBezTo>
                  <a:pt x="150" y="46"/>
                  <a:pt x="150" y="44"/>
                  <a:pt x="149" y="43"/>
                </a:cubicBezTo>
                <a:cubicBezTo>
                  <a:pt x="149" y="41"/>
                  <a:pt x="147" y="41"/>
                  <a:pt x="146" y="42"/>
                </a:cubicBezTo>
                <a:cubicBezTo>
                  <a:pt x="138" y="46"/>
                  <a:pt x="138" y="46"/>
                  <a:pt x="138" y="46"/>
                </a:cubicBezTo>
                <a:cubicBezTo>
                  <a:pt x="136" y="42"/>
                  <a:pt x="133" y="39"/>
                  <a:pt x="131" y="36"/>
                </a:cubicBezTo>
                <a:cubicBezTo>
                  <a:pt x="137" y="30"/>
                  <a:pt x="137" y="30"/>
                  <a:pt x="137" y="30"/>
                </a:cubicBezTo>
                <a:cubicBezTo>
                  <a:pt x="138" y="29"/>
                  <a:pt x="138" y="27"/>
                  <a:pt x="137" y="26"/>
                </a:cubicBezTo>
                <a:cubicBezTo>
                  <a:pt x="135" y="25"/>
                  <a:pt x="134" y="25"/>
                  <a:pt x="133" y="26"/>
                </a:cubicBezTo>
                <a:cubicBezTo>
                  <a:pt x="127" y="32"/>
                  <a:pt x="127" y="32"/>
                  <a:pt x="127" y="32"/>
                </a:cubicBezTo>
                <a:cubicBezTo>
                  <a:pt x="124" y="29"/>
                  <a:pt x="120" y="27"/>
                  <a:pt x="117" y="24"/>
                </a:cubicBezTo>
                <a:cubicBezTo>
                  <a:pt x="121" y="17"/>
                  <a:pt x="121" y="17"/>
                  <a:pt x="121" y="17"/>
                </a:cubicBezTo>
                <a:cubicBezTo>
                  <a:pt x="122" y="16"/>
                  <a:pt x="121" y="14"/>
                  <a:pt x="120" y="13"/>
                </a:cubicBezTo>
                <a:cubicBezTo>
                  <a:pt x="119" y="13"/>
                  <a:pt x="117" y="13"/>
                  <a:pt x="116" y="14"/>
                </a:cubicBezTo>
                <a:cubicBezTo>
                  <a:pt x="112" y="22"/>
                  <a:pt x="112" y="22"/>
                  <a:pt x="112" y="22"/>
                </a:cubicBezTo>
                <a:cubicBezTo>
                  <a:pt x="108" y="20"/>
                  <a:pt x="104" y="18"/>
                  <a:pt x="100" y="17"/>
                </a:cubicBezTo>
                <a:cubicBezTo>
                  <a:pt x="103" y="9"/>
                  <a:pt x="103" y="9"/>
                  <a:pt x="103" y="9"/>
                </a:cubicBezTo>
                <a:cubicBezTo>
                  <a:pt x="103" y="7"/>
                  <a:pt x="102" y="6"/>
                  <a:pt x="101" y="5"/>
                </a:cubicBezTo>
                <a:cubicBezTo>
                  <a:pt x="100" y="5"/>
                  <a:pt x="100" y="5"/>
                  <a:pt x="100" y="5"/>
                </a:cubicBezTo>
                <a:cubicBezTo>
                  <a:pt x="155" y="5"/>
                  <a:pt x="155" y="5"/>
                  <a:pt x="155" y="5"/>
                </a:cubicBezTo>
                <a:cubicBezTo>
                  <a:pt x="155" y="102"/>
                  <a:pt x="155" y="102"/>
                  <a:pt x="155" y="102"/>
                </a:cubicBezTo>
                <a:cubicBezTo>
                  <a:pt x="151" y="101"/>
                  <a:pt x="149" y="98"/>
                  <a:pt x="148" y="94"/>
                </a:cubicBezTo>
                <a:cubicBezTo>
                  <a:pt x="147" y="85"/>
                  <a:pt x="147" y="85"/>
                  <a:pt x="147" y="85"/>
                </a:cubicBezTo>
                <a:cubicBezTo>
                  <a:pt x="130" y="85"/>
                  <a:pt x="130" y="85"/>
                  <a:pt x="130" y="85"/>
                </a:cubicBezTo>
                <a:cubicBezTo>
                  <a:pt x="128" y="96"/>
                  <a:pt x="128" y="96"/>
                  <a:pt x="128" y="96"/>
                </a:cubicBezTo>
                <a:cubicBezTo>
                  <a:pt x="128" y="99"/>
                  <a:pt x="125" y="102"/>
                  <a:pt x="122" y="103"/>
                </a:cubicBezTo>
                <a:cubicBezTo>
                  <a:pt x="119" y="104"/>
                  <a:pt x="115" y="104"/>
                  <a:pt x="112" y="102"/>
                </a:cubicBezTo>
                <a:cubicBezTo>
                  <a:pt x="104" y="96"/>
                  <a:pt x="104" y="96"/>
                  <a:pt x="104" y="96"/>
                </a:cubicBezTo>
                <a:cubicBezTo>
                  <a:pt x="92" y="108"/>
                  <a:pt x="92" y="108"/>
                  <a:pt x="92" y="108"/>
                </a:cubicBezTo>
                <a:cubicBezTo>
                  <a:pt x="97" y="115"/>
                  <a:pt x="97" y="115"/>
                  <a:pt x="97" y="115"/>
                </a:cubicBezTo>
                <a:cubicBezTo>
                  <a:pt x="99" y="118"/>
                  <a:pt x="100" y="122"/>
                  <a:pt x="99" y="125"/>
                </a:cubicBezTo>
                <a:cubicBezTo>
                  <a:pt x="97" y="128"/>
                  <a:pt x="95" y="131"/>
                  <a:pt x="91" y="131"/>
                </a:cubicBezTo>
                <a:cubicBezTo>
                  <a:pt x="83" y="133"/>
                  <a:pt x="83" y="133"/>
                  <a:pt x="83" y="133"/>
                </a:cubicBezTo>
                <a:cubicBezTo>
                  <a:pt x="83" y="149"/>
                  <a:pt x="83" y="149"/>
                  <a:pt x="83" y="149"/>
                </a:cubicBezTo>
                <a:cubicBezTo>
                  <a:pt x="91" y="151"/>
                  <a:pt x="91" y="151"/>
                  <a:pt x="91" y="151"/>
                </a:cubicBezTo>
                <a:cubicBezTo>
                  <a:pt x="94" y="151"/>
                  <a:pt x="97" y="153"/>
                  <a:pt x="98" y="155"/>
                </a:cubicBezTo>
                <a:cubicBezTo>
                  <a:pt x="62" y="155"/>
                  <a:pt x="62" y="155"/>
                  <a:pt x="62" y="155"/>
                </a:cubicBezTo>
                <a:cubicBezTo>
                  <a:pt x="63" y="153"/>
                  <a:pt x="66" y="151"/>
                  <a:pt x="69" y="151"/>
                </a:cubicBezTo>
                <a:cubicBezTo>
                  <a:pt x="77" y="149"/>
                  <a:pt x="77" y="149"/>
                  <a:pt x="77" y="149"/>
                </a:cubicBezTo>
                <a:cubicBezTo>
                  <a:pt x="77" y="133"/>
                  <a:pt x="77" y="133"/>
                  <a:pt x="77" y="133"/>
                </a:cubicBezTo>
                <a:cubicBezTo>
                  <a:pt x="69" y="131"/>
                  <a:pt x="69" y="131"/>
                  <a:pt x="69" y="131"/>
                </a:cubicBezTo>
                <a:cubicBezTo>
                  <a:pt x="65" y="131"/>
                  <a:pt x="63" y="128"/>
                  <a:pt x="61" y="125"/>
                </a:cubicBezTo>
                <a:cubicBezTo>
                  <a:pt x="60" y="122"/>
                  <a:pt x="61" y="118"/>
                  <a:pt x="63" y="115"/>
                </a:cubicBezTo>
                <a:cubicBezTo>
                  <a:pt x="68" y="108"/>
                  <a:pt x="68" y="108"/>
                  <a:pt x="68" y="108"/>
                </a:cubicBezTo>
                <a:cubicBezTo>
                  <a:pt x="56" y="96"/>
                  <a:pt x="56" y="96"/>
                  <a:pt x="56" y="96"/>
                </a:cubicBezTo>
                <a:cubicBezTo>
                  <a:pt x="48" y="102"/>
                  <a:pt x="48" y="102"/>
                  <a:pt x="48" y="102"/>
                </a:cubicBezTo>
                <a:cubicBezTo>
                  <a:pt x="45" y="104"/>
                  <a:pt x="41" y="104"/>
                  <a:pt x="38" y="103"/>
                </a:cubicBezTo>
                <a:cubicBezTo>
                  <a:pt x="35" y="102"/>
                  <a:pt x="33" y="99"/>
                  <a:pt x="32" y="96"/>
                </a:cubicBezTo>
                <a:cubicBezTo>
                  <a:pt x="30" y="85"/>
                  <a:pt x="30" y="85"/>
                  <a:pt x="30" y="85"/>
                </a:cubicBezTo>
                <a:cubicBezTo>
                  <a:pt x="13" y="85"/>
                  <a:pt x="13" y="85"/>
                  <a:pt x="13" y="85"/>
                </a:cubicBezTo>
                <a:cubicBezTo>
                  <a:pt x="12" y="94"/>
                  <a:pt x="12" y="94"/>
                  <a:pt x="12" y="94"/>
                </a:cubicBezTo>
                <a:cubicBezTo>
                  <a:pt x="11" y="98"/>
                  <a:pt x="9" y="101"/>
                  <a:pt x="5" y="102"/>
                </a:cubicBezTo>
                <a:cubicBezTo>
                  <a:pt x="5" y="5"/>
                  <a:pt x="5" y="5"/>
                  <a:pt x="5" y="5"/>
                </a:cubicBezTo>
                <a:lnTo>
                  <a:pt x="60" y="5"/>
                </a:lnTo>
                <a:close/>
                <a:moveTo>
                  <a:pt x="8" y="155"/>
                </a:moveTo>
                <a:cubicBezTo>
                  <a:pt x="7" y="154"/>
                  <a:pt x="6" y="152"/>
                  <a:pt x="5" y="151"/>
                </a:cubicBezTo>
                <a:cubicBezTo>
                  <a:pt x="5" y="132"/>
                  <a:pt x="5" y="132"/>
                  <a:pt x="5" y="132"/>
                </a:cubicBezTo>
                <a:cubicBezTo>
                  <a:pt x="9" y="126"/>
                  <a:pt x="15" y="123"/>
                  <a:pt x="21" y="123"/>
                </a:cubicBezTo>
                <a:cubicBezTo>
                  <a:pt x="32" y="123"/>
                  <a:pt x="40" y="131"/>
                  <a:pt x="40" y="141"/>
                </a:cubicBezTo>
                <a:cubicBezTo>
                  <a:pt x="40" y="146"/>
                  <a:pt x="38" y="151"/>
                  <a:pt x="34" y="155"/>
                </a:cubicBezTo>
                <a:lnTo>
                  <a:pt x="8" y="155"/>
                </a:lnTo>
                <a:close/>
                <a:moveTo>
                  <a:pt x="41" y="155"/>
                </a:moveTo>
                <a:cubicBezTo>
                  <a:pt x="44" y="151"/>
                  <a:pt x="45" y="146"/>
                  <a:pt x="45" y="141"/>
                </a:cubicBezTo>
                <a:cubicBezTo>
                  <a:pt x="45" y="128"/>
                  <a:pt x="35" y="117"/>
                  <a:pt x="21" y="117"/>
                </a:cubicBezTo>
                <a:cubicBezTo>
                  <a:pt x="15" y="117"/>
                  <a:pt x="10" y="120"/>
                  <a:pt x="5" y="124"/>
                </a:cubicBezTo>
                <a:cubicBezTo>
                  <a:pt x="5" y="108"/>
                  <a:pt x="5" y="108"/>
                  <a:pt x="5" y="108"/>
                </a:cubicBezTo>
                <a:cubicBezTo>
                  <a:pt x="12" y="106"/>
                  <a:pt x="16" y="101"/>
                  <a:pt x="17" y="95"/>
                </a:cubicBezTo>
                <a:cubicBezTo>
                  <a:pt x="18" y="91"/>
                  <a:pt x="18" y="91"/>
                  <a:pt x="18" y="91"/>
                </a:cubicBezTo>
                <a:cubicBezTo>
                  <a:pt x="25" y="91"/>
                  <a:pt x="25" y="91"/>
                  <a:pt x="25" y="91"/>
                </a:cubicBezTo>
                <a:cubicBezTo>
                  <a:pt x="27" y="97"/>
                  <a:pt x="27" y="97"/>
                  <a:pt x="27" y="97"/>
                </a:cubicBezTo>
                <a:cubicBezTo>
                  <a:pt x="28" y="102"/>
                  <a:pt x="31" y="106"/>
                  <a:pt x="36" y="108"/>
                </a:cubicBezTo>
                <a:cubicBezTo>
                  <a:pt x="41" y="110"/>
                  <a:pt x="46" y="109"/>
                  <a:pt x="51" y="107"/>
                </a:cubicBezTo>
                <a:cubicBezTo>
                  <a:pt x="56" y="103"/>
                  <a:pt x="56" y="103"/>
                  <a:pt x="56" y="103"/>
                </a:cubicBezTo>
                <a:cubicBezTo>
                  <a:pt x="61" y="108"/>
                  <a:pt x="61" y="108"/>
                  <a:pt x="61" y="108"/>
                </a:cubicBezTo>
                <a:cubicBezTo>
                  <a:pt x="58" y="112"/>
                  <a:pt x="58" y="112"/>
                  <a:pt x="58" y="112"/>
                </a:cubicBezTo>
                <a:cubicBezTo>
                  <a:pt x="55" y="116"/>
                  <a:pt x="54" y="122"/>
                  <a:pt x="56" y="127"/>
                </a:cubicBezTo>
                <a:cubicBezTo>
                  <a:pt x="58" y="132"/>
                  <a:pt x="63" y="135"/>
                  <a:pt x="68" y="136"/>
                </a:cubicBezTo>
                <a:cubicBezTo>
                  <a:pt x="72" y="137"/>
                  <a:pt x="72" y="137"/>
                  <a:pt x="72" y="137"/>
                </a:cubicBezTo>
                <a:cubicBezTo>
                  <a:pt x="72" y="145"/>
                  <a:pt x="72" y="145"/>
                  <a:pt x="72" y="145"/>
                </a:cubicBezTo>
                <a:cubicBezTo>
                  <a:pt x="68" y="145"/>
                  <a:pt x="68" y="145"/>
                  <a:pt x="68" y="145"/>
                </a:cubicBezTo>
                <a:cubicBezTo>
                  <a:pt x="62" y="146"/>
                  <a:pt x="58" y="150"/>
                  <a:pt x="56" y="155"/>
                </a:cubicBezTo>
                <a:cubicBezTo>
                  <a:pt x="41" y="155"/>
                  <a:pt x="41" y="155"/>
                  <a:pt x="41" y="155"/>
                </a:cubicBezTo>
                <a:close/>
                <a:moveTo>
                  <a:pt x="92" y="145"/>
                </a:moveTo>
                <a:cubicBezTo>
                  <a:pt x="88" y="145"/>
                  <a:pt x="88" y="145"/>
                  <a:pt x="88" y="145"/>
                </a:cubicBezTo>
                <a:cubicBezTo>
                  <a:pt x="88" y="137"/>
                  <a:pt x="88" y="137"/>
                  <a:pt x="88" y="137"/>
                </a:cubicBezTo>
                <a:cubicBezTo>
                  <a:pt x="92" y="136"/>
                  <a:pt x="92" y="136"/>
                  <a:pt x="92" y="136"/>
                </a:cubicBezTo>
                <a:cubicBezTo>
                  <a:pt x="97" y="135"/>
                  <a:pt x="102" y="132"/>
                  <a:pt x="104" y="127"/>
                </a:cubicBezTo>
                <a:cubicBezTo>
                  <a:pt x="106" y="122"/>
                  <a:pt x="105" y="116"/>
                  <a:pt x="102" y="112"/>
                </a:cubicBezTo>
                <a:cubicBezTo>
                  <a:pt x="99" y="108"/>
                  <a:pt x="99" y="108"/>
                  <a:pt x="99" y="108"/>
                </a:cubicBezTo>
                <a:cubicBezTo>
                  <a:pt x="104" y="103"/>
                  <a:pt x="104" y="103"/>
                  <a:pt x="104" y="103"/>
                </a:cubicBezTo>
                <a:cubicBezTo>
                  <a:pt x="109" y="107"/>
                  <a:pt x="109" y="107"/>
                  <a:pt x="109" y="107"/>
                </a:cubicBezTo>
                <a:cubicBezTo>
                  <a:pt x="114" y="109"/>
                  <a:pt x="119" y="110"/>
                  <a:pt x="124" y="108"/>
                </a:cubicBezTo>
                <a:cubicBezTo>
                  <a:pt x="129" y="106"/>
                  <a:pt x="132" y="102"/>
                  <a:pt x="133" y="97"/>
                </a:cubicBezTo>
                <a:cubicBezTo>
                  <a:pt x="135" y="91"/>
                  <a:pt x="135" y="91"/>
                  <a:pt x="135" y="91"/>
                </a:cubicBezTo>
                <a:cubicBezTo>
                  <a:pt x="142" y="91"/>
                  <a:pt x="142" y="91"/>
                  <a:pt x="142" y="91"/>
                </a:cubicBezTo>
                <a:cubicBezTo>
                  <a:pt x="143" y="95"/>
                  <a:pt x="143" y="95"/>
                  <a:pt x="143" y="95"/>
                </a:cubicBezTo>
                <a:cubicBezTo>
                  <a:pt x="144" y="101"/>
                  <a:pt x="148" y="106"/>
                  <a:pt x="155" y="108"/>
                </a:cubicBezTo>
                <a:cubicBezTo>
                  <a:pt x="155" y="124"/>
                  <a:pt x="155" y="124"/>
                  <a:pt x="155" y="124"/>
                </a:cubicBezTo>
                <a:cubicBezTo>
                  <a:pt x="150" y="120"/>
                  <a:pt x="145" y="117"/>
                  <a:pt x="139" y="117"/>
                </a:cubicBezTo>
                <a:cubicBezTo>
                  <a:pt x="125" y="117"/>
                  <a:pt x="115" y="128"/>
                  <a:pt x="115" y="141"/>
                </a:cubicBezTo>
                <a:cubicBezTo>
                  <a:pt x="115" y="146"/>
                  <a:pt x="116" y="151"/>
                  <a:pt x="119" y="155"/>
                </a:cubicBezTo>
                <a:cubicBezTo>
                  <a:pt x="104" y="155"/>
                  <a:pt x="104" y="155"/>
                  <a:pt x="104" y="155"/>
                </a:cubicBezTo>
                <a:cubicBezTo>
                  <a:pt x="102" y="150"/>
                  <a:pt x="98" y="146"/>
                  <a:pt x="92" y="145"/>
                </a:cubicBezTo>
                <a:close/>
                <a:moveTo>
                  <a:pt x="126" y="155"/>
                </a:moveTo>
                <a:cubicBezTo>
                  <a:pt x="122" y="151"/>
                  <a:pt x="120" y="146"/>
                  <a:pt x="120" y="141"/>
                </a:cubicBezTo>
                <a:cubicBezTo>
                  <a:pt x="120" y="131"/>
                  <a:pt x="128" y="123"/>
                  <a:pt x="139" y="123"/>
                </a:cubicBezTo>
                <a:cubicBezTo>
                  <a:pt x="145" y="123"/>
                  <a:pt x="151" y="126"/>
                  <a:pt x="155" y="132"/>
                </a:cubicBezTo>
                <a:cubicBezTo>
                  <a:pt x="155" y="151"/>
                  <a:pt x="155" y="151"/>
                  <a:pt x="155" y="151"/>
                </a:cubicBezTo>
                <a:cubicBezTo>
                  <a:pt x="154" y="152"/>
                  <a:pt x="153" y="154"/>
                  <a:pt x="152" y="155"/>
                </a:cubicBezTo>
                <a:cubicBezTo>
                  <a:pt x="126" y="155"/>
                  <a:pt x="126" y="155"/>
                  <a:pt x="126"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56" name="Freeform 1358">
            <a:extLst>
              <a:ext uri="{FF2B5EF4-FFF2-40B4-BE49-F238E27FC236}">
                <a16:creationId xmlns:a16="http://schemas.microsoft.com/office/drawing/2014/main" id="{79134C7E-62F6-9A41-9FC5-68875A03F232}"/>
              </a:ext>
            </a:extLst>
          </p:cNvPr>
          <p:cNvSpPr>
            <a:spLocks noEditPoints="1"/>
          </p:cNvSpPr>
          <p:nvPr/>
        </p:nvSpPr>
        <p:spPr bwMode="auto">
          <a:xfrm>
            <a:off x="7176662" y="2222500"/>
            <a:ext cx="546100" cy="550863"/>
          </a:xfrm>
          <a:custGeom>
            <a:avLst/>
            <a:gdLst>
              <a:gd name="T0" fmla="*/ 143 w 160"/>
              <a:gd name="T1" fmla="*/ 21 h 160"/>
              <a:gd name="T2" fmla="*/ 142 w 160"/>
              <a:gd name="T3" fmla="*/ 14 h 160"/>
              <a:gd name="T4" fmla="*/ 117 w 160"/>
              <a:gd name="T5" fmla="*/ 3 h 160"/>
              <a:gd name="T6" fmla="*/ 112 w 160"/>
              <a:gd name="T7" fmla="*/ 8 h 160"/>
              <a:gd name="T8" fmla="*/ 83 w 160"/>
              <a:gd name="T9" fmla="*/ 14 h 160"/>
              <a:gd name="T10" fmla="*/ 77 w 160"/>
              <a:gd name="T11" fmla="*/ 43 h 160"/>
              <a:gd name="T12" fmla="*/ 72 w 160"/>
              <a:gd name="T13" fmla="*/ 48 h 160"/>
              <a:gd name="T14" fmla="*/ 83 w 160"/>
              <a:gd name="T15" fmla="*/ 73 h 160"/>
              <a:gd name="T16" fmla="*/ 74 w 160"/>
              <a:gd name="T17" fmla="*/ 62 h 160"/>
              <a:gd name="T18" fmla="*/ 68 w 160"/>
              <a:gd name="T19" fmla="*/ 65 h 160"/>
              <a:gd name="T20" fmla="*/ 34 w 160"/>
              <a:gd name="T21" fmla="*/ 60 h 160"/>
              <a:gd name="T22" fmla="*/ 31 w 160"/>
              <a:gd name="T23" fmla="*/ 66 h 160"/>
              <a:gd name="T24" fmla="*/ 0 w 160"/>
              <a:gd name="T25" fmla="*/ 87 h 160"/>
              <a:gd name="T26" fmla="*/ 3 w 160"/>
              <a:gd name="T27" fmla="*/ 109 h 160"/>
              <a:gd name="T28" fmla="*/ 0 w 160"/>
              <a:gd name="T29" fmla="*/ 129 h 160"/>
              <a:gd name="T30" fmla="*/ 7 w 160"/>
              <a:gd name="T31" fmla="*/ 129 h 160"/>
              <a:gd name="T32" fmla="*/ 28 w 160"/>
              <a:gd name="T33" fmla="*/ 160 h 160"/>
              <a:gd name="T34" fmla="*/ 34 w 160"/>
              <a:gd name="T35" fmla="*/ 154 h 160"/>
              <a:gd name="T36" fmla="*/ 67 w 160"/>
              <a:gd name="T37" fmla="*/ 158 h 160"/>
              <a:gd name="T38" fmla="*/ 72 w 160"/>
              <a:gd name="T39" fmla="*/ 156 h 160"/>
              <a:gd name="T40" fmla="*/ 98 w 160"/>
              <a:gd name="T41" fmla="*/ 133 h 160"/>
              <a:gd name="T42" fmla="*/ 100 w 160"/>
              <a:gd name="T43" fmla="*/ 128 h 160"/>
              <a:gd name="T44" fmla="*/ 96 w 160"/>
              <a:gd name="T45" fmla="*/ 94 h 160"/>
              <a:gd name="T46" fmla="*/ 98 w 160"/>
              <a:gd name="T47" fmla="*/ 88 h 160"/>
              <a:gd name="T48" fmla="*/ 87 w 160"/>
              <a:gd name="T49" fmla="*/ 77 h 160"/>
              <a:gd name="T50" fmla="*/ 112 w 160"/>
              <a:gd name="T51" fmla="*/ 88 h 160"/>
              <a:gd name="T52" fmla="*/ 117 w 160"/>
              <a:gd name="T53" fmla="*/ 83 h 160"/>
              <a:gd name="T54" fmla="*/ 144 w 160"/>
              <a:gd name="T55" fmla="*/ 77 h 160"/>
              <a:gd name="T56" fmla="*/ 143 w 160"/>
              <a:gd name="T57" fmla="*/ 70 h 160"/>
              <a:gd name="T58" fmla="*/ 160 w 160"/>
              <a:gd name="T59" fmla="*/ 45 h 160"/>
              <a:gd name="T60" fmla="*/ 66 w 160"/>
              <a:gd name="T61" fmla="*/ 69 h 160"/>
              <a:gd name="T62" fmla="*/ 40 w 160"/>
              <a:gd name="T63" fmla="*/ 109 h 160"/>
              <a:gd name="T64" fmla="*/ 8 w 160"/>
              <a:gd name="T65" fmla="*/ 109 h 160"/>
              <a:gd name="T66" fmla="*/ 46 w 160"/>
              <a:gd name="T67" fmla="*/ 111 h 160"/>
              <a:gd name="T68" fmla="*/ 51 w 160"/>
              <a:gd name="T69" fmla="*/ 104 h 160"/>
              <a:gd name="T70" fmla="*/ 53 w 160"/>
              <a:gd name="T71" fmla="*/ 104 h 160"/>
              <a:gd name="T72" fmla="*/ 46 w 160"/>
              <a:gd name="T73" fmla="*/ 111 h 160"/>
              <a:gd name="T74" fmla="*/ 51 w 160"/>
              <a:gd name="T75" fmla="*/ 120 h 160"/>
              <a:gd name="T76" fmla="*/ 51 w 160"/>
              <a:gd name="T77" fmla="*/ 152 h 160"/>
              <a:gd name="T78" fmla="*/ 57 w 160"/>
              <a:gd name="T79" fmla="*/ 118 h 160"/>
              <a:gd name="T80" fmla="*/ 70 w 160"/>
              <a:gd name="T81" fmla="*/ 72 h 160"/>
              <a:gd name="T82" fmla="*/ 115 w 160"/>
              <a:gd name="T83" fmla="*/ 77 h 160"/>
              <a:gd name="T84" fmla="*/ 147 w 160"/>
              <a:gd name="T85" fmla="*/ 45 h 160"/>
              <a:gd name="T86" fmla="*/ 104 w 160"/>
              <a:gd name="T87" fmla="*/ 45 h 160"/>
              <a:gd name="T88" fmla="*/ 115 w 160"/>
              <a:gd name="T89" fmla="*/ 35 h 160"/>
              <a:gd name="T90" fmla="*/ 115 w 160"/>
              <a:gd name="T91" fmla="*/ 4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0">
                <a:moveTo>
                  <a:pt x="157" y="43"/>
                </a:moveTo>
                <a:cubicBezTo>
                  <a:pt x="152" y="43"/>
                  <a:pt x="152" y="43"/>
                  <a:pt x="152" y="43"/>
                </a:cubicBezTo>
                <a:cubicBezTo>
                  <a:pt x="151" y="34"/>
                  <a:pt x="148" y="27"/>
                  <a:pt x="143" y="21"/>
                </a:cubicBezTo>
                <a:cubicBezTo>
                  <a:pt x="146" y="18"/>
                  <a:pt x="146" y="18"/>
                  <a:pt x="146" y="18"/>
                </a:cubicBezTo>
                <a:cubicBezTo>
                  <a:pt x="147" y="17"/>
                  <a:pt x="147" y="15"/>
                  <a:pt x="146" y="14"/>
                </a:cubicBezTo>
                <a:cubicBezTo>
                  <a:pt x="145" y="13"/>
                  <a:pt x="143" y="13"/>
                  <a:pt x="142" y="14"/>
                </a:cubicBezTo>
                <a:cubicBezTo>
                  <a:pt x="139" y="17"/>
                  <a:pt x="139" y="17"/>
                  <a:pt x="139" y="17"/>
                </a:cubicBezTo>
                <a:cubicBezTo>
                  <a:pt x="133" y="12"/>
                  <a:pt x="126" y="9"/>
                  <a:pt x="117" y="8"/>
                </a:cubicBezTo>
                <a:cubicBezTo>
                  <a:pt x="117" y="3"/>
                  <a:pt x="117" y="3"/>
                  <a:pt x="117" y="3"/>
                </a:cubicBezTo>
                <a:cubicBezTo>
                  <a:pt x="117" y="1"/>
                  <a:pt x="116" y="0"/>
                  <a:pt x="115" y="0"/>
                </a:cubicBezTo>
                <a:cubicBezTo>
                  <a:pt x="113" y="0"/>
                  <a:pt x="112" y="1"/>
                  <a:pt x="112" y="3"/>
                </a:cubicBezTo>
                <a:cubicBezTo>
                  <a:pt x="112" y="8"/>
                  <a:pt x="112" y="8"/>
                  <a:pt x="112" y="8"/>
                </a:cubicBezTo>
                <a:cubicBezTo>
                  <a:pt x="104" y="9"/>
                  <a:pt x="96" y="12"/>
                  <a:pt x="90" y="17"/>
                </a:cubicBezTo>
                <a:cubicBezTo>
                  <a:pt x="87" y="14"/>
                  <a:pt x="87" y="14"/>
                  <a:pt x="87" y="14"/>
                </a:cubicBezTo>
                <a:cubicBezTo>
                  <a:pt x="86" y="13"/>
                  <a:pt x="84" y="13"/>
                  <a:pt x="83" y="14"/>
                </a:cubicBezTo>
                <a:cubicBezTo>
                  <a:pt x="82" y="15"/>
                  <a:pt x="82" y="17"/>
                  <a:pt x="83" y="18"/>
                </a:cubicBezTo>
                <a:cubicBezTo>
                  <a:pt x="86" y="21"/>
                  <a:pt x="86" y="21"/>
                  <a:pt x="86" y="21"/>
                </a:cubicBezTo>
                <a:cubicBezTo>
                  <a:pt x="81" y="27"/>
                  <a:pt x="78" y="34"/>
                  <a:pt x="77" y="43"/>
                </a:cubicBezTo>
                <a:cubicBezTo>
                  <a:pt x="72" y="43"/>
                  <a:pt x="72" y="43"/>
                  <a:pt x="72" y="43"/>
                </a:cubicBezTo>
                <a:cubicBezTo>
                  <a:pt x="71" y="43"/>
                  <a:pt x="69" y="44"/>
                  <a:pt x="69" y="45"/>
                </a:cubicBezTo>
                <a:cubicBezTo>
                  <a:pt x="69" y="47"/>
                  <a:pt x="71" y="48"/>
                  <a:pt x="72" y="48"/>
                </a:cubicBezTo>
                <a:cubicBezTo>
                  <a:pt x="77" y="48"/>
                  <a:pt x="77" y="48"/>
                  <a:pt x="77" y="48"/>
                </a:cubicBezTo>
                <a:cubicBezTo>
                  <a:pt x="78" y="56"/>
                  <a:pt x="81" y="64"/>
                  <a:pt x="86" y="70"/>
                </a:cubicBezTo>
                <a:cubicBezTo>
                  <a:pt x="83" y="73"/>
                  <a:pt x="83" y="73"/>
                  <a:pt x="83" y="73"/>
                </a:cubicBezTo>
                <a:cubicBezTo>
                  <a:pt x="83" y="73"/>
                  <a:pt x="83" y="73"/>
                  <a:pt x="83" y="74"/>
                </a:cubicBezTo>
                <a:cubicBezTo>
                  <a:pt x="80" y="71"/>
                  <a:pt x="76" y="69"/>
                  <a:pt x="73" y="67"/>
                </a:cubicBezTo>
                <a:cubicBezTo>
                  <a:pt x="74" y="62"/>
                  <a:pt x="74" y="62"/>
                  <a:pt x="74" y="62"/>
                </a:cubicBezTo>
                <a:cubicBezTo>
                  <a:pt x="75" y="61"/>
                  <a:pt x="74" y="59"/>
                  <a:pt x="73" y="59"/>
                </a:cubicBezTo>
                <a:cubicBezTo>
                  <a:pt x="72" y="58"/>
                  <a:pt x="70" y="59"/>
                  <a:pt x="70" y="60"/>
                </a:cubicBezTo>
                <a:cubicBezTo>
                  <a:pt x="68" y="65"/>
                  <a:pt x="68" y="65"/>
                  <a:pt x="68" y="65"/>
                </a:cubicBezTo>
                <a:cubicBezTo>
                  <a:pt x="62" y="62"/>
                  <a:pt x="57" y="61"/>
                  <a:pt x="51" y="61"/>
                </a:cubicBezTo>
                <a:cubicBezTo>
                  <a:pt x="45" y="61"/>
                  <a:pt x="40" y="62"/>
                  <a:pt x="36" y="64"/>
                </a:cubicBezTo>
                <a:cubicBezTo>
                  <a:pt x="34" y="60"/>
                  <a:pt x="34" y="60"/>
                  <a:pt x="34" y="60"/>
                </a:cubicBezTo>
                <a:cubicBezTo>
                  <a:pt x="34" y="59"/>
                  <a:pt x="32" y="58"/>
                  <a:pt x="31" y="59"/>
                </a:cubicBezTo>
                <a:cubicBezTo>
                  <a:pt x="30" y="59"/>
                  <a:pt x="29" y="61"/>
                  <a:pt x="30" y="62"/>
                </a:cubicBezTo>
                <a:cubicBezTo>
                  <a:pt x="31" y="66"/>
                  <a:pt x="31" y="66"/>
                  <a:pt x="31" y="66"/>
                </a:cubicBezTo>
                <a:cubicBezTo>
                  <a:pt x="21" y="70"/>
                  <a:pt x="13" y="78"/>
                  <a:pt x="8" y="87"/>
                </a:cubicBezTo>
                <a:cubicBezTo>
                  <a:pt x="4" y="86"/>
                  <a:pt x="4" y="86"/>
                  <a:pt x="4" y="86"/>
                </a:cubicBezTo>
                <a:cubicBezTo>
                  <a:pt x="2" y="85"/>
                  <a:pt x="1" y="86"/>
                  <a:pt x="0" y="87"/>
                </a:cubicBezTo>
                <a:cubicBezTo>
                  <a:pt x="0" y="88"/>
                  <a:pt x="0" y="90"/>
                  <a:pt x="2" y="90"/>
                </a:cubicBezTo>
                <a:cubicBezTo>
                  <a:pt x="6" y="92"/>
                  <a:pt x="6" y="92"/>
                  <a:pt x="6" y="92"/>
                </a:cubicBezTo>
                <a:cubicBezTo>
                  <a:pt x="4" y="98"/>
                  <a:pt x="3" y="103"/>
                  <a:pt x="3" y="109"/>
                </a:cubicBezTo>
                <a:cubicBezTo>
                  <a:pt x="3" y="115"/>
                  <a:pt x="4" y="120"/>
                  <a:pt x="5" y="124"/>
                </a:cubicBezTo>
                <a:cubicBezTo>
                  <a:pt x="2" y="126"/>
                  <a:pt x="2" y="126"/>
                  <a:pt x="2" y="126"/>
                </a:cubicBezTo>
                <a:cubicBezTo>
                  <a:pt x="0" y="126"/>
                  <a:pt x="0" y="128"/>
                  <a:pt x="0" y="129"/>
                </a:cubicBezTo>
                <a:cubicBezTo>
                  <a:pt x="1" y="130"/>
                  <a:pt x="2" y="131"/>
                  <a:pt x="3" y="131"/>
                </a:cubicBezTo>
                <a:cubicBezTo>
                  <a:pt x="3" y="131"/>
                  <a:pt x="3" y="131"/>
                  <a:pt x="4" y="130"/>
                </a:cubicBezTo>
                <a:cubicBezTo>
                  <a:pt x="7" y="129"/>
                  <a:pt x="7" y="129"/>
                  <a:pt x="7" y="129"/>
                </a:cubicBezTo>
                <a:cubicBezTo>
                  <a:pt x="12" y="139"/>
                  <a:pt x="19" y="147"/>
                  <a:pt x="29" y="152"/>
                </a:cubicBezTo>
                <a:cubicBezTo>
                  <a:pt x="27" y="156"/>
                  <a:pt x="27" y="156"/>
                  <a:pt x="27" y="156"/>
                </a:cubicBezTo>
                <a:cubicBezTo>
                  <a:pt x="26" y="158"/>
                  <a:pt x="27" y="159"/>
                  <a:pt x="28" y="160"/>
                </a:cubicBezTo>
                <a:cubicBezTo>
                  <a:pt x="29" y="160"/>
                  <a:pt x="29" y="160"/>
                  <a:pt x="29" y="160"/>
                </a:cubicBezTo>
                <a:cubicBezTo>
                  <a:pt x="30" y="160"/>
                  <a:pt x="31" y="159"/>
                  <a:pt x="32" y="158"/>
                </a:cubicBezTo>
                <a:cubicBezTo>
                  <a:pt x="34" y="154"/>
                  <a:pt x="34" y="154"/>
                  <a:pt x="34" y="154"/>
                </a:cubicBezTo>
                <a:cubicBezTo>
                  <a:pt x="39" y="156"/>
                  <a:pt x="45" y="157"/>
                  <a:pt x="51" y="157"/>
                </a:cubicBezTo>
                <a:cubicBezTo>
                  <a:pt x="56" y="157"/>
                  <a:pt x="61" y="156"/>
                  <a:pt x="66" y="155"/>
                </a:cubicBezTo>
                <a:cubicBezTo>
                  <a:pt x="67" y="158"/>
                  <a:pt x="67" y="158"/>
                  <a:pt x="67" y="158"/>
                </a:cubicBezTo>
                <a:cubicBezTo>
                  <a:pt x="67" y="159"/>
                  <a:pt x="68" y="160"/>
                  <a:pt x="69" y="160"/>
                </a:cubicBezTo>
                <a:cubicBezTo>
                  <a:pt x="70" y="160"/>
                  <a:pt x="70" y="160"/>
                  <a:pt x="70" y="160"/>
                </a:cubicBezTo>
                <a:cubicBezTo>
                  <a:pt x="72" y="159"/>
                  <a:pt x="72" y="158"/>
                  <a:pt x="72" y="156"/>
                </a:cubicBezTo>
                <a:cubicBezTo>
                  <a:pt x="71" y="153"/>
                  <a:pt x="71" y="153"/>
                  <a:pt x="71" y="153"/>
                </a:cubicBezTo>
                <a:cubicBezTo>
                  <a:pt x="80" y="149"/>
                  <a:pt x="88" y="141"/>
                  <a:pt x="93" y="131"/>
                </a:cubicBezTo>
                <a:cubicBezTo>
                  <a:pt x="98" y="133"/>
                  <a:pt x="98" y="133"/>
                  <a:pt x="98" y="133"/>
                </a:cubicBezTo>
                <a:cubicBezTo>
                  <a:pt x="98" y="133"/>
                  <a:pt x="98" y="133"/>
                  <a:pt x="99" y="133"/>
                </a:cubicBezTo>
                <a:cubicBezTo>
                  <a:pt x="100" y="133"/>
                  <a:pt x="101" y="133"/>
                  <a:pt x="101" y="132"/>
                </a:cubicBezTo>
                <a:cubicBezTo>
                  <a:pt x="102" y="130"/>
                  <a:pt x="101" y="129"/>
                  <a:pt x="100" y="128"/>
                </a:cubicBezTo>
                <a:cubicBezTo>
                  <a:pt x="96" y="126"/>
                  <a:pt x="96" y="126"/>
                  <a:pt x="96" y="126"/>
                </a:cubicBezTo>
                <a:cubicBezTo>
                  <a:pt x="98" y="121"/>
                  <a:pt x="99" y="115"/>
                  <a:pt x="99" y="109"/>
                </a:cubicBezTo>
                <a:cubicBezTo>
                  <a:pt x="99" y="104"/>
                  <a:pt x="98" y="99"/>
                  <a:pt x="96" y="94"/>
                </a:cubicBezTo>
                <a:cubicBezTo>
                  <a:pt x="100" y="93"/>
                  <a:pt x="100" y="93"/>
                  <a:pt x="100" y="93"/>
                </a:cubicBezTo>
                <a:cubicBezTo>
                  <a:pt x="101" y="93"/>
                  <a:pt x="102" y="91"/>
                  <a:pt x="101" y="90"/>
                </a:cubicBezTo>
                <a:cubicBezTo>
                  <a:pt x="101" y="88"/>
                  <a:pt x="99" y="88"/>
                  <a:pt x="98" y="88"/>
                </a:cubicBezTo>
                <a:cubicBezTo>
                  <a:pt x="94" y="89"/>
                  <a:pt x="94" y="89"/>
                  <a:pt x="94" y="89"/>
                </a:cubicBezTo>
                <a:cubicBezTo>
                  <a:pt x="92" y="85"/>
                  <a:pt x="90" y="81"/>
                  <a:pt x="86" y="77"/>
                </a:cubicBezTo>
                <a:cubicBezTo>
                  <a:pt x="87" y="77"/>
                  <a:pt x="87" y="77"/>
                  <a:pt x="87" y="77"/>
                </a:cubicBezTo>
                <a:cubicBezTo>
                  <a:pt x="90" y="74"/>
                  <a:pt x="90" y="74"/>
                  <a:pt x="90" y="74"/>
                </a:cubicBezTo>
                <a:cubicBezTo>
                  <a:pt x="96" y="79"/>
                  <a:pt x="104" y="82"/>
                  <a:pt x="112" y="83"/>
                </a:cubicBezTo>
                <a:cubicBezTo>
                  <a:pt x="112" y="88"/>
                  <a:pt x="112" y="88"/>
                  <a:pt x="112" y="88"/>
                </a:cubicBezTo>
                <a:cubicBezTo>
                  <a:pt x="112" y="89"/>
                  <a:pt x="113" y="91"/>
                  <a:pt x="115" y="91"/>
                </a:cubicBezTo>
                <a:cubicBezTo>
                  <a:pt x="116" y="91"/>
                  <a:pt x="117" y="89"/>
                  <a:pt x="117" y="88"/>
                </a:cubicBezTo>
                <a:cubicBezTo>
                  <a:pt x="117" y="83"/>
                  <a:pt x="117" y="83"/>
                  <a:pt x="117" y="83"/>
                </a:cubicBezTo>
                <a:cubicBezTo>
                  <a:pt x="126" y="82"/>
                  <a:pt x="133" y="79"/>
                  <a:pt x="139" y="74"/>
                </a:cubicBezTo>
                <a:cubicBezTo>
                  <a:pt x="142" y="77"/>
                  <a:pt x="142" y="77"/>
                  <a:pt x="142" y="77"/>
                </a:cubicBezTo>
                <a:cubicBezTo>
                  <a:pt x="143" y="77"/>
                  <a:pt x="143" y="77"/>
                  <a:pt x="144" y="77"/>
                </a:cubicBezTo>
                <a:cubicBezTo>
                  <a:pt x="145" y="77"/>
                  <a:pt x="146" y="77"/>
                  <a:pt x="146" y="77"/>
                </a:cubicBezTo>
                <a:cubicBezTo>
                  <a:pt x="147" y="76"/>
                  <a:pt x="147" y="74"/>
                  <a:pt x="146" y="73"/>
                </a:cubicBezTo>
                <a:cubicBezTo>
                  <a:pt x="143" y="70"/>
                  <a:pt x="143" y="70"/>
                  <a:pt x="143" y="70"/>
                </a:cubicBezTo>
                <a:cubicBezTo>
                  <a:pt x="148" y="64"/>
                  <a:pt x="151" y="56"/>
                  <a:pt x="152" y="48"/>
                </a:cubicBezTo>
                <a:cubicBezTo>
                  <a:pt x="157" y="48"/>
                  <a:pt x="157" y="48"/>
                  <a:pt x="157" y="48"/>
                </a:cubicBezTo>
                <a:cubicBezTo>
                  <a:pt x="159" y="48"/>
                  <a:pt x="160" y="47"/>
                  <a:pt x="160" y="45"/>
                </a:cubicBezTo>
                <a:cubicBezTo>
                  <a:pt x="160" y="44"/>
                  <a:pt x="159" y="43"/>
                  <a:pt x="157" y="43"/>
                </a:cubicBezTo>
                <a:close/>
                <a:moveTo>
                  <a:pt x="51" y="67"/>
                </a:moveTo>
                <a:cubicBezTo>
                  <a:pt x="56" y="67"/>
                  <a:pt x="61" y="68"/>
                  <a:pt x="66" y="69"/>
                </a:cubicBezTo>
                <a:cubicBezTo>
                  <a:pt x="52" y="99"/>
                  <a:pt x="52" y="99"/>
                  <a:pt x="52" y="99"/>
                </a:cubicBezTo>
                <a:cubicBezTo>
                  <a:pt x="52" y="99"/>
                  <a:pt x="51" y="99"/>
                  <a:pt x="51" y="99"/>
                </a:cubicBezTo>
                <a:cubicBezTo>
                  <a:pt x="45" y="99"/>
                  <a:pt x="40" y="103"/>
                  <a:pt x="40" y="109"/>
                </a:cubicBezTo>
                <a:cubicBezTo>
                  <a:pt x="40" y="110"/>
                  <a:pt x="40" y="110"/>
                  <a:pt x="40" y="111"/>
                </a:cubicBezTo>
                <a:cubicBezTo>
                  <a:pt x="10" y="122"/>
                  <a:pt x="10" y="122"/>
                  <a:pt x="10" y="122"/>
                </a:cubicBezTo>
                <a:cubicBezTo>
                  <a:pt x="9" y="118"/>
                  <a:pt x="8" y="114"/>
                  <a:pt x="8" y="109"/>
                </a:cubicBezTo>
                <a:cubicBezTo>
                  <a:pt x="8" y="86"/>
                  <a:pt x="27" y="67"/>
                  <a:pt x="51" y="67"/>
                </a:cubicBezTo>
                <a:close/>
                <a:moveTo>
                  <a:pt x="46" y="111"/>
                </a:moveTo>
                <a:cubicBezTo>
                  <a:pt x="46" y="111"/>
                  <a:pt x="46" y="111"/>
                  <a:pt x="46" y="111"/>
                </a:cubicBezTo>
                <a:cubicBezTo>
                  <a:pt x="46" y="111"/>
                  <a:pt x="46" y="111"/>
                  <a:pt x="46" y="111"/>
                </a:cubicBezTo>
                <a:cubicBezTo>
                  <a:pt x="45" y="111"/>
                  <a:pt x="45" y="110"/>
                  <a:pt x="45" y="109"/>
                </a:cubicBezTo>
                <a:cubicBezTo>
                  <a:pt x="45" y="106"/>
                  <a:pt x="48" y="104"/>
                  <a:pt x="51" y="104"/>
                </a:cubicBezTo>
                <a:cubicBezTo>
                  <a:pt x="51" y="104"/>
                  <a:pt x="52" y="104"/>
                  <a:pt x="53" y="104"/>
                </a:cubicBezTo>
                <a:cubicBezTo>
                  <a:pt x="53" y="104"/>
                  <a:pt x="53" y="104"/>
                  <a:pt x="53" y="104"/>
                </a:cubicBezTo>
                <a:cubicBezTo>
                  <a:pt x="53" y="104"/>
                  <a:pt x="53" y="104"/>
                  <a:pt x="53" y="104"/>
                </a:cubicBezTo>
                <a:cubicBezTo>
                  <a:pt x="55" y="105"/>
                  <a:pt x="56" y="107"/>
                  <a:pt x="56" y="109"/>
                </a:cubicBezTo>
                <a:cubicBezTo>
                  <a:pt x="56" y="112"/>
                  <a:pt x="54" y="115"/>
                  <a:pt x="51" y="115"/>
                </a:cubicBezTo>
                <a:cubicBezTo>
                  <a:pt x="48" y="115"/>
                  <a:pt x="47" y="113"/>
                  <a:pt x="46" y="111"/>
                </a:cubicBezTo>
                <a:close/>
                <a:moveTo>
                  <a:pt x="12" y="127"/>
                </a:moveTo>
                <a:cubicBezTo>
                  <a:pt x="42" y="116"/>
                  <a:pt x="42" y="116"/>
                  <a:pt x="42" y="116"/>
                </a:cubicBezTo>
                <a:cubicBezTo>
                  <a:pt x="44" y="118"/>
                  <a:pt x="47" y="120"/>
                  <a:pt x="51" y="120"/>
                </a:cubicBezTo>
                <a:cubicBezTo>
                  <a:pt x="51" y="120"/>
                  <a:pt x="51" y="120"/>
                  <a:pt x="52" y="120"/>
                </a:cubicBezTo>
                <a:cubicBezTo>
                  <a:pt x="64" y="150"/>
                  <a:pt x="64" y="150"/>
                  <a:pt x="64" y="150"/>
                </a:cubicBezTo>
                <a:cubicBezTo>
                  <a:pt x="60" y="151"/>
                  <a:pt x="55" y="152"/>
                  <a:pt x="51" y="152"/>
                </a:cubicBezTo>
                <a:cubicBezTo>
                  <a:pt x="34" y="152"/>
                  <a:pt x="19" y="142"/>
                  <a:pt x="12" y="127"/>
                </a:cubicBezTo>
                <a:close/>
                <a:moveTo>
                  <a:pt x="69" y="148"/>
                </a:moveTo>
                <a:cubicBezTo>
                  <a:pt x="57" y="118"/>
                  <a:pt x="57" y="118"/>
                  <a:pt x="57" y="118"/>
                </a:cubicBezTo>
                <a:cubicBezTo>
                  <a:pt x="60" y="116"/>
                  <a:pt x="61" y="113"/>
                  <a:pt x="61" y="109"/>
                </a:cubicBezTo>
                <a:cubicBezTo>
                  <a:pt x="61" y="106"/>
                  <a:pt x="60" y="103"/>
                  <a:pt x="57" y="101"/>
                </a:cubicBezTo>
                <a:cubicBezTo>
                  <a:pt x="70" y="72"/>
                  <a:pt x="70" y="72"/>
                  <a:pt x="70" y="72"/>
                </a:cubicBezTo>
                <a:cubicBezTo>
                  <a:pt x="84" y="79"/>
                  <a:pt x="93" y="93"/>
                  <a:pt x="93" y="109"/>
                </a:cubicBezTo>
                <a:cubicBezTo>
                  <a:pt x="93" y="126"/>
                  <a:pt x="83" y="141"/>
                  <a:pt x="69" y="148"/>
                </a:cubicBezTo>
                <a:close/>
                <a:moveTo>
                  <a:pt x="115" y="77"/>
                </a:moveTo>
                <a:cubicBezTo>
                  <a:pt x="97" y="77"/>
                  <a:pt x="83" y="63"/>
                  <a:pt x="83" y="45"/>
                </a:cubicBezTo>
                <a:cubicBezTo>
                  <a:pt x="83" y="28"/>
                  <a:pt x="97" y="13"/>
                  <a:pt x="115" y="13"/>
                </a:cubicBezTo>
                <a:cubicBezTo>
                  <a:pt x="132" y="13"/>
                  <a:pt x="147" y="28"/>
                  <a:pt x="147" y="45"/>
                </a:cubicBezTo>
                <a:cubicBezTo>
                  <a:pt x="147" y="63"/>
                  <a:pt x="132" y="77"/>
                  <a:pt x="115" y="77"/>
                </a:cubicBezTo>
                <a:close/>
                <a:moveTo>
                  <a:pt x="115" y="35"/>
                </a:moveTo>
                <a:cubicBezTo>
                  <a:pt x="109" y="35"/>
                  <a:pt x="104" y="39"/>
                  <a:pt x="104" y="45"/>
                </a:cubicBezTo>
                <a:cubicBezTo>
                  <a:pt x="104" y="51"/>
                  <a:pt x="109" y="56"/>
                  <a:pt x="115" y="56"/>
                </a:cubicBezTo>
                <a:cubicBezTo>
                  <a:pt x="121" y="56"/>
                  <a:pt x="125" y="51"/>
                  <a:pt x="125" y="45"/>
                </a:cubicBezTo>
                <a:cubicBezTo>
                  <a:pt x="125" y="39"/>
                  <a:pt x="121" y="35"/>
                  <a:pt x="115" y="35"/>
                </a:cubicBezTo>
                <a:close/>
                <a:moveTo>
                  <a:pt x="115" y="51"/>
                </a:moveTo>
                <a:cubicBezTo>
                  <a:pt x="112" y="51"/>
                  <a:pt x="109" y="48"/>
                  <a:pt x="109" y="45"/>
                </a:cubicBezTo>
                <a:cubicBezTo>
                  <a:pt x="109" y="42"/>
                  <a:pt x="112" y="40"/>
                  <a:pt x="115" y="40"/>
                </a:cubicBezTo>
                <a:cubicBezTo>
                  <a:pt x="118" y="40"/>
                  <a:pt x="120" y="42"/>
                  <a:pt x="120" y="45"/>
                </a:cubicBezTo>
                <a:cubicBezTo>
                  <a:pt x="120" y="48"/>
                  <a:pt x="118" y="51"/>
                  <a:pt x="115" y="5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57" name="Freeform 1359">
            <a:extLst>
              <a:ext uri="{FF2B5EF4-FFF2-40B4-BE49-F238E27FC236}">
                <a16:creationId xmlns:a16="http://schemas.microsoft.com/office/drawing/2014/main" id="{00DCCDEF-B6E0-5149-83DE-E91172D1968B}"/>
              </a:ext>
            </a:extLst>
          </p:cNvPr>
          <p:cNvSpPr>
            <a:spLocks noEditPoints="1"/>
          </p:cNvSpPr>
          <p:nvPr/>
        </p:nvSpPr>
        <p:spPr bwMode="auto">
          <a:xfrm>
            <a:off x="7176662" y="2841625"/>
            <a:ext cx="546100" cy="550863"/>
          </a:xfrm>
          <a:custGeom>
            <a:avLst/>
            <a:gdLst>
              <a:gd name="T0" fmla="*/ 148 w 160"/>
              <a:gd name="T1" fmla="*/ 68 h 160"/>
              <a:gd name="T2" fmla="*/ 138 w 160"/>
              <a:gd name="T3" fmla="*/ 43 h 160"/>
              <a:gd name="T4" fmla="*/ 144 w 160"/>
              <a:gd name="T5" fmla="*/ 31 h 160"/>
              <a:gd name="T6" fmla="*/ 128 w 160"/>
              <a:gd name="T7" fmla="*/ 18 h 160"/>
              <a:gd name="T8" fmla="*/ 104 w 160"/>
              <a:gd name="T9" fmla="*/ 25 h 160"/>
              <a:gd name="T10" fmla="*/ 93 w 160"/>
              <a:gd name="T11" fmla="*/ 3 h 160"/>
              <a:gd name="T12" fmla="*/ 73 w 160"/>
              <a:gd name="T13" fmla="*/ 0 h 160"/>
              <a:gd name="T14" fmla="*/ 67 w 160"/>
              <a:gd name="T15" fmla="*/ 14 h 160"/>
              <a:gd name="T16" fmla="*/ 43 w 160"/>
              <a:gd name="T17" fmla="*/ 25 h 160"/>
              <a:gd name="T18" fmla="*/ 29 w 160"/>
              <a:gd name="T19" fmla="*/ 18 h 160"/>
              <a:gd name="T20" fmla="*/ 16 w 160"/>
              <a:gd name="T21" fmla="*/ 35 h 160"/>
              <a:gd name="T22" fmla="*/ 24 w 160"/>
              <a:gd name="T23" fmla="*/ 58 h 160"/>
              <a:gd name="T24" fmla="*/ 2 w 160"/>
              <a:gd name="T25" fmla="*/ 70 h 160"/>
              <a:gd name="T26" fmla="*/ 0 w 160"/>
              <a:gd name="T27" fmla="*/ 90 h 160"/>
              <a:gd name="T28" fmla="*/ 12 w 160"/>
              <a:gd name="T29" fmla="*/ 95 h 160"/>
              <a:gd name="T30" fmla="*/ 23 w 160"/>
              <a:gd name="T31" fmla="*/ 120 h 160"/>
              <a:gd name="T32" fmla="*/ 18 w 160"/>
              <a:gd name="T33" fmla="*/ 131 h 160"/>
              <a:gd name="T34" fmla="*/ 35 w 160"/>
              <a:gd name="T35" fmla="*/ 144 h 160"/>
              <a:gd name="T36" fmla="*/ 58 w 160"/>
              <a:gd name="T37" fmla="*/ 136 h 160"/>
              <a:gd name="T38" fmla="*/ 70 w 160"/>
              <a:gd name="T39" fmla="*/ 158 h 160"/>
              <a:gd name="T40" fmla="*/ 90 w 160"/>
              <a:gd name="T41" fmla="*/ 160 h 160"/>
              <a:gd name="T42" fmla="*/ 94 w 160"/>
              <a:gd name="T43" fmla="*/ 151 h 160"/>
              <a:gd name="T44" fmla="*/ 120 w 160"/>
              <a:gd name="T45" fmla="*/ 140 h 160"/>
              <a:gd name="T46" fmla="*/ 129 w 160"/>
              <a:gd name="T47" fmla="*/ 144 h 160"/>
              <a:gd name="T48" fmla="*/ 142 w 160"/>
              <a:gd name="T49" fmla="*/ 128 h 160"/>
              <a:gd name="T50" fmla="*/ 135 w 160"/>
              <a:gd name="T51" fmla="*/ 104 h 160"/>
              <a:gd name="T52" fmla="*/ 157 w 160"/>
              <a:gd name="T53" fmla="*/ 93 h 160"/>
              <a:gd name="T54" fmla="*/ 160 w 160"/>
              <a:gd name="T55" fmla="*/ 73 h 160"/>
              <a:gd name="T56" fmla="*/ 154 w 160"/>
              <a:gd name="T57" fmla="*/ 88 h 160"/>
              <a:gd name="T58" fmla="*/ 130 w 160"/>
              <a:gd name="T59" fmla="*/ 102 h 160"/>
              <a:gd name="T60" fmla="*/ 136 w 160"/>
              <a:gd name="T61" fmla="*/ 129 h 160"/>
              <a:gd name="T62" fmla="*/ 123 w 160"/>
              <a:gd name="T63" fmla="*/ 135 h 160"/>
              <a:gd name="T64" fmla="*/ 88 w 160"/>
              <a:gd name="T65" fmla="*/ 150 h 160"/>
              <a:gd name="T66" fmla="*/ 75 w 160"/>
              <a:gd name="T67" fmla="*/ 154 h 160"/>
              <a:gd name="T68" fmla="*/ 60 w 160"/>
              <a:gd name="T69" fmla="*/ 131 h 160"/>
              <a:gd name="T70" fmla="*/ 33 w 160"/>
              <a:gd name="T71" fmla="*/ 138 h 160"/>
              <a:gd name="T72" fmla="*/ 28 w 160"/>
              <a:gd name="T73" fmla="*/ 123 h 160"/>
              <a:gd name="T74" fmla="*/ 13 w 160"/>
              <a:gd name="T75" fmla="*/ 89 h 160"/>
              <a:gd name="T76" fmla="*/ 6 w 160"/>
              <a:gd name="T77" fmla="*/ 75 h 160"/>
              <a:gd name="T78" fmla="*/ 29 w 160"/>
              <a:gd name="T79" fmla="*/ 60 h 160"/>
              <a:gd name="T80" fmla="*/ 22 w 160"/>
              <a:gd name="T81" fmla="*/ 33 h 160"/>
              <a:gd name="T82" fmla="*/ 39 w 160"/>
              <a:gd name="T83" fmla="*/ 30 h 160"/>
              <a:gd name="T84" fmla="*/ 73 w 160"/>
              <a:gd name="T85" fmla="*/ 15 h 160"/>
              <a:gd name="T86" fmla="*/ 88 w 160"/>
              <a:gd name="T87" fmla="*/ 6 h 160"/>
              <a:gd name="T88" fmla="*/ 102 w 160"/>
              <a:gd name="T89" fmla="*/ 30 h 160"/>
              <a:gd name="T90" fmla="*/ 129 w 160"/>
              <a:gd name="T91" fmla="*/ 24 h 160"/>
              <a:gd name="T92" fmla="*/ 134 w 160"/>
              <a:gd name="T93" fmla="*/ 39 h 160"/>
              <a:gd name="T94" fmla="*/ 147 w 160"/>
              <a:gd name="T95" fmla="*/ 74 h 160"/>
              <a:gd name="T96" fmla="*/ 154 w 160"/>
              <a:gd name="T97" fmla="*/ 88 h 160"/>
              <a:gd name="T98" fmla="*/ 50 w 160"/>
              <a:gd name="T99" fmla="*/ 81 h 160"/>
              <a:gd name="T100" fmla="*/ 113 w 160"/>
              <a:gd name="T101" fmla="*/ 81 h 160"/>
              <a:gd name="T102" fmla="*/ 81 w 160"/>
              <a:gd name="T103" fmla="*/ 107 h 160"/>
              <a:gd name="T104" fmla="*/ 81 w 160"/>
              <a:gd name="T105" fmla="*/ 56 h 160"/>
              <a:gd name="T106" fmla="*/ 81 w 160"/>
              <a:gd name="T107" fmla="*/ 107 h 160"/>
              <a:gd name="T108" fmla="*/ 65 w 160"/>
              <a:gd name="T109" fmla="*/ 81 h 160"/>
              <a:gd name="T110" fmla="*/ 98 w 160"/>
              <a:gd name="T111" fmla="*/ 81 h 160"/>
              <a:gd name="T112" fmla="*/ 81 w 160"/>
              <a:gd name="T113" fmla="*/ 92 h 160"/>
              <a:gd name="T114" fmla="*/ 81 w 160"/>
              <a:gd name="T115" fmla="*/ 71 h 160"/>
              <a:gd name="T116" fmla="*/ 81 w 160"/>
              <a:gd name="T117" fmla="*/ 9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60">
                <a:moveTo>
                  <a:pt x="158" y="70"/>
                </a:moveTo>
                <a:cubicBezTo>
                  <a:pt x="148" y="68"/>
                  <a:pt x="148" y="68"/>
                  <a:pt x="148" y="68"/>
                </a:cubicBezTo>
                <a:cubicBezTo>
                  <a:pt x="143" y="67"/>
                  <a:pt x="138" y="63"/>
                  <a:pt x="136" y="58"/>
                </a:cubicBezTo>
                <a:cubicBezTo>
                  <a:pt x="134" y="53"/>
                  <a:pt x="135" y="47"/>
                  <a:pt x="138" y="43"/>
                </a:cubicBezTo>
                <a:cubicBezTo>
                  <a:pt x="144" y="35"/>
                  <a:pt x="144" y="35"/>
                  <a:pt x="144" y="35"/>
                </a:cubicBezTo>
                <a:cubicBezTo>
                  <a:pt x="145" y="33"/>
                  <a:pt x="145" y="32"/>
                  <a:pt x="144" y="31"/>
                </a:cubicBezTo>
                <a:cubicBezTo>
                  <a:pt x="131" y="18"/>
                  <a:pt x="131" y="18"/>
                  <a:pt x="131" y="18"/>
                </a:cubicBezTo>
                <a:cubicBezTo>
                  <a:pt x="130" y="17"/>
                  <a:pt x="129" y="17"/>
                  <a:pt x="128" y="18"/>
                </a:cubicBezTo>
                <a:cubicBezTo>
                  <a:pt x="120" y="23"/>
                  <a:pt x="120" y="23"/>
                  <a:pt x="120" y="23"/>
                </a:cubicBezTo>
                <a:cubicBezTo>
                  <a:pt x="115" y="26"/>
                  <a:pt x="109" y="27"/>
                  <a:pt x="104" y="25"/>
                </a:cubicBezTo>
                <a:cubicBezTo>
                  <a:pt x="99" y="22"/>
                  <a:pt x="96" y="18"/>
                  <a:pt x="95" y="12"/>
                </a:cubicBezTo>
                <a:cubicBezTo>
                  <a:pt x="93" y="3"/>
                  <a:pt x="93" y="3"/>
                  <a:pt x="93" y="3"/>
                </a:cubicBezTo>
                <a:cubicBezTo>
                  <a:pt x="93" y="1"/>
                  <a:pt x="92" y="0"/>
                  <a:pt x="90" y="0"/>
                </a:cubicBezTo>
                <a:cubicBezTo>
                  <a:pt x="73" y="0"/>
                  <a:pt x="73" y="0"/>
                  <a:pt x="73" y="0"/>
                </a:cubicBezTo>
                <a:cubicBezTo>
                  <a:pt x="71" y="0"/>
                  <a:pt x="70" y="1"/>
                  <a:pt x="70" y="2"/>
                </a:cubicBezTo>
                <a:cubicBezTo>
                  <a:pt x="67" y="14"/>
                  <a:pt x="67" y="14"/>
                  <a:pt x="67" y="14"/>
                </a:cubicBezTo>
                <a:cubicBezTo>
                  <a:pt x="66" y="20"/>
                  <a:pt x="63" y="24"/>
                  <a:pt x="58" y="26"/>
                </a:cubicBezTo>
                <a:cubicBezTo>
                  <a:pt x="53" y="28"/>
                  <a:pt x="47" y="28"/>
                  <a:pt x="43" y="25"/>
                </a:cubicBezTo>
                <a:cubicBezTo>
                  <a:pt x="32" y="18"/>
                  <a:pt x="32" y="18"/>
                  <a:pt x="32" y="18"/>
                </a:cubicBezTo>
                <a:cubicBezTo>
                  <a:pt x="31" y="17"/>
                  <a:pt x="30" y="17"/>
                  <a:pt x="29" y="18"/>
                </a:cubicBezTo>
                <a:cubicBezTo>
                  <a:pt x="16" y="31"/>
                  <a:pt x="16" y="31"/>
                  <a:pt x="16" y="31"/>
                </a:cubicBezTo>
                <a:cubicBezTo>
                  <a:pt x="15" y="32"/>
                  <a:pt x="15" y="33"/>
                  <a:pt x="16" y="35"/>
                </a:cubicBezTo>
                <a:cubicBezTo>
                  <a:pt x="22" y="43"/>
                  <a:pt x="22" y="43"/>
                  <a:pt x="22" y="43"/>
                </a:cubicBezTo>
                <a:cubicBezTo>
                  <a:pt x="25" y="47"/>
                  <a:pt x="26" y="53"/>
                  <a:pt x="24" y="58"/>
                </a:cubicBezTo>
                <a:cubicBezTo>
                  <a:pt x="22" y="63"/>
                  <a:pt x="17" y="67"/>
                  <a:pt x="12" y="68"/>
                </a:cubicBezTo>
                <a:cubicBezTo>
                  <a:pt x="2" y="70"/>
                  <a:pt x="2" y="70"/>
                  <a:pt x="2" y="70"/>
                </a:cubicBezTo>
                <a:cubicBezTo>
                  <a:pt x="1" y="70"/>
                  <a:pt x="0" y="71"/>
                  <a:pt x="0" y="73"/>
                </a:cubicBezTo>
                <a:cubicBezTo>
                  <a:pt x="0" y="90"/>
                  <a:pt x="0" y="90"/>
                  <a:pt x="0" y="90"/>
                </a:cubicBezTo>
                <a:cubicBezTo>
                  <a:pt x="0" y="92"/>
                  <a:pt x="1" y="93"/>
                  <a:pt x="3" y="93"/>
                </a:cubicBezTo>
                <a:cubicBezTo>
                  <a:pt x="12" y="95"/>
                  <a:pt x="12" y="95"/>
                  <a:pt x="12" y="95"/>
                </a:cubicBezTo>
                <a:cubicBezTo>
                  <a:pt x="18" y="96"/>
                  <a:pt x="22" y="99"/>
                  <a:pt x="25" y="104"/>
                </a:cubicBezTo>
                <a:cubicBezTo>
                  <a:pt x="27" y="109"/>
                  <a:pt x="26" y="115"/>
                  <a:pt x="23" y="120"/>
                </a:cubicBezTo>
                <a:cubicBezTo>
                  <a:pt x="18" y="128"/>
                  <a:pt x="18" y="128"/>
                  <a:pt x="18" y="128"/>
                </a:cubicBezTo>
                <a:cubicBezTo>
                  <a:pt x="17" y="129"/>
                  <a:pt x="17" y="130"/>
                  <a:pt x="18" y="131"/>
                </a:cubicBezTo>
                <a:cubicBezTo>
                  <a:pt x="31" y="144"/>
                  <a:pt x="31" y="144"/>
                  <a:pt x="31" y="144"/>
                </a:cubicBezTo>
                <a:cubicBezTo>
                  <a:pt x="32" y="145"/>
                  <a:pt x="33" y="145"/>
                  <a:pt x="35" y="144"/>
                </a:cubicBezTo>
                <a:cubicBezTo>
                  <a:pt x="43" y="138"/>
                  <a:pt x="43" y="138"/>
                  <a:pt x="43" y="138"/>
                </a:cubicBezTo>
                <a:cubicBezTo>
                  <a:pt x="47" y="135"/>
                  <a:pt x="53" y="134"/>
                  <a:pt x="58" y="136"/>
                </a:cubicBezTo>
                <a:cubicBezTo>
                  <a:pt x="63" y="138"/>
                  <a:pt x="67" y="143"/>
                  <a:pt x="68" y="148"/>
                </a:cubicBezTo>
                <a:cubicBezTo>
                  <a:pt x="70" y="158"/>
                  <a:pt x="70" y="158"/>
                  <a:pt x="70" y="158"/>
                </a:cubicBezTo>
                <a:cubicBezTo>
                  <a:pt x="70" y="159"/>
                  <a:pt x="71" y="160"/>
                  <a:pt x="73" y="160"/>
                </a:cubicBezTo>
                <a:cubicBezTo>
                  <a:pt x="90" y="160"/>
                  <a:pt x="90" y="160"/>
                  <a:pt x="90" y="160"/>
                </a:cubicBezTo>
                <a:cubicBezTo>
                  <a:pt x="92" y="160"/>
                  <a:pt x="93" y="159"/>
                  <a:pt x="93" y="157"/>
                </a:cubicBezTo>
                <a:cubicBezTo>
                  <a:pt x="94" y="151"/>
                  <a:pt x="94" y="151"/>
                  <a:pt x="94" y="151"/>
                </a:cubicBezTo>
                <a:cubicBezTo>
                  <a:pt x="95" y="145"/>
                  <a:pt x="99" y="140"/>
                  <a:pt x="104" y="138"/>
                </a:cubicBezTo>
                <a:cubicBezTo>
                  <a:pt x="109" y="136"/>
                  <a:pt x="115" y="137"/>
                  <a:pt x="120" y="140"/>
                </a:cubicBezTo>
                <a:cubicBezTo>
                  <a:pt x="125" y="144"/>
                  <a:pt x="125" y="144"/>
                  <a:pt x="125" y="144"/>
                </a:cubicBezTo>
                <a:cubicBezTo>
                  <a:pt x="127" y="145"/>
                  <a:pt x="128" y="145"/>
                  <a:pt x="129" y="144"/>
                </a:cubicBezTo>
                <a:cubicBezTo>
                  <a:pt x="142" y="131"/>
                  <a:pt x="142" y="131"/>
                  <a:pt x="142" y="131"/>
                </a:cubicBezTo>
                <a:cubicBezTo>
                  <a:pt x="143" y="130"/>
                  <a:pt x="143" y="129"/>
                  <a:pt x="142" y="128"/>
                </a:cubicBezTo>
                <a:cubicBezTo>
                  <a:pt x="137" y="120"/>
                  <a:pt x="137" y="120"/>
                  <a:pt x="137" y="120"/>
                </a:cubicBezTo>
                <a:cubicBezTo>
                  <a:pt x="134" y="115"/>
                  <a:pt x="133" y="109"/>
                  <a:pt x="135" y="104"/>
                </a:cubicBezTo>
                <a:cubicBezTo>
                  <a:pt x="138" y="99"/>
                  <a:pt x="142" y="96"/>
                  <a:pt x="148" y="95"/>
                </a:cubicBezTo>
                <a:cubicBezTo>
                  <a:pt x="157" y="93"/>
                  <a:pt x="157" y="93"/>
                  <a:pt x="157" y="93"/>
                </a:cubicBezTo>
                <a:cubicBezTo>
                  <a:pt x="159" y="93"/>
                  <a:pt x="160" y="92"/>
                  <a:pt x="160" y="90"/>
                </a:cubicBezTo>
                <a:cubicBezTo>
                  <a:pt x="160" y="73"/>
                  <a:pt x="160" y="73"/>
                  <a:pt x="160" y="73"/>
                </a:cubicBezTo>
                <a:cubicBezTo>
                  <a:pt x="160" y="71"/>
                  <a:pt x="159" y="70"/>
                  <a:pt x="158" y="70"/>
                </a:cubicBezTo>
                <a:close/>
                <a:moveTo>
                  <a:pt x="154" y="88"/>
                </a:moveTo>
                <a:cubicBezTo>
                  <a:pt x="147" y="89"/>
                  <a:pt x="147" y="89"/>
                  <a:pt x="147" y="89"/>
                </a:cubicBezTo>
                <a:cubicBezTo>
                  <a:pt x="139" y="90"/>
                  <a:pt x="133" y="95"/>
                  <a:pt x="130" y="102"/>
                </a:cubicBezTo>
                <a:cubicBezTo>
                  <a:pt x="127" y="109"/>
                  <a:pt x="128" y="117"/>
                  <a:pt x="132" y="123"/>
                </a:cubicBezTo>
                <a:cubicBezTo>
                  <a:pt x="136" y="129"/>
                  <a:pt x="136" y="129"/>
                  <a:pt x="136" y="129"/>
                </a:cubicBezTo>
                <a:cubicBezTo>
                  <a:pt x="127" y="138"/>
                  <a:pt x="127" y="138"/>
                  <a:pt x="127" y="138"/>
                </a:cubicBezTo>
                <a:cubicBezTo>
                  <a:pt x="123" y="135"/>
                  <a:pt x="123" y="135"/>
                  <a:pt x="123" y="135"/>
                </a:cubicBezTo>
                <a:cubicBezTo>
                  <a:pt x="117" y="131"/>
                  <a:pt x="109" y="130"/>
                  <a:pt x="102" y="133"/>
                </a:cubicBezTo>
                <a:cubicBezTo>
                  <a:pt x="95" y="136"/>
                  <a:pt x="90" y="142"/>
                  <a:pt x="88" y="150"/>
                </a:cubicBezTo>
                <a:cubicBezTo>
                  <a:pt x="88" y="154"/>
                  <a:pt x="88" y="154"/>
                  <a:pt x="88" y="154"/>
                </a:cubicBezTo>
                <a:cubicBezTo>
                  <a:pt x="75" y="154"/>
                  <a:pt x="75" y="154"/>
                  <a:pt x="75" y="154"/>
                </a:cubicBezTo>
                <a:cubicBezTo>
                  <a:pt x="74" y="147"/>
                  <a:pt x="74" y="147"/>
                  <a:pt x="74" y="147"/>
                </a:cubicBezTo>
                <a:cubicBezTo>
                  <a:pt x="72" y="140"/>
                  <a:pt x="67" y="134"/>
                  <a:pt x="60" y="131"/>
                </a:cubicBezTo>
                <a:cubicBezTo>
                  <a:pt x="53" y="128"/>
                  <a:pt x="45" y="129"/>
                  <a:pt x="39" y="134"/>
                </a:cubicBezTo>
                <a:cubicBezTo>
                  <a:pt x="33" y="138"/>
                  <a:pt x="33" y="138"/>
                  <a:pt x="33" y="138"/>
                </a:cubicBezTo>
                <a:cubicBezTo>
                  <a:pt x="24" y="129"/>
                  <a:pt x="24" y="129"/>
                  <a:pt x="24" y="129"/>
                </a:cubicBezTo>
                <a:cubicBezTo>
                  <a:pt x="28" y="123"/>
                  <a:pt x="28" y="123"/>
                  <a:pt x="28" y="123"/>
                </a:cubicBezTo>
                <a:cubicBezTo>
                  <a:pt x="32" y="117"/>
                  <a:pt x="33" y="109"/>
                  <a:pt x="30" y="102"/>
                </a:cubicBezTo>
                <a:cubicBezTo>
                  <a:pt x="27" y="95"/>
                  <a:pt x="21" y="90"/>
                  <a:pt x="13" y="89"/>
                </a:cubicBezTo>
                <a:cubicBezTo>
                  <a:pt x="6" y="88"/>
                  <a:pt x="6" y="88"/>
                  <a:pt x="6" y="88"/>
                </a:cubicBezTo>
                <a:cubicBezTo>
                  <a:pt x="6" y="75"/>
                  <a:pt x="6" y="75"/>
                  <a:pt x="6" y="75"/>
                </a:cubicBezTo>
                <a:cubicBezTo>
                  <a:pt x="13" y="74"/>
                  <a:pt x="13" y="74"/>
                  <a:pt x="13" y="74"/>
                </a:cubicBezTo>
                <a:cubicBezTo>
                  <a:pt x="20" y="72"/>
                  <a:pt x="26" y="67"/>
                  <a:pt x="29" y="60"/>
                </a:cubicBezTo>
                <a:cubicBezTo>
                  <a:pt x="32" y="53"/>
                  <a:pt x="31" y="45"/>
                  <a:pt x="26" y="39"/>
                </a:cubicBezTo>
                <a:cubicBezTo>
                  <a:pt x="22" y="33"/>
                  <a:pt x="22" y="33"/>
                  <a:pt x="22" y="33"/>
                </a:cubicBezTo>
                <a:cubicBezTo>
                  <a:pt x="31" y="24"/>
                  <a:pt x="31" y="24"/>
                  <a:pt x="31" y="24"/>
                </a:cubicBezTo>
                <a:cubicBezTo>
                  <a:pt x="39" y="30"/>
                  <a:pt x="39" y="30"/>
                  <a:pt x="39" y="30"/>
                </a:cubicBezTo>
                <a:cubicBezTo>
                  <a:pt x="45" y="34"/>
                  <a:pt x="53" y="35"/>
                  <a:pt x="60" y="32"/>
                </a:cubicBezTo>
                <a:cubicBezTo>
                  <a:pt x="67" y="29"/>
                  <a:pt x="72" y="23"/>
                  <a:pt x="73" y="15"/>
                </a:cubicBezTo>
                <a:cubicBezTo>
                  <a:pt x="75" y="6"/>
                  <a:pt x="75" y="6"/>
                  <a:pt x="75" y="6"/>
                </a:cubicBezTo>
                <a:cubicBezTo>
                  <a:pt x="88" y="6"/>
                  <a:pt x="88" y="6"/>
                  <a:pt x="88" y="6"/>
                </a:cubicBezTo>
                <a:cubicBezTo>
                  <a:pt x="89" y="13"/>
                  <a:pt x="89" y="13"/>
                  <a:pt x="89" y="13"/>
                </a:cubicBezTo>
                <a:cubicBezTo>
                  <a:pt x="90" y="21"/>
                  <a:pt x="95" y="27"/>
                  <a:pt x="102" y="30"/>
                </a:cubicBezTo>
                <a:cubicBezTo>
                  <a:pt x="109" y="33"/>
                  <a:pt x="117" y="32"/>
                  <a:pt x="123" y="28"/>
                </a:cubicBezTo>
                <a:cubicBezTo>
                  <a:pt x="129" y="24"/>
                  <a:pt x="129" y="24"/>
                  <a:pt x="129" y="24"/>
                </a:cubicBezTo>
                <a:cubicBezTo>
                  <a:pt x="138" y="33"/>
                  <a:pt x="138" y="33"/>
                  <a:pt x="138" y="33"/>
                </a:cubicBezTo>
                <a:cubicBezTo>
                  <a:pt x="134" y="39"/>
                  <a:pt x="134" y="39"/>
                  <a:pt x="134" y="39"/>
                </a:cubicBezTo>
                <a:cubicBezTo>
                  <a:pt x="129" y="45"/>
                  <a:pt x="128" y="53"/>
                  <a:pt x="131" y="60"/>
                </a:cubicBezTo>
                <a:cubicBezTo>
                  <a:pt x="134" y="67"/>
                  <a:pt x="140" y="72"/>
                  <a:pt x="147" y="74"/>
                </a:cubicBezTo>
                <a:cubicBezTo>
                  <a:pt x="154" y="75"/>
                  <a:pt x="154" y="75"/>
                  <a:pt x="154" y="75"/>
                </a:cubicBezTo>
                <a:lnTo>
                  <a:pt x="154" y="88"/>
                </a:lnTo>
                <a:close/>
                <a:moveTo>
                  <a:pt x="81" y="50"/>
                </a:moveTo>
                <a:cubicBezTo>
                  <a:pt x="64" y="50"/>
                  <a:pt x="50" y="64"/>
                  <a:pt x="50" y="81"/>
                </a:cubicBezTo>
                <a:cubicBezTo>
                  <a:pt x="50" y="99"/>
                  <a:pt x="64" y="113"/>
                  <a:pt x="81" y="113"/>
                </a:cubicBezTo>
                <a:cubicBezTo>
                  <a:pt x="99" y="113"/>
                  <a:pt x="113" y="99"/>
                  <a:pt x="113" y="81"/>
                </a:cubicBezTo>
                <a:cubicBezTo>
                  <a:pt x="113" y="64"/>
                  <a:pt x="99" y="50"/>
                  <a:pt x="81" y="50"/>
                </a:cubicBezTo>
                <a:close/>
                <a:moveTo>
                  <a:pt x="81" y="107"/>
                </a:moveTo>
                <a:cubicBezTo>
                  <a:pt x="68" y="107"/>
                  <a:pt x="56" y="95"/>
                  <a:pt x="56" y="81"/>
                </a:cubicBezTo>
                <a:cubicBezTo>
                  <a:pt x="56" y="68"/>
                  <a:pt x="68" y="56"/>
                  <a:pt x="81" y="56"/>
                </a:cubicBezTo>
                <a:cubicBezTo>
                  <a:pt x="95" y="56"/>
                  <a:pt x="107" y="68"/>
                  <a:pt x="107" y="81"/>
                </a:cubicBezTo>
                <a:cubicBezTo>
                  <a:pt x="107" y="95"/>
                  <a:pt x="95" y="107"/>
                  <a:pt x="81" y="107"/>
                </a:cubicBezTo>
                <a:close/>
                <a:moveTo>
                  <a:pt x="81" y="65"/>
                </a:moveTo>
                <a:cubicBezTo>
                  <a:pt x="72" y="65"/>
                  <a:pt x="65" y="72"/>
                  <a:pt x="65" y="81"/>
                </a:cubicBezTo>
                <a:cubicBezTo>
                  <a:pt x="65" y="90"/>
                  <a:pt x="72" y="98"/>
                  <a:pt x="81" y="98"/>
                </a:cubicBezTo>
                <a:cubicBezTo>
                  <a:pt x="90" y="98"/>
                  <a:pt x="98" y="90"/>
                  <a:pt x="98" y="81"/>
                </a:cubicBezTo>
                <a:cubicBezTo>
                  <a:pt x="98" y="72"/>
                  <a:pt x="90" y="65"/>
                  <a:pt x="81" y="65"/>
                </a:cubicBezTo>
                <a:close/>
                <a:moveTo>
                  <a:pt x="81" y="92"/>
                </a:moveTo>
                <a:cubicBezTo>
                  <a:pt x="76" y="92"/>
                  <a:pt x="71" y="87"/>
                  <a:pt x="71" y="81"/>
                </a:cubicBezTo>
                <a:cubicBezTo>
                  <a:pt x="71" y="76"/>
                  <a:pt x="76" y="71"/>
                  <a:pt x="81" y="71"/>
                </a:cubicBezTo>
                <a:cubicBezTo>
                  <a:pt x="87" y="71"/>
                  <a:pt x="92" y="76"/>
                  <a:pt x="92" y="81"/>
                </a:cubicBezTo>
                <a:cubicBezTo>
                  <a:pt x="92" y="87"/>
                  <a:pt x="87" y="92"/>
                  <a:pt x="81" y="9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58" name="Freeform 1360">
            <a:extLst>
              <a:ext uri="{FF2B5EF4-FFF2-40B4-BE49-F238E27FC236}">
                <a16:creationId xmlns:a16="http://schemas.microsoft.com/office/drawing/2014/main" id="{B5B07ECC-97CD-0E4C-A1EF-C72ABF494A5F}"/>
              </a:ext>
            </a:extLst>
          </p:cNvPr>
          <p:cNvSpPr>
            <a:spLocks noEditPoints="1"/>
          </p:cNvSpPr>
          <p:nvPr/>
        </p:nvSpPr>
        <p:spPr bwMode="auto">
          <a:xfrm>
            <a:off x="7176662" y="3462338"/>
            <a:ext cx="546100" cy="549275"/>
          </a:xfrm>
          <a:custGeom>
            <a:avLst/>
            <a:gdLst>
              <a:gd name="T0" fmla="*/ 131 w 160"/>
              <a:gd name="T1" fmla="*/ 59 h 160"/>
              <a:gd name="T2" fmla="*/ 146 w 160"/>
              <a:gd name="T3" fmla="*/ 36 h 160"/>
              <a:gd name="T4" fmla="*/ 118 w 160"/>
              <a:gd name="T5" fmla="*/ 17 h 160"/>
              <a:gd name="T6" fmla="*/ 98 w 160"/>
              <a:gd name="T7" fmla="*/ 23 h 160"/>
              <a:gd name="T8" fmla="*/ 70 w 160"/>
              <a:gd name="T9" fmla="*/ 0 h 160"/>
              <a:gd name="T10" fmla="*/ 59 w 160"/>
              <a:gd name="T11" fmla="*/ 29 h 160"/>
              <a:gd name="T12" fmla="*/ 30 w 160"/>
              <a:gd name="T13" fmla="*/ 17 h 160"/>
              <a:gd name="T14" fmla="*/ 17 w 160"/>
              <a:gd name="T15" fmla="*/ 42 h 160"/>
              <a:gd name="T16" fmla="*/ 23 w 160"/>
              <a:gd name="T17" fmla="*/ 62 h 160"/>
              <a:gd name="T18" fmla="*/ 0 w 160"/>
              <a:gd name="T19" fmla="*/ 90 h 160"/>
              <a:gd name="T20" fmla="*/ 29 w 160"/>
              <a:gd name="T21" fmla="*/ 101 h 160"/>
              <a:gd name="T22" fmla="*/ 14 w 160"/>
              <a:gd name="T23" fmla="*/ 124 h 160"/>
              <a:gd name="T24" fmla="*/ 42 w 160"/>
              <a:gd name="T25" fmla="*/ 143 h 160"/>
              <a:gd name="T26" fmla="*/ 62 w 160"/>
              <a:gd name="T27" fmla="*/ 137 h 160"/>
              <a:gd name="T28" fmla="*/ 90 w 160"/>
              <a:gd name="T29" fmla="*/ 160 h 160"/>
              <a:gd name="T30" fmla="*/ 101 w 160"/>
              <a:gd name="T31" fmla="*/ 131 h 160"/>
              <a:gd name="T32" fmla="*/ 130 w 160"/>
              <a:gd name="T33" fmla="*/ 143 h 160"/>
              <a:gd name="T34" fmla="*/ 143 w 160"/>
              <a:gd name="T35" fmla="*/ 118 h 160"/>
              <a:gd name="T36" fmla="*/ 137 w 160"/>
              <a:gd name="T37" fmla="*/ 98 h 160"/>
              <a:gd name="T38" fmla="*/ 160 w 160"/>
              <a:gd name="T39" fmla="*/ 70 h 160"/>
              <a:gd name="T40" fmla="*/ 152 w 160"/>
              <a:gd name="T41" fmla="*/ 92 h 160"/>
              <a:gd name="T42" fmla="*/ 129 w 160"/>
              <a:gd name="T43" fmla="*/ 112 h 160"/>
              <a:gd name="T44" fmla="*/ 126 w 160"/>
              <a:gd name="T45" fmla="*/ 139 h 160"/>
              <a:gd name="T46" fmla="*/ 99 w 160"/>
              <a:gd name="T47" fmla="*/ 126 h 160"/>
              <a:gd name="T48" fmla="*/ 90 w 160"/>
              <a:gd name="T49" fmla="*/ 154 h 160"/>
              <a:gd name="T50" fmla="*/ 68 w 160"/>
              <a:gd name="T51" fmla="*/ 137 h 160"/>
              <a:gd name="T52" fmla="*/ 48 w 160"/>
              <a:gd name="T53" fmla="*/ 129 h 160"/>
              <a:gd name="T54" fmla="*/ 21 w 160"/>
              <a:gd name="T55" fmla="*/ 126 h 160"/>
              <a:gd name="T56" fmla="*/ 34 w 160"/>
              <a:gd name="T57" fmla="*/ 99 h 160"/>
              <a:gd name="T58" fmla="*/ 6 w 160"/>
              <a:gd name="T59" fmla="*/ 90 h 160"/>
              <a:gd name="T60" fmla="*/ 23 w 160"/>
              <a:gd name="T61" fmla="*/ 68 h 160"/>
              <a:gd name="T62" fmla="*/ 21 w 160"/>
              <a:gd name="T63" fmla="*/ 38 h 160"/>
              <a:gd name="T64" fmla="*/ 38 w 160"/>
              <a:gd name="T65" fmla="*/ 21 h 160"/>
              <a:gd name="T66" fmla="*/ 68 w 160"/>
              <a:gd name="T67" fmla="*/ 23 h 160"/>
              <a:gd name="T68" fmla="*/ 90 w 160"/>
              <a:gd name="T69" fmla="*/ 6 h 160"/>
              <a:gd name="T70" fmla="*/ 99 w 160"/>
              <a:gd name="T71" fmla="*/ 34 h 160"/>
              <a:gd name="T72" fmla="*/ 126 w 160"/>
              <a:gd name="T73" fmla="*/ 21 h 160"/>
              <a:gd name="T74" fmla="*/ 129 w 160"/>
              <a:gd name="T75" fmla="*/ 48 h 160"/>
              <a:gd name="T76" fmla="*/ 152 w 160"/>
              <a:gd name="T77" fmla="*/ 68 h 160"/>
              <a:gd name="T78" fmla="*/ 80 w 160"/>
              <a:gd name="T79" fmla="*/ 53 h 160"/>
              <a:gd name="T80" fmla="*/ 107 w 160"/>
              <a:gd name="T81" fmla="*/ 80 h 160"/>
              <a:gd name="T82" fmla="*/ 59 w 160"/>
              <a:gd name="T83" fmla="*/ 80 h 160"/>
              <a:gd name="T84" fmla="*/ 80 w 160"/>
              <a:gd name="T85" fmla="*/ 10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60">
                <a:moveTo>
                  <a:pt x="152" y="62"/>
                </a:moveTo>
                <a:cubicBezTo>
                  <a:pt x="137" y="62"/>
                  <a:pt x="137" y="62"/>
                  <a:pt x="137" y="62"/>
                </a:cubicBezTo>
                <a:cubicBezTo>
                  <a:pt x="134" y="62"/>
                  <a:pt x="132" y="61"/>
                  <a:pt x="131" y="59"/>
                </a:cubicBezTo>
                <a:cubicBezTo>
                  <a:pt x="131" y="56"/>
                  <a:pt x="131" y="54"/>
                  <a:pt x="133" y="52"/>
                </a:cubicBezTo>
                <a:cubicBezTo>
                  <a:pt x="143" y="42"/>
                  <a:pt x="143" y="42"/>
                  <a:pt x="143" y="42"/>
                </a:cubicBezTo>
                <a:cubicBezTo>
                  <a:pt x="145" y="40"/>
                  <a:pt x="146" y="38"/>
                  <a:pt x="146" y="36"/>
                </a:cubicBezTo>
                <a:cubicBezTo>
                  <a:pt x="146" y="34"/>
                  <a:pt x="145" y="32"/>
                  <a:pt x="143" y="30"/>
                </a:cubicBezTo>
                <a:cubicBezTo>
                  <a:pt x="130" y="17"/>
                  <a:pt x="130" y="17"/>
                  <a:pt x="130" y="17"/>
                </a:cubicBezTo>
                <a:cubicBezTo>
                  <a:pt x="127" y="14"/>
                  <a:pt x="121" y="14"/>
                  <a:pt x="118" y="17"/>
                </a:cubicBezTo>
                <a:cubicBezTo>
                  <a:pt x="108" y="27"/>
                  <a:pt x="108" y="27"/>
                  <a:pt x="108" y="27"/>
                </a:cubicBezTo>
                <a:cubicBezTo>
                  <a:pt x="106" y="29"/>
                  <a:pt x="104" y="29"/>
                  <a:pt x="101" y="29"/>
                </a:cubicBezTo>
                <a:cubicBezTo>
                  <a:pt x="99" y="28"/>
                  <a:pt x="98" y="26"/>
                  <a:pt x="98" y="23"/>
                </a:cubicBezTo>
                <a:cubicBezTo>
                  <a:pt x="98" y="8"/>
                  <a:pt x="98" y="8"/>
                  <a:pt x="98" y="8"/>
                </a:cubicBezTo>
                <a:cubicBezTo>
                  <a:pt x="98" y="4"/>
                  <a:pt x="94" y="0"/>
                  <a:pt x="90" y="0"/>
                </a:cubicBezTo>
                <a:cubicBezTo>
                  <a:pt x="70" y="0"/>
                  <a:pt x="70" y="0"/>
                  <a:pt x="70" y="0"/>
                </a:cubicBezTo>
                <a:cubicBezTo>
                  <a:pt x="66" y="0"/>
                  <a:pt x="62" y="4"/>
                  <a:pt x="62" y="8"/>
                </a:cubicBezTo>
                <a:cubicBezTo>
                  <a:pt x="62" y="23"/>
                  <a:pt x="62" y="23"/>
                  <a:pt x="62" y="23"/>
                </a:cubicBezTo>
                <a:cubicBezTo>
                  <a:pt x="62" y="26"/>
                  <a:pt x="61" y="28"/>
                  <a:pt x="59" y="29"/>
                </a:cubicBezTo>
                <a:cubicBezTo>
                  <a:pt x="56" y="29"/>
                  <a:pt x="54" y="29"/>
                  <a:pt x="52" y="27"/>
                </a:cubicBezTo>
                <a:cubicBezTo>
                  <a:pt x="42" y="17"/>
                  <a:pt x="42" y="17"/>
                  <a:pt x="42" y="17"/>
                </a:cubicBezTo>
                <a:cubicBezTo>
                  <a:pt x="39" y="14"/>
                  <a:pt x="33" y="14"/>
                  <a:pt x="30" y="17"/>
                </a:cubicBezTo>
                <a:cubicBezTo>
                  <a:pt x="17" y="30"/>
                  <a:pt x="17" y="30"/>
                  <a:pt x="17" y="30"/>
                </a:cubicBezTo>
                <a:cubicBezTo>
                  <a:pt x="15" y="32"/>
                  <a:pt x="14" y="34"/>
                  <a:pt x="14" y="36"/>
                </a:cubicBezTo>
                <a:cubicBezTo>
                  <a:pt x="14" y="38"/>
                  <a:pt x="15" y="40"/>
                  <a:pt x="17" y="42"/>
                </a:cubicBezTo>
                <a:cubicBezTo>
                  <a:pt x="27" y="52"/>
                  <a:pt x="27" y="52"/>
                  <a:pt x="27" y="52"/>
                </a:cubicBezTo>
                <a:cubicBezTo>
                  <a:pt x="29" y="54"/>
                  <a:pt x="29" y="56"/>
                  <a:pt x="29" y="59"/>
                </a:cubicBezTo>
                <a:cubicBezTo>
                  <a:pt x="28" y="61"/>
                  <a:pt x="26" y="62"/>
                  <a:pt x="23" y="62"/>
                </a:cubicBezTo>
                <a:cubicBezTo>
                  <a:pt x="8" y="62"/>
                  <a:pt x="8" y="62"/>
                  <a:pt x="8" y="62"/>
                </a:cubicBezTo>
                <a:cubicBezTo>
                  <a:pt x="4" y="62"/>
                  <a:pt x="0" y="66"/>
                  <a:pt x="0" y="70"/>
                </a:cubicBezTo>
                <a:cubicBezTo>
                  <a:pt x="0" y="90"/>
                  <a:pt x="0" y="90"/>
                  <a:pt x="0" y="90"/>
                </a:cubicBezTo>
                <a:cubicBezTo>
                  <a:pt x="0" y="94"/>
                  <a:pt x="4" y="98"/>
                  <a:pt x="8" y="98"/>
                </a:cubicBezTo>
                <a:cubicBezTo>
                  <a:pt x="23" y="98"/>
                  <a:pt x="23" y="98"/>
                  <a:pt x="23" y="98"/>
                </a:cubicBezTo>
                <a:cubicBezTo>
                  <a:pt x="26" y="98"/>
                  <a:pt x="28" y="99"/>
                  <a:pt x="29" y="101"/>
                </a:cubicBezTo>
                <a:cubicBezTo>
                  <a:pt x="29" y="104"/>
                  <a:pt x="29" y="106"/>
                  <a:pt x="27" y="108"/>
                </a:cubicBezTo>
                <a:cubicBezTo>
                  <a:pt x="17" y="118"/>
                  <a:pt x="17" y="118"/>
                  <a:pt x="17" y="118"/>
                </a:cubicBezTo>
                <a:cubicBezTo>
                  <a:pt x="15" y="120"/>
                  <a:pt x="14" y="122"/>
                  <a:pt x="14" y="124"/>
                </a:cubicBezTo>
                <a:cubicBezTo>
                  <a:pt x="14" y="126"/>
                  <a:pt x="15" y="128"/>
                  <a:pt x="17" y="130"/>
                </a:cubicBezTo>
                <a:cubicBezTo>
                  <a:pt x="30" y="143"/>
                  <a:pt x="30" y="143"/>
                  <a:pt x="30" y="143"/>
                </a:cubicBezTo>
                <a:cubicBezTo>
                  <a:pt x="33" y="146"/>
                  <a:pt x="39" y="146"/>
                  <a:pt x="42" y="143"/>
                </a:cubicBezTo>
                <a:cubicBezTo>
                  <a:pt x="52" y="133"/>
                  <a:pt x="52" y="133"/>
                  <a:pt x="52" y="133"/>
                </a:cubicBezTo>
                <a:cubicBezTo>
                  <a:pt x="54" y="131"/>
                  <a:pt x="56" y="131"/>
                  <a:pt x="59" y="131"/>
                </a:cubicBezTo>
                <a:cubicBezTo>
                  <a:pt x="61" y="132"/>
                  <a:pt x="62" y="134"/>
                  <a:pt x="62" y="137"/>
                </a:cubicBezTo>
                <a:cubicBezTo>
                  <a:pt x="62" y="152"/>
                  <a:pt x="62" y="152"/>
                  <a:pt x="62" y="152"/>
                </a:cubicBezTo>
                <a:cubicBezTo>
                  <a:pt x="62" y="156"/>
                  <a:pt x="66" y="160"/>
                  <a:pt x="70" y="160"/>
                </a:cubicBezTo>
                <a:cubicBezTo>
                  <a:pt x="90" y="160"/>
                  <a:pt x="90" y="160"/>
                  <a:pt x="90" y="160"/>
                </a:cubicBezTo>
                <a:cubicBezTo>
                  <a:pt x="94" y="160"/>
                  <a:pt x="98" y="156"/>
                  <a:pt x="98" y="152"/>
                </a:cubicBezTo>
                <a:cubicBezTo>
                  <a:pt x="98" y="137"/>
                  <a:pt x="98" y="137"/>
                  <a:pt x="98" y="137"/>
                </a:cubicBezTo>
                <a:cubicBezTo>
                  <a:pt x="98" y="134"/>
                  <a:pt x="99" y="132"/>
                  <a:pt x="101" y="131"/>
                </a:cubicBezTo>
                <a:cubicBezTo>
                  <a:pt x="104" y="131"/>
                  <a:pt x="106" y="131"/>
                  <a:pt x="108" y="133"/>
                </a:cubicBezTo>
                <a:cubicBezTo>
                  <a:pt x="118" y="143"/>
                  <a:pt x="118" y="143"/>
                  <a:pt x="118" y="143"/>
                </a:cubicBezTo>
                <a:cubicBezTo>
                  <a:pt x="121" y="146"/>
                  <a:pt x="127" y="146"/>
                  <a:pt x="130" y="143"/>
                </a:cubicBezTo>
                <a:cubicBezTo>
                  <a:pt x="143" y="130"/>
                  <a:pt x="143" y="130"/>
                  <a:pt x="143" y="130"/>
                </a:cubicBezTo>
                <a:cubicBezTo>
                  <a:pt x="145" y="128"/>
                  <a:pt x="146" y="126"/>
                  <a:pt x="146" y="124"/>
                </a:cubicBezTo>
                <a:cubicBezTo>
                  <a:pt x="146" y="122"/>
                  <a:pt x="145" y="120"/>
                  <a:pt x="143" y="118"/>
                </a:cubicBezTo>
                <a:cubicBezTo>
                  <a:pt x="133" y="108"/>
                  <a:pt x="133" y="108"/>
                  <a:pt x="133" y="108"/>
                </a:cubicBezTo>
                <a:cubicBezTo>
                  <a:pt x="131" y="106"/>
                  <a:pt x="131" y="104"/>
                  <a:pt x="131" y="101"/>
                </a:cubicBezTo>
                <a:cubicBezTo>
                  <a:pt x="132" y="99"/>
                  <a:pt x="134" y="98"/>
                  <a:pt x="137" y="98"/>
                </a:cubicBezTo>
                <a:cubicBezTo>
                  <a:pt x="152" y="98"/>
                  <a:pt x="152" y="98"/>
                  <a:pt x="152" y="98"/>
                </a:cubicBezTo>
                <a:cubicBezTo>
                  <a:pt x="156" y="98"/>
                  <a:pt x="160" y="94"/>
                  <a:pt x="160" y="90"/>
                </a:cubicBezTo>
                <a:cubicBezTo>
                  <a:pt x="160" y="70"/>
                  <a:pt x="160" y="70"/>
                  <a:pt x="160" y="70"/>
                </a:cubicBezTo>
                <a:cubicBezTo>
                  <a:pt x="160" y="66"/>
                  <a:pt x="156" y="62"/>
                  <a:pt x="152" y="62"/>
                </a:cubicBezTo>
                <a:close/>
                <a:moveTo>
                  <a:pt x="154" y="90"/>
                </a:moveTo>
                <a:cubicBezTo>
                  <a:pt x="154" y="91"/>
                  <a:pt x="153" y="92"/>
                  <a:pt x="152" y="92"/>
                </a:cubicBezTo>
                <a:cubicBezTo>
                  <a:pt x="137" y="92"/>
                  <a:pt x="137" y="92"/>
                  <a:pt x="137" y="92"/>
                </a:cubicBezTo>
                <a:cubicBezTo>
                  <a:pt x="132" y="92"/>
                  <a:pt x="128" y="95"/>
                  <a:pt x="126" y="99"/>
                </a:cubicBezTo>
                <a:cubicBezTo>
                  <a:pt x="124" y="104"/>
                  <a:pt x="125" y="108"/>
                  <a:pt x="129" y="112"/>
                </a:cubicBezTo>
                <a:cubicBezTo>
                  <a:pt x="139" y="122"/>
                  <a:pt x="139" y="122"/>
                  <a:pt x="139" y="122"/>
                </a:cubicBezTo>
                <a:cubicBezTo>
                  <a:pt x="140" y="123"/>
                  <a:pt x="140" y="125"/>
                  <a:pt x="139" y="126"/>
                </a:cubicBezTo>
                <a:cubicBezTo>
                  <a:pt x="126" y="139"/>
                  <a:pt x="126" y="139"/>
                  <a:pt x="126" y="139"/>
                </a:cubicBezTo>
                <a:cubicBezTo>
                  <a:pt x="125" y="140"/>
                  <a:pt x="123" y="140"/>
                  <a:pt x="122" y="139"/>
                </a:cubicBezTo>
                <a:cubicBezTo>
                  <a:pt x="112" y="129"/>
                  <a:pt x="112" y="129"/>
                  <a:pt x="112" y="129"/>
                </a:cubicBezTo>
                <a:cubicBezTo>
                  <a:pt x="108" y="125"/>
                  <a:pt x="104" y="124"/>
                  <a:pt x="99" y="126"/>
                </a:cubicBezTo>
                <a:cubicBezTo>
                  <a:pt x="95" y="128"/>
                  <a:pt x="92" y="132"/>
                  <a:pt x="92" y="137"/>
                </a:cubicBezTo>
                <a:cubicBezTo>
                  <a:pt x="92" y="152"/>
                  <a:pt x="92" y="152"/>
                  <a:pt x="92" y="152"/>
                </a:cubicBezTo>
                <a:cubicBezTo>
                  <a:pt x="92" y="153"/>
                  <a:pt x="91" y="154"/>
                  <a:pt x="90" y="154"/>
                </a:cubicBezTo>
                <a:cubicBezTo>
                  <a:pt x="70" y="154"/>
                  <a:pt x="70" y="154"/>
                  <a:pt x="70" y="154"/>
                </a:cubicBezTo>
                <a:cubicBezTo>
                  <a:pt x="69" y="154"/>
                  <a:pt x="68" y="153"/>
                  <a:pt x="68" y="152"/>
                </a:cubicBezTo>
                <a:cubicBezTo>
                  <a:pt x="68" y="137"/>
                  <a:pt x="68" y="137"/>
                  <a:pt x="68" y="137"/>
                </a:cubicBezTo>
                <a:cubicBezTo>
                  <a:pt x="68" y="132"/>
                  <a:pt x="65" y="128"/>
                  <a:pt x="61" y="126"/>
                </a:cubicBezTo>
                <a:cubicBezTo>
                  <a:pt x="59" y="125"/>
                  <a:pt x="58" y="125"/>
                  <a:pt x="56" y="125"/>
                </a:cubicBezTo>
                <a:cubicBezTo>
                  <a:pt x="53" y="125"/>
                  <a:pt x="50" y="126"/>
                  <a:pt x="48" y="129"/>
                </a:cubicBezTo>
                <a:cubicBezTo>
                  <a:pt x="38" y="139"/>
                  <a:pt x="38" y="139"/>
                  <a:pt x="38" y="139"/>
                </a:cubicBezTo>
                <a:cubicBezTo>
                  <a:pt x="37" y="140"/>
                  <a:pt x="35" y="140"/>
                  <a:pt x="34" y="139"/>
                </a:cubicBezTo>
                <a:cubicBezTo>
                  <a:pt x="21" y="126"/>
                  <a:pt x="21" y="126"/>
                  <a:pt x="21" y="126"/>
                </a:cubicBezTo>
                <a:cubicBezTo>
                  <a:pt x="20" y="125"/>
                  <a:pt x="20" y="123"/>
                  <a:pt x="21" y="122"/>
                </a:cubicBezTo>
                <a:cubicBezTo>
                  <a:pt x="31" y="112"/>
                  <a:pt x="31" y="112"/>
                  <a:pt x="31" y="112"/>
                </a:cubicBezTo>
                <a:cubicBezTo>
                  <a:pt x="35" y="108"/>
                  <a:pt x="36" y="104"/>
                  <a:pt x="34" y="99"/>
                </a:cubicBezTo>
                <a:cubicBezTo>
                  <a:pt x="32" y="95"/>
                  <a:pt x="28" y="92"/>
                  <a:pt x="23" y="92"/>
                </a:cubicBezTo>
                <a:cubicBezTo>
                  <a:pt x="8" y="92"/>
                  <a:pt x="8" y="92"/>
                  <a:pt x="8" y="92"/>
                </a:cubicBezTo>
                <a:cubicBezTo>
                  <a:pt x="7" y="92"/>
                  <a:pt x="6" y="91"/>
                  <a:pt x="6" y="90"/>
                </a:cubicBezTo>
                <a:cubicBezTo>
                  <a:pt x="6" y="70"/>
                  <a:pt x="6" y="70"/>
                  <a:pt x="6" y="70"/>
                </a:cubicBezTo>
                <a:cubicBezTo>
                  <a:pt x="6" y="69"/>
                  <a:pt x="7" y="68"/>
                  <a:pt x="8" y="68"/>
                </a:cubicBezTo>
                <a:cubicBezTo>
                  <a:pt x="23" y="68"/>
                  <a:pt x="23" y="68"/>
                  <a:pt x="23" y="68"/>
                </a:cubicBezTo>
                <a:cubicBezTo>
                  <a:pt x="28" y="68"/>
                  <a:pt x="32" y="65"/>
                  <a:pt x="34" y="61"/>
                </a:cubicBezTo>
                <a:cubicBezTo>
                  <a:pt x="36" y="57"/>
                  <a:pt x="35" y="52"/>
                  <a:pt x="31" y="48"/>
                </a:cubicBezTo>
                <a:cubicBezTo>
                  <a:pt x="21" y="38"/>
                  <a:pt x="21" y="38"/>
                  <a:pt x="21" y="38"/>
                </a:cubicBezTo>
                <a:cubicBezTo>
                  <a:pt x="20" y="37"/>
                  <a:pt x="20" y="35"/>
                  <a:pt x="21" y="34"/>
                </a:cubicBezTo>
                <a:cubicBezTo>
                  <a:pt x="34" y="21"/>
                  <a:pt x="34" y="21"/>
                  <a:pt x="34" y="21"/>
                </a:cubicBezTo>
                <a:cubicBezTo>
                  <a:pt x="35" y="20"/>
                  <a:pt x="37" y="20"/>
                  <a:pt x="38" y="21"/>
                </a:cubicBezTo>
                <a:cubicBezTo>
                  <a:pt x="48" y="31"/>
                  <a:pt x="48" y="31"/>
                  <a:pt x="48" y="31"/>
                </a:cubicBezTo>
                <a:cubicBezTo>
                  <a:pt x="52" y="35"/>
                  <a:pt x="56" y="36"/>
                  <a:pt x="61" y="34"/>
                </a:cubicBezTo>
                <a:cubicBezTo>
                  <a:pt x="65" y="32"/>
                  <a:pt x="68" y="28"/>
                  <a:pt x="68" y="23"/>
                </a:cubicBezTo>
                <a:cubicBezTo>
                  <a:pt x="68" y="8"/>
                  <a:pt x="68" y="8"/>
                  <a:pt x="68" y="8"/>
                </a:cubicBezTo>
                <a:cubicBezTo>
                  <a:pt x="68" y="7"/>
                  <a:pt x="69" y="6"/>
                  <a:pt x="70" y="6"/>
                </a:cubicBezTo>
                <a:cubicBezTo>
                  <a:pt x="90" y="6"/>
                  <a:pt x="90" y="6"/>
                  <a:pt x="90" y="6"/>
                </a:cubicBezTo>
                <a:cubicBezTo>
                  <a:pt x="91" y="6"/>
                  <a:pt x="92" y="7"/>
                  <a:pt x="92" y="8"/>
                </a:cubicBezTo>
                <a:cubicBezTo>
                  <a:pt x="92" y="23"/>
                  <a:pt x="92" y="23"/>
                  <a:pt x="92" y="23"/>
                </a:cubicBezTo>
                <a:cubicBezTo>
                  <a:pt x="92" y="28"/>
                  <a:pt x="95" y="32"/>
                  <a:pt x="99" y="34"/>
                </a:cubicBezTo>
                <a:cubicBezTo>
                  <a:pt x="104" y="36"/>
                  <a:pt x="108" y="35"/>
                  <a:pt x="112" y="31"/>
                </a:cubicBezTo>
                <a:cubicBezTo>
                  <a:pt x="122" y="21"/>
                  <a:pt x="122" y="21"/>
                  <a:pt x="122" y="21"/>
                </a:cubicBezTo>
                <a:cubicBezTo>
                  <a:pt x="123" y="20"/>
                  <a:pt x="125" y="20"/>
                  <a:pt x="126" y="21"/>
                </a:cubicBezTo>
                <a:cubicBezTo>
                  <a:pt x="139" y="34"/>
                  <a:pt x="139" y="34"/>
                  <a:pt x="139" y="34"/>
                </a:cubicBezTo>
                <a:cubicBezTo>
                  <a:pt x="140" y="35"/>
                  <a:pt x="140" y="37"/>
                  <a:pt x="139" y="38"/>
                </a:cubicBezTo>
                <a:cubicBezTo>
                  <a:pt x="129" y="48"/>
                  <a:pt x="129" y="48"/>
                  <a:pt x="129" y="48"/>
                </a:cubicBezTo>
                <a:cubicBezTo>
                  <a:pt x="125" y="52"/>
                  <a:pt x="124" y="57"/>
                  <a:pt x="126" y="61"/>
                </a:cubicBezTo>
                <a:cubicBezTo>
                  <a:pt x="128" y="65"/>
                  <a:pt x="132" y="68"/>
                  <a:pt x="137" y="68"/>
                </a:cubicBezTo>
                <a:cubicBezTo>
                  <a:pt x="152" y="68"/>
                  <a:pt x="152" y="68"/>
                  <a:pt x="152" y="68"/>
                </a:cubicBezTo>
                <a:cubicBezTo>
                  <a:pt x="153" y="68"/>
                  <a:pt x="154" y="69"/>
                  <a:pt x="154" y="70"/>
                </a:cubicBezTo>
                <a:lnTo>
                  <a:pt x="154" y="90"/>
                </a:lnTo>
                <a:close/>
                <a:moveTo>
                  <a:pt x="80" y="53"/>
                </a:moveTo>
                <a:cubicBezTo>
                  <a:pt x="65" y="53"/>
                  <a:pt x="53" y="65"/>
                  <a:pt x="53" y="80"/>
                </a:cubicBezTo>
                <a:cubicBezTo>
                  <a:pt x="53" y="95"/>
                  <a:pt x="65" y="107"/>
                  <a:pt x="80" y="107"/>
                </a:cubicBezTo>
                <a:cubicBezTo>
                  <a:pt x="95" y="107"/>
                  <a:pt x="107" y="95"/>
                  <a:pt x="107" y="80"/>
                </a:cubicBezTo>
                <a:cubicBezTo>
                  <a:pt x="107" y="65"/>
                  <a:pt x="95" y="53"/>
                  <a:pt x="80" y="53"/>
                </a:cubicBezTo>
                <a:close/>
                <a:moveTo>
                  <a:pt x="80" y="101"/>
                </a:moveTo>
                <a:cubicBezTo>
                  <a:pt x="69" y="101"/>
                  <a:pt x="59" y="91"/>
                  <a:pt x="59" y="80"/>
                </a:cubicBezTo>
                <a:cubicBezTo>
                  <a:pt x="59" y="69"/>
                  <a:pt x="69" y="59"/>
                  <a:pt x="80" y="59"/>
                </a:cubicBezTo>
                <a:cubicBezTo>
                  <a:pt x="91" y="59"/>
                  <a:pt x="101" y="69"/>
                  <a:pt x="101" y="80"/>
                </a:cubicBezTo>
                <a:cubicBezTo>
                  <a:pt x="101" y="91"/>
                  <a:pt x="91" y="101"/>
                  <a:pt x="80" y="10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59" name="Freeform 1361">
            <a:extLst>
              <a:ext uri="{FF2B5EF4-FFF2-40B4-BE49-F238E27FC236}">
                <a16:creationId xmlns:a16="http://schemas.microsoft.com/office/drawing/2014/main" id="{AA265D08-8824-414E-B7ED-2397B8E517A7}"/>
              </a:ext>
            </a:extLst>
          </p:cNvPr>
          <p:cNvSpPr>
            <a:spLocks noEditPoints="1"/>
          </p:cNvSpPr>
          <p:nvPr/>
        </p:nvSpPr>
        <p:spPr bwMode="auto">
          <a:xfrm>
            <a:off x="7176662" y="4067175"/>
            <a:ext cx="546100" cy="550863"/>
          </a:xfrm>
          <a:custGeom>
            <a:avLst/>
            <a:gdLst>
              <a:gd name="T0" fmla="*/ 80 w 160"/>
              <a:gd name="T1" fmla="*/ 121 h 160"/>
              <a:gd name="T2" fmla="*/ 80 w 160"/>
              <a:gd name="T3" fmla="*/ 116 h 160"/>
              <a:gd name="T4" fmla="*/ 116 w 160"/>
              <a:gd name="T5" fmla="*/ 80 h 160"/>
              <a:gd name="T6" fmla="*/ 146 w 160"/>
              <a:gd name="T7" fmla="*/ 62 h 160"/>
              <a:gd name="T8" fmla="*/ 146 w 160"/>
              <a:gd name="T9" fmla="*/ 36 h 160"/>
              <a:gd name="T10" fmla="*/ 118 w 160"/>
              <a:gd name="T11" fmla="*/ 17 h 160"/>
              <a:gd name="T12" fmla="*/ 98 w 160"/>
              <a:gd name="T13" fmla="*/ 8 h 160"/>
              <a:gd name="T14" fmla="*/ 62 w 160"/>
              <a:gd name="T15" fmla="*/ 8 h 160"/>
              <a:gd name="T16" fmla="*/ 42 w 160"/>
              <a:gd name="T17" fmla="*/ 17 h 160"/>
              <a:gd name="T18" fmla="*/ 14 w 160"/>
              <a:gd name="T19" fmla="*/ 36 h 160"/>
              <a:gd name="T20" fmla="*/ 14 w 160"/>
              <a:gd name="T21" fmla="*/ 62 h 160"/>
              <a:gd name="T22" fmla="*/ 0 w 160"/>
              <a:gd name="T23" fmla="*/ 90 h 160"/>
              <a:gd name="T24" fmla="*/ 21 w 160"/>
              <a:gd name="T25" fmla="*/ 114 h 160"/>
              <a:gd name="T26" fmla="*/ 17 w 160"/>
              <a:gd name="T27" fmla="*/ 130 h 160"/>
              <a:gd name="T28" fmla="*/ 46 w 160"/>
              <a:gd name="T29" fmla="*/ 139 h 160"/>
              <a:gd name="T30" fmla="*/ 70 w 160"/>
              <a:gd name="T31" fmla="*/ 160 h 160"/>
              <a:gd name="T32" fmla="*/ 98 w 160"/>
              <a:gd name="T33" fmla="*/ 146 h 160"/>
              <a:gd name="T34" fmla="*/ 130 w 160"/>
              <a:gd name="T35" fmla="*/ 143 h 160"/>
              <a:gd name="T36" fmla="*/ 143 w 160"/>
              <a:gd name="T37" fmla="*/ 118 h 160"/>
              <a:gd name="T38" fmla="*/ 152 w 160"/>
              <a:gd name="T39" fmla="*/ 98 h 160"/>
              <a:gd name="T40" fmla="*/ 152 w 160"/>
              <a:gd name="T41" fmla="*/ 62 h 160"/>
              <a:gd name="T42" fmla="*/ 141 w 160"/>
              <a:gd name="T43" fmla="*/ 92 h 160"/>
              <a:gd name="T44" fmla="*/ 132 w 160"/>
              <a:gd name="T45" fmla="*/ 115 h 160"/>
              <a:gd name="T46" fmla="*/ 126 w 160"/>
              <a:gd name="T47" fmla="*/ 139 h 160"/>
              <a:gd name="T48" fmla="*/ 113 w 160"/>
              <a:gd name="T49" fmla="*/ 133 h 160"/>
              <a:gd name="T50" fmla="*/ 92 w 160"/>
              <a:gd name="T51" fmla="*/ 152 h 160"/>
              <a:gd name="T52" fmla="*/ 68 w 160"/>
              <a:gd name="T53" fmla="*/ 152 h 160"/>
              <a:gd name="T54" fmla="*/ 47 w 160"/>
              <a:gd name="T55" fmla="*/ 133 h 160"/>
              <a:gd name="T56" fmla="*/ 34 w 160"/>
              <a:gd name="T57" fmla="*/ 139 h 160"/>
              <a:gd name="T58" fmla="*/ 28 w 160"/>
              <a:gd name="T59" fmla="*/ 115 h 160"/>
              <a:gd name="T60" fmla="*/ 19 w 160"/>
              <a:gd name="T61" fmla="*/ 92 h 160"/>
              <a:gd name="T62" fmla="*/ 6 w 160"/>
              <a:gd name="T63" fmla="*/ 70 h 160"/>
              <a:gd name="T64" fmla="*/ 19 w 160"/>
              <a:gd name="T65" fmla="*/ 66 h 160"/>
              <a:gd name="T66" fmla="*/ 21 w 160"/>
              <a:gd name="T67" fmla="*/ 38 h 160"/>
              <a:gd name="T68" fmla="*/ 38 w 160"/>
              <a:gd name="T69" fmla="*/ 21 h 160"/>
              <a:gd name="T70" fmla="*/ 66 w 160"/>
              <a:gd name="T71" fmla="*/ 19 h 160"/>
              <a:gd name="T72" fmla="*/ 70 w 160"/>
              <a:gd name="T73" fmla="*/ 6 h 160"/>
              <a:gd name="T74" fmla="*/ 92 w 160"/>
              <a:gd name="T75" fmla="*/ 19 h 160"/>
              <a:gd name="T76" fmla="*/ 115 w 160"/>
              <a:gd name="T77" fmla="*/ 28 h 160"/>
              <a:gd name="T78" fmla="*/ 139 w 160"/>
              <a:gd name="T79" fmla="*/ 34 h 160"/>
              <a:gd name="T80" fmla="*/ 133 w 160"/>
              <a:gd name="T81" fmla="*/ 47 h 160"/>
              <a:gd name="T82" fmla="*/ 152 w 160"/>
              <a:gd name="T83" fmla="*/ 68 h 160"/>
              <a:gd name="T84" fmla="*/ 80 w 160"/>
              <a:gd name="T85" fmla="*/ 50 h 160"/>
              <a:gd name="T86" fmla="*/ 110 w 160"/>
              <a:gd name="T87" fmla="*/ 80 h 160"/>
              <a:gd name="T88" fmla="*/ 56 w 160"/>
              <a:gd name="T89" fmla="*/ 80 h 160"/>
              <a:gd name="T90" fmla="*/ 80 w 160"/>
              <a:gd name="T91" fmla="*/ 10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0">
                <a:moveTo>
                  <a:pt x="80" y="39"/>
                </a:moveTo>
                <a:cubicBezTo>
                  <a:pt x="57" y="39"/>
                  <a:pt x="39" y="57"/>
                  <a:pt x="39" y="80"/>
                </a:cubicBezTo>
                <a:cubicBezTo>
                  <a:pt x="39" y="103"/>
                  <a:pt x="57" y="121"/>
                  <a:pt x="80" y="121"/>
                </a:cubicBezTo>
                <a:cubicBezTo>
                  <a:pt x="103" y="121"/>
                  <a:pt x="121" y="103"/>
                  <a:pt x="121" y="80"/>
                </a:cubicBezTo>
                <a:cubicBezTo>
                  <a:pt x="121" y="57"/>
                  <a:pt x="103" y="39"/>
                  <a:pt x="80" y="39"/>
                </a:cubicBezTo>
                <a:close/>
                <a:moveTo>
                  <a:pt x="80" y="116"/>
                </a:moveTo>
                <a:cubicBezTo>
                  <a:pt x="60" y="116"/>
                  <a:pt x="44" y="100"/>
                  <a:pt x="44" y="80"/>
                </a:cubicBezTo>
                <a:cubicBezTo>
                  <a:pt x="44" y="60"/>
                  <a:pt x="60" y="44"/>
                  <a:pt x="80" y="44"/>
                </a:cubicBezTo>
                <a:cubicBezTo>
                  <a:pt x="100" y="44"/>
                  <a:pt x="116" y="60"/>
                  <a:pt x="116" y="80"/>
                </a:cubicBezTo>
                <a:cubicBezTo>
                  <a:pt x="116" y="100"/>
                  <a:pt x="100" y="116"/>
                  <a:pt x="80" y="116"/>
                </a:cubicBezTo>
                <a:close/>
                <a:moveTo>
                  <a:pt x="152" y="62"/>
                </a:moveTo>
                <a:cubicBezTo>
                  <a:pt x="146" y="62"/>
                  <a:pt x="146" y="62"/>
                  <a:pt x="146" y="62"/>
                </a:cubicBezTo>
                <a:cubicBezTo>
                  <a:pt x="144" y="57"/>
                  <a:pt x="142" y="51"/>
                  <a:pt x="139" y="46"/>
                </a:cubicBezTo>
                <a:cubicBezTo>
                  <a:pt x="143" y="42"/>
                  <a:pt x="143" y="42"/>
                  <a:pt x="143" y="42"/>
                </a:cubicBezTo>
                <a:cubicBezTo>
                  <a:pt x="145" y="40"/>
                  <a:pt x="146" y="38"/>
                  <a:pt x="146" y="36"/>
                </a:cubicBezTo>
                <a:cubicBezTo>
                  <a:pt x="146" y="34"/>
                  <a:pt x="145" y="32"/>
                  <a:pt x="143" y="30"/>
                </a:cubicBezTo>
                <a:cubicBezTo>
                  <a:pt x="130" y="17"/>
                  <a:pt x="130" y="17"/>
                  <a:pt x="130" y="17"/>
                </a:cubicBezTo>
                <a:cubicBezTo>
                  <a:pt x="127" y="14"/>
                  <a:pt x="121" y="14"/>
                  <a:pt x="118" y="17"/>
                </a:cubicBezTo>
                <a:cubicBezTo>
                  <a:pt x="114" y="21"/>
                  <a:pt x="114" y="21"/>
                  <a:pt x="114" y="21"/>
                </a:cubicBezTo>
                <a:cubicBezTo>
                  <a:pt x="109" y="18"/>
                  <a:pt x="103" y="16"/>
                  <a:pt x="98" y="14"/>
                </a:cubicBezTo>
                <a:cubicBezTo>
                  <a:pt x="98" y="8"/>
                  <a:pt x="98" y="8"/>
                  <a:pt x="98" y="8"/>
                </a:cubicBezTo>
                <a:cubicBezTo>
                  <a:pt x="98" y="4"/>
                  <a:pt x="94" y="0"/>
                  <a:pt x="90" y="0"/>
                </a:cubicBezTo>
                <a:cubicBezTo>
                  <a:pt x="70" y="0"/>
                  <a:pt x="70" y="0"/>
                  <a:pt x="70" y="0"/>
                </a:cubicBezTo>
                <a:cubicBezTo>
                  <a:pt x="66" y="0"/>
                  <a:pt x="62" y="4"/>
                  <a:pt x="62" y="8"/>
                </a:cubicBezTo>
                <a:cubicBezTo>
                  <a:pt x="62" y="14"/>
                  <a:pt x="62" y="14"/>
                  <a:pt x="62" y="14"/>
                </a:cubicBezTo>
                <a:cubicBezTo>
                  <a:pt x="57" y="16"/>
                  <a:pt x="51" y="18"/>
                  <a:pt x="46" y="21"/>
                </a:cubicBezTo>
                <a:cubicBezTo>
                  <a:pt x="42" y="17"/>
                  <a:pt x="42" y="17"/>
                  <a:pt x="42" y="17"/>
                </a:cubicBezTo>
                <a:cubicBezTo>
                  <a:pt x="39" y="14"/>
                  <a:pt x="33" y="14"/>
                  <a:pt x="30" y="17"/>
                </a:cubicBezTo>
                <a:cubicBezTo>
                  <a:pt x="17" y="30"/>
                  <a:pt x="17" y="30"/>
                  <a:pt x="17" y="30"/>
                </a:cubicBezTo>
                <a:cubicBezTo>
                  <a:pt x="15" y="32"/>
                  <a:pt x="14" y="34"/>
                  <a:pt x="14" y="36"/>
                </a:cubicBezTo>
                <a:cubicBezTo>
                  <a:pt x="14" y="38"/>
                  <a:pt x="15" y="40"/>
                  <a:pt x="17" y="42"/>
                </a:cubicBezTo>
                <a:cubicBezTo>
                  <a:pt x="21" y="46"/>
                  <a:pt x="21" y="46"/>
                  <a:pt x="21" y="46"/>
                </a:cubicBezTo>
                <a:cubicBezTo>
                  <a:pt x="18" y="51"/>
                  <a:pt x="16" y="57"/>
                  <a:pt x="14" y="62"/>
                </a:cubicBezTo>
                <a:cubicBezTo>
                  <a:pt x="8" y="62"/>
                  <a:pt x="8" y="62"/>
                  <a:pt x="8" y="62"/>
                </a:cubicBezTo>
                <a:cubicBezTo>
                  <a:pt x="4" y="62"/>
                  <a:pt x="0" y="66"/>
                  <a:pt x="0" y="70"/>
                </a:cubicBezTo>
                <a:cubicBezTo>
                  <a:pt x="0" y="90"/>
                  <a:pt x="0" y="90"/>
                  <a:pt x="0" y="90"/>
                </a:cubicBezTo>
                <a:cubicBezTo>
                  <a:pt x="0" y="94"/>
                  <a:pt x="4" y="98"/>
                  <a:pt x="8" y="98"/>
                </a:cubicBezTo>
                <a:cubicBezTo>
                  <a:pt x="14" y="98"/>
                  <a:pt x="14" y="98"/>
                  <a:pt x="14" y="98"/>
                </a:cubicBezTo>
                <a:cubicBezTo>
                  <a:pt x="16" y="103"/>
                  <a:pt x="18" y="109"/>
                  <a:pt x="21" y="114"/>
                </a:cubicBezTo>
                <a:cubicBezTo>
                  <a:pt x="17" y="118"/>
                  <a:pt x="17" y="118"/>
                  <a:pt x="17" y="118"/>
                </a:cubicBezTo>
                <a:cubicBezTo>
                  <a:pt x="15" y="120"/>
                  <a:pt x="14" y="122"/>
                  <a:pt x="14" y="124"/>
                </a:cubicBezTo>
                <a:cubicBezTo>
                  <a:pt x="14" y="126"/>
                  <a:pt x="15" y="128"/>
                  <a:pt x="17" y="130"/>
                </a:cubicBezTo>
                <a:cubicBezTo>
                  <a:pt x="30" y="143"/>
                  <a:pt x="30" y="143"/>
                  <a:pt x="30" y="143"/>
                </a:cubicBezTo>
                <a:cubicBezTo>
                  <a:pt x="33" y="146"/>
                  <a:pt x="39" y="146"/>
                  <a:pt x="42" y="143"/>
                </a:cubicBezTo>
                <a:cubicBezTo>
                  <a:pt x="46" y="139"/>
                  <a:pt x="46" y="139"/>
                  <a:pt x="46" y="139"/>
                </a:cubicBezTo>
                <a:cubicBezTo>
                  <a:pt x="51" y="142"/>
                  <a:pt x="57" y="144"/>
                  <a:pt x="62" y="146"/>
                </a:cubicBezTo>
                <a:cubicBezTo>
                  <a:pt x="62" y="152"/>
                  <a:pt x="62" y="152"/>
                  <a:pt x="62" y="152"/>
                </a:cubicBezTo>
                <a:cubicBezTo>
                  <a:pt x="62" y="156"/>
                  <a:pt x="66" y="160"/>
                  <a:pt x="70" y="160"/>
                </a:cubicBezTo>
                <a:cubicBezTo>
                  <a:pt x="90" y="160"/>
                  <a:pt x="90" y="160"/>
                  <a:pt x="90" y="160"/>
                </a:cubicBezTo>
                <a:cubicBezTo>
                  <a:pt x="94" y="160"/>
                  <a:pt x="98" y="156"/>
                  <a:pt x="98" y="152"/>
                </a:cubicBezTo>
                <a:cubicBezTo>
                  <a:pt x="98" y="146"/>
                  <a:pt x="98" y="146"/>
                  <a:pt x="98" y="146"/>
                </a:cubicBezTo>
                <a:cubicBezTo>
                  <a:pt x="103" y="144"/>
                  <a:pt x="109" y="142"/>
                  <a:pt x="114" y="139"/>
                </a:cubicBezTo>
                <a:cubicBezTo>
                  <a:pt x="118" y="143"/>
                  <a:pt x="118" y="143"/>
                  <a:pt x="118" y="143"/>
                </a:cubicBezTo>
                <a:cubicBezTo>
                  <a:pt x="121" y="146"/>
                  <a:pt x="127" y="146"/>
                  <a:pt x="130" y="143"/>
                </a:cubicBezTo>
                <a:cubicBezTo>
                  <a:pt x="143" y="130"/>
                  <a:pt x="143" y="130"/>
                  <a:pt x="143" y="130"/>
                </a:cubicBezTo>
                <a:cubicBezTo>
                  <a:pt x="145" y="128"/>
                  <a:pt x="146" y="126"/>
                  <a:pt x="146" y="124"/>
                </a:cubicBezTo>
                <a:cubicBezTo>
                  <a:pt x="146" y="122"/>
                  <a:pt x="145" y="120"/>
                  <a:pt x="143" y="118"/>
                </a:cubicBezTo>
                <a:cubicBezTo>
                  <a:pt x="139" y="114"/>
                  <a:pt x="139" y="114"/>
                  <a:pt x="139" y="114"/>
                </a:cubicBezTo>
                <a:cubicBezTo>
                  <a:pt x="142" y="109"/>
                  <a:pt x="144" y="103"/>
                  <a:pt x="146" y="98"/>
                </a:cubicBezTo>
                <a:cubicBezTo>
                  <a:pt x="152" y="98"/>
                  <a:pt x="152" y="98"/>
                  <a:pt x="152" y="98"/>
                </a:cubicBezTo>
                <a:cubicBezTo>
                  <a:pt x="156" y="98"/>
                  <a:pt x="160" y="94"/>
                  <a:pt x="160" y="90"/>
                </a:cubicBezTo>
                <a:cubicBezTo>
                  <a:pt x="160" y="70"/>
                  <a:pt x="160" y="70"/>
                  <a:pt x="160" y="70"/>
                </a:cubicBezTo>
                <a:cubicBezTo>
                  <a:pt x="160" y="66"/>
                  <a:pt x="156" y="62"/>
                  <a:pt x="152" y="62"/>
                </a:cubicBezTo>
                <a:close/>
                <a:moveTo>
                  <a:pt x="154" y="90"/>
                </a:moveTo>
                <a:cubicBezTo>
                  <a:pt x="154" y="91"/>
                  <a:pt x="153" y="92"/>
                  <a:pt x="152" y="92"/>
                </a:cubicBezTo>
                <a:cubicBezTo>
                  <a:pt x="141" y="92"/>
                  <a:pt x="141" y="92"/>
                  <a:pt x="141" y="92"/>
                </a:cubicBezTo>
                <a:cubicBezTo>
                  <a:pt x="141" y="94"/>
                  <a:pt x="141" y="94"/>
                  <a:pt x="141" y="94"/>
                </a:cubicBezTo>
                <a:cubicBezTo>
                  <a:pt x="139" y="101"/>
                  <a:pt x="136" y="107"/>
                  <a:pt x="133" y="113"/>
                </a:cubicBezTo>
                <a:cubicBezTo>
                  <a:pt x="132" y="115"/>
                  <a:pt x="132" y="115"/>
                  <a:pt x="132" y="115"/>
                </a:cubicBezTo>
                <a:cubicBezTo>
                  <a:pt x="139" y="122"/>
                  <a:pt x="139" y="122"/>
                  <a:pt x="139" y="122"/>
                </a:cubicBezTo>
                <a:cubicBezTo>
                  <a:pt x="140" y="123"/>
                  <a:pt x="140" y="125"/>
                  <a:pt x="139" y="126"/>
                </a:cubicBezTo>
                <a:cubicBezTo>
                  <a:pt x="126" y="139"/>
                  <a:pt x="126" y="139"/>
                  <a:pt x="126" y="139"/>
                </a:cubicBezTo>
                <a:cubicBezTo>
                  <a:pt x="125" y="140"/>
                  <a:pt x="123" y="140"/>
                  <a:pt x="122" y="139"/>
                </a:cubicBezTo>
                <a:cubicBezTo>
                  <a:pt x="115" y="132"/>
                  <a:pt x="115" y="132"/>
                  <a:pt x="115" y="132"/>
                </a:cubicBezTo>
                <a:cubicBezTo>
                  <a:pt x="113" y="133"/>
                  <a:pt x="113" y="133"/>
                  <a:pt x="113" y="133"/>
                </a:cubicBezTo>
                <a:cubicBezTo>
                  <a:pt x="107" y="136"/>
                  <a:pt x="101" y="139"/>
                  <a:pt x="94" y="141"/>
                </a:cubicBezTo>
                <a:cubicBezTo>
                  <a:pt x="92" y="141"/>
                  <a:pt x="92" y="141"/>
                  <a:pt x="92" y="141"/>
                </a:cubicBezTo>
                <a:cubicBezTo>
                  <a:pt x="92" y="152"/>
                  <a:pt x="92" y="152"/>
                  <a:pt x="92" y="152"/>
                </a:cubicBezTo>
                <a:cubicBezTo>
                  <a:pt x="92" y="153"/>
                  <a:pt x="91" y="154"/>
                  <a:pt x="90" y="154"/>
                </a:cubicBezTo>
                <a:cubicBezTo>
                  <a:pt x="70" y="154"/>
                  <a:pt x="70" y="154"/>
                  <a:pt x="70" y="154"/>
                </a:cubicBezTo>
                <a:cubicBezTo>
                  <a:pt x="69" y="154"/>
                  <a:pt x="68" y="153"/>
                  <a:pt x="68" y="152"/>
                </a:cubicBezTo>
                <a:cubicBezTo>
                  <a:pt x="68" y="141"/>
                  <a:pt x="68" y="141"/>
                  <a:pt x="68" y="141"/>
                </a:cubicBezTo>
                <a:cubicBezTo>
                  <a:pt x="66" y="141"/>
                  <a:pt x="66" y="141"/>
                  <a:pt x="66" y="141"/>
                </a:cubicBezTo>
                <a:cubicBezTo>
                  <a:pt x="59" y="139"/>
                  <a:pt x="53" y="136"/>
                  <a:pt x="47" y="133"/>
                </a:cubicBezTo>
                <a:cubicBezTo>
                  <a:pt x="45" y="132"/>
                  <a:pt x="45" y="132"/>
                  <a:pt x="45" y="132"/>
                </a:cubicBezTo>
                <a:cubicBezTo>
                  <a:pt x="38" y="139"/>
                  <a:pt x="38" y="139"/>
                  <a:pt x="38" y="139"/>
                </a:cubicBezTo>
                <a:cubicBezTo>
                  <a:pt x="37" y="140"/>
                  <a:pt x="35" y="140"/>
                  <a:pt x="34" y="139"/>
                </a:cubicBezTo>
                <a:cubicBezTo>
                  <a:pt x="21" y="126"/>
                  <a:pt x="21" y="126"/>
                  <a:pt x="21" y="126"/>
                </a:cubicBezTo>
                <a:cubicBezTo>
                  <a:pt x="20" y="125"/>
                  <a:pt x="20" y="123"/>
                  <a:pt x="21" y="122"/>
                </a:cubicBezTo>
                <a:cubicBezTo>
                  <a:pt x="28" y="115"/>
                  <a:pt x="28" y="115"/>
                  <a:pt x="28" y="115"/>
                </a:cubicBezTo>
                <a:cubicBezTo>
                  <a:pt x="27" y="113"/>
                  <a:pt x="27" y="113"/>
                  <a:pt x="27" y="113"/>
                </a:cubicBezTo>
                <a:cubicBezTo>
                  <a:pt x="24" y="107"/>
                  <a:pt x="21" y="101"/>
                  <a:pt x="19" y="94"/>
                </a:cubicBezTo>
                <a:cubicBezTo>
                  <a:pt x="19" y="92"/>
                  <a:pt x="19" y="92"/>
                  <a:pt x="19" y="92"/>
                </a:cubicBezTo>
                <a:cubicBezTo>
                  <a:pt x="8" y="92"/>
                  <a:pt x="8" y="92"/>
                  <a:pt x="8" y="92"/>
                </a:cubicBezTo>
                <a:cubicBezTo>
                  <a:pt x="7" y="92"/>
                  <a:pt x="6" y="91"/>
                  <a:pt x="6" y="90"/>
                </a:cubicBezTo>
                <a:cubicBezTo>
                  <a:pt x="6" y="70"/>
                  <a:pt x="6" y="70"/>
                  <a:pt x="6" y="70"/>
                </a:cubicBezTo>
                <a:cubicBezTo>
                  <a:pt x="6" y="69"/>
                  <a:pt x="7" y="68"/>
                  <a:pt x="8" y="68"/>
                </a:cubicBezTo>
                <a:cubicBezTo>
                  <a:pt x="19" y="68"/>
                  <a:pt x="19" y="68"/>
                  <a:pt x="19" y="68"/>
                </a:cubicBezTo>
                <a:cubicBezTo>
                  <a:pt x="19" y="66"/>
                  <a:pt x="19" y="66"/>
                  <a:pt x="19" y="66"/>
                </a:cubicBezTo>
                <a:cubicBezTo>
                  <a:pt x="21" y="59"/>
                  <a:pt x="24" y="53"/>
                  <a:pt x="27" y="47"/>
                </a:cubicBezTo>
                <a:cubicBezTo>
                  <a:pt x="28" y="45"/>
                  <a:pt x="28" y="45"/>
                  <a:pt x="28" y="45"/>
                </a:cubicBezTo>
                <a:cubicBezTo>
                  <a:pt x="21" y="38"/>
                  <a:pt x="21" y="38"/>
                  <a:pt x="21" y="38"/>
                </a:cubicBezTo>
                <a:cubicBezTo>
                  <a:pt x="20" y="37"/>
                  <a:pt x="20" y="35"/>
                  <a:pt x="21" y="34"/>
                </a:cubicBezTo>
                <a:cubicBezTo>
                  <a:pt x="34" y="21"/>
                  <a:pt x="34" y="21"/>
                  <a:pt x="34" y="21"/>
                </a:cubicBezTo>
                <a:cubicBezTo>
                  <a:pt x="35" y="20"/>
                  <a:pt x="37" y="20"/>
                  <a:pt x="38" y="21"/>
                </a:cubicBezTo>
                <a:cubicBezTo>
                  <a:pt x="45" y="28"/>
                  <a:pt x="45" y="28"/>
                  <a:pt x="45" y="28"/>
                </a:cubicBezTo>
                <a:cubicBezTo>
                  <a:pt x="47" y="27"/>
                  <a:pt x="47" y="27"/>
                  <a:pt x="47" y="27"/>
                </a:cubicBezTo>
                <a:cubicBezTo>
                  <a:pt x="53" y="24"/>
                  <a:pt x="59" y="21"/>
                  <a:pt x="66" y="19"/>
                </a:cubicBezTo>
                <a:cubicBezTo>
                  <a:pt x="68" y="19"/>
                  <a:pt x="68" y="19"/>
                  <a:pt x="68" y="19"/>
                </a:cubicBezTo>
                <a:cubicBezTo>
                  <a:pt x="68" y="8"/>
                  <a:pt x="68" y="8"/>
                  <a:pt x="68" y="8"/>
                </a:cubicBezTo>
                <a:cubicBezTo>
                  <a:pt x="68" y="7"/>
                  <a:pt x="69" y="6"/>
                  <a:pt x="70" y="6"/>
                </a:cubicBezTo>
                <a:cubicBezTo>
                  <a:pt x="90" y="6"/>
                  <a:pt x="90" y="6"/>
                  <a:pt x="90" y="6"/>
                </a:cubicBezTo>
                <a:cubicBezTo>
                  <a:pt x="91" y="6"/>
                  <a:pt x="92" y="7"/>
                  <a:pt x="92" y="8"/>
                </a:cubicBezTo>
                <a:cubicBezTo>
                  <a:pt x="92" y="19"/>
                  <a:pt x="92" y="19"/>
                  <a:pt x="92" y="19"/>
                </a:cubicBezTo>
                <a:cubicBezTo>
                  <a:pt x="94" y="19"/>
                  <a:pt x="94" y="19"/>
                  <a:pt x="94" y="19"/>
                </a:cubicBezTo>
                <a:cubicBezTo>
                  <a:pt x="101" y="21"/>
                  <a:pt x="107" y="24"/>
                  <a:pt x="113" y="27"/>
                </a:cubicBezTo>
                <a:cubicBezTo>
                  <a:pt x="115" y="28"/>
                  <a:pt x="115" y="28"/>
                  <a:pt x="115" y="28"/>
                </a:cubicBezTo>
                <a:cubicBezTo>
                  <a:pt x="122" y="21"/>
                  <a:pt x="122" y="21"/>
                  <a:pt x="122" y="21"/>
                </a:cubicBezTo>
                <a:cubicBezTo>
                  <a:pt x="123" y="20"/>
                  <a:pt x="125" y="20"/>
                  <a:pt x="126" y="21"/>
                </a:cubicBezTo>
                <a:cubicBezTo>
                  <a:pt x="139" y="34"/>
                  <a:pt x="139" y="34"/>
                  <a:pt x="139" y="34"/>
                </a:cubicBezTo>
                <a:cubicBezTo>
                  <a:pt x="140" y="35"/>
                  <a:pt x="140" y="37"/>
                  <a:pt x="139" y="38"/>
                </a:cubicBezTo>
                <a:cubicBezTo>
                  <a:pt x="132" y="45"/>
                  <a:pt x="132" y="45"/>
                  <a:pt x="132" y="45"/>
                </a:cubicBezTo>
                <a:cubicBezTo>
                  <a:pt x="133" y="47"/>
                  <a:pt x="133" y="47"/>
                  <a:pt x="133" y="47"/>
                </a:cubicBezTo>
                <a:cubicBezTo>
                  <a:pt x="136" y="53"/>
                  <a:pt x="139" y="59"/>
                  <a:pt x="141" y="66"/>
                </a:cubicBezTo>
                <a:cubicBezTo>
                  <a:pt x="141" y="68"/>
                  <a:pt x="141" y="68"/>
                  <a:pt x="141" y="68"/>
                </a:cubicBezTo>
                <a:cubicBezTo>
                  <a:pt x="152" y="68"/>
                  <a:pt x="152" y="68"/>
                  <a:pt x="152" y="68"/>
                </a:cubicBezTo>
                <a:cubicBezTo>
                  <a:pt x="153" y="68"/>
                  <a:pt x="154" y="69"/>
                  <a:pt x="154" y="70"/>
                </a:cubicBezTo>
                <a:lnTo>
                  <a:pt x="154" y="90"/>
                </a:lnTo>
                <a:close/>
                <a:moveTo>
                  <a:pt x="80" y="50"/>
                </a:moveTo>
                <a:cubicBezTo>
                  <a:pt x="64" y="50"/>
                  <a:pt x="50" y="64"/>
                  <a:pt x="50" y="80"/>
                </a:cubicBezTo>
                <a:cubicBezTo>
                  <a:pt x="50" y="96"/>
                  <a:pt x="64" y="110"/>
                  <a:pt x="80" y="110"/>
                </a:cubicBezTo>
                <a:cubicBezTo>
                  <a:pt x="96" y="110"/>
                  <a:pt x="110" y="96"/>
                  <a:pt x="110" y="80"/>
                </a:cubicBezTo>
                <a:cubicBezTo>
                  <a:pt x="110" y="64"/>
                  <a:pt x="96" y="50"/>
                  <a:pt x="80" y="50"/>
                </a:cubicBezTo>
                <a:close/>
                <a:moveTo>
                  <a:pt x="80" y="104"/>
                </a:moveTo>
                <a:cubicBezTo>
                  <a:pt x="67" y="104"/>
                  <a:pt x="56" y="93"/>
                  <a:pt x="56" y="80"/>
                </a:cubicBezTo>
                <a:cubicBezTo>
                  <a:pt x="56" y="67"/>
                  <a:pt x="67" y="56"/>
                  <a:pt x="80" y="56"/>
                </a:cubicBezTo>
                <a:cubicBezTo>
                  <a:pt x="93" y="56"/>
                  <a:pt x="104" y="67"/>
                  <a:pt x="104" y="80"/>
                </a:cubicBezTo>
                <a:cubicBezTo>
                  <a:pt x="104" y="93"/>
                  <a:pt x="93" y="104"/>
                  <a:pt x="80" y="10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60" name="Freeform 1362">
            <a:extLst>
              <a:ext uri="{FF2B5EF4-FFF2-40B4-BE49-F238E27FC236}">
                <a16:creationId xmlns:a16="http://schemas.microsoft.com/office/drawing/2014/main" id="{CE3F6D49-0B46-6E41-A5DD-8FA6CB0F9C1D}"/>
              </a:ext>
            </a:extLst>
          </p:cNvPr>
          <p:cNvSpPr>
            <a:spLocks noEditPoints="1"/>
          </p:cNvSpPr>
          <p:nvPr/>
        </p:nvSpPr>
        <p:spPr bwMode="auto">
          <a:xfrm>
            <a:off x="7176662" y="4700588"/>
            <a:ext cx="546100" cy="550863"/>
          </a:xfrm>
          <a:custGeom>
            <a:avLst/>
            <a:gdLst>
              <a:gd name="T0" fmla="*/ 80 w 160"/>
              <a:gd name="T1" fmla="*/ 66 h 160"/>
              <a:gd name="T2" fmla="*/ 66 w 160"/>
              <a:gd name="T3" fmla="*/ 80 h 160"/>
              <a:gd name="T4" fmla="*/ 80 w 160"/>
              <a:gd name="T5" fmla="*/ 94 h 160"/>
              <a:gd name="T6" fmla="*/ 94 w 160"/>
              <a:gd name="T7" fmla="*/ 80 h 160"/>
              <a:gd name="T8" fmla="*/ 80 w 160"/>
              <a:gd name="T9" fmla="*/ 66 h 160"/>
              <a:gd name="T10" fmla="*/ 80 w 160"/>
              <a:gd name="T11" fmla="*/ 89 h 160"/>
              <a:gd name="T12" fmla="*/ 71 w 160"/>
              <a:gd name="T13" fmla="*/ 80 h 160"/>
              <a:gd name="T14" fmla="*/ 80 w 160"/>
              <a:gd name="T15" fmla="*/ 71 h 160"/>
              <a:gd name="T16" fmla="*/ 89 w 160"/>
              <a:gd name="T17" fmla="*/ 80 h 160"/>
              <a:gd name="T18" fmla="*/ 80 w 160"/>
              <a:gd name="T19" fmla="*/ 89 h 160"/>
              <a:gd name="T20" fmla="*/ 157 w 160"/>
              <a:gd name="T21" fmla="*/ 77 h 160"/>
              <a:gd name="T22" fmla="*/ 149 w 160"/>
              <a:gd name="T23" fmla="*/ 77 h 160"/>
              <a:gd name="T24" fmla="*/ 130 w 160"/>
              <a:gd name="T25" fmla="*/ 34 h 160"/>
              <a:gd name="T26" fmla="*/ 137 w 160"/>
              <a:gd name="T27" fmla="*/ 27 h 160"/>
              <a:gd name="T28" fmla="*/ 137 w 160"/>
              <a:gd name="T29" fmla="*/ 23 h 160"/>
              <a:gd name="T30" fmla="*/ 133 w 160"/>
              <a:gd name="T31" fmla="*/ 23 h 160"/>
              <a:gd name="T32" fmla="*/ 126 w 160"/>
              <a:gd name="T33" fmla="*/ 30 h 160"/>
              <a:gd name="T34" fmla="*/ 83 w 160"/>
              <a:gd name="T35" fmla="*/ 12 h 160"/>
              <a:gd name="T36" fmla="*/ 83 w 160"/>
              <a:gd name="T37" fmla="*/ 3 h 160"/>
              <a:gd name="T38" fmla="*/ 80 w 160"/>
              <a:gd name="T39" fmla="*/ 0 h 160"/>
              <a:gd name="T40" fmla="*/ 77 w 160"/>
              <a:gd name="T41" fmla="*/ 3 h 160"/>
              <a:gd name="T42" fmla="*/ 77 w 160"/>
              <a:gd name="T43" fmla="*/ 12 h 160"/>
              <a:gd name="T44" fmla="*/ 34 w 160"/>
              <a:gd name="T45" fmla="*/ 30 h 160"/>
              <a:gd name="T46" fmla="*/ 27 w 160"/>
              <a:gd name="T47" fmla="*/ 23 h 160"/>
              <a:gd name="T48" fmla="*/ 23 w 160"/>
              <a:gd name="T49" fmla="*/ 23 h 160"/>
              <a:gd name="T50" fmla="*/ 23 w 160"/>
              <a:gd name="T51" fmla="*/ 27 h 160"/>
              <a:gd name="T52" fmla="*/ 30 w 160"/>
              <a:gd name="T53" fmla="*/ 34 h 160"/>
              <a:gd name="T54" fmla="*/ 12 w 160"/>
              <a:gd name="T55" fmla="*/ 77 h 160"/>
              <a:gd name="T56" fmla="*/ 3 w 160"/>
              <a:gd name="T57" fmla="*/ 77 h 160"/>
              <a:gd name="T58" fmla="*/ 0 w 160"/>
              <a:gd name="T59" fmla="*/ 80 h 160"/>
              <a:gd name="T60" fmla="*/ 3 w 160"/>
              <a:gd name="T61" fmla="*/ 83 h 160"/>
              <a:gd name="T62" fmla="*/ 12 w 160"/>
              <a:gd name="T63" fmla="*/ 83 h 160"/>
              <a:gd name="T64" fmla="*/ 30 w 160"/>
              <a:gd name="T65" fmla="*/ 126 h 160"/>
              <a:gd name="T66" fmla="*/ 23 w 160"/>
              <a:gd name="T67" fmla="*/ 133 h 160"/>
              <a:gd name="T68" fmla="*/ 23 w 160"/>
              <a:gd name="T69" fmla="*/ 137 h 160"/>
              <a:gd name="T70" fmla="*/ 25 w 160"/>
              <a:gd name="T71" fmla="*/ 137 h 160"/>
              <a:gd name="T72" fmla="*/ 27 w 160"/>
              <a:gd name="T73" fmla="*/ 137 h 160"/>
              <a:gd name="T74" fmla="*/ 34 w 160"/>
              <a:gd name="T75" fmla="*/ 130 h 160"/>
              <a:gd name="T76" fmla="*/ 77 w 160"/>
              <a:gd name="T77" fmla="*/ 149 h 160"/>
              <a:gd name="T78" fmla="*/ 77 w 160"/>
              <a:gd name="T79" fmla="*/ 157 h 160"/>
              <a:gd name="T80" fmla="*/ 80 w 160"/>
              <a:gd name="T81" fmla="*/ 160 h 160"/>
              <a:gd name="T82" fmla="*/ 83 w 160"/>
              <a:gd name="T83" fmla="*/ 157 h 160"/>
              <a:gd name="T84" fmla="*/ 83 w 160"/>
              <a:gd name="T85" fmla="*/ 149 h 160"/>
              <a:gd name="T86" fmla="*/ 126 w 160"/>
              <a:gd name="T87" fmla="*/ 130 h 160"/>
              <a:gd name="T88" fmla="*/ 133 w 160"/>
              <a:gd name="T89" fmla="*/ 137 h 160"/>
              <a:gd name="T90" fmla="*/ 135 w 160"/>
              <a:gd name="T91" fmla="*/ 137 h 160"/>
              <a:gd name="T92" fmla="*/ 137 w 160"/>
              <a:gd name="T93" fmla="*/ 137 h 160"/>
              <a:gd name="T94" fmla="*/ 137 w 160"/>
              <a:gd name="T95" fmla="*/ 133 h 160"/>
              <a:gd name="T96" fmla="*/ 130 w 160"/>
              <a:gd name="T97" fmla="*/ 126 h 160"/>
              <a:gd name="T98" fmla="*/ 149 w 160"/>
              <a:gd name="T99" fmla="*/ 83 h 160"/>
              <a:gd name="T100" fmla="*/ 157 w 160"/>
              <a:gd name="T101" fmla="*/ 83 h 160"/>
              <a:gd name="T102" fmla="*/ 160 w 160"/>
              <a:gd name="T103" fmla="*/ 80 h 160"/>
              <a:gd name="T104" fmla="*/ 157 w 160"/>
              <a:gd name="T105" fmla="*/ 77 h 160"/>
              <a:gd name="T106" fmla="*/ 80 w 160"/>
              <a:gd name="T107" fmla="*/ 143 h 160"/>
              <a:gd name="T108" fmla="*/ 17 w 160"/>
              <a:gd name="T109" fmla="*/ 80 h 160"/>
              <a:gd name="T110" fmla="*/ 80 w 160"/>
              <a:gd name="T111" fmla="*/ 17 h 160"/>
              <a:gd name="T112" fmla="*/ 143 w 160"/>
              <a:gd name="T113" fmla="*/ 80 h 160"/>
              <a:gd name="T114" fmla="*/ 80 w 160"/>
              <a:gd name="T115" fmla="*/ 1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60">
                <a:moveTo>
                  <a:pt x="80" y="66"/>
                </a:moveTo>
                <a:cubicBezTo>
                  <a:pt x="72" y="66"/>
                  <a:pt x="66" y="72"/>
                  <a:pt x="66" y="80"/>
                </a:cubicBezTo>
                <a:cubicBezTo>
                  <a:pt x="66" y="88"/>
                  <a:pt x="72" y="94"/>
                  <a:pt x="80" y="94"/>
                </a:cubicBezTo>
                <a:cubicBezTo>
                  <a:pt x="88" y="94"/>
                  <a:pt x="94" y="88"/>
                  <a:pt x="94" y="80"/>
                </a:cubicBezTo>
                <a:cubicBezTo>
                  <a:pt x="94" y="72"/>
                  <a:pt x="88" y="66"/>
                  <a:pt x="80" y="66"/>
                </a:cubicBezTo>
                <a:close/>
                <a:moveTo>
                  <a:pt x="80" y="89"/>
                </a:moveTo>
                <a:cubicBezTo>
                  <a:pt x="75" y="89"/>
                  <a:pt x="71" y="85"/>
                  <a:pt x="71" y="80"/>
                </a:cubicBezTo>
                <a:cubicBezTo>
                  <a:pt x="71" y="75"/>
                  <a:pt x="75" y="71"/>
                  <a:pt x="80" y="71"/>
                </a:cubicBezTo>
                <a:cubicBezTo>
                  <a:pt x="85" y="71"/>
                  <a:pt x="89" y="75"/>
                  <a:pt x="89" y="80"/>
                </a:cubicBezTo>
                <a:cubicBezTo>
                  <a:pt x="89" y="85"/>
                  <a:pt x="85" y="89"/>
                  <a:pt x="80" y="89"/>
                </a:cubicBezTo>
                <a:close/>
                <a:moveTo>
                  <a:pt x="157" y="77"/>
                </a:moveTo>
                <a:cubicBezTo>
                  <a:pt x="149" y="77"/>
                  <a:pt x="149" y="77"/>
                  <a:pt x="149" y="77"/>
                </a:cubicBezTo>
                <a:cubicBezTo>
                  <a:pt x="148" y="60"/>
                  <a:pt x="141" y="45"/>
                  <a:pt x="130" y="34"/>
                </a:cubicBezTo>
                <a:cubicBezTo>
                  <a:pt x="137" y="27"/>
                  <a:pt x="137" y="27"/>
                  <a:pt x="137" y="27"/>
                </a:cubicBezTo>
                <a:cubicBezTo>
                  <a:pt x="138" y="26"/>
                  <a:pt x="138" y="25"/>
                  <a:pt x="137" y="23"/>
                </a:cubicBezTo>
                <a:cubicBezTo>
                  <a:pt x="135" y="22"/>
                  <a:pt x="134" y="22"/>
                  <a:pt x="133" y="23"/>
                </a:cubicBezTo>
                <a:cubicBezTo>
                  <a:pt x="126" y="30"/>
                  <a:pt x="126" y="30"/>
                  <a:pt x="126" y="30"/>
                </a:cubicBezTo>
                <a:cubicBezTo>
                  <a:pt x="115" y="19"/>
                  <a:pt x="100" y="12"/>
                  <a:pt x="83" y="12"/>
                </a:cubicBezTo>
                <a:cubicBezTo>
                  <a:pt x="83" y="3"/>
                  <a:pt x="83" y="3"/>
                  <a:pt x="83" y="3"/>
                </a:cubicBezTo>
                <a:cubicBezTo>
                  <a:pt x="83" y="1"/>
                  <a:pt x="82" y="0"/>
                  <a:pt x="80" y="0"/>
                </a:cubicBezTo>
                <a:cubicBezTo>
                  <a:pt x="78" y="0"/>
                  <a:pt x="77" y="1"/>
                  <a:pt x="77" y="3"/>
                </a:cubicBezTo>
                <a:cubicBezTo>
                  <a:pt x="77" y="12"/>
                  <a:pt x="77" y="12"/>
                  <a:pt x="77" y="12"/>
                </a:cubicBezTo>
                <a:cubicBezTo>
                  <a:pt x="60" y="12"/>
                  <a:pt x="45" y="19"/>
                  <a:pt x="34" y="30"/>
                </a:cubicBezTo>
                <a:cubicBezTo>
                  <a:pt x="27" y="23"/>
                  <a:pt x="27" y="23"/>
                  <a:pt x="27" y="23"/>
                </a:cubicBezTo>
                <a:cubicBezTo>
                  <a:pt x="26" y="22"/>
                  <a:pt x="25" y="22"/>
                  <a:pt x="23" y="23"/>
                </a:cubicBezTo>
                <a:cubicBezTo>
                  <a:pt x="22" y="25"/>
                  <a:pt x="22" y="26"/>
                  <a:pt x="23" y="27"/>
                </a:cubicBezTo>
                <a:cubicBezTo>
                  <a:pt x="30" y="34"/>
                  <a:pt x="30" y="34"/>
                  <a:pt x="30" y="34"/>
                </a:cubicBezTo>
                <a:cubicBezTo>
                  <a:pt x="19" y="45"/>
                  <a:pt x="12" y="60"/>
                  <a:pt x="12" y="77"/>
                </a:cubicBezTo>
                <a:cubicBezTo>
                  <a:pt x="3" y="77"/>
                  <a:pt x="3" y="77"/>
                  <a:pt x="3" y="77"/>
                </a:cubicBezTo>
                <a:cubicBezTo>
                  <a:pt x="1" y="77"/>
                  <a:pt x="0" y="78"/>
                  <a:pt x="0" y="80"/>
                </a:cubicBezTo>
                <a:cubicBezTo>
                  <a:pt x="0" y="82"/>
                  <a:pt x="1" y="83"/>
                  <a:pt x="3" y="83"/>
                </a:cubicBezTo>
                <a:cubicBezTo>
                  <a:pt x="12" y="83"/>
                  <a:pt x="12" y="83"/>
                  <a:pt x="12" y="83"/>
                </a:cubicBezTo>
                <a:cubicBezTo>
                  <a:pt x="12" y="100"/>
                  <a:pt x="19" y="115"/>
                  <a:pt x="30" y="126"/>
                </a:cubicBezTo>
                <a:cubicBezTo>
                  <a:pt x="23" y="133"/>
                  <a:pt x="23" y="133"/>
                  <a:pt x="23" y="133"/>
                </a:cubicBezTo>
                <a:cubicBezTo>
                  <a:pt x="22" y="134"/>
                  <a:pt x="22" y="135"/>
                  <a:pt x="23" y="137"/>
                </a:cubicBezTo>
                <a:cubicBezTo>
                  <a:pt x="24" y="137"/>
                  <a:pt x="25" y="137"/>
                  <a:pt x="25" y="137"/>
                </a:cubicBezTo>
                <a:cubicBezTo>
                  <a:pt x="26" y="137"/>
                  <a:pt x="27" y="137"/>
                  <a:pt x="27" y="137"/>
                </a:cubicBezTo>
                <a:cubicBezTo>
                  <a:pt x="34" y="130"/>
                  <a:pt x="34" y="130"/>
                  <a:pt x="34" y="130"/>
                </a:cubicBezTo>
                <a:cubicBezTo>
                  <a:pt x="45" y="141"/>
                  <a:pt x="60" y="148"/>
                  <a:pt x="77" y="149"/>
                </a:cubicBezTo>
                <a:cubicBezTo>
                  <a:pt x="77" y="157"/>
                  <a:pt x="77" y="157"/>
                  <a:pt x="77" y="157"/>
                </a:cubicBezTo>
                <a:cubicBezTo>
                  <a:pt x="77" y="159"/>
                  <a:pt x="78" y="160"/>
                  <a:pt x="80" y="160"/>
                </a:cubicBezTo>
                <a:cubicBezTo>
                  <a:pt x="82" y="160"/>
                  <a:pt x="83" y="159"/>
                  <a:pt x="83" y="157"/>
                </a:cubicBezTo>
                <a:cubicBezTo>
                  <a:pt x="83" y="149"/>
                  <a:pt x="83" y="149"/>
                  <a:pt x="83" y="149"/>
                </a:cubicBezTo>
                <a:cubicBezTo>
                  <a:pt x="100" y="148"/>
                  <a:pt x="115" y="141"/>
                  <a:pt x="126" y="130"/>
                </a:cubicBezTo>
                <a:cubicBezTo>
                  <a:pt x="133" y="137"/>
                  <a:pt x="133" y="137"/>
                  <a:pt x="133" y="137"/>
                </a:cubicBezTo>
                <a:cubicBezTo>
                  <a:pt x="133" y="137"/>
                  <a:pt x="134" y="137"/>
                  <a:pt x="135" y="137"/>
                </a:cubicBezTo>
                <a:cubicBezTo>
                  <a:pt x="135" y="137"/>
                  <a:pt x="136" y="137"/>
                  <a:pt x="137" y="137"/>
                </a:cubicBezTo>
                <a:cubicBezTo>
                  <a:pt x="138" y="135"/>
                  <a:pt x="138" y="134"/>
                  <a:pt x="137" y="133"/>
                </a:cubicBezTo>
                <a:cubicBezTo>
                  <a:pt x="130" y="126"/>
                  <a:pt x="130" y="126"/>
                  <a:pt x="130" y="126"/>
                </a:cubicBezTo>
                <a:cubicBezTo>
                  <a:pt x="141" y="115"/>
                  <a:pt x="148" y="100"/>
                  <a:pt x="149" y="83"/>
                </a:cubicBezTo>
                <a:cubicBezTo>
                  <a:pt x="157" y="83"/>
                  <a:pt x="157" y="83"/>
                  <a:pt x="157" y="83"/>
                </a:cubicBezTo>
                <a:cubicBezTo>
                  <a:pt x="159" y="83"/>
                  <a:pt x="160" y="82"/>
                  <a:pt x="160" y="80"/>
                </a:cubicBezTo>
                <a:cubicBezTo>
                  <a:pt x="160" y="78"/>
                  <a:pt x="159" y="77"/>
                  <a:pt x="157" y="77"/>
                </a:cubicBezTo>
                <a:close/>
                <a:moveTo>
                  <a:pt x="80" y="143"/>
                </a:moveTo>
                <a:cubicBezTo>
                  <a:pt x="45" y="143"/>
                  <a:pt x="17" y="115"/>
                  <a:pt x="17" y="80"/>
                </a:cubicBezTo>
                <a:cubicBezTo>
                  <a:pt x="17" y="45"/>
                  <a:pt x="45" y="17"/>
                  <a:pt x="80" y="17"/>
                </a:cubicBezTo>
                <a:cubicBezTo>
                  <a:pt x="115" y="17"/>
                  <a:pt x="143" y="45"/>
                  <a:pt x="143" y="80"/>
                </a:cubicBezTo>
                <a:cubicBezTo>
                  <a:pt x="143" y="115"/>
                  <a:pt x="115" y="143"/>
                  <a:pt x="80" y="14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61" name="Freeform 1363">
            <a:extLst>
              <a:ext uri="{FF2B5EF4-FFF2-40B4-BE49-F238E27FC236}">
                <a16:creationId xmlns:a16="http://schemas.microsoft.com/office/drawing/2014/main" id="{2DA4718C-AB92-6341-8775-69A69810F518}"/>
              </a:ext>
            </a:extLst>
          </p:cNvPr>
          <p:cNvSpPr>
            <a:spLocks noEditPoints="1"/>
          </p:cNvSpPr>
          <p:nvPr/>
        </p:nvSpPr>
        <p:spPr bwMode="auto">
          <a:xfrm>
            <a:off x="7176662" y="5319713"/>
            <a:ext cx="546100" cy="550863"/>
          </a:xfrm>
          <a:custGeom>
            <a:avLst/>
            <a:gdLst>
              <a:gd name="T0" fmla="*/ 157 w 160"/>
              <a:gd name="T1" fmla="*/ 77 h 160"/>
              <a:gd name="T2" fmla="*/ 155 w 160"/>
              <a:gd name="T3" fmla="*/ 63 h 160"/>
              <a:gd name="T4" fmla="*/ 146 w 160"/>
              <a:gd name="T5" fmla="*/ 59 h 160"/>
              <a:gd name="T6" fmla="*/ 146 w 160"/>
              <a:gd name="T7" fmla="*/ 59 h 160"/>
              <a:gd name="T8" fmla="*/ 149 w 160"/>
              <a:gd name="T9" fmla="*/ 40 h 160"/>
              <a:gd name="T10" fmla="*/ 131 w 160"/>
              <a:gd name="T11" fmla="*/ 33 h 160"/>
              <a:gd name="T12" fmla="*/ 133 w 160"/>
              <a:gd name="T13" fmla="*/ 23 h 160"/>
              <a:gd name="T14" fmla="*/ 121 w 160"/>
              <a:gd name="T15" fmla="*/ 14 h 160"/>
              <a:gd name="T16" fmla="*/ 112 w 160"/>
              <a:gd name="T17" fmla="*/ 19 h 160"/>
              <a:gd name="T18" fmla="*/ 101 w 160"/>
              <a:gd name="T19" fmla="*/ 3 h 160"/>
              <a:gd name="T20" fmla="*/ 83 w 160"/>
              <a:gd name="T21" fmla="*/ 11 h 160"/>
              <a:gd name="T22" fmla="*/ 77 w 160"/>
              <a:gd name="T23" fmla="*/ 3 h 160"/>
              <a:gd name="T24" fmla="*/ 63 w 160"/>
              <a:gd name="T25" fmla="*/ 5 h 160"/>
              <a:gd name="T26" fmla="*/ 59 w 160"/>
              <a:gd name="T27" fmla="*/ 14 h 160"/>
              <a:gd name="T28" fmla="*/ 40 w 160"/>
              <a:gd name="T29" fmla="*/ 11 h 160"/>
              <a:gd name="T30" fmla="*/ 33 w 160"/>
              <a:gd name="T31" fmla="*/ 29 h 160"/>
              <a:gd name="T32" fmla="*/ 23 w 160"/>
              <a:gd name="T33" fmla="*/ 27 h 160"/>
              <a:gd name="T34" fmla="*/ 14 w 160"/>
              <a:gd name="T35" fmla="*/ 39 h 160"/>
              <a:gd name="T36" fmla="*/ 19 w 160"/>
              <a:gd name="T37" fmla="*/ 48 h 160"/>
              <a:gd name="T38" fmla="*/ 14 w 160"/>
              <a:gd name="T39" fmla="*/ 59 h 160"/>
              <a:gd name="T40" fmla="*/ 3 w 160"/>
              <a:gd name="T41" fmla="*/ 59 h 160"/>
              <a:gd name="T42" fmla="*/ 11 w 160"/>
              <a:gd name="T43" fmla="*/ 77 h 160"/>
              <a:gd name="T44" fmla="*/ 3 w 160"/>
              <a:gd name="T45" fmla="*/ 83 h 160"/>
              <a:gd name="T46" fmla="*/ 5 w 160"/>
              <a:gd name="T47" fmla="*/ 97 h 160"/>
              <a:gd name="T48" fmla="*/ 6 w 160"/>
              <a:gd name="T49" fmla="*/ 103 h 160"/>
              <a:gd name="T50" fmla="*/ 12 w 160"/>
              <a:gd name="T51" fmla="*/ 116 h 160"/>
              <a:gd name="T52" fmla="*/ 14 w 160"/>
              <a:gd name="T53" fmla="*/ 121 h 160"/>
              <a:gd name="T54" fmla="*/ 23 w 160"/>
              <a:gd name="T55" fmla="*/ 133 h 160"/>
              <a:gd name="T56" fmla="*/ 27 w 160"/>
              <a:gd name="T57" fmla="*/ 137 h 160"/>
              <a:gd name="T58" fmla="*/ 39 w 160"/>
              <a:gd name="T59" fmla="*/ 136 h 160"/>
              <a:gd name="T60" fmla="*/ 39 w 160"/>
              <a:gd name="T61" fmla="*/ 146 h 160"/>
              <a:gd name="T62" fmla="*/ 44 w 160"/>
              <a:gd name="T63" fmla="*/ 148 h 160"/>
              <a:gd name="T64" fmla="*/ 57 w 160"/>
              <a:gd name="T65" fmla="*/ 154 h 160"/>
              <a:gd name="T66" fmla="*/ 63 w 160"/>
              <a:gd name="T67" fmla="*/ 155 h 160"/>
              <a:gd name="T68" fmla="*/ 77 w 160"/>
              <a:gd name="T69" fmla="*/ 157 h 160"/>
              <a:gd name="T70" fmla="*/ 83 w 160"/>
              <a:gd name="T71" fmla="*/ 149 h 160"/>
              <a:gd name="T72" fmla="*/ 100 w 160"/>
              <a:gd name="T73" fmla="*/ 157 h 160"/>
              <a:gd name="T74" fmla="*/ 101 w 160"/>
              <a:gd name="T75" fmla="*/ 146 h 160"/>
              <a:gd name="T76" fmla="*/ 119 w 160"/>
              <a:gd name="T77" fmla="*/ 150 h 160"/>
              <a:gd name="T78" fmla="*/ 117 w 160"/>
              <a:gd name="T79" fmla="*/ 139 h 160"/>
              <a:gd name="T80" fmla="*/ 121 w 160"/>
              <a:gd name="T81" fmla="*/ 136 h 160"/>
              <a:gd name="T82" fmla="*/ 135 w 160"/>
              <a:gd name="T83" fmla="*/ 137 h 160"/>
              <a:gd name="T84" fmla="*/ 131 w 160"/>
              <a:gd name="T85" fmla="*/ 127 h 160"/>
              <a:gd name="T86" fmla="*/ 147 w 160"/>
              <a:gd name="T87" fmla="*/ 121 h 160"/>
              <a:gd name="T88" fmla="*/ 141 w 160"/>
              <a:gd name="T89" fmla="*/ 112 h 160"/>
              <a:gd name="T90" fmla="*/ 155 w 160"/>
              <a:gd name="T91" fmla="*/ 103 h 160"/>
              <a:gd name="T92" fmla="*/ 148 w 160"/>
              <a:gd name="T93" fmla="*/ 95 h 160"/>
              <a:gd name="T94" fmla="*/ 120 w 160"/>
              <a:gd name="T95" fmla="*/ 130 h 160"/>
              <a:gd name="T96" fmla="*/ 109 w 160"/>
              <a:gd name="T97" fmla="*/ 74 h 160"/>
              <a:gd name="T98" fmla="*/ 120 w 160"/>
              <a:gd name="T99" fmla="*/ 130 h 160"/>
              <a:gd name="T100" fmla="*/ 65 w 160"/>
              <a:gd name="T101" fmla="*/ 105 h 160"/>
              <a:gd name="T102" fmla="*/ 115 w 160"/>
              <a:gd name="T103" fmla="*/ 133 h 160"/>
              <a:gd name="T104" fmla="*/ 18 w 160"/>
              <a:gd name="T105" fmla="*/ 63 h 160"/>
              <a:gd name="T106" fmla="*/ 61 w 160"/>
              <a:gd name="T107" fmla="*/ 102 h 160"/>
              <a:gd name="T108" fmla="*/ 77 w 160"/>
              <a:gd name="T109" fmla="*/ 16 h 160"/>
              <a:gd name="T110" fmla="*/ 20 w 160"/>
              <a:gd name="T111" fmla="*/ 58 h 160"/>
              <a:gd name="T112" fmla="*/ 107 w 160"/>
              <a:gd name="T113" fmla="*/ 68 h 160"/>
              <a:gd name="T114" fmla="*/ 140 w 160"/>
              <a:gd name="T115" fmla="*/ 58 h 160"/>
              <a:gd name="T116" fmla="*/ 80 w 160"/>
              <a:gd name="T117" fmla="*/ 56 h 160"/>
              <a:gd name="T118" fmla="*/ 80 w 160"/>
              <a:gd name="T119" fmla="*/ 77 h 160"/>
              <a:gd name="T120" fmla="*/ 77 w 160"/>
              <a:gd name="T121"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60">
                <a:moveTo>
                  <a:pt x="157" y="83"/>
                </a:moveTo>
                <a:cubicBezTo>
                  <a:pt x="159" y="83"/>
                  <a:pt x="160" y="81"/>
                  <a:pt x="160" y="80"/>
                </a:cubicBezTo>
                <a:cubicBezTo>
                  <a:pt x="160" y="79"/>
                  <a:pt x="159" y="77"/>
                  <a:pt x="157" y="77"/>
                </a:cubicBezTo>
                <a:cubicBezTo>
                  <a:pt x="149" y="77"/>
                  <a:pt x="149" y="77"/>
                  <a:pt x="149" y="77"/>
                </a:cubicBezTo>
                <a:cubicBezTo>
                  <a:pt x="149" y="73"/>
                  <a:pt x="149" y="69"/>
                  <a:pt x="148" y="65"/>
                </a:cubicBezTo>
                <a:cubicBezTo>
                  <a:pt x="155" y="63"/>
                  <a:pt x="155" y="63"/>
                  <a:pt x="155" y="63"/>
                </a:cubicBezTo>
                <a:cubicBezTo>
                  <a:pt x="157" y="62"/>
                  <a:pt x="158" y="61"/>
                  <a:pt x="157" y="59"/>
                </a:cubicBezTo>
                <a:cubicBezTo>
                  <a:pt x="157" y="58"/>
                  <a:pt x="155" y="57"/>
                  <a:pt x="154" y="57"/>
                </a:cubicBezTo>
                <a:cubicBezTo>
                  <a:pt x="146" y="59"/>
                  <a:pt x="146" y="59"/>
                  <a:pt x="146" y="59"/>
                </a:cubicBezTo>
                <a:cubicBezTo>
                  <a:pt x="146" y="59"/>
                  <a:pt x="146" y="59"/>
                  <a:pt x="146" y="59"/>
                </a:cubicBezTo>
                <a:cubicBezTo>
                  <a:pt x="146" y="59"/>
                  <a:pt x="146" y="59"/>
                  <a:pt x="146" y="59"/>
                </a:cubicBezTo>
                <a:cubicBezTo>
                  <a:pt x="146" y="59"/>
                  <a:pt x="146" y="59"/>
                  <a:pt x="146" y="59"/>
                </a:cubicBezTo>
                <a:cubicBezTo>
                  <a:pt x="145" y="55"/>
                  <a:pt x="143" y="51"/>
                  <a:pt x="141" y="48"/>
                </a:cubicBezTo>
                <a:cubicBezTo>
                  <a:pt x="148" y="44"/>
                  <a:pt x="148" y="44"/>
                  <a:pt x="148" y="44"/>
                </a:cubicBezTo>
                <a:cubicBezTo>
                  <a:pt x="150" y="43"/>
                  <a:pt x="150" y="41"/>
                  <a:pt x="149" y="40"/>
                </a:cubicBezTo>
                <a:cubicBezTo>
                  <a:pt x="149" y="39"/>
                  <a:pt x="147" y="38"/>
                  <a:pt x="146" y="39"/>
                </a:cubicBezTo>
                <a:cubicBezTo>
                  <a:pt x="139" y="43"/>
                  <a:pt x="139" y="43"/>
                  <a:pt x="139" y="43"/>
                </a:cubicBezTo>
                <a:cubicBezTo>
                  <a:pt x="136" y="39"/>
                  <a:pt x="134" y="36"/>
                  <a:pt x="131" y="33"/>
                </a:cubicBezTo>
                <a:cubicBezTo>
                  <a:pt x="137" y="27"/>
                  <a:pt x="137" y="27"/>
                  <a:pt x="137" y="27"/>
                </a:cubicBezTo>
                <a:cubicBezTo>
                  <a:pt x="138" y="26"/>
                  <a:pt x="138" y="24"/>
                  <a:pt x="137" y="23"/>
                </a:cubicBezTo>
                <a:cubicBezTo>
                  <a:pt x="136" y="22"/>
                  <a:pt x="134" y="22"/>
                  <a:pt x="133" y="23"/>
                </a:cubicBezTo>
                <a:cubicBezTo>
                  <a:pt x="127" y="29"/>
                  <a:pt x="127" y="29"/>
                  <a:pt x="127" y="29"/>
                </a:cubicBezTo>
                <a:cubicBezTo>
                  <a:pt x="124" y="26"/>
                  <a:pt x="121" y="24"/>
                  <a:pt x="117" y="21"/>
                </a:cubicBezTo>
                <a:cubicBezTo>
                  <a:pt x="121" y="14"/>
                  <a:pt x="121" y="14"/>
                  <a:pt x="121" y="14"/>
                </a:cubicBezTo>
                <a:cubicBezTo>
                  <a:pt x="122" y="13"/>
                  <a:pt x="121" y="11"/>
                  <a:pt x="120" y="11"/>
                </a:cubicBezTo>
                <a:cubicBezTo>
                  <a:pt x="119" y="10"/>
                  <a:pt x="117" y="10"/>
                  <a:pt x="116" y="12"/>
                </a:cubicBezTo>
                <a:cubicBezTo>
                  <a:pt x="112" y="19"/>
                  <a:pt x="112" y="19"/>
                  <a:pt x="112" y="19"/>
                </a:cubicBezTo>
                <a:cubicBezTo>
                  <a:pt x="109" y="17"/>
                  <a:pt x="105" y="15"/>
                  <a:pt x="101" y="14"/>
                </a:cubicBezTo>
                <a:cubicBezTo>
                  <a:pt x="103" y="6"/>
                  <a:pt x="103" y="6"/>
                  <a:pt x="103" y="6"/>
                </a:cubicBezTo>
                <a:cubicBezTo>
                  <a:pt x="103" y="5"/>
                  <a:pt x="102" y="3"/>
                  <a:pt x="101" y="3"/>
                </a:cubicBezTo>
                <a:cubicBezTo>
                  <a:pt x="99" y="2"/>
                  <a:pt x="98" y="3"/>
                  <a:pt x="97" y="5"/>
                </a:cubicBezTo>
                <a:cubicBezTo>
                  <a:pt x="95" y="12"/>
                  <a:pt x="95" y="12"/>
                  <a:pt x="95" y="12"/>
                </a:cubicBezTo>
                <a:cubicBezTo>
                  <a:pt x="91" y="11"/>
                  <a:pt x="87" y="11"/>
                  <a:pt x="83" y="11"/>
                </a:cubicBezTo>
                <a:cubicBezTo>
                  <a:pt x="83" y="3"/>
                  <a:pt x="83" y="3"/>
                  <a:pt x="83" y="3"/>
                </a:cubicBezTo>
                <a:cubicBezTo>
                  <a:pt x="83" y="1"/>
                  <a:pt x="81" y="0"/>
                  <a:pt x="80" y="0"/>
                </a:cubicBezTo>
                <a:cubicBezTo>
                  <a:pt x="79" y="0"/>
                  <a:pt x="77" y="1"/>
                  <a:pt x="77" y="3"/>
                </a:cubicBezTo>
                <a:cubicBezTo>
                  <a:pt x="77" y="11"/>
                  <a:pt x="77" y="11"/>
                  <a:pt x="77" y="11"/>
                </a:cubicBezTo>
                <a:cubicBezTo>
                  <a:pt x="73" y="11"/>
                  <a:pt x="69" y="11"/>
                  <a:pt x="65" y="12"/>
                </a:cubicBezTo>
                <a:cubicBezTo>
                  <a:pt x="63" y="5"/>
                  <a:pt x="63" y="5"/>
                  <a:pt x="63" y="5"/>
                </a:cubicBezTo>
                <a:cubicBezTo>
                  <a:pt x="62" y="3"/>
                  <a:pt x="61" y="2"/>
                  <a:pt x="59" y="3"/>
                </a:cubicBezTo>
                <a:cubicBezTo>
                  <a:pt x="58" y="3"/>
                  <a:pt x="57" y="5"/>
                  <a:pt x="57" y="6"/>
                </a:cubicBezTo>
                <a:cubicBezTo>
                  <a:pt x="59" y="14"/>
                  <a:pt x="59" y="14"/>
                  <a:pt x="59" y="14"/>
                </a:cubicBezTo>
                <a:cubicBezTo>
                  <a:pt x="55" y="15"/>
                  <a:pt x="51" y="17"/>
                  <a:pt x="48" y="19"/>
                </a:cubicBezTo>
                <a:cubicBezTo>
                  <a:pt x="44" y="12"/>
                  <a:pt x="44" y="12"/>
                  <a:pt x="44" y="12"/>
                </a:cubicBezTo>
                <a:cubicBezTo>
                  <a:pt x="43" y="10"/>
                  <a:pt x="41" y="10"/>
                  <a:pt x="40" y="11"/>
                </a:cubicBezTo>
                <a:cubicBezTo>
                  <a:pt x="39" y="11"/>
                  <a:pt x="38" y="13"/>
                  <a:pt x="39" y="14"/>
                </a:cubicBezTo>
                <a:cubicBezTo>
                  <a:pt x="43" y="21"/>
                  <a:pt x="43" y="21"/>
                  <a:pt x="43" y="21"/>
                </a:cubicBezTo>
                <a:cubicBezTo>
                  <a:pt x="39" y="24"/>
                  <a:pt x="36" y="26"/>
                  <a:pt x="33" y="29"/>
                </a:cubicBezTo>
                <a:cubicBezTo>
                  <a:pt x="27" y="23"/>
                  <a:pt x="27" y="23"/>
                  <a:pt x="27" y="23"/>
                </a:cubicBezTo>
                <a:cubicBezTo>
                  <a:pt x="26" y="22"/>
                  <a:pt x="24" y="22"/>
                  <a:pt x="23" y="23"/>
                </a:cubicBezTo>
                <a:cubicBezTo>
                  <a:pt x="22" y="24"/>
                  <a:pt x="22" y="26"/>
                  <a:pt x="23" y="27"/>
                </a:cubicBezTo>
                <a:cubicBezTo>
                  <a:pt x="29" y="33"/>
                  <a:pt x="29" y="33"/>
                  <a:pt x="29" y="33"/>
                </a:cubicBezTo>
                <a:cubicBezTo>
                  <a:pt x="26" y="36"/>
                  <a:pt x="24" y="39"/>
                  <a:pt x="21" y="43"/>
                </a:cubicBezTo>
                <a:cubicBezTo>
                  <a:pt x="14" y="39"/>
                  <a:pt x="14" y="39"/>
                  <a:pt x="14" y="39"/>
                </a:cubicBezTo>
                <a:cubicBezTo>
                  <a:pt x="13" y="38"/>
                  <a:pt x="11" y="39"/>
                  <a:pt x="11" y="40"/>
                </a:cubicBezTo>
                <a:cubicBezTo>
                  <a:pt x="10" y="41"/>
                  <a:pt x="10" y="43"/>
                  <a:pt x="12" y="44"/>
                </a:cubicBezTo>
                <a:cubicBezTo>
                  <a:pt x="19" y="48"/>
                  <a:pt x="19" y="48"/>
                  <a:pt x="19" y="48"/>
                </a:cubicBezTo>
                <a:cubicBezTo>
                  <a:pt x="17" y="51"/>
                  <a:pt x="15" y="55"/>
                  <a:pt x="14" y="59"/>
                </a:cubicBezTo>
                <a:cubicBezTo>
                  <a:pt x="14" y="59"/>
                  <a:pt x="14" y="59"/>
                  <a:pt x="14" y="59"/>
                </a:cubicBezTo>
                <a:cubicBezTo>
                  <a:pt x="14" y="59"/>
                  <a:pt x="14" y="59"/>
                  <a:pt x="14" y="59"/>
                </a:cubicBezTo>
                <a:cubicBezTo>
                  <a:pt x="14" y="59"/>
                  <a:pt x="14" y="59"/>
                  <a:pt x="14" y="59"/>
                </a:cubicBezTo>
                <a:cubicBezTo>
                  <a:pt x="6" y="57"/>
                  <a:pt x="6" y="57"/>
                  <a:pt x="6" y="57"/>
                </a:cubicBezTo>
                <a:cubicBezTo>
                  <a:pt x="5" y="57"/>
                  <a:pt x="3" y="58"/>
                  <a:pt x="3" y="59"/>
                </a:cubicBezTo>
                <a:cubicBezTo>
                  <a:pt x="2" y="61"/>
                  <a:pt x="3" y="62"/>
                  <a:pt x="5" y="63"/>
                </a:cubicBezTo>
                <a:cubicBezTo>
                  <a:pt x="12" y="65"/>
                  <a:pt x="12" y="65"/>
                  <a:pt x="12" y="65"/>
                </a:cubicBezTo>
                <a:cubicBezTo>
                  <a:pt x="11" y="69"/>
                  <a:pt x="11" y="73"/>
                  <a:pt x="11" y="77"/>
                </a:cubicBezTo>
                <a:cubicBezTo>
                  <a:pt x="3" y="77"/>
                  <a:pt x="3" y="77"/>
                  <a:pt x="3" y="77"/>
                </a:cubicBezTo>
                <a:cubicBezTo>
                  <a:pt x="1" y="77"/>
                  <a:pt x="0" y="79"/>
                  <a:pt x="0" y="80"/>
                </a:cubicBezTo>
                <a:cubicBezTo>
                  <a:pt x="0" y="81"/>
                  <a:pt x="1" y="83"/>
                  <a:pt x="3" y="83"/>
                </a:cubicBezTo>
                <a:cubicBezTo>
                  <a:pt x="11" y="83"/>
                  <a:pt x="11" y="83"/>
                  <a:pt x="11" y="83"/>
                </a:cubicBezTo>
                <a:cubicBezTo>
                  <a:pt x="11" y="87"/>
                  <a:pt x="11" y="91"/>
                  <a:pt x="12" y="95"/>
                </a:cubicBezTo>
                <a:cubicBezTo>
                  <a:pt x="5" y="97"/>
                  <a:pt x="5" y="97"/>
                  <a:pt x="5" y="97"/>
                </a:cubicBezTo>
                <a:cubicBezTo>
                  <a:pt x="3" y="98"/>
                  <a:pt x="2" y="99"/>
                  <a:pt x="3" y="101"/>
                </a:cubicBezTo>
                <a:cubicBezTo>
                  <a:pt x="3" y="102"/>
                  <a:pt x="4" y="103"/>
                  <a:pt x="5" y="103"/>
                </a:cubicBezTo>
                <a:cubicBezTo>
                  <a:pt x="6" y="103"/>
                  <a:pt x="6" y="103"/>
                  <a:pt x="6" y="103"/>
                </a:cubicBezTo>
                <a:cubicBezTo>
                  <a:pt x="14" y="101"/>
                  <a:pt x="14" y="101"/>
                  <a:pt x="14" y="101"/>
                </a:cubicBezTo>
                <a:cubicBezTo>
                  <a:pt x="15" y="105"/>
                  <a:pt x="17" y="109"/>
                  <a:pt x="19" y="112"/>
                </a:cubicBezTo>
                <a:cubicBezTo>
                  <a:pt x="12" y="116"/>
                  <a:pt x="12" y="116"/>
                  <a:pt x="12" y="116"/>
                </a:cubicBezTo>
                <a:cubicBezTo>
                  <a:pt x="10" y="117"/>
                  <a:pt x="10" y="119"/>
                  <a:pt x="11" y="120"/>
                </a:cubicBezTo>
                <a:cubicBezTo>
                  <a:pt x="11" y="121"/>
                  <a:pt x="12" y="121"/>
                  <a:pt x="13" y="121"/>
                </a:cubicBezTo>
                <a:cubicBezTo>
                  <a:pt x="13" y="121"/>
                  <a:pt x="14" y="121"/>
                  <a:pt x="14" y="121"/>
                </a:cubicBezTo>
                <a:cubicBezTo>
                  <a:pt x="21" y="117"/>
                  <a:pt x="21" y="117"/>
                  <a:pt x="21" y="117"/>
                </a:cubicBezTo>
                <a:cubicBezTo>
                  <a:pt x="24" y="121"/>
                  <a:pt x="26" y="124"/>
                  <a:pt x="29" y="127"/>
                </a:cubicBezTo>
                <a:cubicBezTo>
                  <a:pt x="23" y="133"/>
                  <a:pt x="23" y="133"/>
                  <a:pt x="23" y="133"/>
                </a:cubicBezTo>
                <a:cubicBezTo>
                  <a:pt x="22" y="134"/>
                  <a:pt x="22" y="136"/>
                  <a:pt x="23" y="137"/>
                </a:cubicBezTo>
                <a:cubicBezTo>
                  <a:pt x="24" y="137"/>
                  <a:pt x="25" y="137"/>
                  <a:pt x="25" y="137"/>
                </a:cubicBezTo>
                <a:cubicBezTo>
                  <a:pt x="26" y="137"/>
                  <a:pt x="27" y="137"/>
                  <a:pt x="27" y="137"/>
                </a:cubicBezTo>
                <a:cubicBezTo>
                  <a:pt x="33" y="131"/>
                  <a:pt x="33" y="131"/>
                  <a:pt x="33" y="131"/>
                </a:cubicBezTo>
                <a:cubicBezTo>
                  <a:pt x="35" y="133"/>
                  <a:pt x="37" y="134"/>
                  <a:pt x="39" y="136"/>
                </a:cubicBezTo>
                <a:cubicBezTo>
                  <a:pt x="39" y="136"/>
                  <a:pt x="39" y="136"/>
                  <a:pt x="39" y="136"/>
                </a:cubicBezTo>
                <a:cubicBezTo>
                  <a:pt x="39" y="136"/>
                  <a:pt x="39" y="136"/>
                  <a:pt x="39" y="136"/>
                </a:cubicBezTo>
                <a:cubicBezTo>
                  <a:pt x="41" y="137"/>
                  <a:pt x="42" y="138"/>
                  <a:pt x="43" y="139"/>
                </a:cubicBezTo>
                <a:cubicBezTo>
                  <a:pt x="39" y="146"/>
                  <a:pt x="39" y="146"/>
                  <a:pt x="39" y="146"/>
                </a:cubicBezTo>
                <a:cubicBezTo>
                  <a:pt x="38" y="147"/>
                  <a:pt x="39" y="149"/>
                  <a:pt x="40" y="149"/>
                </a:cubicBezTo>
                <a:cubicBezTo>
                  <a:pt x="40" y="150"/>
                  <a:pt x="41" y="150"/>
                  <a:pt x="41" y="150"/>
                </a:cubicBezTo>
                <a:cubicBezTo>
                  <a:pt x="42" y="150"/>
                  <a:pt x="43" y="149"/>
                  <a:pt x="44" y="148"/>
                </a:cubicBezTo>
                <a:cubicBezTo>
                  <a:pt x="48" y="141"/>
                  <a:pt x="48" y="141"/>
                  <a:pt x="48" y="141"/>
                </a:cubicBezTo>
                <a:cubicBezTo>
                  <a:pt x="51" y="143"/>
                  <a:pt x="55" y="145"/>
                  <a:pt x="59" y="146"/>
                </a:cubicBezTo>
                <a:cubicBezTo>
                  <a:pt x="57" y="154"/>
                  <a:pt x="57" y="154"/>
                  <a:pt x="57" y="154"/>
                </a:cubicBezTo>
                <a:cubicBezTo>
                  <a:pt x="57" y="155"/>
                  <a:pt x="58" y="157"/>
                  <a:pt x="59" y="157"/>
                </a:cubicBezTo>
                <a:cubicBezTo>
                  <a:pt x="60" y="157"/>
                  <a:pt x="60" y="157"/>
                  <a:pt x="60" y="157"/>
                </a:cubicBezTo>
                <a:cubicBezTo>
                  <a:pt x="61" y="157"/>
                  <a:pt x="62" y="157"/>
                  <a:pt x="63" y="155"/>
                </a:cubicBezTo>
                <a:cubicBezTo>
                  <a:pt x="65" y="148"/>
                  <a:pt x="65" y="148"/>
                  <a:pt x="65" y="148"/>
                </a:cubicBezTo>
                <a:cubicBezTo>
                  <a:pt x="69" y="149"/>
                  <a:pt x="73" y="149"/>
                  <a:pt x="77" y="149"/>
                </a:cubicBezTo>
                <a:cubicBezTo>
                  <a:pt x="77" y="157"/>
                  <a:pt x="77" y="157"/>
                  <a:pt x="77" y="157"/>
                </a:cubicBezTo>
                <a:cubicBezTo>
                  <a:pt x="77" y="159"/>
                  <a:pt x="79" y="160"/>
                  <a:pt x="80" y="160"/>
                </a:cubicBezTo>
                <a:cubicBezTo>
                  <a:pt x="81" y="160"/>
                  <a:pt x="83" y="159"/>
                  <a:pt x="83" y="157"/>
                </a:cubicBezTo>
                <a:cubicBezTo>
                  <a:pt x="83" y="149"/>
                  <a:pt x="83" y="149"/>
                  <a:pt x="83" y="149"/>
                </a:cubicBezTo>
                <a:cubicBezTo>
                  <a:pt x="87" y="149"/>
                  <a:pt x="91" y="149"/>
                  <a:pt x="95" y="148"/>
                </a:cubicBezTo>
                <a:cubicBezTo>
                  <a:pt x="97" y="155"/>
                  <a:pt x="97" y="155"/>
                  <a:pt x="97" y="155"/>
                </a:cubicBezTo>
                <a:cubicBezTo>
                  <a:pt x="98" y="157"/>
                  <a:pt x="99" y="157"/>
                  <a:pt x="100" y="157"/>
                </a:cubicBezTo>
                <a:cubicBezTo>
                  <a:pt x="100" y="157"/>
                  <a:pt x="100" y="157"/>
                  <a:pt x="101" y="157"/>
                </a:cubicBezTo>
                <a:cubicBezTo>
                  <a:pt x="102" y="157"/>
                  <a:pt x="103" y="155"/>
                  <a:pt x="103" y="154"/>
                </a:cubicBezTo>
                <a:cubicBezTo>
                  <a:pt x="101" y="146"/>
                  <a:pt x="101" y="146"/>
                  <a:pt x="101" y="146"/>
                </a:cubicBezTo>
                <a:cubicBezTo>
                  <a:pt x="105" y="145"/>
                  <a:pt x="109" y="143"/>
                  <a:pt x="112" y="141"/>
                </a:cubicBezTo>
                <a:cubicBezTo>
                  <a:pt x="116" y="148"/>
                  <a:pt x="116" y="148"/>
                  <a:pt x="116" y="148"/>
                </a:cubicBezTo>
                <a:cubicBezTo>
                  <a:pt x="117" y="149"/>
                  <a:pt x="118" y="150"/>
                  <a:pt x="119" y="150"/>
                </a:cubicBezTo>
                <a:cubicBezTo>
                  <a:pt x="119" y="150"/>
                  <a:pt x="120" y="150"/>
                  <a:pt x="120" y="149"/>
                </a:cubicBezTo>
                <a:cubicBezTo>
                  <a:pt x="121" y="149"/>
                  <a:pt x="122" y="147"/>
                  <a:pt x="121" y="146"/>
                </a:cubicBezTo>
                <a:cubicBezTo>
                  <a:pt x="117" y="139"/>
                  <a:pt x="117" y="139"/>
                  <a:pt x="117" y="139"/>
                </a:cubicBezTo>
                <a:cubicBezTo>
                  <a:pt x="118" y="138"/>
                  <a:pt x="119" y="137"/>
                  <a:pt x="121" y="136"/>
                </a:cubicBezTo>
                <a:cubicBezTo>
                  <a:pt x="121" y="136"/>
                  <a:pt x="121" y="136"/>
                  <a:pt x="121" y="136"/>
                </a:cubicBezTo>
                <a:cubicBezTo>
                  <a:pt x="121" y="136"/>
                  <a:pt x="121" y="136"/>
                  <a:pt x="121" y="136"/>
                </a:cubicBezTo>
                <a:cubicBezTo>
                  <a:pt x="123" y="134"/>
                  <a:pt x="125" y="133"/>
                  <a:pt x="127" y="131"/>
                </a:cubicBezTo>
                <a:cubicBezTo>
                  <a:pt x="133" y="137"/>
                  <a:pt x="133" y="137"/>
                  <a:pt x="133" y="137"/>
                </a:cubicBezTo>
                <a:cubicBezTo>
                  <a:pt x="133" y="137"/>
                  <a:pt x="134" y="137"/>
                  <a:pt x="135" y="137"/>
                </a:cubicBezTo>
                <a:cubicBezTo>
                  <a:pt x="135" y="137"/>
                  <a:pt x="136" y="137"/>
                  <a:pt x="137" y="137"/>
                </a:cubicBezTo>
                <a:cubicBezTo>
                  <a:pt x="138" y="136"/>
                  <a:pt x="138" y="134"/>
                  <a:pt x="137" y="133"/>
                </a:cubicBezTo>
                <a:cubicBezTo>
                  <a:pt x="131" y="127"/>
                  <a:pt x="131" y="127"/>
                  <a:pt x="131" y="127"/>
                </a:cubicBezTo>
                <a:cubicBezTo>
                  <a:pt x="134" y="124"/>
                  <a:pt x="136" y="121"/>
                  <a:pt x="139" y="117"/>
                </a:cubicBezTo>
                <a:cubicBezTo>
                  <a:pt x="146" y="121"/>
                  <a:pt x="146" y="121"/>
                  <a:pt x="146" y="121"/>
                </a:cubicBezTo>
                <a:cubicBezTo>
                  <a:pt x="146" y="121"/>
                  <a:pt x="147" y="121"/>
                  <a:pt x="147" y="121"/>
                </a:cubicBezTo>
                <a:cubicBezTo>
                  <a:pt x="148" y="121"/>
                  <a:pt x="149" y="121"/>
                  <a:pt x="149" y="120"/>
                </a:cubicBezTo>
                <a:cubicBezTo>
                  <a:pt x="150" y="119"/>
                  <a:pt x="150" y="117"/>
                  <a:pt x="148" y="116"/>
                </a:cubicBezTo>
                <a:cubicBezTo>
                  <a:pt x="141" y="112"/>
                  <a:pt x="141" y="112"/>
                  <a:pt x="141" y="112"/>
                </a:cubicBezTo>
                <a:cubicBezTo>
                  <a:pt x="143" y="109"/>
                  <a:pt x="145" y="105"/>
                  <a:pt x="146" y="101"/>
                </a:cubicBezTo>
                <a:cubicBezTo>
                  <a:pt x="154" y="103"/>
                  <a:pt x="154" y="103"/>
                  <a:pt x="154" y="103"/>
                </a:cubicBezTo>
                <a:cubicBezTo>
                  <a:pt x="154" y="103"/>
                  <a:pt x="154" y="103"/>
                  <a:pt x="155" y="103"/>
                </a:cubicBezTo>
                <a:cubicBezTo>
                  <a:pt x="156" y="103"/>
                  <a:pt x="157" y="102"/>
                  <a:pt x="157" y="101"/>
                </a:cubicBezTo>
                <a:cubicBezTo>
                  <a:pt x="158" y="99"/>
                  <a:pt x="157" y="98"/>
                  <a:pt x="155" y="97"/>
                </a:cubicBezTo>
                <a:cubicBezTo>
                  <a:pt x="148" y="95"/>
                  <a:pt x="148" y="95"/>
                  <a:pt x="148" y="95"/>
                </a:cubicBezTo>
                <a:cubicBezTo>
                  <a:pt x="149" y="91"/>
                  <a:pt x="149" y="87"/>
                  <a:pt x="149" y="83"/>
                </a:cubicBezTo>
                <a:lnTo>
                  <a:pt x="157" y="83"/>
                </a:lnTo>
                <a:close/>
                <a:moveTo>
                  <a:pt x="120" y="130"/>
                </a:moveTo>
                <a:cubicBezTo>
                  <a:pt x="99" y="102"/>
                  <a:pt x="99" y="102"/>
                  <a:pt x="99" y="102"/>
                </a:cubicBezTo>
                <a:cubicBezTo>
                  <a:pt x="105" y="97"/>
                  <a:pt x="109" y="89"/>
                  <a:pt x="109" y="80"/>
                </a:cubicBezTo>
                <a:cubicBezTo>
                  <a:pt x="109" y="78"/>
                  <a:pt x="109" y="76"/>
                  <a:pt x="109" y="74"/>
                </a:cubicBezTo>
                <a:cubicBezTo>
                  <a:pt x="142" y="63"/>
                  <a:pt x="142" y="63"/>
                  <a:pt x="142" y="63"/>
                </a:cubicBezTo>
                <a:cubicBezTo>
                  <a:pt x="143" y="68"/>
                  <a:pt x="144" y="74"/>
                  <a:pt x="144" y="80"/>
                </a:cubicBezTo>
                <a:cubicBezTo>
                  <a:pt x="144" y="100"/>
                  <a:pt x="134" y="118"/>
                  <a:pt x="120" y="130"/>
                </a:cubicBezTo>
                <a:close/>
                <a:moveTo>
                  <a:pt x="80" y="144"/>
                </a:moveTo>
                <a:cubicBezTo>
                  <a:pt x="67" y="144"/>
                  <a:pt x="55" y="140"/>
                  <a:pt x="45" y="133"/>
                </a:cubicBezTo>
                <a:cubicBezTo>
                  <a:pt x="65" y="105"/>
                  <a:pt x="65" y="105"/>
                  <a:pt x="65" y="105"/>
                </a:cubicBezTo>
                <a:cubicBezTo>
                  <a:pt x="69" y="108"/>
                  <a:pt x="75" y="109"/>
                  <a:pt x="80" y="109"/>
                </a:cubicBezTo>
                <a:cubicBezTo>
                  <a:pt x="85" y="109"/>
                  <a:pt x="91" y="108"/>
                  <a:pt x="95" y="105"/>
                </a:cubicBezTo>
                <a:cubicBezTo>
                  <a:pt x="115" y="133"/>
                  <a:pt x="115" y="133"/>
                  <a:pt x="115" y="133"/>
                </a:cubicBezTo>
                <a:cubicBezTo>
                  <a:pt x="105" y="140"/>
                  <a:pt x="93" y="144"/>
                  <a:pt x="80" y="144"/>
                </a:cubicBezTo>
                <a:close/>
                <a:moveTo>
                  <a:pt x="16" y="80"/>
                </a:moveTo>
                <a:cubicBezTo>
                  <a:pt x="16" y="74"/>
                  <a:pt x="17" y="68"/>
                  <a:pt x="18" y="63"/>
                </a:cubicBezTo>
                <a:cubicBezTo>
                  <a:pt x="51" y="74"/>
                  <a:pt x="51" y="74"/>
                  <a:pt x="51" y="74"/>
                </a:cubicBezTo>
                <a:cubicBezTo>
                  <a:pt x="51" y="76"/>
                  <a:pt x="51" y="78"/>
                  <a:pt x="51" y="80"/>
                </a:cubicBezTo>
                <a:cubicBezTo>
                  <a:pt x="51" y="89"/>
                  <a:pt x="55" y="97"/>
                  <a:pt x="61" y="102"/>
                </a:cubicBezTo>
                <a:cubicBezTo>
                  <a:pt x="40" y="130"/>
                  <a:pt x="40" y="130"/>
                  <a:pt x="40" y="130"/>
                </a:cubicBezTo>
                <a:cubicBezTo>
                  <a:pt x="26" y="118"/>
                  <a:pt x="16" y="100"/>
                  <a:pt x="16" y="80"/>
                </a:cubicBezTo>
                <a:close/>
                <a:moveTo>
                  <a:pt x="77" y="16"/>
                </a:moveTo>
                <a:cubicBezTo>
                  <a:pt x="77" y="51"/>
                  <a:pt x="77" y="51"/>
                  <a:pt x="77" y="51"/>
                </a:cubicBezTo>
                <a:cubicBezTo>
                  <a:pt x="66" y="52"/>
                  <a:pt x="57" y="59"/>
                  <a:pt x="53" y="68"/>
                </a:cubicBezTo>
                <a:cubicBezTo>
                  <a:pt x="20" y="58"/>
                  <a:pt x="20" y="58"/>
                  <a:pt x="20" y="58"/>
                </a:cubicBezTo>
                <a:cubicBezTo>
                  <a:pt x="29" y="34"/>
                  <a:pt x="51" y="17"/>
                  <a:pt x="77" y="16"/>
                </a:cubicBezTo>
                <a:close/>
                <a:moveTo>
                  <a:pt x="140" y="58"/>
                </a:moveTo>
                <a:cubicBezTo>
                  <a:pt x="107" y="68"/>
                  <a:pt x="107" y="68"/>
                  <a:pt x="107" y="68"/>
                </a:cubicBezTo>
                <a:cubicBezTo>
                  <a:pt x="103" y="59"/>
                  <a:pt x="94" y="52"/>
                  <a:pt x="83" y="51"/>
                </a:cubicBezTo>
                <a:cubicBezTo>
                  <a:pt x="83" y="16"/>
                  <a:pt x="83" y="16"/>
                  <a:pt x="83" y="16"/>
                </a:cubicBezTo>
                <a:cubicBezTo>
                  <a:pt x="109" y="17"/>
                  <a:pt x="131" y="34"/>
                  <a:pt x="140" y="58"/>
                </a:cubicBezTo>
                <a:close/>
                <a:moveTo>
                  <a:pt x="80" y="104"/>
                </a:moveTo>
                <a:cubicBezTo>
                  <a:pt x="67" y="104"/>
                  <a:pt x="56" y="93"/>
                  <a:pt x="56" y="80"/>
                </a:cubicBezTo>
                <a:cubicBezTo>
                  <a:pt x="56" y="67"/>
                  <a:pt x="67" y="56"/>
                  <a:pt x="80" y="56"/>
                </a:cubicBezTo>
                <a:cubicBezTo>
                  <a:pt x="93" y="56"/>
                  <a:pt x="104" y="67"/>
                  <a:pt x="104" y="80"/>
                </a:cubicBezTo>
                <a:cubicBezTo>
                  <a:pt x="104" y="93"/>
                  <a:pt x="93" y="104"/>
                  <a:pt x="80" y="104"/>
                </a:cubicBezTo>
                <a:close/>
                <a:moveTo>
                  <a:pt x="80" y="77"/>
                </a:moveTo>
                <a:cubicBezTo>
                  <a:pt x="81" y="77"/>
                  <a:pt x="83" y="79"/>
                  <a:pt x="83" y="80"/>
                </a:cubicBezTo>
                <a:cubicBezTo>
                  <a:pt x="83" y="81"/>
                  <a:pt x="81" y="83"/>
                  <a:pt x="80" y="83"/>
                </a:cubicBezTo>
                <a:cubicBezTo>
                  <a:pt x="79" y="83"/>
                  <a:pt x="77" y="81"/>
                  <a:pt x="77" y="80"/>
                </a:cubicBezTo>
                <a:cubicBezTo>
                  <a:pt x="77" y="79"/>
                  <a:pt x="79" y="77"/>
                  <a:pt x="80" y="7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62" name="Freeform 1364">
            <a:extLst>
              <a:ext uri="{FF2B5EF4-FFF2-40B4-BE49-F238E27FC236}">
                <a16:creationId xmlns:a16="http://schemas.microsoft.com/office/drawing/2014/main" id="{A329AC65-08AB-D34A-BF97-EB33BD38A84E}"/>
              </a:ext>
            </a:extLst>
          </p:cNvPr>
          <p:cNvSpPr>
            <a:spLocks noEditPoints="1"/>
          </p:cNvSpPr>
          <p:nvPr/>
        </p:nvSpPr>
        <p:spPr bwMode="auto">
          <a:xfrm>
            <a:off x="7176662" y="5938838"/>
            <a:ext cx="546100" cy="550863"/>
          </a:xfrm>
          <a:custGeom>
            <a:avLst/>
            <a:gdLst>
              <a:gd name="T0" fmla="*/ 157 w 160"/>
              <a:gd name="T1" fmla="*/ 77 h 160"/>
              <a:gd name="T2" fmla="*/ 155 w 160"/>
              <a:gd name="T3" fmla="*/ 63 h 160"/>
              <a:gd name="T4" fmla="*/ 146 w 160"/>
              <a:gd name="T5" fmla="*/ 59 h 160"/>
              <a:gd name="T6" fmla="*/ 149 w 160"/>
              <a:gd name="T7" fmla="*/ 40 h 160"/>
              <a:gd name="T8" fmla="*/ 131 w 160"/>
              <a:gd name="T9" fmla="*/ 33 h 160"/>
              <a:gd name="T10" fmla="*/ 133 w 160"/>
              <a:gd name="T11" fmla="*/ 23 h 160"/>
              <a:gd name="T12" fmla="*/ 121 w 160"/>
              <a:gd name="T13" fmla="*/ 14 h 160"/>
              <a:gd name="T14" fmla="*/ 112 w 160"/>
              <a:gd name="T15" fmla="*/ 19 h 160"/>
              <a:gd name="T16" fmla="*/ 101 w 160"/>
              <a:gd name="T17" fmla="*/ 3 h 160"/>
              <a:gd name="T18" fmla="*/ 83 w 160"/>
              <a:gd name="T19" fmla="*/ 11 h 160"/>
              <a:gd name="T20" fmla="*/ 77 w 160"/>
              <a:gd name="T21" fmla="*/ 3 h 160"/>
              <a:gd name="T22" fmla="*/ 63 w 160"/>
              <a:gd name="T23" fmla="*/ 5 h 160"/>
              <a:gd name="T24" fmla="*/ 59 w 160"/>
              <a:gd name="T25" fmla="*/ 14 h 160"/>
              <a:gd name="T26" fmla="*/ 40 w 160"/>
              <a:gd name="T27" fmla="*/ 11 h 160"/>
              <a:gd name="T28" fmla="*/ 33 w 160"/>
              <a:gd name="T29" fmla="*/ 29 h 160"/>
              <a:gd name="T30" fmla="*/ 23 w 160"/>
              <a:gd name="T31" fmla="*/ 27 h 160"/>
              <a:gd name="T32" fmla="*/ 14 w 160"/>
              <a:gd name="T33" fmla="*/ 39 h 160"/>
              <a:gd name="T34" fmla="*/ 19 w 160"/>
              <a:gd name="T35" fmla="*/ 48 h 160"/>
              <a:gd name="T36" fmla="*/ 3 w 160"/>
              <a:gd name="T37" fmla="*/ 59 h 160"/>
              <a:gd name="T38" fmla="*/ 11 w 160"/>
              <a:gd name="T39" fmla="*/ 77 h 160"/>
              <a:gd name="T40" fmla="*/ 3 w 160"/>
              <a:gd name="T41" fmla="*/ 83 h 160"/>
              <a:gd name="T42" fmla="*/ 5 w 160"/>
              <a:gd name="T43" fmla="*/ 97 h 160"/>
              <a:gd name="T44" fmla="*/ 6 w 160"/>
              <a:gd name="T45" fmla="*/ 103 h 160"/>
              <a:gd name="T46" fmla="*/ 12 w 160"/>
              <a:gd name="T47" fmla="*/ 116 h 160"/>
              <a:gd name="T48" fmla="*/ 14 w 160"/>
              <a:gd name="T49" fmla="*/ 121 h 160"/>
              <a:gd name="T50" fmla="*/ 23 w 160"/>
              <a:gd name="T51" fmla="*/ 133 h 160"/>
              <a:gd name="T52" fmla="*/ 27 w 160"/>
              <a:gd name="T53" fmla="*/ 137 h 160"/>
              <a:gd name="T54" fmla="*/ 39 w 160"/>
              <a:gd name="T55" fmla="*/ 146 h 160"/>
              <a:gd name="T56" fmla="*/ 44 w 160"/>
              <a:gd name="T57" fmla="*/ 148 h 160"/>
              <a:gd name="T58" fmla="*/ 57 w 160"/>
              <a:gd name="T59" fmla="*/ 154 h 160"/>
              <a:gd name="T60" fmla="*/ 63 w 160"/>
              <a:gd name="T61" fmla="*/ 155 h 160"/>
              <a:gd name="T62" fmla="*/ 77 w 160"/>
              <a:gd name="T63" fmla="*/ 157 h 160"/>
              <a:gd name="T64" fmla="*/ 83 w 160"/>
              <a:gd name="T65" fmla="*/ 149 h 160"/>
              <a:gd name="T66" fmla="*/ 100 w 160"/>
              <a:gd name="T67" fmla="*/ 157 h 160"/>
              <a:gd name="T68" fmla="*/ 101 w 160"/>
              <a:gd name="T69" fmla="*/ 146 h 160"/>
              <a:gd name="T70" fmla="*/ 119 w 160"/>
              <a:gd name="T71" fmla="*/ 150 h 160"/>
              <a:gd name="T72" fmla="*/ 117 w 160"/>
              <a:gd name="T73" fmla="*/ 139 h 160"/>
              <a:gd name="T74" fmla="*/ 135 w 160"/>
              <a:gd name="T75" fmla="*/ 137 h 160"/>
              <a:gd name="T76" fmla="*/ 131 w 160"/>
              <a:gd name="T77" fmla="*/ 127 h 160"/>
              <a:gd name="T78" fmla="*/ 147 w 160"/>
              <a:gd name="T79" fmla="*/ 121 h 160"/>
              <a:gd name="T80" fmla="*/ 141 w 160"/>
              <a:gd name="T81" fmla="*/ 112 h 160"/>
              <a:gd name="T82" fmla="*/ 155 w 160"/>
              <a:gd name="T83" fmla="*/ 103 h 160"/>
              <a:gd name="T84" fmla="*/ 148 w 160"/>
              <a:gd name="T85" fmla="*/ 95 h 160"/>
              <a:gd name="T86" fmla="*/ 112 w 160"/>
              <a:gd name="T87" fmla="*/ 135 h 160"/>
              <a:gd name="T88" fmla="*/ 80 w 160"/>
              <a:gd name="T89" fmla="*/ 109 h 160"/>
              <a:gd name="T90" fmla="*/ 134 w 160"/>
              <a:gd name="T91" fmla="*/ 114 h 160"/>
              <a:gd name="T92" fmla="*/ 77 w 160"/>
              <a:gd name="T93" fmla="*/ 16 h 160"/>
              <a:gd name="T94" fmla="*/ 53 w 160"/>
              <a:gd name="T95" fmla="*/ 92 h 160"/>
              <a:gd name="T96" fmla="*/ 92 w 160"/>
              <a:gd name="T97" fmla="*/ 101 h 160"/>
              <a:gd name="T98" fmla="*/ 101 w 160"/>
              <a:gd name="T99" fmla="*/ 68 h 160"/>
              <a:gd name="T100" fmla="*/ 105 w 160"/>
              <a:gd name="T101" fmla="*/ 65 h 160"/>
              <a:gd name="T102" fmla="*/ 135 w 160"/>
              <a:gd name="T103" fmla="*/ 48 h 160"/>
              <a:gd name="T104" fmla="*/ 84 w 160"/>
              <a:gd name="T105" fmla="*/ 65 h 160"/>
              <a:gd name="T106" fmla="*/ 66 w 160"/>
              <a:gd name="T107" fmla="*/ 88 h 160"/>
              <a:gd name="T108" fmla="*/ 88 w 160"/>
              <a:gd name="T109" fmla="*/ 94 h 160"/>
              <a:gd name="T110" fmla="*/ 84 w 160"/>
              <a:gd name="T111" fmla="*/ 65 h 160"/>
              <a:gd name="T112" fmla="*/ 77 w 160"/>
              <a:gd name="T113" fmla="*/ 90 h 160"/>
              <a:gd name="T114" fmla="*/ 75 w 160"/>
              <a:gd name="T115" fmla="*/ 71 h 160"/>
              <a:gd name="T116" fmla="*/ 89 w 160"/>
              <a:gd name="T117" fmla="*/ 7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60">
                <a:moveTo>
                  <a:pt x="157" y="83"/>
                </a:moveTo>
                <a:cubicBezTo>
                  <a:pt x="159" y="83"/>
                  <a:pt x="160" y="81"/>
                  <a:pt x="160" y="80"/>
                </a:cubicBezTo>
                <a:cubicBezTo>
                  <a:pt x="160" y="79"/>
                  <a:pt x="159" y="77"/>
                  <a:pt x="157" y="77"/>
                </a:cubicBezTo>
                <a:cubicBezTo>
                  <a:pt x="149" y="77"/>
                  <a:pt x="149" y="77"/>
                  <a:pt x="149" y="77"/>
                </a:cubicBezTo>
                <a:cubicBezTo>
                  <a:pt x="149" y="73"/>
                  <a:pt x="149" y="69"/>
                  <a:pt x="148" y="65"/>
                </a:cubicBezTo>
                <a:cubicBezTo>
                  <a:pt x="155" y="63"/>
                  <a:pt x="155" y="63"/>
                  <a:pt x="155" y="63"/>
                </a:cubicBezTo>
                <a:cubicBezTo>
                  <a:pt x="157" y="62"/>
                  <a:pt x="158" y="61"/>
                  <a:pt x="157" y="59"/>
                </a:cubicBezTo>
                <a:cubicBezTo>
                  <a:pt x="157" y="58"/>
                  <a:pt x="155" y="57"/>
                  <a:pt x="154" y="57"/>
                </a:cubicBezTo>
                <a:cubicBezTo>
                  <a:pt x="146" y="59"/>
                  <a:pt x="146" y="59"/>
                  <a:pt x="146" y="59"/>
                </a:cubicBezTo>
                <a:cubicBezTo>
                  <a:pt x="145" y="55"/>
                  <a:pt x="143" y="52"/>
                  <a:pt x="141" y="48"/>
                </a:cubicBezTo>
                <a:cubicBezTo>
                  <a:pt x="148" y="44"/>
                  <a:pt x="148" y="44"/>
                  <a:pt x="148" y="44"/>
                </a:cubicBezTo>
                <a:cubicBezTo>
                  <a:pt x="150" y="43"/>
                  <a:pt x="150" y="41"/>
                  <a:pt x="149" y="40"/>
                </a:cubicBezTo>
                <a:cubicBezTo>
                  <a:pt x="149" y="39"/>
                  <a:pt x="147" y="38"/>
                  <a:pt x="146" y="39"/>
                </a:cubicBezTo>
                <a:cubicBezTo>
                  <a:pt x="139" y="43"/>
                  <a:pt x="139" y="43"/>
                  <a:pt x="139" y="43"/>
                </a:cubicBezTo>
                <a:cubicBezTo>
                  <a:pt x="136" y="39"/>
                  <a:pt x="134" y="36"/>
                  <a:pt x="131" y="33"/>
                </a:cubicBezTo>
                <a:cubicBezTo>
                  <a:pt x="137" y="27"/>
                  <a:pt x="137" y="27"/>
                  <a:pt x="137" y="27"/>
                </a:cubicBezTo>
                <a:cubicBezTo>
                  <a:pt x="138" y="26"/>
                  <a:pt x="138" y="24"/>
                  <a:pt x="137" y="23"/>
                </a:cubicBezTo>
                <a:cubicBezTo>
                  <a:pt x="136" y="22"/>
                  <a:pt x="134" y="22"/>
                  <a:pt x="133" y="23"/>
                </a:cubicBezTo>
                <a:cubicBezTo>
                  <a:pt x="127" y="29"/>
                  <a:pt x="127" y="29"/>
                  <a:pt x="127" y="29"/>
                </a:cubicBezTo>
                <a:cubicBezTo>
                  <a:pt x="124" y="26"/>
                  <a:pt x="121" y="24"/>
                  <a:pt x="117" y="21"/>
                </a:cubicBezTo>
                <a:cubicBezTo>
                  <a:pt x="121" y="14"/>
                  <a:pt x="121" y="14"/>
                  <a:pt x="121" y="14"/>
                </a:cubicBezTo>
                <a:cubicBezTo>
                  <a:pt x="122" y="13"/>
                  <a:pt x="121" y="11"/>
                  <a:pt x="120" y="11"/>
                </a:cubicBezTo>
                <a:cubicBezTo>
                  <a:pt x="119" y="10"/>
                  <a:pt x="117" y="10"/>
                  <a:pt x="116" y="12"/>
                </a:cubicBezTo>
                <a:cubicBezTo>
                  <a:pt x="112" y="19"/>
                  <a:pt x="112" y="19"/>
                  <a:pt x="112" y="19"/>
                </a:cubicBezTo>
                <a:cubicBezTo>
                  <a:pt x="109" y="17"/>
                  <a:pt x="105" y="15"/>
                  <a:pt x="100" y="14"/>
                </a:cubicBezTo>
                <a:cubicBezTo>
                  <a:pt x="103" y="6"/>
                  <a:pt x="103" y="6"/>
                  <a:pt x="103" y="6"/>
                </a:cubicBezTo>
                <a:cubicBezTo>
                  <a:pt x="103" y="5"/>
                  <a:pt x="102" y="3"/>
                  <a:pt x="101" y="3"/>
                </a:cubicBezTo>
                <a:cubicBezTo>
                  <a:pt x="99" y="2"/>
                  <a:pt x="98" y="3"/>
                  <a:pt x="97" y="5"/>
                </a:cubicBezTo>
                <a:cubicBezTo>
                  <a:pt x="95" y="12"/>
                  <a:pt x="95" y="12"/>
                  <a:pt x="95" y="12"/>
                </a:cubicBezTo>
                <a:cubicBezTo>
                  <a:pt x="91" y="11"/>
                  <a:pt x="87" y="11"/>
                  <a:pt x="83" y="11"/>
                </a:cubicBezTo>
                <a:cubicBezTo>
                  <a:pt x="83" y="3"/>
                  <a:pt x="83" y="3"/>
                  <a:pt x="83" y="3"/>
                </a:cubicBezTo>
                <a:cubicBezTo>
                  <a:pt x="83" y="1"/>
                  <a:pt x="81" y="0"/>
                  <a:pt x="80" y="0"/>
                </a:cubicBezTo>
                <a:cubicBezTo>
                  <a:pt x="79" y="0"/>
                  <a:pt x="77" y="1"/>
                  <a:pt x="77" y="3"/>
                </a:cubicBezTo>
                <a:cubicBezTo>
                  <a:pt x="77" y="11"/>
                  <a:pt x="77" y="11"/>
                  <a:pt x="77" y="11"/>
                </a:cubicBezTo>
                <a:cubicBezTo>
                  <a:pt x="73" y="11"/>
                  <a:pt x="69" y="11"/>
                  <a:pt x="65" y="12"/>
                </a:cubicBezTo>
                <a:cubicBezTo>
                  <a:pt x="63" y="5"/>
                  <a:pt x="63" y="5"/>
                  <a:pt x="63" y="5"/>
                </a:cubicBezTo>
                <a:cubicBezTo>
                  <a:pt x="62" y="3"/>
                  <a:pt x="61" y="2"/>
                  <a:pt x="59" y="3"/>
                </a:cubicBezTo>
                <a:cubicBezTo>
                  <a:pt x="58" y="3"/>
                  <a:pt x="57" y="5"/>
                  <a:pt x="57" y="6"/>
                </a:cubicBezTo>
                <a:cubicBezTo>
                  <a:pt x="59" y="14"/>
                  <a:pt x="59" y="14"/>
                  <a:pt x="59" y="14"/>
                </a:cubicBezTo>
                <a:cubicBezTo>
                  <a:pt x="55" y="15"/>
                  <a:pt x="52" y="17"/>
                  <a:pt x="48" y="19"/>
                </a:cubicBezTo>
                <a:cubicBezTo>
                  <a:pt x="44" y="12"/>
                  <a:pt x="44" y="12"/>
                  <a:pt x="44" y="12"/>
                </a:cubicBezTo>
                <a:cubicBezTo>
                  <a:pt x="43" y="10"/>
                  <a:pt x="41" y="10"/>
                  <a:pt x="40" y="11"/>
                </a:cubicBezTo>
                <a:cubicBezTo>
                  <a:pt x="39" y="11"/>
                  <a:pt x="38" y="13"/>
                  <a:pt x="39" y="14"/>
                </a:cubicBezTo>
                <a:cubicBezTo>
                  <a:pt x="43" y="21"/>
                  <a:pt x="43" y="21"/>
                  <a:pt x="43" y="21"/>
                </a:cubicBezTo>
                <a:cubicBezTo>
                  <a:pt x="39" y="24"/>
                  <a:pt x="36" y="26"/>
                  <a:pt x="33" y="29"/>
                </a:cubicBezTo>
                <a:cubicBezTo>
                  <a:pt x="27" y="23"/>
                  <a:pt x="27" y="23"/>
                  <a:pt x="27" y="23"/>
                </a:cubicBezTo>
                <a:cubicBezTo>
                  <a:pt x="26" y="22"/>
                  <a:pt x="24" y="22"/>
                  <a:pt x="23" y="23"/>
                </a:cubicBezTo>
                <a:cubicBezTo>
                  <a:pt x="22" y="24"/>
                  <a:pt x="22" y="26"/>
                  <a:pt x="23" y="27"/>
                </a:cubicBezTo>
                <a:cubicBezTo>
                  <a:pt x="29" y="33"/>
                  <a:pt x="29" y="33"/>
                  <a:pt x="29" y="33"/>
                </a:cubicBezTo>
                <a:cubicBezTo>
                  <a:pt x="26" y="36"/>
                  <a:pt x="24" y="39"/>
                  <a:pt x="21" y="43"/>
                </a:cubicBezTo>
                <a:cubicBezTo>
                  <a:pt x="14" y="39"/>
                  <a:pt x="14" y="39"/>
                  <a:pt x="14" y="39"/>
                </a:cubicBezTo>
                <a:cubicBezTo>
                  <a:pt x="13" y="38"/>
                  <a:pt x="11" y="39"/>
                  <a:pt x="11" y="40"/>
                </a:cubicBezTo>
                <a:cubicBezTo>
                  <a:pt x="10" y="41"/>
                  <a:pt x="10" y="43"/>
                  <a:pt x="12" y="44"/>
                </a:cubicBezTo>
                <a:cubicBezTo>
                  <a:pt x="19" y="48"/>
                  <a:pt x="19" y="48"/>
                  <a:pt x="19" y="48"/>
                </a:cubicBezTo>
                <a:cubicBezTo>
                  <a:pt x="17" y="51"/>
                  <a:pt x="15" y="55"/>
                  <a:pt x="14" y="60"/>
                </a:cubicBezTo>
                <a:cubicBezTo>
                  <a:pt x="6" y="57"/>
                  <a:pt x="6" y="57"/>
                  <a:pt x="6" y="57"/>
                </a:cubicBezTo>
                <a:cubicBezTo>
                  <a:pt x="5" y="57"/>
                  <a:pt x="3" y="58"/>
                  <a:pt x="3" y="59"/>
                </a:cubicBezTo>
                <a:cubicBezTo>
                  <a:pt x="2" y="61"/>
                  <a:pt x="3" y="62"/>
                  <a:pt x="5" y="63"/>
                </a:cubicBezTo>
                <a:cubicBezTo>
                  <a:pt x="12" y="65"/>
                  <a:pt x="12" y="65"/>
                  <a:pt x="12" y="65"/>
                </a:cubicBezTo>
                <a:cubicBezTo>
                  <a:pt x="11" y="69"/>
                  <a:pt x="11" y="73"/>
                  <a:pt x="11" y="77"/>
                </a:cubicBezTo>
                <a:cubicBezTo>
                  <a:pt x="3" y="77"/>
                  <a:pt x="3" y="77"/>
                  <a:pt x="3" y="77"/>
                </a:cubicBezTo>
                <a:cubicBezTo>
                  <a:pt x="1" y="77"/>
                  <a:pt x="0" y="79"/>
                  <a:pt x="0" y="80"/>
                </a:cubicBezTo>
                <a:cubicBezTo>
                  <a:pt x="0" y="81"/>
                  <a:pt x="1" y="83"/>
                  <a:pt x="3" y="83"/>
                </a:cubicBezTo>
                <a:cubicBezTo>
                  <a:pt x="11" y="83"/>
                  <a:pt x="11" y="83"/>
                  <a:pt x="11" y="83"/>
                </a:cubicBezTo>
                <a:cubicBezTo>
                  <a:pt x="11" y="87"/>
                  <a:pt x="11" y="91"/>
                  <a:pt x="12" y="95"/>
                </a:cubicBezTo>
                <a:cubicBezTo>
                  <a:pt x="5" y="97"/>
                  <a:pt x="5" y="97"/>
                  <a:pt x="5" y="97"/>
                </a:cubicBezTo>
                <a:cubicBezTo>
                  <a:pt x="3" y="98"/>
                  <a:pt x="2" y="99"/>
                  <a:pt x="3" y="101"/>
                </a:cubicBezTo>
                <a:cubicBezTo>
                  <a:pt x="3" y="102"/>
                  <a:pt x="4" y="103"/>
                  <a:pt x="5" y="103"/>
                </a:cubicBezTo>
                <a:cubicBezTo>
                  <a:pt x="6" y="103"/>
                  <a:pt x="6" y="103"/>
                  <a:pt x="6" y="103"/>
                </a:cubicBezTo>
                <a:cubicBezTo>
                  <a:pt x="14" y="101"/>
                  <a:pt x="14" y="101"/>
                  <a:pt x="14" y="101"/>
                </a:cubicBezTo>
                <a:cubicBezTo>
                  <a:pt x="15" y="105"/>
                  <a:pt x="17" y="108"/>
                  <a:pt x="19" y="112"/>
                </a:cubicBezTo>
                <a:cubicBezTo>
                  <a:pt x="12" y="116"/>
                  <a:pt x="12" y="116"/>
                  <a:pt x="12" y="116"/>
                </a:cubicBezTo>
                <a:cubicBezTo>
                  <a:pt x="10" y="117"/>
                  <a:pt x="10" y="119"/>
                  <a:pt x="11" y="120"/>
                </a:cubicBezTo>
                <a:cubicBezTo>
                  <a:pt x="11" y="121"/>
                  <a:pt x="12" y="121"/>
                  <a:pt x="13" y="121"/>
                </a:cubicBezTo>
                <a:cubicBezTo>
                  <a:pt x="13" y="121"/>
                  <a:pt x="14" y="121"/>
                  <a:pt x="14" y="121"/>
                </a:cubicBezTo>
                <a:cubicBezTo>
                  <a:pt x="21" y="117"/>
                  <a:pt x="21" y="117"/>
                  <a:pt x="21" y="117"/>
                </a:cubicBezTo>
                <a:cubicBezTo>
                  <a:pt x="24" y="121"/>
                  <a:pt x="26" y="124"/>
                  <a:pt x="29" y="127"/>
                </a:cubicBezTo>
                <a:cubicBezTo>
                  <a:pt x="23" y="133"/>
                  <a:pt x="23" y="133"/>
                  <a:pt x="23" y="133"/>
                </a:cubicBezTo>
                <a:cubicBezTo>
                  <a:pt x="22" y="134"/>
                  <a:pt x="22" y="136"/>
                  <a:pt x="23" y="137"/>
                </a:cubicBezTo>
                <a:cubicBezTo>
                  <a:pt x="24" y="137"/>
                  <a:pt x="25" y="137"/>
                  <a:pt x="25" y="137"/>
                </a:cubicBezTo>
                <a:cubicBezTo>
                  <a:pt x="26" y="137"/>
                  <a:pt x="27" y="137"/>
                  <a:pt x="27" y="137"/>
                </a:cubicBezTo>
                <a:cubicBezTo>
                  <a:pt x="33" y="131"/>
                  <a:pt x="33" y="131"/>
                  <a:pt x="33" y="131"/>
                </a:cubicBezTo>
                <a:cubicBezTo>
                  <a:pt x="36" y="134"/>
                  <a:pt x="39" y="136"/>
                  <a:pt x="43" y="139"/>
                </a:cubicBezTo>
                <a:cubicBezTo>
                  <a:pt x="39" y="146"/>
                  <a:pt x="39" y="146"/>
                  <a:pt x="39" y="146"/>
                </a:cubicBezTo>
                <a:cubicBezTo>
                  <a:pt x="38" y="147"/>
                  <a:pt x="39" y="149"/>
                  <a:pt x="40" y="149"/>
                </a:cubicBezTo>
                <a:cubicBezTo>
                  <a:pt x="40" y="150"/>
                  <a:pt x="41" y="150"/>
                  <a:pt x="41" y="150"/>
                </a:cubicBezTo>
                <a:cubicBezTo>
                  <a:pt x="42" y="150"/>
                  <a:pt x="43" y="149"/>
                  <a:pt x="44" y="148"/>
                </a:cubicBezTo>
                <a:cubicBezTo>
                  <a:pt x="48" y="141"/>
                  <a:pt x="48" y="141"/>
                  <a:pt x="48" y="141"/>
                </a:cubicBezTo>
                <a:cubicBezTo>
                  <a:pt x="51" y="143"/>
                  <a:pt x="55" y="145"/>
                  <a:pt x="60" y="146"/>
                </a:cubicBezTo>
                <a:cubicBezTo>
                  <a:pt x="57" y="154"/>
                  <a:pt x="57" y="154"/>
                  <a:pt x="57" y="154"/>
                </a:cubicBezTo>
                <a:cubicBezTo>
                  <a:pt x="57" y="155"/>
                  <a:pt x="58" y="157"/>
                  <a:pt x="59" y="157"/>
                </a:cubicBezTo>
                <a:cubicBezTo>
                  <a:pt x="60" y="157"/>
                  <a:pt x="60" y="157"/>
                  <a:pt x="60" y="157"/>
                </a:cubicBezTo>
                <a:cubicBezTo>
                  <a:pt x="61" y="157"/>
                  <a:pt x="62" y="157"/>
                  <a:pt x="63" y="155"/>
                </a:cubicBezTo>
                <a:cubicBezTo>
                  <a:pt x="65" y="148"/>
                  <a:pt x="65" y="148"/>
                  <a:pt x="65" y="148"/>
                </a:cubicBezTo>
                <a:cubicBezTo>
                  <a:pt x="69" y="148"/>
                  <a:pt x="73" y="149"/>
                  <a:pt x="77" y="149"/>
                </a:cubicBezTo>
                <a:cubicBezTo>
                  <a:pt x="77" y="157"/>
                  <a:pt x="77" y="157"/>
                  <a:pt x="77" y="157"/>
                </a:cubicBezTo>
                <a:cubicBezTo>
                  <a:pt x="77" y="159"/>
                  <a:pt x="79" y="160"/>
                  <a:pt x="80" y="160"/>
                </a:cubicBezTo>
                <a:cubicBezTo>
                  <a:pt x="81" y="160"/>
                  <a:pt x="83" y="159"/>
                  <a:pt x="83" y="157"/>
                </a:cubicBezTo>
                <a:cubicBezTo>
                  <a:pt x="83" y="149"/>
                  <a:pt x="83" y="149"/>
                  <a:pt x="83" y="149"/>
                </a:cubicBezTo>
                <a:cubicBezTo>
                  <a:pt x="87" y="149"/>
                  <a:pt x="91" y="149"/>
                  <a:pt x="95" y="148"/>
                </a:cubicBezTo>
                <a:cubicBezTo>
                  <a:pt x="97" y="155"/>
                  <a:pt x="97" y="155"/>
                  <a:pt x="97" y="155"/>
                </a:cubicBezTo>
                <a:cubicBezTo>
                  <a:pt x="98" y="157"/>
                  <a:pt x="99" y="157"/>
                  <a:pt x="100" y="157"/>
                </a:cubicBezTo>
                <a:cubicBezTo>
                  <a:pt x="100" y="157"/>
                  <a:pt x="100" y="157"/>
                  <a:pt x="101" y="157"/>
                </a:cubicBezTo>
                <a:cubicBezTo>
                  <a:pt x="102" y="157"/>
                  <a:pt x="103" y="155"/>
                  <a:pt x="103" y="154"/>
                </a:cubicBezTo>
                <a:cubicBezTo>
                  <a:pt x="101" y="146"/>
                  <a:pt x="101" y="146"/>
                  <a:pt x="101" y="146"/>
                </a:cubicBezTo>
                <a:cubicBezTo>
                  <a:pt x="105" y="145"/>
                  <a:pt x="108" y="143"/>
                  <a:pt x="112" y="141"/>
                </a:cubicBezTo>
                <a:cubicBezTo>
                  <a:pt x="116" y="148"/>
                  <a:pt x="116" y="148"/>
                  <a:pt x="116" y="148"/>
                </a:cubicBezTo>
                <a:cubicBezTo>
                  <a:pt x="117" y="149"/>
                  <a:pt x="118" y="150"/>
                  <a:pt x="119" y="150"/>
                </a:cubicBezTo>
                <a:cubicBezTo>
                  <a:pt x="119" y="150"/>
                  <a:pt x="120" y="150"/>
                  <a:pt x="120" y="149"/>
                </a:cubicBezTo>
                <a:cubicBezTo>
                  <a:pt x="121" y="149"/>
                  <a:pt x="122" y="147"/>
                  <a:pt x="121" y="146"/>
                </a:cubicBezTo>
                <a:cubicBezTo>
                  <a:pt x="117" y="139"/>
                  <a:pt x="117" y="139"/>
                  <a:pt x="117" y="139"/>
                </a:cubicBezTo>
                <a:cubicBezTo>
                  <a:pt x="121" y="136"/>
                  <a:pt x="124" y="134"/>
                  <a:pt x="127" y="131"/>
                </a:cubicBezTo>
                <a:cubicBezTo>
                  <a:pt x="133" y="137"/>
                  <a:pt x="133" y="137"/>
                  <a:pt x="133" y="137"/>
                </a:cubicBezTo>
                <a:cubicBezTo>
                  <a:pt x="133" y="137"/>
                  <a:pt x="134" y="137"/>
                  <a:pt x="135" y="137"/>
                </a:cubicBezTo>
                <a:cubicBezTo>
                  <a:pt x="135" y="137"/>
                  <a:pt x="136" y="137"/>
                  <a:pt x="137" y="137"/>
                </a:cubicBezTo>
                <a:cubicBezTo>
                  <a:pt x="138" y="136"/>
                  <a:pt x="138" y="134"/>
                  <a:pt x="137" y="133"/>
                </a:cubicBezTo>
                <a:cubicBezTo>
                  <a:pt x="131" y="127"/>
                  <a:pt x="131" y="127"/>
                  <a:pt x="131" y="127"/>
                </a:cubicBezTo>
                <a:cubicBezTo>
                  <a:pt x="134" y="124"/>
                  <a:pt x="136" y="121"/>
                  <a:pt x="139" y="117"/>
                </a:cubicBezTo>
                <a:cubicBezTo>
                  <a:pt x="146" y="121"/>
                  <a:pt x="146" y="121"/>
                  <a:pt x="146" y="121"/>
                </a:cubicBezTo>
                <a:cubicBezTo>
                  <a:pt x="146" y="121"/>
                  <a:pt x="147" y="121"/>
                  <a:pt x="147" y="121"/>
                </a:cubicBezTo>
                <a:cubicBezTo>
                  <a:pt x="148" y="121"/>
                  <a:pt x="149" y="121"/>
                  <a:pt x="149" y="120"/>
                </a:cubicBezTo>
                <a:cubicBezTo>
                  <a:pt x="150" y="119"/>
                  <a:pt x="150" y="117"/>
                  <a:pt x="148" y="116"/>
                </a:cubicBezTo>
                <a:cubicBezTo>
                  <a:pt x="141" y="112"/>
                  <a:pt x="141" y="112"/>
                  <a:pt x="141" y="112"/>
                </a:cubicBezTo>
                <a:cubicBezTo>
                  <a:pt x="143" y="109"/>
                  <a:pt x="145" y="105"/>
                  <a:pt x="146" y="100"/>
                </a:cubicBezTo>
                <a:cubicBezTo>
                  <a:pt x="154" y="103"/>
                  <a:pt x="154" y="103"/>
                  <a:pt x="154" y="103"/>
                </a:cubicBezTo>
                <a:cubicBezTo>
                  <a:pt x="154" y="103"/>
                  <a:pt x="154" y="103"/>
                  <a:pt x="155" y="103"/>
                </a:cubicBezTo>
                <a:cubicBezTo>
                  <a:pt x="156" y="103"/>
                  <a:pt x="157" y="102"/>
                  <a:pt x="157" y="101"/>
                </a:cubicBezTo>
                <a:cubicBezTo>
                  <a:pt x="158" y="99"/>
                  <a:pt x="157" y="98"/>
                  <a:pt x="155" y="97"/>
                </a:cubicBezTo>
                <a:cubicBezTo>
                  <a:pt x="148" y="95"/>
                  <a:pt x="148" y="95"/>
                  <a:pt x="148" y="95"/>
                </a:cubicBezTo>
                <a:cubicBezTo>
                  <a:pt x="149" y="91"/>
                  <a:pt x="149" y="87"/>
                  <a:pt x="149" y="83"/>
                </a:cubicBezTo>
                <a:lnTo>
                  <a:pt x="157" y="83"/>
                </a:lnTo>
                <a:close/>
                <a:moveTo>
                  <a:pt x="112" y="135"/>
                </a:moveTo>
                <a:cubicBezTo>
                  <a:pt x="82" y="153"/>
                  <a:pt x="44" y="143"/>
                  <a:pt x="26" y="114"/>
                </a:cubicBezTo>
                <a:cubicBezTo>
                  <a:pt x="56" y="97"/>
                  <a:pt x="56" y="97"/>
                  <a:pt x="56" y="97"/>
                </a:cubicBezTo>
                <a:cubicBezTo>
                  <a:pt x="62" y="105"/>
                  <a:pt x="71" y="109"/>
                  <a:pt x="80" y="109"/>
                </a:cubicBezTo>
                <a:cubicBezTo>
                  <a:pt x="85" y="109"/>
                  <a:pt x="90" y="108"/>
                  <a:pt x="95" y="105"/>
                </a:cubicBezTo>
                <a:cubicBezTo>
                  <a:pt x="98" y="103"/>
                  <a:pt x="102" y="100"/>
                  <a:pt x="104" y="97"/>
                </a:cubicBezTo>
                <a:cubicBezTo>
                  <a:pt x="134" y="114"/>
                  <a:pt x="134" y="114"/>
                  <a:pt x="134" y="114"/>
                </a:cubicBezTo>
                <a:cubicBezTo>
                  <a:pt x="129" y="123"/>
                  <a:pt x="121" y="130"/>
                  <a:pt x="112" y="135"/>
                </a:cubicBezTo>
                <a:close/>
                <a:moveTo>
                  <a:pt x="48" y="25"/>
                </a:moveTo>
                <a:cubicBezTo>
                  <a:pt x="57" y="19"/>
                  <a:pt x="67" y="16"/>
                  <a:pt x="77" y="16"/>
                </a:cubicBezTo>
                <a:cubicBezTo>
                  <a:pt x="77" y="51"/>
                  <a:pt x="77" y="51"/>
                  <a:pt x="77" y="51"/>
                </a:cubicBezTo>
                <a:cubicBezTo>
                  <a:pt x="73" y="51"/>
                  <a:pt x="69" y="52"/>
                  <a:pt x="65" y="55"/>
                </a:cubicBezTo>
                <a:cubicBezTo>
                  <a:pt x="52" y="62"/>
                  <a:pt x="47" y="79"/>
                  <a:pt x="53" y="92"/>
                </a:cubicBezTo>
                <a:cubicBezTo>
                  <a:pt x="23" y="110"/>
                  <a:pt x="23" y="110"/>
                  <a:pt x="23" y="110"/>
                </a:cubicBezTo>
                <a:cubicBezTo>
                  <a:pt x="7" y="79"/>
                  <a:pt x="18" y="42"/>
                  <a:pt x="48" y="25"/>
                </a:cubicBezTo>
                <a:close/>
                <a:moveTo>
                  <a:pt x="92" y="101"/>
                </a:moveTo>
                <a:cubicBezTo>
                  <a:pt x="81" y="107"/>
                  <a:pt x="66" y="103"/>
                  <a:pt x="59" y="92"/>
                </a:cubicBezTo>
                <a:cubicBezTo>
                  <a:pt x="53" y="81"/>
                  <a:pt x="57" y="66"/>
                  <a:pt x="68" y="59"/>
                </a:cubicBezTo>
                <a:cubicBezTo>
                  <a:pt x="79" y="53"/>
                  <a:pt x="94" y="57"/>
                  <a:pt x="101" y="68"/>
                </a:cubicBezTo>
                <a:cubicBezTo>
                  <a:pt x="107" y="79"/>
                  <a:pt x="103" y="94"/>
                  <a:pt x="92" y="101"/>
                </a:cubicBezTo>
                <a:close/>
                <a:moveTo>
                  <a:pt x="107" y="92"/>
                </a:moveTo>
                <a:cubicBezTo>
                  <a:pt x="110" y="84"/>
                  <a:pt x="110" y="74"/>
                  <a:pt x="105" y="65"/>
                </a:cubicBezTo>
                <a:cubicBezTo>
                  <a:pt x="100" y="57"/>
                  <a:pt x="92" y="52"/>
                  <a:pt x="83" y="51"/>
                </a:cubicBezTo>
                <a:cubicBezTo>
                  <a:pt x="83" y="16"/>
                  <a:pt x="83" y="16"/>
                  <a:pt x="83" y="16"/>
                </a:cubicBezTo>
                <a:cubicBezTo>
                  <a:pt x="104" y="17"/>
                  <a:pt x="124" y="28"/>
                  <a:pt x="135" y="48"/>
                </a:cubicBezTo>
                <a:cubicBezTo>
                  <a:pt x="147" y="68"/>
                  <a:pt x="146" y="91"/>
                  <a:pt x="137" y="110"/>
                </a:cubicBezTo>
                <a:lnTo>
                  <a:pt x="107" y="92"/>
                </a:lnTo>
                <a:close/>
                <a:moveTo>
                  <a:pt x="84" y="65"/>
                </a:moveTo>
                <a:cubicBezTo>
                  <a:pt x="80" y="63"/>
                  <a:pt x="76" y="64"/>
                  <a:pt x="72" y="66"/>
                </a:cubicBezTo>
                <a:cubicBezTo>
                  <a:pt x="68" y="68"/>
                  <a:pt x="66" y="72"/>
                  <a:pt x="65" y="76"/>
                </a:cubicBezTo>
                <a:cubicBezTo>
                  <a:pt x="63" y="80"/>
                  <a:pt x="64" y="84"/>
                  <a:pt x="66" y="88"/>
                </a:cubicBezTo>
                <a:cubicBezTo>
                  <a:pt x="68" y="92"/>
                  <a:pt x="72" y="94"/>
                  <a:pt x="76" y="95"/>
                </a:cubicBezTo>
                <a:cubicBezTo>
                  <a:pt x="77" y="96"/>
                  <a:pt x="79" y="96"/>
                  <a:pt x="80" y="96"/>
                </a:cubicBezTo>
                <a:cubicBezTo>
                  <a:pt x="83" y="96"/>
                  <a:pt x="86" y="95"/>
                  <a:pt x="88" y="94"/>
                </a:cubicBezTo>
                <a:cubicBezTo>
                  <a:pt x="92" y="92"/>
                  <a:pt x="94" y="88"/>
                  <a:pt x="95" y="84"/>
                </a:cubicBezTo>
                <a:cubicBezTo>
                  <a:pt x="97" y="80"/>
                  <a:pt x="96" y="76"/>
                  <a:pt x="94" y="72"/>
                </a:cubicBezTo>
                <a:cubicBezTo>
                  <a:pt x="92" y="68"/>
                  <a:pt x="88" y="66"/>
                  <a:pt x="84" y="65"/>
                </a:cubicBezTo>
                <a:close/>
                <a:moveTo>
                  <a:pt x="90" y="83"/>
                </a:moveTo>
                <a:cubicBezTo>
                  <a:pt x="90" y="86"/>
                  <a:pt x="88" y="88"/>
                  <a:pt x="85" y="89"/>
                </a:cubicBezTo>
                <a:cubicBezTo>
                  <a:pt x="83" y="91"/>
                  <a:pt x="80" y="91"/>
                  <a:pt x="77" y="90"/>
                </a:cubicBezTo>
                <a:cubicBezTo>
                  <a:pt x="74" y="90"/>
                  <a:pt x="72" y="88"/>
                  <a:pt x="71" y="85"/>
                </a:cubicBezTo>
                <a:cubicBezTo>
                  <a:pt x="69" y="83"/>
                  <a:pt x="69" y="80"/>
                  <a:pt x="70" y="77"/>
                </a:cubicBezTo>
                <a:cubicBezTo>
                  <a:pt x="70" y="74"/>
                  <a:pt x="72" y="72"/>
                  <a:pt x="75" y="71"/>
                </a:cubicBezTo>
                <a:cubicBezTo>
                  <a:pt x="76" y="70"/>
                  <a:pt x="78" y="69"/>
                  <a:pt x="80" y="69"/>
                </a:cubicBezTo>
                <a:cubicBezTo>
                  <a:pt x="81" y="69"/>
                  <a:pt x="82" y="69"/>
                  <a:pt x="83" y="70"/>
                </a:cubicBezTo>
                <a:cubicBezTo>
                  <a:pt x="86" y="70"/>
                  <a:pt x="88" y="72"/>
                  <a:pt x="89" y="75"/>
                </a:cubicBezTo>
                <a:cubicBezTo>
                  <a:pt x="91" y="77"/>
                  <a:pt x="91" y="80"/>
                  <a:pt x="90" y="8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63" name="Freeform 1365">
            <a:extLst>
              <a:ext uri="{FF2B5EF4-FFF2-40B4-BE49-F238E27FC236}">
                <a16:creationId xmlns:a16="http://schemas.microsoft.com/office/drawing/2014/main" id="{03E46799-9BDB-E74D-94BB-8E8EA94D357F}"/>
              </a:ext>
            </a:extLst>
          </p:cNvPr>
          <p:cNvSpPr>
            <a:spLocks noEditPoints="1"/>
          </p:cNvSpPr>
          <p:nvPr/>
        </p:nvSpPr>
        <p:spPr bwMode="auto">
          <a:xfrm>
            <a:off x="9977282" y="3444875"/>
            <a:ext cx="546100" cy="550863"/>
          </a:xfrm>
          <a:custGeom>
            <a:avLst/>
            <a:gdLst>
              <a:gd name="T0" fmla="*/ 51 w 160"/>
              <a:gd name="T1" fmla="*/ 104 h 160"/>
              <a:gd name="T2" fmla="*/ 107 w 160"/>
              <a:gd name="T3" fmla="*/ 43 h 160"/>
              <a:gd name="T4" fmla="*/ 117 w 160"/>
              <a:gd name="T5" fmla="*/ 37 h 160"/>
              <a:gd name="T6" fmla="*/ 29 w 160"/>
              <a:gd name="T7" fmla="*/ 109 h 160"/>
              <a:gd name="T8" fmla="*/ 51 w 160"/>
              <a:gd name="T9" fmla="*/ 93 h 160"/>
              <a:gd name="T10" fmla="*/ 154 w 160"/>
              <a:gd name="T11" fmla="*/ 49 h 160"/>
              <a:gd name="T12" fmla="*/ 80 w 160"/>
              <a:gd name="T13" fmla="*/ 0 h 160"/>
              <a:gd name="T14" fmla="*/ 50 w 160"/>
              <a:gd name="T15" fmla="*/ 6 h 160"/>
              <a:gd name="T16" fmla="*/ 44 w 160"/>
              <a:gd name="T17" fmla="*/ 9 h 160"/>
              <a:gd name="T18" fmla="*/ 38 w 160"/>
              <a:gd name="T19" fmla="*/ 12 h 160"/>
              <a:gd name="T20" fmla="*/ 31 w 160"/>
              <a:gd name="T21" fmla="*/ 17 h 160"/>
              <a:gd name="T22" fmla="*/ 3 w 160"/>
              <a:gd name="T23" fmla="*/ 103 h 160"/>
              <a:gd name="T24" fmla="*/ 8 w 160"/>
              <a:gd name="T25" fmla="*/ 115 h 160"/>
              <a:gd name="T26" fmla="*/ 57 w 160"/>
              <a:gd name="T27" fmla="*/ 157 h 160"/>
              <a:gd name="T28" fmla="*/ 118 w 160"/>
              <a:gd name="T29" fmla="*/ 151 h 160"/>
              <a:gd name="T30" fmla="*/ 129 w 160"/>
              <a:gd name="T31" fmla="*/ 143 h 160"/>
              <a:gd name="T32" fmla="*/ 140 w 160"/>
              <a:gd name="T33" fmla="*/ 133 h 160"/>
              <a:gd name="T34" fmla="*/ 158 w 160"/>
              <a:gd name="T35" fmla="*/ 98 h 160"/>
              <a:gd name="T36" fmla="*/ 124 w 160"/>
              <a:gd name="T37" fmla="*/ 140 h 160"/>
              <a:gd name="T38" fmla="*/ 112 w 160"/>
              <a:gd name="T39" fmla="*/ 121 h 160"/>
              <a:gd name="T40" fmla="*/ 137 w 160"/>
              <a:gd name="T41" fmla="*/ 99 h 160"/>
              <a:gd name="T42" fmla="*/ 151 w 160"/>
              <a:gd name="T43" fmla="*/ 104 h 160"/>
              <a:gd name="T44" fmla="*/ 148 w 160"/>
              <a:gd name="T45" fmla="*/ 112 h 160"/>
              <a:gd name="T46" fmla="*/ 148 w 160"/>
              <a:gd name="T47" fmla="*/ 112 h 160"/>
              <a:gd name="T48" fmla="*/ 127 w 160"/>
              <a:gd name="T49" fmla="*/ 22 h 160"/>
              <a:gd name="T50" fmla="*/ 135 w 160"/>
              <a:gd name="T51" fmla="*/ 30 h 160"/>
              <a:gd name="T52" fmla="*/ 148 w 160"/>
              <a:gd name="T53" fmla="*/ 50 h 160"/>
              <a:gd name="T54" fmla="*/ 72 w 160"/>
              <a:gd name="T55" fmla="*/ 23 h 160"/>
              <a:gd name="T56" fmla="*/ 62 w 160"/>
              <a:gd name="T57" fmla="*/ 43 h 160"/>
              <a:gd name="T58" fmla="*/ 35 w 160"/>
              <a:gd name="T59" fmla="*/ 41 h 160"/>
              <a:gd name="T60" fmla="*/ 24 w 160"/>
              <a:gd name="T61" fmla="*/ 30 h 160"/>
              <a:gd name="T62" fmla="*/ 51 w 160"/>
              <a:gd name="T63" fmla="*/ 11 h 160"/>
              <a:gd name="T64" fmla="*/ 39 w 160"/>
              <a:gd name="T65" fmla="*/ 18 h 160"/>
              <a:gd name="T66" fmla="*/ 43 w 160"/>
              <a:gd name="T67" fmla="*/ 29 h 160"/>
              <a:gd name="T68" fmla="*/ 51 w 160"/>
              <a:gd name="T69" fmla="*/ 67 h 160"/>
              <a:gd name="T70" fmla="*/ 58 w 160"/>
              <a:gd name="T71" fmla="*/ 151 h 160"/>
              <a:gd name="T72" fmla="*/ 13 w 160"/>
              <a:gd name="T73" fmla="*/ 113 h 160"/>
              <a:gd name="T74" fmla="*/ 9 w 160"/>
              <a:gd name="T75" fmla="*/ 102 h 160"/>
              <a:gd name="T76" fmla="*/ 101 w 160"/>
              <a:gd name="T77" fmla="*/ 132 h 160"/>
              <a:gd name="T78" fmla="*/ 101 w 160"/>
              <a:gd name="T79" fmla="*/ 90 h 160"/>
              <a:gd name="T80" fmla="*/ 70 w 160"/>
              <a:gd name="T81" fmla="*/ 60 h 160"/>
              <a:gd name="T82" fmla="*/ 30 w 160"/>
              <a:gd name="T83" fmla="*/ 62 h 160"/>
              <a:gd name="T84" fmla="*/ 21 w 160"/>
              <a:gd name="T85" fmla="*/ 49 h 160"/>
              <a:gd name="T86" fmla="*/ 40 w 160"/>
              <a:gd name="T87" fmla="*/ 56 h 160"/>
              <a:gd name="T88" fmla="*/ 61 w 160"/>
              <a:gd name="T89" fmla="*/ 49 h 160"/>
              <a:gd name="T90" fmla="*/ 71 w 160"/>
              <a:gd name="T91" fmla="*/ 29 h 160"/>
              <a:gd name="T92" fmla="*/ 67 w 160"/>
              <a:gd name="T93" fmla="*/ 12 h 160"/>
              <a:gd name="T94" fmla="*/ 91 w 160"/>
              <a:gd name="T95" fmla="*/ 12 h 160"/>
              <a:gd name="T96" fmla="*/ 75 w 160"/>
              <a:gd name="T97" fmla="*/ 43 h 160"/>
              <a:gd name="T98" fmla="*/ 89 w 160"/>
              <a:gd name="T99" fmla="*/ 74 h 160"/>
              <a:gd name="T100" fmla="*/ 120 w 160"/>
              <a:gd name="T101" fmla="*/ 83 h 160"/>
              <a:gd name="T102" fmla="*/ 148 w 160"/>
              <a:gd name="T103" fmla="*/ 69 h 160"/>
              <a:gd name="T104" fmla="*/ 143 w 160"/>
              <a:gd name="T105" fmla="*/ 80 h 160"/>
              <a:gd name="T106" fmla="*/ 119 w 160"/>
              <a:gd name="T107" fmla="*/ 90 h 160"/>
              <a:gd name="T108" fmla="*/ 106 w 160"/>
              <a:gd name="T109" fmla="*/ 116 h 160"/>
              <a:gd name="T110" fmla="*/ 116 w 160"/>
              <a:gd name="T111" fmla="*/ 1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60">
                <a:moveTo>
                  <a:pt x="51" y="120"/>
                </a:moveTo>
                <a:cubicBezTo>
                  <a:pt x="57" y="120"/>
                  <a:pt x="61" y="115"/>
                  <a:pt x="61" y="109"/>
                </a:cubicBezTo>
                <a:cubicBezTo>
                  <a:pt x="61" y="103"/>
                  <a:pt x="57" y="99"/>
                  <a:pt x="51" y="99"/>
                </a:cubicBezTo>
                <a:cubicBezTo>
                  <a:pt x="45" y="99"/>
                  <a:pt x="40" y="103"/>
                  <a:pt x="40" y="109"/>
                </a:cubicBezTo>
                <a:cubicBezTo>
                  <a:pt x="40" y="115"/>
                  <a:pt x="45" y="120"/>
                  <a:pt x="51" y="120"/>
                </a:cubicBezTo>
                <a:close/>
                <a:moveTo>
                  <a:pt x="51" y="104"/>
                </a:moveTo>
                <a:cubicBezTo>
                  <a:pt x="54" y="104"/>
                  <a:pt x="56" y="106"/>
                  <a:pt x="56" y="109"/>
                </a:cubicBezTo>
                <a:cubicBezTo>
                  <a:pt x="56" y="112"/>
                  <a:pt x="54" y="115"/>
                  <a:pt x="51" y="115"/>
                </a:cubicBezTo>
                <a:cubicBezTo>
                  <a:pt x="48" y="115"/>
                  <a:pt x="45" y="112"/>
                  <a:pt x="45" y="109"/>
                </a:cubicBezTo>
                <a:cubicBezTo>
                  <a:pt x="45" y="106"/>
                  <a:pt x="48" y="104"/>
                  <a:pt x="51" y="104"/>
                </a:cubicBezTo>
                <a:close/>
                <a:moveTo>
                  <a:pt x="117" y="32"/>
                </a:moveTo>
                <a:cubicBezTo>
                  <a:pt x="111" y="32"/>
                  <a:pt x="107" y="37"/>
                  <a:pt x="107" y="43"/>
                </a:cubicBezTo>
                <a:cubicBezTo>
                  <a:pt x="107" y="49"/>
                  <a:pt x="111" y="53"/>
                  <a:pt x="117" y="53"/>
                </a:cubicBezTo>
                <a:cubicBezTo>
                  <a:pt x="123" y="53"/>
                  <a:pt x="128" y="49"/>
                  <a:pt x="128" y="43"/>
                </a:cubicBezTo>
                <a:cubicBezTo>
                  <a:pt x="128" y="37"/>
                  <a:pt x="123" y="32"/>
                  <a:pt x="117" y="32"/>
                </a:cubicBezTo>
                <a:close/>
                <a:moveTo>
                  <a:pt x="117" y="48"/>
                </a:moveTo>
                <a:cubicBezTo>
                  <a:pt x="114" y="48"/>
                  <a:pt x="112" y="46"/>
                  <a:pt x="112" y="43"/>
                </a:cubicBezTo>
                <a:cubicBezTo>
                  <a:pt x="112" y="40"/>
                  <a:pt x="114" y="37"/>
                  <a:pt x="117" y="37"/>
                </a:cubicBezTo>
                <a:cubicBezTo>
                  <a:pt x="120" y="37"/>
                  <a:pt x="123" y="40"/>
                  <a:pt x="123" y="43"/>
                </a:cubicBezTo>
                <a:cubicBezTo>
                  <a:pt x="123" y="46"/>
                  <a:pt x="120" y="48"/>
                  <a:pt x="117" y="48"/>
                </a:cubicBezTo>
                <a:close/>
                <a:moveTo>
                  <a:pt x="51" y="131"/>
                </a:moveTo>
                <a:cubicBezTo>
                  <a:pt x="62" y="131"/>
                  <a:pt x="72" y="121"/>
                  <a:pt x="72" y="109"/>
                </a:cubicBezTo>
                <a:cubicBezTo>
                  <a:pt x="72" y="98"/>
                  <a:pt x="62" y="88"/>
                  <a:pt x="51" y="88"/>
                </a:cubicBezTo>
                <a:cubicBezTo>
                  <a:pt x="39" y="88"/>
                  <a:pt x="29" y="98"/>
                  <a:pt x="29" y="109"/>
                </a:cubicBezTo>
                <a:cubicBezTo>
                  <a:pt x="29" y="121"/>
                  <a:pt x="39" y="131"/>
                  <a:pt x="51" y="131"/>
                </a:cubicBezTo>
                <a:close/>
                <a:moveTo>
                  <a:pt x="51" y="93"/>
                </a:moveTo>
                <a:cubicBezTo>
                  <a:pt x="59" y="93"/>
                  <a:pt x="67" y="101"/>
                  <a:pt x="67" y="109"/>
                </a:cubicBezTo>
                <a:cubicBezTo>
                  <a:pt x="67" y="118"/>
                  <a:pt x="59" y="125"/>
                  <a:pt x="51" y="125"/>
                </a:cubicBezTo>
                <a:cubicBezTo>
                  <a:pt x="42" y="125"/>
                  <a:pt x="35" y="118"/>
                  <a:pt x="35" y="109"/>
                </a:cubicBezTo>
                <a:cubicBezTo>
                  <a:pt x="35" y="101"/>
                  <a:pt x="42" y="93"/>
                  <a:pt x="51" y="93"/>
                </a:cubicBezTo>
                <a:close/>
                <a:moveTo>
                  <a:pt x="158" y="98"/>
                </a:moveTo>
                <a:cubicBezTo>
                  <a:pt x="158" y="97"/>
                  <a:pt x="158" y="96"/>
                  <a:pt x="159" y="94"/>
                </a:cubicBezTo>
                <a:cubicBezTo>
                  <a:pt x="159" y="94"/>
                  <a:pt x="159" y="94"/>
                  <a:pt x="159" y="94"/>
                </a:cubicBezTo>
                <a:cubicBezTo>
                  <a:pt x="159" y="94"/>
                  <a:pt x="159" y="94"/>
                  <a:pt x="159" y="94"/>
                </a:cubicBezTo>
                <a:cubicBezTo>
                  <a:pt x="160" y="90"/>
                  <a:pt x="160" y="85"/>
                  <a:pt x="160" y="80"/>
                </a:cubicBezTo>
                <a:cubicBezTo>
                  <a:pt x="160" y="69"/>
                  <a:pt x="158" y="59"/>
                  <a:pt x="154" y="49"/>
                </a:cubicBezTo>
                <a:cubicBezTo>
                  <a:pt x="154" y="49"/>
                  <a:pt x="154" y="49"/>
                  <a:pt x="154" y="49"/>
                </a:cubicBezTo>
                <a:cubicBezTo>
                  <a:pt x="151" y="42"/>
                  <a:pt x="146" y="35"/>
                  <a:pt x="141" y="29"/>
                </a:cubicBezTo>
                <a:cubicBezTo>
                  <a:pt x="138" y="25"/>
                  <a:pt x="135" y="22"/>
                  <a:pt x="131" y="19"/>
                </a:cubicBezTo>
                <a:cubicBezTo>
                  <a:pt x="125" y="14"/>
                  <a:pt x="119" y="9"/>
                  <a:pt x="111" y="6"/>
                </a:cubicBezTo>
                <a:cubicBezTo>
                  <a:pt x="111" y="6"/>
                  <a:pt x="111" y="6"/>
                  <a:pt x="111" y="6"/>
                </a:cubicBezTo>
                <a:cubicBezTo>
                  <a:pt x="101" y="2"/>
                  <a:pt x="91" y="0"/>
                  <a:pt x="80" y="0"/>
                </a:cubicBezTo>
                <a:cubicBezTo>
                  <a:pt x="75" y="0"/>
                  <a:pt x="71" y="0"/>
                  <a:pt x="66" y="1"/>
                </a:cubicBezTo>
                <a:cubicBezTo>
                  <a:pt x="66" y="1"/>
                  <a:pt x="66" y="1"/>
                  <a:pt x="66" y="1"/>
                </a:cubicBezTo>
                <a:cubicBezTo>
                  <a:pt x="66" y="1"/>
                  <a:pt x="66" y="1"/>
                  <a:pt x="66" y="1"/>
                </a:cubicBezTo>
                <a:cubicBezTo>
                  <a:pt x="65" y="1"/>
                  <a:pt x="64" y="2"/>
                  <a:pt x="63" y="2"/>
                </a:cubicBezTo>
                <a:cubicBezTo>
                  <a:pt x="63" y="2"/>
                  <a:pt x="63" y="2"/>
                  <a:pt x="63" y="2"/>
                </a:cubicBezTo>
                <a:cubicBezTo>
                  <a:pt x="59" y="3"/>
                  <a:pt x="54" y="4"/>
                  <a:pt x="50" y="6"/>
                </a:cubicBezTo>
                <a:cubicBezTo>
                  <a:pt x="50" y="6"/>
                  <a:pt x="50" y="6"/>
                  <a:pt x="49" y="6"/>
                </a:cubicBezTo>
                <a:cubicBezTo>
                  <a:pt x="49" y="6"/>
                  <a:pt x="48" y="7"/>
                  <a:pt x="48" y="7"/>
                </a:cubicBezTo>
                <a:cubicBezTo>
                  <a:pt x="47" y="7"/>
                  <a:pt x="46" y="7"/>
                  <a:pt x="46" y="8"/>
                </a:cubicBezTo>
                <a:cubicBezTo>
                  <a:pt x="45" y="8"/>
                  <a:pt x="45" y="8"/>
                  <a:pt x="44" y="8"/>
                </a:cubicBezTo>
                <a:cubicBezTo>
                  <a:pt x="44" y="8"/>
                  <a:pt x="44" y="9"/>
                  <a:pt x="44" y="9"/>
                </a:cubicBezTo>
                <a:cubicBezTo>
                  <a:pt x="44" y="9"/>
                  <a:pt x="44" y="9"/>
                  <a:pt x="44" y="9"/>
                </a:cubicBezTo>
                <a:cubicBezTo>
                  <a:pt x="44" y="9"/>
                  <a:pt x="44" y="9"/>
                  <a:pt x="43" y="9"/>
                </a:cubicBezTo>
                <a:cubicBezTo>
                  <a:pt x="43" y="9"/>
                  <a:pt x="43" y="9"/>
                  <a:pt x="42" y="9"/>
                </a:cubicBezTo>
                <a:cubicBezTo>
                  <a:pt x="42" y="10"/>
                  <a:pt x="42" y="10"/>
                  <a:pt x="41" y="10"/>
                </a:cubicBezTo>
                <a:cubicBezTo>
                  <a:pt x="41" y="10"/>
                  <a:pt x="41" y="10"/>
                  <a:pt x="40" y="11"/>
                </a:cubicBezTo>
                <a:cubicBezTo>
                  <a:pt x="40" y="11"/>
                  <a:pt x="39" y="11"/>
                  <a:pt x="39" y="11"/>
                </a:cubicBezTo>
                <a:cubicBezTo>
                  <a:pt x="39" y="12"/>
                  <a:pt x="38" y="12"/>
                  <a:pt x="38" y="12"/>
                </a:cubicBezTo>
                <a:cubicBezTo>
                  <a:pt x="37" y="12"/>
                  <a:pt x="36" y="13"/>
                  <a:pt x="35" y="14"/>
                </a:cubicBezTo>
                <a:cubicBezTo>
                  <a:pt x="35" y="14"/>
                  <a:pt x="35" y="14"/>
                  <a:pt x="35" y="14"/>
                </a:cubicBezTo>
                <a:cubicBezTo>
                  <a:pt x="35" y="14"/>
                  <a:pt x="34" y="14"/>
                  <a:pt x="34" y="15"/>
                </a:cubicBezTo>
                <a:cubicBezTo>
                  <a:pt x="34" y="15"/>
                  <a:pt x="34" y="15"/>
                  <a:pt x="34" y="15"/>
                </a:cubicBezTo>
                <a:cubicBezTo>
                  <a:pt x="33" y="16"/>
                  <a:pt x="32" y="16"/>
                  <a:pt x="31" y="17"/>
                </a:cubicBezTo>
                <a:cubicBezTo>
                  <a:pt x="31" y="17"/>
                  <a:pt x="31" y="17"/>
                  <a:pt x="31" y="17"/>
                </a:cubicBezTo>
                <a:cubicBezTo>
                  <a:pt x="31" y="17"/>
                  <a:pt x="31" y="17"/>
                  <a:pt x="31" y="17"/>
                </a:cubicBezTo>
                <a:cubicBezTo>
                  <a:pt x="26" y="21"/>
                  <a:pt x="22" y="25"/>
                  <a:pt x="19" y="29"/>
                </a:cubicBezTo>
                <a:cubicBezTo>
                  <a:pt x="18" y="29"/>
                  <a:pt x="18" y="29"/>
                  <a:pt x="18" y="29"/>
                </a:cubicBezTo>
                <a:cubicBezTo>
                  <a:pt x="7" y="43"/>
                  <a:pt x="0" y="61"/>
                  <a:pt x="0" y="80"/>
                </a:cubicBezTo>
                <a:cubicBezTo>
                  <a:pt x="0" y="88"/>
                  <a:pt x="1" y="96"/>
                  <a:pt x="3" y="103"/>
                </a:cubicBezTo>
                <a:cubicBezTo>
                  <a:pt x="3" y="103"/>
                  <a:pt x="3" y="103"/>
                  <a:pt x="3" y="103"/>
                </a:cubicBezTo>
                <a:cubicBezTo>
                  <a:pt x="3" y="103"/>
                  <a:pt x="3" y="103"/>
                  <a:pt x="3" y="103"/>
                </a:cubicBezTo>
                <a:cubicBezTo>
                  <a:pt x="4" y="105"/>
                  <a:pt x="4" y="106"/>
                  <a:pt x="5" y="108"/>
                </a:cubicBezTo>
                <a:cubicBezTo>
                  <a:pt x="5" y="108"/>
                  <a:pt x="5" y="109"/>
                  <a:pt x="5" y="109"/>
                </a:cubicBezTo>
                <a:cubicBezTo>
                  <a:pt x="6" y="110"/>
                  <a:pt x="6" y="111"/>
                  <a:pt x="6" y="112"/>
                </a:cubicBezTo>
                <a:cubicBezTo>
                  <a:pt x="7" y="112"/>
                  <a:pt x="7" y="113"/>
                  <a:pt x="8" y="114"/>
                </a:cubicBezTo>
                <a:cubicBezTo>
                  <a:pt x="8" y="114"/>
                  <a:pt x="8" y="115"/>
                  <a:pt x="8" y="115"/>
                </a:cubicBezTo>
                <a:cubicBezTo>
                  <a:pt x="16" y="131"/>
                  <a:pt x="29" y="144"/>
                  <a:pt x="45" y="152"/>
                </a:cubicBezTo>
                <a:cubicBezTo>
                  <a:pt x="45" y="152"/>
                  <a:pt x="46" y="152"/>
                  <a:pt x="46" y="152"/>
                </a:cubicBezTo>
                <a:cubicBezTo>
                  <a:pt x="47" y="153"/>
                  <a:pt x="48" y="153"/>
                  <a:pt x="48" y="154"/>
                </a:cubicBezTo>
                <a:cubicBezTo>
                  <a:pt x="49" y="154"/>
                  <a:pt x="50" y="154"/>
                  <a:pt x="51" y="154"/>
                </a:cubicBezTo>
                <a:cubicBezTo>
                  <a:pt x="51" y="155"/>
                  <a:pt x="52" y="155"/>
                  <a:pt x="52" y="155"/>
                </a:cubicBezTo>
                <a:cubicBezTo>
                  <a:pt x="54" y="156"/>
                  <a:pt x="55" y="156"/>
                  <a:pt x="57" y="157"/>
                </a:cubicBezTo>
                <a:cubicBezTo>
                  <a:pt x="57" y="157"/>
                  <a:pt x="57" y="157"/>
                  <a:pt x="57" y="157"/>
                </a:cubicBezTo>
                <a:cubicBezTo>
                  <a:pt x="57" y="157"/>
                  <a:pt x="57" y="157"/>
                  <a:pt x="57" y="157"/>
                </a:cubicBezTo>
                <a:cubicBezTo>
                  <a:pt x="64" y="159"/>
                  <a:pt x="72" y="160"/>
                  <a:pt x="80" y="160"/>
                </a:cubicBezTo>
                <a:cubicBezTo>
                  <a:pt x="93" y="160"/>
                  <a:pt x="106" y="157"/>
                  <a:pt x="117" y="151"/>
                </a:cubicBezTo>
                <a:cubicBezTo>
                  <a:pt x="117" y="151"/>
                  <a:pt x="117" y="151"/>
                  <a:pt x="117" y="151"/>
                </a:cubicBezTo>
                <a:cubicBezTo>
                  <a:pt x="117" y="151"/>
                  <a:pt x="118" y="151"/>
                  <a:pt x="118" y="151"/>
                </a:cubicBezTo>
                <a:cubicBezTo>
                  <a:pt x="118" y="150"/>
                  <a:pt x="119" y="150"/>
                  <a:pt x="120" y="149"/>
                </a:cubicBezTo>
                <a:cubicBezTo>
                  <a:pt x="120" y="149"/>
                  <a:pt x="121" y="149"/>
                  <a:pt x="121" y="148"/>
                </a:cubicBezTo>
                <a:cubicBezTo>
                  <a:pt x="123" y="148"/>
                  <a:pt x="124" y="147"/>
                  <a:pt x="125" y="146"/>
                </a:cubicBezTo>
                <a:cubicBezTo>
                  <a:pt x="125" y="146"/>
                  <a:pt x="126" y="146"/>
                  <a:pt x="126" y="145"/>
                </a:cubicBezTo>
                <a:cubicBezTo>
                  <a:pt x="127" y="145"/>
                  <a:pt x="128" y="144"/>
                  <a:pt x="128" y="144"/>
                </a:cubicBezTo>
                <a:cubicBezTo>
                  <a:pt x="129" y="143"/>
                  <a:pt x="129" y="143"/>
                  <a:pt x="129" y="143"/>
                </a:cubicBezTo>
                <a:cubicBezTo>
                  <a:pt x="130" y="142"/>
                  <a:pt x="131" y="142"/>
                  <a:pt x="132" y="141"/>
                </a:cubicBezTo>
                <a:cubicBezTo>
                  <a:pt x="132" y="141"/>
                  <a:pt x="132" y="140"/>
                  <a:pt x="133" y="140"/>
                </a:cubicBezTo>
                <a:cubicBezTo>
                  <a:pt x="134" y="139"/>
                  <a:pt x="134" y="139"/>
                  <a:pt x="135" y="138"/>
                </a:cubicBezTo>
                <a:cubicBezTo>
                  <a:pt x="135" y="138"/>
                  <a:pt x="136" y="137"/>
                  <a:pt x="136" y="137"/>
                </a:cubicBezTo>
                <a:cubicBezTo>
                  <a:pt x="137" y="136"/>
                  <a:pt x="138" y="135"/>
                  <a:pt x="139" y="134"/>
                </a:cubicBezTo>
                <a:cubicBezTo>
                  <a:pt x="139" y="133"/>
                  <a:pt x="140" y="133"/>
                  <a:pt x="140" y="133"/>
                </a:cubicBezTo>
                <a:cubicBezTo>
                  <a:pt x="145" y="127"/>
                  <a:pt x="150" y="119"/>
                  <a:pt x="154" y="111"/>
                </a:cubicBezTo>
                <a:cubicBezTo>
                  <a:pt x="154" y="111"/>
                  <a:pt x="154" y="111"/>
                  <a:pt x="154" y="110"/>
                </a:cubicBezTo>
                <a:cubicBezTo>
                  <a:pt x="154" y="110"/>
                  <a:pt x="155" y="109"/>
                  <a:pt x="155" y="108"/>
                </a:cubicBezTo>
                <a:cubicBezTo>
                  <a:pt x="155" y="108"/>
                  <a:pt x="155" y="108"/>
                  <a:pt x="155" y="108"/>
                </a:cubicBezTo>
                <a:cubicBezTo>
                  <a:pt x="156" y="105"/>
                  <a:pt x="157" y="102"/>
                  <a:pt x="158" y="99"/>
                </a:cubicBezTo>
                <a:cubicBezTo>
                  <a:pt x="158" y="99"/>
                  <a:pt x="158" y="99"/>
                  <a:pt x="158" y="98"/>
                </a:cubicBezTo>
                <a:close/>
                <a:moveTo>
                  <a:pt x="131" y="135"/>
                </a:moveTo>
                <a:cubicBezTo>
                  <a:pt x="130" y="135"/>
                  <a:pt x="129" y="136"/>
                  <a:pt x="129" y="136"/>
                </a:cubicBezTo>
                <a:cubicBezTo>
                  <a:pt x="128" y="137"/>
                  <a:pt x="128" y="137"/>
                  <a:pt x="128" y="137"/>
                </a:cubicBezTo>
                <a:cubicBezTo>
                  <a:pt x="127" y="138"/>
                  <a:pt x="127" y="138"/>
                  <a:pt x="126" y="139"/>
                </a:cubicBezTo>
                <a:cubicBezTo>
                  <a:pt x="126" y="139"/>
                  <a:pt x="125" y="139"/>
                  <a:pt x="125" y="140"/>
                </a:cubicBezTo>
                <a:cubicBezTo>
                  <a:pt x="125" y="140"/>
                  <a:pt x="124" y="140"/>
                  <a:pt x="124" y="140"/>
                </a:cubicBezTo>
                <a:cubicBezTo>
                  <a:pt x="123" y="141"/>
                  <a:pt x="123" y="141"/>
                  <a:pt x="122" y="141"/>
                </a:cubicBezTo>
                <a:cubicBezTo>
                  <a:pt x="123" y="139"/>
                  <a:pt x="123" y="136"/>
                  <a:pt x="122" y="134"/>
                </a:cubicBezTo>
                <a:cubicBezTo>
                  <a:pt x="120" y="130"/>
                  <a:pt x="116" y="127"/>
                  <a:pt x="112" y="126"/>
                </a:cubicBezTo>
                <a:cubicBezTo>
                  <a:pt x="109" y="126"/>
                  <a:pt x="109" y="126"/>
                  <a:pt x="109" y="126"/>
                </a:cubicBezTo>
                <a:cubicBezTo>
                  <a:pt x="109" y="121"/>
                  <a:pt x="109" y="121"/>
                  <a:pt x="109" y="121"/>
                </a:cubicBezTo>
                <a:cubicBezTo>
                  <a:pt x="112" y="121"/>
                  <a:pt x="112" y="121"/>
                  <a:pt x="112" y="121"/>
                </a:cubicBezTo>
                <a:cubicBezTo>
                  <a:pt x="116" y="120"/>
                  <a:pt x="120" y="117"/>
                  <a:pt x="121" y="113"/>
                </a:cubicBezTo>
                <a:cubicBezTo>
                  <a:pt x="123" y="109"/>
                  <a:pt x="122" y="104"/>
                  <a:pt x="120" y="101"/>
                </a:cubicBezTo>
                <a:cubicBezTo>
                  <a:pt x="118" y="98"/>
                  <a:pt x="118" y="98"/>
                  <a:pt x="118" y="98"/>
                </a:cubicBezTo>
                <a:cubicBezTo>
                  <a:pt x="121" y="95"/>
                  <a:pt x="121" y="95"/>
                  <a:pt x="121" y="95"/>
                </a:cubicBezTo>
                <a:cubicBezTo>
                  <a:pt x="125" y="97"/>
                  <a:pt x="125" y="97"/>
                  <a:pt x="125" y="97"/>
                </a:cubicBezTo>
                <a:cubicBezTo>
                  <a:pt x="128" y="100"/>
                  <a:pt x="133" y="100"/>
                  <a:pt x="137" y="99"/>
                </a:cubicBezTo>
                <a:cubicBezTo>
                  <a:pt x="141" y="97"/>
                  <a:pt x="143" y="94"/>
                  <a:pt x="144" y="89"/>
                </a:cubicBezTo>
                <a:cubicBezTo>
                  <a:pt x="145" y="85"/>
                  <a:pt x="145" y="85"/>
                  <a:pt x="145" y="85"/>
                </a:cubicBezTo>
                <a:cubicBezTo>
                  <a:pt x="150" y="85"/>
                  <a:pt x="150" y="85"/>
                  <a:pt x="150" y="85"/>
                </a:cubicBezTo>
                <a:cubicBezTo>
                  <a:pt x="150" y="88"/>
                  <a:pt x="150" y="88"/>
                  <a:pt x="150" y="88"/>
                </a:cubicBezTo>
                <a:cubicBezTo>
                  <a:pt x="151" y="91"/>
                  <a:pt x="152" y="93"/>
                  <a:pt x="153" y="95"/>
                </a:cubicBezTo>
                <a:cubicBezTo>
                  <a:pt x="153" y="98"/>
                  <a:pt x="152" y="101"/>
                  <a:pt x="151" y="104"/>
                </a:cubicBezTo>
                <a:cubicBezTo>
                  <a:pt x="150" y="104"/>
                  <a:pt x="149" y="104"/>
                  <a:pt x="148" y="104"/>
                </a:cubicBezTo>
                <a:cubicBezTo>
                  <a:pt x="138" y="104"/>
                  <a:pt x="131" y="112"/>
                  <a:pt x="131" y="121"/>
                </a:cubicBezTo>
                <a:cubicBezTo>
                  <a:pt x="131" y="125"/>
                  <a:pt x="132" y="129"/>
                  <a:pt x="134" y="131"/>
                </a:cubicBezTo>
                <a:cubicBezTo>
                  <a:pt x="133" y="132"/>
                  <a:pt x="132" y="133"/>
                  <a:pt x="131" y="134"/>
                </a:cubicBezTo>
                <a:cubicBezTo>
                  <a:pt x="131" y="134"/>
                  <a:pt x="131" y="135"/>
                  <a:pt x="131" y="135"/>
                </a:cubicBezTo>
                <a:close/>
                <a:moveTo>
                  <a:pt x="148" y="112"/>
                </a:moveTo>
                <a:cubicBezTo>
                  <a:pt x="145" y="117"/>
                  <a:pt x="142" y="123"/>
                  <a:pt x="138" y="127"/>
                </a:cubicBezTo>
                <a:cubicBezTo>
                  <a:pt x="137" y="126"/>
                  <a:pt x="136" y="123"/>
                  <a:pt x="136" y="121"/>
                </a:cubicBezTo>
                <a:cubicBezTo>
                  <a:pt x="136" y="115"/>
                  <a:pt x="141" y="109"/>
                  <a:pt x="148" y="109"/>
                </a:cubicBezTo>
                <a:cubicBezTo>
                  <a:pt x="148" y="109"/>
                  <a:pt x="148" y="109"/>
                  <a:pt x="149" y="109"/>
                </a:cubicBezTo>
                <a:cubicBezTo>
                  <a:pt x="148" y="110"/>
                  <a:pt x="148" y="111"/>
                  <a:pt x="148" y="111"/>
                </a:cubicBezTo>
                <a:cubicBezTo>
                  <a:pt x="148" y="112"/>
                  <a:pt x="148" y="112"/>
                  <a:pt x="148" y="112"/>
                </a:cubicBezTo>
                <a:close/>
                <a:moveTo>
                  <a:pt x="117" y="75"/>
                </a:moveTo>
                <a:cubicBezTo>
                  <a:pt x="100" y="75"/>
                  <a:pt x="85" y="60"/>
                  <a:pt x="85" y="43"/>
                </a:cubicBezTo>
                <a:cubicBezTo>
                  <a:pt x="85" y="28"/>
                  <a:pt x="96" y="15"/>
                  <a:pt x="110" y="12"/>
                </a:cubicBezTo>
                <a:cubicBezTo>
                  <a:pt x="115" y="14"/>
                  <a:pt x="120" y="17"/>
                  <a:pt x="124" y="20"/>
                </a:cubicBezTo>
                <a:cubicBezTo>
                  <a:pt x="125" y="20"/>
                  <a:pt x="125" y="20"/>
                  <a:pt x="125" y="20"/>
                </a:cubicBezTo>
                <a:cubicBezTo>
                  <a:pt x="125" y="21"/>
                  <a:pt x="126" y="21"/>
                  <a:pt x="127" y="22"/>
                </a:cubicBezTo>
                <a:cubicBezTo>
                  <a:pt x="127" y="22"/>
                  <a:pt x="127" y="22"/>
                  <a:pt x="128" y="22"/>
                </a:cubicBezTo>
                <a:cubicBezTo>
                  <a:pt x="128" y="23"/>
                  <a:pt x="129" y="23"/>
                  <a:pt x="129" y="24"/>
                </a:cubicBezTo>
                <a:cubicBezTo>
                  <a:pt x="129" y="24"/>
                  <a:pt x="130" y="24"/>
                  <a:pt x="130" y="25"/>
                </a:cubicBezTo>
                <a:cubicBezTo>
                  <a:pt x="130" y="25"/>
                  <a:pt x="131" y="25"/>
                  <a:pt x="131" y="25"/>
                </a:cubicBezTo>
                <a:cubicBezTo>
                  <a:pt x="132" y="27"/>
                  <a:pt x="133" y="28"/>
                  <a:pt x="135" y="29"/>
                </a:cubicBezTo>
                <a:cubicBezTo>
                  <a:pt x="135" y="29"/>
                  <a:pt x="135" y="30"/>
                  <a:pt x="135" y="30"/>
                </a:cubicBezTo>
                <a:cubicBezTo>
                  <a:pt x="136" y="30"/>
                  <a:pt x="136" y="31"/>
                  <a:pt x="136" y="31"/>
                </a:cubicBezTo>
                <a:cubicBezTo>
                  <a:pt x="137" y="31"/>
                  <a:pt x="137" y="32"/>
                  <a:pt x="138" y="32"/>
                </a:cubicBezTo>
                <a:cubicBezTo>
                  <a:pt x="138" y="33"/>
                  <a:pt x="138" y="33"/>
                  <a:pt x="138" y="33"/>
                </a:cubicBezTo>
                <a:cubicBezTo>
                  <a:pt x="139" y="34"/>
                  <a:pt x="139" y="35"/>
                  <a:pt x="140" y="35"/>
                </a:cubicBezTo>
                <a:cubicBezTo>
                  <a:pt x="140" y="35"/>
                  <a:pt x="140" y="36"/>
                  <a:pt x="140" y="36"/>
                </a:cubicBezTo>
                <a:cubicBezTo>
                  <a:pt x="143" y="40"/>
                  <a:pt x="146" y="45"/>
                  <a:pt x="148" y="50"/>
                </a:cubicBezTo>
                <a:cubicBezTo>
                  <a:pt x="145" y="64"/>
                  <a:pt x="132" y="75"/>
                  <a:pt x="117" y="75"/>
                </a:cubicBezTo>
                <a:close/>
                <a:moveTo>
                  <a:pt x="62" y="8"/>
                </a:moveTo>
                <a:cubicBezTo>
                  <a:pt x="62" y="10"/>
                  <a:pt x="62" y="12"/>
                  <a:pt x="62" y="14"/>
                </a:cubicBezTo>
                <a:cubicBezTo>
                  <a:pt x="64" y="17"/>
                  <a:pt x="67" y="19"/>
                  <a:pt x="70" y="20"/>
                </a:cubicBezTo>
                <a:cubicBezTo>
                  <a:pt x="72" y="20"/>
                  <a:pt x="72" y="20"/>
                  <a:pt x="72" y="20"/>
                </a:cubicBezTo>
                <a:cubicBezTo>
                  <a:pt x="72" y="23"/>
                  <a:pt x="72" y="23"/>
                  <a:pt x="72" y="23"/>
                </a:cubicBezTo>
                <a:cubicBezTo>
                  <a:pt x="70" y="24"/>
                  <a:pt x="70" y="24"/>
                  <a:pt x="70" y="24"/>
                </a:cubicBezTo>
                <a:cubicBezTo>
                  <a:pt x="67" y="24"/>
                  <a:pt x="64" y="27"/>
                  <a:pt x="62" y="30"/>
                </a:cubicBezTo>
                <a:cubicBezTo>
                  <a:pt x="61" y="33"/>
                  <a:pt x="61" y="37"/>
                  <a:pt x="63" y="40"/>
                </a:cubicBezTo>
                <a:cubicBezTo>
                  <a:pt x="64" y="41"/>
                  <a:pt x="64" y="41"/>
                  <a:pt x="64" y="41"/>
                </a:cubicBezTo>
                <a:cubicBezTo>
                  <a:pt x="62" y="44"/>
                  <a:pt x="62" y="44"/>
                  <a:pt x="62" y="44"/>
                </a:cubicBezTo>
                <a:cubicBezTo>
                  <a:pt x="62" y="43"/>
                  <a:pt x="62" y="43"/>
                  <a:pt x="62" y="43"/>
                </a:cubicBezTo>
                <a:cubicBezTo>
                  <a:pt x="58" y="41"/>
                  <a:pt x="55" y="40"/>
                  <a:pt x="51" y="42"/>
                </a:cubicBezTo>
                <a:cubicBezTo>
                  <a:pt x="48" y="43"/>
                  <a:pt x="45" y="46"/>
                  <a:pt x="45" y="50"/>
                </a:cubicBezTo>
                <a:cubicBezTo>
                  <a:pt x="45" y="51"/>
                  <a:pt x="45" y="51"/>
                  <a:pt x="45" y="51"/>
                </a:cubicBezTo>
                <a:cubicBezTo>
                  <a:pt x="42" y="51"/>
                  <a:pt x="42" y="51"/>
                  <a:pt x="42" y="51"/>
                </a:cubicBezTo>
                <a:cubicBezTo>
                  <a:pt x="41" y="49"/>
                  <a:pt x="41" y="49"/>
                  <a:pt x="41" y="49"/>
                </a:cubicBezTo>
                <a:cubicBezTo>
                  <a:pt x="41" y="45"/>
                  <a:pt x="38" y="42"/>
                  <a:pt x="35" y="41"/>
                </a:cubicBezTo>
                <a:cubicBezTo>
                  <a:pt x="32" y="40"/>
                  <a:pt x="28" y="40"/>
                  <a:pt x="25" y="42"/>
                </a:cubicBezTo>
                <a:cubicBezTo>
                  <a:pt x="23" y="44"/>
                  <a:pt x="23" y="44"/>
                  <a:pt x="23" y="44"/>
                </a:cubicBezTo>
                <a:cubicBezTo>
                  <a:pt x="21" y="41"/>
                  <a:pt x="21" y="41"/>
                  <a:pt x="21" y="41"/>
                </a:cubicBezTo>
                <a:cubicBezTo>
                  <a:pt x="22" y="40"/>
                  <a:pt x="22" y="40"/>
                  <a:pt x="22" y="40"/>
                </a:cubicBezTo>
                <a:cubicBezTo>
                  <a:pt x="24" y="37"/>
                  <a:pt x="25" y="34"/>
                  <a:pt x="24" y="31"/>
                </a:cubicBezTo>
                <a:cubicBezTo>
                  <a:pt x="24" y="31"/>
                  <a:pt x="24" y="31"/>
                  <a:pt x="24" y="30"/>
                </a:cubicBezTo>
                <a:cubicBezTo>
                  <a:pt x="25" y="29"/>
                  <a:pt x="26" y="29"/>
                  <a:pt x="27" y="28"/>
                </a:cubicBezTo>
                <a:cubicBezTo>
                  <a:pt x="27" y="27"/>
                  <a:pt x="28" y="26"/>
                  <a:pt x="29" y="26"/>
                </a:cubicBezTo>
                <a:cubicBezTo>
                  <a:pt x="29" y="25"/>
                  <a:pt x="29" y="25"/>
                  <a:pt x="30" y="25"/>
                </a:cubicBezTo>
                <a:cubicBezTo>
                  <a:pt x="31" y="30"/>
                  <a:pt x="37" y="35"/>
                  <a:pt x="43" y="35"/>
                </a:cubicBezTo>
                <a:cubicBezTo>
                  <a:pt x="50" y="35"/>
                  <a:pt x="56" y="29"/>
                  <a:pt x="56" y="21"/>
                </a:cubicBezTo>
                <a:cubicBezTo>
                  <a:pt x="56" y="17"/>
                  <a:pt x="54" y="14"/>
                  <a:pt x="51" y="11"/>
                </a:cubicBezTo>
                <a:cubicBezTo>
                  <a:pt x="53" y="10"/>
                  <a:pt x="54" y="10"/>
                  <a:pt x="56" y="9"/>
                </a:cubicBezTo>
                <a:cubicBezTo>
                  <a:pt x="56" y="9"/>
                  <a:pt x="57" y="9"/>
                  <a:pt x="57" y="9"/>
                </a:cubicBezTo>
                <a:cubicBezTo>
                  <a:pt x="58" y="9"/>
                  <a:pt x="60" y="8"/>
                  <a:pt x="62" y="8"/>
                </a:cubicBezTo>
                <a:close/>
                <a:moveTo>
                  <a:pt x="35" y="21"/>
                </a:moveTo>
                <a:cubicBezTo>
                  <a:pt x="35" y="21"/>
                  <a:pt x="35" y="20"/>
                  <a:pt x="35" y="20"/>
                </a:cubicBezTo>
                <a:cubicBezTo>
                  <a:pt x="36" y="19"/>
                  <a:pt x="38" y="19"/>
                  <a:pt x="39" y="18"/>
                </a:cubicBezTo>
                <a:cubicBezTo>
                  <a:pt x="39" y="18"/>
                  <a:pt x="40" y="17"/>
                  <a:pt x="40" y="17"/>
                </a:cubicBezTo>
                <a:cubicBezTo>
                  <a:pt x="40" y="17"/>
                  <a:pt x="40" y="17"/>
                  <a:pt x="40" y="17"/>
                </a:cubicBezTo>
                <a:cubicBezTo>
                  <a:pt x="42" y="16"/>
                  <a:pt x="43" y="15"/>
                  <a:pt x="44" y="15"/>
                </a:cubicBezTo>
                <a:cubicBezTo>
                  <a:pt x="44" y="14"/>
                  <a:pt x="45" y="14"/>
                  <a:pt x="45" y="14"/>
                </a:cubicBezTo>
                <a:cubicBezTo>
                  <a:pt x="49" y="15"/>
                  <a:pt x="51" y="18"/>
                  <a:pt x="51" y="21"/>
                </a:cubicBezTo>
                <a:cubicBezTo>
                  <a:pt x="51" y="26"/>
                  <a:pt x="47" y="29"/>
                  <a:pt x="43" y="29"/>
                </a:cubicBezTo>
                <a:cubicBezTo>
                  <a:pt x="38" y="29"/>
                  <a:pt x="35" y="26"/>
                  <a:pt x="35" y="21"/>
                </a:cubicBezTo>
                <a:cubicBezTo>
                  <a:pt x="35" y="21"/>
                  <a:pt x="35" y="21"/>
                  <a:pt x="35" y="21"/>
                </a:cubicBezTo>
                <a:close/>
                <a:moveTo>
                  <a:pt x="35" y="70"/>
                </a:moveTo>
                <a:cubicBezTo>
                  <a:pt x="35" y="70"/>
                  <a:pt x="35" y="70"/>
                  <a:pt x="35" y="70"/>
                </a:cubicBezTo>
                <a:cubicBezTo>
                  <a:pt x="35" y="70"/>
                  <a:pt x="35" y="69"/>
                  <a:pt x="35" y="69"/>
                </a:cubicBezTo>
                <a:cubicBezTo>
                  <a:pt x="40" y="68"/>
                  <a:pt x="45" y="67"/>
                  <a:pt x="51" y="67"/>
                </a:cubicBezTo>
                <a:cubicBezTo>
                  <a:pt x="74" y="67"/>
                  <a:pt x="93" y="86"/>
                  <a:pt x="93" y="109"/>
                </a:cubicBezTo>
                <a:cubicBezTo>
                  <a:pt x="93" y="115"/>
                  <a:pt x="92" y="121"/>
                  <a:pt x="90" y="127"/>
                </a:cubicBezTo>
                <a:cubicBezTo>
                  <a:pt x="90" y="127"/>
                  <a:pt x="90" y="127"/>
                  <a:pt x="90" y="127"/>
                </a:cubicBezTo>
                <a:cubicBezTo>
                  <a:pt x="90" y="127"/>
                  <a:pt x="90" y="127"/>
                  <a:pt x="90" y="127"/>
                </a:cubicBezTo>
                <a:cubicBezTo>
                  <a:pt x="84" y="139"/>
                  <a:pt x="72" y="149"/>
                  <a:pt x="58" y="151"/>
                </a:cubicBezTo>
                <a:cubicBezTo>
                  <a:pt x="58" y="151"/>
                  <a:pt x="58" y="151"/>
                  <a:pt x="58" y="151"/>
                </a:cubicBezTo>
                <a:cubicBezTo>
                  <a:pt x="57" y="151"/>
                  <a:pt x="55" y="150"/>
                  <a:pt x="54" y="150"/>
                </a:cubicBezTo>
                <a:cubicBezTo>
                  <a:pt x="53" y="150"/>
                  <a:pt x="53" y="150"/>
                  <a:pt x="52" y="149"/>
                </a:cubicBezTo>
                <a:cubicBezTo>
                  <a:pt x="52" y="149"/>
                  <a:pt x="51" y="149"/>
                  <a:pt x="50" y="149"/>
                </a:cubicBezTo>
                <a:cubicBezTo>
                  <a:pt x="50" y="148"/>
                  <a:pt x="49" y="148"/>
                  <a:pt x="48" y="147"/>
                </a:cubicBezTo>
                <a:cubicBezTo>
                  <a:pt x="48" y="147"/>
                  <a:pt x="47" y="147"/>
                  <a:pt x="47" y="147"/>
                </a:cubicBezTo>
                <a:cubicBezTo>
                  <a:pt x="32" y="140"/>
                  <a:pt x="20" y="128"/>
                  <a:pt x="13" y="113"/>
                </a:cubicBezTo>
                <a:cubicBezTo>
                  <a:pt x="13" y="113"/>
                  <a:pt x="13" y="112"/>
                  <a:pt x="13" y="112"/>
                </a:cubicBezTo>
                <a:cubicBezTo>
                  <a:pt x="12" y="111"/>
                  <a:pt x="12" y="110"/>
                  <a:pt x="11" y="110"/>
                </a:cubicBezTo>
                <a:cubicBezTo>
                  <a:pt x="11" y="109"/>
                  <a:pt x="11" y="108"/>
                  <a:pt x="11" y="108"/>
                </a:cubicBezTo>
                <a:cubicBezTo>
                  <a:pt x="10" y="107"/>
                  <a:pt x="10" y="107"/>
                  <a:pt x="10" y="106"/>
                </a:cubicBezTo>
                <a:cubicBezTo>
                  <a:pt x="10" y="105"/>
                  <a:pt x="9" y="103"/>
                  <a:pt x="9" y="102"/>
                </a:cubicBezTo>
                <a:cubicBezTo>
                  <a:pt x="9" y="102"/>
                  <a:pt x="9" y="102"/>
                  <a:pt x="9" y="102"/>
                </a:cubicBezTo>
                <a:cubicBezTo>
                  <a:pt x="11" y="87"/>
                  <a:pt x="21" y="75"/>
                  <a:pt x="35" y="70"/>
                </a:cubicBezTo>
                <a:close/>
                <a:moveTo>
                  <a:pt x="69" y="154"/>
                </a:moveTo>
                <a:cubicBezTo>
                  <a:pt x="79" y="149"/>
                  <a:pt x="88" y="141"/>
                  <a:pt x="93" y="131"/>
                </a:cubicBezTo>
                <a:cubicBezTo>
                  <a:pt x="98" y="133"/>
                  <a:pt x="98" y="133"/>
                  <a:pt x="98" y="133"/>
                </a:cubicBezTo>
                <a:cubicBezTo>
                  <a:pt x="98" y="133"/>
                  <a:pt x="98" y="133"/>
                  <a:pt x="99" y="133"/>
                </a:cubicBezTo>
                <a:cubicBezTo>
                  <a:pt x="100" y="133"/>
                  <a:pt x="101" y="133"/>
                  <a:pt x="101" y="132"/>
                </a:cubicBezTo>
                <a:cubicBezTo>
                  <a:pt x="102" y="130"/>
                  <a:pt x="101" y="129"/>
                  <a:pt x="100" y="128"/>
                </a:cubicBezTo>
                <a:cubicBezTo>
                  <a:pt x="96" y="126"/>
                  <a:pt x="96" y="126"/>
                  <a:pt x="96" y="126"/>
                </a:cubicBezTo>
                <a:cubicBezTo>
                  <a:pt x="98" y="121"/>
                  <a:pt x="99" y="115"/>
                  <a:pt x="99" y="109"/>
                </a:cubicBezTo>
                <a:cubicBezTo>
                  <a:pt x="99" y="104"/>
                  <a:pt x="98" y="99"/>
                  <a:pt x="96" y="94"/>
                </a:cubicBezTo>
                <a:cubicBezTo>
                  <a:pt x="100" y="93"/>
                  <a:pt x="100" y="93"/>
                  <a:pt x="100" y="93"/>
                </a:cubicBezTo>
                <a:cubicBezTo>
                  <a:pt x="101" y="93"/>
                  <a:pt x="102" y="91"/>
                  <a:pt x="101" y="90"/>
                </a:cubicBezTo>
                <a:cubicBezTo>
                  <a:pt x="101" y="88"/>
                  <a:pt x="99" y="88"/>
                  <a:pt x="98" y="88"/>
                </a:cubicBezTo>
                <a:cubicBezTo>
                  <a:pt x="94" y="89"/>
                  <a:pt x="94" y="89"/>
                  <a:pt x="94" y="89"/>
                </a:cubicBezTo>
                <a:cubicBezTo>
                  <a:pt x="90" y="80"/>
                  <a:pt x="82" y="72"/>
                  <a:pt x="73" y="67"/>
                </a:cubicBezTo>
                <a:cubicBezTo>
                  <a:pt x="74" y="62"/>
                  <a:pt x="74" y="62"/>
                  <a:pt x="74" y="62"/>
                </a:cubicBezTo>
                <a:cubicBezTo>
                  <a:pt x="75" y="61"/>
                  <a:pt x="74" y="59"/>
                  <a:pt x="73" y="59"/>
                </a:cubicBezTo>
                <a:cubicBezTo>
                  <a:pt x="72" y="58"/>
                  <a:pt x="70" y="59"/>
                  <a:pt x="70" y="60"/>
                </a:cubicBezTo>
                <a:cubicBezTo>
                  <a:pt x="68" y="65"/>
                  <a:pt x="68" y="65"/>
                  <a:pt x="68" y="65"/>
                </a:cubicBezTo>
                <a:cubicBezTo>
                  <a:pt x="62" y="62"/>
                  <a:pt x="57" y="61"/>
                  <a:pt x="51" y="61"/>
                </a:cubicBezTo>
                <a:cubicBezTo>
                  <a:pt x="45" y="61"/>
                  <a:pt x="40" y="62"/>
                  <a:pt x="36" y="64"/>
                </a:cubicBezTo>
                <a:cubicBezTo>
                  <a:pt x="34" y="60"/>
                  <a:pt x="34" y="60"/>
                  <a:pt x="34" y="60"/>
                </a:cubicBezTo>
                <a:cubicBezTo>
                  <a:pt x="34" y="59"/>
                  <a:pt x="32" y="58"/>
                  <a:pt x="31" y="59"/>
                </a:cubicBezTo>
                <a:cubicBezTo>
                  <a:pt x="30" y="59"/>
                  <a:pt x="29" y="61"/>
                  <a:pt x="30" y="62"/>
                </a:cubicBezTo>
                <a:cubicBezTo>
                  <a:pt x="31" y="66"/>
                  <a:pt x="31" y="66"/>
                  <a:pt x="31" y="66"/>
                </a:cubicBezTo>
                <a:cubicBezTo>
                  <a:pt x="20" y="71"/>
                  <a:pt x="11" y="80"/>
                  <a:pt x="6" y="91"/>
                </a:cubicBezTo>
                <a:cubicBezTo>
                  <a:pt x="6" y="88"/>
                  <a:pt x="5" y="84"/>
                  <a:pt x="5" y="80"/>
                </a:cubicBezTo>
                <a:cubicBezTo>
                  <a:pt x="5" y="66"/>
                  <a:pt x="9" y="54"/>
                  <a:pt x="15" y="43"/>
                </a:cubicBezTo>
                <a:cubicBezTo>
                  <a:pt x="16" y="43"/>
                  <a:pt x="16" y="43"/>
                  <a:pt x="16" y="44"/>
                </a:cubicBezTo>
                <a:cubicBezTo>
                  <a:pt x="21" y="49"/>
                  <a:pt x="21" y="49"/>
                  <a:pt x="21" y="49"/>
                </a:cubicBezTo>
                <a:cubicBezTo>
                  <a:pt x="22" y="50"/>
                  <a:pt x="24" y="50"/>
                  <a:pt x="25" y="49"/>
                </a:cubicBezTo>
                <a:cubicBezTo>
                  <a:pt x="28" y="47"/>
                  <a:pt x="28" y="47"/>
                  <a:pt x="28" y="47"/>
                </a:cubicBezTo>
                <a:cubicBezTo>
                  <a:pt x="29" y="46"/>
                  <a:pt x="31" y="45"/>
                  <a:pt x="33" y="46"/>
                </a:cubicBezTo>
                <a:cubicBezTo>
                  <a:pt x="35" y="47"/>
                  <a:pt x="36" y="48"/>
                  <a:pt x="36" y="50"/>
                </a:cubicBezTo>
                <a:cubicBezTo>
                  <a:pt x="37" y="54"/>
                  <a:pt x="37" y="54"/>
                  <a:pt x="37" y="54"/>
                </a:cubicBezTo>
                <a:cubicBezTo>
                  <a:pt x="37" y="55"/>
                  <a:pt x="38" y="56"/>
                  <a:pt x="40" y="56"/>
                </a:cubicBezTo>
                <a:cubicBezTo>
                  <a:pt x="47" y="56"/>
                  <a:pt x="47" y="56"/>
                  <a:pt x="47" y="56"/>
                </a:cubicBezTo>
                <a:cubicBezTo>
                  <a:pt x="48" y="56"/>
                  <a:pt x="49" y="55"/>
                  <a:pt x="50" y="54"/>
                </a:cubicBezTo>
                <a:cubicBezTo>
                  <a:pt x="50" y="51"/>
                  <a:pt x="50" y="51"/>
                  <a:pt x="50" y="51"/>
                </a:cubicBezTo>
                <a:cubicBezTo>
                  <a:pt x="50" y="49"/>
                  <a:pt x="52" y="48"/>
                  <a:pt x="53" y="47"/>
                </a:cubicBezTo>
                <a:cubicBezTo>
                  <a:pt x="55" y="46"/>
                  <a:pt x="57" y="46"/>
                  <a:pt x="58" y="47"/>
                </a:cubicBezTo>
                <a:cubicBezTo>
                  <a:pt x="61" y="49"/>
                  <a:pt x="61" y="49"/>
                  <a:pt x="61" y="49"/>
                </a:cubicBezTo>
                <a:cubicBezTo>
                  <a:pt x="62" y="50"/>
                  <a:pt x="63" y="50"/>
                  <a:pt x="64" y="49"/>
                </a:cubicBezTo>
                <a:cubicBezTo>
                  <a:pt x="69" y="44"/>
                  <a:pt x="69" y="44"/>
                  <a:pt x="69" y="44"/>
                </a:cubicBezTo>
                <a:cubicBezTo>
                  <a:pt x="70" y="43"/>
                  <a:pt x="70" y="41"/>
                  <a:pt x="70" y="40"/>
                </a:cubicBezTo>
                <a:cubicBezTo>
                  <a:pt x="67" y="37"/>
                  <a:pt x="67" y="37"/>
                  <a:pt x="67" y="37"/>
                </a:cubicBezTo>
                <a:cubicBezTo>
                  <a:pt x="66" y="36"/>
                  <a:pt x="66" y="34"/>
                  <a:pt x="67" y="32"/>
                </a:cubicBezTo>
                <a:cubicBezTo>
                  <a:pt x="68" y="30"/>
                  <a:pt x="69" y="29"/>
                  <a:pt x="71" y="29"/>
                </a:cubicBezTo>
                <a:cubicBezTo>
                  <a:pt x="75" y="28"/>
                  <a:pt x="75" y="28"/>
                  <a:pt x="75" y="28"/>
                </a:cubicBezTo>
                <a:cubicBezTo>
                  <a:pt x="76" y="28"/>
                  <a:pt x="77" y="27"/>
                  <a:pt x="77" y="26"/>
                </a:cubicBezTo>
                <a:cubicBezTo>
                  <a:pt x="77" y="18"/>
                  <a:pt x="77" y="18"/>
                  <a:pt x="77" y="18"/>
                </a:cubicBezTo>
                <a:cubicBezTo>
                  <a:pt x="77" y="17"/>
                  <a:pt x="76" y="16"/>
                  <a:pt x="75" y="16"/>
                </a:cubicBezTo>
                <a:cubicBezTo>
                  <a:pt x="71" y="15"/>
                  <a:pt x="71" y="15"/>
                  <a:pt x="71" y="15"/>
                </a:cubicBezTo>
                <a:cubicBezTo>
                  <a:pt x="70" y="15"/>
                  <a:pt x="68" y="13"/>
                  <a:pt x="67" y="12"/>
                </a:cubicBezTo>
                <a:cubicBezTo>
                  <a:pt x="67" y="10"/>
                  <a:pt x="67" y="8"/>
                  <a:pt x="68" y="7"/>
                </a:cubicBezTo>
                <a:cubicBezTo>
                  <a:pt x="68" y="6"/>
                  <a:pt x="68" y="6"/>
                  <a:pt x="68" y="6"/>
                </a:cubicBezTo>
                <a:cubicBezTo>
                  <a:pt x="72" y="6"/>
                  <a:pt x="76" y="5"/>
                  <a:pt x="80" y="5"/>
                </a:cubicBezTo>
                <a:cubicBezTo>
                  <a:pt x="88" y="5"/>
                  <a:pt x="95" y="6"/>
                  <a:pt x="102" y="9"/>
                </a:cubicBezTo>
                <a:cubicBezTo>
                  <a:pt x="99" y="10"/>
                  <a:pt x="96" y="12"/>
                  <a:pt x="93" y="14"/>
                </a:cubicBezTo>
                <a:cubicBezTo>
                  <a:pt x="91" y="12"/>
                  <a:pt x="91" y="12"/>
                  <a:pt x="91" y="12"/>
                </a:cubicBezTo>
                <a:cubicBezTo>
                  <a:pt x="90" y="11"/>
                  <a:pt x="88" y="11"/>
                  <a:pt x="87" y="12"/>
                </a:cubicBezTo>
                <a:cubicBezTo>
                  <a:pt x="86" y="14"/>
                  <a:pt x="86" y="15"/>
                  <a:pt x="87" y="16"/>
                </a:cubicBezTo>
                <a:cubicBezTo>
                  <a:pt x="89" y="18"/>
                  <a:pt x="89" y="18"/>
                  <a:pt x="89" y="18"/>
                </a:cubicBezTo>
                <a:cubicBezTo>
                  <a:pt x="84" y="24"/>
                  <a:pt x="81" y="32"/>
                  <a:pt x="80" y="40"/>
                </a:cubicBezTo>
                <a:cubicBezTo>
                  <a:pt x="77" y="40"/>
                  <a:pt x="77" y="40"/>
                  <a:pt x="77" y="40"/>
                </a:cubicBezTo>
                <a:cubicBezTo>
                  <a:pt x="76" y="40"/>
                  <a:pt x="75" y="41"/>
                  <a:pt x="75" y="43"/>
                </a:cubicBezTo>
                <a:cubicBezTo>
                  <a:pt x="75" y="44"/>
                  <a:pt x="76" y="45"/>
                  <a:pt x="77" y="45"/>
                </a:cubicBezTo>
                <a:cubicBezTo>
                  <a:pt x="80" y="45"/>
                  <a:pt x="80" y="45"/>
                  <a:pt x="80" y="45"/>
                </a:cubicBezTo>
                <a:cubicBezTo>
                  <a:pt x="81" y="54"/>
                  <a:pt x="84" y="61"/>
                  <a:pt x="89" y="67"/>
                </a:cubicBezTo>
                <a:cubicBezTo>
                  <a:pt x="87" y="69"/>
                  <a:pt x="87" y="69"/>
                  <a:pt x="87" y="69"/>
                </a:cubicBezTo>
                <a:cubicBezTo>
                  <a:pt x="86" y="70"/>
                  <a:pt x="86" y="72"/>
                  <a:pt x="87" y="73"/>
                </a:cubicBezTo>
                <a:cubicBezTo>
                  <a:pt x="88" y="73"/>
                  <a:pt x="88" y="74"/>
                  <a:pt x="89" y="74"/>
                </a:cubicBezTo>
                <a:cubicBezTo>
                  <a:pt x="90" y="74"/>
                  <a:pt x="90" y="73"/>
                  <a:pt x="91" y="73"/>
                </a:cubicBezTo>
                <a:cubicBezTo>
                  <a:pt x="93" y="71"/>
                  <a:pt x="93" y="71"/>
                  <a:pt x="93" y="71"/>
                </a:cubicBezTo>
                <a:cubicBezTo>
                  <a:pt x="99" y="76"/>
                  <a:pt x="106" y="79"/>
                  <a:pt x="115" y="80"/>
                </a:cubicBezTo>
                <a:cubicBezTo>
                  <a:pt x="115" y="83"/>
                  <a:pt x="115" y="83"/>
                  <a:pt x="115" y="83"/>
                </a:cubicBezTo>
                <a:cubicBezTo>
                  <a:pt x="115" y="84"/>
                  <a:pt x="116" y="85"/>
                  <a:pt x="117" y="85"/>
                </a:cubicBezTo>
                <a:cubicBezTo>
                  <a:pt x="119" y="85"/>
                  <a:pt x="120" y="84"/>
                  <a:pt x="120" y="83"/>
                </a:cubicBezTo>
                <a:cubicBezTo>
                  <a:pt x="120" y="80"/>
                  <a:pt x="120" y="80"/>
                  <a:pt x="120" y="80"/>
                </a:cubicBezTo>
                <a:cubicBezTo>
                  <a:pt x="128" y="79"/>
                  <a:pt x="136" y="76"/>
                  <a:pt x="142" y="71"/>
                </a:cubicBezTo>
                <a:cubicBezTo>
                  <a:pt x="144" y="73"/>
                  <a:pt x="144" y="73"/>
                  <a:pt x="144" y="73"/>
                </a:cubicBezTo>
                <a:cubicBezTo>
                  <a:pt x="144" y="73"/>
                  <a:pt x="145" y="74"/>
                  <a:pt x="146" y="74"/>
                </a:cubicBezTo>
                <a:cubicBezTo>
                  <a:pt x="146" y="74"/>
                  <a:pt x="147" y="73"/>
                  <a:pt x="148" y="73"/>
                </a:cubicBezTo>
                <a:cubicBezTo>
                  <a:pt x="149" y="72"/>
                  <a:pt x="149" y="70"/>
                  <a:pt x="148" y="69"/>
                </a:cubicBezTo>
                <a:cubicBezTo>
                  <a:pt x="146" y="67"/>
                  <a:pt x="146" y="67"/>
                  <a:pt x="146" y="67"/>
                </a:cubicBezTo>
                <a:cubicBezTo>
                  <a:pt x="148" y="64"/>
                  <a:pt x="150" y="61"/>
                  <a:pt x="151" y="58"/>
                </a:cubicBezTo>
                <a:cubicBezTo>
                  <a:pt x="154" y="65"/>
                  <a:pt x="155" y="72"/>
                  <a:pt x="155" y="80"/>
                </a:cubicBezTo>
                <a:cubicBezTo>
                  <a:pt x="155" y="81"/>
                  <a:pt x="155" y="81"/>
                  <a:pt x="155" y="82"/>
                </a:cubicBezTo>
                <a:cubicBezTo>
                  <a:pt x="154" y="81"/>
                  <a:pt x="153" y="80"/>
                  <a:pt x="152" y="80"/>
                </a:cubicBezTo>
                <a:cubicBezTo>
                  <a:pt x="143" y="80"/>
                  <a:pt x="143" y="80"/>
                  <a:pt x="143" y="80"/>
                </a:cubicBezTo>
                <a:cubicBezTo>
                  <a:pt x="142" y="80"/>
                  <a:pt x="140" y="81"/>
                  <a:pt x="140" y="82"/>
                </a:cubicBezTo>
                <a:cubicBezTo>
                  <a:pt x="139" y="88"/>
                  <a:pt x="139" y="88"/>
                  <a:pt x="139" y="88"/>
                </a:cubicBezTo>
                <a:cubicBezTo>
                  <a:pt x="139" y="91"/>
                  <a:pt x="137" y="93"/>
                  <a:pt x="135" y="94"/>
                </a:cubicBezTo>
                <a:cubicBezTo>
                  <a:pt x="132" y="95"/>
                  <a:pt x="130" y="94"/>
                  <a:pt x="128" y="93"/>
                </a:cubicBezTo>
                <a:cubicBezTo>
                  <a:pt x="123" y="89"/>
                  <a:pt x="123" y="89"/>
                  <a:pt x="123" y="89"/>
                </a:cubicBezTo>
                <a:cubicBezTo>
                  <a:pt x="122" y="89"/>
                  <a:pt x="120" y="89"/>
                  <a:pt x="119" y="90"/>
                </a:cubicBezTo>
                <a:cubicBezTo>
                  <a:pt x="113" y="96"/>
                  <a:pt x="113" y="96"/>
                  <a:pt x="113" y="96"/>
                </a:cubicBezTo>
                <a:cubicBezTo>
                  <a:pt x="112" y="97"/>
                  <a:pt x="112" y="99"/>
                  <a:pt x="112" y="100"/>
                </a:cubicBezTo>
                <a:cubicBezTo>
                  <a:pt x="115" y="104"/>
                  <a:pt x="115" y="104"/>
                  <a:pt x="115" y="104"/>
                </a:cubicBezTo>
                <a:cubicBezTo>
                  <a:pt x="117" y="106"/>
                  <a:pt x="117" y="108"/>
                  <a:pt x="116" y="111"/>
                </a:cubicBezTo>
                <a:cubicBezTo>
                  <a:pt x="115" y="113"/>
                  <a:pt x="113" y="115"/>
                  <a:pt x="111" y="115"/>
                </a:cubicBezTo>
                <a:cubicBezTo>
                  <a:pt x="106" y="116"/>
                  <a:pt x="106" y="116"/>
                  <a:pt x="106" y="116"/>
                </a:cubicBezTo>
                <a:cubicBezTo>
                  <a:pt x="105" y="116"/>
                  <a:pt x="104" y="118"/>
                  <a:pt x="104" y="119"/>
                </a:cubicBezTo>
                <a:cubicBezTo>
                  <a:pt x="104" y="128"/>
                  <a:pt x="104" y="128"/>
                  <a:pt x="104" y="128"/>
                </a:cubicBezTo>
                <a:cubicBezTo>
                  <a:pt x="104" y="129"/>
                  <a:pt x="105" y="130"/>
                  <a:pt x="106" y="131"/>
                </a:cubicBezTo>
                <a:cubicBezTo>
                  <a:pt x="111" y="131"/>
                  <a:pt x="111" y="131"/>
                  <a:pt x="111" y="131"/>
                </a:cubicBezTo>
                <a:cubicBezTo>
                  <a:pt x="114" y="132"/>
                  <a:pt x="116" y="133"/>
                  <a:pt x="117" y="136"/>
                </a:cubicBezTo>
                <a:cubicBezTo>
                  <a:pt x="118" y="138"/>
                  <a:pt x="118" y="141"/>
                  <a:pt x="116" y="143"/>
                </a:cubicBezTo>
                <a:cubicBezTo>
                  <a:pt x="113" y="147"/>
                  <a:pt x="113" y="147"/>
                  <a:pt x="113" y="147"/>
                </a:cubicBezTo>
                <a:cubicBezTo>
                  <a:pt x="103" y="152"/>
                  <a:pt x="92" y="155"/>
                  <a:pt x="80" y="155"/>
                </a:cubicBezTo>
                <a:cubicBezTo>
                  <a:pt x="76" y="155"/>
                  <a:pt x="72" y="154"/>
                  <a:pt x="69" y="15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64" name="Freeform 1366">
            <a:extLst>
              <a:ext uri="{FF2B5EF4-FFF2-40B4-BE49-F238E27FC236}">
                <a16:creationId xmlns:a16="http://schemas.microsoft.com/office/drawing/2014/main" id="{87F329E6-88AC-0545-9EFD-B5D3B1A10036}"/>
              </a:ext>
            </a:extLst>
          </p:cNvPr>
          <p:cNvSpPr>
            <a:spLocks noEditPoints="1"/>
          </p:cNvSpPr>
          <p:nvPr/>
        </p:nvSpPr>
        <p:spPr bwMode="auto">
          <a:xfrm>
            <a:off x="9991570" y="4064000"/>
            <a:ext cx="508000" cy="550863"/>
          </a:xfrm>
          <a:custGeom>
            <a:avLst/>
            <a:gdLst>
              <a:gd name="T0" fmla="*/ 103 w 149"/>
              <a:gd name="T1" fmla="*/ 114 h 160"/>
              <a:gd name="T2" fmla="*/ 99 w 149"/>
              <a:gd name="T3" fmla="*/ 118 h 160"/>
              <a:gd name="T4" fmla="*/ 52 w 149"/>
              <a:gd name="T5" fmla="*/ 90 h 160"/>
              <a:gd name="T6" fmla="*/ 54 w 149"/>
              <a:gd name="T7" fmla="*/ 80 h 160"/>
              <a:gd name="T8" fmla="*/ 52 w 149"/>
              <a:gd name="T9" fmla="*/ 70 h 160"/>
              <a:gd name="T10" fmla="*/ 99 w 149"/>
              <a:gd name="T11" fmla="*/ 42 h 160"/>
              <a:gd name="T12" fmla="*/ 122 w 149"/>
              <a:gd name="T13" fmla="*/ 54 h 160"/>
              <a:gd name="T14" fmla="*/ 149 w 149"/>
              <a:gd name="T15" fmla="*/ 27 h 160"/>
              <a:gd name="T16" fmla="*/ 122 w 149"/>
              <a:gd name="T17" fmla="*/ 0 h 160"/>
              <a:gd name="T18" fmla="*/ 95 w 149"/>
              <a:gd name="T19" fmla="*/ 27 h 160"/>
              <a:gd name="T20" fmla="*/ 97 w 149"/>
              <a:gd name="T21" fmla="*/ 37 h 160"/>
              <a:gd name="T22" fmla="*/ 50 w 149"/>
              <a:gd name="T23" fmla="*/ 65 h 160"/>
              <a:gd name="T24" fmla="*/ 27 w 149"/>
              <a:gd name="T25" fmla="*/ 53 h 160"/>
              <a:gd name="T26" fmla="*/ 0 w 149"/>
              <a:gd name="T27" fmla="*/ 80 h 160"/>
              <a:gd name="T28" fmla="*/ 27 w 149"/>
              <a:gd name="T29" fmla="*/ 107 h 160"/>
              <a:gd name="T30" fmla="*/ 50 w 149"/>
              <a:gd name="T31" fmla="*/ 95 h 160"/>
              <a:gd name="T32" fmla="*/ 97 w 149"/>
              <a:gd name="T33" fmla="*/ 123 h 160"/>
              <a:gd name="T34" fmla="*/ 95 w 149"/>
              <a:gd name="T35" fmla="*/ 133 h 160"/>
              <a:gd name="T36" fmla="*/ 103 w 149"/>
              <a:gd name="T37" fmla="*/ 152 h 160"/>
              <a:gd name="T38" fmla="*/ 122 w 149"/>
              <a:gd name="T39" fmla="*/ 160 h 160"/>
              <a:gd name="T40" fmla="*/ 141 w 149"/>
              <a:gd name="T41" fmla="*/ 152 h 160"/>
              <a:gd name="T42" fmla="*/ 149 w 149"/>
              <a:gd name="T43" fmla="*/ 133 h 160"/>
              <a:gd name="T44" fmla="*/ 141 w 149"/>
              <a:gd name="T45" fmla="*/ 114 h 160"/>
              <a:gd name="T46" fmla="*/ 103 w 149"/>
              <a:gd name="T47" fmla="*/ 114 h 160"/>
              <a:gd name="T48" fmla="*/ 122 w 149"/>
              <a:gd name="T49" fmla="*/ 5 h 160"/>
              <a:gd name="T50" fmla="*/ 144 w 149"/>
              <a:gd name="T51" fmla="*/ 27 h 160"/>
              <a:gd name="T52" fmla="*/ 122 w 149"/>
              <a:gd name="T53" fmla="*/ 49 h 160"/>
              <a:gd name="T54" fmla="*/ 100 w 149"/>
              <a:gd name="T55" fmla="*/ 27 h 160"/>
              <a:gd name="T56" fmla="*/ 122 w 149"/>
              <a:gd name="T57" fmla="*/ 5 h 160"/>
              <a:gd name="T58" fmla="*/ 27 w 149"/>
              <a:gd name="T59" fmla="*/ 102 h 160"/>
              <a:gd name="T60" fmla="*/ 5 w 149"/>
              <a:gd name="T61" fmla="*/ 80 h 160"/>
              <a:gd name="T62" fmla="*/ 27 w 149"/>
              <a:gd name="T63" fmla="*/ 58 h 160"/>
              <a:gd name="T64" fmla="*/ 49 w 149"/>
              <a:gd name="T65" fmla="*/ 80 h 160"/>
              <a:gd name="T66" fmla="*/ 27 w 149"/>
              <a:gd name="T67" fmla="*/ 102 h 160"/>
              <a:gd name="T68" fmla="*/ 137 w 149"/>
              <a:gd name="T69" fmla="*/ 148 h 160"/>
              <a:gd name="T70" fmla="*/ 107 w 149"/>
              <a:gd name="T71" fmla="*/ 148 h 160"/>
              <a:gd name="T72" fmla="*/ 100 w 149"/>
              <a:gd name="T73" fmla="*/ 133 h 160"/>
              <a:gd name="T74" fmla="*/ 107 w 149"/>
              <a:gd name="T75" fmla="*/ 118 h 160"/>
              <a:gd name="T76" fmla="*/ 122 w 149"/>
              <a:gd name="T77" fmla="*/ 111 h 160"/>
              <a:gd name="T78" fmla="*/ 137 w 149"/>
              <a:gd name="T79" fmla="*/ 118 h 160"/>
              <a:gd name="T80" fmla="*/ 144 w 149"/>
              <a:gd name="T81" fmla="*/ 133 h 160"/>
              <a:gd name="T82" fmla="*/ 137 w 149"/>
              <a:gd name="T83" fmla="*/ 14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60">
                <a:moveTo>
                  <a:pt x="103" y="114"/>
                </a:moveTo>
                <a:cubicBezTo>
                  <a:pt x="101" y="115"/>
                  <a:pt x="100" y="117"/>
                  <a:pt x="99" y="118"/>
                </a:cubicBezTo>
                <a:cubicBezTo>
                  <a:pt x="52" y="90"/>
                  <a:pt x="52" y="90"/>
                  <a:pt x="52" y="90"/>
                </a:cubicBezTo>
                <a:cubicBezTo>
                  <a:pt x="54" y="87"/>
                  <a:pt x="54" y="83"/>
                  <a:pt x="54" y="80"/>
                </a:cubicBezTo>
                <a:cubicBezTo>
                  <a:pt x="54" y="76"/>
                  <a:pt x="54" y="73"/>
                  <a:pt x="52" y="70"/>
                </a:cubicBezTo>
                <a:cubicBezTo>
                  <a:pt x="99" y="42"/>
                  <a:pt x="99" y="42"/>
                  <a:pt x="99" y="42"/>
                </a:cubicBezTo>
                <a:cubicBezTo>
                  <a:pt x="104" y="49"/>
                  <a:pt x="112" y="54"/>
                  <a:pt x="122" y="54"/>
                </a:cubicBezTo>
                <a:cubicBezTo>
                  <a:pt x="137" y="54"/>
                  <a:pt x="149" y="42"/>
                  <a:pt x="149" y="27"/>
                </a:cubicBezTo>
                <a:cubicBezTo>
                  <a:pt x="149" y="12"/>
                  <a:pt x="137" y="0"/>
                  <a:pt x="122" y="0"/>
                </a:cubicBezTo>
                <a:cubicBezTo>
                  <a:pt x="107" y="0"/>
                  <a:pt x="95" y="12"/>
                  <a:pt x="95" y="27"/>
                </a:cubicBezTo>
                <a:cubicBezTo>
                  <a:pt x="95" y="31"/>
                  <a:pt x="96" y="34"/>
                  <a:pt x="97" y="37"/>
                </a:cubicBezTo>
                <a:cubicBezTo>
                  <a:pt x="50" y="65"/>
                  <a:pt x="50" y="65"/>
                  <a:pt x="50" y="65"/>
                </a:cubicBezTo>
                <a:cubicBezTo>
                  <a:pt x="45" y="58"/>
                  <a:pt x="37" y="53"/>
                  <a:pt x="27" y="53"/>
                </a:cubicBezTo>
                <a:cubicBezTo>
                  <a:pt x="12" y="53"/>
                  <a:pt x="0" y="65"/>
                  <a:pt x="0" y="80"/>
                </a:cubicBezTo>
                <a:cubicBezTo>
                  <a:pt x="0" y="95"/>
                  <a:pt x="12" y="107"/>
                  <a:pt x="27" y="107"/>
                </a:cubicBezTo>
                <a:cubicBezTo>
                  <a:pt x="37" y="107"/>
                  <a:pt x="45" y="102"/>
                  <a:pt x="50" y="95"/>
                </a:cubicBezTo>
                <a:cubicBezTo>
                  <a:pt x="97" y="123"/>
                  <a:pt x="97" y="123"/>
                  <a:pt x="97" y="123"/>
                </a:cubicBezTo>
                <a:cubicBezTo>
                  <a:pt x="96" y="126"/>
                  <a:pt x="95" y="130"/>
                  <a:pt x="95" y="133"/>
                </a:cubicBezTo>
                <a:cubicBezTo>
                  <a:pt x="95" y="140"/>
                  <a:pt x="98" y="147"/>
                  <a:pt x="103" y="152"/>
                </a:cubicBezTo>
                <a:cubicBezTo>
                  <a:pt x="108" y="157"/>
                  <a:pt x="115" y="160"/>
                  <a:pt x="122" y="160"/>
                </a:cubicBezTo>
                <a:cubicBezTo>
                  <a:pt x="129" y="160"/>
                  <a:pt x="136" y="157"/>
                  <a:pt x="141" y="152"/>
                </a:cubicBezTo>
                <a:cubicBezTo>
                  <a:pt x="146" y="147"/>
                  <a:pt x="149" y="140"/>
                  <a:pt x="149" y="133"/>
                </a:cubicBezTo>
                <a:cubicBezTo>
                  <a:pt x="149" y="126"/>
                  <a:pt x="146" y="119"/>
                  <a:pt x="141" y="114"/>
                </a:cubicBezTo>
                <a:cubicBezTo>
                  <a:pt x="131" y="103"/>
                  <a:pt x="113" y="103"/>
                  <a:pt x="103" y="114"/>
                </a:cubicBezTo>
                <a:close/>
                <a:moveTo>
                  <a:pt x="122" y="5"/>
                </a:moveTo>
                <a:cubicBezTo>
                  <a:pt x="134" y="5"/>
                  <a:pt x="144" y="15"/>
                  <a:pt x="144" y="27"/>
                </a:cubicBezTo>
                <a:cubicBezTo>
                  <a:pt x="144" y="39"/>
                  <a:pt x="134" y="49"/>
                  <a:pt x="122" y="49"/>
                </a:cubicBezTo>
                <a:cubicBezTo>
                  <a:pt x="110" y="49"/>
                  <a:pt x="100" y="39"/>
                  <a:pt x="100" y="27"/>
                </a:cubicBezTo>
                <a:cubicBezTo>
                  <a:pt x="100" y="15"/>
                  <a:pt x="110" y="5"/>
                  <a:pt x="122" y="5"/>
                </a:cubicBezTo>
                <a:close/>
                <a:moveTo>
                  <a:pt x="27" y="102"/>
                </a:moveTo>
                <a:cubicBezTo>
                  <a:pt x="15" y="102"/>
                  <a:pt x="5" y="92"/>
                  <a:pt x="5" y="80"/>
                </a:cubicBezTo>
                <a:cubicBezTo>
                  <a:pt x="5" y="68"/>
                  <a:pt x="15" y="58"/>
                  <a:pt x="27" y="58"/>
                </a:cubicBezTo>
                <a:cubicBezTo>
                  <a:pt x="39" y="58"/>
                  <a:pt x="49" y="68"/>
                  <a:pt x="49" y="80"/>
                </a:cubicBezTo>
                <a:cubicBezTo>
                  <a:pt x="49" y="92"/>
                  <a:pt x="39" y="102"/>
                  <a:pt x="27" y="102"/>
                </a:cubicBezTo>
                <a:close/>
                <a:moveTo>
                  <a:pt x="137" y="148"/>
                </a:moveTo>
                <a:cubicBezTo>
                  <a:pt x="129" y="157"/>
                  <a:pt x="115" y="157"/>
                  <a:pt x="107" y="148"/>
                </a:cubicBezTo>
                <a:cubicBezTo>
                  <a:pt x="103" y="144"/>
                  <a:pt x="100" y="139"/>
                  <a:pt x="100" y="133"/>
                </a:cubicBezTo>
                <a:cubicBezTo>
                  <a:pt x="100" y="127"/>
                  <a:pt x="103" y="122"/>
                  <a:pt x="107" y="118"/>
                </a:cubicBezTo>
                <a:cubicBezTo>
                  <a:pt x="111" y="113"/>
                  <a:pt x="116" y="111"/>
                  <a:pt x="122" y="111"/>
                </a:cubicBezTo>
                <a:cubicBezTo>
                  <a:pt x="128" y="111"/>
                  <a:pt x="133" y="113"/>
                  <a:pt x="137" y="118"/>
                </a:cubicBezTo>
                <a:cubicBezTo>
                  <a:pt x="141" y="122"/>
                  <a:pt x="144" y="127"/>
                  <a:pt x="144" y="133"/>
                </a:cubicBezTo>
                <a:cubicBezTo>
                  <a:pt x="144" y="139"/>
                  <a:pt x="141" y="144"/>
                  <a:pt x="137" y="14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65" name="Freeform 1367">
            <a:extLst>
              <a:ext uri="{FF2B5EF4-FFF2-40B4-BE49-F238E27FC236}">
                <a16:creationId xmlns:a16="http://schemas.microsoft.com/office/drawing/2014/main" id="{29836F40-2277-074C-AB64-068FB8733F74}"/>
              </a:ext>
            </a:extLst>
          </p:cNvPr>
          <p:cNvSpPr>
            <a:spLocks noEditPoints="1"/>
          </p:cNvSpPr>
          <p:nvPr/>
        </p:nvSpPr>
        <p:spPr bwMode="auto">
          <a:xfrm>
            <a:off x="9977282" y="4683125"/>
            <a:ext cx="546100" cy="550863"/>
          </a:xfrm>
          <a:custGeom>
            <a:avLst/>
            <a:gdLst>
              <a:gd name="T0" fmla="*/ 150 w 160"/>
              <a:gd name="T1" fmla="*/ 104 h 160"/>
              <a:gd name="T2" fmla="*/ 152 w 160"/>
              <a:gd name="T3" fmla="*/ 88 h 160"/>
              <a:gd name="T4" fmla="*/ 118 w 160"/>
              <a:gd name="T5" fmla="*/ 27 h 160"/>
              <a:gd name="T6" fmla="*/ 114 w 160"/>
              <a:gd name="T7" fmla="*/ 28 h 160"/>
              <a:gd name="T8" fmla="*/ 115 w 160"/>
              <a:gd name="T9" fmla="*/ 32 h 160"/>
              <a:gd name="T10" fmla="*/ 146 w 160"/>
              <a:gd name="T11" fmla="*/ 88 h 160"/>
              <a:gd name="T12" fmla="*/ 145 w 160"/>
              <a:gd name="T13" fmla="*/ 102 h 160"/>
              <a:gd name="T14" fmla="*/ 141 w 160"/>
              <a:gd name="T15" fmla="*/ 102 h 160"/>
              <a:gd name="T16" fmla="*/ 121 w 160"/>
              <a:gd name="T17" fmla="*/ 121 h 160"/>
              <a:gd name="T18" fmla="*/ 141 w 160"/>
              <a:gd name="T19" fmla="*/ 141 h 160"/>
              <a:gd name="T20" fmla="*/ 160 w 160"/>
              <a:gd name="T21" fmla="*/ 121 h 160"/>
              <a:gd name="T22" fmla="*/ 150 w 160"/>
              <a:gd name="T23" fmla="*/ 104 h 160"/>
              <a:gd name="T24" fmla="*/ 141 w 160"/>
              <a:gd name="T25" fmla="*/ 135 h 160"/>
              <a:gd name="T26" fmla="*/ 127 w 160"/>
              <a:gd name="T27" fmla="*/ 121 h 160"/>
              <a:gd name="T28" fmla="*/ 141 w 160"/>
              <a:gd name="T29" fmla="*/ 108 h 160"/>
              <a:gd name="T30" fmla="*/ 154 w 160"/>
              <a:gd name="T31" fmla="*/ 121 h 160"/>
              <a:gd name="T32" fmla="*/ 141 w 160"/>
              <a:gd name="T33" fmla="*/ 135 h 160"/>
              <a:gd name="T34" fmla="*/ 105 w 160"/>
              <a:gd name="T35" fmla="*/ 149 h 160"/>
              <a:gd name="T36" fmla="*/ 80 w 160"/>
              <a:gd name="T37" fmla="*/ 154 h 160"/>
              <a:gd name="T38" fmla="*/ 33 w 160"/>
              <a:gd name="T39" fmla="*/ 135 h 160"/>
              <a:gd name="T40" fmla="*/ 39 w 160"/>
              <a:gd name="T41" fmla="*/ 121 h 160"/>
              <a:gd name="T42" fmla="*/ 19 w 160"/>
              <a:gd name="T43" fmla="*/ 102 h 160"/>
              <a:gd name="T44" fmla="*/ 0 w 160"/>
              <a:gd name="T45" fmla="*/ 121 h 160"/>
              <a:gd name="T46" fmla="*/ 19 w 160"/>
              <a:gd name="T47" fmla="*/ 141 h 160"/>
              <a:gd name="T48" fmla="*/ 29 w 160"/>
              <a:gd name="T49" fmla="*/ 138 h 160"/>
              <a:gd name="T50" fmla="*/ 80 w 160"/>
              <a:gd name="T51" fmla="*/ 160 h 160"/>
              <a:gd name="T52" fmla="*/ 107 w 160"/>
              <a:gd name="T53" fmla="*/ 155 h 160"/>
              <a:gd name="T54" fmla="*/ 109 w 160"/>
              <a:gd name="T55" fmla="*/ 151 h 160"/>
              <a:gd name="T56" fmla="*/ 105 w 160"/>
              <a:gd name="T57" fmla="*/ 149 h 160"/>
              <a:gd name="T58" fmla="*/ 6 w 160"/>
              <a:gd name="T59" fmla="*/ 121 h 160"/>
              <a:gd name="T60" fmla="*/ 19 w 160"/>
              <a:gd name="T61" fmla="*/ 108 h 160"/>
              <a:gd name="T62" fmla="*/ 33 w 160"/>
              <a:gd name="T63" fmla="*/ 121 h 160"/>
              <a:gd name="T64" fmla="*/ 19 w 160"/>
              <a:gd name="T65" fmla="*/ 135 h 160"/>
              <a:gd name="T66" fmla="*/ 6 w 160"/>
              <a:gd name="T67" fmla="*/ 121 h 160"/>
              <a:gd name="T68" fmla="*/ 11 w 160"/>
              <a:gd name="T69" fmla="*/ 86 h 160"/>
              <a:gd name="T70" fmla="*/ 11 w 160"/>
              <a:gd name="T71" fmla="*/ 86 h 160"/>
              <a:gd name="T72" fmla="*/ 14 w 160"/>
              <a:gd name="T73" fmla="*/ 84 h 160"/>
              <a:gd name="T74" fmla="*/ 61 w 160"/>
              <a:gd name="T75" fmla="*/ 25 h 160"/>
              <a:gd name="T76" fmla="*/ 80 w 160"/>
              <a:gd name="T77" fmla="*/ 39 h 160"/>
              <a:gd name="T78" fmla="*/ 99 w 160"/>
              <a:gd name="T79" fmla="*/ 19 h 160"/>
              <a:gd name="T80" fmla="*/ 80 w 160"/>
              <a:gd name="T81" fmla="*/ 0 h 160"/>
              <a:gd name="T82" fmla="*/ 61 w 160"/>
              <a:gd name="T83" fmla="*/ 19 h 160"/>
              <a:gd name="T84" fmla="*/ 8 w 160"/>
              <a:gd name="T85" fmla="*/ 83 h 160"/>
              <a:gd name="T86" fmla="*/ 11 w 160"/>
              <a:gd name="T87" fmla="*/ 86 h 160"/>
              <a:gd name="T88" fmla="*/ 80 w 160"/>
              <a:gd name="T89" fmla="*/ 6 h 160"/>
              <a:gd name="T90" fmla="*/ 94 w 160"/>
              <a:gd name="T91" fmla="*/ 19 h 160"/>
              <a:gd name="T92" fmla="*/ 80 w 160"/>
              <a:gd name="T93" fmla="*/ 33 h 160"/>
              <a:gd name="T94" fmla="*/ 66 w 160"/>
              <a:gd name="T95" fmla="*/ 19 h 160"/>
              <a:gd name="T96" fmla="*/ 80 w 160"/>
              <a:gd name="T97" fmla="*/ 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60">
                <a:moveTo>
                  <a:pt x="150" y="104"/>
                </a:moveTo>
                <a:cubicBezTo>
                  <a:pt x="151" y="99"/>
                  <a:pt x="152" y="94"/>
                  <a:pt x="152" y="88"/>
                </a:cubicBezTo>
                <a:cubicBezTo>
                  <a:pt x="152" y="63"/>
                  <a:pt x="139" y="40"/>
                  <a:pt x="118" y="27"/>
                </a:cubicBezTo>
                <a:cubicBezTo>
                  <a:pt x="116" y="26"/>
                  <a:pt x="115" y="27"/>
                  <a:pt x="114" y="28"/>
                </a:cubicBezTo>
                <a:cubicBezTo>
                  <a:pt x="113" y="29"/>
                  <a:pt x="113" y="31"/>
                  <a:pt x="115" y="32"/>
                </a:cubicBezTo>
                <a:cubicBezTo>
                  <a:pt x="134" y="44"/>
                  <a:pt x="146" y="65"/>
                  <a:pt x="146" y="88"/>
                </a:cubicBezTo>
                <a:cubicBezTo>
                  <a:pt x="146" y="93"/>
                  <a:pt x="146" y="98"/>
                  <a:pt x="145" y="102"/>
                </a:cubicBezTo>
                <a:cubicBezTo>
                  <a:pt x="143" y="102"/>
                  <a:pt x="142" y="102"/>
                  <a:pt x="141" y="102"/>
                </a:cubicBezTo>
                <a:cubicBezTo>
                  <a:pt x="130" y="102"/>
                  <a:pt x="121" y="111"/>
                  <a:pt x="121" y="121"/>
                </a:cubicBezTo>
                <a:cubicBezTo>
                  <a:pt x="121" y="132"/>
                  <a:pt x="130" y="141"/>
                  <a:pt x="141" y="141"/>
                </a:cubicBezTo>
                <a:cubicBezTo>
                  <a:pt x="151" y="141"/>
                  <a:pt x="160" y="132"/>
                  <a:pt x="160" y="121"/>
                </a:cubicBezTo>
                <a:cubicBezTo>
                  <a:pt x="160" y="114"/>
                  <a:pt x="156" y="108"/>
                  <a:pt x="150" y="104"/>
                </a:cubicBezTo>
                <a:close/>
                <a:moveTo>
                  <a:pt x="141" y="135"/>
                </a:moveTo>
                <a:cubicBezTo>
                  <a:pt x="133" y="135"/>
                  <a:pt x="127" y="129"/>
                  <a:pt x="127" y="121"/>
                </a:cubicBezTo>
                <a:cubicBezTo>
                  <a:pt x="127" y="114"/>
                  <a:pt x="133" y="108"/>
                  <a:pt x="141" y="108"/>
                </a:cubicBezTo>
                <a:cubicBezTo>
                  <a:pt x="148" y="108"/>
                  <a:pt x="154" y="114"/>
                  <a:pt x="154" y="121"/>
                </a:cubicBezTo>
                <a:cubicBezTo>
                  <a:pt x="154" y="129"/>
                  <a:pt x="148" y="135"/>
                  <a:pt x="141" y="135"/>
                </a:cubicBezTo>
                <a:close/>
                <a:moveTo>
                  <a:pt x="105" y="149"/>
                </a:moveTo>
                <a:cubicBezTo>
                  <a:pt x="97" y="153"/>
                  <a:pt x="89" y="154"/>
                  <a:pt x="80" y="154"/>
                </a:cubicBezTo>
                <a:cubicBezTo>
                  <a:pt x="62" y="154"/>
                  <a:pt x="45" y="147"/>
                  <a:pt x="33" y="135"/>
                </a:cubicBezTo>
                <a:cubicBezTo>
                  <a:pt x="36" y="131"/>
                  <a:pt x="39" y="127"/>
                  <a:pt x="39" y="121"/>
                </a:cubicBezTo>
                <a:cubicBezTo>
                  <a:pt x="39" y="111"/>
                  <a:pt x="30" y="102"/>
                  <a:pt x="19" y="102"/>
                </a:cubicBezTo>
                <a:cubicBezTo>
                  <a:pt x="9" y="102"/>
                  <a:pt x="0" y="111"/>
                  <a:pt x="0" y="121"/>
                </a:cubicBezTo>
                <a:cubicBezTo>
                  <a:pt x="0" y="132"/>
                  <a:pt x="9" y="141"/>
                  <a:pt x="19" y="141"/>
                </a:cubicBezTo>
                <a:cubicBezTo>
                  <a:pt x="23" y="141"/>
                  <a:pt x="26" y="140"/>
                  <a:pt x="29" y="138"/>
                </a:cubicBezTo>
                <a:cubicBezTo>
                  <a:pt x="42" y="152"/>
                  <a:pt x="61" y="160"/>
                  <a:pt x="80" y="160"/>
                </a:cubicBezTo>
                <a:cubicBezTo>
                  <a:pt x="89" y="160"/>
                  <a:pt x="99" y="158"/>
                  <a:pt x="107" y="155"/>
                </a:cubicBezTo>
                <a:cubicBezTo>
                  <a:pt x="109" y="154"/>
                  <a:pt x="109" y="152"/>
                  <a:pt x="109" y="151"/>
                </a:cubicBezTo>
                <a:cubicBezTo>
                  <a:pt x="108" y="150"/>
                  <a:pt x="107" y="149"/>
                  <a:pt x="105" y="149"/>
                </a:cubicBezTo>
                <a:close/>
                <a:moveTo>
                  <a:pt x="6" y="121"/>
                </a:moveTo>
                <a:cubicBezTo>
                  <a:pt x="6" y="114"/>
                  <a:pt x="12" y="108"/>
                  <a:pt x="19" y="108"/>
                </a:cubicBezTo>
                <a:cubicBezTo>
                  <a:pt x="27" y="108"/>
                  <a:pt x="33" y="114"/>
                  <a:pt x="33" y="121"/>
                </a:cubicBezTo>
                <a:cubicBezTo>
                  <a:pt x="33" y="129"/>
                  <a:pt x="27" y="135"/>
                  <a:pt x="19" y="135"/>
                </a:cubicBezTo>
                <a:cubicBezTo>
                  <a:pt x="12" y="135"/>
                  <a:pt x="6" y="129"/>
                  <a:pt x="6" y="121"/>
                </a:cubicBezTo>
                <a:close/>
                <a:moveTo>
                  <a:pt x="11" y="86"/>
                </a:moveTo>
                <a:cubicBezTo>
                  <a:pt x="11" y="86"/>
                  <a:pt x="11" y="86"/>
                  <a:pt x="11" y="86"/>
                </a:cubicBezTo>
                <a:cubicBezTo>
                  <a:pt x="13" y="86"/>
                  <a:pt x="14" y="85"/>
                  <a:pt x="14" y="84"/>
                </a:cubicBezTo>
                <a:cubicBezTo>
                  <a:pt x="16" y="56"/>
                  <a:pt x="35" y="32"/>
                  <a:pt x="61" y="25"/>
                </a:cubicBezTo>
                <a:cubicBezTo>
                  <a:pt x="64" y="33"/>
                  <a:pt x="71" y="39"/>
                  <a:pt x="80" y="39"/>
                </a:cubicBezTo>
                <a:cubicBezTo>
                  <a:pt x="91" y="39"/>
                  <a:pt x="99" y="30"/>
                  <a:pt x="99" y="19"/>
                </a:cubicBezTo>
                <a:cubicBezTo>
                  <a:pt x="99" y="9"/>
                  <a:pt x="91" y="0"/>
                  <a:pt x="80" y="0"/>
                </a:cubicBezTo>
                <a:cubicBezTo>
                  <a:pt x="69" y="0"/>
                  <a:pt x="61" y="9"/>
                  <a:pt x="61" y="19"/>
                </a:cubicBezTo>
                <a:cubicBezTo>
                  <a:pt x="32" y="27"/>
                  <a:pt x="11" y="53"/>
                  <a:pt x="8" y="83"/>
                </a:cubicBezTo>
                <a:cubicBezTo>
                  <a:pt x="8" y="85"/>
                  <a:pt x="10" y="86"/>
                  <a:pt x="11" y="86"/>
                </a:cubicBezTo>
                <a:close/>
                <a:moveTo>
                  <a:pt x="80" y="6"/>
                </a:moveTo>
                <a:cubicBezTo>
                  <a:pt x="88" y="6"/>
                  <a:pt x="94" y="12"/>
                  <a:pt x="94" y="19"/>
                </a:cubicBezTo>
                <a:cubicBezTo>
                  <a:pt x="94" y="27"/>
                  <a:pt x="88" y="33"/>
                  <a:pt x="80" y="33"/>
                </a:cubicBezTo>
                <a:cubicBezTo>
                  <a:pt x="72" y="33"/>
                  <a:pt x="66" y="27"/>
                  <a:pt x="66" y="19"/>
                </a:cubicBezTo>
                <a:cubicBezTo>
                  <a:pt x="66" y="12"/>
                  <a:pt x="72" y="6"/>
                  <a:pt x="80"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66" name="Freeform 1368">
            <a:extLst>
              <a:ext uri="{FF2B5EF4-FFF2-40B4-BE49-F238E27FC236}">
                <a16:creationId xmlns:a16="http://schemas.microsoft.com/office/drawing/2014/main" id="{266C3B71-0EE6-5444-BE8A-8C8DD56B69E9}"/>
              </a:ext>
            </a:extLst>
          </p:cNvPr>
          <p:cNvSpPr>
            <a:spLocks noEditPoints="1"/>
          </p:cNvSpPr>
          <p:nvPr/>
        </p:nvSpPr>
        <p:spPr bwMode="auto">
          <a:xfrm>
            <a:off x="9977282" y="5302250"/>
            <a:ext cx="546100" cy="550863"/>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5 h 160"/>
              <a:gd name="T12" fmla="*/ 5 w 160"/>
              <a:gd name="T13" fmla="*/ 80 h 160"/>
              <a:gd name="T14" fmla="*/ 80 w 160"/>
              <a:gd name="T15" fmla="*/ 5 h 160"/>
              <a:gd name="T16" fmla="*/ 155 w 160"/>
              <a:gd name="T17" fmla="*/ 80 h 160"/>
              <a:gd name="T18" fmla="*/ 80 w 160"/>
              <a:gd name="T19" fmla="*/ 155 h 160"/>
              <a:gd name="T20" fmla="*/ 104 w 160"/>
              <a:gd name="T21" fmla="*/ 53 h 160"/>
              <a:gd name="T22" fmla="*/ 120 w 160"/>
              <a:gd name="T23" fmla="*/ 37 h 160"/>
              <a:gd name="T24" fmla="*/ 104 w 160"/>
              <a:gd name="T25" fmla="*/ 21 h 160"/>
              <a:gd name="T26" fmla="*/ 88 w 160"/>
              <a:gd name="T27" fmla="*/ 36 h 160"/>
              <a:gd name="T28" fmla="*/ 51 w 160"/>
              <a:gd name="T29" fmla="*/ 63 h 160"/>
              <a:gd name="T30" fmla="*/ 43 w 160"/>
              <a:gd name="T31" fmla="*/ 61 h 160"/>
              <a:gd name="T32" fmla="*/ 27 w 160"/>
              <a:gd name="T33" fmla="*/ 77 h 160"/>
              <a:gd name="T34" fmla="*/ 43 w 160"/>
              <a:gd name="T35" fmla="*/ 93 h 160"/>
              <a:gd name="T36" fmla="*/ 51 w 160"/>
              <a:gd name="T37" fmla="*/ 91 h 160"/>
              <a:gd name="T38" fmla="*/ 88 w 160"/>
              <a:gd name="T39" fmla="*/ 119 h 160"/>
              <a:gd name="T40" fmla="*/ 104 w 160"/>
              <a:gd name="T41" fmla="*/ 133 h 160"/>
              <a:gd name="T42" fmla="*/ 120 w 160"/>
              <a:gd name="T43" fmla="*/ 117 h 160"/>
              <a:gd name="T44" fmla="*/ 104 w 160"/>
              <a:gd name="T45" fmla="*/ 101 h 160"/>
              <a:gd name="T46" fmla="*/ 89 w 160"/>
              <a:gd name="T47" fmla="*/ 113 h 160"/>
              <a:gd name="T48" fmla="*/ 55 w 160"/>
              <a:gd name="T49" fmla="*/ 88 h 160"/>
              <a:gd name="T50" fmla="*/ 59 w 160"/>
              <a:gd name="T51" fmla="*/ 77 h 160"/>
              <a:gd name="T52" fmla="*/ 55 w 160"/>
              <a:gd name="T53" fmla="*/ 67 h 160"/>
              <a:gd name="T54" fmla="*/ 89 w 160"/>
              <a:gd name="T55" fmla="*/ 42 h 160"/>
              <a:gd name="T56" fmla="*/ 104 w 160"/>
              <a:gd name="T57" fmla="*/ 53 h 160"/>
              <a:gd name="T58" fmla="*/ 104 w 160"/>
              <a:gd name="T59" fmla="*/ 27 h 160"/>
              <a:gd name="T60" fmla="*/ 115 w 160"/>
              <a:gd name="T61" fmla="*/ 37 h 160"/>
              <a:gd name="T62" fmla="*/ 104 w 160"/>
              <a:gd name="T63" fmla="*/ 48 h 160"/>
              <a:gd name="T64" fmla="*/ 93 w 160"/>
              <a:gd name="T65" fmla="*/ 37 h 160"/>
              <a:gd name="T66" fmla="*/ 104 w 160"/>
              <a:gd name="T67" fmla="*/ 27 h 160"/>
              <a:gd name="T68" fmla="*/ 32 w 160"/>
              <a:gd name="T69" fmla="*/ 77 h 160"/>
              <a:gd name="T70" fmla="*/ 43 w 160"/>
              <a:gd name="T71" fmla="*/ 67 h 160"/>
              <a:gd name="T72" fmla="*/ 53 w 160"/>
              <a:gd name="T73" fmla="*/ 77 h 160"/>
              <a:gd name="T74" fmla="*/ 43 w 160"/>
              <a:gd name="T75" fmla="*/ 88 h 160"/>
              <a:gd name="T76" fmla="*/ 32 w 160"/>
              <a:gd name="T77" fmla="*/ 77 h 160"/>
              <a:gd name="T78" fmla="*/ 104 w 160"/>
              <a:gd name="T79" fmla="*/ 107 h 160"/>
              <a:gd name="T80" fmla="*/ 115 w 160"/>
              <a:gd name="T81" fmla="*/ 117 h 160"/>
              <a:gd name="T82" fmla="*/ 104 w 160"/>
              <a:gd name="T83" fmla="*/ 128 h 160"/>
              <a:gd name="T84" fmla="*/ 93 w 160"/>
              <a:gd name="T85" fmla="*/ 117 h 160"/>
              <a:gd name="T86" fmla="*/ 104 w 160"/>
              <a:gd name="T87" fmla="*/ 10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104" y="53"/>
                </a:moveTo>
                <a:cubicBezTo>
                  <a:pt x="113" y="53"/>
                  <a:pt x="120" y="46"/>
                  <a:pt x="120" y="37"/>
                </a:cubicBezTo>
                <a:cubicBezTo>
                  <a:pt x="120" y="29"/>
                  <a:pt x="113" y="21"/>
                  <a:pt x="104" y="21"/>
                </a:cubicBezTo>
                <a:cubicBezTo>
                  <a:pt x="96" y="21"/>
                  <a:pt x="89" y="28"/>
                  <a:pt x="88" y="36"/>
                </a:cubicBezTo>
                <a:cubicBezTo>
                  <a:pt x="51" y="63"/>
                  <a:pt x="51" y="63"/>
                  <a:pt x="51" y="63"/>
                </a:cubicBezTo>
                <a:cubicBezTo>
                  <a:pt x="48" y="62"/>
                  <a:pt x="46" y="61"/>
                  <a:pt x="43" y="61"/>
                </a:cubicBezTo>
                <a:cubicBezTo>
                  <a:pt x="34" y="61"/>
                  <a:pt x="27" y="69"/>
                  <a:pt x="27" y="77"/>
                </a:cubicBezTo>
                <a:cubicBezTo>
                  <a:pt x="27" y="86"/>
                  <a:pt x="34" y="93"/>
                  <a:pt x="43" y="93"/>
                </a:cubicBezTo>
                <a:cubicBezTo>
                  <a:pt x="46" y="93"/>
                  <a:pt x="48" y="93"/>
                  <a:pt x="51" y="91"/>
                </a:cubicBezTo>
                <a:cubicBezTo>
                  <a:pt x="88" y="119"/>
                  <a:pt x="88" y="119"/>
                  <a:pt x="88" y="119"/>
                </a:cubicBezTo>
                <a:cubicBezTo>
                  <a:pt x="89" y="127"/>
                  <a:pt x="96" y="133"/>
                  <a:pt x="104" y="133"/>
                </a:cubicBezTo>
                <a:cubicBezTo>
                  <a:pt x="113" y="133"/>
                  <a:pt x="120" y="126"/>
                  <a:pt x="120" y="117"/>
                </a:cubicBezTo>
                <a:cubicBezTo>
                  <a:pt x="120" y="109"/>
                  <a:pt x="113" y="101"/>
                  <a:pt x="104" y="101"/>
                </a:cubicBezTo>
                <a:cubicBezTo>
                  <a:pt x="97" y="101"/>
                  <a:pt x="91" y="106"/>
                  <a:pt x="89" y="113"/>
                </a:cubicBezTo>
                <a:cubicBezTo>
                  <a:pt x="55" y="88"/>
                  <a:pt x="55" y="88"/>
                  <a:pt x="55" y="88"/>
                </a:cubicBezTo>
                <a:cubicBezTo>
                  <a:pt x="57" y="85"/>
                  <a:pt x="59" y="81"/>
                  <a:pt x="59" y="77"/>
                </a:cubicBezTo>
                <a:cubicBezTo>
                  <a:pt x="59" y="73"/>
                  <a:pt x="57" y="70"/>
                  <a:pt x="55" y="67"/>
                </a:cubicBezTo>
                <a:cubicBezTo>
                  <a:pt x="89" y="42"/>
                  <a:pt x="89" y="42"/>
                  <a:pt x="89" y="42"/>
                </a:cubicBezTo>
                <a:cubicBezTo>
                  <a:pt x="91" y="49"/>
                  <a:pt x="97" y="53"/>
                  <a:pt x="104" y="53"/>
                </a:cubicBezTo>
                <a:close/>
                <a:moveTo>
                  <a:pt x="104" y="27"/>
                </a:moveTo>
                <a:cubicBezTo>
                  <a:pt x="110" y="27"/>
                  <a:pt x="115" y="31"/>
                  <a:pt x="115" y="37"/>
                </a:cubicBezTo>
                <a:cubicBezTo>
                  <a:pt x="115" y="43"/>
                  <a:pt x="110" y="48"/>
                  <a:pt x="104" y="48"/>
                </a:cubicBezTo>
                <a:cubicBezTo>
                  <a:pt x="98" y="48"/>
                  <a:pt x="93" y="43"/>
                  <a:pt x="93" y="37"/>
                </a:cubicBezTo>
                <a:cubicBezTo>
                  <a:pt x="93" y="31"/>
                  <a:pt x="98" y="27"/>
                  <a:pt x="104" y="27"/>
                </a:cubicBezTo>
                <a:close/>
                <a:moveTo>
                  <a:pt x="32" y="77"/>
                </a:moveTo>
                <a:cubicBezTo>
                  <a:pt x="32" y="71"/>
                  <a:pt x="37" y="67"/>
                  <a:pt x="43" y="67"/>
                </a:cubicBezTo>
                <a:cubicBezTo>
                  <a:pt x="49" y="67"/>
                  <a:pt x="53" y="71"/>
                  <a:pt x="53" y="77"/>
                </a:cubicBezTo>
                <a:cubicBezTo>
                  <a:pt x="53" y="83"/>
                  <a:pt x="49" y="88"/>
                  <a:pt x="43" y="88"/>
                </a:cubicBezTo>
                <a:cubicBezTo>
                  <a:pt x="37" y="88"/>
                  <a:pt x="32" y="83"/>
                  <a:pt x="32" y="77"/>
                </a:cubicBezTo>
                <a:close/>
                <a:moveTo>
                  <a:pt x="104" y="107"/>
                </a:moveTo>
                <a:cubicBezTo>
                  <a:pt x="110" y="107"/>
                  <a:pt x="115" y="111"/>
                  <a:pt x="115" y="117"/>
                </a:cubicBezTo>
                <a:cubicBezTo>
                  <a:pt x="115" y="123"/>
                  <a:pt x="110" y="128"/>
                  <a:pt x="104" y="128"/>
                </a:cubicBezTo>
                <a:cubicBezTo>
                  <a:pt x="98" y="128"/>
                  <a:pt x="93" y="123"/>
                  <a:pt x="93" y="117"/>
                </a:cubicBezTo>
                <a:cubicBezTo>
                  <a:pt x="93" y="111"/>
                  <a:pt x="98" y="107"/>
                  <a:pt x="104" y="10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67" name="Freeform 1369">
            <a:extLst>
              <a:ext uri="{FF2B5EF4-FFF2-40B4-BE49-F238E27FC236}">
                <a16:creationId xmlns:a16="http://schemas.microsoft.com/office/drawing/2014/main" id="{49B49279-ABE6-9843-BA88-20274BF6B79D}"/>
              </a:ext>
            </a:extLst>
          </p:cNvPr>
          <p:cNvSpPr>
            <a:spLocks noEditPoints="1"/>
          </p:cNvSpPr>
          <p:nvPr/>
        </p:nvSpPr>
        <p:spPr bwMode="auto">
          <a:xfrm>
            <a:off x="9977282" y="5921375"/>
            <a:ext cx="546100" cy="550863"/>
          </a:xfrm>
          <a:custGeom>
            <a:avLst/>
            <a:gdLst>
              <a:gd name="T0" fmla="*/ 27 w 160"/>
              <a:gd name="T1" fmla="*/ 48 h 160"/>
              <a:gd name="T2" fmla="*/ 29 w 160"/>
              <a:gd name="T3" fmla="*/ 45 h 160"/>
              <a:gd name="T4" fmla="*/ 35 w 160"/>
              <a:gd name="T5" fmla="*/ 45 h 160"/>
              <a:gd name="T6" fmla="*/ 58 w 160"/>
              <a:gd name="T7" fmla="*/ 54 h 160"/>
              <a:gd name="T8" fmla="*/ 58 w 160"/>
              <a:gd name="T9" fmla="*/ 58 h 160"/>
              <a:gd name="T10" fmla="*/ 56 w 160"/>
              <a:gd name="T11" fmla="*/ 59 h 160"/>
              <a:gd name="T12" fmla="*/ 54 w 160"/>
              <a:gd name="T13" fmla="*/ 58 h 160"/>
              <a:gd name="T14" fmla="*/ 35 w 160"/>
              <a:gd name="T15" fmla="*/ 51 h 160"/>
              <a:gd name="T16" fmla="*/ 29 w 160"/>
              <a:gd name="T17" fmla="*/ 51 h 160"/>
              <a:gd name="T18" fmla="*/ 27 w 160"/>
              <a:gd name="T19" fmla="*/ 48 h 160"/>
              <a:gd name="T20" fmla="*/ 97 w 160"/>
              <a:gd name="T21" fmla="*/ 25 h 160"/>
              <a:gd name="T22" fmla="*/ 97 w 160"/>
              <a:gd name="T23" fmla="*/ 29 h 160"/>
              <a:gd name="T24" fmla="*/ 120 w 160"/>
              <a:gd name="T25" fmla="*/ 45 h 160"/>
              <a:gd name="T26" fmla="*/ 99 w 160"/>
              <a:gd name="T27" fmla="*/ 45 h 160"/>
              <a:gd name="T28" fmla="*/ 64 w 160"/>
              <a:gd name="T29" fmla="*/ 80 h 160"/>
              <a:gd name="T30" fmla="*/ 35 w 160"/>
              <a:gd name="T31" fmla="*/ 109 h 160"/>
              <a:gd name="T32" fmla="*/ 29 w 160"/>
              <a:gd name="T33" fmla="*/ 109 h 160"/>
              <a:gd name="T34" fmla="*/ 27 w 160"/>
              <a:gd name="T35" fmla="*/ 112 h 160"/>
              <a:gd name="T36" fmla="*/ 29 w 160"/>
              <a:gd name="T37" fmla="*/ 115 h 160"/>
              <a:gd name="T38" fmla="*/ 35 w 160"/>
              <a:gd name="T39" fmla="*/ 115 h 160"/>
              <a:gd name="T40" fmla="*/ 69 w 160"/>
              <a:gd name="T41" fmla="*/ 80 h 160"/>
              <a:gd name="T42" fmla="*/ 99 w 160"/>
              <a:gd name="T43" fmla="*/ 51 h 160"/>
              <a:gd name="T44" fmla="*/ 120 w 160"/>
              <a:gd name="T45" fmla="*/ 51 h 160"/>
              <a:gd name="T46" fmla="*/ 97 w 160"/>
              <a:gd name="T47" fmla="*/ 67 h 160"/>
              <a:gd name="T48" fmla="*/ 97 w 160"/>
              <a:gd name="T49" fmla="*/ 71 h 160"/>
              <a:gd name="T50" fmla="*/ 99 w 160"/>
              <a:gd name="T51" fmla="*/ 72 h 160"/>
              <a:gd name="T52" fmla="*/ 100 w 160"/>
              <a:gd name="T53" fmla="*/ 71 h 160"/>
              <a:gd name="T54" fmla="*/ 133 w 160"/>
              <a:gd name="T55" fmla="*/ 48 h 160"/>
              <a:gd name="T56" fmla="*/ 100 w 160"/>
              <a:gd name="T57" fmla="*/ 25 h 160"/>
              <a:gd name="T58" fmla="*/ 97 w 160"/>
              <a:gd name="T59" fmla="*/ 25 h 160"/>
              <a:gd name="T60" fmla="*/ 97 w 160"/>
              <a:gd name="T61" fmla="*/ 89 h 160"/>
              <a:gd name="T62" fmla="*/ 97 w 160"/>
              <a:gd name="T63" fmla="*/ 93 h 160"/>
              <a:gd name="T64" fmla="*/ 120 w 160"/>
              <a:gd name="T65" fmla="*/ 109 h 160"/>
              <a:gd name="T66" fmla="*/ 99 w 160"/>
              <a:gd name="T67" fmla="*/ 109 h 160"/>
              <a:gd name="T68" fmla="*/ 79 w 160"/>
              <a:gd name="T69" fmla="*/ 102 h 160"/>
              <a:gd name="T70" fmla="*/ 75 w 160"/>
              <a:gd name="T71" fmla="*/ 102 h 160"/>
              <a:gd name="T72" fmla="*/ 76 w 160"/>
              <a:gd name="T73" fmla="*/ 106 h 160"/>
              <a:gd name="T74" fmla="*/ 99 w 160"/>
              <a:gd name="T75" fmla="*/ 115 h 160"/>
              <a:gd name="T76" fmla="*/ 120 w 160"/>
              <a:gd name="T77" fmla="*/ 115 h 160"/>
              <a:gd name="T78" fmla="*/ 97 w 160"/>
              <a:gd name="T79" fmla="*/ 131 h 160"/>
              <a:gd name="T80" fmla="*/ 97 w 160"/>
              <a:gd name="T81" fmla="*/ 135 h 160"/>
              <a:gd name="T82" fmla="*/ 99 w 160"/>
              <a:gd name="T83" fmla="*/ 136 h 160"/>
              <a:gd name="T84" fmla="*/ 100 w 160"/>
              <a:gd name="T85" fmla="*/ 135 h 160"/>
              <a:gd name="T86" fmla="*/ 133 w 160"/>
              <a:gd name="T87" fmla="*/ 112 h 160"/>
              <a:gd name="T88" fmla="*/ 100 w 160"/>
              <a:gd name="T89" fmla="*/ 89 h 160"/>
              <a:gd name="T90" fmla="*/ 97 w 160"/>
              <a:gd name="T91" fmla="*/ 89 h 160"/>
              <a:gd name="T92" fmla="*/ 160 w 160"/>
              <a:gd name="T93" fmla="*/ 80 h 160"/>
              <a:gd name="T94" fmla="*/ 80 w 160"/>
              <a:gd name="T95" fmla="*/ 160 h 160"/>
              <a:gd name="T96" fmla="*/ 0 w 160"/>
              <a:gd name="T97" fmla="*/ 80 h 160"/>
              <a:gd name="T98" fmla="*/ 80 w 160"/>
              <a:gd name="T99" fmla="*/ 0 h 160"/>
              <a:gd name="T100" fmla="*/ 160 w 160"/>
              <a:gd name="T101" fmla="*/ 80 h 160"/>
              <a:gd name="T102" fmla="*/ 155 w 160"/>
              <a:gd name="T103" fmla="*/ 80 h 160"/>
              <a:gd name="T104" fmla="*/ 80 w 160"/>
              <a:gd name="T105" fmla="*/ 5 h 160"/>
              <a:gd name="T106" fmla="*/ 5 w 160"/>
              <a:gd name="T107" fmla="*/ 80 h 160"/>
              <a:gd name="T108" fmla="*/ 80 w 160"/>
              <a:gd name="T109" fmla="*/ 155 h 160"/>
              <a:gd name="T110" fmla="*/ 155 w 160"/>
              <a:gd name="T111"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60">
                <a:moveTo>
                  <a:pt x="27" y="48"/>
                </a:moveTo>
                <a:cubicBezTo>
                  <a:pt x="27" y="47"/>
                  <a:pt x="28" y="45"/>
                  <a:pt x="29" y="45"/>
                </a:cubicBezTo>
                <a:cubicBezTo>
                  <a:pt x="35" y="45"/>
                  <a:pt x="35" y="45"/>
                  <a:pt x="35" y="45"/>
                </a:cubicBezTo>
                <a:cubicBezTo>
                  <a:pt x="43" y="45"/>
                  <a:pt x="51" y="48"/>
                  <a:pt x="58" y="54"/>
                </a:cubicBezTo>
                <a:cubicBezTo>
                  <a:pt x="59" y="55"/>
                  <a:pt x="59" y="57"/>
                  <a:pt x="58" y="58"/>
                </a:cubicBezTo>
                <a:cubicBezTo>
                  <a:pt x="57" y="59"/>
                  <a:pt x="57" y="59"/>
                  <a:pt x="56" y="59"/>
                </a:cubicBezTo>
                <a:cubicBezTo>
                  <a:pt x="55" y="59"/>
                  <a:pt x="55" y="59"/>
                  <a:pt x="54" y="58"/>
                </a:cubicBezTo>
                <a:cubicBezTo>
                  <a:pt x="49" y="53"/>
                  <a:pt x="42" y="51"/>
                  <a:pt x="35" y="51"/>
                </a:cubicBezTo>
                <a:cubicBezTo>
                  <a:pt x="29" y="51"/>
                  <a:pt x="29" y="51"/>
                  <a:pt x="29" y="51"/>
                </a:cubicBezTo>
                <a:cubicBezTo>
                  <a:pt x="28" y="51"/>
                  <a:pt x="27" y="49"/>
                  <a:pt x="27" y="48"/>
                </a:cubicBezTo>
                <a:close/>
                <a:moveTo>
                  <a:pt x="97" y="25"/>
                </a:moveTo>
                <a:cubicBezTo>
                  <a:pt x="96" y="26"/>
                  <a:pt x="96" y="28"/>
                  <a:pt x="97" y="29"/>
                </a:cubicBezTo>
                <a:cubicBezTo>
                  <a:pt x="120" y="45"/>
                  <a:pt x="120" y="45"/>
                  <a:pt x="120" y="45"/>
                </a:cubicBezTo>
                <a:cubicBezTo>
                  <a:pt x="99" y="45"/>
                  <a:pt x="99" y="45"/>
                  <a:pt x="99" y="45"/>
                </a:cubicBezTo>
                <a:cubicBezTo>
                  <a:pt x="80" y="45"/>
                  <a:pt x="64" y="61"/>
                  <a:pt x="64" y="80"/>
                </a:cubicBezTo>
                <a:cubicBezTo>
                  <a:pt x="64" y="96"/>
                  <a:pt x="51" y="109"/>
                  <a:pt x="35" y="109"/>
                </a:cubicBezTo>
                <a:cubicBezTo>
                  <a:pt x="29" y="109"/>
                  <a:pt x="29" y="109"/>
                  <a:pt x="29" y="109"/>
                </a:cubicBezTo>
                <a:cubicBezTo>
                  <a:pt x="28" y="109"/>
                  <a:pt x="27" y="111"/>
                  <a:pt x="27" y="112"/>
                </a:cubicBezTo>
                <a:cubicBezTo>
                  <a:pt x="27" y="113"/>
                  <a:pt x="28" y="115"/>
                  <a:pt x="29" y="115"/>
                </a:cubicBezTo>
                <a:cubicBezTo>
                  <a:pt x="35" y="115"/>
                  <a:pt x="35" y="115"/>
                  <a:pt x="35" y="115"/>
                </a:cubicBezTo>
                <a:cubicBezTo>
                  <a:pt x="54" y="115"/>
                  <a:pt x="69" y="99"/>
                  <a:pt x="69" y="80"/>
                </a:cubicBezTo>
                <a:cubicBezTo>
                  <a:pt x="69" y="64"/>
                  <a:pt x="82" y="51"/>
                  <a:pt x="99" y="51"/>
                </a:cubicBezTo>
                <a:cubicBezTo>
                  <a:pt x="120" y="51"/>
                  <a:pt x="120" y="51"/>
                  <a:pt x="120" y="51"/>
                </a:cubicBezTo>
                <a:cubicBezTo>
                  <a:pt x="97" y="67"/>
                  <a:pt x="97" y="67"/>
                  <a:pt x="97" y="67"/>
                </a:cubicBezTo>
                <a:cubicBezTo>
                  <a:pt x="96" y="68"/>
                  <a:pt x="96" y="70"/>
                  <a:pt x="97" y="71"/>
                </a:cubicBezTo>
                <a:cubicBezTo>
                  <a:pt x="97" y="72"/>
                  <a:pt x="98" y="72"/>
                  <a:pt x="99" y="72"/>
                </a:cubicBezTo>
                <a:cubicBezTo>
                  <a:pt x="99" y="72"/>
                  <a:pt x="100" y="72"/>
                  <a:pt x="100" y="71"/>
                </a:cubicBezTo>
                <a:cubicBezTo>
                  <a:pt x="133" y="48"/>
                  <a:pt x="133" y="48"/>
                  <a:pt x="133" y="48"/>
                </a:cubicBezTo>
                <a:cubicBezTo>
                  <a:pt x="100" y="25"/>
                  <a:pt x="100" y="25"/>
                  <a:pt x="100" y="25"/>
                </a:cubicBezTo>
                <a:cubicBezTo>
                  <a:pt x="99" y="24"/>
                  <a:pt x="97" y="24"/>
                  <a:pt x="97" y="25"/>
                </a:cubicBezTo>
                <a:close/>
                <a:moveTo>
                  <a:pt x="97" y="89"/>
                </a:moveTo>
                <a:cubicBezTo>
                  <a:pt x="96" y="90"/>
                  <a:pt x="96" y="92"/>
                  <a:pt x="97" y="93"/>
                </a:cubicBezTo>
                <a:cubicBezTo>
                  <a:pt x="120" y="109"/>
                  <a:pt x="120" y="109"/>
                  <a:pt x="120" y="109"/>
                </a:cubicBezTo>
                <a:cubicBezTo>
                  <a:pt x="99" y="109"/>
                  <a:pt x="99" y="109"/>
                  <a:pt x="99" y="109"/>
                </a:cubicBezTo>
                <a:cubicBezTo>
                  <a:pt x="92" y="109"/>
                  <a:pt x="85" y="107"/>
                  <a:pt x="79" y="102"/>
                </a:cubicBezTo>
                <a:cubicBezTo>
                  <a:pt x="78" y="101"/>
                  <a:pt x="76" y="101"/>
                  <a:pt x="75" y="102"/>
                </a:cubicBezTo>
                <a:cubicBezTo>
                  <a:pt x="75" y="103"/>
                  <a:pt x="75" y="105"/>
                  <a:pt x="76" y="106"/>
                </a:cubicBezTo>
                <a:cubicBezTo>
                  <a:pt x="82" y="112"/>
                  <a:pt x="90" y="115"/>
                  <a:pt x="99" y="115"/>
                </a:cubicBezTo>
                <a:cubicBezTo>
                  <a:pt x="120" y="115"/>
                  <a:pt x="120" y="115"/>
                  <a:pt x="120" y="115"/>
                </a:cubicBezTo>
                <a:cubicBezTo>
                  <a:pt x="97" y="131"/>
                  <a:pt x="97" y="131"/>
                  <a:pt x="97" y="131"/>
                </a:cubicBezTo>
                <a:cubicBezTo>
                  <a:pt x="96" y="132"/>
                  <a:pt x="96" y="134"/>
                  <a:pt x="97" y="135"/>
                </a:cubicBezTo>
                <a:cubicBezTo>
                  <a:pt x="97" y="136"/>
                  <a:pt x="98" y="136"/>
                  <a:pt x="99" y="136"/>
                </a:cubicBezTo>
                <a:cubicBezTo>
                  <a:pt x="99" y="136"/>
                  <a:pt x="100" y="136"/>
                  <a:pt x="100" y="135"/>
                </a:cubicBezTo>
                <a:cubicBezTo>
                  <a:pt x="133" y="112"/>
                  <a:pt x="133" y="112"/>
                  <a:pt x="133" y="112"/>
                </a:cubicBezTo>
                <a:cubicBezTo>
                  <a:pt x="100" y="89"/>
                  <a:pt x="100" y="89"/>
                  <a:pt x="100" y="89"/>
                </a:cubicBezTo>
                <a:cubicBezTo>
                  <a:pt x="99" y="88"/>
                  <a:pt x="97" y="88"/>
                  <a:pt x="97" y="89"/>
                </a:cubicBezTo>
                <a:close/>
                <a:moveTo>
                  <a:pt x="160" y="80"/>
                </a:moveTo>
                <a:cubicBezTo>
                  <a:pt x="160" y="124"/>
                  <a:pt x="124" y="160"/>
                  <a:pt x="80" y="160"/>
                </a:cubicBezTo>
                <a:cubicBezTo>
                  <a:pt x="36" y="160"/>
                  <a:pt x="0" y="124"/>
                  <a:pt x="0" y="80"/>
                </a:cubicBezTo>
                <a:cubicBezTo>
                  <a:pt x="0" y="36"/>
                  <a:pt x="36" y="0"/>
                  <a:pt x="80" y="0"/>
                </a:cubicBezTo>
                <a:cubicBezTo>
                  <a:pt x="124" y="0"/>
                  <a:pt x="160" y="36"/>
                  <a:pt x="160" y="80"/>
                </a:cubicBezTo>
                <a:close/>
                <a:moveTo>
                  <a:pt x="155" y="80"/>
                </a:moveTo>
                <a:cubicBezTo>
                  <a:pt x="155" y="39"/>
                  <a:pt x="121" y="5"/>
                  <a:pt x="80" y="5"/>
                </a:cubicBezTo>
                <a:cubicBezTo>
                  <a:pt x="39" y="5"/>
                  <a:pt x="5" y="39"/>
                  <a:pt x="5" y="80"/>
                </a:cubicBezTo>
                <a:cubicBezTo>
                  <a:pt x="5" y="121"/>
                  <a:pt x="39" y="155"/>
                  <a:pt x="80" y="155"/>
                </a:cubicBezTo>
                <a:cubicBezTo>
                  <a:pt x="121" y="155"/>
                  <a:pt x="155" y="121"/>
                  <a:pt x="155" y="8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68" name="Freeform 1370">
            <a:extLst>
              <a:ext uri="{FF2B5EF4-FFF2-40B4-BE49-F238E27FC236}">
                <a16:creationId xmlns:a16="http://schemas.microsoft.com/office/drawing/2014/main" id="{BDF89024-4A10-934C-94B3-8FA695B03B9D}"/>
              </a:ext>
            </a:extLst>
          </p:cNvPr>
          <p:cNvSpPr>
            <a:spLocks noEditPoints="1"/>
          </p:cNvSpPr>
          <p:nvPr/>
        </p:nvSpPr>
        <p:spPr bwMode="auto">
          <a:xfrm>
            <a:off x="8132337" y="3489325"/>
            <a:ext cx="546100" cy="485775"/>
          </a:xfrm>
          <a:custGeom>
            <a:avLst/>
            <a:gdLst>
              <a:gd name="T0" fmla="*/ 87 w 160"/>
              <a:gd name="T1" fmla="*/ 35 h 141"/>
              <a:gd name="T2" fmla="*/ 116 w 160"/>
              <a:gd name="T3" fmla="*/ 35 h 141"/>
              <a:gd name="T4" fmla="*/ 116 w 160"/>
              <a:gd name="T5" fmla="*/ 64 h 141"/>
              <a:gd name="T6" fmla="*/ 160 w 160"/>
              <a:gd name="T7" fmla="*/ 32 h 141"/>
              <a:gd name="T8" fmla="*/ 116 w 160"/>
              <a:gd name="T9" fmla="*/ 0 h 141"/>
              <a:gd name="T10" fmla="*/ 116 w 160"/>
              <a:gd name="T11" fmla="*/ 29 h 141"/>
              <a:gd name="T12" fmla="*/ 87 w 160"/>
              <a:gd name="T13" fmla="*/ 29 h 141"/>
              <a:gd name="T14" fmla="*/ 45 w 160"/>
              <a:gd name="T15" fmla="*/ 71 h 141"/>
              <a:gd name="T16" fmla="*/ 10 w 160"/>
              <a:gd name="T17" fmla="*/ 106 h 141"/>
              <a:gd name="T18" fmla="*/ 3 w 160"/>
              <a:gd name="T19" fmla="*/ 106 h 141"/>
              <a:gd name="T20" fmla="*/ 0 w 160"/>
              <a:gd name="T21" fmla="*/ 109 h 141"/>
              <a:gd name="T22" fmla="*/ 3 w 160"/>
              <a:gd name="T23" fmla="*/ 113 h 141"/>
              <a:gd name="T24" fmla="*/ 10 w 160"/>
              <a:gd name="T25" fmla="*/ 113 h 141"/>
              <a:gd name="T26" fmla="*/ 52 w 160"/>
              <a:gd name="T27" fmla="*/ 71 h 141"/>
              <a:gd name="T28" fmla="*/ 87 w 160"/>
              <a:gd name="T29" fmla="*/ 35 h 141"/>
              <a:gd name="T30" fmla="*/ 122 w 160"/>
              <a:gd name="T31" fmla="*/ 13 h 141"/>
              <a:gd name="T32" fmla="*/ 149 w 160"/>
              <a:gd name="T33" fmla="*/ 32 h 141"/>
              <a:gd name="T34" fmla="*/ 122 w 160"/>
              <a:gd name="T35" fmla="*/ 52 h 141"/>
              <a:gd name="T36" fmla="*/ 122 w 160"/>
              <a:gd name="T37" fmla="*/ 13 h 141"/>
              <a:gd name="T38" fmla="*/ 0 w 160"/>
              <a:gd name="T39" fmla="*/ 32 h 141"/>
              <a:gd name="T40" fmla="*/ 3 w 160"/>
              <a:gd name="T41" fmla="*/ 29 h 141"/>
              <a:gd name="T42" fmla="*/ 10 w 160"/>
              <a:gd name="T43" fmla="*/ 29 h 141"/>
              <a:gd name="T44" fmla="*/ 38 w 160"/>
              <a:gd name="T45" fmla="*/ 40 h 141"/>
              <a:gd name="T46" fmla="*/ 38 w 160"/>
              <a:gd name="T47" fmla="*/ 44 h 141"/>
              <a:gd name="T48" fmla="*/ 35 w 160"/>
              <a:gd name="T49" fmla="*/ 45 h 141"/>
              <a:gd name="T50" fmla="*/ 33 w 160"/>
              <a:gd name="T51" fmla="*/ 44 h 141"/>
              <a:gd name="T52" fmla="*/ 10 w 160"/>
              <a:gd name="T53" fmla="*/ 35 h 141"/>
              <a:gd name="T54" fmla="*/ 3 w 160"/>
              <a:gd name="T55" fmla="*/ 35 h 141"/>
              <a:gd name="T56" fmla="*/ 0 w 160"/>
              <a:gd name="T57" fmla="*/ 32 h 141"/>
              <a:gd name="T58" fmla="*/ 116 w 160"/>
              <a:gd name="T59" fmla="*/ 106 h 141"/>
              <a:gd name="T60" fmla="*/ 87 w 160"/>
              <a:gd name="T61" fmla="*/ 106 h 141"/>
              <a:gd name="T62" fmla="*/ 63 w 160"/>
              <a:gd name="T63" fmla="*/ 97 h 141"/>
              <a:gd name="T64" fmla="*/ 59 w 160"/>
              <a:gd name="T65" fmla="*/ 98 h 141"/>
              <a:gd name="T66" fmla="*/ 59 w 160"/>
              <a:gd name="T67" fmla="*/ 102 h 141"/>
              <a:gd name="T68" fmla="*/ 87 w 160"/>
              <a:gd name="T69" fmla="*/ 113 h 141"/>
              <a:gd name="T70" fmla="*/ 116 w 160"/>
              <a:gd name="T71" fmla="*/ 113 h 141"/>
              <a:gd name="T72" fmla="*/ 116 w 160"/>
              <a:gd name="T73" fmla="*/ 141 h 141"/>
              <a:gd name="T74" fmla="*/ 160 w 160"/>
              <a:gd name="T75" fmla="*/ 109 h 141"/>
              <a:gd name="T76" fmla="*/ 116 w 160"/>
              <a:gd name="T77" fmla="*/ 77 h 141"/>
              <a:gd name="T78" fmla="*/ 116 w 160"/>
              <a:gd name="T79" fmla="*/ 106 h 141"/>
              <a:gd name="T80" fmla="*/ 122 w 160"/>
              <a:gd name="T81" fmla="*/ 90 h 141"/>
              <a:gd name="T82" fmla="*/ 149 w 160"/>
              <a:gd name="T83" fmla="*/ 109 h 141"/>
              <a:gd name="T84" fmla="*/ 122 w 160"/>
              <a:gd name="T85" fmla="*/ 129 h 141"/>
              <a:gd name="T86" fmla="*/ 122 w 160"/>
              <a:gd name="T87" fmla="*/ 9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41">
                <a:moveTo>
                  <a:pt x="87" y="35"/>
                </a:moveTo>
                <a:cubicBezTo>
                  <a:pt x="116" y="35"/>
                  <a:pt x="116" y="35"/>
                  <a:pt x="116" y="35"/>
                </a:cubicBezTo>
                <a:cubicBezTo>
                  <a:pt x="116" y="64"/>
                  <a:pt x="116" y="64"/>
                  <a:pt x="116" y="64"/>
                </a:cubicBezTo>
                <a:cubicBezTo>
                  <a:pt x="160" y="32"/>
                  <a:pt x="160" y="32"/>
                  <a:pt x="160" y="32"/>
                </a:cubicBezTo>
                <a:cubicBezTo>
                  <a:pt x="116" y="0"/>
                  <a:pt x="116" y="0"/>
                  <a:pt x="116" y="0"/>
                </a:cubicBezTo>
                <a:cubicBezTo>
                  <a:pt x="116" y="29"/>
                  <a:pt x="116" y="29"/>
                  <a:pt x="116" y="29"/>
                </a:cubicBezTo>
                <a:cubicBezTo>
                  <a:pt x="87" y="29"/>
                  <a:pt x="87" y="29"/>
                  <a:pt x="87" y="29"/>
                </a:cubicBezTo>
                <a:cubicBezTo>
                  <a:pt x="64" y="29"/>
                  <a:pt x="45" y="48"/>
                  <a:pt x="45" y="71"/>
                </a:cubicBezTo>
                <a:cubicBezTo>
                  <a:pt x="45" y="90"/>
                  <a:pt x="29" y="106"/>
                  <a:pt x="10" y="106"/>
                </a:cubicBezTo>
                <a:cubicBezTo>
                  <a:pt x="3" y="106"/>
                  <a:pt x="3" y="106"/>
                  <a:pt x="3" y="106"/>
                </a:cubicBezTo>
                <a:cubicBezTo>
                  <a:pt x="1" y="106"/>
                  <a:pt x="0" y="108"/>
                  <a:pt x="0" y="109"/>
                </a:cubicBezTo>
                <a:cubicBezTo>
                  <a:pt x="0" y="111"/>
                  <a:pt x="1" y="113"/>
                  <a:pt x="3" y="113"/>
                </a:cubicBezTo>
                <a:cubicBezTo>
                  <a:pt x="10" y="113"/>
                  <a:pt x="10" y="113"/>
                  <a:pt x="10" y="113"/>
                </a:cubicBezTo>
                <a:cubicBezTo>
                  <a:pt x="33" y="113"/>
                  <a:pt x="52" y="94"/>
                  <a:pt x="52" y="71"/>
                </a:cubicBezTo>
                <a:cubicBezTo>
                  <a:pt x="52" y="51"/>
                  <a:pt x="67" y="35"/>
                  <a:pt x="87" y="35"/>
                </a:cubicBezTo>
                <a:close/>
                <a:moveTo>
                  <a:pt x="122" y="13"/>
                </a:moveTo>
                <a:cubicBezTo>
                  <a:pt x="149" y="32"/>
                  <a:pt x="149" y="32"/>
                  <a:pt x="149" y="32"/>
                </a:cubicBezTo>
                <a:cubicBezTo>
                  <a:pt x="122" y="52"/>
                  <a:pt x="122" y="52"/>
                  <a:pt x="122" y="52"/>
                </a:cubicBezTo>
                <a:lnTo>
                  <a:pt x="122" y="13"/>
                </a:lnTo>
                <a:close/>
                <a:moveTo>
                  <a:pt x="0" y="32"/>
                </a:moveTo>
                <a:cubicBezTo>
                  <a:pt x="0" y="30"/>
                  <a:pt x="1" y="29"/>
                  <a:pt x="3" y="29"/>
                </a:cubicBezTo>
                <a:cubicBezTo>
                  <a:pt x="10" y="29"/>
                  <a:pt x="10" y="29"/>
                  <a:pt x="10" y="29"/>
                </a:cubicBezTo>
                <a:cubicBezTo>
                  <a:pt x="20" y="29"/>
                  <a:pt x="30" y="33"/>
                  <a:pt x="38" y="40"/>
                </a:cubicBezTo>
                <a:cubicBezTo>
                  <a:pt x="39" y="41"/>
                  <a:pt x="39" y="43"/>
                  <a:pt x="38" y="44"/>
                </a:cubicBezTo>
                <a:cubicBezTo>
                  <a:pt x="37" y="45"/>
                  <a:pt x="36" y="45"/>
                  <a:pt x="35" y="45"/>
                </a:cubicBezTo>
                <a:cubicBezTo>
                  <a:pt x="35" y="45"/>
                  <a:pt x="34" y="45"/>
                  <a:pt x="33" y="44"/>
                </a:cubicBezTo>
                <a:cubicBezTo>
                  <a:pt x="27" y="38"/>
                  <a:pt x="18" y="35"/>
                  <a:pt x="10" y="35"/>
                </a:cubicBezTo>
                <a:cubicBezTo>
                  <a:pt x="3" y="35"/>
                  <a:pt x="3" y="35"/>
                  <a:pt x="3" y="35"/>
                </a:cubicBezTo>
                <a:cubicBezTo>
                  <a:pt x="1" y="35"/>
                  <a:pt x="0" y="34"/>
                  <a:pt x="0" y="32"/>
                </a:cubicBezTo>
                <a:close/>
                <a:moveTo>
                  <a:pt x="116" y="106"/>
                </a:moveTo>
                <a:cubicBezTo>
                  <a:pt x="87" y="106"/>
                  <a:pt x="87" y="106"/>
                  <a:pt x="87" y="106"/>
                </a:cubicBezTo>
                <a:cubicBezTo>
                  <a:pt x="78" y="106"/>
                  <a:pt x="70" y="103"/>
                  <a:pt x="63" y="97"/>
                </a:cubicBezTo>
                <a:cubicBezTo>
                  <a:pt x="62" y="96"/>
                  <a:pt x="60" y="96"/>
                  <a:pt x="59" y="98"/>
                </a:cubicBezTo>
                <a:cubicBezTo>
                  <a:pt x="58" y="99"/>
                  <a:pt x="58" y="101"/>
                  <a:pt x="59" y="102"/>
                </a:cubicBezTo>
                <a:cubicBezTo>
                  <a:pt x="67" y="109"/>
                  <a:pt x="77" y="113"/>
                  <a:pt x="87" y="113"/>
                </a:cubicBezTo>
                <a:cubicBezTo>
                  <a:pt x="116" y="113"/>
                  <a:pt x="116" y="113"/>
                  <a:pt x="116" y="113"/>
                </a:cubicBezTo>
                <a:cubicBezTo>
                  <a:pt x="116" y="141"/>
                  <a:pt x="116" y="141"/>
                  <a:pt x="116" y="141"/>
                </a:cubicBezTo>
                <a:cubicBezTo>
                  <a:pt x="160" y="109"/>
                  <a:pt x="160" y="109"/>
                  <a:pt x="160" y="109"/>
                </a:cubicBezTo>
                <a:cubicBezTo>
                  <a:pt x="116" y="77"/>
                  <a:pt x="116" y="77"/>
                  <a:pt x="116" y="77"/>
                </a:cubicBezTo>
                <a:lnTo>
                  <a:pt x="116" y="106"/>
                </a:lnTo>
                <a:close/>
                <a:moveTo>
                  <a:pt x="122" y="90"/>
                </a:moveTo>
                <a:cubicBezTo>
                  <a:pt x="149" y="109"/>
                  <a:pt x="149" y="109"/>
                  <a:pt x="149" y="109"/>
                </a:cubicBezTo>
                <a:cubicBezTo>
                  <a:pt x="122" y="129"/>
                  <a:pt x="122" y="129"/>
                  <a:pt x="122" y="129"/>
                </a:cubicBezTo>
                <a:lnTo>
                  <a:pt x="122" y="9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69" name="Freeform 1371">
            <a:extLst>
              <a:ext uri="{FF2B5EF4-FFF2-40B4-BE49-F238E27FC236}">
                <a16:creationId xmlns:a16="http://schemas.microsoft.com/office/drawing/2014/main" id="{2B872FC3-32D5-5345-9E3B-8A4E755D43F4}"/>
              </a:ext>
            </a:extLst>
          </p:cNvPr>
          <p:cNvSpPr>
            <a:spLocks noEditPoints="1"/>
          </p:cNvSpPr>
          <p:nvPr/>
        </p:nvSpPr>
        <p:spPr bwMode="auto">
          <a:xfrm>
            <a:off x="8132337" y="4081463"/>
            <a:ext cx="546100" cy="550863"/>
          </a:xfrm>
          <a:custGeom>
            <a:avLst/>
            <a:gdLst>
              <a:gd name="T0" fmla="*/ 160 w 160"/>
              <a:gd name="T1" fmla="*/ 80 h 160"/>
              <a:gd name="T2" fmla="*/ 80 w 160"/>
              <a:gd name="T3" fmla="*/ 0 h 160"/>
              <a:gd name="T4" fmla="*/ 0 w 160"/>
              <a:gd name="T5" fmla="*/ 80 h 160"/>
              <a:gd name="T6" fmla="*/ 13 w 160"/>
              <a:gd name="T7" fmla="*/ 123 h 160"/>
              <a:gd name="T8" fmla="*/ 12 w 160"/>
              <a:gd name="T9" fmla="*/ 123 h 160"/>
              <a:gd name="T10" fmla="*/ 16 w 160"/>
              <a:gd name="T11" fmla="*/ 128 h 160"/>
              <a:gd name="T12" fmla="*/ 64 w 160"/>
              <a:gd name="T13" fmla="*/ 158 h 160"/>
              <a:gd name="T14" fmla="*/ 64 w 160"/>
              <a:gd name="T15" fmla="*/ 158 h 160"/>
              <a:gd name="T16" fmla="*/ 67 w 160"/>
              <a:gd name="T17" fmla="*/ 159 h 160"/>
              <a:gd name="T18" fmla="*/ 69 w 160"/>
              <a:gd name="T19" fmla="*/ 159 h 160"/>
              <a:gd name="T20" fmla="*/ 71 w 160"/>
              <a:gd name="T21" fmla="*/ 160 h 160"/>
              <a:gd name="T22" fmla="*/ 74 w 160"/>
              <a:gd name="T23" fmla="*/ 160 h 160"/>
              <a:gd name="T24" fmla="*/ 76 w 160"/>
              <a:gd name="T25" fmla="*/ 160 h 160"/>
              <a:gd name="T26" fmla="*/ 80 w 160"/>
              <a:gd name="T27" fmla="*/ 160 h 160"/>
              <a:gd name="T28" fmla="*/ 84 w 160"/>
              <a:gd name="T29" fmla="*/ 160 h 160"/>
              <a:gd name="T30" fmla="*/ 86 w 160"/>
              <a:gd name="T31" fmla="*/ 160 h 160"/>
              <a:gd name="T32" fmla="*/ 89 w 160"/>
              <a:gd name="T33" fmla="*/ 160 h 160"/>
              <a:gd name="T34" fmla="*/ 91 w 160"/>
              <a:gd name="T35" fmla="*/ 159 h 160"/>
              <a:gd name="T36" fmla="*/ 93 w 160"/>
              <a:gd name="T37" fmla="*/ 159 h 160"/>
              <a:gd name="T38" fmla="*/ 96 w 160"/>
              <a:gd name="T39" fmla="*/ 158 h 160"/>
              <a:gd name="T40" fmla="*/ 96 w 160"/>
              <a:gd name="T41" fmla="*/ 158 h 160"/>
              <a:gd name="T42" fmla="*/ 144 w 160"/>
              <a:gd name="T43" fmla="*/ 128 h 160"/>
              <a:gd name="T44" fmla="*/ 148 w 160"/>
              <a:gd name="T45" fmla="*/ 123 h 160"/>
              <a:gd name="T46" fmla="*/ 147 w 160"/>
              <a:gd name="T47" fmla="*/ 123 h 160"/>
              <a:gd name="T48" fmla="*/ 160 w 160"/>
              <a:gd name="T49" fmla="*/ 80 h 160"/>
              <a:gd name="T50" fmla="*/ 6 w 160"/>
              <a:gd name="T51" fmla="*/ 80 h 160"/>
              <a:gd name="T52" fmla="*/ 80 w 160"/>
              <a:gd name="T53" fmla="*/ 6 h 160"/>
              <a:gd name="T54" fmla="*/ 154 w 160"/>
              <a:gd name="T55" fmla="*/ 80 h 160"/>
              <a:gd name="T56" fmla="*/ 140 w 160"/>
              <a:gd name="T57" fmla="*/ 123 h 160"/>
              <a:gd name="T58" fmla="*/ 20 w 160"/>
              <a:gd name="T59" fmla="*/ 123 h 160"/>
              <a:gd name="T60" fmla="*/ 6 w 160"/>
              <a:gd name="T61" fmla="*/ 80 h 160"/>
              <a:gd name="T62" fmla="*/ 88 w 160"/>
              <a:gd name="T63" fmla="*/ 153 h 160"/>
              <a:gd name="T64" fmla="*/ 87 w 160"/>
              <a:gd name="T65" fmla="*/ 154 h 160"/>
              <a:gd name="T66" fmla="*/ 84 w 160"/>
              <a:gd name="T67" fmla="*/ 154 h 160"/>
              <a:gd name="T68" fmla="*/ 80 w 160"/>
              <a:gd name="T69" fmla="*/ 154 h 160"/>
              <a:gd name="T70" fmla="*/ 76 w 160"/>
              <a:gd name="T71" fmla="*/ 154 h 160"/>
              <a:gd name="T72" fmla="*/ 73 w 160"/>
              <a:gd name="T73" fmla="*/ 154 h 160"/>
              <a:gd name="T74" fmla="*/ 72 w 160"/>
              <a:gd name="T75" fmla="*/ 153 h 160"/>
              <a:gd name="T76" fmla="*/ 25 w 160"/>
              <a:gd name="T77" fmla="*/ 129 h 160"/>
              <a:gd name="T78" fmla="*/ 135 w 160"/>
              <a:gd name="T79" fmla="*/ 129 h 160"/>
              <a:gd name="T80" fmla="*/ 88 w 160"/>
              <a:gd name="T81" fmla="*/ 15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 h="160">
                <a:moveTo>
                  <a:pt x="160" y="80"/>
                </a:moveTo>
                <a:cubicBezTo>
                  <a:pt x="160" y="36"/>
                  <a:pt x="124" y="0"/>
                  <a:pt x="80" y="0"/>
                </a:cubicBezTo>
                <a:cubicBezTo>
                  <a:pt x="36" y="0"/>
                  <a:pt x="0" y="36"/>
                  <a:pt x="0" y="80"/>
                </a:cubicBezTo>
                <a:cubicBezTo>
                  <a:pt x="0" y="96"/>
                  <a:pt x="5" y="111"/>
                  <a:pt x="13" y="123"/>
                </a:cubicBezTo>
                <a:cubicBezTo>
                  <a:pt x="12" y="123"/>
                  <a:pt x="12" y="123"/>
                  <a:pt x="12" y="123"/>
                </a:cubicBezTo>
                <a:cubicBezTo>
                  <a:pt x="16" y="128"/>
                  <a:pt x="16" y="128"/>
                  <a:pt x="16" y="128"/>
                </a:cubicBezTo>
                <a:cubicBezTo>
                  <a:pt x="28" y="144"/>
                  <a:pt x="45" y="154"/>
                  <a:pt x="64" y="158"/>
                </a:cubicBezTo>
                <a:cubicBezTo>
                  <a:pt x="64" y="158"/>
                  <a:pt x="64" y="158"/>
                  <a:pt x="64" y="158"/>
                </a:cubicBezTo>
                <a:cubicBezTo>
                  <a:pt x="65" y="159"/>
                  <a:pt x="66" y="159"/>
                  <a:pt x="67" y="159"/>
                </a:cubicBezTo>
                <a:cubicBezTo>
                  <a:pt x="68" y="159"/>
                  <a:pt x="68" y="159"/>
                  <a:pt x="69" y="159"/>
                </a:cubicBezTo>
                <a:cubicBezTo>
                  <a:pt x="70" y="159"/>
                  <a:pt x="70" y="159"/>
                  <a:pt x="71" y="160"/>
                </a:cubicBezTo>
                <a:cubicBezTo>
                  <a:pt x="72" y="160"/>
                  <a:pt x="73" y="160"/>
                  <a:pt x="74" y="160"/>
                </a:cubicBezTo>
                <a:cubicBezTo>
                  <a:pt x="74" y="160"/>
                  <a:pt x="75" y="160"/>
                  <a:pt x="76" y="160"/>
                </a:cubicBezTo>
                <a:cubicBezTo>
                  <a:pt x="77" y="160"/>
                  <a:pt x="79" y="160"/>
                  <a:pt x="80" y="160"/>
                </a:cubicBezTo>
                <a:cubicBezTo>
                  <a:pt x="81" y="160"/>
                  <a:pt x="83" y="160"/>
                  <a:pt x="84" y="160"/>
                </a:cubicBezTo>
                <a:cubicBezTo>
                  <a:pt x="85" y="160"/>
                  <a:pt x="86" y="160"/>
                  <a:pt x="86" y="160"/>
                </a:cubicBezTo>
                <a:cubicBezTo>
                  <a:pt x="87" y="160"/>
                  <a:pt x="88" y="160"/>
                  <a:pt x="89" y="160"/>
                </a:cubicBezTo>
                <a:cubicBezTo>
                  <a:pt x="90" y="159"/>
                  <a:pt x="90" y="159"/>
                  <a:pt x="91" y="159"/>
                </a:cubicBezTo>
                <a:cubicBezTo>
                  <a:pt x="92" y="159"/>
                  <a:pt x="92" y="159"/>
                  <a:pt x="93" y="159"/>
                </a:cubicBezTo>
                <a:cubicBezTo>
                  <a:pt x="94" y="159"/>
                  <a:pt x="95" y="159"/>
                  <a:pt x="96" y="158"/>
                </a:cubicBezTo>
                <a:cubicBezTo>
                  <a:pt x="96" y="158"/>
                  <a:pt x="96" y="158"/>
                  <a:pt x="96" y="158"/>
                </a:cubicBezTo>
                <a:cubicBezTo>
                  <a:pt x="115" y="154"/>
                  <a:pt x="132" y="144"/>
                  <a:pt x="144" y="128"/>
                </a:cubicBezTo>
                <a:cubicBezTo>
                  <a:pt x="148" y="123"/>
                  <a:pt x="148" y="123"/>
                  <a:pt x="148" y="123"/>
                </a:cubicBezTo>
                <a:cubicBezTo>
                  <a:pt x="147" y="123"/>
                  <a:pt x="147" y="123"/>
                  <a:pt x="147" y="123"/>
                </a:cubicBezTo>
                <a:cubicBezTo>
                  <a:pt x="155" y="111"/>
                  <a:pt x="160" y="96"/>
                  <a:pt x="160" y="80"/>
                </a:cubicBezTo>
                <a:close/>
                <a:moveTo>
                  <a:pt x="6" y="80"/>
                </a:moveTo>
                <a:cubicBezTo>
                  <a:pt x="6" y="39"/>
                  <a:pt x="39" y="6"/>
                  <a:pt x="80" y="6"/>
                </a:cubicBezTo>
                <a:cubicBezTo>
                  <a:pt x="121" y="6"/>
                  <a:pt x="154" y="39"/>
                  <a:pt x="154" y="80"/>
                </a:cubicBezTo>
                <a:cubicBezTo>
                  <a:pt x="154" y="96"/>
                  <a:pt x="149" y="111"/>
                  <a:pt x="140" y="123"/>
                </a:cubicBezTo>
                <a:cubicBezTo>
                  <a:pt x="20" y="123"/>
                  <a:pt x="20" y="123"/>
                  <a:pt x="20" y="123"/>
                </a:cubicBezTo>
                <a:cubicBezTo>
                  <a:pt x="11" y="111"/>
                  <a:pt x="6" y="96"/>
                  <a:pt x="6" y="80"/>
                </a:cubicBezTo>
                <a:close/>
                <a:moveTo>
                  <a:pt x="88" y="153"/>
                </a:moveTo>
                <a:cubicBezTo>
                  <a:pt x="87" y="153"/>
                  <a:pt x="87" y="154"/>
                  <a:pt x="87" y="154"/>
                </a:cubicBezTo>
                <a:cubicBezTo>
                  <a:pt x="86" y="154"/>
                  <a:pt x="85" y="154"/>
                  <a:pt x="84" y="154"/>
                </a:cubicBezTo>
                <a:cubicBezTo>
                  <a:pt x="83" y="154"/>
                  <a:pt x="81" y="154"/>
                  <a:pt x="80" y="154"/>
                </a:cubicBezTo>
                <a:cubicBezTo>
                  <a:pt x="79" y="154"/>
                  <a:pt x="77" y="154"/>
                  <a:pt x="76" y="154"/>
                </a:cubicBezTo>
                <a:cubicBezTo>
                  <a:pt x="75" y="154"/>
                  <a:pt x="74" y="154"/>
                  <a:pt x="73" y="154"/>
                </a:cubicBezTo>
                <a:cubicBezTo>
                  <a:pt x="73" y="154"/>
                  <a:pt x="73" y="153"/>
                  <a:pt x="72" y="153"/>
                </a:cubicBezTo>
                <a:cubicBezTo>
                  <a:pt x="54" y="152"/>
                  <a:pt x="37" y="143"/>
                  <a:pt x="25" y="129"/>
                </a:cubicBezTo>
                <a:cubicBezTo>
                  <a:pt x="135" y="129"/>
                  <a:pt x="135" y="129"/>
                  <a:pt x="135" y="129"/>
                </a:cubicBezTo>
                <a:cubicBezTo>
                  <a:pt x="123" y="143"/>
                  <a:pt x="106" y="152"/>
                  <a:pt x="88" y="15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70" name="Freeform 1372">
            <a:extLst>
              <a:ext uri="{FF2B5EF4-FFF2-40B4-BE49-F238E27FC236}">
                <a16:creationId xmlns:a16="http://schemas.microsoft.com/office/drawing/2014/main" id="{FC2641E1-30F4-124E-A545-BD4749303468}"/>
              </a:ext>
            </a:extLst>
          </p:cNvPr>
          <p:cNvSpPr>
            <a:spLocks noEditPoints="1"/>
          </p:cNvSpPr>
          <p:nvPr/>
        </p:nvSpPr>
        <p:spPr bwMode="auto">
          <a:xfrm>
            <a:off x="8146625" y="4700588"/>
            <a:ext cx="514350" cy="550863"/>
          </a:xfrm>
          <a:custGeom>
            <a:avLst/>
            <a:gdLst>
              <a:gd name="T0" fmla="*/ 126 w 151"/>
              <a:gd name="T1" fmla="*/ 56 h 160"/>
              <a:gd name="T2" fmla="*/ 150 w 151"/>
              <a:gd name="T3" fmla="*/ 34 h 160"/>
              <a:gd name="T4" fmla="*/ 151 w 151"/>
              <a:gd name="T5" fmla="*/ 32 h 160"/>
              <a:gd name="T6" fmla="*/ 150 w 151"/>
              <a:gd name="T7" fmla="*/ 30 h 160"/>
              <a:gd name="T8" fmla="*/ 126 w 151"/>
              <a:gd name="T9" fmla="*/ 8 h 160"/>
              <a:gd name="T10" fmla="*/ 75 w 151"/>
              <a:gd name="T11" fmla="*/ 8 h 160"/>
              <a:gd name="T12" fmla="*/ 75 w 151"/>
              <a:gd name="T13" fmla="*/ 3 h 160"/>
              <a:gd name="T14" fmla="*/ 72 w 151"/>
              <a:gd name="T15" fmla="*/ 0 h 160"/>
              <a:gd name="T16" fmla="*/ 69 w 151"/>
              <a:gd name="T17" fmla="*/ 3 h 160"/>
              <a:gd name="T18" fmla="*/ 69 w 151"/>
              <a:gd name="T19" fmla="*/ 8 h 160"/>
              <a:gd name="T20" fmla="*/ 22 w 151"/>
              <a:gd name="T21" fmla="*/ 8 h 160"/>
              <a:gd name="T22" fmla="*/ 13 w 151"/>
              <a:gd name="T23" fmla="*/ 17 h 160"/>
              <a:gd name="T24" fmla="*/ 13 w 151"/>
              <a:gd name="T25" fmla="*/ 47 h 160"/>
              <a:gd name="T26" fmla="*/ 22 w 151"/>
              <a:gd name="T27" fmla="*/ 56 h 160"/>
              <a:gd name="T28" fmla="*/ 69 w 151"/>
              <a:gd name="T29" fmla="*/ 56 h 160"/>
              <a:gd name="T30" fmla="*/ 69 w 151"/>
              <a:gd name="T31" fmla="*/ 61 h 160"/>
              <a:gd name="T32" fmla="*/ 25 w 151"/>
              <a:gd name="T33" fmla="*/ 61 h 160"/>
              <a:gd name="T34" fmla="*/ 1 w 151"/>
              <a:gd name="T35" fmla="*/ 83 h 160"/>
              <a:gd name="T36" fmla="*/ 0 w 151"/>
              <a:gd name="T37" fmla="*/ 85 h 160"/>
              <a:gd name="T38" fmla="*/ 1 w 151"/>
              <a:gd name="T39" fmla="*/ 88 h 160"/>
              <a:gd name="T40" fmla="*/ 25 w 151"/>
              <a:gd name="T41" fmla="*/ 109 h 160"/>
              <a:gd name="T42" fmla="*/ 69 w 151"/>
              <a:gd name="T43" fmla="*/ 109 h 160"/>
              <a:gd name="T44" fmla="*/ 69 w 151"/>
              <a:gd name="T45" fmla="*/ 157 h 160"/>
              <a:gd name="T46" fmla="*/ 72 w 151"/>
              <a:gd name="T47" fmla="*/ 160 h 160"/>
              <a:gd name="T48" fmla="*/ 75 w 151"/>
              <a:gd name="T49" fmla="*/ 157 h 160"/>
              <a:gd name="T50" fmla="*/ 75 w 151"/>
              <a:gd name="T51" fmla="*/ 109 h 160"/>
              <a:gd name="T52" fmla="*/ 130 w 151"/>
              <a:gd name="T53" fmla="*/ 109 h 160"/>
              <a:gd name="T54" fmla="*/ 139 w 151"/>
              <a:gd name="T55" fmla="*/ 100 h 160"/>
              <a:gd name="T56" fmla="*/ 139 w 151"/>
              <a:gd name="T57" fmla="*/ 70 h 160"/>
              <a:gd name="T58" fmla="*/ 130 w 151"/>
              <a:gd name="T59" fmla="*/ 61 h 160"/>
              <a:gd name="T60" fmla="*/ 75 w 151"/>
              <a:gd name="T61" fmla="*/ 61 h 160"/>
              <a:gd name="T62" fmla="*/ 75 w 151"/>
              <a:gd name="T63" fmla="*/ 56 h 160"/>
              <a:gd name="T64" fmla="*/ 126 w 151"/>
              <a:gd name="T65" fmla="*/ 56 h 160"/>
              <a:gd name="T66" fmla="*/ 133 w 151"/>
              <a:gd name="T67" fmla="*/ 70 h 160"/>
              <a:gd name="T68" fmla="*/ 133 w 151"/>
              <a:gd name="T69" fmla="*/ 100 h 160"/>
              <a:gd name="T70" fmla="*/ 130 w 151"/>
              <a:gd name="T71" fmla="*/ 104 h 160"/>
              <a:gd name="T72" fmla="*/ 27 w 151"/>
              <a:gd name="T73" fmla="*/ 104 h 160"/>
              <a:gd name="T74" fmla="*/ 6 w 151"/>
              <a:gd name="T75" fmla="*/ 85 h 160"/>
              <a:gd name="T76" fmla="*/ 27 w 151"/>
              <a:gd name="T77" fmla="*/ 67 h 160"/>
              <a:gd name="T78" fmla="*/ 130 w 151"/>
              <a:gd name="T79" fmla="*/ 67 h 160"/>
              <a:gd name="T80" fmla="*/ 133 w 151"/>
              <a:gd name="T81" fmla="*/ 70 h 160"/>
              <a:gd name="T82" fmla="*/ 19 w 151"/>
              <a:gd name="T83" fmla="*/ 47 h 160"/>
              <a:gd name="T84" fmla="*/ 19 w 151"/>
              <a:gd name="T85" fmla="*/ 17 h 160"/>
              <a:gd name="T86" fmla="*/ 22 w 151"/>
              <a:gd name="T87" fmla="*/ 13 h 160"/>
              <a:gd name="T88" fmla="*/ 124 w 151"/>
              <a:gd name="T89" fmla="*/ 13 h 160"/>
              <a:gd name="T90" fmla="*/ 145 w 151"/>
              <a:gd name="T91" fmla="*/ 32 h 160"/>
              <a:gd name="T92" fmla="*/ 124 w 151"/>
              <a:gd name="T93" fmla="*/ 51 h 160"/>
              <a:gd name="T94" fmla="*/ 22 w 151"/>
              <a:gd name="T95" fmla="*/ 51 h 160"/>
              <a:gd name="T96" fmla="*/ 19 w 151"/>
              <a:gd name="T97" fmla="*/ 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60">
                <a:moveTo>
                  <a:pt x="126" y="56"/>
                </a:moveTo>
                <a:cubicBezTo>
                  <a:pt x="150" y="34"/>
                  <a:pt x="150" y="34"/>
                  <a:pt x="150" y="34"/>
                </a:cubicBezTo>
                <a:cubicBezTo>
                  <a:pt x="151" y="34"/>
                  <a:pt x="151" y="33"/>
                  <a:pt x="151" y="32"/>
                </a:cubicBezTo>
                <a:cubicBezTo>
                  <a:pt x="151" y="31"/>
                  <a:pt x="151" y="30"/>
                  <a:pt x="150" y="30"/>
                </a:cubicBezTo>
                <a:cubicBezTo>
                  <a:pt x="126" y="8"/>
                  <a:pt x="126" y="8"/>
                  <a:pt x="126" y="8"/>
                </a:cubicBezTo>
                <a:cubicBezTo>
                  <a:pt x="75" y="8"/>
                  <a:pt x="75" y="8"/>
                  <a:pt x="75" y="8"/>
                </a:cubicBezTo>
                <a:cubicBezTo>
                  <a:pt x="75" y="3"/>
                  <a:pt x="75" y="3"/>
                  <a:pt x="75" y="3"/>
                </a:cubicBezTo>
                <a:cubicBezTo>
                  <a:pt x="75" y="1"/>
                  <a:pt x="73" y="0"/>
                  <a:pt x="72" y="0"/>
                </a:cubicBezTo>
                <a:cubicBezTo>
                  <a:pt x="71" y="0"/>
                  <a:pt x="69" y="1"/>
                  <a:pt x="69" y="3"/>
                </a:cubicBezTo>
                <a:cubicBezTo>
                  <a:pt x="69" y="8"/>
                  <a:pt x="69" y="8"/>
                  <a:pt x="69" y="8"/>
                </a:cubicBezTo>
                <a:cubicBezTo>
                  <a:pt x="22" y="8"/>
                  <a:pt x="22" y="8"/>
                  <a:pt x="22" y="8"/>
                </a:cubicBezTo>
                <a:cubicBezTo>
                  <a:pt x="17" y="8"/>
                  <a:pt x="13" y="12"/>
                  <a:pt x="13" y="17"/>
                </a:cubicBezTo>
                <a:cubicBezTo>
                  <a:pt x="13" y="47"/>
                  <a:pt x="13" y="47"/>
                  <a:pt x="13" y="47"/>
                </a:cubicBezTo>
                <a:cubicBezTo>
                  <a:pt x="13" y="52"/>
                  <a:pt x="17" y="56"/>
                  <a:pt x="22" y="56"/>
                </a:cubicBezTo>
                <a:cubicBezTo>
                  <a:pt x="69" y="56"/>
                  <a:pt x="69" y="56"/>
                  <a:pt x="69" y="56"/>
                </a:cubicBezTo>
                <a:cubicBezTo>
                  <a:pt x="69" y="61"/>
                  <a:pt x="69" y="61"/>
                  <a:pt x="69" y="61"/>
                </a:cubicBezTo>
                <a:cubicBezTo>
                  <a:pt x="25" y="61"/>
                  <a:pt x="25" y="61"/>
                  <a:pt x="25" y="61"/>
                </a:cubicBezTo>
                <a:cubicBezTo>
                  <a:pt x="1" y="83"/>
                  <a:pt x="1" y="83"/>
                  <a:pt x="1" y="83"/>
                </a:cubicBezTo>
                <a:cubicBezTo>
                  <a:pt x="0" y="84"/>
                  <a:pt x="0" y="84"/>
                  <a:pt x="0" y="85"/>
                </a:cubicBezTo>
                <a:cubicBezTo>
                  <a:pt x="0" y="86"/>
                  <a:pt x="0" y="87"/>
                  <a:pt x="1" y="88"/>
                </a:cubicBezTo>
                <a:cubicBezTo>
                  <a:pt x="25" y="109"/>
                  <a:pt x="25" y="109"/>
                  <a:pt x="25" y="109"/>
                </a:cubicBezTo>
                <a:cubicBezTo>
                  <a:pt x="69" y="109"/>
                  <a:pt x="69" y="109"/>
                  <a:pt x="69" y="109"/>
                </a:cubicBezTo>
                <a:cubicBezTo>
                  <a:pt x="69" y="157"/>
                  <a:pt x="69" y="157"/>
                  <a:pt x="69" y="157"/>
                </a:cubicBezTo>
                <a:cubicBezTo>
                  <a:pt x="69" y="159"/>
                  <a:pt x="71" y="160"/>
                  <a:pt x="72" y="160"/>
                </a:cubicBezTo>
                <a:cubicBezTo>
                  <a:pt x="73" y="160"/>
                  <a:pt x="75" y="159"/>
                  <a:pt x="75" y="157"/>
                </a:cubicBezTo>
                <a:cubicBezTo>
                  <a:pt x="75" y="109"/>
                  <a:pt x="75" y="109"/>
                  <a:pt x="75" y="109"/>
                </a:cubicBezTo>
                <a:cubicBezTo>
                  <a:pt x="130" y="109"/>
                  <a:pt x="130" y="109"/>
                  <a:pt x="130" y="109"/>
                </a:cubicBezTo>
                <a:cubicBezTo>
                  <a:pt x="135" y="109"/>
                  <a:pt x="139" y="105"/>
                  <a:pt x="139" y="100"/>
                </a:cubicBezTo>
                <a:cubicBezTo>
                  <a:pt x="139" y="70"/>
                  <a:pt x="139" y="70"/>
                  <a:pt x="139" y="70"/>
                </a:cubicBezTo>
                <a:cubicBezTo>
                  <a:pt x="139" y="65"/>
                  <a:pt x="135" y="61"/>
                  <a:pt x="130" y="61"/>
                </a:cubicBezTo>
                <a:cubicBezTo>
                  <a:pt x="75" y="61"/>
                  <a:pt x="75" y="61"/>
                  <a:pt x="75" y="61"/>
                </a:cubicBezTo>
                <a:cubicBezTo>
                  <a:pt x="75" y="56"/>
                  <a:pt x="75" y="56"/>
                  <a:pt x="75" y="56"/>
                </a:cubicBezTo>
                <a:lnTo>
                  <a:pt x="126" y="56"/>
                </a:lnTo>
                <a:close/>
                <a:moveTo>
                  <a:pt x="133" y="70"/>
                </a:moveTo>
                <a:cubicBezTo>
                  <a:pt x="133" y="100"/>
                  <a:pt x="133" y="100"/>
                  <a:pt x="133" y="100"/>
                </a:cubicBezTo>
                <a:cubicBezTo>
                  <a:pt x="133" y="102"/>
                  <a:pt x="132" y="104"/>
                  <a:pt x="130" y="104"/>
                </a:cubicBezTo>
                <a:cubicBezTo>
                  <a:pt x="27" y="104"/>
                  <a:pt x="27" y="104"/>
                  <a:pt x="27" y="104"/>
                </a:cubicBezTo>
                <a:cubicBezTo>
                  <a:pt x="6" y="85"/>
                  <a:pt x="6" y="85"/>
                  <a:pt x="6" y="85"/>
                </a:cubicBezTo>
                <a:cubicBezTo>
                  <a:pt x="27" y="67"/>
                  <a:pt x="27" y="67"/>
                  <a:pt x="27" y="67"/>
                </a:cubicBezTo>
                <a:cubicBezTo>
                  <a:pt x="130" y="67"/>
                  <a:pt x="130" y="67"/>
                  <a:pt x="130" y="67"/>
                </a:cubicBezTo>
                <a:cubicBezTo>
                  <a:pt x="132" y="67"/>
                  <a:pt x="133" y="68"/>
                  <a:pt x="133" y="70"/>
                </a:cubicBezTo>
                <a:close/>
                <a:moveTo>
                  <a:pt x="19" y="47"/>
                </a:moveTo>
                <a:cubicBezTo>
                  <a:pt x="19" y="17"/>
                  <a:pt x="19" y="17"/>
                  <a:pt x="19" y="17"/>
                </a:cubicBezTo>
                <a:cubicBezTo>
                  <a:pt x="19" y="15"/>
                  <a:pt x="20" y="13"/>
                  <a:pt x="22" y="13"/>
                </a:cubicBezTo>
                <a:cubicBezTo>
                  <a:pt x="124" y="13"/>
                  <a:pt x="124" y="13"/>
                  <a:pt x="124" y="13"/>
                </a:cubicBezTo>
                <a:cubicBezTo>
                  <a:pt x="145" y="32"/>
                  <a:pt x="145" y="32"/>
                  <a:pt x="145" y="32"/>
                </a:cubicBezTo>
                <a:cubicBezTo>
                  <a:pt x="124" y="51"/>
                  <a:pt x="124" y="51"/>
                  <a:pt x="124" y="51"/>
                </a:cubicBezTo>
                <a:cubicBezTo>
                  <a:pt x="22" y="51"/>
                  <a:pt x="22" y="51"/>
                  <a:pt x="22" y="51"/>
                </a:cubicBezTo>
                <a:cubicBezTo>
                  <a:pt x="20" y="51"/>
                  <a:pt x="19" y="49"/>
                  <a:pt x="19" y="4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71" name="Freeform 1373">
            <a:extLst>
              <a:ext uri="{FF2B5EF4-FFF2-40B4-BE49-F238E27FC236}">
                <a16:creationId xmlns:a16="http://schemas.microsoft.com/office/drawing/2014/main" id="{FC3CAD1F-28AE-8D4A-AD22-C9C71FAC88BB}"/>
              </a:ext>
            </a:extLst>
          </p:cNvPr>
          <p:cNvSpPr>
            <a:spLocks noEditPoints="1"/>
          </p:cNvSpPr>
          <p:nvPr/>
        </p:nvSpPr>
        <p:spPr bwMode="auto">
          <a:xfrm>
            <a:off x="8132337" y="5319713"/>
            <a:ext cx="546100" cy="533400"/>
          </a:xfrm>
          <a:custGeom>
            <a:avLst/>
            <a:gdLst>
              <a:gd name="T0" fmla="*/ 159 w 160"/>
              <a:gd name="T1" fmla="*/ 39 h 155"/>
              <a:gd name="T2" fmla="*/ 131 w 160"/>
              <a:gd name="T3" fmla="*/ 14 h 155"/>
              <a:gd name="T4" fmla="*/ 72 w 160"/>
              <a:gd name="T5" fmla="*/ 14 h 155"/>
              <a:gd name="T6" fmla="*/ 72 w 160"/>
              <a:gd name="T7" fmla="*/ 3 h 155"/>
              <a:gd name="T8" fmla="*/ 69 w 160"/>
              <a:gd name="T9" fmla="*/ 0 h 155"/>
              <a:gd name="T10" fmla="*/ 66 w 160"/>
              <a:gd name="T11" fmla="*/ 3 h 155"/>
              <a:gd name="T12" fmla="*/ 66 w 160"/>
              <a:gd name="T13" fmla="*/ 14 h 155"/>
              <a:gd name="T14" fmla="*/ 0 w 160"/>
              <a:gd name="T15" fmla="*/ 14 h 155"/>
              <a:gd name="T16" fmla="*/ 0 w 160"/>
              <a:gd name="T17" fmla="*/ 69 h 155"/>
              <a:gd name="T18" fmla="*/ 66 w 160"/>
              <a:gd name="T19" fmla="*/ 69 h 155"/>
              <a:gd name="T20" fmla="*/ 66 w 160"/>
              <a:gd name="T21" fmla="*/ 152 h 155"/>
              <a:gd name="T22" fmla="*/ 69 w 160"/>
              <a:gd name="T23" fmla="*/ 155 h 155"/>
              <a:gd name="T24" fmla="*/ 72 w 160"/>
              <a:gd name="T25" fmla="*/ 152 h 155"/>
              <a:gd name="T26" fmla="*/ 72 w 160"/>
              <a:gd name="T27" fmla="*/ 69 h 155"/>
              <a:gd name="T28" fmla="*/ 131 w 160"/>
              <a:gd name="T29" fmla="*/ 69 h 155"/>
              <a:gd name="T30" fmla="*/ 159 w 160"/>
              <a:gd name="T31" fmla="*/ 44 h 155"/>
              <a:gd name="T32" fmla="*/ 160 w 160"/>
              <a:gd name="T33" fmla="*/ 41 h 155"/>
              <a:gd name="T34" fmla="*/ 159 w 160"/>
              <a:gd name="T35" fmla="*/ 39 h 155"/>
              <a:gd name="T36" fmla="*/ 129 w 160"/>
              <a:gd name="T37" fmla="*/ 64 h 155"/>
              <a:gd name="T38" fmla="*/ 6 w 160"/>
              <a:gd name="T39" fmla="*/ 64 h 155"/>
              <a:gd name="T40" fmla="*/ 6 w 160"/>
              <a:gd name="T41" fmla="*/ 19 h 155"/>
              <a:gd name="T42" fmla="*/ 129 w 160"/>
              <a:gd name="T43" fmla="*/ 19 h 155"/>
              <a:gd name="T44" fmla="*/ 153 w 160"/>
              <a:gd name="T45" fmla="*/ 41 h 155"/>
              <a:gd name="T46" fmla="*/ 129 w 160"/>
              <a:gd name="T47"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155">
                <a:moveTo>
                  <a:pt x="159" y="39"/>
                </a:moveTo>
                <a:cubicBezTo>
                  <a:pt x="131" y="14"/>
                  <a:pt x="131" y="14"/>
                  <a:pt x="131" y="14"/>
                </a:cubicBezTo>
                <a:cubicBezTo>
                  <a:pt x="72" y="14"/>
                  <a:pt x="72" y="14"/>
                  <a:pt x="72" y="14"/>
                </a:cubicBezTo>
                <a:cubicBezTo>
                  <a:pt x="72" y="3"/>
                  <a:pt x="72" y="3"/>
                  <a:pt x="72" y="3"/>
                </a:cubicBezTo>
                <a:cubicBezTo>
                  <a:pt x="72" y="1"/>
                  <a:pt x="71" y="0"/>
                  <a:pt x="69" y="0"/>
                </a:cubicBezTo>
                <a:cubicBezTo>
                  <a:pt x="68" y="0"/>
                  <a:pt x="66" y="1"/>
                  <a:pt x="66" y="3"/>
                </a:cubicBezTo>
                <a:cubicBezTo>
                  <a:pt x="66" y="14"/>
                  <a:pt x="66" y="14"/>
                  <a:pt x="66" y="14"/>
                </a:cubicBezTo>
                <a:cubicBezTo>
                  <a:pt x="0" y="14"/>
                  <a:pt x="0" y="14"/>
                  <a:pt x="0" y="14"/>
                </a:cubicBezTo>
                <a:cubicBezTo>
                  <a:pt x="0" y="69"/>
                  <a:pt x="0" y="69"/>
                  <a:pt x="0" y="69"/>
                </a:cubicBezTo>
                <a:cubicBezTo>
                  <a:pt x="66" y="69"/>
                  <a:pt x="66" y="69"/>
                  <a:pt x="66" y="69"/>
                </a:cubicBezTo>
                <a:cubicBezTo>
                  <a:pt x="66" y="152"/>
                  <a:pt x="66" y="152"/>
                  <a:pt x="66" y="152"/>
                </a:cubicBezTo>
                <a:cubicBezTo>
                  <a:pt x="66" y="154"/>
                  <a:pt x="68" y="155"/>
                  <a:pt x="69" y="155"/>
                </a:cubicBezTo>
                <a:cubicBezTo>
                  <a:pt x="71" y="155"/>
                  <a:pt x="72" y="154"/>
                  <a:pt x="72" y="152"/>
                </a:cubicBezTo>
                <a:cubicBezTo>
                  <a:pt x="72" y="69"/>
                  <a:pt x="72" y="69"/>
                  <a:pt x="72" y="69"/>
                </a:cubicBezTo>
                <a:cubicBezTo>
                  <a:pt x="131" y="69"/>
                  <a:pt x="131" y="69"/>
                  <a:pt x="131" y="69"/>
                </a:cubicBezTo>
                <a:cubicBezTo>
                  <a:pt x="159" y="44"/>
                  <a:pt x="159" y="44"/>
                  <a:pt x="159" y="44"/>
                </a:cubicBezTo>
                <a:cubicBezTo>
                  <a:pt x="160" y="43"/>
                  <a:pt x="160" y="42"/>
                  <a:pt x="160" y="41"/>
                </a:cubicBezTo>
                <a:cubicBezTo>
                  <a:pt x="160" y="40"/>
                  <a:pt x="160" y="40"/>
                  <a:pt x="159" y="39"/>
                </a:cubicBezTo>
                <a:close/>
                <a:moveTo>
                  <a:pt x="129" y="64"/>
                </a:moveTo>
                <a:cubicBezTo>
                  <a:pt x="6" y="64"/>
                  <a:pt x="6" y="64"/>
                  <a:pt x="6" y="64"/>
                </a:cubicBezTo>
                <a:cubicBezTo>
                  <a:pt x="6" y="19"/>
                  <a:pt x="6" y="19"/>
                  <a:pt x="6" y="19"/>
                </a:cubicBezTo>
                <a:cubicBezTo>
                  <a:pt x="129" y="19"/>
                  <a:pt x="129" y="19"/>
                  <a:pt x="129" y="19"/>
                </a:cubicBezTo>
                <a:cubicBezTo>
                  <a:pt x="153" y="41"/>
                  <a:pt x="153" y="41"/>
                  <a:pt x="153" y="41"/>
                </a:cubicBezTo>
                <a:lnTo>
                  <a:pt x="129" y="6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72" name="Freeform 1374">
            <a:extLst>
              <a:ext uri="{FF2B5EF4-FFF2-40B4-BE49-F238E27FC236}">
                <a16:creationId xmlns:a16="http://schemas.microsoft.com/office/drawing/2014/main" id="{085C63B9-C937-724B-8908-D75D868881CE}"/>
              </a:ext>
            </a:extLst>
          </p:cNvPr>
          <p:cNvSpPr>
            <a:spLocks noEditPoints="1"/>
          </p:cNvSpPr>
          <p:nvPr/>
        </p:nvSpPr>
        <p:spPr bwMode="auto">
          <a:xfrm>
            <a:off x="8132337" y="5938838"/>
            <a:ext cx="546100" cy="550863"/>
          </a:xfrm>
          <a:custGeom>
            <a:avLst/>
            <a:gdLst>
              <a:gd name="T0" fmla="*/ 100 w 160"/>
              <a:gd name="T1" fmla="*/ 78 h 160"/>
              <a:gd name="T2" fmla="*/ 42 w 160"/>
              <a:gd name="T3" fmla="*/ 38 h 160"/>
              <a:gd name="T4" fmla="*/ 39 w 160"/>
              <a:gd name="T5" fmla="*/ 38 h 160"/>
              <a:gd name="T6" fmla="*/ 37 w 160"/>
              <a:gd name="T7" fmla="*/ 40 h 160"/>
              <a:gd name="T8" fmla="*/ 37 w 160"/>
              <a:gd name="T9" fmla="*/ 120 h 160"/>
              <a:gd name="T10" fmla="*/ 39 w 160"/>
              <a:gd name="T11" fmla="*/ 122 h 160"/>
              <a:gd name="T12" fmla="*/ 40 w 160"/>
              <a:gd name="T13" fmla="*/ 123 h 160"/>
              <a:gd name="T14" fmla="*/ 42 w 160"/>
              <a:gd name="T15" fmla="*/ 122 h 160"/>
              <a:gd name="T16" fmla="*/ 100 w 160"/>
              <a:gd name="T17" fmla="*/ 82 h 160"/>
              <a:gd name="T18" fmla="*/ 101 w 160"/>
              <a:gd name="T19" fmla="*/ 80 h 160"/>
              <a:gd name="T20" fmla="*/ 100 w 160"/>
              <a:gd name="T21" fmla="*/ 78 h 160"/>
              <a:gd name="T22" fmla="*/ 43 w 160"/>
              <a:gd name="T23" fmla="*/ 115 h 160"/>
              <a:gd name="T24" fmla="*/ 43 w 160"/>
              <a:gd name="T25" fmla="*/ 45 h 160"/>
              <a:gd name="T26" fmla="*/ 94 w 160"/>
              <a:gd name="T27" fmla="*/ 80 h 160"/>
              <a:gd name="T28" fmla="*/ 43 w 160"/>
              <a:gd name="T29" fmla="*/ 115 h 160"/>
              <a:gd name="T30" fmla="*/ 80 w 160"/>
              <a:gd name="T31" fmla="*/ 0 h 160"/>
              <a:gd name="T32" fmla="*/ 0 w 160"/>
              <a:gd name="T33" fmla="*/ 80 h 160"/>
              <a:gd name="T34" fmla="*/ 80 w 160"/>
              <a:gd name="T35" fmla="*/ 160 h 160"/>
              <a:gd name="T36" fmla="*/ 160 w 160"/>
              <a:gd name="T37" fmla="*/ 80 h 160"/>
              <a:gd name="T38" fmla="*/ 80 w 160"/>
              <a:gd name="T39" fmla="*/ 0 h 160"/>
              <a:gd name="T40" fmla="*/ 80 w 160"/>
              <a:gd name="T41" fmla="*/ 155 h 160"/>
              <a:gd name="T42" fmla="*/ 5 w 160"/>
              <a:gd name="T43" fmla="*/ 80 h 160"/>
              <a:gd name="T44" fmla="*/ 80 w 160"/>
              <a:gd name="T45" fmla="*/ 5 h 160"/>
              <a:gd name="T46" fmla="*/ 155 w 160"/>
              <a:gd name="T47" fmla="*/ 80 h 160"/>
              <a:gd name="T48" fmla="*/ 80 w 160"/>
              <a:gd name="T49" fmla="*/ 155 h 160"/>
              <a:gd name="T50" fmla="*/ 107 w 160"/>
              <a:gd name="T51" fmla="*/ 123 h 160"/>
              <a:gd name="T52" fmla="*/ 125 w 160"/>
              <a:gd name="T53" fmla="*/ 123 h 160"/>
              <a:gd name="T54" fmla="*/ 125 w 160"/>
              <a:gd name="T55" fmla="*/ 37 h 160"/>
              <a:gd name="T56" fmla="*/ 107 w 160"/>
              <a:gd name="T57" fmla="*/ 37 h 160"/>
              <a:gd name="T58" fmla="*/ 107 w 160"/>
              <a:gd name="T59" fmla="*/ 123 h 160"/>
              <a:gd name="T60" fmla="*/ 112 w 160"/>
              <a:gd name="T61" fmla="*/ 43 h 160"/>
              <a:gd name="T62" fmla="*/ 120 w 160"/>
              <a:gd name="T63" fmla="*/ 43 h 160"/>
              <a:gd name="T64" fmla="*/ 120 w 160"/>
              <a:gd name="T65" fmla="*/ 117 h 160"/>
              <a:gd name="T66" fmla="*/ 112 w 160"/>
              <a:gd name="T67" fmla="*/ 117 h 160"/>
              <a:gd name="T68" fmla="*/ 112 w 160"/>
              <a:gd name="T69"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100" y="78"/>
                </a:moveTo>
                <a:cubicBezTo>
                  <a:pt x="42" y="38"/>
                  <a:pt x="42" y="38"/>
                  <a:pt x="42" y="38"/>
                </a:cubicBezTo>
                <a:cubicBezTo>
                  <a:pt x="41" y="37"/>
                  <a:pt x="40" y="37"/>
                  <a:pt x="39" y="38"/>
                </a:cubicBezTo>
                <a:cubicBezTo>
                  <a:pt x="38" y="38"/>
                  <a:pt x="37" y="39"/>
                  <a:pt x="37" y="40"/>
                </a:cubicBezTo>
                <a:cubicBezTo>
                  <a:pt x="37" y="120"/>
                  <a:pt x="37" y="120"/>
                  <a:pt x="37" y="120"/>
                </a:cubicBezTo>
                <a:cubicBezTo>
                  <a:pt x="37" y="121"/>
                  <a:pt x="38" y="122"/>
                  <a:pt x="39" y="122"/>
                </a:cubicBezTo>
                <a:cubicBezTo>
                  <a:pt x="39" y="123"/>
                  <a:pt x="40" y="123"/>
                  <a:pt x="40" y="123"/>
                </a:cubicBezTo>
                <a:cubicBezTo>
                  <a:pt x="41" y="123"/>
                  <a:pt x="41" y="123"/>
                  <a:pt x="42" y="122"/>
                </a:cubicBezTo>
                <a:cubicBezTo>
                  <a:pt x="100" y="82"/>
                  <a:pt x="100" y="82"/>
                  <a:pt x="100" y="82"/>
                </a:cubicBezTo>
                <a:cubicBezTo>
                  <a:pt x="101" y="82"/>
                  <a:pt x="101" y="81"/>
                  <a:pt x="101" y="80"/>
                </a:cubicBezTo>
                <a:cubicBezTo>
                  <a:pt x="101" y="79"/>
                  <a:pt x="101" y="78"/>
                  <a:pt x="100" y="78"/>
                </a:cubicBezTo>
                <a:close/>
                <a:moveTo>
                  <a:pt x="43" y="115"/>
                </a:moveTo>
                <a:cubicBezTo>
                  <a:pt x="43" y="45"/>
                  <a:pt x="43" y="45"/>
                  <a:pt x="43" y="45"/>
                </a:cubicBezTo>
                <a:cubicBezTo>
                  <a:pt x="94" y="80"/>
                  <a:pt x="94" y="80"/>
                  <a:pt x="94" y="80"/>
                </a:cubicBezTo>
                <a:lnTo>
                  <a:pt x="43" y="115"/>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107" y="123"/>
                </a:moveTo>
                <a:cubicBezTo>
                  <a:pt x="125" y="123"/>
                  <a:pt x="125" y="123"/>
                  <a:pt x="125" y="123"/>
                </a:cubicBezTo>
                <a:cubicBezTo>
                  <a:pt x="125" y="37"/>
                  <a:pt x="125" y="37"/>
                  <a:pt x="125" y="37"/>
                </a:cubicBezTo>
                <a:cubicBezTo>
                  <a:pt x="107" y="37"/>
                  <a:pt x="107" y="37"/>
                  <a:pt x="107" y="37"/>
                </a:cubicBezTo>
                <a:lnTo>
                  <a:pt x="107" y="123"/>
                </a:lnTo>
                <a:close/>
                <a:moveTo>
                  <a:pt x="112" y="43"/>
                </a:moveTo>
                <a:cubicBezTo>
                  <a:pt x="120" y="43"/>
                  <a:pt x="120" y="43"/>
                  <a:pt x="120" y="43"/>
                </a:cubicBezTo>
                <a:cubicBezTo>
                  <a:pt x="120" y="117"/>
                  <a:pt x="120" y="117"/>
                  <a:pt x="120" y="117"/>
                </a:cubicBezTo>
                <a:cubicBezTo>
                  <a:pt x="112" y="117"/>
                  <a:pt x="112" y="117"/>
                  <a:pt x="112" y="117"/>
                </a:cubicBezTo>
                <a:lnTo>
                  <a:pt x="112" y="4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73" name="Freeform 1375">
            <a:extLst>
              <a:ext uri="{FF2B5EF4-FFF2-40B4-BE49-F238E27FC236}">
                <a16:creationId xmlns:a16="http://schemas.microsoft.com/office/drawing/2014/main" id="{75D9072C-6C35-8042-8457-0CA3A0DD8384}"/>
              </a:ext>
            </a:extLst>
          </p:cNvPr>
          <p:cNvSpPr>
            <a:spLocks noEditPoints="1"/>
          </p:cNvSpPr>
          <p:nvPr/>
        </p:nvSpPr>
        <p:spPr bwMode="auto">
          <a:xfrm>
            <a:off x="11056782" y="3444875"/>
            <a:ext cx="309563" cy="550863"/>
          </a:xfrm>
          <a:custGeom>
            <a:avLst/>
            <a:gdLst>
              <a:gd name="T0" fmla="*/ 0 w 91"/>
              <a:gd name="T1" fmla="*/ 12 h 160"/>
              <a:gd name="T2" fmla="*/ 79 w 91"/>
              <a:gd name="T3" fmla="*/ 160 h 160"/>
              <a:gd name="T4" fmla="*/ 79 w 91"/>
              <a:gd name="T5" fmla="*/ 0 h 160"/>
              <a:gd name="T6" fmla="*/ 85 w 91"/>
              <a:gd name="T7" fmla="*/ 123 h 160"/>
              <a:gd name="T8" fmla="*/ 12 w 91"/>
              <a:gd name="T9" fmla="*/ 5 h 160"/>
              <a:gd name="T10" fmla="*/ 85 w 91"/>
              <a:gd name="T11" fmla="*/ 16 h 160"/>
              <a:gd name="T12" fmla="*/ 12 w 91"/>
              <a:gd name="T13" fmla="*/ 5 h 160"/>
              <a:gd name="T14" fmla="*/ 5 w 91"/>
              <a:gd name="T15" fmla="*/ 148 h 160"/>
              <a:gd name="T16" fmla="*/ 85 w 91"/>
              <a:gd name="T17" fmla="*/ 148 h 160"/>
              <a:gd name="T18" fmla="*/ 35 w 91"/>
              <a:gd name="T19" fmla="*/ 141 h 160"/>
              <a:gd name="T20" fmla="*/ 45 w 91"/>
              <a:gd name="T21" fmla="*/ 131 h 160"/>
              <a:gd name="T22" fmla="*/ 45 w 91"/>
              <a:gd name="T23" fmla="*/ 136 h 160"/>
              <a:gd name="T24" fmla="*/ 32 w 91"/>
              <a:gd name="T25" fmla="*/ 11 h 160"/>
              <a:gd name="T26" fmla="*/ 48 w 91"/>
              <a:gd name="T27" fmla="*/ 11 h 160"/>
              <a:gd name="T28" fmla="*/ 32 w 91"/>
              <a:gd name="T29" fmla="*/ 11 h 160"/>
              <a:gd name="T30" fmla="*/ 56 w 91"/>
              <a:gd name="T31" fmla="*/ 8 h 160"/>
              <a:gd name="T32" fmla="*/ 53 w 91"/>
              <a:gd name="T33" fmla="*/ 13 h 160"/>
              <a:gd name="T34" fmla="*/ 40 w 91"/>
              <a:gd name="T35" fmla="*/ 29 h 160"/>
              <a:gd name="T36" fmla="*/ 40 w 91"/>
              <a:gd name="T37" fmla="*/ 51 h 160"/>
              <a:gd name="T38" fmla="*/ 56 w 91"/>
              <a:gd name="T39" fmla="*/ 35 h 160"/>
              <a:gd name="T40" fmla="*/ 51 w 91"/>
              <a:gd name="T41" fmla="*/ 45 h 160"/>
              <a:gd name="T42" fmla="*/ 51 w 91"/>
              <a:gd name="T43" fmla="*/ 35 h 160"/>
              <a:gd name="T44" fmla="*/ 16 w 91"/>
              <a:gd name="T45" fmla="*/ 29 h 160"/>
              <a:gd name="T46" fmla="*/ 16 w 91"/>
              <a:gd name="T47" fmla="*/ 51 h 160"/>
              <a:gd name="T48" fmla="*/ 32 w 91"/>
              <a:gd name="T49" fmla="*/ 35 h 160"/>
              <a:gd name="T50" fmla="*/ 27 w 91"/>
              <a:gd name="T51" fmla="*/ 45 h 160"/>
              <a:gd name="T52" fmla="*/ 27 w 91"/>
              <a:gd name="T53" fmla="*/ 35 h 160"/>
              <a:gd name="T54" fmla="*/ 64 w 91"/>
              <a:gd name="T55" fmla="*/ 29 h 160"/>
              <a:gd name="T56" fmla="*/ 64 w 91"/>
              <a:gd name="T57" fmla="*/ 51 h 160"/>
              <a:gd name="T58" fmla="*/ 80 w 91"/>
              <a:gd name="T59" fmla="*/ 35 h 160"/>
              <a:gd name="T60" fmla="*/ 75 w 91"/>
              <a:gd name="T61" fmla="*/ 45 h 160"/>
              <a:gd name="T62" fmla="*/ 75 w 91"/>
              <a:gd name="T63" fmla="*/ 35 h 160"/>
              <a:gd name="T64" fmla="*/ 40 w 91"/>
              <a:gd name="T65" fmla="*/ 53 h 160"/>
              <a:gd name="T66" fmla="*/ 40 w 91"/>
              <a:gd name="T67" fmla="*/ 75 h 160"/>
              <a:gd name="T68" fmla="*/ 56 w 91"/>
              <a:gd name="T69" fmla="*/ 59 h 160"/>
              <a:gd name="T70" fmla="*/ 51 w 91"/>
              <a:gd name="T71" fmla="*/ 69 h 160"/>
              <a:gd name="T72" fmla="*/ 51 w 91"/>
              <a:gd name="T73" fmla="*/ 59 h 160"/>
              <a:gd name="T74" fmla="*/ 16 w 91"/>
              <a:gd name="T75" fmla="*/ 53 h 160"/>
              <a:gd name="T76" fmla="*/ 16 w 91"/>
              <a:gd name="T77" fmla="*/ 75 h 160"/>
              <a:gd name="T78" fmla="*/ 32 w 91"/>
              <a:gd name="T79" fmla="*/ 59 h 160"/>
              <a:gd name="T80" fmla="*/ 27 w 91"/>
              <a:gd name="T81" fmla="*/ 69 h 160"/>
              <a:gd name="T82" fmla="*/ 27 w 91"/>
              <a:gd name="T83" fmla="*/ 59 h 160"/>
              <a:gd name="T84" fmla="*/ 64 w 91"/>
              <a:gd name="T85" fmla="*/ 53 h 160"/>
              <a:gd name="T86" fmla="*/ 64 w 91"/>
              <a:gd name="T87" fmla="*/ 75 h 160"/>
              <a:gd name="T88" fmla="*/ 80 w 91"/>
              <a:gd name="T89" fmla="*/ 59 h 160"/>
              <a:gd name="T90" fmla="*/ 75 w 91"/>
              <a:gd name="T91" fmla="*/ 69 h 160"/>
              <a:gd name="T92" fmla="*/ 75 w 91"/>
              <a:gd name="T93" fmla="*/ 59 h 160"/>
              <a:gd name="T94" fmla="*/ 40 w 91"/>
              <a:gd name="T95" fmla="*/ 77 h 160"/>
              <a:gd name="T96" fmla="*/ 40 w 91"/>
              <a:gd name="T97" fmla="*/ 99 h 160"/>
              <a:gd name="T98" fmla="*/ 56 w 91"/>
              <a:gd name="T99" fmla="*/ 83 h 160"/>
              <a:gd name="T100" fmla="*/ 51 w 91"/>
              <a:gd name="T101" fmla="*/ 93 h 160"/>
              <a:gd name="T102" fmla="*/ 51 w 91"/>
              <a:gd name="T103" fmla="*/ 83 h 160"/>
              <a:gd name="T104" fmla="*/ 16 w 91"/>
              <a:gd name="T105" fmla="*/ 77 h 160"/>
              <a:gd name="T106" fmla="*/ 16 w 91"/>
              <a:gd name="T107" fmla="*/ 99 h 160"/>
              <a:gd name="T108" fmla="*/ 32 w 91"/>
              <a:gd name="T109" fmla="*/ 83 h 160"/>
              <a:gd name="T110" fmla="*/ 27 w 91"/>
              <a:gd name="T111" fmla="*/ 93 h 160"/>
              <a:gd name="T112" fmla="*/ 27 w 91"/>
              <a:gd name="T113" fmla="*/ 83 h 160"/>
              <a:gd name="T114" fmla="*/ 64 w 91"/>
              <a:gd name="T115" fmla="*/ 77 h 160"/>
              <a:gd name="T116" fmla="*/ 64 w 91"/>
              <a:gd name="T117" fmla="*/ 99 h 160"/>
              <a:gd name="T118" fmla="*/ 80 w 91"/>
              <a:gd name="T119" fmla="*/ 83 h 160"/>
              <a:gd name="T120" fmla="*/ 75 w 91"/>
              <a:gd name="T121" fmla="*/ 93 h 160"/>
              <a:gd name="T122" fmla="*/ 75 w 91"/>
              <a:gd name="T123" fmla="*/ 8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 h="160">
                <a:moveTo>
                  <a:pt x="79" y="0"/>
                </a:move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12"/>
                  <a:pt x="91" y="12"/>
                  <a:pt x="91" y="12"/>
                </a:cubicBezTo>
                <a:cubicBezTo>
                  <a:pt x="91" y="5"/>
                  <a:pt x="85" y="0"/>
                  <a:pt x="79" y="0"/>
                </a:cubicBezTo>
                <a:close/>
                <a:moveTo>
                  <a:pt x="5" y="21"/>
                </a:moveTo>
                <a:cubicBezTo>
                  <a:pt x="85" y="21"/>
                  <a:pt x="85" y="21"/>
                  <a:pt x="85" y="21"/>
                </a:cubicBezTo>
                <a:cubicBezTo>
                  <a:pt x="85" y="123"/>
                  <a:pt x="85" y="123"/>
                  <a:pt x="85" y="123"/>
                </a:cubicBezTo>
                <a:cubicBezTo>
                  <a:pt x="5" y="123"/>
                  <a:pt x="5" y="123"/>
                  <a:pt x="5" y="123"/>
                </a:cubicBezTo>
                <a:lnTo>
                  <a:pt x="5" y="21"/>
                </a:ln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51" y="29"/>
                </a:moveTo>
                <a:cubicBezTo>
                  <a:pt x="40" y="29"/>
                  <a:pt x="40" y="29"/>
                  <a:pt x="40" y="29"/>
                </a:cubicBezTo>
                <a:cubicBezTo>
                  <a:pt x="37" y="29"/>
                  <a:pt x="35" y="32"/>
                  <a:pt x="35" y="35"/>
                </a:cubicBezTo>
                <a:cubicBezTo>
                  <a:pt x="35" y="45"/>
                  <a:pt x="35" y="45"/>
                  <a:pt x="35" y="45"/>
                </a:cubicBezTo>
                <a:cubicBezTo>
                  <a:pt x="35" y="48"/>
                  <a:pt x="37" y="51"/>
                  <a:pt x="40" y="51"/>
                </a:cubicBezTo>
                <a:cubicBezTo>
                  <a:pt x="51" y="51"/>
                  <a:pt x="51" y="51"/>
                  <a:pt x="51" y="51"/>
                </a:cubicBezTo>
                <a:cubicBezTo>
                  <a:pt x="54" y="51"/>
                  <a:pt x="56" y="48"/>
                  <a:pt x="56" y="45"/>
                </a:cubicBezTo>
                <a:cubicBezTo>
                  <a:pt x="56" y="35"/>
                  <a:pt x="56" y="35"/>
                  <a:pt x="56" y="35"/>
                </a:cubicBezTo>
                <a:cubicBezTo>
                  <a:pt x="56" y="32"/>
                  <a:pt x="54" y="29"/>
                  <a:pt x="51" y="29"/>
                </a:cubicBezTo>
                <a:close/>
                <a:moveTo>
                  <a:pt x="51" y="45"/>
                </a:moveTo>
                <a:cubicBezTo>
                  <a:pt x="51" y="45"/>
                  <a:pt x="51" y="45"/>
                  <a:pt x="51" y="45"/>
                </a:cubicBezTo>
                <a:cubicBezTo>
                  <a:pt x="40" y="45"/>
                  <a:pt x="40" y="45"/>
                  <a:pt x="40" y="45"/>
                </a:cubicBezTo>
                <a:cubicBezTo>
                  <a:pt x="40" y="35"/>
                  <a:pt x="40" y="35"/>
                  <a:pt x="40" y="35"/>
                </a:cubicBezTo>
                <a:cubicBezTo>
                  <a:pt x="51" y="35"/>
                  <a:pt x="51" y="35"/>
                  <a:pt x="51" y="35"/>
                </a:cubicBezTo>
                <a:lnTo>
                  <a:pt x="51" y="45"/>
                </a:lnTo>
                <a:close/>
                <a:moveTo>
                  <a:pt x="27" y="29"/>
                </a:moveTo>
                <a:cubicBezTo>
                  <a:pt x="16" y="29"/>
                  <a:pt x="16" y="29"/>
                  <a:pt x="16" y="29"/>
                </a:cubicBezTo>
                <a:cubicBezTo>
                  <a:pt x="13" y="29"/>
                  <a:pt x="11" y="32"/>
                  <a:pt x="11" y="35"/>
                </a:cubicBezTo>
                <a:cubicBezTo>
                  <a:pt x="11" y="45"/>
                  <a:pt x="11" y="45"/>
                  <a:pt x="11" y="45"/>
                </a:cubicBezTo>
                <a:cubicBezTo>
                  <a:pt x="11" y="48"/>
                  <a:pt x="13" y="51"/>
                  <a:pt x="16" y="51"/>
                </a:cubicBezTo>
                <a:cubicBezTo>
                  <a:pt x="27" y="51"/>
                  <a:pt x="27" y="51"/>
                  <a:pt x="27" y="51"/>
                </a:cubicBezTo>
                <a:cubicBezTo>
                  <a:pt x="30" y="51"/>
                  <a:pt x="32" y="48"/>
                  <a:pt x="32" y="45"/>
                </a:cubicBezTo>
                <a:cubicBezTo>
                  <a:pt x="32" y="35"/>
                  <a:pt x="32" y="35"/>
                  <a:pt x="32" y="35"/>
                </a:cubicBezTo>
                <a:cubicBezTo>
                  <a:pt x="32" y="32"/>
                  <a:pt x="30" y="29"/>
                  <a:pt x="27" y="29"/>
                </a:cubicBezTo>
                <a:close/>
                <a:moveTo>
                  <a:pt x="27" y="45"/>
                </a:moveTo>
                <a:cubicBezTo>
                  <a:pt x="27" y="45"/>
                  <a:pt x="27" y="45"/>
                  <a:pt x="27" y="45"/>
                </a:cubicBezTo>
                <a:cubicBezTo>
                  <a:pt x="16" y="45"/>
                  <a:pt x="16" y="45"/>
                  <a:pt x="16" y="45"/>
                </a:cubicBezTo>
                <a:cubicBezTo>
                  <a:pt x="16" y="35"/>
                  <a:pt x="16" y="35"/>
                  <a:pt x="16" y="35"/>
                </a:cubicBezTo>
                <a:cubicBezTo>
                  <a:pt x="27" y="35"/>
                  <a:pt x="27" y="35"/>
                  <a:pt x="27" y="35"/>
                </a:cubicBezTo>
                <a:lnTo>
                  <a:pt x="27" y="45"/>
                </a:lnTo>
                <a:close/>
                <a:moveTo>
                  <a:pt x="75" y="29"/>
                </a:moveTo>
                <a:cubicBezTo>
                  <a:pt x="64" y="29"/>
                  <a:pt x="64" y="29"/>
                  <a:pt x="64" y="29"/>
                </a:cubicBezTo>
                <a:cubicBezTo>
                  <a:pt x="61" y="29"/>
                  <a:pt x="59" y="32"/>
                  <a:pt x="59" y="35"/>
                </a:cubicBezTo>
                <a:cubicBezTo>
                  <a:pt x="59" y="45"/>
                  <a:pt x="59" y="45"/>
                  <a:pt x="59" y="45"/>
                </a:cubicBezTo>
                <a:cubicBezTo>
                  <a:pt x="59" y="48"/>
                  <a:pt x="61" y="51"/>
                  <a:pt x="64" y="51"/>
                </a:cubicBezTo>
                <a:cubicBezTo>
                  <a:pt x="75" y="51"/>
                  <a:pt x="75" y="51"/>
                  <a:pt x="75" y="51"/>
                </a:cubicBezTo>
                <a:cubicBezTo>
                  <a:pt x="78" y="51"/>
                  <a:pt x="80" y="48"/>
                  <a:pt x="80" y="45"/>
                </a:cubicBezTo>
                <a:cubicBezTo>
                  <a:pt x="80" y="35"/>
                  <a:pt x="80" y="35"/>
                  <a:pt x="80" y="35"/>
                </a:cubicBezTo>
                <a:cubicBezTo>
                  <a:pt x="80" y="32"/>
                  <a:pt x="78" y="29"/>
                  <a:pt x="75" y="29"/>
                </a:cubicBezTo>
                <a:close/>
                <a:moveTo>
                  <a:pt x="75" y="45"/>
                </a:moveTo>
                <a:cubicBezTo>
                  <a:pt x="75" y="45"/>
                  <a:pt x="75" y="45"/>
                  <a:pt x="75" y="45"/>
                </a:cubicBezTo>
                <a:cubicBezTo>
                  <a:pt x="64" y="45"/>
                  <a:pt x="64" y="45"/>
                  <a:pt x="64" y="45"/>
                </a:cubicBezTo>
                <a:cubicBezTo>
                  <a:pt x="64" y="35"/>
                  <a:pt x="64" y="35"/>
                  <a:pt x="64" y="35"/>
                </a:cubicBezTo>
                <a:cubicBezTo>
                  <a:pt x="75" y="35"/>
                  <a:pt x="75" y="35"/>
                  <a:pt x="75" y="35"/>
                </a:cubicBezTo>
                <a:lnTo>
                  <a:pt x="75" y="45"/>
                </a:lnTo>
                <a:close/>
                <a:moveTo>
                  <a:pt x="51" y="53"/>
                </a:moveTo>
                <a:cubicBezTo>
                  <a:pt x="40" y="53"/>
                  <a:pt x="40" y="53"/>
                  <a:pt x="40" y="53"/>
                </a:cubicBezTo>
                <a:cubicBezTo>
                  <a:pt x="37" y="53"/>
                  <a:pt x="35" y="56"/>
                  <a:pt x="35" y="59"/>
                </a:cubicBezTo>
                <a:cubicBezTo>
                  <a:pt x="35" y="69"/>
                  <a:pt x="35" y="69"/>
                  <a:pt x="35" y="69"/>
                </a:cubicBezTo>
                <a:cubicBezTo>
                  <a:pt x="35" y="72"/>
                  <a:pt x="37" y="75"/>
                  <a:pt x="40" y="75"/>
                </a:cubicBezTo>
                <a:cubicBezTo>
                  <a:pt x="51" y="75"/>
                  <a:pt x="51" y="75"/>
                  <a:pt x="51" y="75"/>
                </a:cubicBezTo>
                <a:cubicBezTo>
                  <a:pt x="54" y="75"/>
                  <a:pt x="56" y="72"/>
                  <a:pt x="56" y="69"/>
                </a:cubicBezTo>
                <a:cubicBezTo>
                  <a:pt x="56" y="59"/>
                  <a:pt x="56" y="59"/>
                  <a:pt x="56" y="59"/>
                </a:cubicBezTo>
                <a:cubicBezTo>
                  <a:pt x="56" y="56"/>
                  <a:pt x="54" y="53"/>
                  <a:pt x="51" y="53"/>
                </a:cubicBezTo>
                <a:close/>
                <a:moveTo>
                  <a:pt x="51" y="69"/>
                </a:moveTo>
                <a:cubicBezTo>
                  <a:pt x="51" y="69"/>
                  <a:pt x="51" y="69"/>
                  <a:pt x="51" y="69"/>
                </a:cubicBezTo>
                <a:cubicBezTo>
                  <a:pt x="40" y="69"/>
                  <a:pt x="40" y="69"/>
                  <a:pt x="40" y="69"/>
                </a:cubicBezTo>
                <a:cubicBezTo>
                  <a:pt x="40" y="59"/>
                  <a:pt x="40" y="59"/>
                  <a:pt x="40" y="59"/>
                </a:cubicBezTo>
                <a:cubicBezTo>
                  <a:pt x="51" y="59"/>
                  <a:pt x="51" y="59"/>
                  <a:pt x="51" y="59"/>
                </a:cubicBezTo>
                <a:lnTo>
                  <a:pt x="51" y="69"/>
                </a:lnTo>
                <a:close/>
                <a:moveTo>
                  <a:pt x="27" y="53"/>
                </a:moveTo>
                <a:cubicBezTo>
                  <a:pt x="16" y="53"/>
                  <a:pt x="16" y="53"/>
                  <a:pt x="16" y="53"/>
                </a:cubicBezTo>
                <a:cubicBezTo>
                  <a:pt x="13" y="53"/>
                  <a:pt x="11" y="56"/>
                  <a:pt x="11" y="59"/>
                </a:cubicBezTo>
                <a:cubicBezTo>
                  <a:pt x="11" y="69"/>
                  <a:pt x="11" y="69"/>
                  <a:pt x="11" y="69"/>
                </a:cubicBezTo>
                <a:cubicBezTo>
                  <a:pt x="11" y="72"/>
                  <a:pt x="13" y="75"/>
                  <a:pt x="16" y="75"/>
                </a:cubicBezTo>
                <a:cubicBezTo>
                  <a:pt x="27" y="75"/>
                  <a:pt x="27" y="75"/>
                  <a:pt x="27" y="75"/>
                </a:cubicBezTo>
                <a:cubicBezTo>
                  <a:pt x="30" y="75"/>
                  <a:pt x="32" y="72"/>
                  <a:pt x="32" y="69"/>
                </a:cubicBezTo>
                <a:cubicBezTo>
                  <a:pt x="32" y="59"/>
                  <a:pt x="32" y="59"/>
                  <a:pt x="32" y="59"/>
                </a:cubicBezTo>
                <a:cubicBezTo>
                  <a:pt x="32" y="56"/>
                  <a:pt x="30" y="53"/>
                  <a:pt x="27" y="53"/>
                </a:cubicBezTo>
                <a:close/>
                <a:moveTo>
                  <a:pt x="27" y="69"/>
                </a:moveTo>
                <a:cubicBezTo>
                  <a:pt x="27" y="69"/>
                  <a:pt x="27" y="69"/>
                  <a:pt x="27" y="69"/>
                </a:cubicBezTo>
                <a:cubicBezTo>
                  <a:pt x="16" y="69"/>
                  <a:pt x="16" y="69"/>
                  <a:pt x="16" y="69"/>
                </a:cubicBezTo>
                <a:cubicBezTo>
                  <a:pt x="16" y="59"/>
                  <a:pt x="16" y="59"/>
                  <a:pt x="16" y="59"/>
                </a:cubicBezTo>
                <a:cubicBezTo>
                  <a:pt x="27" y="59"/>
                  <a:pt x="27" y="59"/>
                  <a:pt x="27" y="59"/>
                </a:cubicBezTo>
                <a:lnTo>
                  <a:pt x="27" y="69"/>
                </a:lnTo>
                <a:close/>
                <a:moveTo>
                  <a:pt x="75" y="53"/>
                </a:moveTo>
                <a:cubicBezTo>
                  <a:pt x="64" y="53"/>
                  <a:pt x="64" y="53"/>
                  <a:pt x="64" y="53"/>
                </a:cubicBezTo>
                <a:cubicBezTo>
                  <a:pt x="61" y="53"/>
                  <a:pt x="59" y="56"/>
                  <a:pt x="59" y="59"/>
                </a:cubicBezTo>
                <a:cubicBezTo>
                  <a:pt x="59" y="69"/>
                  <a:pt x="59" y="69"/>
                  <a:pt x="59" y="69"/>
                </a:cubicBezTo>
                <a:cubicBezTo>
                  <a:pt x="59" y="72"/>
                  <a:pt x="61" y="75"/>
                  <a:pt x="64" y="75"/>
                </a:cubicBezTo>
                <a:cubicBezTo>
                  <a:pt x="75" y="75"/>
                  <a:pt x="75" y="75"/>
                  <a:pt x="75" y="75"/>
                </a:cubicBezTo>
                <a:cubicBezTo>
                  <a:pt x="78" y="75"/>
                  <a:pt x="80" y="72"/>
                  <a:pt x="80" y="69"/>
                </a:cubicBezTo>
                <a:cubicBezTo>
                  <a:pt x="80" y="59"/>
                  <a:pt x="80" y="59"/>
                  <a:pt x="80" y="59"/>
                </a:cubicBezTo>
                <a:cubicBezTo>
                  <a:pt x="80" y="56"/>
                  <a:pt x="78" y="53"/>
                  <a:pt x="75" y="53"/>
                </a:cubicBezTo>
                <a:close/>
                <a:moveTo>
                  <a:pt x="75" y="69"/>
                </a:moveTo>
                <a:cubicBezTo>
                  <a:pt x="75" y="69"/>
                  <a:pt x="75" y="69"/>
                  <a:pt x="75" y="69"/>
                </a:cubicBezTo>
                <a:cubicBezTo>
                  <a:pt x="64" y="69"/>
                  <a:pt x="64" y="69"/>
                  <a:pt x="64" y="69"/>
                </a:cubicBezTo>
                <a:cubicBezTo>
                  <a:pt x="64" y="59"/>
                  <a:pt x="64" y="59"/>
                  <a:pt x="64" y="59"/>
                </a:cubicBezTo>
                <a:cubicBezTo>
                  <a:pt x="75" y="59"/>
                  <a:pt x="75" y="59"/>
                  <a:pt x="75" y="59"/>
                </a:cubicBezTo>
                <a:lnTo>
                  <a:pt x="75" y="69"/>
                </a:lnTo>
                <a:close/>
                <a:moveTo>
                  <a:pt x="51" y="77"/>
                </a:moveTo>
                <a:cubicBezTo>
                  <a:pt x="40" y="77"/>
                  <a:pt x="40" y="77"/>
                  <a:pt x="40" y="77"/>
                </a:cubicBezTo>
                <a:cubicBezTo>
                  <a:pt x="37" y="77"/>
                  <a:pt x="35" y="80"/>
                  <a:pt x="35" y="83"/>
                </a:cubicBezTo>
                <a:cubicBezTo>
                  <a:pt x="35" y="93"/>
                  <a:pt x="35" y="93"/>
                  <a:pt x="35" y="93"/>
                </a:cubicBezTo>
                <a:cubicBezTo>
                  <a:pt x="35" y="96"/>
                  <a:pt x="37" y="99"/>
                  <a:pt x="40" y="99"/>
                </a:cubicBezTo>
                <a:cubicBezTo>
                  <a:pt x="51" y="99"/>
                  <a:pt x="51" y="99"/>
                  <a:pt x="51" y="99"/>
                </a:cubicBezTo>
                <a:cubicBezTo>
                  <a:pt x="54" y="99"/>
                  <a:pt x="56" y="96"/>
                  <a:pt x="56" y="93"/>
                </a:cubicBezTo>
                <a:cubicBezTo>
                  <a:pt x="56" y="83"/>
                  <a:pt x="56" y="83"/>
                  <a:pt x="56" y="83"/>
                </a:cubicBezTo>
                <a:cubicBezTo>
                  <a:pt x="56" y="80"/>
                  <a:pt x="54" y="77"/>
                  <a:pt x="51" y="77"/>
                </a:cubicBezTo>
                <a:close/>
                <a:moveTo>
                  <a:pt x="51" y="93"/>
                </a:moveTo>
                <a:cubicBezTo>
                  <a:pt x="51" y="93"/>
                  <a:pt x="51" y="93"/>
                  <a:pt x="51" y="93"/>
                </a:cubicBezTo>
                <a:cubicBezTo>
                  <a:pt x="40" y="93"/>
                  <a:pt x="40" y="93"/>
                  <a:pt x="40" y="93"/>
                </a:cubicBezTo>
                <a:cubicBezTo>
                  <a:pt x="40" y="83"/>
                  <a:pt x="40" y="83"/>
                  <a:pt x="40" y="83"/>
                </a:cubicBezTo>
                <a:cubicBezTo>
                  <a:pt x="51" y="83"/>
                  <a:pt x="51" y="83"/>
                  <a:pt x="51" y="83"/>
                </a:cubicBezTo>
                <a:lnTo>
                  <a:pt x="51" y="93"/>
                </a:lnTo>
                <a:close/>
                <a:moveTo>
                  <a:pt x="27" y="77"/>
                </a:moveTo>
                <a:cubicBezTo>
                  <a:pt x="16" y="77"/>
                  <a:pt x="16" y="77"/>
                  <a:pt x="16" y="77"/>
                </a:cubicBezTo>
                <a:cubicBezTo>
                  <a:pt x="13" y="77"/>
                  <a:pt x="11" y="80"/>
                  <a:pt x="11" y="83"/>
                </a:cubicBezTo>
                <a:cubicBezTo>
                  <a:pt x="11" y="93"/>
                  <a:pt x="11" y="93"/>
                  <a:pt x="11" y="93"/>
                </a:cubicBezTo>
                <a:cubicBezTo>
                  <a:pt x="11" y="96"/>
                  <a:pt x="13" y="99"/>
                  <a:pt x="16" y="99"/>
                </a:cubicBezTo>
                <a:cubicBezTo>
                  <a:pt x="27" y="99"/>
                  <a:pt x="27" y="99"/>
                  <a:pt x="27" y="99"/>
                </a:cubicBezTo>
                <a:cubicBezTo>
                  <a:pt x="30" y="99"/>
                  <a:pt x="32" y="96"/>
                  <a:pt x="32" y="93"/>
                </a:cubicBezTo>
                <a:cubicBezTo>
                  <a:pt x="32" y="83"/>
                  <a:pt x="32" y="83"/>
                  <a:pt x="32" y="83"/>
                </a:cubicBezTo>
                <a:cubicBezTo>
                  <a:pt x="32" y="80"/>
                  <a:pt x="30" y="77"/>
                  <a:pt x="27" y="77"/>
                </a:cubicBezTo>
                <a:close/>
                <a:moveTo>
                  <a:pt x="27" y="93"/>
                </a:moveTo>
                <a:cubicBezTo>
                  <a:pt x="27" y="93"/>
                  <a:pt x="27" y="93"/>
                  <a:pt x="27" y="93"/>
                </a:cubicBezTo>
                <a:cubicBezTo>
                  <a:pt x="16" y="93"/>
                  <a:pt x="16" y="93"/>
                  <a:pt x="16" y="93"/>
                </a:cubicBezTo>
                <a:cubicBezTo>
                  <a:pt x="16" y="83"/>
                  <a:pt x="16" y="83"/>
                  <a:pt x="16" y="83"/>
                </a:cubicBezTo>
                <a:cubicBezTo>
                  <a:pt x="27" y="83"/>
                  <a:pt x="27" y="83"/>
                  <a:pt x="27" y="83"/>
                </a:cubicBezTo>
                <a:lnTo>
                  <a:pt x="27" y="93"/>
                </a:lnTo>
                <a:close/>
                <a:moveTo>
                  <a:pt x="75" y="77"/>
                </a:moveTo>
                <a:cubicBezTo>
                  <a:pt x="64" y="77"/>
                  <a:pt x="64" y="77"/>
                  <a:pt x="64" y="77"/>
                </a:cubicBezTo>
                <a:cubicBezTo>
                  <a:pt x="61" y="77"/>
                  <a:pt x="59" y="80"/>
                  <a:pt x="59" y="83"/>
                </a:cubicBezTo>
                <a:cubicBezTo>
                  <a:pt x="59" y="93"/>
                  <a:pt x="59" y="93"/>
                  <a:pt x="59" y="93"/>
                </a:cubicBezTo>
                <a:cubicBezTo>
                  <a:pt x="59" y="96"/>
                  <a:pt x="61" y="99"/>
                  <a:pt x="64" y="99"/>
                </a:cubicBezTo>
                <a:cubicBezTo>
                  <a:pt x="75" y="99"/>
                  <a:pt x="75" y="99"/>
                  <a:pt x="75" y="99"/>
                </a:cubicBezTo>
                <a:cubicBezTo>
                  <a:pt x="78" y="99"/>
                  <a:pt x="80" y="96"/>
                  <a:pt x="80" y="93"/>
                </a:cubicBezTo>
                <a:cubicBezTo>
                  <a:pt x="80" y="83"/>
                  <a:pt x="80" y="83"/>
                  <a:pt x="80" y="83"/>
                </a:cubicBezTo>
                <a:cubicBezTo>
                  <a:pt x="80" y="80"/>
                  <a:pt x="78" y="77"/>
                  <a:pt x="75" y="77"/>
                </a:cubicBezTo>
                <a:close/>
                <a:moveTo>
                  <a:pt x="75" y="93"/>
                </a:moveTo>
                <a:cubicBezTo>
                  <a:pt x="75" y="93"/>
                  <a:pt x="75" y="93"/>
                  <a:pt x="75" y="93"/>
                </a:cubicBezTo>
                <a:cubicBezTo>
                  <a:pt x="64" y="93"/>
                  <a:pt x="64" y="93"/>
                  <a:pt x="64" y="93"/>
                </a:cubicBezTo>
                <a:cubicBezTo>
                  <a:pt x="64" y="83"/>
                  <a:pt x="64" y="83"/>
                  <a:pt x="64" y="83"/>
                </a:cubicBezTo>
                <a:cubicBezTo>
                  <a:pt x="75" y="83"/>
                  <a:pt x="75" y="83"/>
                  <a:pt x="75" y="83"/>
                </a:cubicBezTo>
                <a:lnTo>
                  <a:pt x="75" y="9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74" name="Freeform 1376">
            <a:extLst>
              <a:ext uri="{FF2B5EF4-FFF2-40B4-BE49-F238E27FC236}">
                <a16:creationId xmlns:a16="http://schemas.microsoft.com/office/drawing/2014/main" id="{31D4BEC0-6B2B-2E4C-8CDC-CF9DA6524F7E}"/>
              </a:ext>
            </a:extLst>
          </p:cNvPr>
          <p:cNvSpPr>
            <a:spLocks noEditPoints="1"/>
          </p:cNvSpPr>
          <p:nvPr/>
        </p:nvSpPr>
        <p:spPr bwMode="auto">
          <a:xfrm>
            <a:off x="10932957" y="4064000"/>
            <a:ext cx="546100" cy="550863"/>
          </a:xfrm>
          <a:custGeom>
            <a:avLst/>
            <a:gdLst>
              <a:gd name="T0" fmla="*/ 45 w 160"/>
              <a:gd name="T1" fmla="*/ 131 h 160"/>
              <a:gd name="T2" fmla="*/ 45 w 160"/>
              <a:gd name="T3" fmla="*/ 147 h 160"/>
              <a:gd name="T4" fmla="*/ 45 w 160"/>
              <a:gd name="T5" fmla="*/ 13 h 160"/>
              <a:gd name="T6" fmla="*/ 56 w 160"/>
              <a:gd name="T7" fmla="*/ 8 h 160"/>
              <a:gd name="T8" fmla="*/ 144 w 160"/>
              <a:gd name="T9" fmla="*/ 128 h 160"/>
              <a:gd name="T10" fmla="*/ 144 w 160"/>
              <a:gd name="T11" fmla="*/ 125 h 160"/>
              <a:gd name="T12" fmla="*/ 139 w 160"/>
              <a:gd name="T13" fmla="*/ 93 h 160"/>
              <a:gd name="T14" fmla="*/ 141 w 160"/>
              <a:gd name="T15" fmla="*/ 120 h 160"/>
              <a:gd name="T16" fmla="*/ 144 w 160"/>
              <a:gd name="T17" fmla="*/ 117 h 160"/>
              <a:gd name="T18" fmla="*/ 141 w 160"/>
              <a:gd name="T19" fmla="*/ 101 h 160"/>
              <a:gd name="T20" fmla="*/ 139 w 160"/>
              <a:gd name="T21" fmla="*/ 85 h 160"/>
              <a:gd name="T22" fmla="*/ 144 w 160"/>
              <a:gd name="T23" fmla="*/ 139 h 160"/>
              <a:gd name="T24" fmla="*/ 144 w 160"/>
              <a:gd name="T25" fmla="*/ 136 h 160"/>
              <a:gd name="T26" fmla="*/ 139 w 160"/>
              <a:gd name="T27" fmla="*/ 149 h 160"/>
              <a:gd name="T28" fmla="*/ 101 w 160"/>
              <a:gd name="T29" fmla="*/ 160 h 160"/>
              <a:gd name="T30" fmla="*/ 104 w 160"/>
              <a:gd name="T31" fmla="*/ 157 h 160"/>
              <a:gd name="T32" fmla="*/ 90 w 160"/>
              <a:gd name="T33" fmla="*/ 153 h 160"/>
              <a:gd name="T34" fmla="*/ 91 w 160"/>
              <a:gd name="T35" fmla="*/ 142 h 160"/>
              <a:gd name="T36" fmla="*/ 91 w 160"/>
              <a:gd name="T37" fmla="*/ 115 h 160"/>
              <a:gd name="T38" fmla="*/ 91 w 160"/>
              <a:gd name="T39" fmla="*/ 93 h 160"/>
              <a:gd name="T40" fmla="*/ 91 w 160"/>
              <a:gd name="T41" fmla="*/ 72 h 160"/>
              <a:gd name="T42" fmla="*/ 0 w 160"/>
              <a:gd name="T43" fmla="*/ 148 h 160"/>
              <a:gd name="T44" fmla="*/ 86 w 160"/>
              <a:gd name="T45" fmla="*/ 158 h 160"/>
              <a:gd name="T46" fmla="*/ 5 w 160"/>
              <a:gd name="T47" fmla="*/ 21 h 160"/>
              <a:gd name="T48" fmla="*/ 85 w 160"/>
              <a:gd name="T49" fmla="*/ 86 h 160"/>
              <a:gd name="T50" fmla="*/ 85 w 160"/>
              <a:gd name="T51" fmla="*/ 112 h 160"/>
              <a:gd name="T52" fmla="*/ 5 w 160"/>
              <a:gd name="T53" fmla="*/ 21 h 160"/>
              <a:gd name="T54" fmla="*/ 5 w 160"/>
              <a:gd name="T55" fmla="*/ 16 h 160"/>
              <a:gd name="T56" fmla="*/ 5 w 160"/>
              <a:gd name="T57" fmla="*/ 148 h 160"/>
              <a:gd name="T58" fmla="*/ 85 w 160"/>
              <a:gd name="T59" fmla="*/ 142 h 160"/>
              <a:gd name="T60" fmla="*/ 79 w 160"/>
              <a:gd name="T61" fmla="*/ 155 h 160"/>
              <a:gd name="T62" fmla="*/ 109 w 160"/>
              <a:gd name="T63" fmla="*/ 155 h 160"/>
              <a:gd name="T64" fmla="*/ 119 w 160"/>
              <a:gd name="T65" fmla="*/ 72 h 160"/>
              <a:gd name="T66" fmla="*/ 97 w 160"/>
              <a:gd name="T67" fmla="*/ 77 h 160"/>
              <a:gd name="T68" fmla="*/ 100 w 160"/>
              <a:gd name="T69" fmla="*/ 77 h 160"/>
              <a:gd name="T70" fmla="*/ 117 w 160"/>
              <a:gd name="T71" fmla="*/ 157 h 160"/>
              <a:gd name="T72" fmla="*/ 105 w 160"/>
              <a:gd name="T73" fmla="*/ 75 h 160"/>
              <a:gd name="T74" fmla="*/ 108 w 160"/>
              <a:gd name="T75" fmla="*/ 77 h 160"/>
              <a:gd name="T76" fmla="*/ 141 w 160"/>
              <a:gd name="T77" fmla="*/ 155 h 160"/>
              <a:gd name="T78" fmla="*/ 157 w 160"/>
              <a:gd name="T79" fmla="*/ 119 h 160"/>
              <a:gd name="T80" fmla="*/ 160 w 160"/>
              <a:gd name="T81" fmla="*/ 135 h 160"/>
              <a:gd name="T82" fmla="*/ 157 w 160"/>
              <a:gd name="T83" fmla="*/ 132 h 160"/>
              <a:gd name="T84" fmla="*/ 155 w 160"/>
              <a:gd name="T85" fmla="*/ 127 h 160"/>
              <a:gd name="T86" fmla="*/ 160 w 160"/>
              <a:gd name="T87" fmla="*/ 106 h 160"/>
              <a:gd name="T88" fmla="*/ 160 w 160"/>
              <a:gd name="T89" fmla="*/ 103 h 160"/>
              <a:gd name="T90" fmla="*/ 155 w 160"/>
              <a:gd name="T91" fmla="*/ 84 h 160"/>
              <a:gd name="T92" fmla="*/ 129 w 160"/>
              <a:gd name="T93" fmla="*/ 77 h 160"/>
              <a:gd name="T94" fmla="*/ 132 w 160"/>
              <a:gd name="T95" fmla="*/ 77 h 160"/>
              <a:gd name="T96" fmla="*/ 155 w 160"/>
              <a:gd name="T97" fmla="*/ 95 h 160"/>
              <a:gd name="T98" fmla="*/ 137 w 160"/>
              <a:gd name="T99" fmla="*/ 75 h 160"/>
              <a:gd name="T100" fmla="*/ 140 w 160"/>
              <a:gd name="T101" fmla="*/ 77 h 160"/>
              <a:gd name="T102" fmla="*/ 131 w 160"/>
              <a:gd name="T103" fmla="*/ 155 h 160"/>
              <a:gd name="T104" fmla="*/ 151 w 160"/>
              <a:gd name="T105" fmla="*/ 72 h 160"/>
              <a:gd name="T106" fmla="*/ 150 w 160"/>
              <a:gd name="T107" fmla="*/ 78 h 160"/>
              <a:gd name="T108" fmla="*/ 155 w 160"/>
              <a:gd name="T109" fmla="*/ 146 h 160"/>
              <a:gd name="T110" fmla="*/ 153 w 160"/>
              <a:gd name="T111" fmla="*/ 159 h 160"/>
              <a:gd name="T112" fmla="*/ 156 w 160"/>
              <a:gd name="T113" fmla="*/ 154 h 160"/>
              <a:gd name="T114" fmla="*/ 136 w 160"/>
              <a:gd name="T115" fmla="*/ 47 h 160"/>
              <a:gd name="T116" fmla="*/ 141 w 160"/>
              <a:gd name="T117" fmla="*/ 40 h 160"/>
              <a:gd name="T118" fmla="*/ 141 w 160"/>
              <a:gd name="T119" fmla="*/ 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60">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144" y="128"/>
                </a:moveTo>
                <a:cubicBezTo>
                  <a:pt x="144" y="129"/>
                  <a:pt x="143" y="131"/>
                  <a:pt x="141" y="131"/>
                </a:cubicBezTo>
                <a:cubicBezTo>
                  <a:pt x="140" y="131"/>
                  <a:pt x="139" y="129"/>
                  <a:pt x="139" y="128"/>
                </a:cubicBezTo>
                <a:cubicBezTo>
                  <a:pt x="139" y="125"/>
                  <a:pt x="139" y="125"/>
                  <a:pt x="139" y="125"/>
                </a:cubicBezTo>
                <a:cubicBezTo>
                  <a:pt x="139" y="124"/>
                  <a:pt x="140" y="123"/>
                  <a:pt x="141" y="123"/>
                </a:cubicBezTo>
                <a:cubicBezTo>
                  <a:pt x="143" y="123"/>
                  <a:pt x="144" y="124"/>
                  <a:pt x="144" y="125"/>
                </a:cubicBezTo>
                <a:lnTo>
                  <a:pt x="144" y="128"/>
                </a:lnTo>
                <a:close/>
                <a:moveTo>
                  <a:pt x="144" y="96"/>
                </a:moveTo>
                <a:cubicBezTo>
                  <a:pt x="144" y="97"/>
                  <a:pt x="143" y="99"/>
                  <a:pt x="141" y="99"/>
                </a:cubicBezTo>
                <a:cubicBezTo>
                  <a:pt x="140" y="99"/>
                  <a:pt x="139" y="97"/>
                  <a:pt x="139" y="96"/>
                </a:cubicBezTo>
                <a:cubicBezTo>
                  <a:pt x="139" y="93"/>
                  <a:pt x="139" y="93"/>
                  <a:pt x="139" y="93"/>
                </a:cubicBezTo>
                <a:cubicBezTo>
                  <a:pt x="139" y="92"/>
                  <a:pt x="140" y="91"/>
                  <a:pt x="141" y="91"/>
                </a:cubicBezTo>
                <a:cubicBezTo>
                  <a:pt x="143" y="91"/>
                  <a:pt x="144" y="92"/>
                  <a:pt x="144" y="93"/>
                </a:cubicBezTo>
                <a:lnTo>
                  <a:pt x="144" y="96"/>
                </a:lnTo>
                <a:close/>
                <a:moveTo>
                  <a:pt x="144" y="117"/>
                </a:moveTo>
                <a:cubicBezTo>
                  <a:pt x="144" y="119"/>
                  <a:pt x="143" y="120"/>
                  <a:pt x="141" y="120"/>
                </a:cubicBezTo>
                <a:cubicBezTo>
                  <a:pt x="140" y="120"/>
                  <a:pt x="139" y="119"/>
                  <a:pt x="139" y="117"/>
                </a:cubicBezTo>
                <a:cubicBezTo>
                  <a:pt x="139" y="115"/>
                  <a:pt x="139" y="115"/>
                  <a:pt x="139" y="115"/>
                </a:cubicBezTo>
                <a:cubicBezTo>
                  <a:pt x="139" y="113"/>
                  <a:pt x="140" y="112"/>
                  <a:pt x="141" y="112"/>
                </a:cubicBezTo>
                <a:cubicBezTo>
                  <a:pt x="143" y="112"/>
                  <a:pt x="144" y="113"/>
                  <a:pt x="144" y="115"/>
                </a:cubicBezTo>
                <a:lnTo>
                  <a:pt x="144" y="117"/>
                </a:lnTo>
                <a:close/>
                <a:moveTo>
                  <a:pt x="144" y="107"/>
                </a:moveTo>
                <a:cubicBezTo>
                  <a:pt x="144" y="108"/>
                  <a:pt x="143" y="109"/>
                  <a:pt x="141" y="109"/>
                </a:cubicBezTo>
                <a:cubicBezTo>
                  <a:pt x="140" y="109"/>
                  <a:pt x="139" y="108"/>
                  <a:pt x="139" y="107"/>
                </a:cubicBezTo>
                <a:cubicBezTo>
                  <a:pt x="139" y="104"/>
                  <a:pt x="139" y="104"/>
                  <a:pt x="139" y="104"/>
                </a:cubicBezTo>
                <a:cubicBezTo>
                  <a:pt x="139" y="103"/>
                  <a:pt x="140" y="101"/>
                  <a:pt x="141" y="101"/>
                </a:cubicBezTo>
                <a:cubicBezTo>
                  <a:pt x="143" y="101"/>
                  <a:pt x="144" y="103"/>
                  <a:pt x="144" y="104"/>
                </a:cubicBezTo>
                <a:lnTo>
                  <a:pt x="144" y="107"/>
                </a:lnTo>
                <a:close/>
                <a:moveTo>
                  <a:pt x="144" y="85"/>
                </a:moveTo>
                <a:cubicBezTo>
                  <a:pt x="144" y="87"/>
                  <a:pt x="143" y="88"/>
                  <a:pt x="141" y="88"/>
                </a:cubicBezTo>
                <a:cubicBezTo>
                  <a:pt x="140" y="88"/>
                  <a:pt x="139" y="87"/>
                  <a:pt x="139" y="85"/>
                </a:cubicBezTo>
                <a:cubicBezTo>
                  <a:pt x="139" y="83"/>
                  <a:pt x="139" y="83"/>
                  <a:pt x="139" y="83"/>
                </a:cubicBezTo>
                <a:cubicBezTo>
                  <a:pt x="139" y="81"/>
                  <a:pt x="140" y="80"/>
                  <a:pt x="141" y="80"/>
                </a:cubicBezTo>
                <a:cubicBezTo>
                  <a:pt x="143" y="80"/>
                  <a:pt x="144" y="81"/>
                  <a:pt x="144" y="83"/>
                </a:cubicBezTo>
                <a:lnTo>
                  <a:pt x="144" y="85"/>
                </a:lnTo>
                <a:close/>
                <a:moveTo>
                  <a:pt x="144" y="139"/>
                </a:moveTo>
                <a:cubicBezTo>
                  <a:pt x="144" y="140"/>
                  <a:pt x="143" y="141"/>
                  <a:pt x="141" y="141"/>
                </a:cubicBezTo>
                <a:cubicBezTo>
                  <a:pt x="140" y="141"/>
                  <a:pt x="139" y="140"/>
                  <a:pt x="139" y="139"/>
                </a:cubicBezTo>
                <a:cubicBezTo>
                  <a:pt x="139" y="136"/>
                  <a:pt x="139" y="136"/>
                  <a:pt x="139" y="136"/>
                </a:cubicBezTo>
                <a:cubicBezTo>
                  <a:pt x="139" y="135"/>
                  <a:pt x="140" y="133"/>
                  <a:pt x="141" y="133"/>
                </a:cubicBezTo>
                <a:cubicBezTo>
                  <a:pt x="143" y="133"/>
                  <a:pt x="144" y="135"/>
                  <a:pt x="144" y="136"/>
                </a:cubicBezTo>
                <a:lnTo>
                  <a:pt x="144" y="139"/>
                </a:lnTo>
                <a:close/>
                <a:moveTo>
                  <a:pt x="144" y="147"/>
                </a:moveTo>
                <a:cubicBezTo>
                  <a:pt x="144" y="149"/>
                  <a:pt x="144" y="149"/>
                  <a:pt x="144" y="149"/>
                </a:cubicBezTo>
                <a:cubicBezTo>
                  <a:pt x="144" y="151"/>
                  <a:pt x="143" y="152"/>
                  <a:pt x="141" y="152"/>
                </a:cubicBezTo>
                <a:cubicBezTo>
                  <a:pt x="140" y="152"/>
                  <a:pt x="139" y="151"/>
                  <a:pt x="139" y="149"/>
                </a:cubicBezTo>
                <a:cubicBezTo>
                  <a:pt x="139" y="147"/>
                  <a:pt x="139" y="147"/>
                  <a:pt x="139" y="147"/>
                </a:cubicBezTo>
                <a:cubicBezTo>
                  <a:pt x="139" y="145"/>
                  <a:pt x="140" y="144"/>
                  <a:pt x="141" y="144"/>
                </a:cubicBezTo>
                <a:cubicBezTo>
                  <a:pt x="143" y="144"/>
                  <a:pt x="144" y="145"/>
                  <a:pt x="144" y="147"/>
                </a:cubicBezTo>
                <a:close/>
                <a:moveTo>
                  <a:pt x="104" y="157"/>
                </a:moveTo>
                <a:cubicBezTo>
                  <a:pt x="104" y="159"/>
                  <a:pt x="103" y="160"/>
                  <a:pt x="101" y="160"/>
                </a:cubicBezTo>
                <a:cubicBezTo>
                  <a:pt x="99" y="160"/>
                  <a:pt x="99" y="160"/>
                  <a:pt x="99" y="160"/>
                </a:cubicBezTo>
                <a:cubicBezTo>
                  <a:pt x="97" y="160"/>
                  <a:pt x="96" y="159"/>
                  <a:pt x="96" y="157"/>
                </a:cubicBezTo>
                <a:cubicBezTo>
                  <a:pt x="96" y="156"/>
                  <a:pt x="97" y="155"/>
                  <a:pt x="99" y="155"/>
                </a:cubicBezTo>
                <a:cubicBezTo>
                  <a:pt x="101" y="155"/>
                  <a:pt x="101" y="155"/>
                  <a:pt x="101" y="155"/>
                </a:cubicBezTo>
                <a:cubicBezTo>
                  <a:pt x="103" y="155"/>
                  <a:pt x="104" y="156"/>
                  <a:pt x="104" y="157"/>
                </a:cubicBezTo>
                <a:close/>
                <a:moveTo>
                  <a:pt x="91" y="155"/>
                </a:moveTo>
                <a:cubicBezTo>
                  <a:pt x="89" y="155"/>
                  <a:pt x="89" y="155"/>
                  <a:pt x="89" y="155"/>
                </a:cubicBezTo>
                <a:cubicBezTo>
                  <a:pt x="89" y="155"/>
                  <a:pt x="89" y="155"/>
                  <a:pt x="89" y="155"/>
                </a:cubicBezTo>
                <a:cubicBezTo>
                  <a:pt x="89" y="154"/>
                  <a:pt x="89" y="154"/>
                  <a:pt x="90" y="153"/>
                </a:cubicBezTo>
                <a:cubicBezTo>
                  <a:pt x="90" y="153"/>
                  <a:pt x="90" y="153"/>
                  <a:pt x="90" y="153"/>
                </a:cubicBezTo>
                <a:cubicBezTo>
                  <a:pt x="90" y="153"/>
                  <a:pt x="90" y="152"/>
                  <a:pt x="90" y="152"/>
                </a:cubicBezTo>
                <a:cubicBezTo>
                  <a:pt x="90" y="152"/>
                  <a:pt x="90" y="152"/>
                  <a:pt x="90" y="152"/>
                </a:cubicBezTo>
                <a:cubicBezTo>
                  <a:pt x="90" y="151"/>
                  <a:pt x="91" y="150"/>
                  <a:pt x="91" y="148"/>
                </a:cubicBezTo>
                <a:cubicBezTo>
                  <a:pt x="91" y="144"/>
                  <a:pt x="91" y="144"/>
                  <a:pt x="91" y="144"/>
                </a:cubicBezTo>
                <a:cubicBezTo>
                  <a:pt x="91" y="142"/>
                  <a:pt x="91" y="142"/>
                  <a:pt x="91" y="142"/>
                </a:cubicBezTo>
                <a:cubicBezTo>
                  <a:pt x="91" y="134"/>
                  <a:pt x="91" y="134"/>
                  <a:pt x="91" y="134"/>
                </a:cubicBezTo>
                <a:cubicBezTo>
                  <a:pt x="91" y="132"/>
                  <a:pt x="91" y="132"/>
                  <a:pt x="91" y="132"/>
                </a:cubicBezTo>
                <a:cubicBezTo>
                  <a:pt x="91" y="125"/>
                  <a:pt x="91" y="125"/>
                  <a:pt x="91" y="125"/>
                </a:cubicBezTo>
                <a:cubicBezTo>
                  <a:pt x="91" y="122"/>
                  <a:pt x="91" y="122"/>
                  <a:pt x="91" y="122"/>
                </a:cubicBezTo>
                <a:cubicBezTo>
                  <a:pt x="91" y="115"/>
                  <a:pt x="91" y="115"/>
                  <a:pt x="91" y="115"/>
                </a:cubicBezTo>
                <a:cubicBezTo>
                  <a:pt x="91" y="113"/>
                  <a:pt x="91" y="113"/>
                  <a:pt x="91" y="113"/>
                </a:cubicBezTo>
                <a:cubicBezTo>
                  <a:pt x="91" y="105"/>
                  <a:pt x="91" y="105"/>
                  <a:pt x="91" y="105"/>
                </a:cubicBezTo>
                <a:cubicBezTo>
                  <a:pt x="91" y="103"/>
                  <a:pt x="91" y="103"/>
                  <a:pt x="91" y="103"/>
                </a:cubicBezTo>
                <a:cubicBezTo>
                  <a:pt x="91" y="95"/>
                  <a:pt x="91" y="95"/>
                  <a:pt x="91" y="95"/>
                </a:cubicBezTo>
                <a:cubicBezTo>
                  <a:pt x="91" y="93"/>
                  <a:pt x="91" y="93"/>
                  <a:pt x="91" y="93"/>
                </a:cubicBezTo>
                <a:cubicBezTo>
                  <a:pt x="91" y="86"/>
                  <a:pt x="91" y="86"/>
                  <a:pt x="91" y="86"/>
                </a:cubicBezTo>
                <a:cubicBezTo>
                  <a:pt x="91" y="83"/>
                  <a:pt x="91" y="83"/>
                  <a:pt x="91" y="83"/>
                </a:cubicBezTo>
                <a:cubicBezTo>
                  <a:pt x="91" y="77"/>
                  <a:pt x="91" y="77"/>
                  <a:pt x="91" y="77"/>
                </a:cubicBezTo>
                <a:cubicBezTo>
                  <a:pt x="91" y="76"/>
                  <a:pt x="92" y="76"/>
                  <a:pt x="92" y="75"/>
                </a:cubicBezTo>
                <a:cubicBezTo>
                  <a:pt x="92" y="74"/>
                  <a:pt x="91" y="73"/>
                  <a:pt x="91" y="72"/>
                </a:cubicBezTo>
                <a:cubicBezTo>
                  <a:pt x="91" y="12"/>
                  <a:pt x="91" y="12"/>
                  <a:pt x="91" y="12"/>
                </a:cubicBezTo>
                <a:cubicBezTo>
                  <a:pt x="91" y="5"/>
                  <a:pt x="85" y="0"/>
                  <a:pt x="79" y="0"/>
                </a:cubicBez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0" y="160"/>
                  <a:pt x="80" y="160"/>
                  <a:pt x="80" y="160"/>
                </a:cubicBezTo>
                <a:cubicBezTo>
                  <a:pt x="81" y="160"/>
                  <a:pt x="81" y="160"/>
                  <a:pt x="81" y="160"/>
                </a:cubicBezTo>
                <a:cubicBezTo>
                  <a:pt x="83" y="159"/>
                  <a:pt x="84" y="159"/>
                  <a:pt x="86" y="158"/>
                </a:cubicBezTo>
                <a:cubicBezTo>
                  <a:pt x="86" y="159"/>
                  <a:pt x="87" y="160"/>
                  <a:pt x="88" y="160"/>
                </a:cubicBezTo>
                <a:cubicBezTo>
                  <a:pt x="91" y="160"/>
                  <a:pt x="91" y="160"/>
                  <a:pt x="91" y="160"/>
                </a:cubicBezTo>
                <a:cubicBezTo>
                  <a:pt x="92" y="160"/>
                  <a:pt x="94" y="159"/>
                  <a:pt x="94" y="157"/>
                </a:cubicBezTo>
                <a:cubicBezTo>
                  <a:pt x="94" y="156"/>
                  <a:pt x="92" y="155"/>
                  <a:pt x="91" y="155"/>
                </a:cubicBezTo>
                <a:close/>
                <a:moveTo>
                  <a:pt x="5" y="21"/>
                </a:moveTo>
                <a:cubicBezTo>
                  <a:pt x="85" y="21"/>
                  <a:pt x="85" y="21"/>
                  <a:pt x="85" y="21"/>
                </a:cubicBezTo>
                <a:cubicBezTo>
                  <a:pt x="85" y="72"/>
                  <a:pt x="85" y="72"/>
                  <a:pt x="85" y="72"/>
                </a:cubicBezTo>
                <a:cubicBezTo>
                  <a:pt x="85" y="76"/>
                  <a:pt x="85" y="76"/>
                  <a:pt x="85" y="76"/>
                </a:cubicBezTo>
                <a:cubicBezTo>
                  <a:pt x="85" y="83"/>
                  <a:pt x="85" y="83"/>
                  <a:pt x="85" y="83"/>
                </a:cubicBezTo>
                <a:cubicBezTo>
                  <a:pt x="85" y="86"/>
                  <a:pt x="85" y="86"/>
                  <a:pt x="85" y="86"/>
                </a:cubicBezTo>
                <a:cubicBezTo>
                  <a:pt x="85" y="93"/>
                  <a:pt x="85" y="93"/>
                  <a:pt x="85" y="93"/>
                </a:cubicBezTo>
                <a:cubicBezTo>
                  <a:pt x="85" y="95"/>
                  <a:pt x="85" y="95"/>
                  <a:pt x="85" y="95"/>
                </a:cubicBezTo>
                <a:cubicBezTo>
                  <a:pt x="85" y="103"/>
                  <a:pt x="85" y="103"/>
                  <a:pt x="85" y="103"/>
                </a:cubicBezTo>
                <a:cubicBezTo>
                  <a:pt x="85" y="105"/>
                  <a:pt x="85" y="105"/>
                  <a:pt x="85" y="105"/>
                </a:cubicBezTo>
                <a:cubicBezTo>
                  <a:pt x="85" y="112"/>
                  <a:pt x="85" y="112"/>
                  <a:pt x="85" y="112"/>
                </a:cubicBezTo>
                <a:cubicBezTo>
                  <a:pt x="85" y="115"/>
                  <a:pt x="85" y="115"/>
                  <a:pt x="85" y="115"/>
                </a:cubicBezTo>
                <a:cubicBezTo>
                  <a:pt x="85" y="122"/>
                  <a:pt x="85" y="122"/>
                  <a:pt x="85" y="122"/>
                </a:cubicBezTo>
                <a:cubicBezTo>
                  <a:pt x="85" y="123"/>
                  <a:pt x="85" y="123"/>
                  <a:pt x="85" y="123"/>
                </a:cubicBezTo>
                <a:cubicBezTo>
                  <a:pt x="5" y="123"/>
                  <a:pt x="5" y="123"/>
                  <a:pt x="5" y="123"/>
                </a:cubicBezTo>
                <a:lnTo>
                  <a:pt x="5" y="21"/>
                </a:ln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32"/>
                  <a:pt x="85" y="132"/>
                  <a:pt x="85" y="132"/>
                </a:cubicBezTo>
                <a:cubicBezTo>
                  <a:pt x="85" y="134"/>
                  <a:pt x="85" y="134"/>
                  <a:pt x="85" y="134"/>
                </a:cubicBezTo>
                <a:cubicBezTo>
                  <a:pt x="85" y="142"/>
                  <a:pt x="85" y="142"/>
                  <a:pt x="85" y="142"/>
                </a:cubicBezTo>
                <a:cubicBezTo>
                  <a:pt x="85" y="144"/>
                  <a:pt x="85" y="144"/>
                  <a:pt x="85" y="144"/>
                </a:cubicBezTo>
                <a:cubicBezTo>
                  <a:pt x="85" y="148"/>
                  <a:pt x="85" y="148"/>
                  <a:pt x="85" y="148"/>
                </a:cubicBezTo>
                <a:cubicBezTo>
                  <a:pt x="85" y="149"/>
                  <a:pt x="85" y="150"/>
                  <a:pt x="85" y="151"/>
                </a:cubicBezTo>
                <a:cubicBezTo>
                  <a:pt x="85" y="151"/>
                  <a:pt x="84" y="151"/>
                  <a:pt x="84" y="152"/>
                </a:cubicBezTo>
                <a:cubicBezTo>
                  <a:pt x="83" y="154"/>
                  <a:pt x="81" y="155"/>
                  <a:pt x="79" y="155"/>
                </a:cubicBezTo>
                <a:close/>
                <a:moveTo>
                  <a:pt x="115" y="157"/>
                </a:moveTo>
                <a:cubicBezTo>
                  <a:pt x="115" y="159"/>
                  <a:pt x="114" y="160"/>
                  <a:pt x="112" y="160"/>
                </a:cubicBezTo>
                <a:cubicBezTo>
                  <a:pt x="109" y="160"/>
                  <a:pt x="109" y="160"/>
                  <a:pt x="109" y="160"/>
                </a:cubicBezTo>
                <a:cubicBezTo>
                  <a:pt x="108" y="160"/>
                  <a:pt x="107" y="159"/>
                  <a:pt x="107" y="157"/>
                </a:cubicBezTo>
                <a:cubicBezTo>
                  <a:pt x="107" y="156"/>
                  <a:pt x="108" y="155"/>
                  <a:pt x="109" y="155"/>
                </a:cubicBezTo>
                <a:cubicBezTo>
                  <a:pt x="112" y="155"/>
                  <a:pt x="112" y="155"/>
                  <a:pt x="112" y="155"/>
                </a:cubicBezTo>
                <a:cubicBezTo>
                  <a:pt x="114" y="155"/>
                  <a:pt x="115" y="156"/>
                  <a:pt x="115" y="157"/>
                </a:cubicBezTo>
                <a:close/>
                <a:moveTo>
                  <a:pt x="119" y="77"/>
                </a:moveTo>
                <a:cubicBezTo>
                  <a:pt x="117" y="77"/>
                  <a:pt x="116" y="76"/>
                  <a:pt x="116" y="75"/>
                </a:cubicBezTo>
                <a:cubicBezTo>
                  <a:pt x="116" y="73"/>
                  <a:pt x="117" y="72"/>
                  <a:pt x="119" y="72"/>
                </a:cubicBezTo>
                <a:cubicBezTo>
                  <a:pt x="121" y="72"/>
                  <a:pt x="121" y="72"/>
                  <a:pt x="121" y="72"/>
                </a:cubicBezTo>
                <a:cubicBezTo>
                  <a:pt x="123" y="72"/>
                  <a:pt x="124" y="73"/>
                  <a:pt x="124" y="75"/>
                </a:cubicBezTo>
                <a:cubicBezTo>
                  <a:pt x="124" y="76"/>
                  <a:pt x="123" y="77"/>
                  <a:pt x="121" y="77"/>
                </a:cubicBezTo>
                <a:lnTo>
                  <a:pt x="119" y="77"/>
                </a:lnTo>
                <a:close/>
                <a:moveTo>
                  <a:pt x="97" y="77"/>
                </a:moveTo>
                <a:cubicBezTo>
                  <a:pt x="96" y="77"/>
                  <a:pt x="95" y="76"/>
                  <a:pt x="95" y="75"/>
                </a:cubicBezTo>
                <a:cubicBezTo>
                  <a:pt x="95" y="73"/>
                  <a:pt x="96" y="72"/>
                  <a:pt x="97" y="72"/>
                </a:cubicBezTo>
                <a:cubicBezTo>
                  <a:pt x="100" y="72"/>
                  <a:pt x="100" y="72"/>
                  <a:pt x="100" y="72"/>
                </a:cubicBezTo>
                <a:cubicBezTo>
                  <a:pt x="101" y="72"/>
                  <a:pt x="103" y="73"/>
                  <a:pt x="103" y="75"/>
                </a:cubicBezTo>
                <a:cubicBezTo>
                  <a:pt x="103" y="76"/>
                  <a:pt x="101" y="77"/>
                  <a:pt x="100" y="77"/>
                </a:cubicBezTo>
                <a:lnTo>
                  <a:pt x="97" y="77"/>
                </a:lnTo>
                <a:close/>
                <a:moveTo>
                  <a:pt x="125" y="157"/>
                </a:moveTo>
                <a:cubicBezTo>
                  <a:pt x="125" y="159"/>
                  <a:pt x="124" y="160"/>
                  <a:pt x="123" y="160"/>
                </a:cubicBezTo>
                <a:cubicBezTo>
                  <a:pt x="120" y="160"/>
                  <a:pt x="120" y="160"/>
                  <a:pt x="120" y="160"/>
                </a:cubicBezTo>
                <a:cubicBezTo>
                  <a:pt x="119" y="160"/>
                  <a:pt x="117" y="159"/>
                  <a:pt x="117" y="157"/>
                </a:cubicBezTo>
                <a:cubicBezTo>
                  <a:pt x="117" y="156"/>
                  <a:pt x="119" y="155"/>
                  <a:pt x="120" y="155"/>
                </a:cubicBezTo>
                <a:cubicBezTo>
                  <a:pt x="123" y="155"/>
                  <a:pt x="123" y="155"/>
                  <a:pt x="123" y="155"/>
                </a:cubicBezTo>
                <a:cubicBezTo>
                  <a:pt x="124" y="155"/>
                  <a:pt x="125" y="156"/>
                  <a:pt x="125" y="157"/>
                </a:cubicBezTo>
                <a:close/>
                <a:moveTo>
                  <a:pt x="108" y="77"/>
                </a:moveTo>
                <a:cubicBezTo>
                  <a:pt x="106" y="77"/>
                  <a:pt x="105" y="76"/>
                  <a:pt x="105" y="75"/>
                </a:cubicBezTo>
                <a:cubicBezTo>
                  <a:pt x="105" y="73"/>
                  <a:pt x="106" y="72"/>
                  <a:pt x="108" y="72"/>
                </a:cubicBezTo>
                <a:cubicBezTo>
                  <a:pt x="111" y="72"/>
                  <a:pt x="111" y="72"/>
                  <a:pt x="111" y="72"/>
                </a:cubicBezTo>
                <a:cubicBezTo>
                  <a:pt x="112" y="72"/>
                  <a:pt x="113" y="73"/>
                  <a:pt x="113" y="75"/>
                </a:cubicBezTo>
                <a:cubicBezTo>
                  <a:pt x="113" y="76"/>
                  <a:pt x="112" y="77"/>
                  <a:pt x="111" y="77"/>
                </a:cubicBezTo>
                <a:lnTo>
                  <a:pt x="108" y="77"/>
                </a:lnTo>
                <a:close/>
                <a:moveTo>
                  <a:pt x="147" y="157"/>
                </a:moveTo>
                <a:cubicBezTo>
                  <a:pt x="147" y="159"/>
                  <a:pt x="145" y="160"/>
                  <a:pt x="144" y="160"/>
                </a:cubicBezTo>
                <a:cubicBezTo>
                  <a:pt x="141" y="160"/>
                  <a:pt x="141" y="160"/>
                  <a:pt x="141" y="160"/>
                </a:cubicBezTo>
                <a:cubicBezTo>
                  <a:pt x="140" y="160"/>
                  <a:pt x="139" y="159"/>
                  <a:pt x="139" y="157"/>
                </a:cubicBezTo>
                <a:cubicBezTo>
                  <a:pt x="139" y="156"/>
                  <a:pt x="140" y="155"/>
                  <a:pt x="141" y="155"/>
                </a:cubicBezTo>
                <a:cubicBezTo>
                  <a:pt x="144" y="155"/>
                  <a:pt x="144" y="155"/>
                  <a:pt x="144" y="155"/>
                </a:cubicBezTo>
                <a:cubicBezTo>
                  <a:pt x="145" y="155"/>
                  <a:pt x="147" y="156"/>
                  <a:pt x="147" y="157"/>
                </a:cubicBezTo>
                <a:close/>
                <a:moveTo>
                  <a:pt x="160" y="114"/>
                </a:moveTo>
                <a:cubicBezTo>
                  <a:pt x="160" y="117"/>
                  <a:pt x="160" y="117"/>
                  <a:pt x="160" y="117"/>
                </a:cubicBezTo>
                <a:cubicBezTo>
                  <a:pt x="160" y="118"/>
                  <a:pt x="159" y="119"/>
                  <a:pt x="157" y="119"/>
                </a:cubicBezTo>
                <a:cubicBezTo>
                  <a:pt x="156" y="119"/>
                  <a:pt x="155" y="118"/>
                  <a:pt x="155" y="117"/>
                </a:cubicBezTo>
                <a:cubicBezTo>
                  <a:pt x="155" y="114"/>
                  <a:pt x="155" y="114"/>
                  <a:pt x="155" y="114"/>
                </a:cubicBezTo>
                <a:cubicBezTo>
                  <a:pt x="155" y="112"/>
                  <a:pt x="156" y="111"/>
                  <a:pt x="157" y="111"/>
                </a:cubicBezTo>
                <a:cubicBezTo>
                  <a:pt x="159" y="111"/>
                  <a:pt x="160" y="112"/>
                  <a:pt x="160" y="114"/>
                </a:cubicBezTo>
                <a:close/>
                <a:moveTo>
                  <a:pt x="160" y="135"/>
                </a:moveTo>
                <a:cubicBezTo>
                  <a:pt x="160" y="138"/>
                  <a:pt x="160" y="138"/>
                  <a:pt x="160" y="138"/>
                </a:cubicBezTo>
                <a:cubicBezTo>
                  <a:pt x="160" y="139"/>
                  <a:pt x="159" y="140"/>
                  <a:pt x="157" y="140"/>
                </a:cubicBezTo>
                <a:cubicBezTo>
                  <a:pt x="156" y="140"/>
                  <a:pt x="155" y="139"/>
                  <a:pt x="155" y="138"/>
                </a:cubicBezTo>
                <a:cubicBezTo>
                  <a:pt x="155" y="135"/>
                  <a:pt x="155" y="135"/>
                  <a:pt x="155" y="135"/>
                </a:cubicBezTo>
                <a:cubicBezTo>
                  <a:pt x="155" y="134"/>
                  <a:pt x="156" y="132"/>
                  <a:pt x="157" y="132"/>
                </a:cubicBezTo>
                <a:cubicBezTo>
                  <a:pt x="159" y="132"/>
                  <a:pt x="160" y="134"/>
                  <a:pt x="160" y="135"/>
                </a:cubicBezTo>
                <a:close/>
                <a:moveTo>
                  <a:pt x="160" y="125"/>
                </a:moveTo>
                <a:cubicBezTo>
                  <a:pt x="160" y="127"/>
                  <a:pt x="160" y="127"/>
                  <a:pt x="160" y="127"/>
                </a:cubicBezTo>
                <a:cubicBezTo>
                  <a:pt x="160" y="129"/>
                  <a:pt x="159" y="130"/>
                  <a:pt x="157" y="130"/>
                </a:cubicBezTo>
                <a:cubicBezTo>
                  <a:pt x="156" y="130"/>
                  <a:pt x="155" y="129"/>
                  <a:pt x="155" y="127"/>
                </a:cubicBezTo>
                <a:cubicBezTo>
                  <a:pt x="155" y="125"/>
                  <a:pt x="155" y="125"/>
                  <a:pt x="155" y="125"/>
                </a:cubicBezTo>
                <a:cubicBezTo>
                  <a:pt x="155" y="123"/>
                  <a:pt x="156" y="122"/>
                  <a:pt x="157" y="122"/>
                </a:cubicBezTo>
                <a:cubicBezTo>
                  <a:pt x="159" y="122"/>
                  <a:pt x="160" y="123"/>
                  <a:pt x="160" y="125"/>
                </a:cubicBezTo>
                <a:close/>
                <a:moveTo>
                  <a:pt x="160" y="103"/>
                </a:moveTo>
                <a:cubicBezTo>
                  <a:pt x="160" y="106"/>
                  <a:pt x="160" y="106"/>
                  <a:pt x="160" y="106"/>
                </a:cubicBezTo>
                <a:cubicBezTo>
                  <a:pt x="160" y="107"/>
                  <a:pt x="159" y="109"/>
                  <a:pt x="157" y="109"/>
                </a:cubicBezTo>
                <a:cubicBezTo>
                  <a:pt x="156" y="109"/>
                  <a:pt x="155" y="107"/>
                  <a:pt x="155" y="106"/>
                </a:cubicBezTo>
                <a:cubicBezTo>
                  <a:pt x="155" y="103"/>
                  <a:pt x="155" y="103"/>
                  <a:pt x="155" y="103"/>
                </a:cubicBezTo>
                <a:cubicBezTo>
                  <a:pt x="155" y="102"/>
                  <a:pt x="156" y="101"/>
                  <a:pt x="157" y="101"/>
                </a:cubicBezTo>
                <a:cubicBezTo>
                  <a:pt x="159" y="101"/>
                  <a:pt x="160" y="102"/>
                  <a:pt x="160" y="103"/>
                </a:cubicBezTo>
                <a:close/>
                <a:moveTo>
                  <a:pt x="160" y="84"/>
                </a:moveTo>
                <a:cubicBezTo>
                  <a:pt x="160" y="85"/>
                  <a:pt x="160" y="85"/>
                  <a:pt x="160" y="85"/>
                </a:cubicBezTo>
                <a:cubicBezTo>
                  <a:pt x="160" y="86"/>
                  <a:pt x="159" y="87"/>
                  <a:pt x="157" y="87"/>
                </a:cubicBezTo>
                <a:cubicBezTo>
                  <a:pt x="156" y="87"/>
                  <a:pt x="155" y="86"/>
                  <a:pt x="155" y="85"/>
                </a:cubicBezTo>
                <a:cubicBezTo>
                  <a:pt x="155" y="84"/>
                  <a:pt x="155" y="84"/>
                  <a:pt x="155" y="84"/>
                </a:cubicBezTo>
                <a:cubicBezTo>
                  <a:pt x="155" y="83"/>
                  <a:pt x="155" y="83"/>
                  <a:pt x="155" y="83"/>
                </a:cubicBezTo>
                <a:cubicBezTo>
                  <a:pt x="154" y="81"/>
                  <a:pt x="155" y="80"/>
                  <a:pt x="157" y="80"/>
                </a:cubicBezTo>
                <a:cubicBezTo>
                  <a:pt x="158" y="79"/>
                  <a:pt x="160" y="80"/>
                  <a:pt x="160" y="82"/>
                </a:cubicBezTo>
                <a:cubicBezTo>
                  <a:pt x="160" y="82"/>
                  <a:pt x="160" y="83"/>
                  <a:pt x="160" y="84"/>
                </a:cubicBezTo>
                <a:close/>
                <a:moveTo>
                  <a:pt x="129" y="77"/>
                </a:moveTo>
                <a:cubicBezTo>
                  <a:pt x="128" y="77"/>
                  <a:pt x="126" y="76"/>
                  <a:pt x="126" y="75"/>
                </a:cubicBezTo>
                <a:cubicBezTo>
                  <a:pt x="126" y="73"/>
                  <a:pt x="128" y="72"/>
                  <a:pt x="129" y="72"/>
                </a:cubicBezTo>
                <a:cubicBezTo>
                  <a:pt x="132" y="72"/>
                  <a:pt x="132" y="72"/>
                  <a:pt x="132" y="72"/>
                </a:cubicBezTo>
                <a:cubicBezTo>
                  <a:pt x="133" y="72"/>
                  <a:pt x="134" y="73"/>
                  <a:pt x="134" y="75"/>
                </a:cubicBezTo>
                <a:cubicBezTo>
                  <a:pt x="134" y="76"/>
                  <a:pt x="133" y="77"/>
                  <a:pt x="132" y="77"/>
                </a:cubicBezTo>
                <a:lnTo>
                  <a:pt x="129" y="77"/>
                </a:lnTo>
                <a:close/>
                <a:moveTo>
                  <a:pt x="160" y="93"/>
                </a:moveTo>
                <a:cubicBezTo>
                  <a:pt x="160" y="95"/>
                  <a:pt x="160" y="95"/>
                  <a:pt x="160" y="95"/>
                </a:cubicBezTo>
                <a:cubicBezTo>
                  <a:pt x="160" y="97"/>
                  <a:pt x="159" y="98"/>
                  <a:pt x="157" y="98"/>
                </a:cubicBezTo>
                <a:cubicBezTo>
                  <a:pt x="156" y="98"/>
                  <a:pt x="155" y="97"/>
                  <a:pt x="155" y="95"/>
                </a:cubicBezTo>
                <a:cubicBezTo>
                  <a:pt x="155" y="93"/>
                  <a:pt x="155" y="93"/>
                  <a:pt x="155" y="93"/>
                </a:cubicBezTo>
                <a:cubicBezTo>
                  <a:pt x="155" y="91"/>
                  <a:pt x="156" y="90"/>
                  <a:pt x="157" y="90"/>
                </a:cubicBezTo>
                <a:cubicBezTo>
                  <a:pt x="159" y="90"/>
                  <a:pt x="160" y="91"/>
                  <a:pt x="160" y="93"/>
                </a:cubicBezTo>
                <a:close/>
                <a:moveTo>
                  <a:pt x="140" y="77"/>
                </a:moveTo>
                <a:cubicBezTo>
                  <a:pt x="138" y="77"/>
                  <a:pt x="137" y="76"/>
                  <a:pt x="137" y="75"/>
                </a:cubicBezTo>
                <a:cubicBezTo>
                  <a:pt x="137" y="73"/>
                  <a:pt x="138" y="72"/>
                  <a:pt x="140" y="72"/>
                </a:cubicBezTo>
                <a:cubicBezTo>
                  <a:pt x="142" y="72"/>
                  <a:pt x="142" y="72"/>
                  <a:pt x="142" y="72"/>
                </a:cubicBezTo>
                <a:cubicBezTo>
                  <a:pt x="144" y="72"/>
                  <a:pt x="145" y="73"/>
                  <a:pt x="145" y="75"/>
                </a:cubicBezTo>
                <a:cubicBezTo>
                  <a:pt x="145" y="76"/>
                  <a:pt x="144" y="77"/>
                  <a:pt x="142" y="77"/>
                </a:cubicBezTo>
                <a:lnTo>
                  <a:pt x="140" y="77"/>
                </a:lnTo>
                <a:close/>
                <a:moveTo>
                  <a:pt x="136" y="157"/>
                </a:moveTo>
                <a:cubicBezTo>
                  <a:pt x="136" y="159"/>
                  <a:pt x="135" y="160"/>
                  <a:pt x="133" y="160"/>
                </a:cubicBezTo>
                <a:cubicBezTo>
                  <a:pt x="131" y="160"/>
                  <a:pt x="131" y="160"/>
                  <a:pt x="131" y="160"/>
                </a:cubicBezTo>
                <a:cubicBezTo>
                  <a:pt x="129" y="160"/>
                  <a:pt x="128" y="159"/>
                  <a:pt x="128" y="157"/>
                </a:cubicBezTo>
                <a:cubicBezTo>
                  <a:pt x="128" y="156"/>
                  <a:pt x="129" y="155"/>
                  <a:pt x="131" y="155"/>
                </a:cubicBezTo>
                <a:cubicBezTo>
                  <a:pt x="133" y="155"/>
                  <a:pt x="133" y="155"/>
                  <a:pt x="133" y="155"/>
                </a:cubicBezTo>
                <a:cubicBezTo>
                  <a:pt x="135" y="155"/>
                  <a:pt x="136" y="156"/>
                  <a:pt x="136" y="157"/>
                </a:cubicBezTo>
                <a:close/>
                <a:moveTo>
                  <a:pt x="150" y="78"/>
                </a:moveTo>
                <a:cubicBezTo>
                  <a:pt x="148" y="77"/>
                  <a:pt x="147" y="76"/>
                  <a:pt x="148" y="74"/>
                </a:cubicBezTo>
                <a:cubicBezTo>
                  <a:pt x="148" y="73"/>
                  <a:pt x="149" y="72"/>
                  <a:pt x="151" y="72"/>
                </a:cubicBezTo>
                <a:cubicBezTo>
                  <a:pt x="152" y="73"/>
                  <a:pt x="153" y="73"/>
                  <a:pt x="154" y="74"/>
                </a:cubicBezTo>
                <a:cubicBezTo>
                  <a:pt x="155" y="74"/>
                  <a:pt x="156" y="76"/>
                  <a:pt x="155" y="77"/>
                </a:cubicBezTo>
                <a:cubicBezTo>
                  <a:pt x="155" y="78"/>
                  <a:pt x="154" y="79"/>
                  <a:pt x="153" y="79"/>
                </a:cubicBezTo>
                <a:cubicBezTo>
                  <a:pt x="152" y="79"/>
                  <a:pt x="152" y="78"/>
                  <a:pt x="151" y="78"/>
                </a:cubicBezTo>
                <a:cubicBezTo>
                  <a:pt x="151" y="78"/>
                  <a:pt x="150" y="78"/>
                  <a:pt x="150" y="78"/>
                </a:cubicBezTo>
                <a:close/>
                <a:moveTo>
                  <a:pt x="160" y="146"/>
                </a:moveTo>
                <a:cubicBezTo>
                  <a:pt x="160" y="148"/>
                  <a:pt x="160" y="148"/>
                  <a:pt x="160" y="148"/>
                </a:cubicBezTo>
                <a:cubicBezTo>
                  <a:pt x="160" y="150"/>
                  <a:pt x="159" y="151"/>
                  <a:pt x="157" y="151"/>
                </a:cubicBezTo>
                <a:cubicBezTo>
                  <a:pt x="156" y="151"/>
                  <a:pt x="155" y="150"/>
                  <a:pt x="155" y="148"/>
                </a:cubicBezTo>
                <a:cubicBezTo>
                  <a:pt x="155" y="146"/>
                  <a:pt x="155" y="146"/>
                  <a:pt x="155" y="146"/>
                </a:cubicBezTo>
                <a:cubicBezTo>
                  <a:pt x="155" y="144"/>
                  <a:pt x="156" y="143"/>
                  <a:pt x="157" y="143"/>
                </a:cubicBezTo>
                <a:cubicBezTo>
                  <a:pt x="159" y="143"/>
                  <a:pt x="160" y="144"/>
                  <a:pt x="160" y="146"/>
                </a:cubicBezTo>
                <a:close/>
                <a:moveTo>
                  <a:pt x="156" y="154"/>
                </a:moveTo>
                <a:cubicBezTo>
                  <a:pt x="157" y="155"/>
                  <a:pt x="157" y="156"/>
                  <a:pt x="156" y="157"/>
                </a:cubicBezTo>
                <a:cubicBezTo>
                  <a:pt x="155" y="158"/>
                  <a:pt x="154" y="159"/>
                  <a:pt x="153" y="159"/>
                </a:cubicBezTo>
                <a:cubicBezTo>
                  <a:pt x="152" y="159"/>
                  <a:pt x="152" y="159"/>
                  <a:pt x="152" y="159"/>
                </a:cubicBezTo>
                <a:cubicBezTo>
                  <a:pt x="151" y="159"/>
                  <a:pt x="150" y="159"/>
                  <a:pt x="149" y="158"/>
                </a:cubicBezTo>
                <a:cubicBezTo>
                  <a:pt x="149" y="156"/>
                  <a:pt x="149" y="155"/>
                  <a:pt x="151" y="154"/>
                </a:cubicBezTo>
                <a:cubicBezTo>
                  <a:pt x="151" y="154"/>
                  <a:pt x="152" y="154"/>
                  <a:pt x="152" y="153"/>
                </a:cubicBezTo>
                <a:cubicBezTo>
                  <a:pt x="153" y="152"/>
                  <a:pt x="155" y="152"/>
                  <a:pt x="156" y="154"/>
                </a:cubicBezTo>
                <a:close/>
                <a:moveTo>
                  <a:pt x="137" y="55"/>
                </a:moveTo>
                <a:cubicBezTo>
                  <a:pt x="121" y="39"/>
                  <a:pt x="121" y="39"/>
                  <a:pt x="121" y="39"/>
                </a:cubicBezTo>
                <a:cubicBezTo>
                  <a:pt x="120" y="38"/>
                  <a:pt x="120" y="36"/>
                  <a:pt x="121" y="35"/>
                </a:cubicBezTo>
                <a:cubicBezTo>
                  <a:pt x="122" y="34"/>
                  <a:pt x="124" y="34"/>
                  <a:pt x="125" y="35"/>
                </a:cubicBezTo>
                <a:cubicBezTo>
                  <a:pt x="136" y="47"/>
                  <a:pt x="136" y="47"/>
                  <a:pt x="136" y="47"/>
                </a:cubicBezTo>
                <a:cubicBezTo>
                  <a:pt x="136" y="40"/>
                  <a:pt x="136" y="40"/>
                  <a:pt x="136" y="40"/>
                </a:cubicBezTo>
                <a:cubicBezTo>
                  <a:pt x="136" y="24"/>
                  <a:pt x="123" y="11"/>
                  <a:pt x="107" y="11"/>
                </a:cubicBezTo>
                <a:cubicBezTo>
                  <a:pt x="105" y="11"/>
                  <a:pt x="104" y="9"/>
                  <a:pt x="104" y="8"/>
                </a:cubicBezTo>
                <a:cubicBezTo>
                  <a:pt x="104" y="7"/>
                  <a:pt x="105" y="5"/>
                  <a:pt x="107" y="5"/>
                </a:cubicBezTo>
                <a:cubicBezTo>
                  <a:pt x="126" y="5"/>
                  <a:pt x="141" y="21"/>
                  <a:pt x="141" y="40"/>
                </a:cubicBezTo>
                <a:cubicBezTo>
                  <a:pt x="141" y="47"/>
                  <a:pt x="141" y="47"/>
                  <a:pt x="141" y="47"/>
                </a:cubicBezTo>
                <a:cubicBezTo>
                  <a:pt x="153" y="35"/>
                  <a:pt x="153" y="35"/>
                  <a:pt x="153" y="35"/>
                </a:cubicBezTo>
                <a:cubicBezTo>
                  <a:pt x="154" y="34"/>
                  <a:pt x="156" y="34"/>
                  <a:pt x="157" y="35"/>
                </a:cubicBezTo>
                <a:cubicBezTo>
                  <a:pt x="158" y="36"/>
                  <a:pt x="158" y="38"/>
                  <a:pt x="157" y="39"/>
                </a:cubicBezTo>
                <a:cubicBezTo>
                  <a:pt x="141" y="55"/>
                  <a:pt x="141" y="55"/>
                  <a:pt x="141" y="55"/>
                </a:cubicBezTo>
                <a:cubicBezTo>
                  <a:pt x="140" y="55"/>
                  <a:pt x="140" y="56"/>
                  <a:pt x="140" y="56"/>
                </a:cubicBezTo>
                <a:cubicBezTo>
                  <a:pt x="139" y="56"/>
                  <a:pt x="139" y="56"/>
                  <a:pt x="139" y="56"/>
                </a:cubicBezTo>
                <a:cubicBezTo>
                  <a:pt x="138" y="56"/>
                  <a:pt x="138" y="56"/>
                  <a:pt x="138" y="56"/>
                </a:cubicBezTo>
                <a:cubicBezTo>
                  <a:pt x="137" y="56"/>
                  <a:pt x="137" y="55"/>
                  <a:pt x="137" y="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75" name="Freeform 1377">
            <a:extLst>
              <a:ext uri="{FF2B5EF4-FFF2-40B4-BE49-F238E27FC236}">
                <a16:creationId xmlns:a16="http://schemas.microsoft.com/office/drawing/2014/main" id="{3C437BC5-CDB4-3049-B1A5-A84B14EDEFFD}"/>
              </a:ext>
            </a:extLst>
          </p:cNvPr>
          <p:cNvSpPr>
            <a:spLocks noEditPoints="1"/>
          </p:cNvSpPr>
          <p:nvPr/>
        </p:nvSpPr>
        <p:spPr bwMode="auto">
          <a:xfrm>
            <a:off x="10932957" y="4683125"/>
            <a:ext cx="546100" cy="550863"/>
          </a:xfrm>
          <a:custGeom>
            <a:avLst/>
            <a:gdLst>
              <a:gd name="T0" fmla="*/ 19 w 160"/>
              <a:gd name="T1" fmla="*/ 104 h 160"/>
              <a:gd name="T2" fmla="*/ 19 w 160"/>
              <a:gd name="T3" fmla="*/ 120 h 160"/>
              <a:gd name="T4" fmla="*/ 147 w 160"/>
              <a:gd name="T5" fmla="*/ 104 h 160"/>
              <a:gd name="T6" fmla="*/ 149 w 160"/>
              <a:gd name="T7" fmla="*/ 128 h 160"/>
              <a:gd name="T8" fmla="*/ 99 w 160"/>
              <a:gd name="T9" fmla="*/ 19 h 160"/>
              <a:gd name="T10" fmla="*/ 96 w 160"/>
              <a:gd name="T11" fmla="*/ 16 h 160"/>
              <a:gd name="T12" fmla="*/ 136 w 160"/>
              <a:gd name="T13" fmla="*/ 21 h 160"/>
              <a:gd name="T14" fmla="*/ 152 w 160"/>
              <a:gd name="T15" fmla="*/ 19 h 160"/>
              <a:gd name="T16" fmla="*/ 149 w 160"/>
              <a:gd name="T17" fmla="*/ 16 h 160"/>
              <a:gd name="T18" fmla="*/ 104 w 160"/>
              <a:gd name="T19" fmla="*/ 16 h 160"/>
              <a:gd name="T20" fmla="*/ 128 w 160"/>
              <a:gd name="T21" fmla="*/ 21 h 160"/>
              <a:gd name="T22" fmla="*/ 120 w 160"/>
              <a:gd name="T23" fmla="*/ 19 h 160"/>
              <a:gd name="T24" fmla="*/ 117 w 160"/>
              <a:gd name="T25" fmla="*/ 16 h 160"/>
              <a:gd name="T26" fmla="*/ 80 w 160"/>
              <a:gd name="T27" fmla="*/ 19 h 160"/>
              <a:gd name="T28" fmla="*/ 158 w 160"/>
              <a:gd name="T29" fmla="*/ 74 h 160"/>
              <a:gd name="T30" fmla="*/ 155 w 160"/>
              <a:gd name="T31" fmla="*/ 71 h 160"/>
              <a:gd name="T32" fmla="*/ 152 w 160"/>
              <a:gd name="T33" fmla="*/ 70 h 160"/>
              <a:gd name="T34" fmla="*/ 132 w 160"/>
              <a:gd name="T35" fmla="*/ 69 h 160"/>
              <a:gd name="T36" fmla="*/ 105 w 160"/>
              <a:gd name="T37" fmla="*/ 69 h 160"/>
              <a:gd name="T38" fmla="*/ 83 w 160"/>
              <a:gd name="T39" fmla="*/ 69 h 160"/>
              <a:gd name="T40" fmla="*/ 0 w 160"/>
              <a:gd name="T41" fmla="*/ 81 h 160"/>
              <a:gd name="T42" fmla="*/ 160 w 160"/>
              <a:gd name="T43" fmla="*/ 81 h 160"/>
              <a:gd name="T44" fmla="*/ 86 w 160"/>
              <a:gd name="T45" fmla="*/ 75 h 160"/>
              <a:gd name="T46" fmla="*/ 113 w 160"/>
              <a:gd name="T47" fmla="*/ 75 h 160"/>
              <a:gd name="T48" fmla="*/ 134 w 160"/>
              <a:gd name="T49" fmla="*/ 75 h 160"/>
              <a:gd name="T50" fmla="*/ 72 w 160"/>
              <a:gd name="T51" fmla="*/ 75 h 160"/>
              <a:gd name="T52" fmla="*/ 32 w 160"/>
              <a:gd name="T53" fmla="*/ 75 h 160"/>
              <a:gd name="T54" fmla="*/ 148 w 160"/>
              <a:gd name="T55" fmla="*/ 155 h 160"/>
              <a:gd name="T56" fmla="*/ 151 w 160"/>
              <a:gd name="T57" fmla="*/ 75 h 160"/>
              <a:gd name="T58" fmla="*/ 157 w 160"/>
              <a:gd name="T59" fmla="*/ 56 h 160"/>
              <a:gd name="T60" fmla="*/ 155 w 160"/>
              <a:gd name="T61" fmla="*/ 59 h 160"/>
              <a:gd name="T62" fmla="*/ 157 w 160"/>
              <a:gd name="T63" fmla="*/ 43 h 160"/>
              <a:gd name="T64" fmla="*/ 127 w 160"/>
              <a:gd name="T65" fmla="*/ 0 h 160"/>
              <a:gd name="T66" fmla="*/ 143 w 160"/>
              <a:gd name="T67" fmla="*/ 3 h 160"/>
              <a:gd name="T68" fmla="*/ 146 w 160"/>
              <a:gd name="T69" fmla="*/ 5 h 160"/>
              <a:gd name="T70" fmla="*/ 140 w 160"/>
              <a:gd name="T71" fmla="*/ 3 h 160"/>
              <a:gd name="T72" fmla="*/ 154 w 160"/>
              <a:gd name="T73" fmla="*/ 4 h 160"/>
              <a:gd name="T74" fmla="*/ 154 w 160"/>
              <a:gd name="T75" fmla="*/ 9 h 160"/>
              <a:gd name="T76" fmla="*/ 160 w 160"/>
              <a:gd name="T77" fmla="*/ 27 h 160"/>
              <a:gd name="T78" fmla="*/ 157 w 160"/>
              <a:gd name="T79" fmla="*/ 45 h 160"/>
              <a:gd name="T80" fmla="*/ 155 w 160"/>
              <a:gd name="T81" fmla="*/ 48 h 160"/>
              <a:gd name="T82" fmla="*/ 155 w 160"/>
              <a:gd name="T83" fmla="*/ 16 h 160"/>
              <a:gd name="T84" fmla="*/ 75 w 160"/>
              <a:gd name="T85" fmla="*/ 26 h 160"/>
              <a:gd name="T86" fmla="*/ 72 w 160"/>
              <a:gd name="T87" fmla="*/ 41 h 160"/>
              <a:gd name="T88" fmla="*/ 75 w 160"/>
              <a:gd name="T89" fmla="*/ 44 h 160"/>
              <a:gd name="T90" fmla="*/ 77 w 160"/>
              <a:gd name="T91" fmla="*/ 60 h 160"/>
              <a:gd name="T92" fmla="*/ 114 w 160"/>
              <a:gd name="T93" fmla="*/ 0 h 160"/>
              <a:gd name="T94" fmla="*/ 111 w 160"/>
              <a:gd name="T95" fmla="*/ 3 h 160"/>
              <a:gd name="T96" fmla="*/ 77 w 160"/>
              <a:gd name="T97" fmla="*/ 20 h 160"/>
              <a:gd name="T98" fmla="*/ 75 w 160"/>
              <a:gd name="T99" fmla="*/ 47 h 160"/>
              <a:gd name="T100" fmla="*/ 101 w 160"/>
              <a:gd name="T101" fmla="*/ 3 h 160"/>
              <a:gd name="T102" fmla="*/ 103 w 160"/>
              <a:gd name="T103" fmla="*/ 5 h 160"/>
              <a:gd name="T104" fmla="*/ 98 w 160"/>
              <a:gd name="T105" fmla="*/ 3 h 160"/>
              <a:gd name="T106" fmla="*/ 74 w 160"/>
              <a:gd name="T107" fmla="*/ 6 h 160"/>
              <a:gd name="T108" fmla="*/ 74 w 160"/>
              <a:gd name="T109" fmla="*/ 12 h 160"/>
              <a:gd name="T110" fmla="*/ 85 w 160"/>
              <a:gd name="T111" fmla="*/ 0 h 160"/>
              <a:gd name="T112" fmla="*/ 82 w 160"/>
              <a:gd name="T113" fmla="*/ 5 h 160"/>
              <a:gd name="T114" fmla="*/ 38 w 160"/>
              <a:gd name="T115" fmla="*/ 10 h 160"/>
              <a:gd name="T116" fmla="*/ 58 w 160"/>
              <a:gd name="T117" fmla="*/ 25 h 160"/>
              <a:gd name="T118" fmla="*/ 38 w 160"/>
              <a:gd name="T119" fmla="*/ 38 h 160"/>
              <a:gd name="T120" fmla="*/ 8 w 160"/>
              <a:gd name="T121" fmla="*/ 5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60">
                <a:moveTo>
                  <a:pt x="19" y="104"/>
                </a:moveTo>
                <a:cubicBezTo>
                  <a:pt x="13" y="104"/>
                  <a:pt x="8" y="109"/>
                  <a:pt x="8" y="115"/>
                </a:cubicBezTo>
                <a:cubicBezTo>
                  <a:pt x="8" y="121"/>
                  <a:pt x="13" y="125"/>
                  <a:pt x="19" y="125"/>
                </a:cubicBezTo>
                <a:cubicBezTo>
                  <a:pt x="25" y="125"/>
                  <a:pt x="29" y="121"/>
                  <a:pt x="29" y="115"/>
                </a:cubicBezTo>
                <a:cubicBezTo>
                  <a:pt x="29" y="109"/>
                  <a:pt x="25" y="104"/>
                  <a:pt x="19" y="104"/>
                </a:cubicBezTo>
                <a:close/>
                <a:moveTo>
                  <a:pt x="19" y="120"/>
                </a:moveTo>
                <a:cubicBezTo>
                  <a:pt x="16" y="120"/>
                  <a:pt x="13" y="118"/>
                  <a:pt x="13" y="115"/>
                </a:cubicBezTo>
                <a:cubicBezTo>
                  <a:pt x="13" y="112"/>
                  <a:pt x="16" y="109"/>
                  <a:pt x="19" y="109"/>
                </a:cubicBezTo>
                <a:cubicBezTo>
                  <a:pt x="22" y="109"/>
                  <a:pt x="24" y="112"/>
                  <a:pt x="24" y="115"/>
                </a:cubicBezTo>
                <a:cubicBezTo>
                  <a:pt x="24" y="118"/>
                  <a:pt x="22" y="120"/>
                  <a:pt x="19" y="120"/>
                </a:cubicBezTo>
                <a:close/>
                <a:moveTo>
                  <a:pt x="152" y="104"/>
                </a:moveTo>
                <a:cubicBezTo>
                  <a:pt x="152" y="115"/>
                  <a:pt x="152" y="115"/>
                  <a:pt x="152" y="115"/>
                </a:cubicBezTo>
                <a:cubicBezTo>
                  <a:pt x="152" y="116"/>
                  <a:pt x="151" y="117"/>
                  <a:pt x="149" y="117"/>
                </a:cubicBezTo>
                <a:cubicBezTo>
                  <a:pt x="148" y="117"/>
                  <a:pt x="147" y="116"/>
                  <a:pt x="147" y="115"/>
                </a:cubicBezTo>
                <a:cubicBezTo>
                  <a:pt x="147" y="104"/>
                  <a:pt x="147" y="104"/>
                  <a:pt x="147" y="104"/>
                </a:cubicBezTo>
                <a:cubicBezTo>
                  <a:pt x="147" y="103"/>
                  <a:pt x="148" y="101"/>
                  <a:pt x="149" y="101"/>
                </a:cubicBezTo>
                <a:cubicBezTo>
                  <a:pt x="151" y="101"/>
                  <a:pt x="152" y="103"/>
                  <a:pt x="152" y="104"/>
                </a:cubicBezTo>
                <a:close/>
                <a:moveTo>
                  <a:pt x="152" y="123"/>
                </a:moveTo>
                <a:cubicBezTo>
                  <a:pt x="152" y="125"/>
                  <a:pt x="152" y="125"/>
                  <a:pt x="152" y="125"/>
                </a:cubicBezTo>
                <a:cubicBezTo>
                  <a:pt x="152" y="127"/>
                  <a:pt x="151" y="128"/>
                  <a:pt x="149" y="128"/>
                </a:cubicBezTo>
                <a:cubicBezTo>
                  <a:pt x="148" y="128"/>
                  <a:pt x="147" y="127"/>
                  <a:pt x="147" y="125"/>
                </a:cubicBezTo>
                <a:cubicBezTo>
                  <a:pt x="147" y="123"/>
                  <a:pt x="147" y="123"/>
                  <a:pt x="147" y="123"/>
                </a:cubicBezTo>
                <a:cubicBezTo>
                  <a:pt x="147" y="121"/>
                  <a:pt x="148" y="120"/>
                  <a:pt x="149" y="120"/>
                </a:cubicBezTo>
                <a:cubicBezTo>
                  <a:pt x="151" y="120"/>
                  <a:pt x="152" y="121"/>
                  <a:pt x="152" y="123"/>
                </a:cubicBezTo>
                <a:close/>
                <a:moveTo>
                  <a:pt x="99" y="19"/>
                </a:moveTo>
                <a:cubicBezTo>
                  <a:pt x="99" y="20"/>
                  <a:pt x="97" y="21"/>
                  <a:pt x="96" y="21"/>
                </a:cubicBezTo>
                <a:cubicBezTo>
                  <a:pt x="93" y="21"/>
                  <a:pt x="93" y="21"/>
                  <a:pt x="93" y="21"/>
                </a:cubicBezTo>
                <a:cubicBezTo>
                  <a:pt x="92" y="21"/>
                  <a:pt x="91" y="20"/>
                  <a:pt x="91" y="19"/>
                </a:cubicBezTo>
                <a:cubicBezTo>
                  <a:pt x="91" y="17"/>
                  <a:pt x="92" y="16"/>
                  <a:pt x="93" y="16"/>
                </a:cubicBezTo>
                <a:cubicBezTo>
                  <a:pt x="96" y="16"/>
                  <a:pt x="96" y="16"/>
                  <a:pt x="96" y="16"/>
                </a:cubicBezTo>
                <a:cubicBezTo>
                  <a:pt x="97" y="16"/>
                  <a:pt x="99" y="17"/>
                  <a:pt x="99" y="19"/>
                </a:cubicBezTo>
                <a:close/>
                <a:moveTo>
                  <a:pt x="139" y="16"/>
                </a:moveTo>
                <a:cubicBezTo>
                  <a:pt x="140" y="16"/>
                  <a:pt x="141" y="17"/>
                  <a:pt x="141" y="19"/>
                </a:cubicBezTo>
                <a:cubicBezTo>
                  <a:pt x="141" y="20"/>
                  <a:pt x="140" y="21"/>
                  <a:pt x="139" y="21"/>
                </a:cubicBezTo>
                <a:cubicBezTo>
                  <a:pt x="136" y="21"/>
                  <a:pt x="136" y="21"/>
                  <a:pt x="136" y="21"/>
                </a:cubicBezTo>
                <a:cubicBezTo>
                  <a:pt x="135" y="21"/>
                  <a:pt x="133" y="20"/>
                  <a:pt x="133" y="19"/>
                </a:cubicBezTo>
                <a:cubicBezTo>
                  <a:pt x="133" y="17"/>
                  <a:pt x="135" y="16"/>
                  <a:pt x="136" y="16"/>
                </a:cubicBezTo>
                <a:lnTo>
                  <a:pt x="139" y="16"/>
                </a:lnTo>
                <a:close/>
                <a:moveTo>
                  <a:pt x="149" y="16"/>
                </a:moveTo>
                <a:cubicBezTo>
                  <a:pt x="151" y="16"/>
                  <a:pt x="152" y="17"/>
                  <a:pt x="152" y="19"/>
                </a:cubicBezTo>
                <a:cubicBezTo>
                  <a:pt x="152" y="20"/>
                  <a:pt x="151" y="21"/>
                  <a:pt x="149" y="21"/>
                </a:cubicBezTo>
                <a:cubicBezTo>
                  <a:pt x="147" y="21"/>
                  <a:pt x="147" y="21"/>
                  <a:pt x="147" y="21"/>
                </a:cubicBezTo>
                <a:cubicBezTo>
                  <a:pt x="145" y="21"/>
                  <a:pt x="144" y="20"/>
                  <a:pt x="144" y="19"/>
                </a:cubicBezTo>
                <a:cubicBezTo>
                  <a:pt x="144" y="17"/>
                  <a:pt x="145" y="16"/>
                  <a:pt x="147" y="16"/>
                </a:cubicBezTo>
                <a:lnTo>
                  <a:pt x="149" y="16"/>
                </a:lnTo>
                <a:close/>
                <a:moveTo>
                  <a:pt x="109" y="19"/>
                </a:moveTo>
                <a:cubicBezTo>
                  <a:pt x="109" y="20"/>
                  <a:pt x="108" y="21"/>
                  <a:pt x="107" y="21"/>
                </a:cubicBezTo>
                <a:cubicBezTo>
                  <a:pt x="104" y="21"/>
                  <a:pt x="104" y="21"/>
                  <a:pt x="104" y="21"/>
                </a:cubicBezTo>
                <a:cubicBezTo>
                  <a:pt x="103" y="21"/>
                  <a:pt x="101" y="20"/>
                  <a:pt x="101" y="19"/>
                </a:cubicBezTo>
                <a:cubicBezTo>
                  <a:pt x="101" y="17"/>
                  <a:pt x="103" y="16"/>
                  <a:pt x="104" y="16"/>
                </a:cubicBezTo>
                <a:cubicBezTo>
                  <a:pt x="107" y="16"/>
                  <a:pt x="107" y="16"/>
                  <a:pt x="107" y="16"/>
                </a:cubicBezTo>
                <a:cubicBezTo>
                  <a:pt x="108" y="16"/>
                  <a:pt x="109" y="17"/>
                  <a:pt x="109" y="19"/>
                </a:cubicBezTo>
                <a:close/>
                <a:moveTo>
                  <a:pt x="128" y="16"/>
                </a:moveTo>
                <a:cubicBezTo>
                  <a:pt x="129" y="16"/>
                  <a:pt x="131" y="17"/>
                  <a:pt x="131" y="19"/>
                </a:cubicBezTo>
                <a:cubicBezTo>
                  <a:pt x="131" y="20"/>
                  <a:pt x="129" y="21"/>
                  <a:pt x="128" y="21"/>
                </a:cubicBezTo>
                <a:cubicBezTo>
                  <a:pt x="125" y="21"/>
                  <a:pt x="125" y="21"/>
                  <a:pt x="125" y="21"/>
                </a:cubicBezTo>
                <a:cubicBezTo>
                  <a:pt x="124" y="21"/>
                  <a:pt x="123" y="20"/>
                  <a:pt x="123" y="19"/>
                </a:cubicBezTo>
                <a:cubicBezTo>
                  <a:pt x="123" y="17"/>
                  <a:pt x="124" y="16"/>
                  <a:pt x="125" y="16"/>
                </a:cubicBezTo>
                <a:lnTo>
                  <a:pt x="128" y="16"/>
                </a:lnTo>
                <a:close/>
                <a:moveTo>
                  <a:pt x="120" y="19"/>
                </a:moveTo>
                <a:cubicBezTo>
                  <a:pt x="120" y="20"/>
                  <a:pt x="119" y="21"/>
                  <a:pt x="117" y="21"/>
                </a:cubicBezTo>
                <a:cubicBezTo>
                  <a:pt x="115" y="21"/>
                  <a:pt x="115" y="21"/>
                  <a:pt x="115" y="21"/>
                </a:cubicBezTo>
                <a:cubicBezTo>
                  <a:pt x="113" y="21"/>
                  <a:pt x="112" y="20"/>
                  <a:pt x="112" y="19"/>
                </a:cubicBezTo>
                <a:cubicBezTo>
                  <a:pt x="112" y="17"/>
                  <a:pt x="113" y="16"/>
                  <a:pt x="115" y="16"/>
                </a:cubicBezTo>
                <a:cubicBezTo>
                  <a:pt x="117" y="16"/>
                  <a:pt x="117" y="16"/>
                  <a:pt x="117" y="16"/>
                </a:cubicBezTo>
                <a:cubicBezTo>
                  <a:pt x="119" y="16"/>
                  <a:pt x="120" y="17"/>
                  <a:pt x="120" y="19"/>
                </a:cubicBezTo>
                <a:close/>
                <a:moveTo>
                  <a:pt x="88" y="19"/>
                </a:moveTo>
                <a:cubicBezTo>
                  <a:pt x="88" y="20"/>
                  <a:pt x="87" y="21"/>
                  <a:pt x="85" y="21"/>
                </a:cubicBezTo>
                <a:cubicBezTo>
                  <a:pt x="83" y="21"/>
                  <a:pt x="83" y="21"/>
                  <a:pt x="83" y="21"/>
                </a:cubicBezTo>
                <a:cubicBezTo>
                  <a:pt x="81" y="21"/>
                  <a:pt x="80" y="20"/>
                  <a:pt x="80" y="19"/>
                </a:cubicBezTo>
                <a:cubicBezTo>
                  <a:pt x="80" y="17"/>
                  <a:pt x="81" y="16"/>
                  <a:pt x="83" y="16"/>
                </a:cubicBezTo>
                <a:cubicBezTo>
                  <a:pt x="85" y="16"/>
                  <a:pt x="85" y="16"/>
                  <a:pt x="85" y="16"/>
                </a:cubicBezTo>
                <a:cubicBezTo>
                  <a:pt x="87" y="16"/>
                  <a:pt x="88" y="17"/>
                  <a:pt x="88" y="19"/>
                </a:cubicBezTo>
                <a:close/>
                <a:moveTo>
                  <a:pt x="160" y="79"/>
                </a:moveTo>
                <a:cubicBezTo>
                  <a:pt x="159" y="77"/>
                  <a:pt x="159" y="76"/>
                  <a:pt x="158" y="74"/>
                </a:cubicBezTo>
                <a:cubicBezTo>
                  <a:pt x="159" y="74"/>
                  <a:pt x="160" y="73"/>
                  <a:pt x="160" y="72"/>
                </a:cubicBezTo>
                <a:cubicBezTo>
                  <a:pt x="160" y="69"/>
                  <a:pt x="160" y="69"/>
                  <a:pt x="160" y="69"/>
                </a:cubicBezTo>
                <a:cubicBezTo>
                  <a:pt x="160" y="68"/>
                  <a:pt x="159" y="66"/>
                  <a:pt x="157" y="66"/>
                </a:cubicBezTo>
                <a:cubicBezTo>
                  <a:pt x="156" y="66"/>
                  <a:pt x="155" y="68"/>
                  <a:pt x="155" y="69"/>
                </a:cubicBezTo>
                <a:cubicBezTo>
                  <a:pt x="155" y="71"/>
                  <a:pt x="155" y="71"/>
                  <a:pt x="155" y="71"/>
                </a:cubicBezTo>
                <a:cubicBezTo>
                  <a:pt x="155" y="71"/>
                  <a:pt x="155" y="71"/>
                  <a:pt x="155" y="71"/>
                </a:cubicBezTo>
                <a:cubicBezTo>
                  <a:pt x="154" y="71"/>
                  <a:pt x="154" y="71"/>
                  <a:pt x="153" y="70"/>
                </a:cubicBezTo>
                <a:cubicBezTo>
                  <a:pt x="153" y="70"/>
                  <a:pt x="153" y="70"/>
                  <a:pt x="153" y="70"/>
                </a:cubicBezTo>
                <a:cubicBezTo>
                  <a:pt x="153" y="70"/>
                  <a:pt x="152" y="70"/>
                  <a:pt x="152" y="70"/>
                </a:cubicBezTo>
                <a:cubicBezTo>
                  <a:pt x="152" y="70"/>
                  <a:pt x="152" y="70"/>
                  <a:pt x="152" y="70"/>
                </a:cubicBezTo>
                <a:cubicBezTo>
                  <a:pt x="151" y="70"/>
                  <a:pt x="150" y="69"/>
                  <a:pt x="148" y="69"/>
                </a:cubicBezTo>
                <a:cubicBezTo>
                  <a:pt x="144" y="69"/>
                  <a:pt x="144" y="69"/>
                  <a:pt x="144" y="69"/>
                </a:cubicBezTo>
                <a:cubicBezTo>
                  <a:pt x="142" y="69"/>
                  <a:pt x="142" y="69"/>
                  <a:pt x="142" y="69"/>
                </a:cubicBezTo>
                <a:cubicBezTo>
                  <a:pt x="134" y="69"/>
                  <a:pt x="134" y="69"/>
                  <a:pt x="134" y="69"/>
                </a:cubicBezTo>
                <a:cubicBezTo>
                  <a:pt x="132" y="69"/>
                  <a:pt x="132" y="69"/>
                  <a:pt x="132" y="69"/>
                </a:cubicBezTo>
                <a:cubicBezTo>
                  <a:pt x="125" y="69"/>
                  <a:pt x="125" y="69"/>
                  <a:pt x="125" y="69"/>
                </a:cubicBezTo>
                <a:cubicBezTo>
                  <a:pt x="122" y="69"/>
                  <a:pt x="122" y="69"/>
                  <a:pt x="122" y="69"/>
                </a:cubicBezTo>
                <a:cubicBezTo>
                  <a:pt x="115" y="69"/>
                  <a:pt x="115" y="69"/>
                  <a:pt x="115" y="69"/>
                </a:cubicBezTo>
                <a:cubicBezTo>
                  <a:pt x="113" y="69"/>
                  <a:pt x="113" y="69"/>
                  <a:pt x="113" y="69"/>
                </a:cubicBezTo>
                <a:cubicBezTo>
                  <a:pt x="105" y="69"/>
                  <a:pt x="105" y="69"/>
                  <a:pt x="105" y="69"/>
                </a:cubicBezTo>
                <a:cubicBezTo>
                  <a:pt x="103" y="69"/>
                  <a:pt x="103" y="69"/>
                  <a:pt x="103" y="69"/>
                </a:cubicBezTo>
                <a:cubicBezTo>
                  <a:pt x="95" y="69"/>
                  <a:pt x="95" y="69"/>
                  <a:pt x="95" y="69"/>
                </a:cubicBezTo>
                <a:cubicBezTo>
                  <a:pt x="93" y="69"/>
                  <a:pt x="93" y="69"/>
                  <a:pt x="93" y="69"/>
                </a:cubicBezTo>
                <a:cubicBezTo>
                  <a:pt x="86" y="69"/>
                  <a:pt x="86" y="69"/>
                  <a:pt x="86" y="69"/>
                </a:cubicBezTo>
                <a:cubicBezTo>
                  <a:pt x="83" y="69"/>
                  <a:pt x="83" y="69"/>
                  <a:pt x="83" y="69"/>
                </a:cubicBezTo>
                <a:cubicBezTo>
                  <a:pt x="77" y="69"/>
                  <a:pt x="77" y="69"/>
                  <a:pt x="77" y="69"/>
                </a:cubicBezTo>
                <a:cubicBezTo>
                  <a:pt x="76" y="69"/>
                  <a:pt x="76" y="68"/>
                  <a:pt x="75" y="68"/>
                </a:cubicBezTo>
                <a:cubicBezTo>
                  <a:pt x="74" y="68"/>
                  <a:pt x="73" y="69"/>
                  <a:pt x="72" y="69"/>
                </a:cubicBezTo>
                <a:cubicBezTo>
                  <a:pt x="12" y="69"/>
                  <a:pt x="12" y="69"/>
                  <a:pt x="12" y="69"/>
                </a:cubicBezTo>
                <a:cubicBezTo>
                  <a:pt x="5" y="69"/>
                  <a:pt x="0" y="75"/>
                  <a:pt x="0" y="81"/>
                </a:cubicBezTo>
                <a:cubicBezTo>
                  <a:pt x="0" y="148"/>
                  <a:pt x="0" y="148"/>
                  <a:pt x="0" y="148"/>
                </a:cubicBezTo>
                <a:cubicBezTo>
                  <a:pt x="0" y="155"/>
                  <a:pt x="5" y="160"/>
                  <a:pt x="12" y="160"/>
                </a:cubicBezTo>
                <a:cubicBezTo>
                  <a:pt x="148" y="160"/>
                  <a:pt x="148" y="160"/>
                  <a:pt x="148" y="160"/>
                </a:cubicBezTo>
                <a:cubicBezTo>
                  <a:pt x="155" y="160"/>
                  <a:pt x="160" y="155"/>
                  <a:pt x="160" y="148"/>
                </a:cubicBezTo>
                <a:cubicBezTo>
                  <a:pt x="160" y="81"/>
                  <a:pt x="160" y="81"/>
                  <a:pt x="160" y="81"/>
                </a:cubicBezTo>
                <a:cubicBezTo>
                  <a:pt x="160" y="80"/>
                  <a:pt x="160" y="80"/>
                  <a:pt x="160" y="80"/>
                </a:cubicBezTo>
                <a:cubicBezTo>
                  <a:pt x="160" y="79"/>
                  <a:pt x="160" y="79"/>
                  <a:pt x="160" y="79"/>
                </a:cubicBezTo>
                <a:close/>
                <a:moveTo>
                  <a:pt x="76" y="75"/>
                </a:moveTo>
                <a:cubicBezTo>
                  <a:pt x="83" y="75"/>
                  <a:pt x="83" y="75"/>
                  <a:pt x="83" y="75"/>
                </a:cubicBezTo>
                <a:cubicBezTo>
                  <a:pt x="86" y="75"/>
                  <a:pt x="86" y="75"/>
                  <a:pt x="86" y="75"/>
                </a:cubicBezTo>
                <a:cubicBezTo>
                  <a:pt x="93" y="75"/>
                  <a:pt x="93" y="75"/>
                  <a:pt x="93" y="75"/>
                </a:cubicBezTo>
                <a:cubicBezTo>
                  <a:pt x="95" y="75"/>
                  <a:pt x="95" y="75"/>
                  <a:pt x="95" y="75"/>
                </a:cubicBezTo>
                <a:cubicBezTo>
                  <a:pt x="103" y="75"/>
                  <a:pt x="103" y="75"/>
                  <a:pt x="103" y="75"/>
                </a:cubicBezTo>
                <a:cubicBezTo>
                  <a:pt x="105" y="75"/>
                  <a:pt x="105" y="75"/>
                  <a:pt x="105" y="75"/>
                </a:cubicBezTo>
                <a:cubicBezTo>
                  <a:pt x="113" y="75"/>
                  <a:pt x="113" y="75"/>
                  <a:pt x="113" y="75"/>
                </a:cubicBezTo>
                <a:cubicBezTo>
                  <a:pt x="115" y="75"/>
                  <a:pt x="115" y="75"/>
                  <a:pt x="115" y="75"/>
                </a:cubicBezTo>
                <a:cubicBezTo>
                  <a:pt x="122" y="75"/>
                  <a:pt x="122" y="75"/>
                  <a:pt x="122" y="75"/>
                </a:cubicBezTo>
                <a:cubicBezTo>
                  <a:pt x="125" y="75"/>
                  <a:pt x="125" y="75"/>
                  <a:pt x="125" y="75"/>
                </a:cubicBezTo>
                <a:cubicBezTo>
                  <a:pt x="132" y="75"/>
                  <a:pt x="132" y="75"/>
                  <a:pt x="132" y="75"/>
                </a:cubicBezTo>
                <a:cubicBezTo>
                  <a:pt x="134" y="75"/>
                  <a:pt x="134" y="75"/>
                  <a:pt x="134" y="75"/>
                </a:cubicBezTo>
                <a:cubicBezTo>
                  <a:pt x="139" y="75"/>
                  <a:pt x="139" y="75"/>
                  <a:pt x="139" y="75"/>
                </a:cubicBezTo>
                <a:cubicBezTo>
                  <a:pt x="139" y="155"/>
                  <a:pt x="139" y="155"/>
                  <a:pt x="139" y="155"/>
                </a:cubicBezTo>
                <a:cubicBezTo>
                  <a:pt x="37" y="155"/>
                  <a:pt x="37" y="155"/>
                  <a:pt x="37" y="155"/>
                </a:cubicBezTo>
                <a:cubicBezTo>
                  <a:pt x="37" y="75"/>
                  <a:pt x="37" y="75"/>
                  <a:pt x="37" y="75"/>
                </a:cubicBezTo>
                <a:cubicBezTo>
                  <a:pt x="72" y="75"/>
                  <a:pt x="72" y="75"/>
                  <a:pt x="72" y="75"/>
                </a:cubicBezTo>
                <a:lnTo>
                  <a:pt x="76" y="75"/>
                </a:lnTo>
                <a:close/>
                <a:moveTo>
                  <a:pt x="5" y="148"/>
                </a:moveTo>
                <a:cubicBezTo>
                  <a:pt x="5" y="81"/>
                  <a:pt x="5" y="81"/>
                  <a:pt x="5" y="81"/>
                </a:cubicBezTo>
                <a:cubicBezTo>
                  <a:pt x="5" y="78"/>
                  <a:pt x="8" y="75"/>
                  <a:pt x="12" y="75"/>
                </a:cubicBezTo>
                <a:cubicBezTo>
                  <a:pt x="32" y="75"/>
                  <a:pt x="32" y="75"/>
                  <a:pt x="32" y="75"/>
                </a:cubicBezTo>
                <a:cubicBezTo>
                  <a:pt x="32" y="155"/>
                  <a:pt x="32" y="155"/>
                  <a:pt x="32" y="155"/>
                </a:cubicBezTo>
                <a:cubicBezTo>
                  <a:pt x="12" y="155"/>
                  <a:pt x="12" y="155"/>
                  <a:pt x="12" y="155"/>
                </a:cubicBezTo>
                <a:cubicBezTo>
                  <a:pt x="8" y="155"/>
                  <a:pt x="5" y="152"/>
                  <a:pt x="5" y="148"/>
                </a:cubicBezTo>
                <a:close/>
                <a:moveTo>
                  <a:pt x="155" y="148"/>
                </a:moveTo>
                <a:cubicBezTo>
                  <a:pt x="155" y="152"/>
                  <a:pt x="152" y="155"/>
                  <a:pt x="148" y="155"/>
                </a:cubicBezTo>
                <a:cubicBezTo>
                  <a:pt x="144" y="155"/>
                  <a:pt x="144" y="155"/>
                  <a:pt x="144" y="155"/>
                </a:cubicBezTo>
                <a:cubicBezTo>
                  <a:pt x="144" y="75"/>
                  <a:pt x="144" y="75"/>
                  <a:pt x="144" y="75"/>
                </a:cubicBezTo>
                <a:cubicBezTo>
                  <a:pt x="144" y="75"/>
                  <a:pt x="144" y="75"/>
                  <a:pt x="144" y="75"/>
                </a:cubicBezTo>
                <a:cubicBezTo>
                  <a:pt x="148" y="75"/>
                  <a:pt x="148" y="75"/>
                  <a:pt x="148" y="75"/>
                </a:cubicBezTo>
                <a:cubicBezTo>
                  <a:pt x="149" y="75"/>
                  <a:pt x="150" y="75"/>
                  <a:pt x="151" y="75"/>
                </a:cubicBezTo>
                <a:cubicBezTo>
                  <a:pt x="151" y="75"/>
                  <a:pt x="151" y="76"/>
                  <a:pt x="152" y="76"/>
                </a:cubicBezTo>
                <a:cubicBezTo>
                  <a:pt x="154" y="77"/>
                  <a:pt x="155" y="79"/>
                  <a:pt x="155" y="81"/>
                </a:cubicBezTo>
                <a:lnTo>
                  <a:pt x="155" y="148"/>
                </a:lnTo>
                <a:close/>
                <a:moveTo>
                  <a:pt x="155" y="59"/>
                </a:moveTo>
                <a:cubicBezTo>
                  <a:pt x="155" y="57"/>
                  <a:pt x="156" y="56"/>
                  <a:pt x="157" y="56"/>
                </a:cubicBezTo>
                <a:cubicBezTo>
                  <a:pt x="159" y="56"/>
                  <a:pt x="160" y="57"/>
                  <a:pt x="160" y="59"/>
                </a:cubicBezTo>
                <a:cubicBezTo>
                  <a:pt x="160" y="61"/>
                  <a:pt x="160" y="61"/>
                  <a:pt x="160" y="61"/>
                </a:cubicBezTo>
                <a:cubicBezTo>
                  <a:pt x="160" y="63"/>
                  <a:pt x="159" y="64"/>
                  <a:pt x="157" y="64"/>
                </a:cubicBezTo>
                <a:cubicBezTo>
                  <a:pt x="156" y="64"/>
                  <a:pt x="155" y="63"/>
                  <a:pt x="155" y="61"/>
                </a:cubicBezTo>
                <a:lnTo>
                  <a:pt x="155" y="59"/>
                </a:lnTo>
                <a:close/>
                <a:moveTo>
                  <a:pt x="155" y="37"/>
                </a:moveTo>
                <a:cubicBezTo>
                  <a:pt x="155" y="36"/>
                  <a:pt x="156" y="35"/>
                  <a:pt x="157" y="35"/>
                </a:cubicBezTo>
                <a:cubicBezTo>
                  <a:pt x="159" y="35"/>
                  <a:pt x="160" y="36"/>
                  <a:pt x="160" y="37"/>
                </a:cubicBezTo>
                <a:cubicBezTo>
                  <a:pt x="160" y="40"/>
                  <a:pt x="160" y="40"/>
                  <a:pt x="160" y="40"/>
                </a:cubicBezTo>
                <a:cubicBezTo>
                  <a:pt x="160" y="41"/>
                  <a:pt x="159" y="43"/>
                  <a:pt x="157" y="43"/>
                </a:cubicBezTo>
                <a:cubicBezTo>
                  <a:pt x="156" y="43"/>
                  <a:pt x="155" y="41"/>
                  <a:pt x="155" y="40"/>
                </a:cubicBezTo>
                <a:lnTo>
                  <a:pt x="155" y="37"/>
                </a:lnTo>
                <a:close/>
                <a:moveTo>
                  <a:pt x="122" y="3"/>
                </a:moveTo>
                <a:cubicBezTo>
                  <a:pt x="122" y="1"/>
                  <a:pt x="123" y="0"/>
                  <a:pt x="125" y="0"/>
                </a:cubicBezTo>
                <a:cubicBezTo>
                  <a:pt x="127" y="0"/>
                  <a:pt x="127" y="0"/>
                  <a:pt x="127" y="0"/>
                </a:cubicBezTo>
                <a:cubicBezTo>
                  <a:pt x="129" y="0"/>
                  <a:pt x="130" y="1"/>
                  <a:pt x="130" y="3"/>
                </a:cubicBezTo>
                <a:cubicBezTo>
                  <a:pt x="130" y="4"/>
                  <a:pt x="129" y="5"/>
                  <a:pt x="127" y="5"/>
                </a:cubicBezTo>
                <a:cubicBezTo>
                  <a:pt x="125" y="5"/>
                  <a:pt x="125" y="5"/>
                  <a:pt x="125" y="5"/>
                </a:cubicBezTo>
                <a:cubicBezTo>
                  <a:pt x="123" y="5"/>
                  <a:pt x="122" y="4"/>
                  <a:pt x="122" y="3"/>
                </a:cubicBezTo>
                <a:close/>
                <a:moveTo>
                  <a:pt x="143" y="3"/>
                </a:moveTo>
                <a:cubicBezTo>
                  <a:pt x="143" y="1"/>
                  <a:pt x="144" y="0"/>
                  <a:pt x="146" y="0"/>
                </a:cubicBezTo>
                <a:cubicBezTo>
                  <a:pt x="148" y="0"/>
                  <a:pt x="148" y="0"/>
                  <a:pt x="148" y="0"/>
                </a:cubicBezTo>
                <a:cubicBezTo>
                  <a:pt x="150" y="0"/>
                  <a:pt x="151" y="1"/>
                  <a:pt x="151" y="3"/>
                </a:cubicBezTo>
                <a:cubicBezTo>
                  <a:pt x="151" y="4"/>
                  <a:pt x="150" y="5"/>
                  <a:pt x="148" y="5"/>
                </a:cubicBezTo>
                <a:cubicBezTo>
                  <a:pt x="146" y="5"/>
                  <a:pt x="146" y="5"/>
                  <a:pt x="146" y="5"/>
                </a:cubicBezTo>
                <a:cubicBezTo>
                  <a:pt x="144" y="5"/>
                  <a:pt x="143" y="4"/>
                  <a:pt x="143" y="3"/>
                </a:cubicBezTo>
                <a:close/>
                <a:moveTo>
                  <a:pt x="132" y="3"/>
                </a:moveTo>
                <a:cubicBezTo>
                  <a:pt x="132" y="1"/>
                  <a:pt x="134" y="0"/>
                  <a:pt x="135" y="0"/>
                </a:cubicBezTo>
                <a:cubicBezTo>
                  <a:pt x="138" y="0"/>
                  <a:pt x="138" y="0"/>
                  <a:pt x="138" y="0"/>
                </a:cubicBezTo>
                <a:cubicBezTo>
                  <a:pt x="139" y="0"/>
                  <a:pt x="140" y="1"/>
                  <a:pt x="140" y="3"/>
                </a:cubicBezTo>
                <a:cubicBezTo>
                  <a:pt x="140" y="4"/>
                  <a:pt x="139" y="5"/>
                  <a:pt x="138" y="5"/>
                </a:cubicBezTo>
                <a:cubicBezTo>
                  <a:pt x="135" y="5"/>
                  <a:pt x="135" y="5"/>
                  <a:pt x="135" y="5"/>
                </a:cubicBezTo>
                <a:cubicBezTo>
                  <a:pt x="134" y="5"/>
                  <a:pt x="132" y="4"/>
                  <a:pt x="132" y="3"/>
                </a:cubicBezTo>
                <a:close/>
                <a:moveTo>
                  <a:pt x="153" y="8"/>
                </a:moveTo>
                <a:cubicBezTo>
                  <a:pt x="152" y="7"/>
                  <a:pt x="152" y="5"/>
                  <a:pt x="154" y="4"/>
                </a:cubicBezTo>
                <a:cubicBezTo>
                  <a:pt x="155" y="3"/>
                  <a:pt x="156" y="3"/>
                  <a:pt x="157" y="4"/>
                </a:cubicBezTo>
                <a:cubicBezTo>
                  <a:pt x="158" y="5"/>
                  <a:pt x="159" y="6"/>
                  <a:pt x="159" y="7"/>
                </a:cubicBezTo>
                <a:cubicBezTo>
                  <a:pt x="160" y="9"/>
                  <a:pt x="159" y="10"/>
                  <a:pt x="158" y="11"/>
                </a:cubicBezTo>
                <a:cubicBezTo>
                  <a:pt x="157" y="11"/>
                  <a:pt x="157" y="11"/>
                  <a:pt x="157" y="11"/>
                </a:cubicBezTo>
                <a:cubicBezTo>
                  <a:pt x="156" y="11"/>
                  <a:pt x="155" y="10"/>
                  <a:pt x="154" y="9"/>
                </a:cubicBezTo>
                <a:cubicBezTo>
                  <a:pt x="154" y="9"/>
                  <a:pt x="154" y="8"/>
                  <a:pt x="153" y="8"/>
                </a:cubicBezTo>
                <a:close/>
                <a:moveTo>
                  <a:pt x="155" y="29"/>
                </a:moveTo>
                <a:cubicBezTo>
                  <a:pt x="155" y="27"/>
                  <a:pt x="155" y="27"/>
                  <a:pt x="155" y="27"/>
                </a:cubicBezTo>
                <a:cubicBezTo>
                  <a:pt x="155" y="25"/>
                  <a:pt x="156" y="24"/>
                  <a:pt x="157" y="24"/>
                </a:cubicBezTo>
                <a:cubicBezTo>
                  <a:pt x="159" y="24"/>
                  <a:pt x="160" y="25"/>
                  <a:pt x="160" y="27"/>
                </a:cubicBezTo>
                <a:cubicBezTo>
                  <a:pt x="160" y="29"/>
                  <a:pt x="160" y="29"/>
                  <a:pt x="160" y="29"/>
                </a:cubicBezTo>
                <a:cubicBezTo>
                  <a:pt x="160" y="31"/>
                  <a:pt x="159" y="32"/>
                  <a:pt x="157" y="32"/>
                </a:cubicBezTo>
                <a:cubicBezTo>
                  <a:pt x="156" y="32"/>
                  <a:pt x="155" y="31"/>
                  <a:pt x="155" y="29"/>
                </a:cubicBezTo>
                <a:close/>
                <a:moveTo>
                  <a:pt x="155" y="48"/>
                </a:moveTo>
                <a:cubicBezTo>
                  <a:pt x="155" y="46"/>
                  <a:pt x="156" y="45"/>
                  <a:pt x="157" y="45"/>
                </a:cubicBezTo>
                <a:cubicBezTo>
                  <a:pt x="159" y="45"/>
                  <a:pt x="160" y="46"/>
                  <a:pt x="160" y="48"/>
                </a:cubicBezTo>
                <a:cubicBezTo>
                  <a:pt x="160" y="51"/>
                  <a:pt x="160" y="51"/>
                  <a:pt x="160" y="51"/>
                </a:cubicBezTo>
                <a:cubicBezTo>
                  <a:pt x="160" y="52"/>
                  <a:pt x="159" y="53"/>
                  <a:pt x="157" y="53"/>
                </a:cubicBezTo>
                <a:cubicBezTo>
                  <a:pt x="156" y="53"/>
                  <a:pt x="155" y="52"/>
                  <a:pt x="155" y="51"/>
                </a:cubicBezTo>
                <a:lnTo>
                  <a:pt x="155" y="48"/>
                </a:lnTo>
                <a:close/>
                <a:moveTo>
                  <a:pt x="160" y="16"/>
                </a:moveTo>
                <a:cubicBezTo>
                  <a:pt x="160" y="19"/>
                  <a:pt x="160" y="19"/>
                  <a:pt x="160" y="19"/>
                </a:cubicBezTo>
                <a:cubicBezTo>
                  <a:pt x="160" y="20"/>
                  <a:pt x="159" y="21"/>
                  <a:pt x="157" y="21"/>
                </a:cubicBezTo>
                <a:cubicBezTo>
                  <a:pt x="156" y="21"/>
                  <a:pt x="155" y="20"/>
                  <a:pt x="155" y="19"/>
                </a:cubicBezTo>
                <a:cubicBezTo>
                  <a:pt x="155" y="16"/>
                  <a:pt x="155" y="16"/>
                  <a:pt x="155" y="16"/>
                </a:cubicBezTo>
                <a:cubicBezTo>
                  <a:pt x="155" y="15"/>
                  <a:pt x="156" y="13"/>
                  <a:pt x="157" y="13"/>
                </a:cubicBezTo>
                <a:cubicBezTo>
                  <a:pt x="159" y="13"/>
                  <a:pt x="160" y="15"/>
                  <a:pt x="160" y="16"/>
                </a:cubicBezTo>
                <a:close/>
                <a:moveTo>
                  <a:pt x="72" y="31"/>
                </a:moveTo>
                <a:cubicBezTo>
                  <a:pt x="72" y="28"/>
                  <a:pt x="72" y="28"/>
                  <a:pt x="72" y="28"/>
                </a:cubicBezTo>
                <a:cubicBezTo>
                  <a:pt x="72" y="27"/>
                  <a:pt x="73" y="26"/>
                  <a:pt x="75" y="26"/>
                </a:cubicBezTo>
                <a:cubicBezTo>
                  <a:pt x="76" y="26"/>
                  <a:pt x="77" y="27"/>
                  <a:pt x="77" y="28"/>
                </a:cubicBezTo>
                <a:cubicBezTo>
                  <a:pt x="77" y="31"/>
                  <a:pt x="77" y="31"/>
                  <a:pt x="77" y="31"/>
                </a:cubicBezTo>
                <a:cubicBezTo>
                  <a:pt x="77" y="32"/>
                  <a:pt x="76" y="34"/>
                  <a:pt x="75" y="34"/>
                </a:cubicBezTo>
                <a:cubicBezTo>
                  <a:pt x="73" y="34"/>
                  <a:pt x="72" y="32"/>
                  <a:pt x="72" y="31"/>
                </a:cubicBezTo>
                <a:close/>
                <a:moveTo>
                  <a:pt x="72" y="41"/>
                </a:moveTo>
                <a:cubicBezTo>
                  <a:pt x="72" y="39"/>
                  <a:pt x="72" y="39"/>
                  <a:pt x="72" y="39"/>
                </a:cubicBezTo>
                <a:cubicBezTo>
                  <a:pt x="72" y="37"/>
                  <a:pt x="73" y="36"/>
                  <a:pt x="75" y="36"/>
                </a:cubicBezTo>
                <a:cubicBezTo>
                  <a:pt x="76" y="36"/>
                  <a:pt x="77" y="37"/>
                  <a:pt x="77" y="39"/>
                </a:cubicBezTo>
                <a:cubicBezTo>
                  <a:pt x="77" y="41"/>
                  <a:pt x="77" y="41"/>
                  <a:pt x="77" y="41"/>
                </a:cubicBezTo>
                <a:cubicBezTo>
                  <a:pt x="77" y="43"/>
                  <a:pt x="76" y="44"/>
                  <a:pt x="75" y="44"/>
                </a:cubicBezTo>
                <a:cubicBezTo>
                  <a:pt x="73" y="44"/>
                  <a:pt x="72" y="43"/>
                  <a:pt x="72" y="41"/>
                </a:cubicBezTo>
                <a:close/>
                <a:moveTo>
                  <a:pt x="72" y="63"/>
                </a:moveTo>
                <a:cubicBezTo>
                  <a:pt x="72" y="60"/>
                  <a:pt x="72" y="60"/>
                  <a:pt x="72" y="60"/>
                </a:cubicBezTo>
                <a:cubicBezTo>
                  <a:pt x="72" y="59"/>
                  <a:pt x="73" y="57"/>
                  <a:pt x="75" y="57"/>
                </a:cubicBezTo>
                <a:cubicBezTo>
                  <a:pt x="76" y="57"/>
                  <a:pt x="77" y="59"/>
                  <a:pt x="77" y="60"/>
                </a:cubicBezTo>
                <a:cubicBezTo>
                  <a:pt x="77" y="63"/>
                  <a:pt x="77" y="63"/>
                  <a:pt x="77" y="63"/>
                </a:cubicBezTo>
                <a:cubicBezTo>
                  <a:pt x="77" y="64"/>
                  <a:pt x="76" y="65"/>
                  <a:pt x="75" y="65"/>
                </a:cubicBezTo>
                <a:cubicBezTo>
                  <a:pt x="73" y="65"/>
                  <a:pt x="72" y="64"/>
                  <a:pt x="72" y="63"/>
                </a:cubicBezTo>
                <a:close/>
                <a:moveTo>
                  <a:pt x="111" y="3"/>
                </a:moveTo>
                <a:cubicBezTo>
                  <a:pt x="111" y="1"/>
                  <a:pt x="112" y="0"/>
                  <a:pt x="114" y="0"/>
                </a:cubicBezTo>
                <a:cubicBezTo>
                  <a:pt x="117" y="0"/>
                  <a:pt x="117" y="0"/>
                  <a:pt x="117" y="0"/>
                </a:cubicBezTo>
                <a:cubicBezTo>
                  <a:pt x="118" y="0"/>
                  <a:pt x="119" y="1"/>
                  <a:pt x="119" y="3"/>
                </a:cubicBezTo>
                <a:cubicBezTo>
                  <a:pt x="119" y="4"/>
                  <a:pt x="118" y="5"/>
                  <a:pt x="117" y="5"/>
                </a:cubicBezTo>
                <a:cubicBezTo>
                  <a:pt x="114" y="5"/>
                  <a:pt x="114" y="5"/>
                  <a:pt x="114" y="5"/>
                </a:cubicBezTo>
                <a:cubicBezTo>
                  <a:pt x="112" y="5"/>
                  <a:pt x="111" y="4"/>
                  <a:pt x="111" y="3"/>
                </a:cubicBezTo>
                <a:close/>
                <a:moveTo>
                  <a:pt x="72" y="20"/>
                </a:moveTo>
                <a:cubicBezTo>
                  <a:pt x="72" y="18"/>
                  <a:pt x="72" y="18"/>
                  <a:pt x="72" y="18"/>
                </a:cubicBezTo>
                <a:cubicBezTo>
                  <a:pt x="72" y="16"/>
                  <a:pt x="73" y="15"/>
                  <a:pt x="75" y="15"/>
                </a:cubicBezTo>
                <a:cubicBezTo>
                  <a:pt x="76" y="15"/>
                  <a:pt x="77" y="16"/>
                  <a:pt x="77" y="18"/>
                </a:cubicBezTo>
                <a:cubicBezTo>
                  <a:pt x="77" y="20"/>
                  <a:pt x="77" y="20"/>
                  <a:pt x="77" y="20"/>
                </a:cubicBezTo>
                <a:cubicBezTo>
                  <a:pt x="77" y="22"/>
                  <a:pt x="76" y="23"/>
                  <a:pt x="75" y="23"/>
                </a:cubicBezTo>
                <a:cubicBezTo>
                  <a:pt x="73" y="23"/>
                  <a:pt x="72" y="22"/>
                  <a:pt x="72" y="20"/>
                </a:cubicBezTo>
                <a:close/>
                <a:moveTo>
                  <a:pt x="72" y="52"/>
                </a:moveTo>
                <a:cubicBezTo>
                  <a:pt x="72" y="49"/>
                  <a:pt x="72" y="49"/>
                  <a:pt x="72" y="49"/>
                </a:cubicBezTo>
                <a:cubicBezTo>
                  <a:pt x="72" y="48"/>
                  <a:pt x="73" y="47"/>
                  <a:pt x="75" y="47"/>
                </a:cubicBezTo>
                <a:cubicBezTo>
                  <a:pt x="76" y="47"/>
                  <a:pt x="77" y="48"/>
                  <a:pt x="77" y="49"/>
                </a:cubicBezTo>
                <a:cubicBezTo>
                  <a:pt x="77" y="52"/>
                  <a:pt x="77" y="52"/>
                  <a:pt x="77" y="52"/>
                </a:cubicBezTo>
                <a:cubicBezTo>
                  <a:pt x="77" y="54"/>
                  <a:pt x="76" y="55"/>
                  <a:pt x="75" y="55"/>
                </a:cubicBezTo>
                <a:cubicBezTo>
                  <a:pt x="73" y="55"/>
                  <a:pt x="72" y="54"/>
                  <a:pt x="72" y="52"/>
                </a:cubicBezTo>
                <a:close/>
                <a:moveTo>
                  <a:pt x="101" y="3"/>
                </a:moveTo>
                <a:cubicBezTo>
                  <a:pt x="101" y="1"/>
                  <a:pt x="102" y="0"/>
                  <a:pt x="103" y="0"/>
                </a:cubicBezTo>
                <a:cubicBezTo>
                  <a:pt x="106" y="0"/>
                  <a:pt x="106" y="0"/>
                  <a:pt x="106" y="0"/>
                </a:cubicBezTo>
                <a:cubicBezTo>
                  <a:pt x="107" y="0"/>
                  <a:pt x="109" y="1"/>
                  <a:pt x="109" y="3"/>
                </a:cubicBezTo>
                <a:cubicBezTo>
                  <a:pt x="109" y="4"/>
                  <a:pt x="107" y="5"/>
                  <a:pt x="106" y="5"/>
                </a:cubicBezTo>
                <a:cubicBezTo>
                  <a:pt x="103" y="5"/>
                  <a:pt x="103" y="5"/>
                  <a:pt x="103" y="5"/>
                </a:cubicBezTo>
                <a:cubicBezTo>
                  <a:pt x="102" y="5"/>
                  <a:pt x="101" y="4"/>
                  <a:pt x="101" y="3"/>
                </a:cubicBezTo>
                <a:close/>
                <a:moveTo>
                  <a:pt x="90" y="3"/>
                </a:moveTo>
                <a:cubicBezTo>
                  <a:pt x="90" y="1"/>
                  <a:pt x="91" y="0"/>
                  <a:pt x="93" y="0"/>
                </a:cubicBezTo>
                <a:cubicBezTo>
                  <a:pt x="95" y="0"/>
                  <a:pt x="95" y="0"/>
                  <a:pt x="95" y="0"/>
                </a:cubicBezTo>
                <a:cubicBezTo>
                  <a:pt x="97" y="0"/>
                  <a:pt x="98" y="1"/>
                  <a:pt x="98" y="3"/>
                </a:cubicBezTo>
                <a:cubicBezTo>
                  <a:pt x="98" y="4"/>
                  <a:pt x="97" y="5"/>
                  <a:pt x="95" y="5"/>
                </a:cubicBezTo>
                <a:cubicBezTo>
                  <a:pt x="93" y="5"/>
                  <a:pt x="93" y="5"/>
                  <a:pt x="93" y="5"/>
                </a:cubicBezTo>
                <a:cubicBezTo>
                  <a:pt x="91" y="5"/>
                  <a:pt x="90" y="4"/>
                  <a:pt x="90" y="3"/>
                </a:cubicBezTo>
                <a:close/>
                <a:moveTo>
                  <a:pt x="72" y="9"/>
                </a:moveTo>
                <a:cubicBezTo>
                  <a:pt x="73" y="8"/>
                  <a:pt x="73" y="7"/>
                  <a:pt x="74" y="6"/>
                </a:cubicBezTo>
                <a:cubicBezTo>
                  <a:pt x="74" y="5"/>
                  <a:pt x="76" y="4"/>
                  <a:pt x="77" y="5"/>
                </a:cubicBezTo>
                <a:cubicBezTo>
                  <a:pt x="78" y="6"/>
                  <a:pt x="79" y="7"/>
                  <a:pt x="78" y="9"/>
                </a:cubicBezTo>
                <a:cubicBezTo>
                  <a:pt x="78" y="9"/>
                  <a:pt x="78" y="10"/>
                  <a:pt x="78" y="10"/>
                </a:cubicBezTo>
                <a:cubicBezTo>
                  <a:pt x="77" y="12"/>
                  <a:pt x="76" y="12"/>
                  <a:pt x="75" y="12"/>
                </a:cubicBezTo>
                <a:cubicBezTo>
                  <a:pt x="75" y="12"/>
                  <a:pt x="75" y="12"/>
                  <a:pt x="74" y="12"/>
                </a:cubicBezTo>
                <a:cubicBezTo>
                  <a:pt x="73" y="12"/>
                  <a:pt x="72" y="11"/>
                  <a:pt x="72" y="9"/>
                </a:cubicBezTo>
                <a:close/>
                <a:moveTo>
                  <a:pt x="80" y="3"/>
                </a:moveTo>
                <a:cubicBezTo>
                  <a:pt x="79" y="2"/>
                  <a:pt x="80" y="0"/>
                  <a:pt x="82" y="0"/>
                </a:cubicBezTo>
                <a:cubicBezTo>
                  <a:pt x="82" y="0"/>
                  <a:pt x="83" y="0"/>
                  <a:pt x="84" y="0"/>
                </a:cubicBezTo>
                <a:cubicBezTo>
                  <a:pt x="85" y="0"/>
                  <a:pt x="85" y="0"/>
                  <a:pt x="85" y="0"/>
                </a:cubicBezTo>
                <a:cubicBezTo>
                  <a:pt x="86" y="0"/>
                  <a:pt x="87" y="1"/>
                  <a:pt x="87" y="3"/>
                </a:cubicBezTo>
                <a:cubicBezTo>
                  <a:pt x="87" y="4"/>
                  <a:pt x="86" y="5"/>
                  <a:pt x="85" y="5"/>
                </a:cubicBezTo>
                <a:cubicBezTo>
                  <a:pt x="84" y="5"/>
                  <a:pt x="84" y="5"/>
                  <a:pt x="84" y="5"/>
                </a:cubicBezTo>
                <a:cubicBezTo>
                  <a:pt x="83" y="5"/>
                  <a:pt x="83" y="5"/>
                  <a:pt x="83" y="5"/>
                </a:cubicBezTo>
                <a:cubicBezTo>
                  <a:pt x="82" y="5"/>
                  <a:pt x="82" y="5"/>
                  <a:pt x="82" y="5"/>
                </a:cubicBezTo>
                <a:cubicBezTo>
                  <a:pt x="81" y="5"/>
                  <a:pt x="80" y="5"/>
                  <a:pt x="80" y="3"/>
                </a:cubicBezTo>
                <a:close/>
                <a:moveTo>
                  <a:pt x="8" y="56"/>
                </a:moveTo>
                <a:cubicBezTo>
                  <a:pt x="8" y="37"/>
                  <a:pt x="24" y="21"/>
                  <a:pt x="43" y="21"/>
                </a:cubicBezTo>
                <a:cubicBezTo>
                  <a:pt x="50" y="21"/>
                  <a:pt x="50" y="21"/>
                  <a:pt x="50" y="21"/>
                </a:cubicBezTo>
                <a:cubicBezTo>
                  <a:pt x="38" y="10"/>
                  <a:pt x="38" y="10"/>
                  <a:pt x="38" y="10"/>
                </a:cubicBezTo>
                <a:cubicBezTo>
                  <a:pt x="37" y="9"/>
                  <a:pt x="37" y="7"/>
                  <a:pt x="38" y="6"/>
                </a:cubicBezTo>
                <a:cubicBezTo>
                  <a:pt x="39" y="5"/>
                  <a:pt x="41" y="5"/>
                  <a:pt x="42" y="6"/>
                </a:cubicBezTo>
                <a:cubicBezTo>
                  <a:pt x="58" y="22"/>
                  <a:pt x="58" y="22"/>
                  <a:pt x="58" y="22"/>
                </a:cubicBezTo>
                <a:cubicBezTo>
                  <a:pt x="58" y="22"/>
                  <a:pt x="58" y="23"/>
                  <a:pt x="58" y="23"/>
                </a:cubicBezTo>
                <a:cubicBezTo>
                  <a:pt x="59" y="24"/>
                  <a:pt x="59" y="24"/>
                  <a:pt x="58" y="25"/>
                </a:cubicBezTo>
                <a:cubicBezTo>
                  <a:pt x="58" y="25"/>
                  <a:pt x="58" y="26"/>
                  <a:pt x="58" y="26"/>
                </a:cubicBezTo>
                <a:cubicBezTo>
                  <a:pt x="42" y="42"/>
                  <a:pt x="42" y="42"/>
                  <a:pt x="42" y="42"/>
                </a:cubicBezTo>
                <a:cubicBezTo>
                  <a:pt x="41" y="42"/>
                  <a:pt x="41" y="43"/>
                  <a:pt x="40" y="43"/>
                </a:cubicBezTo>
                <a:cubicBezTo>
                  <a:pt x="39" y="43"/>
                  <a:pt x="39" y="42"/>
                  <a:pt x="38" y="42"/>
                </a:cubicBezTo>
                <a:cubicBezTo>
                  <a:pt x="37" y="41"/>
                  <a:pt x="37" y="39"/>
                  <a:pt x="38" y="38"/>
                </a:cubicBezTo>
                <a:cubicBezTo>
                  <a:pt x="50" y="27"/>
                  <a:pt x="50" y="27"/>
                  <a:pt x="50" y="27"/>
                </a:cubicBezTo>
                <a:cubicBezTo>
                  <a:pt x="43" y="27"/>
                  <a:pt x="43" y="27"/>
                  <a:pt x="43" y="27"/>
                </a:cubicBezTo>
                <a:cubicBezTo>
                  <a:pt x="26" y="27"/>
                  <a:pt x="13" y="40"/>
                  <a:pt x="13" y="56"/>
                </a:cubicBezTo>
                <a:cubicBezTo>
                  <a:pt x="13" y="57"/>
                  <a:pt x="12" y="59"/>
                  <a:pt x="11" y="59"/>
                </a:cubicBezTo>
                <a:cubicBezTo>
                  <a:pt x="9" y="59"/>
                  <a:pt x="8" y="57"/>
                  <a:pt x="8" y="5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76" name="Freeform 1378">
            <a:extLst>
              <a:ext uri="{FF2B5EF4-FFF2-40B4-BE49-F238E27FC236}">
                <a16:creationId xmlns:a16="http://schemas.microsoft.com/office/drawing/2014/main" id="{0ECC052C-EB46-914E-8431-CB63F78B88DA}"/>
              </a:ext>
            </a:extLst>
          </p:cNvPr>
          <p:cNvSpPr>
            <a:spLocks noEditPoints="1"/>
          </p:cNvSpPr>
          <p:nvPr/>
        </p:nvSpPr>
        <p:spPr bwMode="auto">
          <a:xfrm>
            <a:off x="10959945" y="5302250"/>
            <a:ext cx="501650" cy="550863"/>
          </a:xfrm>
          <a:custGeom>
            <a:avLst/>
            <a:gdLst>
              <a:gd name="T0" fmla="*/ 85 w 147"/>
              <a:gd name="T1" fmla="*/ 85 h 160"/>
              <a:gd name="T2" fmla="*/ 5 w 147"/>
              <a:gd name="T3" fmla="*/ 123 h 160"/>
              <a:gd name="T4" fmla="*/ 85 w 147"/>
              <a:gd name="T5" fmla="*/ 21 h 160"/>
              <a:gd name="T6" fmla="*/ 88 w 147"/>
              <a:gd name="T7" fmla="*/ 61 h 160"/>
              <a:gd name="T8" fmla="*/ 91 w 147"/>
              <a:gd name="T9" fmla="*/ 12 h 160"/>
              <a:gd name="T10" fmla="*/ 12 w 147"/>
              <a:gd name="T11" fmla="*/ 0 h 160"/>
              <a:gd name="T12" fmla="*/ 0 w 147"/>
              <a:gd name="T13" fmla="*/ 148 h 160"/>
              <a:gd name="T14" fmla="*/ 79 w 147"/>
              <a:gd name="T15" fmla="*/ 160 h 160"/>
              <a:gd name="T16" fmla="*/ 91 w 147"/>
              <a:gd name="T17" fmla="*/ 85 h 160"/>
              <a:gd name="T18" fmla="*/ 12 w 147"/>
              <a:gd name="T19" fmla="*/ 5 h 160"/>
              <a:gd name="T20" fmla="*/ 85 w 147"/>
              <a:gd name="T21" fmla="*/ 12 h 160"/>
              <a:gd name="T22" fmla="*/ 5 w 147"/>
              <a:gd name="T23" fmla="*/ 16 h 160"/>
              <a:gd name="T24" fmla="*/ 12 w 147"/>
              <a:gd name="T25" fmla="*/ 5 h 160"/>
              <a:gd name="T26" fmla="*/ 12 w 147"/>
              <a:gd name="T27" fmla="*/ 155 h 160"/>
              <a:gd name="T28" fmla="*/ 5 w 147"/>
              <a:gd name="T29" fmla="*/ 128 h 160"/>
              <a:gd name="T30" fmla="*/ 85 w 147"/>
              <a:gd name="T31" fmla="*/ 148 h 160"/>
              <a:gd name="T32" fmla="*/ 45 w 147"/>
              <a:gd name="T33" fmla="*/ 131 h 160"/>
              <a:gd name="T34" fmla="*/ 45 w 147"/>
              <a:gd name="T35" fmla="*/ 152 h 160"/>
              <a:gd name="T36" fmla="*/ 45 w 147"/>
              <a:gd name="T37" fmla="*/ 131 h 160"/>
              <a:gd name="T38" fmla="*/ 40 w 147"/>
              <a:gd name="T39" fmla="*/ 141 h 160"/>
              <a:gd name="T40" fmla="*/ 51 w 147"/>
              <a:gd name="T41" fmla="*/ 141 h 160"/>
              <a:gd name="T42" fmla="*/ 32 w 147"/>
              <a:gd name="T43" fmla="*/ 11 h 160"/>
              <a:gd name="T44" fmla="*/ 45 w 147"/>
              <a:gd name="T45" fmla="*/ 8 h 160"/>
              <a:gd name="T46" fmla="*/ 45 w 147"/>
              <a:gd name="T47" fmla="*/ 13 h 160"/>
              <a:gd name="T48" fmla="*/ 32 w 147"/>
              <a:gd name="T49" fmla="*/ 11 h 160"/>
              <a:gd name="T50" fmla="*/ 53 w 147"/>
              <a:gd name="T51" fmla="*/ 8 h 160"/>
              <a:gd name="T52" fmla="*/ 59 w 147"/>
              <a:gd name="T53" fmla="*/ 11 h 160"/>
              <a:gd name="T54" fmla="*/ 53 w 147"/>
              <a:gd name="T55" fmla="*/ 13 h 160"/>
              <a:gd name="T56" fmla="*/ 146 w 147"/>
              <a:gd name="T57" fmla="*/ 74 h 160"/>
              <a:gd name="T58" fmla="*/ 112 w 147"/>
              <a:gd name="T59" fmla="*/ 107 h 160"/>
              <a:gd name="T60" fmla="*/ 110 w 147"/>
              <a:gd name="T61" fmla="*/ 102 h 160"/>
              <a:gd name="T62" fmla="*/ 43 w 147"/>
              <a:gd name="T63" fmla="*/ 75 h 160"/>
              <a:gd name="T64" fmla="*/ 43 w 147"/>
              <a:gd name="T65" fmla="*/ 69 h 160"/>
              <a:gd name="T66" fmla="*/ 110 w 147"/>
              <a:gd name="T67" fmla="*/ 42 h 160"/>
              <a:gd name="T68" fmla="*/ 114 w 147"/>
              <a:gd name="T69" fmla="*/ 38 h 160"/>
              <a:gd name="T70" fmla="*/ 146 w 147"/>
              <a:gd name="T71" fmla="*/ 71 h 160"/>
              <a:gd name="T72" fmla="*/ 146 w 147"/>
              <a:gd name="T73" fmla="*/ 7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7" h="160">
                <a:moveTo>
                  <a:pt x="88" y="83"/>
                </a:moveTo>
                <a:cubicBezTo>
                  <a:pt x="87" y="83"/>
                  <a:pt x="85" y="84"/>
                  <a:pt x="85" y="85"/>
                </a:cubicBezTo>
                <a:cubicBezTo>
                  <a:pt x="85" y="123"/>
                  <a:pt x="85" y="123"/>
                  <a:pt x="85" y="123"/>
                </a:cubicBezTo>
                <a:cubicBezTo>
                  <a:pt x="5" y="123"/>
                  <a:pt x="5" y="123"/>
                  <a:pt x="5" y="123"/>
                </a:cubicBezTo>
                <a:cubicBezTo>
                  <a:pt x="5" y="21"/>
                  <a:pt x="5" y="21"/>
                  <a:pt x="5" y="21"/>
                </a:cubicBezTo>
                <a:cubicBezTo>
                  <a:pt x="85" y="21"/>
                  <a:pt x="85" y="21"/>
                  <a:pt x="85" y="21"/>
                </a:cubicBezTo>
                <a:cubicBezTo>
                  <a:pt x="85" y="59"/>
                  <a:pt x="85" y="59"/>
                  <a:pt x="85" y="59"/>
                </a:cubicBezTo>
                <a:cubicBezTo>
                  <a:pt x="85" y="60"/>
                  <a:pt x="87" y="61"/>
                  <a:pt x="88" y="61"/>
                </a:cubicBezTo>
                <a:cubicBezTo>
                  <a:pt x="89" y="61"/>
                  <a:pt x="91" y="60"/>
                  <a:pt x="91" y="59"/>
                </a:cubicBezTo>
                <a:cubicBezTo>
                  <a:pt x="91" y="12"/>
                  <a:pt x="91" y="12"/>
                  <a:pt x="91" y="12"/>
                </a:cubicBezTo>
                <a:cubicBezTo>
                  <a:pt x="91" y="5"/>
                  <a:pt x="85" y="0"/>
                  <a:pt x="79" y="0"/>
                </a:cubicBez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85"/>
                  <a:pt x="91" y="85"/>
                  <a:pt x="91" y="85"/>
                </a:cubicBezTo>
                <a:cubicBezTo>
                  <a:pt x="91" y="84"/>
                  <a:pt x="89" y="83"/>
                  <a:pt x="88" y="83"/>
                </a:cubicBez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146" y="74"/>
                </a:moveTo>
                <a:cubicBezTo>
                  <a:pt x="114" y="106"/>
                  <a:pt x="114" y="106"/>
                  <a:pt x="114" y="106"/>
                </a:cubicBezTo>
                <a:cubicBezTo>
                  <a:pt x="113" y="106"/>
                  <a:pt x="113" y="107"/>
                  <a:pt x="112" y="107"/>
                </a:cubicBezTo>
                <a:cubicBezTo>
                  <a:pt x="111" y="107"/>
                  <a:pt x="111" y="106"/>
                  <a:pt x="110" y="106"/>
                </a:cubicBezTo>
                <a:cubicBezTo>
                  <a:pt x="109" y="105"/>
                  <a:pt x="109" y="103"/>
                  <a:pt x="110" y="102"/>
                </a:cubicBezTo>
                <a:cubicBezTo>
                  <a:pt x="138" y="75"/>
                  <a:pt x="138" y="75"/>
                  <a:pt x="138" y="75"/>
                </a:cubicBezTo>
                <a:cubicBezTo>
                  <a:pt x="43" y="75"/>
                  <a:pt x="43" y="75"/>
                  <a:pt x="43" y="75"/>
                </a:cubicBezTo>
                <a:cubicBezTo>
                  <a:pt x="41" y="75"/>
                  <a:pt x="40" y="73"/>
                  <a:pt x="40" y="72"/>
                </a:cubicBezTo>
                <a:cubicBezTo>
                  <a:pt x="40" y="71"/>
                  <a:pt x="41" y="69"/>
                  <a:pt x="43" y="69"/>
                </a:cubicBezTo>
                <a:cubicBezTo>
                  <a:pt x="138" y="69"/>
                  <a:pt x="138" y="69"/>
                  <a:pt x="138" y="69"/>
                </a:cubicBezTo>
                <a:cubicBezTo>
                  <a:pt x="110" y="42"/>
                  <a:pt x="110" y="42"/>
                  <a:pt x="110" y="42"/>
                </a:cubicBezTo>
                <a:cubicBezTo>
                  <a:pt x="109" y="41"/>
                  <a:pt x="109" y="39"/>
                  <a:pt x="110" y="38"/>
                </a:cubicBezTo>
                <a:cubicBezTo>
                  <a:pt x="111" y="37"/>
                  <a:pt x="113" y="37"/>
                  <a:pt x="114" y="38"/>
                </a:cubicBezTo>
                <a:cubicBezTo>
                  <a:pt x="146" y="70"/>
                  <a:pt x="146" y="70"/>
                  <a:pt x="146" y="70"/>
                </a:cubicBezTo>
                <a:cubicBezTo>
                  <a:pt x="146" y="70"/>
                  <a:pt x="146" y="71"/>
                  <a:pt x="146" y="71"/>
                </a:cubicBezTo>
                <a:cubicBezTo>
                  <a:pt x="147" y="72"/>
                  <a:pt x="147" y="72"/>
                  <a:pt x="146" y="73"/>
                </a:cubicBezTo>
                <a:cubicBezTo>
                  <a:pt x="146" y="73"/>
                  <a:pt x="146" y="74"/>
                  <a:pt x="146" y="7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77" name="Freeform 1379">
            <a:extLst>
              <a:ext uri="{FF2B5EF4-FFF2-40B4-BE49-F238E27FC236}">
                <a16:creationId xmlns:a16="http://schemas.microsoft.com/office/drawing/2014/main" id="{B96B98DF-3E56-FC44-809B-1D9709A3CD03}"/>
              </a:ext>
            </a:extLst>
          </p:cNvPr>
          <p:cNvSpPr>
            <a:spLocks noEditPoints="1"/>
          </p:cNvSpPr>
          <p:nvPr/>
        </p:nvSpPr>
        <p:spPr bwMode="auto">
          <a:xfrm>
            <a:off x="10959945" y="5921375"/>
            <a:ext cx="501650" cy="550863"/>
          </a:xfrm>
          <a:custGeom>
            <a:avLst/>
            <a:gdLst>
              <a:gd name="T0" fmla="*/ 85 w 147"/>
              <a:gd name="T1" fmla="*/ 85 h 160"/>
              <a:gd name="T2" fmla="*/ 5 w 147"/>
              <a:gd name="T3" fmla="*/ 123 h 160"/>
              <a:gd name="T4" fmla="*/ 85 w 147"/>
              <a:gd name="T5" fmla="*/ 21 h 160"/>
              <a:gd name="T6" fmla="*/ 88 w 147"/>
              <a:gd name="T7" fmla="*/ 61 h 160"/>
              <a:gd name="T8" fmla="*/ 91 w 147"/>
              <a:gd name="T9" fmla="*/ 12 h 160"/>
              <a:gd name="T10" fmla="*/ 12 w 147"/>
              <a:gd name="T11" fmla="*/ 0 h 160"/>
              <a:gd name="T12" fmla="*/ 0 w 147"/>
              <a:gd name="T13" fmla="*/ 148 h 160"/>
              <a:gd name="T14" fmla="*/ 79 w 147"/>
              <a:gd name="T15" fmla="*/ 160 h 160"/>
              <a:gd name="T16" fmla="*/ 91 w 147"/>
              <a:gd name="T17" fmla="*/ 85 h 160"/>
              <a:gd name="T18" fmla="*/ 12 w 147"/>
              <a:gd name="T19" fmla="*/ 5 h 160"/>
              <a:gd name="T20" fmla="*/ 85 w 147"/>
              <a:gd name="T21" fmla="*/ 12 h 160"/>
              <a:gd name="T22" fmla="*/ 5 w 147"/>
              <a:gd name="T23" fmla="*/ 16 h 160"/>
              <a:gd name="T24" fmla="*/ 12 w 147"/>
              <a:gd name="T25" fmla="*/ 5 h 160"/>
              <a:gd name="T26" fmla="*/ 12 w 147"/>
              <a:gd name="T27" fmla="*/ 155 h 160"/>
              <a:gd name="T28" fmla="*/ 5 w 147"/>
              <a:gd name="T29" fmla="*/ 128 h 160"/>
              <a:gd name="T30" fmla="*/ 85 w 147"/>
              <a:gd name="T31" fmla="*/ 148 h 160"/>
              <a:gd name="T32" fmla="*/ 45 w 147"/>
              <a:gd name="T33" fmla="*/ 131 h 160"/>
              <a:gd name="T34" fmla="*/ 45 w 147"/>
              <a:gd name="T35" fmla="*/ 152 h 160"/>
              <a:gd name="T36" fmla="*/ 45 w 147"/>
              <a:gd name="T37" fmla="*/ 131 h 160"/>
              <a:gd name="T38" fmla="*/ 40 w 147"/>
              <a:gd name="T39" fmla="*/ 141 h 160"/>
              <a:gd name="T40" fmla="*/ 51 w 147"/>
              <a:gd name="T41" fmla="*/ 141 h 160"/>
              <a:gd name="T42" fmla="*/ 32 w 147"/>
              <a:gd name="T43" fmla="*/ 11 h 160"/>
              <a:gd name="T44" fmla="*/ 45 w 147"/>
              <a:gd name="T45" fmla="*/ 8 h 160"/>
              <a:gd name="T46" fmla="*/ 45 w 147"/>
              <a:gd name="T47" fmla="*/ 13 h 160"/>
              <a:gd name="T48" fmla="*/ 32 w 147"/>
              <a:gd name="T49" fmla="*/ 11 h 160"/>
              <a:gd name="T50" fmla="*/ 53 w 147"/>
              <a:gd name="T51" fmla="*/ 8 h 160"/>
              <a:gd name="T52" fmla="*/ 59 w 147"/>
              <a:gd name="T53" fmla="*/ 11 h 160"/>
              <a:gd name="T54" fmla="*/ 53 w 147"/>
              <a:gd name="T55" fmla="*/ 13 h 160"/>
              <a:gd name="T56" fmla="*/ 147 w 147"/>
              <a:gd name="T57" fmla="*/ 72 h 160"/>
              <a:gd name="T58" fmla="*/ 49 w 147"/>
              <a:gd name="T59" fmla="*/ 75 h 160"/>
              <a:gd name="T60" fmla="*/ 77 w 147"/>
              <a:gd name="T61" fmla="*/ 106 h 160"/>
              <a:gd name="T62" fmla="*/ 73 w 147"/>
              <a:gd name="T63" fmla="*/ 106 h 160"/>
              <a:gd name="T64" fmla="*/ 40 w 147"/>
              <a:gd name="T65" fmla="*/ 73 h 160"/>
              <a:gd name="T66" fmla="*/ 41 w 147"/>
              <a:gd name="T67" fmla="*/ 70 h 160"/>
              <a:gd name="T68" fmla="*/ 77 w 147"/>
              <a:gd name="T69" fmla="*/ 38 h 160"/>
              <a:gd name="T70" fmla="*/ 49 w 147"/>
              <a:gd name="T71" fmla="*/ 69 h 160"/>
              <a:gd name="T72" fmla="*/ 147 w 147"/>
              <a:gd name="T73" fmla="*/ 7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7" h="160">
                <a:moveTo>
                  <a:pt x="88" y="83"/>
                </a:moveTo>
                <a:cubicBezTo>
                  <a:pt x="87" y="83"/>
                  <a:pt x="85" y="84"/>
                  <a:pt x="85" y="85"/>
                </a:cubicBezTo>
                <a:cubicBezTo>
                  <a:pt x="85" y="123"/>
                  <a:pt x="85" y="123"/>
                  <a:pt x="85" y="123"/>
                </a:cubicBezTo>
                <a:cubicBezTo>
                  <a:pt x="5" y="123"/>
                  <a:pt x="5" y="123"/>
                  <a:pt x="5" y="123"/>
                </a:cubicBezTo>
                <a:cubicBezTo>
                  <a:pt x="5" y="21"/>
                  <a:pt x="5" y="21"/>
                  <a:pt x="5" y="21"/>
                </a:cubicBezTo>
                <a:cubicBezTo>
                  <a:pt x="85" y="21"/>
                  <a:pt x="85" y="21"/>
                  <a:pt x="85" y="21"/>
                </a:cubicBezTo>
                <a:cubicBezTo>
                  <a:pt x="85" y="59"/>
                  <a:pt x="85" y="59"/>
                  <a:pt x="85" y="59"/>
                </a:cubicBezTo>
                <a:cubicBezTo>
                  <a:pt x="85" y="60"/>
                  <a:pt x="87" y="61"/>
                  <a:pt x="88" y="61"/>
                </a:cubicBezTo>
                <a:cubicBezTo>
                  <a:pt x="89" y="61"/>
                  <a:pt x="91" y="60"/>
                  <a:pt x="91" y="59"/>
                </a:cubicBezTo>
                <a:cubicBezTo>
                  <a:pt x="91" y="12"/>
                  <a:pt x="91" y="12"/>
                  <a:pt x="91" y="12"/>
                </a:cubicBezTo>
                <a:cubicBezTo>
                  <a:pt x="91" y="5"/>
                  <a:pt x="85" y="0"/>
                  <a:pt x="79" y="0"/>
                </a:cubicBez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85"/>
                  <a:pt x="91" y="85"/>
                  <a:pt x="91" y="85"/>
                </a:cubicBezTo>
                <a:cubicBezTo>
                  <a:pt x="91" y="84"/>
                  <a:pt x="89" y="83"/>
                  <a:pt x="88" y="83"/>
                </a:cubicBez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147" y="72"/>
                </a:moveTo>
                <a:cubicBezTo>
                  <a:pt x="147" y="73"/>
                  <a:pt x="145" y="75"/>
                  <a:pt x="144" y="75"/>
                </a:cubicBezTo>
                <a:cubicBezTo>
                  <a:pt x="49" y="75"/>
                  <a:pt x="49" y="75"/>
                  <a:pt x="49" y="75"/>
                </a:cubicBezTo>
                <a:cubicBezTo>
                  <a:pt x="77" y="102"/>
                  <a:pt x="77" y="102"/>
                  <a:pt x="77" y="102"/>
                </a:cubicBezTo>
                <a:cubicBezTo>
                  <a:pt x="78" y="103"/>
                  <a:pt x="78" y="105"/>
                  <a:pt x="77" y="106"/>
                </a:cubicBezTo>
                <a:cubicBezTo>
                  <a:pt x="76" y="106"/>
                  <a:pt x="75" y="107"/>
                  <a:pt x="75" y="107"/>
                </a:cubicBezTo>
                <a:cubicBezTo>
                  <a:pt x="74" y="107"/>
                  <a:pt x="73" y="106"/>
                  <a:pt x="73" y="106"/>
                </a:cubicBezTo>
                <a:cubicBezTo>
                  <a:pt x="41" y="74"/>
                  <a:pt x="41" y="74"/>
                  <a:pt x="41" y="74"/>
                </a:cubicBezTo>
                <a:cubicBezTo>
                  <a:pt x="41" y="74"/>
                  <a:pt x="40" y="73"/>
                  <a:pt x="40" y="73"/>
                </a:cubicBezTo>
                <a:cubicBezTo>
                  <a:pt x="40" y="72"/>
                  <a:pt x="40" y="72"/>
                  <a:pt x="40" y="71"/>
                </a:cubicBezTo>
                <a:cubicBezTo>
                  <a:pt x="40" y="71"/>
                  <a:pt x="41" y="70"/>
                  <a:pt x="41" y="70"/>
                </a:cubicBezTo>
                <a:cubicBezTo>
                  <a:pt x="73" y="38"/>
                  <a:pt x="73" y="38"/>
                  <a:pt x="73" y="38"/>
                </a:cubicBezTo>
                <a:cubicBezTo>
                  <a:pt x="74" y="37"/>
                  <a:pt x="76" y="37"/>
                  <a:pt x="77" y="38"/>
                </a:cubicBezTo>
                <a:cubicBezTo>
                  <a:pt x="78" y="39"/>
                  <a:pt x="78" y="41"/>
                  <a:pt x="77" y="42"/>
                </a:cubicBezTo>
                <a:cubicBezTo>
                  <a:pt x="49" y="69"/>
                  <a:pt x="49" y="69"/>
                  <a:pt x="49" y="69"/>
                </a:cubicBezTo>
                <a:cubicBezTo>
                  <a:pt x="144" y="69"/>
                  <a:pt x="144" y="69"/>
                  <a:pt x="144" y="69"/>
                </a:cubicBezTo>
                <a:cubicBezTo>
                  <a:pt x="145" y="69"/>
                  <a:pt x="147" y="71"/>
                  <a:pt x="147" y="7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78" name="Freeform 1380">
            <a:extLst>
              <a:ext uri="{FF2B5EF4-FFF2-40B4-BE49-F238E27FC236}">
                <a16:creationId xmlns:a16="http://schemas.microsoft.com/office/drawing/2014/main" id="{AC051248-97B1-AE42-B146-50443DA2B971}"/>
              </a:ext>
            </a:extLst>
          </p:cNvPr>
          <p:cNvSpPr>
            <a:spLocks noEditPoints="1"/>
          </p:cNvSpPr>
          <p:nvPr/>
        </p:nvSpPr>
        <p:spPr bwMode="auto">
          <a:xfrm>
            <a:off x="9078487" y="3462338"/>
            <a:ext cx="566738" cy="549275"/>
          </a:xfrm>
          <a:custGeom>
            <a:avLst/>
            <a:gdLst>
              <a:gd name="T0" fmla="*/ 49 w 166"/>
              <a:gd name="T1" fmla="*/ 0 h 160"/>
              <a:gd name="T2" fmla="*/ 38 w 166"/>
              <a:gd name="T3" fmla="*/ 148 h 160"/>
              <a:gd name="T4" fmla="*/ 117 w 166"/>
              <a:gd name="T5" fmla="*/ 160 h 160"/>
              <a:gd name="T6" fmla="*/ 128 w 166"/>
              <a:gd name="T7" fmla="*/ 12 h 160"/>
              <a:gd name="T8" fmla="*/ 43 w 166"/>
              <a:gd name="T9" fmla="*/ 21 h 160"/>
              <a:gd name="T10" fmla="*/ 123 w 166"/>
              <a:gd name="T11" fmla="*/ 123 h 160"/>
              <a:gd name="T12" fmla="*/ 43 w 166"/>
              <a:gd name="T13" fmla="*/ 21 h 160"/>
              <a:gd name="T14" fmla="*/ 117 w 166"/>
              <a:gd name="T15" fmla="*/ 5 h 160"/>
              <a:gd name="T16" fmla="*/ 123 w 166"/>
              <a:gd name="T17" fmla="*/ 16 h 160"/>
              <a:gd name="T18" fmla="*/ 43 w 166"/>
              <a:gd name="T19" fmla="*/ 12 h 160"/>
              <a:gd name="T20" fmla="*/ 117 w 166"/>
              <a:gd name="T21" fmla="*/ 155 h 160"/>
              <a:gd name="T22" fmla="*/ 43 w 166"/>
              <a:gd name="T23" fmla="*/ 148 h 160"/>
              <a:gd name="T24" fmla="*/ 123 w 166"/>
              <a:gd name="T25" fmla="*/ 128 h 160"/>
              <a:gd name="T26" fmla="*/ 117 w 166"/>
              <a:gd name="T27" fmla="*/ 155 h 160"/>
              <a:gd name="T28" fmla="*/ 72 w 166"/>
              <a:gd name="T29" fmla="*/ 141 h 160"/>
              <a:gd name="T30" fmla="*/ 94 w 166"/>
              <a:gd name="T31" fmla="*/ 141 h 160"/>
              <a:gd name="T32" fmla="*/ 83 w 166"/>
              <a:gd name="T33" fmla="*/ 147 h 160"/>
              <a:gd name="T34" fmla="*/ 83 w 166"/>
              <a:gd name="T35" fmla="*/ 136 h 160"/>
              <a:gd name="T36" fmla="*/ 83 w 166"/>
              <a:gd name="T37" fmla="*/ 147 h 160"/>
              <a:gd name="T38" fmla="*/ 72 w 166"/>
              <a:gd name="T39" fmla="*/ 8 h 160"/>
              <a:gd name="T40" fmla="*/ 86 w 166"/>
              <a:gd name="T41" fmla="*/ 11 h 160"/>
              <a:gd name="T42" fmla="*/ 72 w 166"/>
              <a:gd name="T43" fmla="*/ 13 h 160"/>
              <a:gd name="T44" fmla="*/ 88 w 166"/>
              <a:gd name="T45" fmla="*/ 11 h 160"/>
              <a:gd name="T46" fmla="*/ 94 w 166"/>
              <a:gd name="T47" fmla="*/ 8 h 160"/>
              <a:gd name="T48" fmla="*/ 94 w 166"/>
              <a:gd name="T49" fmla="*/ 13 h 160"/>
              <a:gd name="T50" fmla="*/ 88 w 166"/>
              <a:gd name="T51" fmla="*/ 11 h 160"/>
              <a:gd name="T52" fmla="*/ 152 w 166"/>
              <a:gd name="T53" fmla="*/ 57 h 160"/>
              <a:gd name="T54" fmla="*/ 150 w 166"/>
              <a:gd name="T55" fmla="*/ 52 h 160"/>
              <a:gd name="T56" fmla="*/ 150 w 166"/>
              <a:gd name="T57" fmla="*/ 12 h 160"/>
              <a:gd name="T58" fmla="*/ 154 w 166"/>
              <a:gd name="T59" fmla="*/ 56 h 160"/>
              <a:gd name="T60" fmla="*/ 143 w 166"/>
              <a:gd name="T61" fmla="*/ 51 h 160"/>
              <a:gd name="T62" fmla="*/ 139 w 166"/>
              <a:gd name="T63" fmla="*/ 51 h 160"/>
              <a:gd name="T64" fmla="*/ 144 w 166"/>
              <a:gd name="T65" fmla="*/ 34 h 160"/>
              <a:gd name="T66" fmla="*/ 139 w 166"/>
              <a:gd name="T67" fmla="*/ 18 h 160"/>
              <a:gd name="T68" fmla="*/ 149 w 166"/>
              <a:gd name="T69" fmla="*/ 34 h 160"/>
              <a:gd name="T70" fmla="*/ 16 w 166"/>
              <a:gd name="T71" fmla="*/ 56 h 160"/>
              <a:gd name="T72" fmla="*/ 12 w 166"/>
              <a:gd name="T73" fmla="*/ 56 h 160"/>
              <a:gd name="T74" fmla="*/ 16 w 166"/>
              <a:gd name="T75" fmla="*/ 12 h 160"/>
              <a:gd name="T76" fmla="*/ 16 w 166"/>
              <a:gd name="T77" fmla="*/ 52 h 160"/>
              <a:gd name="T78" fmla="*/ 22 w 166"/>
              <a:gd name="T79" fmla="*/ 34 h 160"/>
              <a:gd name="T80" fmla="*/ 27 w 166"/>
              <a:gd name="T81" fmla="*/ 50 h 160"/>
              <a:gd name="T82" fmla="*/ 23 w 166"/>
              <a:gd name="T83" fmla="*/ 50 h 160"/>
              <a:gd name="T84" fmla="*/ 23 w 166"/>
              <a:gd name="T85" fmla="*/ 18 h 160"/>
              <a:gd name="T86" fmla="*/ 27 w 166"/>
              <a:gd name="T87" fmla="*/ 2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160">
                <a:moveTo>
                  <a:pt x="117" y="0"/>
                </a:moveTo>
                <a:cubicBezTo>
                  <a:pt x="49" y="0"/>
                  <a:pt x="49" y="0"/>
                  <a:pt x="49" y="0"/>
                </a:cubicBezTo>
                <a:cubicBezTo>
                  <a:pt x="43" y="0"/>
                  <a:pt x="38" y="5"/>
                  <a:pt x="38" y="12"/>
                </a:cubicBezTo>
                <a:cubicBezTo>
                  <a:pt x="38" y="148"/>
                  <a:pt x="38" y="148"/>
                  <a:pt x="38" y="148"/>
                </a:cubicBezTo>
                <a:cubicBezTo>
                  <a:pt x="38" y="155"/>
                  <a:pt x="43" y="160"/>
                  <a:pt x="49" y="160"/>
                </a:cubicBezTo>
                <a:cubicBezTo>
                  <a:pt x="117" y="160"/>
                  <a:pt x="117" y="160"/>
                  <a:pt x="117" y="160"/>
                </a:cubicBezTo>
                <a:cubicBezTo>
                  <a:pt x="123" y="160"/>
                  <a:pt x="128" y="155"/>
                  <a:pt x="128" y="148"/>
                </a:cubicBezTo>
                <a:cubicBezTo>
                  <a:pt x="128" y="12"/>
                  <a:pt x="128" y="12"/>
                  <a:pt x="128" y="12"/>
                </a:cubicBezTo>
                <a:cubicBezTo>
                  <a:pt x="128" y="5"/>
                  <a:pt x="123" y="0"/>
                  <a:pt x="117" y="0"/>
                </a:cubicBezTo>
                <a:close/>
                <a:moveTo>
                  <a:pt x="43" y="21"/>
                </a:moveTo>
                <a:cubicBezTo>
                  <a:pt x="123" y="21"/>
                  <a:pt x="123" y="21"/>
                  <a:pt x="123" y="21"/>
                </a:cubicBezTo>
                <a:cubicBezTo>
                  <a:pt x="123" y="123"/>
                  <a:pt x="123" y="123"/>
                  <a:pt x="123" y="123"/>
                </a:cubicBezTo>
                <a:cubicBezTo>
                  <a:pt x="43" y="123"/>
                  <a:pt x="43" y="123"/>
                  <a:pt x="43" y="123"/>
                </a:cubicBezTo>
                <a:lnTo>
                  <a:pt x="43" y="21"/>
                </a:lnTo>
                <a:close/>
                <a:moveTo>
                  <a:pt x="49" y="5"/>
                </a:moveTo>
                <a:cubicBezTo>
                  <a:pt x="117" y="5"/>
                  <a:pt x="117" y="5"/>
                  <a:pt x="117" y="5"/>
                </a:cubicBezTo>
                <a:cubicBezTo>
                  <a:pt x="120" y="5"/>
                  <a:pt x="123" y="8"/>
                  <a:pt x="123" y="12"/>
                </a:cubicBezTo>
                <a:cubicBezTo>
                  <a:pt x="123" y="16"/>
                  <a:pt x="123" y="16"/>
                  <a:pt x="123" y="16"/>
                </a:cubicBezTo>
                <a:cubicBezTo>
                  <a:pt x="43" y="16"/>
                  <a:pt x="43" y="16"/>
                  <a:pt x="43" y="16"/>
                </a:cubicBezTo>
                <a:cubicBezTo>
                  <a:pt x="43" y="12"/>
                  <a:pt x="43" y="12"/>
                  <a:pt x="43" y="12"/>
                </a:cubicBezTo>
                <a:cubicBezTo>
                  <a:pt x="43" y="8"/>
                  <a:pt x="46" y="5"/>
                  <a:pt x="49" y="5"/>
                </a:cubicBezTo>
                <a:close/>
                <a:moveTo>
                  <a:pt x="117" y="155"/>
                </a:moveTo>
                <a:cubicBezTo>
                  <a:pt x="49" y="155"/>
                  <a:pt x="49" y="155"/>
                  <a:pt x="49" y="155"/>
                </a:cubicBezTo>
                <a:cubicBezTo>
                  <a:pt x="46" y="155"/>
                  <a:pt x="43" y="152"/>
                  <a:pt x="43" y="148"/>
                </a:cubicBezTo>
                <a:cubicBezTo>
                  <a:pt x="43" y="128"/>
                  <a:pt x="43" y="128"/>
                  <a:pt x="43" y="128"/>
                </a:cubicBezTo>
                <a:cubicBezTo>
                  <a:pt x="123" y="128"/>
                  <a:pt x="123" y="128"/>
                  <a:pt x="123" y="128"/>
                </a:cubicBezTo>
                <a:cubicBezTo>
                  <a:pt x="123" y="148"/>
                  <a:pt x="123" y="148"/>
                  <a:pt x="123" y="148"/>
                </a:cubicBezTo>
                <a:cubicBezTo>
                  <a:pt x="123" y="152"/>
                  <a:pt x="120" y="155"/>
                  <a:pt x="117" y="155"/>
                </a:cubicBezTo>
                <a:close/>
                <a:moveTo>
                  <a:pt x="83" y="131"/>
                </a:moveTo>
                <a:cubicBezTo>
                  <a:pt x="77" y="131"/>
                  <a:pt x="72" y="135"/>
                  <a:pt x="72" y="141"/>
                </a:cubicBezTo>
                <a:cubicBezTo>
                  <a:pt x="72" y="147"/>
                  <a:pt x="77" y="152"/>
                  <a:pt x="83" y="152"/>
                </a:cubicBezTo>
                <a:cubicBezTo>
                  <a:pt x="89" y="152"/>
                  <a:pt x="94" y="147"/>
                  <a:pt x="94" y="141"/>
                </a:cubicBezTo>
                <a:cubicBezTo>
                  <a:pt x="94" y="135"/>
                  <a:pt x="89" y="131"/>
                  <a:pt x="83" y="131"/>
                </a:cubicBezTo>
                <a:close/>
                <a:moveTo>
                  <a:pt x="83" y="147"/>
                </a:moveTo>
                <a:cubicBezTo>
                  <a:pt x="80" y="147"/>
                  <a:pt x="78" y="144"/>
                  <a:pt x="78" y="141"/>
                </a:cubicBezTo>
                <a:cubicBezTo>
                  <a:pt x="78" y="138"/>
                  <a:pt x="80" y="136"/>
                  <a:pt x="83" y="136"/>
                </a:cubicBezTo>
                <a:cubicBezTo>
                  <a:pt x="86" y="136"/>
                  <a:pt x="88" y="138"/>
                  <a:pt x="88" y="141"/>
                </a:cubicBezTo>
                <a:cubicBezTo>
                  <a:pt x="88" y="144"/>
                  <a:pt x="86" y="147"/>
                  <a:pt x="83" y="147"/>
                </a:cubicBezTo>
                <a:close/>
                <a:moveTo>
                  <a:pt x="70" y="11"/>
                </a:moveTo>
                <a:cubicBezTo>
                  <a:pt x="70" y="9"/>
                  <a:pt x="71" y="8"/>
                  <a:pt x="72" y="8"/>
                </a:cubicBezTo>
                <a:cubicBezTo>
                  <a:pt x="83" y="8"/>
                  <a:pt x="83" y="8"/>
                  <a:pt x="83" y="8"/>
                </a:cubicBezTo>
                <a:cubicBezTo>
                  <a:pt x="84" y="8"/>
                  <a:pt x="86" y="9"/>
                  <a:pt x="86" y="11"/>
                </a:cubicBezTo>
                <a:cubicBezTo>
                  <a:pt x="86" y="12"/>
                  <a:pt x="84" y="13"/>
                  <a:pt x="83" y="13"/>
                </a:cubicBezTo>
                <a:cubicBezTo>
                  <a:pt x="72" y="13"/>
                  <a:pt x="72" y="13"/>
                  <a:pt x="72" y="13"/>
                </a:cubicBezTo>
                <a:cubicBezTo>
                  <a:pt x="71" y="13"/>
                  <a:pt x="70" y="12"/>
                  <a:pt x="70" y="11"/>
                </a:cubicBezTo>
                <a:close/>
                <a:moveTo>
                  <a:pt x="88" y="11"/>
                </a:moveTo>
                <a:cubicBezTo>
                  <a:pt x="88" y="9"/>
                  <a:pt x="90" y="8"/>
                  <a:pt x="91" y="8"/>
                </a:cubicBezTo>
                <a:cubicBezTo>
                  <a:pt x="94" y="8"/>
                  <a:pt x="94" y="8"/>
                  <a:pt x="94" y="8"/>
                </a:cubicBezTo>
                <a:cubicBezTo>
                  <a:pt x="95" y="8"/>
                  <a:pt x="96" y="9"/>
                  <a:pt x="96" y="11"/>
                </a:cubicBezTo>
                <a:cubicBezTo>
                  <a:pt x="96" y="12"/>
                  <a:pt x="95" y="13"/>
                  <a:pt x="94" y="13"/>
                </a:cubicBezTo>
                <a:cubicBezTo>
                  <a:pt x="91" y="13"/>
                  <a:pt x="91" y="13"/>
                  <a:pt x="91" y="13"/>
                </a:cubicBezTo>
                <a:cubicBezTo>
                  <a:pt x="90" y="13"/>
                  <a:pt x="88" y="12"/>
                  <a:pt x="88" y="11"/>
                </a:cubicBezTo>
                <a:close/>
                <a:moveTo>
                  <a:pt x="154" y="56"/>
                </a:moveTo>
                <a:cubicBezTo>
                  <a:pt x="153" y="56"/>
                  <a:pt x="153" y="57"/>
                  <a:pt x="152" y="57"/>
                </a:cubicBezTo>
                <a:cubicBezTo>
                  <a:pt x="151" y="57"/>
                  <a:pt x="151" y="56"/>
                  <a:pt x="150" y="56"/>
                </a:cubicBezTo>
                <a:cubicBezTo>
                  <a:pt x="149" y="55"/>
                  <a:pt x="149" y="53"/>
                  <a:pt x="150" y="52"/>
                </a:cubicBezTo>
                <a:cubicBezTo>
                  <a:pt x="160" y="42"/>
                  <a:pt x="160" y="26"/>
                  <a:pt x="150" y="16"/>
                </a:cubicBezTo>
                <a:cubicBezTo>
                  <a:pt x="149" y="15"/>
                  <a:pt x="149" y="13"/>
                  <a:pt x="150" y="12"/>
                </a:cubicBezTo>
                <a:cubicBezTo>
                  <a:pt x="151" y="11"/>
                  <a:pt x="153" y="11"/>
                  <a:pt x="154" y="12"/>
                </a:cubicBezTo>
                <a:cubicBezTo>
                  <a:pt x="166" y="24"/>
                  <a:pt x="166" y="44"/>
                  <a:pt x="154" y="56"/>
                </a:cubicBezTo>
                <a:close/>
                <a:moveTo>
                  <a:pt x="149" y="34"/>
                </a:moveTo>
                <a:cubicBezTo>
                  <a:pt x="149" y="40"/>
                  <a:pt x="147" y="46"/>
                  <a:pt x="143" y="51"/>
                </a:cubicBezTo>
                <a:cubicBezTo>
                  <a:pt x="142" y="51"/>
                  <a:pt x="142" y="51"/>
                  <a:pt x="141" y="51"/>
                </a:cubicBezTo>
                <a:cubicBezTo>
                  <a:pt x="140" y="51"/>
                  <a:pt x="139" y="51"/>
                  <a:pt x="139" y="51"/>
                </a:cubicBezTo>
                <a:cubicBezTo>
                  <a:pt x="138" y="49"/>
                  <a:pt x="138" y="48"/>
                  <a:pt x="139" y="47"/>
                </a:cubicBezTo>
                <a:cubicBezTo>
                  <a:pt x="142" y="43"/>
                  <a:pt x="144" y="39"/>
                  <a:pt x="144" y="34"/>
                </a:cubicBezTo>
                <a:cubicBezTo>
                  <a:pt x="144" y="30"/>
                  <a:pt x="142" y="25"/>
                  <a:pt x="139" y="22"/>
                </a:cubicBezTo>
                <a:cubicBezTo>
                  <a:pt x="138" y="21"/>
                  <a:pt x="138" y="19"/>
                  <a:pt x="139" y="18"/>
                </a:cubicBezTo>
                <a:cubicBezTo>
                  <a:pt x="140" y="17"/>
                  <a:pt x="142" y="17"/>
                  <a:pt x="143" y="18"/>
                </a:cubicBezTo>
                <a:cubicBezTo>
                  <a:pt x="147" y="23"/>
                  <a:pt x="149" y="28"/>
                  <a:pt x="149" y="34"/>
                </a:cubicBezTo>
                <a:close/>
                <a:moveTo>
                  <a:pt x="16" y="52"/>
                </a:moveTo>
                <a:cubicBezTo>
                  <a:pt x="17" y="53"/>
                  <a:pt x="17" y="55"/>
                  <a:pt x="16" y="56"/>
                </a:cubicBezTo>
                <a:cubicBezTo>
                  <a:pt x="15" y="56"/>
                  <a:pt x="15" y="57"/>
                  <a:pt x="14" y="57"/>
                </a:cubicBezTo>
                <a:cubicBezTo>
                  <a:pt x="13" y="57"/>
                  <a:pt x="13" y="56"/>
                  <a:pt x="12" y="56"/>
                </a:cubicBezTo>
                <a:cubicBezTo>
                  <a:pt x="0" y="44"/>
                  <a:pt x="0" y="24"/>
                  <a:pt x="12" y="12"/>
                </a:cubicBezTo>
                <a:cubicBezTo>
                  <a:pt x="13" y="11"/>
                  <a:pt x="15" y="11"/>
                  <a:pt x="16" y="12"/>
                </a:cubicBezTo>
                <a:cubicBezTo>
                  <a:pt x="17" y="13"/>
                  <a:pt x="17" y="15"/>
                  <a:pt x="16" y="16"/>
                </a:cubicBezTo>
                <a:cubicBezTo>
                  <a:pt x="6" y="26"/>
                  <a:pt x="6" y="42"/>
                  <a:pt x="16" y="52"/>
                </a:cubicBezTo>
                <a:close/>
                <a:moveTo>
                  <a:pt x="27" y="21"/>
                </a:moveTo>
                <a:cubicBezTo>
                  <a:pt x="24" y="25"/>
                  <a:pt x="22" y="29"/>
                  <a:pt x="22" y="34"/>
                </a:cubicBezTo>
                <a:cubicBezTo>
                  <a:pt x="22" y="38"/>
                  <a:pt x="24" y="43"/>
                  <a:pt x="27" y="46"/>
                </a:cubicBezTo>
                <a:cubicBezTo>
                  <a:pt x="28" y="47"/>
                  <a:pt x="28" y="49"/>
                  <a:pt x="27" y="50"/>
                </a:cubicBezTo>
                <a:cubicBezTo>
                  <a:pt x="27" y="50"/>
                  <a:pt x="26" y="51"/>
                  <a:pt x="25" y="51"/>
                </a:cubicBezTo>
                <a:cubicBezTo>
                  <a:pt x="24" y="51"/>
                  <a:pt x="24" y="50"/>
                  <a:pt x="23" y="50"/>
                </a:cubicBezTo>
                <a:cubicBezTo>
                  <a:pt x="19" y="45"/>
                  <a:pt x="17" y="40"/>
                  <a:pt x="17" y="34"/>
                </a:cubicBezTo>
                <a:cubicBezTo>
                  <a:pt x="17" y="28"/>
                  <a:pt x="19" y="22"/>
                  <a:pt x="23" y="18"/>
                </a:cubicBezTo>
                <a:cubicBezTo>
                  <a:pt x="24" y="16"/>
                  <a:pt x="26" y="16"/>
                  <a:pt x="27" y="18"/>
                </a:cubicBezTo>
                <a:cubicBezTo>
                  <a:pt x="28" y="19"/>
                  <a:pt x="28" y="20"/>
                  <a:pt x="27" y="2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79" name="Freeform 1381">
            <a:extLst>
              <a:ext uri="{FF2B5EF4-FFF2-40B4-BE49-F238E27FC236}">
                <a16:creationId xmlns:a16="http://schemas.microsoft.com/office/drawing/2014/main" id="{CAE0A58C-2A23-4348-8B28-FD45364D0F66}"/>
              </a:ext>
            </a:extLst>
          </p:cNvPr>
          <p:cNvSpPr>
            <a:spLocks noEditPoints="1"/>
          </p:cNvSpPr>
          <p:nvPr/>
        </p:nvSpPr>
        <p:spPr bwMode="auto">
          <a:xfrm>
            <a:off x="9153100" y="4064000"/>
            <a:ext cx="415925" cy="554038"/>
          </a:xfrm>
          <a:custGeom>
            <a:avLst/>
            <a:gdLst>
              <a:gd name="T0" fmla="*/ 78 w 122"/>
              <a:gd name="T1" fmla="*/ 153 h 161"/>
              <a:gd name="T2" fmla="*/ 78 w 122"/>
              <a:gd name="T3" fmla="*/ 148 h 161"/>
              <a:gd name="T4" fmla="*/ 82 w 122"/>
              <a:gd name="T5" fmla="*/ 144 h 161"/>
              <a:gd name="T6" fmla="*/ 101 w 122"/>
              <a:gd name="T7" fmla="*/ 89 h 161"/>
              <a:gd name="T8" fmla="*/ 90 w 122"/>
              <a:gd name="T9" fmla="*/ 100 h 161"/>
              <a:gd name="T10" fmla="*/ 90 w 122"/>
              <a:gd name="T11" fmla="*/ 94 h 161"/>
              <a:gd name="T12" fmla="*/ 24 w 122"/>
              <a:gd name="T13" fmla="*/ 32 h 161"/>
              <a:gd name="T14" fmla="*/ 33 w 122"/>
              <a:gd name="T15" fmla="*/ 23 h 161"/>
              <a:gd name="T16" fmla="*/ 26 w 122"/>
              <a:gd name="T17" fmla="*/ 33 h 161"/>
              <a:gd name="T18" fmla="*/ 119 w 122"/>
              <a:gd name="T19" fmla="*/ 74 h 161"/>
              <a:gd name="T20" fmla="*/ 110 w 122"/>
              <a:gd name="T21" fmla="*/ 52 h 161"/>
              <a:gd name="T22" fmla="*/ 97 w 122"/>
              <a:gd name="T23" fmla="*/ 38 h 161"/>
              <a:gd name="T24" fmla="*/ 83 w 122"/>
              <a:gd name="T25" fmla="*/ 25 h 161"/>
              <a:gd name="T26" fmla="*/ 70 w 122"/>
              <a:gd name="T27" fmla="*/ 12 h 161"/>
              <a:gd name="T28" fmla="*/ 49 w 122"/>
              <a:gd name="T29" fmla="*/ 4 h 161"/>
              <a:gd name="T30" fmla="*/ 4 w 122"/>
              <a:gd name="T31" fmla="*/ 49 h 161"/>
              <a:gd name="T32" fmla="*/ 21 w 122"/>
              <a:gd name="T33" fmla="*/ 82 h 161"/>
              <a:gd name="T34" fmla="*/ 55 w 122"/>
              <a:gd name="T35" fmla="*/ 122 h 161"/>
              <a:gd name="T36" fmla="*/ 50 w 122"/>
              <a:gd name="T37" fmla="*/ 161 h 161"/>
              <a:gd name="T38" fmla="*/ 119 w 122"/>
              <a:gd name="T39" fmla="*/ 126 h 161"/>
              <a:gd name="T40" fmla="*/ 122 w 122"/>
              <a:gd name="T41" fmla="*/ 101 h 161"/>
              <a:gd name="T42" fmla="*/ 122 w 122"/>
              <a:gd name="T43" fmla="*/ 80 h 161"/>
              <a:gd name="T44" fmla="*/ 105 w 122"/>
              <a:gd name="T45" fmla="*/ 60 h 161"/>
              <a:gd name="T46" fmla="*/ 103 w 122"/>
              <a:gd name="T47" fmla="*/ 50 h 161"/>
              <a:gd name="T48" fmla="*/ 97 w 122"/>
              <a:gd name="T49" fmla="*/ 44 h 161"/>
              <a:gd name="T50" fmla="*/ 87 w 122"/>
              <a:gd name="T51" fmla="*/ 42 h 161"/>
              <a:gd name="T52" fmla="*/ 90 w 122"/>
              <a:gd name="T53" fmla="*/ 37 h 161"/>
              <a:gd name="T54" fmla="*/ 74 w 122"/>
              <a:gd name="T55" fmla="*/ 29 h 161"/>
              <a:gd name="T56" fmla="*/ 7 w 122"/>
              <a:gd name="T57" fmla="*/ 45 h 161"/>
              <a:gd name="T58" fmla="*/ 41 w 122"/>
              <a:gd name="T59" fmla="*/ 7 h 161"/>
              <a:gd name="T60" fmla="*/ 44 w 122"/>
              <a:gd name="T61" fmla="*/ 7 h 161"/>
              <a:gd name="T62" fmla="*/ 14 w 122"/>
              <a:gd name="T63" fmla="*/ 51 h 161"/>
              <a:gd name="T64" fmla="*/ 58 w 122"/>
              <a:gd name="T65" fmla="*/ 21 h 161"/>
              <a:gd name="T66" fmla="*/ 85 w 122"/>
              <a:gd name="T67" fmla="*/ 47 h 161"/>
              <a:gd name="T68" fmla="*/ 100 w 122"/>
              <a:gd name="T69" fmla="*/ 62 h 161"/>
              <a:gd name="T70" fmla="*/ 116 w 122"/>
              <a:gd name="T71" fmla="*/ 83 h 161"/>
              <a:gd name="T72" fmla="*/ 83 w 122"/>
              <a:gd name="T73" fmla="*/ 116 h 161"/>
              <a:gd name="T74" fmla="*/ 59 w 122"/>
              <a:gd name="T75" fmla="*/ 94 h 161"/>
              <a:gd name="T76" fmla="*/ 33 w 122"/>
              <a:gd name="T77" fmla="*/ 70 h 161"/>
              <a:gd name="T78" fmla="*/ 31 w 122"/>
              <a:gd name="T79" fmla="*/ 76 h 161"/>
              <a:gd name="T80" fmla="*/ 59 w 122"/>
              <a:gd name="T81" fmla="*/ 76 h 161"/>
              <a:gd name="T82" fmla="*/ 51 w 122"/>
              <a:gd name="T83" fmla="*/ 89 h 161"/>
              <a:gd name="T84" fmla="*/ 26 w 122"/>
              <a:gd name="T85" fmla="*/ 82 h 161"/>
              <a:gd name="T86" fmla="*/ 55 w 122"/>
              <a:gd name="T87" fmla="*/ 132 h 161"/>
              <a:gd name="T88" fmla="*/ 93 w 122"/>
              <a:gd name="T89" fmla="*/ 156 h 161"/>
              <a:gd name="T90" fmla="*/ 98 w 122"/>
              <a:gd name="T91" fmla="*/ 156 h 161"/>
              <a:gd name="T92" fmla="*/ 114 w 122"/>
              <a:gd name="T93" fmla="*/ 132 h 161"/>
              <a:gd name="T94" fmla="*/ 117 w 122"/>
              <a:gd name="T95" fmla="*/ 101 h 161"/>
              <a:gd name="T96" fmla="*/ 109 w 122"/>
              <a:gd name="T97" fmla="*/ 126 h 161"/>
              <a:gd name="T98" fmla="*/ 61 w 122"/>
              <a:gd name="T99" fmla="*/ 119 h 161"/>
              <a:gd name="T100" fmla="*/ 36 w 122"/>
              <a:gd name="T101" fmla="*/ 94 h 161"/>
              <a:gd name="T102" fmla="*/ 80 w 122"/>
              <a:gd name="T103" fmla="*/ 1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 h="161">
                <a:moveTo>
                  <a:pt x="78" y="134"/>
                </a:moveTo>
                <a:cubicBezTo>
                  <a:pt x="73" y="134"/>
                  <a:pt x="69" y="139"/>
                  <a:pt x="69" y="144"/>
                </a:cubicBezTo>
                <a:cubicBezTo>
                  <a:pt x="69" y="149"/>
                  <a:pt x="73" y="153"/>
                  <a:pt x="78" y="153"/>
                </a:cubicBezTo>
                <a:cubicBezTo>
                  <a:pt x="83" y="153"/>
                  <a:pt x="87" y="149"/>
                  <a:pt x="87" y="144"/>
                </a:cubicBezTo>
                <a:cubicBezTo>
                  <a:pt x="87" y="139"/>
                  <a:pt x="83" y="134"/>
                  <a:pt x="78" y="134"/>
                </a:cubicBezTo>
                <a:close/>
                <a:moveTo>
                  <a:pt x="78" y="148"/>
                </a:moveTo>
                <a:cubicBezTo>
                  <a:pt x="76" y="148"/>
                  <a:pt x="74" y="146"/>
                  <a:pt x="74" y="144"/>
                </a:cubicBezTo>
                <a:cubicBezTo>
                  <a:pt x="74" y="141"/>
                  <a:pt x="76" y="140"/>
                  <a:pt x="78" y="140"/>
                </a:cubicBezTo>
                <a:cubicBezTo>
                  <a:pt x="80" y="140"/>
                  <a:pt x="82" y="141"/>
                  <a:pt x="82" y="144"/>
                </a:cubicBezTo>
                <a:cubicBezTo>
                  <a:pt x="82" y="146"/>
                  <a:pt x="80" y="148"/>
                  <a:pt x="78" y="148"/>
                </a:cubicBezTo>
                <a:close/>
                <a:moveTo>
                  <a:pt x="90" y="100"/>
                </a:moveTo>
                <a:cubicBezTo>
                  <a:pt x="96" y="100"/>
                  <a:pt x="101" y="95"/>
                  <a:pt x="101" y="89"/>
                </a:cubicBezTo>
                <a:cubicBezTo>
                  <a:pt x="101" y="83"/>
                  <a:pt x="96" y="78"/>
                  <a:pt x="90" y="78"/>
                </a:cubicBezTo>
                <a:cubicBezTo>
                  <a:pt x="84" y="78"/>
                  <a:pt x="79" y="83"/>
                  <a:pt x="79" y="89"/>
                </a:cubicBezTo>
                <a:cubicBezTo>
                  <a:pt x="79" y="95"/>
                  <a:pt x="84" y="100"/>
                  <a:pt x="90" y="100"/>
                </a:cubicBezTo>
                <a:close/>
                <a:moveTo>
                  <a:pt x="90" y="84"/>
                </a:moveTo>
                <a:cubicBezTo>
                  <a:pt x="93" y="84"/>
                  <a:pt x="95" y="86"/>
                  <a:pt x="95" y="89"/>
                </a:cubicBezTo>
                <a:cubicBezTo>
                  <a:pt x="95" y="92"/>
                  <a:pt x="93" y="94"/>
                  <a:pt x="90" y="94"/>
                </a:cubicBezTo>
                <a:cubicBezTo>
                  <a:pt x="87" y="94"/>
                  <a:pt x="85" y="92"/>
                  <a:pt x="85" y="89"/>
                </a:cubicBezTo>
                <a:cubicBezTo>
                  <a:pt x="85" y="86"/>
                  <a:pt x="87" y="84"/>
                  <a:pt x="90" y="84"/>
                </a:cubicBezTo>
                <a:close/>
                <a:moveTo>
                  <a:pt x="24" y="32"/>
                </a:moveTo>
                <a:cubicBezTo>
                  <a:pt x="23" y="31"/>
                  <a:pt x="23" y="29"/>
                  <a:pt x="24" y="28"/>
                </a:cubicBezTo>
                <a:cubicBezTo>
                  <a:pt x="29" y="23"/>
                  <a:pt x="29" y="23"/>
                  <a:pt x="29" y="23"/>
                </a:cubicBezTo>
                <a:cubicBezTo>
                  <a:pt x="30" y="22"/>
                  <a:pt x="32" y="22"/>
                  <a:pt x="33" y="23"/>
                </a:cubicBezTo>
                <a:cubicBezTo>
                  <a:pt x="34" y="24"/>
                  <a:pt x="34" y="26"/>
                  <a:pt x="33" y="27"/>
                </a:cubicBezTo>
                <a:cubicBezTo>
                  <a:pt x="28" y="32"/>
                  <a:pt x="28" y="32"/>
                  <a:pt x="28" y="32"/>
                </a:cubicBezTo>
                <a:cubicBezTo>
                  <a:pt x="27" y="33"/>
                  <a:pt x="27" y="33"/>
                  <a:pt x="26" y="33"/>
                </a:cubicBezTo>
                <a:cubicBezTo>
                  <a:pt x="25" y="33"/>
                  <a:pt x="25" y="33"/>
                  <a:pt x="24" y="32"/>
                </a:cubicBezTo>
                <a:close/>
                <a:moveTo>
                  <a:pt x="122" y="80"/>
                </a:moveTo>
                <a:cubicBezTo>
                  <a:pt x="122" y="78"/>
                  <a:pt x="121" y="76"/>
                  <a:pt x="119" y="74"/>
                </a:cubicBezTo>
                <a:cubicBezTo>
                  <a:pt x="118" y="73"/>
                  <a:pt x="118" y="73"/>
                  <a:pt x="118" y="73"/>
                </a:cubicBezTo>
                <a:cubicBezTo>
                  <a:pt x="120" y="70"/>
                  <a:pt x="122" y="67"/>
                  <a:pt x="122" y="64"/>
                </a:cubicBezTo>
                <a:cubicBezTo>
                  <a:pt x="122" y="57"/>
                  <a:pt x="117" y="52"/>
                  <a:pt x="110" y="52"/>
                </a:cubicBezTo>
                <a:cubicBezTo>
                  <a:pt x="109" y="52"/>
                  <a:pt x="109" y="52"/>
                  <a:pt x="108" y="52"/>
                </a:cubicBezTo>
                <a:cubicBezTo>
                  <a:pt x="109" y="51"/>
                  <a:pt x="109" y="51"/>
                  <a:pt x="109" y="50"/>
                </a:cubicBezTo>
                <a:cubicBezTo>
                  <a:pt x="109" y="44"/>
                  <a:pt x="103" y="38"/>
                  <a:pt x="97" y="38"/>
                </a:cubicBezTo>
                <a:cubicBezTo>
                  <a:pt x="96" y="38"/>
                  <a:pt x="96" y="38"/>
                  <a:pt x="95" y="38"/>
                </a:cubicBezTo>
                <a:cubicBezTo>
                  <a:pt x="95" y="38"/>
                  <a:pt x="95" y="37"/>
                  <a:pt x="95" y="37"/>
                </a:cubicBezTo>
                <a:cubicBezTo>
                  <a:pt x="95" y="30"/>
                  <a:pt x="90" y="25"/>
                  <a:pt x="83" y="25"/>
                </a:cubicBezTo>
                <a:cubicBezTo>
                  <a:pt x="83" y="25"/>
                  <a:pt x="82" y="25"/>
                  <a:pt x="82" y="25"/>
                </a:cubicBezTo>
                <a:cubicBezTo>
                  <a:pt x="82" y="25"/>
                  <a:pt x="82" y="24"/>
                  <a:pt x="82" y="24"/>
                </a:cubicBezTo>
                <a:cubicBezTo>
                  <a:pt x="82" y="17"/>
                  <a:pt x="77" y="12"/>
                  <a:pt x="70" y="12"/>
                </a:cubicBezTo>
                <a:cubicBezTo>
                  <a:pt x="66" y="12"/>
                  <a:pt x="63" y="13"/>
                  <a:pt x="61" y="16"/>
                </a:cubicBezTo>
                <a:cubicBezTo>
                  <a:pt x="59" y="14"/>
                  <a:pt x="59" y="14"/>
                  <a:pt x="59" y="14"/>
                </a:cubicBezTo>
                <a:cubicBezTo>
                  <a:pt x="49" y="4"/>
                  <a:pt x="49" y="4"/>
                  <a:pt x="49" y="4"/>
                </a:cubicBezTo>
                <a:cubicBezTo>
                  <a:pt x="45" y="0"/>
                  <a:pt x="40" y="0"/>
                  <a:pt x="36" y="4"/>
                </a:cubicBezTo>
                <a:cubicBezTo>
                  <a:pt x="4" y="36"/>
                  <a:pt x="4" y="36"/>
                  <a:pt x="4" y="36"/>
                </a:cubicBezTo>
                <a:cubicBezTo>
                  <a:pt x="0" y="40"/>
                  <a:pt x="0" y="45"/>
                  <a:pt x="4" y="49"/>
                </a:cubicBezTo>
                <a:cubicBezTo>
                  <a:pt x="14" y="59"/>
                  <a:pt x="14" y="59"/>
                  <a:pt x="14" y="59"/>
                </a:cubicBezTo>
                <a:cubicBezTo>
                  <a:pt x="27" y="72"/>
                  <a:pt x="27" y="72"/>
                  <a:pt x="27" y="72"/>
                </a:cubicBezTo>
                <a:cubicBezTo>
                  <a:pt x="23" y="74"/>
                  <a:pt x="21" y="78"/>
                  <a:pt x="21" y="82"/>
                </a:cubicBezTo>
                <a:cubicBezTo>
                  <a:pt x="21" y="87"/>
                  <a:pt x="23" y="90"/>
                  <a:pt x="26" y="92"/>
                </a:cubicBezTo>
                <a:cubicBezTo>
                  <a:pt x="26" y="93"/>
                  <a:pt x="26" y="93"/>
                  <a:pt x="27" y="93"/>
                </a:cubicBezTo>
                <a:cubicBezTo>
                  <a:pt x="55" y="122"/>
                  <a:pt x="55" y="122"/>
                  <a:pt x="55" y="122"/>
                </a:cubicBezTo>
                <a:cubicBezTo>
                  <a:pt x="55" y="126"/>
                  <a:pt x="55" y="126"/>
                  <a:pt x="55" y="126"/>
                </a:cubicBezTo>
                <a:cubicBezTo>
                  <a:pt x="50" y="126"/>
                  <a:pt x="50" y="126"/>
                  <a:pt x="50" y="126"/>
                </a:cubicBezTo>
                <a:cubicBezTo>
                  <a:pt x="50" y="161"/>
                  <a:pt x="50" y="161"/>
                  <a:pt x="50" y="161"/>
                </a:cubicBezTo>
                <a:cubicBezTo>
                  <a:pt x="98" y="161"/>
                  <a:pt x="98" y="161"/>
                  <a:pt x="98" y="161"/>
                </a:cubicBezTo>
                <a:cubicBezTo>
                  <a:pt x="119" y="161"/>
                  <a:pt x="119" y="161"/>
                  <a:pt x="119" y="161"/>
                </a:cubicBezTo>
                <a:cubicBezTo>
                  <a:pt x="119" y="126"/>
                  <a:pt x="119" y="126"/>
                  <a:pt x="119" y="126"/>
                </a:cubicBezTo>
                <a:cubicBezTo>
                  <a:pt x="114" y="126"/>
                  <a:pt x="114" y="126"/>
                  <a:pt x="114" y="126"/>
                </a:cubicBezTo>
                <a:cubicBezTo>
                  <a:pt x="114" y="118"/>
                  <a:pt x="114" y="118"/>
                  <a:pt x="114" y="118"/>
                </a:cubicBezTo>
                <a:cubicBezTo>
                  <a:pt x="119" y="114"/>
                  <a:pt x="122" y="108"/>
                  <a:pt x="122" y="101"/>
                </a:cubicBezTo>
                <a:cubicBezTo>
                  <a:pt x="122" y="96"/>
                  <a:pt x="120" y="92"/>
                  <a:pt x="118" y="88"/>
                </a:cubicBezTo>
                <a:cubicBezTo>
                  <a:pt x="119" y="87"/>
                  <a:pt x="119" y="87"/>
                  <a:pt x="119" y="87"/>
                </a:cubicBezTo>
                <a:cubicBezTo>
                  <a:pt x="121" y="85"/>
                  <a:pt x="122" y="83"/>
                  <a:pt x="122" y="80"/>
                </a:cubicBezTo>
                <a:close/>
                <a:moveTo>
                  <a:pt x="117" y="64"/>
                </a:moveTo>
                <a:cubicBezTo>
                  <a:pt x="117" y="66"/>
                  <a:pt x="116" y="68"/>
                  <a:pt x="114" y="69"/>
                </a:cubicBezTo>
                <a:cubicBezTo>
                  <a:pt x="105" y="60"/>
                  <a:pt x="105" y="60"/>
                  <a:pt x="105" y="60"/>
                </a:cubicBezTo>
                <a:cubicBezTo>
                  <a:pt x="106" y="58"/>
                  <a:pt x="108" y="57"/>
                  <a:pt x="110" y="57"/>
                </a:cubicBezTo>
                <a:cubicBezTo>
                  <a:pt x="114" y="57"/>
                  <a:pt x="117" y="60"/>
                  <a:pt x="117" y="64"/>
                </a:cubicBezTo>
                <a:close/>
                <a:moveTo>
                  <a:pt x="103" y="50"/>
                </a:moveTo>
                <a:cubicBezTo>
                  <a:pt x="103" y="52"/>
                  <a:pt x="102" y="54"/>
                  <a:pt x="101" y="56"/>
                </a:cubicBezTo>
                <a:cubicBezTo>
                  <a:pt x="91" y="46"/>
                  <a:pt x="91" y="46"/>
                  <a:pt x="91" y="46"/>
                </a:cubicBezTo>
                <a:cubicBezTo>
                  <a:pt x="93" y="45"/>
                  <a:pt x="95" y="44"/>
                  <a:pt x="97" y="44"/>
                </a:cubicBezTo>
                <a:cubicBezTo>
                  <a:pt x="100" y="44"/>
                  <a:pt x="103" y="47"/>
                  <a:pt x="103" y="50"/>
                </a:cubicBezTo>
                <a:close/>
                <a:moveTo>
                  <a:pt x="90" y="37"/>
                </a:moveTo>
                <a:cubicBezTo>
                  <a:pt x="90" y="39"/>
                  <a:pt x="89" y="41"/>
                  <a:pt x="87" y="42"/>
                </a:cubicBezTo>
                <a:cubicBezTo>
                  <a:pt x="78" y="33"/>
                  <a:pt x="78" y="33"/>
                  <a:pt x="78" y="33"/>
                </a:cubicBezTo>
                <a:cubicBezTo>
                  <a:pt x="79" y="31"/>
                  <a:pt x="81" y="30"/>
                  <a:pt x="83" y="30"/>
                </a:cubicBezTo>
                <a:cubicBezTo>
                  <a:pt x="87" y="30"/>
                  <a:pt x="90" y="33"/>
                  <a:pt x="90" y="37"/>
                </a:cubicBezTo>
                <a:close/>
                <a:moveTo>
                  <a:pt x="70" y="17"/>
                </a:moveTo>
                <a:cubicBezTo>
                  <a:pt x="74" y="17"/>
                  <a:pt x="77" y="20"/>
                  <a:pt x="77" y="24"/>
                </a:cubicBezTo>
                <a:cubicBezTo>
                  <a:pt x="77" y="26"/>
                  <a:pt x="76" y="28"/>
                  <a:pt x="74" y="29"/>
                </a:cubicBezTo>
                <a:cubicBezTo>
                  <a:pt x="65" y="19"/>
                  <a:pt x="65" y="19"/>
                  <a:pt x="65" y="19"/>
                </a:cubicBezTo>
                <a:cubicBezTo>
                  <a:pt x="66" y="18"/>
                  <a:pt x="68" y="17"/>
                  <a:pt x="70" y="17"/>
                </a:cubicBezTo>
                <a:close/>
                <a:moveTo>
                  <a:pt x="7" y="45"/>
                </a:moveTo>
                <a:cubicBezTo>
                  <a:pt x="6" y="44"/>
                  <a:pt x="6" y="42"/>
                  <a:pt x="7" y="40"/>
                </a:cubicBezTo>
                <a:cubicBezTo>
                  <a:pt x="40" y="7"/>
                  <a:pt x="40" y="7"/>
                  <a:pt x="40" y="7"/>
                </a:cubicBezTo>
                <a:cubicBezTo>
                  <a:pt x="41" y="7"/>
                  <a:pt x="41" y="7"/>
                  <a:pt x="41" y="7"/>
                </a:cubicBezTo>
                <a:cubicBezTo>
                  <a:pt x="41" y="7"/>
                  <a:pt x="42" y="7"/>
                  <a:pt x="42" y="6"/>
                </a:cubicBezTo>
                <a:cubicBezTo>
                  <a:pt x="42" y="6"/>
                  <a:pt x="43" y="6"/>
                  <a:pt x="43" y="6"/>
                </a:cubicBezTo>
                <a:cubicBezTo>
                  <a:pt x="44" y="7"/>
                  <a:pt x="44" y="7"/>
                  <a:pt x="44" y="7"/>
                </a:cubicBezTo>
                <a:cubicBezTo>
                  <a:pt x="44" y="7"/>
                  <a:pt x="45" y="7"/>
                  <a:pt x="45" y="7"/>
                </a:cubicBezTo>
                <a:cubicBezTo>
                  <a:pt x="51" y="14"/>
                  <a:pt x="51" y="14"/>
                  <a:pt x="51" y="14"/>
                </a:cubicBezTo>
                <a:cubicBezTo>
                  <a:pt x="14" y="51"/>
                  <a:pt x="14" y="51"/>
                  <a:pt x="14" y="51"/>
                </a:cubicBezTo>
                <a:lnTo>
                  <a:pt x="7" y="45"/>
                </a:lnTo>
                <a:close/>
                <a:moveTo>
                  <a:pt x="55" y="17"/>
                </a:moveTo>
                <a:cubicBezTo>
                  <a:pt x="58" y="21"/>
                  <a:pt x="58" y="21"/>
                  <a:pt x="58" y="21"/>
                </a:cubicBezTo>
                <a:cubicBezTo>
                  <a:pt x="72" y="34"/>
                  <a:pt x="72" y="34"/>
                  <a:pt x="72" y="34"/>
                </a:cubicBezTo>
                <a:cubicBezTo>
                  <a:pt x="73" y="35"/>
                  <a:pt x="73" y="35"/>
                  <a:pt x="73" y="35"/>
                </a:cubicBezTo>
                <a:cubicBezTo>
                  <a:pt x="85" y="47"/>
                  <a:pt x="85" y="47"/>
                  <a:pt x="85" y="47"/>
                </a:cubicBezTo>
                <a:cubicBezTo>
                  <a:pt x="86" y="49"/>
                  <a:pt x="86" y="49"/>
                  <a:pt x="86" y="49"/>
                </a:cubicBezTo>
                <a:cubicBezTo>
                  <a:pt x="98" y="61"/>
                  <a:pt x="98" y="61"/>
                  <a:pt x="98" y="61"/>
                </a:cubicBezTo>
                <a:cubicBezTo>
                  <a:pt x="100" y="62"/>
                  <a:pt x="100" y="62"/>
                  <a:pt x="100" y="62"/>
                </a:cubicBezTo>
                <a:cubicBezTo>
                  <a:pt x="113" y="75"/>
                  <a:pt x="113" y="75"/>
                  <a:pt x="113" y="75"/>
                </a:cubicBezTo>
                <a:cubicBezTo>
                  <a:pt x="116" y="78"/>
                  <a:pt x="116" y="78"/>
                  <a:pt x="116" y="78"/>
                </a:cubicBezTo>
                <a:cubicBezTo>
                  <a:pt x="117" y="79"/>
                  <a:pt x="117" y="81"/>
                  <a:pt x="116" y="83"/>
                </a:cubicBezTo>
                <a:cubicBezTo>
                  <a:pt x="114" y="84"/>
                  <a:pt x="114" y="84"/>
                  <a:pt x="114" y="84"/>
                </a:cubicBezTo>
                <a:cubicBezTo>
                  <a:pt x="114" y="84"/>
                  <a:pt x="114" y="84"/>
                  <a:pt x="114" y="84"/>
                </a:cubicBezTo>
                <a:cubicBezTo>
                  <a:pt x="83" y="116"/>
                  <a:pt x="83" y="116"/>
                  <a:pt x="83" y="116"/>
                </a:cubicBezTo>
                <a:cubicBezTo>
                  <a:pt x="81" y="117"/>
                  <a:pt x="79" y="117"/>
                  <a:pt x="78" y="116"/>
                </a:cubicBezTo>
                <a:cubicBezTo>
                  <a:pt x="57" y="94"/>
                  <a:pt x="57" y="94"/>
                  <a:pt x="57" y="94"/>
                </a:cubicBezTo>
                <a:cubicBezTo>
                  <a:pt x="59" y="94"/>
                  <a:pt x="59" y="94"/>
                  <a:pt x="59" y="94"/>
                </a:cubicBezTo>
                <a:cubicBezTo>
                  <a:pt x="66" y="94"/>
                  <a:pt x="71" y="89"/>
                  <a:pt x="71" y="82"/>
                </a:cubicBezTo>
                <a:cubicBezTo>
                  <a:pt x="71" y="76"/>
                  <a:pt x="66" y="70"/>
                  <a:pt x="59" y="70"/>
                </a:cubicBezTo>
                <a:cubicBezTo>
                  <a:pt x="33" y="70"/>
                  <a:pt x="33" y="70"/>
                  <a:pt x="33" y="70"/>
                </a:cubicBezTo>
                <a:cubicBezTo>
                  <a:pt x="17" y="55"/>
                  <a:pt x="17" y="55"/>
                  <a:pt x="17" y="55"/>
                </a:cubicBezTo>
                <a:lnTo>
                  <a:pt x="55" y="17"/>
                </a:lnTo>
                <a:close/>
                <a:moveTo>
                  <a:pt x="31" y="76"/>
                </a:moveTo>
                <a:cubicBezTo>
                  <a:pt x="32" y="76"/>
                  <a:pt x="32" y="76"/>
                  <a:pt x="32" y="76"/>
                </a:cubicBezTo>
                <a:cubicBezTo>
                  <a:pt x="32" y="76"/>
                  <a:pt x="32" y="76"/>
                  <a:pt x="33" y="76"/>
                </a:cubicBezTo>
                <a:cubicBezTo>
                  <a:pt x="59" y="76"/>
                  <a:pt x="59" y="76"/>
                  <a:pt x="59" y="76"/>
                </a:cubicBezTo>
                <a:cubicBezTo>
                  <a:pt x="63" y="76"/>
                  <a:pt x="66" y="79"/>
                  <a:pt x="66" y="82"/>
                </a:cubicBezTo>
                <a:cubicBezTo>
                  <a:pt x="66" y="86"/>
                  <a:pt x="63" y="89"/>
                  <a:pt x="59" y="89"/>
                </a:cubicBezTo>
                <a:cubicBezTo>
                  <a:pt x="51" y="89"/>
                  <a:pt x="51" y="89"/>
                  <a:pt x="51" y="89"/>
                </a:cubicBezTo>
                <a:cubicBezTo>
                  <a:pt x="44" y="89"/>
                  <a:pt x="44" y="89"/>
                  <a:pt x="44" y="89"/>
                </a:cubicBezTo>
                <a:cubicBezTo>
                  <a:pt x="33" y="89"/>
                  <a:pt x="33" y="89"/>
                  <a:pt x="33" y="89"/>
                </a:cubicBezTo>
                <a:cubicBezTo>
                  <a:pt x="29" y="89"/>
                  <a:pt x="26" y="86"/>
                  <a:pt x="26" y="82"/>
                </a:cubicBezTo>
                <a:cubicBezTo>
                  <a:pt x="26" y="79"/>
                  <a:pt x="28" y="76"/>
                  <a:pt x="31" y="76"/>
                </a:cubicBezTo>
                <a:close/>
                <a:moveTo>
                  <a:pt x="55" y="156"/>
                </a:moveTo>
                <a:cubicBezTo>
                  <a:pt x="55" y="132"/>
                  <a:pt x="55" y="132"/>
                  <a:pt x="55" y="132"/>
                </a:cubicBezTo>
                <a:cubicBezTo>
                  <a:pt x="78" y="132"/>
                  <a:pt x="78" y="132"/>
                  <a:pt x="78" y="132"/>
                </a:cubicBezTo>
                <a:cubicBezTo>
                  <a:pt x="86" y="132"/>
                  <a:pt x="93" y="138"/>
                  <a:pt x="93" y="147"/>
                </a:cubicBezTo>
                <a:cubicBezTo>
                  <a:pt x="93" y="156"/>
                  <a:pt x="93" y="156"/>
                  <a:pt x="93" y="156"/>
                </a:cubicBezTo>
                <a:lnTo>
                  <a:pt x="55" y="156"/>
                </a:lnTo>
                <a:close/>
                <a:moveTo>
                  <a:pt x="114" y="156"/>
                </a:moveTo>
                <a:cubicBezTo>
                  <a:pt x="98" y="156"/>
                  <a:pt x="98" y="156"/>
                  <a:pt x="98" y="156"/>
                </a:cubicBezTo>
                <a:cubicBezTo>
                  <a:pt x="98" y="147"/>
                  <a:pt x="98" y="147"/>
                  <a:pt x="98" y="147"/>
                </a:cubicBezTo>
                <a:cubicBezTo>
                  <a:pt x="98" y="141"/>
                  <a:pt x="95" y="135"/>
                  <a:pt x="91" y="132"/>
                </a:cubicBezTo>
                <a:cubicBezTo>
                  <a:pt x="114" y="132"/>
                  <a:pt x="114" y="132"/>
                  <a:pt x="114" y="132"/>
                </a:cubicBezTo>
                <a:lnTo>
                  <a:pt x="114" y="156"/>
                </a:lnTo>
                <a:close/>
                <a:moveTo>
                  <a:pt x="114" y="92"/>
                </a:moveTo>
                <a:cubicBezTo>
                  <a:pt x="116" y="95"/>
                  <a:pt x="117" y="98"/>
                  <a:pt x="117" y="101"/>
                </a:cubicBezTo>
                <a:cubicBezTo>
                  <a:pt x="117" y="106"/>
                  <a:pt x="114" y="112"/>
                  <a:pt x="110" y="115"/>
                </a:cubicBezTo>
                <a:cubicBezTo>
                  <a:pt x="109" y="116"/>
                  <a:pt x="109" y="116"/>
                  <a:pt x="109" y="116"/>
                </a:cubicBezTo>
                <a:cubicBezTo>
                  <a:pt x="109" y="126"/>
                  <a:pt x="109" y="126"/>
                  <a:pt x="109" y="126"/>
                </a:cubicBezTo>
                <a:cubicBezTo>
                  <a:pt x="78" y="126"/>
                  <a:pt x="78" y="126"/>
                  <a:pt x="78" y="126"/>
                </a:cubicBezTo>
                <a:cubicBezTo>
                  <a:pt x="61" y="126"/>
                  <a:pt x="61" y="126"/>
                  <a:pt x="61" y="126"/>
                </a:cubicBezTo>
                <a:cubicBezTo>
                  <a:pt x="61" y="119"/>
                  <a:pt x="61" y="119"/>
                  <a:pt x="61" y="119"/>
                </a:cubicBezTo>
                <a:cubicBezTo>
                  <a:pt x="60" y="118"/>
                  <a:pt x="60" y="118"/>
                  <a:pt x="60" y="118"/>
                </a:cubicBezTo>
                <a:cubicBezTo>
                  <a:pt x="60" y="118"/>
                  <a:pt x="59" y="118"/>
                  <a:pt x="59" y="118"/>
                </a:cubicBezTo>
                <a:cubicBezTo>
                  <a:pt x="36" y="94"/>
                  <a:pt x="36" y="94"/>
                  <a:pt x="36" y="94"/>
                </a:cubicBezTo>
                <a:cubicBezTo>
                  <a:pt x="49" y="94"/>
                  <a:pt x="49" y="94"/>
                  <a:pt x="49" y="94"/>
                </a:cubicBezTo>
                <a:cubicBezTo>
                  <a:pt x="74" y="119"/>
                  <a:pt x="74" y="119"/>
                  <a:pt x="74" y="119"/>
                </a:cubicBezTo>
                <a:cubicBezTo>
                  <a:pt x="76" y="121"/>
                  <a:pt x="78" y="122"/>
                  <a:pt x="80" y="122"/>
                </a:cubicBezTo>
                <a:cubicBezTo>
                  <a:pt x="83" y="122"/>
                  <a:pt x="85" y="121"/>
                  <a:pt x="87" y="119"/>
                </a:cubicBezTo>
                <a:lnTo>
                  <a:pt x="114" y="9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80" name="Freeform 1382">
            <a:extLst>
              <a:ext uri="{FF2B5EF4-FFF2-40B4-BE49-F238E27FC236}">
                <a16:creationId xmlns:a16="http://schemas.microsoft.com/office/drawing/2014/main" id="{90CBF1F8-726F-414B-9D7E-B39CA1847DB1}"/>
              </a:ext>
            </a:extLst>
          </p:cNvPr>
          <p:cNvSpPr>
            <a:spLocks noEditPoints="1"/>
          </p:cNvSpPr>
          <p:nvPr/>
        </p:nvSpPr>
        <p:spPr bwMode="auto">
          <a:xfrm>
            <a:off x="9211837" y="4700588"/>
            <a:ext cx="309563" cy="550863"/>
          </a:xfrm>
          <a:custGeom>
            <a:avLst/>
            <a:gdLst>
              <a:gd name="T0" fmla="*/ 0 w 91"/>
              <a:gd name="T1" fmla="*/ 12 h 160"/>
              <a:gd name="T2" fmla="*/ 79 w 91"/>
              <a:gd name="T3" fmla="*/ 160 h 160"/>
              <a:gd name="T4" fmla="*/ 79 w 91"/>
              <a:gd name="T5" fmla="*/ 0 h 160"/>
              <a:gd name="T6" fmla="*/ 85 w 91"/>
              <a:gd name="T7" fmla="*/ 123 h 160"/>
              <a:gd name="T8" fmla="*/ 12 w 91"/>
              <a:gd name="T9" fmla="*/ 5 h 160"/>
              <a:gd name="T10" fmla="*/ 85 w 91"/>
              <a:gd name="T11" fmla="*/ 16 h 160"/>
              <a:gd name="T12" fmla="*/ 12 w 91"/>
              <a:gd name="T13" fmla="*/ 5 h 160"/>
              <a:gd name="T14" fmla="*/ 5 w 91"/>
              <a:gd name="T15" fmla="*/ 148 h 160"/>
              <a:gd name="T16" fmla="*/ 85 w 91"/>
              <a:gd name="T17" fmla="*/ 148 h 160"/>
              <a:gd name="T18" fmla="*/ 35 w 91"/>
              <a:gd name="T19" fmla="*/ 141 h 160"/>
              <a:gd name="T20" fmla="*/ 45 w 91"/>
              <a:gd name="T21" fmla="*/ 131 h 160"/>
              <a:gd name="T22" fmla="*/ 45 w 91"/>
              <a:gd name="T23" fmla="*/ 136 h 160"/>
              <a:gd name="T24" fmla="*/ 32 w 91"/>
              <a:gd name="T25" fmla="*/ 11 h 160"/>
              <a:gd name="T26" fmla="*/ 48 w 91"/>
              <a:gd name="T27" fmla="*/ 11 h 160"/>
              <a:gd name="T28" fmla="*/ 32 w 91"/>
              <a:gd name="T29" fmla="*/ 11 h 160"/>
              <a:gd name="T30" fmla="*/ 56 w 91"/>
              <a:gd name="T31" fmla="*/ 8 h 160"/>
              <a:gd name="T32" fmla="*/ 53 w 91"/>
              <a:gd name="T33" fmla="*/ 13 h 160"/>
              <a:gd name="T34" fmla="*/ 22 w 91"/>
              <a:gd name="T35" fmla="*/ 85 h 160"/>
              <a:gd name="T36" fmla="*/ 27 w 91"/>
              <a:gd name="T37" fmla="*/ 88 h 160"/>
              <a:gd name="T38" fmla="*/ 31 w 91"/>
              <a:gd name="T39" fmla="*/ 90 h 160"/>
              <a:gd name="T40" fmla="*/ 36 w 91"/>
              <a:gd name="T41" fmla="*/ 92 h 160"/>
              <a:gd name="T42" fmla="*/ 41 w 91"/>
              <a:gd name="T43" fmla="*/ 93 h 160"/>
              <a:gd name="T44" fmla="*/ 49 w 91"/>
              <a:gd name="T45" fmla="*/ 93 h 160"/>
              <a:gd name="T46" fmla="*/ 53 w 91"/>
              <a:gd name="T47" fmla="*/ 93 h 160"/>
              <a:gd name="T48" fmla="*/ 59 w 91"/>
              <a:gd name="T49" fmla="*/ 91 h 160"/>
              <a:gd name="T50" fmla="*/ 63 w 91"/>
              <a:gd name="T51" fmla="*/ 89 h 160"/>
              <a:gd name="T52" fmla="*/ 66 w 91"/>
              <a:gd name="T53" fmla="*/ 87 h 160"/>
              <a:gd name="T54" fmla="*/ 80 w 91"/>
              <a:gd name="T55" fmla="*/ 59 h 160"/>
              <a:gd name="T56" fmla="*/ 23 w 91"/>
              <a:gd name="T57" fmla="*/ 85 h 160"/>
              <a:gd name="T58" fmla="*/ 35 w 91"/>
              <a:gd name="T59" fmla="*/ 86 h 160"/>
              <a:gd name="T60" fmla="*/ 41 w 91"/>
              <a:gd name="T61" fmla="*/ 76 h 160"/>
              <a:gd name="T62" fmla="*/ 38 w 91"/>
              <a:gd name="T63" fmla="*/ 64 h 160"/>
              <a:gd name="T64" fmla="*/ 37 w 91"/>
              <a:gd name="T65" fmla="*/ 58 h 160"/>
              <a:gd name="T66" fmla="*/ 37 w 91"/>
              <a:gd name="T67" fmla="*/ 50 h 160"/>
              <a:gd name="T68" fmla="*/ 52 w 91"/>
              <a:gd name="T69" fmla="*/ 47 h 160"/>
              <a:gd name="T70" fmla="*/ 53 w 91"/>
              <a:gd name="T71" fmla="*/ 58 h 160"/>
              <a:gd name="T72" fmla="*/ 54 w 91"/>
              <a:gd name="T73" fmla="*/ 63 h 160"/>
              <a:gd name="T74" fmla="*/ 50 w 91"/>
              <a:gd name="T75" fmla="*/ 69 h 160"/>
              <a:gd name="T76" fmla="*/ 49 w 91"/>
              <a:gd name="T77" fmla="*/ 76 h 160"/>
              <a:gd name="T78" fmla="*/ 59 w 91"/>
              <a:gd name="T79" fmla="*/ 85 h 160"/>
              <a:gd name="T80" fmla="*/ 52 w 91"/>
              <a:gd name="T81" fmla="*/ 87 h 160"/>
              <a:gd name="T82" fmla="*/ 38 w 91"/>
              <a:gd name="T83" fmla="*/ 87 h 160"/>
              <a:gd name="T84" fmla="*/ 64 w 91"/>
              <a:gd name="T85" fmla="*/ 81 h 160"/>
              <a:gd name="T86" fmla="*/ 54 w 91"/>
              <a:gd name="T87" fmla="*/ 76 h 160"/>
              <a:gd name="T88" fmla="*/ 57 w 91"/>
              <a:gd name="T89" fmla="*/ 67 h 160"/>
              <a:gd name="T90" fmla="*/ 59 w 91"/>
              <a:gd name="T91" fmla="*/ 55 h 160"/>
              <a:gd name="T92" fmla="*/ 45 w 91"/>
              <a:gd name="T93" fmla="*/ 39 h 160"/>
              <a:gd name="T94" fmla="*/ 32 w 91"/>
              <a:gd name="T95" fmla="*/ 55 h 160"/>
              <a:gd name="T96" fmla="*/ 33 w 91"/>
              <a:gd name="T97" fmla="*/ 66 h 160"/>
              <a:gd name="T98" fmla="*/ 36 w 91"/>
              <a:gd name="T99" fmla="*/ 76 h 160"/>
              <a:gd name="T100" fmla="*/ 16 w 91"/>
              <a:gd name="T101" fmla="*/ 59 h 160"/>
              <a:gd name="T102" fmla="*/ 8 w 91"/>
              <a:gd name="T103" fmla="*/ 99 h 160"/>
              <a:gd name="T104" fmla="*/ 83 w 91"/>
              <a:gd name="T105" fmla="*/ 120 h 160"/>
              <a:gd name="T106" fmla="*/ 13 w 91"/>
              <a:gd name="T107" fmla="*/ 115 h 160"/>
              <a:gd name="T108" fmla="*/ 24 w 91"/>
              <a:gd name="T109" fmla="*/ 115 h 160"/>
              <a:gd name="T110" fmla="*/ 29 w 91"/>
              <a:gd name="T111" fmla="*/ 115 h 160"/>
              <a:gd name="T112" fmla="*/ 77 w 91"/>
              <a:gd name="T113" fmla="*/ 11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 h="160">
                <a:moveTo>
                  <a:pt x="79" y="0"/>
                </a:move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12"/>
                  <a:pt x="91" y="12"/>
                  <a:pt x="91" y="12"/>
                </a:cubicBezTo>
                <a:cubicBezTo>
                  <a:pt x="91" y="5"/>
                  <a:pt x="85" y="0"/>
                  <a:pt x="79" y="0"/>
                </a:cubicBezTo>
                <a:close/>
                <a:moveTo>
                  <a:pt x="5" y="21"/>
                </a:moveTo>
                <a:cubicBezTo>
                  <a:pt x="85" y="21"/>
                  <a:pt x="85" y="21"/>
                  <a:pt x="85" y="21"/>
                </a:cubicBezTo>
                <a:cubicBezTo>
                  <a:pt x="85" y="123"/>
                  <a:pt x="85" y="123"/>
                  <a:pt x="85" y="123"/>
                </a:cubicBezTo>
                <a:cubicBezTo>
                  <a:pt x="5" y="123"/>
                  <a:pt x="5" y="123"/>
                  <a:pt x="5" y="123"/>
                </a:cubicBezTo>
                <a:lnTo>
                  <a:pt x="5" y="21"/>
                </a:ln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23" y="85"/>
                </a:moveTo>
                <a:cubicBezTo>
                  <a:pt x="22" y="85"/>
                  <a:pt x="22" y="85"/>
                  <a:pt x="22" y="85"/>
                </a:cubicBezTo>
                <a:cubicBezTo>
                  <a:pt x="25" y="87"/>
                  <a:pt x="25" y="87"/>
                  <a:pt x="25" y="87"/>
                </a:cubicBezTo>
                <a:cubicBezTo>
                  <a:pt x="25" y="87"/>
                  <a:pt x="25" y="87"/>
                  <a:pt x="25" y="87"/>
                </a:cubicBezTo>
                <a:cubicBezTo>
                  <a:pt x="26" y="87"/>
                  <a:pt x="26" y="88"/>
                  <a:pt x="27" y="88"/>
                </a:cubicBezTo>
                <a:cubicBezTo>
                  <a:pt x="27" y="88"/>
                  <a:pt x="28" y="88"/>
                  <a:pt x="28" y="89"/>
                </a:cubicBezTo>
                <a:cubicBezTo>
                  <a:pt x="28" y="89"/>
                  <a:pt x="29" y="89"/>
                  <a:pt x="29" y="89"/>
                </a:cubicBezTo>
                <a:cubicBezTo>
                  <a:pt x="30" y="90"/>
                  <a:pt x="30" y="90"/>
                  <a:pt x="31" y="90"/>
                </a:cubicBezTo>
                <a:cubicBezTo>
                  <a:pt x="31" y="90"/>
                  <a:pt x="32" y="91"/>
                  <a:pt x="32" y="91"/>
                </a:cubicBezTo>
                <a:cubicBezTo>
                  <a:pt x="33" y="91"/>
                  <a:pt x="34" y="91"/>
                  <a:pt x="35" y="92"/>
                </a:cubicBezTo>
                <a:cubicBezTo>
                  <a:pt x="35" y="92"/>
                  <a:pt x="35" y="92"/>
                  <a:pt x="36" y="92"/>
                </a:cubicBezTo>
                <a:cubicBezTo>
                  <a:pt x="36" y="92"/>
                  <a:pt x="37" y="92"/>
                  <a:pt x="38" y="93"/>
                </a:cubicBezTo>
                <a:cubicBezTo>
                  <a:pt x="38" y="93"/>
                  <a:pt x="39" y="93"/>
                  <a:pt x="39" y="93"/>
                </a:cubicBezTo>
                <a:cubicBezTo>
                  <a:pt x="40" y="93"/>
                  <a:pt x="40" y="93"/>
                  <a:pt x="41" y="93"/>
                </a:cubicBezTo>
                <a:cubicBezTo>
                  <a:pt x="41" y="93"/>
                  <a:pt x="42" y="93"/>
                  <a:pt x="42" y="93"/>
                </a:cubicBezTo>
                <a:cubicBezTo>
                  <a:pt x="43" y="93"/>
                  <a:pt x="44" y="93"/>
                  <a:pt x="45" y="93"/>
                </a:cubicBezTo>
                <a:cubicBezTo>
                  <a:pt x="46" y="93"/>
                  <a:pt x="47" y="93"/>
                  <a:pt x="49" y="93"/>
                </a:cubicBezTo>
                <a:cubicBezTo>
                  <a:pt x="49" y="93"/>
                  <a:pt x="49" y="93"/>
                  <a:pt x="50" y="93"/>
                </a:cubicBezTo>
                <a:cubicBezTo>
                  <a:pt x="50" y="93"/>
                  <a:pt x="51" y="93"/>
                  <a:pt x="52" y="93"/>
                </a:cubicBezTo>
                <a:cubicBezTo>
                  <a:pt x="52" y="93"/>
                  <a:pt x="52" y="93"/>
                  <a:pt x="53" y="93"/>
                </a:cubicBezTo>
                <a:cubicBezTo>
                  <a:pt x="53" y="92"/>
                  <a:pt x="54" y="92"/>
                  <a:pt x="55" y="92"/>
                </a:cubicBezTo>
                <a:cubicBezTo>
                  <a:pt x="55" y="92"/>
                  <a:pt x="56" y="92"/>
                  <a:pt x="56" y="92"/>
                </a:cubicBezTo>
                <a:cubicBezTo>
                  <a:pt x="57" y="91"/>
                  <a:pt x="58" y="91"/>
                  <a:pt x="59" y="91"/>
                </a:cubicBezTo>
                <a:cubicBezTo>
                  <a:pt x="59" y="91"/>
                  <a:pt x="59" y="90"/>
                  <a:pt x="60" y="90"/>
                </a:cubicBezTo>
                <a:cubicBezTo>
                  <a:pt x="60" y="90"/>
                  <a:pt x="61" y="90"/>
                  <a:pt x="61" y="89"/>
                </a:cubicBezTo>
                <a:cubicBezTo>
                  <a:pt x="62" y="89"/>
                  <a:pt x="62" y="89"/>
                  <a:pt x="63" y="89"/>
                </a:cubicBezTo>
                <a:cubicBezTo>
                  <a:pt x="63" y="88"/>
                  <a:pt x="63" y="88"/>
                  <a:pt x="64" y="88"/>
                </a:cubicBezTo>
                <a:cubicBezTo>
                  <a:pt x="64" y="88"/>
                  <a:pt x="65" y="87"/>
                  <a:pt x="65" y="87"/>
                </a:cubicBezTo>
                <a:cubicBezTo>
                  <a:pt x="65" y="87"/>
                  <a:pt x="66" y="87"/>
                  <a:pt x="66" y="87"/>
                </a:cubicBezTo>
                <a:cubicBezTo>
                  <a:pt x="68" y="85"/>
                  <a:pt x="68" y="85"/>
                  <a:pt x="68" y="85"/>
                </a:cubicBezTo>
                <a:cubicBezTo>
                  <a:pt x="68" y="85"/>
                  <a:pt x="68" y="85"/>
                  <a:pt x="68" y="85"/>
                </a:cubicBezTo>
                <a:cubicBezTo>
                  <a:pt x="75" y="78"/>
                  <a:pt x="80" y="69"/>
                  <a:pt x="80" y="59"/>
                </a:cubicBezTo>
                <a:cubicBezTo>
                  <a:pt x="80" y="40"/>
                  <a:pt x="64" y="24"/>
                  <a:pt x="45" y="24"/>
                </a:cubicBezTo>
                <a:cubicBezTo>
                  <a:pt x="26" y="24"/>
                  <a:pt x="11" y="40"/>
                  <a:pt x="11" y="59"/>
                </a:cubicBezTo>
                <a:cubicBezTo>
                  <a:pt x="11" y="69"/>
                  <a:pt x="15" y="78"/>
                  <a:pt x="23" y="85"/>
                </a:cubicBezTo>
                <a:close/>
                <a:moveTo>
                  <a:pt x="38" y="87"/>
                </a:moveTo>
                <a:cubicBezTo>
                  <a:pt x="37" y="87"/>
                  <a:pt x="36" y="86"/>
                  <a:pt x="35" y="86"/>
                </a:cubicBezTo>
                <a:cubicBezTo>
                  <a:pt x="35" y="86"/>
                  <a:pt x="35" y="86"/>
                  <a:pt x="35" y="86"/>
                </a:cubicBezTo>
                <a:cubicBezTo>
                  <a:pt x="34" y="86"/>
                  <a:pt x="33" y="85"/>
                  <a:pt x="32" y="85"/>
                </a:cubicBezTo>
                <a:cubicBezTo>
                  <a:pt x="38" y="81"/>
                  <a:pt x="38" y="81"/>
                  <a:pt x="38" y="81"/>
                </a:cubicBezTo>
                <a:cubicBezTo>
                  <a:pt x="40" y="80"/>
                  <a:pt x="41" y="78"/>
                  <a:pt x="41" y="76"/>
                </a:cubicBezTo>
                <a:cubicBezTo>
                  <a:pt x="41" y="71"/>
                  <a:pt x="41" y="71"/>
                  <a:pt x="41" y="71"/>
                </a:cubicBezTo>
                <a:cubicBezTo>
                  <a:pt x="41" y="70"/>
                  <a:pt x="41" y="70"/>
                  <a:pt x="41" y="70"/>
                </a:cubicBezTo>
                <a:cubicBezTo>
                  <a:pt x="41" y="70"/>
                  <a:pt x="39" y="68"/>
                  <a:pt x="38" y="64"/>
                </a:cubicBezTo>
                <a:cubicBezTo>
                  <a:pt x="37" y="63"/>
                  <a:pt x="37" y="63"/>
                  <a:pt x="37" y="63"/>
                </a:cubicBezTo>
                <a:cubicBezTo>
                  <a:pt x="36" y="62"/>
                  <a:pt x="36" y="62"/>
                  <a:pt x="36" y="62"/>
                </a:cubicBezTo>
                <a:cubicBezTo>
                  <a:pt x="37" y="58"/>
                  <a:pt x="37" y="58"/>
                  <a:pt x="37" y="58"/>
                </a:cubicBezTo>
                <a:cubicBezTo>
                  <a:pt x="37" y="58"/>
                  <a:pt x="37" y="58"/>
                  <a:pt x="37" y="58"/>
                </a:cubicBezTo>
                <a:cubicBezTo>
                  <a:pt x="37" y="51"/>
                  <a:pt x="37" y="51"/>
                  <a:pt x="37" y="51"/>
                </a:cubicBezTo>
                <a:cubicBezTo>
                  <a:pt x="37" y="50"/>
                  <a:pt x="37" y="50"/>
                  <a:pt x="37" y="50"/>
                </a:cubicBezTo>
                <a:cubicBezTo>
                  <a:pt x="37" y="50"/>
                  <a:pt x="37" y="48"/>
                  <a:pt x="39" y="47"/>
                </a:cubicBezTo>
                <a:cubicBezTo>
                  <a:pt x="40" y="46"/>
                  <a:pt x="42" y="45"/>
                  <a:pt x="45" y="45"/>
                </a:cubicBezTo>
                <a:cubicBezTo>
                  <a:pt x="49" y="45"/>
                  <a:pt x="51" y="46"/>
                  <a:pt x="52" y="47"/>
                </a:cubicBezTo>
                <a:cubicBezTo>
                  <a:pt x="54" y="48"/>
                  <a:pt x="53" y="50"/>
                  <a:pt x="53" y="50"/>
                </a:cubicBezTo>
                <a:cubicBezTo>
                  <a:pt x="53" y="56"/>
                  <a:pt x="53" y="56"/>
                  <a:pt x="53" y="56"/>
                </a:cubicBezTo>
                <a:cubicBezTo>
                  <a:pt x="53" y="58"/>
                  <a:pt x="53" y="58"/>
                  <a:pt x="53" y="58"/>
                </a:cubicBezTo>
                <a:cubicBezTo>
                  <a:pt x="54" y="59"/>
                  <a:pt x="54" y="59"/>
                  <a:pt x="54" y="59"/>
                </a:cubicBezTo>
                <a:cubicBezTo>
                  <a:pt x="54" y="62"/>
                  <a:pt x="54" y="62"/>
                  <a:pt x="54" y="62"/>
                </a:cubicBezTo>
                <a:cubicBezTo>
                  <a:pt x="54" y="63"/>
                  <a:pt x="54" y="63"/>
                  <a:pt x="54" y="63"/>
                </a:cubicBezTo>
                <a:cubicBezTo>
                  <a:pt x="53" y="63"/>
                  <a:pt x="53" y="63"/>
                  <a:pt x="53" y="63"/>
                </a:cubicBezTo>
                <a:cubicBezTo>
                  <a:pt x="52" y="64"/>
                  <a:pt x="52" y="64"/>
                  <a:pt x="52" y="64"/>
                </a:cubicBezTo>
                <a:cubicBezTo>
                  <a:pt x="52" y="66"/>
                  <a:pt x="51" y="68"/>
                  <a:pt x="50" y="69"/>
                </a:cubicBezTo>
                <a:cubicBezTo>
                  <a:pt x="50" y="70"/>
                  <a:pt x="49" y="70"/>
                  <a:pt x="49" y="70"/>
                </a:cubicBezTo>
                <a:cubicBezTo>
                  <a:pt x="49" y="71"/>
                  <a:pt x="49" y="71"/>
                  <a:pt x="49" y="71"/>
                </a:cubicBezTo>
                <a:cubicBezTo>
                  <a:pt x="49" y="76"/>
                  <a:pt x="49" y="76"/>
                  <a:pt x="49" y="76"/>
                </a:cubicBezTo>
                <a:cubicBezTo>
                  <a:pt x="49" y="78"/>
                  <a:pt x="50" y="80"/>
                  <a:pt x="52" y="81"/>
                </a:cubicBezTo>
                <a:cubicBezTo>
                  <a:pt x="59" y="85"/>
                  <a:pt x="59" y="85"/>
                  <a:pt x="59" y="85"/>
                </a:cubicBezTo>
                <a:cubicBezTo>
                  <a:pt x="59" y="85"/>
                  <a:pt x="59" y="85"/>
                  <a:pt x="59" y="85"/>
                </a:cubicBezTo>
                <a:cubicBezTo>
                  <a:pt x="58" y="85"/>
                  <a:pt x="57" y="86"/>
                  <a:pt x="56" y="86"/>
                </a:cubicBezTo>
                <a:cubicBezTo>
                  <a:pt x="56" y="86"/>
                  <a:pt x="55" y="86"/>
                  <a:pt x="55" y="86"/>
                </a:cubicBezTo>
                <a:cubicBezTo>
                  <a:pt x="54" y="87"/>
                  <a:pt x="53" y="87"/>
                  <a:pt x="52" y="87"/>
                </a:cubicBezTo>
                <a:cubicBezTo>
                  <a:pt x="52" y="87"/>
                  <a:pt x="52" y="87"/>
                  <a:pt x="52" y="87"/>
                </a:cubicBezTo>
                <a:cubicBezTo>
                  <a:pt x="48" y="88"/>
                  <a:pt x="43" y="88"/>
                  <a:pt x="38" y="87"/>
                </a:cubicBezTo>
                <a:cubicBezTo>
                  <a:pt x="38" y="87"/>
                  <a:pt x="38" y="87"/>
                  <a:pt x="38" y="87"/>
                </a:cubicBezTo>
                <a:close/>
                <a:moveTo>
                  <a:pt x="45" y="29"/>
                </a:moveTo>
                <a:cubicBezTo>
                  <a:pt x="62" y="29"/>
                  <a:pt x="75" y="42"/>
                  <a:pt x="75" y="59"/>
                </a:cubicBezTo>
                <a:cubicBezTo>
                  <a:pt x="75" y="68"/>
                  <a:pt x="70" y="76"/>
                  <a:pt x="64" y="81"/>
                </a:cubicBezTo>
                <a:cubicBezTo>
                  <a:pt x="64" y="81"/>
                  <a:pt x="64" y="81"/>
                  <a:pt x="64" y="81"/>
                </a:cubicBezTo>
                <a:cubicBezTo>
                  <a:pt x="54" y="76"/>
                  <a:pt x="54" y="76"/>
                  <a:pt x="54" y="76"/>
                </a:cubicBezTo>
                <a:cubicBezTo>
                  <a:pt x="54" y="76"/>
                  <a:pt x="54" y="76"/>
                  <a:pt x="54" y="76"/>
                </a:cubicBezTo>
                <a:cubicBezTo>
                  <a:pt x="54" y="73"/>
                  <a:pt x="54" y="73"/>
                  <a:pt x="54" y="73"/>
                </a:cubicBezTo>
                <a:cubicBezTo>
                  <a:pt x="54" y="73"/>
                  <a:pt x="54" y="73"/>
                  <a:pt x="54" y="73"/>
                </a:cubicBezTo>
                <a:cubicBezTo>
                  <a:pt x="55" y="71"/>
                  <a:pt x="56" y="69"/>
                  <a:pt x="57" y="67"/>
                </a:cubicBezTo>
                <a:cubicBezTo>
                  <a:pt x="59" y="66"/>
                  <a:pt x="60" y="64"/>
                  <a:pt x="60" y="62"/>
                </a:cubicBezTo>
                <a:cubicBezTo>
                  <a:pt x="60" y="59"/>
                  <a:pt x="60" y="59"/>
                  <a:pt x="60" y="59"/>
                </a:cubicBezTo>
                <a:cubicBezTo>
                  <a:pt x="60" y="57"/>
                  <a:pt x="59" y="56"/>
                  <a:pt x="59" y="55"/>
                </a:cubicBezTo>
                <a:cubicBezTo>
                  <a:pt x="59" y="51"/>
                  <a:pt x="59" y="51"/>
                  <a:pt x="59" y="51"/>
                </a:cubicBezTo>
                <a:cubicBezTo>
                  <a:pt x="59" y="50"/>
                  <a:pt x="59" y="46"/>
                  <a:pt x="56" y="43"/>
                </a:cubicBezTo>
                <a:cubicBezTo>
                  <a:pt x="54" y="41"/>
                  <a:pt x="50" y="39"/>
                  <a:pt x="45" y="39"/>
                </a:cubicBezTo>
                <a:cubicBezTo>
                  <a:pt x="41" y="39"/>
                  <a:pt x="37" y="41"/>
                  <a:pt x="35" y="43"/>
                </a:cubicBezTo>
                <a:cubicBezTo>
                  <a:pt x="32" y="46"/>
                  <a:pt x="32" y="50"/>
                  <a:pt x="32" y="51"/>
                </a:cubicBezTo>
                <a:cubicBezTo>
                  <a:pt x="32" y="55"/>
                  <a:pt x="32" y="55"/>
                  <a:pt x="32" y="55"/>
                </a:cubicBezTo>
                <a:cubicBezTo>
                  <a:pt x="31" y="56"/>
                  <a:pt x="31" y="57"/>
                  <a:pt x="31" y="59"/>
                </a:cubicBezTo>
                <a:cubicBezTo>
                  <a:pt x="31" y="62"/>
                  <a:pt x="31" y="62"/>
                  <a:pt x="31" y="62"/>
                </a:cubicBezTo>
                <a:cubicBezTo>
                  <a:pt x="31" y="64"/>
                  <a:pt x="32" y="65"/>
                  <a:pt x="33" y="66"/>
                </a:cubicBezTo>
                <a:cubicBezTo>
                  <a:pt x="34" y="69"/>
                  <a:pt x="35" y="72"/>
                  <a:pt x="36" y="73"/>
                </a:cubicBezTo>
                <a:cubicBezTo>
                  <a:pt x="36" y="76"/>
                  <a:pt x="36" y="76"/>
                  <a:pt x="36" y="76"/>
                </a:cubicBezTo>
                <a:cubicBezTo>
                  <a:pt x="36" y="76"/>
                  <a:pt x="36" y="76"/>
                  <a:pt x="36" y="76"/>
                </a:cubicBezTo>
                <a:cubicBezTo>
                  <a:pt x="27" y="81"/>
                  <a:pt x="27" y="81"/>
                  <a:pt x="27" y="81"/>
                </a:cubicBezTo>
                <a:cubicBezTo>
                  <a:pt x="27" y="81"/>
                  <a:pt x="27" y="81"/>
                  <a:pt x="27" y="81"/>
                </a:cubicBezTo>
                <a:cubicBezTo>
                  <a:pt x="20" y="76"/>
                  <a:pt x="16" y="68"/>
                  <a:pt x="16" y="59"/>
                </a:cubicBezTo>
                <a:cubicBezTo>
                  <a:pt x="16" y="42"/>
                  <a:pt x="29" y="29"/>
                  <a:pt x="45" y="29"/>
                </a:cubicBezTo>
                <a:close/>
                <a:moveTo>
                  <a:pt x="29" y="99"/>
                </a:moveTo>
                <a:cubicBezTo>
                  <a:pt x="8" y="99"/>
                  <a:pt x="8" y="99"/>
                  <a:pt x="8" y="99"/>
                </a:cubicBezTo>
                <a:cubicBezTo>
                  <a:pt x="8" y="120"/>
                  <a:pt x="8" y="120"/>
                  <a:pt x="8" y="120"/>
                </a:cubicBezTo>
                <a:cubicBezTo>
                  <a:pt x="29" y="120"/>
                  <a:pt x="29" y="120"/>
                  <a:pt x="29" y="120"/>
                </a:cubicBezTo>
                <a:cubicBezTo>
                  <a:pt x="83" y="120"/>
                  <a:pt x="83" y="120"/>
                  <a:pt x="83" y="120"/>
                </a:cubicBezTo>
                <a:cubicBezTo>
                  <a:pt x="83" y="99"/>
                  <a:pt x="83" y="99"/>
                  <a:pt x="83" y="99"/>
                </a:cubicBezTo>
                <a:lnTo>
                  <a:pt x="29" y="99"/>
                </a:lnTo>
                <a:close/>
                <a:moveTo>
                  <a:pt x="13" y="115"/>
                </a:moveTo>
                <a:cubicBezTo>
                  <a:pt x="13" y="104"/>
                  <a:pt x="13" y="104"/>
                  <a:pt x="13" y="104"/>
                </a:cubicBezTo>
                <a:cubicBezTo>
                  <a:pt x="24" y="104"/>
                  <a:pt x="24" y="104"/>
                  <a:pt x="24" y="104"/>
                </a:cubicBezTo>
                <a:cubicBezTo>
                  <a:pt x="24" y="115"/>
                  <a:pt x="24" y="115"/>
                  <a:pt x="24" y="115"/>
                </a:cubicBezTo>
                <a:lnTo>
                  <a:pt x="13" y="115"/>
                </a:lnTo>
                <a:close/>
                <a:moveTo>
                  <a:pt x="77" y="115"/>
                </a:moveTo>
                <a:cubicBezTo>
                  <a:pt x="29" y="115"/>
                  <a:pt x="29" y="115"/>
                  <a:pt x="29" y="115"/>
                </a:cubicBezTo>
                <a:cubicBezTo>
                  <a:pt x="29" y="104"/>
                  <a:pt x="29" y="104"/>
                  <a:pt x="29" y="104"/>
                </a:cubicBezTo>
                <a:cubicBezTo>
                  <a:pt x="77" y="104"/>
                  <a:pt x="77" y="104"/>
                  <a:pt x="77" y="104"/>
                </a:cubicBezTo>
                <a:lnTo>
                  <a:pt x="77" y="1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81" name="Freeform 1383">
            <a:extLst>
              <a:ext uri="{FF2B5EF4-FFF2-40B4-BE49-F238E27FC236}">
                <a16:creationId xmlns:a16="http://schemas.microsoft.com/office/drawing/2014/main" id="{FDA37D2E-E39D-7643-91C8-FD11796AD507}"/>
              </a:ext>
            </a:extLst>
          </p:cNvPr>
          <p:cNvSpPr>
            <a:spLocks noEditPoints="1"/>
          </p:cNvSpPr>
          <p:nvPr/>
        </p:nvSpPr>
        <p:spPr bwMode="auto">
          <a:xfrm>
            <a:off x="9211837" y="5319713"/>
            <a:ext cx="309563" cy="550863"/>
          </a:xfrm>
          <a:custGeom>
            <a:avLst/>
            <a:gdLst>
              <a:gd name="T0" fmla="*/ 12 w 91"/>
              <a:gd name="T1" fmla="*/ 0 h 160"/>
              <a:gd name="T2" fmla="*/ 0 w 91"/>
              <a:gd name="T3" fmla="*/ 148 h 160"/>
              <a:gd name="T4" fmla="*/ 79 w 91"/>
              <a:gd name="T5" fmla="*/ 160 h 160"/>
              <a:gd name="T6" fmla="*/ 91 w 91"/>
              <a:gd name="T7" fmla="*/ 12 h 160"/>
              <a:gd name="T8" fmla="*/ 5 w 91"/>
              <a:gd name="T9" fmla="*/ 21 h 160"/>
              <a:gd name="T10" fmla="*/ 85 w 91"/>
              <a:gd name="T11" fmla="*/ 123 h 160"/>
              <a:gd name="T12" fmla="*/ 5 w 91"/>
              <a:gd name="T13" fmla="*/ 21 h 160"/>
              <a:gd name="T14" fmla="*/ 79 w 91"/>
              <a:gd name="T15" fmla="*/ 5 h 160"/>
              <a:gd name="T16" fmla="*/ 85 w 91"/>
              <a:gd name="T17" fmla="*/ 16 h 160"/>
              <a:gd name="T18" fmla="*/ 5 w 91"/>
              <a:gd name="T19" fmla="*/ 12 h 160"/>
              <a:gd name="T20" fmla="*/ 79 w 91"/>
              <a:gd name="T21" fmla="*/ 155 h 160"/>
              <a:gd name="T22" fmla="*/ 5 w 91"/>
              <a:gd name="T23" fmla="*/ 148 h 160"/>
              <a:gd name="T24" fmla="*/ 85 w 91"/>
              <a:gd name="T25" fmla="*/ 128 h 160"/>
              <a:gd name="T26" fmla="*/ 79 w 91"/>
              <a:gd name="T27" fmla="*/ 155 h 160"/>
              <a:gd name="T28" fmla="*/ 35 w 91"/>
              <a:gd name="T29" fmla="*/ 141 h 160"/>
              <a:gd name="T30" fmla="*/ 56 w 91"/>
              <a:gd name="T31" fmla="*/ 141 h 160"/>
              <a:gd name="T32" fmla="*/ 45 w 91"/>
              <a:gd name="T33" fmla="*/ 147 h 160"/>
              <a:gd name="T34" fmla="*/ 45 w 91"/>
              <a:gd name="T35" fmla="*/ 136 h 160"/>
              <a:gd name="T36" fmla="*/ 45 w 91"/>
              <a:gd name="T37" fmla="*/ 147 h 160"/>
              <a:gd name="T38" fmla="*/ 35 w 91"/>
              <a:gd name="T39" fmla="*/ 8 h 160"/>
              <a:gd name="T40" fmla="*/ 48 w 91"/>
              <a:gd name="T41" fmla="*/ 11 h 160"/>
              <a:gd name="T42" fmla="*/ 35 w 91"/>
              <a:gd name="T43" fmla="*/ 13 h 160"/>
              <a:gd name="T44" fmla="*/ 51 w 91"/>
              <a:gd name="T45" fmla="*/ 11 h 160"/>
              <a:gd name="T46" fmla="*/ 56 w 91"/>
              <a:gd name="T47" fmla="*/ 8 h 160"/>
              <a:gd name="T48" fmla="*/ 56 w 91"/>
              <a:gd name="T49" fmla="*/ 13 h 160"/>
              <a:gd name="T50" fmla="*/ 51 w 91"/>
              <a:gd name="T51" fmla="*/ 11 h 160"/>
              <a:gd name="T52" fmla="*/ 80 w 91"/>
              <a:gd name="T53" fmla="*/ 43 h 160"/>
              <a:gd name="T54" fmla="*/ 24 w 91"/>
              <a:gd name="T55" fmla="*/ 29 h 160"/>
              <a:gd name="T56" fmla="*/ 11 w 91"/>
              <a:gd name="T57" fmla="*/ 70 h 160"/>
              <a:gd name="T58" fmla="*/ 67 w 91"/>
              <a:gd name="T59" fmla="*/ 56 h 160"/>
              <a:gd name="T60" fmla="*/ 16 w 91"/>
              <a:gd name="T61" fmla="*/ 43 h 160"/>
              <a:gd name="T62" fmla="*/ 67 w 91"/>
              <a:gd name="T63" fmla="*/ 35 h 160"/>
              <a:gd name="T64" fmla="*/ 67 w 91"/>
              <a:gd name="T65" fmla="*/ 51 h 160"/>
              <a:gd name="T66" fmla="*/ 16 w 91"/>
              <a:gd name="T67" fmla="*/ 58 h 160"/>
              <a:gd name="T68" fmla="*/ 24 w 91"/>
              <a:gd name="T69" fmla="*/ 75 h 160"/>
              <a:gd name="T70" fmla="*/ 24 w 91"/>
              <a:gd name="T71" fmla="*/ 101 h 160"/>
              <a:gd name="T72" fmla="*/ 80 w 91"/>
              <a:gd name="T73" fmla="*/ 116 h 160"/>
              <a:gd name="T74" fmla="*/ 67 w 91"/>
              <a:gd name="T75" fmla="*/ 75 h 160"/>
              <a:gd name="T76" fmla="*/ 68 w 91"/>
              <a:gd name="T77" fmla="*/ 96 h 160"/>
              <a:gd name="T78" fmla="*/ 16 w 91"/>
              <a:gd name="T79" fmla="*/ 88 h 160"/>
              <a:gd name="T80" fmla="*/ 67 w 91"/>
              <a:gd name="T81" fmla="*/ 80 h 160"/>
              <a:gd name="T82" fmla="*/ 75 w 91"/>
              <a:gd name="T83" fmla="*/ 10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1" h="160">
                <a:moveTo>
                  <a:pt x="79" y="0"/>
                </a:move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12"/>
                  <a:pt x="91" y="12"/>
                  <a:pt x="91" y="12"/>
                </a:cubicBezTo>
                <a:cubicBezTo>
                  <a:pt x="91" y="5"/>
                  <a:pt x="85" y="0"/>
                  <a:pt x="79" y="0"/>
                </a:cubicBezTo>
                <a:close/>
                <a:moveTo>
                  <a:pt x="5" y="21"/>
                </a:moveTo>
                <a:cubicBezTo>
                  <a:pt x="85" y="21"/>
                  <a:pt x="85" y="21"/>
                  <a:pt x="85" y="21"/>
                </a:cubicBezTo>
                <a:cubicBezTo>
                  <a:pt x="85" y="123"/>
                  <a:pt x="85" y="123"/>
                  <a:pt x="85" y="123"/>
                </a:cubicBezTo>
                <a:cubicBezTo>
                  <a:pt x="5" y="123"/>
                  <a:pt x="5" y="123"/>
                  <a:pt x="5" y="123"/>
                </a:cubicBezTo>
                <a:lnTo>
                  <a:pt x="5" y="21"/>
                </a:ln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45" y="131"/>
                </a:moveTo>
                <a:cubicBezTo>
                  <a:pt x="39" y="131"/>
                  <a:pt x="35" y="135"/>
                  <a:pt x="35" y="141"/>
                </a:cubicBezTo>
                <a:cubicBezTo>
                  <a:pt x="35" y="147"/>
                  <a:pt x="39" y="152"/>
                  <a:pt x="45" y="152"/>
                </a:cubicBezTo>
                <a:cubicBezTo>
                  <a:pt x="51" y="152"/>
                  <a:pt x="56" y="147"/>
                  <a:pt x="56" y="141"/>
                </a:cubicBezTo>
                <a:cubicBezTo>
                  <a:pt x="56" y="135"/>
                  <a:pt x="51" y="131"/>
                  <a:pt x="45" y="131"/>
                </a:cubicBezTo>
                <a:close/>
                <a:moveTo>
                  <a:pt x="45" y="147"/>
                </a:moveTo>
                <a:cubicBezTo>
                  <a:pt x="42" y="147"/>
                  <a:pt x="40" y="144"/>
                  <a:pt x="40" y="141"/>
                </a:cubicBezTo>
                <a:cubicBezTo>
                  <a:pt x="40" y="138"/>
                  <a:pt x="42" y="136"/>
                  <a:pt x="45" y="136"/>
                </a:cubicBezTo>
                <a:cubicBezTo>
                  <a:pt x="48" y="136"/>
                  <a:pt x="51" y="138"/>
                  <a:pt x="51" y="141"/>
                </a:cubicBezTo>
                <a:cubicBezTo>
                  <a:pt x="51" y="144"/>
                  <a:pt x="48" y="147"/>
                  <a:pt x="45"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67" y="56"/>
                </a:moveTo>
                <a:cubicBezTo>
                  <a:pt x="74" y="56"/>
                  <a:pt x="80" y="50"/>
                  <a:pt x="80" y="43"/>
                </a:cubicBezTo>
                <a:cubicBezTo>
                  <a:pt x="80" y="35"/>
                  <a:pt x="74" y="29"/>
                  <a:pt x="67" y="29"/>
                </a:cubicBezTo>
                <a:cubicBezTo>
                  <a:pt x="24" y="29"/>
                  <a:pt x="24" y="29"/>
                  <a:pt x="24" y="29"/>
                </a:cubicBezTo>
                <a:cubicBezTo>
                  <a:pt x="17" y="29"/>
                  <a:pt x="11" y="35"/>
                  <a:pt x="11" y="43"/>
                </a:cubicBezTo>
                <a:cubicBezTo>
                  <a:pt x="11" y="70"/>
                  <a:pt x="11" y="70"/>
                  <a:pt x="11" y="70"/>
                </a:cubicBezTo>
                <a:cubicBezTo>
                  <a:pt x="25" y="56"/>
                  <a:pt x="25" y="56"/>
                  <a:pt x="25" y="56"/>
                </a:cubicBezTo>
                <a:lnTo>
                  <a:pt x="67" y="56"/>
                </a:lnTo>
                <a:close/>
                <a:moveTo>
                  <a:pt x="16" y="58"/>
                </a:moveTo>
                <a:cubicBezTo>
                  <a:pt x="16" y="43"/>
                  <a:pt x="16" y="43"/>
                  <a:pt x="16" y="43"/>
                </a:cubicBezTo>
                <a:cubicBezTo>
                  <a:pt x="16" y="38"/>
                  <a:pt x="20" y="35"/>
                  <a:pt x="24" y="35"/>
                </a:cubicBezTo>
                <a:cubicBezTo>
                  <a:pt x="67" y="35"/>
                  <a:pt x="67" y="35"/>
                  <a:pt x="67" y="35"/>
                </a:cubicBezTo>
                <a:cubicBezTo>
                  <a:pt x="71" y="35"/>
                  <a:pt x="75" y="38"/>
                  <a:pt x="75" y="43"/>
                </a:cubicBezTo>
                <a:cubicBezTo>
                  <a:pt x="75" y="47"/>
                  <a:pt x="71" y="51"/>
                  <a:pt x="67" y="51"/>
                </a:cubicBezTo>
                <a:cubicBezTo>
                  <a:pt x="23" y="51"/>
                  <a:pt x="23" y="51"/>
                  <a:pt x="23" y="51"/>
                </a:cubicBezTo>
                <a:lnTo>
                  <a:pt x="16" y="58"/>
                </a:lnTo>
                <a:close/>
                <a:moveTo>
                  <a:pt x="67" y="75"/>
                </a:moveTo>
                <a:cubicBezTo>
                  <a:pt x="24" y="75"/>
                  <a:pt x="24" y="75"/>
                  <a:pt x="24" y="75"/>
                </a:cubicBezTo>
                <a:cubicBezTo>
                  <a:pt x="17" y="75"/>
                  <a:pt x="11" y="81"/>
                  <a:pt x="11" y="88"/>
                </a:cubicBezTo>
                <a:cubicBezTo>
                  <a:pt x="11" y="95"/>
                  <a:pt x="17" y="101"/>
                  <a:pt x="24" y="101"/>
                </a:cubicBezTo>
                <a:cubicBezTo>
                  <a:pt x="66" y="101"/>
                  <a:pt x="66" y="101"/>
                  <a:pt x="66" y="101"/>
                </a:cubicBezTo>
                <a:cubicBezTo>
                  <a:pt x="80" y="116"/>
                  <a:pt x="80" y="116"/>
                  <a:pt x="80" y="116"/>
                </a:cubicBezTo>
                <a:cubicBezTo>
                  <a:pt x="80" y="88"/>
                  <a:pt x="80" y="88"/>
                  <a:pt x="80" y="88"/>
                </a:cubicBezTo>
                <a:cubicBezTo>
                  <a:pt x="80" y="81"/>
                  <a:pt x="74" y="75"/>
                  <a:pt x="67" y="75"/>
                </a:cubicBezTo>
                <a:close/>
                <a:moveTo>
                  <a:pt x="75" y="103"/>
                </a:moveTo>
                <a:cubicBezTo>
                  <a:pt x="68" y="96"/>
                  <a:pt x="68" y="96"/>
                  <a:pt x="68" y="96"/>
                </a:cubicBezTo>
                <a:cubicBezTo>
                  <a:pt x="24" y="96"/>
                  <a:pt x="24" y="96"/>
                  <a:pt x="24" y="96"/>
                </a:cubicBezTo>
                <a:cubicBezTo>
                  <a:pt x="20" y="96"/>
                  <a:pt x="16" y="92"/>
                  <a:pt x="16" y="88"/>
                </a:cubicBezTo>
                <a:cubicBezTo>
                  <a:pt x="16" y="84"/>
                  <a:pt x="20" y="80"/>
                  <a:pt x="24" y="80"/>
                </a:cubicBezTo>
                <a:cubicBezTo>
                  <a:pt x="67" y="80"/>
                  <a:pt x="67" y="80"/>
                  <a:pt x="67" y="80"/>
                </a:cubicBezTo>
                <a:cubicBezTo>
                  <a:pt x="71" y="80"/>
                  <a:pt x="75" y="84"/>
                  <a:pt x="75" y="88"/>
                </a:cubicBezTo>
                <a:lnTo>
                  <a:pt x="75" y="10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82" name="Freeform 1384">
            <a:extLst>
              <a:ext uri="{FF2B5EF4-FFF2-40B4-BE49-F238E27FC236}">
                <a16:creationId xmlns:a16="http://schemas.microsoft.com/office/drawing/2014/main" id="{19DD8D33-26BF-DD4C-BFE1-B47AC0696B54}"/>
              </a:ext>
            </a:extLst>
          </p:cNvPr>
          <p:cNvSpPr>
            <a:spLocks noEditPoints="1"/>
          </p:cNvSpPr>
          <p:nvPr/>
        </p:nvSpPr>
        <p:spPr bwMode="auto">
          <a:xfrm>
            <a:off x="9102300" y="5938838"/>
            <a:ext cx="528638" cy="550863"/>
          </a:xfrm>
          <a:custGeom>
            <a:avLst/>
            <a:gdLst>
              <a:gd name="T0" fmla="*/ 75 w 155"/>
              <a:gd name="T1" fmla="*/ 131 h 160"/>
              <a:gd name="T2" fmla="*/ 75 w 155"/>
              <a:gd name="T3" fmla="*/ 147 h 160"/>
              <a:gd name="T4" fmla="*/ 77 w 155"/>
              <a:gd name="T5" fmla="*/ 13 h 160"/>
              <a:gd name="T6" fmla="*/ 88 w 155"/>
              <a:gd name="T7" fmla="*/ 8 h 160"/>
              <a:gd name="T8" fmla="*/ 7 w 155"/>
              <a:gd name="T9" fmla="*/ 39 h 160"/>
              <a:gd name="T10" fmla="*/ 8 w 155"/>
              <a:gd name="T11" fmla="*/ 33 h 160"/>
              <a:gd name="T12" fmla="*/ 0 w 155"/>
              <a:gd name="T13" fmla="*/ 23 h 160"/>
              <a:gd name="T14" fmla="*/ 5 w 155"/>
              <a:gd name="T15" fmla="*/ 23 h 160"/>
              <a:gd name="T16" fmla="*/ 10 w 155"/>
              <a:gd name="T17" fmla="*/ 62 h 160"/>
              <a:gd name="T18" fmla="*/ 13 w 155"/>
              <a:gd name="T19" fmla="*/ 64 h 160"/>
              <a:gd name="T20" fmla="*/ 25 w 155"/>
              <a:gd name="T21" fmla="*/ 107 h 160"/>
              <a:gd name="T22" fmla="*/ 9 w 155"/>
              <a:gd name="T23" fmla="*/ 52 h 160"/>
              <a:gd name="T24" fmla="*/ 12 w 155"/>
              <a:gd name="T25" fmla="*/ 48 h 160"/>
              <a:gd name="T26" fmla="*/ 15 w 155"/>
              <a:gd name="T27" fmla="*/ 13 h 160"/>
              <a:gd name="T28" fmla="*/ 20 w 155"/>
              <a:gd name="T29" fmla="*/ 11 h 160"/>
              <a:gd name="T30" fmla="*/ 23 w 155"/>
              <a:gd name="T31" fmla="*/ 13 h 160"/>
              <a:gd name="T32" fmla="*/ 20 w 155"/>
              <a:gd name="T33" fmla="*/ 100 h 160"/>
              <a:gd name="T34" fmla="*/ 24 w 155"/>
              <a:gd name="T35" fmla="*/ 102 h 160"/>
              <a:gd name="T36" fmla="*/ 15 w 155"/>
              <a:gd name="T37" fmla="*/ 69 h 160"/>
              <a:gd name="T38" fmla="*/ 19 w 155"/>
              <a:gd name="T39" fmla="*/ 89 h 160"/>
              <a:gd name="T40" fmla="*/ 22 w 155"/>
              <a:gd name="T41" fmla="*/ 86 h 160"/>
              <a:gd name="T42" fmla="*/ 145 w 155"/>
              <a:gd name="T43" fmla="*/ 51 h 160"/>
              <a:gd name="T44" fmla="*/ 152 w 155"/>
              <a:gd name="T45" fmla="*/ 34 h 160"/>
              <a:gd name="T46" fmla="*/ 147 w 155"/>
              <a:gd name="T47" fmla="*/ 33 h 160"/>
              <a:gd name="T48" fmla="*/ 152 w 155"/>
              <a:gd name="T49" fmla="*/ 26 h 160"/>
              <a:gd name="T50" fmla="*/ 151 w 155"/>
              <a:gd name="T51" fmla="*/ 18 h 160"/>
              <a:gd name="T52" fmla="*/ 133 w 155"/>
              <a:gd name="T53" fmla="*/ 8 h 160"/>
              <a:gd name="T54" fmla="*/ 127 w 155"/>
              <a:gd name="T55" fmla="*/ 9 h 160"/>
              <a:gd name="T56" fmla="*/ 145 w 155"/>
              <a:gd name="T57" fmla="*/ 17 h 160"/>
              <a:gd name="T58" fmla="*/ 145 w 155"/>
              <a:gd name="T59" fmla="*/ 62 h 160"/>
              <a:gd name="T60" fmla="*/ 143 w 155"/>
              <a:gd name="T61" fmla="*/ 56 h 160"/>
              <a:gd name="T62" fmla="*/ 123 w 155"/>
              <a:gd name="T63" fmla="*/ 123 h 160"/>
              <a:gd name="T64" fmla="*/ 123 w 155"/>
              <a:gd name="T65" fmla="*/ 109 h 160"/>
              <a:gd name="T66" fmla="*/ 123 w 155"/>
              <a:gd name="T67" fmla="*/ 86 h 160"/>
              <a:gd name="T68" fmla="*/ 123 w 155"/>
              <a:gd name="T69" fmla="*/ 73 h 160"/>
              <a:gd name="T70" fmla="*/ 123 w 155"/>
              <a:gd name="T71" fmla="*/ 57 h 160"/>
              <a:gd name="T72" fmla="*/ 123 w 155"/>
              <a:gd name="T73" fmla="*/ 44 h 160"/>
              <a:gd name="T74" fmla="*/ 123 w 155"/>
              <a:gd name="T75" fmla="*/ 21 h 160"/>
              <a:gd name="T76" fmla="*/ 111 w 155"/>
              <a:gd name="T77" fmla="*/ 0 h 160"/>
              <a:gd name="T78" fmla="*/ 32 w 155"/>
              <a:gd name="T79" fmla="*/ 21 h 160"/>
              <a:gd name="T80" fmla="*/ 32 w 155"/>
              <a:gd name="T81" fmla="*/ 34 h 160"/>
              <a:gd name="T82" fmla="*/ 32 w 155"/>
              <a:gd name="T83" fmla="*/ 57 h 160"/>
              <a:gd name="T84" fmla="*/ 32 w 155"/>
              <a:gd name="T85" fmla="*/ 70 h 160"/>
              <a:gd name="T86" fmla="*/ 32 w 155"/>
              <a:gd name="T87" fmla="*/ 86 h 160"/>
              <a:gd name="T88" fmla="*/ 32 w 155"/>
              <a:gd name="T89" fmla="*/ 99 h 160"/>
              <a:gd name="T90" fmla="*/ 32 w 155"/>
              <a:gd name="T91" fmla="*/ 123 h 160"/>
              <a:gd name="T92" fmla="*/ 26 w 155"/>
              <a:gd name="T93" fmla="*/ 123 h 160"/>
              <a:gd name="T94" fmla="*/ 32 w 155"/>
              <a:gd name="T95" fmla="*/ 132 h 160"/>
              <a:gd name="T96" fmla="*/ 44 w 155"/>
              <a:gd name="T97" fmla="*/ 160 h 160"/>
              <a:gd name="T98" fmla="*/ 125 w 155"/>
              <a:gd name="T99" fmla="*/ 135 h 160"/>
              <a:gd name="T100" fmla="*/ 124 w 155"/>
              <a:gd name="T101" fmla="*/ 127 h 160"/>
              <a:gd name="T102" fmla="*/ 117 w 155"/>
              <a:gd name="T103" fmla="*/ 21 h 160"/>
              <a:gd name="T104" fmla="*/ 111 w 155"/>
              <a:gd name="T105" fmla="*/ 5 h 160"/>
              <a:gd name="T106" fmla="*/ 44 w 155"/>
              <a:gd name="T107" fmla="*/ 5 h 160"/>
              <a:gd name="T108" fmla="*/ 117 w 155"/>
              <a:gd name="T109" fmla="*/ 128 h 160"/>
              <a:gd name="T110" fmla="*/ 132 w 155"/>
              <a:gd name="T111" fmla="*/ 102 h 160"/>
              <a:gd name="T112" fmla="*/ 135 w 155"/>
              <a:gd name="T113" fmla="*/ 97 h 160"/>
              <a:gd name="T114" fmla="*/ 126 w 155"/>
              <a:gd name="T115" fmla="*/ 111 h 160"/>
              <a:gd name="T116" fmla="*/ 138 w 155"/>
              <a:gd name="T117" fmla="*/ 87 h 160"/>
              <a:gd name="T118" fmla="*/ 137 w 155"/>
              <a:gd name="T119" fmla="*/ 82 h 160"/>
              <a:gd name="T120" fmla="*/ 138 w 155"/>
              <a:gd name="T121" fmla="*/ 7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5" h="160">
                <a:moveTo>
                  <a:pt x="75" y="131"/>
                </a:moveTo>
                <a:cubicBezTo>
                  <a:pt x="69" y="131"/>
                  <a:pt x="64" y="135"/>
                  <a:pt x="64" y="141"/>
                </a:cubicBezTo>
                <a:cubicBezTo>
                  <a:pt x="64" y="147"/>
                  <a:pt x="69" y="152"/>
                  <a:pt x="75" y="152"/>
                </a:cubicBezTo>
                <a:cubicBezTo>
                  <a:pt x="81" y="152"/>
                  <a:pt x="85" y="147"/>
                  <a:pt x="85" y="141"/>
                </a:cubicBezTo>
                <a:cubicBezTo>
                  <a:pt x="85" y="135"/>
                  <a:pt x="81" y="131"/>
                  <a:pt x="75" y="131"/>
                </a:cubicBezTo>
                <a:close/>
                <a:moveTo>
                  <a:pt x="75" y="147"/>
                </a:moveTo>
                <a:cubicBezTo>
                  <a:pt x="72" y="147"/>
                  <a:pt x="69" y="144"/>
                  <a:pt x="69" y="141"/>
                </a:cubicBezTo>
                <a:cubicBezTo>
                  <a:pt x="69" y="138"/>
                  <a:pt x="72" y="136"/>
                  <a:pt x="75" y="136"/>
                </a:cubicBezTo>
                <a:cubicBezTo>
                  <a:pt x="78" y="136"/>
                  <a:pt x="80" y="138"/>
                  <a:pt x="80" y="141"/>
                </a:cubicBezTo>
                <a:cubicBezTo>
                  <a:pt x="80" y="144"/>
                  <a:pt x="78" y="147"/>
                  <a:pt x="75" y="147"/>
                </a:cubicBezTo>
                <a:close/>
                <a:moveTo>
                  <a:pt x="64" y="11"/>
                </a:moveTo>
                <a:cubicBezTo>
                  <a:pt x="64" y="9"/>
                  <a:pt x="65" y="8"/>
                  <a:pt x="67" y="8"/>
                </a:cubicBezTo>
                <a:cubicBezTo>
                  <a:pt x="77" y="8"/>
                  <a:pt x="77" y="8"/>
                  <a:pt x="77" y="8"/>
                </a:cubicBezTo>
                <a:cubicBezTo>
                  <a:pt x="79" y="8"/>
                  <a:pt x="80" y="9"/>
                  <a:pt x="80" y="11"/>
                </a:cubicBezTo>
                <a:cubicBezTo>
                  <a:pt x="80" y="12"/>
                  <a:pt x="79" y="13"/>
                  <a:pt x="77" y="13"/>
                </a:cubicBezTo>
                <a:cubicBezTo>
                  <a:pt x="67" y="13"/>
                  <a:pt x="67" y="13"/>
                  <a:pt x="67" y="13"/>
                </a:cubicBezTo>
                <a:cubicBezTo>
                  <a:pt x="65" y="13"/>
                  <a:pt x="64" y="12"/>
                  <a:pt x="64" y="11"/>
                </a:cubicBezTo>
                <a:close/>
                <a:moveTo>
                  <a:pt x="83" y="11"/>
                </a:moveTo>
                <a:cubicBezTo>
                  <a:pt x="83" y="9"/>
                  <a:pt x="84" y="8"/>
                  <a:pt x="85" y="8"/>
                </a:cubicBezTo>
                <a:cubicBezTo>
                  <a:pt x="88" y="8"/>
                  <a:pt x="88" y="8"/>
                  <a:pt x="88" y="8"/>
                </a:cubicBezTo>
                <a:cubicBezTo>
                  <a:pt x="89" y="8"/>
                  <a:pt x="91" y="9"/>
                  <a:pt x="91" y="11"/>
                </a:cubicBezTo>
                <a:cubicBezTo>
                  <a:pt x="91" y="12"/>
                  <a:pt x="89" y="13"/>
                  <a:pt x="88" y="13"/>
                </a:cubicBezTo>
                <a:cubicBezTo>
                  <a:pt x="85" y="13"/>
                  <a:pt x="85" y="13"/>
                  <a:pt x="85" y="13"/>
                </a:cubicBezTo>
                <a:cubicBezTo>
                  <a:pt x="84" y="13"/>
                  <a:pt x="83" y="12"/>
                  <a:pt x="83" y="11"/>
                </a:cubicBezTo>
                <a:close/>
                <a:moveTo>
                  <a:pt x="7" y="39"/>
                </a:moveTo>
                <a:cubicBezTo>
                  <a:pt x="6" y="39"/>
                  <a:pt x="6" y="39"/>
                  <a:pt x="6" y="39"/>
                </a:cubicBezTo>
                <a:cubicBezTo>
                  <a:pt x="5" y="39"/>
                  <a:pt x="4" y="38"/>
                  <a:pt x="3" y="37"/>
                </a:cubicBezTo>
                <a:cubicBezTo>
                  <a:pt x="3" y="34"/>
                  <a:pt x="3" y="34"/>
                  <a:pt x="3" y="34"/>
                </a:cubicBezTo>
                <a:cubicBezTo>
                  <a:pt x="2" y="33"/>
                  <a:pt x="3" y="32"/>
                  <a:pt x="5" y="31"/>
                </a:cubicBezTo>
                <a:cubicBezTo>
                  <a:pt x="6" y="31"/>
                  <a:pt x="7" y="32"/>
                  <a:pt x="8" y="33"/>
                </a:cubicBezTo>
                <a:cubicBezTo>
                  <a:pt x="9" y="36"/>
                  <a:pt x="9" y="36"/>
                  <a:pt x="9" y="36"/>
                </a:cubicBezTo>
                <a:cubicBezTo>
                  <a:pt x="9" y="37"/>
                  <a:pt x="8" y="38"/>
                  <a:pt x="7" y="39"/>
                </a:cubicBezTo>
                <a:close/>
                <a:moveTo>
                  <a:pt x="3" y="26"/>
                </a:moveTo>
                <a:cubicBezTo>
                  <a:pt x="1" y="26"/>
                  <a:pt x="0" y="25"/>
                  <a:pt x="0" y="24"/>
                </a:cubicBezTo>
                <a:cubicBezTo>
                  <a:pt x="0" y="24"/>
                  <a:pt x="0" y="23"/>
                  <a:pt x="0" y="23"/>
                </a:cubicBezTo>
                <a:cubicBezTo>
                  <a:pt x="0" y="22"/>
                  <a:pt x="0" y="21"/>
                  <a:pt x="0" y="21"/>
                </a:cubicBezTo>
                <a:cubicBezTo>
                  <a:pt x="0" y="19"/>
                  <a:pt x="2" y="18"/>
                  <a:pt x="3" y="18"/>
                </a:cubicBezTo>
                <a:cubicBezTo>
                  <a:pt x="5" y="19"/>
                  <a:pt x="6" y="20"/>
                  <a:pt x="5" y="22"/>
                </a:cubicBezTo>
                <a:cubicBezTo>
                  <a:pt x="5" y="22"/>
                  <a:pt x="5" y="22"/>
                  <a:pt x="5" y="23"/>
                </a:cubicBezTo>
                <a:cubicBezTo>
                  <a:pt x="5" y="23"/>
                  <a:pt x="5" y="23"/>
                  <a:pt x="5" y="23"/>
                </a:cubicBezTo>
                <a:cubicBezTo>
                  <a:pt x="6" y="25"/>
                  <a:pt x="4" y="26"/>
                  <a:pt x="3" y="26"/>
                </a:cubicBezTo>
                <a:cubicBezTo>
                  <a:pt x="3" y="26"/>
                  <a:pt x="3" y="26"/>
                  <a:pt x="3" y="26"/>
                </a:cubicBezTo>
                <a:close/>
                <a:moveTo>
                  <a:pt x="13" y="64"/>
                </a:moveTo>
                <a:cubicBezTo>
                  <a:pt x="13" y="64"/>
                  <a:pt x="13" y="64"/>
                  <a:pt x="13" y="64"/>
                </a:cubicBezTo>
                <a:cubicBezTo>
                  <a:pt x="12" y="64"/>
                  <a:pt x="10" y="63"/>
                  <a:pt x="10" y="62"/>
                </a:cubicBezTo>
                <a:cubicBezTo>
                  <a:pt x="9" y="60"/>
                  <a:pt x="9" y="60"/>
                  <a:pt x="9" y="60"/>
                </a:cubicBezTo>
                <a:cubicBezTo>
                  <a:pt x="9" y="58"/>
                  <a:pt x="10" y="57"/>
                  <a:pt x="11" y="56"/>
                </a:cubicBezTo>
                <a:cubicBezTo>
                  <a:pt x="13" y="56"/>
                  <a:pt x="14" y="57"/>
                  <a:pt x="15" y="58"/>
                </a:cubicBezTo>
                <a:cubicBezTo>
                  <a:pt x="15" y="61"/>
                  <a:pt x="15" y="61"/>
                  <a:pt x="15" y="61"/>
                </a:cubicBezTo>
                <a:cubicBezTo>
                  <a:pt x="16" y="62"/>
                  <a:pt x="15" y="64"/>
                  <a:pt x="13" y="64"/>
                </a:cubicBezTo>
                <a:close/>
                <a:moveTo>
                  <a:pt x="27" y="114"/>
                </a:moveTo>
                <a:cubicBezTo>
                  <a:pt x="27" y="114"/>
                  <a:pt x="26" y="115"/>
                  <a:pt x="26" y="115"/>
                </a:cubicBezTo>
                <a:cubicBezTo>
                  <a:pt x="25" y="115"/>
                  <a:pt x="24" y="114"/>
                  <a:pt x="24" y="113"/>
                </a:cubicBezTo>
                <a:cubicBezTo>
                  <a:pt x="23" y="110"/>
                  <a:pt x="23" y="110"/>
                  <a:pt x="23" y="110"/>
                </a:cubicBezTo>
                <a:cubicBezTo>
                  <a:pt x="23" y="109"/>
                  <a:pt x="23" y="107"/>
                  <a:pt x="25" y="107"/>
                </a:cubicBezTo>
                <a:cubicBezTo>
                  <a:pt x="26" y="106"/>
                  <a:pt x="28" y="107"/>
                  <a:pt x="28" y="109"/>
                </a:cubicBezTo>
                <a:cubicBezTo>
                  <a:pt x="29" y="111"/>
                  <a:pt x="29" y="111"/>
                  <a:pt x="29" y="111"/>
                </a:cubicBezTo>
                <a:cubicBezTo>
                  <a:pt x="29" y="113"/>
                  <a:pt x="28" y="114"/>
                  <a:pt x="27" y="114"/>
                </a:cubicBezTo>
                <a:close/>
                <a:moveTo>
                  <a:pt x="10" y="51"/>
                </a:moveTo>
                <a:cubicBezTo>
                  <a:pt x="10" y="52"/>
                  <a:pt x="10" y="52"/>
                  <a:pt x="9" y="52"/>
                </a:cubicBezTo>
                <a:cubicBezTo>
                  <a:pt x="8" y="52"/>
                  <a:pt x="7" y="51"/>
                  <a:pt x="7" y="50"/>
                </a:cubicBezTo>
                <a:cubicBezTo>
                  <a:pt x="6" y="47"/>
                  <a:pt x="6" y="47"/>
                  <a:pt x="6" y="47"/>
                </a:cubicBezTo>
                <a:cubicBezTo>
                  <a:pt x="6" y="46"/>
                  <a:pt x="7" y="44"/>
                  <a:pt x="8" y="44"/>
                </a:cubicBezTo>
                <a:cubicBezTo>
                  <a:pt x="9" y="43"/>
                  <a:pt x="11" y="44"/>
                  <a:pt x="11" y="46"/>
                </a:cubicBezTo>
                <a:cubicBezTo>
                  <a:pt x="12" y="48"/>
                  <a:pt x="12" y="48"/>
                  <a:pt x="12" y="48"/>
                </a:cubicBezTo>
                <a:cubicBezTo>
                  <a:pt x="12" y="50"/>
                  <a:pt x="11" y="51"/>
                  <a:pt x="10" y="51"/>
                </a:cubicBezTo>
                <a:close/>
                <a:moveTo>
                  <a:pt x="7" y="15"/>
                </a:moveTo>
                <a:cubicBezTo>
                  <a:pt x="7" y="13"/>
                  <a:pt x="8" y="12"/>
                  <a:pt x="9" y="11"/>
                </a:cubicBezTo>
                <a:cubicBezTo>
                  <a:pt x="11" y="11"/>
                  <a:pt x="11" y="11"/>
                  <a:pt x="11" y="11"/>
                </a:cubicBezTo>
                <a:cubicBezTo>
                  <a:pt x="13" y="10"/>
                  <a:pt x="14" y="11"/>
                  <a:pt x="15" y="13"/>
                </a:cubicBezTo>
                <a:cubicBezTo>
                  <a:pt x="15" y="14"/>
                  <a:pt x="14" y="15"/>
                  <a:pt x="13" y="16"/>
                </a:cubicBezTo>
                <a:cubicBezTo>
                  <a:pt x="10" y="17"/>
                  <a:pt x="10" y="17"/>
                  <a:pt x="10" y="17"/>
                </a:cubicBezTo>
                <a:cubicBezTo>
                  <a:pt x="10" y="17"/>
                  <a:pt x="10" y="17"/>
                  <a:pt x="10" y="17"/>
                </a:cubicBezTo>
                <a:cubicBezTo>
                  <a:pt x="8" y="17"/>
                  <a:pt x="7" y="16"/>
                  <a:pt x="7" y="15"/>
                </a:cubicBezTo>
                <a:close/>
                <a:moveTo>
                  <a:pt x="20" y="11"/>
                </a:moveTo>
                <a:cubicBezTo>
                  <a:pt x="19" y="10"/>
                  <a:pt x="20" y="8"/>
                  <a:pt x="22" y="8"/>
                </a:cubicBezTo>
                <a:cubicBezTo>
                  <a:pt x="24" y="7"/>
                  <a:pt x="24" y="7"/>
                  <a:pt x="24" y="7"/>
                </a:cubicBezTo>
                <a:cubicBezTo>
                  <a:pt x="26" y="7"/>
                  <a:pt x="27" y="8"/>
                  <a:pt x="27" y="9"/>
                </a:cubicBezTo>
                <a:cubicBezTo>
                  <a:pt x="28" y="11"/>
                  <a:pt x="27" y="12"/>
                  <a:pt x="25" y="12"/>
                </a:cubicBezTo>
                <a:cubicBezTo>
                  <a:pt x="23" y="13"/>
                  <a:pt x="23" y="13"/>
                  <a:pt x="23" y="13"/>
                </a:cubicBezTo>
                <a:cubicBezTo>
                  <a:pt x="23" y="13"/>
                  <a:pt x="22" y="13"/>
                  <a:pt x="22" y="13"/>
                </a:cubicBezTo>
                <a:cubicBezTo>
                  <a:pt x="21" y="13"/>
                  <a:pt x="20" y="12"/>
                  <a:pt x="20" y="11"/>
                </a:cubicBezTo>
                <a:close/>
                <a:moveTo>
                  <a:pt x="24" y="102"/>
                </a:moveTo>
                <a:cubicBezTo>
                  <a:pt x="23" y="102"/>
                  <a:pt x="23" y="102"/>
                  <a:pt x="23" y="102"/>
                </a:cubicBezTo>
                <a:cubicBezTo>
                  <a:pt x="22" y="102"/>
                  <a:pt x="21" y="101"/>
                  <a:pt x="20" y="100"/>
                </a:cubicBezTo>
                <a:cubicBezTo>
                  <a:pt x="20" y="97"/>
                  <a:pt x="20" y="97"/>
                  <a:pt x="20" y="97"/>
                </a:cubicBezTo>
                <a:cubicBezTo>
                  <a:pt x="19" y="96"/>
                  <a:pt x="20" y="95"/>
                  <a:pt x="21" y="94"/>
                </a:cubicBezTo>
                <a:cubicBezTo>
                  <a:pt x="23" y="94"/>
                  <a:pt x="24" y="95"/>
                  <a:pt x="25" y="96"/>
                </a:cubicBezTo>
                <a:cubicBezTo>
                  <a:pt x="25" y="99"/>
                  <a:pt x="25" y="99"/>
                  <a:pt x="25" y="99"/>
                </a:cubicBezTo>
                <a:cubicBezTo>
                  <a:pt x="26" y="100"/>
                  <a:pt x="25" y="101"/>
                  <a:pt x="24" y="102"/>
                </a:cubicBezTo>
                <a:close/>
                <a:moveTo>
                  <a:pt x="17" y="77"/>
                </a:moveTo>
                <a:cubicBezTo>
                  <a:pt x="17" y="77"/>
                  <a:pt x="16" y="77"/>
                  <a:pt x="16" y="77"/>
                </a:cubicBezTo>
                <a:cubicBezTo>
                  <a:pt x="15" y="77"/>
                  <a:pt x="14" y="76"/>
                  <a:pt x="14" y="75"/>
                </a:cubicBezTo>
                <a:cubicBezTo>
                  <a:pt x="13" y="72"/>
                  <a:pt x="13" y="72"/>
                  <a:pt x="13" y="72"/>
                </a:cubicBezTo>
                <a:cubicBezTo>
                  <a:pt x="12" y="71"/>
                  <a:pt x="13" y="69"/>
                  <a:pt x="15" y="69"/>
                </a:cubicBezTo>
                <a:cubicBezTo>
                  <a:pt x="16" y="69"/>
                  <a:pt x="18" y="69"/>
                  <a:pt x="18" y="71"/>
                </a:cubicBezTo>
                <a:cubicBezTo>
                  <a:pt x="19" y="73"/>
                  <a:pt x="19" y="73"/>
                  <a:pt x="19" y="73"/>
                </a:cubicBezTo>
                <a:cubicBezTo>
                  <a:pt x="19" y="75"/>
                  <a:pt x="18" y="76"/>
                  <a:pt x="17" y="77"/>
                </a:cubicBezTo>
                <a:close/>
                <a:moveTo>
                  <a:pt x="20" y="89"/>
                </a:moveTo>
                <a:cubicBezTo>
                  <a:pt x="20" y="89"/>
                  <a:pt x="20" y="89"/>
                  <a:pt x="19" y="89"/>
                </a:cubicBezTo>
                <a:cubicBezTo>
                  <a:pt x="18" y="89"/>
                  <a:pt x="17" y="89"/>
                  <a:pt x="17" y="87"/>
                </a:cubicBezTo>
                <a:cubicBezTo>
                  <a:pt x="16" y="85"/>
                  <a:pt x="16" y="85"/>
                  <a:pt x="16" y="85"/>
                </a:cubicBezTo>
                <a:cubicBezTo>
                  <a:pt x="16" y="83"/>
                  <a:pt x="17" y="82"/>
                  <a:pt x="18" y="82"/>
                </a:cubicBezTo>
                <a:cubicBezTo>
                  <a:pt x="20" y="81"/>
                  <a:pt x="21" y="82"/>
                  <a:pt x="21" y="83"/>
                </a:cubicBezTo>
                <a:cubicBezTo>
                  <a:pt x="22" y="86"/>
                  <a:pt x="22" y="86"/>
                  <a:pt x="22" y="86"/>
                </a:cubicBezTo>
                <a:cubicBezTo>
                  <a:pt x="22" y="87"/>
                  <a:pt x="22" y="89"/>
                  <a:pt x="20" y="89"/>
                </a:cubicBezTo>
                <a:close/>
                <a:moveTo>
                  <a:pt x="149" y="47"/>
                </a:moveTo>
                <a:cubicBezTo>
                  <a:pt x="148" y="50"/>
                  <a:pt x="148" y="50"/>
                  <a:pt x="148" y="50"/>
                </a:cubicBezTo>
                <a:cubicBezTo>
                  <a:pt x="148" y="51"/>
                  <a:pt x="147" y="52"/>
                  <a:pt x="145" y="52"/>
                </a:cubicBezTo>
                <a:cubicBezTo>
                  <a:pt x="145" y="52"/>
                  <a:pt x="145" y="52"/>
                  <a:pt x="145" y="51"/>
                </a:cubicBezTo>
                <a:cubicBezTo>
                  <a:pt x="143" y="51"/>
                  <a:pt x="142" y="50"/>
                  <a:pt x="143" y="48"/>
                </a:cubicBezTo>
                <a:cubicBezTo>
                  <a:pt x="143" y="46"/>
                  <a:pt x="143" y="46"/>
                  <a:pt x="143" y="46"/>
                </a:cubicBezTo>
                <a:cubicBezTo>
                  <a:pt x="144" y="44"/>
                  <a:pt x="145" y="43"/>
                  <a:pt x="147" y="44"/>
                </a:cubicBezTo>
                <a:cubicBezTo>
                  <a:pt x="148" y="44"/>
                  <a:pt x="149" y="46"/>
                  <a:pt x="149" y="47"/>
                </a:cubicBezTo>
                <a:close/>
                <a:moveTo>
                  <a:pt x="152" y="34"/>
                </a:moveTo>
                <a:cubicBezTo>
                  <a:pt x="151" y="37"/>
                  <a:pt x="151" y="37"/>
                  <a:pt x="151" y="37"/>
                </a:cubicBezTo>
                <a:cubicBezTo>
                  <a:pt x="151" y="38"/>
                  <a:pt x="150" y="39"/>
                  <a:pt x="149" y="39"/>
                </a:cubicBezTo>
                <a:cubicBezTo>
                  <a:pt x="149" y="39"/>
                  <a:pt x="148" y="39"/>
                  <a:pt x="148" y="39"/>
                </a:cubicBezTo>
                <a:cubicBezTo>
                  <a:pt x="147" y="38"/>
                  <a:pt x="146" y="37"/>
                  <a:pt x="146" y="36"/>
                </a:cubicBezTo>
                <a:cubicBezTo>
                  <a:pt x="147" y="33"/>
                  <a:pt x="147" y="33"/>
                  <a:pt x="147" y="33"/>
                </a:cubicBezTo>
                <a:cubicBezTo>
                  <a:pt x="147" y="32"/>
                  <a:pt x="149" y="31"/>
                  <a:pt x="150" y="31"/>
                </a:cubicBezTo>
                <a:cubicBezTo>
                  <a:pt x="152" y="32"/>
                  <a:pt x="152" y="33"/>
                  <a:pt x="152" y="34"/>
                </a:cubicBezTo>
                <a:close/>
                <a:moveTo>
                  <a:pt x="155" y="23"/>
                </a:moveTo>
                <a:cubicBezTo>
                  <a:pt x="155" y="23"/>
                  <a:pt x="155" y="24"/>
                  <a:pt x="155" y="24"/>
                </a:cubicBezTo>
                <a:cubicBezTo>
                  <a:pt x="155" y="25"/>
                  <a:pt x="153" y="26"/>
                  <a:pt x="152" y="26"/>
                </a:cubicBezTo>
                <a:cubicBezTo>
                  <a:pt x="152" y="26"/>
                  <a:pt x="152" y="26"/>
                  <a:pt x="152" y="26"/>
                </a:cubicBezTo>
                <a:cubicBezTo>
                  <a:pt x="150" y="26"/>
                  <a:pt x="149" y="25"/>
                  <a:pt x="149" y="23"/>
                </a:cubicBezTo>
                <a:cubicBezTo>
                  <a:pt x="149" y="23"/>
                  <a:pt x="149" y="23"/>
                  <a:pt x="149" y="23"/>
                </a:cubicBezTo>
                <a:cubicBezTo>
                  <a:pt x="149" y="22"/>
                  <a:pt x="149" y="22"/>
                  <a:pt x="149" y="22"/>
                </a:cubicBezTo>
                <a:cubicBezTo>
                  <a:pt x="149" y="20"/>
                  <a:pt x="150" y="19"/>
                  <a:pt x="151" y="18"/>
                </a:cubicBezTo>
                <a:cubicBezTo>
                  <a:pt x="153" y="18"/>
                  <a:pt x="154" y="19"/>
                  <a:pt x="154" y="21"/>
                </a:cubicBezTo>
                <a:cubicBezTo>
                  <a:pt x="155" y="21"/>
                  <a:pt x="155" y="22"/>
                  <a:pt x="155" y="23"/>
                </a:cubicBezTo>
                <a:close/>
                <a:moveTo>
                  <a:pt x="127" y="9"/>
                </a:moveTo>
                <a:cubicBezTo>
                  <a:pt x="128" y="8"/>
                  <a:pt x="129" y="7"/>
                  <a:pt x="131" y="7"/>
                </a:cubicBezTo>
                <a:cubicBezTo>
                  <a:pt x="133" y="8"/>
                  <a:pt x="133" y="8"/>
                  <a:pt x="133" y="8"/>
                </a:cubicBezTo>
                <a:cubicBezTo>
                  <a:pt x="135" y="8"/>
                  <a:pt x="135" y="10"/>
                  <a:pt x="135" y="11"/>
                </a:cubicBezTo>
                <a:cubicBezTo>
                  <a:pt x="135" y="12"/>
                  <a:pt x="134" y="13"/>
                  <a:pt x="132" y="13"/>
                </a:cubicBezTo>
                <a:cubicBezTo>
                  <a:pt x="132" y="13"/>
                  <a:pt x="132" y="13"/>
                  <a:pt x="132" y="13"/>
                </a:cubicBezTo>
                <a:cubicBezTo>
                  <a:pt x="129" y="12"/>
                  <a:pt x="129" y="12"/>
                  <a:pt x="129" y="12"/>
                </a:cubicBezTo>
                <a:cubicBezTo>
                  <a:pt x="128" y="12"/>
                  <a:pt x="127" y="11"/>
                  <a:pt x="127" y="9"/>
                </a:cubicBezTo>
                <a:close/>
                <a:moveTo>
                  <a:pt x="140" y="13"/>
                </a:moveTo>
                <a:cubicBezTo>
                  <a:pt x="140" y="11"/>
                  <a:pt x="142" y="10"/>
                  <a:pt x="143" y="11"/>
                </a:cubicBezTo>
                <a:cubicBezTo>
                  <a:pt x="146" y="11"/>
                  <a:pt x="146" y="11"/>
                  <a:pt x="146" y="11"/>
                </a:cubicBezTo>
                <a:cubicBezTo>
                  <a:pt x="147" y="12"/>
                  <a:pt x="148" y="13"/>
                  <a:pt x="148" y="15"/>
                </a:cubicBezTo>
                <a:cubicBezTo>
                  <a:pt x="147" y="16"/>
                  <a:pt x="146" y="17"/>
                  <a:pt x="145" y="17"/>
                </a:cubicBezTo>
                <a:cubicBezTo>
                  <a:pt x="145" y="17"/>
                  <a:pt x="145" y="17"/>
                  <a:pt x="144" y="17"/>
                </a:cubicBezTo>
                <a:cubicBezTo>
                  <a:pt x="142" y="16"/>
                  <a:pt x="142" y="16"/>
                  <a:pt x="142" y="16"/>
                </a:cubicBezTo>
                <a:cubicBezTo>
                  <a:pt x="140" y="15"/>
                  <a:pt x="140" y="14"/>
                  <a:pt x="140" y="13"/>
                </a:cubicBezTo>
                <a:close/>
                <a:moveTo>
                  <a:pt x="145" y="60"/>
                </a:moveTo>
                <a:cubicBezTo>
                  <a:pt x="145" y="62"/>
                  <a:pt x="145" y="62"/>
                  <a:pt x="145" y="62"/>
                </a:cubicBezTo>
                <a:cubicBezTo>
                  <a:pt x="144" y="63"/>
                  <a:pt x="143" y="64"/>
                  <a:pt x="142" y="64"/>
                </a:cubicBezTo>
                <a:cubicBezTo>
                  <a:pt x="142" y="64"/>
                  <a:pt x="142" y="64"/>
                  <a:pt x="141" y="64"/>
                </a:cubicBezTo>
                <a:cubicBezTo>
                  <a:pt x="140" y="64"/>
                  <a:pt x="139" y="62"/>
                  <a:pt x="139" y="61"/>
                </a:cubicBezTo>
                <a:cubicBezTo>
                  <a:pt x="140" y="58"/>
                  <a:pt x="140" y="58"/>
                  <a:pt x="140" y="58"/>
                </a:cubicBezTo>
                <a:cubicBezTo>
                  <a:pt x="140" y="57"/>
                  <a:pt x="142" y="56"/>
                  <a:pt x="143" y="56"/>
                </a:cubicBezTo>
                <a:cubicBezTo>
                  <a:pt x="145" y="57"/>
                  <a:pt x="146" y="58"/>
                  <a:pt x="145" y="60"/>
                </a:cubicBezTo>
                <a:close/>
                <a:moveTo>
                  <a:pt x="126" y="119"/>
                </a:moveTo>
                <a:cubicBezTo>
                  <a:pt x="125" y="119"/>
                  <a:pt x="124" y="120"/>
                  <a:pt x="123" y="121"/>
                </a:cubicBezTo>
                <a:cubicBezTo>
                  <a:pt x="123" y="123"/>
                  <a:pt x="123" y="123"/>
                  <a:pt x="123" y="123"/>
                </a:cubicBezTo>
                <a:cubicBezTo>
                  <a:pt x="123" y="123"/>
                  <a:pt x="123" y="123"/>
                  <a:pt x="123" y="123"/>
                </a:cubicBezTo>
                <a:cubicBezTo>
                  <a:pt x="123" y="123"/>
                  <a:pt x="123" y="123"/>
                  <a:pt x="123" y="123"/>
                </a:cubicBezTo>
                <a:cubicBezTo>
                  <a:pt x="123" y="112"/>
                  <a:pt x="123" y="112"/>
                  <a:pt x="123" y="112"/>
                </a:cubicBezTo>
                <a:cubicBezTo>
                  <a:pt x="123" y="112"/>
                  <a:pt x="123" y="112"/>
                  <a:pt x="123" y="112"/>
                </a:cubicBezTo>
                <a:cubicBezTo>
                  <a:pt x="123" y="110"/>
                  <a:pt x="123" y="110"/>
                  <a:pt x="123" y="110"/>
                </a:cubicBezTo>
                <a:cubicBezTo>
                  <a:pt x="123" y="110"/>
                  <a:pt x="123" y="110"/>
                  <a:pt x="123" y="109"/>
                </a:cubicBezTo>
                <a:cubicBezTo>
                  <a:pt x="123" y="99"/>
                  <a:pt x="123" y="99"/>
                  <a:pt x="123" y="99"/>
                </a:cubicBezTo>
                <a:cubicBezTo>
                  <a:pt x="123" y="99"/>
                  <a:pt x="123" y="99"/>
                  <a:pt x="123" y="99"/>
                </a:cubicBezTo>
                <a:cubicBezTo>
                  <a:pt x="123" y="97"/>
                  <a:pt x="123" y="97"/>
                  <a:pt x="123" y="97"/>
                </a:cubicBezTo>
                <a:cubicBezTo>
                  <a:pt x="123" y="97"/>
                  <a:pt x="123" y="97"/>
                  <a:pt x="123" y="96"/>
                </a:cubicBezTo>
                <a:cubicBezTo>
                  <a:pt x="123" y="86"/>
                  <a:pt x="123" y="86"/>
                  <a:pt x="123" y="86"/>
                </a:cubicBezTo>
                <a:cubicBezTo>
                  <a:pt x="123" y="86"/>
                  <a:pt x="123" y="86"/>
                  <a:pt x="123" y="86"/>
                </a:cubicBezTo>
                <a:cubicBezTo>
                  <a:pt x="123" y="84"/>
                  <a:pt x="123" y="84"/>
                  <a:pt x="123" y="84"/>
                </a:cubicBezTo>
                <a:cubicBezTo>
                  <a:pt x="123" y="84"/>
                  <a:pt x="123" y="83"/>
                  <a:pt x="123" y="83"/>
                </a:cubicBezTo>
                <a:cubicBezTo>
                  <a:pt x="123" y="73"/>
                  <a:pt x="123" y="73"/>
                  <a:pt x="123" y="73"/>
                </a:cubicBezTo>
                <a:cubicBezTo>
                  <a:pt x="123" y="73"/>
                  <a:pt x="123" y="73"/>
                  <a:pt x="123" y="73"/>
                </a:cubicBezTo>
                <a:cubicBezTo>
                  <a:pt x="123" y="71"/>
                  <a:pt x="123" y="71"/>
                  <a:pt x="123" y="71"/>
                </a:cubicBezTo>
                <a:cubicBezTo>
                  <a:pt x="123" y="70"/>
                  <a:pt x="123" y="70"/>
                  <a:pt x="123" y="70"/>
                </a:cubicBezTo>
                <a:cubicBezTo>
                  <a:pt x="123" y="60"/>
                  <a:pt x="123" y="60"/>
                  <a:pt x="123" y="60"/>
                </a:cubicBezTo>
                <a:cubicBezTo>
                  <a:pt x="123" y="60"/>
                  <a:pt x="123" y="60"/>
                  <a:pt x="123" y="60"/>
                </a:cubicBezTo>
                <a:cubicBezTo>
                  <a:pt x="123" y="57"/>
                  <a:pt x="123" y="57"/>
                  <a:pt x="123" y="57"/>
                </a:cubicBezTo>
                <a:cubicBezTo>
                  <a:pt x="123" y="57"/>
                  <a:pt x="123" y="57"/>
                  <a:pt x="123" y="57"/>
                </a:cubicBezTo>
                <a:cubicBezTo>
                  <a:pt x="123" y="47"/>
                  <a:pt x="123" y="47"/>
                  <a:pt x="123" y="47"/>
                </a:cubicBezTo>
                <a:cubicBezTo>
                  <a:pt x="123" y="47"/>
                  <a:pt x="123" y="47"/>
                  <a:pt x="123" y="47"/>
                </a:cubicBezTo>
                <a:cubicBezTo>
                  <a:pt x="123" y="44"/>
                  <a:pt x="123" y="44"/>
                  <a:pt x="123" y="44"/>
                </a:cubicBezTo>
                <a:cubicBezTo>
                  <a:pt x="123" y="44"/>
                  <a:pt x="123" y="44"/>
                  <a:pt x="123" y="44"/>
                </a:cubicBezTo>
                <a:cubicBezTo>
                  <a:pt x="123" y="34"/>
                  <a:pt x="123" y="34"/>
                  <a:pt x="123" y="34"/>
                </a:cubicBezTo>
                <a:cubicBezTo>
                  <a:pt x="123" y="34"/>
                  <a:pt x="123" y="34"/>
                  <a:pt x="123" y="34"/>
                </a:cubicBezTo>
                <a:cubicBezTo>
                  <a:pt x="123" y="31"/>
                  <a:pt x="123" y="31"/>
                  <a:pt x="123" y="31"/>
                </a:cubicBezTo>
                <a:cubicBezTo>
                  <a:pt x="123" y="31"/>
                  <a:pt x="123" y="31"/>
                  <a:pt x="123" y="31"/>
                </a:cubicBezTo>
                <a:cubicBezTo>
                  <a:pt x="123" y="21"/>
                  <a:pt x="123" y="21"/>
                  <a:pt x="123" y="21"/>
                </a:cubicBezTo>
                <a:cubicBezTo>
                  <a:pt x="123" y="21"/>
                  <a:pt x="123" y="21"/>
                  <a:pt x="123" y="21"/>
                </a:cubicBezTo>
                <a:cubicBezTo>
                  <a:pt x="123" y="18"/>
                  <a:pt x="123" y="18"/>
                  <a:pt x="123" y="18"/>
                </a:cubicBezTo>
                <a:cubicBezTo>
                  <a:pt x="123" y="18"/>
                  <a:pt x="123" y="18"/>
                  <a:pt x="123" y="18"/>
                </a:cubicBezTo>
                <a:cubicBezTo>
                  <a:pt x="123" y="12"/>
                  <a:pt x="123" y="12"/>
                  <a:pt x="123" y="12"/>
                </a:cubicBezTo>
                <a:cubicBezTo>
                  <a:pt x="123" y="5"/>
                  <a:pt x="117" y="0"/>
                  <a:pt x="111" y="0"/>
                </a:cubicBezTo>
                <a:cubicBezTo>
                  <a:pt x="44" y="0"/>
                  <a:pt x="44" y="0"/>
                  <a:pt x="44" y="0"/>
                </a:cubicBezTo>
                <a:cubicBezTo>
                  <a:pt x="37" y="0"/>
                  <a:pt x="32" y="5"/>
                  <a:pt x="32" y="12"/>
                </a:cubicBezTo>
                <a:cubicBezTo>
                  <a:pt x="32" y="18"/>
                  <a:pt x="32" y="18"/>
                  <a:pt x="32" y="18"/>
                </a:cubicBezTo>
                <a:cubicBezTo>
                  <a:pt x="32" y="18"/>
                  <a:pt x="32" y="18"/>
                  <a:pt x="32" y="18"/>
                </a:cubicBezTo>
                <a:cubicBezTo>
                  <a:pt x="32" y="21"/>
                  <a:pt x="32" y="21"/>
                  <a:pt x="32" y="21"/>
                </a:cubicBezTo>
                <a:cubicBezTo>
                  <a:pt x="32" y="21"/>
                  <a:pt x="32" y="21"/>
                  <a:pt x="32" y="21"/>
                </a:cubicBezTo>
                <a:cubicBezTo>
                  <a:pt x="32" y="31"/>
                  <a:pt x="32" y="31"/>
                  <a:pt x="32" y="31"/>
                </a:cubicBezTo>
                <a:cubicBezTo>
                  <a:pt x="32" y="31"/>
                  <a:pt x="32" y="31"/>
                  <a:pt x="32" y="31"/>
                </a:cubicBezTo>
                <a:cubicBezTo>
                  <a:pt x="32" y="34"/>
                  <a:pt x="32" y="34"/>
                  <a:pt x="32" y="34"/>
                </a:cubicBezTo>
                <a:cubicBezTo>
                  <a:pt x="32" y="34"/>
                  <a:pt x="32" y="34"/>
                  <a:pt x="32" y="34"/>
                </a:cubicBezTo>
                <a:cubicBezTo>
                  <a:pt x="32" y="44"/>
                  <a:pt x="32" y="44"/>
                  <a:pt x="32" y="44"/>
                </a:cubicBezTo>
                <a:cubicBezTo>
                  <a:pt x="32" y="44"/>
                  <a:pt x="32" y="44"/>
                  <a:pt x="32" y="44"/>
                </a:cubicBezTo>
                <a:cubicBezTo>
                  <a:pt x="32" y="47"/>
                  <a:pt x="32" y="47"/>
                  <a:pt x="32" y="47"/>
                </a:cubicBezTo>
                <a:cubicBezTo>
                  <a:pt x="32" y="47"/>
                  <a:pt x="32" y="47"/>
                  <a:pt x="32" y="47"/>
                </a:cubicBezTo>
                <a:cubicBezTo>
                  <a:pt x="32" y="57"/>
                  <a:pt x="32" y="57"/>
                  <a:pt x="32" y="57"/>
                </a:cubicBezTo>
                <a:cubicBezTo>
                  <a:pt x="32" y="57"/>
                  <a:pt x="32" y="57"/>
                  <a:pt x="32" y="57"/>
                </a:cubicBezTo>
                <a:cubicBezTo>
                  <a:pt x="32" y="60"/>
                  <a:pt x="32" y="60"/>
                  <a:pt x="32" y="60"/>
                </a:cubicBezTo>
                <a:cubicBezTo>
                  <a:pt x="32" y="60"/>
                  <a:pt x="32" y="60"/>
                  <a:pt x="32" y="60"/>
                </a:cubicBezTo>
                <a:cubicBezTo>
                  <a:pt x="32" y="70"/>
                  <a:pt x="32" y="70"/>
                  <a:pt x="32" y="70"/>
                </a:cubicBezTo>
                <a:cubicBezTo>
                  <a:pt x="32" y="70"/>
                  <a:pt x="32" y="70"/>
                  <a:pt x="32" y="70"/>
                </a:cubicBezTo>
                <a:cubicBezTo>
                  <a:pt x="32" y="73"/>
                  <a:pt x="32" y="73"/>
                  <a:pt x="32" y="73"/>
                </a:cubicBezTo>
                <a:cubicBezTo>
                  <a:pt x="32" y="73"/>
                  <a:pt x="32" y="73"/>
                  <a:pt x="32" y="73"/>
                </a:cubicBezTo>
                <a:cubicBezTo>
                  <a:pt x="32" y="84"/>
                  <a:pt x="32" y="84"/>
                  <a:pt x="32" y="84"/>
                </a:cubicBezTo>
                <a:cubicBezTo>
                  <a:pt x="32" y="84"/>
                  <a:pt x="32" y="84"/>
                  <a:pt x="32" y="84"/>
                </a:cubicBezTo>
                <a:cubicBezTo>
                  <a:pt x="32" y="86"/>
                  <a:pt x="32" y="86"/>
                  <a:pt x="32" y="86"/>
                </a:cubicBezTo>
                <a:cubicBezTo>
                  <a:pt x="32" y="86"/>
                  <a:pt x="32" y="86"/>
                  <a:pt x="32" y="86"/>
                </a:cubicBezTo>
                <a:cubicBezTo>
                  <a:pt x="32" y="97"/>
                  <a:pt x="32" y="97"/>
                  <a:pt x="32" y="97"/>
                </a:cubicBezTo>
                <a:cubicBezTo>
                  <a:pt x="32" y="97"/>
                  <a:pt x="32" y="97"/>
                  <a:pt x="32" y="97"/>
                </a:cubicBezTo>
                <a:cubicBezTo>
                  <a:pt x="32" y="99"/>
                  <a:pt x="32" y="99"/>
                  <a:pt x="32" y="99"/>
                </a:cubicBezTo>
                <a:cubicBezTo>
                  <a:pt x="32" y="99"/>
                  <a:pt x="32" y="99"/>
                  <a:pt x="32" y="99"/>
                </a:cubicBezTo>
                <a:cubicBezTo>
                  <a:pt x="32" y="110"/>
                  <a:pt x="32" y="110"/>
                  <a:pt x="32" y="110"/>
                </a:cubicBezTo>
                <a:cubicBezTo>
                  <a:pt x="32" y="110"/>
                  <a:pt x="32" y="110"/>
                  <a:pt x="32" y="110"/>
                </a:cubicBezTo>
                <a:cubicBezTo>
                  <a:pt x="32" y="112"/>
                  <a:pt x="32" y="112"/>
                  <a:pt x="32" y="112"/>
                </a:cubicBezTo>
                <a:cubicBezTo>
                  <a:pt x="32" y="112"/>
                  <a:pt x="32" y="112"/>
                  <a:pt x="32" y="112"/>
                </a:cubicBezTo>
                <a:cubicBezTo>
                  <a:pt x="32" y="123"/>
                  <a:pt x="32" y="123"/>
                  <a:pt x="32" y="123"/>
                </a:cubicBezTo>
                <a:cubicBezTo>
                  <a:pt x="32" y="123"/>
                  <a:pt x="32" y="123"/>
                  <a:pt x="32" y="123"/>
                </a:cubicBezTo>
                <a:cubicBezTo>
                  <a:pt x="32" y="123"/>
                  <a:pt x="32" y="123"/>
                  <a:pt x="32" y="123"/>
                </a:cubicBezTo>
                <a:cubicBezTo>
                  <a:pt x="31" y="121"/>
                  <a:pt x="31" y="121"/>
                  <a:pt x="31" y="121"/>
                </a:cubicBezTo>
                <a:cubicBezTo>
                  <a:pt x="31" y="120"/>
                  <a:pt x="30" y="119"/>
                  <a:pt x="28" y="119"/>
                </a:cubicBezTo>
                <a:cubicBezTo>
                  <a:pt x="27" y="120"/>
                  <a:pt x="26" y="121"/>
                  <a:pt x="26" y="123"/>
                </a:cubicBezTo>
                <a:cubicBezTo>
                  <a:pt x="27" y="125"/>
                  <a:pt x="27" y="125"/>
                  <a:pt x="27" y="125"/>
                </a:cubicBezTo>
                <a:cubicBezTo>
                  <a:pt x="27" y="127"/>
                  <a:pt x="29" y="127"/>
                  <a:pt x="30" y="127"/>
                </a:cubicBezTo>
                <a:cubicBezTo>
                  <a:pt x="31" y="127"/>
                  <a:pt x="32" y="126"/>
                  <a:pt x="32" y="126"/>
                </a:cubicBezTo>
                <a:cubicBezTo>
                  <a:pt x="32" y="132"/>
                  <a:pt x="32" y="132"/>
                  <a:pt x="32" y="132"/>
                </a:cubicBezTo>
                <a:cubicBezTo>
                  <a:pt x="32" y="132"/>
                  <a:pt x="32" y="132"/>
                  <a:pt x="32" y="132"/>
                </a:cubicBezTo>
                <a:cubicBezTo>
                  <a:pt x="30" y="132"/>
                  <a:pt x="29" y="134"/>
                  <a:pt x="30" y="135"/>
                </a:cubicBezTo>
                <a:cubicBezTo>
                  <a:pt x="30" y="138"/>
                  <a:pt x="30" y="138"/>
                  <a:pt x="30" y="138"/>
                </a:cubicBezTo>
                <a:cubicBezTo>
                  <a:pt x="31" y="139"/>
                  <a:pt x="31" y="139"/>
                  <a:pt x="32" y="139"/>
                </a:cubicBezTo>
                <a:cubicBezTo>
                  <a:pt x="32" y="148"/>
                  <a:pt x="32" y="148"/>
                  <a:pt x="32" y="148"/>
                </a:cubicBezTo>
                <a:cubicBezTo>
                  <a:pt x="32" y="155"/>
                  <a:pt x="37" y="160"/>
                  <a:pt x="44" y="160"/>
                </a:cubicBezTo>
                <a:cubicBezTo>
                  <a:pt x="111" y="160"/>
                  <a:pt x="111" y="160"/>
                  <a:pt x="111" y="160"/>
                </a:cubicBezTo>
                <a:cubicBezTo>
                  <a:pt x="117" y="160"/>
                  <a:pt x="123" y="155"/>
                  <a:pt x="123" y="148"/>
                </a:cubicBezTo>
                <a:cubicBezTo>
                  <a:pt x="123" y="139"/>
                  <a:pt x="123" y="139"/>
                  <a:pt x="123" y="139"/>
                </a:cubicBezTo>
                <a:cubicBezTo>
                  <a:pt x="123" y="139"/>
                  <a:pt x="124" y="139"/>
                  <a:pt x="124" y="138"/>
                </a:cubicBezTo>
                <a:cubicBezTo>
                  <a:pt x="125" y="135"/>
                  <a:pt x="125" y="135"/>
                  <a:pt x="125" y="135"/>
                </a:cubicBezTo>
                <a:cubicBezTo>
                  <a:pt x="125" y="134"/>
                  <a:pt x="125" y="132"/>
                  <a:pt x="123" y="132"/>
                </a:cubicBezTo>
                <a:cubicBezTo>
                  <a:pt x="123" y="132"/>
                  <a:pt x="123" y="132"/>
                  <a:pt x="123" y="132"/>
                </a:cubicBezTo>
                <a:cubicBezTo>
                  <a:pt x="123" y="126"/>
                  <a:pt x="123" y="126"/>
                  <a:pt x="123" y="126"/>
                </a:cubicBezTo>
                <a:cubicBezTo>
                  <a:pt x="123" y="126"/>
                  <a:pt x="123" y="126"/>
                  <a:pt x="123" y="126"/>
                </a:cubicBezTo>
                <a:cubicBezTo>
                  <a:pt x="123" y="126"/>
                  <a:pt x="124" y="127"/>
                  <a:pt x="124" y="127"/>
                </a:cubicBezTo>
                <a:cubicBezTo>
                  <a:pt x="126" y="127"/>
                  <a:pt x="127" y="127"/>
                  <a:pt x="128" y="125"/>
                </a:cubicBezTo>
                <a:cubicBezTo>
                  <a:pt x="128" y="123"/>
                  <a:pt x="128" y="123"/>
                  <a:pt x="128" y="123"/>
                </a:cubicBezTo>
                <a:cubicBezTo>
                  <a:pt x="129" y="121"/>
                  <a:pt x="128" y="120"/>
                  <a:pt x="126" y="119"/>
                </a:cubicBezTo>
                <a:close/>
                <a:moveTo>
                  <a:pt x="37" y="21"/>
                </a:moveTo>
                <a:cubicBezTo>
                  <a:pt x="117" y="21"/>
                  <a:pt x="117" y="21"/>
                  <a:pt x="117" y="21"/>
                </a:cubicBezTo>
                <a:cubicBezTo>
                  <a:pt x="117" y="123"/>
                  <a:pt x="117" y="123"/>
                  <a:pt x="117" y="123"/>
                </a:cubicBezTo>
                <a:cubicBezTo>
                  <a:pt x="37" y="123"/>
                  <a:pt x="37" y="123"/>
                  <a:pt x="37" y="123"/>
                </a:cubicBezTo>
                <a:lnTo>
                  <a:pt x="37" y="21"/>
                </a:lnTo>
                <a:close/>
                <a:moveTo>
                  <a:pt x="44" y="5"/>
                </a:moveTo>
                <a:cubicBezTo>
                  <a:pt x="111" y="5"/>
                  <a:pt x="111" y="5"/>
                  <a:pt x="111" y="5"/>
                </a:cubicBezTo>
                <a:cubicBezTo>
                  <a:pt x="114" y="5"/>
                  <a:pt x="117" y="8"/>
                  <a:pt x="117" y="12"/>
                </a:cubicBezTo>
                <a:cubicBezTo>
                  <a:pt x="117" y="16"/>
                  <a:pt x="117" y="16"/>
                  <a:pt x="117" y="16"/>
                </a:cubicBezTo>
                <a:cubicBezTo>
                  <a:pt x="37" y="16"/>
                  <a:pt x="37" y="16"/>
                  <a:pt x="37" y="16"/>
                </a:cubicBezTo>
                <a:cubicBezTo>
                  <a:pt x="37" y="12"/>
                  <a:pt x="37" y="12"/>
                  <a:pt x="37" y="12"/>
                </a:cubicBezTo>
                <a:cubicBezTo>
                  <a:pt x="37" y="8"/>
                  <a:pt x="40" y="5"/>
                  <a:pt x="44" y="5"/>
                </a:cubicBezTo>
                <a:close/>
                <a:moveTo>
                  <a:pt x="111" y="155"/>
                </a:moveTo>
                <a:cubicBezTo>
                  <a:pt x="44" y="155"/>
                  <a:pt x="44" y="155"/>
                  <a:pt x="44" y="155"/>
                </a:cubicBezTo>
                <a:cubicBezTo>
                  <a:pt x="40" y="155"/>
                  <a:pt x="37" y="152"/>
                  <a:pt x="37" y="148"/>
                </a:cubicBezTo>
                <a:cubicBezTo>
                  <a:pt x="37" y="128"/>
                  <a:pt x="37" y="128"/>
                  <a:pt x="37" y="128"/>
                </a:cubicBezTo>
                <a:cubicBezTo>
                  <a:pt x="117" y="128"/>
                  <a:pt x="117" y="128"/>
                  <a:pt x="117" y="128"/>
                </a:cubicBezTo>
                <a:cubicBezTo>
                  <a:pt x="117" y="148"/>
                  <a:pt x="117" y="148"/>
                  <a:pt x="117" y="148"/>
                </a:cubicBezTo>
                <a:cubicBezTo>
                  <a:pt x="117" y="152"/>
                  <a:pt x="114" y="155"/>
                  <a:pt x="111" y="155"/>
                </a:cubicBezTo>
                <a:close/>
                <a:moveTo>
                  <a:pt x="135" y="97"/>
                </a:moveTo>
                <a:cubicBezTo>
                  <a:pt x="134" y="100"/>
                  <a:pt x="134" y="100"/>
                  <a:pt x="134" y="100"/>
                </a:cubicBezTo>
                <a:cubicBezTo>
                  <a:pt x="134" y="101"/>
                  <a:pt x="133" y="102"/>
                  <a:pt x="132" y="102"/>
                </a:cubicBezTo>
                <a:cubicBezTo>
                  <a:pt x="132" y="102"/>
                  <a:pt x="131" y="102"/>
                  <a:pt x="131" y="102"/>
                </a:cubicBezTo>
                <a:cubicBezTo>
                  <a:pt x="130" y="101"/>
                  <a:pt x="129" y="100"/>
                  <a:pt x="129" y="99"/>
                </a:cubicBezTo>
                <a:cubicBezTo>
                  <a:pt x="130" y="96"/>
                  <a:pt x="130" y="96"/>
                  <a:pt x="130" y="96"/>
                </a:cubicBezTo>
                <a:cubicBezTo>
                  <a:pt x="130" y="95"/>
                  <a:pt x="132" y="94"/>
                  <a:pt x="133" y="94"/>
                </a:cubicBezTo>
                <a:cubicBezTo>
                  <a:pt x="135" y="95"/>
                  <a:pt x="135" y="96"/>
                  <a:pt x="135" y="97"/>
                </a:cubicBezTo>
                <a:close/>
                <a:moveTo>
                  <a:pt x="132" y="110"/>
                </a:moveTo>
                <a:cubicBezTo>
                  <a:pt x="131" y="113"/>
                  <a:pt x="131" y="113"/>
                  <a:pt x="131" y="113"/>
                </a:cubicBezTo>
                <a:cubicBezTo>
                  <a:pt x="131" y="114"/>
                  <a:pt x="130" y="115"/>
                  <a:pt x="128" y="115"/>
                </a:cubicBezTo>
                <a:cubicBezTo>
                  <a:pt x="128" y="115"/>
                  <a:pt x="128" y="114"/>
                  <a:pt x="128" y="114"/>
                </a:cubicBezTo>
                <a:cubicBezTo>
                  <a:pt x="126" y="114"/>
                  <a:pt x="126" y="113"/>
                  <a:pt x="126" y="111"/>
                </a:cubicBezTo>
                <a:cubicBezTo>
                  <a:pt x="127" y="109"/>
                  <a:pt x="127" y="109"/>
                  <a:pt x="127" y="109"/>
                </a:cubicBezTo>
                <a:cubicBezTo>
                  <a:pt x="127" y="107"/>
                  <a:pt x="128" y="106"/>
                  <a:pt x="130" y="107"/>
                </a:cubicBezTo>
                <a:cubicBezTo>
                  <a:pt x="131" y="107"/>
                  <a:pt x="132" y="109"/>
                  <a:pt x="132" y="110"/>
                </a:cubicBezTo>
                <a:close/>
                <a:moveTo>
                  <a:pt x="138" y="85"/>
                </a:moveTo>
                <a:cubicBezTo>
                  <a:pt x="138" y="87"/>
                  <a:pt x="138" y="87"/>
                  <a:pt x="138" y="87"/>
                </a:cubicBezTo>
                <a:cubicBezTo>
                  <a:pt x="137" y="89"/>
                  <a:pt x="136" y="89"/>
                  <a:pt x="135" y="89"/>
                </a:cubicBezTo>
                <a:cubicBezTo>
                  <a:pt x="135" y="89"/>
                  <a:pt x="135" y="89"/>
                  <a:pt x="135" y="89"/>
                </a:cubicBezTo>
                <a:cubicBezTo>
                  <a:pt x="133" y="89"/>
                  <a:pt x="132" y="87"/>
                  <a:pt x="133" y="86"/>
                </a:cubicBezTo>
                <a:cubicBezTo>
                  <a:pt x="133" y="83"/>
                  <a:pt x="133" y="83"/>
                  <a:pt x="133" y="83"/>
                </a:cubicBezTo>
                <a:cubicBezTo>
                  <a:pt x="134" y="82"/>
                  <a:pt x="135" y="81"/>
                  <a:pt x="137" y="82"/>
                </a:cubicBezTo>
                <a:cubicBezTo>
                  <a:pt x="138" y="82"/>
                  <a:pt x="139" y="83"/>
                  <a:pt x="138" y="85"/>
                </a:cubicBezTo>
                <a:close/>
                <a:moveTo>
                  <a:pt x="142" y="72"/>
                </a:moveTo>
                <a:cubicBezTo>
                  <a:pt x="141" y="75"/>
                  <a:pt x="141" y="75"/>
                  <a:pt x="141" y="75"/>
                </a:cubicBezTo>
                <a:cubicBezTo>
                  <a:pt x="141" y="76"/>
                  <a:pt x="140" y="77"/>
                  <a:pt x="139" y="77"/>
                </a:cubicBezTo>
                <a:cubicBezTo>
                  <a:pt x="138" y="77"/>
                  <a:pt x="138" y="77"/>
                  <a:pt x="138" y="77"/>
                </a:cubicBezTo>
                <a:cubicBezTo>
                  <a:pt x="136" y="76"/>
                  <a:pt x="136" y="75"/>
                  <a:pt x="136" y="73"/>
                </a:cubicBezTo>
                <a:cubicBezTo>
                  <a:pt x="137" y="71"/>
                  <a:pt x="137" y="71"/>
                  <a:pt x="137" y="71"/>
                </a:cubicBezTo>
                <a:cubicBezTo>
                  <a:pt x="137" y="69"/>
                  <a:pt x="139" y="69"/>
                  <a:pt x="140" y="69"/>
                </a:cubicBezTo>
                <a:cubicBezTo>
                  <a:pt x="141" y="69"/>
                  <a:pt x="142" y="71"/>
                  <a:pt x="142" y="7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4826202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Rectangle"/>
          <p:cNvSpPr/>
          <p:nvPr/>
        </p:nvSpPr>
        <p:spPr>
          <a:xfrm>
            <a:off x="2" y="2"/>
            <a:ext cx="12191999" cy="6857999"/>
          </a:xfrm>
          <a:prstGeom prst="rect">
            <a:avLst/>
          </a:prstGeom>
          <a:solidFill>
            <a:srgbClr val="016AC3"/>
          </a:solidFill>
          <a:ln w="3175">
            <a:noFill/>
            <a:miter lim="400000"/>
          </a:ln>
        </p:spPr>
        <p:txBody>
          <a:bodyPr lIns="35719" tIns="35719" rIns="35719" bIns="35719" anchor="ctr"/>
          <a:lstStyle/>
          <a:p>
            <a:pPr>
              <a:defRPr sz="3000">
                <a:solidFill>
                  <a:srgbClr val="FFFFFF"/>
                </a:solidFill>
              </a:defRPr>
            </a:pPr>
            <a:endParaRPr sz="1500"/>
          </a:p>
        </p:txBody>
      </p:sp>
      <p:sp>
        <p:nvSpPr>
          <p:cNvPr id="103" name="Freeform 5">
            <a:extLst>
              <a:ext uri="{FF2B5EF4-FFF2-40B4-BE49-F238E27FC236}">
                <a16:creationId xmlns:a16="http://schemas.microsoft.com/office/drawing/2014/main" id="{5E9B3206-E1A9-BC4D-94D1-1AC259377672}"/>
              </a:ext>
            </a:extLst>
          </p:cNvPr>
          <p:cNvSpPr>
            <a:spLocks noEditPoints="1"/>
          </p:cNvSpPr>
          <p:nvPr/>
        </p:nvSpPr>
        <p:spPr bwMode="auto">
          <a:xfrm>
            <a:off x="631516" y="400050"/>
            <a:ext cx="522288" cy="604838"/>
          </a:xfrm>
          <a:custGeom>
            <a:avLst/>
            <a:gdLst>
              <a:gd name="T0" fmla="*/ 32 w 139"/>
              <a:gd name="T1" fmla="*/ 141 h 160"/>
              <a:gd name="T2" fmla="*/ 53 w 139"/>
              <a:gd name="T3" fmla="*/ 141 h 160"/>
              <a:gd name="T4" fmla="*/ 43 w 139"/>
              <a:gd name="T5" fmla="*/ 147 h 160"/>
              <a:gd name="T6" fmla="*/ 43 w 139"/>
              <a:gd name="T7" fmla="*/ 136 h 160"/>
              <a:gd name="T8" fmla="*/ 43 w 139"/>
              <a:gd name="T9" fmla="*/ 147 h 160"/>
              <a:gd name="T10" fmla="*/ 35 w 139"/>
              <a:gd name="T11" fmla="*/ 8 h 160"/>
              <a:gd name="T12" fmla="*/ 48 w 139"/>
              <a:gd name="T13" fmla="*/ 11 h 160"/>
              <a:gd name="T14" fmla="*/ 35 w 139"/>
              <a:gd name="T15" fmla="*/ 13 h 160"/>
              <a:gd name="T16" fmla="*/ 51 w 139"/>
              <a:gd name="T17" fmla="*/ 11 h 160"/>
              <a:gd name="T18" fmla="*/ 56 w 139"/>
              <a:gd name="T19" fmla="*/ 8 h 160"/>
              <a:gd name="T20" fmla="*/ 56 w 139"/>
              <a:gd name="T21" fmla="*/ 13 h 160"/>
              <a:gd name="T22" fmla="*/ 51 w 139"/>
              <a:gd name="T23" fmla="*/ 11 h 160"/>
              <a:gd name="T24" fmla="*/ 91 w 139"/>
              <a:gd name="T25" fmla="*/ 32 h 160"/>
              <a:gd name="T26" fmla="*/ 79 w 139"/>
              <a:gd name="T27" fmla="*/ 0 h 160"/>
              <a:gd name="T28" fmla="*/ 0 w 139"/>
              <a:gd name="T29" fmla="*/ 12 h 160"/>
              <a:gd name="T30" fmla="*/ 12 w 139"/>
              <a:gd name="T31" fmla="*/ 160 h 160"/>
              <a:gd name="T32" fmla="*/ 91 w 139"/>
              <a:gd name="T33" fmla="*/ 148 h 160"/>
              <a:gd name="T34" fmla="*/ 139 w 139"/>
              <a:gd name="T35" fmla="*/ 88 h 160"/>
              <a:gd name="T36" fmla="*/ 12 w 139"/>
              <a:gd name="T37" fmla="*/ 5 h 160"/>
              <a:gd name="T38" fmla="*/ 85 w 139"/>
              <a:gd name="T39" fmla="*/ 12 h 160"/>
              <a:gd name="T40" fmla="*/ 5 w 139"/>
              <a:gd name="T41" fmla="*/ 16 h 160"/>
              <a:gd name="T42" fmla="*/ 12 w 139"/>
              <a:gd name="T43" fmla="*/ 5 h 160"/>
              <a:gd name="T44" fmla="*/ 12 w 139"/>
              <a:gd name="T45" fmla="*/ 155 h 160"/>
              <a:gd name="T46" fmla="*/ 5 w 139"/>
              <a:gd name="T47" fmla="*/ 128 h 160"/>
              <a:gd name="T48" fmla="*/ 85 w 139"/>
              <a:gd name="T49" fmla="*/ 148 h 160"/>
              <a:gd name="T50" fmla="*/ 85 w 139"/>
              <a:gd name="T51" fmla="*/ 123 h 160"/>
              <a:gd name="T52" fmla="*/ 5 w 139"/>
              <a:gd name="T53" fmla="*/ 21 h 160"/>
              <a:gd name="T54" fmla="*/ 85 w 139"/>
              <a:gd name="T55" fmla="*/ 32 h 160"/>
              <a:gd name="T56" fmla="*/ 37 w 139"/>
              <a:gd name="T57" fmla="*/ 88 h 160"/>
              <a:gd name="T58" fmla="*/ 48 w 139"/>
              <a:gd name="T59" fmla="*/ 107 h 160"/>
              <a:gd name="T60" fmla="*/ 85 w 139"/>
              <a:gd name="T61" fmla="*/ 88 h 160"/>
              <a:gd name="T62" fmla="*/ 133 w 139"/>
              <a:gd name="T63" fmla="*/ 83 h 160"/>
              <a:gd name="T64" fmla="*/ 71 w 139"/>
              <a:gd name="T65" fmla="*/ 83 h 160"/>
              <a:gd name="T66" fmla="*/ 53 w 139"/>
              <a:gd name="T67" fmla="*/ 83 h 160"/>
              <a:gd name="T68" fmla="*/ 43 w 139"/>
              <a:gd name="T69" fmla="*/ 37 h 160"/>
              <a:gd name="T70" fmla="*/ 133 w 139"/>
              <a:gd name="T71" fmla="*/ 37 h 160"/>
              <a:gd name="T72" fmla="*/ 53 w 139"/>
              <a:gd name="T73" fmla="*/ 53 h 160"/>
              <a:gd name="T74" fmla="*/ 83 w 139"/>
              <a:gd name="T75" fmla="*/ 51 h 160"/>
              <a:gd name="T76" fmla="*/ 83 w 139"/>
              <a:gd name="T77" fmla="*/ 56 h 160"/>
              <a:gd name="T78" fmla="*/ 53 w 139"/>
              <a:gd name="T79" fmla="*/ 53 h 160"/>
              <a:gd name="T80" fmla="*/ 120 w 139"/>
              <a:gd name="T81" fmla="*/ 64 h 160"/>
              <a:gd name="T82" fmla="*/ 120 w 139"/>
              <a:gd name="T83" fmla="*/ 69 h 160"/>
              <a:gd name="T84" fmla="*/ 53 w 139"/>
              <a:gd name="T85" fmla="*/ 6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9" h="160">
                <a:moveTo>
                  <a:pt x="43" y="131"/>
                </a:moveTo>
                <a:cubicBezTo>
                  <a:pt x="37" y="131"/>
                  <a:pt x="32" y="135"/>
                  <a:pt x="32" y="141"/>
                </a:cubicBezTo>
                <a:cubicBezTo>
                  <a:pt x="32" y="147"/>
                  <a:pt x="37" y="152"/>
                  <a:pt x="43" y="152"/>
                </a:cubicBezTo>
                <a:cubicBezTo>
                  <a:pt x="49" y="152"/>
                  <a:pt x="53" y="147"/>
                  <a:pt x="53" y="141"/>
                </a:cubicBezTo>
                <a:cubicBezTo>
                  <a:pt x="53" y="135"/>
                  <a:pt x="49" y="131"/>
                  <a:pt x="43" y="131"/>
                </a:cubicBezTo>
                <a:close/>
                <a:moveTo>
                  <a:pt x="43" y="147"/>
                </a:moveTo>
                <a:cubicBezTo>
                  <a:pt x="40" y="147"/>
                  <a:pt x="37" y="144"/>
                  <a:pt x="37" y="141"/>
                </a:cubicBezTo>
                <a:cubicBezTo>
                  <a:pt x="37" y="138"/>
                  <a:pt x="40" y="136"/>
                  <a:pt x="43" y="136"/>
                </a:cubicBezTo>
                <a:cubicBezTo>
                  <a:pt x="46" y="136"/>
                  <a:pt x="48" y="138"/>
                  <a:pt x="48" y="141"/>
                </a:cubicBezTo>
                <a:cubicBezTo>
                  <a:pt x="48" y="144"/>
                  <a:pt x="46" y="147"/>
                  <a:pt x="43" y="147"/>
                </a:cubicBezTo>
                <a:close/>
                <a:moveTo>
                  <a:pt x="32" y="11"/>
                </a:moveTo>
                <a:cubicBezTo>
                  <a:pt x="32" y="9"/>
                  <a:pt x="33" y="8"/>
                  <a:pt x="35" y="8"/>
                </a:cubicBezTo>
                <a:cubicBezTo>
                  <a:pt x="45" y="8"/>
                  <a:pt x="45" y="8"/>
                  <a:pt x="45" y="8"/>
                </a:cubicBezTo>
                <a:cubicBezTo>
                  <a:pt x="47" y="8"/>
                  <a:pt x="48" y="9"/>
                  <a:pt x="48" y="11"/>
                </a:cubicBezTo>
                <a:cubicBezTo>
                  <a:pt x="48" y="12"/>
                  <a:pt x="47" y="13"/>
                  <a:pt x="45" y="13"/>
                </a:cubicBezTo>
                <a:cubicBezTo>
                  <a:pt x="35" y="13"/>
                  <a:pt x="35" y="13"/>
                  <a:pt x="35" y="13"/>
                </a:cubicBezTo>
                <a:cubicBezTo>
                  <a:pt x="33" y="13"/>
                  <a:pt x="32" y="12"/>
                  <a:pt x="32" y="11"/>
                </a:cubicBezTo>
                <a:close/>
                <a:moveTo>
                  <a:pt x="51" y="11"/>
                </a:moveTo>
                <a:cubicBezTo>
                  <a:pt x="51" y="9"/>
                  <a:pt x="52" y="8"/>
                  <a:pt x="53" y="8"/>
                </a:cubicBezTo>
                <a:cubicBezTo>
                  <a:pt x="56" y="8"/>
                  <a:pt x="56" y="8"/>
                  <a:pt x="56" y="8"/>
                </a:cubicBezTo>
                <a:cubicBezTo>
                  <a:pt x="57" y="8"/>
                  <a:pt x="59" y="9"/>
                  <a:pt x="59" y="11"/>
                </a:cubicBezTo>
                <a:cubicBezTo>
                  <a:pt x="59" y="12"/>
                  <a:pt x="57" y="13"/>
                  <a:pt x="56" y="13"/>
                </a:cubicBezTo>
                <a:cubicBezTo>
                  <a:pt x="53" y="13"/>
                  <a:pt x="53" y="13"/>
                  <a:pt x="53" y="13"/>
                </a:cubicBezTo>
                <a:cubicBezTo>
                  <a:pt x="52" y="13"/>
                  <a:pt x="51" y="12"/>
                  <a:pt x="51" y="11"/>
                </a:cubicBezTo>
                <a:close/>
                <a:moveTo>
                  <a:pt x="139" y="32"/>
                </a:moveTo>
                <a:cubicBezTo>
                  <a:pt x="91" y="32"/>
                  <a:pt x="91" y="32"/>
                  <a:pt x="91" y="32"/>
                </a:cubicBezTo>
                <a:cubicBezTo>
                  <a:pt x="91" y="12"/>
                  <a:pt x="91" y="12"/>
                  <a:pt x="91" y="12"/>
                </a:cubicBezTo>
                <a:cubicBezTo>
                  <a:pt x="91" y="5"/>
                  <a:pt x="85" y="0"/>
                  <a:pt x="79" y="0"/>
                </a:cubicBezTo>
                <a:cubicBezTo>
                  <a:pt x="12" y="0"/>
                  <a:pt x="12" y="0"/>
                  <a:pt x="12" y="0"/>
                </a:cubicBezTo>
                <a:cubicBezTo>
                  <a:pt x="5" y="0"/>
                  <a:pt x="0" y="5"/>
                  <a:pt x="0" y="12"/>
                </a:cubicBezTo>
                <a:cubicBezTo>
                  <a:pt x="0" y="148"/>
                  <a:pt x="0" y="148"/>
                  <a:pt x="0" y="148"/>
                </a:cubicBezTo>
                <a:cubicBezTo>
                  <a:pt x="0" y="155"/>
                  <a:pt x="5" y="160"/>
                  <a:pt x="12" y="160"/>
                </a:cubicBezTo>
                <a:cubicBezTo>
                  <a:pt x="79" y="160"/>
                  <a:pt x="79" y="160"/>
                  <a:pt x="79" y="160"/>
                </a:cubicBezTo>
                <a:cubicBezTo>
                  <a:pt x="85" y="160"/>
                  <a:pt x="91" y="155"/>
                  <a:pt x="91" y="148"/>
                </a:cubicBezTo>
                <a:cubicBezTo>
                  <a:pt x="91" y="88"/>
                  <a:pt x="91" y="88"/>
                  <a:pt x="91" y="88"/>
                </a:cubicBezTo>
                <a:cubicBezTo>
                  <a:pt x="139" y="88"/>
                  <a:pt x="139" y="88"/>
                  <a:pt x="139" y="88"/>
                </a:cubicBezTo>
                <a:lnTo>
                  <a:pt x="139" y="32"/>
                </a:lnTo>
                <a:close/>
                <a:moveTo>
                  <a:pt x="12" y="5"/>
                </a:moveTo>
                <a:cubicBezTo>
                  <a:pt x="79" y="5"/>
                  <a:pt x="79" y="5"/>
                  <a:pt x="79" y="5"/>
                </a:cubicBezTo>
                <a:cubicBezTo>
                  <a:pt x="82" y="5"/>
                  <a:pt x="85" y="8"/>
                  <a:pt x="85" y="12"/>
                </a:cubicBezTo>
                <a:cubicBezTo>
                  <a:pt x="85" y="16"/>
                  <a:pt x="85" y="16"/>
                  <a:pt x="85" y="16"/>
                </a:cubicBezTo>
                <a:cubicBezTo>
                  <a:pt x="5" y="16"/>
                  <a:pt x="5" y="16"/>
                  <a:pt x="5" y="16"/>
                </a:cubicBezTo>
                <a:cubicBezTo>
                  <a:pt x="5" y="12"/>
                  <a:pt x="5" y="12"/>
                  <a:pt x="5" y="12"/>
                </a:cubicBezTo>
                <a:cubicBezTo>
                  <a:pt x="5" y="8"/>
                  <a:pt x="8" y="5"/>
                  <a:pt x="12" y="5"/>
                </a:cubicBezTo>
                <a:close/>
                <a:moveTo>
                  <a:pt x="79" y="155"/>
                </a:moveTo>
                <a:cubicBezTo>
                  <a:pt x="12" y="155"/>
                  <a:pt x="12" y="155"/>
                  <a:pt x="12" y="155"/>
                </a:cubicBezTo>
                <a:cubicBezTo>
                  <a:pt x="8" y="155"/>
                  <a:pt x="5" y="152"/>
                  <a:pt x="5" y="148"/>
                </a:cubicBezTo>
                <a:cubicBezTo>
                  <a:pt x="5" y="128"/>
                  <a:pt x="5" y="128"/>
                  <a:pt x="5" y="128"/>
                </a:cubicBezTo>
                <a:cubicBezTo>
                  <a:pt x="85" y="128"/>
                  <a:pt x="85" y="128"/>
                  <a:pt x="85" y="128"/>
                </a:cubicBezTo>
                <a:cubicBezTo>
                  <a:pt x="85" y="148"/>
                  <a:pt x="85" y="148"/>
                  <a:pt x="85" y="148"/>
                </a:cubicBezTo>
                <a:cubicBezTo>
                  <a:pt x="85" y="152"/>
                  <a:pt x="82" y="155"/>
                  <a:pt x="79" y="155"/>
                </a:cubicBezTo>
                <a:close/>
                <a:moveTo>
                  <a:pt x="85" y="123"/>
                </a:moveTo>
                <a:cubicBezTo>
                  <a:pt x="5" y="123"/>
                  <a:pt x="5" y="123"/>
                  <a:pt x="5" y="123"/>
                </a:cubicBezTo>
                <a:cubicBezTo>
                  <a:pt x="5" y="21"/>
                  <a:pt x="5" y="21"/>
                  <a:pt x="5" y="21"/>
                </a:cubicBezTo>
                <a:cubicBezTo>
                  <a:pt x="85" y="21"/>
                  <a:pt x="85" y="21"/>
                  <a:pt x="85" y="21"/>
                </a:cubicBezTo>
                <a:cubicBezTo>
                  <a:pt x="85" y="32"/>
                  <a:pt x="85" y="32"/>
                  <a:pt x="85" y="32"/>
                </a:cubicBezTo>
                <a:cubicBezTo>
                  <a:pt x="37" y="32"/>
                  <a:pt x="37" y="32"/>
                  <a:pt x="37" y="32"/>
                </a:cubicBezTo>
                <a:cubicBezTo>
                  <a:pt x="37" y="88"/>
                  <a:pt x="37" y="88"/>
                  <a:pt x="37" y="88"/>
                </a:cubicBezTo>
                <a:cubicBezTo>
                  <a:pt x="48" y="88"/>
                  <a:pt x="48" y="88"/>
                  <a:pt x="48" y="88"/>
                </a:cubicBezTo>
                <a:cubicBezTo>
                  <a:pt x="48" y="107"/>
                  <a:pt x="48" y="107"/>
                  <a:pt x="48" y="107"/>
                </a:cubicBezTo>
                <a:cubicBezTo>
                  <a:pt x="73" y="88"/>
                  <a:pt x="73" y="88"/>
                  <a:pt x="73" y="88"/>
                </a:cubicBezTo>
                <a:cubicBezTo>
                  <a:pt x="85" y="88"/>
                  <a:pt x="85" y="88"/>
                  <a:pt x="85" y="88"/>
                </a:cubicBezTo>
                <a:lnTo>
                  <a:pt x="85" y="123"/>
                </a:lnTo>
                <a:close/>
                <a:moveTo>
                  <a:pt x="133" y="83"/>
                </a:moveTo>
                <a:cubicBezTo>
                  <a:pt x="91" y="83"/>
                  <a:pt x="91" y="83"/>
                  <a:pt x="91" y="83"/>
                </a:cubicBezTo>
                <a:cubicBezTo>
                  <a:pt x="71" y="83"/>
                  <a:pt x="71" y="83"/>
                  <a:pt x="71" y="83"/>
                </a:cubicBezTo>
                <a:cubicBezTo>
                  <a:pt x="53" y="96"/>
                  <a:pt x="53" y="96"/>
                  <a:pt x="53" y="96"/>
                </a:cubicBezTo>
                <a:cubicBezTo>
                  <a:pt x="53" y="83"/>
                  <a:pt x="53" y="83"/>
                  <a:pt x="53" y="83"/>
                </a:cubicBezTo>
                <a:cubicBezTo>
                  <a:pt x="43" y="83"/>
                  <a:pt x="43" y="83"/>
                  <a:pt x="43" y="83"/>
                </a:cubicBezTo>
                <a:cubicBezTo>
                  <a:pt x="43" y="37"/>
                  <a:pt x="43" y="37"/>
                  <a:pt x="43" y="37"/>
                </a:cubicBezTo>
                <a:cubicBezTo>
                  <a:pt x="91" y="37"/>
                  <a:pt x="91" y="37"/>
                  <a:pt x="91" y="37"/>
                </a:cubicBezTo>
                <a:cubicBezTo>
                  <a:pt x="133" y="37"/>
                  <a:pt x="133" y="37"/>
                  <a:pt x="133" y="37"/>
                </a:cubicBezTo>
                <a:lnTo>
                  <a:pt x="133" y="83"/>
                </a:lnTo>
                <a:close/>
                <a:moveTo>
                  <a:pt x="53" y="53"/>
                </a:moveTo>
                <a:cubicBezTo>
                  <a:pt x="53" y="52"/>
                  <a:pt x="55" y="51"/>
                  <a:pt x="56" y="51"/>
                </a:cubicBezTo>
                <a:cubicBezTo>
                  <a:pt x="83" y="51"/>
                  <a:pt x="83" y="51"/>
                  <a:pt x="83" y="51"/>
                </a:cubicBezTo>
                <a:cubicBezTo>
                  <a:pt x="84" y="51"/>
                  <a:pt x="85" y="52"/>
                  <a:pt x="85" y="53"/>
                </a:cubicBezTo>
                <a:cubicBezTo>
                  <a:pt x="85" y="55"/>
                  <a:pt x="84" y="56"/>
                  <a:pt x="83" y="56"/>
                </a:cubicBezTo>
                <a:cubicBezTo>
                  <a:pt x="56" y="56"/>
                  <a:pt x="56" y="56"/>
                  <a:pt x="56" y="56"/>
                </a:cubicBezTo>
                <a:cubicBezTo>
                  <a:pt x="55" y="56"/>
                  <a:pt x="53" y="55"/>
                  <a:pt x="53" y="53"/>
                </a:cubicBezTo>
                <a:close/>
                <a:moveTo>
                  <a:pt x="56" y="64"/>
                </a:moveTo>
                <a:cubicBezTo>
                  <a:pt x="120" y="64"/>
                  <a:pt x="120" y="64"/>
                  <a:pt x="120" y="64"/>
                </a:cubicBezTo>
                <a:cubicBezTo>
                  <a:pt x="121" y="64"/>
                  <a:pt x="123" y="65"/>
                  <a:pt x="123" y="67"/>
                </a:cubicBezTo>
                <a:cubicBezTo>
                  <a:pt x="123" y="68"/>
                  <a:pt x="121" y="69"/>
                  <a:pt x="120" y="69"/>
                </a:cubicBezTo>
                <a:cubicBezTo>
                  <a:pt x="56" y="69"/>
                  <a:pt x="56" y="69"/>
                  <a:pt x="56" y="69"/>
                </a:cubicBezTo>
                <a:cubicBezTo>
                  <a:pt x="55" y="69"/>
                  <a:pt x="53" y="68"/>
                  <a:pt x="53" y="67"/>
                </a:cubicBezTo>
                <a:cubicBezTo>
                  <a:pt x="53" y="65"/>
                  <a:pt x="55" y="64"/>
                  <a:pt x="56"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6">
            <a:extLst>
              <a:ext uri="{FF2B5EF4-FFF2-40B4-BE49-F238E27FC236}">
                <a16:creationId xmlns:a16="http://schemas.microsoft.com/office/drawing/2014/main" id="{31D57452-DF9F-734C-8CD2-05D79B26092B}"/>
              </a:ext>
            </a:extLst>
          </p:cNvPr>
          <p:cNvSpPr>
            <a:spLocks noEditPoints="1"/>
          </p:cNvSpPr>
          <p:nvPr/>
        </p:nvSpPr>
        <p:spPr bwMode="auto">
          <a:xfrm>
            <a:off x="601354" y="1081088"/>
            <a:ext cx="571500" cy="604838"/>
          </a:xfrm>
          <a:custGeom>
            <a:avLst/>
            <a:gdLst>
              <a:gd name="T0" fmla="*/ 96 w 152"/>
              <a:gd name="T1" fmla="*/ 141 h 160"/>
              <a:gd name="T2" fmla="*/ 117 w 152"/>
              <a:gd name="T3" fmla="*/ 141 h 160"/>
              <a:gd name="T4" fmla="*/ 107 w 152"/>
              <a:gd name="T5" fmla="*/ 147 h 160"/>
              <a:gd name="T6" fmla="*/ 107 w 152"/>
              <a:gd name="T7" fmla="*/ 136 h 160"/>
              <a:gd name="T8" fmla="*/ 107 w 152"/>
              <a:gd name="T9" fmla="*/ 147 h 160"/>
              <a:gd name="T10" fmla="*/ 96 w 152"/>
              <a:gd name="T11" fmla="*/ 8 h 160"/>
              <a:gd name="T12" fmla="*/ 109 w 152"/>
              <a:gd name="T13" fmla="*/ 11 h 160"/>
              <a:gd name="T14" fmla="*/ 96 w 152"/>
              <a:gd name="T15" fmla="*/ 13 h 160"/>
              <a:gd name="T16" fmla="*/ 112 w 152"/>
              <a:gd name="T17" fmla="*/ 11 h 160"/>
              <a:gd name="T18" fmla="*/ 117 w 152"/>
              <a:gd name="T19" fmla="*/ 8 h 160"/>
              <a:gd name="T20" fmla="*/ 117 w 152"/>
              <a:gd name="T21" fmla="*/ 13 h 160"/>
              <a:gd name="T22" fmla="*/ 112 w 152"/>
              <a:gd name="T23" fmla="*/ 11 h 160"/>
              <a:gd name="T24" fmla="*/ 73 w 152"/>
              <a:gd name="T25" fmla="*/ 0 h 160"/>
              <a:gd name="T26" fmla="*/ 61 w 152"/>
              <a:gd name="T27" fmla="*/ 37 h 160"/>
              <a:gd name="T28" fmla="*/ 45 w 152"/>
              <a:gd name="T29" fmla="*/ 95 h 160"/>
              <a:gd name="T30" fmla="*/ 1 w 152"/>
              <a:gd name="T31" fmla="*/ 140 h 160"/>
              <a:gd name="T32" fmla="*/ 4 w 152"/>
              <a:gd name="T33" fmla="*/ 141 h 160"/>
              <a:gd name="T34" fmla="*/ 61 w 152"/>
              <a:gd name="T35" fmla="*/ 107 h 160"/>
              <a:gd name="T36" fmla="*/ 73 w 152"/>
              <a:gd name="T37" fmla="*/ 160 h 160"/>
              <a:gd name="T38" fmla="*/ 152 w 152"/>
              <a:gd name="T39" fmla="*/ 148 h 160"/>
              <a:gd name="T40" fmla="*/ 140 w 152"/>
              <a:gd name="T41" fmla="*/ 0 h 160"/>
              <a:gd name="T42" fmla="*/ 140 w 152"/>
              <a:gd name="T43" fmla="*/ 5 h 160"/>
              <a:gd name="T44" fmla="*/ 147 w 152"/>
              <a:gd name="T45" fmla="*/ 16 h 160"/>
              <a:gd name="T46" fmla="*/ 67 w 152"/>
              <a:gd name="T47" fmla="*/ 12 h 160"/>
              <a:gd name="T48" fmla="*/ 43 w 152"/>
              <a:gd name="T49" fmla="*/ 72 h 160"/>
              <a:gd name="T50" fmla="*/ 66 w 152"/>
              <a:gd name="T51" fmla="*/ 41 h 160"/>
              <a:gd name="T52" fmla="*/ 69 w 152"/>
              <a:gd name="T53" fmla="*/ 41 h 160"/>
              <a:gd name="T54" fmla="*/ 72 w 152"/>
              <a:gd name="T55" fmla="*/ 40 h 160"/>
              <a:gd name="T56" fmla="*/ 107 w 152"/>
              <a:gd name="T57" fmla="*/ 72 h 160"/>
              <a:gd name="T58" fmla="*/ 72 w 152"/>
              <a:gd name="T59" fmla="*/ 104 h 160"/>
              <a:gd name="T60" fmla="*/ 69 w 152"/>
              <a:gd name="T61" fmla="*/ 103 h 160"/>
              <a:gd name="T62" fmla="*/ 66 w 152"/>
              <a:gd name="T63" fmla="*/ 103 h 160"/>
              <a:gd name="T64" fmla="*/ 43 w 152"/>
              <a:gd name="T65" fmla="*/ 72 h 160"/>
              <a:gd name="T66" fmla="*/ 71 w 152"/>
              <a:gd name="T67" fmla="*/ 109 h 160"/>
              <a:gd name="T68" fmla="*/ 112 w 152"/>
              <a:gd name="T69" fmla="*/ 72 h 160"/>
              <a:gd name="T70" fmla="*/ 71 w 152"/>
              <a:gd name="T71" fmla="*/ 35 h 160"/>
              <a:gd name="T72" fmla="*/ 67 w 152"/>
              <a:gd name="T73" fmla="*/ 36 h 160"/>
              <a:gd name="T74" fmla="*/ 67 w 152"/>
              <a:gd name="T75" fmla="*/ 21 h 160"/>
              <a:gd name="T76" fmla="*/ 147 w 152"/>
              <a:gd name="T77" fmla="*/ 123 h 160"/>
              <a:gd name="T78" fmla="*/ 67 w 152"/>
              <a:gd name="T79" fmla="*/ 108 h 160"/>
              <a:gd name="T80" fmla="*/ 70 w 152"/>
              <a:gd name="T81" fmla="*/ 109 h 160"/>
              <a:gd name="T82" fmla="*/ 73 w 152"/>
              <a:gd name="T83" fmla="*/ 155 h 160"/>
              <a:gd name="T84" fmla="*/ 67 w 152"/>
              <a:gd name="T85" fmla="*/ 128 h 160"/>
              <a:gd name="T86" fmla="*/ 147 w 152"/>
              <a:gd name="T87" fmla="*/ 14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160">
                <a:moveTo>
                  <a:pt x="107" y="131"/>
                </a:moveTo>
                <a:cubicBezTo>
                  <a:pt x="101" y="131"/>
                  <a:pt x="96" y="135"/>
                  <a:pt x="96" y="141"/>
                </a:cubicBezTo>
                <a:cubicBezTo>
                  <a:pt x="96" y="147"/>
                  <a:pt x="101" y="152"/>
                  <a:pt x="107" y="152"/>
                </a:cubicBezTo>
                <a:cubicBezTo>
                  <a:pt x="113" y="152"/>
                  <a:pt x="117" y="147"/>
                  <a:pt x="117" y="141"/>
                </a:cubicBezTo>
                <a:cubicBezTo>
                  <a:pt x="117" y="135"/>
                  <a:pt x="113" y="131"/>
                  <a:pt x="107" y="131"/>
                </a:cubicBezTo>
                <a:close/>
                <a:moveTo>
                  <a:pt x="107" y="147"/>
                </a:moveTo>
                <a:cubicBezTo>
                  <a:pt x="104" y="147"/>
                  <a:pt x="101" y="144"/>
                  <a:pt x="101" y="141"/>
                </a:cubicBezTo>
                <a:cubicBezTo>
                  <a:pt x="101" y="138"/>
                  <a:pt x="104" y="136"/>
                  <a:pt x="107" y="136"/>
                </a:cubicBezTo>
                <a:cubicBezTo>
                  <a:pt x="110" y="136"/>
                  <a:pt x="112" y="138"/>
                  <a:pt x="112" y="141"/>
                </a:cubicBezTo>
                <a:cubicBezTo>
                  <a:pt x="112" y="144"/>
                  <a:pt x="110" y="147"/>
                  <a:pt x="107" y="147"/>
                </a:cubicBezTo>
                <a:close/>
                <a:moveTo>
                  <a:pt x="93" y="11"/>
                </a:moveTo>
                <a:cubicBezTo>
                  <a:pt x="93" y="9"/>
                  <a:pt x="95" y="8"/>
                  <a:pt x="96" y="8"/>
                </a:cubicBezTo>
                <a:cubicBezTo>
                  <a:pt x="107" y="8"/>
                  <a:pt x="107" y="8"/>
                  <a:pt x="107" y="8"/>
                </a:cubicBezTo>
                <a:cubicBezTo>
                  <a:pt x="108" y="8"/>
                  <a:pt x="109" y="9"/>
                  <a:pt x="109" y="11"/>
                </a:cubicBezTo>
                <a:cubicBezTo>
                  <a:pt x="109" y="12"/>
                  <a:pt x="108" y="13"/>
                  <a:pt x="107" y="13"/>
                </a:cubicBezTo>
                <a:cubicBezTo>
                  <a:pt x="96" y="13"/>
                  <a:pt x="96" y="13"/>
                  <a:pt x="96" y="13"/>
                </a:cubicBezTo>
                <a:cubicBezTo>
                  <a:pt x="95" y="13"/>
                  <a:pt x="93" y="12"/>
                  <a:pt x="93" y="11"/>
                </a:cubicBezTo>
                <a:close/>
                <a:moveTo>
                  <a:pt x="112" y="11"/>
                </a:moveTo>
                <a:cubicBezTo>
                  <a:pt x="112" y="9"/>
                  <a:pt x="113" y="8"/>
                  <a:pt x="115" y="8"/>
                </a:cubicBezTo>
                <a:cubicBezTo>
                  <a:pt x="117" y="8"/>
                  <a:pt x="117" y="8"/>
                  <a:pt x="117" y="8"/>
                </a:cubicBezTo>
                <a:cubicBezTo>
                  <a:pt x="119" y="8"/>
                  <a:pt x="120" y="9"/>
                  <a:pt x="120" y="11"/>
                </a:cubicBezTo>
                <a:cubicBezTo>
                  <a:pt x="120" y="12"/>
                  <a:pt x="119" y="13"/>
                  <a:pt x="117" y="13"/>
                </a:cubicBezTo>
                <a:cubicBezTo>
                  <a:pt x="115" y="13"/>
                  <a:pt x="115" y="13"/>
                  <a:pt x="115" y="13"/>
                </a:cubicBezTo>
                <a:cubicBezTo>
                  <a:pt x="113" y="13"/>
                  <a:pt x="112" y="12"/>
                  <a:pt x="112" y="11"/>
                </a:cubicBezTo>
                <a:close/>
                <a:moveTo>
                  <a:pt x="140" y="0"/>
                </a:moveTo>
                <a:cubicBezTo>
                  <a:pt x="73" y="0"/>
                  <a:pt x="73" y="0"/>
                  <a:pt x="73" y="0"/>
                </a:cubicBezTo>
                <a:cubicBezTo>
                  <a:pt x="67" y="0"/>
                  <a:pt x="61" y="5"/>
                  <a:pt x="61" y="12"/>
                </a:cubicBezTo>
                <a:cubicBezTo>
                  <a:pt x="61" y="37"/>
                  <a:pt x="61" y="37"/>
                  <a:pt x="61" y="37"/>
                </a:cubicBezTo>
                <a:cubicBezTo>
                  <a:pt x="47" y="43"/>
                  <a:pt x="37" y="56"/>
                  <a:pt x="37" y="72"/>
                </a:cubicBezTo>
                <a:cubicBezTo>
                  <a:pt x="37" y="81"/>
                  <a:pt x="40" y="89"/>
                  <a:pt x="45" y="95"/>
                </a:cubicBezTo>
                <a:cubicBezTo>
                  <a:pt x="1" y="137"/>
                  <a:pt x="1" y="137"/>
                  <a:pt x="1" y="137"/>
                </a:cubicBezTo>
                <a:cubicBezTo>
                  <a:pt x="0" y="138"/>
                  <a:pt x="0" y="139"/>
                  <a:pt x="1" y="140"/>
                </a:cubicBezTo>
                <a:cubicBezTo>
                  <a:pt x="1" y="141"/>
                  <a:pt x="2" y="141"/>
                  <a:pt x="3" y="141"/>
                </a:cubicBezTo>
                <a:cubicBezTo>
                  <a:pt x="3" y="141"/>
                  <a:pt x="4" y="141"/>
                  <a:pt x="4" y="141"/>
                </a:cubicBezTo>
                <a:cubicBezTo>
                  <a:pt x="49" y="99"/>
                  <a:pt x="49" y="99"/>
                  <a:pt x="49" y="99"/>
                </a:cubicBezTo>
                <a:cubicBezTo>
                  <a:pt x="52" y="102"/>
                  <a:pt x="57" y="105"/>
                  <a:pt x="61" y="107"/>
                </a:cubicBezTo>
                <a:cubicBezTo>
                  <a:pt x="61" y="148"/>
                  <a:pt x="61" y="148"/>
                  <a:pt x="61" y="148"/>
                </a:cubicBezTo>
                <a:cubicBezTo>
                  <a:pt x="61" y="155"/>
                  <a:pt x="67" y="160"/>
                  <a:pt x="73" y="160"/>
                </a:cubicBezTo>
                <a:cubicBezTo>
                  <a:pt x="140" y="160"/>
                  <a:pt x="140" y="160"/>
                  <a:pt x="140" y="160"/>
                </a:cubicBezTo>
                <a:cubicBezTo>
                  <a:pt x="147" y="160"/>
                  <a:pt x="152" y="155"/>
                  <a:pt x="152" y="148"/>
                </a:cubicBezTo>
                <a:cubicBezTo>
                  <a:pt x="152" y="12"/>
                  <a:pt x="152" y="12"/>
                  <a:pt x="152" y="12"/>
                </a:cubicBezTo>
                <a:cubicBezTo>
                  <a:pt x="152" y="5"/>
                  <a:pt x="147" y="0"/>
                  <a:pt x="140" y="0"/>
                </a:cubicBezTo>
                <a:close/>
                <a:moveTo>
                  <a:pt x="73" y="5"/>
                </a:moveTo>
                <a:cubicBezTo>
                  <a:pt x="140" y="5"/>
                  <a:pt x="140" y="5"/>
                  <a:pt x="140" y="5"/>
                </a:cubicBezTo>
                <a:cubicBezTo>
                  <a:pt x="144" y="5"/>
                  <a:pt x="147" y="8"/>
                  <a:pt x="147" y="12"/>
                </a:cubicBezTo>
                <a:cubicBezTo>
                  <a:pt x="147" y="16"/>
                  <a:pt x="147" y="16"/>
                  <a:pt x="147" y="16"/>
                </a:cubicBezTo>
                <a:cubicBezTo>
                  <a:pt x="67" y="16"/>
                  <a:pt x="67" y="16"/>
                  <a:pt x="67" y="16"/>
                </a:cubicBezTo>
                <a:cubicBezTo>
                  <a:pt x="67" y="12"/>
                  <a:pt x="67" y="12"/>
                  <a:pt x="67" y="12"/>
                </a:cubicBezTo>
                <a:cubicBezTo>
                  <a:pt x="67" y="8"/>
                  <a:pt x="70" y="5"/>
                  <a:pt x="73" y="5"/>
                </a:cubicBezTo>
                <a:close/>
                <a:moveTo>
                  <a:pt x="43" y="72"/>
                </a:moveTo>
                <a:cubicBezTo>
                  <a:pt x="43" y="58"/>
                  <a:pt x="52" y="46"/>
                  <a:pt x="65" y="42"/>
                </a:cubicBezTo>
                <a:cubicBezTo>
                  <a:pt x="65" y="41"/>
                  <a:pt x="66" y="41"/>
                  <a:pt x="66" y="41"/>
                </a:cubicBezTo>
                <a:cubicBezTo>
                  <a:pt x="67" y="41"/>
                  <a:pt x="67" y="41"/>
                  <a:pt x="68" y="41"/>
                </a:cubicBezTo>
                <a:cubicBezTo>
                  <a:pt x="68" y="41"/>
                  <a:pt x="69" y="41"/>
                  <a:pt x="69" y="41"/>
                </a:cubicBezTo>
                <a:cubicBezTo>
                  <a:pt x="70" y="40"/>
                  <a:pt x="70" y="40"/>
                  <a:pt x="71" y="40"/>
                </a:cubicBezTo>
                <a:cubicBezTo>
                  <a:pt x="71" y="40"/>
                  <a:pt x="71" y="40"/>
                  <a:pt x="72" y="40"/>
                </a:cubicBezTo>
                <a:cubicBezTo>
                  <a:pt x="73" y="40"/>
                  <a:pt x="74" y="40"/>
                  <a:pt x="75" y="40"/>
                </a:cubicBezTo>
                <a:cubicBezTo>
                  <a:pt x="92" y="40"/>
                  <a:pt x="107" y="54"/>
                  <a:pt x="107" y="72"/>
                </a:cubicBezTo>
                <a:cubicBezTo>
                  <a:pt x="107" y="90"/>
                  <a:pt x="92" y="104"/>
                  <a:pt x="75" y="104"/>
                </a:cubicBezTo>
                <a:cubicBezTo>
                  <a:pt x="74" y="104"/>
                  <a:pt x="73" y="104"/>
                  <a:pt x="72" y="104"/>
                </a:cubicBezTo>
                <a:cubicBezTo>
                  <a:pt x="71" y="104"/>
                  <a:pt x="71" y="104"/>
                  <a:pt x="71" y="104"/>
                </a:cubicBezTo>
                <a:cubicBezTo>
                  <a:pt x="70" y="104"/>
                  <a:pt x="70" y="104"/>
                  <a:pt x="69" y="103"/>
                </a:cubicBezTo>
                <a:cubicBezTo>
                  <a:pt x="69" y="103"/>
                  <a:pt x="68" y="103"/>
                  <a:pt x="68" y="103"/>
                </a:cubicBezTo>
                <a:cubicBezTo>
                  <a:pt x="67" y="103"/>
                  <a:pt x="67" y="103"/>
                  <a:pt x="66" y="103"/>
                </a:cubicBezTo>
                <a:cubicBezTo>
                  <a:pt x="66" y="103"/>
                  <a:pt x="65" y="103"/>
                  <a:pt x="65" y="102"/>
                </a:cubicBezTo>
                <a:cubicBezTo>
                  <a:pt x="52" y="98"/>
                  <a:pt x="43" y="86"/>
                  <a:pt x="43" y="72"/>
                </a:cubicBezTo>
                <a:close/>
                <a:moveTo>
                  <a:pt x="70" y="109"/>
                </a:moveTo>
                <a:cubicBezTo>
                  <a:pt x="70" y="109"/>
                  <a:pt x="71" y="109"/>
                  <a:pt x="71" y="109"/>
                </a:cubicBezTo>
                <a:cubicBezTo>
                  <a:pt x="72" y="109"/>
                  <a:pt x="73" y="109"/>
                  <a:pt x="75" y="109"/>
                </a:cubicBezTo>
                <a:cubicBezTo>
                  <a:pt x="95" y="109"/>
                  <a:pt x="112" y="93"/>
                  <a:pt x="112" y="72"/>
                </a:cubicBezTo>
                <a:cubicBezTo>
                  <a:pt x="112" y="51"/>
                  <a:pt x="95" y="35"/>
                  <a:pt x="75" y="35"/>
                </a:cubicBezTo>
                <a:cubicBezTo>
                  <a:pt x="73" y="35"/>
                  <a:pt x="72" y="35"/>
                  <a:pt x="71" y="35"/>
                </a:cubicBezTo>
                <a:cubicBezTo>
                  <a:pt x="71" y="35"/>
                  <a:pt x="70" y="35"/>
                  <a:pt x="70" y="35"/>
                </a:cubicBezTo>
                <a:cubicBezTo>
                  <a:pt x="69" y="35"/>
                  <a:pt x="68" y="35"/>
                  <a:pt x="67" y="36"/>
                </a:cubicBezTo>
                <a:cubicBezTo>
                  <a:pt x="67" y="36"/>
                  <a:pt x="67" y="36"/>
                  <a:pt x="67" y="36"/>
                </a:cubicBezTo>
                <a:cubicBezTo>
                  <a:pt x="67" y="21"/>
                  <a:pt x="67" y="21"/>
                  <a:pt x="67" y="21"/>
                </a:cubicBezTo>
                <a:cubicBezTo>
                  <a:pt x="147" y="21"/>
                  <a:pt x="147" y="21"/>
                  <a:pt x="147" y="21"/>
                </a:cubicBezTo>
                <a:cubicBezTo>
                  <a:pt x="147" y="123"/>
                  <a:pt x="147" y="123"/>
                  <a:pt x="147" y="123"/>
                </a:cubicBezTo>
                <a:cubicBezTo>
                  <a:pt x="67" y="123"/>
                  <a:pt x="67" y="123"/>
                  <a:pt x="67" y="123"/>
                </a:cubicBezTo>
                <a:cubicBezTo>
                  <a:pt x="67" y="108"/>
                  <a:pt x="67" y="108"/>
                  <a:pt x="67" y="108"/>
                </a:cubicBezTo>
                <a:cubicBezTo>
                  <a:pt x="67" y="108"/>
                  <a:pt x="67" y="108"/>
                  <a:pt x="67" y="108"/>
                </a:cubicBezTo>
                <a:cubicBezTo>
                  <a:pt x="68" y="109"/>
                  <a:pt x="69" y="109"/>
                  <a:pt x="70" y="109"/>
                </a:cubicBezTo>
                <a:close/>
                <a:moveTo>
                  <a:pt x="140" y="155"/>
                </a:moveTo>
                <a:cubicBezTo>
                  <a:pt x="73" y="155"/>
                  <a:pt x="73" y="155"/>
                  <a:pt x="73" y="155"/>
                </a:cubicBezTo>
                <a:cubicBezTo>
                  <a:pt x="70" y="155"/>
                  <a:pt x="67" y="152"/>
                  <a:pt x="67" y="148"/>
                </a:cubicBezTo>
                <a:cubicBezTo>
                  <a:pt x="67" y="128"/>
                  <a:pt x="67" y="128"/>
                  <a:pt x="67" y="128"/>
                </a:cubicBezTo>
                <a:cubicBezTo>
                  <a:pt x="147" y="128"/>
                  <a:pt x="147" y="128"/>
                  <a:pt x="147" y="128"/>
                </a:cubicBezTo>
                <a:cubicBezTo>
                  <a:pt x="147" y="148"/>
                  <a:pt x="147" y="148"/>
                  <a:pt x="147" y="148"/>
                </a:cubicBezTo>
                <a:cubicBezTo>
                  <a:pt x="147" y="152"/>
                  <a:pt x="144" y="155"/>
                  <a:pt x="14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7">
            <a:extLst>
              <a:ext uri="{FF2B5EF4-FFF2-40B4-BE49-F238E27FC236}">
                <a16:creationId xmlns:a16="http://schemas.microsoft.com/office/drawing/2014/main" id="{9DB63619-D31B-3F4A-8509-AA8DDBC7F6FE}"/>
              </a:ext>
            </a:extLst>
          </p:cNvPr>
          <p:cNvSpPr>
            <a:spLocks noEditPoints="1"/>
          </p:cNvSpPr>
          <p:nvPr/>
        </p:nvSpPr>
        <p:spPr bwMode="auto">
          <a:xfrm>
            <a:off x="587066" y="1762125"/>
            <a:ext cx="600075" cy="604838"/>
          </a:xfrm>
          <a:custGeom>
            <a:avLst/>
            <a:gdLst>
              <a:gd name="T0" fmla="*/ 92 w 160"/>
              <a:gd name="T1" fmla="*/ 20 h 160"/>
              <a:gd name="T2" fmla="*/ 84 w 160"/>
              <a:gd name="T3" fmla="*/ 20 h 160"/>
              <a:gd name="T4" fmla="*/ 83 w 160"/>
              <a:gd name="T5" fmla="*/ 20 h 160"/>
              <a:gd name="T6" fmla="*/ 48 w 160"/>
              <a:gd name="T7" fmla="*/ 53 h 160"/>
              <a:gd name="T8" fmla="*/ 46 w 160"/>
              <a:gd name="T9" fmla="*/ 53 h 160"/>
              <a:gd name="T10" fmla="*/ 24 w 160"/>
              <a:gd name="T11" fmla="*/ 53 h 160"/>
              <a:gd name="T12" fmla="*/ 16 w 160"/>
              <a:gd name="T13" fmla="*/ 62 h 160"/>
              <a:gd name="T14" fmla="*/ 16 w 160"/>
              <a:gd name="T15" fmla="*/ 96 h 160"/>
              <a:gd name="T16" fmla="*/ 24 w 160"/>
              <a:gd name="T17" fmla="*/ 104 h 160"/>
              <a:gd name="T18" fmla="*/ 46 w 160"/>
              <a:gd name="T19" fmla="*/ 104 h 160"/>
              <a:gd name="T20" fmla="*/ 48 w 160"/>
              <a:gd name="T21" fmla="*/ 104 h 160"/>
              <a:gd name="T22" fmla="*/ 83 w 160"/>
              <a:gd name="T23" fmla="*/ 137 h 160"/>
              <a:gd name="T24" fmla="*/ 84 w 160"/>
              <a:gd name="T25" fmla="*/ 138 h 160"/>
              <a:gd name="T26" fmla="*/ 88 w 160"/>
              <a:gd name="T27" fmla="*/ 139 h 160"/>
              <a:gd name="T28" fmla="*/ 92 w 160"/>
              <a:gd name="T29" fmla="*/ 138 h 160"/>
              <a:gd name="T30" fmla="*/ 96 w 160"/>
              <a:gd name="T31" fmla="*/ 130 h 160"/>
              <a:gd name="T32" fmla="*/ 96 w 160"/>
              <a:gd name="T33" fmla="*/ 27 h 160"/>
              <a:gd name="T34" fmla="*/ 92 w 160"/>
              <a:gd name="T35" fmla="*/ 20 h 160"/>
              <a:gd name="T36" fmla="*/ 91 w 160"/>
              <a:gd name="T37" fmla="*/ 130 h 160"/>
              <a:gd name="T38" fmla="*/ 89 w 160"/>
              <a:gd name="T39" fmla="*/ 133 h 160"/>
              <a:gd name="T40" fmla="*/ 86 w 160"/>
              <a:gd name="T41" fmla="*/ 133 h 160"/>
              <a:gd name="T42" fmla="*/ 51 w 160"/>
              <a:gd name="T43" fmla="*/ 100 h 160"/>
              <a:gd name="T44" fmla="*/ 51 w 160"/>
              <a:gd name="T45" fmla="*/ 100 h 160"/>
              <a:gd name="T46" fmla="*/ 46 w 160"/>
              <a:gd name="T47" fmla="*/ 99 h 160"/>
              <a:gd name="T48" fmla="*/ 24 w 160"/>
              <a:gd name="T49" fmla="*/ 99 h 160"/>
              <a:gd name="T50" fmla="*/ 21 w 160"/>
              <a:gd name="T51" fmla="*/ 96 h 160"/>
              <a:gd name="T52" fmla="*/ 21 w 160"/>
              <a:gd name="T53" fmla="*/ 62 h 160"/>
              <a:gd name="T54" fmla="*/ 24 w 160"/>
              <a:gd name="T55" fmla="*/ 59 h 160"/>
              <a:gd name="T56" fmla="*/ 46 w 160"/>
              <a:gd name="T57" fmla="*/ 59 h 160"/>
              <a:gd name="T58" fmla="*/ 51 w 160"/>
              <a:gd name="T59" fmla="*/ 58 h 160"/>
              <a:gd name="T60" fmla="*/ 51 w 160"/>
              <a:gd name="T61" fmla="*/ 57 h 160"/>
              <a:gd name="T62" fmla="*/ 86 w 160"/>
              <a:gd name="T63" fmla="*/ 24 h 160"/>
              <a:gd name="T64" fmla="*/ 89 w 160"/>
              <a:gd name="T65" fmla="*/ 24 h 160"/>
              <a:gd name="T66" fmla="*/ 91 w 160"/>
              <a:gd name="T67" fmla="*/ 27 h 160"/>
              <a:gd name="T68" fmla="*/ 91 w 160"/>
              <a:gd name="T69" fmla="*/ 130 h 160"/>
              <a:gd name="T70" fmla="*/ 115 w 160"/>
              <a:gd name="T71" fmla="*/ 46 h 160"/>
              <a:gd name="T72" fmla="*/ 115 w 160"/>
              <a:gd name="T73" fmla="*/ 114 h 160"/>
              <a:gd name="T74" fmla="*/ 113 w 160"/>
              <a:gd name="T75" fmla="*/ 115 h 160"/>
              <a:gd name="T76" fmla="*/ 112 w 160"/>
              <a:gd name="T77" fmla="*/ 114 h 160"/>
              <a:gd name="T78" fmla="*/ 112 w 160"/>
              <a:gd name="T79" fmla="*/ 110 h 160"/>
              <a:gd name="T80" fmla="*/ 112 w 160"/>
              <a:gd name="T81" fmla="*/ 50 h 160"/>
              <a:gd name="T82" fmla="*/ 112 w 160"/>
              <a:gd name="T83" fmla="*/ 46 h 160"/>
              <a:gd name="T84" fmla="*/ 115 w 160"/>
              <a:gd name="T85" fmla="*/ 46 h 160"/>
              <a:gd name="T86" fmla="*/ 106 w 160"/>
              <a:gd name="T87" fmla="*/ 103 h 160"/>
              <a:gd name="T88" fmla="*/ 104 w 160"/>
              <a:gd name="T89" fmla="*/ 104 h 160"/>
              <a:gd name="T90" fmla="*/ 102 w 160"/>
              <a:gd name="T91" fmla="*/ 103 h 160"/>
              <a:gd name="T92" fmla="*/ 102 w 160"/>
              <a:gd name="T93" fmla="*/ 99 h 160"/>
              <a:gd name="T94" fmla="*/ 102 w 160"/>
              <a:gd name="T95" fmla="*/ 58 h 160"/>
              <a:gd name="T96" fmla="*/ 102 w 160"/>
              <a:gd name="T97" fmla="*/ 54 h 160"/>
              <a:gd name="T98" fmla="*/ 106 w 160"/>
              <a:gd name="T99" fmla="*/ 54 h 160"/>
              <a:gd name="T100" fmla="*/ 106 w 160"/>
              <a:gd name="T101" fmla="*/ 103 h 160"/>
              <a:gd name="T102" fmla="*/ 80 w 160"/>
              <a:gd name="T103" fmla="*/ 0 h 160"/>
              <a:gd name="T104" fmla="*/ 0 w 160"/>
              <a:gd name="T105" fmla="*/ 80 h 160"/>
              <a:gd name="T106" fmla="*/ 80 w 160"/>
              <a:gd name="T107" fmla="*/ 160 h 160"/>
              <a:gd name="T108" fmla="*/ 160 w 160"/>
              <a:gd name="T109" fmla="*/ 80 h 160"/>
              <a:gd name="T110" fmla="*/ 80 w 160"/>
              <a:gd name="T111" fmla="*/ 0 h 160"/>
              <a:gd name="T112" fmla="*/ 80 w 160"/>
              <a:gd name="T113" fmla="*/ 155 h 160"/>
              <a:gd name="T114" fmla="*/ 5 w 160"/>
              <a:gd name="T115" fmla="*/ 80 h 160"/>
              <a:gd name="T116" fmla="*/ 80 w 160"/>
              <a:gd name="T117" fmla="*/ 5 h 160"/>
              <a:gd name="T118" fmla="*/ 155 w 160"/>
              <a:gd name="T119" fmla="*/ 80 h 160"/>
              <a:gd name="T120" fmla="*/ 80 w 160"/>
              <a:gd name="T121"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60">
                <a:moveTo>
                  <a:pt x="92" y="20"/>
                </a:moveTo>
                <a:cubicBezTo>
                  <a:pt x="89" y="18"/>
                  <a:pt x="86" y="18"/>
                  <a:pt x="84" y="20"/>
                </a:cubicBezTo>
                <a:cubicBezTo>
                  <a:pt x="83" y="20"/>
                  <a:pt x="83" y="20"/>
                  <a:pt x="83" y="20"/>
                </a:cubicBezTo>
                <a:cubicBezTo>
                  <a:pt x="48" y="53"/>
                  <a:pt x="48" y="53"/>
                  <a:pt x="48" y="53"/>
                </a:cubicBezTo>
                <a:cubicBezTo>
                  <a:pt x="47" y="53"/>
                  <a:pt x="47" y="53"/>
                  <a:pt x="46" y="53"/>
                </a:cubicBezTo>
                <a:cubicBezTo>
                  <a:pt x="24" y="53"/>
                  <a:pt x="24" y="53"/>
                  <a:pt x="24" y="53"/>
                </a:cubicBezTo>
                <a:cubicBezTo>
                  <a:pt x="20" y="53"/>
                  <a:pt x="16" y="57"/>
                  <a:pt x="16" y="62"/>
                </a:cubicBezTo>
                <a:cubicBezTo>
                  <a:pt x="16" y="96"/>
                  <a:pt x="16" y="96"/>
                  <a:pt x="16" y="96"/>
                </a:cubicBezTo>
                <a:cubicBezTo>
                  <a:pt x="16" y="100"/>
                  <a:pt x="20" y="104"/>
                  <a:pt x="24" y="104"/>
                </a:cubicBezTo>
                <a:cubicBezTo>
                  <a:pt x="46" y="104"/>
                  <a:pt x="46" y="104"/>
                  <a:pt x="46" y="104"/>
                </a:cubicBezTo>
                <a:cubicBezTo>
                  <a:pt x="47" y="104"/>
                  <a:pt x="47" y="104"/>
                  <a:pt x="48" y="104"/>
                </a:cubicBezTo>
                <a:cubicBezTo>
                  <a:pt x="83" y="137"/>
                  <a:pt x="83" y="137"/>
                  <a:pt x="83" y="137"/>
                </a:cubicBezTo>
                <a:cubicBezTo>
                  <a:pt x="83" y="137"/>
                  <a:pt x="83" y="137"/>
                  <a:pt x="84" y="138"/>
                </a:cubicBezTo>
                <a:cubicBezTo>
                  <a:pt x="85" y="138"/>
                  <a:pt x="86" y="139"/>
                  <a:pt x="88" y="139"/>
                </a:cubicBezTo>
                <a:cubicBezTo>
                  <a:pt x="89" y="139"/>
                  <a:pt x="91" y="138"/>
                  <a:pt x="92" y="138"/>
                </a:cubicBezTo>
                <a:cubicBezTo>
                  <a:pt x="94" y="136"/>
                  <a:pt x="96" y="133"/>
                  <a:pt x="96" y="130"/>
                </a:cubicBezTo>
                <a:cubicBezTo>
                  <a:pt x="96" y="27"/>
                  <a:pt x="96" y="27"/>
                  <a:pt x="96" y="27"/>
                </a:cubicBezTo>
                <a:cubicBezTo>
                  <a:pt x="96" y="24"/>
                  <a:pt x="94" y="21"/>
                  <a:pt x="92" y="20"/>
                </a:cubicBezTo>
                <a:close/>
                <a:moveTo>
                  <a:pt x="91" y="130"/>
                </a:moveTo>
                <a:cubicBezTo>
                  <a:pt x="91" y="132"/>
                  <a:pt x="90" y="133"/>
                  <a:pt x="89" y="133"/>
                </a:cubicBezTo>
                <a:cubicBezTo>
                  <a:pt x="89" y="133"/>
                  <a:pt x="88" y="134"/>
                  <a:pt x="86" y="133"/>
                </a:cubicBezTo>
                <a:cubicBezTo>
                  <a:pt x="51" y="100"/>
                  <a:pt x="51" y="100"/>
                  <a:pt x="51" y="100"/>
                </a:cubicBezTo>
                <a:cubicBezTo>
                  <a:pt x="51" y="100"/>
                  <a:pt x="51" y="100"/>
                  <a:pt x="51" y="100"/>
                </a:cubicBezTo>
                <a:cubicBezTo>
                  <a:pt x="49" y="99"/>
                  <a:pt x="48" y="99"/>
                  <a:pt x="46" y="99"/>
                </a:cubicBezTo>
                <a:cubicBezTo>
                  <a:pt x="24" y="99"/>
                  <a:pt x="24" y="99"/>
                  <a:pt x="24" y="99"/>
                </a:cubicBezTo>
                <a:cubicBezTo>
                  <a:pt x="23" y="99"/>
                  <a:pt x="21" y="97"/>
                  <a:pt x="21" y="96"/>
                </a:cubicBezTo>
                <a:cubicBezTo>
                  <a:pt x="21" y="62"/>
                  <a:pt x="21" y="62"/>
                  <a:pt x="21" y="62"/>
                </a:cubicBezTo>
                <a:cubicBezTo>
                  <a:pt x="21" y="60"/>
                  <a:pt x="23" y="59"/>
                  <a:pt x="24" y="59"/>
                </a:cubicBezTo>
                <a:cubicBezTo>
                  <a:pt x="46" y="59"/>
                  <a:pt x="46" y="59"/>
                  <a:pt x="46" y="59"/>
                </a:cubicBezTo>
                <a:cubicBezTo>
                  <a:pt x="48" y="59"/>
                  <a:pt x="49" y="58"/>
                  <a:pt x="51" y="58"/>
                </a:cubicBezTo>
                <a:cubicBezTo>
                  <a:pt x="51" y="57"/>
                  <a:pt x="51" y="57"/>
                  <a:pt x="51" y="57"/>
                </a:cubicBezTo>
                <a:cubicBezTo>
                  <a:pt x="86" y="24"/>
                  <a:pt x="86" y="24"/>
                  <a:pt x="86" y="24"/>
                </a:cubicBezTo>
                <a:cubicBezTo>
                  <a:pt x="88" y="24"/>
                  <a:pt x="89" y="24"/>
                  <a:pt x="89" y="24"/>
                </a:cubicBezTo>
                <a:cubicBezTo>
                  <a:pt x="90" y="25"/>
                  <a:pt x="91" y="25"/>
                  <a:pt x="91" y="27"/>
                </a:cubicBezTo>
                <a:lnTo>
                  <a:pt x="91" y="130"/>
                </a:lnTo>
                <a:close/>
                <a:moveTo>
                  <a:pt x="115" y="46"/>
                </a:moveTo>
                <a:cubicBezTo>
                  <a:pt x="134" y="65"/>
                  <a:pt x="134" y="95"/>
                  <a:pt x="115" y="114"/>
                </a:cubicBezTo>
                <a:cubicBezTo>
                  <a:pt x="115" y="115"/>
                  <a:pt x="114" y="115"/>
                  <a:pt x="113" y="115"/>
                </a:cubicBezTo>
                <a:cubicBezTo>
                  <a:pt x="113" y="115"/>
                  <a:pt x="112" y="115"/>
                  <a:pt x="112" y="114"/>
                </a:cubicBezTo>
                <a:cubicBezTo>
                  <a:pt x="111" y="113"/>
                  <a:pt x="111" y="111"/>
                  <a:pt x="112" y="110"/>
                </a:cubicBezTo>
                <a:cubicBezTo>
                  <a:pt x="128" y="94"/>
                  <a:pt x="128" y="67"/>
                  <a:pt x="112" y="50"/>
                </a:cubicBezTo>
                <a:cubicBezTo>
                  <a:pt x="111" y="49"/>
                  <a:pt x="111" y="47"/>
                  <a:pt x="112" y="46"/>
                </a:cubicBezTo>
                <a:cubicBezTo>
                  <a:pt x="113" y="45"/>
                  <a:pt x="114" y="45"/>
                  <a:pt x="115" y="46"/>
                </a:cubicBezTo>
                <a:close/>
                <a:moveTo>
                  <a:pt x="106" y="103"/>
                </a:moveTo>
                <a:cubicBezTo>
                  <a:pt x="105" y="104"/>
                  <a:pt x="105" y="104"/>
                  <a:pt x="104" y="104"/>
                </a:cubicBezTo>
                <a:cubicBezTo>
                  <a:pt x="103" y="104"/>
                  <a:pt x="103" y="104"/>
                  <a:pt x="102" y="103"/>
                </a:cubicBezTo>
                <a:cubicBezTo>
                  <a:pt x="101" y="102"/>
                  <a:pt x="101" y="100"/>
                  <a:pt x="102" y="99"/>
                </a:cubicBezTo>
                <a:cubicBezTo>
                  <a:pt x="114" y="88"/>
                  <a:pt x="114" y="69"/>
                  <a:pt x="102" y="58"/>
                </a:cubicBezTo>
                <a:cubicBezTo>
                  <a:pt x="101" y="57"/>
                  <a:pt x="101" y="55"/>
                  <a:pt x="102" y="54"/>
                </a:cubicBezTo>
                <a:cubicBezTo>
                  <a:pt x="103" y="53"/>
                  <a:pt x="105" y="53"/>
                  <a:pt x="106" y="54"/>
                </a:cubicBezTo>
                <a:cubicBezTo>
                  <a:pt x="119" y="68"/>
                  <a:pt x="119" y="90"/>
                  <a:pt x="106" y="103"/>
                </a:cubicBez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8">
            <a:extLst>
              <a:ext uri="{FF2B5EF4-FFF2-40B4-BE49-F238E27FC236}">
                <a16:creationId xmlns:a16="http://schemas.microsoft.com/office/drawing/2014/main" id="{E4F867C5-1EFA-6B4E-BA19-AF2935867F0A}"/>
              </a:ext>
            </a:extLst>
          </p:cNvPr>
          <p:cNvSpPr>
            <a:spLocks noEditPoints="1"/>
          </p:cNvSpPr>
          <p:nvPr/>
        </p:nvSpPr>
        <p:spPr bwMode="auto">
          <a:xfrm>
            <a:off x="587066" y="2443163"/>
            <a:ext cx="600075" cy="604838"/>
          </a:xfrm>
          <a:custGeom>
            <a:avLst/>
            <a:gdLst>
              <a:gd name="T0" fmla="*/ 84 w 160"/>
              <a:gd name="T1" fmla="*/ 20 h 160"/>
              <a:gd name="T2" fmla="*/ 48 w 160"/>
              <a:gd name="T3" fmla="*/ 53 h 160"/>
              <a:gd name="T4" fmla="*/ 24 w 160"/>
              <a:gd name="T5" fmla="*/ 53 h 160"/>
              <a:gd name="T6" fmla="*/ 16 w 160"/>
              <a:gd name="T7" fmla="*/ 96 h 160"/>
              <a:gd name="T8" fmla="*/ 46 w 160"/>
              <a:gd name="T9" fmla="*/ 104 h 160"/>
              <a:gd name="T10" fmla="*/ 83 w 160"/>
              <a:gd name="T11" fmla="*/ 137 h 160"/>
              <a:gd name="T12" fmla="*/ 88 w 160"/>
              <a:gd name="T13" fmla="*/ 139 h 160"/>
              <a:gd name="T14" fmla="*/ 96 w 160"/>
              <a:gd name="T15" fmla="*/ 130 h 160"/>
              <a:gd name="T16" fmla="*/ 92 w 160"/>
              <a:gd name="T17" fmla="*/ 20 h 160"/>
              <a:gd name="T18" fmla="*/ 89 w 160"/>
              <a:gd name="T19" fmla="*/ 133 h 160"/>
              <a:gd name="T20" fmla="*/ 51 w 160"/>
              <a:gd name="T21" fmla="*/ 100 h 160"/>
              <a:gd name="T22" fmla="*/ 46 w 160"/>
              <a:gd name="T23" fmla="*/ 99 h 160"/>
              <a:gd name="T24" fmla="*/ 21 w 160"/>
              <a:gd name="T25" fmla="*/ 96 h 160"/>
              <a:gd name="T26" fmla="*/ 24 w 160"/>
              <a:gd name="T27" fmla="*/ 59 h 160"/>
              <a:gd name="T28" fmla="*/ 51 w 160"/>
              <a:gd name="T29" fmla="*/ 58 h 160"/>
              <a:gd name="T30" fmla="*/ 86 w 160"/>
              <a:gd name="T31" fmla="*/ 24 h 160"/>
              <a:gd name="T32" fmla="*/ 91 w 160"/>
              <a:gd name="T33" fmla="*/ 27 h 160"/>
              <a:gd name="T34" fmla="*/ 115 w 160"/>
              <a:gd name="T35" fmla="*/ 114 h 160"/>
              <a:gd name="T36" fmla="*/ 112 w 160"/>
              <a:gd name="T37" fmla="*/ 114 h 160"/>
              <a:gd name="T38" fmla="*/ 112 w 160"/>
              <a:gd name="T39" fmla="*/ 50 h 160"/>
              <a:gd name="T40" fmla="*/ 115 w 160"/>
              <a:gd name="T41" fmla="*/ 46 h 160"/>
              <a:gd name="T42" fmla="*/ 106 w 160"/>
              <a:gd name="T43" fmla="*/ 103 h 160"/>
              <a:gd name="T44" fmla="*/ 102 w 160"/>
              <a:gd name="T45" fmla="*/ 103 h 160"/>
              <a:gd name="T46" fmla="*/ 102 w 160"/>
              <a:gd name="T47" fmla="*/ 58 h 160"/>
              <a:gd name="T48" fmla="*/ 106 w 160"/>
              <a:gd name="T49" fmla="*/ 54 h 160"/>
              <a:gd name="T50" fmla="*/ 143 w 160"/>
              <a:gd name="T51" fmla="*/ 80 h 160"/>
              <a:gd name="T52" fmla="*/ 121 w 160"/>
              <a:gd name="T53" fmla="*/ 128 h 160"/>
              <a:gd name="T54" fmla="*/ 119 w 160"/>
              <a:gd name="T55" fmla="*/ 123 h 160"/>
              <a:gd name="T56" fmla="*/ 119 w 160"/>
              <a:gd name="T57" fmla="*/ 37 h 160"/>
              <a:gd name="T58" fmla="*/ 123 w 160"/>
              <a:gd name="T59" fmla="*/ 33 h 160"/>
              <a:gd name="T60" fmla="*/ 80 w 160"/>
              <a:gd name="T61" fmla="*/ 0 h 160"/>
              <a:gd name="T62" fmla="*/ 80 w 160"/>
              <a:gd name="T63" fmla="*/ 160 h 160"/>
              <a:gd name="T64" fmla="*/ 80 w 160"/>
              <a:gd name="T65" fmla="*/ 0 h 160"/>
              <a:gd name="T66" fmla="*/ 5 w 160"/>
              <a:gd name="T67" fmla="*/ 80 h 160"/>
              <a:gd name="T68" fmla="*/ 155 w 160"/>
              <a:gd name="T69"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92" y="20"/>
                </a:moveTo>
                <a:cubicBezTo>
                  <a:pt x="89" y="18"/>
                  <a:pt x="86" y="18"/>
                  <a:pt x="84" y="20"/>
                </a:cubicBezTo>
                <a:cubicBezTo>
                  <a:pt x="83" y="20"/>
                  <a:pt x="83" y="20"/>
                  <a:pt x="83" y="20"/>
                </a:cubicBezTo>
                <a:cubicBezTo>
                  <a:pt x="48" y="53"/>
                  <a:pt x="48" y="53"/>
                  <a:pt x="48" y="53"/>
                </a:cubicBezTo>
                <a:cubicBezTo>
                  <a:pt x="47" y="53"/>
                  <a:pt x="47" y="53"/>
                  <a:pt x="46" y="53"/>
                </a:cubicBezTo>
                <a:cubicBezTo>
                  <a:pt x="24" y="53"/>
                  <a:pt x="24" y="53"/>
                  <a:pt x="24" y="53"/>
                </a:cubicBezTo>
                <a:cubicBezTo>
                  <a:pt x="20" y="53"/>
                  <a:pt x="16" y="57"/>
                  <a:pt x="16" y="62"/>
                </a:cubicBezTo>
                <a:cubicBezTo>
                  <a:pt x="16" y="96"/>
                  <a:pt x="16" y="96"/>
                  <a:pt x="16" y="96"/>
                </a:cubicBezTo>
                <a:cubicBezTo>
                  <a:pt x="16" y="100"/>
                  <a:pt x="20" y="104"/>
                  <a:pt x="24" y="104"/>
                </a:cubicBezTo>
                <a:cubicBezTo>
                  <a:pt x="46" y="104"/>
                  <a:pt x="46" y="104"/>
                  <a:pt x="46" y="104"/>
                </a:cubicBezTo>
                <a:cubicBezTo>
                  <a:pt x="47" y="104"/>
                  <a:pt x="47" y="104"/>
                  <a:pt x="48" y="104"/>
                </a:cubicBezTo>
                <a:cubicBezTo>
                  <a:pt x="83" y="137"/>
                  <a:pt x="83" y="137"/>
                  <a:pt x="83" y="137"/>
                </a:cubicBezTo>
                <a:cubicBezTo>
                  <a:pt x="83" y="137"/>
                  <a:pt x="83" y="137"/>
                  <a:pt x="84" y="138"/>
                </a:cubicBezTo>
                <a:cubicBezTo>
                  <a:pt x="85" y="138"/>
                  <a:pt x="86" y="139"/>
                  <a:pt x="88" y="139"/>
                </a:cubicBezTo>
                <a:cubicBezTo>
                  <a:pt x="89" y="139"/>
                  <a:pt x="91" y="138"/>
                  <a:pt x="92" y="138"/>
                </a:cubicBezTo>
                <a:cubicBezTo>
                  <a:pt x="94" y="136"/>
                  <a:pt x="96" y="133"/>
                  <a:pt x="96" y="130"/>
                </a:cubicBezTo>
                <a:cubicBezTo>
                  <a:pt x="96" y="27"/>
                  <a:pt x="96" y="27"/>
                  <a:pt x="96" y="27"/>
                </a:cubicBezTo>
                <a:cubicBezTo>
                  <a:pt x="96" y="24"/>
                  <a:pt x="94" y="21"/>
                  <a:pt x="92" y="20"/>
                </a:cubicBezTo>
                <a:close/>
                <a:moveTo>
                  <a:pt x="91" y="130"/>
                </a:moveTo>
                <a:cubicBezTo>
                  <a:pt x="91" y="132"/>
                  <a:pt x="90" y="133"/>
                  <a:pt x="89" y="133"/>
                </a:cubicBezTo>
                <a:cubicBezTo>
                  <a:pt x="89" y="133"/>
                  <a:pt x="88" y="134"/>
                  <a:pt x="86" y="133"/>
                </a:cubicBezTo>
                <a:cubicBezTo>
                  <a:pt x="51" y="100"/>
                  <a:pt x="51" y="100"/>
                  <a:pt x="51" y="100"/>
                </a:cubicBezTo>
                <a:cubicBezTo>
                  <a:pt x="51" y="100"/>
                  <a:pt x="51" y="100"/>
                  <a:pt x="51" y="100"/>
                </a:cubicBezTo>
                <a:cubicBezTo>
                  <a:pt x="49" y="99"/>
                  <a:pt x="48" y="99"/>
                  <a:pt x="46" y="99"/>
                </a:cubicBezTo>
                <a:cubicBezTo>
                  <a:pt x="24" y="99"/>
                  <a:pt x="24" y="99"/>
                  <a:pt x="24" y="99"/>
                </a:cubicBezTo>
                <a:cubicBezTo>
                  <a:pt x="23" y="99"/>
                  <a:pt x="21" y="97"/>
                  <a:pt x="21" y="96"/>
                </a:cubicBezTo>
                <a:cubicBezTo>
                  <a:pt x="21" y="62"/>
                  <a:pt x="21" y="62"/>
                  <a:pt x="21" y="62"/>
                </a:cubicBezTo>
                <a:cubicBezTo>
                  <a:pt x="21" y="60"/>
                  <a:pt x="23" y="59"/>
                  <a:pt x="24" y="59"/>
                </a:cubicBezTo>
                <a:cubicBezTo>
                  <a:pt x="46" y="59"/>
                  <a:pt x="46" y="59"/>
                  <a:pt x="46" y="59"/>
                </a:cubicBezTo>
                <a:cubicBezTo>
                  <a:pt x="48" y="59"/>
                  <a:pt x="49" y="58"/>
                  <a:pt x="51" y="58"/>
                </a:cubicBezTo>
                <a:cubicBezTo>
                  <a:pt x="51" y="57"/>
                  <a:pt x="51" y="57"/>
                  <a:pt x="51" y="57"/>
                </a:cubicBezTo>
                <a:cubicBezTo>
                  <a:pt x="86" y="24"/>
                  <a:pt x="86" y="24"/>
                  <a:pt x="86" y="24"/>
                </a:cubicBezTo>
                <a:cubicBezTo>
                  <a:pt x="88" y="24"/>
                  <a:pt x="89" y="24"/>
                  <a:pt x="89" y="24"/>
                </a:cubicBezTo>
                <a:cubicBezTo>
                  <a:pt x="90" y="25"/>
                  <a:pt x="91" y="25"/>
                  <a:pt x="91" y="27"/>
                </a:cubicBezTo>
                <a:lnTo>
                  <a:pt x="91" y="130"/>
                </a:lnTo>
                <a:close/>
                <a:moveTo>
                  <a:pt x="115" y="114"/>
                </a:moveTo>
                <a:cubicBezTo>
                  <a:pt x="115" y="115"/>
                  <a:pt x="114" y="115"/>
                  <a:pt x="113" y="115"/>
                </a:cubicBezTo>
                <a:cubicBezTo>
                  <a:pt x="113" y="115"/>
                  <a:pt x="112" y="115"/>
                  <a:pt x="112" y="114"/>
                </a:cubicBezTo>
                <a:cubicBezTo>
                  <a:pt x="111" y="113"/>
                  <a:pt x="111" y="111"/>
                  <a:pt x="112" y="110"/>
                </a:cubicBezTo>
                <a:cubicBezTo>
                  <a:pt x="128" y="94"/>
                  <a:pt x="128" y="67"/>
                  <a:pt x="112" y="50"/>
                </a:cubicBezTo>
                <a:cubicBezTo>
                  <a:pt x="111" y="49"/>
                  <a:pt x="111" y="47"/>
                  <a:pt x="112" y="46"/>
                </a:cubicBezTo>
                <a:cubicBezTo>
                  <a:pt x="113" y="45"/>
                  <a:pt x="114" y="45"/>
                  <a:pt x="115" y="46"/>
                </a:cubicBezTo>
                <a:cubicBezTo>
                  <a:pt x="134" y="65"/>
                  <a:pt x="134" y="95"/>
                  <a:pt x="115" y="114"/>
                </a:cubicBezTo>
                <a:close/>
                <a:moveTo>
                  <a:pt x="106" y="103"/>
                </a:moveTo>
                <a:cubicBezTo>
                  <a:pt x="105" y="104"/>
                  <a:pt x="105" y="104"/>
                  <a:pt x="104" y="104"/>
                </a:cubicBezTo>
                <a:cubicBezTo>
                  <a:pt x="103" y="104"/>
                  <a:pt x="103" y="104"/>
                  <a:pt x="102" y="103"/>
                </a:cubicBezTo>
                <a:cubicBezTo>
                  <a:pt x="101" y="102"/>
                  <a:pt x="101" y="100"/>
                  <a:pt x="102" y="99"/>
                </a:cubicBezTo>
                <a:cubicBezTo>
                  <a:pt x="114" y="88"/>
                  <a:pt x="114" y="69"/>
                  <a:pt x="102" y="58"/>
                </a:cubicBezTo>
                <a:cubicBezTo>
                  <a:pt x="101" y="57"/>
                  <a:pt x="101" y="55"/>
                  <a:pt x="102" y="54"/>
                </a:cubicBezTo>
                <a:cubicBezTo>
                  <a:pt x="103" y="53"/>
                  <a:pt x="105" y="53"/>
                  <a:pt x="106" y="54"/>
                </a:cubicBezTo>
                <a:cubicBezTo>
                  <a:pt x="119" y="68"/>
                  <a:pt x="119" y="90"/>
                  <a:pt x="106" y="103"/>
                </a:cubicBezTo>
                <a:close/>
                <a:moveTo>
                  <a:pt x="143" y="80"/>
                </a:moveTo>
                <a:cubicBezTo>
                  <a:pt x="143" y="98"/>
                  <a:pt x="136" y="115"/>
                  <a:pt x="123" y="127"/>
                </a:cubicBezTo>
                <a:cubicBezTo>
                  <a:pt x="123" y="128"/>
                  <a:pt x="122" y="128"/>
                  <a:pt x="121" y="128"/>
                </a:cubicBezTo>
                <a:cubicBezTo>
                  <a:pt x="121" y="128"/>
                  <a:pt x="120" y="128"/>
                  <a:pt x="119" y="127"/>
                </a:cubicBezTo>
                <a:cubicBezTo>
                  <a:pt x="118" y="126"/>
                  <a:pt x="118" y="124"/>
                  <a:pt x="119" y="123"/>
                </a:cubicBezTo>
                <a:cubicBezTo>
                  <a:pt x="131" y="112"/>
                  <a:pt x="137" y="96"/>
                  <a:pt x="137" y="80"/>
                </a:cubicBezTo>
                <a:cubicBezTo>
                  <a:pt x="137" y="64"/>
                  <a:pt x="131" y="48"/>
                  <a:pt x="119" y="37"/>
                </a:cubicBezTo>
                <a:cubicBezTo>
                  <a:pt x="118" y="36"/>
                  <a:pt x="118" y="34"/>
                  <a:pt x="119" y="33"/>
                </a:cubicBezTo>
                <a:cubicBezTo>
                  <a:pt x="120" y="32"/>
                  <a:pt x="122" y="32"/>
                  <a:pt x="123" y="33"/>
                </a:cubicBezTo>
                <a:cubicBezTo>
                  <a:pt x="136" y="45"/>
                  <a:pt x="143" y="62"/>
                  <a:pt x="143" y="80"/>
                </a:cubicBez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9">
            <a:extLst>
              <a:ext uri="{FF2B5EF4-FFF2-40B4-BE49-F238E27FC236}">
                <a16:creationId xmlns:a16="http://schemas.microsoft.com/office/drawing/2014/main" id="{2984E43E-C0E3-C54F-BC77-72EC01F757C3}"/>
              </a:ext>
            </a:extLst>
          </p:cNvPr>
          <p:cNvSpPr>
            <a:spLocks noEditPoints="1"/>
          </p:cNvSpPr>
          <p:nvPr/>
        </p:nvSpPr>
        <p:spPr bwMode="auto">
          <a:xfrm>
            <a:off x="587066" y="3124200"/>
            <a:ext cx="600075" cy="604838"/>
          </a:xfrm>
          <a:custGeom>
            <a:avLst/>
            <a:gdLst>
              <a:gd name="T0" fmla="*/ 108 w 160"/>
              <a:gd name="T1" fmla="*/ 20 h 160"/>
              <a:gd name="T2" fmla="*/ 100 w 160"/>
              <a:gd name="T3" fmla="*/ 20 h 160"/>
              <a:gd name="T4" fmla="*/ 99 w 160"/>
              <a:gd name="T5" fmla="*/ 20 h 160"/>
              <a:gd name="T6" fmla="*/ 64 w 160"/>
              <a:gd name="T7" fmla="*/ 53 h 160"/>
              <a:gd name="T8" fmla="*/ 62 w 160"/>
              <a:gd name="T9" fmla="*/ 53 h 160"/>
              <a:gd name="T10" fmla="*/ 40 w 160"/>
              <a:gd name="T11" fmla="*/ 53 h 160"/>
              <a:gd name="T12" fmla="*/ 32 w 160"/>
              <a:gd name="T13" fmla="*/ 62 h 160"/>
              <a:gd name="T14" fmla="*/ 32 w 160"/>
              <a:gd name="T15" fmla="*/ 96 h 160"/>
              <a:gd name="T16" fmla="*/ 40 w 160"/>
              <a:gd name="T17" fmla="*/ 104 h 160"/>
              <a:gd name="T18" fmla="*/ 62 w 160"/>
              <a:gd name="T19" fmla="*/ 104 h 160"/>
              <a:gd name="T20" fmla="*/ 64 w 160"/>
              <a:gd name="T21" fmla="*/ 104 h 160"/>
              <a:gd name="T22" fmla="*/ 99 w 160"/>
              <a:gd name="T23" fmla="*/ 137 h 160"/>
              <a:gd name="T24" fmla="*/ 100 w 160"/>
              <a:gd name="T25" fmla="*/ 138 h 160"/>
              <a:gd name="T26" fmla="*/ 104 w 160"/>
              <a:gd name="T27" fmla="*/ 139 h 160"/>
              <a:gd name="T28" fmla="*/ 108 w 160"/>
              <a:gd name="T29" fmla="*/ 138 h 160"/>
              <a:gd name="T30" fmla="*/ 112 w 160"/>
              <a:gd name="T31" fmla="*/ 130 h 160"/>
              <a:gd name="T32" fmla="*/ 112 w 160"/>
              <a:gd name="T33" fmla="*/ 27 h 160"/>
              <a:gd name="T34" fmla="*/ 108 w 160"/>
              <a:gd name="T35" fmla="*/ 20 h 160"/>
              <a:gd name="T36" fmla="*/ 107 w 160"/>
              <a:gd name="T37" fmla="*/ 130 h 160"/>
              <a:gd name="T38" fmla="*/ 105 w 160"/>
              <a:gd name="T39" fmla="*/ 133 h 160"/>
              <a:gd name="T40" fmla="*/ 102 w 160"/>
              <a:gd name="T41" fmla="*/ 133 h 160"/>
              <a:gd name="T42" fmla="*/ 67 w 160"/>
              <a:gd name="T43" fmla="*/ 100 h 160"/>
              <a:gd name="T44" fmla="*/ 67 w 160"/>
              <a:gd name="T45" fmla="*/ 100 h 160"/>
              <a:gd name="T46" fmla="*/ 62 w 160"/>
              <a:gd name="T47" fmla="*/ 99 h 160"/>
              <a:gd name="T48" fmla="*/ 40 w 160"/>
              <a:gd name="T49" fmla="*/ 99 h 160"/>
              <a:gd name="T50" fmla="*/ 37 w 160"/>
              <a:gd name="T51" fmla="*/ 96 h 160"/>
              <a:gd name="T52" fmla="*/ 37 w 160"/>
              <a:gd name="T53" fmla="*/ 62 h 160"/>
              <a:gd name="T54" fmla="*/ 40 w 160"/>
              <a:gd name="T55" fmla="*/ 59 h 160"/>
              <a:gd name="T56" fmla="*/ 62 w 160"/>
              <a:gd name="T57" fmla="*/ 59 h 160"/>
              <a:gd name="T58" fmla="*/ 67 w 160"/>
              <a:gd name="T59" fmla="*/ 58 h 160"/>
              <a:gd name="T60" fmla="*/ 67 w 160"/>
              <a:gd name="T61" fmla="*/ 57 h 160"/>
              <a:gd name="T62" fmla="*/ 102 w 160"/>
              <a:gd name="T63" fmla="*/ 24 h 160"/>
              <a:gd name="T64" fmla="*/ 105 w 160"/>
              <a:gd name="T65" fmla="*/ 24 h 160"/>
              <a:gd name="T66" fmla="*/ 107 w 160"/>
              <a:gd name="T67" fmla="*/ 27 h 160"/>
              <a:gd name="T68" fmla="*/ 107 w 160"/>
              <a:gd name="T69" fmla="*/ 130 h 160"/>
              <a:gd name="T70" fmla="*/ 80 w 160"/>
              <a:gd name="T71" fmla="*/ 0 h 160"/>
              <a:gd name="T72" fmla="*/ 0 w 160"/>
              <a:gd name="T73" fmla="*/ 80 h 160"/>
              <a:gd name="T74" fmla="*/ 80 w 160"/>
              <a:gd name="T75" fmla="*/ 160 h 160"/>
              <a:gd name="T76" fmla="*/ 160 w 160"/>
              <a:gd name="T77" fmla="*/ 80 h 160"/>
              <a:gd name="T78" fmla="*/ 80 w 160"/>
              <a:gd name="T79" fmla="*/ 0 h 160"/>
              <a:gd name="T80" fmla="*/ 80 w 160"/>
              <a:gd name="T81" fmla="*/ 155 h 160"/>
              <a:gd name="T82" fmla="*/ 5 w 160"/>
              <a:gd name="T83" fmla="*/ 80 h 160"/>
              <a:gd name="T84" fmla="*/ 80 w 160"/>
              <a:gd name="T85" fmla="*/ 5 h 160"/>
              <a:gd name="T86" fmla="*/ 155 w 160"/>
              <a:gd name="T87" fmla="*/ 80 h 160"/>
              <a:gd name="T88" fmla="*/ 80 w 160"/>
              <a:gd name="T8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160">
                <a:moveTo>
                  <a:pt x="108" y="20"/>
                </a:moveTo>
                <a:cubicBezTo>
                  <a:pt x="105" y="18"/>
                  <a:pt x="102" y="18"/>
                  <a:pt x="100" y="20"/>
                </a:cubicBezTo>
                <a:cubicBezTo>
                  <a:pt x="99" y="20"/>
                  <a:pt x="99" y="20"/>
                  <a:pt x="99" y="20"/>
                </a:cubicBezTo>
                <a:cubicBezTo>
                  <a:pt x="64" y="53"/>
                  <a:pt x="64" y="53"/>
                  <a:pt x="64" y="53"/>
                </a:cubicBezTo>
                <a:cubicBezTo>
                  <a:pt x="63" y="53"/>
                  <a:pt x="63" y="53"/>
                  <a:pt x="62" y="53"/>
                </a:cubicBezTo>
                <a:cubicBezTo>
                  <a:pt x="40" y="53"/>
                  <a:pt x="40" y="53"/>
                  <a:pt x="40" y="53"/>
                </a:cubicBezTo>
                <a:cubicBezTo>
                  <a:pt x="36" y="53"/>
                  <a:pt x="32" y="57"/>
                  <a:pt x="32" y="62"/>
                </a:cubicBezTo>
                <a:cubicBezTo>
                  <a:pt x="32" y="96"/>
                  <a:pt x="32" y="96"/>
                  <a:pt x="32" y="96"/>
                </a:cubicBezTo>
                <a:cubicBezTo>
                  <a:pt x="32" y="100"/>
                  <a:pt x="36" y="104"/>
                  <a:pt x="40" y="104"/>
                </a:cubicBezTo>
                <a:cubicBezTo>
                  <a:pt x="62" y="104"/>
                  <a:pt x="62" y="104"/>
                  <a:pt x="62" y="104"/>
                </a:cubicBezTo>
                <a:cubicBezTo>
                  <a:pt x="63" y="104"/>
                  <a:pt x="63" y="104"/>
                  <a:pt x="64" y="104"/>
                </a:cubicBezTo>
                <a:cubicBezTo>
                  <a:pt x="99" y="137"/>
                  <a:pt x="99" y="137"/>
                  <a:pt x="99" y="137"/>
                </a:cubicBezTo>
                <a:cubicBezTo>
                  <a:pt x="99" y="137"/>
                  <a:pt x="99" y="137"/>
                  <a:pt x="100" y="138"/>
                </a:cubicBezTo>
                <a:cubicBezTo>
                  <a:pt x="101" y="138"/>
                  <a:pt x="102" y="139"/>
                  <a:pt x="104" y="139"/>
                </a:cubicBezTo>
                <a:cubicBezTo>
                  <a:pt x="105" y="139"/>
                  <a:pt x="107" y="138"/>
                  <a:pt x="108" y="138"/>
                </a:cubicBezTo>
                <a:cubicBezTo>
                  <a:pt x="110" y="136"/>
                  <a:pt x="112" y="133"/>
                  <a:pt x="112" y="130"/>
                </a:cubicBezTo>
                <a:cubicBezTo>
                  <a:pt x="112" y="27"/>
                  <a:pt x="112" y="27"/>
                  <a:pt x="112" y="27"/>
                </a:cubicBezTo>
                <a:cubicBezTo>
                  <a:pt x="112" y="24"/>
                  <a:pt x="110" y="21"/>
                  <a:pt x="108" y="20"/>
                </a:cubicBezTo>
                <a:close/>
                <a:moveTo>
                  <a:pt x="107" y="130"/>
                </a:moveTo>
                <a:cubicBezTo>
                  <a:pt x="107" y="132"/>
                  <a:pt x="106" y="133"/>
                  <a:pt x="105" y="133"/>
                </a:cubicBezTo>
                <a:cubicBezTo>
                  <a:pt x="105" y="133"/>
                  <a:pt x="104" y="134"/>
                  <a:pt x="102" y="133"/>
                </a:cubicBezTo>
                <a:cubicBezTo>
                  <a:pt x="67" y="100"/>
                  <a:pt x="67" y="100"/>
                  <a:pt x="67" y="100"/>
                </a:cubicBezTo>
                <a:cubicBezTo>
                  <a:pt x="67" y="100"/>
                  <a:pt x="67" y="100"/>
                  <a:pt x="67" y="100"/>
                </a:cubicBezTo>
                <a:cubicBezTo>
                  <a:pt x="65" y="99"/>
                  <a:pt x="64" y="99"/>
                  <a:pt x="62" y="99"/>
                </a:cubicBezTo>
                <a:cubicBezTo>
                  <a:pt x="40" y="99"/>
                  <a:pt x="40" y="99"/>
                  <a:pt x="40" y="99"/>
                </a:cubicBezTo>
                <a:cubicBezTo>
                  <a:pt x="39" y="99"/>
                  <a:pt x="37" y="97"/>
                  <a:pt x="37" y="96"/>
                </a:cubicBezTo>
                <a:cubicBezTo>
                  <a:pt x="37" y="62"/>
                  <a:pt x="37" y="62"/>
                  <a:pt x="37" y="62"/>
                </a:cubicBezTo>
                <a:cubicBezTo>
                  <a:pt x="37" y="60"/>
                  <a:pt x="39" y="59"/>
                  <a:pt x="40" y="59"/>
                </a:cubicBezTo>
                <a:cubicBezTo>
                  <a:pt x="62" y="59"/>
                  <a:pt x="62" y="59"/>
                  <a:pt x="62" y="59"/>
                </a:cubicBezTo>
                <a:cubicBezTo>
                  <a:pt x="64" y="59"/>
                  <a:pt x="65" y="58"/>
                  <a:pt x="67" y="58"/>
                </a:cubicBezTo>
                <a:cubicBezTo>
                  <a:pt x="67" y="57"/>
                  <a:pt x="67" y="57"/>
                  <a:pt x="67" y="57"/>
                </a:cubicBezTo>
                <a:cubicBezTo>
                  <a:pt x="102" y="24"/>
                  <a:pt x="102" y="24"/>
                  <a:pt x="102" y="24"/>
                </a:cubicBezTo>
                <a:cubicBezTo>
                  <a:pt x="104" y="24"/>
                  <a:pt x="105" y="24"/>
                  <a:pt x="105" y="24"/>
                </a:cubicBezTo>
                <a:cubicBezTo>
                  <a:pt x="106" y="25"/>
                  <a:pt x="107" y="25"/>
                  <a:pt x="107" y="27"/>
                </a:cubicBezTo>
                <a:lnTo>
                  <a:pt x="107" y="130"/>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0">
            <a:extLst>
              <a:ext uri="{FF2B5EF4-FFF2-40B4-BE49-F238E27FC236}">
                <a16:creationId xmlns:a16="http://schemas.microsoft.com/office/drawing/2014/main" id="{250017E6-5631-6844-BFA3-2058034D3593}"/>
              </a:ext>
            </a:extLst>
          </p:cNvPr>
          <p:cNvSpPr>
            <a:spLocks noEditPoints="1"/>
          </p:cNvSpPr>
          <p:nvPr/>
        </p:nvSpPr>
        <p:spPr bwMode="auto">
          <a:xfrm>
            <a:off x="587066" y="3865563"/>
            <a:ext cx="600075" cy="477838"/>
          </a:xfrm>
          <a:custGeom>
            <a:avLst/>
            <a:gdLst>
              <a:gd name="T0" fmla="*/ 68 w 160"/>
              <a:gd name="T1" fmla="*/ 4 h 126"/>
              <a:gd name="T2" fmla="*/ 31 w 160"/>
              <a:gd name="T3" fmla="*/ 35 h 126"/>
              <a:gd name="T4" fmla="*/ 0 w 160"/>
              <a:gd name="T5" fmla="*/ 38 h 126"/>
              <a:gd name="T6" fmla="*/ 1 w 160"/>
              <a:gd name="T7" fmla="*/ 90 h 126"/>
              <a:gd name="T8" fmla="*/ 31 w 160"/>
              <a:gd name="T9" fmla="*/ 91 h 126"/>
              <a:gd name="T10" fmla="*/ 68 w 160"/>
              <a:gd name="T11" fmla="*/ 124 h 126"/>
              <a:gd name="T12" fmla="*/ 76 w 160"/>
              <a:gd name="T13" fmla="*/ 124 h 126"/>
              <a:gd name="T14" fmla="*/ 80 w 160"/>
              <a:gd name="T15" fmla="*/ 11 h 126"/>
              <a:gd name="T16" fmla="*/ 75 w 160"/>
              <a:gd name="T17" fmla="*/ 117 h 126"/>
              <a:gd name="T18" fmla="*/ 70 w 160"/>
              <a:gd name="T19" fmla="*/ 120 h 126"/>
              <a:gd name="T20" fmla="*/ 35 w 160"/>
              <a:gd name="T21" fmla="*/ 75 h 126"/>
              <a:gd name="T22" fmla="*/ 29 w 160"/>
              <a:gd name="T23" fmla="*/ 75 h 126"/>
              <a:gd name="T24" fmla="*/ 5 w 160"/>
              <a:gd name="T25" fmla="*/ 85 h 126"/>
              <a:gd name="T26" fmla="*/ 29 w 160"/>
              <a:gd name="T27" fmla="*/ 40 h 126"/>
              <a:gd name="T28" fmla="*/ 32 w 160"/>
              <a:gd name="T29" fmla="*/ 53 h 126"/>
              <a:gd name="T30" fmla="*/ 35 w 160"/>
              <a:gd name="T31" fmla="*/ 39 h 126"/>
              <a:gd name="T32" fmla="*/ 73 w 160"/>
              <a:gd name="T33" fmla="*/ 9 h 126"/>
              <a:gd name="T34" fmla="*/ 75 w 160"/>
              <a:gd name="T35" fmla="*/ 117 h 126"/>
              <a:gd name="T36" fmla="*/ 103 w 160"/>
              <a:gd name="T37" fmla="*/ 112 h 126"/>
              <a:gd name="T38" fmla="*/ 102 w 160"/>
              <a:gd name="T39" fmla="*/ 107 h 126"/>
              <a:gd name="T40" fmla="*/ 102 w 160"/>
              <a:gd name="T41" fmla="*/ 19 h 126"/>
              <a:gd name="T42" fmla="*/ 103 w 160"/>
              <a:gd name="T43" fmla="*/ 14 h 126"/>
              <a:gd name="T44" fmla="*/ 104 w 160"/>
              <a:gd name="T45" fmla="*/ 112 h 126"/>
              <a:gd name="T46" fmla="*/ 117 w 160"/>
              <a:gd name="T47" fmla="*/ 126 h 126"/>
              <a:gd name="T48" fmla="*/ 113 w 160"/>
              <a:gd name="T49" fmla="*/ 125 h 126"/>
              <a:gd name="T50" fmla="*/ 155 w 160"/>
              <a:gd name="T51" fmla="*/ 63 h 126"/>
              <a:gd name="T52" fmla="*/ 115 w 160"/>
              <a:gd name="T53" fmla="*/ 2 h 126"/>
              <a:gd name="T54" fmla="*/ 160 w 160"/>
              <a:gd name="T55" fmla="*/ 63 h 126"/>
              <a:gd name="T56" fmla="*/ 88 w 160"/>
              <a:gd name="T57" fmla="*/ 98 h 126"/>
              <a:gd name="T58" fmla="*/ 87 w 160"/>
              <a:gd name="T59" fmla="*/ 92 h 126"/>
              <a:gd name="T60" fmla="*/ 87 w 160"/>
              <a:gd name="T61" fmla="*/ 33 h 126"/>
              <a:gd name="T62" fmla="*/ 89 w 160"/>
              <a:gd name="T63" fmla="*/ 28 h 126"/>
              <a:gd name="T64" fmla="*/ 89 w 160"/>
              <a:gd name="T65" fmla="*/ 9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26">
                <a:moveTo>
                  <a:pt x="76" y="4"/>
                </a:moveTo>
                <a:cubicBezTo>
                  <a:pt x="73" y="2"/>
                  <a:pt x="70" y="2"/>
                  <a:pt x="68" y="4"/>
                </a:cubicBezTo>
                <a:cubicBezTo>
                  <a:pt x="67" y="4"/>
                  <a:pt x="67" y="4"/>
                  <a:pt x="67" y="4"/>
                </a:cubicBezTo>
                <a:cubicBezTo>
                  <a:pt x="31" y="35"/>
                  <a:pt x="31" y="35"/>
                  <a:pt x="31" y="35"/>
                </a:cubicBezTo>
                <a:cubicBezTo>
                  <a:pt x="3" y="35"/>
                  <a:pt x="3" y="35"/>
                  <a:pt x="3" y="35"/>
                </a:cubicBezTo>
                <a:cubicBezTo>
                  <a:pt x="1" y="35"/>
                  <a:pt x="0" y="36"/>
                  <a:pt x="0" y="38"/>
                </a:cubicBezTo>
                <a:cubicBezTo>
                  <a:pt x="0" y="88"/>
                  <a:pt x="0" y="88"/>
                  <a:pt x="0" y="88"/>
                </a:cubicBezTo>
                <a:cubicBezTo>
                  <a:pt x="0" y="89"/>
                  <a:pt x="0" y="90"/>
                  <a:pt x="1" y="90"/>
                </a:cubicBezTo>
                <a:cubicBezTo>
                  <a:pt x="1" y="91"/>
                  <a:pt x="2" y="91"/>
                  <a:pt x="3" y="91"/>
                </a:cubicBezTo>
                <a:cubicBezTo>
                  <a:pt x="31" y="91"/>
                  <a:pt x="31" y="91"/>
                  <a:pt x="31" y="91"/>
                </a:cubicBezTo>
                <a:cubicBezTo>
                  <a:pt x="67" y="124"/>
                  <a:pt x="67" y="124"/>
                  <a:pt x="67" y="124"/>
                </a:cubicBezTo>
                <a:cubicBezTo>
                  <a:pt x="67" y="124"/>
                  <a:pt x="67" y="124"/>
                  <a:pt x="68" y="124"/>
                </a:cubicBezTo>
                <a:cubicBezTo>
                  <a:pt x="69" y="125"/>
                  <a:pt x="70" y="126"/>
                  <a:pt x="72" y="126"/>
                </a:cubicBezTo>
                <a:cubicBezTo>
                  <a:pt x="73" y="126"/>
                  <a:pt x="74" y="125"/>
                  <a:pt x="76" y="124"/>
                </a:cubicBezTo>
                <a:cubicBezTo>
                  <a:pt x="78" y="123"/>
                  <a:pt x="80" y="120"/>
                  <a:pt x="80" y="117"/>
                </a:cubicBezTo>
                <a:cubicBezTo>
                  <a:pt x="80" y="11"/>
                  <a:pt x="80" y="11"/>
                  <a:pt x="80" y="11"/>
                </a:cubicBezTo>
                <a:cubicBezTo>
                  <a:pt x="80" y="8"/>
                  <a:pt x="78" y="5"/>
                  <a:pt x="76" y="4"/>
                </a:cubicBezTo>
                <a:close/>
                <a:moveTo>
                  <a:pt x="75" y="117"/>
                </a:moveTo>
                <a:cubicBezTo>
                  <a:pt x="75" y="118"/>
                  <a:pt x="74" y="119"/>
                  <a:pt x="73" y="120"/>
                </a:cubicBezTo>
                <a:cubicBezTo>
                  <a:pt x="73" y="120"/>
                  <a:pt x="72" y="120"/>
                  <a:pt x="70" y="120"/>
                </a:cubicBezTo>
                <a:cubicBezTo>
                  <a:pt x="35" y="87"/>
                  <a:pt x="35" y="87"/>
                  <a:pt x="35" y="87"/>
                </a:cubicBezTo>
                <a:cubicBezTo>
                  <a:pt x="35" y="75"/>
                  <a:pt x="35" y="75"/>
                  <a:pt x="35" y="75"/>
                </a:cubicBezTo>
                <a:cubicBezTo>
                  <a:pt x="35" y="73"/>
                  <a:pt x="33" y="72"/>
                  <a:pt x="32" y="72"/>
                </a:cubicBezTo>
                <a:cubicBezTo>
                  <a:pt x="31" y="72"/>
                  <a:pt x="29" y="73"/>
                  <a:pt x="29" y="75"/>
                </a:cubicBezTo>
                <a:cubicBezTo>
                  <a:pt x="29" y="85"/>
                  <a:pt x="29" y="85"/>
                  <a:pt x="29" y="85"/>
                </a:cubicBezTo>
                <a:cubicBezTo>
                  <a:pt x="5" y="85"/>
                  <a:pt x="5" y="85"/>
                  <a:pt x="5" y="85"/>
                </a:cubicBezTo>
                <a:cubicBezTo>
                  <a:pt x="5" y="40"/>
                  <a:pt x="5" y="40"/>
                  <a:pt x="5" y="40"/>
                </a:cubicBezTo>
                <a:cubicBezTo>
                  <a:pt x="29" y="40"/>
                  <a:pt x="29" y="40"/>
                  <a:pt x="29" y="40"/>
                </a:cubicBezTo>
                <a:cubicBezTo>
                  <a:pt x="29" y="51"/>
                  <a:pt x="29" y="51"/>
                  <a:pt x="29" y="51"/>
                </a:cubicBezTo>
                <a:cubicBezTo>
                  <a:pt x="29" y="52"/>
                  <a:pt x="31" y="53"/>
                  <a:pt x="32" y="53"/>
                </a:cubicBezTo>
                <a:cubicBezTo>
                  <a:pt x="33" y="53"/>
                  <a:pt x="35" y="52"/>
                  <a:pt x="35" y="51"/>
                </a:cubicBezTo>
                <a:cubicBezTo>
                  <a:pt x="35" y="39"/>
                  <a:pt x="35" y="39"/>
                  <a:pt x="35" y="39"/>
                </a:cubicBezTo>
                <a:cubicBezTo>
                  <a:pt x="70" y="8"/>
                  <a:pt x="70" y="8"/>
                  <a:pt x="70" y="8"/>
                </a:cubicBezTo>
                <a:cubicBezTo>
                  <a:pt x="72" y="8"/>
                  <a:pt x="73" y="8"/>
                  <a:pt x="73" y="9"/>
                </a:cubicBezTo>
                <a:cubicBezTo>
                  <a:pt x="74" y="9"/>
                  <a:pt x="75" y="10"/>
                  <a:pt x="75" y="11"/>
                </a:cubicBezTo>
                <a:lnTo>
                  <a:pt x="75" y="117"/>
                </a:lnTo>
                <a:close/>
                <a:moveTo>
                  <a:pt x="104" y="112"/>
                </a:moveTo>
                <a:cubicBezTo>
                  <a:pt x="103" y="112"/>
                  <a:pt x="103" y="112"/>
                  <a:pt x="103" y="112"/>
                </a:cubicBezTo>
                <a:cubicBezTo>
                  <a:pt x="102" y="112"/>
                  <a:pt x="101" y="111"/>
                  <a:pt x="100" y="110"/>
                </a:cubicBezTo>
                <a:cubicBezTo>
                  <a:pt x="100" y="109"/>
                  <a:pt x="100" y="107"/>
                  <a:pt x="102" y="107"/>
                </a:cubicBezTo>
                <a:cubicBezTo>
                  <a:pt x="121" y="101"/>
                  <a:pt x="133" y="83"/>
                  <a:pt x="133" y="63"/>
                </a:cubicBezTo>
                <a:cubicBezTo>
                  <a:pt x="133" y="43"/>
                  <a:pt x="121" y="25"/>
                  <a:pt x="102" y="19"/>
                </a:cubicBezTo>
                <a:cubicBezTo>
                  <a:pt x="100" y="18"/>
                  <a:pt x="100" y="17"/>
                  <a:pt x="100" y="15"/>
                </a:cubicBezTo>
                <a:cubicBezTo>
                  <a:pt x="101" y="14"/>
                  <a:pt x="102" y="13"/>
                  <a:pt x="103" y="14"/>
                </a:cubicBezTo>
                <a:cubicBezTo>
                  <a:pt x="125" y="21"/>
                  <a:pt x="139" y="41"/>
                  <a:pt x="139" y="63"/>
                </a:cubicBezTo>
                <a:cubicBezTo>
                  <a:pt x="139" y="85"/>
                  <a:pt x="125" y="105"/>
                  <a:pt x="104" y="112"/>
                </a:cubicBezTo>
                <a:close/>
                <a:moveTo>
                  <a:pt x="160" y="63"/>
                </a:moveTo>
                <a:cubicBezTo>
                  <a:pt x="160" y="91"/>
                  <a:pt x="143" y="116"/>
                  <a:pt x="117" y="126"/>
                </a:cubicBezTo>
                <a:cubicBezTo>
                  <a:pt x="116" y="126"/>
                  <a:pt x="116" y="126"/>
                  <a:pt x="116" y="126"/>
                </a:cubicBezTo>
                <a:cubicBezTo>
                  <a:pt x="115" y="126"/>
                  <a:pt x="114" y="126"/>
                  <a:pt x="113" y="125"/>
                </a:cubicBezTo>
                <a:cubicBezTo>
                  <a:pt x="113" y="123"/>
                  <a:pt x="113" y="122"/>
                  <a:pt x="115" y="121"/>
                </a:cubicBezTo>
                <a:cubicBezTo>
                  <a:pt x="139" y="112"/>
                  <a:pt x="155" y="89"/>
                  <a:pt x="155" y="63"/>
                </a:cubicBezTo>
                <a:cubicBezTo>
                  <a:pt x="155" y="38"/>
                  <a:pt x="140" y="15"/>
                  <a:pt x="116" y="5"/>
                </a:cubicBezTo>
                <a:cubicBezTo>
                  <a:pt x="115" y="5"/>
                  <a:pt x="114" y="3"/>
                  <a:pt x="115" y="2"/>
                </a:cubicBezTo>
                <a:cubicBezTo>
                  <a:pt x="116" y="0"/>
                  <a:pt x="117" y="0"/>
                  <a:pt x="119" y="0"/>
                </a:cubicBezTo>
                <a:cubicBezTo>
                  <a:pt x="144" y="11"/>
                  <a:pt x="160" y="35"/>
                  <a:pt x="160" y="63"/>
                </a:cubicBezTo>
                <a:close/>
                <a:moveTo>
                  <a:pt x="89" y="97"/>
                </a:moveTo>
                <a:cubicBezTo>
                  <a:pt x="88" y="97"/>
                  <a:pt x="88" y="98"/>
                  <a:pt x="88" y="98"/>
                </a:cubicBezTo>
                <a:cubicBezTo>
                  <a:pt x="87" y="98"/>
                  <a:pt x="86" y="97"/>
                  <a:pt x="85" y="96"/>
                </a:cubicBezTo>
                <a:cubicBezTo>
                  <a:pt x="85" y="94"/>
                  <a:pt x="86" y="93"/>
                  <a:pt x="87" y="92"/>
                </a:cubicBezTo>
                <a:cubicBezTo>
                  <a:pt x="100" y="89"/>
                  <a:pt x="109" y="76"/>
                  <a:pt x="109" y="63"/>
                </a:cubicBezTo>
                <a:cubicBezTo>
                  <a:pt x="109" y="49"/>
                  <a:pt x="100" y="37"/>
                  <a:pt x="87" y="33"/>
                </a:cubicBezTo>
                <a:cubicBezTo>
                  <a:pt x="86" y="33"/>
                  <a:pt x="85" y="32"/>
                  <a:pt x="85" y="30"/>
                </a:cubicBezTo>
                <a:cubicBezTo>
                  <a:pt x="86" y="29"/>
                  <a:pt x="87" y="28"/>
                  <a:pt x="89" y="28"/>
                </a:cubicBezTo>
                <a:cubicBezTo>
                  <a:pt x="104" y="33"/>
                  <a:pt x="115" y="47"/>
                  <a:pt x="115" y="63"/>
                </a:cubicBezTo>
                <a:cubicBezTo>
                  <a:pt x="115" y="79"/>
                  <a:pt x="104" y="93"/>
                  <a:pt x="89" y="9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11">
            <a:extLst>
              <a:ext uri="{FF2B5EF4-FFF2-40B4-BE49-F238E27FC236}">
                <a16:creationId xmlns:a16="http://schemas.microsoft.com/office/drawing/2014/main" id="{3B3062C6-3108-8149-8664-1A1E26EA4F93}"/>
              </a:ext>
            </a:extLst>
          </p:cNvPr>
          <p:cNvSpPr>
            <a:spLocks noEditPoints="1"/>
          </p:cNvSpPr>
          <p:nvPr/>
        </p:nvSpPr>
        <p:spPr bwMode="auto">
          <a:xfrm>
            <a:off x="587066" y="4516438"/>
            <a:ext cx="600075" cy="534988"/>
          </a:xfrm>
          <a:custGeom>
            <a:avLst/>
            <a:gdLst>
              <a:gd name="T0" fmla="*/ 87 w 160"/>
              <a:gd name="T1" fmla="*/ 1 h 141"/>
              <a:gd name="T2" fmla="*/ 78 w 160"/>
              <a:gd name="T3" fmla="*/ 1 h 141"/>
              <a:gd name="T4" fmla="*/ 77 w 160"/>
              <a:gd name="T5" fmla="*/ 2 h 141"/>
              <a:gd name="T6" fmla="*/ 36 w 160"/>
              <a:gd name="T7" fmla="*/ 37 h 141"/>
              <a:gd name="T8" fmla="*/ 3 w 160"/>
              <a:gd name="T9" fmla="*/ 37 h 141"/>
              <a:gd name="T10" fmla="*/ 0 w 160"/>
              <a:gd name="T11" fmla="*/ 40 h 141"/>
              <a:gd name="T12" fmla="*/ 0 w 160"/>
              <a:gd name="T13" fmla="*/ 98 h 141"/>
              <a:gd name="T14" fmla="*/ 1 w 160"/>
              <a:gd name="T15" fmla="*/ 101 h 141"/>
              <a:gd name="T16" fmla="*/ 3 w 160"/>
              <a:gd name="T17" fmla="*/ 101 h 141"/>
              <a:gd name="T18" fmla="*/ 36 w 160"/>
              <a:gd name="T19" fmla="*/ 101 h 141"/>
              <a:gd name="T20" fmla="*/ 77 w 160"/>
              <a:gd name="T21" fmla="*/ 140 h 141"/>
              <a:gd name="T22" fmla="*/ 78 w 160"/>
              <a:gd name="T23" fmla="*/ 140 h 141"/>
              <a:gd name="T24" fmla="*/ 83 w 160"/>
              <a:gd name="T25" fmla="*/ 141 h 141"/>
              <a:gd name="T26" fmla="*/ 87 w 160"/>
              <a:gd name="T27" fmla="*/ 140 h 141"/>
              <a:gd name="T28" fmla="*/ 92 w 160"/>
              <a:gd name="T29" fmla="*/ 132 h 141"/>
              <a:gd name="T30" fmla="*/ 92 w 160"/>
              <a:gd name="T31" fmla="*/ 10 h 141"/>
              <a:gd name="T32" fmla="*/ 87 w 160"/>
              <a:gd name="T33" fmla="*/ 1 h 141"/>
              <a:gd name="T34" fmla="*/ 86 w 160"/>
              <a:gd name="T35" fmla="*/ 132 h 141"/>
              <a:gd name="T36" fmla="*/ 84 w 160"/>
              <a:gd name="T37" fmla="*/ 135 h 141"/>
              <a:gd name="T38" fmla="*/ 81 w 160"/>
              <a:gd name="T39" fmla="*/ 135 h 141"/>
              <a:gd name="T40" fmla="*/ 40 w 160"/>
              <a:gd name="T41" fmla="*/ 97 h 141"/>
              <a:gd name="T42" fmla="*/ 40 w 160"/>
              <a:gd name="T43" fmla="*/ 83 h 141"/>
              <a:gd name="T44" fmla="*/ 37 w 160"/>
              <a:gd name="T45" fmla="*/ 80 h 141"/>
              <a:gd name="T46" fmla="*/ 34 w 160"/>
              <a:gd name="T47" fmla="*/ 83 h 141"/>
              <a:gd name="T48" fmla="*/ 34 w 160"/>
              <a:gd name="T49" fmla="*/ 95 h 141"/>
              <a:gd name="T50" fmla="*/ 6 w 160"/>
              <a:gd name="T51" fmla="*/ 95 h 141"/>
              <a:gd name="T52" fmla="*/ 6 w 160"/>
              <a:gd name="T53" fmla="*/ 43 h 141"/>
              <a:gd name="T54" fmla="*/ 34 w 160"/>
              <a:gd name="T55" fmla="*/ 43 h 141"/>
              <a:gd name="T56" fmla="*/ 34 w 160"/>
              <a:gd name="T57" fmla="*/ 55 h 141"/>
              <a:gd name="T58" fmla="*/ 37 w 160"/>
              <a:gd name="T59" fmla="*/ 58 h 141"/>
              <a:gd name="T60" fmla="*/ 40 w 160"/>
              <a:gd name="T61" fmla="*/ 55 h 141"/>
              <a:gd name="T62" fmla="*/ 40 w 160"/>
              <a:gd name="T63" fmla="*/ 41 h 141"/>
              <a:gd name="T64" fmla="*/ 81 w 160"/>
              <a:gd name="T65" fmla="*/ 7 h 141"/>
              <a:gd name="T66" fmla="*/ 84 w 160"/>
              <a:gd name="T67" fmla="*/ 7 h 141"/>
              <a:gd name="T68" fmla="*/ 86 w 160"/>
              <a:gd name="T69" fmla="*/ 10 h 141"/>
              <a:gd name="T70" fmla="*/ 86 w 160"/>
              <a:gd name="T71" fmla="*/ 132 h 141"/>
              <a:gd name="T72" fmla="*/ 160 w 160"/>
              <a:gd name="T73" fmla="*/ 69 h 141"/>
              <a:gd name="T74" fmla="*/ 119 w 160"/>
              <a:gd name="T75" fmla="*/ 126 h 141"/>
              <a:gd name="T76" fmla="*/ 118 w 160"/>
              <a:gd name="T77" fmla="*/ 126 h 141"/>
              <a:gd name="T78" fmla="*/ 115 w 160"/>
              <a:gd name="T79" fmla="*/ 124 h 141"/>
              <a:gd name="T80" fmla="*/ 117 w 160"/>
              <a:gd name="T81" fmla="*/ 120 h 141"/>
              <a:gd name="T82" fmla="*/ 154 w 160"/>
              <a:gd name="T83" fmla="*/ 69 h 141"/>
              <a:gd name="T84" fmla="*/ 117 w 160"/>
              <a:gd name="T85" fmla="*/ 18 h 141"/>
              <a:gd name="T86" fmla="*/ 115 w 160"/>
              <a:gd name="T87" fmla="*/ 14 h 141"/>
              <a:gd name="T88" fmla="*/ 119 w 160"/>
              <a:gd name="T89" fmla="*/ 12 h 141"/>
              <a:gd name="T90" fmla="*/ 160 w 160"/>
              <a:gd name="T91" fmla="*/ 69 h 141"/>
              <a:gd name="T92" fmla="*/ 102 w 160"/>
              <a:gd name="T93" fmla="*/ 109 h 141"/>
              <a:gd name="T94" fmla="*/ 101 w 160"/>
              <a:gd name="T95" fmla="*/ 109 h 141"/>
              <a:gd name="T96" fmla="*/ 99 w 160"/>
              <a:gd name="T97" fmla="*/ 107 h 141"/>
              <a:gd name="T98" fmla="*/ 101 w 160"/>
              <a:gd name="T99" fmla="*/ 103 h 141"/>
              <a:gd name="T100" fmla="*/ 126 w 160"/>
              <a:gd name="T101" fmla="*/ 69 h 141"/>
              <a:gd name="T102" fmla="*/ 101 w 160"/>
              <a:gd name="T103" fmla="*/ 35 h 141"/>
              <a:gd name="T104" fmla="*/ 99 w 160"/>
              <a:gd name="T105" fmla="*/ 31 h 141"/>
              <a:gd name="T106" fmla="*/ 102 w 160"/>
              <a:gd name="T107" fmla="*/ 29 h 141"/>
              <a:gd name="T108" fmla="*/ 132 w 160"/>
              <a:gd name="T109" fmla="*/ 69 h 141"/>
              <a:gd name="T110" fmla="*/ 102 w 160"/>
              <a:gd name="T111" fmla="*/ 10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41">
                <a:moveTo>
                  <a:pt x="87" y="1"/>
                </a:moveTo>
                <a:cubicBezTo>
                  <a:pt x="84" y="0"/>
                  <a:pt x="81" y="0"/>
                  <a:pt x="78" y="1"/>
                </a:cubicBezTo>
                <a:cubicBezTo>
                  <a:pt x="78" y="1"/>
                  <a:pt x="78" y="2"/>
                  <a:pt x="77" y="2"/>
                </a:cubicBezTo>
                <a:cubicBezTo>
                  <a:pt x="36" y="37"/>
                  <a:pt x="36" y="37"/>
                  <a:pt x="36" y="37"/>
                </a:cubicBezTo>
                <a:cubicBezTo>
                  <a:pt x="3" y="37"/>
                  <a:pt x="3" y="37"/>
                  <a:pt x="3" y="37"/>
                </a:cubicBezTo>
                <a:cubicBezTo>
                  <a:pt x="1" y="37"/>
                  <a:pt x="0" y="38"/>
                  <a:pt x="0" y="40"/>
                </a:cubicBezTo>
                <a:cubicBezTo>
                  <a:pt x="0" y="98"/>
                  <a:pt x="0" y="98"/>
                  <a:pt x="0" y="98"/>
                </a:cubicBezTo>
                <a:cubicBezTo>
                  <a:pt x="0" y="99"/>
                  <a:pt x="0" y="100"/>
                  <a:pt x="1" y="101"/>
                </a:cubicBezTo>
                <a:cubicBezTo>
                  <a:pt x="1" y="101"/>
                  <a:pt x="2" y="101"/>
                  <a:pt x="3" y="101"/>
                </a:cubicBezTo>
                <a:cubicBezTo>
                  <a:pt x="36" y="101"/>
                  <a:pt x="36" y="101"/>
                  <a:pt x="36" y="101"/>
                </a:cubicBezTo>
                <a:cubicBezTo>
                  <a:pt x="77" y="140"/>
                  <a:pt x="77" y="140"/>
                  <a:pt x="77" y="140"/>
                </a:cubicBezTo>
                <a:cubicBezTo>
                  <a:pt x="78" y="140"/>
                  <a:pt x="78" y="140"/>
                  <a:pt x="78" y="140"/>
                </a:cubicBezTo>
                <a:cubicBezTo>
                  <a:pt x="79" y="141"/>
                  <a:pt x="81" y="141"/>
                  <a:pt x="83" y="141"/>
                </a:cubicBezTo>
                <a:cubicBezTo>
                  <a:pt x="84" y="141"/>
                  <a:pt x="86" y="141"/>
                  <a:pt x="87" y="140"/>
                </a:cubicBezTo>
                <a:cubicBezTo>
                  <a:pt x="90" y="139"/>
                  <a:pt x="92" y="135"/>
                  <a:pt x="92" y="132"/>
                </a:cubicBezTo>
                <a:cubicBezTo>
                  <a:pt x="92" y="10"/>
                  <a:pt x="92" y="10"/>
                  <a:pt x="92" y="10"/>
                </a:cubicBezTo>
                <a:cubicBezTo>
                  <a:pt x="92" y="6"/>
                  <a:pt x="90" y="3"/>
                  <a:pt x="87" y="1"/>
                </a:cubicBezTo>
                <a:close/>
                <a:moveTo>
                  <a:pt x="86" y="132"/>
                </a:moveTo>
                <a:cubicBezTo>
                  <a:pt x="86" y="133"/>
                  <a:pt x="85" y="134"/>
                  <a:pt x="84" y="135"/>
                </a:cubicBezTo>
                <a:cubicBezTo>
                  <a:pt x="84" y="135"/>
                  <a:pt x="83" y="136"/>
                  <a:pt x="81" y="135"/>
                </a:cubicBezTo>
                <a:cubicBezTo>
                  <a:pt x="40" y="97"/>
                  <a:pt x="40" y="97"/>
                  <a:pt x="40" y="97"/>
                </a:cubicBezTo>
                <a:cubicBezTo>
                  <a:pt x="40" y="83"/>
                  <a:pt x="40" y="83"/>
                  <a:pt x="40" y="83"/>
                </a:cubicBezTo>
                <a:cubicBezTo>
                  <a:pt x="40" y="81"/>
                  <a:pt x="39" y="80"/>
                  <a:pt x="37" y="80"/>
                </a:cubicBezTo>
                <a:cubicBezTo>
                  <a:pt x="35" y="80"/>
                  <a:pt x="34" y="81"/>
                  <a:pt x="34" y="83"/>
                </a:cubicBezTo>
                <a:cubicBezTo>
                  <a:pt x="34" y="95"/>
                  <a:pt x="34" y="95"/>
                  <a:pt x="34" y="95"/>
                </a:cubicBezTo>
                <a:cubicBezTo>
                  <a:pt x="6" y="95"/>
                  <a:pt x="6" y="95"/>
                  <a:pt x="6" y="95"/>
                </a:cubicBezTo>
                <a:cubicBezTo>
                  <a:pt x="6" y="43"/>
                  <a:pt x="6" y="43"/>
                  <a:pt x="6" y="43"/>
                </a:cubicBezTo>
                <a:cubicBezTo>
                  <a:pt x="34" y="43"/>
                  <a:pt x="34" y="43"/>
                  <a:pt x="34" y="43"/>
                </a:cubicBezTo>
                <a:cubicBezTo>
                  <a:pt x="34" y="55"/>
                  <a:pt x="34" y="55"/>
                  <a:pt x="34" y="55"/>
                </a:cubicBezTo>
                <a:cubicBezTo>
                  <a:pt x="34" y="57"/>
                  <a:pt x="35" y="58"/>
                  <a:pt x="37" y="58"/>
                </a:cubicBezTo>
                <a:cubicBezTo>
                  <a:pt x="39" y="58"/>
                  <a:pt x="40" y="57"/>
                  <a:pt x="40" y="55"/>
                </a:cubicBezTo>
                <a:cubicBezTo>
                  <a:pt x="40" y="41"/>
                  <a:pt x="40" y="41"/>
                  <a:pt x="40" y="41"/>
                </a:cubicBezTo>
                <a:cubicBezTo>
                  <a:pt x="81" y="7"/>
                  <a:pt x="81" y="7"/>
                  <a:pt x="81" y="7"/>
                </a:cubicBezTo>
                <a:cubicBezTo>
                  <a:pt x="83" y="6"/>
                  <a:pt x="84" y="6"/>
                  <a:pt x="84" y="7"/>
                </a:cubicBezTo>
                <a:cubicBezTo>
                  <a:pt x="85" y="7"/>
                  <a:pt x="86" y="8"/>
                  <a:pt x="86" y="10"/>
                </a:cubicBezTo>
                <a:lnTo>
                  <a:pt x="86" y="132"/>
                </a:lnTo>
                <a:close/>
                <a:moveTo>
                  <a:pt x="160" y="69"/>
                </a:moveTo>
                <a:cubicBezTo>
                  <a:pt x="160" y="95"/>
                  <a:pt x="144" y="118"/>
                  <a:pt x="119" y="126"/>
                </a:cubicBezTo>
                <a:cubicBezTo>
                  <a:pt x="119" y="126"/>
                  <a:pt x="119" y="126"/>
                  <a:pt x="118" y="126"/>
                </a:cubicBezTo>
                <a:cubicBezTo>
                  <a:pt x="117" y="126"/>
                  <a:pt x="116" y="125"/>
                  <a:pt x="115" y="124"/>
                </a:cubicBezTo>
                <a:cubicBezTo>
                  <a:pt x="115" y="122"/>
                  <a:pt x="116" y="121"/>
                  <a:pt x="117" y="120"/>
                </a:cubicBezTo>
                <a:cubicBezTo>
                  <a:pt x="139" y="113"/>
                  <a:pt x="154" y="92"/>
                  <a:pt x="154" y="69"/>
                </a:cubicBezTo>
                <a:cubicBezTo>
                  <a:pt x="154" y="46"/>
                  <a:pt x="139" y="26"/>
                  <a:pt x="117" y="18"/>
                </a:cubicBezTo>
                <a:cubicBezTo>
                  <a:pt x="116" y="18"/>
                  <a:pt x="115" y="16"/>
                  <a:pt x="115" y="14"/>
                </a:cubicBezTo>
                <a:cubicBezTo>
                  <a:pt x="116" y="13"/>
                  <a:pt x="118" y="12"/>
                  <a:pt x="119" y="12"/>
                </a:cubicBezTo>
                <a:cubicBezTo>
                  <a:pt x="144" y="21"/>
                  <a:pt x="160" y="44"/>
                  <a:pt x="160" y="69"/>
                </a:cubicBezTo>
                <a:close/>
                <a:moveTo>
                  <a:pt x="102" y="109"/>
                </a:moveTo>
                <a:cubicBezTo>
                  <a:pt x="102" y="109"/>
                  <a:pt x="102" y="109"/>
                  <a:pt x="101" y="109"/>
                </a:cubicBezTo>
                <a:cubicBezTo>
                  <a:pt x="100" y="109"/>
                  <a:pt x="99" y="108"/>
                  <a:pt x="99" y="107"/>
                </a:cubicBezTo>
                <a:cubicBezTo>
                  <a:pt x="98" y="105"/>
                  <a:pt x="99" y="104"/>
                  <a:pt x="101" y="103"/>
                </a:cubicBezTo>
                <a:cubicBezTo>
                  <a:pt x="116" y="99"/>
                  <a:pt x="126" y="85"/>
                  <a:pt x="126" y="69"/>
                </a:cubicBezTo>
                <a:cubicBezTo>
                  <a:pt x="126" y="54"/>
                  <a:pt x="116" y="40"/>
                  <a:pt x="101" y="35"/>
                </a:cubicBezTo>
                <a:cubicBezTo>
                  <a:pt x="99" y="35"/>
                  <a:pt x="98" y="33"/>
                  <a:pt x="99" y="31"/>
                </a:cubicBezTo>
                <a:cubicBezTo>
                  <a:pt x="99" y="30"/>
                  <a:pt x="101" y="29"/>
                  <a:pt x="102" y="29"/>
                </a:cubicBezTo>
                <a:cubicBezTo>
                  <a:pt x="120" y="34"/>
                  <a:pt x="132" y="51"/>
                  <a:pt x="132" y="69"/>
                </a:cubicBezTo>
                <a:cubicBezTo>
                  <a:pt x="132" y="88"/>
                  <a:pt x="120" y="104"/>
                  <a:pt x="102" y="10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12">
            <a:extLst>
              <a:ext uri="{FF2B5EF4-FFF2-40B4-BE49-F238E27FC236}">
                <a16:creationId xmlns:a16="http://schemas.microsoft.com/office/drawing/2014/main" id="{D46891D2-FCF0-1242-88E1-7390ABA83A9D}"/>
              </a:ext>
            </a:extLst>
          </p:cNvPr>
          <p:cNvSpPr>
            <a:spLocks noEditPoints="1"/>
          </p:cNvSpPr>
          <p:nvPr/>
        </p:nvSpPr>
        <p:spPr bwMode="auto">
          <a:xfrm>
            <a:off x="601354" y="5164138"/>
            <a:ext cx="563563" cy="609600"/>
          </a:xfrm>
          <a:custGeom>
            <a:avLst/>
            <a:gdLst>
              <a:gd name="T0" fmla="*/ 99 w 150"/>
              <a:gd name="T1" fmla="*/ 2 h 161"/>
              <a:gd name="T2" fmla="*/ 88 w 150"/>
              <a:gd name="T3" fmla="*/ 3 h 161"/>
              <a:gd name="T4" fmla="*/ 88 w 150"/>
              <a:gd name="T5" fmla="*/ 3 h 161"/>
              <a:gd name="T6" fmla="*/ 40 w 150"/>
              <a:gd name="T7" fmla="*/ 43 h 161"/>
              <a:gd name="T8" fmla="*/ 3 w 150"/>
              <a:gd name="T9" fmla="*/ 43 h 161"/>
              <a:gd name="T10" fmla="*/ 0 w 150"/>
              <a:gd name="T11" fmla="*/ 46 h 161"/>
              <a:gd name="T12" fmla="*/ 0 w 150"/>
              <a:gd name="T13" fmla="*/ 112 h 161"/>
              <a:gd name="T14" fmla="*/ 1 w 150"/>
              <a:gd name="T15" fmla="*/ 115 h 161"/>
              <a:gd name="T16" fmla="*/ 3 w 150"/>
              <a:gd name="T17" fmla="*/ 116 h 161"/>
              <a:gd name="T18" fmla="*/ 40 w 150"/>
              <a:gd name="T19" fmla="*/ 116 h 161"/>
              <a:gd name="T20" fmla="*/ 87 w 150"/>
              <a:gd name="T21" fmla="*/ 159 h 161"/>
              <a:gd name="T22" fmla="*/ 88 w 150"/>
              <a:gd name="T23" fmla="*/ 159 h 161"/>
              <a:gd name="T24" fmla="*/ 94 w 150"/>
              <a:gd name="T25" fmla="*/ 161 h 161"/>
              <a:gd name="T26" fmla="*/ 99 w 150"/>
              <a:gd name="T27" fmla="*/ 160 h 161"/>
              <a:gd name="T28" fmla="*/ 104 w 150"/>
              <a:gd name="T29" fmla="*/ 150 h 161"/>
              <a:gd name="T30" fmla="*/ 104 w 150"/>
              <a:gd name="T31" fmla="*/ 12 h 161"/>
              <a:gd name="T32" fmla="*/ 99 w 150"/>
              <a:gd name="T33" fmla="*/ 2 h 161"/>
              <a:gd name="T34" fmla="*/ 97 w 150"/>
              <a:gd name="T35" fmla="*/ 150 h 161"/>
              <a:gd name="T36" fmla="*/ 95 w 150"/>
              <a:gd name="T37" fmla="*/ 154 h 161"/>
              <a:gd name="T38" fmla="*/ 92 w 150"/>
              <a:gd name="T39" fmla="*/ 154 h 161"/>
              <a:gd name="T40" fmla="*/ 45 w 150"/>
              <a:gd name="T41" fmla="*/ 111 h 161"/>
              <a:gd name="T42" fmla="*/ 45 w 150"/>
              <a:gd name="T43" fmla="*/ 95 h 161"/>
              <a:gd name="T44" fmla="*/ 42 w 150"/>
              <a:gd name="T45" fmla="*/ 91 h 161"/>
              <a:gd name="T46" fmla="*/ 38 w 150"/>
              <a:gd name="T47" fmla="*/ 95 h 161"/>
              <a:gd name="T48" fmla="*/ 38 w 150"/>
              <a:gd name="T49" fmla="*/ 109 h 161"/>
              <a:gd name="T50" fmla="*/ 7 w 150"/>
              <a:gd name="T51" fmla="*/ 109 h 161"/>
              <a:gd name="T52" fmla="*/ 7 w 150"/>
              <a:gd name="T53" fmla="*/ 50 h 161"/>
              <a:gd name="T54" fmla="*/ 38 w 150"/>
              <a:gd name="T55" fmla="*/ 50 h 161"/>
              <a:gd name="T56" fmla="*/ 38 w 150"/>
              <a:gd name="T57" fmla="*/ 64 h 161"/>
              <a:gd name="T58" fmla="*/ 42 w 150"/>
              <a:gd name="T59" fmla="*/ 67 h 161"/>
              <a:gd name="T60" fmla="*/ 45 w 150"/>
              <a:gd name="T61" fmla="*/ 64 h 161"/>
              <a:gd name="T62" fmla="*/ 45 w 150"/>
              <a:gd name="T63" fmla="*/ 48 h 161"/>
              <a:gd name="T64" fmla="*/ 92 w 150"/>
              <a:gd name="T65" fmla="*/ 8 h 161"/>
              <a:gd name="T66" fmla="*/ 95 w 150"/>
              <a:gd name="T67" fmla="*/ 8 h 161"/>
              <a:gd name="T68" fmla="*/ 97 w 150"/>
              <a:gd name="T69" fmla="*/ 12 h 161"/>
              <a:gd name="T70" fmla="*/ 97 w 150"/>
              <a:gd name="T71" fmla="*/ 150 h 161"/>
              <a:gd name="T72" fmla="*/ 150 w 150"/>
              <a:gd name="T73" fmla="*/ 79 h 161"/>
              <a:gd name="T74" fmla="*/ 116 w 150"/>
              <a:gd name="T75" fmla="*/ 124 h 161"/>
              <a:gd name="T76" fmla="*/ 115 w 150"/>
              <a:gd name="T77" fmla="*/ 124 h 161"/>
              <a:gd name="T78" fmla="*/ 111 w 150"/>
              <a:gd name="T79" fmla="*/ 122 h 161"/>
              <a:gd name="T80" fmla="*/ 114 w 150"/>
              <a:gd name="T81" fmla="*/ 118 h 161"/>
              <a:gd name="T82" fmla="*/ 143 w 150"/>
              <a:gd name="T83" fmla="*/ 79 h 161"/>
              <a:gd name="T84" fmla="*/ 114 w 150"/>
              <a:gd name="T85" fmla="*/ 41 h 161"/>
              <a:gd name="T86" fmla="*/ 111 w 150"/>
              <a:gd name="T87" fmla="*/ 37 h 161"/>
              <a:gd name="T88" fmla="*/ 116 w 150"/>
              <a:gd name="T89" fmla="*/ 34 h 161"/>
              <a:gd name="T90" fmla="*/ 150 w 150"/>
              <a:gd name="T91" fmla="*/ 7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0" h="161">
                <a:moveTo>
                  <a:pt x="99" y="2"/>
                </a:moveTo>
                <a:cubicBezTo>
                  <a:pt x="95" y="0"/>
                  <a:pt x="91" y="1"/>
                  <a:pt x="88" y="3"/>
                </a:cubicBezTo>
                <a:cubicBezTo>
                  <a:pt x="88" y="3"/>
                  <a:pt x="88" y="3"/>
                  <a:pt x="88" y="3"/>
                </a:cubicBezTo>
                <a:cubicBezTo>
                  <a:pt x="40" y="43"/>
                  <a:pt x="40" y="43"/>
                  <a:pt x="40" y="43"/>
                </a:cubicBezTo>
                <a:cubicBezTo>
                  <a:pt x="3" y="43"/>
                  <a:pt x="3" y="43"/>
                  <a:pt x="3" y="43"/>
                </a:cubicBezTo>
                <a:cubicBezTo>
                  <a:pt x="2" y="43"/>
                  <a:pt x="0" y="44"/>
                  <a:pt x="0" y="46"/>
                </a:cubicBezTo>
                <a:cubicBezTo>
                  <a:pt x="0" y="112"/>
                  <a:pt x="0" y="112"/>
                  <a:pt x="0" y="112"/>
                </a:cubicBezTo>
                <a:cubicBezTo>
                  <a:pt x="0" y="113"/>
                  <a:pt x="0" y="114"/>
                  <a:pt x="1" y="115"/>
                </a:cubicBezTo>
                <a:cubicBezTo>
                  <a:pt x="2" y="115"/>
                  <a:pt x="3" y="116"/>
                  <a:pt x="3" y="116"/>
                </a:cubicBezTo>
                <a:cubicBezTo>
                  <a:pt x="40" y="116"/>
                  <a:pt x="40" y="116"/>
                  <a:pt x="40" y="116"/>
                </a:cubicBezTo>
                <a:cubicBezTo>
                  <a:pt x="87" y="159"/>
                  <a:pt x="87" y="159"/>
                  <a:pt x="87" y="159"/>
                </a:cubicBezTo>
                <a:cubicBezTo>
                  <a:pt x="88" y="159"/>
                  <a:pt x="88" y="159"/>
                  <a:pt x="88" y="159"/>
                </a:cubicBezTo>
                <a:cubicBezTo>
                  <a:pt x="90" y="160"/>
                  <a:pt x="92" y="161"/>
                  <a:pt x="94" y="161"/>
                </a:cubicBezTo>
                <a:cubicBezTo>
                  <a:pt x="95" y="161"/>
                  <a:pt x="97" y="161"/>
                  <a:pt x="99" y="160"/>
                </a:cubicBezTo>
                <a:cubicBezTo>
                  <a:pt x="102" y="158"/>
                  <a:pt x="104" y="154"/>
                  <a:pt x="104" y="150"/>
                </a:cubicBezTo>
                <a:cubicBezTo>
                  <a:pt x="104" y="12"/>
                  <a:pt x="104" y="12"/>
                  <a:pt x="104" y="12"/>
                </a:cubicBezTo>
                <a:cubicBezTo>
                  <a:pt x="104" y="8"/>
                  <a:pt x="102" y="4"/>
                  <a:pt x="99" y="2"/>
                </a:cubicBezTo>
                <a:close/>
                <a:moveTo>
                  <a:pt x="97" y="150"/>
                </a:moveTo>
                <a:cubicBezTo>
                  <a:pt x="97" y="152"/>
                  <a:pt x="97" y="153"/>
                  <a:pt x="95" y="154"/>
                </a:cubicBezTo>
                <a:cubicBezTo>
                  <a:pt x="95" y="154"/>
                  <a:pt x="93" y="154"/>
                  <a:pt x="92" y="154"/>
                </a:cubicBezTo>
                <a:cubicBezTo>
                  <a:pt x="45" y="111"/>
                  <a:pt x="45" y="111"/>
                  <a:pt x="45" y="111"/>
                </a:cubicBezTo>
                <a:cubicBezTo>
                  <a:pt x="45" y="95"/>
                  <a:pt x="45" y="95"/>
                  <a:pt x="45" y="95"/>
                </a:cubicBezTo>
                <a:cubicBezTo>
                  <a:pt x="45" y="93"/>
                  <a:pt x="44" y="91"/>
                  <a:pt x="42" y="91"/>
                </a:cubicBezTo>
                <a:cubicBezTo>
                  <a:pt x="40" y="91"/>
                  <a:pt x="38" y="93"/>
                  <a:pt x="38" y="95"/>
                </a:cubicBezTo>
                <a:cubicBezTo>
                  <a:pt x="38" y="109"/>
                  <a:pt x="38" y="109"/>
                  <a:pt x="38" y="109"/>
                </a:cubicBezTo>
                <a:cubicBezTo>
                  <a:pt x="7" y="109"/>
                  <a:pt x="7" y="109"/>
                  <a:pt x="7" y="109"/>
                </a:cubicBezTo>
                <a:cubicBezTo>
                  <a:pt x="7" y="50"/>
                  <a:pt x="7" y="50"/>
                  <a:pt x="7" y="50"/>
                </a:cubicBezTo>
                <a:cubicBezTo>
                  <a:pt x="38" y="50"/>
                  <a:pt x="38" y="50"/>
                  <a:pt x="38" y="50"/>
                </a:cubicBezTo>
                <a:cubicBezTo>
                  <a:pt x="38" y="64"/>
                  <a:pt x="38" y="64"/>
                  <a:pt x="38" y="64"/>
                </a:cubicBezTo>
                <a:cubicBezTo>
                  <a:pt x="38" y="66"/>
                  <a:pt x="40" y="67"/>
                  <a:pt x="42" y="67"/>
                </a:cubicBezTo>
                <a:cubicBezTo>
                  <a:pt x="44" y="67"/>
                  <a:pt x="45" y="66"/>
                  <a:pt x="45" y="64"/>
                </a:cubicBezTo>
                <a:cubicBezTo>
                  <a:pt x="45" y="48"/>
                  <a:pt x="45" y="48"/>
                  <a:pt x="45" y="48"/>
                </a:cubicBezTo>
                <a:cubicBezTo>
                  <a:pt x="92" y="8"/>
                  <a:pt x="92" y="8"/>
                  <a:pt x="92" y="8"/>
                </a:cubicBezTo>
                <a:cubicBezTo>
                  <a:pt x="93" y="8"/>
                  <a:pt x="95" y="8"/>
                  <a:pt x="95" y="8"/>
                </a:cubicBezTo>
                <a:cubicBezTo>
                  <a:pt x="97" y="9"/>
                  <a:pt x="97" y="10"/>
                  <a:pt x="97" y="12"/>
                </a:cubicBezTo>
                <a:lnTo>
                  <a:pt x="97" y="150"/>
                </a:lnTo>
                <a:close/>
                <a:moveTo>
                  <a:pt x="150" y="79"/>
                </a:moveTo>
                <a:cubicBezTo>
                  <a:pt x="150" y="100"/>
                  <a:pt x="136" y="119"/>
                  <a:pt x="116" y="124"/>
                </a:cubicBezTo>
                <a:cubicBezTo>
                  <a:pt x="115" y="124"/>
                  <a:pt x="115" y="124"/>
                  <a:pt x="115" y="124"/>
                </a:cubicBezTo>
                <a:cubicBezTo>
                  <a:pt x="113" y="124"/>
                  <a:pt x="112" y="123"/>
                  <a:pt x="111" y="122"/>
                </a:cubicBezTo>
                <a:cubicBezTo>
                  <a:pt x="111" y="120"/>
                  <a:pt x="112" y="118"/>
                  <a:pt x="114" y="118"/>
                </a:cubicBezTo>
                <a:cubicBezTo>
                  <a:pt x="131" y="113"/>
                  <a:pt x="143" y="97"/>
                  <a:pt x="143" y="79"/>
                </a:cubicBezTo>
                <a:cubicBezTo>
                  <a:pt x="143" y="62"/>
                  <a:pt x="131" y="46"/>
                  <a:pt x="114" y="41"/>
                </a:cubicBezTo>
                <a:cubicBezTo>
                  <a:pt x="112" y="40"/>
                  <a:pt x="111" y="38"/>
                  <a:pt x="111" y="37"/>
                </a:cubicBezTo>
                <a:cubicBezTo>
                  <a:pt x="112" y="35"/>
                  <a:pt x="114" y="34"/>
                  <a:pt x="116" y="34"/>
                </a:cubicBezTo>
                <a:cubicBezTo>
                  <a:pt x="136" y="40"/>
                  <a:pt x="150" y="58"/>
                  <a:pt x="150" y="7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E28C5380-9499-BA47-B881-96DEE14E3D8D}"/>
              </a:ext>
            </a:extLst>
          </p:cNvPr>
          <p:cNvSpPr>
            <a:spLocks noEditPoints="1"/>
          </p:cNvSpPr>
          <p:nvPr/>
        </p:nvSpPr>
        <p:spPr bwMode="auto">
          <a:xfrm>
            <a:off x="691841" y="5845175"/>
            <a:ext cx="390525" cy="609600"/>
          </a:xfrm>
          <a:custGeom>
            <a:avLst/>
            <a:gdLst>
              <a:gd name="T0" fmla="*/ 99 w 104"/>
              <a:gd name="T1" fmla="*/ 2 h 161"/>
              <a:gd name="T2" fmla="*/ 88 w 104"/>
              <a:gd name="T3" fmla="*/ 3 h 161"/>
              <a:gd name="T4" fmla="*/ 88 w 104"/>
              <a:gd name="T5" fmla="*/ 3 h 161"/>
              <a:gd name="T6" fmla="*/ 40 w 104"/>
              <a:gd name="T7" fmla="*/ 43 h 161"/>
              <a:gd name="T8" fmla="*/ 3 w 104"/>
              <a:gd name="T9" fmla="*/ 43 h 161"/>
              <a:gd name="T10" fmla="*/ 0 w 104"/>
              <a:gd name="T11" fmla="*/ 46 h 161"/>
              <a:gd name="T12" fmla="*/ 0 w 104"/>
              <a:gd name="T13" fmla="*/ 112 h 161"/>
              <a:gd name="T14" fmla="*/ 1 w 104"/>
              <a:gd name="T15" fmla="*/ 115 h 161"/>
              <a:gd name="T16" fmla="*/ 3 w 104"/>
              <a:gd name="T17" fmla="*/ 116 h 161"/>
              <a:gd name="T18" fmla="*/ 40 w 104"/>
              <a:gd name="T19" fmla="*/ 116 h 161"/>
              <a:gd name="T20" fmla="*/ 87 w 104"/>
              <a:gd name="T21" fmla="*/ 159 h 161"/>
              <a:gd name="T22" fmla="*/ 88 w 104"/>
              <a:gd name="T23" fmla="*/ 159 h 161"/>
              <a:gd name="T24" fmla="*/ 94 w 104"/>
              <a:gd name="T25" fmla="*/ 161 h 161"/>
              <a:gd name="T26" fmla="*/ 99 w 104"/>
              <a:gd name="T27" fmla="*/ 160 h 161"/>
              <a:gd name="T28" fmla="*/ 104 w 104"/>
              <a:gd name="T29" fmla="*/ 150 h 161"/>
              <a:gd name="T30" fmla="*/ 104 w 104"/>
              <a:gd name="T31" fmla="*/ 12 h 161"/>
              <a:gd name="T32" fmla="*/ 99 w 104"/>
              <a:gd name="T33" fmla="*/ 2 h 161"/>
              <a:gd name="T34" fmla="*/ 97 w 104"/>
              <a:gd name="T35" fmla="*/ 150 h 161"/>
              <a:gd name="T36" fmla="*/ 95 w 104"/>
              <a:gd name="T37" fmla="*/ 154 h 161"/>
              <a:gd name="T38" fmla="*/ 92 w 104"/>
              <a:gd name="T39" fmla="*/ 154 h 161"/>
              <a:gd name="T40" fmla="*/ 45 w 104"/>
              <a:gd name="T41" fmla="*/ 111 h 161"/>
              <a:gd name="T42" fmla="*/ 45 w 104"/>
              <a:gd name="T43" fmla="*/ 95 h 161"/>
              <a:gd name="T44" fmla="*/ 42 w 104"/>
              <a:gd name="T45" fmla="*/ 91 h 161"/>
              <a:gd name="T46" fmla="*/ 38 w 104"/>
              <a:gd name="T47" fmla="*/ 95 h 161"/>
              <a:gd name="T48" fmla="*/ 38 w 104"/>
              <a:gd name="T49" fmla="*/ 109 h 161"/>
              <a:gd name="T50" fmla="*/ 7 w 104"/>
              <a:gd name="T51" fmla="*/ 109 h 161"/>
              <a:gd name="T52" fmla="*/ 7 w 104"/>
              <a:gd name="T53" fmla="*/ 50 h 161"/>
              <a:gd name="T54" fmla="*/ 38 w 104"/>
              <a:gd name="T55" fmla="*/ 50 h 161"/>
              <a:gd name="T56" fmla="*/ 38 w 104"/>
              <a:gd name="T57" fmla="*/ 64 h 161"/>
              <a:gd name="T58" fmla="*/ 42 w 104"/>
              <a:gd name="T59" fmla="*/ 67 h 161"/>
              <a:gd name="T60" fmla="*/ 45 w 104"/>
              <a:gd name="T61" fmla="*/ 64 h 161"/>
              <a:gd name="T62" fmla="*/ 45 w 104"/>
              <a:gd name="T63" fmla="*/ 48 h 161"/>
              <a:gd name="T64" fmla="*/ 92 w 104"/>
              <a:gd name="T65" fmla="*/ 8 h 161"/>
              <a:gd name="T66" fmla="*/ 95 w 104"/>
              <a:gd name="T67" fmla="*/ 8 h 161"/>
              <a:gd name="T68" fmla="*/ 97 w 104"/>
              <a:gd name="T69" fmla="*/ 12 h 161"/>
              <a:gd name="T70" fmla="*/ 97 w 104"/>
              <a:gd name="T71" fmla="*/ 15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61">
                <a:moveTo>
                  <a:pt x="99" y="2"/>
                </a:moveTo>
                <a:cubicBezTo>
                  <a:pt x="95" y="0"/>
                  <a:pt x="91" y="1"/>
                  <a:pt x="88" y="3"/>
                </a:cubicBezTo>
                <a:cubicBezTo>
                  <a:pt x="88" y="3"/>
                  <a:pt x="88" y="3"/>
                  <a:pt x="88" y="3"/>
                </a:cubicBezTo>
                <a:cubicBezTo>
                  <a:pt x="40" y="43"/>
                  <a:pt x="40" y="43"/>
                  <a:pt x="40" y="43"/>
                </a:cubicBezTo>
                <a:cubicBezTo>
                  <a:pt x="3" y="43"/>
                  <a:pt x="3" y="43"/>
                  <a:pt x="3" y="43"/>
                </a:cubicBezTo>
                <a:cubicBezTo>
                  <a:pt x="2" y="43"/>
                  <a:pt x="0" y="44"/>
                  <a:pt x="0" y="46"/>
                </a:cubicBezTo>
                <a:cubicBezTo>
                  <a:pt x="0" y="112"/>
                  <a:pt x="0" y="112"/>
                  <a:pt x="0" y="112"/>
                </a:cubicBezTo>
                <a:cubicBezTo>
                  <a:pt x="0" y="113"/>
                  <a:pt x="0" y="114"/>
                  <a:pt x="1" y="115"/>
                </a:cubicBezTo>
                <a:cubicBezTo>
                  <a:pt x="2" y="115"/>
                  <a:pt x="3" y="116"/>
                  <a:pt x="3" y="116"/>
                </a:cubicBezTo>
                <a:cubicBezTo>
                  <a:pt x="40" y="116"/>
                  <a:pt x="40" y="116"/>
                  <a:pt x="40" y="116"/>
                </a:cubicBezTo>
                <a:cubicBezTo>
                  <a:pt x="87" y="159"/>
                  <a:pt x="87" y="159"/>
                  <a:pt x="87" y="159"/>
                </a:cubicBezTo>
                <a:cubicBezTo>
                  <a:pt x="88" y="159"/>
                  <a:pt x="88" y="159"/>
                  <a:pt x="88" y="159"/>
                </a:cubicBezTo>
                <a:cubicBezTo>
                  <a:pt x="90" y="160"/>
                  <a:pt x="92" y="161"/>
                  <a:pt x="94" y="161"/>
                </a:cubicBezTo>
                <a:cubicBezTo>
                  <a:pt x="95" y="161"/>
                  <a:pt x="97" y="161"/>
                  <a:pt x="99" y="160"/>
                </a:cubicBezTo>
                <a:cubicBezTo>
                  <a:pt x="102" y="158"/>
                  <a:pt x="104" y="154"/>
                  <a:pt x="104" y="150"/>
                </a:cubicBezTo>
                <a:cubicBezTo>
                  <a:pt x="104" y="12"/>
                  <a:pt x="104" y="12"/>
                  <a:pt x="104" y="12"/>
                </a:cubicBezTo>
                <a:cubicBezTo>
                  <a:pt x="104" y="8"/>
                  <a:pt x="102" y="4"/>
                  <a:pt x="99" y="2"/>
                </a:cubicBezTo>
                <a:close/>
                <a:moveTo>
                  <a:pt x="97" y="150"/>
                </a:moveTo>
                <a:cubicBezTo>
                  <a:pt x="97" y="152"/>
                  <a:pt x="97" y="153"/>
                  <a:pt x="95" y="154"/>
                </a:cubicBezTo>
                <a:cubicBezTo>
                  <a:pt x="95" y="154"/>
                  <a:pt x="93" y="154"/>
                  <a:pt x="92" y="154"/>
                </a:cubicBezTo>
                <a:cubicBezTo>
                  <a:pt x="45" y="111"/>
                  <a:pt x="45" y="111"/>
                  <a:pt x="45" y="111"/>
                </a:cubicBezTo>
                <a:cubicBezTo>
                  <a:pt x="45" y="95"/>
                  <a:pt x="45" y="95"/>
                  <a:pt x="45" y="95"/>
                </a:cubicBezTo>
                <a:cubicBezTo>
                  <a:pt x="45" y="93"/>
                  <a:pt x="44" y="91"/>
                  <a:pt x="42" y="91"/>
                </a:cubicBezTo>
                <a:cubicBezTo>
                  <a:pt x="40" y="91"/>
                  <a:pt x="38" y="93"/>
                  <a:pt x="38" y="95"/>
                </a:cubicBezTo>
                <a:cubicBezTo>
                  <a:pt x="38" y="109"/>
                  <a:pt x="38" y="109"/>
                  <a:pt x="38" y="109"/>
                </a:cubicBezTo>
                <a:cubicBezTo>
                  <a:pt x="7" y="109"/>
                  <a:pt x="7" y="109"/>
                  <a:pt x="7" y="109"/>
                </a:cubicBezTo>
                <a:cubicBezTo>
                  <a:pt x="7" y="50"/>
                  <a:pt x="7" y="50"/>
                  <a:pt x="7" y="50"/>
                </a:cubicBezTo>
                <a:cubicBezTo>
                  <a:pt x="38" y="50"/>
                  <a:pt x="38" y="50"/>
                  <a:pt x="38" y="50"/>
                </a:cubicBezTo>
                <a:cubicBezTo>
                  <a:pt x="38" y="64"/>
                  <a:pt x="38" y="64"/>
                  <a:pt x="38" y="64"/>
                </a:cubicBezTo>
                <a:cubicBezTo>
                  <a:pt x="38" y="66"/>
                  <a:pt x="40" y="67"/>
                  <a:pt x="42" y="67"/>
                </a:cubicBezTo>
                <a:cubicBezTo>
                  <a:pt x="44" y="67"/>
                  <a:pt x="45" y="66"/>
                  <a:pt x="45" y="64"/>
                </a:cubicBezTo>
                <a:cubicBezTo>
                  <a:pt x="45" y="48"/>
                  <a:pt x="45" y="48"/>
                  <a:pt x="45" y="48"/>
                </a:cubicBezTo>
                <a:cubicBezTo>
                  <a:pt x="92" y="8"/>
                  <a:pt x="92" y="8"/>
                  <a:pt x="92" y="8"/>
                </a:cubicBezTo>
                <a:cubicBezTo>
                  <a:pt x="93" y="8"/>
                  <a:pt x="95" y="8"/>
                  <a:pt x="95" y="8"/>
                </a:cubicBezTo>
                <a:cubicBezTo>
                  <a:pt x="97" y="9"/>
                  <a:pt x="97" y="10"/>
                  <a:pt x="97" y="12"/>
                </a:cubicBezTo>
                <a:lnTo>
                  <a:pt x="97" y="15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14">
            <a:extLst>
              <a:ext uri="{FF2B5EF4-FFF2-40B4-BE49-F238E27FC236}">
                <a16:creationId xmlns:a16="http://schemas.microsoft.com/office/drawing/2014/main" id="{C3B092A1-96D8-604E-A405-D1E663941C59}"/>
              </a:ext>
            </a:extLst>
          </p:cNvPr>
          <p:cNvSpPr>
            <a:spLocks noEditPoints="1"/>
          </p:cNvSpPr>
          <p:nvPr/>
        </p:nvSpPr>
        <p:spPr bwMode="auto">
          <a:xfrm>
            <a:off x="1637991" y="430213"/>
            <a:ext cx="601663" cy="514350"/>
          </a:xfrm>
          <a:custGeom>
            <a:avLst/>
            <a:gdLst>
              <a:gd name="T0" fmla="*/ 159 w 160"/>
              <a:gd name="T1" fmla="*/ 87 h 136"/>
              <a:gd name="T2" fmla="*/ 159 w 160"/>
              <a:gd name="T3" fmla="*/ 91 h 136"/>
              <a:gd name="T4" fmla="*/ 157 w 160"/>
              <a:gd name="T5" fmla="*/ 92 h 136"/>
              <a:gd name="T6" fmla="*/ 155 w 160"/>
              <a:gd name="T7" fmla="*/ 91 h 136"/>
              <a:gd name="T8" fmla="*/ 133 w 160"/>
              <a:gd name="T9" fmla="*/ 69 h 136"/>
              <a:gd name="T10" fmla="*/ 112 w 160"/>
              <a:gd name="T11" fmla="*/ 91 h 136"/>
              <a:gd name="T12" fmla="*/ 110 w 160"/>
              <a:gd name="T13" fmla="*/ 92 h 136"/>
              <a:gd name="T14" fmla="*/ 108 w 160"/>
              <a:gd name="T15" fmla="*/ 91 h 136"/>
              <a:gd name="T16" fmla="*/ 108 w 160"/>
              <a:gd name="T17" fmla="*/ 87 h 136"/>
              <a:gd name="T18" fmla="*/ 129 w 160"/>
              <a:gd name="T19" fmla="*/ 65 h 136"/>
              <a:gd name="T20" fmla="*/ 108 w 160"/>
              <a:gd name="T21" fmla="*/ 44 h 136"/>
              <a:gd name="T22" fmla="*/ 108 w 160"/>
              <a:gd name="T23" fmla="*/ 39 h 136"/>
              <a:gd name="T24" fmla="*/ 112 w 160"/>
              <a:gd name="T25" fmla="*/ 39 h 136"/>
              <a:gd name="T26" fmla="*/ 133 w 160"/>
              <a:gd name="T27" fmla="*/ 61 h 136"/>
              <a:gd name="T28" fmla="*/ 155 w 160"/>
              <a:gd name="T29" fmla="*/ 39 h 136"/>
              <a:gd name="T30" fmla="*/ 159 w 160"/>
              <a:gd name="T31" fmla="*/ 39 h 136"/>
              <a:gd name="T32" fmla="*/ 159 w 160"/>
              <a:gd name="T33" fmla="*/ 44 h 136"/>
              <a:gd name="T34" fmla="*/ 138 w 160"/>
              <a:gd name="T35" fmla="*/ 65 h 136"/>
              <a:gd name="T36" fmla="*/ 159 w 160"/>
              <a:gd name="T37" fmla="*/ 87 h 136"/>
              <a:gd name="T38" fmla="*/ 89 w 160"/>
              <a:gd name="T39" fmla="*/ 9 h 136"/>
              <a:gd name="T40" fmla="*/ 89 w 160"/>
              <a:gd name="T41" fmla="*/ 127 h 136"/>
              <a:gd name="T42" fmla="*/ 84 w 160"/>
              <a:gd name="T43" fmla="*/ 135 h 136"/>
              <a:gd name="T44" fmla="*/ 80 w 160"/>
              <a:gd name="T45" fmla="*/ 136 h 136"/>
              <a:gd name="T46" fmla="*/ 75 w 160"/>
              <a:gd name="T47" fmla="*/ 135 h 136"/>
              <a:gd name="T48" fmla="*/ 75 w 160"/>
              <a:gd name="T49" fmla="*/ 135 h 136"/>
              <a:gd name="T50" fmla="*/ 34 w 160"/>
              <a:gd name="T51" fmla="*/ 98 h 136"/>
              <a:gd name="T52" fmla="*/ 3 w 160"/>
              <a:gd name="T53" fmla="*/ 98 h 136"/>
              <a:gd name="T54" fmla="*/ 1 w 160"/>
              <a:gd name="T55" fmla="*/ 97 h 136"/>
              <a:gd name="T56" fmla="*/ 0 w 160"/>
              <a:gd name="T57" fmla="*/ 95 h 136"/>
              <a:gd name="T58" fmla="*/ 0 w 160"/>
              <a:gd name="T59" fmla="*/ 39 h 136"/>
              <a:gd name="T60" fmla="*/ 3 w 160"/>
              <a:gd name="T61" fmla="*/ 36 h 136"/>
              <a:gd name="T62" fmla="*/ 34 w 160"/>
              <a:gd name="T63" fmla="*/ 36 h 136"/>
              <a:gd name="T64" fmla="*/ 75 w 160"/>
              <a:gd name="T65" fmla="*/ 2 h 136"/>
              <a:gd name="T66" fmla="*/ 75 w 160"/>
              <a:gd name="T67" fmla="*/ 1 h 136"/>
              <a:gd name="T68" fmla="*/ 84 w 160"/>
              <a:gd name="T69" fmla="*/ 1 h 136"/>
              <a:gd name="T70" fmla="*/ 89 w 160"/>
              <a:gd name="T71" fmla="*/ 9 h 136"/>
              <a:gd name="T72" fmla="*/ 83 w 160"/>
              <a:gd name="T73" fmla="*/ 9 h 136"/>
              <a:gd name="T74" fmla="*/ 81 w 160"/>
              <a:gd name="T75" fmla="*/ 6 h 136"/>
              <a:gd name="T76" fmla="*/ 78 w 160"/>
              <a:gd name="T77" fmla="*/ 6 h 136"/>
              <a:gd name="T78" fmla="*/ 39 w 160"/>
              <a:gd name="T79" fmla="*/ 40 h 136"/>
              <a:gd name="T80" fmla="*/ 39 w 160"/>
              <a:gd name="T81" fmla="*/ 53 h 136"/>
              <a:gd name="T82" fmla="*/ 36 w 160"/>
              <a:gd name="T83" fmla="*/ 56 h 136"/>
              <a:gd name="T84" fmla="*/ 33 w 160"/>
              <a:gd name="T85" fmla="*/ 53 h 136"/>
              <a:gd name="T86" fmla="*/ 33 w 160"/>
              <a:gd name="T87" fmla="*/ 41 h 136"/>
              <a:gd name="T88" fmla="*/ 6 w 160"/>
              <a:gd name="T89" fmla="*/ 41 h 136"/>
              <a:gd name="T90" fmla="*/ 6 w 160"/>
              <a:gd name="T91" fmla="*/ 92 h 136"/>
              <a:gd name="T92" fmla="*/ 33 w 160"/>
              <a:gd name="T93" fmla="*/ 92 h 136"/>
              <a:gd name="T94" fmla="*/ 33 w 160"/>
              <a:gd name="T95" fmla="*/ 80 h 136"/>
              <a:gd name="T96" fmla="*/ 36 w 160"/>
              <a:gd name="T97" fmla="*/ 77 h 136"/>
              <a:gd name="T98" fmla="*/ 39 w 160"/>
              <a:gd name="T99" fmla="*/ 80 h 136"/>
              <a:gd name="T100" fmla="*/ 39 w 160"/>
              <a:gd name="T101" fmla="*/ 94 h 136"/>
              <a:gd name="T102" fmla="*/ 78 w 160"/>
              <a:gd name="T103" fmla="*/ 130 h 136"/>
              <a:gd name="T104" fmla="*/ 81 w 160"/>
              <a:gd name="T105" fmla="*/ 130 h 136"/>
              <a:gd name="T106" fmla="*/ 83 w 160"/>
              <a:gd name="T107" fmla="*/ 127 h 136"/>
              <a:gd name="T108" fmla="*/ 83 w 160"/>
              <a:gd name="T109" fmla="*/ 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36">
                <a:moveTo>
                  <a:pt x="159" y="87"/>
                </a:moveTo>
                <a:cubicBezTo>
                  <a:pt x="160" y="88"/>
                  <a:pt x="160" y="90"/>
                  <a:pt x="159" y="91"/>
                </a:cubicBezTo>
                <a:cubicBezTo>
                  <a:pt x="159" y="92"/>
                  <a:pt x="158" y="92"/>
                  <a:pt x="157" y="92"/>
                </a:cubicBezTo>
                <a:cubicBezTo>
                  <a:pt x="156" y="92"/>
                  <a:pt x="156" y="92"/>
                  <a:pt x="155" y="91"/>
                </a:cubicBezTo>
                <a:cubicBezTo>
                  <a:pt x="133" y="69"/>
                  <a:pt x="133" y="69"/>
                  <a:pt x="133" y="69"/>
                </a:cubicBezTo>
                <a:cubicBezTo>
                  <a:pt x="112" y="91"/>
                  <a:pt x="112" y="91"/>
                  <a:pt x="112" y="91"/>
                </a:cubicBezTo>
                <a:cubicBezTo>
                  <a:pt x="111" y="92"/>
                  <a:pt x="110" y="92"/>
                  <a:pt x="110" y="92"/>
                </a:cubicBezTo>
                <a:cubicBezTo>
                  <a:pt x="109" y="92"/>
                  <a:pt x="108" y="92"/>
                  <a:pt x="108" y="91"/>
                </a:cubicBezTo>
                <a:cubicBezTo>
                  <a:pt x="106" y="90"/>
                  <a:pt x="106" y="88"/>
                  <a:pt x="108" y="87"/>
                </a:cubicBezTo>
                <a:cubicBezTo>
                  <a:pt x="129" y="65"/>
                  <a:pt x="129" y="65"/>
                  <a:pt x="129" y="65"/>
                </a:cubicBezTo>
                <a:cubicBezTo>
                  <a:pt x="108" y="44"/>
                  <a:pt x="108" y="44"/>
                  <a:pt x="108" y="44"/>
                </a:cubicBezTo>
                <a:cubicBezTo>
                  <a:pt x="106" y="42"/>
                  <a:pt x="106" y="41"/>
                  <a:pt x="108" y="39"/>
                </a:cubicBezTo>
                <a:cubicBezTo>
                  <a:pt x="109" y="38"/>
                  <a:pt x="111" y="38"/>
                  <a:pt x="112" y="39"/>
                </a:cubicBezTo>
                <a:cubicBezTo>
                  <a:pt x="133" y="61"/>
                  <a:pt x="133" y="61"/>
                  <a:pt x="133" y="61"/>
                </a:cubicBezTo>
                <a:cubicBezTo>
                  <a:pt x="155" y="39"/>
                  <a:pt x="155" y="39"/>
                  <a:pt x="155" y="39"/>
                </a:cubicBezTo>
                <a:cubicBezTo>
                  <a:pt x="156" y="38"/>
                  <a:pt x="158" y="38"/>
                  <a:pt x="159" y="39"/>
                </a:cubicBezTo>
                <a:cubicBezTo>
                  <a:pt x="160" y="41"/>
                  <a:pt x="160" y="42"/>
                  <a:pt x="159" y="44"/>
                </a:cubicBezTo>
                <a:cubicBezTo>
                  <a:pt x="138" y="65"/>
                  <a:pt x="138" y="65"/>
                  <a:pt x="138" y="65"/>
                </a:cubicBezTo>
                <a:lnTo>
                  <a:pt x="159" y="87"/>
                </a:lnTo>
                <a:close/>
                <a:moveTo>
                  <a:pt x="89" y="9"/>
                </a:moveTo>
                <a:cubicBezTo>
                  <a:pt x="89" y="127"/>
                  <a:pt x="89" y="127"/>
                  <a:pt x="89" y="127"/>
                </a:cubicBezTo>
                <a:cubicBezTo>
                  <a:pt x="89" y="130"/>
                  <a:pt x="87" y="133"/>
                  <a:pt x="84" y="135"/>
                </a:cubicBezTo>
                <a:cubicBezTo>
                  <a:pt x="83" y="136"/>
                  <a:pt x="81" y="136"/>
                  <a:pt x="80" y="136"/>
                </a:cubicBezTo>
                <a:cubicBezTo>
                  <a:pt x="78" y="136"/>
                  <a:pt x="76" y="136"/>
                  <a:pt x="75" y="135"/>
                </a:cubicBezTo>
                <a:cubicBezTo>
                  <a:pt x="75" y="135"/>
                  <a:pt x="75" y="135"/>
                  <a:pt x="75" y="135"/>
                </a:cubicBezTo>
                <a:cubicBezTo>
                  <a:pt x="34" y="98"/>
                  <a:pt x="34" y="98"/>
                  <a:pt x="34" y="98"/>
                </a:cubicBezTo>
                <a:cubicBezTo>
                  <a:pt x="3" y="98"/>
                  <a:pt x="3" y="98"/>
                  <a:pt x="3" y="98"/>
                </a:cubicBezTo>
                <a:cubicBezTo>
                  <a:pt x="2" y="98"/>
                  <a:pt x="1" y="97"/>
                  <a:pt x="1" y="97"/>
                </a:cubicBezTo>
                <a:cubicBezTo>
                  <a:pt x="0" y="96"/>
                  <a:pt x="0" y="96"/>
                  <a:pt x="0" y="95"/>
                </a:cubicBezTo>
                <a:cubicBezTo>
                  <a:pt x="0" y="39"/>
                  <a:pt x="0" y="39"/>
                  <a:pt x="0" y="39"/>
                </a:cubicBezTo>
                <a:cubicBezTo>
                  <a:pt x="0" y="37"/>
                  <a:pt x="1" y="36"/>
                  <a:pt x="3" y="36"/>
                </a:cubicBezTo>
                <a:cubicBezTo>
                  <a:pt x="34" y="36"/>
                  <a:pt x="34" y="36"/>
                  <a:pt x="34" y="36"/>
                </a:cubicBezTo>
                <a:cubicBezTo>
                  <a:pt x="75" y="2"/>
                  <a:pt x="75" y="2"/>
                  <a:pt x="75" y="2"/>
                </a:cubicBezTo>
                <a:cubicBezTo>
                  <a:pt x="75" y="1"/>
                  <a:pt x="75" y="1"/>
                  <a:pt x="75" y="1"/>
                </a:cubicBezTo>
                <a:cubicBezTo>
                  <a:pt x="78" y="0"/>
                  <a:pt x="81" y="0"/>
                  <a:pt x="84" y="1"/>
                </a:cubicBezTo>
                <a:cubicBezTo>
                  <a:pt x="87" y="3"/>
                  <a:pt x="89" y="6"/>
                  <a:pt x="89" y="9"/>
                </a:cubicBezTo>
                <a:close/>
                <a:moveTo>
                  <a:pt x="83" y="9"/>
                </a:moveTo>
                <a:cubicBezTo>
                  <a:pt x="83" y="8"/>
                  <a:pt x="82" y="7"/>
                  <a:pt x="81" y="6"/>
                </a:cubicBezTo>
                <a:cubicBezTo>
                  <a:pt x="81" y="6"/>
                  <a:pt x="80" y="6"/>
                  <a:pt x="78" y="6"/>
                </a:cubicBezTo>
                <a:cubicBezTo>
                  <a:pt x="39" y="40"/>
                  <a:pt x="39" y="40"/>
                  <a:pt x="39" y="40"/>
                </a:cubicBezTo>
                <a:cubicBezTo>
                  <a:pt x="39" y="53"/>
                  <a:pt x="39" y="53"/>
                  <a:pt x="39" y="53"/>
                </a:cubicBezTo>
                <a:cubicBezTo>
                  <a:pt x="39" y="55"/>
                  <a:pt x="37" y="56"/>
                  <a:pt x="36" y="56"/>
                </a:cubicBezTo>
                <a:cubicBezTo>
                  <a:pt x="34" y="56"/>
                  <a:pt x="33" y="55"/>
                  <a:pt x="33" y="53"/>
                </a:cubicBezTo>
                <a:cubicBezTo>
                  <a:pt x="33" y="41"/>
                  <a:pt x="33" y="41"/>
                  <a:pt x="33" y="41"/>
                </a:cubicBezTo>
                <a:cubicBezTo>
                  <a:pt x="6" y="41"/>
                  <a:pt x="6" y="41"/>
                  <a:pt x="6" y="41"/>
                </a:cubicBezTo>
                <a:cubicBezTo>
                  <a:pt x="6" y="92"/>
                  <a:pt x="6" y="92"/>
                  <a:pt x="6" y="92"/>
                </a:cubicBezTo>
                <a:cubicBezTo>
                  <a:pt x="33" y="92"/>
                  <a:pt x="33" y="92"/>
                  <a:pt x="33" y="92"/>
                </a:cubicBezTo>
                <a:cubicBezTo>
                  <a:pt x="33" y="80"/>
                  <a:pt x="33" y="80"/>
                  <a:pt x="33" y="80"/>
                </a:cubicBezTo>
                <a:cubicBezTo>
                  <a:pt x="33" y="78"/>
                  <a:pt x="34" y="77"/>
                  <a:pt x="36" y="77"/>
                </a:cubicBezTo>
                <a:cubicBezTo>
                  <a:pt x="37" y="77"/>
                  <a:pt x="39" y="78"/>
                  <a:pt x="39" y="80"/>
                </a:cubicBezTo>
                <a:cubicBezTo>
                  <a:pt x="39" y="94"/>
                  <a:pt x="39" y="94"/>
                  <a:pt x="39" y="94"/>
                </a:cubicBezTo>
                <a:cubicBezTo>
                  <a:pt x="78" y="130"/>
                  <a:pt x="78" y="130"/>
                  <a:pt x="78" y="130"/>
                </a:cubicBezTo>
                <a:cubicBezTo>
                  <a:pt x="80" y="131"/>
                  <a:pt x="81" y="130"/>
                  <a:pt x="81" y="130"/>
                </a:cubicBezTo>
                <a:cubicBezTo>
                  <a:pt x="82" y="129"/>
                  <a:pt x="83" y="128"/>
                  <a:pt x="83" y="127"/>
                </a:cubicBezTo>
                <a:lnTo>
                  <a:pt x="83"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15">
            <a:extLst>
              <a:ext uri="{FF2B5EF4-FFF2-40B4-BE49-F238E27FC236}">
                <a16:creationId xmlns:a16="http://schemas.microsoft.com/office/drawing/2014/main" id="{D5EF170E-F711-7F46-B22C-AB03CF116DEB}"/>
              </a:ext>
            </a:extLst>
          </p:cNvPr>
          <p:cNvSpPr>
            <a:spLocks noEditPoints="1"/>
          </p:cNvSpPr>
          <p:nvPr/>
        </p:nvSpPr>
        <p:spPr bwMode="auto">
          <a:xfrm>
            <a:off x="1637991" y="1081088"/>
            <a:ext cx="601663" cy="604838"/>
          </a:xfrm>
          <a:custGeom>
            <a:avLst/>
            <a:gdLst>
              <a:gd name="T0" fmla="*/ 97 w 160"/>
              <a:gd name="T1" fmla="*/ 20 h 160"/>
              <a:gd name="T2" fmla="*/ 89 w 160"/>
              <a:gd name="T3" fmla="*/ 20 h 160"/>
              <a:gd name="T4" fmla="*/ 88 w 160"/>
              <a:gd name="T5" fmla="*/ 20 h 160"/>
              <a:gd name="T6" fmla="*/ 53 w 160"/>
              <a:gd name="T7" fmla="*/ 53 h 160"/>
              <a:gd name="T8" fmla="*/ 52 w 160"/>
              <a:gd name="T9" fmla="*/ 53 h 160"/>
              <a:gd name="T10" fmla="*/ 30 w 160"/>
              <a:gd name="T11" fmla="*/ 53 h 160"/>
              <a:gd name="T12" fmla="*/ 21 w 160"/>
              <a:gd name="T13" fmla="*/ 62 h 160"/>
              <a:gd name="T14" fmla="*/ 21 w 160"/>
              <a:gd name="T15" fmla="*/ 96 h 160"/>
              <a:gd name="T16" fmla="*/ 30 w 160"/>
              <a:gd name="T17" fmla="*/ 104 h 160"/>
              <a:gd name="T18" fmla="*/ 52 w 160"/>
              <a:gd name="T19" fmla="*/ 104 h 160"/>
              <a:gd name="T20" fmla="*/ 53 w 160"/>
              <a:gd name="T21" fmla="*/ 104 h 160"/>
              <a:gd name="T22" fmla="*/ 88 w 160"/>
              <a:gd name="T23" fmla="*/ 137 h 160"/>
              <a:gd name="T24" fmla="*/ 89 w 160"/>
              <a:gd name="T25" fmla="*/ 138 h 160"/>
              <a:gd name="T26" fmla="*/ 93 w 160"/>
              <a:gd name="T27" fmla="*/ 139 h 160"/>
              <a:gd name="T28" fmla="*/ 97 w 160"/>
              <a:gd name="T29" fmla="*/ 138 h 160"/>
              <a:gd name="T30" fmla="*/ 101 w 160"/>
              <a:gd name="T31" fmla="*/ 130 h 160"/>
              <a:gd name="T32" fmla="*/ 101 w 160"/>
              <a:gd name="T33" fmla="*/ 27 h 160"/>
              <a:gd name="T34" fmla="*/ 97 w 160"/>
              <a:gd name="T35" fmla="*/ 20 h 160"/>
              <a:gd name="T36" fmla="*/ 96 w 160"/>
              <a:gd name="T37" fmla="*/ 130 h 160"/>
              <a:gd name="T38" fmla="*/ 95 w 160"/>
              <a:gd name="T39" fmla="*/ 133 h 160"/>
              <a:gd name="T40" fmla="*/ 92 w 160"/>
              <a:gd name="T41" fmla="*/ 133 h 160"/>
              <a:gd name="T42" fmla="*/ 56 w 160"/>
              <a:gd name="T43" fmla="*/ 100 h 160"/>
              <a:gd name="T44" fmla="*/ 56 w 160"/>
              <a:gd name="T45" fmla="*/ 100 h 160"/>
              <a:gd name="T46" fmla="*/ 52 w 160"/>
              <a:gd name="T47" fmla="*/ 99 h 160"/>
              <a:gd name="T48" fmla="*/ 30 w 160"/>
              <a:gd name="T49" fmla="*/ 99 h 160"/>
              <a:gd name="T50" fmla="*/ 27 w 160"/>
              <a:gd name="T51" fmla="*/ 96 h 160"/>
              <a:gd name="T52" fmla="*/ 27 w 160"/>
              <a:gd name="T53" fmla="*/ 62 h 160"/>
              <a:gd name="T54" fmla="*/ 30 w 160"/>
              <a:gd name="T55" fmla="*/ 59 h 160"/>
              <a:gd name="T56" fmla="*/ 52 w 160"/>
              <a:gd name="T57" fmla="*/ 59 h 160"/>
              <a:gd name="T58" fmla="*/ 56 w 160"/>
              <a:gd name="T59" fmla="*/ 58 h 160"/>
              <a:gd name="T60" fmla="*/ 56 w 160"/>
              <a:gd name="T61" fmla="*/ 57 h 160"/>
              <a:gd name="T62" fmla="*/ 92 w 160"/>
              <a:gd name="T63" fmla="*/ 24 h 160"/>
              <a:gd name="T64" fmla="*/ 95 w 160"/>
              <a:gd name="T65" fmla="*/ 24 h 160"/>
              <a:gd name="T66" fmla="*/ 96 w 160"/>
              <a:gd name="T67" fmla="*/ 27 h 160"/>
              <a:gd name="T68" fmla="*/ 96 w 160"/>
              <a:gd name="T69" fmla="*/ 130 h 160"/>
              <a:gd name="T70" fmla="*/ 111 w 160"/>
              <a:gd name="T71" fmla="*/ 54 h 160"/>
              <a:gd name="T72" fmla="*/ 111 w 160"/>
              <a:gd name="T73" fmla="*/ 103 h 160"/>
              <a:gd name="T74" fmla="*/ 109 w 160"/>
              <a:gd name="T75" fmla="*/ 104 h 160"/>
              <a:gd name="T76" fmla="*/ 107 w 160"/>
              <a:gd name="T77" fmla="*/ 103 h 160"/>
              <a:gd name="T78" fmla="*/ 107 w 160"/>
              <a:gd name="T79" fmla="*/ 99 h 160"/>
              <a:gd name="T80" fmla="*/ 107 w 160"/>
              <a:gd name="T81" fmla="*/ 58 h 160"/>
              <a:gd name="T82" fmla="*/ 107 w 160"/>
              <a:gd name="T83" fmla="*/ 54 h 160"/>
              <a:gd name="T84" fmla="*/ 111 w 160"/>
              <a:gd name="T85" fmla="*/ 54 h 160"/>
              <a:gd name="T86" fmla="*/ 80 w 160"/>
              <a:gd name="T87" fmla="*/ 0 h 160"/>
              <a:gd name="T88" fmla="*/ 0 w 160"/>
              <a:gd name="T89" fmla="*/ 80 h 160"/>
              <a:gd name="T90" fmla="*/ 80 w 160"/>
              <a:gd name="T91" fmla="*/ 160 h 160"/>
              <a:gd name="T92" fmla="*/ 160 w 160"/>
              <a:gd name="T93" fmla="*/ 80 h 160"/>
              <a:gd name="T94" fmla="*/ 80 w 160"/>
              <a:gd name="T95" fmla="*/ 0 h 160"/>
              <a:gd name="T96" fmla="*/ 80 w 160"/>
              <a:gd name="T97" fmla="*/ 155 h 160"/>
              <a:gd name="T98" fmla="*/ 5 w 160"/>
              <a:gd name="T99" fmla="*/ 80 h 160"/>
              <a:gd name="T100" fmla="*/ 80 w 160"/>
              <a:gd name="T101" fmla="*/ 5 h 160"/>
              <a:gd name="T102" fmla="*/ 155 w 160"/>
              <a:gd name="T103" fmla="*/ 80 h 160"/>
              <a:gd name="T104" fmla="*/ 80 w 160"/>
              <a:gd name="T10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0" h="160">
                <a:moveTo>
                  <a:pt x="97" y="20"/>
                </a:moveTo>
                <a:cubicBezTo>
                  <a:pt x="95" y="18"/>
                  <a:pt x="91" y="18"/>
                  <a:pt x="89" y="20"/>
                </a:cubicBezTo>
                <a:cubicBezTo>
                  <a:pt x="89" y="20"/>
                  <a:pt x="89" y="20"/>
                  <a:pt x="88" y="20"/>
                </a:cubicBezTo>
                <a:cubicBezTo>
                  <a:pt x="53" y="53"/>
                  <a:pt x="53" y="53"/>
                  <a:pt x="53" y="53"/>
                </a:cubicBezTo>
                <a:cubicBezTo>
                  <a:pt x="53" y="53"/>
                  <a:pt x="52" y="53"/>
                  <a:pt x="52" y="53"/>
                </a:cubicBezTo>
                <a:cubicBezTo>
                  <a:pt x="30" y="53"/>
                  <a:pt x="30" y="53"/>
                  <a:pt x="30" y="53"/>
                </a:cubicBezTo>
                <a:cubicBezTo>
                  <a:pt x="25" y="53"/>
                  <a:pt x="21" y="57"/>
                  <a:pt x="21" y="62"/>
                </a:cubicBezTo>
                <a:cubicBezTo>
                  <a:pt x="21" y="96"/>
                  <a:pt x="21" y="96"/>
                  <a:pt x="21" y="96"/>
                </a:cubicBezTo>
                <a:cubicBezTo>
                  <a:pt x="21" y="100"/>
                  <a:pt x="25" y="104"/>
                  <a:pt x="30" y="104"/>
                </a:cubicBezTo>
                <a:cubicBezTo>
                  <a:pt x="52" y="104"/>
                  <a:pt x="52" y="104"/>
                  <a:pt x="52" y="104"/>
                </a:cubicBezTo>
                <a:cubicBezTo>
                  <a:pt x="52" y="104"/>
                  <a:pt x="53" y="104"/>
                  <a:pt x="53" y="104"/>
                </a:cubicBezTo>
                <a:cubicBezTo>
                  <a:pt x="88" y="137"/>
                  <a:pt x="88" y="137"/>
                  <a:pt x="88" y="137"/>
                </a:cubicBezTo>
                <a:cubicBezTo>
                  <a:pt x="89" y="137"/>
                  <a:pt x="89" y="137"/>
                  <a:pt x="89" y="138"/>
                </a:cubicBezTo>
                <a:cubicBezTo>
                  <a:pt x="90" y="138"/>
                  <a:pt x="92" y="139"/>
                  <a:pt x="93" y="139"/>
                </a:cubicBezTo>
                <a:cubicBezTo>
                  <a:pt x="94" y="139"/>
                  <a:pt x="96" y="138"/>
                  <a:pt x="97" y="138"/>
                </a:cubicBezTo>
                <a:cubicBezTo>
                  <a:pt x="100" y="136"/>
                  <a:pt x="101" y="133"/>
                  <a:pt x="101" y="130"/>
                </a:cubicBezTo>
                <a:cubicBezTo>
                  <a:pt x="101" y="27"/>
                  <a:pt x="101" y="27"/>
                  <a:pt x="101" y="27"/>
                </a:cubicBezTo>
                <a:cubicBezTo>
                  <a:pt x="101" y="24"/>
                  <a:pt x="100" y="21"/>
                  <a:pt x="97" y="20"/>
                </a:cubicBezTo>
                <a:close/>
                <a:moveTo>
                  <a:pt x="96" y="130"/>
                </a:moveTo>
                <a:cubicBezTo>
                  <a:pt x="96" y="132"/>
                  <a:pt x="95" y="133"/>
                  <a:pt x="95" y="133"/>
                </a:cubicBezTo>
                <a:cubicBezTo>
                  <a:pt x="94" y="133"/>
                  <a:pt x="93" y="134"/>
                  <a:pt x="92" y="133"/>
                </a:cubicBezTo>
                <a:cubicBezTo>
                  <a:pt x="56" y="100"/>
                  <a:pt x="56" y="100"/>
                  <a:pt x="56" y="100"/>
                </a:cubicBezTo>
                <a:cubicBezTo>
                  <a:pt x="56" y="100"/>
                  <a:pt x="56" y="100"/>
                  <a:pt x="56" y="100"/>
                </a:cubicBezTo>
                <a:cubicBezTo>
                  <a:pt x="55" y="99"/>
                  <a:pt x="53" y="99"/>
                  <a:pt x="52" y="99"/>
                </a:cubicBezTo>
                <a:cubicBezTo>
                  <a:pt x="30" y="99"/>
                  <a:pt x="30" y="99"/>
                  <a:pt x="30" y="99"/>
                </a:cubicBezTo>
                <a:cubicBezTo>
                  <a:pt x="28" y="99"/>
                  <a:pt x="27" y="97"/>
                  <a:pt x="27" y="96"/>
                </a:cubicBezTo>
                <a:cubicBezTo>
                  <a:pt x="27" y="62"/>
                  <a:pt x="27" y="62"/>
                  <a:pt x="27" y="62"/>
                </a:cubicBezTo>
                <a:cubicBezTo>
                  <a:pt x="27" y="60"/>
                  <a:pt x="28" y="59"/>
                  <a:pt x="30" y="59"/>
                </a:cubicBezTo>
                <a:cubicBezTo>
                  <a:pt x="52" y="59"/>
                  <a:pt x="52" y="59"/>
                  <a:pt x="52" y="59"/>
                </a:cubicBezTo>
                <a:cubicBezTo>
                  <a:pt x="53" y="59"/>
                  <a:pt x="55" y="58"/>
                  <a:pt x="56" y="58"/>
                </a:cubicBezTo>
                <a:cubicBezTo>
                  <a:pt x="56" y="57"/>
                  <a:pt x="56" y="57"/>
                  <a:pt x="56" y="57"/>
                </a:cubicBezTo>
                <a:cubicBezTo>
                  <a:pt x="92" y="24"/>
                  <a:pt x="92" y="24"/>
                  <a:pt x="92" y="24"/>
                </a:cubicBezTo>
                <a:cubicBezTo>
                  <a:pt x="93" y="24"/>
                  <a:pt x="94" y="24"/>
                  <a:pt x="95" y="24"/>
                </a:cubicBezTo>
                <a:cubicBezTo>
                  <a:pt x="95" y="25"/>
                  <a:pt x="96" y="25"/>
                  <a:pt x="96" y="27"/>
                </a:cubicBezTo>
                <a:lnTo>
                  <a:pt x="96" y="130"/>
                </a:lnTo>
                <a:close/>
                <a:moveTo>
                  <a:pt x="111" y="54"/>
                </a:moveTo>
                <a:cubicBezTo>
                  <a:pt x="125" y="68"/>
                  <a:pt x="125" y="90"/>
                  <a:pt x="111" y="103"/>
                </a:cubicBezTo>
                <a:cubicBezTo>
                  <a:pt x="111" y="104"/>
                  <a:pt x="110" y="104"/>
                  <a:pt x="109" y="104"/>
                </a:cubicBezTo>
                <a:cubicBezTo>
                  <a:pt x="109" y="104"/>
                  <a:pt x="108" y="104"/>
                  <a:pt x="107" y="103"/>
                </a:cubicBezTo>
                <a:cubicBezTo>
                  <a:pt x="106" y="102"/>
                  <a:pt x="106" y="100"/>
                  <a:pt x="107" y="99"/>
                </a:cubicBezTo>
                <a:cubicBezTo>
                  <a:pt x="119" y="88"/>
                  <a:pt x="119" y="69"/>
                  <a:pt x="107" y="58"/>
                </a:cubicBezTo>
                <a:cubicBezTo>
                  <a:pt x="106" y="57"/>
                  <a:pt x="106" y="55"/>
                  <a:pt x="107" y="54"/>
                </a:cubicBezTo>
                <a:cubicBezTo>
                  <a:pt x="108" y="53"/>
                  <a:pt x="110" y="53"/>
                  <a:pt x="111" y="54"/>
                </a:cubicBez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16">
            <a:extLst>
              <a:ext uri="{FF2B5EF4-FFF2-40B4-BE49-F238E27FC236}">
                <a16:creationId xmlns:a16="http://schemas.microsoft.com/office/drawing/2014/main" id="{90637CB0-3A7E-0244-9214-98A0936C5FF8}"/>
              </a:ext>
            </a:extLst>
          </p:cNvPr>
          <p:cNvSpPr>
            <a:spLocks noEditPoints="1"/>
          </p:cNvSpPr>
          <p:nvPr/>
        </p:nvSpPr>
        <p:spPr bwMode="auto">
          <a:xfrm>
            <a:off x="1637991" y="1762125"/>
            <a:ext cx="601663" cy="604838"/>
          </a:xfrm>
          <a:custGeom>
            <a:avLst/>
            <a:gdLst>
              <a:gd name="T0" fmla="*/ 157 w 160"/>
              <a:gd name="T1" fmla="*/ 25 h 160"/>
              <a:gd name="T2" fmla="*/ 160 w 160"/>
              <a:gd name="T3" fmla="*/ 17 h 160"/>
              <a:gd name="T4" fmla="*/ 88 w 160"/>
              <a:gd name="T5" fmla="*/ 15 h 160"/>
              <a:gd name="T6" fmla="*/ 72 w 160"/>
              <a:gd name="T7" fmla="*/ 15 h 160"/>
              <a:gd name="T8" fmla="*/ 0 w 160"/>
              <a:gd name="T9" fmla="*/ 17 h 160"/>
              <a:gd name="T10" fmla="*/ 4 w 160"/>
              <a:gd name="T11" fmla="*/ 26 h 160"/>
              <a:gd name="T12" fmla="*/ 1 w 160"/>
              <a:gd name="T13" fmla="*/ 159 h 160"/>
              <a:gd name="T14" fmla="*/ 80 w 160"/>
              <a:gd name="T15" fmla="*/ 93 h 160"/>
              <a:gd name="T16" fmla="*/ 159 w 160"/>
              <a:gd name="T17" fmla="*/ 159 h 160"/>
              <a:gd name="T18" fmla="*/ 124 w 160"/>
              <a:gd name="T19" fmla="*/ 5 h 160"/>
              <a:gd name="T20" fmla="*/ 155 w 160"/>
              <a:gd name="T21" fmla="*/ 17 h 160"/>
              <a:gd name="T22" fmla="*/ 153 w 160"/>
              <a:gd name="T23" fmla="*/ 21 h 160"/>
              <a:gd name="T24" fmla="*/ 141 w 160"/>
              <a:gd name="T25" fmla="*/ 27 h 160"/>
              <a:gd name="T26" fmla="*/ 137 w 160"/>
              <a:gd name="T27" fmla="*/ 28 h 160"/>
              <a:gd name="T28" fmla="*/ 133 w 160"/>
              <a:gd name="T29" fmla="*/ 29 h 160"/>
              <a:gd name="T30" fmla="*/ 128 w 160"/>
              <a:gd name="T31" fmla="*/ 29 h 160"/>
              <a:gd name="T32" fmla="*/ 93 w 160"/>
              <a:gd name="T33" fmla="*/ 17 h 160"/>
              <a:gd name="T34" fmla="*/ 67 w 160"/>
              <a:gd name="T35" fmla="*/ 17 h 160"/>
              <a:gd name="T36" fmla="*/ 32 w 160"/>
              <a:gd name="T37" fmla="*/ 29 h 160"/>
              <a:gd name="T38" fmla="*/ 27 w 160"/>
              <a:gd name="T39" fmla="*/ 29 h 160"/>
              <a:gd name="T40" fmla="*/ 23 w 160"/>
              <a:gd name="T41" fmla="*/ 28 h 160"/>
              <a:gd name="T42" fmla="*/ 19 w 160"/>
              <a:gd name="T43" fmla="*/ 27 h 160"/>
              <a:gd name="T44" fmla="*/ 7 w 160"/>
              <a:gd name="T45" fmla="*/ 21 h 160"/>
              <a:gd name="T46" fmla="*/ 36 w 160"/>
              <a:gd name="T47" fmla="*/ 5 h 160"/>
              <a:gd name="T48" fmla="*/ 32 w 160"/>
              <a:gd name="T49" fmla="*/ 35 h 160"/>
              <a:gd name="T50" fmla="*/ 41 w 160"/>
              <a:gd name="T51" fmla="*/ 35 h 160"/>
              <a:gd name="T52" fmla="*/ 46 w 160"/>
              <a:gd name="T53" fmla="*/ 34 h 160"/>
              <a:gd name="T54" fmla="*/ 50 w 160"/>
              <a:gd name="T55" fmla="*/ 33 h 160"/>
              <a:gd name="T56" fmla="*/ 56 w 160"/>
              <a:gd name="T57" fmla="*/ 32 h 160"/>
              <a:gd name="T58" fmla="*/ 59 w 160"/>
              <a:gd name="T59" fmla="*/ 31 h 160"/>
              <a:gd name="T60" fmla="*/ 64 w 160"/>
              <a:gd name="T61" fmla="*/ 29 h 160"/>
              <a:gd name="T62" fmla="*/ 66 w 160"/>
              <a:gd name="T63" fmla="*/ 27 h 160"/>
              <a:gd name="T64" fmla="*/ 69 w 160"/>
              <a:gd name="T65" fmla="*/ 25 h 160"/>
              <a:gd name="T66" fmla="*/ 77 w 160"/>
              <a:gd name="T67" fmla="*/ 33 h 160"/>
              <a:gd name="T68" fmla="*/ 19 w 160"/>
              <a:gd name="T69" fmla="*/ 33 h 160"/>
              <a:gd name="T70" fmla="*/ 82 w 160"/>
              <a:gd name="T71" fmla="*/ 35 h 160"/>
              <a:gd name="T72" fmla="*/ 91 w 160"/>
              <a:gd name="T73" fmla="*/ 24 h 160"/>
              <a:gd name="T74" fmla="*/ 93 w 160"/>
              <a:gd name="T75" fmla="*/ 26 h 160"/>
              <a:gd name="T76" fmla="*/ 96 w 160"/>
              <a:gd name="T77" fmla="*/ 28 h 160"/>
              <a:gd name="T78" fmla="*/ 99 w 160"/>
              <a:gd name="T79" fmla="*/ 30 h 160"/>
              <a:gd name="T80" fmla="*/ 103 w 160"/>
              <a:gd name="T81" fmla="*/ 32 h 160"/>
              <a:gd name="T82" fmla="*/ 107 w 160"/>
              <a:gd name="T83" fmla="*/ 33 h 160"/>
              <a:gd name="T84" fmla="*/ 113 w 160"/>
              <a:gd name="T85" fmla="*/ 34 h 160"/>
              <a:gd name="T86" fmla="*/ 117 w 160"/>
              <a:gd name="T87" fmla="*/ 34 h 160"/>
              <a:gd name="T88" fmla="*/ 124 w 160"/>
              <a:gd name="T89" fmla="*/ 35 h 160"/>
              <a:gd name="T90" fmla="*/ 141 w 160"/>
              <a:gd name="T91" fmla="*/ 33 h 160"/>
              <a:gd name="T92" fmla="*/ 78 w 160"/>
              <a:gd name="T93" fmla="*/ 87 h 160"/>
              <a:gd name="T94" fmla="*/ 60 w 160"/>
              <a:gd name="T95" fmla="*/ 71 h 160"/>
              <a:gd name="T96" fmla="*/ 146 w 160"/>
              <a:gd name="T97" fmla="*/ 1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60">
                <a:moveTo>
                  <a:pt x="106" y="70"/>
                </a:moveTo>
                <a:cubicBezTo>
                  <a:pt x="156" y="26"/>
                  <a:pt x="156" y="26"/>
                  <a:pt x="156" y="26"/>
                </a:cubicBezTo>
                <a:cubicBezTo>
                  <a:pt x="157" y="26"/>
                  <a:pt x="157" y="25"/>
                  <a:pt x="157" y="25"/>
                </a:cubicBezTo>
                <a:cubicBezTo>
                  <a:pt x="158" y="24"/>
                  <a:pt x="158" y="24"/>
                  <a:pt x="158" y="24"/>
                </a:cubicBezTo>
                <a:cubicBezTo>
                  <a:pt x="159" y="22"/>
                  <a:pt x="160" y="20"/>
                  <a:pt x="160" y="17"/>
                </a:cubicBezTo>
                <a:cubicBezTo>
                  <a:pt x="160" y="17"/>
                  <a:pt x="160" y="17"/>
                  <a:pt x="160" y="17"/>
                </a:cubicBezTo>
                <a:cubicBezTo>
                  <a:pt x="160" y="16"/>
                  <a:pt x="160" y="15"/>
                  <a:pt x="160" y="15"/>
                </a:cubicBezTo>
                <a:cubicBezTo>
                  <a:pt x="157" y="6"/>
                  <a:pt x="143" y="0"/>
                  <a:pt x="124" y="0"/>
                </a:cubicBezTo>
                <a:cubicBezTo>
                  <a:pt x="105" y="0"/>
                  <a:pt x="91" y="6"/>
                  <a:pt x="88" y="15"/>
                </a:cubicBezTo>
                <a:cubicBezTo>
                  <a:pt x="88" y="15"/>
                  <a:pt x="88" y="15"/>
                  <a:pt x="88" y="15"/>
                </a:cubicBezTo>
                <a:cubicBezTo>
                  <a:pt x="80" y="28"/>
                  <a:pt x="80" y="28"/>
                  <a:pt x="80" y="28"/>
                </a:cubicBezTo>
                <a:cubicBezTo>
                  <a:pt x="72" y="15"/>
                  <a:pt x="72" y="15"/>
                  <a:pt x="72" y="15"/>
                </a:cubicBezTo>
                <a:cubicBezTo>
                  <a:pt x="72" y="15"/>
                  <a:pt x="72" y="15"/>
                  <a:pt x="72" y="15"/>
                </a:cubicBezTo>
                <a:cubicBezTo>
                  <a:pt x="69" y="6"/>
                  <a:pt x="55" y="0"/>
                  <a:pt x="36" y="0"/>
                </a:cubicBezTo>
                <a:cubicBezTo>
                  <a:pt x="15" y="0"/>
                  <a:pt x="0" y="7"/>
                  <a:pt x="0" y="17"/>
                </a:cubicBezTo>
                <a:cubicBezTo>
                  <a:pt x="0" y="20"/>
                  <a:pt x="1" y="22"/>
                  <a:pt x="2" y="24"/>
                </a:cubicBezTo>
                <a:cubicBezTo>
                  <a:pt x="3" y="25"/>
                  <a:pt x="3" y="25"/>
                  <a:pt x="3" y="25"/>
                </a:cubicBezTo>
                <a:cubicBezTo>
                  <a:pt x="3" y="25"/>
                  <a:pt x="3" y="26"/>
                  <a:pt x="4" y="26"/>
                </a:cubicBezTo>
                <a:cubicBezTo>
                  <a:pt x="54" y="70"/>
                  <a:pt x="54" y="70"/>
                  <a:pt x="54" y="70"/>
                </a:cubicBezTo>
                <a:cubicBezTo>
                  <a:pt x="0" y="156"/>
                  <a:pt x="0" y="156"/>
                  <a:pt x="0" y="156"/>
                </a:cubicBezTo>
                <a:cubicBezTo>
                  <a:pt x="0" y="157"/>
                  <a:pt x="0" y="159"/>
                  <a:pt x="1" y="159"/>
                </a:cubicBezTo>
                <a:cubicBezTo>
                  <a:pt x="1" y="160"/>
                  <a:pt x="2" y="160"/>
                  <a:pt x="3" y="160"/>
                </a:cubicBezTo>
                <a:cubicBezTo>
                  <a:pt x="3" y="160"/>
                  <a:pt x="4" y="160"/>
                  <a:pt x="4" y="159"/>
                </a:cubicBezTo>
                <a:cubicBezTo>
                  <a:pt x="80" y="93"/>
                  <a:pt x="80" y="93"/>
                  <a:pt x="80" y="93"/>
                </a:cubicBezTo>
                <a:cubicBezTo>
                  <a:pt x="156" y="159"/>
                  <a:pt x="156" y="159"/>
                  <a:pt x="156" y="159"/>
                </a:cubicBezTo>
                <a:cubicBezTo>
                  <a:pt x="156" y="160"/>
                  <a:pt x="157" y="160"/>
                  <a:pt x="157" y="160"/>
                </a:cubicBezTo>
                <a:cubicBezTo>
                  <a:pt x="158" y="160"/>
                  <a:pt x="159" y="160"/>
                  <a:pt x="159" y="159"/>
                </a:cubicBezTo>
                <a:cubicBezTo>
                  <a:pt x="160" y="159"/>
                  <a:pt x="160" y="157"/>
                  <a:pt x="160" y="156"/>
                </a:cubicBezTo>
                <a:lnTo>
                  <a:pt x="106" y="70"/>
                </a:lnTo>
                <a:close/>
                <a:moveTo>
                  <a:pt x="124" y="5"/>
                </a:moveTo>
                <a:cubicBezTo>
                  <a:pt x="141" y="5"/>
                  <a:pt x="154" y="11"/>
                  <a:pt x="155" y="17"/>
                </a:cubicBezTo>
                <a:cubicBezTo>
                  <a:pt x="155" y="17"/>
                  <a:pt x="155" y="17"/>
                  <a:pt x="155" y="17"/>
                </a:cubicBezTo>
                <a:cubicBezTo>
                  <a:pt x="155" y="17"/>
                  <a:pt x="155" y="17"/>
                  <a:pt x="155" y="17"/>
                </a:cubicBezTo>
                <a:cubicBezTo>
                  <a:pt x="155" y="17"/>
                  <a:pt x="155" y="17"/>
                  <a:pt x="155" y="17"/>
                </a:cubicBezTo>
                <a:cubicBezTo>
                  <a:pt x="155" y="18"/>
                  <a:pt x="154" y="20"/>
                  <a:pt x="153" y="21"/>
                </a:cubicBezTo>
                <a:cubicBezTo>
                  <a:pt x="153" y="21"/>
                  <a:pt x="153" y="21"/>
                  <a:pt x="153" y="21"/>
                </a:cubicBezTo>
                <a:cubicBezTo>
                  <a:pt x="151" y="23"/>
                  <a:pt x="148" y="25"/>
                  <a:pt x="143" y="27"/>
                </a:cubicBezTo>
                <a:cubicBezTo>
                  <a:pt x="143" y="27"/>
                  <a:pt x="143" y="27"/>
                  <a:pt x="143" y="27"/>
                </a:cubicBezTo>
                <a:cubicBezTo>
                  <a:pt x="142" y="27"/>
                  <a:pt x="142" y="27"/>
                  <a:pt x="141" y="27"/>
                </a:cubicBezTo>
                <a:cubicBezTo>
                  <a:pt x="141" y="27"/>
                  <a:pt x="141" y="27"/>
                  <a:pt x="140" y="27"/>
                </a:cubicBezTo>
                <a:cubicBezTo>
                  <a:pt x="140" y="27"/>
                  <a:pt x="139" y="28"/>
                  <a:pt x="139" y="28"/>
                </a:cubicBezTo>
                <a:cubicBezTo>
                  <a:pt x="138" y="28"/>
                  <a:pt x="137" y="28"/>
                  <a:pt x="137" y="28"/>
                </a:cubicBezTo>
                <a:cubicBezTo>
                  <a:pt x="136" y="28"/>
                  <a:pt x="136" y="28"/>
                  <a:pt x="136" y="28"/>
                </a:cubicBezTo>
                <a:cubicBezTo>
                  <a:pt x="135" y="28"/>
                  <a:pt x="135" y="29"/>
                  <a:pt x="134" y="29"/>
                </a:cubicBezTo>
                <a:cubicBezTo>
                  <a:pt x="134" y="29"/>
                  <a:pt x="133" y="29"/>
                  <a:pt x="133" y="29"/>
                </a:cubicBezTo>
                <a:cubicBezTo>
                  <a:pt x="132" y="29"/>
                  <a:pt x="132" y="29"/>
                  <a:pt x="131" y="29"/>
                </a:cubicBezTo>
                <a:cubicBezTo>
                  <a:pt x="131" y="29"/>
                  <a:pt x="130" y="29"/>
                  <a:pt x="130" y="29"/>
                </a:cubicBezTo>
                <a:cubicBezTo>
                  <a:pt x="129" y="29"/>
                  <a:pt x="129" y="29"/>
                  <a:pt x="128" y="29"/>
                </a:cubicBezTo>
                <a:cubicBezTo>
                  <a:pt x="128" y="29"/>
                  <a:pt x="127" y="29"/>
                  <a:pt x="127" y="29"/>
                </a:cubicBezTo>
                <a:cubicBezTo>
                  <a:pt x="126" y="29"/>
                  <a:pt x="125" y="29"/>
                  <a:pt x="124" y="29"/>
                </a:cubicBezTo>
                <a:cubicBezTo>
                  <a:pt x="106" y="29"/>
                  <a:pt x="93" y="23"/>
                  <a:pt x="93" y="17"/>
                </a:cubicBezTo>
                <a:cubicBezTo>
                  <a:pt x="93" y="12"/>
                  <a:pt x="106" y="5"/>
                  <a:pt x="124" y="5"/>
                </a:cubicBezTo>
                <a:close/>
                <a:moveTo>
                  <a:pt x="36" y="5"/>
                </a:moveTo>
                <a:cubicBezTo>
                  <a:pt x="54" y="5"/>
                  <a:pt x="67" y="12"/>
                  <a:pt x="67" y="17"/>
                </a:cubicBezTo>
                <a:cubicBezTo>
                  <a:pt x="67" y="23"/>
                  <a:pt x="54" y="29"/>
                  <a:pt x="36" y="29"/>
                </a:cubicBezTo>
                <a:cubicBezTo>
                  <a:pt x="35" y="29"/>
                  <a:pt x="34" y="29"/>
                  <a:pt x="33" y="29"/>
                </a:cubicBezTo>
                <a:cubicBezTo>
                  <a:pt x="33" y="29"/>
                  <a:pt x="32" y="29"/>
                  <a:pt x="32" y="29"/>
                </a:cubicBezTo>
                <a:cubicBezTo>
                  <a:pt x="31" y="29"/>
                  <a:pt x="31" y="29"/>
                  <a:pt x="30" y="29"/>
                </a:cubicBezTo>
                <a:cubicBezTo>
                  <a:pt x="30" y="29"/>
                  <a:pt x="29" y="29"/>
                  <a:pt x="29" y="29"/>
                </a:cubicBezTo>
                <a:cubicBezTo>
                  <a:pt x="28" y="29"/>
                  <a:pt x="28" y="29"/>
                  <a:pt x="27" y="29"/>
                </a:cubicBezTo>
                <a:cubicBezTo>
                  <a:pt x="27" y="29"/>
                  <a:pt x="26" y="29"/>
                  <a:pt x="26" y="29"/>
                </a:cubicBezTo>
                <a:cubicBezTo>
                  <a:pt x="25" y="29"/>
                  <a:pt x="25" y="28"/>
                  <a:pt x="24" y="28"/>
                </a:cubicBezTo>
                <a:cubicBezTo>
                  <a:pt x="24" y="28"/>
                  <a:pt x="24" y="28"/>
                  <a:pt x="23" y="28"/>
                </a:cubicBezTo>
                <a:cubicBezTo>
                  <a:pt x="23" y="28"/>
                  <a:pt x="22" y="28"/>
                  <a:pt x="21" y="28"/>
                </a:cubicBezTo>
                <a:cubicBezTo>
                  <a:pt x="21" y="28"/>
                  <a:pt x="20" y="27"/>
                  <a:pt x="20" y="27"/>
                </a:cubicBezTo>
                <a:cubicBezTo>
                  <a:pt x="19" y="27"/>
                  <a:pt x="19" y="27"/>
                  <a:pt x="19" y="27"/>
                </a:cubicBezTo>
                <a:cubicBezTo>
                  <a:pt x="18" y="27"/>
                  <a:pt x="18" y="27"/>
                  <a:pt x="17" y="27"/>
                </a:cubicBezTo>
                <a:cubicBezTo>
                  <a:pt x="17" y="27"/>
                  <a:pt x="17" y="27"/>
                  <a:pt x="17" y="27"/>
                </a:cubicBezTo>
                <a:cubicBezTo>
                  <a:pt x="12" y="25"/>
                  <a:pt x="9" y="23"/>
                  <a:pt x="7" y="21"/>
                </a:cubicBezTo>
                <a:cubicBezTo>
                  <a:pt x="7" y="21"/>
                  <a:pt x="7" y="21"/>
                  <a:pt x="7" y="21"/>
                </a:cubicBezTo>
                <a:cubicBezTo>
                  <a:pt x="6" y="20"/>
                  <a:pt x="5" y="18"/>
                  <a:pt x="5" y="17"/>
                </a:cubicBezTo>
                <a:cubicBezTo>
                  <a:pt x="5" y="12"/>
                  <a:pt x="18" y="5"/>
                  <a:pt x="36" y="5"/>
                </a:cubicBezTo>
                <a:close/>
                <a:moveTo>
                  <a:pt x="19" y="33"/>
                </a:moveTo>
                <a:cubicBezTo>
                  <a:pt x="23" y="34"/>
                  <a:pt x="27" y="34"/>
                  <a:pt x="31" y="35"/>
                </a:cubicBezTo>
                <a:cubicBezTo>
                  <a:pt x="31" y="35"/>
                  <a:pt x="32" y="35"/>
                  <a:pt x="32" y="35"/>
                </a:cubicBezTo>
                <a:cubicBezTo>
                  <a:pt x="33" y="35"/>
                  <a:pt x="35" y="35"/>
                  <a:pt x="36" y="35"/>
                </a:cubicBezTo>
                <a:cubicBezTo>
                  <a:pt x="37" y="35"/>
                  <a:pt x="38" y="35"/>
                  <a:pt x="39" y="35"/>
                </a:cubicBezTo>
                <a:cubicBezTo>
                  <a:pt x="40" y="35"/>
                  <a:pt x="40" y="35"/>
                  <a:pt x="41" y="35"/>
                </a:cubicBezTo>
                <a:cubicBezTo>
                  <a:pt x="41" y="34"/>
                  <a:pt x="42" y="34"/>
                  <a:pt x="43" y="34"/>
                </a:cubicBezTo>
                <a:cubicBezTo>
                  <a:pt x="43" y="34"/>
                  <a:pt x="44" y="34"/>
                  <a:pt x="44" y="34"/>
                </a:cubicBezTo>
                <a:cubicBezTo>
                  <a:pt x="45" y="34"/>
                  <a:pt x="46" y="34"/>
                  <a:pt x="46" y="34"/>
                </a:cubicBezTo>
                <a:cubicBezTo>
                  <a:pt x="47" y="34"/>
                  <a:pt x="47" y="34"/>
                  <a:pt x="47" y="34"/>
                </a:cubicBezTo>
                <a:cubicBezTo>
                  <a:pt x="48" y="34"/>
                  <a:pt x="49" y="34"/>
                  <a:pt x="50" y="33"/>
                </a:cubicBezTo>
                <a:cubicBezTo>
                  <a:pt x="50" y="33"/>
                  <a:pt x="50" y="33"/>
                  <a:pt x="50" y="33"/>
                </a:cubicBezTo>
                <a:cubicBezTo>
                  <a:pt x="51" y="33"/>
                  <a:pt x="52" y="33"/>
                  <a:pt x="53" y="33"/>
                </a:cubicBezTo>
                <a:cubicBezTo>
                  <a:pt x="54" y="33"/>
                  <a:pt x="54" y="33"/>
                  <a:pt x="54" y="32"/>
                </a:cubicBezTo>
                <a:cubicBezTo>
                  <a:pt x="55" y="32"/>
                  <a:pt x="55" y="32"/>
                  <a:pt x="56" y="32"/>
                </a:cubicBezTo>
                <a:cubicBezTo>
                  <a:pt x="56" y="32"/>
                  <a:pt x="57" y="32"/>
                  <a:pt x="57" y="32"/>
                </a:cubicBezTo>
                <a:cubicBezTo>
                  <a:pt x="58" y="31"/>
                  <a:pt x="58" y="31"/>
                  <a:pt x="59" y="31"/>
                </a:cubicBezTo>
                <a:cubicBezTo>
                  <a:pt x="59" y="31"/>
                  <a:pt x="59" y="31"/>
                  <a:pt x="59" y="31"/>
                </a:cubicBezTo>
                <a:cubicBezTo>
                  <a:pt x="60" y="30"/>
                  <a:pt x="61" y="30"/>
                  <a:pt x="61" y="30"/>
                </a:cubicBezTo>
                <a:cubicBezTo>
                  <a:pt x="61" y="30"/>
                  <a:pt x="62" y="30"/>
                  <a:pt x="62" y="30"/>
                </a:cubicBezTo>
                <a:cubicBezTo>
                  <a:pt x="63" y="29"/>
                  <a:pt x="63" y="29"/>
                  <a:pt x="64" y="29"/>
                </a:cubicBezTo>
                <a:cubicBezTo>
                  <a:pt x="64" y="28"/>
                  <a:pt x="64" y="28"/>
                  <a:pt x="64" y="28"/>
                </a:cubicBezTo>
                <a:cubicBezTo>
                  <a:pt x="65" y="28"/>
                  <a:pt x="65" y="28"/>
                  <a:pt x="66" y="27"/>
                </a:cubicBezTo>
                <a:cubicBezTo>
                  <a:pt x="66" y="27"/>
                  <a:pt x="66" y="27"/>
                  <a:pt x="66" y="27"/>
                </a:cubicBezTo>
                <a:cubicBezTo>
                  <a:pt x="67" y="27"/>
                  <a:pt x="67" y="26"/>
                  <a:pt x="67" y="26"/>
                </a:cubicBezTo>
                <a:cubicBezTo>
                  <a:pt x="68" y="26"/>
                  <a:pt x="68" y="26"/>
                  <a:pt x="68" y="26"/>
                </a:cubicBezTo>
                <a:cubicBezTo>
                  <a:pt x="68" y="25"/>
                  <a:pt x="69" y="25"/>
                  <a:pt x="69" y="25"/>
                </a:cubicBezTo>
                <a:cubicBezTo>
                  <a:pt x="69" y="24"/>
                  <a:pt x="69" y="24"/>
                  <a:pt x="69" y="24"/>
                </a:cubicBezTo>
                <a:cubicBezTo>
                  <a:pt x="70" y="24"/>
                  <a:pt x="70" y="23"/>
                  <a:pt x="70" y="23"/>
                </a:cubicBezTo>
                <a:cubicBezTo>
                  <a:pt x="77" y="33"/>
                  <a:pt x="77" y="33"/>
                  <a:pt x="77" y="33"/>
                </a:cubicBezTo>
                <a:cubicBezTo>
                  <a:pt x="68" y="48"/>
                  <a:pt x="68" y="48"/>
                  <a:pt x="68" y="48"/>
                </a:cubicBezTo>
                <a:cubicBezTo>
                  <a:pt x="57" y="66"/>
                  <a:pt x="57" y="66"/>
                  <a:pt x="57" y="66"/>
                </a:cubicBezTo>
                <a:lnTo>
                  <a:pt x="19" y="33"/>
                </a:lnTo>
                <a:close/>
                <a:moveTo>
                  <a:pt x="60" y="71"/>
                </a:moveTo>
                <a:cubicBezTo>
                  <a:pt x="60" y="71"/>
                  <a:pt x="60" y="71"/>
                  <a:pt x="60" y="71"/>
                </a:cubicBezTo>
                <a:cubicBezTo>
                  <a:pt x="82" y="35"/>
                  <a:pt x="82" y="35"/>
                  <a:pt x="82" y="35"/>
                </a:cubicBezTo>
                <a:cubicBezTo>
                  <a:pt x="82" y="35"/>
                  <a:pt x="82" y="35"/>
                  <a:pt x="82" y="35"/>
                </a:cubicBezTo>
                <a:cubicBezTo>
                  <a:pt x="90" y="23"/>
                  <a:pt x="90" y="23"/>
                  <a:pt x="90" y="23"/>
                </a:cubicBezTo>
                <a:cubicBezTo>
                  <a:pt x="90" y="23"/>
                  <a:pt x="90" y="24"/>
                  <a:pt x="91" y="24"/>
                </a:cubicBezTo>
                <a:cubicBezTo>
                  <a:pt x="91" y="24"/>
                  <a:pt x="91" y="24"/>
                  <a:pt x="91" y="25"/>
                </a:cubicBezTo>
                <a:cubicBezTo>
                  <a:pt x="91" y="25"/>
                  <a:pt x="92" y="25"/>
                  <a:pt x="92" y="26"/>
                </a:cubicBezTo>
                <a:cubicBezTo>
                  <a:pt x="92" y="26"/>
                  <a:pt x="92" y="26"/>
                  <a:pt x="93" y="26"/>
                </a:cubicBezTo>
                <a:cubicBezTo>
                  <a:pt x="93" y="26"/>
                  <a:pt x="93" y="27"/>
                  <a:pt x="94" y="27"/>
                </a:cubicBezTo>
                <a:cubicBezTo>
                  <a:pt x="94" y="27"/>
                  <a:pt x="94" y="27"/>
                  <a:pt x="94" y="27"/>
                </a:cubicBezTo>
                <a:cubicBezTo>
                  <a:pt x="95" y="28"/>
                  <a:pt x="95" y="28"/>
                  <a:pt x="96" y="28"/>
                </a:cubicBezTo>
                <a:cubicBezTo>
                  <a:pt x="96" y="28"/>
                  <a:pt x="96" y="28"/>
                  <a:pt x="96" y="29"/>
                </a:cubicBezTo>
                <a:cubicBezTo>
                  <a:pt x="97" y="29"/>
                  <a:pt x="97" y="29"/>
                  <a:pt x="98" y="30"/>
                </a:cubicBezTo>
                <a:cubicBezTo>
                  <a:pt x="98" y="30"/>
                  <a:pt x="99" y="30"/>
                  <a:pt x="99" y="30"/>
                </a:cubicBezTo>
                <a:cubicBezTo>
                  <a:pt x="99" y="30"/>
                  <a:pt x="100" y="30"/>
                  <a:pt x="101" y="31"/>
                </a:cubicBezTo>
                <a:cubicBezTo>
                  <a:pt x="101" y="31"/>
                  <a:pt x="101" y="31"/>
                  <a:pt x="101" y="31"/>
                </a:cubicBezTo>
                <a:cubicBezTo>
                  <a:pt x="102" y="31"/>
                  <a:pt x="103" y="31"/>
                  <a:pt x="103" y="32"/>
                </a:cubicBezTo>
                <a:cubicBezTo>
                  <a:pt x="103" y="32"/>
                  <a:pt x="104" y="32"/>
                  <a:pt x="104" y="32"/>
                </a:cubicBezTo>
                <a:cubicBezTo>
                  <a:pt x="105" y="32"/>
                  <a:pt x="105" y="32"/>
                  <a:pt x="106" y="32"/>
                </a:cubicBezTo>
                <a:cubicBezTo>
                  <a:pt x="106" y="33"/>
                  <a:pt x="106" y="33"/>
                  <a:pt x="107" y="33"/>
                </a:cubicBezTo>
                <a:cubicBezTo>
                  <a:pt x="108" y="33"/>
                  <a:pt x="109" y="33"/>
                  <a:pt x="110" y="33"/>
                </a:cubicBezTo>
                <a:cubicBezTo>
                  <a:pt x="110" y="33"/>
                  <a:pt x="110" y="33"/>
                  <a:pt x="110" y="33"/>
                </a:cubicBezTo>
                <a:cubicBezTo>
                  <a:pt x="111" y="34"/>
                  <a:pt x="112" y="34"/>
                  <a:pt x="113" y="34"/>
                </a:cubicBezTo>
                <a:cubicBezTo>
                  <a:pt x="113" y="34"/>
                  <a:pt x="113" y="34"/>
                  <a:pt x="114" y="34"/>
                </a:cubicBezTo>
                <a:cubicBezTo>
                  <a:pt x="114" y="34"/>
                  <a:pt x="115" y="34"/>
                  <a:pt x="116" y="34"/>
                </a:cubicBezTo>
                <a:cubicBezTo>
                  <a:pt x="116" y="34"/>
                  <a:pt x="117" y="34"/>
                  <a:pt x="117" y="34"/>
                </a:cubicBezTo>
                <a:cubicBezTo>
                  <a:pt x="118" y="34"/>
                  <a:pt x="119" y="34"/>
                  <a:pt x="119" y="35"/>
                </a:cubicBezTo>
                <a:cubicBezTo>
                  <a:pt x="120" y="35"/>
                  <a:pt x="120" y="35"/>
                  <a:pt x="121" y="35"/>
                </a:cubicBezTo>
                <a:cubicBezTo>
                  <a:pt x="122" y="35"/>
                  <a:pt x="123" y="35"/>
                  <a:pt x="124" y="35"/>
                </a:cubicBezTo>
                <a:cubicBezTo>
                  <a:pt x="125" y="35"/>
                  <a:pt x="127" y="35"/>
                  <a:pt x="128" y="35"/>
                </a:cubicBezTo>
                <a:cubicBezTo>
                  <a:pt x="128" y="35"/>
                  <a:pt x="129" y="35"/>
                  <a:pt x="129" y="35"/>
                </a:cubicBezTo>
                <a:cubicBezTo>
                  <a:pt x="133" y="34"/>
                  <a:pt x="137" y="34"/>
                  <a:pt x="141" y="33"/>
                </a:cubicBezTo>
                <a:cubicBezTo>
                  <a:pt x="101" y="68"/>
                  <a:pt x="101" y="68"/>
                  <a:pt x="101" y="68"/>
                </a:cubicBezTo>
                <a:cubicBezTo>
                  <a:pt x="101" y="68"/>
                  <a:pt x="101" y="68"/>
                  <a:pt x="101" y="68"/>
                </a:cubicBezTo>
                <a:cubicBezTo>
                  <a:pt x="78" y="87"/>
                  <a:pt x="78" y="87"/>
                  <a:pt x="78" y="87"/>
                </a:cubicBezTo>
                <a:cubicBezTo>
                  <a:pt x="78" y="87"/>
                  <a:pt x="78" y="87"/>
                  <a:pt x="78" y="87"/>
                </a:cubicBezTo>
                <a:cubicBezTo>
                  <a:pt x="14" y="143"/>
                  <a:pt x="14" y="143"/>
                  <a:pt x="14" y="143"/>
                </a:cubicBezTo>
                <a:lnTo>
                  <a:pt x="60" y="71"/>
                </a:lnTo>
                <a:close/>
                <a:moveTo>
                  <a:pt x="84" y="90"/>
                </a:moveTo>
                <a:cubicBezTo>
                  <a:pt x="102" y="74"/>
                  <a:pt x="102" y="74"/>
                  <a:pt x="102" y="74"/>
                </a:cubicBezTo>
                <a:cubicBezTo>
                  <a:pt x="146" y="143"/>
                  <a:pt x="146" y="143"/>
                  <a:pt x="146" y="143"/>
                </a:cubicBezTo>
                <a:lnTo>
                  <a:pt x="84" y="9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17">
            <a:extLst>
              <a:ext uri="{FF2B5EF4-FFF2-40B4-BE49-F238E27FC236}">
                <a16:creationId xmlns:a16="http://schemas.microsoft.com/office/drawing/2014/main" id="{39A2B008-E1F5-114E-9E3C-665D2FFC0429}"/>
              </a:ext>
            </a:extLst>
          </p:cNvPr>
          <p:cNvSpPr>
            <a:spLocks noEditPoints="1"/>
          </p:cNvSpPr>
          <p:nvPr/>
        </p:nvSpPr>
        <p:spPr bwMode="auto">
          <a:xfrm>
            <a:off x="1637991" y="2443163"/>
            <a:ext cx="601663" cy="579438"/>
          </a:xfrm>
          <a:custGeom>
            <a:avLst/>
            <a:gdLst>
              <a:gd name="T0" fmla="*/ 32 w 160"/>
              <a:gd name="T1" fmla="*/ 152 h 153"/>
              <a:gd name="T2" fmla="*/ 31 w 160"/>
              <a:gd name="T3" fmla="*/ 152 h 153"/>
              <a:gd name="T4" fmla="*/ 30 w 160"/>
              <a:gd name="T5" fmla="*/ 149 h 153"/>
              <a:gd name="T6" fmla="*/ 38 w 160"/>
              <a:gd name="T7" fmla="*/ 98 h 153"/>
              <a:gd name="T8" fmla="*/ 1 w 160"/>
              <a:gd name="T9" fmla="*/ 61 h 153"/>
              <a:gd name="T10" fmla="*/ 0 w 160"/>
              <a:gd name="T11" fmla="*/ 58 h 153"/>
              <a:gd name="T12" fmla="*/ 2 w 160"/>
              <a:gd name="T13" fmla="*/ 56 h 153"/>
              <a:gd name="T14" fmla="*/ 54 w 160"/>
              <a:gd name="T15" fmla="*/ 49 h 153"/>
              <a:gd name="T16" fmla="*/ 77 w 160"/>
              <a:gd name="T17" fmla="*/ 2 h 153"/>
              <a:gd name="T18" fmla="*/ 80 w 160"/>
              <a:gd name="T19" fmla="*/ 0 h 153"/>
              <a:gd name="T20" fmla="*/ 80 w 160"/>
              <a:gd name="T21" fmla="*/ 0 h 153"/>
              <a:gd name="T22" fmla="*/ 83 w 160"/>
              <a:gd name="T23" fmla="*/ 2 h 153"/>
              <a:gd name="T24" fmla="*/ 106 w 160"/>
              <a:gd name="T25" fmla="*/ 49 h 153"/>
              <a:gd name="T26" fmla="*/ 158 w 160"/>
              <a:gd name="T27" fmla="*/ 56 h 153"/>
              <a:gd name="T28" fmla="*/ 160 w 160"/>
              <a:gd name="T29" fmla="*/ 58 h 153"/>
              <a:gd name="T30" fmla="*/ 159 w 160"/>
              <a:gd name="T31" fmla="*/ 61 h 153"/>
              <a:gd name="T32" fmla="*/ 122 w 160"/>
              <a:gd name="T33" fmla="*/ 98 h 153"/>
              <a:gd name="T34" fmla="*/ 130 w 160"/>
              <a:gd name="T35" fmla="*/ 149 h 153"/>
              <a:gd name="T36" fmla="*/ 129 w 160"/>
              <a:gd name="T37" fmla="*/ 152 h 153"/>
              <a:gd name="T38" fmla="*/ 126 w 160"/>
              <a:gd name="T39" fmla="*/ 152 h 153"/>
              <a:gd name="T40" fmla="*/ 80 w 160"/>
              <a:gd name="T41" fmla="*/ 128 h 153"/>
              <a:gd name="T42" fmla="*/ 34 w 160"/>
              <a:gd name="T43" fmla="*/ 152 h 153"/>
              <a:gd name="T44" fmla="*/ 32 w 160"/>
              <a:gd name="T45" fmla="*/ 152 h 153"/>
              <a:gd name="T46" fmla="*/ 9 w 160"/>
              <a:gd name="T47" fmla="*/ 61 h 153"/>
              <a:gd name="T48" fmla="*/ 43 w 160"/>
              <a:gd name="T49" fmla="*/ 94 h 153"/>
              <a:gd name="T50" fmla="*/ 44 w 160"/>
              <a:gd name="T51" fmla="*/ 97 h 153"/>
              <a:gd name="T52" fmla="*/ 36 w 160"/>
              <a:gd name="T53" fmla="*/ 144 h 153"/>
              <a:gd name="T54" fmla="*/ 79 w 160"/>
              <a:gd name="T55" fmla="*/ 122 h 153"/>
              <a:gd name="T56" fmla="*/ 81 w 160"/>
              <a:gd name="T57" fmla="*/ 122 h 153"/>
              <a:gd name="T58" fmla="*/ 124 w 160"/>
              <a:gd name="T59" fmla="*/ 144 h 153"/>
              <a:gd name="T60" fmla="*/ 116 w 160"/>
              <a:gd name="T61" fmla="*/ 97 h 153"/>
              <a:gd name="T62" fmla="*/ 117 w 160"/>
              <a:gd name="T63" fmla="*/ 94 h 153"/>
              <a:gd name="T64" fmla="*/ 151 w 160"/>
              <a:gd name="T65" fmla="*/ 61 h 153"/>
              <a:gd name="T66" fmla="*/ 103 w 160"/>
              <a:gd name="T67" fmla="*/ 54 h 153"/>
              <a:gd name="T68" fmla="*/ 101 w 160"/>
              <a:gd name="T69" fmla="*/ 52 h 153"/>
              <a:gd name="T70" fmla="*/ 80 w 160"/>
              <a:gd name="T71" fmla="*/ 9 h 153"/>
              <a:gd name="T72" fmla="*/ 59 w 160"/>
              <a:gd name="T73" fmla="*/ 52 h 153"/>
              <a:gd name="T74" fmla="*/ 57 w 160"/>
              <a:gd name="T75" fmla="*/ 54 h 153"/>
              <a:gd name="T76" fmla="*/ 9 w 160"/>
              <a:gd name="T77"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53">
                <a:moveTo>
                  <a:pt x="32" y="152"/>
                </a:moveTo>
                <a:cubicBezTo>
                  <a:pt x="32" y="152"/>
                  <a:pt x="31" y="152"/>
                  <a:pt x="31" y="152"/>
                </a:cubicBezTo>
                <a:cubicBezTo>
                  <a:pt x="30" y="151"/>
                  <a:pt x="29" y="150"/>
                  <a:pt x="30" y="149"/>
                </a:cubicBezTo>
                <a:cubicBezTo>
                  <a:pt x="38" y="98"/>
                  <a:pt x="38" y="98"/>
                  <a:pt x="38" y="98"/>
                </a:cubicBezTo>
                <a:cubicBezTo>
                  <a:pt x="1" y="61"/>
                  <a:pt x="1" y="61"/>
                  <a:pt x="1" y="61"/>
                </a:cubicBezTo>
                <a:cubicBezTo>
                  <a:pt x="0" y="60"/>
                  <a:pt x="0" y="59"/>
                  <a:pt x="0" y="58"/>
                </a:cubicBezTo>
                <a:cubicBezTo>
                  <a:pt x="0" y="57"/>
                  <a:pt x="1" y="56"/>
                  <a:pt x="2" y="56"/>
                </a:cubicBezTo>
                <a:cubicBezTo>
                  <a:pt x="54" y="49"/>
                  <a:pt x="54" y="49"/>
                  <a:pt x="54" y="49"/>
                </a:cubicBezTo>
                <a:cubicBezTo>
                  <a:pt x="77" y="2"/>
                  <a:pt x="77" y="2"/>
                  <a:pt x="77" y="2"/>
                </a:cubicBezTo>
                <a:cubicBezTo>
                  <a:pt x="78" y="1"/>
                  <a:pt x="79" y="0"/>
                  <a:pt x="80" y="0"/>
                </a:cubicBezTo>
                <a:cubicBezTo>
                  <a:pt x="80" y="0"/>
                  <a:pt x="80" y="0"/>
                  <a:pt x="80" y="0"/>
                </a:cubicBezTo>
                <a:cubicBezTo>
                  <a:pt x="81" y="0"/>
                  <a:pt x="82" y="1"/>
                  <a:pt x="83" y="2"/>
                </a:cubicBezTo>
                <a:cubicBezTo>
                  <a:pt x="106" y="49"/>
                  <a:pt x="106" y="49"/>
                  <a:pt x="106" y="49"/>
                </a:cubicBezTo>
                <a:cubicBezTo>
                  <a:pt x="158" y="56"/>
                  <a:pt x="158" y="56"/>
                  <a:pt x="158" y="56"/>
                </a:cubicBezTo>
                <a:cubicBezTo>
                  <a:pt x="159" y="56"/>
                  <a:pt x="160" y="57"/>
                  <a:pt x="160" y="58"/>
                </a:cubicBezTo>
                <a:cubicBezTo>
                  <a:pt x="160" y="59"/>
                  <a:pt x="160" y="60"/>
                  <a:pt x="159" y="61"/>
                </a:cubicBezTo>
                <a:cubicBezTo>
                  <a:pt x="122" y="98"/>
                  <a:pt x="122" y="98"/>
                  <a:pt x="122" y="98"/>
                </a:cubicBezTo>
                <a:cubicBezTo>
                  <a:pt x="130" y="149"/>
                  <a:pt x="130" y="149"/>
                  <a:pt x="130" y="149"/>
                </a:cubicBezTo>
                <a:cubicBezTo>
                  <a:pt x="131" y="150"/>
                  <a:pt x="130" y="151"/>
                  <a:pt x="129" y="152"/>
                </a:cubicBezTo>
                <a:cubicBezTo>
                  <a:pt x="128" y="153"/>
                  <a:pt x="127" y="153"/>
                  <a:pt x="126" y="152"/>
                </a:cubicBezTo>
                <a:cubicBezTo>
                  <a:pt x="80" y="128"/>
                  <a:pt x="80" y="128"/>
                  <a:pt x="80" y="128"/>
                </a:cubicBezTo>
                <a:cubicBezTo>
                  <a:pt x="34" y="152"/>
                  <a:pt x="34" y="152"/>
                  <a:pt x="34" y="152"/>
                </a:cubicBezTo>
                <a:cubicBezTo>
                  <a:pt x="33" y="152"/>
                  <a:pt x="33" y="152"/>
                  <a:pt x="32" y="152"/>
                </a:cubicBezTo>
                <a:close/>
                <a:moveTo>
                  <a:pt x="9" y="61"/>
                </a:moveTo>
                <a:cubicBezTo>
                  <a:pt x="43" y="94"/>
                  <a:pt x="43" y="94"/>
                  <a:pt x="43" y="94"/>
                </a:cubicBezTo>
                <a:cubicBezTo>
                  <a:pt x="44" y="95"/>
                  <a:pt x="44" y="96"/>
                  <a:pt x="44" y="97"/>
                </a:cubicBezTo>
                <a:cubicBezTo>
                  <a:pt x="36" y="144"/>
                  <a:pt x="36" y="144"/>
                  <a:pt x="36" y="144"/>
                </a:cubicBezTo>
                <a:cubicBezTo>
                  <a:pt x="79" y="122"/>
                  <a:pt x="79" y="122"/>
                  <a:pt x="79" y="122"/>
                </a:cubicBezTo>
                <a:cubicBezTo>
                  <a:pt x="80" y="122"/>
                  <a:pt x="80" y="122"/>
                  <a:pt x="81" y="122"/>
                </a:cubicBezTo>
                <a:cubicBezTo>
                  <a:pt x="124" y="144"/>
                  <a:pt x="124" y="144"/>
                  <a:pt x="124" y="144"/>
                </a:cubicBezTo>
                <a:cubicBezTo>
                  <a:pt x="116" y="97"/>
                  <a:pt x="116" y="97"/>
                  <a:pt x="116" y="97"/>
                </a:cubicBezTo>
                <a:cubicBezTo>
                  <a:pt x="116" y="96"/>
                  <a:pt x="116" y="95"/>
                  <a:pt x="117" y="94"/>
                </a:cubicBezTo>
                <a:cubicBezTo>
                  <a:pt x="151" y="61"/>
                  <a:pt x="151" y="61"/>
                  <a:pt x="151" y="61"/>
                </a:cubicBezTo>
                <a:cubicBezTo>
                  <a:pt x="103" y="54"/>
                  <a:pt x="103" y="54"/>
                  <a:pt x="103" y="54"/>
                </a:cubicBezTo>
                <a:cubicBezTo>
                  <a:pt x="102" y="54"/>
                  <a:pt x="102" y="53"/>
                  <a:pt x="101" y="52"/>
                </a:cubicBezTo>
                <a:cubicBezTo>
                  <a:pt x="80" y="9"/>
                  <a:pt x="80" y="9"/>
                  <a:pt x="80" y="9"/>
                </a:cubicBezTo>
                <a:cubicBezTo>
                  <a:pt x="59" y="52"/>
                  <a:pt x="59" y="52"/>
                  <a:pt x="59" y="52"/>
                </a:cubicBezTo>
                <a:cubicBezTo>
                  <a:pt x="58" y="53"/>
                  <a:pt x="58" y="54"/>
                  <a:pt x="57" y="54"/>
                </a:cubicBezTo>
                <a:lnTo>
                  <a:pt x="9" y="6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18">
            <a:extLst>
              <a:ext uri="{FF2B5EF4-FFF2-40B4-BE49-F238E27FC236}">
                <a16:creationId xmlns:a16="http://schemas.microsoft.com/office/drawing/2014/main" id="{BC4AB513-4C6D-E84E-B6A7-3116983FC12C}"/>
              </a:ext>
            </a:extLst>
          </p:cNvPr>
          <p:cNvSpPr>
            <a:spLocks noEditPoints="1"/>
          </p:cNvSpPr>
          <p:nvPr/>
        </p:nvSpPr>
        <p:spPr bwMode="auto">
          <a:xfrm>
            <a:off x="1634816" y="3124200"/>
            <a:ext cx="608013" cy="582613"/>
          </a:xfrm>
          <a:custGeom>
            <a:avLst/>
            <a:gdLst>
              <a:gd name="T0" fmla="*/ 158 w 162"/>
              <a:gd name="T1" fmla="*/ 69 h 154"/>
              <a:gd name="T2" fmla="*/ 160 w 162"/>
              <a:gd name="T3" fmla="*/ 58 h 154"/>
              <a:gd name="T4" fmla="*/ 151 w 162"/>
              <a:gd name="T5" fmla="*/ 50 h 154"/>
              <a:gd name="T6" fmla="*/ 112 w 162"/>
              <a:gd name="T7" fmla="*/ 44 h 154"/>
              <a:gd name="T8" fmla="*/ 109 w 162"/>
              <a:gd name="T9" fmla="*/ 42 h 154"/>
              <a:gd name="T10" fmla="*/ 91 w 162"/>
              <a:gd name="T11" fmla="*/ 6 h 154"/>
              <a:gd name="T12" fmla="*/ 81 w 162"/>
              <a:gd name="T13" fmla="*/ 0 h 154"/>
              <a:gd name="T14" fmla="*/ 71 w 162"/>
              <a:gd name="T15" fmla="*/ 6 h 154"/>
              <a:gd name="T16" fmla="*/ 53 w 162"/>
              <a:gd name="T17" fmla="*/ 42 h 154"/>
              <a:gd name="T18" fmla="*/ 50 w 162"/>
              <a:gd name="T19" fmla="*/ 44 h 154"/>
              <a:gd name="T20" fmla="*/ 11 w 162"/>
              <a:gd name="T21" fmla="*/ 50 h 154"/>
              <a:gd name="T22" fmla="*/ 2 w 162"/>
              <a:gd name="T23" fmla="*/ 58 h 154"/>
              <a:gd name="T24" fmla="*/ 4 w 162"/>
              <a:gd name="T25" fmla="*/ 69 h 154"/>
              <a:gd name="T26" fmla="*/ 33 w 162"/>
              <a:gd name="T27" fmla="*/ 97 h 154"/>
              <a:gd name="T28" fmla="*/ 34 w 162"/>
              <a:gd name="T29" fmla="*/ 101 h 154"/>
              <a:gd name="T30" fmla="*/ 27 w 162"/>
              <a:gd name="T31" fmla="*/ 140 h 154"/>
              <a:gd name="T32" fmla="*/ 32 w 162"/>
              <a:gd name="T33" fmla="*/ 151 h 154"/>
              <a:gd name="T34" fmla="*/ 44 w 162"/>
              <a:gd name="T35" fmla="*/ 152 h 154"/>
              <a:gd name="T36" fmla="*/ 79 w 162"/>
              <a:gd name="T37" fmla="*/ 134 h 154"/>
              <a:gd name="T38" fmla="*/ 83 w 162"/>
              <a:gd name="T39" fmla="*/ 134 h 154"/>
              <a:gd name="T40" fmla="*/ 118 w 162"/>
              <a:gd name="T41" fmla="*/ 152 h 154"/>
              <a:gd name="T42" fmla="*/ 123 w 162"/>
              <a:gd name="T43" fmla="*/ 153 h 154"/>
              <a:gd name="T44" fmla="*/ 130 w 162"/>
              <a:gd name="T45" fmla="*/ 151 h 154"/>
              <a:gd name="T46" fmla="*/ 135 w 162"/>
              <a:gd name="T47" fmla="*/ 140 h 154"/>
              <a:gd name="T48" fmla="*/ 128 w 162"/>
              <a:gd name="T49" fmla="*/ 101 h 154"/>
              <a:gd name="T50" fmla="*/ 129 w 162"/>
              <a:gd name="T51" fmla="*/ 97 h 154"/>
              <a:gd name="T52" fmla="*/ 158 w 162"/>
              <a:gd name="T53" fmla="*/ 69 h 154"/>
              <a:gd name="T54" fmla="*/ 122 w 162"/>
              <a:gd name="T55" fmla="*/ 102 h 154"/>
              <a:gd name="T56" fmla="*/ 128 w 162"/>
              <a:gd name="T57" fmla="*/ 141 h 154"/>
              <a:gd name="T58" fmla="*/ 126 w 162"/>
              <a:gd name="T59" fmla="*/ 146 h 154"/>
              <a:gd name="T60" fmla="*/ 121 w 162"/>
              <a:gd name="T61" fmla="*/ 146 h 154"/>
              <a:gd name="T62" fmla="*/ 86 w 162"/>
              <a:gd name="T63" fmla="*/ 128 h 154"/>
              <a:gd name="T64" fmla="*/ 81 w 162"/>
              <a:gd name="T65" fmla="*/ 127 h 154"/>
              <a:gd name="T66" fmla="*/ 76 w 162"/>
              <a:gd name="T67" fmla="*/ 128 h 154"/>
              <a:gd name="T68" fmla="*/ 41 w 162"/>
              <a:gd name="T69" fmla="*/ 146 h 154"/>
              <a:gd name="T70" fmla="*/ 36 w 162"/>
              <a:gd name="T71" fmla="*/ 146 h 154"/>
              <a:gd name="T72" fmla="*/ 34 w 162"/>
              <a:gd name="T73" fmla="*/ 141 h 154"/>
              <a:gd name="T74" fmla="*/ 40 w 162"/>
              <a:gd name="T75" fmla="*/ 102 h 154"/>
              <a:gd name="T76" fmla="*/ 37 w 162"/>
              <a:gd name="T77" fmla="*/ 92 h 154"/>
              <a:gd name="T78" fmla="*/ 9 w 162"/>
              <a:gd name="T79" fmla="*/ 65 h 154"/>
              <a:gd name="T80" fmla="*/ 8 w 162"/>
              <a:gd name="T81" fmla="*/ 60 h 154"/>
              <a:gd name="T82" fmla="*/ 12 w 162"/>
              <a:gd name="T83" fmla="*/ 56 h 154"/>
              <a:gd name="T84" fmla="*/ 50 w 162"/>
              <a:gd name="T85" fmla="*/ 51 h 154"/>
              <a:gd name="T86" fmla="*/ 59 w 162"/>
              <a:gd name="T87" fmla="*/ 44 h 154"/>
              <a:gd name="T88" fmla="*/ 76 w 162"/>
              <a:gd name="T89" fmla="*/ 9 h 154"/>
              <a:gd name="T90" fmla="*/ 81 w 162"/>
              <a:gd name="T91" fmla="*/ 6 h 154"/>
              <a:gd name="T92" fmla="*/ 86 w 162"/>
              <a:gd name="T93" fmla="*/ 9 h 154"/>
              <a:gd name="T94" fmla="*/ 103 w 162"/>
              <a:gd name="T95" fmla="*/ 44 h 154"/>
              <a:gd name="T96" fmla="*/ 112 w 162"/>
              <a:gd name="T97" fmla="*/ 51 h 154"/>
              <a:gd name="T98" fmla="*/ 150 w 162"/>
              <a:gd name="T99" fmla="*/ 56 h 154"/>
              <a:gd name="T100" fmla="*/ 154 w 162"/>
              <a:gd name="T101" fmla="*/ 60 h 154"/>
              <a:gd name="T102" fmla="*/ 153 w 162"/>
              <a:gd name="T103" fmla="*/ 65 h 154"/>
              <a:gd name="T104" fmla="*/ 125 w 162"/>
              <a:gd name="T105" fmla="*/ 92 h 154"/>
              <a:gd name="T106" fmla="*/ 122 w 162"/>
              <a:gd name="T107" fmla="*/ 10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54">
                <a:moveTo>
                  <a:pt x="158" y="69"/>
                </a:moveTo>
                <a:cubicBezTo>
                  <a:pt x="161" y="66"/>
                  <a:pt x="162" y="62"/>
                  <a:pt x="160" y="58"/>
                </a:cubicBezTo>
                <a:cubicBezTo>
                  <a:pt x="159" y="54"/>
                  <a:pt x="156" y="51"/>
                  <a:pt x="151" y="50"/>
                </a:cubicBezTo>
                <a:cubicBezTo>
                  <a:pt x="112" y="44"/>
                  <a:pt x="112" y="44"/>
                  <a:pt x="112" y="44"/>
                </a:cubicBezTo>
                <a:cubicBezTo>
                  <a:pt x="111" y="44"/>
                  <a:pt x="109" y="43"/>
                  <a:pt x="109" y="42"/>
                </a:cubicBezTo>
                <a:cubicBezTo>
                  <a:pt x="91" y="6"/>
                  <a:pt x="91" y="6"/>
                  <a:pt x="91" y="6"/>
                </a:cubicBezTo>
                <a:cubicBezTo>
                  <a:pt x="89" y="2"/>
                  <a:pt x="85" y="0"/>
                  <a:pt x="81" y="0"/>
                </a:cubicBezTo>
                <a:cubicBezTo>
                  <a:pt x="77" y="0"/>
                  <a:pt x="73" y="2"/>
                  <a:pt x="71" y="6"/>
                </a:cubicBezTo>
                <a:cubicBezTo>
                  <a:pt x="53" y="42"/>
                  <a:pt x="53" y="42"/>
                  <a:pt x="53" y="42"/>
                </a:cubicBezTo>
                <a:cubicBezTo>
                  <a:pt x="53" y="43"/>
                  <a:pt x="51" y="44"/>
                  <a:pt x="50" y="44"/>
                </a:cubicBezTo>
                <a:cubicBezTo>
                  <a:pt x="11" y="50"/>
                  <a:pt x="11" y="50"/>
                  <a:pt x="11" y="50"/>
                </a:cubicBezTo>
                <a:cubicBezTo>
                  <a:pt x="6" y="51"/>
                  <a:pt x="3" y="54"/>
                  <a:pt x="2" y="58"/>
                </a:cubicBezTo>
                <a:cubicBezTo>
                  <a:pt x="0" y="62"/>
                  <a:pt x="1" y="66"/>
                  <a:pt x="4" y="69"/>
                </a:cubicBezTo>
                <a:cubicBezTo>
                  <a:pt x="33" y="97"/>
                  <a:pt x="33" y="97"/>
                  <a:pt x="33" y="97"/>
                </a:cubicBezTo>
                <a:cubicBezTo>
                  <a:pt x="34" y="98"/>
                  <a:pt x="34" y="100"/>
                  <a:pt x="34" y="101"/>
                </a:cubicBezTo>
                <a:cubicBezTo>
                  <a:pt x="27" y="140"/>
                  <a:pt x="27" y="140"/>
                  <a:pt x="27" y="140"/>
                </a:cubicBezTo>
                <a:cubicBezTo>
                  <a:pt x="27" y="144"/>
                  <a:pt x="28" y="148"/>
                  <a:pt x="32" y="151"/>
                </a:cubicBezTo>
                <a:cubicBezTo>
                  <a:pt x="35" y="154"/>
                  <a:pt x="40" y="154"/>
                  <a:pt x="44" y="152"/>
                </a:cubicBezTo>
                <a:cubicBezTo>
                  <a:pt x="79" y="134"/>
                  <a:pt x="79" y="134"/>
                  <a:pt x="79" y="134"/>
                </a:cubicBezTo>
                <a:cubicBezTo>
                  <a:pt x="80" y="133"/>
                  <a:pt x="82" y="133"/>
                  <a:pt x="83" y="134"/>
                </a:cubicBezTo>
                <a:cubicBezTo>
                  <a:pt x="118" y="152"/>
                  <a:pt x="118" y="152"/>
                  <a:pt x="118" y="152"/>
                </a:cubicBezTo>
                <a:cubicBezTo>
                  <a:pt x="120" y="153"/>
                  <a:pt x="122" y="153"/>
                  <a:pt x="123" y="153"/>
                </a:cubicBezTo>
                <a:cubicBezTo>
                  <a:pt x="126" y="153"/>
                  <a:pt x="128" y="153"/>
                  <a:pt x="130" y="151"/>
                </a:cubicBezTo>
                <a:cubicBezTo>
                  <a:pt x="134" y="148"/>
                  <a:pt x="135" y="144"/>
                  <a:pt x="135" y="140"/>
                </a:cubicBezTo>
                <a:cubicBezTo>
                  <a:pt x="128" y="101"/>
                  <a:pt x="128" y="101"/>
                  <a:pt x="128" y="101"/>
                </a:cubicBezTo>
                <a:cubicBezTo>
                  <a:pt x="128" y="100"/>
                  <a:pt x="128" y="98"/>
                  <a:pt x="129" y="97"/>
                </a:cubicBezTo>
                <a:lnTo>
                  <a:pt x="158" y="69"/>
                </a:lnTo>
                <a:close/>
                <a:moveTo>
                  <a:pt x="122" y="102"/>
                </a:moveTo>
                <a:cubicBezTo>
                  <a:pt x="128" y="141"/>
                  <a:pt x="128" y="141"/>
                  <a:pt x="128" y="141"/>
                </a:cubicBezTo>
                <a:cubicBezTo>
                  <a:pt x="129" y="143"/>
                  <a:pt x="128" y="145"/>
                  <a:pt x="126" y="146"/>
                </a:cubicBezTo>
                <a:cubicBezTo>
                  <a:pt x="125" y="147"/>
                  <a:pt x="123" y="147"/>
                  <a:pt x="121" y="146"/>
                </a:cubicBezTo>
                <a:cubicBezTo>
                  <a:pt x="86" y="128"/>
                  <a:pt x="86" y="128"/>
                  <a:pt x="86" y="128"/>
                </a:cubicBezTo>
                <a:cubicBezTo>
                  <a:pt x="85" y="127"/>
                  <a:pt x="83" y="127"/>
                  <a:pt x="81" y="127"/>
                </a:cubicBezTo>
                <a:cubicBezTo>
                  <a:pt x="79" y="127"/>
                  <a:pt x="77" y="127"/>
                  <a:pt x="76" y="128"/>
                </a:cubicBezTo>
                <a:cubicBezTo>
                  <a:pt x="41" y="146"/>
                  <a:pt x="41" y="146"/>
                  <a:pt x="41" y="146"/>
                </a:cubicBezTo>
                <a:cubicBezTo>
                  <a:pt x="39" y="147"/>
                  <a:pt x="37" y="147"/>
                  <a:pt x="36" y="146"/>
                </a:cubicBezTo>
                <a:cubicBezTo>
                  <a:pt x="34" y="145"/>
                  <a:pt x="33" y="143"/>
                  <a:pt x="34" y="141"/>
                </a:cubicBezTo>
                <a:cubicBezTo>
                  <a:pt x="40" y="102"/>
                  <a:pt x="40" y="102"/>
                  <a:pt x="40" y="102"/>
                </a:cubicBezTo>
                <a:cubicBezTo>
                  <a:pt x="41" y="99"/>
                  <a:pt x="40" y="95"/>
                  <a:pt x="37" y="92"/>
                </a:cubicBezTo>
                <a:cubicBezTo>
                  <a:pt x="9" y="65"/>
                  <a:pt x="9" y="65"/>
                  <a:pt x="9" y="65"/>
                </a:cubicBezTo>
                <a:cubicBezTo>
                  <a:pt x="8" y="64"/>
                  <a:pt x="7" y="62"/>
                  <a:pt x="8" y="60"/>
                </a:cubicBezTo>
                <a:cubicBezTo>
                  <a:pt x="8" y="58"/>
                  <a:pt x="10" y="57"/>
                  <a:pt x="12" y="56"/>
                </a:cubicBezTo>
                <a:cubicBezTo>
                  <a:pt x="50" y="51"/>
                  <a:pt x="50" y="51"/>
                  <a:pt x="50" y="51"/>
                </a:cubicBezTo>
                <a:cubicBezTo>
                  <a:pt x="54" y="50"/>
                  <a:pt x="57" y="48"/>
                  <a:pt x="59" y="44"/>
                </a:cubicBezTo>
                <a:cubicBezTo>
                  <a:pt x="76" y="9"/>
                  <a:pt x="76" y="9"/>
                  <a:pt x="76" y="9"/>
                </a:cubicBezTo>
                <a:cubicBezTo>
                  <a:pt x="77" y="7"/>
                  <a:pt x="79" y="6"/>
                  <a:pt x="81" y="6"/>
                </a:cubicBezTo>
                <a:cubicBezTo>
                  <a:pt x="83" y="6"/>
                  <a:pt x="85" y="7"/>
                  <a:pt x="86" y="9"/>
                </a:cubicBezTo>
                <a:cubicBezTo>
                  <a:pt x="103" y="44"/>
                  <a:pt x="103" y="44"/>
                  <a:pt x="103" y="44"/>
                </a:cubicBezTo>
                <a:cubicBezTo>
                  <a:pt x="105" y="48"/>
                  <a:pt x="108" y="50"/>
                  <a:pt x="112" y="51"/>
                </a:cubicBezTo>
                <a:cubicBezTo>
                  <a:pt x="150" y="56"/>
                  <a:pt x="150" y="56"/>
                  <a:pt x="150" y="56"/>
                </a:cubicBezTo>
                <a:cubicBezTo>
                  <a:pt x="152" y="57"/>
                  <a:pt x="154" y="58"/>
                  <a:pt x="154" y="60"/>
                </a:cubicBezTo>
                <a:cubicBezTo>
                  <a:pt x="155" y="62"/>
                  <a:pt x="154" y="64"/>
                  <a:pt x="153" y="65"/>
                </a:cubicBezTo>
                <a:cubicBezTo>
                  <a:pt x="125" y="92"/>
                  <a:pt x="125" y="92"/>
                  <a:pt x="125" y="92"/>
                </a:cubicBezTo>
                <a:cubicBezTo>
                  <a:pt x="122" y="95"/>
                  <a:pt x="121" y="99"/>
                  <a:pt x="122"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19">
            <a:extLst>
              <a:ext uri="{FF2B5EF4-FFF2-40B4-BE49-F238E27FC236}">
                <a16:creationId xmlns:a16="http://schemas.microsoft.com/office/drawing/2014/main" id="{046816E4-40C3-9C42-84E9-EAFB61027856}"/>
              </a:ext>
            </a:extLst>
          </p:cNvPr>
          <p:cNvSpPr>
            <a:spLocks noEditPoints="1"/>
          </p:cNvSpPr>
          <p:nvPr/>
        </p:nvSpPr>
        <p:spPr bwMode="auto">
          <a:xfrm>
            <a:off x="1637991" y="3805238"/>
            <a:ext cx="601663" cy="606425"/>
          </a:xfrm>
          <a:custGeom>
            <a:avLst/>
            <a:gdLst>
              <a:gd name="T0" fmla="*/ 43 w 160"/>
              <a:gd name="T1" fmla="*/ 117 h 160"/>
              <a:gd name="T2" fmla="*/ 117 w 160"/>
              <a:gd name="T3" fmla="*/ 117 h 160"/>
              <a:gd name="T4" fmla="*/ 117 w 160"/>
              <a:gd name="T5" fmla="*/ 43 h 160"/>
              <a:gd name="T6" fmla="*/ 43 w 160"/>
              <a:gd name="T7" fmla="*/ 43 h 160"/>
              <a:gd name="T8" fmla="*/ 43 w 160"/>
              <a:gd name="T9" fmla="*/ 117 h 160"/>
              <a:gd name="T10" fmla="*/ 48 w 160"/>
              <a:gd name="T11" fmla="*/ 48 h 160"/>
              <a:gd name="T12" fmla="*/ 112 w 160"/>
              <a:gd name="T13" fmla="*/ 48 h 160"/>
              <a:gd name="T14" fmla="*/ 112 w 160"/>
              <a:gd name="T15" fmla="*/ 112 h 160"/>
              <a:gd name="T16" fmla="*/ 48 w 160"/>
              <a:gd name="T17" fmla="*/ 112 h 160"/>
              <a:gd name="T18" fmla="*/ 48 w 160"/>
              <a:gd name="T19" fmla="*/ 48 h 160"/>
              <a:gd name="T20" fmla="*/ 80 w 160"/>
              <a:gd name="T21" fmla="*/ 0 h 160"/>
              <a:gd name="T22" fmla="*/ 0 w 160"/>
              <a:gd name="T23" fmla="*/ 80 h 160"/>
              <a:gd name="T24" fmla="*/ 80 w 160"/>
              <a:gd name="T25" fmla="*/ 160 h 160"/>
              <a:gd name="T26" fmla="*/ 160 w 160"/>
              <a:gd name="T27" fmla="*/ 80 h 160"/>
              <a:gd name="T28" fmla="*/ 80 w 160"/>
              <a:gd name="T29" fmla="*/ 0 h 160"/>
              <a:gd name="T30" fmla="*/ 80 w 160"/>
              <a:gd name="T31" fmla="*/ 155 h 160"/>
              <a:gd name="T32" fmla="*/ 5 w 160"/>
              <a:gd name="T33" fmla="*/ 80 h 160"/>
              <a:gd name="T34" fmla="*/ 80 w 160"/>
              <a:gd name="T35" fmla="*/ 5 h 160"/>
              <a:gd name="T36" fmla="*/ 155 w 160"/>
              <a:gd name="T37" fmla="*/ 80 h 160"/>
              <a:gd name="T38" fmla="*/ 80 w 160"/>
              <a:gd name="T3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60">
                <a:moveTo>
                  <a:pt x="43" y="117"/>
                </a:moveTo>
                <a:cubicBezTo>
                  <a:pt x="117" y="117"/>
                  <a:pt x="117" y="117"/>
                  <a:pt x="117" y="117"/>
                </a:cubicBezTo>
                <a:cubicBezTo>
                  <a:pt x="117" y="43"/>
                  <a:pt x="117" y="43"/>
                  <a:pt x="117" y="43"/>
                </a:cubicBezTo>
                <a:cubicBezTo>
                  <a:pt x="43" y="43"/>
                  <a:pt x="43" y="43"/>
                  <a:pt x="43" y="43"/>
                </a:cubicBezTo>
                <a:lnTo>
                  <a:pt x="43" y="117"/>
                </a:lnTo>
                <a:close/>
                <a:moveTo>
                  <a:pt x="48" y="48"/>
                </a:moveTo>
                <a:cubicBezTo>
                  <a:pt x="112" y="48"/>
                  <a:pt x="112" y="48"/>
                  <a:pt x="112" y="48"/>
                </a:cubicBezTo>
                <a:cubicBezTo>
                  <a:pt x="112" y="112"/>
                  <a:pt x="112" y="112"/>
                  <a:pt x="112" y="112"/>
                </a:cubicBezTo>
                <a:cubicBezTo>
                  <a:pt x="48" y="112"/>
                  <a:pt x="48" y="112"/>
                  <a:pt x="48" y="112"/>
                </a:cubicBezTo>
                <a:lnTo>
                  <a:pt x="48" y="48"/>
                </a:lnTo>
                <a:close/>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18" name="Freeform 20">
            <a:extLst>
              <a:ext uri="{FF2B5EF4-FFF2-40B4-BE49-F238E27FC236}">
                <a16:creationId xmlns:a16="http://schemas.microsoft.com/office/drawing/2014/main" id="{C079249B-5746-A147-A270-C14CD4596C15}"/>
              </a:ext>
            </a:extLst>
          </p:cNvPr>
          <p:cNvSpPr>
            <a:spLocks noEditPoints="1"/>
          </p:cNvSpPr>
          <p:nvPr/>
        </p:nvSpPr>
        <p:spPr bwMode="auto">
          <a:xfrm>
            <a:off x="1637991" y="4486275"/>
            <a:ext cx="601663" cy="606425"/>
          </a:xfrm>
          <a:custGeom>
            <a:avLst/>
            <a:gdLst>
              <a:gd name="T0" fmla="*/ 156 w 160"/>
              <a:gd name="T1" fmla="*/ 0 h 160"/>
              <a:gd name="T2" fmla="*/ 4 w 160"/>
              <a:gd name="T3" fmla="*/ 0 h 160"/>
              <a:gd name="T4" fmla="*/ 0 w 160"/>
              <a:gd name="T5" fmla="*/ 4 h 160"/>
              <a:gd name="T6" fmla="*/ 0 w 160"/>
              <a:gd name="T7" fmla="*/ 156 h 160"/>
              <a:gd name="T8" fmla="*/ 4 w 160"/>
              <a:gd name="T9" fmla="*/ 160 h 160"/>
              <a:gd name="T10" fmla="*/ 156 w 160"/>
              <a:gd name="T11" fmla="*/ 160 h 160"/>
              <a:gd name="T12" fmla="*/ 160 w 160"/>
              <a:gd name="T13" fmla="*/ 156 h 160"/>
              <a:gd name="T14" fmla="*/ 160 w 160"/>
              <a:gd name="T15" fmla="*/ 4 h 160"/>
              <a:gd name="T16" fmla="*/ 156 w 160"/>
              <a:gd name="T17" fmla="*/ 0 h 160"/>
              <a:gd name="T18" fmla="*/ 151 w 160"/>
              <a:gd name="T19" fmla="*/ 151 h 160"/>
              <a:gd name="T20" fmla="*/ 9 w 160"/>
              <a:gd name="T21" fmla="*/ 151 h 160"/>
              <a:gd name="T22" fmla="*/ 9 w 160"/>
              <a:gd name="T23" fmla="*/ 9 h 160"/>
              <a:gd name="T24" fmla="*/ 151 w 160"/>
              <a:gd name="T25" fmla="*/ 9 h 160"/>
              <a:gd name="T26" fmla="*/ 151 w 160"/>
              <a:gd name="T27" fmla="*/ 15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160">
                <a:moveTo>
                  <a:pt x="156" y="0"/>
                </a:moveTo>
                <a:cubicBezTo>
                  <a:pt x="4" y="0"/>
                  <a:pt x="4" y="0"/>
                  <a:pt x="4" y="0"/>
                </a:cubicBezTo>
                <a:cubicBezTo>
                  <a:pt x="2" y="0"/>
                  <a:pt x="0" y="2"/>
                  <a:pt x="0" y="4"/>
                </a:cubicBezTo>
                <a:cubicBezTo>
                  <a:pt x="0" y="156"/>
                  <a:pt x="0" y="156"/>
                  <a:pt x="0" y="156"/>
                </a:cubicBezTo>
                <a:cubicBezTo>
                  <a:pt x="0" y="158"/>
                  <a:pt x="2" y="160"/>
                  <a:pt x="4" y="160"/>
                </a:cubicBezTo>
                <a:cubicBezTo>
                  <a:pt x="156" y="160"/>
                  <a:pt x="156" y="160"/>
                  <a:pt x="156" y="160"/>
                </a:cubicBezTo>
                <a:cubicBezTo>
                  <a:pt x="158" y="160"/>
                  <a:pt x="160" y="158"/>
                  <a:pt x="160" y="156"/>
                </a:cubicBezTo>
                <a:cubicBezTo>
                  <a:pt x="160" y="4"/>
                  <a:pt x="160" y="4"/>
                  <a:pt x="160" y="4"/>
                </a:cubicBezTo>
                <a:cubicBezTo>
                  <a:pt x="160" y="2"/>
                  <a:pt x="158" y="0"/>
                  <a:pt x="156" y="0"/>
                </a:cubicBezTo>
                <a:close/>
                <a:moveTo>
                  <a:pt x="151" y="151"/>
                </a:moveTo>
                <a:cubicBezTo>
                  <a:pt x="9" y="151"/>
                  <a:pt x="9" y="151"/>
                  <a:pt x="9" y="151"/>
                </a:cubicBezTo>
                <a:cubicBezTo>
                  <a:pt x="9" y="9"/>
                  <a:pt x="9" y="9"/>
                  <a:pt x="9" y="9"/>
                </a:cubicBezTo>
                <a:cubicBezTo>
                  <a:pt x="151" y="9"/>
                  <a:pt x="151" y="9"/>
                  <a:pt x="151" y="9"/>
                </a:cubicBezTo>
                <a:lnTo>
                  <a:pt x="151" y="15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19" name="Freeform 21">
            <a:extLst>
              <a:ext uri="{FF2B5EF4-FFF2-40B4-BE49-F238E27FC236}">
                <a16:creationId xmlns:a16="http://schemas.microsoft.com/office/drawing/2014/main" id="{9A0A668B-7270-6442-A435-7158548003CD}"/>
              </a:ext>
            </a:extLst>
          </p:cNvPr>
          <p:cNvSpPr>
            <a:spLocks noEditPoints="1"/>
          </p:cNvSpPr>
          <p:nvPr/>
        </p:nvSpPr>
        <p:spPr bwMode="auto">
          <a:xfrm>
            <a:off x="1668154" y="5167313"/>
            <a:ext cx="552450" cy="606425"/>
          </a:xfrm>
          <a:custGeom>
            <a:avLst/>
            <a:gdLst>
              <a:gd name="T0" fmla="*/ 67 w 147"/>
              <a:gd name="T1" fmla="*/ 95 h 160"/>
              <a:gd name="T2" fmla="*/ 80 w 147"/>
              <a:gd name="T3" fmla="*/ 81 h 160"/>
              <a:gd name="T4" fmla="*/ 77 w 147"/>
              <a:gd name="T5" fmla="*/ 86 h 160"/>
              <a:gd name="T6" fmla="*/ 143 w 147"/>
              <a:gd name="T7" fmla="*/ 69 h 160"/>
              <a:gd name="T8" fmla="*/ 132 w 147"/>
              <a:gd name="T9" fmla="*/ 33 h 160"/>
              <a:gd name="T10" fmla="*/ 128 w 147"/>
              <a:gd name="T11" fmla="*/ 30 h 160"/>
              <a:gd name="T12" fmla="*/ 92 w 147"/>
              <a:gd name="T13" fmla="*/ 18 h 160"/>
              <a:gd name="T14" fmla="*/ 86 w 147"/>
              <a:gd name="T15" fmla="*/ 13 h 160"/>
              <a:gd name="T16" fmla="*/ 62 w 147"/>
              <a:gd name="T17" fmla="*/ 13 h 160"/>
              <a:gd name="T18" fmla="*/ 55 w 147"/>
              <a:gd name="T19" fmla="*/ 18 h 160"/>
              <a:gd name="T20" fmla="*/ 19 w 147"/>
              <a:gd name="T21" fmla="*/ 30 h 160"/>
              <a:gd name="T22" fmla="*/ 15 w 147"/>
              <a:gd name="T23" fmla="*/ 33 h 160"/>
              <a:gd name="T24" fmla="*/ 4 w 147"/>
              <a:gd name="T25" fmla="*/ 69 h 160"/>
              <a:gd name="T26" fmla="*/ 4 w 147"/>
              <a:gd name="T27" fmla="*/ 107 h 160"/>
              <a:gd name="T28" fmla="*/ 23 w 147"/>
              <a:gd name="T29" fmla="*/ 139 h 160"/>
              <a:gd name="T30" fmla="*/ 38 w 147"/>
              <a:gd name="T31" fmla="*/ 150 h 160"/>
              <a:gd name="T32" fmla="*/ 92 w 147"/>
              <a:gd name="T33" fmla="*/ 158 h 160"/>
              <a:gd name="T34" fmla="*/ 110 w 147"/>
              <a:gd name="T35" fmla="*/ 150 h 160"/>
              <a:gd name="T36" fmla="*/ 136 w 147"/>
              <a:gd name="T37" fmla="*/ 124 h 160"/>
              <a:gd name="T38" fmla="*/ 146 w 147"/>
              <a:gd name="T39" fmla="*/ 88 h 160"/>
              <a:gd name="T40" fmla="*/ 132 w 147"/>
              <a:gd name="T41" fmla="*/ 26 h 160"/>
              <a:gd name="T42" fmla="*/ 11 w 147"/>
              <a:gd name="T43" fmla="*/ 30 h 160"/>
              <a:gd name="T44" fmla="*/ 128 w 147"/>
              <a:gd name="T45" fmla="*/ 116 h 160"/>
              <a:gd name="T46" fmla="*/ 119 w 147"/>
              <a:gd name="T47" fmla="*/ 129 h 160"/>
              <a:gd name="T48" fmla="*/ 107 w 147"/>
              <a:gd name="T49" fmla="*/ 140 h 160"/>
              <a:gd name="T50" fmla="*/ 92 w 147"/>
              <a:gd name="T51" fmla="*/ 147 h 160"/>
              <a:gd name="T52" fmla="*/ 76 w 147"/>
              <a:gd name="T53" fmla="*/ 149 h 160"/>
              <a:gd name="T54" fmla="*/ 60 w 147"/>
              <a:gd name="T55" fmla="*/ 148 h 160"/>
              <a:gd name="T56" fmla="*/ 45 w 147"/>
              <a:gd name="T57" fmla="*/ 142 h 160"/>
              <a:gd name="T58" fmla="*/ 32 w 147"/>
              <a:gd name="T59" fmla="*/ 133 h 160"/>
              <a:gd name="T60" fmla="*/ 22 w 147"/>
              <a:gd name="T61" fmla="*/ 121 h 160"/>
              <a:gd name="T62" fmla="*/ 15 w 147"/>
              <a:gd name="T63" fmla="*/ 106 h 160"/>
              <a:gd name="T64" fmla="*/ 12 w 147"/>
              <a:gd name="T65" fmla="*/ 91 h 160"/>
              <a:gd name="T66" fmla="*/ 14 w 147"/>
              <a:gd name="T67" fmla="*/ 75 h 160"/>
              <a:gd name="T68" fmla="*/ 15 w 147"/>
              <a:gd name="T69" fmla="*/ 57 h 160"/>
              <a:gd name="T70" fmla="*/ 17 w 147"/>
              <a:gd name="T71" fmla="*/ 52 h 160"/>
              <a:gd name="T72" fmla="*/ 32 w 147"/>
              <a:gd name="T73" fmla="*/ 43 h 160"/>
              <a:gd name="T74" fmla="*/ 44 w 147"/>
              <a:gd name="T75" fmla="*/ 37 h 160"/>
              <a:gd name="T76" fmla="*/ 58 w 147"/>
              <a:gd name="T77" fmla="*/ 31 h 160"/>
              <a:gd name="T78" fmla="*/ 71 w 147"/>
              <a:gd name="T79" fmla="*/ 21 h 160"/>
              <a:gd name="T80" fmla="*/ 76 w 147"/>
              <a:gd name="T81" fmla="*/ 21 h 160"/>
              <a:gd name="T82" fmla="*/ 89 w 147"/>
              <a:gd name="T83" fmla="*/ 31 h 160"/>
              <a:gd name="T84" fmla="*/ 102 w 147"/>
              <a:gd name="T85" fmla="*/ 34 h 160"/>
              <a:gd name="T86" fmla="*/ 119 w 147"/>
              <a:gd name="T87" fmla="*/ 39 h 160"/>
              <a:gd name="T88" fmla="*/ 123 w 147"/>
              <a:gd name="T89" fmla="*/ 43 h 160"/>
              <a:gd name="T90" fmla="*/ 128 w 147"/>
              <a:gd name="T91" fmla="*/ 60 h 160"/>
              <a:gd name="T92" fmla="*/ 133 w 147"/>
              <a:gd name="T93" fmla="*/ 75 h 160"/>
              <a:gd name="T94" fmla="*/ 132 w 147"/>
              <a:gd name="T95" fmla="*/ 88 h 160"/>
              <a:gd name="T96" fmla="*/ 130 w 147"/>
              <a:gd name="T97" fmla="*/ 103 h 160"/>
              <a:gd name="T98" fmla="*/ 60 w 147"/>
              <a:gd name="T99" fmla="*/ 7 h 160"/>
              <a:gd name="T100" fmla="*/ 76 w 147"/>
              <a:gd name="T101"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 h="160">
                <a:moveTo>
                  <a:pt x="80" y="81"/>
                </a:moveTo>
                <a:cubicBezTo>
                  <a:pt x="46" y="57"/>
                  <a:pt x="46" y="57"/>
                  <a:pt x="46" y="57"/>
                </a:cubicBezTo>
                <a:cubicBezTo>
                  <a:pt x="45" y="56"/>
                  <a:pt x="43" y="56"/>
                  <a:pt x="42" y="57"/>
                </a:cubicBezTo>
                <a:cubicBezTo>
                  <a:pt x="41" y="58"/>
                  <a:pt x="41" y="59"/>
                  <a:pt x="42" y="60"/>
                </a:cubicBezTo>
                <a:cubicBezTo>
                  <a:pt x="67" y="95"/>
                  <a:pt x="67" y="95"/>
                  <a:pt x="67" y="95"/>
                </a:cubicBezTo>
                <a:cubicBezTo>
                  <a:pt x="69" y="97"/>
                  <a:pt x="71" y="98"/>
                  <a:pt x="74" y="99"/>
                </a:cubicBezTo>
                <a:cubicBezTo>
                  <a:pt x="74" y="99"/>
                  <a:pt x="74" y="99"/>
                  <a:pt x="75" y="99"/>
                </a:cubicBezTo>
                <a:cubicBezTo>
                  <a:pt x="77" y="99"/>
                  <a:pt x="80" y="98"/>
                  <a:pt x="81" y="96"/>
                </a:cubicBezTo>
                <a:cubicBezTo>
                  <a:pt x="83" y="94"/>
                  <a:pt x="84" y="91"/>
                  <a:pt x="84" y="88"/>
                </a:cubicBezTo>
                <a:cubicBezTo>
                  <a:pt x="84" y="86"/>
                  <a:pt x="83" y="83"/>
                  <a:pt x="80" y="81"/>
                </a:cubicBezTo>
                <a:close/>
                <a:moveTo>
                  <a:pt x="78" y="92"/>
                </a:moveTo>
                <a:cubicBezTo>
                  <a:pt x="77" y="93"/>
                  <a:pt x="76" y="93"/>
                  <a:pt x="74" y="93"/>
                </a:cubicBezTo>
                <a:cubicBezTo>
                  <a:pt x="73" y="93"/>
                  <a:pt x="72" y="93"/>
                  <a:pt x="71" y="92"/>
                </a:cubicBezTo>
                <a:cubicBezTo>
                  <a:pt x="56" y="71"/>
                  <a:pt x="56" y="71"/>
                  <a:pt x="56" y="71"/>
                </a:cubicBezTo>
                <a:cubicBezTo>
                  <a:pt x="77" y="86"/>
                  <a:pt x="77" y="86"/>
                  <a:pt x="77" y="86"/>
                </a:cubicBezTo>
                <a:cubicBezTo>
                  <a:pt x="78" y="87"/>
                  <a:pt x="79" y="88"/>
                  <a:pt x="79" y="89"/>
                </a:cubicBezTo>
                <a:cubicBezTo>
                  <a:pt x="79" y="90"/>
                  <a:pt x="79" y="91"/>
                  <a:pt x="78" y="92"/>
                </a:cubicBezTo>
                <a:close/>
                <a:moveTo>
                  <a:pt x="143" y="69"/>
                </a:moveTo>
                <a:cubicBezTo>
                  <a:pt x="143" y="69"/>
                  <a:pt x="143" y="69"/>
                  <a:pt x="143" y="69"/>
                </a:cubicBezTo>
                <a:cubicBezTo>
                  <a:pt x="143" y="69"/>
                  <a:pt x="143" y="69"/>
                  <a:pt x="143" y="69"/>
                </a:cubicBezTo>
                <a:cubicBezTo>
                  <a:pt x="141" y="63"/>
                  <a:pt x="139" y="58"/>
                  <a:pt x="136" y="52"/>
                </a:cubicBezTo>
                <a:cubicBezTo>
                  <a:pt x="136" y="52"/>
                  <a:pt x="136" y="52"/>
                  <a:pt x="136" y="52"/>
                </a:cubicBezTo>
                <a:cubicBezTo>
                  <a:pt x="136" y="52"/>
                  <a:pt x="136" y="52"/>
                  <a:pt x="136" y="52"/>
                </a:cubicBezTo>
                <a:cubicBezTo>
                  <a:pt x="133" y="47"/>
                  <a:pt x="130" y="43"/>
                  <a:pt x="126" y="39"/>
                </a:cubicBezTo>
                <a:cubicBezTo>
                  <a:pt x="132" y="33"/>
                  <a:pt x="132" y="33"/>
                  <a:pt x="132" y="33"/>
                </a:cubicBezTo>
                <a:cubicBezTo>
                  <a:pt x="136" y="37"/>
                  <a:pt x="136" y="37"/>
                  <a:pt x="136" y="37"/>
                </a:cubicBezTo>
                <a:cubicBezTo>
                  <a:pt x="147" y="26"/>
                  <a:pt x="147" y="26"/>
                  <a:pt x="147" y="26"/>
                </a:cubicBezTo>
                <a:cubicBezTo>
                  <a:pt x="136" y="14"/>
                  <a:pt x="136" y="14"/>
                  <a:pt x="136" y="14"/>
                </a:cubicBezTo>
                <a:cubicBezTo>
                  <a:pt x="124" y="26"/>
                  <a:pt x="124" y="26"/>
                  <a:pt x="124" y="26"/>
                </a:cubicBezTo>
                <a:cubicBezTo>
                  <a:pt x="128" y="30"/>
                  <a:pt x="128" y="30"/>
                  <a:pt x="128" y="30"/>
                </a:cubicBezTo>
                <a:cubicBezTo>
                  <a:pt x="122" y="35"/>
                  <a:pt x="122" y="35"/>
                  <a:pt x="122" y="35"/>
                </a:cubicBezTo>
                <a:cubicBezTo>
                  <a:pt x="119" y="32"/>
                  <a:pt x="114" y="28"/>
                  <a:pt x="110" y="26"/>
                </a:cubicBezTo>
                <a:cubicBezTo>
                  <a:pt x="110" y="26"/>
                  <a:pt x="110" y="26"/>
                  <a:pt x="110" y="26"/>
                </a:cubicBezTo>
                <a:cubicBezTo>
                  <a:pt x="109" y="26"/>
                  <a:pt x="109" y="26"/>
                  <a:pt x="109" y="26"/>
                </a:cubicBezTo>
                <a:cubicBezTo>
                  <a:pt x="104" y="23"/>
                  <a:pt x="98" y="20"/>
                  <a:pt x="92" y="18"/>
                </a:cubicBezTo>
                <a:cubicBezTo>
                  <a:pt x="92" y="18"/>
                  <a:pt x="92" y="18"/>
                  <a:pt x="92" y="18"/>
                </a:cubicBezTo>
                <a:cubicBezTo>
                  <a:pt x="92" y="18"/>
                  <a:pt x="92" y="18"/>
                  <a:pt x="92" y="18"/>
                </a:cubicBezTo>
                <a:cubicBezTo>
                  <a:pt x="89" y="18"/>
                  <a:pt x="85" y="17"/>
                  <a:pt x="82" y="16"/>
                </a:cubicBezTo>
                <a:cubicBezTo>
                  <a:pt x="82" y="13"/>
                  <a:pt x="82" y="13"/>
                  <a:pt x="82" y="13"/>
                </a:cubicBezTo>
                <a:cubicBezTo>
                  <a:pt x="86" y="13"/>
                  <a:pt x="86" y="13"/>
                  <a:pt x="86" y="13"/>
                </a:cubicBezTo>
                <a:cubicBezTo>
                  <a:pt x="89" y="13"/>
                  <a:pt x="92" y="10"/>
                  <a:pt x="92" y="7"/>
                </a:cubicBezTo>
                <a:cubicBezTo>
                  <a:pt x="92" y="3"/>
                  <a:pt x="89" y="0"/>
                  <a:pt x="86" y="0"/>
                </a:cubicBezTo>
                <a:cubicBezTo>
                  <a:pt x="62" y="0"/>
                  <a:pt x="62" y="0"/>
                  <a:pt x="62" y="0"/>
                </a:cubicBezTo>
                <a:cubicBezTo>
                  <a:pt x="58" y="0"/>
                  <a:pt x="55" y="3"/>
                  <a:pt x="55" y="7"/>
                </a:cubicBezTo>
                <a:cubicBezTo>
                  <a:pt x="55" y="10"/>
                  <a:pt x="58" y="13"/>
                  <a:pt x="62" y="13"/>
                </a:cubicBezTo>
                <a:cubicBezTo>
                  <a:pt x="66" y="13"/>
                  <a:pt x="66" y="13"/>
                  <a:pt x="66" y="13"/>
                </a:cubicBezTo>
                <a:cubicBezTo>
                  <a:pt x="66" y="16"/>
                  <a:pt x="66" y="16"/>
                  <a:pt x="66" y="16"/>
                </a:cubicBezTo>
                <a:cubicBezTo>
                  <a:pt x="62" y="17"/>
                  <a:pt x="58" y="18"/>
                  <a:pt x="55" y="18"/>
                </a:cubicBezTo>
                <a:cubicBezTo>
                  <a:pt x="55" y="18"/>
                  <a:pt x="55" y="18"/>
                  <a:pt x="55" y="18"/>
                </a:cubicBezTo>
                <a:cubicBezTo>
                  <a:pt x="55" y="18"/>
                  <a:pt x="55" y="18"/>
                  <a:pt x="55" y="18"/>
                </a:cubicBezTo>
                <a:cubicBezTo>
                  <a:pt x="49" y="20"/>
                  <a:pt x="43" y="23"/>
                  <a:pt x="38" y="26"/>
                </a:cubicBezTo>
                <a:cubicBezTo>
                  <a:pt x="38" y="26"/>
                  <a:pt x="38" y="26"/>
                  <a:pt x="38" y="26"/>
                </a:cubicBezTo>
                <a:cubicBezTo>
                  <a:pt x="37" y="26"/>
                  <a:pt x="37" y="26"/>
                  <a:pt x="37" y="26"/>
                </a:cubicBezTo>
                <a:cubicBezTo>
                  <a:pt x="33" y="28"/>
                  <a:pt x="28" y="32"/>
                  <a:pt x="25" y="35"/>
                </a:cubicBezTo>
                <a:cubicBezTo>
                  <a:pt x="19" y="30"/>
                  <a:pt x="19" y="30"/>
                  <a:pt x="19" y="30"/>
                </a:cubicBezTo>
                <a:cubicBezTo>
                  <a:pt x="23" y="26"/>
                  <a:pt x="23" y="26"/>
                  <a:pt x="23" y="26"/>
                </a:cubicBezTo>
                <a:cubicBezTo>
                  <a:pt x="11" y="14"/>
                  <a:pt x="11" y="14"/>
                  <a:pt x="11" y="14"/>
                </a:cubicBezTo>
                <a:cubicBezTo>
                  <a:pt x="0" y="26"/>
                  <a:pt x="0" y="26"/>
                  <a:pt x="0" y="26"/>
                </a:cubicBezTo>
                <a:cubicBezTo>
                  <a:pt x="11" y="37"/>
                  <a:pt x="11" y="37"/>
                  <a:pt x="11" y="37"/>
                </a:cubicBezTo>
                <a:cubicBezTo>
                  <a:pt x="15" y="33"/>
                  <a:pt x="15" y="33"/>
                  <a:pt x="15" y="33"/>
                </a:cubicBezTo>
                <a:cubicBezTo>
                  <a:pt x="21" y="39"/>
                  <a:pt x="21" y="39"/>
                  <a:pt x="21" y="39"/>
                </a:cubicBezTo>
                <a:cubicBezTo>
                  <a:pt x="17" y="43"/>
                  <a:pt x="14" y="47"/>
                  <a:pt x="11" y="52"/>
                </a:cubicBezTo>
                <a:cubicBezTo>
                  <a:pt x="11" y="52"/>
                  <a:pt x="11" y="52"/>
                  <a:pt x="11" y="52"/>
                </a:cubicBezTo>
                <a:cubicBezTo>
                  <a:pt x="11" y="52"/>
                  <a:pt x="11" y="52"/>
                  <a:pt x="11" y="52"/>
                </a:cubicBezTo>
                <a:cubicBezTo>
                  <a:pt x="8" y="58"/>
                  <a:pt x="6" y="63"/>
                  <a:pt x="4" y="69"/>
                </a:cubicBezTo>
                <a:cubicBezTo>
                  <a:pt x="4" y="69"/>
                  <a:pt x="4" y="69"/>
                  <a:pt x="4" y="69"/>
                </a:cubicBezTo>
                <a:cubicBezTo>
                  <a:pt x="4" y="69"/>
                  <a:pt x="4" y="69"/>
                  <a:pt x="4" y="69"/>
                </a:cubicBezTo>
                <a:cubicBezTo>
                  <a:pt x="2" y="75"/>
                  <a:pt x="2" y="82"/>
                  <a:pt x="2" y="88"/>
                </a:cubicBezTo>
                <a:cubicBezTo>
                  <a:pt x="2" y="94"/>
                  <a:pt x="2" y="101"/>
                  <a:pt x="4" y="107"/>
                </a:cubicBezTo>
                <a:cubicBezTo>
                  <a:pt x="4" y="107"/>
                  <a:pt x="4" y="107"/>
                  <a:pt x="4" y="107"/>
                </a:cubicBezTo>
                <a:cubicBezTo>
                  <a:pt x="4" y="107"/>
                  <a:pt x="4" y="107"/>
                  <a:pt x="4" y="107"/>
                </a:cubicBezTo>
                <a:cubicBezTo>
                  <a:pt x="6" y="113"/>
                  <a:pt x="8" y="119"/>
                  <a:pt x="11" y="124"/>
                </a:cubicBezTo>
                <a:cubicBezTo>
                  <a:pt x="11" y="124"/>
                  <a:pt x="11" y="124"/>
                  <a:pt x="11" y="124"/>
                </a:cubicBezTo>
                <a:cubicBezTo>
                  <a:pt x="11" y="124"/>
                  <a:pt x="11" y="124"/>
                  <a:pt x="11" y="124"/>
                </a:cubicBezTo>
                <a:cubicBezTo>
                  <a:pt x="14" y="130"/>
                  <a:pt x="18" y="134"/>
                  <a:pt x="23" y="139"/>
                </a:cubicBezTo>
                <a:cubicBezTo>
                  <a:pt x="23" y="139"/>
                  <a:pt x="23" y="139"/>
                  <a:pt x="23" y="139"/>
                </a:cubicBezTo>
                <a:cubicBezTo>
                  <a:pt x="23" y="139"/>
                  <a:pt x="23" y="139"/>
                  <a:pt x="23" y="139"/>
                </a:cubicBezTo>
                <a:cubicBezTo>
                  <a:pt x="27" y="143"/>
                  <a:pt x="32" y="147"/>
                  <a:pt x="37" y="150"/>
                </a:cubicBezTo>
                <a:cubicBezTo>
                  <a:pt x="37" y="150"/>
                  <a:pt x="37" y="150"/>
                  <a:pt x="38" y="150"/>
                </a:cubicBezTo>
                <a:cubicBezTo>
                  <a:pt x="38" y="150"/>
                  <a:pt x="38" y="150"/>
                  <a:pt x="38" y="150"/>
                </a:cubicBezTo>
                <a:cubicBezTo>
                  <a:pt x="43" y="154"/>
                  <a:pt x="49" y="156"/>
                  <a:pt x="55" y="158"/>
                </a:cubicBezTo>
                <a:cubicBezTo>
                  <a:pt x="55" y="158"/>
                  <a:pt x="55" y="158"/>
                  <a:pt x="55" y="158"/>
                </a:cubicBezTo>
                <a:cubicBezTo>
                  <a:pt x="55" y="158"/>
                  <a:pt x="55" y="158"/>
                  <a:pt x="55" y="158"/>
                </a:cubicBezTo>
                <a:cubicBezTo>
                  <a:pt x="61" y="159"/>
                  <a:pt x="67" y="160"/>
                  <a:pt x="74" y="160"/>
                </a:cubicBezTo>
                <a:cubicBezTo>
                  <a:pt x="80" y="160"/>
                  <a:pt x="86" y="159"/>
                  <a:pt x="92" y="158"/>
                </a:cubicBezTo>
                <a:cubicBezTo>
                  <a:pt x="92" y="158"/>
                  <a:pt x="92" y="158"/>
                  <a:pt x="92" y="158"/>
                </a:cubicBezTo>
                <a:cubicBezTo>
                  <a:pt x="92" y="158"/>
                  <a:pt x="92" y="158"/>
                  <a:pt x="92" y="158"/>
                </a:cubicBezTo>
                <a:cubicBezTo>
                  <a:pt x="98" y="156"/>
                  <a:pt x="104" y="154"/>
                  <a:pt x="109" y="150"/>
                </a:cubicBezTo>
                <a:cubicBezTo>
                  <a:pt x="109" y="150"/>
                  <a:pt x="109" y="150"/>
                  <a:pt x="110" y="150"/>
                </a:cubicBezTo>
                <a:cubicBezTo>
                  <a:pt x="110" y="150"/>
                  <a:pt x="110" y="150"/>
                  <a:pt x="110" y="150"/>
                </a:cubicBezTo>
                <a:cubicBezTo>
                  <a:pt x="115" y="147"/>
                  <a:pt x="120" y="143"/>
                  <a:pt x="124" y="139"/>
                </a:cubicBezTo>
                <a:cubicBezTo>
                  <a:pt x="124" y="139"/>
                  <a:pt x="124" y="139"/>
                  <a:pt x="124" y="139"/>
                </a:cubicBezTo>
                <a:cubicBezTo>
                  <a:pt x="125" y="139"/>
                  <a:pt x="125" y="139"/>
                  <a:pt x="125" y="139"/>
                </a:cubicBezTo>
                <a:cubicBezTo>
                  <a:pt x="129" y="134"/>
                  <a:pt x="133" y="130"/>
                  <a:pt x="136" y="124"/>
                </a:cubicBezTo>
                <a:cubicBezTo>
                  <a:pt x="136" y="124"/>
                  <a:pt x="136" y="124"/>
                  <a:pt x="136" y="124"/>
                </a:cubicBezTo>
                <a:cubicBezTo>
                  <a:pt x="136" y="124"/>
                  <a:pt x="136" y="124"/>
                  <a:pt x="136" y="124"/>
                </a:cubicBezTo>
                <a:cubicBezTo>
                  <a:pt x="139" y="119"/>
                  <a:pt x="141" y="113"/>
                  <a:pt x="143" y="107"/>
                </a:cubicBezTo>
                <a:cubicBezTo>
                  <a:pt x="143" y="107"/>
                  <a:pt x="143" y="107"/>
                  <a:pt x="143" y="107"/>
                </a:cubicBezTo>
                <a:cubicBezTo>
                  <a:pt x="143" y="107"/>
                  <a:pt x="143" y="107"/>
                  <a:pt x="143" y="107"/>
                </a:cubicBezTo>
                <a:cubicBezTo>
                  <a:pt x="145" y="101"/>
                  <a:pt x="146" y="94"/>
                  <a:pt x="146" y="88"/>
                </a:cubicBezTo>
                <a:cubicBezTo>
                  <a:pt x="146" y="82"/>
                  <a:pt x="145" y="75"/>
                  <a:pt x="143" y="69"/>
                </a:cubicBezTo>
                <a:close/>
                <a:moveTo>
                  <a:pt x="136" y="22"/>
                </a:moveTo>
                <a:cubicBezTo>
                  <a:pt x="140" y="26"/>
                  <a:pt x="140" y="26"/>
                  <a:pt x="140" y="26"/>
                </a:cubicBezTo>
                <a:cubicBezTo>
                  <a:pt x="136" y="30"/>
                  <a:pt x="136" y="30"/>
                  <a:pt x="136" y="30"/>
                </a:cubicBezTo>
                <a:cubicBezTo>
                  <a:pt x="132" y="26"/>
                  <a:pt x="132" y="26"/>
                  <a:pt x="132" y="26"/>
                </a:cubicBezTo>
                <a:lnTo>
                  <a:pt x="136" y="22"/>
                </a:lnTo>
                <a:close/>
                <a:moveTo>
                  <a:pt x="8" y="26"/>
                </a:moveTo>
                <a:cubicBezTo>
                  <a:pt x="11" y="22"/>
                  <a:pt x="11" y="22"/>
                  <a:pt x="11" y="22"/>
                </a:cubicBezTo>
                <a:cubicBezTo>
                  <a:pt x="15" y="26"/>
                  <a:pt x="15" y="26"/>
                  <a:pt x="15" y="26"/>
                </a:cubicBezTo>
                <a:cubicBezTo>
                  <a:pt x="11" y="30"/>
                  <a:pt x="11" y="30"/>
                  <a:pt x="11" y="30"/>
                </a:cubicBezTo>
                <a:lnTo>
                  <a:pt x="8" y="26"/>
                </a:lnTo>
                <a:close/>
                <a:moveTo>
                  <a:pt x="132" y="106"/>
                </a:moveTo>
                <a:cubicBezTo>
                  <a:pt x="137" y="108"/>
                  <a:pt x="137" y="108"/>
                  <a:pt x="137" y="108"/>
                </a:cubicBezTo>
                <a:cubicBezTo>
                  <a:pt x="136" y="112"/>
                  <a:pt x="134" y="115"/>
                  <a:pt x="133" y="119"/>
                </a:cubicBezTo>
                <a:cubicBezTo>
                  <a:pt x="128" y="116"/>
                  <a:pt x="128" y="116"/>
                  <a:pt x="128" y="116"/>
                </a:cubicBezTo>
                <a:cubicBezTo>
                  <a:pt x="127" y="116"/>
                  <a:pt x="125" y="116"/>
                  <a:pt x="124" y="117"/>
                </a:cubicBezTo>
                <a:cubicBezTo>
                  <a:pt x="124" y="119"/>
                  <a:pt x="124" y="120"/>
                  <a:pt x="125" y="121"/>
                </a:cubicBezTo>
                <a:cubicBezTo>
                  <a:pt x="130" y="124"/>
                  <a:pt x="130" y="124"/>
                  <a:pt x="130" y="124"/>
                </a:cubicBezTo>
                <a:cubicBezTo>
                  <a:pt x="128" y="127"/>
                  <a:pt x="125" y="130"/>
                  <a:pt x="122" y="133"/>
                </a:cubicBezTo>
                <a:cubicBezTo>
                  <a:pt x="119" y="129"/>
                  <a:pt x="119" y="129"/>
                  <a:pt x="119" y="129"/>
                </a:cubicBezTo>
                <a:cubicBezTo>
                  <a:pt x="118" y="128"/>
                  <a:pt x="116" y="128"/>
                  <a:pt x="115" y="129"/>
                </a:cubicBezTo>
                <a:cubicBezTo>
                  <a:pt x="114" y="131"/>
                  <a:pt x="114" y="132"/>
                  <a:pt x="115" y="133"/>
                </a:cubicBezTo>
                <a:cubicBezTo>
                  <a:pt x="119" y="137"/>
                  <a:pt x="119" y="137"/>
                  <a:pt x="119" y="137"/>
                </a:cubicBezTo>
                <a:cubicBezTo>
                  <a:pt x="116" y="140"/>
                  <a:pt x="113" y="142"/>
                  <a:pt x="109" y="144"/>
                </a:cubicBezTo>
                <a:cubicBezTo>
                  <a:pt x="107" y="140"/>
                  <a:pt x="107" y="140"/>
                  <a:pt x="107" y="140"/>
                </a:cubicBezTo>
                <a:cubicBezTo>
                  <a:pt x="106" y="139"/>
                  <a:pt x="104" y="138"/>
                  <a:pt x="103" y="139"/>
                </a:cubicBezTo>
                <a:cubicBezTo>
                  <a:pt x="102" y="140"/>
                  <a:pt x="101" y="141"/>
                  <a:pt x="102" y="142"/>
                </a:cubicBezTo>
                <a:cubicBezTo>
                  <a:pt x="105" y="147"/>
                  <a:pt x="105" y="147"/>
                  <a:pt x="105" y="147"/>
                </a:cubicBezTo>
                <a:cubicBezTo>
                  <a:pt x="101" y="149"/>
                  <a:pt x="97" y="150"/>
                  <a:pt x="93" y="152"/>
                </a:cubicBezTo>
                <a:cubicBezTo>
                  <a:pt x="92" y="147"/>
                  <a:pt x="92" y="147"/>
                  <a:pt x="92" y="147"/>
                </a:cubicBezTo>
                <a:cubicBezTo>
                  <a:pt x="92" y="145"/>
                  <a:pt x="90" y="144"/>
                  <a:pt x="89" y="145"/>
                </a:cubicBezTo>
                <a:cubicBezTo>
                  <a:pt x="87" y="145"/>
                  <a:pt x="86" y="147"/>
                  <a:pt x="87" y="148"/>
                </a:cubicBezTo>
                <a:cubicBezTo>
                  <a:pt x="88" y="153"/>
                  <a:pt x="88" y="153"/>
                  <a:pt x="88" y="153"/>
                </a:cubicBezTo>
                <a:cubicBezTo>
                  <a:pt x="84" y="154"/>
                  <a:pt x="80" y="154"/>
                  <a:pt x="76" y="155"/>
                </a:cubicBezTo>
                <a:cubicBezTo>
                  <a:pt x="76" y="149"/>
                  <a:pt x="76" y="149"/>
                  <a:pt x="76" y="149"/>
                </a:cubicBezTo>
                <a:cubicBezTo>
                  <a:pt x="76" y="148"/>
                  <a:pt x="75" y="147"/>
                  <a:pt x="74" y="147"/>
                </a:cubicBezTo>
                <a:cubicBezTo>
                  <a:pt x="72" y="147"/>
                  <a:pt x="71" y="148"/>
                  <a:pt x="71" y="149"/>
                </a:cubicBezTo>
                <a:cubicBezTo>
                  <a:pt x="71" y="155"/>
                  <a:pt x="71" y="155"/>
                  <a:pt x="71" y="155"/>
                </a:cubicBezTo>
                <a:cubicBezTo>
                  <a:pt x="67" y="154"/>
                  <a:pt x="63" y="154"/>
                  <a:pt x="59" y="153"/>
                </a:cubicBezTo>
                <a:cubicBezTo>
                  <a:pt x="60" y="148"/>
                  <a:pt x="60" y="148"/>
                  <a:pt x="60" y="148"/>
                </a:cubicBezTo>
                <a:cubicBezTo>
                  <a:pt x="61" y="147"/>
                  <a:pt x="60" y="145"/>
                  <a:pt x="58" y="145"/>
                </a:cubicBezTo>
                <a:cubicBezTo>
                  <a:pt x="57" y="144"/>
                  <a:pt x="55" y="145"/>
                  <a:pt x="55" y="147"/>
                </a:cubicBezTo>
                <a:cubicBezTo>
                  <a:pt x="54" y="152"/>
                  <a:pt x="54" y="152"/>
                  <a:pt x="54" y="152"/>
                </a:cubicBezTo>
                <a:cubicBezTo>
                  <a:pt x="50" y="150"/>
                  <a:pt x="46" y="149"/>
                  <a:pt x="43" y="147"/>
                </a:cubicBezTo>
                <a:cubicBezTo>
                  <a:pt x="45" y="142"/>
                  <a:pt x="45" y="142"/>
                  <a:pt x="45" y="142"/>
                </a:cubicBezTo>
                <a:cubicBezTo>
                  <a:pt x="46" y="141"/>
                  <a:pt x="45" y="140"/>
                  <a:pt x="44" y="139"/>
                </a:cubicBezTo>
                <a:cubicBezTo>
                  <a:pt x="43" y="138"/>
                  <a:pt x="41" y="139"/>
                  <a:pt x="41" y="140"/>
                </a:cubicBezTo>
                <a:cubicBezTo>
                  <a:pt x="38" y="144"/>
                  <a:pt x="38" y="144"/>
                  <a:pt x="38" y="144"/>
                </a:cubicBezTo>
                <a:cubicBezTo>
                  <a:pt x="35" y="142"/>
                  <a:pt x="31" y="140"/>
                  <a:pt x="28" y="137"/>
                </a:cubicBezTo>
                <a:cubicBezTo>
                  <a:pt x="32" y="133"/>
                  <a:pt x="32" y="133"/>
                  <a:pt x="32" y="133"/>
                </a:cubicBezTo>
                <a:cubicBezTo>
                  <a:pt x="33" y="132"/>
                  <a:pt x="33" y="131"/>
                  <a:pt x="32" y="129"/>
                </a:cubicBezTo>
                <a:cubicBezTo>
                  <a:pt x="31" y="128"/>
                  <a:pt x="29" y="128"/>
                  <a:pt x="28" y="129"/>
                </a:cubicBezTo>
                <a:cubicBezTo>
                  <a:pt x="25" y="133"/>
                  <a:pt x="25" y="133"/>
                  <a:pt x="25" y="133"/>
                </a:cubicBezTo>
                <a:cubicBezTo>
                  <a:pt x="22" y="130"/>
                  <a:pt x="19" y="127"/>
                  <a:pt x="17" y="124"/>
                </a:cubicBezTo>
                <a:cubicBezTo>
                  <a:pt x="22" y="121"/>
                  <a:pt x="22" y="121"/>
                  <a:pt x="22" y="121"/>
                </a:cubicBezTo>
                <a:cubicBezTo>
                  <a:pt x="23" y="120"/>
                  <a:pt x="23" y="119"/>
                  <a:pt x="23" y="117"/>
                </a:cubicBezTo>
                <a:cubicBezTo>
                  <a:pt x="22" y="116"/>
                  <a:pt x="20" y="116"/>
                  <a:pt x="19" y="116"/>
                </a:cubicBezTo>
                <a:cubicBezTo>
                  <a:pt x="15" y="119"/>
                  <a:pt x="15" y="119"/>
                  <a:pt x="15" y="119"/>
                </a:cubicBezTo>
                <a:cubicBezTo>
                  <a:pt x="13" y="115"/>
                  <a:pt x="11" y="112"/>
                  <a:pt x="10" y="108"/>
                </a:cubicBezTo>
                <a:cubicBezTo>
                  <a:pt x="15" y="106"/>
                  <a:pt x="15" y="106"/>
                  <a:pt x="15" y="106"/>
                </a:cubicBezTo>
                <a:cubicBezTo>
                  <a:pt x="16" y="106"/>
                  <a:pt x="17" y="105"/>
                  <a:pt x="17" y="103"/>
                </a:cubicBezTo>
                <a:cubicBezTo>
                  <a:pt x="16" y="102"/>
                  <a:pt x="15" y="101"/>
                  <a:pt x="14" y="101"/>
                </a:cubicBezTo>
                <a:cubicBezTo>
                  <a:pt x="9" y="103"/>
                  <a:pt x="9" y="103"/>
                  <a:pt x="9" y="103"/>
                </a:cubicBezTo>
                <a:cubicBezTo>
                  <a:pt x="8" y="99"/>
                  <a:pt x="7" y="95"/>
                  <a:pt x="7" y="91"/>
                </a:cubicBezTo>
                <a:cubicBezTo>
                  <a:pt x="12" y="91"/>
                  <a:pt x="12" y="91"/>
                  <a:pt x="12" y="91"/>
                </a:cubicBezTo>
                <a:cubicBezTo>
                  <a:pt x="14" y="91"/>
                  <a:pt x="15" y="89"/>
                  <a:pt x="15" y="88"/>
                </a:cubicBezTo>
                <a:cubicBezTo>
                  <a:pt x="15" y="87"/>
                  <a:pt x="14" y="85"/>
                  <a:pt x="12" y="85"/>
                </a:cubicBezTo>
                <a:cubicBezTo>
                  <a:pt x="7" y="85"/>
                  <a:pt x="7" y="85"/>
                  <a:pt x="7" y="85"/>
                </a:cubicBezTo>
                <a:cubicBezTo>
                  <a:pt x="7" y="81"/>
                  <a:pt x="8" y="77"/>
                  <a:pt x="9" y="73"/>
                </a:cubicBezTo>
                <a:cubicBezTo>
                  <a:pt x="14" y="75"/>
                  <a:pt x="14" y="75"/>
                  <a:pt x="14" y="75"/>
                </a:cubicBezTo>
                <a:cubicBezTo>
                  <a:pt x="14" y="75"/>
                  <a:pt x="14" y="75"/>
                  <a:pt x="14" y="75"/>
                </a:cubicBezTo>
                <a:cubicBezTo>
                  <a:pt x="15" y="75"/>
                  <a:pt x="17" y="74"/>
                  <a:pt x="17" y="73"/>
                </a:cubicBezTo>
                <a:cubicBezTo>
                  <a:pt x="17" y="71"/>
                  <a:pt x="16" y="70"/>
                  <a:pt x="15" y="70"/>
                </a:cubicBezTo>
                <a:cubicBezTo>
                  <a:pt x="10" y="68"/>
                  <a:pt x="10" y="68"/>
                  <a:pt x="10" y="68"/>
                </a:cubicBezTo>
                <a:cubicBezTo>
                  <a:pt x="11" y="64"/>
                  <a:pt x="13" y="61"/>
                  <a:pt x="15" y="57"/>
                </a:cubicBezTo>
                <a:cubicBezTo>
                  <a:pt x="19" y="60"/>
                  <a:pt x="19" y="60"/>
                  <a:pt x="19" y="60"/>
                </a:cubicBezTo>
                <a:cubicBezTo>
                  <a:pt x="20" y="60"/>
                  <a:pt x="20" y="60"/>
                  <a:pt x="20" y="60"/>
                </a:cubicBezTo>
                <a:cubicBezTo>
                  <a:pt x="21" y="60"/>
                  <a:pt x="22" y="60"/>
                  <a:pt x="23" y="59"/>
                </a:cubicBezTo>
                <a:cubicBezTo>
                  <a:pt x="23" y="57"/>
                  <a:pt x="23" y="56"/>
                  <a:pt x="22" y="55"/>
                </a:cubicBezTo>
                <a:cubicBezTo>
                  <a:pt x="17" y="52"/>
                  <a:pt x="17" y="52"/>
                  <a:pt x="17" y="52"/>
                </a:cubicBezTo>
                <a:cubicBezTo>
                  <a:pt x="19" y="49"/>
                  <a:pt x="22" y="46"/>
                  <a:pt x="25" y="43"/>
                </a:cubicBezTo>
                <a:cubicBezTo>
                  <a:pt x="28" y="47"/>
                  <a:pt x="28" y="47"/>
                  <a:pt x="28" y="47"/>
                </a:cubicBezTo>
                <a:cubicBezTo>
                  <a:pt x="29" y="47"/>
                  <a:pt x="29" y="47"/>
                  <a:pt x="30" y="47"/>
                </a:cubicBezTo>
                <a:cubicBezTo>
                  <a:pt x="31" y="47"/>
                  <a:pt x="32" y="47"/>
                  <a:pt x="32" y="47"/>
                </a:cubicBezTo>
                <a:cubicBezTo>
                  <a:pt x="33" y="45"/>
                  <a:pt x="33" y="44"/>
                  <a:pt x="32" y="43"/>
                </a:cubicBezTo>
                <a:cubicBezTo>
                  <a:pt x="28" y="39"/>
                  <a:pt x="28" y="39"/>
                  <a:pt x="28" y="39"/>
                </a:cubicBezTo>
                <a:cubicBezTo>
                  <a:pt x="31" y="36"/>
                  <a:pt x="35" y="34"/>
                  <a:pt x="38" y="32"/>
                </a:cubicBezTo>
                <a:cubicBezTo>
                  <a:pt x="41" y="36"/>
                  <a:pt x="41" y="36"/>
                  <a:pt x="41" y="36"/>
                </a:cubicBezTo>
                <a:cubicBezTo>
                  <a:pt x="41" y="37"/>
                  <a:pt x="42" y="38"/>
                  <a:pt x="43" y="38"/>
                </a:cubicBezTo>
                <a:cubicBezTo>
                  <a:pt x="43" y="38"/>
                  <a:pt x="44" y="37"/>
                  <a:pt x="44" y="37"/>
                </a:cubicBezTo>
                <a:cubicBezTo>
                  <a:pt x="45" y="36"/>
                  <a:pt x="46" y="35"/>
                  <a:pt x="45" y="34"/>
                </a:cubicBezTo>
                <a:cubicBezTo>
                  <a:pt x="43" y="29"/>
                  <a:pt x="43" y="29"/>
                  <a:pt x="43" y="29"/>
                </a:cubicBezTo>
                <a:cubicBezTo>
                  <a:pt x="46" y="27"/>
                  <a:pt x="50" y="26"/>
                  <a:pt x="54" y="24"/>
                </a:cubicBezTo>
                <a:cubicBezTo>
                  <a:pt x="55" y="29"/>
                  <a:pt x="55" y="29"/>
                  <a:pt x="55" y="29"/>
                </a:cubicBezTo>
                <a:cubicBezTo>
                  <a:pt x="55" y="31"/>
                  <a:pt x="56" y="31"/>
                  <a:pt x="58" y="31"/>
                </a:cubicBezTo>
                <a:cubicBezTo>
                  <a:pt x="58" y="31"/>
                  <a:pt x="58" y="31"/>
                  <a:pt x="58" y="31"/>
                </a:cubicBezTo>
                <a:cubicBezTo>
                  <a:pt x="60" y="31"/>
                  <a:pt x="61" y="29"/>
                  <a:pt x="60" y="28"/>
                </a:cubicBezTo>
                <a:cubicBezTo>
                  <a:pt x="59" y="23"/>
                  <a:pt x="59" y="23"/>
                  <a:pt x="59" y="23"/>
                </a:cubicBezTo>
                <a:cubicBezTo>
                  <a:pt x="62" y="22"/>
                  <a:pt x="65" y="22"/>
                  <a:pt x="68" y="22"/>
                </a:cubicBezTo>
                <a:cubicBezTo>
                  <a:pt x="69" y="21"/>
                  <a:pt x="70" y="21"/>
                  <a:pt x="71" y="21"/>
                </a:cubicBezTo>
                <a:cubicBezTo>
                  <a:pt x="71" y="21"/>
                  <a:pt x="71" y="21"/>
                  <a:pt x="71" y="21"/>
                </a:cubicBezTo>
                <a:cubicBezTo>
                  <a:pt x="71" y="27"/>
                  <a:pt x="71" y="27"/>
                  <a:pt x="71" y="27"/>
                </a:cubicBezTo>
                <a:cubicBezTo>
                  <a:pt x="71" y="28"/>
                  <a:pt x="72" y="29"/>
                  <a:pt x="74" y="29"/>
                </a:cubicBezTo>
                <a:cubicBezTo>
                  <a:pt x="75" y="29"/>
                  <a:pt x="76" y="28"/>
                  <a:pt x="76" y="27"/>
                </a:cubicBezTo>
                <a:cubicBezTo>
                  <a:pt x="76" y="21"/>
                  <a:pt x="76" y="21"/>
                  <a:pt x="76" y="21"/>
                </a:cubicBezTo>
                <a:cubicBezTo>
                  <a:pt x="76" y="21"/>
                  <a:pt x="76" y="21"/>
                  <a:pt x="76" y="21"/>
                </a:cubicBezTo>
                <a:cubicBezTo>
                  <a:pt x="77" y="21"/>
                  <a:pt x="78" y="21"/>
                  <a:pt x="79" y="22"/>
                </a:cubicBezTo>
                <a:cubicBezTo>
                  <a:pt x="82" y="22"/>
                  <a:pt x="85" y="22"/>
                  <a:pt x="88" y="23"/>
                </a:cubicBezTo>
                <a:cubicBezTo>
                  <a:pt x="87" y="28"/>
                  <a:pt x="87" y="28"/>
                  <a:pt x="87" y="28"/>
                </a:cubicBezTo>
                <a:cubicBezTo>
                  <a:pt x="86" y="29"/>
                  <a:pt x="87" y="31"/>
                  <a:pt x="89" y="31"/>
                </a:cubicBezTo>
                <a:cubicBezTo>
                  <a:pt x="89" y="31"/>
                  <a:pt x="89" y="31"/>
                  <a:pt x="89" y="31"/>
                </a:cubicBezTo>
                <a:cubicBezTo>
                  <a:pt x="91" y="31"/>
                  <a:pt x="92" y="31"/>
                  <a:pt x="92" y="29"/>
                </a:cubicBezTo>
                <a:cubicBezTo>
                  <a:pt x="93" y="24"/>
                  <a:pt x="93" y="24"/>
                  <a:pt x="93" y="24"/>
                </a:cubicBezTo>
                <a:cubicBezTo>
                  <a:pt x="97" y="26"/>
                  <a:pt x="101" y="27"/>
                  <a:pt x="105" y="29"/>
                </a:cubicBezTo>
                <a:cubicBezTo>
                  <a:pt x="102" y="34"/>
                  <a:pt x="102" y="34"/>
                  <a:pt x="102" y="34"/>
                </a:cubicBezTo>
                <a:cubicBezTo>
                  <a:pt x="101" y="35"/>
                  <a:pt x="102" y="36"/>
                  <a:pt x="103" y="37"/>
                </a:cubicBezTo>
                <a:cubicBezTo>
                  <a:pt x="103" y="37"/>
                  <a:pt x="104" y="38"/>
                  <a:pt x="104" y="38"/>
                </a:cubicBezTo>
                <a:cubicBezTo>
                  <a:pt x="105" y="38"/>
                  <a:pt x="106" y="37"/>
                  <a:pt x="107" y="36"/>
                </a:cubicBezTo>
                <a:cubicBezTo>
                  <a:pt x="109" y="32"/>
                  <a:pt x="109" y="32"/>
                  <a:pt x="109" y="32"/>
                </a:cubicBezTo>
                <a:cubicBezTo>
                  <a:pt x="113" y="34"/>
                  <a:pt x="116" y="36"/>
                  <a:pt x="119" y="39"/>
                </a:cubicBezTo>
                <a:cubicBezTo>
                  <a:pt x="115" y="43"/>
                  <a:pt x="115" y="43"/>
                  <a:pt x="115" y="43"/>
                </a:cubicBezTo>
                <a:cubicBezTo>
                  <a:pt x="114" y="44"/>
                  <a:pt x="114" y="45"/>
                  <a:pt x="115" y="47"/>
                </a:cubicBezTo>
                <a:cubicBezTo>
                  <a:pt x="116" y="47"/>
                  <a:pt x="116" y="47"/>
                  <a:pt x="117" y="47"/>
                </a:cubicBezTo>
                <a:cubicBezTo>
                  <a:pt x="118" y="47"/>
                  <a:pt x="118" y="47"/>
                  <a:pt x="119" y="47"/>
                </a:cubicBezTo>
                <a:cubicBezTo>
                  <a:pt x="123" y="43"/>
                  <a:pt x="123" y="43"/>
                  <a:pt x="123" y="43"/>
                </a:cubicBezTo>
                <a:cubicBezTo>
                  <a:pt x="125" y="46"/>
                  <a:pt x="128" y="49"/>
                  <a:pt x="130" y="52"/>
                </a:cubicBezTo>
                <a:cubicBezTo>
                  <a:pt x="125" y="55"/>
                  <a:pt x="125" y="55"/>
                  <a:pt x="125" y="55"/>
                </a:cubicBezTo>
                <a:cubicBezTo>
                  <a:pt x="124" y="56"/>
                  <a:pt x="124" y="57"/>
                  <a:pt x="124" y="59"/>
                </a:cubicBezTo>
                <a:cubicBezTo>
                  <a:pt x="125" y="60"/>
                  <a:pt x="126" y="60"/>
                  <a:pt x="127" y="60"/>
                </a:cubicBezTo>
                <a:cubicBezTo>
                  <a:pt x="127" y="60"/>
                  <a:pt x="128" y="60"/>
                  <a:pt x="128" y="60"/>
                </a:cubicBezTo>
                <a:cubicBezTo>
                  <a:pt x="133" y="57"/>
                  <a:pt x="133" y="57"/>
                  <a:pt x="133" y="57"/>
                </a:cubicBezTo>
                <a:cubicBezTo>
                  <a:pt x="134" y="61"/>
                  <a:pt x="136" y="64"/>
                  <a:pt x="137" y="68"/>
                </a:cubicBezTo>
                <a:cubicBezTo>
                  <a:pt x="132" y="70"/>
                  <a:pt x="132" y="70"/>
                  <a:pt x="132" y="70"/>
                </a:cubicBezTo>
                <a:cubicBezTo>
                  <a:pt x="131" y="70"/>
                  <a:pt x="130" y="71"/>
                  <a:pt x="130" y="73"/>
                </a:cubicBezTo>
                <a:cubicBezTo>
                  <a:pt x="131" y="74"/>
                  <a:pt x="132" y="75"/>
                  <a:pt x="133" y="75"/>
                </a:cubicBezTo>
                <a:cubicBezTo>
                  <a:pt x="133" y="75"/>
                  <a:pt x="133" y="75"/>
                  <a:pt x="133" y="75"/>
                </a:cubicBezTo>
                <a:cubicBezTo>
                  <a:pt x="139" y="73"/>
                  <a:pt x="139" y="73"/>
                  <a:pt x="139" y="73"/>
                </a:cubicBezTo>
                <a:cubicBezTo>
                  <a:pt x="139" y="77"/>
                  <a:pt x="140" y="81"/>
                  <a:pt x="140" y="85"/>
                </a:cubicBezTo>
                <a:cubicBezTo>
                  <a:pt x="135" y="85"/>
                  <a:pt x="135" y="85"/>
                  <a:pt x="135" y="85"/>
                </a:cubicBezTo>
                <a:cubicBezTo>
                  <a:pt x="133" y="85"/>
                  <a:pt x="132" y="87"/>
                  <a:pt x="132" y="88"/>
                </a:cubicBezTo>
                <a:cubicBezTo>
                  <a:pt x="132" y="89"/>
                  <a:pt x="133" y="91"/>
                  <a:pt x="135" y="91"/>
                </a:cubicBezTo>
                <a:cubicBezTo>
                  <a:pt x="140" y="91"/>
                  <a:pt x="140" y="91"/>
                  <a:pt x="140" y="91"/>
                </a:cubicBezTo>
                <a:cubicBezTo>
                  <a:pt x="140" y="95"/>
                  <a:pt x="139" y="99"/>
                  <a:pt x="139" y="103"/>
                </a:cubicBezTo>
                <a:cubicBezTo>
                  <a:pt x="133" y="101"/>
                  <a:pt x="133" y="101"/>
                  <a:pt x="133" y="101"/>
                </a:cubicBezTo>
                <a:cubicBezTo>
                  <a:pt x="132" y="101"/>
                  <a:pt x="131" y="102"/>
                  <a:pt x="130" y="103"/>
                </a:cubicBezTo>
                <a:cubicBezTo>
                  <a:pt x="130" y="105"/>
                  <a:pt x="131" y="106"/>
                  <a:pt x="132" y="106"/>
                </a:cubicBezTo>
                <a:close/>
                <a:moveTo>
                  <a:pt x="71" y="16"/>
                </a:moveTo>
                <a:cubicBezTo>
                  <a:pt x="71" y="8"/>
                  <a:pt x="71" y="8"/>
                  <a:pt x="71" y="8"/>
                </a:cubicBezTo>
                <a:cubicBezTo>
                  <a:pt x="62" y="8"/>
                  <a:pt x="62" y="8"/>
                  <a:pt x="62" y="8"/>
                </a:cubicBezTo>
                <a:cubicBezTo>
                  <a:pt x="61" y="8"/>
                  <a:pt x="60" y="7"/>
                  <a:pt x="60" y="7"/>
                </a:cubicBezTo>
                <a:cubicBezTo>
                  <a:pt x="60" y="6"/>
                  <a:pt x="61" y="5"/>
                  <a:pt x="62" y="5"/>
                </a:cubicBezTo>
                <a:cubicBezTo>
                  <a:pt x="86" y="5"/>
                  <a:pt x="86" y="5"/>
                  <a:pt x="86" y="5"/>
                </a:cubicBezTo>
                <a:cubicBezTo>
                  <a:pt x="86" y="5"/>
                  <a:pt x="87" y="6"/>
                  <a:pt x="87" y="7"/>
                </a:cubicBezTo>
                <a:cubicBezTo>
                  <a:pt x="87" y="7"/>
                  <a:pt x="86" y="8"/>
                  <a:pt x="86" y="8"/>
                </a:cubicBezTo>
                <a:cubicBezTo>
                  <a:pt x="76" y="8"/>
                  <a:pt x="76" y="8"/>
                  <a:pt x="76" y="8"/>
                </a:cubicBezTo>
                <a:cubicBezTo>
                  <a:pt x="76" y="16"/>
                  <a:pt x="76" y="16"/>
                  <a:pt x="76" y="16"/>
                </a:cubicBezTo>
                <a:cubicBezTo>
                  <a:pt x="75" y="16"/>
                  <a:pt x="74" y="16"/>
                  <a:pt x="74" y="16"/>
                </a:cubicBezTo>
                <a:cubicBezTo>
                  <a:pt x="73" y="16"/>
                  <a:pt x="72" y="16"/>
                  <a:pt x="71" y="1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2">
            <a:extLst>
              <a:ext uri="{FF2B5EF4-FFF2-40B4-BE49-F238E27FC236}">
                <a16:creationId xmlns:a16="http://schemas.microsoft.com/office/drawing/2014/main" id="{71830200-C436-5645-801D-28C14EC601C5}"/>
              </a:ext>
            </a:extLst>
          </p:cNvPr>
          <p:cNvSpPr>
            <a:spLocks noEditPoints="1"/>
          </p:cNvSpPr>
          <p:nvPr/>
        </p:nvSpPr>
        <p:spPr bwMode="auto">
          <a:xfrm>
            <a:off x="1637991" y="5849938"/>
            <a:ext cx="601663" cy="604838"/>
          </a:xfrm>
          <a:custGeom>
            <a:avLst/>
            <a:gdLst>
              <a:gd name="T0" fmla="*/ 160 w 160"/>
              <a:gd name="T1" fmla="*/ 80 h 160"/>
              <a:gd name="T2" fmla="*/ 80 w 160"/>
              <a:gd name="T3" fmla="*/ 160 h 160"/>
              <a:gd name="T4" fmla="*/ 0 w 160"/>
              <a:gd name="T5" fmla="*/ 80 h 160"/>
              <a:gd name="T6" fmla="*/ 23 w 160"/>
              <a:gd name="T7" fmla="*/ 24 h 160"/>
              <a:gd name="T8" fmla="*/ 27 w 160"/>
              <a:gd name="T9" fmla="*/ 24 h 160"/>
              <a:gd name="T10" fmla="*/ 27 w 160"/>
              <a:gd name="T11" fmla="*/ 27 h 160"/>
              <a:gd name="T12" fmla="*/ 5 w 160"/>
              <a:gd name="T13" fmla="*/ 80 h 160"/>
              <a:gd name="T14" fmla="*/ 80 w 160"/>
              <a:gd name="T15" fmla="*/ 155 h 160"/>
              <a:gd name="T16" fmla="*/ 155 w 160"/>
              <a:gd name="T17" fmla="*/ 80 h 160"/>
              <a:gd name="T18" fmla="*/ 83 w 160"/>
              <a:gd name="T19" fmla="*/ 5 h 160"/>
              <a:gd name="T20" fmla="*/ 83 w 160"/>
              <a:gd name="T21" fmla="*/ 38 h 160"/>
              <a:gd name="T22" fmla="*/ 80 w 160"/>
              <a:gd name="T23" fmla="*/ 41 h 160"/>
              <a:gd name="T24" fmla="*/ 77 w 160"/>
              <a:gd name="T25" fmla="*/ 38 h 160"/>
              <a:gd name="T26" fmla="*/ 77 w 160"/>
              <a:gd name="T27" fmla="*/ 3 h 160"/>
              <a:gd name="T28" fmla="*/ 80 w 160"/>
              <a:gd name="T29" fmla="*/ 0 h 160"/>
              <a:gd name="T30" fmla="*/ 160 w 160"/>
              <a:gd name="T31" fmla="*/ 80 h 160"/>
              <a:gd name="T32" fmla="*/ 51 w 160"/>
              <a:gd name="T33" fmla="*/ 55 h 160"/>
              <a:gd name="T34" fmla="*/ 51 w 160"/>
              <a:gd name="T35" fmla="*/ 51 h 160"/>
              <a:gd name="T36" fmla="*/ 55 w 160"/>
              <a:gd name="T37" fmla="*/ 51 h 160"/>
              <a:gd name="T38" fmla="*/ 89 w 160"/>
              <a:gd name="T39" fmla="*/ 76 h 160"/>
              <a:gd name="T40" fmla="*/ 93 w 160"/>
              <a:gd name="T41" fmla="*/ 83 h 160"/>
              <a:gd name="T42" fmla="*/ 91 w 160"/>
              <a:gd name="T43" fmla="*/ 91 h 160"/>
              <a:gd name="T44" fmla="*/ 84 w 160"/>
              <a:gd name="T45" fmla="*/ 93 h 160"/>
              <a:gd name="T46" fmla="*/ 83 w 160"/>
              <a:gd name="T47" fmla="*/ 93 h 160"/>
              <a:gd name="T48" fmla="*/ 76 w 160"/>
              <a:gd name="T49" fmla="*/ 89 h 160"/>
              <a:gd name="T50" fmla="*/ 51 w 160"/>
              <a:gd name="T51" fmla="*/ 55 h 160"/>
              <a:gd name="T52" fmla="*/ 65 w 160"/>
              <a:gd name="T53" fmla="*/ 65 h 160"/>
              <a:gd name="T54" fmla="*/ 80 w 160"/>
              <a:gd name="T55" fmla="*/ 86 h 160"/>
              <a:gd name="T56" fmla="*/ 84 w 160"/>
              <a:gd name="T57" fmla="*/ 88 h 160"/>
              <a:gd name="T58" fmla="*/ 87 w 160"/>
              <a:gd name="T59" fmla="*/ 87 h 160"/>
              <a:gd name="T60" fmla="*/ 88 w 160"/>
              <a:gd name="T61" fmla="*/ 84 h 160"/>
              <a:gd name="T62" fmla="*/ 86 w 160"/>
              <a:gd name="T63" fmla="*/ 80 h 160"/>
              <a:gd name="T64" fmla="*/ 65 w 160"/>
              <a:gd name="T65" fmla="*/ 6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60" y="80"/>
                </a:moveTo>
                <a:cubicBezTo>
                  <a:pt x="160" y="124"/>
                  <a:pt x="124" y="160"/>
                  <a:pt x="80" y="160"/>
                </a:cubicBezTo>
                <a:cubicBezTo>
                  <a:pt x="36" y="160"/>
                  <a:pt x="0" y="124"/>
                  <a:pt x="0" y="80"/>
                </a:cubicBezTo>
                <a:cubicBezTo>
                  <a:pt x="0" y="59"/>
                  <a:pt x="8" y="39"/>
                  <a:pt x="23" y="24"/>
                </a:cubicBezTo>
                <a:cubicBezTo>
                  <a:pt x="24" y="22"/>
                  <a:pt x="26" y="22"/>
                  <a:pt x="27" y="24"/>
                </a:cubicBezTo>
                <a:cubicBezTo>
                  <a:pt x="28" y="25"/>
                  <a:pt x="28" y="26"/>
                  <a:pt x="27" y="27"/>
                </a:cubicBezTo>
                <a:cubicBezTo>
                  <a:pt x="13" y="41"/>
                  <a:pt x="5" y="60"/>
                  <a:pt x="5" y="80"/>
                </a:cubicBezTo>
                <a:cubicBezTo>
                  <a:pt x="5" y="121"/>
                  <a:pt x="39" y="155"/>
                  <a:pt x="80" y="155"/>
                </a:cubicBezTo>
                <a:cubicBezTo>
                  <a:pt x="121" y="155"/>
                  <a:pt x="155" y="121"/>
                  <a:pt x="155" y="80"/>
                </a:cubicBezTo>
                <a:cubicBezTo>
                  <a:pt x="155" y="40"/>
                  <a:pt x="123" y="7"/>
                  <a:pt x="83" y="5"/>
                </a:cubicBezTo>
                <a:cubicBezTo>
                  <a:pt x="83" y="38"/>
                  <a:pt x="83" y="38"/>
                  <a:pt x="83" y="38"/>
                </a:cubicBezTo>
                <a:cubicBezTo>
                  <a:pt x="83" y="40"/>
                  <a:pt x="81" y="41"/>
                  <a:pt x="80" y="41"/>
                </a:cubicBezTo>
                <a:cubicBezTo>
                  <a:pt x="79" y="41"/>
                  <a:pt x="77" y="40"/>
                  <a:pt x="77" y="38"/>
                </a:cubicBezTo>
                <a:cubicBezTo>
                  <a:pt x="77" y="3"/>
                  <a:pt x="77" y="3"/>
                  <a:pt x="77" y="3"/>
                </a:cubicBezTo>
                <a:cubicBezTo>
                  <a:pt x="77" y="1"/>
                  <a:pt x="79" y="0"/>
                  <a:pt x="80" y="0"/>
                </a:cubicBezTo>
                <a:cubicBezTo>
                  <a:pt x="124" y="0"/>
                  <a:pt x="160" y="36"/>
                  <a:pt x="160" y="80"/>
                </a:cubicBezTo>
                <a:close/>
                <a:moveTo>
                  <a:pt x="51" y="55"/>
                </a:moveTo>
                <a:cubicBezTo>
                  <a:pt x="50" y="54"/>
                  <a:pt x="51" y="52"/>
                  <a:pt x="51" y="51"/>
                </a:cubicBezTo>
                <a:cubicBezTo>
                  <a:pt x="52" y="51"/>
                  <a:pt x="54" y="50"/>
                  <a:pt x="55" y="51"/>
                </a:cubicBezTo>
                <a:cubicBezTo>
                  <a:pt x="89" y="76"/>
                  <a:pt x="89" y="76"/>
                  <a:pt x="89" y="76"/>
                </a:cubicBezTo>
                <a:cubicBezTo>
                  <a:pt x="92" y="78"/>
                  <a:pt x="93" y="80"/>
                  <a:pt x="93" y="83"/>
                </a:cubicBezTo>
                <a:cubicBezTo>
                  <a:pt x="94" y="86"/>
                  <a:pt x="93" y="89"/>
                  <a:pt x="91" y="91"/>
                </a:cubicBezTo>
                <a:cubicBezTo>
                  <a:pt x="89" y="92"/>
                  <a:pt x="86" y="93"/>
                  <a:pt x="84" y="93"/>
                </a:cubicBezTo>
                <a:cubicBezTo>
                  <a:pt x="84" y="93"/>
                  <a:pt x="83" y="93"/>
                  <a:pt x="83" y="93"/>
                </a:cubicBezTo>
                <a:cubicBezTo>
                  <a:pt x="80" y="93"/>
                  <a:pt x="78" y="92"/>
                  <a:pt x="76" y="89"/>
                </a:cubicBezTo>
                <a:lnTo>
                  <a:pt x="51" y="55"/>
                </a:lnTo>
                <a:close/>
                <a:moveTo>
                  <a:pt x="65" y="65"/>
                </a:moveTo>
                <a:cubicBezTo>
                  <a:pt x="80" y="86"/>
                  <a:pt x="80" y="86"/>
                  <a:pt x="80" y="86"/>
                </a:cubicBezTo>
                <a:cubicBezTo>
                  <a:pt x="81" y="87"/>
                  <a:pt x="82" y="88"/>
                  <a:pt x="84" y="88"/>
                </a:cubicBezTo>
                <a:cubicBezTo>
                  <a:pt x="85" y="88"/>
                  <a:pt x="86" y="88"/>
                  <a:pt x="87" y="87"/>
                </a:cubicBezTo>
                <a:cubicBezTo>
                  <a:pt x="88" y="86"/>
                  <a:pt x="88" y="85"/>
                  <a:pt x="88" y="84"/>
                </a:cubicBezTo>
                <a:cubicBezTo>
                  <a:pt x="88" y="82"/>
                  <a:pt x="87" y="81"/>
                  <a:pt x="86" y="80"/>
                </a:cubicBezTo>
                <a:lnTo>
                  <a:pt x="65" y="6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3">
            <a:extLst>
              <a:ext uri="{FF2B5EF4-FFF2-40B4-BE49-F238E27FC236}">
                <a16:creationId xmlns:a16="http://schemas.microsoft.com/office/drawing/2014/main" id="{1839E4F8-A5A9-7C4B-B230-F9275E6E437C}"/>
              </a:ext>
            </a:extLst>
          </p:cNvPr>
          <p:cNvSpPr>
            <a:spLocks noEditPoints="1"/>
          </p:cNvSpPr>
          <p:nvPr/>
        </p:nvSpPr>
        <p:spPr bwMode="auto">
          <a:xfrm>
            <a:off x="2688916" y="400050"/>
            <a:ext cx="601663" cy="604838"/>
          </a:xfrm>
          <a:custGeom>
            <a:avLst/>
            <a:gdLst>
              <a:gd name="T0" fmla="*/ 0 w 160"/>
              <a:gd name="T1" fmla="*/ 80 h 160"/>
              <a:gd name="T2" fmla="*/ 27 w 160"/>
              <a:gd name="T3" fmla="*/ 140 h 160"/>
              <a:gd name="T4" fmla="*/ 49 w 160"/>
              <a:gd name="T5" fmla="*/ 154 h 160"/>
              <a:gd name="T6" fmla="*/ 54 w 160"/>
              <a:gd name="T7" fmla="*/ 156 h 160"/>
              <a:gd name="T8" fmla="*/ 59 w 160"/>
              <a:gd name="T9" fmla="*/ 157 h 160"/>
              <a:gd name="T10" fmla="*/ 65 w 160"/>
              <a:gd name="T11" fmla="*/ 159 h 160"/>
              <a:gd name="T12" fmla="*/ 70 w 160"/>
              <a:gd name="T13" fmla="*/ 159 h 160"/>
              <a:gd name="T14" fmla="*/ 76 w 160"/>
              <a:gd name="T15" fmla="*/ 160 h 160"/>
              <a:gd name="T16" fmla="*/ 85 w 160"/>
              <a:gd name="T17" fmla="*/ 160 h 160"/>
              <a:gd name="T18" fmla="*/ 91 w 160"/>
              <a:gd name="T19" fmla="*/ 159 h 160"/>
              <a:gd name="T20" fmla="*/ 97 w 160"/>
              <a:gd name="T21" fmla="*/ 158 h 160"/>
              <a:gd name="T22" fmla="*/ 102 w 160"/>
              <a:gd name="T23" fmla="*/ 157 h 160"/>
              <a:gd name="T24" fmla="*/ 108 w 160"/>
              <a:gd name="T25" fmla="*/ 155 h 160"/>
              <a:gd name="T26" fmla="*/ 114 w 160"/>
              <a:gd name="T27" fmla="*/ 153 h 160"/>
              <a:gd name="T28" fmla="*/ 135 w 160"/>
              <a:gd name="T29" fmla="*/ 138 h 160"/>
              <a:gd name="T30" fmla="*/ 5 w 160"/>
              <a:gd name="T31" fmla="*/ 80 h 160"/>
              <a:gd name="T32" fmla="*/ 131 w 160"/>
              <a:gd name="T33" fmla="*/ 134 h 160"/>
              <a:gd name="T34" fmla="*/ 5 w 160"/>
              <a:gd name="T35" fmla="*/ 80 h 160"/>
              <a:gd name="T36" fmla="*/ 121 w 160"/>
              <a:gd name="T37" fmla="*/ 142 h 160"/>
              <a:gd name="T38" fmla="*/ 111 w 160"/>
              <a:gd name="T39" fmla="*/ 148 h 160"/>
              <a:gd name="T40" fmla="*/ 105 w 160"/>
              <a:gd name="T41" fmla="*/ 150 h 160"/>
              <a:gd name="T42" fmla="*/ 87 w 160"/>
              <a:gd name="T43" fmla="*/ 154 h 160"/>
              <a:gd name="T44" fmla="*/ 74 w 160"/>
              <a:gd name="T45" fmla="*/ 154 h 160"/>
              <a:gd name="T46" fmla="*/ 67 w 160"/>
              <a:gd name="T47" fmla="*/ 153 h 160"/>
              <a:gd name="T48" fmla="*/ 55 w 160"/>
              <a:gd name="T49" fmla="*/ 150 h 160"/>
              <a:gd name="T50" fmla="*/ 49 w 160"/>
              <a:gd name="T51" fmla="*/ 148 h 160"/>
              <a:gd name="T52" fmla="*/ 38 w 160"/>
              <a:gd name="T53" fmla="*/ 142 h 160"/>
              <a:gd name="T54" fmla="*/ 33 w 160"/>
              <a:gd name="T55" fmla="*/ 138 h 160"/>
              <a:gd name="T56" fmla="*/ 126 w 160"/>
              <a:gd name="T57" fmla="*/ 139 h 160"/>
              <a:gd name="T58" fmla="*/ 80 w 160"/>
              <a:gd name="T59" fmla="*/ 11 h 160"/>
              <a:gd name="T60" fmla="*/ 80 w 160"/>
              <a:gd name="T61" fmla="*/ 21 h 160"/>
              <a:gd name="T62" fmla="*/ 148 w 160"/>
              <a:gd name="T63" fmla="*/ 77 h 160"/>
              <a:gd name="T64" fmla="*/ 143 w 160"/>
              <a:gd name="T65" fmla="*/ 83 h 160"/>
              <a:gd name="T66" fmla="*/ 17 w 160"/>
              <a:gd name="T67" fmla="*/ 83 h 160"/>
              <a:gd name="T68" fmla="*/ 12 w 160"/>
              <a:gd name="T69" fmla="*/ 77 h 160"/>
              <a:gd name="T70" fmla="*/ 17 w 160"/>
              <a:gd name="T71" fmla="*/ 83 h 160"/>
              <a:gd name="T72" fmla="*/ 115 w 160"/>
              <a:gd name="T73" fmla="*/ 20 h 160"/>
              <a:gd name="T74" fmla="*/ 111 w 160"/>
              <a:gd name="T75" fmla="*/ 30 h 160"/>
              <a:gd name="T76" fmla="*/ 141 w 160"/>
              <a:gd name="T77" fmla="*/ 117 h 160"/>
              <a:gd name="T78" fmla="*/ 133 w 160"/>
              <a:gd name="T79" fmla="*/ 115 h 160"/>
              <a:gd name="T80" fmla="*/ 140 w 160"/>
              <a:gd name="T81" fmla="*/ 113 h 160"/>
              <a:gd name="T82" fmla="*/ 22 w 160"/>
              <a:gd name="T83" fmla="*/ 45 h 160"/>
              <a:gd name="T84" fmla="*/ 26 w 160"/>
              <a:gd name="T85" fmla="*/ 53 h 160"/>
              <a:gd name="T86" fmla="*/ 19 w 160"/>
              <a:gd name="T87" fmla="*/ 46 h 160"/>
              <a:gd name="T88" fmla="*/ 48 w 160"/>
              <a:gd name="T89" fmla="*/ 21 h 160"/>
              <a:gd name="T90" fmla="*/ 49 w 160"/>
              <a:gd name="T91" fmla="*/ 30 h 160"/>
              <a:gd name="T92" fmla="*/ 131 w 160"/>
              <a:gd name="T93" fmla="*/ 50 h 160"/>
              <a:gd name="T94" fmla="*/ 141 w 160"/>
              <a:gd name="T95" fmla="*/ 45 h 160"/>
              <a:gd name="T96" fmla="*/ 134 w 160"/>
              <a:gd name="T97" fmla="*/ 51 h 160"/>
              <a:gd name="T98" fmla="*/ 22 w 160"/>
              <a:gd name="T99" fmla="*/ 116 h 160"/>
              <a:gd name="T100" fmla="*/ 19 w 160"/>
              <a:gd name="T101" fmla="*/ 112 h 160"/>
              <a:gd name="T102" fmla="*/ 26 w 160"/>
              <a:gd name="T103" fmla="*/ 114 h 160"/>
              <a:gd name="T104" fmla="*/ 91 w 160"/>
              <a:gd name="T105" fmla="*/ 77 h 160"/>
              <a:gd name="T106" fmla="*/ 112 w 160"/>
              <a:gd name="T107" fmla="*/ 46 h 160"/>
              <a:gd name="T108" fmla="*/ 72 w 160"/>
              <a:gd name="T109" fmla="*/ 69 h 160"/>
              <a:gd name="T110" fmla="*/ 80 w 160"/>
              <a:gd name="T111" fmla="*/ 88 h 160"/>
              <a:gd name="T112" fmla="*/ 84 w 160"/>
              <a:gd name="T113" fmla="*/ 73 h 160"/>
              <a:gd name="T114" fmla="*/ 76 w 160"/>
              <a:gd name="T115" fmla="*/ 8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60">
                <a:moveTo>
                  <a:pt x="160" y="80"/>
                </a:moveTo>
                <a:cubicBezTo>
                  <a:pt x="160" y="36"/>
                  <a:pt x="124" y="0"/>
                  <a:pt x="80" y="0"/>
                </a:cubicBezTo>
                <a:cubicBezTo>
                  <a:pt x="36" y="0"/>
                  <a:pt x="0" y="36"/>
                  <a:pt x="0" y="80"/>
                </a:cubicBezTo>
                <a:cubicBezTo>
                  <a:pt x="0" y="103"/>
                  <a:pt x="9" y="123"/>
                  <a:pt x="25" y="138"/>
                </a:cubicBezTo>
                <a:cubicBezTo>
                  <a:pt x="25" y="138"/>
                  <a:pt x="25" y="138"/>
                  <a:pt x="25" y="138"/>
                </a:cubicBezTo>
                <a:cubicBezTo>
                  <a:pt x="27" y="140"/>
                  <a:pt x="27" y="140"/>
                  <a:pt x="27" y="140"/>
                </a:cubicBezTo>
                <a:cubicBezTo>
                  <a:pt x="32" y="145"/>
                  <a:pt x="39" y="149"/>
                  <a:pt x="45" y="152"/>
                </a:cubicBezTo>
                <a:cubicBezTo>
                  <a:pt x="46" y="152"/>
                  <a:pt x="46" y="152"/>
                  <a:pt x="46" y="152"/>
                </a:cubicBezTo>
                <a:cubicBezTo>
                  <a:pt x="47" y="153"/>
                  <a:pt x="48" y="153"/>
                  <a:pt x="49" y="154"/>
                </a:cubicBezTo>
                <a:cubicBezTo>
                  <a:pt x="49" y="154"/>
                  <a:pt x="50" y="154"/>
                  <a:pt x="50" y="154"/>
                </a:cubicBezTo>
                <a:cubicBezTo>
                  <a:pt x="51" y="154"/>
                  <a:pt x="51" y="155"/>
                  <a:pt x="52" y="155"/>
                </a:cubicBezTo>
                <a:cubicBezTo>
                  <a:pt x="53" y="155"/>
                  <a:pt x="53" y="155"/>
                  <a:pt x="54" y="156"/>
                </a:cubicBezTo>
                <a:cubicBezTo>
                  <a:pt x="54" y="156"/>
                  <a:pt x="55" y="156"/>
                  <a:pt x="55" y="156"/>
                </a:cubicBezTo>
                <a:cubicBezTo>
                  <a:pt x="56" y="156"/>
                  <a:pt x="57" y="157"/>
                  <a:pt x="58" y="157"/>
                </a:cubicBezTo>
                <a:cubicBezTo>
                  <a:pt x="58" y="157"/>
                  <a:pt x="59" y="157"/>
                  <a:pt x="59" y="157"/>
                </a:cubicBezTo>
                <a:cubicBezTo>
                  <a:pt x="60" y="157"/>
                  <a:pt x="60" y="158"/>
                  <a:pt x="61" y="158"/>
                </a:cubicBezTo>
                <a:cubicBezTo>
                  <a:pt x="62" y="158"/>
                  <a:pt x="62" y="158"/>
                  <a:pt x="63" y="158"/>
                </a:cubicBezTo>
                <a:cubicBezTo>
                  <a:pt x="63" y="158"/>
                  <a:pt x="64" y="158"/>
                  <a:pt x="65" y="159"/>
                </a:cubicBezTo>
                <a:cubicBezTo>
                  <a:pt x="65" y="159"/>
                  <a:pt x="66" y="159"/>
                  <a:pt x="66" y="159"/>
                </a:cubicBezTo>
                <a:cubicBezTo>
                  <a:pt x="67" y="159"/>
                  <a:pt x="68" y="159"/>
                  <a:pt x="69" y="159"/>
                </a:cubicBezTo>
                <a:cubicBezTo>
                  <a:pt x="69" y="159"/>
                  <a:pt x="70" y="159"/>
                  <a:pt x="70" y="159"/>
                </a:cubicBezTo>
                <a:cubicBezTo>
                  <a:pt x="71" y="159"/>
                  <a:pt x="72" y="160"/>
                  <a:pt x="72" y="160"/>
                </a:cubicBezTo>
                <a:cubicBezTo>
                  <a:pt x="73" y="160"/>
                  <a:pt x="74" y="160"/>
                  <a:pt x="75" y="160"/>
                </a:cubicBezTo>
                <a:cubicBezTo>
                  <a:pt x="75" y="160"/>
                  <a:pt x="76" y="160"/>
                  <a:pt x="76" y="160"/>
                </a:cubicBezTo>
                <a:cubicBezTo>
                  <a:pt x="77" y="160"/>
                  <a:pt x="79" y="160"/>
                  <a:pt x="80" y="160"/>
                </a:cubicBezTo>
                <a:cubicBezTo>
                  <a:pt x="81" y="160"/>
                  <a:pt x="83" y="160"/>
                  <a:pt x="84" y="160"/>
                </a:cubicBezTo>
                <a:cubicBezTo>
                  <a:pt x="84" y="160"/>
                  <a:pt x="85" y="160"/>
                  <a:pt x="85" y="160"/>
                </a:cubicBezTo>
                <a:cubicBezTo>
                  <a:pt x="86" y="160"/>
                  <a:pt x="87" y="160"/>
                  <a:pt x="88" y="160"/>
                </a:cubicBezTo>
                <a:cubicBezTo>
                  <a:pt x="88" y="160"/>
                  <a:pt x="89" y="159"/>
                  <a:pt x="90" y="159"/>
                </a:cubicBezTo>
                <a:cubicBezTo>
                  <a:pt x="90" y="159"/>
                  <a:pt x="91" y="159"/>
                  <a:pt x="91" y="159"/>
                </a:cubicBezTo>
                <a:cubicBezTo>
                  <a:pt x="92" y="159"/>
                  <a:pt x="93" y="159"/>
                  <a:pt x="94" y="159"/>
                </a:cubicBezTo>
                <a:cubicBezTo>
                  <a:pt x="94" y="159"/>
                  <a:pt x="95" y="159"/>
                  <a:pt x="95" y="159"/>
                </a:cubicBezTo>
                <a:cubicBezTo>
                  <a:pt x="96" y="158"/>
                  <a:pt x="97" y="158"/>
                  <a:pt x="97" y="158"/>
                </a:cubicBezTo>
                <a:cubicBezTo>
                  <a:pt x="98" y="158"/>
                  <a:pt x="98" y="158"/>
                  <a:pt x="99" y="158"/>
                </a:cubicBezTo>
                <a:cubicBezTo>
                  <a:pt x="99" y="158"/>
                  <a:pt x="100" y="157"/>
                  <a:pt x="101" y="157"/>
                </a:cubicBezTo>
                <a:cubicBezTo>
                  <a:pt x="101" y="157"/>
                  <a:pt x="102" y="157"/>
                  <a:pt x="102" y="157"/>
                </a:cubicBezTo>
                <a:cubicBezTo>
                  <a:pt x="103" y="157"/>
                  <a:pt x="104" y="156"/>
                  <a:pt x="105" y="156"/>
                </a:cubicBezTo>
                <a:cubicBezTo>
                  <a:pt x="105" y="156"/>
                  <a:pt x="105" y="156"/>
                  <a:pt x="106" y="156"/>
                </a:cubicBezTo>
                <a:cubicBezTo>
                  <a:pt x="107" y="155"/>
                  <a:pt x="107" y="155"/>
                  <a:pt x="108" y="155"/>
                </a:cubicBezTo>
                <a:cubicBezTo>
                  <a:pt x="109" y="155"/>
                  <a:pt x="109" y="155"/>
                  <a:pt x="110" y="154"/>
                </a:cubicBezTo>
                <a:cubicBezTo>
                  <a:pt x="110" y="154"/>
                  <a:pt x="111" y="154"/>
                  <a:pt x="111" y="154"/>
                </a:cubicBezTo>
                <a:cubicBezTo>
                  <a:pt x="112" y="153"/>
                  <a:pt x="113" y="153"/>
                  <a:pt x="114" y="153"/>
                </a:cubicBezTo>
                <a:cubicBezTo>
                  <a:pt x="114" y="152"/>
                  <a:pt x="114" y="152"/>
                  <a:pt x="115" y="152"/>
                </a:cubicBezTo>
                <a:cubicBezTo>
                  <a:pt x="121" y="149"/>
                  <a:pt x="127" y="145"/>
                  <a:pt x="133" y="140"/>
                </a:cubicBezTo>
                <a:cubicBezTo>
                  <a:pt x="135" y="138"/>
                  <a:pt x="135" y="138"/>
                  <a:pt x="135" y="138"/>
                </a:cubicBezTo>
                <a:cubicBezTo>
                  <a:pt x="135" y="138"/>
                  <a:pt x="135" y="138"/>
                  <a:pt x="135" y="138"/>
                </a:cubicBezTo>
                <a:cubicBezTo>
                  <a:pt x="150" y="123"/>
                  <a:pt x="160" y="103"/>
                  <a:pt x="160" y="80"/>
                </a:cubicBezTo>
                <a:close/>
                <a:moveTo>
                  <a:pt x="5" y="80"/>
                </a:moveTo>
                <a:cubicBezTo>
                  <a:pt x="5" y="39"/>
                  <a:pt x="39" y="5"/>
                  <a:pt x="80" y="5"/>
                </a:cubicBezTo>
                <a:cubicBezTo>
                  <a:pt x="121" y="5"/>
                  <a:pt x="155" y="39"/>
                  <a:pt x="155" y="80"/>
                </a:cubicBezTo>
                <a:cubicBezTo>
                  <a:pt x="155" y="101"/>
                  <a:pt x="146" y="121"/>
                  <a:pt x="131" y="134"/>
                </a:cubicBezTo>
                <a:cubicBezTo>
                  <a:pt x="116" y="123"/>
                  <a:pt x="99" y="117"/>
                  <a:pt x="80" y="117"/>
                </a:cubicBezTo>
                <a:cubicBezTo>
                  <a:pt x="61" y="117"/>
                  <a:pt x="44" y="123"/>
                  <a:pt x="29" y="134"/>
                </a:cubicBezTo>
                <a:cubicBezTo>
                  <a:pt x="14" y="121"/>
                  <a:pt x="5" y="101"/>
                  <a:pt x="5" y="80"/>
                </a:cubicBezTo>
                <a:close/>
                <a:moveTo>
                  <a:pt x="126" y="139"/>
                </a:moveTo>
                <a:cubicBezTo>
                  <a:pt x="125" y="140"/>
                  <a:pt x="124" y="141"/>
                  <a:pt x="122" y="141"/>
                </a:cubicBezTo>
                <a:cubicBezTo>
                  <a:pt x="122" y="142"/>
                  <a:pt x="122" y="142"/>
                  <a:pt x="121" y="142"/>
                </a:cubicBezTo>
                <a:cubicBezTo>
                  <a:pt x="120" y="143"/>
                  <a:pt x="118" y="144"/>
                  <a:pt x="117" y="145"/>
                </a:cubicBezTo>
                <a:cubicBezTo>
                  <a:pt x="117" y="145"/>
                  <a:pt x="116" y="145"/>
                  <a:pt x="116" y="145"/>
                </a:cubicBezTo>
                <a:cubicBezTo>
                  <a:pt x="114" y="146"/>
                  <a:pt x="113" y="147"/>
                  <a:pt x="111" y="148"/>
                </a:cubicBezTo>
                <a:cubicBezTo>
                  <a:pt x="111" y="148"/>
                  <a:pt x="111" y="148"/>
                  <a:pt x="110" y="148"/>
                </a:cubicBezTo>
                <a:cubicBezTo>
                  <a:pt x="109" y="149"/>
                  <a:pt x="107" y="150"/>
                  <a:pt x="105" y="150"/>
                </a:cubicBezTo>
                <a:cubicBezTo>
                  <a:pt x="105" y="150"/>
                  <a:pt x="105" y="150"/>
                  <a:pt x="105" y="150"/>
                </a:cubicBezTo>
                <a:cubicBezTo>
                  <a:pt x="101" y="152"/>
                  <a:pt x="97" y="153"/>
                  <a:pt x="93" y="153"/>
                </a:cubicBezTo>
                <a:cubicBezTo>
                  <a:pt x="93" y="154"/>
                  <a:pt x="93" y="154"/>
                  <a:pt x="92" y="154"/>
                </a:cubicBezTo>
                <a:cubicBezTo>
                  <a:pt x="91" y="154"/>
                  <a:pt x="89" y="154"/>
                  <a:pt x="87" y="154"/>
                </a:cubicBezTo>
                <a:cubicBezTo>
                  <a:pt x="86" y="154"/>
                  <a:pt x="86" y="154"/>
                  <a:pt x="86" y="154"/>
                </a:cubicBezTo>
                <a:cubicBezTo>
                  <a:pt x="84" y="155"/>
                  <a:pt x="82" y="155"/>
                  <a:pt x="80" y="155"/>
                </a:cubicBezTo>
                <a:cubicBezTo>
                  <a:pt x="78" y="155"/>
                  <a:pt x="76" y="155"/>
                  <a:pt x="74" y="154"/>
                </a:cubicBezTo>
                <a:cubicBezTo>
                  <a:pt x="74" y="154"/>
                  <a:pt x="74" y="154"/>
                  <a:pt x="73" y="154"/>
                </a:cubicBezTo>
                <a:cubicBezTo>
                  <a:pt x="71" y="154"/>
                  <a:pt x="69" y="154"/>
                  <a:pt x="68" y="154"/>
                </a:cubicBezTo>
                <a:cubicBezTo>
                  <a:pt x="67" y="154"/>
                  <a:pt x="67" y="154"/>
                  <a:pt x="67" y="153"/>
                </a:cubicBezTo>
                <a:cubicBezTo>
                  <a:pt x="65" y="153"/>
                  <a:pt x="63" y="153"/>
                  <a:pt x="61" y="152"/>
                </a:cubicBezTo>
                <a:cubicBezTo>
                  <a:pt x="61" y="152"/>
                  <a:pt x="61" y="152"/>
                  <a:pt x="61" y="152"/>
                </a:cubicBezTo>
                <a:cubicBezTo>
                  <a:pt x="59" y="152"/>
                  <a:pt x="57" y="151"/>
                  <a:pt x="55" y="150"/>
                </a:cubicBezTo>
                <a:cubicBezTo>
                  <a:pt x="55" y="150"/>
                  <a:pt x="55" y="150"/>
                  <a:pt x="55" y="150"/>
                </a:cubicBezTo>
                <a:cubicBezTo>
                  <a:pt x="53" y="150"/>
                  <a:pt x="51" y="149"/>
                  <a:pt x="50" y="148"/>
                </a:cubicBezTo>
                <a:cubicBezTo>
                  <a:pt x="49" y="148"/>
                  <a:pt x="49" y="148"/>
                  <a:pt x="49" y="148"/>
                </a:cubicBezTo>
                <a:cubicBezTo>
                  <a:pt x="47" y="147"/>
                  <a:pt x="45" y="146"/>
                  <a:pt x="44" y="145"/>
                </a:cubicBezTo>
                <a:cubicBezTo>
                  <a:pt x="44" y="145"/>
                  <a:pt x="43" y="145"/>
                  <a:pt x="43" y="145"/>
                </a:cubicBezTo>
                <a:cubicBezTo>
                  <a:pt x="41" y="144"/>
                  <a:pt x="40" y="143"/>
                  <a:pt x="38" y="142"/>
                </a:cubicBezTo>
                <a:cubicBezTo>
                  <a:pt x="38" y="142"/>
                  <a:pt x="38" y="141"/>
                  <a:pt x="37" y="141"/>
                </a:cubicBezTo>
                <a:cubicBezTo>
                  <a:pt x="36" y="140"/>
                  <a:pt x="35" y="139"/>
                  <a:pt x="34" y="139"/>
                </a:cubicBezTo>
                <a:cubicBezTo>
                  <a:pt x="33" y="138"/>
                  <a:pt x="33" y="138"/>
                  <a:pt x="33" y="138"/>
                </a:cubicBezTo>
                <a:cubicBezTo>
                  <a:pt x="47" y="128"/>
                  <a:pt x="63" y="123"/>
                  <a:pt x="80" y="123"/>
                </a:cubicBezTo>
                <a:cubicBezTo>
                  <a:pt x="97" y="123"/>
                  <a:pt x="113" y="128"/>
                  <a:pt x="127" y="138"/>
                </a:cubicBezTo>
                <a:cubicBezTo>
                  <a:pt x="127" y="138"/>
                  <a:pt x="126" y="138"/>
                  <a:pt x="126" y="139"/>
                </a:cubicBezTo>
                <a:close/>
                <a:moveTo>
                  <a:pt x="77" y="19"/>
                </a:moveTo>
                <a:cubicBezTo>
                  <a:pt x="77" y="13"/>
                  <a:pt x="77" y="13"/>
                  <a:pt x="77" y="13"/>
                </a:cubicBezTo>
                <a:cubicBezTo>
                  <a:pt x="77" y="12"/>
                  <a:pt x="79" y="11"/>
                  <a:pt x="80" y="11"/>
                </a:cubicBezTo>
                <a:cubicBezTo>
                  <a:pt x="81" y="11"/>
                  <a:pt x="83" y="12"/>
                  <a:pt x="83" y="13"/>
                </a:cubicBezTo>
                <a:cubicBezTo>
                  <a:pt x="83" y="19"/>
                  <a:pt x="83" y="19"/>
                  <a:pt x="83" y="19"/>
                </a:cubicBezTo>
                <a:cubicBezTo>
                  <a:pt x="83" y="20"/>
                  <a:pt x="81" y="21"/>
                  <a:pt x="80" y="21"/>
                </a:cubicBezTo>
                <a:cubicBezTo>
                  <a:pt x="79" y="21"/>
                  <a:pt x="77" y="20"/>
                  <a:pt x="77" y="19"/>
                </a:cubicBezTo>
                <a:close/>
                <a:moveTo>
                  <a:pt x="143" y="77"/>
                </a:moveTo>
                <a:cubicBezTo>
                  <a:pt x="148" y="77"/>
                  <a:pt x="148" y="77"/>
                  <a:pt x="148" y="77"/>
                </a:cubicBezTo>
                <a:cubicBezTo>
                  <a:pt x="149" y="77"/>
                  <a:pt x="151" y="79"/>
                  <a:pt x="151" y="80"/>
                </a:cubicBezTo>
                <a:cubicBezTo>
                  <a:pt x="151" y="81"/>
                  <a:pt x="149" y="83"/>
                  <a:pt x="148" y="83"/>
                </a:cubicBezTo>
                <a:cubicBezTo>
                  <a:pt x="143" y="83"/>
                  <a:pt x="143" y="83"/>
                  <a:pt x="143" y="83"/>
                </a:cubicBezTo>
                <a:cubicBezTo>
                  <a:pt x="141" y="83"/>
                  <a:pt x="140" y="81"/>
                  <a:pt x="140" y="80"/>
                </a:cubicBezTo>
                <a:cubicBezTo>
                  <a:pt x="140" y="79"/>
                  <a:pt x="141" y="77"/>
                  <a:pt x="143" y="77"/>
                </a:cubicBezTo>
                <a:close/>
                <a:moveTo>
                  <a:pt x="17" y="83"/>
                </a:moveTo>
                <a:cubicBezTo>
                  <a:pt x="12" y="83"/>
                  <a:pt x="12" y="83"/>
                  <a:pt x="12" y="83"/>
                </a:cubicBezTo>
                <a:cubicBezTo>
                  <a:pt x="11" y="83"/>
                  <a:pt x="9" y="81"/>
                  <a:pt x="9" y="80"/>
                </a:cubicBezTo>
                <a:cubicBezTo>
                  <a:pt x="9" y="79"/>
                  <a:pt x="11" y="77"/>
                  <a:pt x="12" y="77"/>
                </a:cubicBezTo>
                <a:cubicBezTo>
                  <a:pt x="17" y="77"/>
                  <a:pt x="17" y="77"/>
                  <a:pt x="17" y="77"/>
                </a:cubicBezTo>
                <a:cubicBezTo>
                  <a:pt x="19" y="77"/>
                  <a:pt x="20" y="79"/>
                  <a:pt x="20" y="80"/>
                </a:cubicBezTo>
                <a:cubicBezTo>
                  <a:pt x="20" y="81"/>
                  <a:pt x="19" y="83"/>
                  <a:pt x="17" y="83"/>
                </a:cubicBezTo>
                <a:close/>
                <a:moveTo>
                  <a:pt x="109" y="26"/>
                </a:moveTo>
                <a:cubicBezTo>
                  <a:pt x="112" y="21"/>
                  <a:pt x="112" y="21"/>
                  <a:pt x="112" y="21"/>
                </a:cubicBezTo>
                <a:cubicBezTo>
                  <a:pt x="112" y="20"/>
                  <a:pt x="114" y="19"/>
                  <a:pt x="115" y="20"/>
                </a:cubicBezTo>
                <a:cubicBezTo>
                  <a:pt x="117" y="21"/>
                  <a:pt x="117" y="23"/>
                  <a:pt x="116" y="24"/>
                </a:cubicBezTo>
                <a:cubicBezTo>
                  <a:pt x="114" y="28"/>
                  <a:pt x="114" y="28"/>
                  <a:pt x="114" y="28"/>
                </a:cubicBezTo>
                <a:cubicBezTo>
                  <a:pt x="113" y="29"/>
                  <a:pt x="112" y="30"/>
                  <a:pt x="111" y="30"/>
                </a:cubicBezTo>
                <a:cubicBezTo>
                  <a:pt x="111" y="30"/>
                  <a:pt x="110" y="30"/>
                  <a:pt x="110" y="29"/>
                </a:cubicBezTo>
                <a:cubicBezTo>
                  <a:pt x="109" y="29"/>
                  <a:pt x="108" y="27"/>
                  <a:pt x="109" y="26"/>
                </a:cubicBezTo>
                <a:close/>
                <a:moveTo>
                  <a:pt x="141" y="117"/>
                </a:moveTo>
                <a:cubicBezTo>
                  <a:pt x="141" y="118"/>
                  <a:pt x="140" y="118"/>
                  <a:pt x="139" y="118"/>
                </a:cubicBezTo>
                <a:cubicBezTo>
                  <a:pt x="138" y="118"/>
                  <a:pt x="138" y="118"/>
                  <a:pt x="138" y="118"/>
                </a:cubicBezTo>
                <a:cubicBezTo>
                  <a:pt x="133" y="115"/>
                  <a:pt x="133" y="115"/>
                  <a:pt x="133" y="115"/>
                </a:cubicBezTo>
                <a:cubicBezTo>
                  <a:pt x="132" y="114"/>
                  <a:pt x="131" y="113"/>
                  <a:pt x="132" y="111"/>
                </a:cubicBezTo>
                <a:cubicBezTo>
                  <a:pt x="133" y="110"/>
                  <a:pt x="134" y="110"/>
                  <a:pt x="136" y="110"/>
                </a:cubicBezTo>
                <a:cubicBezTo>
                  <a:pt x="140" y="113"/>
                  <a:pt x="140" y="113"/>
                  <a:pt x="140" y="113"/>
                </a:cubicBezTo>
                <a:cubicBezTo>
                  <a:pt x="142" y="114"/>
                  <a:pt x="142" y="115"/>
                  <a:pt x="141" y="117"/>
                </a:cubicBezTo>
                <a:close/>
                <a:moveTo>
                  <a:pt x="19" y="46"/>
                </a:moveTo>
                <a:cubicBezTo>
                  <a:pt x="20" y="45"/>
                  <a:pt x="21" y="44"/>
                  <a:pt x="22" y="45"/>
                </a:cubicBezTo>
                <a:cubicBezTo>
                  <a:pt x="27" y="48"/>
                  <a:pt x="27" y="48"/>
                  <a:pt x="27" y="48"/>
                </a:cubicBezTo>
                <a:cubicBezTo>
                  <a:pt x="28" y="48"/>
                  <a:pt x="29" y="50"/>
                  <a:pt x="28" y="51"/>
                </a:cubicBezTo>
                <a:cubicBezTo>
                  <a:pt x="28" y="52"/>
                  <a:pt x="27" y="53"/>
                  <a:pt x="26" y="53"/>
                </a:cubicBezTo>
                <a:cubicBezTo>
                  <a:pt x="25" y="53"/>
                  <a:pt x="25" y="53"/>
                  <a:pt x="24" y="52"/>
                </a:cubicBezTo>
                <a:cubicBezTo>
                  <a:pt x="20" y="50"/>
                  <a:pt x="20" y="50"/>
                  <a:pt x="20" y="50"/>
                </a:cubicBezTo>
                <a:cubicBezTo>
                  <a:pt x="19" y="49"/>
                  <a:pt x="18" y="47"/>
                  <a:pt x="19" y="46"/>
                </a:cubicBezTo>
                <a:close/>
                <a:moveTo>
                  <a:pt x="44" y="24"/>
                </a:moveTo>
                <a:cubicBezTo>
                  <a:pt x="43" y="22"/>
                  <a:pt x="43" y="21"/>
                  <a:pt x="45" y="20"/>
                </a:cubicBezTo>
                <a:cubicBezTo>
                  <a:pt x="46" y="19"/>
                  <a:pt x="48" y="20"/>
                  <a:pt x="48" y="21"/>
                </a:cubicBezTo>
                <a:cubicBezTo>
                  <a:pt x="51" y="26"/>
                  <a:pt x="51" y="26"/>
                  <a:pt x="51" y="26"/>
                </a:cubicBezTo>
                <a:cubicBezTo>
                  <a:pt x="52" y="27"/>
                  <a:pt x="51" y="29"/>
                  <a:pt x="50" y="29"/>
                </a:cubicBezTo>
                <a:cubicBezTo>
                  <a:pt x="50" y="30"/>
                  <a:pt x="49" y="30"/>
                  <a:pt x="49" y="30"/>
                </a:cubicBezTo>
                <a:cubicBezTo>
                  <a:pt x="48" y="30"/>
                  <a:pt x="47" y="29"/>
                  <a:pt x="46" y="28"/>
                </a:cubicBezTo>
                <a:lnTo>
                  <a:pt x="44" y="24"/>
                </a:lnTo>
                <a:close/>
                <a:moveTo>
                  <a:pt x="131" y="50"/>
                </a:moveTo>
                <a:cubicBezTo>
                  <a:pt x="131" y="49"/>
                  <a:pt x="131" y="47"/>
                  <a:pt x="132" y="46"/>
                </a:cubicBezTo>
                <a:cubicBezTo>
                  <a:pt x="137" y="44"/>
                  <a:pt x="137" y="44"/>
                  <a:pt x="137" y="44"/>
                </a:cubicBezTo>
                <a:cubicBezTo>
                  <a:pt x="138" y="43"/>
                  <a:pt x="140" y="43"/>
                  <a:pt x="141" y="45"/>
                </a:cubicBezTo>
                <a:cubicBezTo>
                  <a:pt x="141" y="46"/>
                  <a:pt x="141" y="48"/>
                  <a:pt x="140" y="48"/>
                </a:cubicBezTo>
                <a:cubicBezTo>
                  <a:pt x="135" y="51"/>
                  <a:pt x="135" y="51"/>
                  <a:pt x="135" y="51"/>
                </a:cubicBezTo>
                <a:cubicBezTo>
                  <a:pt x="135" y="51"/>
                  <a:pt x="134" y="51"/>
                  <a:pt x="134" y="51"/>
                </a:cubicBezTo>
                <a:cubicBezTo>
                  <a:pt x="133" y="51"/>
                  <a:pt x="132" y="51"/>
                  <a:pt x="131" y="50"/>
                </a:cubicBezTo>
                <a:close/>
                <a:moveTo>
                  <a:pt x="26" y="114"/>
                </a:moveTo>
                <a:cubicBezTo>
                  <a:pt x="22" y="116"/>
                  <a:pt x="22" y="116"/>
                  <a:pt x="22" y="116"/>
                </a:cubicBezTo>
                <a:cubicBezTo>
                  <a:pt x="21" y="117"/>
                  <a:pt x="21" y="117"/>
                  <a:pt x="20" y="117"/>
                </a:cubicBezTo>
                <a:cubicBezTo>
                  <a:pt x="20" y="117"/>
                  <a:pt x="19" y="116"/>
                  <a:pt x="18" y="115"/>
                </a:cubicBezTo>
                <a:cubicBezTo>
                  <a:pt x="17" y="114"/>
                  <a:pt x="18" y="113"/>
                  <a:pt x="19" y="112"/>
                </a:cubicBezTo>
                <a:cubicBezTo>
                  <a:pt x="24" y="109"/>
                  <a:pt x="24" y="109"/>
                  <a:pt x="24" y="109"/>
                </a:cubicBezTo>
                <a:cubicBezTo>
                  <a:pt x="25" y="108"/>
                  <a:pt x="27" y="109"/>
                  <a:pt x="27" y="110"/>
                </a:cubicBezTo>
                <a:cubicBezTo>
                  <a:pt x="28" y="111"/>
                  <a:pt x="28" y="113"/>
                  <a:pt x="26" y="114"/>
                </a:cubicBezTo>
                <a:close/>
                <a:moveTo>
                  <a:pt x="80" y="88"/>
                </a:moveTo>
                <a:cubicBezTo>
                  <a:pt x="83" y="88"/>
                  <a:pt x="86" y="87"/>
                  <a:pt x="88" y="85"/>
                </a:cubicBezTo>
                <a:cubicBezTo>
                  <a:pt x="90" y="83"/>
                  <a:pt x="91" y="80"/>
                  <a:pt x="91" y="77"/>
                </a:cubicBezTo>
                <a:cubicBezTo>
                  <a:pt x="91" y="75"/>
                  <a:pt x="90" y="74"/>
                  <a:pt x="89" y="72"/>
                </a:cubicBezTo>
                <a:cubicBezTo>
                  <a:pt x="112" y="50"/>
                  <a:pt x="112" y="50"/>
                  <a:pt x="112" y="50"/>
                </a:cubicBezTo>
                <a:cubicBezTo>
                  <a:pt x="113" y="49"/>
                  <a:pt x="113" y="47"/>
                  <a:pt x="112" y="46"/>
                </a:cubicBezTo>
                <a:cubicBezTo>
                  <a:pt x="111" y="45"/>
                  <a:pt x="109" y="45"/>
                  <a:pt x="108" y="46"/>
                </a:cubicBezTo>
                <a:cubicBezTo>
                  <a:pt x="86" y="68"/>
                  <a:pt x="86" y="68"/>
                  <a:pt x="86" y="68"/>
                </a:cubicBezTo>
                <a:cubicBezTo>
                  <a:pt x="82" y="66"/>
                  <a:pt x="76" y="66"/>
                  <a:pt x="72" y="69"/>
                </a:cubicBezTo>
                <a:cubicBezTo>
                  <a:pt x="70" y="71"/>
                  <a:pt x="69" y="74"/>
                  <a:pt x="69" y="77"/>
                </a:cubicBezTo>
                <a:cubicBezTo>
                  <a:pt x="69" y="80"/>
                  <a:pt x="70" y="83"/>
                  <a:pt x="72" y="85"/>
                </a:cubicBezTo>
                <a:cubicBezTo>
                  <a:pt x="74" y="87"/>
                  <a:pt x="77" y="88"/>
                  <a:pt x="80" y="88"/>
                </a:cubicBezTo>
                <a:close/>
                <a:moveTo>
                  <a:pt x="76" y="73"/>
                </a:moveTo>
                <a:cubicBezTo>
                  <a:pt x="77" y="72"/>
                  <a:pt x="79" y="72"/>
                  <a:pt x="80" y="72"/>
                </a:cubicBezTo>
                <a:cubicBezTo>
                  <a:pt x="81" y="72"/>
                  <a:pt x="83" y="72"/>
                  <a:pt x="84" y="73"/>
                </a:cubicBezTo>
                <a:cubicBezTo>
                  <a:pt x="85" y="74"/>
                  <a:pt x="85" y="76"/>
                  <a:pt x="85" y="77"/>
                </a:cubicBezTo>
                <a:cubicBezTo>
                  <a:pt x="85" y="78"/>
                  <a:pt x="85" y="80"/>
                  <a:pt x="84" y="81"/>
                </a:cubicBezTo>
                <a:cubicBezTo>
                  <a:pt x="82" y="83"/>
                  <a:pt x="78" y="83"/>
                  <a:pt x="76" y="81"/>
                </a:cubicBezTo>
                <a:cubicBezTo>
                  <a:pt x="75" y="80"/>
                  <a:pt x="75" y="78"/>
                  <a:pt x="75" y="77"/>
                </a:cubicBezTo>
                <a:cubicBezTo>
                  <a:pt x="75" y="76"/>
                  <a:pt x="75" y="74"/>
                  <a:pt x="76" y="7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4">
            <a:extLst>
              <a:ext uri="{FF2B5EF4-FFF2-40B4-BE49-F238E27FC236}">
                <a16:creationId xmlns:a16="http://schemas.microsoft.com/office/drawing/2014/main" id="{1EBF3C7A-1979-364C-8BEE-4B393000211F}"/>
              </a:ext>
            </a:extLst>
          </p:cNvPr>
          <p:cNvSpPr>
            <a:spLocks noEditPoints="1"/>
          </p:cNvSpPr>
          <p:nvPr/>
        </p:nvSpPr>
        <p:spPr bwMode="auto">
          <a:xfrm>
            <a:off x="2704791" y="1081088"/>
            <a:ext cx="563563" cy="604838"/>
          </a:xfrm>
          <a:custGeom>
            <a:avLst/>
            <a:gdLst>
              <a:gd name="T0" fmla="*/ 111 w 150"/>
              <a:gd name="T1" fmla="*/ 63 h 160"/>
              <a:gd name="T2" fmla="*/ 73 w 150"/>
              <a:gd name="T3" fmla="*/ 84 h 160"/>
              <a:gd name="T4" fmla="*/ 79 w 150"/>
              <a:gd name="T5" fmla="*/ 101 h 160"/>
              <a:gd name="T6" fmla="*/ 76 w 150"/>
              <a:gd name="T7" fmla="*/ 88 h 160"/>
              <a:gd name="T8" fmla="*/ 79 w 150"/>
              <a:gd name="T9" fmla="*/ 96 h 160"/>
              <a:gd name="T10" fmla="*/ 139 w 150"/>
              <a:gd name="T11" fmla="*/ 52 h 160"/>
              <a:gd name="T12" fmla="*/ 130 w 150"/>
              <a:gd name="T13" fmla="*/ 39 h 160"/>
              <a:gd name="T14" fmla="*/ 150 w 150"/>
              <a:gd name="T15" fmla="*/ 26 h 160"/>
              <a:gd name="T16" fmla="*/ 132 w 150"/>
              <a:gd name="T17" fmla="*/ 30 h 160"/>
              <a:gd name="T18" fmla="*/ 113 w 150"/>
              <a:gd name="T19" fmla="*/ 26 h 160"/>
              <a:gd name="T20" fmla="*/ 85 w 150"/>
              <a:gd name="T21" fmla="*/ 13 h 160"/>
              <a:gd name="T22" fmla="*/ 89 w 150"/>
              <a:gd name="T23" fmla="*/ 0 h 160"/>
              <a:gd name="T24" fmla="*/ 65 w 150"/>
              <a:gd name="T25" fmla="*/ 13 h 160"/>
              <a:gd name="T26" fmla="*/ 61 w 150"/>
              <a:gd name="T27" fmla="*/ 18 h 160"/>
              <a:gd name="T28" fmla="*/ 69 w 150"/>
              <a:gd name="T29" fmla="*/ 22 h 160"/>
              <a:gd name="T30" fmla="*/ 75 w 150"/>
              <a:gd name="T31" fmla="*/ 27 h 160"/>
              <a:gd name="T32" fmla="*/ 80 w 150"/>
              <a:gd name="T33" fmla="*/ 21 h 160"/>
              <a:gd name="T34" fmla="*/ 106 w 150"/>
              <a:gd name="T35" fmla="*/ 37 h 160"/>
              <a:gd name="T36" fmla="*/ 112 w 150"/>
              <a:gd name="T37" fmla="*/ 32 h 160"/>
              <a:gd name="T38" fmla="*/ 128 w 150"/>
              <a:gd name="T39" fmla="*/ 59 h 160"/>
              <a:gd name="T40" fmla="*/ 136 w 150"/>
              <a:gd name="T41" fmla="*/ 57 h 160"/>
              <a:gd name="T42" fmla="*/ 136 w 150"/>
              <a:gd name="T43" fmla="*/ 88 h 160"/>
              <a:gd name="T44" fmla="*/ 136 w 150"/>
              <a:gd name="T45" fmla="*/ 119 h 160"/>
              <a:gd name="T46" fmla="*/ 129 w 150"/>
              <a:gd name="T47" fmla="*/ 121 h 160"/>
              <a:gd name="T48" fmla="*/ 110 w 150"/>
              <a:gd name="T49" fmla="*/ 140 h 160"/>
              <a:gd name="T50" fmla="*/ 108 w 150"/>
              <a:gd name="T51" fmla="*/ 147 h 160"/>
              <a:gd name="T52" fmla="*/ 77 w 150"/>
              <a:gd name="T53" fmla="*/ 147 h 160"/>
              <a:gd name="T54" fmla="*/ 62 w 150"/>
              <a:gd name="T55" fmla="*/ 153 h 160"/>
              <a:gd name="T56" fmla="*/ 77 w 150"/>
              <a:gd name="T57" fmla="*/ 160 h 160"/>
              <a:gd name="T58" fmla="*/ 77 w 150"/>
              <a:gd name="T59" fmla="*/ 160 h 160"/>
              <a:gd name="T60" fmla="*/ 113 w 150"/>
              <a:gd name="T61" fmla="*/ 150 h 160"/>
              <a:gd name="T62" fmla="*/ 139 w 150"/>
              <a:gd name="T63" fmla="*/ 124 h 160"/>
              <a:gd name="T64" fmla="*/ 139 w 150"/>
              <a:gd name="T65" fmla="*/ 22 h 160"/>
              <a:gd name="T66" fmla="*/ 135 w 150"/>
              <a:gd name="T67" fmla="*/ 26 h 160"/>
              <a:gd name="T68" fmla="*/ 75 w 150"/>
              <a:gd name="T69" fmla="*/ 8 h 160"/>
              <a:gd name="T70" fmla="*/ 65 w 150"/>
              <a:gd name="T71" fmla="*/ 5 h 160"/>
              <a:gd name="T72" fmla="*/ 89 w 150"/>
              <a:gd name="T73" fmla="*/ 8 h 160"/>
              <a:gd name="T74" fmla="*/ 77 w 150"/>
              <a:gd name="T75" fmla="*/ 16 h 160"/>
              <a:gd name="T76" fmla="*/ 76 w 150"/>
              <a:gd name="T77" fmla="*/ 16 h 160"/>
              <a:gd name="T78" fmla="*/ 53 w 150"/>
              <a:gd name="T79" fmla="*/ 43 h 160"/>
              <a:gd name="T80" fmla="*/ 40 w 150"/>
              <a:gd name="T81" fmla="*/ 37 h 160"/>
              <a:gd name="T82" fmla="*/ 56 w 150"/>
              <a:gd name="T83" fmla="*/ 59 h 160"/>
              <a:gd name="T84" fmla="*/ 24 w 150"/>
              <a:gd name="T85" fmla="*/ 59 h 160"/>
              <a:gd name="T86" fmla="*/ 56 w 150"/>
              <a:gd name="T87" fmla="*/ 59 h 160"/>
              <a:gd name="T88" fmla="*/ 13 w 150"/>
              <a:gd name="T89" fmla="*/ 80 h 160"/>
              <a:gd name="T90" fmla="*/ 53 w 150"/>
              <a:gd name="T91" fmla="*/ 75 h 160"/>
              <a:gd name="T92" fmla="*/ 53 w 150"/>
              <a:gd name="T93" fmla="*/ 99 h 160"/>
              <a:gd name="T94" fmla="*/ 3 w 150"/>
              <a:gd name="T95" fmla="*/ 93 h 160"/>
              <a:gd name="T96" fmla="*/ 56 w 150"/>
              <a:gd name="T97" fmla="*/ 115 h 160"/>
              <a:gd name="T98" fmla="*/ 16 w 150"/>
              <a:gd name="T99" fmla="*/ 115 h 160"/>
              <a:gd name="T100" fmla="*/ 56 w 150"/>
              <a:gd name="T101" fmla="*/ 115 h 160"/>
              <a:gd name="T102" fmla="*/ 35 w 150"/>
              <a:gd name="T103" fmla="*/ 136 h 160"/>
              <a:gd name="T104" fmla="*/ 53 w 150"/>
              <a:gd name="T105" fmla="*/ 13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0" h="160">
                <a:moveTo>
                  <a:pt x="80" y="101"/>
                </a:moveTo>
                <a:cubicBezTo>
                  <a:pt x="82" y="101"/>
                  <a:pt x="85" y="100"/>
                  <a:pt x="87" y="97"/>
                </a:cubicBezTo>
                <a:cubicBezTo>
                  <a:pt x="111" y="63"/>
                  <a:pt x="111" y="63"/>
                  <a:pt x="111" y="63"/>
                </a:cubicBezTo>
                <a:cubicBezTo>
                  <a:pt x="112" y="62"/>
                  <a:pt x="112" y="60"/>
                  <a:pt x="111" y="59"/>
                </a:cubicBezTo>
                <a:cubicBezTo>
                  <a:pt x="110" y="59"/>
                  <a:pt x="109" y="58"/>
                  <a:pt x="108" y="59"/>
                </a:cubicBezTo>
                <a:cubicBezTo>
                  <a:pt x="73" y="84"/>
                  <a:pt x="73" y="84"/>
                  <a:pt x="73" y="84"/>
                </a:cubicBezTo>
                <a:cubicBezTo>
                  <a:pt x="71" y="86"/>
                  <a:pt x="70" y="88"/>
                  <a:pt x="69" y="91"/>
                </a:cubicBezTo>
                <a:cubicBezTo>
                  <a:pt x="69" y="94"/>
                  <a:pt x="70" y="97"/>
                  <a:pt x="72" y="99"/>
                </a:cubicBezTo>
                <a:cubicBezTo>
                  <a:pt x="74" y="100"/>
                  <a:pt x="76" y="101"/>
                  <a:pt x="79" y="101"/>
                </a:cubicBezTo>
                <a:cubicBezTo>
                  <a:pt x="79" y="101"/>
                  <a:pt x="79" y="101"/>
                  <a:pt x="80" y="101"/>
                </a:cubicBezTo>
                <a:close/>
                <a:moveTo>
                  <a:pt x="75" y="92"/>
                </a:moveTo>
                <a:cubicBezTo>
                  <a:pt x="75" y="90"/>
                  <a:pt x="75" y="89"/>
                  <a:pt x="76" y="88"/>
                </a:cubicBezTo>
                <a:cubicBezTo>
                  <a:pt x="97" y="73"/>
                  <a:pt x="97" y="73"/>
                  <a:pt x="97" y="73"/>
                </a:cubicBezTo>
                <a:cubicBezTo>
                  <a:pt x="82" y="94"/>
                  <a:pt x="82" y="94"/>
                  <a:pt x="82" y="94"/>
                </a:cubicBezTo>
                <a:cubicBezTo>
                  <a:pt x="81" y="95"/>
                  <a:pt x="80" y="96"/>
                  <a:pt x="79" y="96"/>
                </a:cubicBezTo>
                <a:cubicBezTo>
                  <a:pt x="78" y="96"/>
                  <a:pt x="77" y="96"/>
                  <a:pt x="76" y="95"/>
                </a:cubicBezTo>
                <a:cubicBezTo>
                  <a:pt x="75" y="94"/>
                  <a:pt x="75" y="93"/>
                  <a:pt x="75" y="92"/>
                </a:cubicBezTo>
                <a:close/>
                <a:moveTo>
                  <a:pt x="139" y="52"/>
                </a:moveTo>
                <a:cubicBezTo>
                  <a:pt x="139" y="52"/>
                  <a:pt x="139" y="52"/>
                  <a:pt x="139" y="52"/>
                </a:cubicBezTo>
                <a:cubicBezTo>
                  <a:pt x="139" y="52"/>
                  <a:pt x="139" y="52"/>
                  <a:pt x="139" y="52"/>
                </a:cubicBezTo>
                <a:cubicBezTo>
                  <a:pt x="136" y="47"/>
                  <a:pt x="133" y="43"/>
                  <a:pt x="130" y="39"/>
                </a:cubicBezTo>
                <a:cubicBezTo>
                  <a:pt x="135" y="33"/>
                  <a:pt x="135" y="33"/>
                  <a:pt x="135" y="33"/>
                </a:cubicBezTo>
                <a:cubicBezTo>
                  <a:pt x="139" y="37"/>
                  <a:pt x="139" y="37"/>
                  <a:pt x="139" y="37"/>
                </a:cubicBezTo>
                <a:cubicBezTo>
                  <a:pt x="150" y="26"/>
                  <a:pt x="150" y="26"/>
                  <a:pt x="150" y="26"/>
                </a:cubicBezTo>
                <a:cubicBezTo>
                  <a:pt x="139" y="14"/>
                  <a:pt x="139" y="14"/>
                  <a:pt x="139" y="14"/>
                </a:cubicBezTo>
                <a:cubicBezTo>
                  <a:pt x="128" y="26"/>
                  <a:pt x="128" y="26"/>
                  <a:pt x="128" y="26"/>
                </a:cubicBezTo>
                <a:cubicBezTo>
                  <a:pt x="132" y="30"/>
                  <a:pt x="132" y="30"/>
                  <a:pt x="132" y="30"/>
                </a:cubicBezTo>
                <a:cubicBezTo>
                  <a:pt x="126" y="35"/>
                  <a:pt x="126" y="35"/>
                  <a:pt x="126" y="35"/>
                </a:cubicBezTo>
                <a:cubicBezTo>
                  <a:pt x="122" y="32"/>
                  <a:pt x="118" y="28"/>
                  <a:pt x="113" y="26"/>
                </a:cubicBezTo>
                <a:cubicBezTo>
                  <a:pt x="113" y="26"/>
                  <a:pt x="113" y="26"/>
                  <a:pt x="113" y="26"/>
                </a:cubicBezTo>
                <a:cubicBezTo>
                  <a:pt x="113" y="26"/>
                  <a:pt x="113" y="26"/>
                  <a:pt x="113" y="26"/>
                </a:cubicBezTo>
                <a:cubicBezTo>
                  <a:pt x="104" y="21"/>
                  <a:pt x="95" y="18"/>
                  <a:pt x="85" y="17"/>
                </a:cubicBezTo>
                <a:cubicBezTo>
                  <a:pt x="85" y="13"/>
                  <a:pt x="85" y="13"/>
                  <a:pt x="85" y="13"/>
                </a:cubicBezTo>
                <a:cubicBezTo>
                  <a:pt x="89" y="13"/>
                  <a:pt x="89" y="13"/>
                  <a:pt x="89" y="13"/>
                </a:cubicBezTo>
                <a:cubicBezTo>
                  <a:pt x="93" y="13"/>
                  <a:pt x="96" y="10"/>
                  <a:pt x="96" y="7"/>
                </a:cubicBezTo>
                <a:cubicBezTo>
                  <a:pt x="96" y="3"/>
                  <a:pt x="93" y="0"/>
                  <a:pt x="89" y="0"/>
                </a:cubicBezTo>
                <a:cubicBezTo>
                  <a:pt x="65" y="0"/>
                  <a:pt x="65" y="0"/>
                  <a:pt x="65" y="0"/>
                </a:cubicBezTo>
                <a:cubicBezTo>
                  <a:pt x="62" y="0"/>
                  <a:pt x="59" y="3"/>
                  <a:pt x="59" y="7"/>
                </a:cubicBezTo>
                <a:cubicBezTo>
                  <a:pt x="59" y="10"/>
                  <a:pt x="62" y="13"/>
                  <a:pt x="65" y="13"/>
                </a:cubicBezTo>
                <a:cubicBezTo>
                  <a:pt x="69" y="13"/>
                  <a:pt x="69" y="13"/>
                  <a:pt x="69" y="13"/>
                </a:cubicBezTo>
                <a:cubicBezTo>
                  <a:pt x="69" y="16"/>
                  <a:pt x="69" y="16"/>
                  <a:pt x="69" y="16"/>
                </a:cubicBezTo>
                <a:cubicBezTo>
                  <a:pt x="66" y="17"/>
                  <a:pt x="64" y="17"/>
                  <a:pt x="61" y="18"/>
                </a:cubicBezTo>
                <a:cubicBezTo>
                  <a:pt x="59" y="18"/>
                  <a:pt x="58" y="20"/>
                  <a:pt x="59" y="21"/>
                </a:cubicBezTo>
                <a:cubicBezTo>
                  <a:pt x="59" y="22"/>
                  <a:pt x="60" y="23"/>
                  <a:pt x="62" y="23"/>
                </a:cubicBezTo>
                <a:cubicBezTo>
                  <a:pt x="64" y="22"/>
                  <a:pt x="67" y="22"/>
                  <a:pt x="69" y="22"/>
                </a:cubicBezTo>
                <a:cubicBezTo>
                  <a:pt x="72" y="22"/>
                  <a:pt x="72" y="22"/>
                  <a:pt x="72" y="22"/>
                </a:cubicBezTo>
                <a:cubicBezTo>
                  <a:pt x="73" y="21"/>
                  <a:pt x="74" y="21"/>
                  <a:pt x="75" y="21"/>
                </a:cubicBezTo>
                <a:cubicBezTo>
                  <a:pt x="75" y="27"/>
                  <a:pt x="75" y="27"/>
                  <a:pt x="75" y="27"/>
                </a:cubicBezTo>
                <a:cubicBezTo>
                  <a:pt x="75" y="28"/>
                  <a:pt x="76" y="29"/>
                  <a:pt x="77" y="29"/>
                </a:cubicBezTo>
                <a:cubicBezTo>
                  <a:pt x="79" y="29"/>
                  <a:pt x="80" y="28"/>
                  <a:pt x="80" y="27"/>
                </a:cubicBezTo>
                <a:cubicBezTo>
                  <a:pt x="80" y="21"/>
                  <a:pt x="80" y="21"/>
                  <a:pt x="80" y="21"/>
                </a:cubicBezTo>
                <a:cubicBezTo>
                  <a:pt x="90" y="22"/>
                  <a:pt x="99" y="25"/>
                  <a:pt x="108" y="29"/>
                </a:cubicBezTo>
                <a:cubicBezTo>
                  <a:pt x="105" y="34"/>
                  <a:pt x="105" y="34"/>
                  <a:pt x="105" y="34"/>
                </a:cubicBezTo>
                <a:cubicBezTo>
                  <a:pt x="105" y="35"/>
                  <a:pt x="105" y="36"/>
                  <a:pt x="106" y="37"/>
                </a:cubicBezTo>
                <a:cubicBezTo>
                  <a:pt x="107" y="37"/>
                  <a:pt x="107" y="38"/>
                  <a:pt x="108" y="38"/>
                </a:cubicBezTo>
                <a:cubicBezTo>
                  <a:pt x="108" y="38"/>
                  <a:pt x="109" y="37"/>
                  <a:pt x="110" y="36"/>
                </a:cubicBezTo>
                <a:cubicBezTo>
                  <a:pt x="112" y="32"/>
                  <a:pt x="112" y="32"/>
                  <a:pt x="112" y="32"/>
                </a:cubicBezTo>
                <a:cubicBezTo>
                  <a:pt x="121" y="37"/>
                  <a:pt x="128" y="44"/>
                  <a:pt x="133" y="52"/>
                </a:cubicBezTo>
                <a:cubicBezTo>
                  <a:pt x="129" y="55"/>
                  <a:pt x="129" y="55"/>
                  <a:pt x="129" y="55"/>
                </a:cubicBezTo>
                <a:cubicBezTo>
                  <a:pt x="127" y="56"/>
                  <a:pt x="127" y="57"/>
                  <a:pt x="128" y="59"/>
                </a:cubicBezTo>
                <a:cubicBezTo>
                  <a:pt x="128" y="60"/>
                  <a:pt x="129" y="60"/>
                  <a:pt x="130" y="60"/>
                </a:cubicBezTo>
                <a:cubicBezTo>
                  <a:pt x="130" y="60"/>
                  <a:pt x="131" y="60"/>
                  <a:pt x="131" y="60"/>
                </a:cubicBezTo>
                <a:cubicBezTo>
                  <a:pt x="136" y="57"/>
                  <a:pt x="136" y="57"/>
                  <a:pt x="136" y="57"/>
                </a:cubicBezTo>
                <a:cubicBezTo>
                  <a:pt x="140" y="66"/>
                  <a:pt x="143" y="75"/>
                  <a:pt x="144" y="85"/>
                </a:cubicBezTo>
                <a:cubicBezTo>
                  <a:pt x="138" y="85"/>
                  <a:pt x="138" y="85"/>
                  <a:pt x="138" y="85"/>
                </a:cubicBezTo>
                <a:cubicBezTo>
                  <a:pt x="137" y="85"/>
                  <a:pt x="136" y="87"/>
                  <a:pt x="136" y="88"/>
                </a:cubicBezTo>
                <a:cubicBezTo>
                  <a:pt x="136" y="89"/>
                  <a:pt x="137" y="91"/>
                  <a:pt x="138" y="91"/>
                </a:cubicBezTo>
                <a:cubicBezTo>
                  <a:pt x="144" y="91"/>
                  <a:pt x="144" y="91"/>
                  <a:pt x="144" y="91"/>
                </a:cubicBezTo>
                <a:cubicBezTo>
                  <a:pt x="143" y="101"/>
                  <a:pt x="140" y="110"/>
                  <a:pt x="136" y="119"/>
                </a:cubicBezTo>
                <a:cubicBezTo>
                  <a:pt x="131" y="116"/>
                  <a:pt x="131" y="116"/>
                  <a:pt x="131" y="116"/>
                </a:cubicBezTo>
                <a:cubicBezTo>
                  <a:pt x="130" y="116"/>
                  <a:pt x="128" y="116"/>
                  <a:pt x="128" y="117"/>
                </a:cubicBezTo>
                <a:cubicBezTo>
                  <a:pt x="127" y="119"/>
                  <a:pt x="127" y="120"/>
                  <a:pt x="129" y="121"/>
                </a:cubicBezTo>
                <a:cubicBezTo>
                  <a:pt x="133" y="124"/>
                  <a:pt x="133" y="124"/>
                  <a:pt x="133" y="124"/>
                </a:cubicBezTo>
                <a:cubicBezTo>
                  <a:pt x="128" y="132"/>
                  <a:pt x="121" y="139"/>
                  <a:pt x="113" y="144"/>
                </a:cubicBezTo>
                <a:cubicBezTo>
                  <a:pt x="110" y="140"/>
                  <a:pt x="110" y="140"/>
                  <a:pt x="110" y="140"/>
                </a:cubicBezTo>
                <a:cubicBezTo>
                  <a:pt x="109" y="138"/>
                  <a:pt x="108" y="138"/>
                  <a:pt x="106" y="139"/>
                </a:cubicBezTo>
                <a:cubicBezTo>
                  <a:pt x="105" y="140"/>
                  <a:pt x="105" y="141"/>
                  <a:pt x="105" y="142"/>
                </a:cubicBezTo>
                <a:cubicBezTo>
                  <a:pt x="108" y="147"/>
                  <a:pt x="108" y="147"/>
                  <a:pt x="108" y="147"/>
                </a:cubicBezTo>
                <a:cubicBezTo>
                  <a:pt x="99" y="151"/>
                  <a:pt x="90" y="154"/>
                  <a:pt x="80" y="155"/>
                </a:cubicBezTo>
                <a:cubicBezTo>
                  <a:pt x="80" y="149"/>
                  <a:pt x="80" y="149"/>
                  <a:pt x="80" y="149"/>
                </a:cubicBezTo>
                <a:cubicBezTo>
                  <a:pt x="80" y="148"/>
                  <a:pt x="79" y="147"/>
                  <a:pt x="77" y="147"/>
                </a:cubicBezTo>
                <a:cubicBezTo>
                  <a:pt x="76" y="147"/>
                  <a:pt x="75" y="148"/>
                  <a:pt x="75" y="149"/>
                </a:cubicBezTo>
                <a:cubicBezTo>
                  <a:pt x="75" y="155"/>
                  <a:pt x="75" y="155"/>
                  <a:pt x="75" y="155"/>
                </a:cubicBezTo>
                <a:cubicBezTo>
                  <a:pt x="70" y="154"/>
                  <a:pt x="66" y="154"/>
                  <a:pt x="62" y="153"/>
                </a:cubicBezTo>
                <a:cubicBezTo>
                  <a:pt x="61" y="153"/>
                  <a:pt x="59" y="154"/>
                  <a:pt x="59" y="155"/>
                </a:cubicBezTo>
                <a:cubicBezTo>
                  <a:pt x="58" y="156"/>
                  <a:pt x="59" y="158"/>
                  <a:pt x="61" y="158"/>
                </a:cubicBezTo>
                <a:cubicBezTo>
                  <a:pt x="66" y="159"/>
                  <a:pt x="72" y="160"/>
                  <a:pt x="77" y="160"/>
                </a:cubicBezTo>
                <a:cubicBezTo>
                  <a:pt x="77" y="160"/>
                  <a:pt x="77" y="160"/>
                  <a:pt x="77" y="160"/>
                </a:cubicBezTo>
                <a:cubicBezTo>
                  <a:pt x="77" y="160"/>
                  <a:pt x="77" y="160"/>
                  <a:pt x="77" y="160"/>
                </a:cubicBezTo>
                <a:cubicBezTo>
                  <a:pt x="77" y="160"/>
                  <a:pt x="77" y="160"/>
                  <a:pt x="77" y="160"/>
                </a:cubicBezTo>
                <a:cubicBezTo>
                  <a:pt x="90" y="160"/>
                  <a:pt x="102" y="156"/>
                  <a:pt x="113" y="150"/>
                </a:cubicBezTo>
                <a:cubicBezTo>
                  <a:pt x="113" y="150"/>
                  <a:pt x="113" y="150"/>
                  <a:pt x="113" y="150"/>
                </a:cubicBezTo>
                <a:cubicBezTo>
                  <a:pt x="113" y="150"/>
                  <a:pt x="113" y="150"/>
                  <a:pt x="113" y="150"/>
                </a:cubicBezTo>
                <a:cubicBezTo>
                  <a:pt x="124" y="144"/>
                  <a:pt x="133" y="135"/>
                  <a:pt x="139" y="124"/>
                </a:cubicBezTo>
                <a:cubicBezTo>
                  <a:pt x="139" y="124"/>
                  <a:pt x="139" y="124"/>
                  <a:pt x="139" y="124"/>
                </a:cubicBezTo>
                <a:cubicBezTo>
                  <a:pt x="139" y="124"/>
                  <a:pt x="139" y="124"/>
                  <a:pt x="139" y="124"/>
                </a:cubicBezTo>
                <a:cubicBezTo>
                  <a:pt x="145" y="113"/>
                  <a:pt x="149" y="101"/>
                  <a:pt x="149" y="88"/>
                </a:cubicBezTo>
                <a:cubicBezTo>
                  <a:pt x="149" y="75"/>
                  <a:pt x="145" y="63"/>
                  <a:pt x="139" y="52"/>
                </a:cubicBezTo>
                <a:close/>
                <a:moveTo>
                  <a:pt x="139" y="22"/>
                </a:moveTo>
                <a:cubicBezTo>
                  <a:pt x="143" y="26"/>
                  <a:pt x="143" y="26"/>
                  <a:pt x="143" y="26"/>
                </a:cubicBezTo>
                <a:cubicBezTo>
                  <a:pt x="139" y="30"/>
                  <a:pt x="139" y="30"/>
                  <a:pt x="139" y="30"/>
                </a:cubicBezTo>
                <a:cubicBezTo>
                  <a:pt x="135" y="26"/>
                  <a:pt x="135" y="26"/>
                  <a:pt x="135" y="26"/>
                </a:cubicBezTo>
                <a:lnTo>
                  <a:pt x="139" y="22"/>
                </a:lnTo>
                <a:close/>
                <a:moveTo>
                  <a:pt x="75" y="16"/>
                </a:moveTo>
                <a:cubicBezTo>
                  <a:pt x="75" y="8"/>
                  <a:pt x="75" y="8"/>
                  <a:pt x="75" y="8"/>
                </a:cubicBezTo>
                <a:cubicBezTo>
                  <a:pt x="65" y="8"/>
                  <a:pt x="65" y="8"/>
                  <a:pt x="65" y="8"/>
                </a:cubicBezTo>
                <a:cubicBezTo>
                  <a:pt x="65" y="8"/>
                  <a:pt x="64" y="7"/>
                  <a:pt x="64" y="7"/>
                </a:cubicBezTo>
                <a:cubicBezTo>
                  <a:pt x="64" y="6"/>
                  <a:pt x="65" y="5"/>
                  <a:pt x="65" y="5"/>
                </a:cubicBezTo>
                <a:cubicBezTo>
                  <a:pt x="89" y="5"/>
                  <a:pt x="89" y="5"/>
                  <a:pt x="89" y="5"/>
                </a:cubicBezTo>
                <a:cubicBezTo>
                  <a:pt x="90" y="5"/>
                  <a:pt x="91" y="6"/>
                  <a:pt x="91" y="7"/>
                </a:cubicBezTo>
                <a:cubicBezTo>
                  <a:pt x="91" y="7"/>
                  <a:pt x="90" y="8"/>
                  <a:pt x="89" y="8"/>
                </a:cubicBezTo>
                <a:cubicBezTo>
                  <a:pt x="80" y="8"/>
                  <a:pt x="80" y="8"/>
                  <a:pt x="80" y="8"/>
                </a:cubicBezTo>
                <a:cubicBezTo>
                  <a:pt x="80" y="16"/>
                  <a:pt x="80" y="16"/>
                  <a:pt x="80" y="16"/>
                </a:cubicBezTo>
                <a:cubicBezTo>
                  <a:pt x="79" y="16"/>
                  <a:pt x="78" y="16"/>
                  <a:pt x="77" y="16"/>
                </a:cubicBezTo>
                <a:cubicBezTo>
                  <a:pt x="77" y="16"/>
                  <a:pt x="77" y="16"/>
                  <a:pt x="77" y="16"/>
                </a:cubicBezTo>
                <a:cubicBezTo>
                  <a:pt x="77" y="16"/>
                  <a:pt x="77" y="16"/>
                  <a:pt x="77" y="16"/>
                </a:cubicBezTo>
                <a:cubicBezTo>
                  <a:pt x="76" y="16"/>
                  <a:pt x="76" y="16"/>
                  <a:pt x="76" y="16"/>
                </a:cubicBezTo>
                <a:cubicBezTo>
                  <a:pt x="75" y="16"/>
                  <a:pt x="75" y="16"/>
                  <a:pt x="75" y="16"/>
                </a:cubicBezTo>
                <a:close/>
                <a:moveTo>
                  <a:pt x="56" y="40"/>
                </a:moveTo>
                <a:cubicBezTo>
                  <a:pt x="56" y="41"/>
                  <a:pt x="55" y="43"/>
                  <a:pt x="53" y="43"/>
                </a:cubicBezTo>
                <a:cubicBezTo>
                  <a:pt x="40" y="43"/>
                  <a:pt x="40" y="43"/>
                  <a:pt x="40" y="43"/>
                </a:cubicBezTo>
                <a:cubicBezTo>
                  <a:pt x="39" y="43"/>
                  <a:pt x="37" y="41"/>
                  <a:pt x="37" y="40"/>
                </a:cubicBezTo>
                <a:cubicBezTo>
                  <a:pt x="37" y="39"/>
                  <a:pt x="39" y="37"/>
                  <a:pt x="40" y="37"/>
                </a:cubicBezTo>
                <a:cubicBezTo>
                  <a:pt x="53" y="37"/>
                  <a:pt x="53" y="37"/>
                  <a:pt x="53" y="37"/>
                </a:cubicBezTo>
                <a:cubicBezTo>
                  <a:pt x="55" y="37"/>
                  <a:pt x="56" y="39"/>
                  <a:pt x="56" y="40"/>
                </a:cubicBezTo>
                <a:close/>
                <a:moveTo>
                  <a:pt x="56" y="59"/>
                </a:moveTo>
                <a:cubicBezTo>
                  <a:pt x="56" y="60"/>
                  <a:pt x="55" y="61"/>
                  <a:pt x="53" y="61"/>
                </a:cubicBezTo>
                <a:cubicBezTo>
                  <a:pt x="27" y="61"/>
                  <a:pt x="27" y="61"/>
                  <a:pt x="27" y="61"/>
                </a:cubicBezTo>
                <a:cubicBezTo>
                  <a:pt x="25" y="61"/>
                  <a:pt x="24" y="60"/>
                  <a:pt x="24" y="59"/>
                </a:cubicBezTo>
                <a:cubicBezTo>
                  <a:pt x="24" y="57"/>
                  <a:pt x="25" y="56"/>
                  <a:pt x="27" y="56"/>
                </a:cubicBezTo>
                <a:cubicBezTo>
                  <a:pt x="53" y="56"/>
                  <a:pt x="53" y="56"/>
                  <a:pt x="53" y="56"/>
                </a:cubicBezTo>
                <a:cubicBezTo>
                  <a:pt x="55" y="56"/>
                  <a:pt x="56" y="57"/>
                  <a:pt x="56" y="59"/>
                </a:cubicBezTo>
                <a:close/>
                <a:moveTo>
                  <a:pt x="56" y="77"/>
                </a:moveTo>
                <a:cubicBezTo>
                  <a:pt x="56" y="79"/>
                  <a:pt x="55" y="80"/>
                  <a:pt x="53" y="80"/>
                </a:cubicBezTo>
                <a:cubicBezTo>
                  <a:pt x="13" y="80"/>
                  <a:pt x="13" y="80"/>
                  <a:pt x="13" y="80"/>
                </a:cubicBezTo>
                <a:cubicBezTo>
                  <a:pt x="12" y="80"/>
                  <a:pt x="11" y="79"/>
                  <a:pt x="11" y="77"/>
                </a:cubicBezTo>
                <a:cubicBezTo>
                  <a:pt x="11" y="76"/>
                  <a:pt x="12" y="75"/>
                  <a:pt x="13" y="75"/>
                </a:cubicBezTo>
                <a:cubicBezTo>
                  <a:pt x="53" y="75"/>
                  <a:pt x="53" y="75"/>
                  <a:pt x="53" y="75"/>
                </a:cubicBezTo>
                <a:cubicBezTo>
                  <a:pt x="55" y="75"/>
                  <a:pt x="56" y="76"/>
                  <a:pt x="56" y="77"/>
                </a:cubicBezTo>
                <a:close/>
                <a:moveTo>
                  <a:pt x="56" y="96"/>
                </a:moveTo>
                <a:cubicBezTo>
                  <a:pt x="56" y="97"/>
                  <a:pt x="55" y="99"/>
                  <a:pt x="53" y="99"/>
                </a:cubicBezTo>
                <a:cubicBezTo>
                  <a:pt x="3" y="99"/>
                  <a:pt x="3" y="99"/>
                  <a:pt x="3" y="99"/>
                </a:cubicBezTo>
                <a:cubicBezTo>
                  <a:pt x="1" y="99"/>
                  <a:pt x="0" y="97"/>
                  <a:pt x="0" y="96"/>
                </a:cubicBezTo>
                <a:cubicBezTo>
                  <a:pt x="0" y="95"/>
                  <a:pt x="1" y="93"/>
                  <a:pt x="3" y="93"/>
                </a:cubicBezTo>
                <a:cubicBezTo>
                  <a:pt x="53" y="93"/>
                  <a:pt x="53" y="93"/>
                  <a:pt x="53" y="93"/>
                </a:cubicBezTo>
                <a:cubicBezTo>
                  <a:pt x="55" y="93"/>
                  <a:pt x="56" y="95"/>
                  <a:pt x="56" y="96"/>
                </a:cubicBezTo>
                <a:close/>
                <a:moveTo>
                  <a:pt x="56" y="115"/>
                </a:moveTo>
                <a:cubicBezTo>
                  <a:pt x="56" y="116"/>
                  <a:pt x="55" y="117"/>
                  <a:pt x="53" y="117"/>
                </a:cubicBezTo>
                <a:cubicBezTo>
                  <a:pt x="19" y="117"/>
                  <a:pt x="19" y="117"/>
                  <a:pt x="19" y="117"/>
                </a:cubicBezTo>
                <a:cubicBezTo>
                  <a:pt x="17" y="117"/>
                  <a:pt x="16" y="116"/>
                  <a:pt x="16" y="115"/>
                </a:cubicBezTo>
                <a:cubicBezTo>
                  <a:pt x="16" y="113"/>
                  <a:pt x="17" y="112"/>
                  <a:pt x="19" y="112"/>
                </a:cubicBezTo>
                <a:cubicBezTo>
                  <a:pt x="53" y="112"/>
                  <a:pt x="53" y="112"/>
                  <a:pt x="53" y="112"/>
                </a:cubicBezTo>
                <a:cubicBezTo>
                  <a:pt x="55" y="112"/>
                  <a:pt x="56" y="113"/>
                  <a:pt x="56" y="115"/>
                </a:cubicBezTo>
                <a:close/>
                <a:moveTo>
                  <a:pt x="56" y="133"/>
                </a:moveTo>
                <a:cubicBezTo>
                  <a:pt x="56" y="135"/>
                  <a:pt x="55" y="136"/>
                  <a:pt x="53" y="136"/>
                </a:cubicBezTo>
                <a:cubicBezTo>
                  <a:pt x="35" y="136"/>
                  <a:pt x="35" y="136"/>
                  <a:pt x="35" y="136"/>
                </a:cubicBezTo>
                <a:cubicBezTo>
                  <a:pt x="33" y="136"/>
                  <a:pt x="32" y="135"/>
                  <a:pt x="32" y="133"/>
                </a:cubicBezTo>
                <a:cubicBezTo>
                  <a:pt x="32" y="132"/>
                  <a:pt x="33" y="131"/>
                  <a:pt x="35" y="131"/>
                </a:cubicBezTo>
                <a:cubicBezTo>
                  <a:pt x="53" y="131"/>
                  <a:pt x="53" y="131"/>
                  <a:pt x="53" y="131"/>
                </a:cubicBezTo>
                <a:cubicBezTo>
                  <a:pt x="55" y="131"/>
                  <a:pt x="56" y="132"/>
                  <a:pt x="56" y="13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5">
            <a:extLst>
              <a:ext uri="{FF2B5EF4-FFF2-40B4-BE49-F238E27FC236}">
                <a16:creationId xmlns:a16="http://schemas.microsoft.com/office/drawing/2014/main" id="{27FAB015-87A4-6D4A-A9E9-44F9312CCF91}"/>
              </a:ext>
            </a:extLst>
          </p:cNvPr>
          <p:cNvSpPr>
            <a:spLocks noEditPoints="1"/>
          </p:cNvSpPr>
          <p:nvPr/>
        </p:nvSpPr>
        <p:spPr bwMode="auto">
          <a:xfrm>
            <a:off x="2688916" y="1762125"/>
            <a:ext cx="601663" cy="604838"/>
          </a:xfrm>
          <a:custGeom>
            <a:avLst/>
            <a:gdLst>
              <a:gd name="T0" fmla="*/ 157 w 160"/>
              <a:gd name="T1" fmla="*/ 59 h 160"/>
              <a:gd name="T2" fmla="*/ 149 w 160"/>
              <a:gd name="T3" fmla="*/ 40 h 160"/>
              <a:gd name="T4" fmla="*/ 136 w 160"/>
              <a:gd name="T5" fmla="*/ 23 h 160"/>
              <a:gd name="T6" fmla="*/ 101 w 160"/>
              <a:gd name="T7" fmla="*/ 3 h 160"/>
              <a:gd name="T8" fmla="*/ 59 w 160"/>
              <a:gd name="T9" fmla="*/ 3 h 160"/>
              <a:gd name="T10" fmla="*/ 40 w 160"/>
              <a:gd name="T11" fmla="*/ 11 h 160"/>
              <a:gd name="T12" fmla="*/ 23 w 160"/>
              <a:gd name="T13" fmla="*/ 24 h 160"/>
              <a:gd name="T14" fmla="*/ 3 w 160"/>
              <a:gd name="T15" fmla="*/ 59 h 160"/>
              <a:gd name="T16" fmla="*/ 3 w 160"/>
              <a:gd name="T17" fmla="*/ 101 h 160"/>
              <a:gd name="T18" fmla="*/ 11 w 160"/>
              <a:gd name="T19" fmla="*/ 120 h 160"/>
              <a:gd name="T20" fmla="*/ 24 w 160"/>
              <a:gd name="T21" fmla="*/ 137 h 160"/>
              <a:gd name="T22" fmla="*/ 59 w 160"/>
              <a:gd name="T23" fmla="*/ 157 h 160"/>
              <a:gd name="T24" fmla="*/ 101 w 160"/>
              <a:gd name="T25" fmla="*/ 157 h 160"/>
              <a:gd name="T26" fmla="*/ 120 w 160"/>
              <a:gd name="T27" fmla="*/ 149 h 160"/>
              <a:gd name="T28" fmla="*/ 137 w 160"/>
              <a:gd name="T29" fmla="*/ 136 h 160"/>
              <a:gd name="T30" fmla="*/ 157 w 160"/>
              <a:gd name="T31" fmla="*/ 101 h 160"/>
              <a:gd name="T32" fmla="*/ 146 w 160"/>
              <a:gd name="T33" fmla="*/ 115 h 160"/>
              <a:gd name="T34" fmla="*/ 143 w 160"/>
              <a:gd name="T35" fmla="*/ 120 h 160"/>
              <a:gd name="T36" fmla="*/ 127 w 160"/>
              <a:gd name="T37" fmla="*/ 131 h 160"/>
              <a:gd name="T38" fmla="*/ 113 w 160"/>
              <a:gd name="T39" fmla="*/ 138 h 160"/>
              <a:gd name="T40" fmla="*/ 101 w 160"/>
              <a:gd name="T41" fmla="*/ 146 h 160"/>
              <a:gd name="T42" fmla="*/ 83 w 160"/>
              <a:gd name="T43" fmla="*/ 155 h 160"/>
              <a:gd name="T44" fmla="*/ 77 w 160"/>
              <a:gd name="T45" fmla="*/ 155 h 160"/>
              <a:gd name="T46" fmla="*/ 59 w 160"/>
              <a:gd name="T47" fmla="*/ 146 h 160"/>
              <a:gd name="T48" fmla="*/ 47 w 160"/>
              <a:gd name="T49" fmla="*/ 138 h 160"/>
              <a:gd name="T50" fmla="*/ 33 w 160"/>
              <a:gd name="T51" fmla="*/ 131 h 160"/>
              <a:gd name="T52" fmla="*/ 17 w 160"/>
              <a:gd name="T53" fmla="*/ 120 h 160"/>
              <a:gd name="T54" fmla="*/ 14 w 160"/>
              <a:gd name="T55" fmla="*/ 115 h 160"/>
              <a:gd name="T56" fmla="*/ 12 w 160"/>
              <a:gd name="T57" fmla="*/ 95 h 160"/>
              <a:gd name="T58" fmla="*/ 19 w 160"/>
              <a:gd name="T59" fmla="*/ 80 h 160"/>
              <a:gd name="T60" fmla="*/ 12 w 160"/>
              <a:gd name="T61" fmla="*/ 65 h 160"/>
              <a:gd name="T62" fmla="*/ 9 w 160"/>
              <a:gd name="T63" fmla="*/ 58 h 160"/>
              <a:gd name="T64" fmla="*/ 22 w 160"/>
              <a:gd name="T65" fmla="*/ 47 h 160"/>
              <a:gd name="T66" fmla="*/ 29 w 160"/>
              <a:gd name="T67" fmla="*/ 33 h 160"/>
              <a:gd name="T68" fmla="*/ 29 w 160"/>
              <a:gd name="T69" fmla="*/ 25 h 160"/>
              <a:gd name="T70" fmla="*/ 47 w 160"/>
              <a:gd name="T71" fmla="*/ 22 h 160"/>
              <a:gd name="T72" fmla="*/ 59 w 160"/>
              <a:gd name="T73" fmla="*/ 14 h 160"/>
              <a:gd name="T74" fmla="*/ 63 w 160"/>
              <a:gd name="T75" fmla="*/ 7 h 160"/>
              <a:gd name="T76" fmla="*/ 83 w 160"/>
              <a:gd name="T77" fmla="*/ 16 h 160"/>
              <a:gd name="T78" fmla="*/ 97 w 160"/>
              <a:gd name="T79" fmla="*/ 16 h 160"/>
              <a:gd name="T80" fmla="*/ 115 w 160"/>
              <a:gd name="T81" fmla="*/ 14 h 160"/>
              <a:gd name="T82" fmla="*/ 117 w 160"/>
              <a:gd name="T83" fmla="*/ 21 h 160"/>
              <a:gd name="T84" fmla="*/ 127 w 160"/>
              <a:gd name="T85" fmla="*/ 33 h 160"/>
              <a:gd name="T86" fmla="*/ 143 w 160"/>
              <a:gd name="T87" fmla="*/ 40 h 160"/>
              <a:gd name="T88" fmla="*/ 141 w 160"/>
              <a:gd name="T89" fmla="*/ 48 h 160"/>
              <a:gd name="T90" fmla="*/ 144 w 160"/>
              <a:gd name="T91" fmla="*/ 63 h 160"/>
              <a:gd name="T92" fmla="*/ 155 w 160"/>
              <a:gd name="T93" fmla="*/ 77 h 160"/>
              <a:gd name="T94" fmla="*/ 155 w 160"/>
              <a:gd name="T95" fmla="*/ 83 h 160"/>
              <a:gd name="T96" fmla="*/ 146 w 160"/>
              <a:gd name="T97" fmla="*/ 101 h 160"/>
              <a:gd name="T98" fmla="*/ 83 w 160"/>
              <a:gd name="T99" fmla="*/ 35 h 160"/>
              <a:gd name="T100" fmla="*/ 69 w 160"/>
              <a:gd name="T101" fmla="*/ 80 h 160"/>
              <a:gd name="T102" fmla="*/ 112 w 160"/>
              <a:gd name="T103" fmla="*/ 80 h 160"/>
              <a:gd name="T104" fmla="*/ 80 w 160"/>
              <a:gd name="T105" fmla="*/ 75 h 160"/>
              <a:gd name="T106" fmla="*/ 59 w 160"/>
              <a:gd name="T107" fmla="*/ 115 h 160"/>
              <a:gd name="T108" fmla="*/ 80 w 160"/>
              <a:gd name="T109" fmla="*/ 131 h 160"/>
              <a:gd name="T110" fmla="*/ 80 w 160"/>
              <a:gd name="T111" fmla="*/ 131 h 160"/>
              <a:gd name="T112" fmla="*/ 78 w 160"/>
              <a:gd name="T113" fmla="*/ 117 h 160"/>
              <a:gd name="T114" fmla="*/ 82 w 160"/>
              <a:gd name="T115" fmla="*/ 11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60">
                <a:moveTo>
                  <a:pt x="157" y="101"/>
                </a:moveTo>
                <a:cubicBezTo>
                  <a:pt x="157" y="101"/>
                  <a:pt x="157" y="101"/>
                  <a:pt x="157" y="101"/>
                </a:cubicBezTo>
                <a:cubicBezTo>
                  <a:pt x="159" y="94"/>
                  <a:pt x="160" y="87"/>
                  <a:pt x="160" y="80"/>
                </a:cubicBezTo>
                <a:cubicBezTo>
                  <a:pt x="160" y="73"/>
                  <a:pt x="159" y="66"/>
                  <a:pt x="157" y="59"/>
                </a:cubicBezTo>
                <a:cubicBezTo>
                  <a:pt x="157" y="59"/>
                  <a:pt x="157" y="59"/>
                  <a:pt x="157" y="59"/>
                </a:cubicBezTo>
                <a:cubicBezTo>
                  <a:pt x="157" y="59"/>
                  <a:pt x="157" y="59"/>
                  <a:pt x="157" y="59"/>
                </a:cubicBezTo>
                <a:cubicBezTo>
                  <a:pt x="155" y="53"/>
                  <a:pt x="153" y="46"/>
                  <a:pt x="149" y="40"/>
                </a:cubicBezTo>
                <a:cubicBezTo>
                  <a:pt x="149" y="40"/>
                  <a:pt x="149" y="40"/>
                  <a:pt x="149" y="40"/>
                </a:cubicBezTo>
                <a:cubicBezTo>
                  <a:pt x="149" y="40"/>
                  <a:pt x="149" y="40"/>
                  <a:pt x="149" y="40"/>
                </a:cubicBezTo>
                <a:cubicBezTo>
                  <a:pt x="146" y="34"/>
                  <a:pt x="142" y="28"/>
                  <a:pt x="137" y="24"/>
                </a:cubicBezTo>
                <a:cubicBezTo>
                  <a:pt x="137" y="24"/>
                  <a:pt x="137" y="23"/>
                  <a:pt x="137" y="23"/>
                </a:cubicBezTo>
                <a:cubicBezTo>
                  <a:pt x="137" y="23"/>
                  <a:pt x="136" y="23"/>
                  <a:pt x="136" y="23"/>
                </a:cubicBezTo>
                <a:cubicBezTo>
                  <a:pt x="132" y="18"/>
                  <a:pt x="126" y="14"/>
                  <a:pt x="120" y="11"/>
                </a:cubicBezTo>
                <a:cubicBezTo>
                  <a:pt x="120" y="11"/>
                  <a:pt x="120" y="11"/>
                  <a:pt x="120" y="11"/>
                </a:cubicBezTo>
                <a:cubicBezTo>
                  <a:pt x="120" y="11"/>
                  <a:pt x="120" y="11"/>
                  <a:pt x="120" y="11"/>
                </a:cubicBezTo>
                <a:cubicBezTo>
                  <a:pt x="114" y="7"/>
                  <a:pt x="107" y="5"/>
                  <a:pt x="101" y="3"/>
                </a:cubicBezTo>
                <a:cubicBezTo>
                  <a:pt x="101" y="3"/>
                  <a:pt x="101" y="3"/>
                  <a:pt x="101" y="3"/>
                </a:cubicBezTo>
                <a:cubicBezTo>
                  <a:pt x="101" y="3"/>
                  <a:pt x="101" y="3"/>
                  <a:pt x="101" y="3"/>
                </a:cubicBezTo>
                <a:cubicBezTo>
                  <a:pt x="94" y="1"/>
                  <a:pt x="87" y="0"/>
                  <a:pt x="80" y="0"/>
                </a:cubicBezTo>
                <a:cubicBezTo>
                  <a:pt x="73" y="0"/>
                  <a:pt x="66" y="1"/>
                  <a:pt x="59" y="3"/>
                </a:cubicBezTo>
                <a:cubicBezTo>
                  <a:pt x="59" y="3"/>
                  <a:pt x="59" y="3"/>
                  <a:pt x="59" y="3"/>
                </a:cubicBezTo>
                <a:cubicBezTo>
                  <a:pt x="59" y="3"/>
                  <a:pt x="59" y="3"/>
                  <a:pt x="59" y="3"/>
                </a:cubicBezTo>
                <a:cubicBezTo>
                  <a:pt x="53" y="5"/>
                  <a:pt x="46" y="7"/>
                  <a:pt x="40" y="11"/>
                </a:cubicBezTo>
                <a:cubicBezTo>
                  <a:pt x="40" y="11"/>
                  <a:pt x="40" y="11"/>
                  <a:pt x="40" y="11"/>
                </a:cubicBezTo>
                <a:cubicBezTo>
                  <a:pt x="40" y="11"/>
                  <a:pt x="40" y="11"/>
                  <a:pt x="40" y="11"/>
                </a:cubicBezTo>
                <a:cubicBezTo>
                  <a:pt x="34" y="14"/>
                  <a:pt x="28" y="18"/>
                  <a:pt x="24" y="23"/>
                </a:cubicBezTo>
                <a:cubicBezTo>
                  <a:pt x="24" y="23"/>
                  <a:pt x="23" y="23"/>
                  <a:pt x="23" y="23"/>
                </a:cubicBezTo>
                <a:cubicBezTo>
                  <a:pt x="23" y="23"/>
                  <a:pt x="23" y="24"/>
                  <a:pt x="23" y="24"/>
                </a:cubicBezTo>
                <a:cubicBezTo>
                  <a:pt x="18" y="28"/>
                  <a:pt x="14" y="34"/>
                  <a:pt x="11" y="40"/>
                </a:cubicBezTo>
                <a:cubicBezTo>
                  <a:pt x="11" y="40"/>
                  <a:pt x="11" y="40"/>
                  <a:pt x="11" y="40"/>
                </a:cubicBezTo>
                <a:cubicBezTo>
                  <a:pt x="11" y="40"/>
                  <a:pt x="11" y="40"/>
                  <a:pt x="11" y="40"/>
                </a:cubicBezTo>
                <a:cubicBezTo>
                  <a:pt x="7" y="46"/>
                  <a:pt x="5" y="53"/>
                  <a:pt x="3" y="59"/>
                </a:cubicBezTo>
                <a:cubicBezTo>
                  <a:pt x="3" y="59"/>
                  <a:pt x="3" y="59"/>
                  <a:pt x="3" y="59"/>
                </a:cubicBezTo>
                <a:cubicBezTo>
                  <a:pt x="3" y="59"/>
                  <a:pt x="3" y="59"/>
                  <a:pt x="3" y="59"/>
                </a:cubicBezTo>
                <a:cubicBezTo>
                  <a:pt x="1" y="66"/>
                  <a:pt x="0" y="73"/>
                  <a:pt x="0" y="80"/>
                </a:cubicBezTo>
                <a:cubicBezTo>
                  <a:pt x="0" y="87"/>
                  <a:pt x="1" y="94"/>
                  <a:pt x="3" y="101"/>
                </a:cubicBezTo>
                <a:cubicBezTo>
                  <a:pt x="3" y="101"/>
                  <a:pt x="3" y="101"/>
                  <a:pt x="3" y="101"/>
                </a:cubicBezTo>
                <a:cubicBezTo>
                  <a:pt x="3" y="101"/>
                  <a:pt x="3" y="101"/>
                  <a:pt x="3" y="101"/>
                </a:cubicBezTo>
                <a:cubicBezTo>
                  <a:pt x="5" y="107"/>
                  <a:pt x="7" y="114"/>
                  <a:pt x="11" y="120"/>
                </a:cubicBezTo>
                <a:cubicBezTo>
                  <a:pt x="11" y="120"/>
                  <a:pt x="11" y="120"/>
                  <a:pt x="11" y="120"/>
                </a:cubicBezTo>
                <a:cubicBezTo>
                  <a:pt x="11" y="120"/>
                  <a:pt x="11" y="120"/>
                  <a:pt x="11" y="120"/>
                </a:cubicBezTo>
                <a:cubicBezTo>
                  <a:pt x="14" y="126"/>
                  <a:pt x="19" y="132"/>
                  <a:pt x="23" y="136"/>
                </a:cubicBezTo>
                <a:cubicBezTo>
                  <a:pt x="23" y="136"/>
                  <a:pt x="23" y="137"/>
                  <a:pt x="23" y="137"/>
                </a:cubicBezTo>
                <a:cubicBezTo>
                  <a:pt x="23" y="137"/>
                  <a:pt x="24" y="137"/>
                  <a:pt x="24" y="137"/>
                </a:cubicBezTo>
                <a:cubicBezTo>
                  <a:pt x="28" y="142"/>
                  <a:pt x="34" y="146"/>
                  <a:pt x="40" y="149"/>
                </a:cubicBezTo>
                <a:cubicBezTo>
                  <a:pt x="40" y="149"/>
                  <a:pt x="40" y="149"/>
                  <a:pt x="40" y="149"/>
                </a:cubicBezTo>
                <a:cubicBezTo>
                  <a:pt x="40" y="149"/>
                  <a:pt x="40" y="149"/>
                  <a:pt x="40" y="149"/>
                </a:cubicBezTo>
                <a:cubicBezTo>
                  <a:pt x="46" y="153"/>
                  <a:pt x="53" y="155"/>
                  <a:pt x="59" y="157"/>
                </a:cubicBezTo>
                <a:cubicBezTo>
                  <a:pt x="59" y="157"/>
                  <a:pt x="59" y="157"/>
                  <a:pt x="59" y="157"/>
                </a:cubicBezTo>
                <a:cubicBezTo>
                  <a:pt x="59" y="157"/>
                  <a:pt x="59" y="157"/>
                  <a:pt x="59" y="157"/>
                </a:cubicBezTo>
                <a:cubicBezTo>
                  <a:pt x="66" y="159"/>
                  <a:pt x="73" y="160"/>
                  <a:pt x="80" y="160"/>
                </a:cubicBezTo>
                <a:cubicBezTo>
                  <a:pt x="87" y="160"/>
                  <a:pt x="94" y="159"/>
                  <a:pt x="101" y="157"/>
                </a:cubicBezTo>
                <a:cubicBezTo>
                  <a:pt x="101" y="157"/>
                  <a:pt x="101" y="157"/>
                  <a:pt x="101" y="157"/>
                </a:cubicBezTo>
                <a:cubicBezTo>
                  <a:pt x="101" y="157"/>
                  <a:pt x="101" y="157"/>
                  <a:pt x="101" y="157"/>
                </a:cubicBezTo>
                <a:cubicBezTo>
                  <a:pt x="107" y="155"/>
                  <a:pt x="114" y="153"/>
                  <a:pt x="120" y="149"/>
                </a:cubicBezTo>
                <a:cubicBezTo>
                  <a:pt x="120" y="149"/>
                  <a:pt x="120" y="149"/>
                  <a:pt x="120" y="149"/>
                </a:cubicBezTo>
                <a:cubicBezTo>
                  <a:pt x="120" y="149"/>
                  <a:pt x="120" y="149"/>
                  <a:pt x="120" y="149"/>
                </a:cubicBezTo>
                <a:cubicBezTo>
                  <a:pt x="126" y="146"/>
                  <a:pt x="132" y="142"/>
                  <a:pt x="136" y="137"/>
                </a:cubicBezTo>
                <a:cubicBezTo>
                  <a:pt x="136" y="137"/>
                  <a:pt x="137" y="137"/>
                  <a:pt x="137" y="137"/>
                </a:cubicBezTo>
                <a:cubicBezTo>
                  <a:pt x="137" y="137"/>
                  <a:pt x="137" y="136"/>
                  <a:pt x="137" y="136"/>
                </a:cubicBezTo>
                <a:cubicBezTo>
                  <a:pt x="141" y="132"/>
                  <a:pt x="146" y="126"/>
                  <a:pt x="149" y="120"/>
                </a:cubicBezTo>
                <a:cubicBezTo>
                  <a:pt x="149" y="120"/>
                  <a:pt x="149" y="120"/>
                  <a:pt x="149" y="120"/>
                </a:cubicBezTo>
                <a:cubicBezTo>
                  <a:pt x="149" y="120"/>
                  <a:pt x="149" y="120"/>
                  <a:pt x="149" y="120"/>
                </a:cubicBezTo>
                <a:cubicBezTo>
                  <a:pt x="153" y="114"/>
                  <a:pt x="155" y="107"/>
                  <a:pt x="157" y="101"/>
                </a:cubicBezTo>
                <a:cubicBezTo>
                  <a:pt x="157" y="101"/>
                  <a:pt x="157" y="101"/>
                  <a:pt x="157" y="101"/>
                </a:cubicBezTo>
                <a:close/>
                <a:moveTo>
                  <a:pt x="146" y="101"/>
                </a:moveTo>
                <a:cubicBezTo>
                  <a:pt x="151" y="102"/>
                  <a:pt x="151" y="102"/>
                  <a:pt x="151" y="102"/>
                </a:cubicBezTo>
                <a:cubicBezTo>
                  <a:pt x="150" y="106"/>
                  <a:pt x="148" y="111"/>
                  <a:pt x="146" y="115"/>
                </a:cubicBezTo>
                <a:cubicBezTo>
                  <a:pt x="141" y="112"/>
                  <a:pt x="141" y="112"/>
                  <a:pt x="141" y="112"/>
                </a:cubicBezTo>
                <a:cubicBezTo>
                  <a:pt x="140" y="112"/>
                  <a:pt x="138" y="112"/>
                  <a:pt x="138" y="113"/>
                </a:cubicBezTo>
                <a:cubicBezTo>
                  <a:pt x="137" y="115"/>
                  <a:pt x="137" y="116"/>
                  <a:pt x="139" y="117"/>
                </a:cubicBezTo>
                <a:cubicBezTo>
                  <a:pt x="143" y="120"/>
                  <a:pt x="143" y="120"/>
                  <a:pt x="143" y="120"/>
                </a:cubicBezTo>
                <a:cubicBezTo>
                  <a:pt x="141" y="124"/>
                  <a:pt x="138" y="127"/>
                  <a:pt x="135" y="131"/>
                </a:cubicBezTo>
                <a:cubicBezTo>
                  <a:pt x="131" y="127"/>
                  <a:pt x="131" y="127"/>
                  <a:pt x="131" y="127"/>
                </a:cubicBezTo>
                <a:cubicBezTo>
                  <a:pt x="130" y="126"/>
                  <a:pt x="128" y="126"/>
                  <a:pt x="127" y="127"/>
                </a:cubicBezTo>
                <a:cubicBezTo>
                  <a:pt x="126" y="128"/>
                  <a:pt x="126" y="130"/>
                  <a:pt x="127" y="131"/>
                </a:cubicBezTo>
                <a:cubicBezTo>
                  <a:pt x="131" y="135"/>
                  <a:pt x="131" y="135"/>
                  <a:pt x="131" y="135"/>
                </a:cubicBezTo>
                <a:cubicBezTo>
                  <a:pt x="127" y="138"/>
                  <a:pt x="124" y="141"/>
                  <a:pt x="120" y="143"/>
                </a:cubicBezTo>
                <a:cubicBezTo>
                  <a:pt x="117" y="139"/>
                  <a:pt x="117" y="139"/>
                  <a:pt x="117" y="139"/>
                </a:cubicBezTo>
                <a:cubicBezTo>
                  <a:pt x="116" y="137"/>
                  <a:pt x="115" y="137"/>
                  <a:pt x="113" y="138"/>
                </a:cubicBezTo>
                <a:cubicBezTo>
                  <a:pt x="112" y="138"/>
                  <a:pt x="112" y="140"/>
                  <a:pt x="112" y="141"/>
                </a:cubicBezTo>
                <a:cubicBezTo>
                  <a:pt x="115" y="146"/>
                  <a:pt x="115" y="146"/>
                  <a:pt x="115" y="146"/>
                </a:cubicBezTo>
                <a:cubicBezTo>
                  <a:pt x="111" y="148"/>
                  <a:pt x="106" y="150"/>
                  <a:pt x="102" y="151"/>
                </a:cubicBezTo>
                <a:cubicBezTo>
                  <a:pt x="101" y="146"/>
                  <a:pt x="101" y="146"/>
                  <a:pt x="101" y="146"/>
                </a:cubicBezTo>
                <a:cubicBezTo>
                  <a:pt x="100" y="145"/>
                  <a:pt x="99" y="144"/>
                  <a:pt x="97" y="144"/>
                </a:cubicBezTo>
                <a:cubicBezTo>
                  <a:pt x="96" y="145"/>
                  <a:pt x="95" y="146"/>
                  <a:pt x="95" y="148"/>
                </a:cubicBezTo>
                <a:cubicBezTo>
                  <a:pt x="97" y="153"/>
                  <a:pt x="97" y="153"/>
                  <a:pt x="97" y="153"/>
                </a:cubicBezTo>
                <a:cubicBezTo>
                  <a:pt x="92" y="154"/>
                  <a:pt x="87" y="154"/>
                  <a:pt x="83" y="155"/>
                </a:cubicBezTo>
                <a:cubicBezTo>
                  <a:pt x="83" y="144"/>
                  <a:pt x="83" y="144"/>
                  <a:pt x="83" y="144"/>
                </a:cubicBezTo>
                <a:cubicBezTo>
                  <a:pt x="83" y="143"/>
                  <a:pt x="81" y="141"/>
                  <a:pt x="80" y="141"/>
                </a:cubicBezTo>
                <a:cubicBezTo>
                  <a:pt x="79" y="141"/>
                  <a:pt x="77" y="143"/>
                  <a:pt x="77" y="144"/>
                </a:cubicBezTo>
                <a:cubicBezTo>
                  <a:pt x="77" y="155"/>
                  <a:pt x="77" y="155"/>
                  <a:pt x="77" y="155"/>
                </a:cubicBezTo>
                <a:cubicBezTo>
                  <a:pt x="73" y="154"/>
                  <a:pt x="68" y="154"/>
                  <a:pt x="63" y="153"/>
                </a:cubicBezTo>
                <a:cubicBezTo>
                  <a:pt x="65" y="148"/>
                  <a:pt x="65" y="148"/>
                  <a:pt x="65" y="148"/>
                </a:cubicBezTo>
                <a:cubicBezTo>
                  <a:pt x="65" y="146"/>
                  <a:pt x="64" y="145"/>
                  <a:pt x="63" y="144"/>
                </a:cubicBezTo>
                <a:cubicBezTo>
                  <a:pt x="61" y="144"/>
                  <a:pt x="60" y="145"/>
                  <a:pt x="59" y="146"/>
                </a:cubicBezTo>
                <a:cubicBezTo>
                  <a:pt x="58" y="151"/>
                  <a:pt x="58" y="151"/>
                  <a:pt x="58" y="151"/>
                </a:cubicBezTo>
                <a:cubicBezTo>
                  <a:pt x="54" y="150"/>
                  <a:pt x="49" y="148"/>
                  <a:pt x="45" y="146"/>
                </a:cubicBezTo>
                <a:cubicBezTo>
                  <a:pt x="48" y="141"/>
                  <a:pt x="48" y="141"/>
                  <a:pt x="48" y="141"/>
                </a:cubicBezTo>
                <a:cubicBezTo>
                  <a:pt x="48" y="140"/>
                  <a:pt x="48" y="138"/>
                  <a:pt x="47" y="138"/>
                </a:cubicBezTo>
                <a:cubicBezTo>
                  <a:pt x="45" y="137"/>
                  <a:pt x="44" y="137"/>
                  <a:pt x="43" y="139"/>
                </a:cubicBezTo>
                <a:cubicBezTo>
                  <a:pt x="40" y="143"/>
                  <a:pt x="40" y="143"/>
                  <a:pt x="40" y="143"/>
                </a:cubicBezTo>
                <a:cubicBezTo>
                  <a:pt x="36" y="141"/>
                  <a:pt x="33" y="138"/>
                  <a:pt x="29" y="135"/>
                </a:cubicBezTo>
                <a:cubicBezTo>
                  <a:pt x="33" y="131"/>
                  <a:pt x="33" y="131"/>
                  <a:pt x="33" y="131"/>
                </a:cubicBezTo>
                <a:cubicBezTo>
                  <a:pt x="34" y="130"/>
                  <a:pt x="34" y="128"/>
                  <a:pt x="33" y="127"/>
                </a:cubicBezTo>
                <a:cubicBezTo>
                  <a:pt x="32" y="126"/>
                  <a:pt x="30" y="126"/>
                  <a:pt x="29" y="127"/>
                </a:cubicBezTo>
                <a:cubicBezTo>
                  <a:pt x="25" y="131"/>
                  <a:pt x="25" y="131"/>
                  <a:pt x="25" y="131"/>
                </a:cubicBezTo>
                <a:cubicBezTo>
                  <a:pt x="22" y="127"/>
                  <a:pt x="19" y="124"/>
                  <a:pt x="17" y="120"/>
                </a:cubicBezTo>
                <a:cubicBezTo>
                  <a:pt x="21" y="117"/>
                  <a:pt x="21" y="117"/>
                  <a:pt x="21" y="117"/>
                </a:cubicBezTo>
                <a:cubicBezTo>
                  <a:pt x="23" y="116"/>
                  <a:pt x="23" y="115"/>
                  <a:pt x="22" y="113"/>
                </a:cubicBezTo>
                <a:cubicBezTo>
                  <a:pt x="22" y="112"/>
                  <a:pt x="20" y="112"/>
                  <a:pt x="19" y="112"/>
                </a:cubicBezTo>
                <a:cubicBezTo>
                  <a:pt x="14" y="115"/>
                  <a:pt x="14" y="115"/>
                  <a:pt x="14" y="115"/>
                </a:cubicBezTo>
                <a:cubicBezTo>
                  <a:pt x="12" y="111"/>
                  <a:pt x="10" y="106"/>
                  <a:pt x="9" y="102"/>
                </a:cubicBezTo>
                <a:cubicBezTo>
                  <a:pt x="14" y="101"/>
                  <a:pt x="14" y="101"/>
                  <a:pt x="14" y="101"/>
                </a:cubicBezTo>
                <a:cubicBezTo>
                  <a:pt x="15" y="100"/>
                  <a:pt x="16" y="99"/>
                  <a:pt x="16" y="97"/>
                </a:cubicBezTo>
                <a:cubicBezTo>
                  <a:pt x="15" y="96"/>
                  <a:pt x="14" y="95"/>
                  <a:pt x="12" y="95"/>
                </a:cubicBezTo>
                <a:cubicBezTo>
                  <a:pt x="7" y="97"/>
                  <a:pt x="7" y="97"/>
                  <a:pt x="7" y="97"/>
                </a:cubicBezTo>
                <a:cubicBezTo>
                  <a:pt x="6" y="92"/>
                  <a:pt x="6" y="87"/>
                  <a:pt x="5" y="83"/>
                </a:cubicBezTo>
                <a:cubicBezTo>
                  <a:pt x="16" y="83"/>
                  <a:pt x="16" y="83"/>
                  <a:pt x="16" y="83"/>
                </a:cubicBezTo>
                <a:cubicBezTo>
                  <a:pt x="17" y="83"/>
                  <a:pt x="19" y="81"/>
                  <a:pt x="19" y="80"/>
                </a:cubicBezTo>
                <a:cubicBezTo>
                  <a:pt x="19" y="79"/>
                  <a:pt x="17" y="77"/>
                  <a:pt x="16" y="77"/>
                </a:cubicBezTo>
                <a:cubicBezTo>
                  <a:pt x="5" y="77"/>
                  <a:pt x="5" y="77"/>
                  <a:pt x="5" y="77"/>
                </a:cubicBezTo>
                <a:cubicBezTo>
                  <a:pt x="6" y="73"/>
                  <a:pt x="6" y="68"/>
                  <a:pt x="7" y="63"/>
                </a:cubicBezTo>
                <a:cubicBezTo>
                  <a:pt x="12" y="65"/>
                  <a:pt x="12" y="65"/>
                  <a:pt x="12" y="65"/>
                </a:cubicBezTo>
                <a:cubicBezTo>
                  <a:pt x="13" y="65"/>
                  <a:pt x="13" y="65"/>
                  <a:pt x="13" y="65"/>
                </a:cubicBezTo>
                <a:cubicBezTo>
                  <a:pt x="14" y="65"/>
                  <a:pt x="15" y="64"/>
                  <a:pt x="16" y="63"/>
                </a:cubicBezTo>
                <a:cubicBezTo>
                  <a:pt x="16" y="61"/>
                  <a:pt x="15" y="60"/>
                  <a:pt x="14" y="59"/>
                </a:cubicBezTo>
                <a:cubicBezTo>
                  <a:pt x="9" y="58"/>
                  <a:pt x="9" y="58"/>
                  <a:pt x="9" y="58"/>
                </a:cubicBezTo>
                <a:cubicBezTo>
                  <a:pt x="10" y="54"/>
                  <a:pt x="12" y="49"/>
                  <a:pt x="14" y="45"/>
                </a:cubicBezTo>
                <a:cubicBezTo>
                  <a:pt x="19" y="48"/>
                  <a:pt x="19" y="48"/>
                  <a:pt x="19" y="48"/>
                </a:cubicBezTo>
                <a:cubicBezTo>
                  <a:pt x="19" y="48"/>
                  <a:pt x="19" y="48"/>
                  <a:pt x="20" y="48"/>
                </a:cubicBezTo>
                <a:cubicBezTo>
                  <a:pt x="21" y="48"/>
                  <a:pt x="22" y="48"/>
                  <a:pt x="22" y="47"/>
                </a:cubicBezTo>
                <a:cubicBezTo>
                  <a:pt x="23" y="45"/>
                  <a:pt x="23" y="44"/>
                  <a:pt x="21" y="43"/>
                </a:cubicBezTo>
                <a:cubicBezTo>
                  <a:pt x="17" y="40"/>
                  <a:pt x="17" y="40"/>
                  <a:pt x="17" y="40"/>
                </a:cubicBezTo>
                <a:cubicBezTo>
                  <a:pt x="19" y="36"/>
                  <a:pt x="22" y="33"/>
                  <a:pt x="25" y="29"/>
                </a:cubicBezTo>
                <a:cubicBezTo>
                  <a:pt x="29" y="33"/>
                  <a:pt x="29" y="33"/>
                  <a:pt x="29" y="33"/>
                </a:cubicBezTo>
                <a:cubicBezTo>
                  <a:pt x="30" y="33"/>
                  <a:pt x="30" y="34"/>
                  <a:pt x="31" y="34"/>
                </a:cubicBezTo>
                <a:cubicBezTo>
                  <a:pt x="32" y="34"/>
                  <a:pt x="32" y="33"/>
                  <a:pt x="33" y="33"/>
                </a:cubicBezTo>
                <a:cubicBezTo>
                  <a:pt x="34" y="32"/>
                  <a:pt x="34" y="30"/>
                  <a:pt x="33" y="29"/>
                </a:cubicBezTo>
                <a:cubicBezTo>
                  <a:pt x="29" y="25"/>
                  <a:pt x="29" y="25"/>
                  <a:pt x="29" y="25"/>
                </a:cubicBezTo>
                <a:cubicBezTo>
                  <a:pt x="33" y="22"/>
                  <a:pt x="36" y="19"/>
                  <a:pt x="40" y="17"/>
                </a:cubicBezTo>
                <a:cubicBezTo>
                  <a:pt x="43" y="21"/>
                  <a:pt x="43" y="21"/>
                  <a:pt x="43" y="21"/>
                </a:cubicBezTo>
                <a:cubicBezTo>
                  <a:pt x="44" y="22"/>
                  <a:pt x="44" y="23"/>
                  <a:pt x="45" y="23"/>
                </a:cubicBezTo>
                <a:cubicBezTo>
                  <a:pt x="46" y="23"/>
                  <a:pt x="46" y="23"/>
                  <a:pt x="47" y="22"/>
                </a:cubicBezTo>
                <a:cubicBezTo>
                  <a:pt x="48" y="22"/>
                  <a:pt x="48" y="20"/>
                  <a:pt x="48" y="19"/>
                </a:cubicBezTo>
                <a:cubicBezTo>
                  <a:pt x="45" y="14"/>
                  <a:pt x="45" y="14"/>
                  <a:pt x="45" y="14"/>
                </a:cubicBezTo>
                <a:cubicBezTo>
                  <a:pt x="49" y="12"/>
                  <a:pt x="54" y="10"/>
                  <a:pt x="58" y="9"/>
                </a:cubicBezTo>
                <a:cubicBezTo>
                  <a:pt x="59" y="14"/>
                  <a:pt x="59" y="14"/>
                  <a:pt x="59" y="14"/>
                </a:cubicBezTo>
                <a:cubicBezTo>
                  <a:pt x="60" y="15"/>
                  <a:pt x="61" y="16"/>
                  <a:pt x="62" y="16"/>
                </a:cubicBezTo>
                <a:cubicBezTo>
                  <a:pt x="62" y="16"/>
                  <a:pt x="63" y="16"/>
                  <a:pt x="63" y="16"/>
                </a:cubicBezTo>
                <a:cubicBezTo>
                  <a:pt x="64" y="15"/>
                  <a:pt x="65" y="14"/>
                  <a:pt x="65" y="12"/>
                </a:cubicBezTo>
                <a:cubicBezTo>
                  <a:pt x="63" y="7"/>
                  <a:pt x="63" y="7"/>
                  <a:pt x="63" y="7"/>
                </a:cubicBezTo>
                <a:cubicBezTo>
                  <a:pt x="68" y="6"/>
                  <a:pt x="73" y="6"/>
                  <a:pt x="77" y="5"/>
                </a:cubicBezTo>
                <a:cubicBezTo>
                  <a:pt x="77" y="16"/>
                  <a:pt x="77" y="16"/>
                  <a:pt x="77" y="16"/>
                </a:cubicBezTo>
                <a:cubicBezTo>
                  <a:pt x="77" y="17"/>
                  <a:pt x="79" y="19"/>
                  <a:pt x="80" y="19"/>
                </a:cubicBezTo>
                <a:cubicBezTo>
                  <a:pt x="81" y="19"/>
                  <a:pt x="83" y="17"/>
                  <a:pt x="83" y="16"/>
                </a:cubicBezTo>
                <a:cubicBezTo>
                  <a:pt x="83" y="5"/>
                  <a:pt x="83" y="5"/>
                  <a:pt x="83" y="5"/>
                </a:cubicBezTo>
                <a:cubicBezTo>
                  <a:pt x="87" y="6"/>
                  <a:pt x="92" y="6"/>
                  <a:pt x="97" y="7"/>
                </a:cubicBezTo>
                <a:cubicBezTo>
                  <a:pt x="95" y="12"/>
                  <a:pt x="95" y="12"/>
                  <a:pt x="95" y="12"/>
                </a:cubicBezTo>
                <a:cubicBezTo>
                  <a:pt x="95" y="14"/>
                  <a:pt x="96" y="15"/>
                  <a:pt x="97" y="16"/>
                </a:cubicBezTo>
                <a:cubicBezTo>
                  <a:pt x="97" y="16"/>
                  <a:pt x="98" y="16"/>
                  <a:pt x="98" y="16"/>
                </a:cubicBezTo>
                <a:cubicBezTo>
                  <a:pt x="99" y="16"/>
                  <a:pt x="100" y="15"/>
                  <a:pt x="101" y="14"/>
                </a:cubicBezTo>
                <a:cubicBezTo>
                  <a:pt x="102" y="9"/>
                  <a:pt x="102" y="9"/>
                  <a:pt x="102" y="9"/>
                </a:cubicBezTo>
                <a:cubicBezTo>
                  <a:pt x="106" y="10"/>
                  <a:pt x="111" y="12"/>
                  <a:pt x="115" y="14"/>
                </a:cubicBezTo>
                <a:cubicBezTo>
                  <a:pt x="112" y="19"/>
                  <a:pt x="112" y="19"/>
                  <a:pt x="112" y="19"/>
                </a:cubicBezTo>
                <a:cubicBezTo>
                  <a:pt x="112" y="20"/>
                  <a:pt x="112" y="22"/>
                  <a:pt x="113" y="22"/>
                </a:cubicBezTo>
                <a:cubicBezTo>
                  <a:pt x="114" y="23"/>
                  <a:pt x="114" y="23"/>
                  <a:pt x="115" y="23"/>
                </a:cubicBezTo>
                <a:cubicBezTo>
                  <a:pt x="116" y="23"/>
                  <a:pt x="116" y="22"/>
                  <a:pt x="117" y="21"/>
                </a:cubicBezTo>
                <a:cubicBezTo>
                  <a:pt x="120" y="17"/>
                  <a:pt x="120" y="17"/>
                  <a:pt x="120" y="17"/>
                </a:cubicBezTo>
                <a:cubicBezTo>
                  <a:pt x="124" y="19"/>
                  <a:pt x="127" y="22"/>
                  <a:pt x="131" y="25"/>
                </a:cubicBezTo>
                <a:cubicBezTo>
                  <a:pt x="127" y="29"/>
                  <a:pt x="127" y="29"/>
                  <a:pt x="127" y="29"/>
                </a:cubicBezTo>
                <a:cubicBezTo>
                  <a:pt x="126" y="30"/>
                  <a:pt x="126" y="32"/>
                  <a:pt x="127" y="33"/>
                </a:cubicBezTo>
                <a:cubicBezTo>
                  <a:pt x="128" y="33"/>
                  <a:pt x="128" y="34"/>
                  <a:pt x="129" y="34"/>
                </a:cubicBezTo>
                <a:cubicBezTo>
                  <a:pt x="130" y="34"/>
                  <a:pt x="130" y="33"/>
                  <a:pt x="131" y="33"/>
                </a:cubicBezTo>
                <a:cubicBezTo>
                  <a:pt x="135" y="29"/>
                  <a:pt x="135" y="29"/>
                  <a:pt x="135" y="29"/>
                </a:cubicBezTo>
                <a:cubicBezTo>
                  <a:pt x="138" y="33"/>
                  <a:pt x="141" y="36"/>
                  <a:pt x="143" y="40"/>
                </a:cubicBezTo>
                <a:cubicBezTo>
                  <a:pt x="139" y="43"/>
                  <a:pt x="139" y="43"/>
                  <a:pt x="139" y="43"/>
                </a:cubicBezTo>
                <a:cubicBezTo>
                  <a:pt x="137" y="44"/>
                  <a:pt x="137" y="45"/>
                  <a:pt x="138" y="47"/>
                </a:cubicBezTo>
                <a:cubicBezTo>
                  <a:pt x="138" y="48"/>
                  <a:pt x="139" y="48"/>
                  <a:pt x="140" y="48"/>
                </a:cubicBezTo>
                <a:cubicBezTo>
                  <a:pt x="141" y="48"/>
                  <a:pt x="141" y="48"/>
                  <a:pt x="141" y="48"/>
                </a:cubicBezTo>
                <a:cubicBezTo>
                  <a:pt x="146" y="45"/>
                  <a:pt x="146" y="45"/>
                  <a:pt x="146" y="45"/>
                </a:cubicBezTo>
                <a:cubicBezTo>
                  <a:pt x="148" y="49"/>
                  <a:pt x="150" y="54"/>
                  <a:pt x="151" y="58"/>
                </a:cubicBezTo>
                <a:cubicBezTo>
                  <a:pt x="146" y="59"/>
                  <a:pt x="146" y="59"/>
                  <a:pt x="146" y="59"/>
                </a:cubicBezTo>
                <a:cubicBezTo>
                  <a:pt x="145" y="60"/>
                  <a:pt x="144" y="61"/>
                  <a:pt x="144" y="63"/>
                </a:cubicBezTo>
                <a:cubicBezTo>
                  <a:pt x="145" y="64"/>
                  <a:pt x="146" y="65"/>
                  <a:pt x="147" y="65"/>
                </a:cubicBezTo>
                <a:cubicBezTo>
                  <a:pt x="147" y="65"/>
                  <a:pt x="147" y="65"/>
                  <a:pt x="148" y="65"/>
                </a:cubicBezTo>
                <a:cubicBezTo>
                  <a:pt x="153" y="63"/>
                  <a:pt x="153" y="63"/>
                  <a:pt x="153" y="63"/>
                </a:cubicBezTo>
                <a:cubicBezTo>
                  <a:pt x="154" y="68"/>
                  <a:pt x="154" y="73"/>
                  <a:pt x="155" y="77"/>
                </a:cubicBezTo>
                <a:cubicBezTo>
                  <a:pt x="144" y="77"/>
                  <a:pt x="144" y="77"/>
                  <a:pt x="144" y="77"/>
                </a:cubicBezTo>
                <a:cubicBezTo>
                  <a:pt x="143" y="77"/>
                  <a:pt x="141" y="79"/>
                  <a:pt x="141" y="80"/>
                </a:cubicBezTo>
                <a:cubicBezTo>
                  <a:pt x="141" y="81"/>
                  <a:pt x="143" y="83"/>
                  <a:pt x="144" y="83"/>
                </a:cubicBezTo>
                <a:cubicBezTo>
                  <a:pt x="155" y="83"/>
                  <a:pt x="155" y="83"/>
                  <a:pt x="155" y="83"/>
                </a:cubicBezTo>
                <a:cubicBezTo>
                  <a:pt x="154" y="87"/>
                  <a:pt x="154" y="92"/>
                  <a:pt x="153" y="97"/>
                </a:cubicBezTo>
                <a:cubicBezTo>
                  <a:pt x="148" y="95"/>
                  <a:pt x="148" y="95"/>
                  <a:pt x="148" y="95"/>
                </a:cubicBezTo>
                <a:cubicBezTo>
                  <a:pt x="146" y="95"/>
                  <a:pt x="145" y="96"/>
                  <a:pt x="144" y="97"/>
                </a:cubicBezTo>
                <a:cubicBezTo>
                  <a:pt x="144" y="99"/>
                  <a:pt x="145" y="100"/>
                  <a:pt x="146" y="101"/>
                </a:cubicBezTo>
                <a:close/>
                <a:moveTo>
                  <a:pt x="109" y="77"/>
                </a:moveTo>
                <a:cubicBezTo>
                  <a:pt x="90" y="77"/>
                  <a:pt x="90" y="77"/>
                  <a:pt x="90" y="77"/>
                </a:cubicBezTo>
                <a:cubicBezTo>
                  <a:pt x="89" y="74"/>
                  <a:pt x="86" y="71"/>
                  <a:pt x="83" y="70"/>
                </a:cubicBezTo>
                <a:cubicBezTo>
                  <a:pt x="83" y="35"/>
                  <a:pt x="83" y="35"/>
                  <a:pt x="83" y="35"/>
                </a:cubicBezTo>
                <a:cubicBezTo>
                  <a:pt x="83" y="33"/>
                  <a:pt x="81" y="32"/>
                  <a:pt x="80" y="32"/>
                </a:cubicBezTo>
                <a:cubicBezTo>
                  <a:pt x="79" y="32"/>
                  <a:pt x="77" y="33"/>
                  <a:pt x="77" y="35"/>
                </a:cubicBezTo>
                <a:cubicBezTo>
                  <a:pt x="77" y="70"/>
                  <a:pt x="77" y="70"/>
                  <a:pt x="77" y="70"/>
                </a:cubicBezTo>
                <a:cubicBezTo>
                  <a:pt x="73" y="71"/>
                  <a:pt x="69" y="75"/>
                  <a:pt x="69" y="80"/>
                </a:cubicBezTo>
                <a:cubicBezTo>
                  <a:pt x="69" y="86"/>
                  <a:pt x="74" y="91"/>
                  <a:pt x="80" y="91"/>
                </a:cubicBezTo>
                <a:cubicBezTo>
                  <a:pt x="85" y="91"/>
                  <a:pt x="89" y="87"/>
                  <a:pt x="90" y="83"/>
                </a:cubicBezTo>
                <a:cubicBezTo>
                  <a:pt x="109" y="83"/>
                  <a:pt x="109" y="83"/>
                  <a:pt x="109" y="83"/>
                </a:cubicBezTo>
                <a:cubicBezTo>
                  <a:pt x="111" y="83"/>
                  <a:pt x="112" y="81"/>
                  <a:pt x="112" y="80"/>
                </a:cubicBezTo>
                <a:cubicBezTo>
                  <a:pt x="112" y="79"/>
                  <a:pt x="111" y="77"/>
                  <a:pt x="109" y="77"/>
                </a:cubicBezTo>
                <a:close/>
                <a:moveTo>
                  <a:pt x="80" y="85"/>
                </a:moveTo>
                <a:cubicBezTo>
                  <a:pt x="77" y="85"/>
                  <a:pt x="75" y="83"/>
                  <a:pt x="75" y="80"/>
                </a:cubicBezTo>
                <a:cubicBezTo>
                  <a:pt x="75" y="77"/>
                  <a:pt x="77" y="75"/>
                  <a:pt x="80" y="75"/>
                </a:cubicBezTo>
                <a:cubicBezTo>
                  <a:pt x="83" y="75"/>
                  <a:pt x="85" y="77"/>
                  <a:pt x="85" y="80"/>
                </a:cubicBezTo>
                <a:cubicBezTo>
                  <a:pt x="85" y="83"/>
                  <a:pt x="83" y="85"/>
                  <a:pt x="80" y="85"/>
                </a:cubicBezTo>
                <a:close/>
                <a:moveTo>
                  <a:pt x="80" y="93"/>
                </a:moveTo>
                <a:cubicBezTo>
                  <a:pt x="68" y="93"/>
                  <a:pt x="59" y="103"/>
                  <a:pt x="59" y="115"/>
                </a:cubicBezTo>
                <a:cubicBezTo>
                  <a:pt x="59" y="126"/>
                  <a:pt x="68" y="136"/>
                  <a:pt x="80" y="136"/>
                </a:cubicBezTo>
                <a:cubicBezTo>
                  <a:pt x="92" y="136"/>
                  <a:pt x="101" y="126"/>
                  <a:pt x="101" y="115"/>
                </a:cubicBezTo>
                <a:cubicBezTo>
                  <a:pt x="101" y="103"/>
                  <a:pt x="92" y="93"/>
                  <a:pt x="80" y="93"/>
                </a:cubicBezTo>
                <a:close/>
                <a:moveTo>
                  <a:pt x="80" y="131"/>
                </a:moveTo>
                <a:cubicBezTo>
                  <a:pt x="71" y="131"/>
                  <a:pt x="64" y="123"/>
                  <a:pt x="64" y="115"/>
                </a:cubicBezTo>
                <a:cubicBezTo>
                  <a:pt x="64" y="106"/>
                  <a:pt x="71" y="99"/>
                  <a:pt x="80" y="99"/>
                </a:cubicBezTo>
                <a:cubicBezTo>
                  <a:pt x="89" y="99"/>
                  <a:pt x="96" y="106"/>
                  <a:pt x="96" y="115"/>
                </a:cubicBezTo>
                <a:cubicBezTo>
                  <a:pt x="96" y="123"/>
                  <a:pt x="89" y="131"/>
                  <a:pt x="80" y="131"/>
                </a:cubicBezTo>
                <a:close/>
                <a:moveTo>
                  <a:pt x="82" y="113"/>
                </a:moveTo>
                <a:cubicBezTo>
                  <a:pt x="83" y="114"/>
                  <a:pt x="83" y="116"/>
                  <a:pt x="82" y="117"/>
                </a:cubicBezTo>
                <a:cubicBezTo>
                  <a:pt x="81" y="117"/>
                  <a:pt x="81" y="117"/>
                  <a:pt x="80" y="117"/>
                </a:cubicBezTo>
                <a:cubicBezTo>
                  <a:pt x="79" y="117"/>
                  <a:pt x="79" y="117"/>
                  <a:pt x="78" y="117"/>
                </a:cubicBezTo>
                <a:cubicBezTo>
                  <a:pt x="70" y="109"/>
                  <a:pt x="70" y="109"/>
                  <a:pt x="70" y="109"/>
                </a:cubicBezTo>
                <a:cubicBezTo>
                  <a:pt x="69" y="108"/>
                  <a:pt x="69" y="106"/>
                  <a:pt x="70" y="105"/>
                </a:cubicBezTo>
                <a:cubicBezTo>
                  <a:pt x="71" y="104"/>
                  <a:pt x="73" y="104"/>
                  <a:pt x="74" y="105"/>
                </a:cubicBezTo>
                <a:lnTo>
                  <a:pt x="82" y="11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6">
            <a:extLst>
              <a:ext uri="{FF2B5EF4-FFF2-40B4-BE49-F238E27FC236}">
                <a16:creationId xmlns:a16="http://schemas.microsoft.com/office/drawing/2014/main" id="{489ABFCE-41E0-8C48-A4DF-3BD55BC5E3D6}"/>
              </a:ext>
            </a:extLst>
          </p:cNvPr>
          <p:cNvSpPr>
            <a:spLocks noEditPoints="1"/>
          </p:cNvSpPr>
          <p:nvPr/>
        </p:nvSpPr>
        <p:spPr bwMode="auto">
          <a:xfrm>
            <a:off x="2765116" y="2443163"/>
            <a:ext cx="438150" cy="604838"/>
          </a:xfrm>
          <a:custGeom>
            <a:avLst/>
            <a:gdLst>
              <a:gd name="T0" fmla="*/ 101 w 117"/>
              <a:gd name="T1" fmla="*/ 29 h 160"/>
              <a:gd name="T2" fmla="*/ 60 w 117"/>
              <a:gd name="T3" fmla="*/ 26 h 160"/>
              <a:gd name="T4" fmla="*/ 57 w 117"/>
              <a:gd name="T5" fmla="*/ 0 h 160"/>
              <a:gd name="T6" fmla="*/ 54 w 117"/>
              <a:gd name="T7" fmla="*/ 26 h 160"/>
              <a:gd name="T8" fmla="*/ 33 w 117"/>
              <a:gd name="T9" fmla="*/ 29 h 160"/>
              <a:gd name="T10" fmla="*/ 25 w 117"/>
              <a:gd name="T11" fmla="*/ 45 h 160"/>
              <a:gd name="T12" fmla="*/ 0 w 117"/>
              <a:gd name="T13" fmla="*/ 61 h 160"/>
              <a:gd name="T14" fmla="*/ 54 w 117"/>
              <a:gd name="T15" fmla="*/ 77 h 160"/>
              <a:gd name="T16" fmla="*/ 41 w 117"/>
              <a:gd name="T17" fmla="*/ 133 h 160"/>
              <a:gd name="T18" fmla="*/ 33 w 117"/>
              <a:gd name="T19" fmla="*/ 144 h 160"/>
              <a:gd name="T20" fmla="*/ 81 w 117"/>
              <a:gd name="T21" fmla="*/ 160 h 160"/>
              <a:gd name="T22" fmla="*/ 73 w 117"/>
              <a:gd name="T23" fmla="*/ 144 h 160"/>
              <a:gd name="T24" fmla="*/ 60 w 117"/>
              <a:gd name="T25" fmla="*/ 133 h 160"/>
              <a:gd name="T26" fmla="*/ 83 w 117"/>
              <a:gd name="T27" fmla="*/ 77 h 160"/>
              <a:gd name="T28" fmla="*/ 92 w 117"/>
              <a:gd name="T29" fmla="*/ 61 h 160"/>
              <a:gd name="T30" fmla="*/ 117 w 117"/>
              <a:gd name="T31" fmla="*/ 45 h 160"/>
              <a:gd name="T32" fmla="*/ 57 w 117"/>
              <a:gd name="T33" fmla="*/ 5 h 160"/>
              <a:gd name="T34" fmla="*/ 57 w 117"/>
              <a:gd name="T35" fmla="*/ 21 h 160"/>
              <a:gd name="T36" fmla="*/ 76 w 117"/>
              <a:gd name="T37" fmla="*/ 149 h 160"/>
              <a:gd name="T38" fmla="*/ 38 w 117"/>
              <a:gd name="T39" fmla="*/ 155 h 160"/>
              <a:gd name="T40" fmla="*/ 41 w 117"/>
              <a:gd name="T41" fmla="*/ 149 h 160"/>
              <a:gd name="T42" fmla="*/ 76 w 117"/>
              <a:gd name="T43" fmla="*/ 149 h 160"/>
              <a:gd name="T44" fmla="*/ 46 w 117"/>
              <a:gd name="T45" fmla="*/ 144 h 160"/>
              <a:gd name="T46" fmla="*/ 68 w 117"/>
              <a:gd name="T47" fmla="*/ 139 h 160"/>
              <a:gd name="T48" fmla="*/ 86 w 117"/>
              <a:gd name="T49" fmla="*/ 69 h 160"/>
              <a:gd name="T50" fmla="*/ 18 w 117"/>
              <a:gd name="T51" fmla="*/ 72 h 160"/>
              <a:gd name="T52" fmla="*/ 18 w 117"/>
              <a:gd name="T53" fmla="*/ 51 h 160"/>
              <a:gd name="T54" fmla="*/ 83 w 117"/>
              <a:gd name="T55" fmla="*/ 51 h 160"/>
              <a:gd name="T56" fmla="*/ 86 w 117"/>
              <a:gd name="T57" fmla="*/ 61 h 160"/>
              <a:gd name="T58" fmla="*/ 92 w 117"/>
              <a:gd name="T59" fmla="*/ 56 h 160"/>
              <a:gd name="T60" fmla="*/ 83 w 117"/>
              <a:gd name="T61" fmla="*/ 45 h 160"/>
              <a:gd name="T62" fmla="*/ 30 w 117"/>
              <a:gd name="T63" fmla="*/ 38 h 160"/>
              <a:gd name="T64" fmla="*/ 99 w 117"/>
              <a:gd name="T65" fmla="*/ 35 h 160"/>
              <a:gd name="T66" fmla="*/ 99 w 117"/>
              <a:gd name="T67" fmla="*/ 5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7" h="160">
                <a:moveTo>
                  <a:pt x="117" y="45"/>
                </a:moveTo>
                <a:cubicBezTo>
                  <a:pt x="101" y="29"/>
                  <a:pt x="101" y="29"/>
                  <a:pt x="101" y="29"/>
                </a:cubicBezTo>
                <a:cubicBezTo>
                  <a:pt x="60" y="29"/>
                  <a:pt x="60" y="29"/>
                  <a:pt x="60" y="29"/>
                </a:cubicBezTo>
                <a:cubicBezTo>
                  <a:pt x="60" y="26"/>
                  <a:pt x="60" y="26"/>
                  <a:pt x="60" y="26"/>
                </a:cubicBezTo>
                <a:cubicBezTo>
                  <a:pt x="66" y="25"/>
                  <a:pt x="70" y="20"/>
                  <a:pt x="70" y="13"/>
                </a:cubicBezTo>
                <a:cubicBezTo>
                  <a:pt x="70" y="6"/>
                  <a:pt x="64" y="0"/>
                  <a:pt x="57" y="0"/>
                </a:cubicBezTo>
                <a:cubicBezTo>
                  <a:pt x="50" y="0"/>
                  <a:pt x="44" y="6"/>
                  <a:pt x="44" y="13"/>
                </a:cubicBezTo>
                <a:cubicBezTo>
                  <a:pt x="44" y="20"/>
                  <a:pt x="48" y="25"/>
                  <a:pt x="54" y="26"/>
                </a:cubicBezTo>
                <a:cubicBezTo>
                  <a:pt x="54" y="29"/>
                  <a:pt x="54" y="29"/>
                  <a:pt x="54" y="29"/>
                </a:cubicBezTo>
                <a:cubicBezTo>
                  <a:pt x="33" y="29"/>
                  <a:pt x="33" y="29"/>
                  <a:pt x="33" y="29"/>
                </a:cubicBezTo>
                <a:cubicBezTo>
                  <a:pt x="29" y="29"/>
                  <a:pt x="25" y="33"/>
                  <a:pt x="25" y="38"/>
                </a:cubicBezTo>
                <a:cubicBezTo>
                  <a:pt x="25" y="45"/>
                  <a:pt x="25" y="45"/>
                  <a:pt x="25" y="45"/>
                </a:cubicBezTo>
                <a:cubicBezTo>
                  <a:pt x="16" y="45"/>
                  <a:pt x="16" y="45"/>
                  <a:pt x="16" y="45"/>
                </a:cubicBezTo>
                <a:cubicBezTo>
                  <a:pt x="0" y="61"/>
                  <a:pt x="0" y="61"/>
                  <a:pt x="0" y="61"/>
                </a:cubicBezTo>
                <a:cubicBezTo>
                  <a:pt x="16" y="77"/>
                  <a:pt x="16" y="77"/>
                  <a:pt x="16" y="77"/>
                </a:cubicBezTo>
                <a:cubicBezTo>
                  <a:pt x="54" y="77"/>
                  <a:pt x="54" y="77"/>
                  <a:pt x="54" y="77"/>
                </a:cubicBezTo>
                <a:cubicBezTo>
                  <a:pt x="54" y="133"/>
                  <a:pt x="54" y="133"/>
                  <a:pt x="54" y="133"/>
                </a:cubicBezTo>
                <a:cubicBezTo>
                  <a:pt x="41" y="133"/>
                  <a:pt x="41" y="133"/>
                  <a:pt x="41" y="133"/>
                </a:cubicBezTo>
                <a:cubicBezTo>
                  <a:pt x="41" y="144"/>
                  <a:pt x="41" y="144"/>
                  <a:pt x="41" y="144"/>
                </a:cubicBezTo>
                <a:cubicBezTo>
                  <a:pt x="33" y="144"/>
                  <a:pt x="33" y="144"/>
                  <a:pt x="33" y="144"/>
                </a:cubicBezTo>
                <a:cubicBezTo>
                  <a:pt x="33" y="160"/>
                  <a:pt x="33" y="160"/>
                  <a:pt x="33" y="160"/>
                </a:cubicBezTo>
                <a:cubicBezTo>
                  <a:pt x="81" y="160"/>
                  <a:pt x="81" y="160"/>
                  <a:pt x="81" y="160"/>
                </a:cubicBezTo>
                <a:cubicBezTo>
                  <a:pt x="81" y="144"/>
                  <a:pt x="81" y="144"/>
                  <a:pt x="81" y="144"/>
                </a:cubicBezTo>
                <a:cubicBezTo>
                  <a:pt x="73" y="144"/>
                  <a:pt x="73" y="144"/>
                  <a:pt x="73" y="144"/>
                </a:cubicBezTo>
                <a:cubicBezTo>
                  <a:pt x="73" y="133"/>
                  <a:pt x="73" y="133"/>
                  <a:pt x="73" y="133"/>
                </a:cubicBezTo>
                <a:cubicBezTo>
                  <a:pt x="60" y="133"/>
                  <a:pt x="60" y="133"/>
                  <a:pt x="60" y="133"/>
                </a:cubicBezTo>
                <a:cubicBezTo>
                  <a:pt x="60" y="77"/>
                  <a:pt x="60" y="77"/>
                  <a:pt x="60" y="77"/>
                </a:cubicBezTo>
                <a:cubicBezTo>
                  <a:pt x="83" y="77"/>
                  <a:pt x="83" y="77"/>
                  <a:pt x="83" y="77"/>
                </a:cubicBezTo>
                <a:cubicBezTo>
                  <a:pt x="88" y="77"/>
                  <a:pt x="92" y="74"/>
                  <a:pt x="92" y="69"/>
                </a:cubicBezTo>
                <a:cubicBezTo>
                  <a:pt x="92" y="61"/>
                  <a:pt x="92" y="61"/>
                  <a:pt x="92" y="61"/>
                </a:cubicBezTo>
                <a:cubicBezTo>
                  <a:pt x="101" y="61"/>
                  <a:pt x="101" y="61"/>
                  <a:pt x="101" y="61"/>
                </a:cubicBezTo>
                <a:lnTo>
                  <a:pt x="117" y="45"/>
                </a:lnTo>
                <a:close/>
                <a:moveTo>
                  <a:pt x="49" y="13"/>
                </a:moveTo>
                <a:cubicBezTo>
                  <a:pt x="49" y="9"/>
                  <a:pt x="53" y="5"/>
                  <a:pt x="57" y="5"/>
                </a:cubicBezTo>
                <a:cubicBezTo>
                  <a:pt x="62" y="5"/>
                  <a:pt x="65" y="9"/>
                  <a:pt x="65" y="13"/>
                </a:cubicBezTo>
                <a:cubicBezTo>
                  <a:pt x="65" y="18"/>
                  <a:pt x="62" y="21"/>
                  <a:pt x="57" y="21"/>
                </a:cubicBezTo>
                <a:cubicBezTo>
                  <a:pt x="53" y="21"/>
                  <a:pt x="49" y="18"/>
                  <a:pt x="49" y="13"/>
                </a:cubicBezTo>
                <a:close/>
                <a:moveTo>
                  <a:pt x="76" y="149"/>
                </a:moveTo>
                <a:cubicBezTo>
                  <a:pt x="76" y="155"/>
                  <a:pt x="76" y="155"/>
                  <a:pt x="76" y="155"/>
                </a:cubicBezTo>
                <a:cubicBezTo>
                  <a:pt x="38" y="155"/>
                  <a:pt x="38" y="155"/>
                  <a:pt x="38" y="155"/>
                </a:cubicBezTo>
                <a:cubicBezTo>
                  <a:pt x="38" y="149"/>
                  <a:pt x="38" y="149"/>
                  <a:pt x="38" y="149"/>
                </a:cubicBezTo>
                <a:cubicBezTo>
                  <a:pt x="41" y="149"/>
                  <a:pt x="41" y="149"/>
                  <a:pt x="41" y="149"/>
                </a:cubicBezTo>
                <a:cubicBezTo>
                  <a:pt x="73" y="149"/>
                  <a:pt x="73" y="149"/>
                  <a:pt x="73" y="149"/>
                </a:cubicBezTo>
                <a:lnTo>
                  <a:pt x="76" y="149"/>
                </a:lnTo>
                <a:close/>
                <a:moveTo>
                  <a:pt x="68" y="144"/>
                </a:moveTo>
                <a:cubicBezTo>
                  <a:pt x="46" y="144"/>
                  <a:pt x="46" y="144"/>
                  <a:pt x="46" y="144"/>
                </a:cubicBezTo>
                <a:cubicBezTo>
                  <a:pt x="46" y="139"/>
                  <a:pt x="46" y="139"/>
                  <a:pt x="46" y="139"/>
                </a:cubicBezTo>
                <a:cubicBezTo>
                  <a:pt x="68" y="139"/>
                  <a:pt x="68" y="139"/>
                  <a:pt x="68" y="139"/>
                </a:cubicBezTo>
                <a:lnTo>
                  <a:pt x="68" y="144"/>
                </a:lnTo>
                <a:close/>
                <a:moveTo>
                  <a:pt x="86" y="69"/>
                </a:moveTo>
                <a:cubicBezTo>
                  <a:pt x="86" y="71"/>
                  <a:pt x="85" y="72"/>
                  <a:pt x="83" y="72"/>
                </a:cubicBezTo>
                <a:cubicBezTo>
                  <a:pt x="18" y="72"/>
                  <a:pt x="18" y="72"/>
                  <a:pt x="18" y="72"/>
                </a:cubicBezTo>
                <a:cubicBezTo>
                  <a:pt x="8" y="61"/>
                  <a:pt x="8" y="61"/>
                  <a:pt x="8" y="61"/>
                </a:cubicBezTo>
                <a:cubicBezTo>
                  <a:pt x="18" y="51"/>
                  <a:pt x="18" y="51"/>
                  <a:pt x="18" y="51"/>
                </a:cubicBezTo>
                <a:cubicBezTo>
                  <a:pt x="25" y="51"/>
                  <a:pt x="25" y="51"/>
                  <a:pt x="25" y="51"/>
                </a:cubicBezTo>
                <a:cubicBezTo>
                  <a:pt x="83" y="51"/>
                  <a:pt x="83" y="51"/>
                  <a:pt x="83" y="51"/>
                </a:cubicBezTo>
                <a:cubicBezTo>
                  <a:pt x="85" y="51"/>
                  <a:pt x="86" y="52"/>
                  <a:pt x="86" y="54"/>
                </a:cubicBezTo>
                <a:cubicBezTo>
                  <a:pt x="86" y="61"/>
                  <a:pt x="86" y="61"/>
                  <a:pt x="86" y="61"/>
                </a:cubicBezTo>
                <a:lnTo>
                  <a:pt x="86" y="69"/>
                </a:lnTo>
                <a:close/>
                <a:moveTo>
                  <a:pt x="92" y="56"/>
                </a:moveTo>
                <a:cubicBezTo>
                  <a:pt x="92" y="54"/>
                  <a:pt x="92" y="54"/>
                  <a:pt x="92" y="54"/>
                </a:cubicBezTo>
                <a:cubicBezTo>
                  <a:pt x="92" y="49"/>
                  <a:pt x="88" y="45"/>
                  <a:pt x="83" y="45"/>
                </a:cubicBezTo>
                <a:cubicBezTo>
                  <a:pt x="30" y="45"/>
                  <a:pt x="30" y="45"/>
                  <a:pt x="30" y="45"/>
                </a:cubicBezTo>
                <a:cubicBezTo>
                  <a:pt x="30" y="38"/>
                  <a:pt x="30" y="38"/>
                  <a:pt x="30" y="38"/>
                </a:cubicBezTo>
                <a:cubicBezTo>
                  <a:pt x="30" y="36"/>
                  <a:pt x="32" y="35"/>
                  <a:pt x="33" y="35"/>
                </a:cubicBezTo>
                <a:cubicBezTo>
                  <a:pt x="99" y="35"/>
                  <a:pt x="99" y="35"/>
                  <a:pt x="99" y="35"/>
                </a:cubicBezTo>
                <a:cubicBezTo>
                  <a:pt x="109" y="45"/>
                  <a:pt x="109" y="45"/>
                  <a:pt x="109" y="45"/>
                </a:cubicBezTo>
                <a:cubicBezTo>
                  <a:pt x="99" y="56"/>
                  <a:pt x="99" y="56"/>
                  <a:pt x="99" y="56"/>
                </a:cubicBezTo>
                <a:lnTo>
                  <a:pt x="92"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a:extLst>
              <a:ext uri="{FF2B5EF4-FFF2-40B4-BE49-F238E27FC236}">
                <a16:creationId xmlns:a16="http://schemas.microsoft.com/office/drawing/2014/main" id="{7C64906A-E198-9641-B735-770AA550437D}"/>
              </a:ext>
            </a:extLst>
          </p:cNvPr>
          <p:cNvSpPr>
            <a:spLocks noEditPoints="1"/>
          </p:cNvSpPr>
          <p:nvPr/>
        </p:nvSpPr>
        <p:spPr bwMode="auto">
          <a:xfrm>
            <a:off x="2795279" y="3124200"/>
            <a:ext cx="401638" cy="604838"/>
          </a:xfrm>
          <a:custGeom>
            <a:avLst/>
            <a:gdLst>
              <a:gd name="T0" fmla="*/ 56 w 107"/>
              <a:gd name="T1" fmla="*/ 32 h 160"/>
              <a:gd name="T2" fmla="*/ 67 w 107"/>
              <a:gd name="T3" fmla="*/ 13 h 160"/>
              <a:gd name="T4" fmla="*/ 40 w 107"/>
              <a:gd name="T5" fmla="*/ 13 h 160"/>
              <a:gd name="T6" fmla="*/ 51 w 107"/>
              <a:gd name="T7" fmla="*/ 32 h 160"/>
              <a:gd name="T8" fmla="*/ 0 w 107"/>
              <a:gd name="T9" fmla="*/ 51 h 160"/>
              <a:gd name="T10" fmla="*/ 51 w 107"/>
              <a:gd name="T11" fmla="*/ 69 h 160"/>
              <a:gd name="T12" fmla="*/ 37 w 107"/>
              <a:gd name="T13" fmla="*/ 133 h 160"/>
              <a:gd name="T14" fmla="*/ 29 w 107"/>
              <a:gd name="T15" fmla="*/ 144 h 160"/>
              <a:gd name="T16" fmla="*/ 77 w 107"/>
              <a:gd name="T17" fmla="*/ 160 h 160"/>
              <a:gd name="T18" fmla="*/ 69 w 107"/>
              <a:gd name="T19" fmla="*/ 144 h 160"/>
              <a:gd name="T20" fmla="*/ 56 w 107"/>
              <a:gd name="T21" fmla="*/ 133 h 160"/>
              <a:gd name="T22" fmla="*/ 88 w 107"/>
              <a:gd name="T23" fmla="*/ 69 h 160"/>
              <a:gd name="T24" fmla="*/ 88 w 107"/>
              <a:gd name="T25" fmla="*/ 32 h 160"/>
              <a:gd name="T26" fmla="*/ 53 w 107"/>
              <a:gd name="T27" fmla="*/ 5 h 160"/>
              <a:gd name="T28" fmla="*/ 53 w 107"/>
              <a:gd name="T29" fmla="*/ 21 h 160"/>
              <a:gd name="T30" fmla="*/ 72 w 107"/>
              <a:gd name="T31" fmla="*/ 149 h 160"/>
              <a:gd name="T32" fmla="*/ 35 w 107"/>
              <a:gd name="T33" fmla="*/ 155 h 160"/>
              <a:gd name="T34" fmla="*/ 37 w 107"/>
              <a:gd name="T35" fmla="*/ 149 h 160"/>
              <a:gd name="T36" fmla="*/ 72 w 107"/>
              <a:gd name="T37" fmla="*/ 149 h 160"/>
              <a:gd name="T38" fmla="*/ 43 w 107"/>
              <a:gd name="T39" fmla="*/ 144 h 160"/>
              <a:gd name="T40" fmla="*/ 64 w 107"/>
              <a:gd name="T41" fmla="*/ 139 h 160"/>
              <a:gd name="T42" fmla="*/ 88 w 107"/>
              <a:gd name="T43" fmla="*/ 64 h 160"/>
              <a:gd name="T44" fmla="*/ 5 w 107"/>
              <a:gd name="T45" fmla="*/ 51 h 160"/>
              <a:gd name="T46" fmla="*/ 88 w 107"/>
              <a:gd name="T47" fmla="*/ 37 h 160"/>
              <a:gd name="T48" fmla="*/ 88 w 107"/>
              <a:gd name="T49" fmla="*/ 64 h 160"/>
              <a:gd name="T50" fmla="*/ 40 w 107"/>
              <a:gd name="T51" fmla="*/ 43 h 160"/>
              <a:gd name="T52" fmla="*/ 69 w 107"/>
              <a:gd name="T53" fmla="*/ 45 h 160"/>
              <a:gd name="T54" fmla="*/ 40 w 107"/>
              <a:gd name="T55" fmla="*/ 48 h 160"/>
              <a:gd name="T56" fmla="*/ 93 w 107"/>
              <a:gd name="T57" fmla="*/ 56 h 160"/>
              <a:gd name="T58" fmla="*/ 19 w 107"/>
              <a:gd name="T59" fmla="*/ 59 h 160"/>
              <a:gd name="T60" fmla="*/ 19 w 107"/>
              <a:gd name="T61" fmla="*/ 53 h 160"/>
              <a:gd name="T62" fmla="*/ 93 w 107"/>
              <a:gd name="T63" fmla="*/ 5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7" h="160">
                <a:moveTo>
                  <a:pt x="88" y="32"/>
                </a:moveTo>
                <a:cubicBezTo>
                  <a:pt x="56" y="32"/>
                  <a:pt x="56" y="32"/>
                  <a:pt x="56" y="32"/>
                </a:cubicBezTo>
                <a:cubicBezTo>
                  <a:pt x="56" y="26"/>
                  <a:pt x="56" y="26"/>
                  <a:pt x="56" y="26"/>
                </a:cubicBezTo>
                <a:cubicBezTo>
                  <a:pt x="62" y="25"/>
                  <a:pt x="67" y="20"/>
                  <a:pt x="67" y="13"/>
                </a:cubicBezTo>
                <a:cubicBezTo>
                  <a:pt x="67" y="6"/>
                  <a:pt x="61" y="0"/>
                  <a:pt x="53" y="0"/>
                </a:cubicBezTo>
                <a:cubicBezTo>
                  <a:pt x="46" y="0"/>
                  <a:pt x="40" y="6"/>
                  <a:pt x="40" y="13"/>
                </a:cubicBezTo>
                <a:cubicBezTo>
                  <a:pt x="40" y="20"/>
                  <a:pt x="45" y="25"/>
                  <a:pt x="51" y="26"/>
                </a:cubicBezTo>
                <a:cubicBezTo>
                  <a:pt x="51" y="32"/>
                  <a:pt x="51" y="32"/>
                  <a:pt x="51" y="32"/>
                </a:cubicBezTo>
                <a:cubicBezTo>
                  <a:pt x="19" y="32"/>
                  <a:pt x="19" y="32"/>
                  <a:pt x="19" y="32"/>
                </a:cubicBezTo>
                <a:cubicBezTo>
                  <a:pt x="8" y="32"/>
                  <a:pt x="0" y="40"/>
                  <a:pt x="0" y="51"/>
                </a:cubicBezTo>
                <a:cubicBezTo>
                  <a:pt x="0" y="61"/>
                  <a:pt x="8" y="69"/>
                  <a:pt x="19" y="69"/>
                </a:cubicBezTo>
                <a:cubicBezTo>
                  <a:pt x="51" y="69"/>
                  <a:pt x="51" y="69"/>
                  <a:pt x="51" y="69"/>
                </a:cubicBezTo>
                <a:cubicBezTo>
                  <a:pt x="51" y="133"/>
                  <a:pt x="51" y="133"/>
                  <a:pt x="51" y="133"/>
                </a:cubicBezTo>
                <a:cubicBezTo>
                  <a:pt x="37" y="133"/>
                  <a:pt x="37" y="133"/>
                  <a:pt x="37" y="133"/>
                </a:cubicBezTo>
                <a:cubicBezTo>
                  <a:pt x="37" y="144"/>
                  <a:pt x="37" y="144"/>
                  <a:pt x="37" y="144"/>
                </a:cubicBezTo>
                <a:cubicBezTo>
                  <a:pt x="29" y="144"/>
                  <a:pt x="29" y="144"/>
                  <a:pt x="29" y="144"/>
                </a:cubicBezTo>
                <a:cubicBezTo>
                  <a:pt x="29" y="160"/>
                  <a:pt x="29" y="160"/>
                  <a:pt x="29" y="160"/>
                </a:cubicBezTo>
                <a:cubicBezTo>
                  <a:pt x="77" y="160"/>
                  <a:pt x="77" y="160"/>
                  <a:pt x="77" y="160"/>
                </a:cubicBezTo>
                <a:cubicBezTo>
                  <a:pt x="77" y="144"/>
                  <a:pt x="77" y="144"/>
                  <a:pt x="77" y="144"/>
                </a:cubicBezTo>
                <a:cubicBezTo>
                  <a:pt x="69" y="144"/>
                  <a:pt x="69" y="144"/>
                  <a:pt x="69" y="144"/>
                </a:cubicBezTo>
                <a:cubicBezTo>
                  <a:pt x="69" y="133"/>
                  <a:pt x="69" y="133"/>
                  <a:pt x="69" y="133"/>
                </a:cubicBezTo>
                <a:cubicBezTo>
                  <a:pt x="56" y="133"/>
                  <a:pt x="56" y="133"/>
                  <a:pt x="56" y="133"/>
                </a:cubicBezTo>
                <a:cubicBezTo>
                  <a:pt x="56" y="69"/>
                  <a:pt x="56" y="69"/>
                  <a:pt x="56" y="69"/>
                </a:cubicBezTo>
                <a:cubicBezTo>
                  <a:pt x="88" y="69"/>
                  <a:pt x="88" y="69"/>
                  <a:pt x="88" y="69"/>
                </a:cubicBezTo>
                <a:cubicBezTo>
                  <a:pt x="98" y="69"/>
                  <a:pt x="107" y="61"/>
                  <a:pt x="107" y="51"/>
                </a:cubicBezTo>
                <a:cubicBezTo>
                  <a:pt x="107" y="40"/>
                  <a:pt x="98" y="32"/>
                  <a:pt x="88" y="32"/>
                </a:cubicBezTo>
                <a:close/>
                <a:moveTo>
                  <a:pt x="45" y="13"/>
                </a:moveTo>
                <a:cubicBezTo>
                  <a:pt x="45" y="9"/>
                  <a:pt x="49" y="5"/>
                  <a:pt x="53" y="5"/>
                </a:cubicBezTo>
                <a:cubicBezTo>
                  <a:pt x="58" y="5"/>
                  <a:pt x="61" y="9"/>
                  <a:pt x="61" y="13"/>
                </a:cubicBezTo>
                <a:cubicBezTo>
                  <a:pt x="61" y="18"/>
                  <a:pt x="58" y="21"/>
                  <a:pt x="53" y="21"/>
                </a:cubicBezTo>
                <a:cubicBezTo>
                  <a:pt x="49" y="21"/>
                  <a:pt x="45" y="18"/>
                  <a:pt x="45" y="13"/>
                </a:cubicBezTo>
                <a:close/>
                <a:moveTo>
                  <a:pt x="72" y="149"/>
                </a:moveTo>
                <a:cubicBezTo>
                  <a:pt x="72" y="155"/>
                  <a:pt x="72" y="155"/>
                  <a:pt x="72" y="155"/>
                </a:cubicBezTo>
                <a:cubicBezTo>
                  <a:pt x="35" y="155"/>
                  <a:pt x="35" y="155"/>
                  <a:pt x="35" y="155"/>
                </a:cubicBezTo>
                <a:cubicBezTo>
                  <a:pt x="35" y="149"/>
                  <a:pt x="35" y="149"/>
                  <a:pt x="35" y="149"/>
                </a:cubicBezTo>
                <a:cubicBezTo>
                  <a:pt x="37" y="149"/>
                  <a:pt x="37" y="149"/>
                  <a:pt x="37" y="149"/>
                </a:cubicBezTo>
                <a:cubicBezTo>
                  <a:pt x="69" y="149"/>
                  <a:pt x="69" y="149"/>
                  <a:pt x="69" y="149"/>
                </a:cubicBezTo>
                <a:lnTo>
                  <a:pt x="72" y="149"/>
                </a:lnTo>
                <a:close/>
                <a:moveTo>
                  <a:pt x="64" y="144"/>
                </a:moveTo>
                <a:cubicBezTo>
                  <a:pt x="43" y="144"/>
                  <a:pt x="43" y="144"/>
                  <a:pt x="43" y="144"/>
                </a:cubicBezTo>
                <a:cubicBezTo>
                  <a:pt x="43" y="139"/>
                  <a:pt x="43" y="139"/>
                  <a:pt x="43" y="139"/>
                </a:cubicBezTo>
                <a:cubicBezTo>
                  <a:pt x="64" y="139"/>
                  <a:pt x="64" y="139"/>
                  <a:pt x="64" y="139"/>
                </a:cubicBezTo>
                <a:lnTo>
                  <a:pt x="64" y="144"/>
                </a:lnTo>
                <a:close/>
                <a:moveTo>
                  <a:pt x="88" y="64"/>
                </a:moveTo>
                <a:cubicBezTo>
                  <a:pt x="19" y="64"/>
                  <a:pt x="19" y="64"/>
                  <a:pt x="19" y="64"/>
                </a:cubicBezTo>
                <a:cubicBezTo>
                  <a:pt x="11" y="64"/>
                  <a:pt x="5" y="58"/>
                  <a:pt x="5" y="51"/>
                </a:cubicBezTo>
                <a:cubicBezTo>
                  <a:pt x="5" y="43"/>
                  <a:pt x="11" y="37"/>
                  <a:pt x="19" y="37"/>
                </a:cubicBezTo>
                <a:cubicBezTo>
                  <a:pt x="88" y="37"/>
                  <a:pt x="88" y="37"/>
                  <a:pt x="88" y="37"/>
                </a:cubicBezTo>
                <a:cubicBezTo>
                  <a:pt x="95" y="37"/>
                  <a:pt x="101" y="43"/>
                  <a:pt x="101" y="51"/>
                </a:cubicBezTo>
                <a:cubicBezTo>
                  <a:pt x="101" y="58"/>
                  <a:pt x="95" y="64"/>
                  <a:pt x="88" y="64"/>
                </a:cubicBezTo>
                <a:close/>
                <a:moveTo>
                  <a:pt x="37" y="45"/>
                </a:moveTo>
                <a:cubicBezTo>
                  <a:pt x="37" y="44"/>
                  <a:pt x="39" y="43"/>
                  <a:pt x="40" y="43"/>
                </a:cubicBezTo>
                <a:cubicBezTo>
                  <a:pt x="67" y="43"/>
                  <a:pt x="67" y="43"/>
                  <a:pt x="67" y="43"/>
                </a:cubicBezTo>
                <a:cubicBezTo>
                  <a:pt x="68" y="43"/>
                  <a:pt x="69" y="44"/>
                  <a:pt x="69" y="45"/>
                </a:cubicBezTo>
                <a:cubicBezTo>
                  <a:pt x="69" y="47"/>
                  <a:pt x="68" y="48"/>
                  <a:pt x="67" y="48"/>
                </a:cubicBezTo>
                <a:cubicBezTo>
                  <a:pt x="40" y="48"/>
                  <a:pt x="40" y="48"/>
                  <a:pt x="40" y="48"/>
                </a:cubicBezTo>
                <a:cubicBezTo>
                  <a:pt x="39" y="48"/>
                  <a:pt x="37" y="47"/>
                  <a:pt x="37" y="45"/>
                </a:cubicBezTo>
                <a:close/>
                <a:moveTo>
                  <a:pt x="93" y="56"/>
                </a:moveTo>
                <a:cubicBezTo>
                  <a:pt x="93" y="57"/>
                  <a:pt x="92" y="59"/>
                  <a:pt x="91" y="59"/>
                </a:cubicBezTo>
                <a:cubicBezTo>
                  <a:pt x="19" y="59"/>
                  <a:pt x="19" y="59"/>
                  <a:pt x="19" y="59"/>
                </a:cubicBezTo>
                <a:cubicBezTo>
                  <a:pt x="17" y="59"/>
                  <a:pt x="16" y="57"/>
                  <a:pt x="16" y="56"/>
                </a:cubicBezTo>
                <a:cubicBezTo>
                  <a:pt x="16" y="55"/>
                  <a:pt x="17" y="53"/>
                  <a:pt x="19" y="53"/>
                </a:cubicBezTo>
                <a:cubicBezTo>
                  <a:pt x="91" y="53"/>
                  <a:pt x="91" y="53"/>
                  <a:pt x="91" y="53"/>
                </a:cubicBezTo>
                <a:cubicBezTo>
                  <a:pt x="92" y="53"/>
                  <a:pt x="93" y="55"/>
                  <a:pt x="93" y="5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28">
            <a:extLst>
              <a:ext uri="{FF2B5EF4-FFF2-40B4-BE49-F238E27FC236}">
                <a16:creationId xmlns:a16="http://schemas.microsoft.com/office/drawing/2014/main" id="{36D4740C-FEB4-6448-912D-77F82A8DD50B}"/>
              </a:ext>
            </a:extLst>
          </p:cNvPr>
          <p:cNvSpPr>
            <a:spLocks noEditPoints="1"/>
          </p:cNvSpPr>
          <p:nvPr/>
        </p:nvSpPr>
        <p:spPr bwMode="auto">
          <a:xfrm>
            <a:off x="2688916" y="3805238"/>
            <a:ext cx="601663" cy="606425"/>
          </a:xfrm>
          <a:custGeom>
            <a:avLst/>
            <a:gdLst>
              <a:gd name="T0" fmla="*/ 0 w 379"/>
              <a:gd name="T1" fmla="*/ 0 h 382"/>
              <a:gd name="T2" fmla="*/ 0 w 379"/>
              <a:gd name="T3" fmla="*/ 382 h 382"/>
              <a:gd name="T4" fmla="*/ 379 w 379"/>
              <a:gd name="T5" fmla="*/ 382 h 382"/>
              <a:gd name="T6" fmla="*/ 379 w 379"/>
              <a:gd name="T7" fmla="*/ 0 h 382"/>
              <a:gd name="T8" fmla="*/ 0 w 379"/>
              <a:gd name="T9" fmla="*/ 0 h 382"/>
              <a:gd name="T10" fmla="*/ 367 w 379"/>
              <a:gd name="T11" fmla="*/ 370 h 382"/>
              <a:gd name="T12" fmla="*/ 12 w 379"/>
              <a:gd name="T13" fmla="*/ 370 h 382"/>
              <a:gd name="T14" fmla="*/ 12 w 379"/>
              <a:gd name="T15" fmla="*/ 12 h 382"/>
              <a:gd name="T16" fmla="*/ 367 w 379"/>
              <a:gd name="T17" fmla="*/ 12 h 382"/>
              <a:gd name="T18" fmla="*/ 367 w 379"/>
              <a:gd name="T19" fmla="*/ 370 h 382"/>
              <a:gd name="T20" fmla="*/ 57 w 379"/>
              <a:gd name="T21" fmla="*/ 184 h 382"/>
              <a:gd name="T22" fmla="*/ 322 w 379"/>
              <a:gd name="T23" fmla="*/ 184 h 382"/>
              <a:gd name="T24" fmla="*/ 322 w 379"/>
              <a:gd name="T25" fmla="*/ 198 h 382"/>
              <a:gd name="T26" fmla="*/ 57 w 379"/>
              <a:gd name="T27" fmla="*/ 198 h 382"/>
              <a:gd name="T28" fmla="*/ 57 w 379"/>
              <a:gd name="T29" fmla="*/ 18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9" h="382">
                <a:moveTo>
                  <a:pt x="0" y="0"/>
                </a:moveTo>
                <a:lnTo>
                  <a:pt x="0" y="382"/>
                </a:lnTo>
                <a:lnTo>
                  <a:pt x="379" y="382"/>
                </a:lnTo>
                <a:lnTo>
                  <a:pt x="379" y="0"/>
                </a:lnTo>
                <a:lnTo>
                  <a:pt x="0" y="0"/>
                </a:lnTo>
                <a:close/>
                <a:moveTo>
                  <a:pt x="367" y="370"/>
                </a:moveTo>
                <a:lnTo>
                  <a:pt x="12" y="370"/>
                </a:lnTo>
                <a:lnTo>
                  <a:pt x="12" y="12"/>
                </a:lnTo>
                <a:lnTo>
                  <a:pt x="367" y="12"/>
                </a:lnTo>
                <a:lnTo>
                  <a:pt x="367" y="370"/>
                </a:lnTo>
                <a:close/>
                <a:moveTo>
                  <a:pt x="57" y="184"/>
                </a:moveTo>
                <a:lnTo>
                  <a:pt x="322" y="184"/>
                </a:lnTo>
                <a:lnTo>
                  <a:pt x="322" y="198"/>
                </a:lnTo>
                <a:lnTo>
                  <a:pt x="57" y="198"/>
                </a:lnTo>
                <a:lnTo>
                  <a:pt x="57" y="18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Rectangle 29">
            <a:extLst>
              <a:ext uri="{FF2B5EF4-FFF2-40B4-BE49-F238E27FC236}">
                <a16:creationId xmlns:a16="http://schemas.microsoft.com/office/drawing/2014/main" id="{187E5E8B-81AC-0A41-A992-0A6E47C49068}"/>
              </a:ext>
            </a:extLst>
          </p:cNvPr>
          <p:cNvSpPr>
            <a:spLocks noChangeArrowheads="1"/>
          </p:cNvSpPr>
          <p:nvPr/>
        </p:nvSpPr>
        <p:spPr bwMode="auto">
          <a:xfrm>
            <a:off x="2688916" y="4773613"/>
            <a:ext cx="601663" cy="31750"/>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30">
            <a:extLst>
              <a:ext uri="{FF2B5EF4-FFF2-40B4-BE49-F238E27FC236}">
                <a16:creationId xmlns:a16="http://schemas.microsoft.com/office/drawing/2014/main" id="{B387A85D-B17D-2D4E-9306-386BDF3F3A8D}"/>
              </a:ext>
            </a:extLst>
          </p:cNvPr>
          <p:cNvSpPr>
            <a:spLocks noEditPoints="1"/>
          </p:cNvSpPr>
          <p:nvPr/>
        </p:nvSpPr>
        <p:spPr bwMode="auto">
          <a:xfrm>
            <a:off x="2688916" y="5167313"/>
            <a:ext cx="601663" cy="606425"/>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122 w 160"/>
              <a:gd name="T21" fmla="*/ 47 h 160"/>
              <a:gd name="T22" fmla="*/ 122 w 160"/>
              <a:gd name="T23" fmla="*/ 51 h 160"/>
              <a:gd name="T24" fmla="*/ 73 w 160"/>
              <a:gd name="T25" fmla="*/ 107 h 160"/>
              <a:gd name="T26" fmla="*/ 71 w 160"/>
              <a:gd name="T27" fmla="*/ 108 h 160"/>
              <a:gd name="T28" fmla="*/ 69 w 160"/>
              <a:gd name="T29" fmla="*/ 107 h 160"/>
              <a:gd name="T30" fmla="*/ 38 w 160"/>
              <a:gd name="T31" fmla="*/ 82 h 160"/>
              <a:gd name="T32" fmla="*/ 38 w 160"/>
              <a:gd name="T33" fmla="*/ 78 h 160"/>
              <a:gd name="T34" fmla="*/ 42 w 160"/>
              <a:gd name="T35" fmla="*/ 78 h 160"/>
              <a:gd name="T36" fmla="*/ 70 w 160"/>
              <a:gd name="T37" fmla="*/ 100 h 160"/>
              <a:gd name="T38" fmla="*/ 118 w 160"/>
              <a:gd name="T39" fmla="*/ 47 h 160"/>
              <a:gd name="T40" fmla="*/ 122 w 160"/>
              <a:gd name="T41" fmla="*/ 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122" y="47"/>
                </a:moveTo>
                <a:cubicBezTo>
                  <a:pt x="123" y="48"/>
                  <a:pt x="123" y="50"/>
                  <a:pt x="122" y="51"/>
                </a:cubicBezTo>
                <a:cubicBezTo>
                  <a:pt x="73" y="107"/>
                  <a:pt x="73" y="107"/>
                  <a:pt x="73" y="107"/>
                </a:cubicBezTo>
                <a:cubicBezTo>
                  <a:pt x="72" y="107"/>
                  <a:pt x="72" y="108"/>
                  <a:pt x="71" y="108"/>
                </a:cubicBezTo>
                <a:cubicBezTo>
                  <a:pt x="70" y="108"/>
                  <a:pt x="69" y="107"/>
                  <a:pt x="69" y="107"/>
                </a:cubicBezTo>
                <a:cubicBezTo>
                  <a:pt x="38" y="82"/>
                  <a:pt x="38" y="82"/>
                  <a:pt x="38" y="82"/>
                </a:cubicBezTo>
                <a:cubicBezTo>
                  <a:pt x="37" y="81"/>
                  <a:pt x="37" y="79"/>
                  <a:pt x="38" y="78"/>
                </a:cubicBezTo>
                <a:cubicBezTo>
                  <a:pt x="39" y="77"/>
                  <a:pt x="41" y="77"/>
                  <a:pt x="42" y="78"/>
                </a:cubicBezTo>
                <a:cubicBezTo>
                  <a:pt x="70" y="100"/>
                  <a:pt x="70" y="100"/>
                  <a:pt x="70" y="100"/>
                </a:cubicBezTo>
                <a:cubicBezTo>
                  <a:pt x="118" y="47"/>
                  <a:pt x="118" y="47"/>
                  <a:pt x="118" y="47"/>
                </a:cubicBezTo>
                <a:cubicBezTo>
                  <a:pt x="119" y="46"/>
                  <a:pt x="121" y="46"/>
                  <a:pt x="122" y="4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31">
            <a:extLst>
              <a:ext uri="{FF2B5EF4-FFF2-40B4-BE49-F238E27FC236}">
                <a16:creationId xmlns:a16="http://schemas.microsoft.com/office/drawing/2014/main" id="{67D891E6-4E42-C649-8BDB-B034DB1D696E}"/>
              </a:ext>
            </a:extLst>
          </p:cNvPr>
          <p:cNvSpPr>
            <a:spLocks noEditPoints="1"/>
          </p:cNvSpPr>
          <p:nvPr/>
        </p:nvSpPr>
        <p:spPr bwMode="auto">
          <a:xfrm>
            <a:off x="2688916" y="6000750"/>
            <a:ext cx="601663" cy="284163"/>
          </a:xfrm>
          <a:custGeom>
            <a:avLst/>
            <a:gdLst>
              <a:gd name="T0" fmla="*/ 90 w 160"/>
              <a:gd name="T1" fmla="*/ 19 h 75"/>
              <a:gd name="T2" fmla="*/ 0 w 160"/>
              <a:gd name="T3" fmla="*/ 37 h 75"/>
              <a:gd name="T4" fmla="*/ 90 w 160"/>
              <a:gd name="T5" fmla="*/ 56 h 75"/>
              <a:gd name="T6" fmla="*/ 160 w 160"/>
              <a:gd name="T7" fmla="*/ 37 h 75"/>
              <a:gd name="T8" fmla="*/ 88 w 160"/>
              <a:gd name="T9" fmla="*/ 51 h 75"/>
              <a:gd name="T10" fmla="*/ 5 w 160"/>
              <a:gd name="T11" fmla="*/ 37 h 75"/>
              <a:gd name="T12" fmla="*/ 88 w 160"/>
              <a:gd name="T13" fmla="*/ 24 h 75"/>
              <a:gd name="T14" fmla="*/ 87 w 160"/>
              <a:gd name="T15" fmla="*/ 27 h 75"/>
              <a:gd name="T16" fmla="*/ 86 w 160"/>
              <a:gd name="T17" fmla="*/ 30 h 75"/>
              <a:gd name="T18" fmla="*/ 86 w 160"/>
              <a:gd name="T19" fmla="*/ 34 h 75"/>
              <a:gd name="T20" fmla="*/ 86 w 160"/>
              <a:gd name="T21" fmla="*/ 41 h 75"/>
              <a:gd name="T22" fmla="*/ 86 w 160"/>
              <a:gd name="T23" fmla="*/ 45 h 75"/>
              <a:gd name="T24" fmla="*/ 87 w 160"/>
              <a:gd name="T25" fmla="*/ 48 h 75"/>
              <a:gd name="T26" fmla="*/ 88 w 160"/>
              <a:gd name="T27" fmla="*/ 51 h 75"/>
              <a:gd name="T28" fmla="*/ 94 w 160"/>
              <a:gd name="T29" fmla="*/ 52 h 75"/>
              <a:gd name="T30" fmla="*/ 93 w 160"/>
              <a:gd name="T31" fmla="*/ 48 h 75"/>
              <a:gd name="T32" fmla="*/ 91 w 160"/>
              <a:gd name="T33" fmla="*/ 44 h 75"/>
              <a:gd name="T34" fmla="*/ 91 w 160"/>
              <a:gd name="T35" fmla="*/ 41 h 75"/>
              <a:gd name="T36" fmla="*/ 91 w 160"/>
              <a:gd name="T37" fmla="*/ 34 h 75"/>
              <a:gd name="T38" fmla="*/ 91 w 160"/>
              <a:gd name="T39" fmla="*/ 30 h 75"/>
              <a:gd name="T40" fmla="*/ 93 w 160"/>
              <a:gd name="T41" fmla="*/ 27 h 75"/>
              <a:gd name="T42" fmla="*/ 94 w 160"/>
              <a:gd name="T43" fmla="*/ 23 h 75"/>
              <a:gd name="T44" fmla="*/ 155 w 160"/>
              <a:gd name="T45" fmla="*/ 37 h 75"/>
              <a:gd name="T46" fmla="*/ 69 w 160"/>
              <a:gd name="T47" fmla="*/ 35 h 75"/>
              <a:gd name="T48" fmla="*/ 69 w 160"/>
              <a:gd name="T49" fmla="*/ 40 h 75"/>
              <a:gd name="T50" fmla="*/ 69 w 160"/>
              <a:gd name="T51" fmla="*/ 35 h 75"/>
              <a:gd name="T52" fmla="*/ 80 w 160"/>
              <a:gd name="T53" fmla="*/ 29 h 75"/>
              <a:gd name="T54" fmla="*/ 75 w 160"/>
              <a:gd name="T55" fmla="*/ 29 h 75"/>
              <a:gd name="T56" fmla="*/ 61 w 160"/>
              <a:gd name="T57" fmla="*/ 27 h 75"/>
              <a:gd name="T58" fmla="*/ 61 w 160"/>
              <a:gd name="T59" fmla="*/ 32 h 75"/>
              <a:gd name="T60" fmla="*/ 61 w 160"/>
              <a:gd name="T61" fmla="*/ 27 h 75"/>
              <a:gd name="T62" fmla="*/ 80 w 160"/>
              <a:gd name="T63" fmla="*/ 45 h 75"/>
              <a:gd name="T64" fmla="*/ 75 w 160"/>
              <a:gd name="T65" fmla="*/ 45 h 75"/>
              <a:gd name="T66" fmla="*/ 61 w 160"/>
              <a:gd name="T67" fmla="*/ 43 h 75"/>
              <a:gd name="T68" fmla="*/ 61 w 160"/>
              <a:gd name="T69" fmla="*/ 48 h 75"/>
              <a:gd name="T70" fmla="*/ 61 w 160"/>
              <a:gd name="T71" fmla="*/ 43 h 75"/>
              <a:gd name="T72" fmla="*/ 56 w 160"/>
              <a:gd name="T73" fmla="*/ 37 h 75"/>
              <a:gd name="T74" fmla="*/ 51 w 160"/>
              <a:gd name="T75" fmla="*/ 37 h 75"/>
              <a:gd name="T76" fmla="*/ 37 w 160"/>
              <a:gd name="T77" fmla="*/ 35 h 75"/>
              <a:gd name="T78" fmla="*/ 37 w 160"/>
              <a:gd name="T79" fmla="*/ 40 h 75"/>
              <a:gd name="T80" fmla="*/ 37 w 160"/>
              <a:gd name="T81" fmla="*/ 35 h 75"/>
              <a:gd name="T82" fmla="*/ 48 w 160"/>
              <a:gd name="T83" fmla="*/ 29 h 75"/>
              <a:gd name="T84" fmla="*/ 43 w 160"/>
              <a:gd name="T85" fmla="*/ 29 h 75"/>
              <a:gd name="T86" fmla="*/ 29 w 160"/>
              <a:gd name="T87" fmla="*/ 27 h 75"/>
              <a:gd name="T88" fmla="*/ 29 w 160"/>
              <a:gd name="T89" fmla="*/ 32 h 75"/>
              <a:gd name="T90" fmla="*/ 29 w 160"/>
              <a:gd name="T91" fmla="*/ 27 h 75"/>
              <a:gd name="T92" fmla="*/ 48 w 160"/>
              <a:gd name="T93" fmla="*/ 45 h 75"/>
              <a:gd name="T94" fmla="*/ 43 w 160"/>
              <a:gd name="T95" fmla="*/ 45 h 75"/>
              <a:gd name="T96" fmla="*/ 29 w 160"/>
              <a:gd name="T97" fmla="*/ 43 h 75"/>
              <a:gd name="T98" fmla="*/ 29 w 160"/>
              <a:gd name="T99" fmla="*/ 48 h 75"/>
              <a:gd name="T100" fmla="*/ 29 w 160"/>
              <a:gd name="T101" fmla="*/ 43 h 75"/>
              <a:gd name="T102" fmla="*/ 24 w 160"/>
              <a:gd name="T103" fmla="*/ 37 h 75"/>
              <a:gd name="T104" fmla="*/ 19 w 160"/>
              <a:gd name="T105" fmla="*/ 37 h 75"/>
              <a:gd name="T106" fmla="*/ 13 w 160"/>
              <a:gd name="T107" fmla="*/ 27 h 75"/>
              <a:gd name="T108" fmla="*/ 13 w 160"/>
              <a:gd name="T109" fmla="*/ 32 h 75"/>
              <a:gd name="T110" fmla="*/ 13 w 160"/>
              <a:gd name="T111" fmla="*/ 27 h 75"/>
              <a:gd name="T112" fmla="*/ 16 w 160"/>
              <a:gd name="T113" fmla="*/ 45 h 75"/>
              <a:gd name="T114" fmla="*/ 11 w 160"/>
              <a:gd name="T115" fmla="*/ 4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75">
                <a:moveTo>
                  <a:pt x="123" y="0"/>
                </a:moveTo>
                <a:cubicBezTo>
                  <a:pt x="109" y="0"/>
                  <a:pt x="97" y="8"/>
                  <a:pt x="90" y="19"/>
                </a:cubicBezTo>
                <a:cubicBezTo>
                  <a:pt x="19" y="19"/>
                  <a:pt x="19" y="19"/>
                  <a:pt x="19" y="19"/>
                </a:cubicBezTo>
                <a:cubicBezTo>
                  <a:pt x="8" y="19"/>
                  <a:pt x="0" y="27"/>
                  <a:pt x="0" y="37"/>
                </a:cubicBezTo>
                <a:cubicBezTo>
                  <a:pt x="0" y="48"/>
                  <a:pt x="8" y="56"/>
                  <a:pt x="19" y="56"/>
                </a:cubicBezTo>
                <a:cubicBezTo>
                  <a:pt x="90" y="56"/>
                  <a:pt x="90" y="56"/>
                  <a:pt x="90" y="56"/>
                </a:cubicBezTo>
                <a:cubicBezTo>
                  <a:pt x="97" y="67"/>
                  <a:pt x="109" y="75"/>
                  <a:pt x="123" y="75"/>
                </a:cubicBezTo>
                <a:cubicBezTo>
                  <a:pt x="143" y="75"/>
                  <a:pt x="160" y="58"/>
                  <a:pt x="160" y="37"/>
                </a:cubicBezTo>
                <a:cubicBezTo>
                  <a:pt x="160" y="17"/>
                  <a:pt x="143" y="0"/>
                  <a:pt x="123" y="0"/>
                </a:cubicBezTo>
                <a:close/>
                <a:moveTo>
                  <a:pt x="88" y="51"/>
                </a:moveTo>
                <a:cubicBezTo>
                  <a:pt x="19" y="51"/>
                  <a:pt x="19" y="51"/>
                  <a:pt x="19" y="51"/>
                </a:cubicBezTo>
                <a:cubicBezTo>
                  <a:pt x="11" y="51"/>
                  <a:pt x="5" y="45"/>
                  <a:pt x="5" y="37"/>
                </a:cubicBezTo>
                <a:cubicBezTo>
                  <a:pt x="5" y="30"/>
                  <a:pt x="11" y="24"/>
                  <a:pt x="19" y="24"/>
                </a:cubicBezTo>
                <a:cubicBezTo>
                  <a:pt x="88" y="24"/>
                  <a:pt x="88" y="24"/>
                  <a:pt x="88" y="24"/>
                </a:cubicBezTo>
                <a:cubicBezTo>
                  <a:pt x="88" y="24"/>
                  <a:pt x="88" y="25"/>
                  <a:pt x="87" y="25"/>
                </a:cubicBezTo>
                <a:cubicBezTo>
                  <a:pt x="87" y="26"/>
                  <a:pt x="87" y="26"/>
                  <a:pt x="87" y="27"/>
                </a:cubicBezTo>
                <a:cubicBezTo>
                  <a:pt x="87" y="27"/>
                  <a:pt x="87" y="28"/>
                  <a:pt x="86" y="29"/>
                </a:cubicBezTo>
                <a:cubicBezTo>
                  <a:pt x="86" y="29"/>
                  <a:pt x="86" y="30"/>
                  <a:pt x="86" y="30"/>
                </a:cubicBezTo>
                <a:cubicBezTo>
                  <a:pt x="86" y="31"/>
                  <a:pt x="86" y="32"/>
                  <a:pt x="86" y="33"/>
                </a:cubicBezTo>
                <a:cubicBezTo>
                  <a:pt x="86" y="33"/>
                  <a:pt x="86" y="33"/>
                  <a:pt x="86" y="34"/>
                </a:cubicBezTo>
                <a:cubicBezTo>
                  <a:pt x="85" y="35"/>
                  <a:pt x="85" y="36"/>
                  <a:pt x="85" y="37"/>
                </a:cubicBezTo>
                <a:cubicBezTo>
                  <a:pt x="85" y="39"/>
                  <a:pt x="85" y="40"/>
                  <a:pt x="86" y="41"/>
                </a:cubicBezTo>
                <a:cubicBezTo>
                  <a:pt x="86" y="41"/>
                  <a:pt x="86" y="42"/>
                  <a:pt x="86" y="42"/>
                </a:cubicBezTo>
                <a:cubicBezTo>
                  <a:pt x="86" y="43"/>
                  <a:pt x="86" y="44"/>
                  <a:pt x="86" y="45"/>
                </a:cubicBezTo>
                <a:cubicBezTo>
                  <a:pt x="86" y="45"/>
                  <a:pt x="86" y="45"/>
                  <a:pt x="86" y="46"/>
                </a:cubicBezTo>
                <a:cubicBezTo>
                  <a:pt x="87" y="47"/>
                  <a:pt x="87" y="47"/>
                  <a:pt x="87" y="48"/>
                </a:cubicBezTo>
                <a:cubicBezTo>
                  <a:pt x="87" y="48"/>
                  <a:pt x="87" y="49"/>
                  <a:pt x="87" y="50"/>
                </a:cubicBezTo>
                <a:cubicBezTo>
                  <a:pt x="88" y="50"/>
                  <a:pt x="88" y="50"/>
                  <a:pt x="88" y="51"/>
                </a:cubicBezTo>
                <a:close/>
                <a:moveTo>
                  <a:pt x="123" y="69"/>
                </a:moveTo>
                <a:cubicBezTo>
                  <a:pt x="110" y="69"/>
                  <a:pt x="99" y="62"/>
                  <a:pt x="94" y="52"/>
                </a:cubicBezTo>
                <a:cubicBezTo>
                  <a:pt x="94" y="51"/>
                  <a:pt x="93" y="50"/>
                  <a:pt x="93" y="49"/>
                </a:cubicBezTo>
                <a:cubicBezTo>
                  <a:pt x="93" y="49"/>
                  <a:pt x="93" y="48"/>
                  <a:pt x="93" y="48"/>
                </a:cubicBezTo>
                <a:cubicBezTo>
                  <a:pt x="92" y="47"/>
                  <a:pt x="92" y="46"/>
                  <a:pt x="92" y="46"/>
                </a:cubicBezTo>
                <a:cubicBezTo>
                  <a:pt x="92" y="45"/>
                  <a:pt x="92" y="45"/>
                  <a:pt x="91" y="44"/>
                </a:cubicBezTo>
                <a:cubicBezTo>
                  <a:pt x="91" y="44"/>
                  <a:pt x="91" y="43"/>
                  <a:pt x="91" y="42"/>
                </a:cubicBezTo>
                <a:cubicBezTo>
                  <a:pt x="91" y="42"/>
                  <a:pt x="91" y="41"/>
                  <a:pt x="91" y="41"/>
                </a:cubicBezTo>
                <a:cubicBezTo>
                  <a:pt x="91" y="40"/>
                  <a:pt x="91" y="39"/>
                  <a:pt x="91" y="37"/>
                </a:cubicBezTo>
                <a:cubicBezTo>
                  <a:pt x="91" y="36"/>
                  <a:pt x="91" y="35"/>
                  <a:pt x="91" y="34"/>
                </a:cubicBezTo>
                <a:cubicBezTo>
                  <a:pt x="91" y="33"/>
                  <a:pt x="91" y="33"/>
                  <a:pt x="91" y="33"/>
                </a:cubicBezTo>
                <a:cubicBezTo>
                  <a:pt x="91" y="32"/>
                  <a:pt x="91" y="31"/>
                  <a:pt x="91" y="30"/>
                </a:cubicBezTo>
                <a:cubicBezTo>
                  <a:pt x="92" y="30"/>
                  <a:pt x="92" y="29"/>
                  <a:pt x="92" y="29"/>
                </a:cubicBezTo>
                <a:cubicBezTo>
                  <a:pt x="92" y="28"/>
                  <a:pt x="92" y="27"/>
                  <a:pt x="93" y="27"/>
                </a:cubicBezTo>
                <a:cubicBezTo>
                  <a:pt x="93" y="26"/>
                  <a:pt x="93" y="26"/>
                  <a:pt x="93" y="26"/>
                </a:cubicBezTo>
                <a:cubicBezTo>
                  <a:pt x="93" y="25"/>
                  <a:pt x="94" y="24"/>
                  <a:pt x="94" y="23"/>
                </a:cubicBezTo>
                <a:cubicBezTo>
                  <a:pt x="99" y="12"/>
                  <a:pt x="110" y="5"/>
                  <a:pt x="123" y="5"/>
                </a:cubicBezTo>
                <a:cubicBezTo>
                  <a:pt x="140" y="5"/>
                  <a:pt x="155" y="20"/>
                  <a:pt x="155" y="37"/>
                </a:cubicBezTo>
                <a:cubicBezTo>
                  <a:pt x="155" y="55"/>
                  <a:pt x="140" y="69"/>
                  <a:pt x="123" y="69"/>
                </a:cubicBezTo>
                <a:close/>
                <a:moveTo>
                  <a:pt x="69" y="35"/>
                </a:moveTo>
                <a:cubicBezTo>
                  <a:pt x="71" y="35"/>
                  <a:pt x="72" y="36"/>
                  <a:pt x="72" y="37"/>
                </a:cubicBezTo>
                <a:cubicBezTo>
                  <a:pt x="72" y="39"/>
                  <a:pt x="71" y="40"/>
                  <a:pt x="69" y="40"/>
                </a:cubicBezTo>
                <a:cubicBezTo>
                  <a:pt x="68" y="40"/>
                  <a:pt x="67" y="39"/>
                  <a:pt x="67" y="37"/>
                </a:cubicBezTo>
                <a:cubicBezTo>
                  <a:pt x="67" y="36"/>
                  <a:pt x="68" y="35"/>
                  <a:pt x="69" y="35"/>
                </a:cubicBezTo>
                <a:close/>
                <a:moveTo>
                  <a:pt x="77" y="27"/>
                </a:moveTo>
                <a:cubicBezTo>
                  <a:pt x="79" y="27"/>
                  <a:pt x="80" y="28"/>
                  <a:pt x="80" y="29"/>
                </a:cubicBezTo>
                <a:cubicBezTo>
                  <a:pt x="80" y="31"/>
                  <a:pt x="79" y="32"/>
                  <a:pt x="77" y="32"/>
                </a:cubicBezTo>
                <a:cubicBezTo>
                  <a:pt x="76" y="32"/>
                  <a:pt x="75" y="31"/>
                  <a:pt x="75" y="29"/>
                </a:cubicBezTo>
                <a:cubicBezTo>
                  <a:pt x="75" y="28"/>
                  <a:pt x="76" y="27"/>
                  <a:pt x="77" y="27"/>
                </a:cubicBezTo>
                <a:close/>
                <a:moveTo>
                  <a:pt x="61" y="27"/>
                </a:moveTo>
                <a:cubicBezTo>
                  <a:pt x="63" y="27"/>
                  <a:pt x="64" y="28"/>
                  <a:pt x="64" y="29"/>
                </a:cubicBezTo>
                <a:cubicBezTo>
                  <a:pt x="64" y="31"/>
                  <a:pt x="63" y="32"/>
                  <a:pt x="61" y="32"/>
                </a:cubicBezTo>
                <a:cubicBezTo>
                  <a:pt x="60" y="32"/>
                  <a:pt x="59" y="31"/>
                  <a:pt x="59" y="29"/>
                </a:cubicBezTo>
                <a:cubicBezTo>
                  <a:pt x="59" y="28"/>
                  <a:pt x="60" y="27"/>
                  <a:pt x="61" y="27"/>
                </a:cubicBezTo>
                <a:close/>
                <a:moveTo>
                  <a:pt x="77" y="43"/>
                </a:moveTo>
                <a:cubicBezTo>
                  <a:pt x="79" y="43"/>
                  <a:pt x="80" y="44"/>
                  <a:pt x="80" y="45"/>
                </a:cubicBezTo>
                <a:cubicBezTo>
                  <a:pt x="80" y="47"/>
                  <a:pt x="79" y="48"/>
                  <a:pt x="77" y="48"/>
                </a:cubicBezTo>
                <a:cubicBezTo>
                  <a:pt x="76" y="48"/>
                  <a:pt x="75" y="47"/>
                  <a:pt x="75" y="45"/>
                </a:cubicBezTo>
                <a:cubicBezTo>
                  <a:pt x="75" y="44"/>
                  <a:pt x="76" y="43"/>
                  <a:pt x="77" y="43"/>
                </a:cubicBezTo>
                <a:close/>
                <a:moveTo>
                  <a:pt x="61" y="43"/>
                </a:moveTo>
                <a:cubicBezTo>
                  <a:pt x="63" y="43"/>
                  <a:pt x="64" y="44"/>
                  <a:pt x="64" y="45"/>
                </a:cubicBezTo>
                <a:cubicBezTo>
                  <a:pt x="64" y="47"/>
                  <a:pt x="63" y="48"/>
                  <a:pt x="61" y="48"/>
                </a:cubicBezTo>
                <a:cubicBezTo>
                  <a:pt x="60" y="48"/>
                  <a:pt x="59" y="47"/>
                  <a:pt x="59" y="45"/>
                </a:cubicBezTo>
                <a:cubicBezTo>
                  <a:pt x="59" y="44"/>
                  <a:pt x="60" y="43"/>
                  <a:pt x="61" y="43"/>
                </a:cubicBezTo>
                <a:close/>
                <a:moveTo>
                  <a:pt x="53" y="35"/>
                </a:moveTo>
                <a:cubicBezTo>
                  <a:pt x="55" y="35"/>
                  <a:pt x="56" y="36"/>
                  <a:pt x="56" y="37"/>
                </a:cubicBezTo>
                <a:cubicBezTo>
                  <a:pt x="56" y="39"/>
                  <a:pt x="55" y="40"/>
                  <a:pt x="53" y="40"/>
                </a:cubicBezTo>
                <a:cubicBezTo>
                  <a:pt x="52" y="40"/>
                  <a:pt x="51" y="39"/>
                  <a:pt x="51" y="37"/>
                </a:cubicBezTo>
                <a:cubicBezTo>
                  <a:pt x="51" y="36"/>
                  <a:pt x="52" y="35"/>
                  <a:pt x="53" y="35"/>
                </a:cubicBezTo>
                <a:close/>
                <a:moveTo>
                  <a:pt x="37" y="35"/>
                </a:moveTo>
                <a:cubicBezTo>
                  <a:pt x="39" y="35"/>
                  <a:pt x="40" y="36"/>
                  <a:pt x="40" y="37"/>
                </a:cubicBezTo>
                <a:cubicBezTo>
                  <a:pt x="40" y="39"/>
                  <a:pt x="39" y="40"/>
                  <a:pt x="37" y="40"/>
                </a:cubicBezTo>
                <a:cubicBezTo>
                  <a:pt x="36" y="40"/>
                  <a:pt x="35" y="39"/>
                  <a:pt x="35" y="37"/>
                </a:cubicBezTo>
                <a:cubicBezTo>
                  <a:pt x="35" y="36"/>
                  <a:pt x="36" y="35"/>
                  <a:pt x="37" y="35"/>
                </a:cubicBezTo>
                <a:close/>
                <a:moveTo>
                  <a:pt x="45" y="27"/>
                </a:moveTo>
                <a:cubicBezTo>
                  <a:pt x="47" y="27"/>
                  <a:pt x="48" y="28"/>
                  <a:pt x="48" y="29"/>
                </a:cubicBezTo>
                <a:cubicBezTo>
                  <a:pt x="48" y="31"/>
                  <a:pt x="47" y="32"/>
                  <a:pt x="45" y="32"/>
                </a:cubicBezTo>
                <a:cubicBezTo>
                  <a:pt x="44" y="32"/>
                  <a:pt x="43" y="31"/>
                  <a:pt x="43" y="29"/>
                </a:cubicBezTo>
                <a:cubicBezTo>
                  <a:pt x="43" y="28"/>
                  <a:pt x="44" y="27"/>
                  <a:pt x="45" y="27"/>
                </a:cubicBezTo>
                <a:close/>
                <a:moveTo>
                  <a:pt x="29" y="27"/>
                </a:moveTo>
                <a:cubicBezTo>
                  <a:pt x="31" y="27"/>
                  <a:pt x="32" y="28"/>
                  <a:pt x="32" y="29"/>
                </a:cubicBezTo>
                <a:cubicBezTo>
                  <a:pt x="32" y="31"/>
                  <a:pt x="31" y="32"/>
                  <a:pt x="29" y="32"/>
                </a:cubicBezTo>
                <a:cubicBezTo>
                  <a:pt x="28" y="32"/>
                  <a:pt x="27" y="31"/>
                  <a:pt x="27" y="29"/>
                </a:cubicBezTo>
                <a:cubicBezTo>
                  <a:pt x="27" y="28"/>
                  <a:pt x="28" y="27"/>
                  <a:pt x="29" y="27"/>
                </a:cubicBezTo>
                <a:close/>
                <a:moveTo>
                  <a:pt x="45" y="43"/>
                </a:moveTo>
                <a:cubicBezTo>
                  <a:pt x="47" y="43"/>
                  <a:pt x="48" y="44"/>
                  <a:pt x="48" y="45"/>
                </a:cubicBezTo>
                <a:cubicBezTo>
                  <a:pt x="48" y="47"/>
                  <a:pt x="47" y="48"/>
                  <a:pt x="45" y="48"/>
                </a:cubicBezTo>
                <a:cubicBezTo>
                  <a:pt x="44" y="48"/>
                  <a:pt x="43" y="47"/>
                  <a:pt x="43" y="45"/>
                </a:cubicBezTo>
                <a:cubicBezTo>
                  <a:pt x="43" y="44"/>
                  <a:pt x="44" y="43"/>
                  <a:pt x="45" y="43"/>
                </a:cubicBezTo>
                <a:close/>
                <a:moveTo>
                  <a:pt x="29" y="43"/>
                </a:moveTo>
                <a:cubicBezTo>
                  <a:pt x="31" y="43"/>
                  <a:pt x="32" y="44"/>
                  <a:pt x="32" y="45"/>
                </a:cubicBezTo>
                <a:cubicBezTo>
                  <a:pt x="32" y="47"/>
                  <a:pt x="31" y="48"/>
                  <a:pt x="29" y="48"/>
                </a:cubicBezTo>
                <a:cubicBezTo>
                  <a:pt x="28" y="48"/>
                  <a:pt x="27" y="47"/>
                  <a:pt x="27" y="45"/>
                </a:cubicBezTo>
                <a:cubicBezTo>
                  <a:pt x="27" y="44"/>
                  <a:pt x="28" y="43"/>
                  <a:pt x="29" y="43"/>
                </a:cubicBezTo>
                <a:close/>
                <a:moveTo>
                  <a:pt x="21" y="35"/>
                </a:moveTo>
                <a:cubicBezTo>
                  <a:pt x="23" y="35"/>
                  <a:pt x="24" y="36"/>
                  <a:pt x="24" y="37"/>
                </a:cubicBezTo>
                <a:cubicBezTo>
                  <a:pt x="24" y="39"/>
                  <a:pt x="23" y="40"/>
                  <a:pt x="21" y="40"/>
                </a:cubicBezTo>
                <a:cubicBezTo>
                  <a:pt x="20" y="40"/>
                  <a:pt x="19" y="39"/>
                  <a:pt x="19" y="37"/>
                </a:cubicBezTo>
                <a:cubicBezTo>
                  <a:pt x="19" y="36"/>
                  <a:pt x="20" y="35"/>
                  <a:pt x="21" y="35"/>
                </a:cubicBezTo>
                <a:close/>
                <a:moveTo>
                  <a:pt x="13" y="27"/>
                </a:moveTo>
                <a:cubicBezTo>
                  <a:pt x="15" y="27"/>
                  <a:pt x="16" y="28"/>
                  <a:pt x="16" y="29"/>
                </a:cubicBezTo>
                <a:cubicBezTo>
                  <a:pt x="16" y="31"/>
                  <a:pt x="15" y="32"/>
                  <a:pt x="13" y="32"/>
                </a:cubicBezTo>
                <a:cubicBezTo>
                  <a:pt x="12" y="32"/>
                  <a:pt x="11" y="31"/>
                  <a:pt x="11" y="29"/>
                </a:cubicBezTo>
                <a:cubicBezTo>
                  <a:pt x="11" y="28"/>
                  <a:pt x="12" y="27"/>
                  <a:pt x="13" y="27"/>
                </a:cubicBezTo>
                <a:close/>
                <a:moveTo>
                  <a:pt x="13" y="43"/>
                </a:moveTo>
                <a:cubicBezTo>
                  <a:pt x="15" y="43"/>
                  <a:pt x="16" y="44"/>
                  <a:pt x="16" y="45"/>
                </a:cubicBezTo>
                <a:cubicBezTo>
                  <a:pt x="16" y="47"/>
                  <a:pt x="15" y="48"/>
                  <a:pt x="13" y="48"/>
                </a:cubicBezTo>
                <a:cubicBezTo>
                  <a:pt x="12" y="48"/>
                  <a:pt x="11" y="47"/>
                  <a:pt x="11" y="45"/>
                </a:cubicBezTo>
                <a:cubicBezTo>
                  <a:pt x="11" y="44"/>
                  <a:pt x="12" y="43"/>
                  <a:pt x="13" y="4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32">
            <a:extLst>
              <a:ext uri="{FF2B5EF4-FFF2-40B4-BE49-F238E27FC236}">
                <a16:creationId xmlns:a16="http://schemas.microsoft.com/office/drawing/2014/main" id="{8F578FC5-8BA4-F043-A048-BD2F23BFD506}"/>
              </a:ext>
            </a:extLst>
          </p:cNvPr>
          <p:cNvSpPr>
            <a:spLocks noEditPoints="1"/>
          </p:cNvSpPr>
          <p:nvPr/>
        </p:nvSpPr>
        <p:spPr bwMode="auto">
          <a:xfrm>
            <a:off x="3741429" y="534988"/>
            <a:ext cx="600075" cy="322263"/>
          </a:xfrm>
          <a:custGeom>
            <a:avLst/>
            <a:gdLst>
              <a:gd name="T0" fmla="*/ 0 w 160"/>
              <a:gd name="T1" fmla="*/ 11 h 85"/>
              <a:gd name="T2" fmla="*/ 149 w 160"/>
              <a:gd name="T3" fmla="*/ 85 h 85"/>
              <a:gd name="T4" fmla="*/ 11 w 160"/>
              <a:gd name="T5" fmla="*/ 80 h 85"/>
              <a:gd name="T6" fmla="*/ 75 w 160"/>
              <a:gd name="T7" fmla="*/ 5 h 85"/>
              <a:gd name="T8" fmla="*/ 11 w 160"/>
              <a:gd name="T9" fmla="*/ 80 h 85"/>
              <a:gd name="T10" fmla="*/ 85 w 160"/>
              <a:gd name="T11" fmla="*/ 75 h 85"/>
              <a:gd name="T12" fmla="*/ 155 w 160"/>
              <a:gd name="T13" fmla="*/ 11 h 85"/>
              <a:gd name="T14" fmla="*/ 93 w 160"/>
              <a:gd name="T15" fmla="*/ 21 h 85"/>
              <a:gd name="T16" fmla="*/ 112 w 160"/>
              <a:gd name="T17" fmla="*/ 19 h 85"/>
              <a:gd name="T18" fmla="*/ 101 w 160"/>
              <a:gd name="T19" fmla="*/ 8 h 85"/>
              <a:gd name="T20" fmla="*/ 101 w 160"/>
              <a:gd name="T21" fmla="*/ 8 h 85"/>
              <a:gd name="T22" fmla="*/ 115 w 160"/>
              <a:gd name="T23" fmla="*/ 11 h 85"/>
              <a:gd name="T24" fmla="*/ 101 w 160"/>
              <a:gd name="T25" fmla="*/ 29 h 85"/>
              <a:gd name="T26" fmla="*/ 120 w 160"/>
              <a:gd name="T27" fmla="*/ 27 h 85"/>
              <a:gd name="T28" fmla="*/ 125 w 160"/>
              <a:gd name="T29" fmla="*/ 16 h 85"/>
              <a:gd name="T30" fmla="*/ 125 w 160"/>
              <a:gd name="T31" fmla="*/ 16 h 85"/>
              <a:gd name="T32" fmla="*/ 139 w 160"/>
              <a:gd name="T33" fmla="*/ 19 h 85"/>
              <a:gd name="T34" fmla="*/ 133 w 160"/>
              <a:gd name="T35" fmla="*/ 13 h 85"/>
              <a:gd name="T36" fmla="*/ 152 w 160"/>
              <a:gd name="T37" fmla="*/ 11 h 85"/>
              <a:gd name="T38" fmla="*/ 133 w 160"/>
              <a:gd name="T39" fmla="*/ 24 h 85"/>
              <a:gd name="T40" fmla="*/ 133 w 160"/>
              <a:gd name="T41" fmla="*/ 24 h 85"/>
              <a:gd name="T42" fmla="*/ 147 w 160"/>
              <a:gd name="T43" fmla="*/ 27 h 85"/>
              <a:gd name="T44" fmla="*/ 93 w 160"/>
              <a:gd name="T45" fmla="*/ 69 h 85"/>
              <a:gd name="T46" fmla="*/ 104 w 160"/>
              <a:gd name="T47" fmla="*/ 75 h 85"/>
              <a:gd name="T48" fmla="*/ 109 w 160"/>
              <a:gd name="T49" fmla="*/ 64 h 85"/>
              <a:gd name="T50" fmla="*/ 109 w 160"/>
              <a:gd name="T51" fmla="*/ 64 h 85"/>
              <a:gd name="T52" fmla="*/ 123 w 160"/>
              <a:gd name="T53" fmla="*/ 67 h 85"/>
              <a:gd name="T54" fmla="*/ 117 w 160"/>
              <a:gd name="T55" fmla="*/ 77 h 85"/>
              <a:gd name="T56" fmla="*/ 136 w 160"/>
              <a:gd name="T57" fmla="*/ 75 h 85"/>
              <a:gd name="T58" fmla="*/ 141 w 160"/>
              <a:gd name="T59" fmla="*/ 64 h 85"/>
              <a:gd name="T60" fmla="*/ 141 w 160"/>
              <a:gd name="T61" fmla="*/ 64 h 85"/>
              <a:gd name="T62" fmla="*/ 147 w 160"/>
              <a:gd name="T63" fmla="*/ 75 h 85"/>
              <a:gd name="T64" fmla="*/ 93 w 160"/>
              <a:gd name="T65" fmla="*/ 37 h 85"/>
              <a:gd name="T66" fmla="*/ 112 w 160"/>
              <a:gd name="T67" fmla="*/ 35 h 85"/>
              <a:gd name="T68" fmla="*/ 93 w 160"/>
              <a:gd name="T69" fmla="*/ 48 h 85"/>
              <a:gd name="T70" fmla="*/ 93 w 160"/>
              <a:gd name="T71" fmla="*/ 48 h 85"/>
              <a:gd name="T72" fmla="*/ 107 w 160"/>
              <a:gd name="T73" fmla="*/ 51 h 85"/>
              <a:gd name="T74" fmla="*/ 101 w 160"/>
              <a:gd name="T75" fmla="*/ 45 h 85"/>
              <a:gd name="T76" fmla="*/ 120 w 160"/>
              <a:gd name="T77" fmla="*/ 43 h 85"/>
              <a:gd name="T78" fmla="*/ 101 w 160"/>
              <a:gd name="T79" fmla="*/ 56 h 85"/>
              <a:gd name="T80" fmla="*/ 101 w 160"/>
              <a:gd name="T81" fmla="*/ 56 h 85"/>
              <a:gd name="T82" fmla="*/ 115 w 160"/>
              <a:gd name="T83" fmla="*/ 59 h 85"/>
              <a:gd name="T84" fmla="*/ 125 w 160"/>
              <a:gd name="T85" fmla="*/ 37 h 85"/>
              <a:gd name="T86" fmla="*/ 144 w 160"/>
              <a:gd name="T87" fmla="*/ 35 h 85"/>
              <a:gd name="T88" fmla="*/ 125 w 160"/>
              <a:gd name="T89" fmla="*/ 48 h 85"/>
              <a:gd name="T90" fmla="*/ 125 w 160"/>
              <a:gd name="T91" fmla="*/ 48 h 85"/>
              <a:gd name="T92" fmla="*/ 139 w 160"/>
              <a:gd name="T93" fmla="*/ 51 h 85"/>
              <a:gd name="T94" fmla="*/ 133 w 160"/>
              <a:gd name="T95" fmla="*/ 45 h 85"/>
              <a:gd name="T96" fmla="*/ 152 w 160"/>
              <a:gd name="T97" fmla="*/ 43 h 85"/>
              <a:gd name="T98" fmla="*/ 133 w 160"/>
              <a:gd name="T99" fmla="*/ 56 h 85"/>
              <a:gd name="T100" fmla="*/ 133 w 160"/>
              <a:gd name="T101" fmla="*/ 56 h 85"/>
              <a:gd name="T102" fmla="*/ 147 w 160"/>
              <a:gd name="T103" fmla="*/ 59 h 85"/>
              <a:gd name="T104" fmla="*/ 35 w 160"/>
              <a:gd name="T105" fmla="*/ 53 h 85"/>
              <a:gd name="T106" fmla="*/ 37 w 160"/>
              <a:gd name="T107" fmla="*/ 35 h 85"/>
              <a:gd name="T108" fmla="*/ 40 w 160"/>
              <a:gd name="T109" fmla="*/ 51 h 85"/>
              <a:gd name="T110" fmla="*/ 53 w 160"/>
              <a:gd name="T111" fmla="*/ 35 h 85"/>
              <a:gd name="T112" fmla="*/ 48 w 160"/>
              <a:gd name="T11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85">
                <a:moveTo>
                  <a:pt x="149" y="0"/>
                </a:moveTo>
                <a:cubicBezTo>
                  <a:pt x="75" y="0"/>
                  <a:pt x="75" y="0"/>
                  <a:pt x="75" y="0"/>
                </a:cubicBezTo>
                <a:cubicBezTo>
                  <a:pt x="11" y="0"/>
                  <a:pt x="11" y="0"/>
                  <a:pt x="11" y="0"/>
                </a:cubicBezTo>
                <a:cubicBezTo>
                  <a:pt x="5" y="0"/>
                  <a:pt x="0" y="5"/>
                  <a:pt x="0" y="11"/>
                </a:cubicBezTo>
                <a:cubicBezTo>
                  <a:pt x="0" y="75"/>
                  <a:pt x="0" y="75"/>
                  <a:pt x="0" y="75"/>
                </a:cubicBezTo>
                <a:cubicBezTo>
                  <a:pt x="0" y="81"/>
                  <a:pt x="5" y="85"/>
                  <a:pt x="11" y="85"/>
                </a:cubicBezTo>
                <a:cubicBezTo>
                  <a:pt x="75" y="85"/>
                  <a:pt x="75" y="85"/>
                  <a:pt x="75" y="85"/>
                </a:cubicBezTo>
                <a:cubicBezTo>
                  <a:pt x="149" y="85"/>
                  <a:pt x="149" y="85"/>
                  <a:pt x="149" y="85"/>
                </a:cubicBezTo>
                <a:cubicBezTo>
                  <a:pt x="155" y="85"/>
                  <a:pt x="160" y="81"/>
                  <a:pt x="160" y="75"/>
                </a:cubicBezTo>
                <a:cubicBezTo>
                  <a:pt x="160" y="11"/>
                  <a:pt x="160" y="11"/>
                  <a:pt x="160" y="11"/>
                </a:cubicBezTo>
                <a:cubicBezTo>
                  <a:pt x="160" y="5"/>
                  <a:pt x="155" y="0"/>
                  <a:pt x="149" y="0"/>
                </a:cubicBezTo>
                <a:close/>
                <a:moveTo>
                  <a:pt x="11" y="80"/>
                </a:moveTo>
                <a:cubicBezTo>
                  <a:pt x="8" y="80"/>
                  <a:pt x="5" y="78"/>
                  <a:pt x="5" y="75"/>
                </a:cubicBezTo>
                <a:cubicBezTo>
                  <a:pt x="5" y="11"/>
                  <a:pt x="5" y="11"/>
                  <a:pt x="5" y="11"/>
                </a:cubicBezTo>
                <a:cubicBezTo>
                  <a:pt x="5" y="8"/>
                  <a:pt x="8" y="5"/>
                  <a:pt x="11" y="5"/>
                </a:cubicBezTo>
                <a:cubicBezTo>
                  <a:pt x="75" y="5"/>
                  <a:pt x="75" y="5"/>
                  <a:pt x="75" y="5"/>
                </a:cubicBezTo>
                <a:cubicBezTo>
                  <a:pt x="78" y="5"/>
                  <a:pt x="80" y="8"/>
                  <a:pt x="80" y="11"/>
                </a:cubicBezTo>
                <a:cubicBezTo>
                  <a:pt x="80" y="75"/>
                  <a:pt x="80" y="75"/>
                  <a:pt x="80" y="75"/>
                </a:cubicBezTo>
                <a:cubicBezTo>
                  <a:pt x="80" y="78"/>
                  <a:pt x="78" y="80"/>
                  <a:pt x="75" y="80"/>
                </a:cubicBezTo>
                <a:lnTo>
                  <a:pt x="11" y="80"/>
                </a:lnTo>
                <a:close/>
                <a:moveTo>
                  <a:pt x="155" y="75"/>
                </a:moveTo>
                <a:cubicBezTo>
                  <a:pt x="155" y="78"/>
                  <a:pt x="152" y="80"/>
                  <a:pt x="149" y="80"/>
                </a:cubicBezTo>
                <a:cubicBezTo>
                  <a:pt x="84" y="80"/>
                  <a:pt x="84" y="80"/>
                  <a:pt x="84" y="80"/>
                </a:cubicBezTo>
                <a:cubicBezTo>
                  <a:pt x="85" y="78"/>
                  <a:pt x="85" y="77"/>
                  <a:pt x="85" y="75"/>
                </a:cubicBezTo>
                <a:cubicBezTo>
                  <a:pt x="85" y="11"/>
                  <a:pt x="85" y="11"/>
                  <a:pt x="85" y="11"/>
                </a:cubicBezTo>
                <a:cubicBezTo>
                  <a:pt x="85" y="9"/>
                  <a:pt x="85" y="7"/>
                  <a:pt x="84" y="5"/>
                </a:cubicBezTo>
                <a:cubicBezTo>
                  <a:pt x="149" y="5"/>
                  <a:pt x="149" y="5"/>
                  <a:pt x="149" y="5"/>
                </a:cubicBezTo>
                <a:cubicBezTo>
                  <a:pt x="152" y="5"/>
                  <a:pt x="155" y="8"/>
                  <a:pt x="155" y="11"/>
                </a:cubicBezTo>
                <a:lnTo>
                  <a:pt x="155" y="75"/>
                </a:lnTo>
                <a:close/>
                <a:moveTo>
                  <a:pt x="93" y="16"/>
                </a:moveTo>
                <a:cubicBezTo>
                  <a:pt x="95" y="16"/>
                  <a:pt x="96" y="17"/>
                  <a:pt x="96" y="19"/>
                </a:cubicBezTo>
                <a:cubicBezTo>
                  <a:pt x="96" y="20"/>
                  <a:pt x="95" y="21"/>
                  <a:pt x="93" y="21"/>
                </a:cubicBezTo>
                <a:cubicBezTo>
                  <a:pt x="92" y="21"/>
                  <a:pt x="91" y="20"/>
                  <a:pt x="91" y="19"/>
                </a:cubicBezTo>
                <a:cubicBezTo>
                  <a:pt x="91" y="17"/>
                  <a:pt x="92" y="16"/>
                  <a:pt x="93" y="16"/>
                </a:cubicBezTo>
                <a:close/>
                <a:moveTo>
                  <a:pt x="109" y="16"/>
                </a:moveTo>
                <a:cubicBezTo>
                  <a:pt x="111" y="16"/>
                  <a:pt x="112" y="17"/>
                  <a:pt x="112" y="19"/>
                </a:cubicBezTo>
                <a:cubicBezTo>
                  <a:pt x="112" y="20"/>
                  <a:pt x="111" y="21"/>
                  <a:pt x="109" y="21"/>
                </a:cubicBezTo>
                <a:cubicBezTo>
                  <a:pt x="108" y="21"/>
                  <a:pt x="107" y="20"/>
                  <a:pt x="107" y="19"/>
                </a:cubicBezTo>
                <a:cubicBezTo>
                  <a:pt x="107" y="17"/>
                  <a:pt x="108" y="16"/>
                  <a:pt x="109" y="16"/>
                </a:cubicBezTo>
                <a:close/>
                <a:moveTo>
                  <a:pt x="101" y="8"/>
                </a:moveTo>
                <a:cubicBezTo>
                  <a:pt x="103" y="8"/>
                  <a:pt x="104" y="9"/>
                  <a:pt x="104" y="11"/>
                </a:cubicBezTo>
                <a:cubicBezTo>
                  <a:pt x="104" y="12"/>
                  <a:pt x="103" y="13"/>
                  <a:pt x="101" y="13"/>
                </a:cubicBezTo>
                <a:cubicBezTo>
                  <a:pt x="100" y="13"/>
                  <a:pt x="99" y="12"/>
                  <a:pt x="99" y="11"/>
                </a:cubicBezTo>
                <a:cubicBezTo>
                  <a:pt x="99" y="9"/>
                  <a:pt x="100" y="8"/>
                  <a:pt x="101" y="8"/>
                </a:cubicBezTo>
                <a:close/>
                <a:moveTo>
                  <a:pt x="117" y="8"/>
                </a:moveTo>
                <a:cubicBezTo>
                  <a:pt x="119" y="8"/>
                  <a:pt x="120" y="9"/>
                  <a:pt x="120" y="11"/>
                </a:cubicBezTo>
                <a:cubicBezTo>
                  <a:pt x="120" y="12"/>
                  <a:pt x="119" y="13"/>
                  <a:pt x="117" y="13"/>
                </a:cubicBezTo>
                <a:cubicBezTo>
                  <a:pt x="116" y="13"/>
                  <a:pt x="115" y="12"/>
                  <a:pt x="115" y="11"/>
                </a:cubicBezTo>
                <a:cubicBezTo>
                  <a:pt x="115" y="9"/>
                  <a:pt x="116" y="8"/>
                  <a:pt x="117" y="8"/>
                </a:cubicBezTo>
                <a:close/>
                <a:moveTo>
                  <a:pt x="101" y="24"/>
                </a:moveTo>
                <a:cubicBezTo>
                  <a:pt x="103" y="24"/>
                  <a:pt x="104" y="25"/>
                  <a:pt x="104" y="27"/>
                </a:cubicBezTo>
                <a:cubicBezTo>
                  <a:pt x="104" y="28"/>
                  <a:pt x="103" y="29"/>
                  <a:pt x="101" y="29"/>
                </a:cubicBezTo>
                <a:cubicBezTo>
                  <a:pt x="100" y="29"/>
                  <a:pt x="99" y="28"/>
                  <a:pt x="99" y="27"/>
                </a:cubicBezTo>
                <a:cubicBezTo>
                  <a:pt x="99" y="25"/>
                  <a:pt x="100" y="24"/>
                  <a:pt x="101" y="24"/>
                </a:cubicBezTo>
                <a:close/>
                <a:moveTo>
                  <a:pt x="117" y="24"/>
                </a:moveTo>
                <a:cubicBezTo>
                  <a:pt x="119" y="24"/>
                  <a:pt x="120" y="25"/>
                  <a:pt x="120" y="27"/>
                </a:cubicBezTo>
                <a:cubicBezTo>
                  <a:pt x="120" y="28"/>
                  <a:pt x="119" y="29"/>
                  <a:pt x="117" y="29"/>
                </a:cubicBezTo>
                <a:cubicBezTo>
                  <a:pt x="116" y="29"/>
                  <a:pt x="115" y="28"/>
                  <a:pt x="115" y="27"/>
                </a:cubicBezTo>
                <a:cubicBezTo>
                  <a:pt x="115" y="25"/>
                  <a:pt x="116" y="24"/>
                  <a:pt x="117" y="24"/>
                </a:cubicBezTo>
                <a:close/>
                <a:moveTo>
                  <a:pt x="125" y="16"/>
                </a:moveTo>
                <a:cubicBezTo>
                  <a:pt x="127" y="16"/>
                  <a:pt x="128" y="17"/>
                  <a:pt x="128" y="19"/>
                </a:cubicBezTo>
                <a:cubicBezTo>
                  <a:pt x="128" y="20"/>
                  <a:pt x="127" y="21"/>
                  <a:pt x="125" y="21"/>
                </a:cubicBezTo>
                <a:cubicBezTo>
                  <a:pt x="124" y="21"/>
                  <a:pt x="123" y="20"/>
                  <a:pt x="123" y="19"/>
                </a:cubicBezTo>
                <a:cubicBezTo>
                  <a:pt x="123" y="17"/>
                  <a:pt x="124" y="16"/>
                  <a:pt x="125" y="16"/>
                </a:cubicBezTo>
                <a:close/>
                <a:moveTo>
                  <a:pt x="141" y="16"/>
                </a:moveTo>
                <a:cubicBezTo>
                  <a:pt x="143" y="16"/>
                  <a:pt x="144" y="17"/>
                  <a:pt x="144" y="19"/>
                </a:cubicBezTo>
                <a:cubicBezTo>
                  <a:pt x="144" y="20"/>
                  <a:pt x="143" y="21"/>
                  <a:pt x="141" y="21"/>
                </a:cubicBezTo>
                <a:cubicBezTo>
                  <a:pt x="140" y="21"/>
                  <a:pt x="139" y="20"/>
                  <a:pt x="139" y="19"/>
                </a:cubicBezTo>
                <a:cubicBezTo>
                  <a:pt x="139" y="17"/>
                  <a:pt x="140" y="16"/>
                  <a:pt x="141" y="16"/>
                </a:cubicBezTo>
                <a:close/>
                <a:moveTo>
                  <a:pt x="133" y="8"/>
                </a:moveTo>
                <a:cubicBezTo>
                  <a:pt x="135" y="8"/>
                  <a:pt x="136" y="9"/>
                  <a:pt x="136" y="11"/>
                </a:cubicBezTo>
                <a:cubicBezTo>
                  <a:pt x="136" y="12"/>
                  <a:pt x="135" y="13"/>
                  <a:pt x="133" y="13"/>
                </a:cubicBezTo>
                <a:cubicBezTo>
                  <a:pt x="132" y="13"/>
                  <a:pt x="131" y="12"/>
                  <a:pt x="131" y="11"/>
                </a:cubicBezTo>
                <a:cubicBezTo>
                  <a:pt x="131" y="9"/>
                  <a:pt x="132" y="8"/>
                  <a:pt x="133" y="8"/>
                </a:cubicBezTo>
                <a:close/>
                <a:moveTo>
                  <a:pt x="149" y="8"/>
                </a:moveTo>
                <a:cubicBezTo>
                  <a:pt x="151" y="8"/>
                  <a:pt x="152" y="9"/>
                  <a:pt x="152" y="11"/>
                </a:cubicBezTo>
                <a:cubicBezTo>
                  <a:pt x="152" y="12"/>
                  <a:pt x="151" y="13"/>
                  <a:pt x="149" y="13"/>
                </a:cubicBezTo>
                <a:cubicBezTo>
                  <a:pt x="148" y="13"/>
                  <a:pt x="147" y="12"/>
                  <a:pt x="147" y="11"/>
                </a:cubicBezTo>
                <a:cubicBezTo>
                  <a:pt x="147" y="9"/>
                  <a:pt x="148" y="8"/>
                  <a:pt x="149" y="8"/>
                </a:cubicBezTo>
                <a:close/>
                <a:moveTo>
                  <a:pt x="133" y="24"/>
                </a:moveTo>
                <a:cubicBezTo>
                  <a:pt x="135" y="24"/>
                  <a:pt x="136" y="25"/>
                  <a:pt x="136" y="27"/>
                </a:cubicBezTo>
                <a:cubicBezTo>
                  <a:pt x="136" y="28"/>
                  <a:pt x="135" y="29"/>
                  <a:pt x="133" y="29"/>
                </a:cubicBezTo>
                <a:cubicBezTo>
                  <a:pt x="132" y="29"/>
                  <a:pt x="131" y="28"/>
                  <a:pt x="131" y="27"/>
                </a:cubicBezTo>
                <a:cubicBezTo>
                  <a:pt x="131" y="25"/>
                  <a:pt x="132" y="24"/>
                  <a:pt x="133" y="24"/>
                </a:cubicBezTo>
                <a:close/>
                <a:moveTo>
                  <a:pt x="149" y="24"/>
                </a:moveTo>
                <a:cubicBezTo>
                  <a:pt x="151" y="24"/>
                  <a:pt x="152" y="25"/>
                  <a:pt x="152" y="27"/>
                </a:cubicBezTo>
                <a:cubicBezTo>
                  <a:pt x="152" y="28"/>
                  <a:pt x="151" y="29"/>
                  <a:pt x="149" y="29"/>
                </a:cubicBezTo>
                <a:cubicBezTo>
                  <a:pt x="148" y="29"/>
                  <a:pt x="147" y="28"/>
                  <a:pt x="147" y="27"/>
                </a:cubicBezTo>
                <a:cubicBezTo>
                  <a:pt x="147" y="25"/>
                  <a:pt x="148" y="24"/>
                  <a:pt x="149" y="24"/>
                </a:cubicBezTo>
                <a:close/>
                <a:moveTo>
                  <a:pt x="93" y="64"/>
                </a:moveTo>
                <a:cubicBezTo>
                  <a:pt x="95" y="64"/>
                  <a:pt x="96" y="65"/>
                  <a:pt x="96" y="67"/>
                </a:cubicBezTo>
                <a:cubicBezTo>
                  <a:pt x="96" y="68"/>
                  <a:pt x="95" y="69"/>
                  <a:pt x="93" y="69"/>
                </a:cubicBezTo>
                <a:cubicBezTo>
                  <a:pt x="92" y="69"/>
                  <a:pt x="91" y="68"/>
                  <a:pt x="91" y="67"/>
                </a:cubicBezTo>
                <a:cubicBezTo>
                  <a:pt x="91" y="65"/>
                  <a:pt x="92" y="64"/>
                  <a:pt x="93" y="64"/>
                </a:cubicBezTo>
                <a:close/>
                <a:moveTo>
                  <a:pt x="101" y="72"/>
                </a:moveTo>
                <a:cubicBezTo>
                  <a:pt x="103" y="72"/>
                  <a:pt x="104" y="73"/>
                  <a:pt x="104" y="75"/>
                </a:cubicBezTo>
                <a:cubicBezTo>
                  <a:pt x="104" y="76"/>
                  <a:pt x="103" y="77"/>
                  <a:pt x="101" y="77"/>
                </a:cubicBezTo>
                <a:cubicBezTo>
                  <a:pt x="100" y="77"/>
                  <a:pt x="99" y="76"/>
                  <a:pt x="99" y="75"/>
                </a:cubicBezTo>
                <a:cubicBezTo>
                  <a:pt x="99" y="73"/>
                  <a:pt x="100" y="72"/>
                  <a:pt x="101" y="72"/>
                </a:cubicBezTo>
                <a:close/>
                <a:moveTo>
                  <a:pt x="109" y="64"/>
                </a:moveTo>
                <a:cubicBezTo>
                  <a:pt x="111" y="64"/>
                  <a:pt x="112" y="65"/>
                  <a:pt x="112" y="67"/>
                </a:cubicBezTo>
                <a:cubicBezTo>
                  <a:pt x="112" y="68"/>
                  <a:pt x="111" y="69"/>
                  <a:pt x="109" y="69"/>
                </a:cubicBezTo>
                <a:cubicBezTo>
                  <a:pt x="108" y="69"/>
                  <a:pt x="107" y="68"/>
                  <a:pt x="107" y="67"/>
                </a:cubicBezTo>
                <a:cubicBezTo>
                  <a:pt x="107" y="65"/>
                  <a:pt x="108" y="64"/>
                  <a:pt x="109" y="64"/>
                </a:cubicBezTo>
                <a:close/>
                <a:moveTo>
                  <a:pt x="125" y="64"/>
                </a:moveTo>
                <a:cubicBezTo>
                  <a:pt x="127" y="64"/>
                  <a:pt x="128" y="65"/>
                  <a:pt x="128" y="67"/>
                </a:cubicBezTo>
                <a:cubicBezTo>
                  <a:pt x="128" y="68"/>
                  <a:pt x="127" y="69"/>
                  <a:pt x="125" y="69"/>
                </a:cubicBezTo>
                <a:cubicBezTo>
                  <a:pt x="124" y="69"/>
                  <a:pt x="123" y="68"/>
                  <a:pt x="123" y="67"/>
                </a:cubicBezTo>
                <a:cubicBezTo>
                  <a:pt x="123" y="65"/>
                  <a:pt x="124" y="64"/>
                  <a:pt x="125" y="64"/>
                </a:cubicBezTo>
                <a:close/>
                <a:moveTo>
                  <a:pt x="117" y="72"/>
                </a:moveTo>
                <a:cubicBezTo>
                  <a:pt x="119" y="72"/>
                  <a:pt x="120" y="73"/>
                  <a:pt x="120" y="75"/>
                </a:cubicBezTo>
                <a:cubicBezTo>
                  <a:pt x="120" y="76"/>
                  <a:pt x="119" y="77"/>
                  <a:pt x="117" y="77"/>
                </a:cubicBezTo>
                <a:cubicBezTo>
                  <a:pt x="116" y="77"/>
                  <a:pt x="115" y="76"/>
                  <a:pt x="115" y="75"/>
                </a:cubicBezTo>
                <a:cubicBezTo>
                  <a:pt x="115" y="73"/>
                  <a:pt x="116" y="72"/>
                  <a:pt x="117" y="72"/>
                </a:cubicBezTo>
                <a:close/>
                <a:moveTo>
                  <a:pt x="133" y="72"/>
                </a:moveTo>
                <a:cubicBezTo>
                  <a:pt x="135" y="72"/>
                  <a:pt x="136" y="73"/>
                  <a:pt x="136" y="75"/>
                </a:cubicBezTo>
                <a:cubicBezTo>
                  <a:pt x="136" y="76"/>
                  <a:pt x="135" y="77"/>
                  <a:pt x="133" y="77"/>
                </a:cubicBezTo>
                <a:cubicBezTo>
                  <a:pt x="132" y="77"/>
                  <a:pt x="131" y="76"/>
                  <a:pt x="131" y="75"/>
                </a:cubicBezTo>
                <a:cubicBezTo>
                  <a:pt x="131" y="73"/>
                  <a:pt x="132" y="72"/>
                  <a:pt x="133" y="72"/>
                </a:cubicBezTo>
                <a:close/>
                <a:moveTo>
                  <a:pt x="141" y="64"/>
                </a:moveTo>
                <a:cubicBezTo>
                  <a:pt x="143" y="64"/>
                  <a:pt x="144" y="65"/>
                  <a:pt x="144" y="67"/>
                </a:cubicBezTo>
                <a:cubicBezTo>
                  <a:pt x="144" y="68"/>
                  <a:pt x="143" y="69"/>
                  <a:pt x="141" y="69"/>
                </a:cubicBezTo>
                <a:cubicBezTo>
                  <a:pt x="140" y="69"/>
                  <a:pt x="139" y="68"/>
                  <a:pt x="139" y="67"/>
                </a:cubicBezTo>
                <a:cubicBezTo>
                  <a:pt x="139" y="65"/>
                  <a:pt x="140" y="64"/>
                  <a:pt x="141" y="64"/>
                </a:cubicBezTo>
                <a:close/>
                <a:moveTo>
                  <a:pt x="149" y="72"/>
                </a:moveTo>
                <a:cubicBezTo>
                  <a:pt x="151" y="72"/>
                  <a:pt x="152" y="73"/>
                  <a:pt x="152" y="75"/>
                </a:cubicBezTo>
                <a:cubicBezTo>
                  <a:pt x="152" y="76"/>
                  <a:pt x="151" y="77"/>
                  <a:pt x="149" y="77"/>
                </a:cubicBezTo>
                <a:cubicBezTo>
                  <a:pt x="148" y="77"/>
                  <a:pt x="147" y="76"/>
                  <a:pt x="147" y="75"/>
                </a:cubicBezTo>
                <a:cubicBezTo>
                  <a:pt x="147" y="73"/>
                  <a:pt x="148" y="72"/>
                  <a:pt x="149" y="72"/>
                </a:cubicBezTo>
                <a:close/>
                <a:moveTo>
                  <a:pt x="93" y="32"/>
                </a:moveTo>
                <a:cubicBezTo>
                  <a:pt x="95" y="32"/>
                  <a:pt x="96" y="33"/>
                  <a:pt x="96" y="35"/>
                </a:cubicBezTo>
                <a:cubicBezTo>
                  <a:pt x="96" y="36"/>
                  <a:pt x="95" y="37"/>
                  <a:pt x="93" y="37"/>
                </a:cubicBezTo>
                <a:cubicBezTo>
                  <a:pt x="92" y="37"/>
                  <a:pt x="91" y="36"/>
                  <a:pt x="91" y="35"/>
                </a:cubicBezTo>
                <a:cubicBezTo>
                  <a:pt x="91" y="33"/>
                  <a:pt x="92" y="32"/>
                  <a:pt x="93" y="32"/>
                </a:cubicBezTo>
                <a:close/>
                <a:moveTo>
                  <a:pt x="109" y="32"/>
                </a:moveTo>
                <a:cubicBezTo>
                  <a:pt x="111" y="32"/>
                  <a:pt x="112" y="33"/>
                  <a:pt x="112" y="35"/>
                </a:cubicBezTo>
                <a:cubicBezTo>
                  <a:pt x="112" y="36"/>
                  <a:pt x="111" y="37"/>
                  <a:pt x="109" y="37"/>
                </a:cubicBezTo>
                <a:cubicBezTo>
                  <a:pt x="108" y="37"/>
                  <a:pt x="107" y="36"/>
                  <a:pt x="107" y="35"/>
                </a:cubicBezTo>
                <a:cubicBezTo>
                  <a:pt x="107" y="33"/>
                  <a:pt x="108" y="32"/>
                  <a:pt x="109" y="32"/>
                </a:cubicBezTo>
                <a:close/>
                <a:moveTo>
                  <a:pt x="93" y="48"/>
                </a:moveTo>
                <a:cubicBezTo>
                  <a:pt x="95" y="48"/>
                  <a:pt x="96" y="49"/>
                  <a:pt x="96" y="51"/>
                </a:cubicBezTo>
                <a:cubicBezTo>
                  <a:pt x="96" y="52"/>
                  <a:pt x="95" y="53"/>
                  <a:pt x="93" y="53"/>
                </a:cubicBezTo>
                <a:cubicBezTo>
                  <a:pt x="92" y="53"/>
                  <a:pt x="91" y="52"/>
                  <a:pt x="91" y="51"/>
                </a:cubicBezTo>
                <a:cubicBezTo>
                  <a:pt x="91" y="49"/>
                  <a:pt x="92" y="48"/>
                  <a:pt x="93" y="48"/>
                </a:cubicBezTo>
                <a:close/>
                <a:moveTo>
                  <a:pt x="109" y="48"/>
                </a:moveTo>
                <a:cubicBezTo>
                  <a:pt x="111" y="48"/>
                  <a:pt x="112" y="49"/>
                  <a:pt x="112" y="51"/>
                </a:cubicBezTo>
                <a:cubicBezTo>
                  <a:pt x="112" y="52"/>
                  <a:pt x="111" y="53"/>
                  <a:pt x="109" y="53"/>
                </a:cubicBezTo>
                <a:cubicBezTo>
                  <a:pt x="108" y="53"/>
                  <a:pt x="107" y="52"/>
                  <a:pt x="107" y="51"/>
                </a:cubicBezTo>
                <a:cubicBezTo>
                  <a:pt x="107" y="49"/>
                  <a:pt x="108" y="48"/>
                  <a:pt x="109" y="48"/>
                </a:cubicBezTo>
                <a:close/>
                <a:moveTo>
                  <a:pt x="101" y="40"/>
                </a:moveTo>
                <a:cubicBezTo>
                  <a:pt x="103" y="40"/>
                  <a:pt x="104" y="41"/>
                  <a:pt x="104" y="43"/>
                </a:cubicBezTo>
                <a:cubicBezTo>
                  <a:pt x="104" y="44"/>
                  <a:pt x="103" y="45"/>
                  <a:pt x="101" y="45"/>
                </a:cubicBezTo>
                <a:cubicBezTo>
                  <a:pt x="100" y="45"/>
                  <a:pt x="99" y="44"/>
                  <a:pt x="99" y="43"/>
                </a:cubicBezTo>
                <a:cubicBezTo>
                  <a:pt x="99" y="41"/>
                  <a:pt x="100" y="40"/>
                  <a:pt x="101" y="40"/>
                </a:cubicBezTo>
                <a:close/>
                <a:moveTo>
                  <a:pt x="117" y="40"/>
                </a:moveTo>
                <a:cubicBezTo>
                  <a:pt x="119" y="40"/>
                  <a:pt x="120" y="41"/>
                  <a:pt x="120" y="43"/>
                </a:cubicBezTo>
                <a:cubicBezTo>
                  <a:pt x="120" y="44"/>
                  <a:pt x="119" y="45"/>
                  <a:pt x="117" y="45"/>
                </a:cubicBezTo>
                <a:cubicBezTo>
                  <a:pt x="116" y="45"/>
                  <a:pt x="115" y="44"/>
                  <a:pt x="115" y="43"/>
                </a:cubicBezTo>
                <a:cubicBezTo>
                  <a:pt x="115" y="41"/>
                  <a:pt x="116" y="40"/>
                  <a:pt x="117" y="40"/>
                </a:cubicBezTo>
                <a:close/>
                <a:moveTo>
                  <a:pt x="101" y="56"/>
                </a:moveTo>
                <a:cubicBezTo>
                  <a:pt x="103" y="56"/>
                  <a:pt x="104" y="57"/>
                  <a:pt x="104" y="59"/>
                </a:cubicBezTo>
                <a:cubicBezTo>
                  <a:pt x="104" y="60"/>
                  <a:pt x="103" y="61"/>
                  <a:pt x="101" y="61"/>
                </a:cubicBezTo>
                <a:cubicBezTo>
                  <a:pt x="100" y="61"/>
                  <a:pt x="99" y="60"/>
                  <a:pt x="99" y="59"/>
                </a:cubicBezTo>
                <a:cubicBezTo>
                  <a:pt x="99" y="57"/>
                  <a:pt x="100" y="56"/>
                  <a:pt x="101" y="56"/>
                </a:cubicBezTo>
                <a:close/>
                <a:moveTo>
                  <a:pt x="117" y="56"/>
                </a:moveTo>
                <a:cubicBezTo>
                  <a:pt x="119" y="56"/>
                  <a:pt x="120" y="57"/>
                  <a:pt x="120" y="59"/>
                </a:cubicBezTo>
                <a:cubicBezTo>
                  <a:pt x="120" y="60"/>
                  <a:pt x="119" y="61"/>
                  <a:pt x="117" y="61"/>
                </a:cubicBezTo>
                <a:cubicBezTo>
                  <a:pt x="116" y="61"/>
                  <a:pt x="115" y="60"/>
                  <a:pt x="115" y="59"/>
                </a:cubicBezTo>
                <a:cubicBezTo>
                  <a:pt x="115" y="57"/>
                  <a:pt x="116" y="56"/>
                  <a:pt x="117" y="56"/>
                </a:cubicBezTo>
                <a:close/>
                <a:moveTo>
                  <a:pt x="125" y="32"/>
                </a:moveTo>
                <a:cubicBezTo>
                  <a:pt x="127" y="32"/>
                  <a:pt x="128" y="33"/>
                  <a:pt x="128" y="35"/>
                </a:cubicBezTo>
                <a:cubicBezTo>
                  <a:pt x="128" y="36"/>
                  <a:pt x="127" y="37"/>
                  <a:pt x="125" y="37"/>
                </a:cubicBezTo>
                <a:cubicBezTo>
                  <a:pt x="124" y="37"/>
                  <a:pt x="123" y="36"/>
                  <a:pt x="123" y="35"/>
                </a:cubicBezTo>
                <a:cubicBezTo>
                  <a:pt x="123" y="33"/>
                  <a:pt x="124" y="32"/>
                  <a:pt x="125" y="32"/>
                </a:cubicBezTo>
                <a:close/>
                <a:moveTo>
                  <a:pt x="141" y="32"/>
                </a:moveTo>
                <a:cubicBezTo>
                  <a:pt x="143" y="32"/>
                  <a:pt x="144" y="33"/>
                  <a:pt x="144" y="35"/>
                </a:cubicBezTo>
                <a:cubicBezTo>
                  <a:pt x="144" y="36"/>
                  <a:pt x="143" y="37"/>
                  <a:pt x="141" y="37"/>
                </a:cubicBezTo>
                <a:cubicBezTo>
                  <a:pt x="140" y="37"/>
                  <a:pt x="139" y="36"/>
                  <a:pt x="139" y="35"/>
                </a:cubicBezTo>
                <a:cubicBezTo>
                  <a:pt x="139" y="33"/>
                  <a:pt x="140" y="32"/>
                  <a:pt x="141" y="32"/>
                </a:cubicBezTo>
                <a:close/>
                <a:moveTo>
                  <a:pt x="125" y="48"/>
                </a:moveTo>
                <a:cubicBezTo>
                  <a:pt x="127" y="48"/>
                  <a:pt x="128" y="49"/>
                  <a:pt x="128" y="51"/>
                </a:cubicBezTo>
                <a:cubicBezTo>
                  <a:pt x="128" y="52"/>
                  <a:pt x="127" y="53"/>
                  <a:pt x="125" y="53"/>
                </a:cubicBezTo>
                <a:cubicBezTo>
                  <a:pt x="124" y="53"/>
                  <a:pt x="123" y="52"/>
                  <a:pt x="123" y="51"/>
                </a:cubicBezTo>
                <a:cubicBezTo>
                  <a:pt x="123" y="49"/>
                  <a:pt x="124" y="48"/>
                  <a:pt x="125" y="48"/>
                </a:cubicBezTo>
                <a:close/>
                <a:moveTo>
                  <a:pt x="141" y="48"/>
                </a:moveTo>
                <a:cubicBezTo>
                  <a:pt x="143" y="48"/>
                  <a:pt x="144" y="49"/>
                  <a:pt x="144" y="51"/>
                </a:cubicBezTo>
                <a:cubicBezTo>
                  <a:pt x="144" y="52"/>
                  <a:pt x="143" y="53"/>
                  <a:pt x="141" y="53"/>
                </a:cubicBezTo>
                <a:cubicBezTo>
                  <a:pt x="140" y="53"/>
                  <a:pt x="139" y="52"/>
                  <a:pt x="139" y="51"/>
                </a:cubicBezTo>
                <a:cubicBezTo>
                  <a:pt x="139" y="49"/>
                  <a:pt x="140" y="48"/>
                  <a:pt x="141" y="48"/>
                </a:cubicBezTo>
                <a:close/>
                <a:moveTo>
                  <a:pt x="133" y="40"/>
                </a:moveTo>
                <a:cubicBezTo>
                  <a:pt x="135" y="40"/>
                  <a:pt x="136" y="41"/>
                  <a:pt x="136" y="43"/>
                </a:cubicBezTo>
                <a:cubicBezTo>
                  <a:pt x="136" y="44"/>
                  <a:pt x="135" y="45"/>
                  <a:pt x="133" y="45"/>
                </a:cubicBezTo>
                <a:cubicBezTo>
                  <a:pt x="132" y="45"/>
                  <a:pt x="131" y="44"/>
                  <a:pt x="131" y="43"/>
                </a:cubicBezTo>
                <a:cubicBezTo>
                  <a:pt x="131" y="41"/>
                  <a:pt x="132" y="40"/>
                  <a:pt x="133" y="40"/>
                </a:cubicBezTo>
                <a:close/>
                <a:moveTo>
                  <a:pt x="149" y="40"/>
                </a:moveTo>
                <a:cubicBezTo>
                  <a:pt x="151" y="40"/>
                  <a:pt x="152" y="41"/>
                  <a:pt x="152" y="43"/>
                </a:cubicBezTo>
                <a:cubicBezTo>
                  <a:pt x="152" y="44"/>
                  <a:pt x="151" y="45"/>
                  <a:pt x="149" y="45"/>
                </a:cubicBezTo>
                <a:cubicBezTo>
                  <a:pt x="148" y="45"/>
                  <a:pt x="147" y="44"/>
                  <a:pt x="147" y="43"/>
                </a:cubicBezTo>
                <a:cubicBezTo>
                  <a:pt x="147" y="41"/>
                  <a:pt x="148" y="40"/>
                  <a:pt x="149" y="40"/>
                </a:cubicBezTo>
                <a:close/>
                <a:moveTo>
                  <a:pt x="133" y="56"/>
                </a:moveTo>
                <a:cubicBezTo>
                  <a:pt x="135" y="56"/>
                  <a:pt x="136" y="57"/>
                  <a:pt x="136" y="59"/>
                </a:cubicBezTo>
                <a:cubicBezTo>
                  <a:pt x="136" y="60"/>
                  <a:pt x="135" y="61"/>
                  <a:pt x="133" y="61"/>
                </a:cubicBezTo>
                <a:cubicBezTo>
                  <a:pt x="132" y="61"/>
                  <a:pt x="131" y="60"/>
                  <a:pt x="131" y="59"/>
                </a:cubicBezTo>
                <a:cubicBezTo>
                  <a:pt x="131" y="57"/>
                  <a:pt x="132" y="56"/>
                  <a:pt x="133" y="56"/>
                </a:cubicBezTo>
                <a:close/>
                <a:moveTo>
                  <a:pt x="149" y="56"/>
                </a:moveTo>
                <a:cubicBezTo>
                  <a:pt x="151" y="56"/>
                  <a:pt x="152" y="57"/>
                  <a:pt x="152" y="59"/>
                </a:cubicBezTo>
                <a:cubicBezTo>
                  <a:pt x="152" y="60"/>
                  <a:pt x="151" y="61"/>
                  <a:pt x="149" y="61"/>
                </a:cubicBezTo>
                <a:cubicBezTo>
                  <a:pt x="148" y="61"/>
                  <a:pt x="147" y="60"/>
                  <a:pt x="147" y="59"/>
                </a:cubicBezTo>
                <a:cubicBezTo>
                  <a:pt x="147" y="57"/>
                  <a:pt x="148" y="56"/>
                  <a:pt x="149" y="56"/>
                </a:cubicBezTo>
                <a:close/>
                <a:moveTo>
                  <a:pt x="37" y="35"/>
                </a:moveTo>
                <a:cubicBezTo>
                  <a:pt x="37" y="51"/>
                  <a:pt x="37" y="51"/>
                  <a:pt x="37" y="51"/>
                </a:cubicBezTo>
                <a:cubicBezTo>
                  <a:pt x="37" y="52"/>
                  <a:pt x="36" y="53"/>
                  <a:pt x="35" y="53"/>
                </a:cubicBezTo>
                <a:cubicBezTo>
                  <a:pt x="33" y="53"/>
                  <a:pt x="32" y="52"/>
                  <a:pt x="32" y="51"/>
                </a:cubicBezTo>
                <a:cubicBezTo>
                  <a:pt x="32" y="35"/>
                  <a:pt x="32" y="35"/>
                  <a:pt x="32" y="35"/>
                </a:cubicBezTo>
                <a:cubicBezTo>
                  <a:pt x="32" y="33"/>
                  <a:pt x="33" y="32"/>
                  <a:pt x="35" y="32"/>
                </a:cubicBezTo>
                <a:cubicBezTo>
                  <a:pt x="36" y="32"/>
                  <a:pt x="37" y="33"/>
                  <a:pt x="37" y="35"/>
                </a:cubicBezTo>
                <a:close/>
                <a:moveTo>
                  <a:pt x="45" y="35"/>
                </a:moveTo>
                <a:cubicBezTo>
                  <a:pt x="45" y="51"/>
                  <a:pt x="45" y="51"/>
                  <a:pt x="45" y="51"/>
                </a:cubicBezTo>
                <a:cubicBezTo>
                  <a:pt x="45" y="52"/>
                  <a:pt x="44" y="53"/>
                  <a:pt x="43" y="53"/>
                </a:cubicBezTo>
                <a:cubicBezTo>
                  <a:pt x="41" y="53"/>
                  <a:pt x="40" y="52"/>
                  <a:pt x="40" y="51"/>
                </a:cubicBezTo>
                <a:cubicBezTo>
                  <a:pt x="40" y="35"/>
                  <a:pt x="40" y="35"/>
                  <a:pt x="40" y="35"/>
                </a:cubicBezTo>
                <a:cubicBezTo>
                  <a:pt x="40" y="33"/>
                  <a:pt x="41" y="32"/>
                  <a:pt x="43" y="32"/>
                </a:cubicBezTo>
                <a:cubicBezTo>
                  <a:pt x="44" y="32"/>
                  <a:pt x="45" y="33"/>
                  <a:pt x="45" y="35"/>
                </a:cubicBezTo>
                <a:close/>
                <a:moveTo>
                  <a:pt x="53" y="35"/>
                </a:moveTo>
                <a:cubicBezTo>
                  <a:pt x="53" y="51"/>
                  <a:pt x="53" y="51"/>
                  <a:pt x="53" y="51"/>
                </a:cubicBezTo>
                <a:cubicBezTo>
                  <a:pt x="53" y="52"/>
                  <a:pt x="52" y="53"/>
                  <a:pt x="51" y="53"/>
                </a:cubicBezTo>
                <a:cubicBezTo>
                  <a:pt x="49" y="53"/>
                  <a:pt x="48" y="52"/>
                  <a:pt x="48" y="51"/>
                </a:cubicBezTo>
                <a:cubicBezTo>
                  <a:pt x="48" y="35"/>
                  <a:pt x="48" y="35"/>
                  <a:pt x="48" y="35"/>
                </a:cubicBezTo>
                <a:cubicBezTo>
                  <a:pt x="48" y="33"/>
                  <a:pt x="49" y="32"/>
                  <a:pt x="51" y="32"/>
                </a:cubicBezTo>
                <a:cubicBezTo>
                  <a:pt x="52" y="32"/>
                  <a:pt x="53" y="33"/>
                  <a:pt x="53"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33">
            <a:extLst>
              <a:ext uri="{FF2B5EF4-FFF2-40B4-BE49-F238E27FC236}">
                <a16:creationId xmlns:a16="http://schemas.microsoft.com/office/drawing/2014/main" id="{7307C969-BCF2-2F4E-9A39-B91C9D827E33}"/>
              </a:ext>
            </a:extLst>
          </p:cNvPr>
          <p:cNvSpPr>
            <a:spLocks noEditPoints="1"/>
          </p:cNvSpPr>
          <p:nvPr/>
        </p:nvSpPr>
        <p:spPr bwMode="auto">
          <a:xfrm>
            <a:off x="3741429" y="1217613"/>
            <a:ext cx="600075" cy="320675"/>
          </a:xfrm>
          <a:custGeom>
            <a:avLst/>
            <a:gdLst>
              <a:gd name="T0" fmla="*/ 0 w 160"/>
              <a:gd name="T1" fmla="*/ 11 h 85"/>
              <a:gd name="T2" fmla="*/ 149 w 160"/>
              <a:gd name="T3" fmla="*/ 85 h 85"/>
              <a:gd name="T4" fmla="*/ 5 w 160"/>
              <a:gd name="T5" fmla="*/ 75 h 85"/>
              <a:gd name="T6" fmla="*/ 75 w 160"/>
              <a:gd name="T7" fmla="*/ 11 h 85"/>
              <a:gd name="T8" fmla="*/ 5 w 160"/>
              <a:gd name="T9" fmla="*/ 75 h 85"/>
              <a:gd name="T10" fmla="*/ 80 w 160"/>
              <a:gd name="T11" fmla="*/ 75 h 85"/>
              <a:gd name="T12" fmla="*/ 155 w 160"/>
              <a:gd name="T13" fmla="*/ 11 h 85"/>
              <a:gd name="T14" fmla="*/ 67 w 160"/>
              <a:gd name="T15" fmla="*/ 69 h 85"/>
              <a:gd name="T16" fmla="*/ 53 w 160"/>
              <a:gd name="T17" fmla="*/ 67 h 85"/>
              <a:gd name="T18" fmla="*/ 59 w 160"/>
              <a:gd name="T19" fmla="*/ 72 h 85"/>
              <a:gd name="T20" fmla="*/ 59 w 160"/>
              <a:gd name="T21" fmla="*/ 72 h 85"/>
              <a:gd name="T22" fmla="*/ 40 w 160"/>
              <a:gd name="T23" fmla="*/ 75 h 85"/>
              <a:gd name="T24" fmla="*/ 59 w 160"/>
              <a:gd name="T25" fmla="*/ 61 h 85"/>
              <a:gd name="T26" fmla="*/ 45 w 160"/>
              <a:gd name="T27" fmla="*/ 59 h 85"/>
              <a:gd name="T28" fmla="*/ 35 w 160"/>
              <a:gd name="T29" fmla="*/ 64 h 85"/>
              <a:gd name="T30" fmla="*/ 35 w 160"/>
              <a:gd name="T31" fmla="*/ 64 h 85"/>
              <a:gd name="T32" fmla="*/ 16 w 160"/>
              <a:gd name="T33" fmla="*/ 67 h 85"/>
              <a:gd name="T34" fmla="*/ 27 w 160"/>
              <a:gd name="T35" fmla="*/ 77 h 85"/>
              <a:gd name="T36" fmla="*/ 13 w 160"/>
              <a:gd name="T37" fmla="*/ 75 h 85"/>
              <a:gd name="T38" fmla="*/ 27 w 160"/>
              <a:gd name="T39" fmla="*/ 56 h 85"/>
              <a:gd name="T40" fmla="*/ 27 w 160"/>
              <a:gd name="T41" fmla="*/ 56 h 85"/>
              <a:gd name="T42" fmla="*/ 8 w 160"/>
              <a:gd name="T43" fmla="*/ 59 h 85"/>
              <a:gd name="T44" fmla="*/ 67 w 160"/>
              <a:gd name="T45" fmla="*/ 21 h 85"/>
              <a:gd name="T46" fmla="*/ 61 w 160"/>
              <a:gd name="T47" fmla="*/ 11 h 85"/>
              <a:gd name="T48" fmla="*/ 51 w 160"/>
              <a:gd name="T49" fmla="*/ 16 h 85"/>
              <a:gd name="T50" fmla="*/ 51 w 160"/>
              <a:gd name="T51" fmla="*/ 16 h 85"/>
              <a:gd name="T52" fmla="*/ 32 w 160"/>
              <a:gd name="T53" fmla="*/ 19 h 85"/>
              <a:gd name="T54" fmla="*/ 43 w 160"/>
              <a:gd name="T55" fmla="*/ 13 h 85"/>
              <a:gd name="T56" fmla="*/ 29 w 160"/>
              <a:gd name="T57" fmla="*/ 11 h 85"/>
              <a:gd name="T58" fmla="*/ 19 w 160"/>
              <a:gd name="T59" fmla="*/ 16 h 85"/>
              <a:gd name="T60" fmla="*/ 19 w 160"/>
              <a:gd name="T61" fmla="*/ 16 h 85"/>
              <a:gd name="T62" fmla="*/ 8 w 160"/>
              <a:gd name="T63" fmla="*/ 11 h 85"/>
              <a:gd name="T64" fmla="*/ 67 w 160"/>
              <a:gd name="T65" fmla="*/ 53 h 85"/>
              <a:gd name="T66" fmla="*/ 53 w 160"/>
              <a:gd name="T67" fmla="*/ 51 h 85"/>
              <a:gd name="T68" fmla="*/ 67 w 160"/>
              <a:gd name="T69" fmla="*/ 32 h 85"/>
              <a:gd name="T70" fmla="*/ 67 w 160"/>
              <a:gd name="T71" fmla="*/ 32 h 85"/>
              <a:gd name="T72" fmla="*/ 48 w 160"/>
              <a:gd name="T73" fmla="*/ 35 h 85"/>
              <a:gd name="T74" fmla="*/ 59 w 160"/>
              <a:gd name="T75" fmla="*/ 45 h 85"/>
              <a:gd name="T76" fmla="*/ 45 w 160"/>
              <a:gd name="T77" fmla="*/ 43 h 85"/>
              <a:gd name="T78" fmla="*/ 59 w 160"/>
              <a:gd name="T79" fmla="*/ 24 h 85"/>
              <a:gd name="T80" fmla="*/ 59 w 160"/>
              <a:gd name="T81" fmla="*/ 24 h 85"/>
              <a:gd name="T82" fmla="*/ 40 w 160"/>
              <a:gd name="T83" fmla="*/ 27 h 85"/>
              <a:gd name="T84" fmla="*/ 35 w 160"/>
              <a:gd name="T85" fmla="*/ 53 h 85"/>
              <a:gd name="T86" fmla="*/ 21 w 160"/>
              <a:gd name="T87" fmla="*/ 51 h 85"/>
              <a:gd name="T88" fmla="*/ 35 w 160"/>
              <a:gd name="T89" fmla="*/ 32 h 85"/>
              <a:gd name="T90" fmla="*/ 35 w 160"/>
              <a:gd name="T91" fmla="*/ 32 h 85"/>
              <a:gd name="T92" fmla="*/ 16 w 160"/>
              <a:gd name="T93" fmla="*/ 35 h 85"/>
              <a:gd name="T94" fmla="*/ 27 w 160"/>
              <a:gd name="T95" fmla="*/ 45 h 85"/>
              <a:gd name="T96" fmla="*/ 13 w 160"/>
              <a:gd name="T97" fmla="*/ 43 h 85"/>
              <a:gd name="T98" fmla="*/ 27 w 160"/>
              <a:gd name="T99" fmla="*/ 24 h 85"/>
              <a:gd name="T100" fmla="*/ 27 w 160"/>
              <a:gd name="T101" fmla="*/ 24 h 85"/>
              <a:gd name="T102" fmla="*/ 8 w 160"/>
              <a:gd name="T103" fmla="*/ 27 h 85"/>
              <a:gd name="T104" fmla="*/ 125 w 160"/>
              <a:gd name="T105" fmla="*/ 53 h 85"/>
              <a:gd name="T106" fmla="*/ 128 w 160"/>
              <a:gd name="T107" fmla="*/ 35 h 85"/>
              <a:gd name="T108" fmla="*/ 115 w 160"/>
              <a:gd name="T109" fmla="*/ 51 h 85"/>
              <a:gd name="T110" fmla="*/ 112 w 160"/>
              <a:gd name="T111" fmla="*/ 35 h 85"/>
              <a:gd name="T112" fmla="*/ 107 w 160"/>
              <a:gd name="T11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85">
                <a:moveTo>
                  <a:pt x="149" y="0"/>
                </a:moveTo>
                <a:cubicBezTo>
                  <a:pt x="85" y="0"/>
                  <a:pt x="85" y="0"/>
                  <a:pt x="85" y="0"/>
                </a:cubicBezTo>
                <a:cubicBezTo>
                  <a:pt x="11" y="0"/>
                  <a:pt x="11" y="0"/>
                  <a:pt x="11" y="0"/>
                </a:cubicBezTo>
                <a:cubicBezTo>
                  <a:pt x="5" y="0"/>
                  <a:pt x="0" y="5"/>
                  <a:pt x="0" y="11"/>
                </a:cubicBezTo>
                <a:cubicBezTo>
                  <a:pt x="0" y="75"/>
                  <a:pt x="0" y="75"/>
                  <a:pt x="0" y="75"/>
                </a:cubicBezTo>
                <a:cubicBezTo>
                  <a:pt x="0" y="81"/>
                  <a:pt x="5" y="85"/>
                  <a:pt x="11" y="85"/>
                </a:cubicBezTo>
                <a:cubicBezTo>
                  <a:pt x="85" y="85"/>
                  <a:pt x="85" y="85"/>
                  <a:pt x="85" y="85"/>
                </a:cubicBezTo>
                <a:cubicBezTo>
                  <a:pt x="149" y="85"/>
                  <a:pt x="149" y="85"/>
                  <a:pt x="149" y="85"/>
                </a:cubicBezTo>
                <a:cubicBezTo>
                  <a:pt x="155" y="85"/>
                  <a:pt x="160" y="81"/>
                  <a:pt x="160" y="75"/>
                </a:cubicBezTo>
                <a:cubicBezTo>
                  <a:pt x="160" y="11"/>
                  <a:pt x="160" y="11"/>
                  <a:pt x="160" y="11"/>
                </a:cubicBezTo>
                <a:cubicBezTo>
                  <a:pt x="160" y="5"/>
                  <a:pt x="155" y="0"/>
                  <a:pt x="149" y="0"/>
                </a:cubicBezTo>
                <a:close/>
                <a:moveTo>
                  <a:pt x="5" y="75"/>
                </a:moveTo>
                <a:cubicBezTo>
                  <a:pt x="5" y="11"/>
                  <a:pt x="5" y="11"/>
                  <a:pt x="5" y="11"/>
                </a:cubicBezTo>
                <a:cubicBezTo>
                  <a:pt x="5" y="8"/>
                  <a:pt x="8" y="5"/>
                  <a:pt x="11" y="5"/>
                </a:cubicBezTo>
                <a:cubicBezTo>
                  <a:pt x="76" y="5"/>
                  <a:pt x="76" y="5"/>
                  <a:pt x="76" y="5"/>
                </a:cubicBezTo>
                <a:cubicBezTo>
                  <a:pt x="75" y="7"/>
                  <a:pt x="75" y="9"/>
                  <a:pt x="75" y="11"/>
                </a:cubicBezTo>
                <a:cubicBezTo>
                  <a:pt x="75" y="75"/>
                  <a:pt x="75" y="75"/>
                  <a:pt x="75" y="75"/>
                </a:cubicBezTo>
                <a:cubicBezTo>
                  <a:pt x="75" y="77"/>
                  <a:pt x="75" y="78"/>
                  <a:pt x="76" y="80"/>
                </a:cubicBezTo>
                <a:cubicBezTo>
                  <a:pt x="11" y="80"/>
                  <a:pt x="11" y="80"/>
                  <a:pt x="11" y="80"/>
                </a:cubicBezTo>
                <a:cubicBezTo>
                  <a:pt x="8" y="80"/>
                  <a:pt x="5" y="78"/>
                  <a:pt x="5" y="75"/>
                </a:cubicBezTo>
                <a:close/>
                <a:moveTo>
                  <a:pt x="155" y="75"/>
                </a:moveTo>
                <a:cubicBezTo>
                  <a:pt x="155" y="78"/>
                  <a:pt x="152" y="80"/>
                  <a:pt x="149" y="80"/>
                </a:cubicBezTo>
                <a:cubicBezTo>
                  <a:pt x="85" y="80"/>
                  <a:pt x="85" y="80"/>
                  <a:pt x="85" y="80"/>
                </a:cubicBezTo>
                <a:cubicBezTo>
                  <a:pt x="82" y="80"/>
                  <a:pt x="80" y="78"/>
                  <a:pt x="80" y="75"/>
                </a:cubicBezTo>
                <a:cubicBezTo>
                  <a:pt x="80" y="11"/>
                  <a:pt x="80" y="11"/>
                  <a:pt x="80" y="11"/>
                </a:cubicBezTo>
                <a:cubicBezTo>
                  <a:pt x="80" y="8"/>
                  <a:pt x="82" y="5"/>
                  <a:pt x="85" y="5"/>
                </a:cubicBezTo>
                <a:cubicBezTo>
                  <a:pt x="149" y="5"/>
                  <a:pt x="149" y="5"/>
                  <a:pt x="149" y="5"/>
                </a:cubicBezTo>
                <a:cubicBezTo>
                  <a:pt x="152" y="5"/>
                  <a:pt x="155" y="8"/>
                  <a:pt x="155" y="11"/>
                </a:cubicBezTo>
                <a:lnTo>
                  <a:pt x="155" y="75"/>
                </a:lnTo>
                <a:close/>
                <a:moveTo>
                  <a:pt x="67" y="64"/>
                </a:moveTo>
                <a:cubicBezTo>
                  <a:pt x="68" y="64"/>
                  <a:pt x="69" y="65"/>
                  <a:pt x="69" y="67"/>
                </a:cubicBezTo>
                <a:cubicBezTo>
                  <a:pt x="69" y="68"/>
                  <a:pt x="68" y="69"/>
                  <a:pt x="67" y="69"/>
                </a:cubicBezTo>
                <a:cubicBezTo>
                  <a:pt x="65" y="69"/>
                  <a:pt x="64" y="68"/>
                  <a:pt x="64" y="67"/>
                </a:cubicBezTo>
                <a:cubicBezTo>
                  <a:pt x="64" y="65"/>
                  <a:pt x="65" y="64"/>
                  <a:pt x="67" y="64"/>
                </a:cubicBezTo>
                <a:close/>
                <a:moveTo>
                  <a:pt x="51" y="64"/>
                </a:moveTo>
                <a:cubicBezTo>
                  <a:pt x="52" y="64"/>
                  <a:pt x="53" y="65"/>
                  <a:pt x="53" y="67"/>
                </a:cubicBezTo>
                <a:cubicBezTo>
                  <a:pt x="53" y="68"/>
                  <a:pt x="52" y="69"/>
                  <a:pt x="51" y="69"/>
                </a:cubicBezTo>
                <a:cubicBezTo>
                  <a:pt x="49" y="69"/>
                  <a:pt x="48" y="68"/>
                  <a:pt x="48" y="67"/>
                </a:cubicBezTo>
                <a:cubicBezTo>
                  <a:pt x="48" y="65"/>
                  <a:pt x="49" y="64"/>
                  <a:pt x="51" y="64"/>
                </a:cubicBezTo>
                <a:close/>
                <a:moveTo>
                  <a:pt x="59" y="72"/>
                </a:moveTo>
                <a:cubicBezTo>
                  <a:pt x="60" y="72"/>
                  <a:pt x="61" y="73"/>
                  <a:pt x="61" y="75"/>
                </a:cubicBezTo>
                <a:cubicBezTo>
                  <a:pt x="61" y="76"/>
                  <a:pt x="60" y="77"/>
                  <a:pt x="59" y="77"/>
                </a:cubicBezTo>
                <a:cubicBezTo>
                  <a:pt x="57" y="77"/>
                  <a:pt x="56" y="76"/>
                  <a:pt x="56" y="75"/>
                </a:cubicBezTo>
                <a:cubicBezTo>
                  <a:pt x="56" y="73"/>
                  <a:pt x="57" y="72"/>
                  <a:pt x="59" y="72"/>
                </a:cubicBezTo>
                <a:close/>
                <a:moveTo>
                  <a:pt x="43" y="72"/>
                </a:moveTo>
                <a:cubicBezTo>
                  <a:pt x="44" y="72"/>
                  <a:pt x="45" y="73"/>
                  <a:pt x="45" y="75"/>
                </a:cubicBezTo>
                <a:cubicBezTo>
                  <a:pt x="45" y="76"/>
                  <a:pt x="44" y="77"/>
                  <a:pt x="43" y="77"/>
                </a:cubicBezTo>
                <a:cubicBezTo>
                  <a:pt x="41" y="77"/>
                  <a:pt x="40" y="76"/>
                  <a:pt x="40" y="75"/>
                </a:cubicBezTo>
                <a:cubicBezTo>
                  <a:pt x="40" y="73"/>
                  <a:pt x="41" y="72"/>
                  <a:pt x="43" y="72"/>
                </a:cubicBezTo>
                <a:close/>
                <a:moveTo>
                  <a:pt x="59" y="56"/>
                </a:moveTo>
                <a:cubicBezTo>
                  <a:pt x="60" y="56"/>
                  <a:pt x="61" y="57"/>
                  <a:pt x="61" y="59"/>
                </a:cubicBezTo>
                <a:cubicBezTo>
                  <a:pt x="61" y="60"/>
                  <a:pt x="60" y="61"/>
                  <a:pt x="59" y="61"/>
                </a:cubicBezTo>
                <a:cubicBezTo>
                  <a:pt x="57" y="61"/>
                  <a:pt x="56" y="60"/>
                  <a:pt x="56" y="59"/>
                </a:cubicBezTo>
                <a:cubicBezTo>
                  <a:pt x="56" y="57"/>
                  <a:pt x="57" y="56"/>
                  <a:pt x="59" y="56"/>
                </a:cubicBezTo>
                <a:close/>
                <a:moveTo>
                  <a:pt x="43" y="56"/>
                </a:moveTo>
                <a:cubicBezTo>
                  <a:pt x="44" y="56"/>
                  <a:pt x="45" y="57"/>
                  <a:pt x="45" y="59"/>
                </a:cubicBezTo>
                <a:cubicBezTo>
                  <a:pt x="45" y="60"/>
                  <a:pt x="44" y="61"/>
                  <a:pt x="43" y="61"/>
                </a:cubicBezTo>
                <a:cubicBezTo>
                  <a:pt x="41" y="61"/>
                  <a:pt x="40" y="60"/>
                  <a:pt x="40" y="59"/>
                </a:cubicBezTo>
                <a:cubicBezTo>
                  <a:pt x="40" y="57"/>
                  <a:pt x="41" y="56"/>
                  <a:pt x="43" y="56"/>
                </a:cubicBezTo>
                <a:close/>
                <a:moveTo>
                  <a:pt x="35" y="64"/>
                </a:moveTo>
                <a:cubicBezTo>
                  <a:pt x="36" y="64"/>
                  <a:pt x="37" y="65"/>
                  <a:pt x="37" y="67"/>
                </a:cubicBezTo>
                <a:cubicBezTo>
                  <a:pt x="37" y="68"/>
                  <a:pt x="36" y="69"/>
                  <a:pt x="35" y="69"/>
                </a:cubicBezTo>
                <a:cubicBezTo>
                  <a:pt x="33" y="69"/>
                  <a:pt x="32" y="68"/>
                  <a:pt x="32" y="67"/>
                </a:cubicBezTo>
                <a:cubicBezTo>
                  <a:pt x="32" y="65"/>
                  <a:pt x="33" y="64"/>
                  <a:pt x="35" y="64"/>
                </a:cubicBezTo>
                <a:close/>
                <a:moveTo>
                  <a:pt x="19" y="64"/>
                </a:moveTo>
                <a:cubicBezTo>
                  <a:pt x="20" y="64"/>
                  <a:pt x="21" y="65"/>
                  <a:pt x="21" y="67"/>
                </a:cubicBezTo>
                <a:cubicBezTo>
                  <a:pt x="21" y="68"/>
                  <a:pt x="20" y="69"/>
                  <a:pt x="19" y="69"/>
                </a:cubicBezTo>
                <a:cubicBezTo>
                  <a:pt x="17" y="69"/>
                  <a:pt x="16" y="68"/>
                  <a:pt x="16" y="67"/>
                </a:cubicBezTo>
                <a:cubicBezTo>
                  <a:pt x="16" y="65"/>
                  <a:pt x="17" y="64"/>
                  <a:pt x="19" y="64"/>
                </a:cubicBezTo>
                <a:close/>
                <a:moveTo>
                  <a:pt x="27" y="72"/>
                </a:moveTo>
                <a:cubicBezTo>
                  <a:pt x="28" y="72"/>
                  <a:pt x="29" y="73"/>
                  <a:pt x="29" y="75"/>
                </a:cubicBezTo>
                <a:cubicBezTo>
                  <a:pt x="29" y="76"/>
                  <a:pt x="28" y="77"/>
                  <a:pt x="27" y="77"/>
                </a:cubicBezTo>
                <a:cubicBezTo>
                  <a:pt x="25" y="77"/>
                  <a:pt x="24" y="76"/>
                  <a:pt x="24" y="75"/>
                </a:cubicBezTo>
                <a:cubicBezTo>
                  <a:pt x="24" y="73"/>
                  <a:pt x="25" y="72"/>
                  <a:pt x="27" y="72"/>
                </a:cubicBezTo>
                <a:close/>
                <a:moveTo>
                  <a:pt x="11" y="72"/>
                </a:moveTo>
                <a:cubicBezTo>
                  <a:pt x="12" y="72"/>
                  <a:pt x="13" y="73"/>
                  <a:pt x="13" y="75"/>
                </a:cubicBezTo>
                <a:cubicBezTo>
                  <a:pt x="13" y="76"/>
                  <a:pt x="12" y="77"/>
                  <a:pt x="11" y="77"/>
                </a:cubicBezTo>
                <a:cubicBezTo>
                  <a:pt x="9" y="77"/>
                  <a:pt x="8" y="76"/>
                  <a:pt x="8" y="75"/>
                </a:cubicBezTo>
                <a:cubicBezTo>
                  <a:pt x="8" y="73"/>
                  <a:pt x="9" y="72"/>
                  <a:pt x="11" y="72"/>
                </a:cubicBezTo>
                <a:close/>
                <a:moveTo>
                  <a:pt x="27" y="56"/>
                </a:moveTo>
                <a:cubicBezTo>
                  <a:pt x="28" y="56"/>
                  <a:pt x="29" y="57"/>
                  <a:pt x="29" y="59"/>
                </a:cubicBezTo>
                <a:cubicBezTo>
                  <a:pt x="29" y="60"/>
                  <a:pt x="28" y="61"/>
                  <a:pt x="27" y="61"/>
                </a:cubicBezTo>
                <a:cubicBezTo>
                  <a:pt x="25" y="61"/>
                  <a:pt x="24" y="60"/>
                  <a:pt x="24" y="59"/>
                </a:cubicBezTo>
                <a:cubicBezTo>
                  <a:pt x="24" y="57"/>
                  <a:pt x="25" y="56"/>
                  <a:pt x="27" y="56"/>
                </a:cubicBezTo>
                <a:close/>
                <a:moveTo>
                  <a:pt x="11" y="56"/>
                </a:moveTo>
                <a:cubicBezTo>
                  <a:pt x="12" y="56"/>
                  <a:pt x="13" y="57"/>
                  <a:pt x="13" y="59"/>
                </a:cubicBezTo>
                <a:cubicBezTo>
                  <a:pt x="13" y="60"/>
                  <a:pt x="12" y="61"/>
                  <a:pt x="11" y="61"/>
                </a:cubicBezTo>
                <a:cubicBezTo>
                  <a:pt x="9" y="61"/>
                  <a:pt x="8" y="60"/>
                  <a:pt x="8" y="59"/>
                </a:cubicBezTo>
                <a:cubicBezTo>
                  <a:pt x="8" y="57"/>
                  <a:pt x="9" y="56"/>
                  <a:pt x="11" y="56"/>
                </a:cubicBezTo>
                <a:close/>
                <a:moveTo>
                  <a:pt x="67" y="16"/>
                </a:moveTo>
                <a:cubicBezTo>
                  <a:pt x="68" y="16"/>
                  <a:pt x="69" y="17"/>
                  <a:pt x="69" y="19"/>
                </a:cubicBezTo>
                <a:cubicBezTo>
                  <a:pt x="69" y="20"/>
                  <a:pt x="68" y="21"/>
                  <a:pt x="67" y="21"/>
                </a:cubicBezTo>
                <a:cubicBezTo>
                  <a:pt x="65" y="21"/>
                  <a:pt x="64" y="20"/>
                  <a:pt x="64" y="19"/>
                </a:cubicBezTo>
                <a:cubicBezTo>
                  <a:pt x="64" y="17"/>
                  <a:pt x="65" y="16"/>
                  <a:pt x="67" y="16"/>
                </a:cubicBezTo>
                <a:close/>
                <a:moveTo>
                  <a:pt x="59" y="8"/>
                </a:moveTo>
                <a:cubicBezTo>
                  <a:pt x="60" y="8"/>
                  <a:pt x="61" y="9"/>
                  <a:pt x="61" y="11"/>
                </a:cubicBezTo>
                <a:cubicBezTo>
                  <a:pt x="61" y="12"/>
                  <a:pt x="60" y="13"/>
                  <a:pt x="59" y="13"/>
                </a:cubicBezTo>
                <a:cubicBezTo>
                  <a:pt x="57" y="13"/>
                  <a:pt x="56" y="12"/>
                  <a:pt x="56" y="11"/>
                </a:cubicBezTo>
                <a:cubicBezTo>
                  <a:pt x="56" y="9"/>
                  <a:pt x="57" y="8"/>
                  <a:pt x="59" y="8"/>
                </a:cubicBezTo>
                <a:close/>
                <a:moveTo>
                  <a:pt x="51" y="16"/>
                </a:moveTo>
                <a:cubicBezTo>
                  <a:pt x="52" y="16"/>
                  <a:pt x="53" y="17"/>
                  <a:pt x="53" y="19"/>
                </a:cubicBezTo>
                <a:cubicBezTo>
                  <a:pt x="53" y="20"/>
                  <a:pt x="52" y="21"/>
                  <a:pt x="51" y="21"/>
                </a:cubicBezTo>
                <a:cubicBezTo>
                  <a:pt x="49" y="21"/>
                  <a:pt x="48" y="20"/>
                  <a:pt x="48" y="19"/>
                </a:cubicBezTo>
                <a:cubicBezTo>
                  <a:pt x="48" y="17"/>
                  <a:pt x="49" y="16"/>
                  <a:pt x="51" y="16"/>
                </a:cubicBezTo>
                <a:close/>
                <a:moveTo>
                  <a:pt x="35" y="16"/>
                </a:moveTo>
                <a:cubicBezTo>
                  <a:pt x="36" y="16"/>
                  <a:pt x="37" y="17"/>
                  <a:pt x="37" y="19"/>
                </a:cubicBezTo>
                <a:cubicBezTo>
                  <a:pt x="37" y="20"/>
                  <a:pt x="36" y="21"/>
                  <a:pt x="35" y="21"/>
                </a:cubicBezTo>
                <a:cubicBezTo>
                  <a:pt x="33" y="21"/>
                  <a:pt x="32" y="20"/>
                  <a:pt x="32" y="19"/>
                </a:cubicBezTo>
                <a:cubicBezTo>
                  <a:pt x="32" y="17"/>
                  <a:pt x="33" y="16"/>
                  <a:pt x="35" y="16"/>
                </a:cubicBezTo>
                <a:close/>
                <a:moveTo>
                  <a:pt x="43" y="8"/>
                </a:moveTo>
                <a:cubicBezTo>
                  <a:pt x="44" y="8"/>
                  <a:pt x="45" y="9"/>
                  <a:pt x="45" y="11"/>
                </a:cubicBezTo>
                <a:cubicBezTo>
                  <a:pt x="45" y="12"/>
                  <a:pt x="44" y="13"/>
                  <a:pt x="43" y="13"/>
                </a:cubicBezTo>
                <a:cubicBezTo>
                  <a:pt x="41" y="13"/>
                  <a:pt x="40" y="12"/>
                  <a:pt x="40" y="11"/>
                </a:cubicBezTo>
                <a:cubicBezTo>
                  <a:pt x="40" y="9"/>
                  <a:pt x="41" y="8"/>
                  <a:pt x="43" y="8"/>
                </a:cubicBezTo>
                <a:close/>
                <a:moveTo>
                  <a:pt x="27" y="8"/>
                </a:moveTo>
                <a:cubicBezTo>
                  <a:pt x="28" y="8"/>
                  <a:pt x="29" y="9"/>
                  <a:pt x="29" y="11"/>
                </a:cubicBezTo>
                <a:cubicBezTo>
                  <a:pt x="29" y="12"/>
                  <a:pt x="28" y="13"/>
                  <a:pt x="27" y="13"/>
                </a:cubicBezTo>
                <a:cubicBezTo>
                  <a:pt x="25" y="13"/>
                  <a:pt x="24" y="12"/>
                  <a:pt x="24" y="11"/>
                </a:cubicBezTo>
                <a:cubicBezTo>
                  <a:pt x="24" y="9"/>
                  <a:pt x="25" y="8"/>
                  <a:pt x="27" y="8"/>
                </a:cubicBezTo>
                <a:close/>
                <a:moveTo>
                  <a:pt x="19" y="16"/>
                </a:moveTo>
                <a:cubicBezTo>
                  <a:pt x="20" y="16"/>
                  <a:pt x="21" y="17"/>
                  <a:pt x="21" y="19"/>
                </a:cubicBezTo>
                <a:cubicBezTo>
                  <a:pt x="21" y="20"/>
                  <a:pt x="20" y="21"/>
                  <a:pt x="19" y="21"/>
                </a:cubicBezTo>
                <a:cubicBezTo>
                  <a:pt x="17" y="21"/>
                  <a:pt x="16" y="20"/>
                  <a:pt x="16" y="19"/>
                </a:cubicBezTo>
                <a:cubicBezTo>
                  <a:pt x="16" y="17"/>
                  <a:pt x="17" y="16"/>
                  <a:pt x="19" y="16"/>
                </a:cubicBezTo>
                <a:close/>
                <a:moveTo>
                  <a:pt x="11" y="8"/>
                </a:moveTo>
                <a:cubicBezTo>
                  <a:pt x="12" y="8"/>
                  <a:pt x="13" y="9"/>
                  <a:pt x="13" y="11"/>
                </a:cubicBezTo>
                <a:cubicBezTo>
                  <a:pt x="13" y="12"/>
                  <a:pt x="12" y="13"/>
                  <a:pt x="11" y="13"/>
                </a:cubicBezTo>
                <a:cubicBezTo>
                  <a:pt x="9" y="13"/>
                  <a:pt x="8" y="12"/>
                  <a:pt x="8" y="11"/>
                </a:cubicBezTo>
                <a:cubicBezTo>
                  <a:pt x="8" y="9"/>
                  <a:pt x="9" y="8"/>
                  <a:pt x="11" y="8"/>
                </a:cubicBezTo>
                <a:close/>
                <a:moveTo>
                  <a:pt x="67" y="48"/>
                </a:moveTo>
                <a:cubicBezTo>
                  <a:pt x="68" y="48"/>
                  <a:pt x="69" y="49"/>
                  <a:pt x="69" y="51"/>
                </a:cubicBezTo>
                <a:cubicBezTo>
                  <a:pt x="69" y="52"/>
                  <a:pt x="68" y="53"/>
                  <a:pt x="67" y="53"/>
                </a:cubicBezTo>
                <a:cubicBezTo>
                  <a:pt x="65" y="53"/>
                  <a:pt x="64" y="52"/>
                  <a:pt x="64" y="51"/>
                </a:cubicBezTo>
                <a:cubicBezTo>
                  <a:pt x="64" y="49"/>
                  <a:pt x="65" y="48"/>
                  <a:pt x="67" y="48"/>
                </a:cubicBezTo>
                <a:close/>
                <a:moveTo>
                  <a:pt x="51" y="48"/>
                </a:moveTo>
                <a:cubicBezTo>
                  <a:pt x="52" y="48"/>
                  <a:pt x="53" y="49"/>
                  <a:pt x="53" y="51"/>
                </a:cubicBezTo>
                <a:cubicBezTo>
                  <a:pt x="53" y="52"/>
                  <a:pt x="52" y="53"/>
                  <a:pt x="51" y="53"/>
                </a:cubicBezTo>
                <a:cubicBezTo>
                  <a:pt x="49" y="53"/>
                  <a:pt x="48" y="52"/>
                  <a:pt x="48" y="51"/>
                </a:cubicBezTo>
                <a:cubicBezTo>
                  <a:pt x="48" y="49"/>
                  <a:pt x="49" y="48"/>
                  <a:pt x="51" y="48"/>
                </a:cubicBezTo>
                <a:close/>
                <a:moveTo>
                  <a:pt x="67" y="32"/>
                </a:moveTo>
                <a:cubicBezTo>
                  <a:pt x="68" y="32"/>
                  <a:pt x="69" y="33"/>
                  <a:pt x="69" y="35"/>
                </a:cubicBezTo>
                <a:cubicBezTo>
                  <a:pt x="69" y="36"/>
                  <a:pt x="68" y="37"/>
                  <a:pt x="67" y="37"/>
                </a:cubicBezTo>
                <a:cubicBezTo>
                  <a:pt x="65" y="37"/>
                  <a:pt x="64" y="36"/>
                  <a:pt x="64" y="35"/>
                </a:cubicBezTo>
                <a:cubicBezTo>
                  <a:pt x="64" y="33"/>
                  <a:pt x="65" y="32"/>
                  <a:pt x="67" y="32"/>
                </a:cubicBezTo>
                <a:close/>
                <a:moveTo>
                  <a:pt x="51" y="32"/>
                </a:moveTo>
                <a:cubicBezTo>
                  <a:pt x="52" y="32"/>
                  <a:pt x="53" y="33"/>
                  <a:pt x="53" y="35"/>
                </a:cubicBezTo>
                <a:cubicBezTo>
                  <a:pt x="53" y="36"/>
                  <a:pt x="52" y="37"/>
                  <a:pt x="51" y="37"/>
                </a:cubicBezTo>
                <a:cubicBezTo>
                  <a:pt x="49" y="37"/>
                  <a:pt x="48" y="36"/>
                  <a:pt x="48" y="35"/>
                </a:cubicBezTo>
                <a:cubicBezTo>
                  <a:pt x="48" y="33"/>
                  <a:pt x="49" y="32"/>
                  <a:pt x="51" y="32"/>
                </a:cubicBezTo>
                <a:close/>
                <a:moveTo>
                  <a:pt x="59" y="40"/>
                </a:moveTo>
                <a:cubicBezTo>
                  <a:pt x="60" y="40"/>
                  <a:pt x="61" y="41"/>
                  <a:pt x="61" y="43"/>
                </a:cubicBezTo>
                <a:cubicBezTo>
                  <a:pt x="61" y="44"/>
                  <a:pt x="60" y="45"/>
                  <a:pt x="59" y="45"/>
                </a:cubicBezTo>
                <a:cubicBezTo>
                  <a:pt x="57" y="45"/>
                  <a:pt x="56" y="44"/>
                  <a:pt x="56" y="43"/>
                </a:cubicBezTo>
                <a:cubicBezTo>
                  <a:pt x="56" y="41"/>
                  <a:pt x="57" y="40"/>
                  <a:pt x="59" y="40"/>
                </a:cubicBezTo>
                <a:close/>
                <a:moveTo>
                  <a:pt x="43" y="40"/>
                </a:moveTo>
                <a:cubicBezTo>
                  <a:pt x="44" y="40"/>
                  <a:pt x="45" y="41"/>
                  <a:pt x="45" y="43"/>
                </a:cubicBezTo>
                <a:cubicBezTo>
                  <a:pt x="45" y="44"/>
                  <a:pt x="44" y="45"/>
                  <a:pt x="43" y="45"/>
                </a:cubicBezTo>
                <a:cubicBezTo>
                  <a:pt x="41" y="45"/>
                  <a:pt x="40" y="44"/>
                  <a:pt x="40" y="43"/>
                </a:cubicBezTo>
                <a:cubicBezTo>
                  <a:pt x="40" y="41"/>
                  <a:pt x="41" y="40"/>
                  <a:pt x="43" y="40"/>
                </a:cubicBezTo>
                <a:close/>
                <a:moveTo>
                  <a:pt x="59" y="24"/>
                </a:moveTo>
                <a:cubicBezTo>
                  <a:pt x="60" y="24"/>
                  <a:pt x="61" y="25"/>
                  <a:pt x="61" y="27"/>
                </a:cubicBezTo>
                <a:cubicBezTo>
                  <a:pt x="61" y="28"/>
                  <a:pt x="60" y="29"/>
                  <a:pt x="59" y="29"/>
                </a:cubicBezTo>
                <a:cubicBezTo>
                  <a:pt x="57" y="29"/>
                  <a:pt x="56" y="28"/>
                  <a:pt x="56" y="27"/>
                </a:cubicBezTo>
                <a:cubicBezTo>
                  <a:pt x="56" y="25"/>
                  <a:pt x="57" y="24"/>
                  <a:pt x="59" y="24"/>
                </a:cubicBezTo>
                <a:close/>
                <a:moveTo>
                  <a:pt x="43" y="24"/>
                </a:moveTo>
                <a:cubicBezTo>
                  <a:pt x="44" y="24"/>
                  <a:pt x="45" y="25"/>
                  <a:pt x="45" y="27"/>
                </a:cubicBezTo>
                <a:cubicBezTo>
                  <a:pt x="45" y="28"/>
                  <a:pt x="44" y="29"/>
                  <a:pt x="43" y="29"/>
                </a:cubicBezTo>
                <a:cubicBezTo>
                  <a:pt x="41" y="29"/>
                  <a:pt x="40" y="28"/>
                  <a:pt x="40" y="27"/>
                </a:cubicBezTo>
                <a:cubicBezTo>
                  <a:pt x="40" y="25"/>
                  <a:pt x="41" y="24"/>
                  <a:pt x="43" y="24"/>
                </a:cubicBezTo>
                <a:close/>
                <a:moveTo>
                  <a:pt x="35" y="48"/>
                </a:moveTo>
                <a:cubicBezTo>
                  <a:pt x="36" y="48"/>
                  <a:pt x="37" y="49"/>
                  <a:pt x="37" y="51"/>
                </a:cubicBezTo>
                <a:cubicBezTo>
                  <a:pt x="37" y="52"/>
                  <a:pt x="36" y="53"/>
                  <a:pt x="35" y="53"/>
                </a:cubicBezTo>
                <a:cubicBezTo>
                  <a:pt x="33" y="53"/>
                  <a:pt x="32" y="52"/>
                  <a:pt x="32" y="51"/>
                </a:cubicBezTo>
                <a:cubicBezTo>
                  <a:pt x="32" y="49"/>
                  <a:pt x="33" y="48"/>
                  <a:pt x="35" y="48"/>
                </a:cubicBezTo>
                <a:close/>
                <a:moveTo>
                  <a:pt x="19" y="48"/>
                </a:moveTo>
                <a:cubicBezTo>
                  <a:pt x="20" y="48"/>
                  <a:pt x="21" y="49"/>
                  <a:pt x="21" y="51"/>
                </a:cubicBezTo>
                <a:cubicBezTo>
                  <a:pt x="21" y="52"/>
                  <a:pt x="20" y="53"/>
                  <a:pt x="19" y="53"/>
                </a:cubicBezTo>
                <a:cubicBezTo>
                  <a:pt x="17" y="53"/>
                  <a:pt x="16" y="52"/>
                  <a:pt x="16" y="51"/>
                </a:cubicBezTo>
                <a:cubicBezTo>
                  <a:pt x="16" y="49"/>
                  <a:pt x="17" y="48"/>
                  <a:pt x="19" y="48"/>
                </a:cubicBezTo>
                <a:close/>
                <a:moveTo>
                  <a:pt x="35" y="32"/>
                </a:moveTo>
                <a:cubicBezTo>
                  <a:pt x="36" y="32"/>
                  <a:pt x="37" y="33"/>
                  <a:pt x="37" y="35"/>
                </a:cubicBezTo>
                <a:cubicBezTo>
                  <a:pt x="37" y="36"/>
                  <a:pt x="36" y="37"/>
                  <a:pt x="35" y="37"/>
                </a:cubicBezTo>
                <a:cubicBezTo>
                  <a:pt x="33" y="37"/>
                  <a:pt x="32" y="36"/>
                  <a:pt x="32" y="35"/>
                </a:cubicBezTo>
                <a:cubicBezTo>
                  <a:pt x="32" y="33"/>
                  <a:pt x="33" y="32"/>
                  <a:pt x="35" y="32"/>
                </a:cubicBezTo>
                <a:close/>
                <a:moveTo>
                  <a:pt x="19" y="32"/>
                </a:moveTo>
                <a:cubicBezTo>
                  <a:pt x="20" y="32"/>
                  <a:pt x="21" y="33"/>
                  <a:pt x="21" y="35"/>
                </a:cubicBezTo>
                <a:cubicBezTo>
                  <a:pt x="21" y="36"/>
                  <a:pt x="20" y="37"/>
                  <a:pt x="19" y="37"/>
                </a:cubicBezTo>
                <a:cubicBezTo>
                  <a:pt x="17" y="37"/>
                  <a:pt x="16" y="36"/>
                  <a:pt x="16" y="35"/>
                </a:cubicBezTo>
                <a:cubicBezTo>
                  <a:pt x="16" y="33"/>
                  <a:pt x="17" y="32"/>
                  <a:pt x="19" y="32"/>
                </a:cubicBezTo>
                <a:close/>
                <a:moveTo>
                  <a:pt x="27" y="40"/>
                </a:moveTo>
                <a:cubicBezTo>
                  <a:pt x="28" y="40"/>
                  <a:pt x="29" y="41"/>
                  <a:pt x="29" y="43"/>
                </a:cubicBezTo>
                <a:cubicBezTo>
                  <a:pt x="29" y="44"/>
                  <a:pt x="28" y="45"/>
                  <a:pt x="27" y="45"/>
                </a:cubicBezTo>
                <a:cubicBezTo>
                  <a:pt x="25" y="45"/>
                  <a:pt x="24" y="44"/>
                  <a:pt x="24" y="43"/>
                </a:cubicBezTo>
                <a:cubicBezTo>
                  <a:pt x="24" y="41"/>
                  <a:pt x="25" y="40"/>
                  <a:pt x="27" y="40"/>
                </a:cubicBezTo>
                <a:close/>
                <a:moveTo>
                  <a:pt x="11" y="40"/>
                </a:moveTo>
                <a:cubicBezTo>
                  <a:pt x="12" y="40"/>
                  <a:pt x="13" y="41"/>
                  <a:pt x="13" y="43"/>
                </a:cubicBezTo>
                <a:cubicBezTo>
                  <a:pt x="13" y="44"/>
                  <a:pt x="12" y="45"/>
                  <a:pt x="11" y="45"/>
                </a:cubicBezTo>
                <a:cubicBezTo>
                  <a:pt x="9" y="45"/>
                  <a:pt x="8" y="44"/>
                  <a:pt x="8" y="43"/>
                </a:cubicBezTo>
                <a:cubicBezTo>
                  <a:pt x="8" y="41"/>
                  <a:pt x="9" y="40"/>
                  <a:pt x="11" y="40"/>
                </a:cubicBezTo>
                <a:close/>
                <a:moveTo>
                  <a:pt x="27" y="24"/>
                </a:moveTo>
                <a:cubicBezTo>
                  <a:pt x="28" y="24"/>
                  <a:pt x="29" y="25"/>
                  <a:pt x="29" y="27"/>
                </a:cubicBezTo>
                <a:cubicBezTo>
                  <a:pt x="29" y="28"/>
                  <a:pt x="28" y="29"/>
                  <a:pt x="27" y="29"/>
                </a:cubicBezTo>
                <a:cubicBezTo>
                  <a:pt x="25" y="29"/>
                  <a:pt x="24" y="28"/>
                  <a:pt x="24" y="27"/>
                </a:cubicBezTo>
                <a:cubicBezTo>
                  <a:pt x="24" y="25"/>
                  <a:pt x="25" y="24"/>
                  <a:pt x="27" y="24"/>
                </a:cubicBezTo>
                <a:close/>
                <a:moveTo>
                  <a:pt x="11" y="24"/>
                </a:moveTo>
                <a:cubicBezTo>
                  <a:pt x="12" y="24"/>
                  <a:pt x="13" y="25"/>
                  <a:pt x="13" y="27"/>
                </a:cubicBezTo>
                <a:cubicBezTo>
                  <a:pt x="13" y="28"/>
                  <a:pt x="12" y="29"/>
                  <a:pt x="11" y="29"/>
                </a:cubicBezTo>
                <a:cubicBezTo>
                  <a:pt x="9" y="29"/>
                  <a:pt x="8" y="28"/>
                  <a:pt x="8" y="27"/>
                </a:cubicBezTo>
                <a:cubicBezTo>
                  <a:pt x="8" y="25"/>
                  <a:pt x="9" y="24"/>
                  <a:pt x="11" y="24"/>
                </a:cubicBezTo>
                <a:close/>
                <a:moveTo>
                  <a:pt x="128" y="35"/>
                </a:moveTo>
                <a:cubicBezTo>
                  <a:pt x="128" y="51"/>
                  <a:pt x="128" y="51"/>
                  <a:pt x="128" y="51"/>
                </a:cubicBezTo>
                <a:cubicBezTo>
                  <a:pt x="128" y="52"/>
                  <a:pt x="127" y="53"/>
                  <a:pt x="125" y="53"/>
                </a:cubicBezTo>
                <a:cubicBezTo>
                  <a:pt x="124" y="53"/>
                  <a:pt x="123" y="52"/>
                  <a:pt x="123" y="51"/>
                </a:cubicBezTo>
                <a:cubicBezTo>
                  <a:pt x="123" y="35"/>
                  <a:pt x="123" y="35"/>
                  <a:pt x="123" y="35"/>
                </a:cubicBezTo>
                <a:cubicBezTo>
                  <a:pt x="123" y="33"/>
                  <a:pt x="124" y="32"/>
                  <a:pt x="125" y="32"/>
                </a:cubicBezTo>
                <a:cubicBezTo>
                  <a:pt x="127" y="32"/>
                  <a:pt x="128" y="33"/>
                  <a:pt x="128" y="35"/>
                </a:cubicBezTo>
                <a:close/>
                <a:moveTo>
                  <a:pt x="120" y="35"/>
                </a:moveTo>
                <a:cubicBezTo>
                  <a:pt x="120" y="51"/>
                  <a:pt x="120" y="51"/>
                  <a:pt x="120" y="51"/>
                </a:cubicBezTo>
                <a:cubicBezTo>
                  <a:pt x="120" y="52"/>
                  <a:pt x="119" y="53"/>
                  <a:pt x="117" y="53"/>
                </a:cubicBezTo>
                <a:cubicBezTo>
                  <a:pt x="116" y="53"/>
                  <a:pt x="115" y="52"/>
                  <a:pt x="115" y="51"/>
                </a:cubicBezTo>
                <a:cubicBezTo>
                  <a:pt x="115" y="35"/>
                  <a:pt x="115" y="35"/>
                  <a:pt x="115" y="35"/>
                </a:cubicBezTo>
                <a:cubicBezTo>
                  <a:pt x="115" y="33"/>
                  <a:pt x="116" y="32"/>
                  <a:pt x="117" y="32"/>
                </a:cubicBezTo>
                <a:cubicBezTo>
                  <a:pt x="119" y="32"/>
                  <a:pt x="120" y="33"/>
                  <a:pt x="120" y="35"/>
                </a:cubicBezTo>
                <a:close/>
                <a:moveTo>
                  <a:pt x="112" y="35"/>
                </a:moveTo>
                <a:cubicBezTo>
                  <a:pt x="112" y="51"/>
                  <a:pt x="112" y="51"/>
                  <a:pt x="112" y="51"/>
                </a:cubicBezTo>
                <a:cubicBezTo>
                  <a:pt x="112" y="52"/>
                  <a:pt x="111" y="53"/>
                  <a:pt x="109" y="53"/>
                </a:cubicBezTo>
                <a:cubicBezTo>
                  <a:pt x="108" y="53"/>
                  <a:pt x="107" y="52"/>
                  <a:pt x="107" y="51"/>
                </a:cubicBezTo>
                <a:cubicBezTo>
                  <a:pt x="107" y="35"/>
                  <a:pt x="107" y="35"/>
                  <a:pt x="107" y="35"/>
                </a:cubicBezTo>
                <a:cubicBezTo>
                  <a:pt x="107" y="33"/>
                  <a:pt x="108" y="32"/>
                  <a:pt x="109" y="32"/>
                </a:cubicBezTo>
                <a:cubicBezTo>
                  <a:pt x="111" y="32"/>
                  <a:pt x="112" y="33"/>
                  <a:pt x="112"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34">
            <a:extLst>
              <a:ext uri="{FF2B5EF4-FFF2-40B4-BE49-F238E27FC236}">
                <a16:creationId xmlns:a16="http://schemas.microsoft.com/office/drawing/2014/main" id="{A5C48A75-0BBE-C641-A0E3-510D95FDCF2E}"/>
              </a:ext>
            </a:extLst>
          </p:cNvPr>
          <p:cNvSpPr>
            <a:spLocks noEditPoints="1"/>
          </p:cNvSpPr>
          <p:nvPr/>
        </p:nvSpPr>
        <p:spPr bwMode="auto">
          <a:xfrm>
            <a:off x="3741429" y="1762125"/>
            <a:ext cx="600075" cy="604838"/>
          </a:xfrm>
          <a:custGeom>
            <a:avLst/>
            <a:gdLst>
              <a:gd name="T0" fmla="*/ 0 w 160"/>
              <a:gd name="T1" fmla="*/ 20 h 160"/>
              <a:gd name="T2" fmla="*/ 140 w 160"/>
              <a:gd name="T3" fmla="*/ 160 h 160"/>
              <a:gd name="T4" fmla="*/ 140 w 160"/>
              <a:gd name="T5" fmla="*/ 0 h 160"/>
              <a:gd name="T6" fmla="*/ 20 w 160"/>
              <a:gd name="T7" fmla="*/ 155 h 160"/>
              <a:gd name="T8" fmla="*/ 20 w 160"/>
              <a:gd name="T9" fmla="*/ 5 h 160"/>
              <a:gd name="T10" fmla="*/ 155 w 160"/>
              <a:gd name="T11" fmla="*/ 140 h 160"/>
              <a:gd name="T12" fmla="*/ 13 w 160"/>
              <a:gd name="T13" fmla="*/ 45 h 160"/>
              <a:gd name="T14" fmla="*/ 147 w 160"/>
              <a:gd name="T15" fmla="*/ 45 h 160"/>
              <a:gd name="T16" fmla="*/ 19 w 160"/>
              <a:gd name="T17" fmla="*/ 45 h 160"/>
              <a:gd name="T18" fmla="*/ 88 w 160"/>
              <a:gd name="T19" fmla="*/ 45 h 160"/>
              <a:gd name="T20" fmla="*/ 117 w 160"/>
              <a:gd name="T21" fmla="*/ 69 h 160"/>
              <a:gd name="T22" fmla="*/ 141 w 160"/>
              <a:gd name="T23" fmla="*/ 45 h 160"/>
              <a:gd name="T24" fmla="*/ 43 w 160"/>
              <a:gd name="T25" fmla="*/ 85 h 160"/>
              <a:gd name="T26" fmla="*/ 117 w 160"/>
              <a:gd name="T27" fmla="*/ 144 h 160"/>
              <a:gd name="T28" fmla="*/ 19 w 160"/>
              <a:gd name="T29" fmla="*/ 115 h 160"/>
              <a:gd name="T30" fmla="*/ 43 w 160"/>
              <a:gd name="T31" fmla="*/ 139 h 160"/>
              <a:gd name="T32" fmla="*/ 141 w 160"/>
              <a:gd name="T33" fmla="*/ 115 h 160"/>
              <a:gd name="T34" fmla="*/ 136 w 160"/>
              <a:gd name="T35" fmla="*/ 120 h 160"/>
              <a:gd name="T36" fmla="*/ 125 w 160"/>
              <a:gd name="T37" fmla="*/ 137 h 160"/>
              <a:gd name="T38" fmla="*/ 120 w 160"/>
              <a:gd name="T39" fmla="*/ 136 h 160"/>
              <a:gd name="T40" fmla="*/ 107 w 160"/>
              <a:gd name="T41" fmla="*/ 139 h 160"/>
              <a:gd name="T42" fmla="*/ 59 w 160"/>
              <a:gd name="T43" fmla="*/ 139 h 160"/>
              <a:gd name="T44" fmla="*/ 69 w 160"/>
              <a:gd name="T45" fmla="*/ 96 h 160"/>
              <a:gd name="T46" fmla="*/ 59 w 160"/>
              <a:gd name="T47" fmla="*/ 91 h 160"/>
              <a:gd name="T48" fmla="*/ 128 w 160"/>
              <a:gd name="T49" fmla="*/ 96 h 160"/>
              <a:gd name="T50" fmla="*/ 137 w 160"/>
              <a:gd name="T51" fmla="*/ 102 h 160"/>
              <a:gd name="T52" fmla="*/ 140 w 160"/>
              <a:gd name="T53" fmla="*/ 106 h 160"/>
              <a:gd name="T54" fmla="*/ 75 w 160"/>
              <a:gd name="T55" fmla="*/ 107 h 160"/>
              <a:gd name="T56" fmla="*/ 83 w 160"/>
              <a:gd name="T57" fmla="*/ 93 h 160"/>
              <a:gd name="T58" fmla="*/ 80 w 160"/>
              <a:gd name="T59" fmla="*/ 96 h 160"/>
              <a:gd name="T60" fmla="*/ 101 w 160"/>
              <a:gd name="T61" fmla="*/ 96 h 160"/>
              <a:gd name="T62" fmla="*/ 99 w 160"/>
              <a:gd name="T63" fmla="*/ 93 h 160"/>
              <a:gd name="T64" fmla="*/ 91 w 160"/>
              <a:gd name="T65" fmla="*/ 107 h 160"/>
              <a:gd name="T66" fmla="*/ 107 w 160"/>
              <a:gd name="T67" fmla="*/ 101 h 160"/>
              <a:gd name="T68" fmla="*/ 104 w 160"/>
              <a:gd name="T69" fmla="*/ 104 h 160"/>
              <a:gd name="T70" fmla="*/ 117 w 160"/>
              <a:gd name="T71" fmla="*/ 96 h 160"/>
              <a:gd name="T72" fmla="*/ 115 w 160"/>
              <a:gd name="T73" fmla="*/ 93 h 160"/>
              <a:gd name="T74" fmla="*/ 123 w 160"/>
              <a:gd name="T75" fmla="*/ 107 h 160"/>
              <a:gd name="T76" fmla="*/ 75 w 160"/>
              <a:gd name="T77" fmla="*/ 117 h 160"/>
              <a:gd name="T78" fmla="*/ 72 w 160"/>
              <a:gd name="T79" fmla="*/ 120 h 160"/>
              <a:gd name="T80" fmla="*/ 77 w 160"/>
              <a:gd name="T81" fmla="*/ 136 h 160"/>
              <a:gd name="T82" fmla="*/ 75 w 160"/>
              <a:gd name="T83" fmla="*/ 133 h 160"/>
              <a:gd name="T84" fmla="*/ 83 w 160"/>
              <a:gd name="T85" fmla="*/ 115 h 160"/>
              <a:gd name="T86" fmla="*/ 99 w 160"/>
              <a:gd name="T87" fmla="*/ 109 h 160"/>
              <a:gd name="T88" fmla="*/ 96 w 160"/>
              <a:gd name="T89" fmla="*/ 112 h 160"/>
              <a:gd name="T90" fmla="*/ 85 w 160"/>
              <a:gd name="T91" fmla="*/ 128 h 160"/>
              <a:gd name="T92" fmla="*/ 83 w 160"/>
              <a:gd name="T93" fmla="*/ 125 h 160"/>
              <a:gd name="T94" fmla="*/ 99 w 160"/>
              <a:gd name="T95" fmla="*/ 131 h 160"/>
              <a:gd name="T96" fmla="*/ 91 w 160"/>
              <a:gd name="T97" fmla="*/ 117 h 160"/>
              <a:gd name="T98" fmla="*/ 88 w 160"/>
              <a:gd name="T99" fmla="*/ 120 h 160"/>
              <a:gd name="T100" fmla="*/ 109 w 160"/>
              <a:gd name="T101" fmla="*/ 120 h 160"/>
              <a:gd name="T102" fmla="*/ 107 w 160"/>
              <a:gd name="T103" fmla="*/ 117 h 160"/>
              <a:gd name="T104" fmla="*/ 91 w 160"/>
              <a:gd name="T105" fmla="*/ 139 h 160"/>
              <a:gd name="T106" fmla="*/ 107 w 160"/>
              <a:gd name="T107" fmla="*/ 133 h 160"/>
              <a:gd name="T108" fmla="*/ 104 w 160"/>
              <a:gd name="T109" fmla="*/ 136 h 160"/>
              <a:gd name="T110" fmla="*/ 117 w 160"/>
              <a:gd name="T111" fmla="*/ 112 h 160"/>
              <a:gd name="T112" fmla="*/ 115 w 160"/>
              <a:gd name="T113" fmla="*/ 109 h 160"/>
              <a:gd name="T114" fmla="*/ 131 w 160"/>
              <a:gd name="T115" fmla="*/ 115 h 160"/>
              <a:gd name="T116" fmla="*/ 115 w 160"/>
              <a:gd name="T117" fmla="*/ 125 h 160"/>
              <a:gd name="T118" fmla="*/ 112 w 160"/>
              <a:gd name="T119" fmla="*/ 128 h 160"/>
              <a:gd name="T120" fmla="*/ 133 w 160"/>
              <a:gd name="T121" fmla="*/ 128 h 160"/>
              <a:gd name="T122" fmla="*/ 131 w 160"/>
              <a:gd name="T123" fmla="*/ 125 h 160"/>
              <a:gd name="T124" fmla="*/ 123 w 160"/>
              <a:gd name="T125"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160">
                <a:moveTo>
                  <a:pt x="140" y="0"/>
                </a:moveTo>
                <a:cubicBezTo>
                  <a:pt x="20" y="0"/>
                  <a:pt x="20" y="0"/>
                  <a:pt x="20" y="0"/>
                </a:cubicBezTo>
                <a:cubicBezTo>
                  <a:pt x="9" y="0"/>
                  <a:pt x="0" y="9"/>
                  <a:pt x="0" y="20"/>
                </a:cubicBezTo>
                <a:cubicBezTo>
                  <a:pt x="0" y="140"/>
                  <a:pt x="0" y="140"/>
                  <a:pt x="0" y="140"/>
                </a:cubicBezTo>
                <a:cubicBezTo>
                  <a:pt x="0" y="151"/>
                  <a:pt x="9" y="160"/>
                  <a:pt x="20" y="160"/>
                </a:cubicBezTo>
                <a:cubicBezTo>
                  <a:pt x="140" y="160"/>
                  <a:pt x="140" y="160"/>
                  <a:pt x="140" y="160"/>
                </a:cubicBezTo>
                <a:cubicBezTo>
                  <a:pt x="151" y="160"/>
                  <a:pt x="160" y="151"/>
                  <a:pt x="160" y="140"/>
                </a:cubicBezTo>
                <a:cubicBezTo>
                  <a:pt x="160" y="20"/>
                  <a:pt x="160" y="20"/>
                  <a:pt x="160" y="20"/>
                </a:cubicBezTo>
                <a:cubicBezTo>
                  <a:pt x="160" y="9"/>
                  <a:pt x="151" y="0"/>
                  <a:pt x="140" y="0"/>
                </a:cubicBezTo>
                <a:close/>
                <a:moveTo>
                  <a:pt x="155" y="140"/>
                </a:moveTo>
                <a:cubicBezTo>
                  <a:pt x="155" y="148"/>
                  <a:pt x="148" y="155"/>
                  <a:pt x="140" y="155"/>
                </a:cubicBezTo>
                <a:cubicBezTo>
                  <a:pt x="20" y="155"/>
                  <a:pt x="20" y="155"/>
                  <a:pt x="20" y="155"/>
                </a:cubicBezTo>
                <a:cubicBezTo>
                  <a:pt x="12" y="155"/>
                  <a:pt x="5" y="148"/>
                  <a:pt x="5" y="140"/>
                </a:cubicBezTo>
                <a:cubicBezTo>
                  <a:pt x="5" y="20"/>
                  <a:pt x="5" y="20"/>
                  <a:pt x="5" y="20"/>
                </a:cubicBezTo>
                <a:cubicBezTo>
                  <a:pt x="5" y="12"/>
                  <a:pt x="12" y="5"/>
                  <a:pt x="20" y="5"/>
                </a:cubicBezTo>
                <a:cubicBezTo>
                  <a:pt x="140" y="5"/>
                  <a:pt x="140" y="5"/>
                  <a:pt x="140" y="5"/>
                </a:cubicBezTo>
                <a:cubicBezTo>
                  <a:pt x="148" y="5"/>
                  <a:pt x="155" y="12"/>
                  <a:pt x="155" y="20"/>
                </a:cubicBezTo>
                <a:lnTo>
                  <a:pt x="155" y="140"/>
                </a:lnTo>
                <a:close/>
                <a:moveTo>
                  <a:pt x="117" y="16"/>
                </a:moveTo>
                <a:cubicBezTo>
                  <a:pt x="43" y="16"/>
                  <a:pt x="43" y="16"/>
                  <a:pt x="43" y="16"/>
                </a:cubicBezTo>
                <a:cubicBezTo>
                  <a:pt x="26" y="16"/>
                  <a:pt x="13" y="29"/>
                  <a:pt x="13" y="45"/>
                </a:cubicBezTo>
                <a:cubicBezTo>
                  <a:pt x="13" y="62"/>
                  <a:pt x="26" y="75"/>
                  <a:pt x="43" y="75"/>
                </a:cubicBezTo>
                <a:cubicBezTo>
                  <a:pt x="117" y="75"/>
                  <a:pt x="117" y="75"/>
                  <a:pt x="117" y="75"/>
                </a:cubicBezTo>
                <a:cubicBezTo>
                  <a:pt x="134" y="75"/>
                  <a:pt x="147" y="62"/>
                  <a:pt x="147" y="45"/>
                </a:cubicBezTo>
                <a:cubicBezTo>
                  <a:pt x="147" y="29"/>
                  <a:pt x="134" y="16"/>
                  <a:pt x="117" y="16"/>
                </a:cubicBezTo>
                <a:close/>
                <a:moveTo>
                  <a:pt x="43" y="69"/>
                </a:moveTo>
                <a:cubicBezTo>
                  <a:pt x="29" y="69"/>
                  <a:pt x="19" y="59"/>
                  <a:pt x="19" y="45"/>
                </a:cubicBezTo>
                <a:cubicBezTo>
                  <a:pt x="19" y="32"/>
                  <a:pt x="29" y="21"/>
                  <a:pt x="43" y="21"/>
                </a:cubicBezTo>
                <a:cubicBezTo>
                  <a:pt x="101" y="21"/>
                  <a:pt x="101" y="21"/>
                  <a:pt x="101" y="21"/>
                </a:cubicBezTo>
                <a:cubicBezTo>
                  <a:pt x="93" y="27"/>
                  <a:pt x="88" y="35"/>
                  <a:pt x="88" y="45"/>
                </a:cubicBezTo>
                <a:cubicBezTo>
                  <a:pt x="88" y="55"/>
                  <a:pt x="93" y="64"/>
                  <a:pt x="101" y="69"/>
                </a:cubicBezTo>
                <a:lnTo>
                  <a:pt x="43" y="69"/>
                </a:lnTo>
                <a:close/>
                <a:moveTo>
                  <a:pt x="117" y="69"/>
                </a:moveTo>
                <a:cubicBezTo>
                  <a:pt x="104" y="69"/>
                  <a:pt x="93" y="59"/>
                  <a:pt x="93" y="45"/>
                </a:cubicBezTo>
                <a:cubicBezTo>
                  <a:pt x="93" y="32"/>
                  <a:pt x="104" y="21"/>
                  <a:pt x="117" y="21"/>
                </a:cubicBezTo>
                <a:cubicBezTo>
                  <a:pt x="131" y="21"/>
                  <a:pt x="141" y="32"/>
                  <a:pt x="141" y="45"/>
                </a:cubicBezTo>
                <a:cubicBezTo>
                  <a:pt x="141" y="59"/>
                  <a:pt x="131" y="69"/>
                  <a:pt x="117" y="69"/>
                </a:cubicBezTo>
                <a:close/>
                <a:moveTo>
                  <a:pt x="117" y="85"/>
                </a:moveTo>
                <a:cubicBezTo>
                  <a:pt x="43" y="85"/>
                  <a:pt x="43" y="85"/>
                  <a:pt x="43" y="85"/>
                </a:cubicBezTo>
                <a:cubicBezTo>
                  <a:pt x="26" y="85"/>
                  <a:pt x="13" y="98"/>
                  <a:pt x="13" y="115"/>
                </a:cubicBezTo>
                <a:cubicBezTo>
                  <a:pt x="13" y="131"/>
                  <a:pt x="26" y="144"/>
                  <a:pt x="43" y="144"/>
                </a:cubicBezTo>
                <a:cubicBezTo>
                  <a:pt x="117" y="144"/>
                  <a:pt x="117" y="144"/>
                  <a:pt x="117" y="144"/>
                </a:cubicBezTo>
                <a:cubicBezTo>
                  <a:pt x="134" y="144"/>
                  <a:pt x="147" y="131"/>
                  <a:pt x="147" y="115"/>
                </a:cubicBezTo>
                <a:cubicBezTo>
                  <a:pt x="147" y="98"/>
                  <a:pt x="134" y="85"/>
                  <a:pt x="117" y="85"/>
                </a:cubicBezTo>
                <a:close/>
                <a:moveTo>
                  <a:pt x="19" y="115"/>
                </a:moveTo>
                <a:cubicBezTo>
                  <a:pt x="19" y="101"/>
                  <a:pt x="29" y="91"/>
                  <a:pt x="43" y="91"/>
                </a:cubicBezTo>
                <a:cubicBezTo>
                  <a:pt x="56" y="91"/>
                  <a:pt x="67" y="101"/>
                  <a:pt x="67" y="115"/>
                </a:cubicBezTo>
                <a:cubicBezTo>
                  <a:pt x="67" y="128"/>
                  <a:pt x="56" y="139"/>
                  <a:pt x="43" y="139"/>
                </a:cubicBezTo>
                <a:cubicBezTo>
                  <a:pt x="29" y="139"/>
                  <a:pt x="19" y="128"/>
                  <a:pt x="19" y="115"/>
                </a:cubicBezTo>
                <a:close/>
                <a:moveTo>
                  <a:pt x="140" y="106"/>
                </a:moveTo>
                <a:cubicBezTo>
                  <a:pt x="141" y="109"/>
                  <a:pt x="141" y="112"/>
                  <a:pt x="141" y="115"/>
                </a:cubicBezTo>
                <a:cubicBezTo>
                  <a:pt x="141" y="116"/>
                  <a:pt x="141" y="117"/>
                  <a:pt x="141" y="119"/>
                </a:cubicBezTo>
                <a:cubicBezTo>
                  <a:pt x="141" y="118"/>
                  <a:pt x="140" y="117"/>
                  <a:pt x="139" y="117"/>
                </a:cubicBezTo>
                <a:cubicBezTo>
                  <a:pt x="137" y="117"/>
                  <a:pt x="136" y="119"/>
                  <a:pt x="136" y="120"/>
                </a:cubicBezTo>
                <a:cubicBezTo>
                  <a:pt x="136" y="121"/>
                  <a:pt x="137" y="123"/>
                  <a:pt x="139" y="123"/>
                </a:cubicBezTo>
                <a:cubicBezTo>
                  <a:pt x="139" y="123"/>
                  <a:pt x="140" y="122"/>
                  <a:pt x="140" y="122"/>
                </a:cubicBezTo>
                <a:cubicBezTo>
                  <a:pt x="138" y="129"/>
                  <a:pt x="132" y="135"/>
                  <a:pt x="125" y="137"/>
                </a:cubicBezTo>
                <a:cubicBezTo>
                  <a:pt x="125" y="137"/>
                  <a:pt x="125" y="137"/>
                  <a:pt x="125" y="136"/>
                </a:cubicBezTo>
                <a:cubicBezTo>
                  <a:pt x="125" y="135"/>
                  <a:pt x="124" y="133"/>
                  <a:pt x="123" y="133"/>
                </a:cubicBezTo>
                <a:cubicBezTo>
                  <a:pt x="121" y="133"/>
                  <a:pt x="120" y="135"/>
                  <a:pt x="120" y="136"/>
                </a:cubicBezTo>
                <a:cubicBezTo>
                  <a:pt x="120" y="137"/>
                  <a:pt x="121" y="138"/>
                  <a:pt x="121" y="138"/>
                </a:cubicBezTo>
                <a:cubicBezTo>
                  <a:pt x="120" y="139"/>
                  <a:pt x="119" y="139"/>
                  <a:pt x="117" y="139"/>
                </a:cubicBezTo>
                <a:cubicBezTo>
                  <a:pt x="107" y="139"/>
                  <a:pt x="107" y="139"/>
                  <a:pt x="107" y="139"/>
                </a:cubicBezTo>
                <a:cubicBezTo>
                  <a:pt x="91" y="139"/>
                  <a:pt x="91" y="139"/>
                  <a:pt x="91" y="139"/>
                </a:cubicBezTo>
                <a:cubicBezTo>
                  <a:pt x="75" y="139"/>
                  <a:pt x="75" y="139"/>
                  <a:pt x="75" y="139"/>
                </a:cubicBezTo>
                <a:cubicBezTo>
                  <a:pt x="59" y="139"/>
                  <a:pt x="59" y="139"/>
                  <a:pt x="59" y="139"/>
                </a:cubicBezTo>
                <a:cubicBezTo>
                  <a:pt x="67" y="133"/>
                  <a:pt x="72" y="125"/>
                  <a:pt x="72" y="115"/>
                </a:cubicBezTo>
                <a:cubicBezTo>
                  <a:pt x="72" y="109"/>
                  <a:pt x="70" y="103"/>
                  <a:pt x="67" y="99"/>
                </a:cubicBezTo>
                <a:cubicBezTo>
                  <a:pt x="68" y="98"/>
                  <a:pt x="69" y="97"/>
                  <a:pt x="69" y="96"/>
                </a:cubicBezTo>
                <a:cubicBezTo>
                  <a:pt x="69" y="95"/>
                  <a:pt x="68" y="93"/>
                  <a:pt x="67" y="93"/>
                </a:cubicBezTo>
                <a:cubicBezTo>
                  <a:pt x="66" y="93"/>
                  <a:pt x="65" y="94"/>
                  <a:pt x="64" y="95"/>
                </a:cubicBezTo>
                <a:cubicBezTo>
                  <a:pt x="63" y="93"/>
                  <a:pt x="61" y="92"/>
                  <a:pt x="59" y="91"/>
                </a:cubicBezTo>
                <a:cubicBezTo>
                  <a:pt x="117" y="91"/>
                  <a:pt x="117" y="91"/>
                  <a:pt x="117" y="91"/>
                </a:cubicBezTo>
                <a:cubicBezTo>
                  <a:pt x="122" y="91"/>
                  <a:pt x="126" y="92"/>
                  <a:pt x="129" y="94"/>
                </a:cubicBezTo>
                <a:cubicBezTo>
                  <a:pt x="128" y="94"/>
                  <a:pt x="128" y="95"/>
                  <a:pt x="128" y="96"/>
                </a:cubicBezTo>
                <a:cubicBezTo>
                  <a:pt x="128" y="97"/>
                  <a:pt x="129" y="99"/>
                  <a:pt x="131" y="99"/>
                </a:cubicBezTo>
                <a:cubicBezTo>
                  <a:pt x="132" y="99"/>
                  <a:pt x="133" y="98"/>
                  <a:pt x="133" y="97"/>
                </a:cubicBezTo>
                <a:cubicBezTo>
                  <a:pt x="135" y="98"/>
                  <a:pt x="136" y="100"/>
                  <a:pt x="137" y="102"/>
                </a:cubicBezTo>
                <a:cubicBezTo>
                  <a:pt x="137" y="102"/>
                  <a:pt x="136" y="103"/>
                  <a:pt x="136" y="104"/>
                </a:cubicBezTo>
                <a:cubicBezTo>
                  <a:pt x="136" y="105"/>
                  <a:pt x="137" y="107"/>
                  <a:pt x="139" y="107"/>
                </a:cubicBezTo>
                <a:cubicBezTo>
                  <a:pt x="139" y="107"/>
                  <a:pt x="139" y="107"/>
                  <a:pt x="140" y="106"/>
                </a:cubicBezTo>
                <a:close/>
                <a:moveTo>
                  <a:pt x="75" y="101"/>
                </a:moveTo>
                <a:cubicBezTo>
                  <a:pt x="76" y="101"/>
                  <a:pt x="77" y="103"/>
                  <a:pt x="77" y="104"/>
                </a:cubicBezTo>
                <a:cubicBezTo>
                  <a:pt x="77" y="105"/>
                  <a:pt x="76" y="107"/>
                  <a:pt x="75" y="107"/>
                </a:cubicBezTo>
                <a:cubicBezTo>
                  <a:pt x="73" y="107"/>
                  <a:pt x="72" y="105"/>
                  <a:pt x="72" y="104"/>
                </a:cubicBezTo>
                <a:cubicBezTo>
                  <a:pt x="72" y="103"/>
                  <a:pt x="73" y="101"/>
                  <a:pt x="75" y="101"/>
                </a:cubicBezTo>
                <a:close/>
                <a:moveTo>
                  <a:pt x="83" y="93"/>
                </a:moveTo>
                <a:cubicBezTo>
                  <a:pt x="84" y="93"/>
                  <a:pt x="85" y="95"/>
                  <a:pt x="85" y="96"/>
                </a:cubicBezTo>
                <a:cubicBezTo>
                  <a:pt x="85" y="97"/>
                  <a:pt x="84" y="99"/>
                  <a:pt x="83" y="99"/>
                </a:cubicBezTo>
                <a:cubicBezTo>
                  <a:pt x="81" y="99"/>
                  <a:pt x="80" y="97"/>
                  <a:pt x="80" y="96"/>
                </a:cubicBezTo>
                <a:cubicBezTo>
                  <a:pt x="80" y="95"/>
                  <a:pt x="81" y="93"/>
                  <a:pt x="83" y="93"/>
                </a:cubicBezTo>
                <a:close/>
                <a:moveTo>
                  <a:pt x="99" y="93"/>
                </a:moveTo>
                <a:cubicBezTo>
                  <a:pt x="100" y="93"/>
                  <a:pt x="101" y="95"/>
                  <a:pt x="101" y="96"/>
                </a:cubicBezTo>
                <a:cubicBezTo>
                  <a:pt x="101" y="97"/>
                  <a:pt x="100" y="99"/>
                  <a:pt x="99" y="99"/>
                </a:cubicBezTo>
                <a:cubicBezTo>
                  <a:pt x="97" y="99"/>
                  <a:pt x="96" y="97"/>
                  <a:pt x="96" y="96"/>
                </a:cubicBezTo>
                <a:cubicBezTo>
                  <a:pt x="96" y="95"/>
                  <a:pt x="97" y="93"/>
                  <a:pt x="99" y="93"/>
                </a:cubicBezTo>
                <a:close/>
                <a:moveTo>
                  <a:pt x="91" y="101"/>
                </a:moveTo>
                <a:cubicBezTo>
                  <a:pt x="92" y="101"/>
                  <a:pt x="93" y="103"/>
                  <a:pt x="93" y="104"/>
                </a:cubicBezTo>
                <a:cubicBezTo>
                  <a:pt x="93" y="105"/>
                  <a:pt x="92" y="107"/>
                  <a:pt x="91" y="107"/>
                </a:cubicBezTo>
                <a:cubicBezTo>
                  <a:pt x="89" y="107"/>
                  <a:pt x="88" y="105"/>
                  <a:pt x="88" y="104"/>
                </a:cubicBezTo>
                <a:cubicBezTo>
                  <a:pt x="88" y="103"/>
                  <a:pt x="89" y="101"/>
                  <a:pt x="91" y="101"/>
                </a:cubicBezTo>
                <a:close/>
                <a:moveTo>
                  <a:pt x="107" y="101"/>
                </a:moveTo>
                <a:cubicBezTo>
                  <a:pt x="108" y="101"/>
                  <a:pt x="109" y="103"/>
                  <a:pt x="109" y="104"/>
                </a:cubicBezTo>
                <a:cubicBezTo>
                  <a:pt x="109" y="105"/>
                  <a:pt x="108" y="107"/>
                  <a:pt x="107" y="107"/>
                </a:cubicBezTo>
                <a:cubicBezTo>
                  <a:pt x="105" y="107"/>
                  <a:pt x="104" y="105"/>
                  <a:pt x="104" y="104"/>
                </a:cubicBezTo>
                <a:cubicBezTo>
                  <a:pt x="104" y="103"/>
                  <a:pt x="105" y="101"/>
                  <a:pt x="107" y="101"/>
                </a:cubicBezTo>
                <a:close/>
                <a:moveTo>
                  <a:pt x="115" y="93"/>
                </a:moveTo>
                <a:cubicBezTo>
                  <a:pt x="116" y="93"/>
                  <a:pt x="117" y="95"/>
                  <a:pt x="117" y="96"/>
                </a:cubicBezTo>
                <a:cubicBezTo>
                  <a:pt x="117" y="97"/>
                  <a:pt x="116" y="99"/>
                  <a:pt x="115" y="99"/>
                </a:cubicBezTo>
                <a:cubicBezTo>
                  <a:pt x="113" y="99"/>
                  <a:pt x="112" y="97"/>
                  <a:pt x="112" y="96"/>
                </a:cubicBezTo>
                <a:cubicBezTo>
                  <a:pt x="112" y="95"/>
                  <a:pt x="113" y="93"/>
                  <a:pt x="115" y="93"/>
                </a:cubicBezTo>
                <a:close/>
                <a:moveTo>
                  <a:pt x="123" y="101"/>
                </a:moveTo>
                <a:cubicBezTo>
                  <a:pt x="124" y="101"/>
                  <a:pt x="125" y="103"/>
                  <a:pt x="125" y="104"/>
                </a:cubicBezTo>
                <a:cubicBezTo>
                  <a:pt x="125" y="105"/>
                  <a:pt x="124" y="107"/>
                  <a:pt x="123" y="107"/>
                </a:cubicBezTo>
                <a:cubicBezTo>
                  <a:pt x="121" y="107"/>
                  <a:pt x="120" y="105"/>
                  <a:pt x="120" y="104"/>
                </a:cubicBezTo>
                <a:cubicBezTo>
                  <a:pt x="120" y="103"/>
                  <a:pt x="121" y="101"/>
                  <a:pt x="123" y="101"/>
                </a:cubicBezTo>
                <a:close/>
                <a:moveTo>
                  <a:pt x="75" y="117"/>
                </a:moveTo>
                <a:cubicBezTo>
                  <a:pt x="76" y="117"/>
                  <a:pt x="77" y="119"/>
                  <a:pt x="77" y="120"/>
                </a:cubicBezTo>
                <a:cubicBezTo>
                  <a:pt x="77" y="121"/>
                  <a:pt x="76" y="123"/>
                  <a:pt x="75" y="123"/>
                </a:cubicBezTo>
                <a:cubicBezTo>
                  <a:pt x="73" y="123"/>
                  <a:pt x="72" y="121"/>
                  <a:pt x="72" y="120"/>
                </a:cubicBezTo>
                <a:cubicBezTo>
                  <a:pt x="72" y="119"/>
                  <a:pt x="73" y="117"/>
                  <a:pt x="75" y="117"/>
                </a:cubicBezTo>
                <a:close/>
                <a:moveTo>
                  <a:pt x="75" y="133"/>
                </a:moveTo>
                <a:cubicBezTo>
                  <a:pt x="76" y="133"/>
                  <a:pt x="77" y="135"/>
                  <a:pt x="77" y="136"/>
                </a:cubicBezTo>
                <a:cubicBezTo>
                  <a:pt x="77" y="137"/>
                  <a:pt x="76" y="139"/>
                  <a:pt x="75" y="139"/>
                </a:cubicBezTo>
                <a:cubicBezTo>
                  <a:pt x="73" y="139"/>
                  <a:pt x="72" y="137"/>
                  <a:pt x="72" y="136"/>
                </a:cubicBezTo>
                <a:cubicBezTo>
                  <a:pt x="72" y="135"/>
                  <a:pt x="73" y="133"/>
                  <a:pt x="75" y="133"/>
                </a:cubicBezTo>
                <a:close/>
                <a:moveTo>
                  <a:pt x="83" y="109"/>
                </a:moveTo>
                <a:cubicBezTo>
                  <a:pt x="84" y="109"/>
                  <a:pt x="85" y="111"/>
                  <a:pt x="85" y="112"/>
                </a:cubicBezTo>
                <a:cubicBezTo>
                  <a:pt x="85" y="113"/>
                  <a:pt x="84" y="115"/>
                  <a:pt x="83" y="115"/>
                </a:cubicBezTo>
                <a:cubicBezTo>
                  <a:pt x="81" y="115"/>
                  <a:pt x="80" y="113"/>
                  <a:pt x="80" y="112"/>
                </a:cubicBezTo>
                <a:cubicBezTo>
                  <a:pt x="80" y="111"/>
                  <a:pt x="81" y="109"/>
                  <a:pt x="83" y="109"/>
                </a:cubicBezTo>
                <a:close/>
                <a:moveTo>
                  <a:pt x="99" y="109"/>
                </a:moveTo>
                <a:cubicBezTo>
                  <a:pt x="100" y="109"/>
                  <a:pt x="101" y="111"/>
                  <a:pt x="101" y="112"/>
                </a:cubicBezTo>
                <a:cubicBezTo>
                  <a:pt x="101" y="113"/>
                  <a:pt x="100" y="115"/>
                  <a:pt x="99" y="115"/>
                </a:cubicBezTo>
                <a:cubicBezTo>
                  <a:pt x="97" y="115"/>
                  <a:pt x="96" y="113"/>
                  <a:pt x="96" y="112"/>
                </a:cubicBezTo>
                <a:cubicBezTo>
                  <a:pt x="96" y="111"/>
                  <a:pt x="97" y="109"/>
                  <a:pt x="99" y="109"/>
                </a:cubicBezTo>
                <a:close/>
                <a:moveTo>
                  <a:pt x="83" y="125"/>
                </a:moveTo>
                <a:cubicBezTo>
                  <a:pt x="84" y="125"/>
                  <a:pt x="85" y="127"/>
                  <a:pt x="85" y="128"/>
                </a:cubicBezTo>
                <a:cubicBezTo>
                  <a:pt x="85" y="129"/>
                  <a:pt x="84" y="131"/>
                  <a:pt x="83" y="131"/>
                </a:cubicBezTo>
                <a:cubicBezTo>
                  <a:pt x="81" y="131"/>
                  <a:pt x="80" y="129"/>
                  <a:pt x="80" y="128"/>
                </a:cubicBezTo>
                <a:cubicBezTo>
                  <a:pt x="80" y="127"/>
                  <a:pt x="81" y="125"/>
                  <a:pt x="83" y="125"/>
                </a:cubicBezTo>
                <a:close/>
                <a:moveTo>
                  <a:pt x="99" y="125"/>
                </a:moveTo>
                <a:cubicBezTo>
                  <a:pt x="100" y="125"/>
                  <a:pt x="101" y="127"/>
                  <a:pt x="101" y="128"/>
                </a:cubicBezTo>
                <a:cubicBezTo>
                  <a:pt x="101" y="129"/>
                  <a:pt x="100" y="131"/>
                  <a:pt x="99" y="131"/>
                </a:cubicBezTo>
                <a:cubicBezTo>
                  <a:pt x="97" y="131"/>
                  <a:pt x="96" y="129"/>
                  <a:pt x="96" y="128"/>
                </a:cubicBezTo>
                <a:cubicBezTo>
                  <a:pt x="96" y="127"/>
                  <a:pt x="97" y="125"/>
                  <a:pt x="99" y="125"/>
                </a:cubicBezTo>
                <a:close/>
                <a:moveTo>
                  <a:pt x="91" y="117"/>
                </a:moveTo>
                <a:cubicBezTo>
                  <a:pt x="92" y="117"/>
                  <a:pt x="93" y="119"/>
                  <a:pt x="93" y="120"/>
                </a:cubicBezTo>
                <a:cubicBezTo>
                  <a:pt x="93" y="121"/>
                  <a:pt x="92" y="123"/>
                  <a:pt x="91" y="123"/>
                </a:cubicBezTo>
                <a:cubicBezTo>
                  <a:pt x="89" y="123"/>
                  <a:pt x="88" y="121"/>
                  <a:pt x="88" y="120"/>
                </a:cubicBezTo>
                <a:cubicBezTo>
                  <a:pt x="88" y="119"/>
                  <a:pt x="89" y="117"/>
                  <a:pt x="91" y="117"/>
                </a:cubicBezTo>
                <a:close/>
                <a:moveTo>
                  <a:pt x="107" y="117"/>
                </a:moveTo>
                <a:cubicBezTo>
                  <a:pt x="108" y="117"/>
                  <a:pt x="109" y="119"/>
                  <a:pt x="109" y="120"/>
                </a:cubicBezTo>
                <a:cubicBezTo>
                  <a:pt x="109" y="121"/>
                  <a:pt x="108" y="123"/>
                  <a:pt x="107" y="123"/>
                </a:cubicBezTo>
                <a:cubicBezTo>
                  <a:pt x="105" y="123"/>
                  <a:pt x="104" y="121"/>
                  <a:pt x="104" y="120"/>
                </a:cubicBezTo>
                <a:cubicBezTo>
                  <a:pt x="104" y="119"/>
                  <a:pt x="105" y="117"/>
                  <a:pt x="107" y="117"/>
                </a:cubicBezTo>
                <a:close/>
                <a:moveTo>
                  <a:pt x="91" y="133"/>
                </a:moveTo>
                <a:cubicBezTo>
                  <a:pt x="92" y="133"/>
                  <a:pt x="93" y="135"/>
                  <a:pt x="93" y="136"/>
                </a:cubicBezTo>
                <a:cubicBezTo>
                  <a:pt x="93" y="137"/>
                  <a:pt x="92" y="139"/>
                  <a:pt x="91" y="139"/>
                </a:cubicBezTo>
                <a:cubicBezTo>
                  <a:pt x="89" y="139"/>
                  <a:pt x="88" y="137"/>
                  <a:pt x="88" y="136"/>
                </a:cubicBezTo>
                <a:cubicBezTo>
                  <a:pt x="88" y="135"/>
                  <a:pt x="89" y="133"/>
                  <a:pt x="91" y="133"/>
                </a:cubicBezTo>
                <a:close/>
                <a:moveTo>
                  <a:pt x="107" y="133"/>
                </a:moveTo>
                <a:cubicBezTo>
                  <a:pt x="108" y="133"/>
                  <a:pt x="109" y="135"/>
                  <a:pt x="109" y="136"/>
                </a:cubicBezTo>
                <a:cubicBezTo>
                  <a:pt x="109" y="137"/>
                  <a:pt x="108" y="139"/>
                  <a:pt x="107" y="139"/>
                </a:cubicBezTo>
                <a:cubicBezTo>
                  <a:pt x="105" y="139"/>
                  <a:pt x="104" y="137"/>
                  <a:pt x="104" y="136"/>
                </a:cubicBezTo>
                <a:cubicBezTo>
                  <a:pt x="104" y="135"/>
                  <a:pt x="105" y="133"/>
                  <a:pt x="107" y="133"/>
                </a:cubicBezTo>
                <a:close/>
                <a:moveTo>
                  <a:pt x="115" y="109"/>
                </a:moveTo>
                <a:cubicBezTo>
                  <a:pt x="116" y="109"/>
                  <a:pt x="117" y="111"/>
                  <a:pt x="117" y="112"/>
                </a:cubicBezTo>
                <a:cubicBezTo>
                  <a:pt x="117" y="113"/>
                  <a:pt x="116" y="115"/>
                  <a:pt x="115" y="115"/>
                </a:cubicBezTo>
                <a:cubicBezTo>
                  <a:pt x="113" y="115"/>
                  <a:pt x="112" y="113"/>
                  <a:pt x="112" y="112"/>
                </a:cubicBezTo>
                <a:cubicBezTo>
                  <a:pt x="112" y="111"/>
                  <a:pt x="113" y="109"/>
                  <a:pt x="115" y="109"/>
                </a:cubicBezTo>
                <a:close/>
                <a:moveTo>
                  <a:pt x="131" y="109"/>
                </a:moveTo>
                <a:cubicBezTo>
                  <a:pt x="132" y="109"/>
                  <a:pt x="133" y="111"/>
                  <a:pt x="133" y="112"/>
                </a:cubicBezTo>
                <a:cubicBezTo>
                  <a:pt x="133" y="113"/>
                  <a:pt x="132" y="115"/>
                  <a:pt x="131" y="115"/>
                </a:cubicBezTo>
                <a:cubicBezTo>
                  <a:pt x="129" y="115"/>
                  <a:pt x="128" y="113"/>
                  <a:pt x="128" y="112"/>
                </a:cubicBezTo>
                <a:cubicBezTo>
                  <a:pt x="128" y="111"/>
                  <a:pt x="129" y="109"/>
                  <a:pt x="131" y="109"/>
                </a:cubicBezTo>
                <a:close/>
                <a:moveTo>
                  <a:pt x="115" y="125"/>
                </a:moveTo>
                <a:cubicBezTo>
                  <a:pt x="116" y="125"/>
                  <a:pt x="117" y="127"/>
                  <a:pt x="117" y="128"/>
                </a:cubicBezTo>
                <a:cubicBezTo>
                  <a:pt x="117" y="129"/>
                  <a:pt x="116" y="131"/>
                  <a:pt x="115" y="131"/>
                </a:cubicBezTo>
                <a:cubicBezTo>
                  <a:pt x="113" y="131"/>
                  <a:pt x="112" y="129"/>
                  <a:pt x="112" y="128"/>
                </a:cubicBezTo>
                <a:cubicBezTo>
                  <a:pt x="112" y="127"/>
                  <a:pt x="113" y="125"/>
                  <a:pt x="115" y="125"/>
                </a:cubicBezTo>
                <a:close/>
                <a:moveTo>
                  <a:pt x="131" y="125"/>
                </a:moveTo>
                <a:cubicBezTo>
                  <a:pt x="132" y="125"/>
                  <a:pt x="133" y="127"/>
                  <a:pt x="133" y="128"/>
                </a:cubicBezTo>
                <a:cubicBezTo>
                  <a:pt x="133" y="129"/>
                  <a:pt x="132" y="131"/>
                  <a:pt x="131" y="131"/>
                </a:cubicBezTo>
                <a:cubicBezTo>
                  <a:pt x="129" y="131"/>
                  <a:pt x="128" y="129"/>
                  <a:pt x="128" y="128"/>
                </a:cubicBezTo>
                <a:cubicBezTo>
                  <a:pt x="128" y="127"/>
                  <a:pt x="129" y="125"/>
                  <a:pt x="131" y="125"/>
                </a:cubicBezTo>
                <a:close/>
                <a:moveTo>
                  <a:pt x="123" y="117"/>
                </a:moveTo>
                <a:cubicBezTo>
                  <a:pt x="124" y="117"/>
                  <a:pt x="125" y="119"/>
                  <a:pt x="125" y="120"/>
                </a:cubicBezTo>
                <a:cubicBezTo>
                  <a:pt x="125" y="121"/>
                  <a:pt x="124" y="123"/>
                  <a:pt x="123" y="123"/>
                </a:cubicBezTo>
                <a:cubicBezTo>
                  <a:pt x="121" y="123"/>
                  <a:pt x="120" y="121"/>
                  <a:pt x="120" y="120"/>
                </a:cubicBezTo>
                <a:cubicBezTo>
                  <a:pt x="120" y="119"/>
                  <a:pt x="121" y="117"/>
                  <a:pt x="123" y="11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Freeform 35">
            <a:extLst>
              <a:ext uri="{FF2B5EF4-FFF2-40B4-BE49-F238E27FC236}">
                <a16:creationId xmlns:a16="http://schemas.microsoft.com/office/drawing/2014/main" id="{9304AB76-5720-C94A-A7B8-62113BE784B6}"/>
              </a:ext>
            </a:extLst>
          </p:cNvPr>
          <p:cNvSpPr>
            <a:spLocks noEditPoints="1"/>
          </p:cNvSpPr>
          <p:nvPr/>
        </p:nvSpPr>
        <p:spPr bwMode="auto">
          <a:xfrm>
            <a:off x="3741429" y="2443163"/>
            <a:ext cx="600075" cy="604838"/>
          </a:xfrm>
          <a:custGeom>
            <a:avLst/>
            <a:gdLst>
              <a:gd name="T0" fmla="*/ 0 w 160"/>
              <a:gd name="T1" fmla="*/ 37 h 160"/>
              <a:gd name="T2" fmla="*/ 37 w 160"/>
              <a:gd name="T3" fmla="*/ 69 h 160"/>
              <a:gd name="T4" fmla="*/ 37 w 160"/>
              <a:gd name="T5" fmla="*/ 85 h 160"/>
              <a:gd name="T6" fmla="*/ 137 w 160"/>
              <a:gd name="T7" fmla="*/ 157 h 160"/>
              <a:gd name="T8" fmla="*/ 152 w 160"/>
              <a:gd name="T9" fmla="*/ 136 h 160"/>
              <a:gd name="T10" fmla="*/ 142 w 160"/>
              <a:gd name="T11" fmla="*/ 148 h 160"/>
              <a:gd name="T12" fmla="*/ 101 w 160"/>
              <a:gd name="T13" fmla="*/ 155 h 160"/>
              <a:gd name="T14" fmla="*/ 69 w 160"/>
              <a:gd name="T15" fmla="*/ 155 h 160"/>
              <a:gd name="T16" fmla="*/ 37 w 160"/>
              <a:gd name="T17" fmla="*/ 155 h 160"/>
              <a:gd name="T18" fmla="*/ 8 w 160"/>
              <a:gd name="T19" fmla="*/ 109 h 160"/>
              <a:gd name="T20" fmla="*/ 18 w 160"/>
              <a:gd name="T21" fmla="*/ 97 h 160"/>
              <a:gd name="T22" fmla="*/ 59 w 160"/>
              <a:gd name="T23" fmla="*/ 91 h 160"/>
              <a:gd name="T24" fmla="*/ 91 w 160"/>
              <a:gd name="T25" fmla="*/ 91 h 160"/>
              <a:gd name="T26" fmla="*/ 123 w 160"/>
              <a:gd name="T27" fmla="*/ 91 h 160"/>
              <a:gd name="T28" fmla="*/ 149 w 160"/>
              <a:gd name="T29" fmla="*/ 107 h 160"/>
              <a:gd name="T30" fmla="*/ 123 w 160"/>
              <a:gd name="T31" fmla="*/ 64 h 160"/>
              <a:gd name="T32" fmla="*/ 30 w 160"/>
              <a:gd name="T33" fmla="*/ 148 h 160"/>
              <a:gd name="T34" fmla="*/ 51 w 160"/>
              <a:gd name="T35" fmla="*/ 147 h 160"/>
              <a:gd name="T36" fmla="*/ 63 w 160"/>
              <a:gd name="T37" fmla="*/ 128 h 160"/>
              <a:gd name="T38" fmla="*/ 62 w 160"/>
              <a:gd name="T39" fmla="*/ 113 h 160"/>
              <a:gd name="T40" fmla="*/ 48 w 160"/>
              <a:gd name="T41" fmla="*/ 96 h 160"/>
              <a:gd name="T42" fmla="*/ 11 w 160"/>
              <a:gd name="T43" fmla="*/ 123 h 160"/>
              <a:gd name="T44" fmla="*/ 37 w 160"/>
              <a:gd name="T45" fmla="*/ 101 h 160"/>
              <a:gd name="T46" fmla="*/ 80 w 160"/>
              <a:gd name="T47" fmla="*/ 96 h 160"/>
              <a:gd name="T48" fmla="*/ 99 w 160"/>
              <a:gd name="T49" fmla="*/ 99 h 160"/>
              <a:gd name="T50" fmla="*/ 112 w 160"/>
              <a:gd name="T51" fmla="*/ 101 h 160"/>
              <a:gd name="T52" fmla="*/ 125 w 160"/>
              <a:gd name="T53" fmla="*/ 99 h 160"/>
              <a:gd name="T54" fmla="*/ 8 w 160"/>
              <a:gd name="T55" fmla="*/ 120 h 160"/>
              <a:gd name="T56" fmla="*/ 88 w 160"/>
              <a:gd name="T57" fmla="*/ 104 h 160"/>
              <a:gd name="T58" fmla="*/ 75 w 160"/>
              <a:gd name="T59" fmla="*/ 123 h 160"/>
              <a:gd name="T60" fmla="*/ 88 w 160"/>
              <a:gd name="T61" fmla="*/ 125 h 160"/>
              <a:gd name="T62" fmla="*/ 77 w 160"/>
              <a:gd name="T63" fmla="*/ 115 h 160"/>
              <a:gd name="T64" fmla="*/ 96 w 160"/>
              <a:gd name="T65" fmla="*/ 112 h 160"/>
              <a:gd name="T66" fmla="*/ 96 w 160"/>
              <a:gd name="T67" fmla="*/ 128 h 160"/>
              <a:gd name="T68" fmla="*/ 107 w 160"/>
              <a:gd name="T69" fmla="*/ 107 h 160"/>
              <a:gd name="T70" fmla="*/ 120 w 160"/>
              <a:gd name="T71" fmla="*/ 109 h 160"/>
              <a:gd name="T72" fmla="*/ 101 w 160"/>
              <a:gd name="T73" fmla="*/ 123 h 160"/>
              <a:gd name="T74" fmla="*/ 120 w 160"/>
              <a:gd name="T75" fmla="*/ 120 h 160"/>
              <a:gd name="T76" fmla="*/ 128 w 160"/>
              <a:gd name="T77" fmla="*/ 112 h 160"/>
              <a:gd name="T78" fmla="*/ 115 w 160"/>
              <a:gd name="T79" fmla="*/ 131 h 160"/>
              <a:gd name="T80" fmla="*/ 128 w 160"/>
              <a:gd name="T81" fmla="*/ 133 h 160"/>
              <a:gd name="T82" fmla="*/ 133 w 160"/>
              <a:gd name="T83" fmla="*/ 107 h 160"/>
              <a:gd name="T84" fmla="*/ 136 w 160"/>
              <a:gd name="T85" fmla="*/ 120 h 160"/>
              <a:gd name="T86" fmla="*/ 72 w 160"/>
              <a:gd name="T87" fmla="*/ 136 h 160"/>
              <a:gd name="T88" fmla="*/ 91 w 160"/>
              <a:gd name="T89" fmla="*/ 139 h 160"/>
              <a:gd name="T90" fmla="*/ 104 w 160"/>
              <a:gd name="T91" fmla="*/ 141 h 160"/>
              <a:gd name="T92" fmla="*/ 117 w 160"/>
              <a:gd name="T93" fmla="*/ 139 h 160"/>
              <a:gd name="T94" fmla="*/ 136 w 160"/>
              <a:gd name="T95" fmla="*/ 136 h 160"/>
              <a:gd name="T96" fmla="*/ 144 w 160"/>
              <a:gd name="T97" fmla="*/ 128 h 160"/>
              <a:gd name="T98" fmla="*/ 67 w 160"/>
              <a:gd name="T99" fmla="*/ 147 h 160"/>
              <a:gd name="T100" fmla="*/ 80 w 160"/>
              <a:gd name="T101" fmla="*/ 149 h 160"/>
              <a:gd name="T102" fmla="*/ 93 w 160"/>
              <a:gd name="T103" fmla="*/ 147 h 160"/>
              <a:gd name="T104" fmla="*/ 112 w 160"/>
              <a:gd name="T105"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0" h="160">
                <a:moveTo>
                  <a:pt x="37" y="75"/>
                </a:moveTo>
                <a:cubicBezTo>
                  <a:pt x="123" y="75"/>
                  <a:pt x="123" y="75"/>
                  <a:pt x="123" y="75"/>
                </a:cubicBezTo>
                <a:cubicBezTo>
                  <a:pt x="143" y="75"/>
                  <a:pt x="160" y="58"/>
                  <a:pt x="160" y="37"/>
                </a:cubicBezTo>
                <a:cubicBezTo>
                  <a:pt x="160" y="17"/>
                  <a:pt x="143" y="0"/>
                  <a:pt x="123" y="0"/>
                </a:cubicBezTo>
                <a:cubicBezTo>
                  <a:pt x="37" y="0"/>
                  <a:pt x="37" y="0"/>
                  <a:pt x="37" y="0"/>
                </a:cubicBezTo>
                <a:cubicBezTo>
                  <a:pt x="17" y="0"/>
                  <a:pt x="0" y="17"/>
                  <a:pt x="0" y="37"/>
                </a:cubicBezTo>
                <a:cubicBezTo>
                  <a:pt x="0" y="58"/>
                  <a:pt x="17" y="75"/>
                  <a:pt x="37" y="75"/>
                </a:cubicBezTo>
                <a:close/>
                <a:moveTo>
                  <a:pt x="37" y="5"/>
                </a:moveTo>
                <a:cubicBezTo>
                  <a:pt x="123" y="5"/>
                  <a:pt x="123" y="5"/>
                  <a:pt x="123" y="5"/>
                </a:cubicBezTo>
                <a:cubicBezTo>
                  <a:pt x="140" y="5"/>
                  <a:pt x="155" y="20"/>
                  <a:pt x="155" y="37"/>
                </a:cubicBezTo>
                <a:cubicBezTo>
                  <a:pt x="155" y="55"/>
                  <a:pt x="140" y="69"/>
                  <a:pt x="123" y="69"/>
                </a:cubicBezTo>
                <a:cubicBezTo>
                  <a:pt x="37" y="69"/>
                  <a:pt x="37" y="69"/>
                  <a:pt x="37" y="69"/>
                </a:cubicBezTo>
                <a:cubicBezTo>
                  <a:pt x="20" y="69"/>
                  <a:pt x="5" y="55"/>
                  <a:pt x="5" y="37"/>
                </a:cubicBezTo>
                <a:cubicBezTo>
                  <a:pt x="5" y="20"/>
                  <a:pt x="20" y="5"/>
                  <a:pt x="37" y="5"/>
                </a:cubicBezTo>
                <a:close/>
                <a:moveTo>
                  <a:pt x="137" y="88"/>
                </a:moveTo>
                <a:cubicBezTo>
                  <a:pt x="137" y="88"/>
                  <a:pt x="137" y="88"/>
                  <a:pt x="137" y="88"/>
                </a:cubicBezTo>
                <a:cubicBezTo>
                  <a:pt x="133" y="86"/>
                  <a:pt x="128" y="85"/>
                  <a:pt x="123" y="85"/>
                </a:cubicBezTo>
                <a:cubicBezTo>
                  <a:pt x="37" y="85"/>
                  <a:pt x="37" y="85"/>
                  <a:pt x="37" y="85"/>
                </a:cubicBezTo>
                <a:cubicBezTo>
                  <a:pt x="32" y="85"/>
                  <a:pt x="27" y="86"/>
                  <a:pt x="23" y="88"/>
                </a:cubicBezTo>
                <a:cubicBezTo>
                  <a:pt x="23" y="88"/>
                  <a:pt x="23" y="88"/>
                  <a:pt x="23" y="88"/>
                </a:cubicBezTo>
                <a:cubicBezTo>
                  <a:pt x="9" y="94"/>
                  <a:pt x="0" y="107"/>
                  <a:pt x="0" y="123"/>
                </a:cubicBezTo>
                <a:cubicBezTo>
                  <a:pt x="0" y="143"/>
                  <a:pt x="17" y="160"/>
                  <a:pt x="37" y="160"/>
                </a:cubicBezTo>
                <a:cubicBezTo>
                  <a:pt x="123" y="160"/>
                  <a:pt x="123" y="160"/>
                  <a:pt x="123" y="160"/>
                </a:cubicBezTo>
                <a:cubicBezTo>
                  <a:pt x="128" y="160"/>
                  <a:pt x="133" y="159"/>
                  <a:pt x="137" y="157"/>
                </a:cubicBezTo>
                <a:cubicBezTo>
                  <a:pt x="137" y="157"/>
                  <a:pt x="137" y="157"/>
                  <a:pt x="137" y="157"/>
                </a:cubicBezTo>
                <a:cubicBezTo>
                  <a:pt x="151" y="151"/>
                  <a:pt x="160" y="138"/>
                  <a:pt x="160" y="123"/>
                </a:cubicBezTo>
                <a:cubicBezTo>
                  <a:pt x="160" y="107"/>
                  <a:pt x="151" y="94"/>
                  <a:pt x="137" y="88"/>
                </a:cubicBezTo>
                <a:close/>
                <a:moveTo>
                  <a:pt x="152" y="109"/>
                </a:moveTo>
                <a:cubicBezTo>
                  <a:pt x="154" y="113"/>
                  <a:pt x="155" y="118"/>
                  <a:pt x="155" y="123"/>
                </a:cubicBezTo>
                <a:cubicBezTo>
                  <a:pt x="155" y="127"/>
                  <a:pt x="154" y="132"/>
                  <a:pt x="152" y="136"/>
                </a:cubicBezTo>
                <a:cubicBezTo>
                  <a:pt x="150" y="136"/>
                  <a:pt x="149" y="137"/>
                  <a:pt x="149" y="139"/>
                </a:cubicBezTo>
                <a:cubicBezTo>
                  <a:pt x="149" y="139"/>
                  <a:pt x="149" y="139"/>
                  <a:pt x="150" y="140"/>
                </a:cubicBezTo>
                <a:cubicBezTo>
                  <a:pt x="149" y="142"/>
                  <a:pt x="147" y="143"/>
                  <a:pt x="146" y="145"/>
                </a:cubicBezTo>
                <a:cubicBezTo>
                  <a:pt x="145" y="144"/>
                  <a:pt x="145" y="144"/>
                  <a:pt x="144" y="144"/>
                </a:cubicBezTo>
                <a:cubicBezTo>
                  <a:pt x="143" y="144"/>
                  <a:pt x="141" y="145"/>
                  <a:pt x="141" y="147"/>
                </a:cubicBezTo>
                <a:cubicBezTo>
                  <a:pt x="141" y="147"/>
                  <a:pt x="142" y="148"/>
                  <a:pt x="142" y="148"/>
                </a:cubicBezTo>
                <a:cubicBezTo>
                  <a:pt x="137" y="152"/>
                  <a:pt x="130" y="155"/>
                  <a:pt x="123" y="155"/>
                </a:cubicBezTo>
                <a:cubicBezTo>
                  <a:pt x="123" y="153"/>
                  <a:pt x="121" y="152"/>
                  <a:pt x="120" y="152"/>
                </a:cubicBezTo>
                <a:cubicBezTo>
                  <a:pt x="119" y="152"/>
                  <a:pt x="117" y="153"/>
                  <a:pt x="117" y="155"/>
                </a:cubicBezTo>
                <a:cubicBezTo>
                  <a:pt x="107" y="155"/>
                  <a:pt x="107" y="155"/>
                  <a:pt x="107" y="155"/>
                </a:cubicBezTo>
                <a:cubicBezTo>
                  <a:pt x="107" y="153"/>
                  <a:pt x="105" y="152"/>
                  <a:pt x="104" y="152"/>
                </a:cubicBezTo>
                <a:cubicBezTo>
                  <a:pt x="103" y="152"/>
                  <a:pt x="101" y="153"/>
                  <a:pt x="101" y="155"/>
                </a:cubicBezTo>
                <a:cubicBezTo>
                  <a:pt x="91" y="155"/>
                  <a:pt x="91" y="155"/>
                  <a:pt x="91" y="155"/>
                </a:cubicBezTo>
                <a:cubicBezTo>
                  <a:pt x="91" y="153"/>
                  <a:pt x="89" y="152"/>
                  <a:pt x="88" y="152"/>
                </a:cubicBezTo>
                <a:cubicBezTo>
                  <a:pt x="87" y="152"/>
                  <a:pt x="85" y="153"/>
                  <a:pt x="85" y="155"/>
                </a:cubicBezTo>
                <a:cubicBezTo>
                  <a:pt x="75" y="155"/>
                  <a:pt x="75" y="155"/>
                  <a:pt x="75" y="155"/>
                </a:cubicBezTo>
                <a:cubicBezTo>
                  <a:pt x="75" y="153"/>
                  <a:pt x="73" y="152"/>
                  <a:pt x="72" y="152"/>
                </a:cubicBezTo>
                <a:cubicBezTo>
                  <a:pt x="71" y="152"/>
                  <a:pt x="69" y="153"/>
                  <a:pt x="69" y="155"/>
                </a:cubicBezTo>
                <a:cubicBezTo>
                  <a:pt x="59" y="155"/>
                  <a:pt x="59" y="155"/>
                  <a:pt x="59" y="155"/>
                </a:cubicBezTo>
                <a:cubicBezTo>
                  <a:pt x="59" y="153"/>
                  <a:pt x="57" y="152"/>
                  <a:pt x="56" y="152"/>
                </a:cubicBezTo>
                <a:cubicBezTo>
                  <a:pt x="55" y="152"/>
                  <a:pt x="53" y="153"/>
                  <a:pt x="53" y="155"/>
                </a:cubicBezTo>
                <a:cubicBezTo>
                  <a:pt x="43" y="155"/>
                  <a:pt x="43" y="155"/>
                  <a:pt x="43" y="155"/>
                </a:cubicBezTo>
                <a:cubicBezTo>
                  <a:pt x="43" y="153"/>
                  <a:pt x="41" y="152"/>
                  <a:pt x="40" y="152"/>
                </a:cubicBezTo>
                <a:cubicBezTo>
                  <a:pt x="39" y="152"/>
                  <a:pt x="37" y="153"/>
                  <a:pt x="37" y="155"/>
                </a:cubicBezTo>
                <a:cubicBezTo>
                  <a:pt x="30" y="155"/>
                  <a:pt x="23" y="152"/>
                  <a:pt x="18" y="148"/>
                </a:cubicBezTo>
                <a:cubicBezTo>
                  <a:pt x="18" y="148"/>
                  <a:pt x="19" y="147"/>
                  <a:pt x="19" y="147"/>
                </a:cubicBezTo>
                <a:cubicBezTo>
                  <a:pt x="19" y="145"/>
                  <a:pt x="17" y="144"/>
                  <a:pt x="16" y="144"/>
                </a:cubicBezTo>
                <a:cubicBezTo>
                  <a:pt x="15" y="144"/>
                  <a:pt x="15" y="144"/>
                  <a:pt x="14" y="145"/>
                </a:cubicBezTo>
                <a:cubicBezTo>
                  <a:pt x="9" y="139"/>
                  <a:pt x="5" y="131"/>
                  <a:pt x="5" y="123"/>
                </a:cubicBezTo>
                <a:cubicBezTo>
                  <a:pt x="5" y="118"/>
                  <a:pt x="6" y="113"/>
                  <a:pt x="8" y="109"/>
                </a:cubicBezTo>
                <a:cubicBezTo>
                  <a:pt x="10" y="109"/>
                  <a:pt x="11" y="108"/>
                  <a:pt x="11" y="107"/>
                </a:cubicBezTo>
                <a:cubicBezTo>
                  <a:pt x="11" y="106"/>
                  <a:pt x="11" y="106"/>
                  <a:pt x="10" y="106"/>
                </a:cubicBezTo>
                <a:cubicBezTo>
                  <a:pt x="11" y="104"/>
                  <a:pt x="13" y="102"/>
                  <a:pt x="14" y="101"/>
                </a:cubicBezTo>
                <a:cubicBezTo>
                  <a:pt x="15" y="101"/>
                  <a:pt x="15" y="101"/>
                  <a:pt x="16" y="101"/>
                </a:cubicBezTo>
                <a:cubicBezTo>
                  <a:pt x="17" y="101"/>
                  <a:pt x="19" y="100"/>
                  <a:pt x="19" y="99"/>
                </a:cubicBezTo>
                <a:cubicBezTo>
                  <a:pt x="19" y="98"/>
                  <a:pt x="18" y="98"/>
                  <a:pt x="18" y="97"/>
                </a:cubicBezTo>
                <a:cubicBezTo>
                  <a:pt x="23" y="93"/>
                  <a:pt x="30" y="91"/>
                  <a:pt x="37" y="91"/>
                </a:cubicBezTo>
                <a:cubicBezTo>
                  <a:pt x="37" y="92"/>
                  <a:pt x="39" y="93"/>
                  <a:pt x="40" y="93"/>
                </a:cubicBezTo>
                <a:cubicBezTo>
                  <a:pt x="41" y="93"/>
                  <a:pt x="43" y="92"/>
                  <a:pt x="43" y="91"/>
                </a:cubicBezTo>
                <a:cubicBezTo>
                  <a:pt x="53" y="91"/>
                  <a:pt x="53" y="91"/>
                  <a:pt x="53" y="91"/>
                </a:cubicBezTo>
                <a:cubicBezTo>
                  <a:pt x="53" y="92"/>
                  <a:pt x="55" y="93"/>
                  <a:pt x="56" y="93"/>
                </a:cubicBezTo>
                <a:cubicBezTo>
                  <a:pt x="57" y="93"/>
                  <a:pt x="59" y="92"/>
                  <a:pt x="59" y="91"/>
                </a:cubicBezTo>
                <a:cubicBezTo>
                  <a:pt x="69" y="91"/>
                  <a:pt x="69" y="91"/>
                  <a:pt x="69" y="91"/>
                </a:cubicBezTo>
                <a:cubicBezTo>
                  <a:pt x="69" y="92"/>
                  <a:pt x="71" y="93"/>
                  <a:pt x="72" y="93"/>
                </a:cubicBezTo>
                <a:cubicBezTo>
                  <a:pt x="73" y="93"/>
                  <a:pt x="75" y="92"/>
                  <a:pt x="75" y="91"/>
                </a:cubicBezTo>
                <a:cubicBezTo>
                  <a:pt x="85" y="91"/>
                  <a:pt x="85" y="91"/>
                  <a:pt x="85" y="91"/>
                </a:cubicBezTo>
                <a:cubicBezTo>
                  <a:pt x="85" y="92"/>
                  <a:pt x="87" y="93"/>
                  <a:pt x="88" y="93"/>
                </a:cubicBezTo>
                <a:cubicBezTo>
                  <a:pt x="89" y="93"/>
                  <a:pt x="91" y="92"/>
                  <a:pt x="91" y="91"/>
                </a:cubicBezTo>
                <a:cubicBezTo>
                  <a:pt x="101" y="91"/>
                  <a:pt x="101" y="91"/>
                  <a:pt x="101" y="91"/>
                </a:cubicBezTo>
                <a:cubicBezTo>
                  <a:pt x="101" y="92"/>
                  <a:pt x="103" y="93"/>
                  <a:pt x="104" y="93"/>
                </a:cubicBezTo>
                <a:cubicBezTo>
                  <a:pt x="105" y="93"/>
                  <a:pt x="107" y="92"/>
                  <a:pt x="107" y="91"/>
                </a:cubicBezTo>
                <a:cubicBezTo>
                  <a:pt x="117" y="91"/>
                  <a:pt x="117" y="91"/>
                  <a:pt x="117" y="91"/>
                </a:cubicBezTo>
                <a:cubicBezTo>
                  <a:pt x="117" y="92"/>
                  <a:pt x="119" y="93"/>
                  <a:pt x="120" y="93"/>
                </a:cubicBezTo>
                <a:cubicBezTo>
                  <a:pt x="121" y="93"/>
                  <a:pt x="123" y="92"/>
                  <a:pt x="123" y="91"/>
                </a:cubicBezTo>
                <a:cubicBezTo>
                  <a:pt x="130" y="91"/>
                  <a:pt x="137" y="93"/>
                  <a:pt x="142" y="97"/>
                </a:cubicBezTo>
                <a:cubicBezTo>
                  <a:pt x="142" y="98"/>
                  <a:pt x="141" y="98"/>
                  <a:pt x="141" y="99"/>
                </a:cubicBezTo>
                <a:cubicBezTo>
                  <a:pt x="141" y="100"/>
                  <a:pt x="143" y="101"/>
                  <a:pt x="144" y="101"/>
                </a:cubicBezTo>
                <a:cubicBezTo>
                  <a:pt x="145" y="101"/>
                  <a:pt x="145" y="101"/>
                  <a:pt x="146" y="101"/>
                </a:cubicBezTo>
                <a:cubicBezTo>
                  <a:pt x="147" y="102"/>
                  <a:pt x="149" y="104"/>
                  <a:pt x="150" y="106"/>
                </a:cubicBezTo>
                <a:cubicBezTo>
                  <a:pt x="149" y="106"/>
                  <a:pt x="149" y="106"/>
                  <a:pt x="149" y="107"/>
                </a:cubicBezTo>
                <a:cubicBezTo>
                  <a:pt x="149" y="108"/>
                  <a:pt x="150" y="109"/>
                  <a:pt x="152" y="109"/>
                </a:cubicBezTo>
                <a:close/>
                <a:moveTo>
                  <a:pt x="123" y="64"/>
                </a:moveTo>
                <a:cubicBezTo>
                  <a:pt x="137" y="64"/>
                  <a:pt x="149" y="52"/>
                  <a:pt x="149" y="37"/>
                </a:cubicBezTo>
                <a:cubicBezTo>
                  <a:pt x="149" y="23"/>
                  <a:pt x="137" y="11"/>
                  <a:pt x="123" y="11"/>
                </a:cubicBezTo>
                <a:cubicBezTo>
                  <a:pt x="108" y="11"/>
                  <a:pt x="96" y="23"/>
                  <a:pt x="96" y="37"/>
                </a:cubicBezTo>
                <a:cubicBezTo>
                  <a:pt x="96" y="52"/>
                  <a:pt x="108" y="64"/>
                  <a:pt x="123" y="64"/>
                </a:cubicBezTo>
                <a:close/>
                <a:moveTo>
                  <a:pt x="123" y="16"/>
                </a:moveTo>
                <a:cubicBezTo>
                  <a:pt x="134" y="16"/>
                  <a:pt x="144" y="26"/>
                  <a:pt x="144" y="37"/>
                </a:cubicBezTo>
                <a:cubicBezTo>
                  <a:pt x="144" y="49"/>
                  <a:pt x="134" y="59"/>
                  <a:pt x="123" y="59"/>
                </a:cubicBezTo>
                <a:cubicBezTo>
                  <a:pt x="111" y="59"/>
                  <a:pt x="101" y="49"/>
                  <a:pt x="101" y="37"/>
                </a:cubicBezTo>
                <a:cubicBezTo>
                  <a:pt x="101" y="26"/>
                  <a:pt x="111" y="16"/>
                  <a:pt x="123" y="16"/>
                </a:cubicBezTo>
                <a:close/>
                <a:moveTo>
                  <a:pt x="30" y="148"/>
                </a:moveTo>
                <a:cubicBezTo>
                  <a:pt x="30" y="149"/>
                  <a:pt x="31" y="149"/>
                  <a:pt x="32" y="149"/>
                </a:cubicBezTo>
                <a:cubicBezTo>
                  <a:pt x="32" y="149"/>
                  <a:pt x="33" y="149"/>
                  <a:pt x="33" y="149"/>
                </a:cubicBezTo>
                <a:cubicBezTo>
                  <a:pt x="35" y="149"/>
                  <a:pt x="36" y="149"/>
                  <a:pt x="37" y="149"/>
                </a:cubicBezTo>
                <a:cubicBezTo>
                  <a:pt x="40" y="149"/>
                  <a:pt x="43" y="149"/>
                  <a:pt x="46" y="148"/>
                </a:cubicBezTo>
                <a:cubicBezTo>
                  <a:pt x="46" y="149"/>
                  <a:pt x="47" y="149"/>
                  <a:pt x="48" y="149"/>
                </a:cubicBezTo>
                <a:cubicBezTo>
                  <a:pt x="49" y="149"/>
                  <a:pt x="51" y="148"/>
                  <a:pt x="51" y="147"/>
                </a:cubicBezTo>
                <a:cubicBezTo>
                  <a:pt x="51" y="146"/>
                  <a:pt x="51" y="146"/>
                  <a:pt x="50" y="146"/>
                </a:cubicBezTo>
                <a:cubicBezTo>
                  <a:pt x="56" y="143"/>
                  <a:pt x="60" y="138"/>
                  <a:pt x="62" y="133"/>
                </a:cubicBezTo>
                <a:cubicBezTo>
                  <a:pt x="63" y="133"/>
                  <a:pt x="63" y="133"/>
                  <a:pt x="64" y="133"/>
                </a:cubicBezTo>
                <a:cubicBezTo>
                  <a:pt x="65" y="133"/>
                  <a:pt x="67" y="132"/>
                  <a:pt x="67" y="131"/>
                </a:cubicBezTo>
                <a:cubicBezTo>
                  <a:pt x="67" y="129"/>
                  <a:pt x="65" y="128"/>
                  <a:pt x="64" y="128"/>
                </a:cubicBezTo>
                <a:cubicBezTo>
                  <a:pt x="64" y="128"/>
                  <a:pt x="64" y="128"/>
                  <a:pt x="63" y="128"/>
                </a:cubicBezTo>
                <a:cubicBezTo>
                  <a:pt x="64" y="126"/>
                  <a:pt x="64" y="125"/>
                  <a:pt x="64" y="123"/>
                </a:cubicBezTo>
                <a:cubicBezTo>
                  <a:pt x="64" y="121"/>
                  <a:pt x="64" y="119"/>
                  <a:pt x="63" y="117"/>
                </a:cubicBezTo>
                <a:cubicBezTo>
                  <a:pt x="64" y="117"/>
                  <a:pt x="64" y="117"/>
                  <a:pt x="64" y="117"/>
                </a:cubicBezTo>
                <a:cubicBezTo>
                  <a:pt x="65" y="117"/>
                  <a:pt x="67" y="116"/>
                  <a:pt x="67" y="115"/>
                </a:cubicBezTo>
                <a:cubicBezTo>
                  <a:pt x="67" y="113"/>
                  <a:pt x="65" y="112"/>
                  <a:pt x="64" y="112"/>
                </a:cubicBezTo>
                <a:cubicBezTo>
                  <a:pt x="63" y="112"/>
                  <a:pt x="63" y="112"/>
                  <a:pt x="62" y="113"/>
                </a:cubicBezTo>
                <a:cubicBezTo>
                  <a:pt x="61" y="111"/>
                  <a:pt x="60" y="109"/>
                  <a:pt x="59" y="107"/>
                </a:cubicBezTo>
                <a:cubicBezTo>
                  <a:pt x="59" y="107"/>
                  <a:pt x="59" y="107"/>
                  <a:pt x="59" y="107"/>
                </a:cubicBezTo>
                <a:cubicBezTo>
                  <a:pt x="59" y="105"/>
                  <a:pt x="58" y="104"/>
                  <a:pt x="56" y="104"/>
                </a:cubicBezTo>
                <a:cubicBezTo>
                  <a:pt x="55" y="102"/>
                  <a:pt x="53" y="101"/>
                  <a:pt x="50" y="100"/>
                </a:cubicBezTo>
                <a:cubicBezTo>
                  <a:pt x="51" y="99"/>
                  <a:pt x="51" y="99"/>
                  <a:pt x="51" y="99"/>
                </a:cubicBezTo>
                <a:cubicBezTo>
                  <a:pt x="51" y="97"/>
                  <a:pt x="49" y="96"/>
                  <a:pt x="48" y="96"/>
                </a:cubicBezTo>
                <a:cubicBezTo>
                  <a:pt x="47" y="96"/>
                  <a:pt x="46" y="97"/>
                  <a:pt x="46" y="97"/>
                </a:cubicBezTo>
                <a:cubicBezTo>
                  <a:pt x="43" y="96"/>
                  <a:pt x="40" y="96"/>
                  <a:pt x="37" y="96"/>
                </a:cubicBezTo>
                <a:cubicBezTo>
                  <a:pt x="36" y="96"/>
                  <a:pt x="35" y="96"/>
                  <a:pt x="33" y="96"/>
                </a:cubicBezTo>
                <a:cubicBezTo>
                  <a:pt x="33" y="96"/>
                  <a:pt x="32" y="96"/>
                  <a:pt x="32" y="96"/>
                </a:cubicBezTo>
                <a:cubicBezTo>
                  <a:pt x="31" y="96"/>
                  <a:pt x="30" y="96"/>
                  <a:pt x="30" y="97"/>
                </a:cubicBezTo>
                <a:cubicBezTo>
                  <a:pt x="19" y="100"/>
                  <a:pt x="11" y="111"/>
                  <a:pt x="11" y="123"/>
                </a:cubicBezTo>
                <a:cubicBezTo>
                  <a:pt x="11" y="135"/>
                  <a:pt x="19" y="145"/>
                  <a:pt x="30" y="148"/>
                </a:cubicBezTo>
                <a:close/>
                <a:moveTo>
                  <a:pt x="37" y="101"/>
                </a:moveTo>
                <a:cubicBezTo>
                  <a:pt x="49" y="101"/>
                  <a:pt x="59" y="111"/>
                  <a:pt x="59" y="123"/>
                </a:cubicBezTo>
                <a:cubicBezTo>
                  <a:pt x="59" y="134"/>
                  <a:pt x="49" y="144"/>
                  <a:pt x="37" y="144"/>
                </a:cubicBezTo>
                <a:cubicBezTo>
                  <a:pt x="26" y="144"/>
                  <a:pt x="16" y="134"/>
                  <a:pt x="16" y="123"/>
                </a:cubicBezTo>
                <a:cubicBezTo>
                  <a:pt x="16" y="111"/>
                  <a:pt x="26" y="101"/>
                  <a:pt x="37" y="101"/>
                </a:cubicBezTo>
                <a:close/>
                <a:moveTo>
                  <a:pt x="64" y="96"/>
                </a:moveTo>
                <a:cubicBezTo>
                  <a:pt x="65" y="96"/>
                  <a:pt x="67" y="97"/>
                  <a:pt x="67" y="99"/>
                </a:cubicBezTo>
                <a:cubicBezTo>
                  <a:pt x="67" y="100"/>
                  <a:pt x="65" y="101"/>
                  <a:pt x="64" y="101"/>
                </a:cubicBezTo>
                <a:cubicBezTo>
                  <a:pt x="63" y="101"/>
                  <a:pt x="61" y="100"/>
                  <a:pt x="61" y="99"/>
                </a:cubicBezTo>
                <a:cubicBezTo>
                  <a:pt x="61" y="97"/>
                  <a:pt x="63" y="96"/>
                  <a:pt x="64" y="96"/>
                </a:cubicBezTo>
                <a:close/>
                <a:moveTo>
                  <a:pt x="80" y="96"/>
                </a:moveTo>
                <a:cubicBezTo>
                  <a:pt x="81" y="96"/>
                  <a:pt x="83" y="97"/>
                  <a:pt x="83" y="99"/>
                </a:cubicBezTo>
                <a:cubicBezTo>
                  <a:pt x="83" y="100"/>
                  <a:pt x="81" y="101"/>
                  <a:pt x="80" y="101"/>
                </a:cubicBezTo>
                <a:cubicBezTo>
                  <a:pt x="79" y="101"/>
                  <a:pt x="77" y="100"/>
                  <a:pt x="77" y="99"/>
                </a:cubicBezTo>
                <a:cubicBezTo>
                  <a:pt x="77" y="97"/>
                  <a:pt x="79" y="96"/>
                  <a:pt x="80" y="96"/>
                </a:cubicBezTo>
                <a:close/>
                <a:moveTo>
                  <a:pt x="96" y="96"/>
                </a:moveTo>
                <a:cubicBezTo>
                  <a:pt x="97" y="96"/>
                  <a:pt x="99" y="97"/>
                  <a:pt x="99" y="99"/>
                </a:cubicBezTo>
                <a:cubicBezTo>
                  <a:pt x="99" y="100"/>
                  <a:pt x="97" y="101"/>
                  <a:pt x="96" y="101"/>
                </a:cubicBezTo>
                <a:cubicBezTo>
                  <a:pt x="95" y="101"/>
                  <a:pt x="93" y="100"/>
                  <a:pt x="93" y="99"/>
                </a:cubicBezTo>
                <a:cubicBezTo>
                  <a:pt x="93" y="97"/>
                  <a:pt x="95" y="96"/>
                  <a:pt x="96" y="96"/>
                </a:cubicBezTo>
                <a:close/>
                <a:moveTo>
                  <a:pt x="112" y="96"/>
                </a:moveTo>
                <a:cubicBezTo>
                  <a:pt x="113" y="96"/>
                  <a:pt x="115" y="97"/>
                  <a:pt x="115" y="99"/>
                </a:cubicBezTo>
                <a:cubicBezTo>
                  <a:pt x="115" y="100"/>
                  <a:pt x="113" y="101"/>
                  <a:pt x="112" y="101"/>
                </a:cubicBezTo>
                <a:cubicBezTo>
                  <a:pt x="111" y="101"/>
                  <a:pt x="109" y="100"/>
                  <a:pt x="109" y="99"/>
                </a:cubicBezTo>
                <a:cubicBezTo>
                  <a:pt x="109" y="97"/>
                  <a:pt x="111" y="96"/>
                  <a:pt x="112" y="96"/>
                </a:cubicBezTo>
                <a:close/>
                <a:moveTo>
                  <a:pt x="128" y="96"/>
                </a:moveTo>
                <a:cubicBezTo>
                  <a:pt x="129" y="96"/>
                  <a:pt x="131" y="97"/>
                  <a:pt x="131" y="99"/>
                </a:cubicBezTo>
                <a:cubicBezTo>
                  <a:pt x="131" y="100"/>
                  <a:pt x="129" y="101"/>
                  <a:pt x="128" y="101"/>
                </a:cubicBezTo>
                <a:cubicBezTo>
                  <a:pt x="127" y="101"/>
                  <a:pt x="125" y="100"/>
                  <a:pt x="125" y="99"/>
                </a:cubicBezTo>
                <a:cubicBezTo>
                  <a:pt x="125" y="97"/>
                  <a:pt x="127" y="96"/>
                  <a:pt x="128" y="96"/>
                </a:cubicBezTo>
                <a:close/>
                <a:moveTo>
                  <a:pt x="8" y="120"/>
                </a:moveTo>
                <a:cubicBezTo>
                  <a:pt x="9" y="120"/>
                  <a:pt x="11" y="121"/>
                  <a:pt x="11" y="123"/>
                </a:cubicBezTo>
                <a:cubicBezTo>
                  <a:pt x="11" y="124"/>
                  <a:pt x="9" y="125"/>
                  <a:pt x="8" y="125"/>
                </a:cubicBezTo>
                <a:cubicBezTo>
                  <a:pt x="7" y="125"/>
                  <a:pt x="5" y="124"/>
                  <a:pt x="5" y="123"/>
                </a:cubicBezTo>
                <a:cubicBezTo>
                  <a:pt x="5" y="121"/>
                  <a:pt x="7" y="120"/>
                  <a:pt x="8" y="120"/>
                </a:cubicBezTo>
                <a:close/>
                <a:moveTo>
                  <a:pt x="72" y="104"/>
                </a:moveTo>
                <a:cubicBezTo>
                  <a:pt x="73" y="104"/>
                  <a:pt x="75" y="105"/>
                  <a:pt x="75" y="107"/>
                </a:cubicBezTo>
                <a:cubicBezTo>
                  <a:pt x="75" y="108"/>
                  <a:pt x="73" y="109"/>
                  <a:pt x="72" y="109"/>
                </a:cubicBezTo>
                <a:cubicBezTo>
                  <a:pt x="71" y="109"/>
                  <a:pt x="69" y="108"/>
                  <a:pt x="69" y="107"/>
                </a:cubicBezTo>
                <a:cubicBezTo>
                  <a:pt x="69" y="105"/>
                  <a:pt x="71" y="104"/>
                  <a:pt x="72" y="104"/>
                </a:cubicBezTo>
                <a:close/>
                <a:moveTo>
                  <a:pt x="88" y="104"/>
                </a:moveTo>
                <a:cubicBezTo>
                  <a:pt x="89" y="104"/>
                  <a:pt x="91" y="105"/>
                  <a:pt x="91" y="107"/>
                </a:cubicBezTo>
                <a:cubicBezTo>
                  <a:pt x="91" y="108"/>
                  <a:pt x="89" y="109"/>
                  <a:pt x="88" y="109"/>
                </a:cubicBezTo>
                <a:cubicBezTo>
                  <a:pt x="87" y="109"/>
                  <a:pt x="85" y="108"/>
                  <a:pt x="85" y="107"/>
                </a:cubicBezTo>
                <a:cubicBezTo>
                  <a:pt x="85" y="105"/>
                  <a:pt x="87" y="104"/>
                  <a:pt x="88" y="104"/>
                </a:cubicBezTo>
                <a:close/>
                <a:moveTo>
                  <a:pt x="72" y="120"/>
                </a:moveTo>
                <a:cubicBezTo>
                  <a:pt x="73" y="120"/>
                  <a:pt x="75" y="121"/>
                  <a:pt x="75" y="123"/>
                </a:cubicBezTo>
                <a:cubicBezTo>
                  <a:pt x="75" y="124"/>
                  <a:pt x="73" y="125"/>
                  <a:pt x="72" y="125"/>
                </a:cubicBezTo>
                <a:cubicBezTo>
                  <a:pt x="71" y="125"/>
                  <a:pt x="69" y="124"/>
                  <a:pt x="69" y="123"/>
                </a:cubicBezTo>
                <a:cubicBezTo>
                  <a:pt x="69" y="121"/>
                  <a:pt x="71" y="120"/>
                  <a:pt x="72" y="120"/>
                </a:cubicBezTo>
                <a:close/>
                <a:moveTo>
                  <a:pt x="88" y="120"/>
                </a:moveTo>
                <a:cubicBezTo>
                  <a:pt x="89" y="120"/>
                  <a:pt x="91" y="121"/>
                  <a:pt x="91" y="123"/>
                </a:cubicBezTo>
                <a:cubicBezTo>
                  <a:pt x="91" y="124"/>
                  <a:pt x="89" y="125"/>
                  <a:pt x="88" y="125"/>
                </a:cubicBezTo>
                <a:cubicBezTo>
                  <a:pt x="87" y="125"/>
                  <a:pt x="85" y="124"/>
                  <a:pt x="85" y="123"/>
                </a:cubicBezTo>
                <a:cubicBezTo>
                  <a:pt x="85" y="121"/>
                  <a:pt x="87" y="120"/>
                  <a:pt x="88" y="120"/>
                </a:cubicBezTo>
                <a:close/>
                <a:moveTo>
                  <a:pt x="80" y="112"/>
                </a:moveTo>
                <a:cubicBezTo>
                  <a:pt x="81" y="112"/>
                  <a:pt x="83" y="113"/>
                  <a:pt x="83" y="115"/>
                </a:cubicBezTo>
                <a:cubicBezTo>
                  <a:pt x="83" y="116"/>
                  <a:pt x="81" y="117"/>
                  <a:pt x="80" y="117"/>
                </a:cubicBezTo>
                <a:cubicBezTo>
                  <a:pt x="79" y="117"/>
                  <a:pt x="77" y="116"/>
                  <a:pt x="77" y="115"/>
                </a:cubicBezTo>
                <a:cubicBezTo>
                  <a:pt x="77" y="113"/>
                  <a:pt x="79" y="112"/>
                  <a:pt x="80" y="112"/>
                </a:cubicBezTo>
                <a:close/>
                <a:moveTo>
                  <a:pt x="96" y="112"/>
                </a:moveTo>
                <a:cubicBezTo>
                  <a:pt x="97" y="112"/>
                  <a:pt x="99" y="113"/>
                  <a:pt x="99" y="115"/>
                </a:cubicBezTo>
                <a:cubicBezTo>
                  <a:pt x="99" y="116"/>
                  <a:pt x="97" y="117"/>
                  <a:pt x="96" y="117"/>
                </a:cubicBezTo>
                <a:cubicBezTo>
                  <a:pt x="95" y="117"/>
                  <a:pt x="93" y="116"/>
                  <a:pt x="93" y="115"/>
                </a:cubicBezTo>
                <a:cubicBezTo>
                  <a:pt x="93" y="113"/>
                  <a:pt x="95" y="112"/>
                  <a:pt x="96" y="112"/>
                </a:cubicBezTo>
                <a:close/>
                <a:moveTo>
                  <a:pt x="80" y="128"/>
                </a:moveTo>
                <a:cubicBezTo>
                  <a:pt x="81" y="128"/>
                  <a:pt x="83" y="129"/>
                  <a:pt x="83" y="131"/>
                </a:cubicBezTo>
                <a:cubicBezTo>
                  <a:pt x="83" y="132"/>
                  <a:pt x="81" y="133"/>
                  <a:pt x="80" y="133"/>
                </a:cubicBezTo>
                <a:cubicBezTo>
                  <a:pt x="79" y="133"/>
                  <a:pt x="77" y="132"/>
                  <a:pt x="77" y="131"/>
                </a:cubicBezTo>
                <a:cubicBezTo>
                  <a:pt x="77" y="129"/>
                  <a:pt x="79" y="128"/>
                  <a:pt x="80" y="128"/>
                </a:cubicBezTo>
                <a:close/>
                <a:moveTo>
                  <a:pt x="96" y="128"/>
                </a:moveTo>
                <a:cubicBezTo>
                  <a:pt x="97" y="128"/>
                  <a:pt x="99" y="129"/>
                  <a:pt x="99" y="131"/>
                </a:cubicBezTo>
                <a:cubicBezTo>
                  <a:pt x="99" y="132"/>
                  <a:pt x="97" y="133"/>
                  <a:pt x="96" y="133"/>
                </a:cubicBezTo>
                <a:cubicBezTo>
                  <a:pt x="95" y="133"/>
                  <a:pt x="93" y="132"/>
                  <a:pt x="93" y="131"/>
                </a:cubicBezTo>
                <a:cubicBezTo>
                  <a:pt x="93" y="129"/>
                  <a:pt x="95" y="128"/>
                  <a:pt x="96" y="128"/>
                </a:cubicBezTo>
                <a:close/>
                <a:moveTo>
                  <a:pt x="104" y="104"/>
                </a:moveTo>
                <a:cubicBezTo>
                  <a:pt x="105" y="104"/>
                  <a:pt x="107" y="105"/>
                  <a:pt x="107" y="107"/>
                </a:cubicBezTo>
                <a:cubicBezTo>
                  <a:pt x="107" y="108"/>
                  <a:pt x="105" y="109"/>
                  <a:pt x="104" y="109"/>
                </a:cubicBezTo>
                <a:cubicBezTo>
                  <a:pt x="103" y="109"/>
                  <a:pt x="101" y="108"/>
                  <a:pt x="101" y="107"/>
                </a:cubicBezTo>
                <a:cubicBezTo>
                  <a:pt x="101" y="105"/>
                  <a:pt x="103" y="104"/>
                  <a:pt x="104" y="104"/>
                </a:cubicBezTo>
                <a:close/>
                <a:moveTo>
                  <a:pt x="120" y="104"/>
                </a:moveTo>
                <a:cubicBezTo>
                  <a:pt x="121" y="104"/>
                  <a:pt x="123" y="105"/>
                  <a:pt x="123" y="107"/>
                </a:cubicBezTo>
                <a:cubicBezTo>
                  <a:pt x="123" y="108"/>
                  <a:pt x="121" y="109"/>
                  <a:pt x="120" y="109"/>
                </a:cubicBezTo>
                <a:cubicBezTo>
                  <a:pt x="119" y="109"/>
                  <a:pt x="117" y="108"/>
                  <a:pt x="117" y="107"/>
                </a:cubicBezTo>
                <a:cubicBezTo>
                  <a:pt x="117" y="105"/>
                  <a:pt x="119" y="104"/>
                  <a:pt x="120" y="104"/>
                </a:cubicBezTo>
                <a:close/>
                <a:moveTo>
                  <a:pt x="104" y="120"/>
                </a:moveTo>
                <a:cubicBezTo>
                  <a:pt x="105" y="120"/>
                  <a:pt x="107" y="121"/>
                  <a:pt x="107" y="123"/>
                </a:cubicBezTo>
                <a:cubicBezTo>
                  <a:pt x="107" y="124"/>
                  <a:pt x="105" y="125"/>
                  <a:pt x="104" y="125"/>
                </a:cubicBezTo>
                <a:cubicBezTo>
                  <a:pt x="103" y="125"/>
                  <a:pt x="101" y="124"/>
                  <a:pt x="101" y="123"/>
                </a:cubicBezTo>
                <a:cubicBezTo>
                  <a:pt x="101" y="121"/>
                  <a:pt x="103" y="120"/>
                  <a:pt x="104" y="120"/>
                </a:cubicBezTo>
                <a:close/>
                <a:moveTo>
                  <a:pt x="120" y="120"/>
                </a:moveTo>
                <a:cubicBezTo>
                  <a:pt x="121" y="120"/>
                  <a:pt x="123" y="121"/>
                  <a:pt x="123" y="123"/>
                </a:cubicBezTo>
                <a:cubicBezTo>
                  <a:pt x="123" y="124"/>
                  <a:pt x="121" y="125"/>
                  <a:pt x="120" y="125"/>
                </a:cubicBezTo>
                <a:cubicBezTo>
                  <a:pt x="119" y="125"/>
                  <a:pt x="117" y="124"/>
                  <a:pt x="117" y="123"/>
                </a:cubicBezTo>
                <a:cubicBezTo>
                  <a:pt x="117" y="121"/>
                  <a:pt x="119" y="120"/>
                  <a:pt x="120" y="120"/>
                </a:cubicBezTo>
                <a:close/>
                <a:moveTo>
                  <a:pt x="112" y="112"/>
                </a:moveTo>
                <a:cubicBezTo>
                  <a:pt x="113" y="112"/>
                  <a:pt x="115" y="113"/>
                  <a:pt x="115" y="115"/>
                </a:cubicBezTo>
                <a:cubicBezTo>
                  <a:pt x="115" y="116"/>
                  <a:pt x="113" y="117"/>
                  <a:pt x="112" y="117"/>
                </a:cubicBezTo>
                <a:cubicBezTo>
                  <a:pt x="111" y="117"/>
                  <a:pt x="109" y="116"/>
                  <a:pt x="109" y="115"/>
                </a:cubicBezTo>
                <a:cubicBezTo>
                  <a:pt x="109" y="113"/>
                  <a:pt x="111" y="112"/>
                  <a:pt x="112" y="112"/>
                </a:cubicBezTo>
                <a:close/>
                <a:moveTo>
                  <a:pt x="128" y="112"/>
                </a:moveTo>
                <a:cubicBezTo>
                  <a:pt x="129" y="112"/>
                  <a:pt x="131" y="113"/>
                  <a:pt x="131" y="115"/>
                </a:cubicBezTo>
                <a:cubicBezTo>
                  <a:pt x="131" y="116"/>
                  <a:pt x="129" y="117"/>
                  <a:pt x="128" y="117"/>
                </a:cubicBezTo>
                <a:cubicBezTo>
                  <a:pt x="127" y="117"/>
                  <a:pt x="125" y="116"/>
                  <a:pt x="125" y="115"/>
                </a:cubicBezTo>
                <a:cubicBezTo>
                  <a:pt x="125" y="113"/>
                  <a:pt x="127" y="112"/>
                  <a:pt x="128" y="112"/>
                </a:cubicBezTo>
                <a:close/>
                <a:moveTo>
                  <a:pt x="112" y="128"/>
                </a:moveTo>
                <a:cubicBezTo>
                  <a:pt x="113" y="128"/>
                  <a:pt x="115" y="129"/>
                  <a:pt x="115" y="131"/>
                </a:cubicBezTo>
                <a:cubicBezTo>
                  <a:pt x="115" y="132"/>
                  <a:pt x="113" y="133"/>
                  <a:pt x="112" y="133"/>
                </a:cubicBezTo>
                <a:cubicBezTo>
                  <a:pt x="111" y="133"/>
                  <a:pt x="109" y="132"/>
                  <a:pt x="109" y="131"/>
                </a:cubicBezTo>
                <a:cubicBezTo>
                  <a:pt x="109" y="129"/>
                  <a:pt x="111" y="128"/>
                  <a:pt x="112" y="128"/>
                </a:cubicBezTo>
                <a:close/>
                <a:moveTo>
                  <a:pt x="128" y="128"/>
                </a:moveTo>
                <a:cubicBezTo>
                  <a:pt x="129" y="128"/>
                  <a:pt x="131" y="129"/>
                  <a:pt x="131" y="131"/>
                </a:cubicBezTo>
                <a:cubicBezTo>
                  <a:pt x="131" y="132"/>
                  <a:pt x="129" y="133"/>
                  <a:pt x="128" y="133"/>
                </a:cubicBezTo>
                <a:cubicBezTo>
                  <a:pt x="127" y="133"/>
                  <a:pt x="125" y="132"/>
                  <a:pt x="125" y="131"/>
                </a:cubicBezTo>
                <a:cubicBezTo>
                  <a:pt x="125" y="129"/>
                  <a:pt x="127" y="128"/>
                  <a:pt x="128" y="128"/>
                </a:cubicBezTo>
                <a:close/>
                <a:moveTo>
                  <a:pt x="136" y="104"/>
                </a:moveTo>
                <a:cubicBezTo>
                  <a:pt x="137" y="104"/>
                  <a:pt x="139" y="105"/>
                  <a:pt x="139" y="107"/>
                </a:cubicBezTo>
                <a:cubicBezTo>
                  <a:pt x="139" y="108"/>
                  <a:pt x="137" y="109"/>
                  <a:pt x="136" y="109"/>
                </a:cubicBezTo>
                <a:cubicBezTo>
                  <a:pt x="135" y="109"/>
                  <a:pt x="133" y="108"/>
                  <a:pt x="133" y="107"/>
                </a:cubicBezTo>
                <a:cubicBezTo>
                  <a:pt x="133" y="105"/>
                  <a:pt x="135" y="104"/>
                  <a:pt x="136" y="104"/>
                </a:cubicBezTo>
                <a:close/>
                <a:moveTo>
                  <a:pt x="136" y="120"/>
                </a:moveTo>
                <a:cubicBezTo>
                  <a:pt x="137" y="120"/>
                  <a:pt x="139" y="121"/>
                  <a:pt x="139" y="123"/>
                </a:cubicBezTo>
                <a:cubicBezTo>
                  <a:pt x="139" y="124"/>
                  <a:pt x="137" y="125"/>
                  <a:pt x="136" y="125"/>
                </a:cubicBezTo>
                <a:cubicBezTo>
                  <a:pt x="135" y="125"/>
                  <a:pt x="133" y="124"/>
                  <a:pt x="133" y="123"/>
                </a:cubicBezTo>
                <a:cubicBezTo>
                  <a:pt x="133" y="121"/>
                  <a:pt x="135" y="120"/>
                  <a:pt x="136" y="120"/>
                </a:cubicBezTo>
                <a:close/>
                <a:moveTo>
                  <a:pt x="152" y="120"/>
                </a:moveTo>
                <a:cubicBezTo>
                  <a:pt x="153" y="120"/>
                  <a:pt x="155" y="121"/>
                  <a:pt x="155" y="123"/>
                </a:cubicBezTo>
                <a:cubicBezTo>
                  <a:pt x="155" y="124"/>
                  <a:pt x="153" y="125"/>
                  <a:pt x="152" y="125"/>
                </a:cubicBezTo>
                <a:cubicBezTo>
                  <a:pt x="151" y="125"/>
                  <a:pt x="149" y="124"/>
                  <a:pt x="149" y="123"/>
                </a:cubicBezTo>
                <a:cubicBezTo>
                  <a:pt x="149" y="121"/>
                  <a:pt x="151" y="120"/>
                  <a:pt x="152" y="120"/>
                </a:cubicBezTo>
                <a:close/>
                <a:moveTo>
                  <a:pt x="72" y="136"/>
                </a:moveTo>
                <a:cubicBezTo>
                  <a:pt x="73" y="136"/>
                  <a:pt x="75" y="137"/>
                  <a:pt x="75" y="139"/>
                </a:cubicBezTo>
                <a:cubicBezTo>
                  <a:pt x="75" y="140"/>
                  <a:pt x="73" y="141"/>
                  <a:pt x="72" y="141"/>
                </a:cubicBezTo>
                <a:cubicBezTo>
                  <a:pt x="71" y="141"/>
                  <a:pt x="69" y="140"/>
                  <a:pt x="69" y="139"/>
                </a:cubicBezTo>
                <a:cubicBezTo>
                  <a:pt x="69" y="137"/>
                  <a:pt x="71" y="136"/>
                  <a:pt x="72" y="136"/>
                </a:cubicBezTo>
                <a:close/>
                <a:moveTo>
                  <a:pt x="88" y="136"/>
                </a:moveTo>
                <a:cubicBezTo>
                  <a:pt x="89" y="136"/>
                  <a:pt x="91" y="137"/>
                  <a:pt x="91" y="139"/>
                </a:cubicBezTo>
                <a:cubicBezTo>
                  <a:pt x="91" y="140"/>
                  <a:pt x="89" y="141"/>
                  <a:pt x="88" y="141"/>
                </a:cubicBezTo>
                <a:cubicBezTo>
                  <a:pt x="87" y="141"/>
                  <a:pt x="85" y="140"/>
                  <a:pt x="85" y="139"/>
                </a:cubicBezTo>
                <a:cubicBezTo>
                  <a:pt x="85" y="137"/>
                  <a:pt x="87" y="136"/>
                  <a:pt x="88" y="136"/>
                </a:cubicBezTo>
                <a:close/>
                <a:moveTo>
                  <a:pt x="104" y="136"/>
                </a:moveTo>
                <a:cubicBezTo>
                  <a:pt x="105" y="136"/>
                  <a:pt x="107" y="137"/>
                  <a:pt x="107" y="139"/>
                </a:cubicBezTo>
                <a:cubicBezTo>
                  <a:pt x="107" y="140"/>
                  <a:pt x="105" y="141"/>
                  <a:pt x="104" y="141"/>
                </a:cubicBezTo>
                <a:cubicBezTo>
                  <a:pt x="103" y="141"/>
                  <a:pt x="101" y="140"/>
                  <a:pt x="101" y="139"/>
                </a:cubicBezTo>
                <a:cubicBezTo>
                  <a:pt x="101" y="137"/>
                  <a:pt x="103" y="136"/>
                  <a:pt x="104" y="136"/>
                </a:cubicBezTo>
                <a:close/>
                <a:moveTo>
                  <a:pt x="120" y="136"/>
                </a:moveTo>
                <a:cubicBezTo>
                  <a:pt x="121" y="136"/>
                  <a:pt x="123" y="137"/>
                  <a:pt x="123" y="139"/>
                </a:cubicBezTo>
                <a:cubicBezTo>
                  <a:pt x="123" y="140"/>
                  <a:pt x="121" y="141"/>
                  <a:pt x="120" y="141"/>
                </a:cubicBezTo>
                <a:cubicBezTo>
                  <a:pt x="119" y="141"/>
                  <a:pt x="117" y="140"/>
                  <a:pt x="117" y="139"/>
                </a:cubicBezTo>
                <a:cubicBezTo>
                  <a:pt x="117" y="137"/>
                  <a:pt x="119" y="136"/>
                  <a:pt x="120" y="136"/>
                </a:cubicBezTo>
                <a:close/>
                <a:moveTo>
                  <a:pt x="136" y="136"/>
                </a:moveTo>
                <a:cubicBezTo>
                  <a:pt x="137" y="136"/>
                  <a:pt x="139" y="137"/>
                  <a:pt x="139" y="139"/>
                </a:cubicBezTo>
                <a:cubicBezTo>
                  <a:pt x="139" y="140"/>
                  <a:pt x="137" y="141"/>
                  <a:pt x="136" y="141"/>
                </a:cubicBezTo>
                <a:cubicBezTo>
                  <a:pt x="135" y="141"/>
                  <a:pt x="133" y="140"/>
                  <a:pt x="133" y="139"/>
                </a:cubicBezTo>
                <a:cubicBezTo>
                  <a:pt x="133" y="137"/>
                  <a:pt x="135" y="136"/>
                  <a:pt x="136" y="136"/>
                </a:cubicBezTo>
                <a:close/>
                <a:moveTo>
                  <a:pt x="144" y="112"/>
                </a:moveTo>
                <a:cubicBezTo>
                  <a:pt x="145" y="112"/>
                  <a:pt x="147" y="113"/>
                  <a:pt x="147" y="115"/>
                </a:cubicBezTo>
                <a:cubicBezTo>
                  <a:pt x="147" y="116"/>
                  <a:pt x="145" y="117"/>
                  <a:pt x="144" y="117"/>
                </a:cubicBezTo>
                <a:cubicBezTo>
                  <a:pt x="143" y="117"/>
                  <a:pt x="141" y="116"/>
                  <a:pt x="141" y="115"/>
                </a:cubicBezTo>
                <a:cubicBezTo>
                  <a:pt x="141" y="113"/>
                  <a:pt x="143" y="112"/>
                  <a:pt x="144" y="112"/>
                </a:cubicBezTo>
                <a:close/>
                <a:moveTo>
                  <a:pt x="144" y="128"/>
                </a:moveTo>
                <a:cubicBezTo>
                  <a:pt x="145" y="128"/>
                  <a:pt x="147" y="129"/>
                  <a:pt x="147" y="131"/>
                </a:cubicBezTo>
                <a:cubicBezTo>
                  <a:pt x="147" y="132"/>
                  <a:pt x="145" y="133"/>
                  <a:pt x="144" y="133"/>
                </a:cubicBezTo>
                <a:cubicBezTo>
                  <a:pt x="143" y="133"/>
                  <a:pt x="141" y="132"/>
                  <a:pt x="141" y="131"/>
                </a:cubicBezTo>
                <a:cubicBezTo>
                  <a:pt x="141" y="129"/>
                  <a:pt x="143" y="128"/>
                  <a:pt x="144" y="128"/>
                </a:cubicBezTo>
                <a:close/>
                <a:moveTo>
                  <a:pt x="64" y="144"/>
                </a:moveTo>
                <a:cubicBezTo>
                  <a:pt x="65" y="144"/>
                  <a:pt x="67" y="145"/>
                  <a:pt x="67" y="147"/>
                </a:cubicBezTo>
                <a:cubicBezTo>
                  <a:pt x="67" y="148"/>
                  <a:pt x="65" y="149"/>
                  <a:pt x="64" y="149"/>
                </a:cubicBezTo>
                <a:cubicBezTo>
                  <a:pt x="63" y="149"/>
                  <a:pt x="61" y="148"/>
                  <a:pt x="61" y="147"/>
                </a:cubicBezTo>
                <a:cubicBezTo>
                  <a:pt x="61" y="145"/>
                  <a:pt x="63" y="144"/>
                  <a:pt x="64" y="144"/>
                </a:cubicBezTo>
                <a:close/>
                <a:moveTo>
                  <a:pt x="80" y="144"/>
                </a:moveTo>
                <a:cubicBezTo>
                  <a:pt x="81" y="144"/>
                  <a:pt x="83" y="145"/>
                  <a:pt x="83" y="147"/>
                </a:cubicBezTo>
                <a:cubicBezTo>
                  <a:pt x="83" y="148"/>
                  <a:pt x="81" y="149"/>
                  <a:pt x="80" y="149"/>
                </a:cubicBezTo>
                <a:cubicBezTo>
                  <a:pt x="79" y="149"/>
                  <a:pt x="77" y="148"/>
                  <a:pt x="77" y="147"/>
                </a:cubicBezTo>
                <a:cubicBezTo>
                  <a:pt x="77" y="145"/>
                  <a:pt x="79" y="144"/>
                  <a:pt x="80" y="144"/>
                </a:cubicBezTo>
                <a:close/>
                <a:moveTo>
                  <a:pt x="96" y="144"/>
                </a:moveTo>
                <a:cubicBezTo>
                  <a:pt x="97" y="144"/>
                  <a:pt x="99" y="145"/>
                  <a:pt x="99" y="147"/>
                </a:cubicBezTo>
                <a:cubicBezTo>
                  <a:pt x="99" y="148"/>
                  <a:pt x="97" y="149"/>
                  <a:pt x="96" y="149"/>
                </a:cubicBezTo>
                <a:cubicBezTo>
                  <a:pt x="95" y="149"/>
                  <a:pt x="93" y="148"/>
                  <a:pt x="93" y="147"/>
                </a:cubicBezTo>
                <a:cubicBezTo>
                  <a:pt x="93" y="145"/>
                  <a:pt x="95" y="144"/>
                  <a:pt x="96" y="144"/>
                </a:cubicBezTo>
                <a:close/>
                <a:moveTo>
                  <a:pt x="112" y="144"/>
                </a:moveTo>
                <a:cubicBezTo>
                  <a:pt x="113" y="144"/>
                  <a:pt x="115" y="145"/>
                  <a:pt x="115" y="147"/>
                </a:cubicBezTo>
                <a:cubicBezTo>
                  <a:pt x="115" y="148"/>
                  <a:pt x="113" y="149"/>
                  <a:pt x="112" y="149"/>
                </a:cubicBezTo>
                <a:cubicBezTo>
                  <a:pt x="111" y="149"/>
                  <a:pt x="109" y="148"/>
                  <a:pt x="109" y="147"/>
                </a:cubicBezTo>
                <a:cubicBezTo>
                  <a:pt x="109" y="145"/>
                  <a:pt x="111" y="144"/>
                  <a:pt x="112" y="144"/>
                </a:cubicBezTo>
                <a:close/>
                <a:moveTo>
                  <a:pt x="128" y="144"/>
                </a:moveTo>
                <a:cubicBezTo>
                  <a:pt x="129" y="144"/>
                  <a:pt x="131" y="145"/>
                  <a:pt x="131" y="147"/>
                </a:cubicBezTo>
                <a:cubicBezTo>
                  <a:pt x="131" y="148"/>
                  <a:pt x="129" y="149"/>
                  <a:pt x="128" y="149"/>
                </a:cubicBezTo>
                <a:cubicBezTo>
                  <a:pt x="127" y="149"/>
                  <a:pt x="125" y="148"/>
                  <a:pt x="125" y="147"/>
                </a:cubicBezTo>
                <a:cubicBezTo>
                  <a:pt x="125" y="145"/>
                  <a:pt x="127" y="144"/>
                  <a:pt x="128" y="14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36">
            <a:extLst>
              <a:ext uri="{FF2B5EF4-FFF2-40B4-BE49-F238E27FC236}">
                <a16:creationId xmlns:a16="http://schemas.microsoft.com/office/drawing/2014/main" id="{B0D1C0CE-0C53-414B-A3C6-0F3527451760}"/>
              </a:ext>
            </a:extLst>
          </p:cNvPr>
          <p:cNvSpPr>
            <a:spLocks noEditPoints="1"/>
          </p:cNvSpPr>
          <p:nvPr/>
        </p:nvSpPr>
        <p:spPr bwMode="auto">
          <a:xfrm>
            <a:off x="3741429" y="3244850"/>
            <a:ext cx="600075" cy="363538"/>
          </a:xfrm>
          <a:custGeom>
            <a:avLst/>
            <a:gdLst>
              <a:gd name="T0" fmla="*/ 112 w 160"/>
              <a:gd name="T1" fmla="*/ 0 h 96"/>
              <a:gd name="T2" fmla="*/ 48 w 160"/>
              <a:gd name="T3" fmla="*/ 0 h 96"/>
              <a:gd name="T4" fmla="*/ 0 w 160"/>
              <a:gd name="T5" fmla="*/ 48 h 96"/>
              <a:gd name="T6" fmla="*/ 48 w 160"/>
              <a:gd name="T7" fmla="*/ 96 h 96"/>
              <a:gd name="T8" fmla="*/ 112 w 160"/>
              <a:gd name="T9" fmla="*/ 96 h 96"/>
              <a:gd name="T10" fmla="*/ 160 w 160"/>
              <a:gd name="T11" fmla="*/ 48 h 96"/>
              <a:gd name="T12" fmla="*/ 112 w 160"/>
              <a:gd name="T13" fmla="*/ 0 h 96"/>
              <a:gd name="T14" fmla="*/ 112 w 160"/>
              <a:gd name="T15" fmla="*/ 91 h 96"/>
              <a:gd name="T16" fmla="*/ 48 w 160"/>
              <a:gd name="T17" fmla="*/ 91 h 96"/>
              <a:gd name="T18" fmla="*/ 5 w 160"/>
              <a:gd name="T19" fmla="*/ 48 h 96"/>
              <a:gd name="T20" fmla="*/ 48 w 160"/>
              <a:gd name="T21" fmla="*/ 5 h 96"/>
              <a:gd name="T22" fmla="*/ 112 w 160"/>
              <a:gd name="T23" fmla="*/ 5 h 96"/>
              <a:gd name="T24" fmla="*/ 155 w 160"/>
              <a:gd name="T25" fmla="*/ 48 h 96"/>
              <a:gd name="T26" fmla="*/ 112 w 160"/>
              <a:gd name="T27" fmla="*/ 91 h 96"/>
              <a:gd name="T28" fmla="*/ 112 w 160"/>
              <a:gd name="T29" fmla="*/ 13 h 96"/>
              <a:gd name="T30" fmla="*/ 77 w 160"/>
              <a:gd name="T31" fmla="*/ 48 h 96"/>
              <a:gd name="T32" fmla="*/ 112 w 160"/>
              <a:gd name="T33" fmla="*/ 83 h 96"/>
              <a:gd name="T34" fmla="*/ 147 w 160"/>
              <a:gd name="T35" fmla="*/ 48 h 96"/>
              <a:gd name="T36" fmla="*/ 112 w 160"/>
              <a:gd name="T37" fmla="*/ 13 h 96"/>
              <a:gd name="T38" fmla="*/ 112 w 160"/>
              <a:gd name="T39" fmla="*/ 77 h 96"/>
              <a:gd name="T40" fmla="*/ 83 w 160"/>
              <a:gd name="T41" fmla="*/ 48 h 96"/>
              <a:gd name="T42" fmla="*/ 112 w 160"/>
              <a:gd name="T43" fmla="*/ 19 h 96"/>
              <a:gd name="T44" fmla="*/ 141 w 160"/>
              <a:gd name="T45" fmla="*/ 48 h 96"/>
              <a:gd name="T46" fmla="*/ 112 w 160"/>
              <a:gd name="T47" fmla="*/ 77 h 96"/>
              <a:gd name="T48" fmla="*/ 48 w 160"/>
              <a:gd name="T49" fmla="*/ 27 h 96"/>
              <a:gd name="T50" fmla="*/ 48 w 160"/>
              <a:gd name="T51" fmla="*/ 69 h 96"/>
              <a:gd name="T52" fmla="*/ 45 w 160"/>
              <a:gd name="T53" fmla="*/ 72 h 96"/>
              <a:gd name="T54" fmla="*/ 43 w 160"/>
              <a:gd name="T55" fmla="*/ 69 h 96"/>
              <a:gd name="T56" fmla="*/ 43 w 160"/>
              <a:gd name="T57" fmla="*/ 27 h 96"/>
              <a:gd name="T58" fmla="*/ 45 w 160"/>
              <a:gd name="T59" fmla="*/ 24 h 96"/>
              <a:gd name="T60" fmla="*/ 48 w 160"/>
              <a:gd name="T6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96">
                <a:moveTo>
                  <a:pt x="112" y="0"/>
                </a:moveTo>
                <a:cubicBezTo>
                  <a:pt x="48" y="0"/>
                  <a:pt x="48" y="0"/>
                  <a:pt x="48" y="0"/>
                </a:cubicBezTo>
                <a:cubicBezTo>
                  <a:pt x="22" y="0"/>
                  <a:pt x="0" y="22"/>
                  <a:pt x="0" y="48"/>
                </a:cubicBezTo>
                <a:cubicBezTo>
                  <a:pt x="0" y="74"/>
                  <a:pt x="22" y="96"/>
                  <a:pt x="48" y="96"/>
                </a:cubicBezTo>
                <a:cubicBezTo>
                  <a:pt x="112" y="96"/>
                  <a:pt x="112" y="96"/>
                  <a:pt x="112" y="96"/>
                </a:cubicBezTo>
                <a:cubicBezTo>
                  <a:pt x="138" y="96"/>
                  <a:pt x="160" y="74"/>
                  <a:pt x="160" y="48"/>
                </a:cubicBezTo>
                <a:cubicBezTo>
                  <a:pt x="160" y="22"/>
                  <a:pt x="138" y="0"/>
                  <a:pt x="112" y="0"/>
                </a:cubicBezTo>
                <a:close/>
                <a:moveTo>
                  <a:pt x="112" y="91"/>
                </a:moveTo>
                <a:cubicBezTo>
                  <a:pt x="48" y="91"/>
                  <a:pt x="48" y="91"/>
                  <a:pt x="48" y="91"/>
                </a:cubicBezTo>
                <a:cubicBezTo>
                  <a:pt x="24" y="91"/>
                  <a:pt x="5" y="72"/>
                  <a:pt x="5" y="48"/>
                </a:cubicBezTo>
                <a:cubicBezTo>
                  <a:pt x="5" y="24"/>
                  <a:pt x="24" y="5"/>
                  <a:pt x="48" y="5"/>
                </a:cubicBezTo>
                <a:cubicBezTo>
                  <a:pt x="112" y="5"/>
                  <a:pt x="112" y="5"/>
                  <a:pt x="112" y="5"/>
                </a:cubicBezTo>
                <a:cubicBezTo>
                  <a:pt x="136" y="5"/>
                  <a:pt x="155" y="24"/>
                  <a:pt x="155" y="48"/>
                </a:cubicBezTo>
                <a:cubicBezTo>
                  <a:pt x="155" y="72"/>
                  <a:pt x="136" y="91"/>
                  <a:pt x="112" y="91"/>
                </a:cubicBezTo>
                <a:close/>
                <a:moveTo>
                  <a:pt x="112" y="13"/>
                </a:moveTo>
                <a:cubicBezTo>
                  <a:pt x="93" y="13"/>
                  <a:pt x="77" y="29"/>
                  <a:pt x="77" y="48"/>
                </a:cubicBezTo>
                <a:cubicBezTo>
                  <a:pt x="77" y="67"/>
                  <a:pt x="93" y="83"/>
                  <a:pt x="112" y="83"/>
                </a:cubicBezTo>
                <a:cubicBezTo>
                  <a:pt x="131" y="83"/>
                  <a:pt x="147" y="67"/>
                  <a:pt x="147" y="48"/>
                </a:cubicBezTo>
                <a:cubicBezTo>
                  <a:pt x="147" y="29"/>
                  <a:pt x="131" y="13"/>
                  <a:pt x="112" y="13"/>
                </a:cubicBezTo>
                <a:close/>
                <a:moveTo>
                  <a:pt x="112" y="77"/>
                </a:moveTo>
                <a:cubicBezTo>
                  <a:pt x="96" y="77"/>
                  <a:pt x="83" y="64"/>
                  <a:pt x="83" y="48"/>
                </a:cubicBezTo>
                <a:cubicBezTo>
                  <a:pt x="83" y="32"/>
                  <a:pt x="96" y="19"/>
                  <a:pt x="112" y="19"/>
                </a:cubicBezTo>
                <a:cubicBezTo>
                  <a:pt x="128" y="19"/>
                  <a:pt x="141" y="32"/>
                  <a:pt x="141" y="48"/>
                </a:cubicBezTo>
                <a:cubicBezTo>
                  <a:pt x="141" y="64"/>
                  <a:pt x="128" y="77"/>
                  <a:pt x="112" y="77"/>
                </a:cubicBezTo>
                <a:close/>
                <a:moveTo>
                  <a:pt x="48" y="27"/>
                </a:moveTo>
                <a:cubicBezTo>
                  <a:pt x="48" y="69"/>
                  <a:pt x="48" y="69"/>
                  <a:pt x="48" y="69"/>
                </a:cubicBezTo>
                <a:cubicBezTo>
                  <a:pt x="48" y="71"/>
                  <a:pt x="47" y="72"/>
                  <a:pt x="45" y="72"/>
                </a:cubicBezTo>
                <a:cubicBezTo>
                  <a:pt x="44" y="72"/>
                  <a:pt x="43" y="71"/>
                  <a:pt x="43" y="69"/>
                </a:cubicBezTo>
                <a:cubicBezTo>
                  <a:pt x="43" y="27"/>
                  <a:pt x="43" y="27"/>
                  <a:pt x="43" y="27"/>
                </a:cubicBezTo>
                <a:cubicBezTo>
                  <a:pt x="43" y="25"/>
                  <a:pt x="44" y="24"/>
                  <a:pt x="45" y="24"/>
                </a:cubicBezTo>
                <a:cubicBezTo>
                  <a:pt x="47" y="24"/>
                  <a:pt x="48" y="25"/>
                  <a:pt x="48" y="2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37">
            <a:extLst>
              <a:ext uri="{FF2B5EF4-FFF2-40B4-BE49-F238E27FC236}">
                <a16:creationId xmlns:a16="http://schemas.microsoft.com/office/drawing/2014/main" id="{78A407E2-A1D8-5D46-894D-390CA372D57B}"/>
              </a:ext>
            </a:extLst>
          </p:cNvPr>
          <p:cNvSpPr>
            <a:spLocks noEditPoints="1"/>
          </p:cNvSpPr>
          <p:nvPr/>
        </p:nvSpPr>
        <p:spPr bwMode="auto">
          <a:xfrm>
            <a:off x="3741429" y="3925888"/>
            <a:ext cx="600075" cy="363538"/>
          </a:xfrm>
          <a:custGeom>
            <a:avLst/>
            <a:gdLst>
              <a:gd name="T0" fmla="*/ 112 w 160"/>
              <a:gd name="T1" fmla="*/ 0 h 96"/>
              <a:gd name="T2" fmla="*/ 48 w 160"/>
              <a:gd name="T3" fmla="*/ 0 h 96"/>
              <a:gd name="T4" fmla="*/ 0 w 160"/>
              <a:gd name="T5" fmla="*/ 48 h 96"/>
              <a:gd name="T6" fmla="*/ 48 w 160"/>
              <a:gd name="T7" fmla="*/ 96 h 96"/>
              <a:gd name="T8" fmla="*/ 112 w 160"/>
              <a:gd name="T9" fmla="*/ 96 h 96"/>
              <a:gd name="T10" fmla="*/ 160 w 160"/>
              <a:gd name="T11" fmla="*/ 48 h 96"/>
              <a:gd name="T12" fmla="*/ 112 w 160"/>
              <a:gd name="T13" fmla="*/ 0 h 96"/>
              <a:gd name="T14" fmla="*/ 112 w 160"/>
              <a:gd name="T15" fmla="*/ 91 h 96"/>
              <a:gd name="T16" fmla="*/ 48 w 160"/>
              <a:gd name="T17" fmla="*/ 91 h 96"/>
              <a:gd name="T18" fmla="*/ 5 w 160"/>
              <a:gd name="T19" fmla="*/ 48 h 96"/>
              <a:gd name="T20" fmla="*/ 48 w 160"/>
              <a:gd name="T21" fmla="*/ 5 h 96"/>
              <a:gd name="T22" fmla="*/ 112 w 160"/>
              <a:gd name="T23" fmla="*/ 5 h 96"/>
              <a:gd name="T24" fmla="*/ 155 w 160"/>
              <a:gd name="T25" fmla="*/ 48 h 96"/>
              <a:gd name="T26" fmla="*/ 112 w 160"/>
              <a:gd name="T27" fmla="*/ 91 h 96"/>
              <a:gd name="T28" fmla="*/ 48 w 160"/>
              <a:gd name="T29" fmla="*/ 13 h 96"/>
              <a:gd name="T30" fmla="*/ 13 w 160"/>
              <a:gd name="T31" fmla="*/ 48 h 96"/>
              <a:gd name="T32" fmla="*/ 48 w 160"/>
              <a:gd name="T33" fmla="*/ 83 h 96"/>
              <a:gd name="T34" fmla="*/ 83 w 160"/>
              <a:gd name="T35" fmla="*/ 48 h 96"/>
              <a:gd name="T36" fmla="*/ 48 w 160"/>
              <a:gd name="T37" fmla="*/ 13 h 96"/>
              <a:gd name="T38" fmla="*/ 48 w 160"/>
              <a:gd name="T39" fmla="*/ 77 h 96"/>
              <a:gd name="T40" fmla="*/ 19 w 160"/>
              <a:gd name="T41" fmla="*/ 48 h 96"/>
              <a:gd name="T42" fmla="*/ 48 w 160"/>
              <a:gd name="T43" fmla="*/ 19 h 96"/>
              <a:gd name="T44" fmla="*/ 77 w 160"/>
              <a:gd name="T45" fmla="*/ 48 h 96"/>
              <a:gd name="T46" fmla="*/ 48 w 160"/>
              <a:gd name="T47" fmla="*/ 77 h 96"/>
              <a:gd name="T48" fmla="*/ 133 w 160"/>
              <a:gd name="T49" fmla="*/ 35 h 96"/>
              <a:gd name="T50" fmla="*/ 133 w 160"/>
              <a:gd name="T51" fmla="*/ 39 h 96"/>
              <a:gd name="T52" fmla="*/ 111 w 160"/>
              <a:gd name="T53" fmla="*/ 61 h 96"/>
              <a:gd name="T54" fmla="*/ 109 w 160"/>
              <a:gd name="T55" fmla="*/ 61 h 96"/>
              <a:gd name="T56" fmla="*/ 107 w 160"/>
              <a:gd name="T57" fmla="*/ 61 h 96"/>
              <a:gd name="T58" fmla="*/ 97 w 160"/>
              <a:gd name="T59" fmla="*/ 50 h 96"/>
              <a:gd name="T60" fmla="*/ 97 w 160"/>
              <a:gd name="T61" fmla="*/ 46 h 96"/>
              <a:gd name="T62" fmla="*/ 101 w 160"/>
              <a:gd name="T63" fmla="*/ 46 h 96"/>
              <a:gd name="T64" fmla="*/ 109 w 160"/>
              <a:gd name="T65" fmla="*/ 55 h 96"/>
              <a:gd name="T66" fmla="*/ 129 w 160"/>
              <a:gd name="T67" fmla="*/ 35 h 96"/>
              <a:gd name="T68" fmla="*/ 133 w 160"/>
              <a:gd name="T6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96">
                <a:moveTo>
                  <a:pt x="112" y="0"/>
                </a:moveTo>
                <a:cubicBezTo>
                  <a:pt x="48" y="0"/>
                  <a:pt x="48" y="0"/>
                  <a:pt x="48" y="0"/>
                </a:cubicBezTo>
                <a:cubicBezTo>
                  <a:pt x="22" y="0"/>
                  <a:pt x="0" y="22"/>
                  <a:pt x="0" y="48"/>
                </a:cubicBezTo>
                <a:cubicBezTo>
                  <a:pt x="0" y="74"/>
                  <a:pt x="22" y="96"/>
                  <a:pt x="48" y="96"/>
                </a:cubicBezTo>
                <a:cubicBezTo>
                  <a:pt x="112" y="96"/>
                  <a:pt x="112" y="96"/>
                  <a:pt x="112" y="96"/>
                </a:cubicBezTo>
                <a:cubicBezTo>
                  <a:pt x="138" y="96"/>
                  <a:pt x="160" y="74"/>
                  <a:pt x="160" y="48"/>
                </a:cubicBezTo>
                <a:cubicBezTo>
                  <a:pt x="160" y="22"/>
                  <a:pt x="138" y="0"/>
                  <a:pt x="112" y="0"/>
                </a:cubicBezTo>
                <a:close/>
                <a:moveTo>
                  <a:pt x="112" y="91"/>
                </a:moveTo>
                <a:cubicBezTo>
                  <a:pt x="48" y="91"/>
                  <a:pt x="48" y="91"/>
                  <a:pt x="48" y="91"/>
                </a:cubicBezTo>
                <a:cubicBezTo>
                  <a:pt x="24" y="91"/>
                  <a:pt x="5" y="72"/>
                  <a:pt x="5" y="48"/>
                </a:cubicBezTo>
                <a:cubicBezTo>
                  <a:pt x="5" y="24"/>
                  <a:pt x="24" y="5"/>
                  <a:pt x="48" y="5"/>
                </a:cubicBezTo>
                <a:cubicBezTo>
                  <a:pt x="112" y="5"/>
                  <a:pt x="112" y="5"/>
                  <a:pt x="112" y="5"/>
                </a:cubicBezTo>
                <a:cubicBezTo>
                  <a:pt x="136" y="5"/>
                  <a:pt x="155" y="24"/>
                  <a:pt x="155" y="48"/>
                </a:cubicBezTo>
                <a:cubicBezTo>
                  <a:pt x="155" y="72"/>
                  <a:pt x="136" y="91"/>
                  <a:pt x="112" y="91"/>
                </a:cubicBezTo>
                <a:close/>
                <a:moveTo>
                  <a:pt x="48" y="13"/>
                </a:moveTo>
                <a:cubicBezTo>
                  <a:pt x="29" y="13"/>
                  <a:pt x="13" y="29"/>
                  <a:pt x="13" y="48"/>
                </a:cubicBezTo>
                <a:cubicBezTo>
                  <a:pt x="13" y="67"/>
                  <a:pt x="29" y="83"/>
                  <a:pt x="48" y="83"/>
                </a:cubicBezTo>
                <a:cubicBezTo>
                  <a:pt x="67" y="83"/>
                  <a:pt x="83" y="67"/>
                  <a:pt x="83" y="48"/>
                </a:cubicBezTo>
                <a:cubicBezTo>
                  <a:pt x="83" y="29"/>
                  <a:pt x="67" y="13"/>
                  <a:pt x="48" y="13"/>
                </a:cubicBezTo>
                <a:close/>
                <a:moveTo>
                  <a:pt x="48" y="77"/>
                </a:moveTo>
                <a:cubicBezTo>
                  <a:pt x="32" y="77"/>
                  <a:pt x="19" y="64"/>
                  <a:pt x="19" y="48"/>
                </a:cubicBezTo>
                <a:cubicBezTo>
                  <a:pt x="19" y="32"/>
                  <a:pt x="32" y="19"/>
                  <a:pt x="48" y="19"/>
                </a:cubicBezTo>
                <a:cubicBezTo>
                  <a:pt x="64" y="19"/>
                  <a:pt x="77" y="32"/>
                  <a:pt x="77" y="48"/>
                </a:cubicBezTo>
                <a:cubicBezTo>
                  <a:pt x="77" y="64"/>
                  <a:pt x="64" y="77"/>
                  <a:pt x="48" y="77"/>
                </a:cubicBezTo>
                <a:close/>
                <a:moveTo>
                  <a:pt x="133" y="35"/>
                </a:moveTo>
                <a:cubicBezTo>
                  <a:pt x="134" y="36"/>
                  <a:pt x="134" y="38"/>
                  <a:pt x="133" y="39"/>
                </a:cubicBezTo>
                <a:cubicBezTo>
                  <a:pt x="111" y="61"/>
                  <a:pt x="111" y="61"/>
                  <a:pt x="111" y="61"/>
                </a:cubicBezTo>
                <a:cubicBezTo>
                  <a:pt x="111" y="61"/>
                  <a:pt x="110" y="61"/>
                  <a:pt x="109" y="61"/>
                </a:cubicBezTo>
                <a:cubicBezTo>
                  <a:pt x="109" y="61"/>
                  <a:pt x="108" y="61"/>
                  <a:pt x="107" y="61"/>
                </a:cubicBezTo>
                <a:cubicBezTo>
                  <a:pt x="97" y="50"/>
                  <a:pt x="97" y="50"/>
                  <a:pt x="97" y="50"/>
                </a:cubicBezTo>
                <a:cubicBezTo>
                  <a:pt x="96" y="49"/>
                  <a:pt x="96" y="47"/>
                  <a:pt x="97" y="46"/>
                </a:cubicBezTo>
                <a:cubicBezTo>
                  <a:pt x="98" y="45"/>
                  <a:pt x="100" y="45"/>
                  <a:pt x="101" y="46"/>
                </a:cubicBezTo>
                <a:cubicBezTo>
                  <a:pt x="109" y="55"/>
                  <a:pt x="109" y="55"/>
                  <a:pt x="109" y="55"/>
                </a:cubicBezTo>
                <a:cubicBezTo>
                  <a:pt x="129" y="35"/>
                  <a:pt x="129" y="35"/>
                  <a:pt x="129" y="35"/>
                </a:cubicBezTo>
                <a:cubicBezTo>
                  <a:pt x="130" y="34"/>
                  <a:pt x="132" y="34"/>
                  <a:pt x="133"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38">
            <a:extLst>
              <a:ext uri="{FF2B5EF4-FFF2-40B4-BE49-F238E27FC236}">
                <a16:creationId xmlns:a16="http://schemas.microsoft.com/office/drawing/2014/main" id="{DC116524-6D45-F141-ACBF-3683DA1B1927}"/>
              </a:ext>
            </a:extLst>
          </p:cNvPr>
          <p:cNvSpPr>
            <a:spLocks noEditPoints="1"/>
          </p:cNvSpPr>
          <p:nvPr/>
        </p:nvSpPr>
        <p:spPr bwMode="auto">
          <a:xfrm>
            <a:off x="3741429" y="4638675"/>
            <a:ext cx="600075" cy="282575"/>
          </a:xfrm>
          <a:custGeom>
            <a:avLst/>
            <a:gdLst>
              <a:gd name="T0" fmla="*/ 70 w 160"/>
              <a:gd name="T1" fmla="*/ 19 h 75"/>
              <a:gd name="T2" fmla="*/ 0 w 160"/>
              <a:gd name="T3" fmla="*/ 37 h 75"/>
              <a:gd name="T4" fmla="*/ 70 w 160"/>
              <a:gd name="T5" fmla="*/ 56 h 75"/>
              <a:gd name="T6" fmla="*/ 160 w 160"/>
              <a:gd name="T7" fmla="*/ 37 h 75"/>
              <a:gd name="T8" fmla="*/ 37 w 160"/>
              <a:gd name="T9" fmla="*/ 69 h 75"/>
              <a:gd name="T10" fmla="*/ 37 w 160"/>
              <a:gd name="T11" fmla="*/ 5 h 75"/>
              <a:gd name="T12" fmla="*/ 67 w 160"/>
              <a:gd name="T13" fmla="*/ 26 h 75"/>
              <a:gd name="T14" fmla="*/ 68 w 160"/>
              <a:gd name="T15" fmla="*/ 29 h 75"/>
              <a:gd name="T16" fmla="*/ 69 w 160"/>
              <a:gd name="T17" fmla="*/ 33 h 75"/>
              <a:gd name="T18" fmla="*/ 69 w 160"/>
              <a:gd name="T19" fmla="*/ 37 h 75"/>
              <a:gd name="T20" fmla="*/ 69 w 160"/>
              <a:gd name="T21" fmla="*/ 42 h 75"/>
              <a:gd name="T22" fmla="*/ 68 w 160"/>
              <a:gd name="T23" fmla="*/ 46 h 75"/>
              <a:gd name="T24" fmla="*/ 67 w 160"/>
              <a:gd name="T25" fmla="*/ 49 h 75"/>
              <a:gd name="T26" fmla="*/ 37 w 160"/>
              <a:gd name="T27" fmla="*/ 69 h 75"/>
              <a:gd name="T28" fmla="*/ 72 w 160"/>
              <a:gd name="T29" fmla="*/ 51 h 75"/>
              <a:gd name="T30" fmla="*/ 73 w 160"/>
              <a:gd name="T31" fmla="*/ 48 h 75"/>
              <a:gd name="T32" fmla="*/ 74 w 160"/>
              <a:gd name="T33" fmla="*/ 45 h 75"/>
              <a:gd name="T34" fmla="*/ 74 w 160"/>
              <a:gd name="T35" fmla="*/ 41 h 75"/>
              <a:gd name="T36" fmla="*/ 74 w 160"/>
              <a:gd name="T37" fmla="*/ 34 h 75"/>
              <a:gd name="T38" fmla="*/ 74 w 160"/>
              <a:gd name="T39" fmla="*/ 30 h 75"/>
              <a:gd name="T40" fmla="*/ 73 w 160"/>
              <a:gd name="T41" fmla="*/ 27 h 75"/>
              <a:gd name="T42" fmla="*/ 72 w 160"/>
              <a:gd name="T43" fmla="*/ 24 h 75"/>
              <a:gd name="T44" fmla="*/ 155 w 160"/>
              <a:gd name="T45" fmla="*/ 37 h 75"/>
              <a:gd name="T46" fmla="*/ 91 w 160"/>
              <a:gd name="T47" fmla="*/ 35 h 75"/>
              <a:gd name="T48" fmla="*/ 91 w 160"/>
              <a:gd name="T49" fmla="*/ 40 h 75"/>
              <a:gd name="T50" fmla="*/ 91 w 160"/>
              <a:gd name="T51" fmla="*/ 35 h 75"/>
              <a:gd name="T52" fmla="*/ 85 w 160"/>
              <a:gd name="T53" fmla="*/ 29 h 75"/>
              <a:gd name="T54" fmla="*/ 80 w 160"/>
              <a:gd name="T55" fmla="*/ 29 h 75"/>
              <a:gd name="T56" fmla="*/ 99 w 160"/>
              <a:gd name="T57" fmla="*/ 27 h 75"/>
              <a:gd name="T58" fmla="*/ 99 w 160"/>
              <a:gd name="T59" fmla="*/ 32 h 75"/>
              <a:gd name="T60" fmla="*/ 99 w 160"/>
              <a:gd name="T61" fmla="*/ 27 h 75"/>
              <a:gd name="T62" fmla="*/ 85 w 160"/>
              <a:gd name="T63" fmla="*/ 45 h 75"/>
              <a:gd name="T64" fmla="*/ 80 w 160"/>
              <a:gd name="T65" fmla="*/ 45 h 75"/>
              <a:gd name="T66" fmla="*/ 99 w 160"/>
              <a:gd name="T67" fmla="*/ 43 h 75"/>
              <a:gd name="T68" fmla="*/ 99 w 160"/>
              <a:gd name="T69" fmla="*/ 48 h 75"/>
              <a:gd name="T70" fmla="*/ 99 w 160"/>
              <a:gd name="T71" fmla="*/ 43 h 75"/>
              <a:gd name="T72" fmla="*/ 109 w 160"/>
              <a:gd name="T73" fmla="*/ 37 h 75"/>
              <a:gd name="T74" fmla="*/ 104 w 160"/>
              <a:gd name="T75" fmla="*/ 37 h 75"/>
              <a:gd name="T76" fmla="*/ 123 w 160"/>
              <a:gd name="T77" fmla="*/ 35 h 75"/>
              <a:gd name="T78" fmla="*/ 123 w 160"/>
              <a:gd name="T79" fmla="*/ 40 h 75"/>
              <a:gd name="T80" fmla="*/ 123 w 160"/>
              <a:gd name="T81" fmla="*/ 35 h 75"/>
              <a:gd name="T82" fmla="*/ 117 w 160"/>
              <a:gd name="T83" fmla="*/ 29 h 75"/>
              <a:gd name="T84" fmla="*/ 112 w 160"/>
              <a:gd name="T85" fmla="*/ 29 h 75"/>
              <a:gd name="T86" fmla="*/ 131 w 160"/>
              <a:gd name="T87" fmla="*/ 27 h 75"/>
              <a:gd name="T88" fmla="*/ 131 w 160"/>
              <a:gd name="T89" fmla="*/ 32 h 75"/>
              <a:gd name="T90" fmla="*/ 131 w 160"/>
              <a:gd name="T91" fmla="*/ 27 h 75"/>
              <a:gd name="T92" fmla="*/ 117 w 160"/>
              <a:gd name="T93" fmla="*/ 45 h 75"/>
              <a:gd name="T94" fmla="*/ 112 w 160"/>
              <a:gd name="T95" fmla="*/ 45 h 75"/>
              <a:gd name="T96" fmla="*/ 131 w 160"/>
              <a:gd name="T97" fmla="*/ 43 h 75"/>
              <a:gd name="T98" fmla="*/ 131 w 160"/>
              <a:gd name="T99" fmla="*/ 48 h 75"/>
              <a:gd name="T100" fmla="*/ 131 w 160"/>
              <a:gd name="T101" fmla="*/ 43 h 75"/>
              <a:gd name="T102" fmla="*/ 141 w 160"/>
              <a:gd name="T103" fmla="*/ 37 h 75"/>
              <a:gd name="T104" fmla="*/ 136 w 160"/>
              <a:gd name="T105" fmla="*/ 37 h 75"/>
              <a:gd name="T106" fmla="*/ 147 w 160"/>
              <a:gd name="T107" fmla="*/ 27 h 75"/>
              <a:gd name="T108" fmla="*/ 147 w 160"/>
              <a:gd name="T109" fmla="*/ 32 h 75"/>
              <a:gd name="T110" fmla="*/ 147 w 160"/>
              <a:gd name="T111" fmla="*/ 27 h 75"/>
              <a:gd name="T112" fmla="*/ 149 w 160"/>
              <a:gd name="T113" fmla="*/ 45 h 75"/>
              <a:gd name="T114" fmla="*/ 144 w 160"/>
              <a:gd name="T115" fmla="*/ 4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75">
                <a:moveTo>
                  <a:pt x="141" y="19"/>
                </a:moveTo>
                <a:cubicBezTo>
                  <a:pt x="70" y="19"/>
                  <a:pt x="70" y="19"/>
                  <a:pt x="70" y="19"/>
                </a:cubicBezTo>
                <a:cubicBezTo>
                  <a:pt x="63" y="8"/>
                  <a:pt x="51" y="0"/>
                  <a:pt x="37" y="0"/>
                </a:cubicBezTo>
                <a:cubicBezTo>
                  <a:pt x="17" y="0"/>
                  <a:pt x="0" y="17"/>
                  <a:pt x="0" y="37"/>
                </a:cubicBezTo>
                <a:cubicBezTo>
                  <a:pt x="0" y="58"/>
                  <a:pt x="17" y="75"/>
                  <a:pt x="37" y="75"/>
                </a:cubicBezTo>
                <a:cubicBezTo>
                  <a:pt x="51" y="75"/>
                  <a:pt x="63" y="67"/>
                  <a:pt x="70" y="56"/>
                </a:cubicBezTo>
                <a:cubicBezTo>
                  <a:pt x="141" y="56"/>
                  <a:pt x="141" y="56"/>
                  <a:pt x="141" y="56"/>
                </a:cubicBezTo>
                <a:cubicBezTo>
                  <a:pt x="152" y="56"/>
                  <a:pt x="160" y="48"/>
                  <a:pt x="160" y="37"/>
                </a:cubicBezTo>
                <a:cubicBezTo>
                  <a:pt x="160" y="27"/>
                  <a:pt x="152" y="19"/>
                  <a:pt x="141" y="19"/>
                </a:cubicBezTo>
                <a:close/>
                <a:moveTo>
                  <a:pt x="37" y="69"/>
                </a:moveTo>
                <a:cubicBezTo>
                  <a:pt x="20" y="69"/>
                  <a:pt x="5" y="55"/>
                  <a:pt x="5" y="37"/>
                </a:cubicBezTo>
                <a:cubicBezTo>
                  <a:pt x="5" y="20"/>
                  <a:pt x="20" y="5"/>
                  <a:pt x="37" y="5"/>
                </a:cubicBezTo>
                <a:cubicBezTo>
                  <a:pt x="50" y="5"/>
                  <a:pt x="61" y="12"/>
                  <a:pt x="66" y="23"/>
                </a:cubicBezTo>
                <a:cubicBezTo>
                  <a:pt x="66" y="24"/>
                  <a:pt x="67" y="25"/>
                  <a:pt x="67" y="26"/>
                </a:cubicBezTo>
                <a:cubicBezTo>
                  <a:pt x="67" y="26"/>
                  <a:pt x="67" y="26"/>
                  <a:pt x="67" y="27"/>
                </a:cubicBezTo>
                <a:cubicBezTo>
                  <a:pt x="68" y="27"/>
                  <a:pt x="68" y="28"/>
                  <a:pt x="68" y="29"/>
                </a:cubicBezTo>
                <a:cubicBezTo>
                  <a:pt x="68" y="29"/>
                  <a:pt x="68" y="30"/>
                  <a:pt x="69" y="30"/>
                </a:cubicBezTo>
                <a:cubicBezTo>
                  <a:pt x="69" y="31"/>
                  <a:pt x="69" y="32"/>
                  <a:pt x="69" y="33"/>
                </a:cubicBezTo>
                <a:cubicBezTo>
                  <a:pt x="69" y="33"/>
                  <a:pt x="69" y="33"/>
                  <a:pt x="69" y="34"/>
                </a:cubicBezTo>
                <a:cubicBezTo>
                  <a:pt x="69" y="35"/>
                  <a:pt x="69" y="36"/>
                  <a:pt x="69" y="37"/>
                </a:cubicBezTo>
                <a:cubicBezTo>
                  <a:pt x="69" y="39"/>
                  <a:pt x="69" y="40"/>
                  <a:pt x="69" y="41"/>
                </a:cubicBezTo>
                <a:cubicBezTo>
                  <a:pt x="69" y="41"/>
                  <a:pt x="69" y="42"/>
                  <a:pt x="69" y="42"/>
                </a:cubicBezTo>
                <a:cubicBezTo>
                  <a:pt x="69" y="43"/>
                  <a:pt x="69" y="44"/>
                  <a:pt x="69" y="44"/>
                </a:cubicBezTo>
                <a:cubicBezTo>
                  <a:pt x="68" y="45"/>
                  <a:pt x="68" y="45"/>
                  <a:pt x="68" y="46"/>
                </a:cubicBezTo>
                <a:cubicBezTo>
                  <a:pt x="68" y="46"/>
                  <a:pt x="68" y="47"/>
                  <a:pt x="67" y="48"/>
                </a:cubicBezTo>
                <a:cubicBezTo>
                  <a:pt x="67" y="48"/>
                  <a:pt x="67" y="49"/>
                  <a:pt x="67" y="49"/>
                </a:cubicBezTo>
                <a:cubicBezTo>
                  <a:pt x="67" y="50"/>
                  <a:pt x="66" y="51"/>
                  <a:pt x="66" y="52"/>
                </a:cubicBezTo>
                <a:cubicBezTo>
                  <a:pt x="61" y="62"/>
                  <a:pt x="50" y="69"/>
                  <a:pt x="37" y="69"/>
                </a:cubicBezTo>
                <a:close/>
                <a:moveTo>
                  <a:pt x="141" y="51"/>
                </a:moveTo>
                <a:cubicBezTo>
                  <a:pt x="72" y="51"/>
                  <a:pt x="72" y="51"/>
                  <a:pt x="72" y="51"/>
                </a:cubicBezTo>
                <a:cubicBezTo>
                  <a:pt x="72" y="50"/>
                  <a:pt x="72" y="50"/>
                  <a:pt x="73" y="50"/>
                </a:cubicBezTo>
                <a:cubicBezTo>
                  <a:pt x="73" y="49"/>
                  <a:pt x="73" y="48"/>
                  <a:pt x="73" y="48"/>
                </a:cubicBezTo>
                <a:cubicBezTo>
                  <a:pt x="73" y="47"/>
                  <a:pt x="73" y="47"/>
                  <a:pt x="74" y="46"/>
                </a:cubicBezTo>
                <a:cubicBezTo>
                  <a:pt x="74" y="45"/>
                  <a:pt x="74" y="45"/>
                  <a:pt x="74" y="45"/>
                </a:cubicBezTo>
                <a:cubicBezTo>
                  <a:pt x="74" y="44"/>
                  <a:pt x="74" y="43"/>
                  <a:pt x="74" y="42"/>
                </a:cubicBezTo>
                <a:cubicBezTo>
                  <a:pt x="74" y="42"/>
                  <a:pt x="74" y="41"/>
                  <a:pt x="74" y="41"/>
                </a:cubicBezTo>
                <a:cubicBezTo>
                  <a:pt x="75" y="40"/>
                  <a:pt x="75" y="39"/>
                  <a:pt x="75" y="37"/>
                </a:cubicBezTo>
                <a:cubicBezTo>
                  <a:pt x="75" y="36"/>
                  <a:pt x="75" y="35"/>
                  <a:pt x="74" y="34"/>
                </a:cubicBezTo>
                <a:cubicBezTo>
                  <a:pt x="74" y="33"/>
                  <a:pt x="74" y="33"/>
                  <a:pt x="74" y="33"/>
                </a:cubicBezTo>
                <a:cubicBezTo>
                  <a:pt x="74" y="32"/>
                  <a:pt x="74" y="31"/>
                  <a:pt x="74" y="30"/>
                </a:cubicBezTo>
                <a:cubicBezTo>
                  <a:pt x="74" y="30"/>
                  <a:pt x="74" y="29"/>
                  <a:pt x="74" y="29"/>
                </a:cubicBezTo>
                <a:cubicBezTo>
                  <a:pt x="73" y="28"/>
                  <a:pt x="73" y="27"/>
                  <a:pt x="73" y="27"/>
                </a:cubicBezTo>
                <a:cubicBezTo>
                  <a:pt x="73" y="26"/>
                  <a:pt x="73" y="26"/>
                  <a:pt x="73" y="25"/>
                </a:cubicBezTo>
                <a:cubicBezTo>
                  <a:pt x="72" y="25"/>
                  <a:pt x="72" y="24"/>
                  <a:pt x="72" y="24"/>
                </a:cubicBezTo>
                <a:cubicBezTo>
                  <a:pt x="141" y="24"/>
                  <a:pt x="141" y="24"/>
                  <a:pt x="141" y="24"/>
                </a:cubicBezTo>
                <a:cubicBezTo>
                  <a:pt x="149" y="24"/>
                  <a:pt x="155" y="30"/>
                  <a:pt x="155" y="37"/>
                </a:cubicBezTo>
                <a:cubicBezTo>
                  <a:pt x="155" y="45"/>
                  <a:pt x="149" y="51"/>
                  <a:pt x="141" y="51"/>
                </a:cubicBezTo>
                <a:close/>
                <a:moveTo>
                  <a:pt x="91" y="35"/>
                </a:moveTo>
                <a:cubicBezTo>
                  <a:pt x="92" y="35"/>
                  <a:pt x="93" y="36"/>
                  <a:pt x="93" y="37"/>
                </a:cubicBezTo>
                <a:cubicBezTo>
                  <a:pt x="93" y="39"/>
                  <a:pt x="92" y="40"/>
                  <a:pt x="91" y="40"/>
                </a:cubicBezTo>
                <a:cubicBezTo>
                  <a:pt x="89" y="40"/>
                  <a:pt x="88" y="39"/>
                  <a:pt x="88" y="37"/>
                </a:cubicBezTo>
                <a:cubicBezTo>
                  <a:pt x="88" y="36"/>
                  <a:pt x="89" y="35"/>
                  <a:pt x="91" y="35"/>
                </a:cubicBezTo>
                <a:close/>
                <a:moveTo>
                  <a:pt x="83" y="27"/>
                </a:moveTo>
                <a:cubicBezTo>
                  <a:pt x="84" y="27"/>
                  <a:pt x="85" y="28"/>
                  <a:pt x="85" y="29"/>
                </a:cubicBezTo>
                <a:cubicBezTo>
                  <a:pt x="85" y="31"/>
                  <a:pt x="84" y="32"/>
                  <a:pt x="83" y="32"/>
                </a:cubicBezTo>
                <a:cubicBezTo>
                  <a:pt x="81" y="32"/>
                  <a:pt x="80" y="31"/>
                  <a:pt x="80" y="29"/>
                </a:cubicBezTo>
                <a:cubicBezTo>
                  <a:pt x="80" y="28"/>
                  <a:pt x="81" y="27"/>
                  <a:pt x="83" y="27"/>
                </a:cubicBezTo>
                <a:close/>
                <a:moveTo>
                  <a:pt x="99" y="27"/>
                </a:moveTo>
                <a:cubicBezTo>
                  <a:pt x="100" y="27"/>
                  <a:pt x="101" y="28"/>
                  <a:pt x="101" y="29"/>
                </a:cubicBezTo>
                <a:cubicBezTo>
                  <a:pt x="101" y="31"/>
                  <a:pt x="100" y="32"/>
                  <a:pt x="99" y="32"/>
                </a:cubicBezTo>
                <a:cubicBezTo>
                  <a:pt x="97" y="32"/>
                  <a:pt x="96" y="31"/>
                  <a:pt x="96" y="29"/>
                </a:cubicBezTo>
                <a:cubicBezTo>
                  <a:pt x="96" y="28"/>
                  <a:pt x="97" y="27"/>
                  <a:pt x="99" y="27"/>
                </a:cubicBezTo>
                <a:close/>
                <a:moveTo>
                  <a:pt x="83" y="43"/>
                </a:moveTo>
                <a:cubicBezTo>
                  <a:pt x="84" y="43"/>
                  <a:pt x="85" y="44"/>
                  <a:pt x="85" y="45"/>
                </a:cubicBezTo>
                <a:cubicBezTo>
                  <a:pt x="85" y="47"/>
                  <a:pt x="84" y="48"/>
                  <a:pt x="83" y="48"/>
                </a:cubicBezTo>
                <a:cubicBezTo>
                  <a:pt x="81" y="48"/>
                  <a:pt x="80" y="47"/>
                  <a:pt x="80" y="45"/>
                </a:cubicBezTo>
                <a:cubicBezTo>
                  <a:pt x="80" y="44"/>
                  <a:pt x="81" y="43"/>
                  <a:pt x="83" y="43"/>
                </a:cubicBezTo>
                <a:close/>
                <a:moveTo>
                  <a:pt x="99" y="43"/>
                </a:moveTo>
                <a:cubicBezTo>
                  <a:pt x="100" y="43"/>
                  <a:pt x="101" y="44"/>
                  <a:pt x="101" y="45"/>
                </a:cubicBezTo>
                <a:cubicBezTo>
                  <a:pt x="101" y="47"/>
                  <a:pt x="100" y="48"/>
                  <a:pt x="99" y="48"/>
                </a:cubicBezTo>
                <a:cubicBezTo>
                  <a:pt x="97" y="48"/>
                  <a:pt x="96" y="47"/>
                  <a:pt x="96" y="45"/>
                </a:cubicBezTo>
                <a:cubicBezTo>
                  <a:pt x="96" y="44"/>
                  <a:pt x="97" y="43"/>
                  <a:pt x="99" y="43"/>
                </a:cubicBezTo>
                <a:close/>
                <a:moveTo>
                  <a:pt x="107" y="35"/>
                </a:moveTo>
                <a:cubicBezTo>
                  <a:pt x="108" y="35"/>
                  <a:pt x="109" y="36"/>
                  <a:pt x="109" y="37"/>
                </a:cubicBezTo>
                <a:cubicBezTo>
                  <a:pt x="109" y="39"/>
                  <a:pt x="108" y="40"/>
                  <a:pt x="107" y="40"/>
                </a:cubicBezTo>
                <a:cubicBezTo>
                  <a:pt x="105" y="40"/>
                  <a:pt x="104" y="39"/>
                  <a:pt x="104" y="37"/>
                </a:cubicBezTo>
                <a:cubicBezTo>
                  <a:pt x="104" y="36"/>
                  <a:pt x="105" y="35"/>
                  <a:pt x="107" y="35"/>
                </a:cubicBezTo>
                <a:close/>
                <a:moveTo>
                  <a:pt x="123" y="35"/>
                </a:moveTo>
                <a:cubicBezTo>
                  <a:pt x="124" y="35"/>
                  <a:pt x="125" y="36"/>
                  <a:pt x="125" y="37"/>
                </a:cubicBezTo>
                <a:cubicBezTo>
                  <a:pt x="125" y="39"/>
                  <a:pt x="124" y="40"/>
                  <a:pt x="123" y="40"/>
                </a:cubicBezTo>
                <a:cubicBezTo>
                  <a:pt x="121" y="40"/>
                  <a:pt x="120" y="39"/>
                  <a:pt x="120" y="37"/>
                </a:cubicBezTo>
                <a:cubicBezTo>
                  <a:pt x="120" y="36"/>
                  <a:pt x="121" y="35"/>
                  <a:pt x="123" y="35"/>
                </a:cubicBezTo>
                <a:close/>
                <a:moveTo>
                  <a:pt x="115" y="27"/>
                </a:moveTo>
                <a:cubicBezTo>
                  <a:pt x="116" y="27"/>
                  <a:pt x="117" y="28"/>
                  <a:pt x="117" y="29"/>
                </a:cubicBezTo>
                <a:cubicBezTo>
                  <a:pt x="117" y="31"/>
                  <a:pt x="116" y="32"/>
                  <a:pt x="115" y="32"/>
                </a:cubicBezTo>
                <a:cubicBezTo>
                  <a:pt x="113" y="32"/>
                  <a:pt x="112" y="31"/>
                  <a:pt x="112" y="29"/>
                </a:cubicBezTo>
                <a:cubicBezTo>
                  <a:pt x="112" y="28"/>
                  <a:pt x="113" y="27"/>
                  <a:pt x="115" y="27"/>
                </a:cubicBezTo>
                <a:close/>
                <a:moveTo>
                  <a:pt x="131" y="27"/>
                </a:moveTo>
                <a:cubicBezTo>
                  <a:pt x="132" y="27"/>
                  <a:pt x="133" y="28"/>
                  <a:pt x="133" y="29"/>
                </a:cubicBezTo>
                <a:cubicBezTo>
                  <a:pt x="133" y="31"/>
                  <a:pt x="132" y="32"/>
                  <a:pt x="131" y="32"/>
                </a:cubicBezTo>
                <a:cubicBezTo>
                  <a:pt x="129" y="32"/>
                  <a:pt x="128" y="31"/>
                  <a:pt x="128" y="29"/>
                </a:cubicBezTo>
                <a:cubicBezTo>
                  <a:pt x="128" y="28"/>
                  <a:pt x="129" y="27"/>
                  <a:pt x="131" y="27"/>
                </a:cubicBezTo>
                <a:close/>
                <a:moveTo>
                  <a:pt x="115" y="43"/>
                </a:moveTo>
                <a:cubicBezTo>
                  <a:pt x="116" y="43"/>
                  <a:pt x="117" y="44"/>
                  <a:pt x="117" y="45"/>
                </a:cubicBezTo>
                <a:cubicBezTo>
                  <a:pt x="117" y="47"/>
                  <a:pt x="116" y="48"/>
                  <a:pt x="115" y="48"/>
                </a:cubicBezTo>
                <a:cubicBezTo>
                  <a:pt x="113" y="48"/>
                  <a:pt x="112" y="47"/>
                  <a:pt x="112" y="45"/>
                </a:cubicBezTo>
                <a:cubicBezTo>
                  <a:pt x="112" y="44"/>
                  <a:pt x="113" y="43"/>
                  <a:pt x="115" y="43"/>
                </a:cubicBezTo>
                <a:close/>
                <a:moveTo>
                  <a:pt x="131" y="43"/>
                </a:moveTo>
                <a:cubicBezTo>
                  <a:pt x="132" y="43"/>
                  <a:pt x="133" y="44"/>
                  <a:pt x="133" y="45"/>
                </a:cubicBezTo>
                <a:cubicBezTo>
                  <a:pt x="133" y="47"/>
                  <a:pt x="132" y="48"/>
                  <a:pt x="131" y="48"/>
                </a:cubicBezTo>
                <a:cubicBezTo>
                  <a:pt x="129" y="48"/>
                  <a:pt x="128" y="47"/>
                  <a:pt x="128" y="45"/>
                </a:cubicBezTo>
                <a:cubicBezTo>
                  <a:pt x="128" y="44"/>
                  <a:pt x="129" y="43"/>
                  <a:pt x="131" y="43"/>
                </a:cubicBezTo>
                <a:close/>
                <a:moveTo>
                  <a:pt x="139" y="35"/>
                </a:moveTo>
                <a:cubicBezTo>
                  <a:pt x="140" y="35"/>
                  <a:pt x="141" y="36"/>
                  <a:pt x="141" y="37"/>
                </a:cubicBezTo>
                <a:cubicBezTo>
                  <a:pt x="141" y="39"/>
                  <a:pt x="140" y="40"/>
                  <a:pt x="139" y="40"/>
                </a:cubicBezTo>
                <a:cubicBezTo>
                  <a:pt x="137" y="40"/>
                  <a:pt x="136" y="39"/>
                  <a:pt x="136" y="37"/>
                </a:cubicBezTo>
                <a:cubicBezTo>
                  <a:pt x="136" y="36"/>
                  <a:pt x="137" y="35"/>
                  <a:pt x="139" y="35"/>
                </a:cubicBezTo>
                <a:close/>
                <a:moveTo>
                  <a:pt x="147" y="27"/>
                </a:moveTo>
                <a:cubicBezTo>
                  <a:pt x="148" y="27"/>
                  <a:pt x="149" y="28"/>
                  <a:pt x="149" y="29"/>
                </a:cubicBezTo>
                <a:cubicBezTo>
                  <a:pt x="149" y="31"/>
                  <a:pt x="148" y="32"/>
                  <a:pt x="147" y="32"/>
                </a:cubicBezTo>
                <a:cubicBezTo>
                  <a:pt x="145" y="32"/>
                  <a:pt x="144" y="31"/>
                  <a:pt x="144" y="29"/>
                </a:cubicBezTo>
                <a:cubicBezTo>
                  <a:pt x="144" y="28"/>
                  <a:pt x="145" y="27"/>
                  <a:pt x="147" y="27"/>
                </a:cubicBezTo>
                <a:close/>
                <a:moveTo>
                  <a:pt x="147" y="43"/>
                </a:moveTo>
                <a:cubicBezTo>
                  <a:pt x="148" y="43"/>
                  <a:pt x="149" y="44"/>
                  <a:pt x="149" y="45"/>
                </a:cubicBezTo>
                <a:cubicBezTo>
                  <a:pt x="149" y="47"/>
                  <a:pt x="148" y="48"/>
                  <a:pt x="147" y="48"/>
                </a:cubicBezTo>
                <a:cubicBezTo>
                  <a:pt x="145" y="48"/>
                  <a:pt x="144" y="47"/>
                  <a:pt x="144" y="45"/>
                </a:cubicBezTo>
                <a:cubicBezTo>
                  <a:pt x="144" y="44"/>
                  <a:pt x="145" y="43"/>
                  <a:pt x="147" y="4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39">
            <a:extLst>
              <a:ext uri="{FF2B5EF4-FFF2-40B4-BE49-F238E27FC236}">
                <a16:creationId xmlns:a16="http://schemas.microsoft.com/office/drawing/2014/main" id="{820A5A08-E68A-6C48-89D0-60BF16275E0C}"/>
              </a:ext>
            </a:extLst>
          </p:cNvPr>
          <p:cNvSpPr>
            <a:spLocks noEditPoints="1"/>
          </p:cNvSpPr>
          <p:nvPr/>
        </p:nvSpPr>
        <p:spPr bwMode="auto">
          <a:xfrm>
            <a:off x="3741429" y="5183188"/>
            <a:ext cx="600075" cy="552450"/>
          </a:xfrm>
          <a:custGeom>
            <a:avLst/>
            <a:gdLst>
              <a:gd name="T0" fmla="*/ 137 w 160"/>
              <a:gd name="T1" fmla="*/ 140 h 146"/>
              <a:gd name="T2" fmla="*/ 86 w 160"/>
              <a:gd name="T3" fmla="*/ 140 h 146"/>
              <a:gd name="T4" fmla="*/ 34 w 160"/>
              <a:gd name="T5" fmla="*/ 140 h 146"/>
              <a:gd name="T6" fmla="*/ 9 w 160"/>
              <a:gd name="T7" fmla="*/ 23 h 146"/>
              <a:gd name="T8" fmla="*/ 146 w 160"/>
              <a:gd name="T9" fmla="*/ 14 h 146"/>
              <a:gd name="T10" fmla="*/ 26 w 160"/>
              <a:gd name="T11" fmla="*/ 6 h 146"/>
              <a:gd name="T12" fmla="*/ 131 w 160"/>
              <a:gd name="T13" fmla="*/ 66 h 146"/>
              <a:gd name="T14" fmla="*/ 143 w 160"/>
              <a:gd name="T15" fmla="*/ 71 h 146"/>
              <a:gd name="T16" fmla="*/ 149 w 160"/>
              <a:gd name="T17" fmla="*/ 60 h 146"/>
              <a:gd name="T18" fmla="*/ 131 w 160"/>
              <a:gd name="T19" fmla="*/ 77 h 146"/>
              <a:gd name="T20" fmla="*/ 137 w 160"/>
              <a:gd name="T21" fmla="*/ 89 h 146"/>
              <a:gd name="T22" fmla="*/ 149 w 160"/>
              <a:gd name="T23" fmla="*/ 83 h 146"/>
              <a:gd name="T24" fmla="*/ 134 w 160"/>
              <a:gd name="T25" fmla="*/ 114 h 146"/>
              <a:gd name="T26" fmla="*/ 140 w 160"/>
              <a:gd name="T27" fmla="*/ 120 h 146"/>
              <a:gd name="T28" fmla="*/ 149 w 160"/>
              <a:gd name="T29" fmla="*/ 111 h 146"/>
              <a:gd name="T30" fmla="*/ 77 w 160"/>
              <a:gd name="T31" fmla="*/ 46 h 146"/>
              <a:gd name="T32" fmla="*/ 89 w 160"/>
              <a:gd name="T33" fmla="*/ 57 h 146"/>
              <a:gd name="T34" fmla="*/ 100 w 160"/>
              <a:gd name="T35" fmla="*/ 46 h 146"/>
              <a:gd name="T36" fmla="*/ 97 w 160"/>
              <a:gd name="T37" fmla="*/ 60 h 146"/>
              <a:gd name="T38" fmla="*/ 114 w 160"/>
              <a:gd name="T39" fmla="*/ 60 h 146"/>
              <a:gd name="T40" fmla="*/ 120 w 160"/>
              <a:gd name="T41" fmla="*/ 54 h 146"/>
              <a:gd name="T42" fmla="*/ 123 w 160"/>
              <a:gd name="T43" fmla="*/ 74 h 146"/>
              <a:gd name="T44" fmla="*/ 83 w 160"/>
              <a:gd name="T45" fmla="*/ 97 h 146"/>
              <a:gd name="T46" fmla="*/ 89 w 160"/>
              <a:gd name="T47" fmla="*/ 103 h 146"/>
              <a:gd name="T48" fmla="*/ 97 w 160"/>
              <a:gd name="T49" fmla="*/ 77 h 146"/>
              <a:gd name="T50" fmla="*/ 94 w 160"/>
              <a:gd name="T51" fmla="*/ 97 h 146"/>
              <a:gd name="T52" fmla="*/ 106 w 160"/>
              <a:gd name="T53" fmla="*/ 91 h 146"/>
              <a:gd name="T54" fmla="*/ 109 w 160"/>
              <a:gd name="T55" fmla="*/ 106 h 146"/>
              <a:gd name="T56" fmla="*/ 80 w 160"/>
              <a:gd name="T57" fmla="*/ 111 h 146"/>
              <a:gd name="T58" fmla="*/ 80 w 160"/>
              <a:gd name="T59" fmla="*/ 129 h 146"/>
              <a:gd name="T60" fmla="*/ 94 w 160"/>
              <a:gd name="T61" fmla="*/ 114 h 146"/>
              <a:gd name="T62" fmla="*/ 97 w 160"/>
              <a:gd name="T63" fmla="*/ 134 h 146"/>
              <a:gd name="T64" fmla="*/ 109 w 160"/>
              <a:gd name="T65" fmla="*/ 123 h 146"/>
              <a:gd name="T66" fmla="*/ 63 w 160"/>
              <a:gd name="T67" fmla="*/ 43 h 146"/>
              <a:gd name="T68" fmla="*/ 63 w 160"/>
              <a:gd name="T69" fmla="*/ 60 h 146"/>
              <a:gd name="T70" fmla="*/ 69 w 160"/>
              <a:gd name="T71" fmla="*/ 71 h 146"/>
              <a:gd name="T72" fmla="*/ 63 w 160"/>
              <a:gd name="T73" fmla="*/ 100 h 146"/>
              <a:gd name="T74" fmla="*/ 74 w 160"/>
              <a:gd name="T75" fmla="*/ 106 h 146"/>
              <a:gd name="T76" fmla="*/ 63 w 160"/>
              <a:gd name="T77" fmla="*/ 129 h 146"/>
              <a:gd name="T78" fmla="*/ 71 w 160"/>
              <a:gd name="T79" fmla="*/ 120 h 146"/>
              <a:gd name="T80" fmla="*/ 9 w 160"/>
              <a:gd name="T81" fmla="*/ 63 h 146"/>
              <a:gd name="T82" fmla="*/ 20 w 160"/>
              <a:gd name="T83" fmla="*/ 74 h 146"/>
              <a:gd name="T84" fmla="*/ 49 w 160"/>
              <a:gd name="T85" fmla="*/ 46 h 146"/>
              <a:gd name="T86" fmla="*/ 46 w 160"/>
              <a:gd name="T87" fmla="*/ 60 h 146"/>
              <a:gd name="T88" fmla="*/ 37 w 160"/>
              <a:gd name="T89" fmla="*/ 51 h 146"/>
              <a:gd name="T90" fmla="*/ 34 w 160"/>
              <a:gd name="T91" fmla="*/ 71 h 146"/>
              <a:gd name="T92" fmla="*/ 11 w 160"/>
              <a:gd name="T93" fmla="*/ 83 h 146"/>
              <a:gd name="T94" fmla="*/ 23 w 160"/>
              <a:gd name="T95" fmla="*/ 89 h 146"/>
              <a:gd name="T96" fmla="*/ 29 w 160"/>
              <a:gd name="T97" fmla="*/ 77 h 146"/>
              <a:gd name="T98" fmla="*/ 46 w 160"/>
              <a:gd name="T99" fmla="*/ 77 h 146"/>
              <a:gd name="T100" fmla="*/ 43 w 160"/>
              <a:gd name="T101" fmla="*/ 97 h 146"/>
              <a:gd name="T102" fmla="*/ 54 w 160"/>
              <a:gd name="T103" fmla="*/ 91 h 146"/>
              <a:gd name="T104" fmla="*/ 57 w 160"/>
              <a:gd name="T105" fmla="*/ 106 h 146"/>
              <a:gd name="T106" fmla="*/ 11 w 160"/>
              <a:gd name="T107" fmla="*/ 129 h 146"/>
              <a:gd name="T108" fmla="*/ 20 w 160"/>
              <a:gd name="T109" fmla="*/ 120 h 146"/>
              <a:gd name="T110" fmla="*/ 43 w 160"/>
              <a:gd name="T111" fmla="*/ 114 h 146"/>
              <a:gd name="T112" fmla="*/ 46 w 160"/>
              <a:gd name="T113" fmla="*/ 134 h 146"/>
              <a:gd name="T114" fmla="*/ 57 w 160"/>
              <a:gd name="T115" fmla="*/ 12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46">
                <a:moveTo>
                  <a:pt x="0" y="34"/>
                </a:moveTo>
                <a:cubicBezTo>
                  <a:pt x="0" y="146"/>
                  <a:pt x="0" y="146"/>
                  <a:pt x="0" y="146"/>
                </a:cubicBezTo>
                <a:cubicBezTo>
                  <a:pt x="160" y="146"/>
                  <a:pt x="160" y="146"/>
                  <a:pt x="160" y="146"/>
                </a:cubicBezTo>
                <a:cubicBezTo>
                  <a:pt x="160" y="34"/>
                  <a:pt x="160" y="34"/>
                  <a:pt x="160" y="34"/>
                </a:cubicBezTo>
                <a:lnTo>
                  <a:pt x="0" y="34"/>
                </a:lnTo>
                <a:close/>
                <a:moveTo>
                  <a:pt x="154" y="140"/>
                </a:moveTo>
                <a:cubicBezTo>
                  <a:pt x="143" y="140"/>
                  <a:pt x="143" y="140"/>
                  <a:pt x="143" y="140"/>
                </a:cubicBezTo>
                <a:cubicBezTo>
                  <a:pt x="143" y="138"/>
                  <a:pt x="142" y="137"/>
                  <a:pt x="140" y="137"/>
                </a:cubicBezTo>
                <a:cubicBezTo>
                  <a:pt x="138" y="137"/>
                  <a:pt x="137" y="138"/>
                  <a:pt x="137" y="140"/>
                </a:cubicBezTo>
                <a:cubicBezTo>
                  <a:pt x="126" y="140"/>
                  <a:pt x="126" y="140"/>
                  <a:pt x="126" y="140"/>
                </a:cubicBezTo>
                <a:cubicBezTo>
                  <a:pt x="126" y="138"/>
                  <a:pt x="124" y="137"/>
                  <a:pt x="123" y="137"/>
                </a:cubicBezTo>
                <a:cubicBezTo>
                  <a:pt x="121" y="137"/>
                  <a:pt x="120" y="138"/>
                  <a:pt x="120" y="140"/>
                </a:cubicBezTo>
                <a:cubicBezTo>
                  <a:pt x="109" y="140"/>
                  <a:pt x="109" y="140"/>
                  <a:pt x="109" y="140"/>
                </a:cubicBezTo>
                <a:cubicBezTo>
                  <a:pt x="109" y="138"/>
                  <a:pt x="107" y="137"/>
                  <a:pt x="106" y="137"/>
                </a:cubicBezTo>
                <a:cubicBezTo>
                  <a:pt x="104" y="137"/>
                  <a:pt x="103" y="138"/>
                  <a:pt x="103" y="140"/>
                </a:cubicBezTo>
                <a:cubicBezTo>
                  <a:pt x="91" y="140"/>
                  <a:pt x="91" y="140"/>
                  <a:pt x="91" y="140"/>
                </a:cubicBezTo>
                <a:cubicBezTo>
                  <a:pt x="91" y="138"/>
                  <a:pt x="90" y="137"/>
                  <a:pt x="89" y="137"/>
                </a:cubicBezTo>
                <a:cubicBezTo>
                  <a:pt x="87" y="137"/>
                  <a:pt x="86" y="138"/>
                  <a:pt x="86" y="140"/>
                </a:cubicBezTo>
                <a:cubicBezTo>
                  <a:pt x="74" y="140"/>
                  <a:pt x="74" y="140"/>
                  <a:pt x="74" y="140"/>
                </a:cubicBezTo>
                <a:cubicBezTo>
                  <a:pt x="74" y="138"/>
                  <a:pt x="73" y="137"/>
                  <a:pt x="71" y="137"/>
                </a:cubicBezTo>
                <a:cubicBezTo>
                  <a:pt x="70" y="137"/>
                  <a:pt x="69" y="138"/>
                  <a:pt x="69" y="140"/>
                </a:cubicBezTo>
                <a:cubicBezTo>
                  <a:pt x="57" y="140"/>
                  <a:pt x="57" y="140"/>
                  <a:pt x="57" y="140"/>
                </a:cubicBezTo>
                <a:cubicBezTo>
                  <a:pt x="57" y="138"/>
                  <a:pt x="56" y="137"/>
                  <a:pt x="54" y="137"/>
                </a:cubicBezTo>
                <a:cubicBezTo>
                  <a:pt x="53" y="137"/>
                  <a:pt x="51" y="138"/>
                  <a:pt x="51" y="140"/>
                </a:cubicBezTo>
                <a:cubicBezTo>
                  <a:pt x="40" y="140"/>
                  <a:pt x="40" y="140"/>
                  <a:pt x="40" y="140"/>
                </a:cubicBezTo>
                <a:cubicBezTo>
                  <a:pt x="40" y="138"/>
                  <a:pt x="39" y="137"/>
                  <a:pt x="37" y="137"/>
                </a:cubicBezTo>
                <a:cubicBezTo>
                  <a:pt x="36" y="137"/>
                  <a:pt x="34" y="138"/>
                  <a:pt x="34" y="140"/>
                </a:cubicBezTo>
                <a:cubicBezTo>
                  <a:pt x="23" y="140"/>
                  <a:pt x="23" y="140"/>
                  <a:pt x="23" y="140"/>
                </a:cubicBezTo>
                <a:cubicBezTo>
                  <a:pt x="23" y="138"/>
                  <a:pt x="22" y="137"/>
                  <a:pt x="20" y="137"/>
                </a:cubicBezTo>
                <a:cubicBezTo>
                  <a:pt x="18" y="137"/>
                  <a:pt x="17" y="138"/>
                  <a:pt x="17" y="140"/>
                </a:cubicBezTo>
                <a:cubicBezTo>
                  <a:pt x="6" y="140"/>
                  <a:pt x="6" y="140"/>
                  <a:pt x="6" y="140"/>
                </a:cubicBezTo>
                <a:cubicBezTo>
                  <a:pt x="6" y="40"/>
                  <a:pt x="6" y="40"/>
                  <a:pt x="6" y="40"/>
                </a:cubicBezTo>
                <a:cubicBezTo>
                  <a:pt x="154" y="40"/>
                  <a:pt x="154" y="40"/>
                  <a:pt x="154" y="40"/>
                </a:cubicBezTo>
                <a:lnTo>
                  <a:pt x="154" y="140"/>
                </a:lnTo>
                <a:close/>
                <a:moveTo>
                  <a:pt x="6" y="26"/>
                </a:moveTo>
                <a:cubicBezTo>
                  <a:pt x="6" y="24"/>
                  <a:pt x="7" y="23"/>
                  <a:pt x="9" y="23"/>
                </a:cubicBezTo>
                <a:cubicBezTo>
                  <a:pt x="151" y="23"/>
                  <a:pt x="151" y="23"/>
                  <a:pt x="151" y="23"/>
                </a:cubicBezTo>
                <a:cubicBezTo>
                  <a:pt x="153" y="23"/>
                  <a:pt x="154" y="24"/>
                  <a:pt x="154" y="26"/>
                </a:cubicBezTo>
                <a:cubicBezTo>
                  <a:pt x="154" y="27"/>
                  <a:pt x="153" y="29"/>
                  <a:pt x="151" y="29"/>
                </a:cubicBezTo>
                <a:cubicBezTo>
                  <a:pt x="9" y="29"/>
                  <a:pt x="9" y="29"/>
                  <a:pt x="9" y="29"/>
                </a:cubicBezTo>
                <a:cubicBezTo>
                  <a:pt x="7" y="29"/>
                  <a:pt x="6" y="27"/>
                  <a:pt x="6" y="26"/>
                </a:cubicBezTo>
                <a:close/>
                <a:moveTo>
                  <a:pt x="14" y="14"/>
                </a:moveTo>
                <a:cubicBezTo>
                  <a:pt x="14" y="13"/>
                  <a:pt x="16" y="11"/>
                  <a:pt x="17" y="11"/>
                </a:cubicBezTo>
                <a:cubicBezTo>
                  <a:pt x="143" y="11"/>
                  <a:pt x="143" y="11"/>
                  <a:pt x="143" y="11"/>
                </a:cubicBezTo>
                <a:cubicBezTo>
                  <a:pt x="144" y="11"/>
                  <a:pt x="146" y="13"/>
                  <a:pt x="146" y="14"/>
                </a:cubicBezTo>
                <a:cubicBezTo>
                  <a:pt x="146" y="16"/>
                  <a:pt x="144" y="17"/>
                  <a:pt x="143" y="17"/>
                </a:cubicBezTo>
                <a:cubicBezTo>
                  <a:pt x="17" y="17"/>
                  <a:pt x="17" y="17"/>
                  <a:pt x="17" y="17"/>
                </a:cubicBezTo>
                <a:cubicBezTo>
                  <a:pt x="16" y="17"/>
                  <a:pt x="14" y="16"/>
                  <a:pt x="14" y="14"/>
                </a:cubicBezTo>
                <a:close/>
                <a:moveTo>
                  <a:pt x="23" y="3"/>
                </a:moveTo>
                <a:cubicBezTo>
                  <a:pt x="23" y="1"/>
                  <a:pt x="24" y="0"/>
                  <a:pt x="26" y="0"/>
                </a:cubicBezTo>
                <a:cubicBezTo>
                  <a:pt x="134" y="0"/>
                  <a:pt x="134" y="0"/>
                  <a:pt x="134" y="0"/>
                </a:cubicBezTo>
                <a:cubicBezTo>
                  <a:pt x="136" y="0"/>
                  <a:pt x="137" y="1"/>
                  <a:pt x="137" y="3"/>
                </a:cubicBezTo>
                <a:cubicBezTo>
                  <a:pt x="137" y="4"/>
                  <a:pt x="136" y="6"/>
                  <a:pt x="134" y="6"/>
                </a:cubicBezTo>
                <a:cubicBezTo>
                  <a:pt x="26" y="6"/>
                  <a:pt x="26" y="6"/>
                  <a:pt x="26" y="6"/>
                </a:cubicBezTo>
                <a:cubicBezTo>
                  <a:pt x="24" y="6"/>
                  <a:pt x="23" y="4"/>
                  <a:pt x="23" y="3"/>
                </a:cubicBezTo>
                <a:close/>
                <a:moveTo>
                  <a:pt x="131" y="43"/>
                </a:moveTo>
                <a:cubicBezTo>
                  <a:pt x="133" y="43"/>
                  <a:pt x="134" y="44"/>
                  <a:pt x="134" y="46"/>
                </a:cubicBezTo>
                <a:cubicBezTo>
                  <a:pt x="134" y="47"/>
                  <a:pt x="133" y="49"/>
                  <a:pt x="131" y="49"/>
                </a:cubicBezTo>
                <a:cubicBezTo>
                  <a:pt x="130" y="49"/>
                  <a:pt x="129" y="47"/>
                  <a:pt x="129" y="46"/>
                </a:cubicBezTo>
                <a:cubicBezTo>
                  <a:pt x="129" y="44"/>
                  <a:pt x="130" y="43"/>
                  <a:pt x="131" y="43"/>
                </a:cubicBezTo>
                <a:close/>
                <a:moveTo>
                  <a:pt x="131" y="60"/>
                </a:moveTo>
                <a:cubicBezTo>
                  <a:pt x="133" y="60"/>
                  <a:pt x="134" y="61"/>
                  <a:pt x="134" y="63"/>
                </a:cubicBezTo>
                <a:cubicBezTo>
                  <a:pt x="134" y="64"/>
                  <a:pt x="133" y="66"/>
                  <a:pt x="131" y="66"/>
                </a:cubicBezTo>
                <a:cubicBezTo>
                  <a:pt x="130" y="66"/>
                  <a:pt x="129" y="64"/>
                  <a:pt x="129" y="63"/>
                </a:cubicBezTo>
                <a:cubicBezTo>
                  <a:pt x="129" y="61"/>
                  <a:pt x="130" y="60"/>
                  <a:pt x="131" y="60"/>
                </a:cubicBezTo>
                <a:close/>
                <a:moveTo>
                  <a:pt x="140" y="51"/>
                </a:moveTo>
                <a:cubicBezTo>
                  <a:pt x="142" y="51"/>
                  <a:pt x="143" y="53"/>
                  <a:pt x="143" y="54"/>
                </a:cubicBezTo>
                <a:cubicBezTo>
                  <a:pt x="143" y="56"/>
                  <a:pt x="142" y="57"/>
                  <a:pt x="140" y="57"/>
                </a:cubicBezTo>
                <a:cubicBezTo>
                  <a:pt x="138" y="57"/>
                  <a:pt x="137" y="56"/>
                  <a:pt x="137" y="54"/>
                </a:cubicBezTo>
                <a:cubicBezTo>
                  <a:pt x="137" y="53"/>
                  <a:pt x="138" y="51"/>
                  <a:pt x="140" y="51"/>
                </a:cubicBezTo>
                <a:close/>
                <a:moveTo>
                  <a:pt x="140" y="69"/>
                </a:moveTo>
                <a:cubicBezTo>
                  <a:pt x="142" y="69"/>
                  <a:pt x="143" y="70"/>
                  <a:pt x="143" y="71"/>
                </a:cubicBezTo>
                <a:cubicBezTo>
                  <a:pt x="143" y="73"/>
                  <a:pt x="142" y="74"/>
                  <a:pt x="140" y="74"/>
                </a:cubicBezTo>
                <a:cubicBezTo>
                  <a:pt x="138" y="74"/>
                  <a:pt x="137" y="73"/>
                  <a:pt x="137" y="71"/>
                </a:cubicBezTo>
                <a:cubicBezTo>
                  <a:pt x="137" y="70"/>
                  <a:pt x="138" y="69"/>
                  <a:pt x="140" y="69"/>
                </a:cubicBezTo>
                <a:close/>
                <a:moveTo>
                  <a:pt x="149" y="43"/>
                </a:moveTo>
                <a:cubicBezTo>
                  <a:pt x="150" y="43"/>
                  <a:pt x="151" y="44"/>
                  <a:pt x="151" y="46"/>
                </a:cubicBezTo>
                <a:cubicBezTo>
                  <a:pt x="151" y="47"/>
                  <a:pt x="150" y="49"/>
                  <a:pt x="149" y="49"/>
                </a:cubicBezTo>
                <a:cubicBezTo>
                  <a:pt x="147" y="49"/>
                  <a:pt x="146" y="47"/>
                  <a:pt x="146" y="46"/>
                </a:cubicBezTo>
                <a:cubicBezTo>
                  <a:pt x="146" y="44"/>
                  <a:pt x="147" y="43"/>
                  <a:pt x="149" y="43"/>
                </a:cubicBezTo>
                <a:close/>
                <a:moveTo>
                  <a:pt x="149" y="60"/>
                </a:moveTo>
                <a:cubicBezTo>
                  <a:pt x="150" y="60"/>
                  <a:pt x="151" y="61"/>
                  <a:pt x="151" y="63"/>
                </a:cubicBezTo>
                <a:cubicBezTo>
                  <a:pt x="151" y="64"/>
                  <a:pt x="150" y="66"/>
                  <a:pt x="149" y="66"/>
                </a:cubicBezTo>
                <a:cubicBezTo>
                  <a:pt x="147" y="66"/>
                  <a:pt x="146" y="64"/>
                  <a:pt x="146" y="63"/>
                </a:cubicBezTo>
                <a:cubicBezTo>
                  <a:pt x="146" y="61"/>
                  <a:pt x="147" y="60"/>
                  <a:pt x="149" y="60"/>
                </a:cubicBezTo>
                <a:close/>
                <a:moveTo>
                  <a:pt x="131" y="77"/>
                </a:moveTo>
                <a:cubicBezTo>
                  <a:pt x="133" y="77"/>
                  <a:pt x="134" y="78"/>
                  <a:pt x="134" y="80"/>
                </a:cubicBezTo>
                <a:cubicBezTo>
                  <a:pt x="134" y="82"/>
                  <a:pt x="133" y="83"/>
                  <a:pt x="131" y="83"/>
                </a:cubicBezTo>
                <a:cubicBezTo>
                  <a:pt x="130" y="83"/>
                  <a:pt x="129" y="82"/>
                  <a:pt x="129" y="80"/>
                </a:cubicBezTo>
                <a:cubicBezTo>
                  <a:pt x="129" y="78"/>
                  <a:pt x="130" y="77"/>
                  <a:pt x="131" y="77"/>
                </a:cubicBezTo>
                <a:close/>
                <a:moveTo>
                  <a:pt x="131" y="94"/>
                </a:moveTo>
                <a:cubicBezTo>
                  <a:pt x="133" y="94"/>
                  <a:pt x="134" y="96"/>
                  <a:pt x="134" y="97"/>
                </a:cubicBezTo>
                <a:cubicBezTo>
                  <a:pt x="134" y="99"/>
                  <a:pt x="133" y="100"/>
                  <a:pt x="131" y="100"/>
                </a:cubicBezTo>
                <a:cubicBezTo>
                  <a:pt x="130" y="100"/>
                  <a:pt x="129" y="99"/>
                  <a:pt x="129" y="97"/>
                </a:cubicBezTo>
                <a:cubicBezTo>
                  <a:pt x="129" y="96"/>
                  <a:pt x="130" y="94"/>
                  <a:pt x="131" y="94"/>
                </a:cubicBezTo>
                <a:close/>
                <a:moveTo>
                  <a:pt x="140" y="86"/>
                </a:moveTo>
                <a:cubicBezTo>
                  <a:pt x="142" y="86"/>
                  <a:pt x="143" y="87"/>
                  <a:pt x="143" y="89"/>
                </a:cubicBezTo>
                <a:cubicBezTo>
                  <a:pt x="143" y="90"/>
                  <a:pt x="142" y="91"/>
                  <a:pt x="140" y="91"/>
                </a:cubicBezTo>
                <a:cubicBezTo>
                  <a:pt x="138" y="91"/>
                  <a:pt x="137" y="90"/>
                  <a:pt x="137" y="89"/>
                </a:cubicBezTo>
                <a:cubicBezTo>
                  <a:pt x="137" y="87"/>
                  <a:pt x="138" y="86"/>
                  <a:pt x="140" y="86"/>
                </a:cubicBezTo>
                <a:close/>
                <a:moveTo>
                  <a:pt x="140" y="103"/>
                </a:moveTo>
                <a:cubicBezTo>
                  <a:pt x="142" y="103"/>
                  <a:pt x="143" y="104"/>
                  <a:pt x="143" y="106"/>
                </a:cubicBezTo>
                <a:cubicBezTo>
                  <a:pt x="143" y="107"/>
                  <a:pt x="142" y="109"/>
                  <a:pt x="140" y="109"/>
                </a:cubicBezTo>
                <a:cubicBezTo>
                  <a:pt x="138" y="109"/>
                  <a:pt x="137" y="107"/>
                  <a:pt x="137" y="106"/>
                </a:cubicBezTo>
                <a:cubicBezTo>
                  <a:pt x="137" y="104"/>
                  <a:pt x="138" y="103"/>
                  <a:pt x="140" y="103"/>
                </a:cubicBezTo>
                <a:close/>
                <a:moveTo>
                  <a:pt x="149" y="77"/>
                </a:moveTo>
                <a:cubicBezTo>
                  <a:pt x="150" y="77"/>
                  <a:pt x="151" y="78"/>
                  <a:pt x="151" y="80"/>
                </a:cubicBezTo>
                <a:cubicBezTo>
                  <a:pt x="151" y="82"/>
                  <a:pt x="150" y="83"/>
                  <a:pt x="149" y="83"/>
                </a:cubicBezTo>
                <a:cubicBezTo>
                  <a:pt x="147" y="83"/>
                  <a:pt x="146" y="82"/>
                  <a:pt x="146" y="80"/>
                </a:cubicBezTo>
                <a:cubicBezTo>
                  <a:pt x="146" y="78"/>
                  <a:pt x="147" y="77"/>
                  <a:pt x="149" y="77"/>
                </a:cubicBezTo>
                <a:close/>
                <a:moveTo>
                  <a:pt x="149" y="94"/>
                </a:moveTo>
                <a:cubicBezTo>
                  <a:pt x="150" y="94"/>
                  <a:pt x="151" y="96"/>
                  <a:pt x="151" y="97"/>
                </a:cubicBezTo>
                <a:cubicBezTo>
                  <a:pt x="151" y="99"/>
                  <a:pt x="150" y="100"/>
                  <a:pt x="149" y="100"/>
                </a:cubicBezTo>
                <a:cubicBezTo>
                  <a:pt x="147" y="100"/>
                  <a:pt x="146" y="99"/>
                  <a:pt x="146" y="97"/>
                </a:cubicBezTo>
                <a:cubicBezTo>
                  <a:pt x="146" y="96"/>
                  <a:pt x="147" y="94"/>
                  <a:pt x="149" y="94"/>
                </a:cubicBezTo>
                <a:close/>
                <a:moveTo>
                  <a:pt x="131" y="111"/>
                </a:moveTo>
                <a:cubicBezTo>
                  <a:pt x="133" y="111"/>
                  <a:pt x="134" y="113"/>
                  <a:pt x="134" y="114"/>
                </a:cubicBezTo>
                <a:cubicBezTo>
                  <a:pt x="134" y="116"/>
                  <a:pt x="133" y="117"/>
                  <a:pt x="131" y="117"/>
                </a:cubicBezTo>
                <a:cubicBezTo>
                  <a:pt x="130" y="117"/>
                  <a:pt x="129" y="116"/>
                  <a:pt x="129" y="114"/>
                </a:cubicBezTo>
                <a:cubicBezTo>
                  <a:pt x="129" y="113"/>
                  <a:pt x="130" y="111"/>
                  <a:pt x="131" y="111"/>
                </a:cubicBezTo>
                <a:close/>
                <a:moveTo>
                  <a:pt x="131" y="129"/>
                </a:moveTo>
                <a:cubicBezTo>
                  <a:pt x="133" y="129"/>
                  <a:pt x="134" y="130"/>
                  <a:pt x="134" y="131"/>
                </a:cubicBezTo>
                <a:cubicBezTo>
                  <a:pt x="134" y="133"/>
                  <a:pt x="133" y="134"/>
                  <a:pt x="131" y="134"/>
                </a:cubicBezTo>
                <a:cubicBezTo>
                  <a:pt x="130" y="134"/>
                  <a:pt x="129" y="133"/>
                  <a:pt x="129" y="131"/>
                </a:cubicBezTo>
                <a:cubicBezTo>
                  <a:pt x="129" y="130"/>
                  <a:pt x="130" y="129"/>
                  <a:pt x="131" y="129"/>
                </a:cubicBezTo>
                <a:close/>
                <a:moveTo>
                  <a:pt x="140" y="120"/>
                </a:moveTo>
                <a:cubicBezTo>
                  <a:pt x="142" y="120"/>
                  <a:pt x="143" y="121"/>
                  <a:pt x="143" y="123"/>
                </a:cubicBezTo>
                <a:cubicBezTo>
                  <a:pt x="143" y="124"/>
                  <a:pt x="142" y="126"/>
                  <a:pt x="140" y="126"/>
                </a:cubicBezTo>
                <a:cubicBezTo>
                  <a:pt x="138" y="126"/>
                  <a:pt x="137" y="124"/>
                  <a:pt x="137" y="123"/>
                </a:cubicBezTo>
                <a:cubicBezTo>
                  <a:pt x="137" y="121"/>
                  <a:pt x="138" y="120"/>
                  <a:pt x="140" y="120"/>
                </a:cubicBezTo>
                <a:close/>
                <a:moveTo>
                  <a:pt x="149" y="111"/>
                </a:moveTo>
                <a:cubicBezTo>
                  <a:pt x="150" y="111"/>
                  <a:pt x="151" y="113"/>
                  <a:pt x="151" y="114"/>
                </a:cubicBezTo>
                <a:cubicBezTo>
                  <a:pt x="151" y="116"/>
                  <a:pt x="150" y="117"/>
                  <a:pt x="149" y="117"/>
                </a:cubicBezTo>
                <a:cubicBezTo>
                  <a:pt x="147" y="117"/>
                  <a:pt x="146" y="116"/>
                  <a:pt x="146" y="114"/>
                </a:cubicBezTo>
                <a:cubicBezTo>
                  <a:pt x="146" y="113"/>
                  <a:pt x="147" y="111"/>
                  <a:pt x="149" y="111"/>
                </a:cubicBezTo>
                <a:close/>
                <a:moveTo>
                  <a:pt x="149" y="129"/>
                </a:moveTo>
                <a:cubicBezTo>
                  <a:pt x="150" y="129"/>
                  <a:pt x="151" y="130"/>
                  <a:pt x="151" y="131"/>
                </a:cubicBezTo>
                <a:cubicBezTo>
                  <a:pt x="151" y="133"/>
                  <a:pt x="150" y="134"/>
                  <a:pt x="149" y="134"/>
                </a:cubicBezTo>
                <a:cubicBezTo>
                  <a:pt x="147" y="134"/>
                  <a:pt x="146" y="133"/>
                  <a:pt x="146" y="131"/>
                </a:cubicBezTo>
                <a:cubicBezTo>
                  <a:pt x="146" y="130"/>
                  <a:pt x="147" y="129"/>
                  <a:pt x="149" y="129"/>
                </a:cubicBezTo>
                <a:close/>
                <a:moveTo>
                  <a:pt x="80" y="43"/>
                </a:moveTo>
                <a:cubicBezTo>
                  <a:pt x="82" y="43"/>
                  <a:pt x="83" y="44"/>
                  <a:pt x="83" y="46"/>
                </a:cubicBezTo>
                <a:cubicBezTo>
                  <a:pt x="83" y="47"/>
                  <a:pt x="82" y="49"/>
                  <a:pt x="80" y="49"/>
                </a:cubicBezTo>
                <a:cubicBezTo>
                  <a:pt x="78" y="49"/>
                  <a:pt x="77" y="47"/>
                  <a:pt x="77" y="46"/>
                </a:cubicBezTo>
                <a:cubicBezTo>
                  <a:pt x="77" y="44"/>
                  <a:pt x="78" y="43"/>
                  <a:pt x="80" y="43"/>
                </a:cubicBezTo>
                <a:close/>
                <a:moveTo>
                  <a:pt x="80" y="60"/>
                </a:moveTo>
                <a:cubicBezTo>
                  <a:pt x="82" y="60"/>
                  <a:pt x="83" y="61"/>
                  <a:pt x="83" y="63"/>
                </a:cubicBezTo>
                <a:cubicBezTo>
                  <a:pt x="83" y="64"/>
                  <a:pt x="82" y="66"/>
                  <a:pt x="80" y="66"/>
                </a:cubicBezTo>
                <a:cubicBezTo>
                  <a:pt x="78" y="66"/>
                  <a:pt x="77" y="64"/>
                  <a:pt x="77" y="63"/>
                </a:cubicBezTo>
                <a:cubicBezTo>
                  <a:pt x="77" y="61"/>
                  <a:pt x="78" y="60"/>
                  <a:pt x="80" y="60"/>
                </a:cubicBezTo>
                <a:close/>
                <a:moveTo>
                  <a:pt x="89" y="51"/>
                </a:moveTo>
                <a:cubicBezTo>
                  <a:pt x="90" y="51"/>
                  <a:pt x="91" y="53"/>
                  <a:pt x="91" y="54"/>
                </a:cubicBezTo>
                <a:cubicBezTo>
                  <a:pt x="91" y="56"/>
                  <a:pt x="90" y="57"/>
                  <a:pt x="89" y="57"/>
                </a:cubicBezTo>
                <a:cubicBezTo>
                  <a:pt x="87" y="57"/>
                  <a:pt x="86" y="56"/>
                  <a:pt x="86" y="54"/>
                </a:cubicBezTo>
                <a:cubicBezTo>
                  <a:pt x="86" y="53"/>
                  <a:pt x="87" y="51"/>
                  <a:pt x="89" y="51"/>
                </a:cubicBezTo>
                <a:close/>
                <a:moveTo>
                  <a:pt x="89" y="69"/>
                </a:moveTo>
                <a:cubicBezTo>
                  <a:pt x="90" y="69"/>
                  <a:pt x="91" y="70"/>
                  <a:pt x="91" y="71"/>
                </a:cubicBezTo>
                <a:cubicBezTo>
                  <a:pt x="91" y="73"/>
                  <a:pt x="90" y="74"/>
                  <a:pt x="89" y="74"/>
                </a:cubicBezTo>
                <a:cubicBezTo>
                  <a:pt x="87" y="74"/>
                  <a:pt x="86" y="73"/>
                  <a:pt x="86" y="71"/>
                </a:cubicBezTo>
                <a:cubicBezTo>
                  <a:pt x="86" y="70"/>
                  <a:pt x="87" y="69"/>
                  <a:pt x="89" y="69"/>
                </a:cubicBezTo>
                <a:close/>
                <a:moveTo>
                  <a:pt x="97" y="43"/>
                </a:moveTo>
                <a:cubicBezTo>
                  <a:pt x="99" y="43"/>
                  <a:pt x="100" y="44"/>
                  <a:pt x="100" y="46"/>
                </a:cubicBezTo>
                <a:cubicBezTo>
                  <a:pt x="100" y="47"/>
                  <a:pt x="99" y="49"/>
                  <a:pt x="97" y="49"/>
                </a:cubicBezTo>
                <a:cubicBezTo>
                  <a:pt x="96" y="49"/>
                  <a:pt x="94" y="47"/>
                  <a:pt x="94" y="46"/>
                </a:cubicBezTo>
                <a:cubicBezTo>
                  <a:pt x="94" y="44"/>
                  <a:pt x="96" y="43"/>
                  <a:pt x="97" y="43"/>
                </a:cubicBezTo>
                <a:close/>
                <a:moveTo>
                  <a:pt x="114" y="43"/>
                </a:moveTo>
                <a:cubicBezTo>
                  <a:pt x="116" y="43"/>
                  <a:pt x="117" y="44"/>
                  <a:pt x="117" y="46"/>
                </a:cubicBezTo>
                <a:cubicBezTo>
                  <a:pt x="117" y="47"/>
                  <a:pt x="116" y="49"/>
                  <a:pt x="114" y="49"/>
                </a:cubicBezTo>
                <a:cubicBezTo>
                  <a:pt x="113" y="49"/>
                  <a:pt x="111" y="47"/>
                  <a:pt x="111" y="46"/>
                </a:cubicBezTo>
                <a:cubicBezTo>
                  <a:pt x="111" y="44"/>
                  <a:pt x="113" y="43"/>
                  <a:pt x="114" y="43"/>
                </a:cubicBezTo>
                <a:close/>
                <a:moveTo>
                  <a:pt x="97" y="60"/>
                </a:moveTo>
                <a:cubicBezTo>
                  <a:pt x="99" y="60"/>
                  <a:pt x="100" y="61"/>
                  <a:pt x="100" y="63"/>
                </a:cubicBezTo>
                <a:cubicBezTo>
                  <a:pt x="100" y="64"/>
                  <a:pt x="99" y="66"/>
                  <a:pt x="97" y="66"/>
                </a:cubicBezTo>
                <a:cubicBezTo>
                  <a:pt x="96" y="66"/>
                  <a:pt x="94" y="64"/>
                  <a:pt x="94" y="63"/>
                </a:cubicBezTo>
                <a:cubicBezTo>
                  <a:pt x="94" y="61"/>
                  <a:pt x="96" y="60"/>
                  <a:pt x="97" y="60"/>
                </a:cubicBezTo>
                <a:close/>
                <a:moveTo>
                  <a:pt x="114" y="60"/>
                </a:moveTo>
                <a:cubicBezTo>
                  <a:pt x="116" y="60"/>
                  <a:pt x="117" y="61"/>
                  <a:pt x="117" y="63"/>
                </a:cubicBezTo>
                <a:cubicBezTo>
                  <a:pt x="117" y="64"/>
                  <a:pt x="116" y="66"/>
                  <a:pt x="114" y="66"/>
                </a:cubicBezTo>
                <a:cubicBezTo>
                  <a:pt x="113" y="66"/>
                  <a:pt x="111" y="64"/>
                  <a:pt x="111" y="63"/>
                </a:cubicBezTo>
                <a:cubicBezTo>
                  <a:pt x="111" y="61"/>
                  <a:pt x="113" y="60"/>
                  <a:pt x="114" y="60"/>
                </a:cubicBezTo>
                <a:close/>
                <a:moveTo>
                  <a:pt x="106" y="51"/>
                </a:moveTo>
                <a:cubicBezTo>
                  <a:pt x="107" y="51"/>
                  <a:pt x="109" y="53"/>
                  <a:pt x="109" y="54"/>
                </a:cubicBezTo>
                <a:cubicBezTo>
                  <a:pt x="109" y="56"/>
                  <a:pt x="107" y="57"/>
                  <a:pt x="106" y="57"/>
                </a:cubicBezTo>
                <a:cubicBezTo>
                  <a:pt x="104" y="57"/>
                  <a:pt x="103" y="56"/>
                  <a:pt x="103" y="54"/>
                </a:cubicBezTo>
                <a:cubicBezTo>
                  <a:pt x="103" y="53"/>
                  <a:pt x="104" y="51"/>
                  <a:pt x="106" y="51"/>
                </a:cubicBezTo>
                <a:close/>
                <a:moveTo>
                  <a:pt x="123" y="51"/>
                </a:moveTo>
                <a:cubicBezTo>
                  <a:pt x="124" y="51"/>
                  <a:pt x="126" y="53"/>
                  <a:pt x="126" y="54"/>
                </a:cubicBezTo>
                <a:cubicBezTo>
                  <a:pt x="126" y="56"/>
                  <a:pt x="124" y="57"/>
                  <a:pt x="123" y="57"/>
                </a:cubicBezTo>
                <a:cubicBezTo>
                  <a:pt x="121" y="57"/>
                  <a:pt x="120" y="56"/>
                  <a:pt x="120" y="54"/>
                </a:cubicBezTo>
                <a:cubicBezTo>
                  <a:pt x="120" y="53"/>
                  <a:pt x="121" y="51"/>
                  <a:pt x="123" y="51"/>
                </a:cubicBezTo>
                <a:close/>
                <a:moveTo>
                  <a:pt x="106" y="69"/>
                </a:moveTo>
                <a:cubicBezTo>
                  <a:pt x="107" y="69"/>
                  <a:pt x="109" y="70"/>
                  <a:pt x="109" y="71"/>
                </a:cubicBezTo>
                <a:cubicBezTo>
                  <a:pt x="109" y="73"/>
                  <a:pt x="107" y="74"/>
                  <a:pt x="106" y="74"/>
                </a:cubicBezTo>
                <a:cubicBezTo>
                  <a:pt x="104" y="74"/>
                  <a:pt x="103" y="73"/>
                  <a:pt x="103" y="71"/>
                </a:cubicBezTo>
                <a:cubicBezTo>
                  <a:pt x="103" y="70"/>
                  <a:pt x="104" y="69"/>
                  <a:pt x="106" y="69"/>
                </a:cubicBezTo>
                <a:close/>
                <a:moveTo>
                  <a:pt x="123" y="69"/>
                </a:moveTo>
                <a:cubicBezTo>
                  <a:pt x="124" y="69"/>
                  <a:pt x="126" y="70"/>
                  <a:pt x="126" y="71"/>
                </a:cubicBezTo>
                <a:cubicBezTo>
                  <a:pt x="126" y="73"/>
                  <a:pt x="124" y="74"/>
                  <a:pt x="123" y="74"/>
                </a:cubicBezTo>
                <a:cubicBezTo>
                  <a:pt x="121" y="74"/>
                  <a:pt x="120" y="73"/>
                  <a:pt x="120" y="71"/>
                </a:cubicBezTo>
                <a:cubicBezTo>
                  <a:pt x="120" y="70"/>
                  <a:pt x="121" y="69"/>
                  <a:pt x="123" y="69"/>
                </a:cubicBezTo>
                <a:close/>
                <a:moveTo>
                  <a:pt x="80" y="77"/>
                </a:moveTo>
                <a:cubicBezTo>
                  <a:pt x="82" y="77"/>
                  <a:pt x="83" y="78"/>
                  <a:pt x="83" y="80"/>
                </a:cubicBezTo>
                <a:cubicBezTo>
                  <a:pt x="83" y="82"/>
                  <a:pt x="82" y="83"/>
                  <a:pt x="80" y="83"/>
                </a:cubicBezTo>
                <a:cubicBezTo>
                  <a:pt x="78" y="83"/>
                  <a:pt x="77" y="82"/>
                  <a:pt x="77" y="80"/>
                </a:cubicBezTo>
                <a:cubicBezTo>
                  <a:pt x="77" y="78"/>
                  <a:pt x="78" y="77"/>
                  <a:pt x="80" y="77"/>
                </a:cubicBezTo>
                <a:close/>
                <a:moveTo>
                  <a:pt x="80" y="94"/>
                </a:moveTo>
                <a:cubicBezTo>
                  <a:pt x="82" y="94"/>
                  <a:pt x="83" y="96"/>
                  <a:pt x="83" y="97"/>
                </a:cubicBezTo>
                <a:cubicBezTo>
                  <a:pt x="83" y="99"/>
                  <a:pt x="82" y="100"/>
                  <a:pt x="80" y="100"/>
                </a:cubicBezTo>
                <a:cubicBezTo>
                  <a:pt x="78" y="100"/>
                  <a:pt x="77" y="99"/>
                  <a:pt x="77" y="97"/>
                </a:cubicBezTo>
                <a:cubicBezTo>
                  <a:pt x="77" y="96"/>
                  <a:pt x="78" y="94"/>
                  <a:pt x="80" y="94"/>
                </a:cubicBezTo>
                <a:close/>
                <a:moveTo>
                  <a:pt x="89" y="86"/>
                </a:moveTo>
                <a:cubicBezTo>
                  <a:pt x="90" y="86"/>
                  <a:pt x="91" y="87"/>
                  <a:pt x="91" y="89"/>
                </a:cubicBezTo>
                <a:cubicBezTo>
                  <a:pt x="91" y="90"/>
                  <a:pt x="90" y="91"/>
                  <a:pt x="89" y="91"/>
                </a:cubicBezTo>
                <a:cubicBezTo>
                  <a:pt x="87" y="91"/>
                  <a:pt x="86" y="90"/>
                  <a:pt x="86" y="89"/>
                </a:cubicBezTo>
                <a:cubicBezTo>
                  <a:pt x="86" y="87"/>
                  <a:pt x="87" y="86"/>
                  <a:pt x="89" y="86"/>
                </a:cubicBezTo>
                <a:close/>
                <a:moveTo>
                  <a:pt x="89" y="103"/>
                </a:moveTo>
                <a:cubicBezTo>
                  <a:pt x="90" y="103"/>
                  <a:pt x="91" y="104"/>
                  <a:pt x="91" y="106"/>
                </a:cubicBezTo>
                <a:cubicBezTo>
                  <a:pt x="91" y="107"/>
                  <a:pt x="90" y="109"/>
                  <a:pt x="89" y="109"/>
                </a:cubicBezTo>
                <a:cubicBezTo>
                  <a:pt x="87" y="109"/>
                  <a:pt x="86" y="107"/>
                  <a:pt x="86" y="106"/>
                </a:cubicBezTo>
                <a:cubicBezTo>
                  <a:pt x="86" y="104"/>
                  <a:pt x="87" y="103"/>
                  <a:pt x="89" y="103"/>
                </a:cubicBezTo>
                <a:close/>
                <a:moveTo>
                  <a:pt x="97" y="77"/>
                </a:moveTo>
                <a:cubicBezTo>
                  <a:pt x="99" y="77"/>
                  <a:pt x="100" y="78"/>
                  <a:pt x="100" y="80"/>
                </a:cubicBezTo>
                <a:cubicBezTo>
                  <a:pt x="100" y="82"/>
                  <a:pt x="99" y="83"/>
                  <a:pt x="97" y="83"/>
                </a:cubicBezTo>
                <a:cubicBezTo>
                  <a:pt x="96" y="83"/>
                  <a:pt x="94" y="82"/>
                  <a:pt x="94" y="80"/>
                </a:cubicBezTo>
                <a:cubicBezTo>
                  <a:pt x="94" y="78"/>
                  <a:pt x="96" y="77"/>
                  <a:pt x="97" y="77"/>
                </a:cubicBezTo>
                <a:close/>
                <a:moveTo>
                  <a:pt x="114" y="77"/>
                </a:moveTo>
                <a:cubicBezTo>
                  <a:pt x="116" y="77"/>
                  <a:pt x="117" y="78"/>
                  <a:pt x="117" y="80"/>
                </a:cubicBezTo>
                <a:cubicBezTo>
                  <a:pt x="117" y="82"/>
                  <a:pt x="116" y="83"/>
                  <a:pt x="114" y="83"/>
                </a:cubicBezTo>
                <a:cubicBezTo>
                  <a:pt x="113" y="83"/>
                  <a:pt x="111" y="82"/>
                  <a:pt x="111" y="80"/>
                </a:cubicBezTo>
                <a:cubicBezTo>
                  <a:pt x="111" y="78"/>
                  <a:pt x="113" y="77"/>
                  <a:pt x="114" y="77"/>
                </a:cubicBezTo>
                <a:close/>
                <a:moveTo>
                  <a:pt x="97" y="94"/>
                </a:moveTo>
                <a:cubicBezTo>
                  <a:pt x="99" y="94"/>
                  <a:pt x="100" y="96"/>
                  <a:pt x="100" y="97"/>
                </a:cubicBezTo>
                <a:cubicBezTo>
                  <a:pt x="100" y="99"/>
                  <a:pt x="99" y="100"/>
                  <a:pt x="97" y="100"/>
                </a:cubicBezTo>
                <a:cubicBezTo>
                  <a:pt x="96" y="100"/>
                  <a:pt x="94" y="99"/>
                  <a:pt x="94" y="97"/>
                </a:cubicBezTo>
                <a:cubicBezTo>
                  <a:pt x="94" y="96"/>
                  <a:pt x="96" y="94"/>
                  <a:pt x="97" y="94"/>
                </a:cubicBezTo>
                <a:close/>
                <a:moveTo>
                  <a:pt x="114" y="94"/>
                </a:moveTo>
                <a:cubicBezTo>
                  <a:pt x="116" y="94"/>
                  <a:pt x="117" y="96"/>
                  <a:pt x="117" y="97"/>
                </a:cubicBezTo>
                <a:cubicBezTo>
                  <a:pt x="117" y="99"/>
                  <a:pt x="116" y="100"/>
                  <a:pt x="114" y="100"/>
                </a:cubicBezTo>
                <a:cubicBezTo>
                  <a:pt x="113" y="100"/>
                  <a:pt x="111" y="99"/>
                  <a:pt x="111" y="97"/>
                </a:cubicBezTo>
                <a:cubicBezTo>
                  <a:pt x="111" y="96"/>
                  <a:pt x="113" y="94"/>
                  <a:pt x="114" y="94"/>
                </a:cubicBezTo>
                <a:close/>
                <a:moveTo>
                  <a:pt x="106" y="86"/>
                </a:moveTo>
                <a:cubicBezTo>
                  <a:pt x="107" y="86"/>
                  <a:pt x="109" y="87"/>
                  <a:pt x="109" y="89"/>
                </a:cubicBezTo>
                <a:cubicBezTo>
                  <a:pt x="109" y="90"/>
                  <a:pt x="107" y="91"/>
                  <a:pt x="106" y="91"/>
                </a:cubicBezTo>
                <a:cubicBezTo>
                  <a:pt x="104" y="91"/>
                  <a:pt x="103" y="90"/>
                  <a:pt x="103" y="89"/>
                </a:cubicBezTo>
                <a:cubicBezTo>
                  <a:pt x="103" y="87"/>
                  <a:pt x="104" y="86"/>
                  <a:pt x="106" y="86"/>
                </a:cubicBezTo>
                <a:close/>
                <a:moveTo>
                  <a:pt x="123" y="86"/>
                </a:moveTo>
                <a:cubicBezTo>
                  <a:pt x="124" y="86"/>
                  <a:pt x="126" y="87"/>
                  <a:pt x="126" y="89"/>
                </a:cubicBezTo>
                <a:cubicBezTo>
                  <a:pt x="126" y="90"/>
                  <a:pt x="124" y="91"/>
                  <a:pt x="123" y="91"/>
                </a:cubicBezTo>
                <a:cubicBezTo>
                  <a:pt x="121" y="91"/>
                  <a:pt x="120" y="90"/>
                  <a:pt x="120" y="89"/>
                </a:cubicBezTo>
                <a:cubicBezTo>
                  <a:pt x="120" y="87"/>
                  <a:pt x="121" y="86"/>
                  <a:pt x="123" y="86"/>
                </a:cubicBezTo>
                <a:close/>
                <a:moveTo>
                  <a:pt x="106" y="103"/>
                </a:moveTo>
                <a:cubicBezTo>
                  <a:pt x="107" y="103"/>
                  <a:pt x="109" y="104"/>
                  <a:pt x="109" y="106"/>
                </a:cubicBezTo>
                <a:cubicBezTo>
                  <a:pt x="109" y="107"/>
                  <a:pt x="107" y="109"/>
                  <a:pt x="106" y="109"/>
                </a:cubicBezTo>
                <a:cubicBezTo>
                  <a:pt x="104" y="109"/>
                  <a:pt x="103" y="107"/>
                  <a:pt x="103" y="106"/>
                </a:cubicBezTo>
                <a:cubicBezTo>
                  <a:pt x="103" y="104"/>
                  <a:pt x="104" y="103"/>
                  <a:pt x="106" y="103"/>
                </a:cubicBezTo>
                <a:close/>
                <a:moveTo>
                  <a:pt x="123" y="103"/>
                </a:moveTo>
                <a:cubicBezTo>
                  <a:pt x="124" y="103"/>
                  <a:pt x="126" y="104"/>
                  <a:pt x="126" y="106"/>
                </a:cubicBezTo>
                <a:cubicBezTo>
                  <a:pt x="126" y="107"/>
                  <a:pt x="124" y="109"/>
                  <a:pt x="123" y="109"/>
                </a:cubicBezTo>
                <a:cubicBezTo>
                  <a:pt x="121" y="109"/>
                  <a:pt x="120" y="107"/>
                  <a:pt x="120" y="106"/>
                </a:cubicBezTo>
                <a:cubicBezTo>
                  <a:pt x="120" y="104"/>
                  <a:pt x="121" y="103"/>
                  <a:pt x="123" y="103"/>
                </a:cubicBezTo>
                <a:close/>
                <a:moveTo>
                  <a:pt x="80" y="111"/>
                </a:moveTo>
                <a:cubicBezTo>
                  <a:pt x="82" y="111"/>
                  <a:pt x="83" y="113"/>
                  <a:pt x="83" y="114"/>
                </a:cubicBezTo>
                <a:cubicBezTo>
                  <a:pt x="83" y="116"/>
                  <a:pt x="82" y="117"/>
                  <a:pt x="80" y="117"/>
                </a:cubicBezTo>
                <a:cubicBezTo>
                  <a:pt x="78" y="117"/>
                  <a:pt x="77" y="116"/>
                  <a:pt x="77" y="114"/>
                </a:cubicBezTo>
                <a:cubicBezTo>
                  <a:pt x="77" y="113"/>
                  <a:pt x="78" y="111"/>
                  <a:pt x="80" y="111"/>
                </a:cubicBezTo>
                <a:close/>
                <a:moveTo>
                  <a:pt x="80" y="129"/>
                </a:moveTo>
                <a:cubicBezTo>
                  <a:pt x="82" y="129"/>
                  <a:pt x="83" y="130"/>
                  <a:pt x="83" y="131"/>
                </a:cubicBezTo>
                <a:cubicBezTo>
                  <a:pt x="83" y="133"/>
                  <a:pt x="82" y="134"/>
                  <a:pt x="80" y="134"/>
                </a:cubicBezTo>
                <a:cubicBezTo>
                  <a:pt x="78" y="134"/>
                  <a:pt x="77" y="133"/>
                  <a:pt x="77" y="131"/>
                </a:cubicBezTo>
                <a:cubicBezTo>
                  <a:pt x="77" y="130"/>
                  <a:pt x="78" y="129"/>
                  <a:pt x="80" y="129"/>
                </a:cubicBezTo>
                <a:close/>
                <a:moveTo>
                  <a:pt x="89" y="120"/>
                </a:moveTo>
                <a:cubicBezTo>
                  <a:pt x="90" y="120"/>
                  <a:pt x="91" y="121"/>
                  <a:pt x="91" y="123"/>
                </a:cubicBezTo>
                <a:cubicBezTo>
                  <a:pt x="91" y="124"/>
                  <a:pt x="90" y="126"/>
                  <a:pt x="89" y="126"/>
                </a:cubicBezTo>
                <a:cubicBezTo>
                  <a:pt x="87" y="126"/>
                  <a:pt x="86" y="124"/>
                  <a:pt x="86" y="123"/>
                </a:cubicBezTo>
                <a:cubicBezTo>
                  <a:pt x="86" y="121"/>
                  <a:pt x="87" y="120"/>
                  <a:pt x="89" y="120"/>
                </a:cubicBezTo>
                <a:close/>
                <a:moveTo>
                  <a:pt x="97" y="111"/>
                </a:moveTo>
                <a:cubicBezTo>
                  <a:pt x="99" y="111"/>
                  <a:pt x="100" y="113"/>
                  <a:pt x="100" y="114"/>
                </a:cubicBezTo>
                <a:cubicBezTo>
                  <a:pt x="100" y="116"/>
                  <a:pt x="99" y="117"/>
                  <a:pt x="97" y="117"/>
                </a:cubicBezTo>
                <a:cubicBezTo>
                  <a:pt x="96" y="117"/>
                  <a:pt x="94" y="116"/>
                  <a:pt x="94" y="114"/>
                </a:cubicBezTo>
                <a:cubicBezTo>
                  <a:pt x="94" y="113"/>
                  <a:pt x="96" y="111"/>
                  <a:pt x="97" y="111"/>
                </a:cubicBezTo>
                <a:close/>
                <a:moveTo>
                  <a:pt x="114" y="111"/>
                </a:moveTo>
                <a:cubicBezTo>
                  <a:pt x="116" y="111"/>
                  <a:pt x="117" y="113"/>
                  <a:pt x="117" y="114"/>
                </a:cubicBezTo>
                <a:cubicBezTo>
                  <a:pt x="117" y="116"/>
                  <a:pt x="116" y="117"/>
                  <a:pt x="114" y="117"/>
                </a:cubicBezTo>
                <a:cubicBezTo>
                  <a:pt x="113" y="117"/>
                  <a:pt x="111" y="116"/>
                  <a:pt x="111" y="114"/>
                </a:cubicBezTo>
                <a:cubicBezTo>
                  <a:pt x="111" y="113"/>
                  <a:pt x="113" y="111"/>
                  <a:pt x="114" y="111"/>
                </a:cubicBezTo>
                <a:close/>
                <a:moveTo>
                  <a:pt x="97" y="129"/>
                </a:moveTo>
                <a:cubicBezTo>
                  <a:pt x="99" y="129"/>
                  <a:pt x="100" y="130"/>
                  <a:pt x="100" y="131"/>
                </a:cubicBezTo>
                <a:cubicBezTo>
                  <a:pt x="100" y="133"/>
                  <a:pt x="99" y="134"/>
                  <a:pt x="97" y="134"/>
                </a:cubicBezTo>
                <a:cubicBezTo>
                  <a:pt x="96" y="134"/>
                  <a:pt x="94" y="133"/>
                  <a:pt x="94" y="131"/>
                </a:cubicBezTo>
                <a:cubicBezTo>
                  <a:pt x="94" y="130"/>
                  <a:pt x="96" y="129"/>
                  <a:pt x="97" y="129"/>
                </a:cubicBezTo>
                <a:close/>
                <a:moveTo>
                  <a:pt x="114" y="129"/>
                </a:moveTo>
                <a:cubicBezTo>
                  <a:pt x="116" y="129"/>
                  <a:pt x="117" y="130"/>
                  <a:pt x="117" y="131"/>
                </a:cubicBezTo>
                <a:cubicBezTo>
                  <a:pt x="117" y="133"/>
                  <a:pt x="116" y="134"/>
                  <a:pt x="114" y="134"/>
                </a:cubicBezTo>
                <a:cubicBezTo>
                  <a:pt x="113" y="134"/>
                  <a:pt x="111" y="133"/>
                  <a:pt x="111" y="131"/>
                </a:cubicBezTo>
                <a:cubicBezTo>
                  <a:pt x="111" y="130"/>
                  <a:pt x="113" y="129"/>
                  <a:pt x="114" y="129"/>
                </a:cubicBezTo>
                <a:close/>
                <a:moveTo>
                  <a:pt x="106" y="120"/>
                </a:moveTo>
                <a:cubicBezTo>
                  <a:pt x="107" y="120"/>
                  <a:pt x="109" y="121"/>
                  <a:pt x="109" y="123"/>
                </a:cubicBezTo>
                <a:cubicBezTo>
                  <a:pt x="109" y="124"/>
                  <a:pt x="107" y="126"/>
                  <a:pt x="106" y="126"/>
                </a:cubicBezTo>
                <a:cubicBezTo>
                  <a:pt x="104" y="126"/>
                  <a:pt x="103" y="124"/>
                  <a:pt x="103" y="123"/>
                </a:cubicBezTo>
                <a:cubicBezTo>
                  <a:pt x="103" y="121"/>
                  <a:pt x="104" y="120"/>
                  <a:pt x="106" y="120"/>
                </a:cubicBezTo>
                <a:close/>
                <a:moveTo>
                  <a:pt x="123" y="120"/>
                </a:moveTo>
                <a:cubicBezTo>
                  <a:pt x="124" y="120"/>
                  <a:pt x="126" y="121"/>
                  <a:pt x="126" y="123"/>
                </a:cubicBezTo>
                <a:cubicBezTo>
                  <a:pt x="126" y="124"/>
                  <a:pt x="124" y="126"/>
                  <a:pt x="123" y="126"/>
                </a:cubicBezTo>
                <a:cubicBezTo>
                  <a:pt x="121" y="126"/>
                  <a:pt x="120" y="124"/>
                  <a:pt x="120" y="123"/>
                </a:cubicBezTo>
                <a:cubicBezTo>
                  <a:pt x="120" y="121"/>
                  <a:pt x="121" y="120"/>
                  <a:pt x="123" y="120"/>
                </a:cubicBezTo>
                <a:close/>
                <a:moveTo>
                  <a:pt x="63" y="43"/>
                </a:moveTo>
                <a:cubicBezTo>
                  <a:pt x="64" y="43"/>
                  <a:pt x="66" y="44"/>
                  <a:pt x="66" y="46"/>
                </a:cubicBezTo>
                <a:cubicBezTo>
                  <a:pt x="66" y="47"/>
                  <a:pt x="64" y="49"/>
                  <a:pt x="63" y="49"/>
                </a:cubicBezTo>
                <a:cubicBezTo>
                  <a:pt x="61" y="49"/>
                  <a:pt x="60" y="47"/>
                  <a:pt x="60" y="46"/>
                </a:cubicBezTo>
                <a:cubicBezTo>
                  <a:pt x="60" y="44"/>
                  <a:pt x="61" y="43"/>
                  <a:pt x="63" y="43"/>
                </a:cubicBezTo>
                <a:close/>
                <a:moveTo>
                  <a:pt x="63" y="60"/>
                </a:moveTo>
                <a:cubicBezTo>
                  <a:pt x="64" y="60"/>
                  <a:pt x="66" y="61"/>
                  <a:pt x="66" y="63"/>
                </a:cubicBezTo>
                <a:cubicBezTo>
                  <a:pt x="66" y="64"/>
                  <a:pt x="64" y="66"/>
                  <a:pt x="63" y="66"/>
                </a:cubicBezTo>
                <a:cubicBezTo>
                  <a:pt x="61" y="66"/>
                  <a:pt x="60" y="64"/>
                  <a:pt x="60" y="63"/>
                </a:cubicBezTo>
                <a:cubicBezTo>
                  <a:pt x="60" y="61"/>
                  <a:pt x="61" y="60"/>
                  <a:pt x="63" y="60"/>
                </a:cubicBezTo>
                <a:close/>
                <a:moveTo>
                  <a:pt x="71" y="51"/>
                </a:moveTo>
                <a:cubicBezTo>
                  <a:pt x="73" y="51"/>
                  <a:pt x="74" y="53"/>
                  <a:pt x="74" y="54"/>
                </a:cubicBezTo>
                <a:cubicBezTo>
                  <a:pt x="74" y="56"/>
                  <a:pt x="73" y="57"/>
                  <a:pt x="71" y="57"/>
                </a:cubicBezTo>
                <a:cubicBezTo>
                  <a:pt x="70" y="57"/>
                  <a:pt x="69" y="56"/>
                  <a:pt x="69" y="54"/>
                </a:cubicBezTo>
                <a:cubicBezTo>
                  <a:pt x="69" y="53"/>
                  <a:pt x="70" y="51"/>
                  <a:pt x="71" y="51"/>
                </a:cubicBezTo>
                <a:close/>
                <a:moveTo>
                  <a:pt x="71" y="69"/>
                </a:moveTo>
                <a:cubicBezTo>
                  <a:pt x="73" y="69"/>
                  <a:pt x="74" y="70"/>
                  <a:pt x="74" y="71"/>
                </a:cubicBezTo>
                <a:cubicBezTo>
                  <a:pt x="74" y="73"/>
                  <a:pt x="73" y="74"/>
                  <a:pt x="71" y="74"/>
                </a:cubicBezTo>
                <a:cubicBezTo>
                  <a:pt x="70" y="74"/>
                  <a:pt x="69" y="73"/>
                  <a:pt x="69" y="71"/>
                </a:cubicBezTo>
                <a:cubicBezTo>
                  <a:pt x="69" y="70"/>
                  <a:pt x="70" y="69"/>
                  <a:pt x="71" y="69"/>
                </a:cubicBezTo>
                <a:close/>
                <a:moveTo>
                  <a:pt x="63" y="77"/>
                </a:moveTo>
                <a:cubicBezTo>
                  <a:pt x="64" y="77"/>
                  <a:pt x="66" y="78"/>
                  <a:pt x="66" y="80"/>
                </a:cubicBezTo>
                <a:cubicBezTo>
                  <a:pt x="66" y="82"/>
                  <a:pt x="64" y="83"/>
                  <a:pt x="63" y="83"/>
                </a:cubicBezTo>
                <a:cubicBezTo>
                  <a:pt x="61" y="83"/>
                  <a:pt x="60" y="82"/>
                  <a:pt x="60" y="80"/>
                </a:cubicBezTo>
                <a:cubicBezTo>
                  <a:pt x="60" y="78"/>
                  <a:pt x="61" y="77"/>
                  <a:pt x="63" y="77"/>
                </a:cubicBezTo>
                <a:close/>
                <a:moveTo>
                  <a:pt x="63" y="94"/>
                </a:moveTo>
                <a:cubicBezTo>
                  <a:pt x="64" y="94"/>
                  <a:pt x="66" y="96"/>
                  <a:pt x="66" y="97"/>
                </a:cubicBezTo>
                <a:cubicBezTo>
                  <a:pt x="66" y="99"/>
                  <a:pt x="64" y="100"/>
                  <a:pt x="63" y="100"/>
                </a:cubicBezTo>
                <a:cubicBezTo>
                  <a:pt x="61" y="100"/>
                  <a:pt x="60" y="99"/>
                  <a:pt x="60" y="97"/>
                </a:cubicBezTo>
                <a:cubicBezTo>
                  <a:pt x="60" y="96"/>
                  <a:pt x="61" y="94"/>
                  <a:pt x="63" y="94"/>
                </a:cubicBezTo>
                <a:close/>
                <a:moveTo>
                  <a:pt x="71" y="86"/>
                </a:moveTo>
                <a:cubicBezTo>
                  <a:pt x="73" y="86"/>
                  <a:pt x="74" y="87"/>
                  <a:pt x="74" y="89"/>
                </a:cubicBezTo>
                <a:cubicBezTo>
                  <a:pt x="74" y="90"/>
                  <a:pt x="73" y="91"/>
                  <a:pt x="71" y="91"/>
                </a:cubicBezTo>
                <a:cubicBezTo>
                  <a:pt x="70" y="91"/>
                  <a:pt x="69" y="90"/>
                  <a:pt x="69" y="89"/>
                </a:cubicBezTo>
                <a:cubicBezTo>
                  <a:pt x="69" y="87"/>
                  <a:pt x="70" y="86"/>
                  <a:pt x="71" y="86"/>
                </a:cubicBezTo>
                <a:close/>
                <a:moveTo>
                  <a:pt x="71" y="103"/>
                </a:moveTo>
                <a:cubicBezTo>
                  <a:pt x="73" y="103"/>
                  <a:pt x="74" y="104"/>
                  <a:pt x="74" y="106"/>
                </a:cubicBezTo>
                <a:cubicBezTo>
                  <a:pt x="74" y="107"/>
                  <a:pt x="73" y="109"/>
                  <a:pt x="71" y="109"/>
                </a:cubicBezTo>
                <a:cubicBezTo>
                  <a:pt x="70" y="109"/>
                  <a:pt x="69" y="107"/>
                  <a:pt x="69" y="106"/>
                </a:cubicBezTo>
                <a:cubicBezTo>
                  <a:pt x="69" y="104"/>
                  <a:pt x="70" y="103"/>
                  <a:pt x="71" y="103"/>
                </a:cubicBezTo>
                <a:close/>
                <a:moveTo>
                  <a:pt x="63" y="111"/>
                </a:moveTo>
                <a:cubicBezTo>
                  <a:pt x="64" y="111"/>
                  <a:pt x="66" y="113"/>
                  <a:pt x="66" y="114"/>
                </a:cubicBezTo>
                <a:cubicBezTo>
                  <a:pt x="66" y="116"/>
                  <a:pt x="64" y="117"/>
                  <a:pt x="63" y="117"/>
                </a:cubicBezTo>
                <a:cubicBezTo>
                  <a:pt x="61" y="117"/>
                  <a:pt x="60" y="116"/>
                  <a:pt x="60" y="114"/>
                </a:cubicBezTo>
                <a:cubicBezTo>
                  <a:pt x="60" y="113"/>
                  <a:pt x="61" y="111"/>
                  <a:pt x="63" y="111"/>
                </a:cubicBezTo>
                <a:close/>
                <a:moveTo>
                  <a:pt x="63" y="129"/>
                </a:moveTo>
                <a:cubicBezTo>
                  <a:pt x="64" y="129"/>
                  <a:pt x="66" y="130"/>
                  <a:pt x="66" y="131"/>
                </a:cubicBezTo>
                <a:cubicBezTo>
                  <a:pt x="66" y="133"/>
                  <a:pt x="64" y="134"/>
                  <a:pt x="63" y="134"/>
                </a:cubicBezTo>
                <a:cubicBezTo>
                  <a:pt x="61" y="134"/>
                  <a:pt x="60" y="133"/>
                  <a:pt x="60" y="131"/>
                </a:cubicBezTo>
                <a:cubicBezTo>
                  <a:pt x="60" y="130"/>
                  <a:pt x="61" y="129"/>
                  <a:pt x="63" y="129"/>
                </a:cubicBezTo>
                <a:close/>
                <a:moveTo>
                  <a:pt x="71" y="120"/>
                </a:moveTo>
                <a:cubicBezTo>
                  <a:pt x="73" y="120"/>
                  <a:pt x="74" y="121"/>
                  <a:pt x="74" y="123"/>
                </a:cubicBezTo>
                <a:cubicBezTo>
                  <a:pt x="74" y="124"/>
                  <a:pt x="73" y="126"/>
                  <a:pt x="71" y="126"/>
                </a:cubicBezTo>
                <a:cubicBezTo>
                  <a:pt x="70" y="126"/>
                  <a:pt x="69" y="124"/>
                  <a:pt x="69" y="123"/>
                </a:cubicBezTo>
                <a:cubicBezTo>
                  <a:pt x="69" y="121"/>
                  <a:pt x="70" y="120"/>
                  <a:pt x="71" y="120"/>
                </a:cubicBezTo>
                <a:close/>
                <a:moveTo>
                  <a:pt x="11" y="43"/>
                </a:moveTo>
                <a:cubicBezTo>
                  <a:pt x="13" y="43"/>
                  <a:pt x="14" y="44"/>
                  <a:pt x="14" y="46"/>
                </a:cubicBezTo>
                <a:cubicBezTo>
                  <a:pt x="14" y="47"/>
                  <a:pt x="13" y="49"/>
                  <a:pt x="11" y="49"/>
                </a:cubicBezTo>
                <a:cubicBezTo>
                  <a:pt x="10" y="49"/>
                  <a:pt x="9" y="47"/>
                  <a:pt x="9" y="46"/>
                </a:cubicBezTo>
                <a:cubicBezTo>
                  <a:pt x="9" y="44"/>
                  <a:pt x="10" y="43"/>
                  <a:pt x="11" y="43"/>
                </a:cubicBezTo>
                <a:close/>
                <a:moveTo>
                  <a:pt x="11" y="60"/>
                </a:moveTo>
                <a:cubicBezTo>
                  <a:pt x="13" y="60"/>
                  <a:pt x="14" y="61"/>
                  <a:pt x="14" y="63"/>
                </a:cubicBezTo>
                <a:cubicBezTo>
                  <a:pt x="14" y="64"/>
                  <a:pt x="13" y="66"/>
                  <a:pt x="11" y="66"/>
                </a:cubicBezTo>
                <a:cubicBezTo>
                  <a:pt x="10" y="66"/>
                  <a:pt x="9" y="64"/>
                  <a:pt x="9" y="63"/>
                </a:cubicBezTo>
                <a:cubicBezTo>
                  <a:pt x="9" y="61"/>
                  <a:pt x="10" y="60"/>
                  <a:pt x="11" y="60"/>
                </a:cubicBezTo>
                <a:close/>
                <a:moveTo>
                  <a:pt x="20" y="51"/>
                </a:moveTo>
                <a:cubicBezTo>
                  <a:pt x="22" y="51"/>
                  <a:pt x="23" y="53"/>
                  <a:pt x="23" y="54"/>
                </a:cubicBezTo>
                <a:cubicBezTo>
                  <a:pt x="23" y="56"/>
                  <a:pt x="22" y="57"/>
                  <a:pt x="20" y="57"/>
                </a:cubicBezTo>
                <a:cubicBezTo>
                  <a:pt x="18" y="57"/>
                  <a:pt x="17" y="56"/>
                  <a:pt x="17" y="54"/>
                </a:cubicBezTo>
                <a:cubicBezTo>
                  <a:pt x="17" y="53"/>
                  <a:pt x="18" y="51"/>
                  <a:pt x="20" y="51"/>
                </a:cubicBezTo>
                <a:close/>
                <a:moveTo>
                  <a:pt x="20" y="69"/>
                </a:moveTo>
                <a:cubicBezTo>
                  <a:pt x="22" y="69"/>
                  <a:pt x="23" y="70"/>
                  <a:pt x="23" y="71"/>
                </a:cubicBezTo>
                <a:cubicBezTo>
                  <a:pt x="23" y="73"/>
                  <a:pt x="22" y="74"/>
                  <a:pt x="20" y="74"/>
                </a:cubicBezTo>
                <a:cubicBezTo>
                  <a:pt x="18" y="74"/>
                  <a:pt x="17" y="73"/>
                  <a:pt x="17" y="71"/>
                </a:cubicBezTo>
                <a:cubicBezTo>
                  <a:pt x="17" y="70"/>
                  <a:pt x="18" y="69"/>
                  <a:pt x="20" y="69"/>
                </a:cubicBezTo>
                <a:close/>
                <a:moveTo>
                  <a:pt x="29" y="43"/>
                </a:moveTo>
                <a:cubicBezTo>
                  <a:pt x="30" y="43"/>
                  <a:pt x="31" y="44"/>
                  <a:pt x="31" y="46"/>
                </a:cubicBezTo>
                <a:cubicBezTo>
                  <a:pt x="31" y="47"/>
                  <a:pt x="30" y="49"/>
                  <a:pt x="29" y="49"/>
                </a:cubicBezTo>
                <a:cubicBezTo>
                  <a:pt x="27" y="49"/>
                  <a:pt x="26" y="47"/>
                  <a:pt x="26" y="46"/>
                </a:cubicBezTo>
                <a:cubicBezTo>
                  <a:pt x="26" y="44"/>
                  <a:pt x="27" y="43"/>
                  <a:pt x="29" y="43"/>
                </a:cubicBezTo>
                <a:close/>
                <a:moveTo>
                  <a:pt x="46" y="43"/>
                </a:moveTo>
                <a:cubicBezTo>
                  <a:pt x="47" y="43"/>
                  <a:pt x="49" y="44"/>
                  <a:pt x="49" y="46"/>
                </a:cubicBezTo>
                <a:cubicBezTo>
                  <a:pt x="49" y="47"/>
                  <a:pt x="47" y="49"/>
                  <a:pt x="46" y="49"/>
                </a:cubicBezTo>
                <a:cubicBezTo>
                  <a:pt x="44" y="49"/>
                  <a:pt x="43" y="47"/>
                  <a:pt x="43" y="46"/>
                </a:cubicBezTo>
                <a:cubicBezTo>
                  <a:pt x="43" y="44"/>
                  <a:pt x="44" y="43"/>
                  <a:pt x="46" y="43"/>
                </a:cubicBezTo>
                <a:close/>
                <a:moveTo>
                  <a:pt x="29" y="60"/>
                </a:moveTo>
                <a:cubicBezTo>
                  <a:pt x="30" y="60"/>
                  <a:pt x="31" y="61"/>
                  <a:pt x="31" y="63"/>
                </a:cubicBezTo>
                <a:cubicBezTo>
                  <a:pt x="31" y="64"/>
                  <a:pt x="30" y="66"/>
                  <a:pt x="29" y="66"/>
                </a:cubicBezTo>
                <a:cubicBezTo>
                  <a:pt x="27" y="66"/>
                  <a:pt x="26" y="64"/>
                  <a:pt x="26" y="63"/>
                </a:cubicBezTo>
                <a:cubicBezTo>
                  <a:pt x="26" y="61"/>
                  <a:pt x="27" y="60"/>
                  <a:pt x="29" y="60"/>
                </a:cubicBezTo>
                <a:close/>
                <a:moveTo>
                  <a:pt x="46" y="60"/>
                </a:moveTo>
                <a:cubicBezTo>
                  <a:pt x="47" y="60"/>
                  <a:pt x="49" y="61"/>
                  <a:pt x="49" y="63"/>
                </a:cubicBezTo>
                <a:cubicBezTo>
                  <a:pt x="49" y="64"/>
                  <a:pt x="47" y="66"/>
                  <a:pt x="46" y="66"/>
                </a:cubicBezTo>
                <a:cubicBezTo>
                  <a:pt x="44" y="66"/>
                  <a:pt x="43" y="64"/>
                  <a:pt x="43" y="63"/>
                </a:cubicBezTo>
                <a:cubicBezTo>
                  <a:pt x="43" y="61"/>
                  <a:pt x="44" y="60"/>
                  <a:pt x="46" y="60"/>
                </a:cubicBezTo>
                <a:close/>
                <a:moveTo>
                  <a:pt x="37" y="51"/>
                </a:moveTo>
                <a:cubicBezTo>
                  <a:pt x="39" y="51"/>
                  <a:pt x="40" y="53"/>
                  <a:pt x="40" y="54"/>
                </a:cubicBezTo>
                <a:cubicBezTo>
                  <a:pt x="40" y="56"/>
                  <a:pt x="39" y="57"/>
                  <a:pt x="37" y="57"/>
                </a:cubicBezTo>
                <a:cubicBezTo>
                  <a:pt x="36" y="57"/>
                  <a:pt x="34" y="56"/>
                  <a:pt x="34" y="54"/>
                </a:cubicBezTo>
                <a:cubicBezTo>
                  <a:pt x="34" y="53"/>
                  <a:pt x="36" y="51"/>
                  <a:pt x="37" y="51"/>
                </a:cubicBezTo>
                <a:close/>
                <a:moveTo>
                  <a:pt x="54" y="51"/>
                </a:moveTo>
                <a:cubicBezTo>
                  <a:pt x="56" y="51"/>
                  <a:pt x="57" y="53"/>
                  <a:pt x="57" y="54"/>
                </a:cubicBezTo>
                <a:cubicBezTo>
                  <a:pt x="57" y="56"/>
                  <a:pt x="56" y="57"/>
                  <a:pt x="54" y="57"/>
                </a:cubicBezTo>
                <a:cubicBezTo>
                  <a:pt x="53" y="57"/>
                  <a:pt x="51" y="56"/>
                  <a:pt x="51" y="54"/>
                </a:cubicBezTo>
                <a:cubicBezTo>
                  <a:pt x="51" y="53"/>
                  <a:pt x="53" y="51"/>
                  <a:pt x="54" y="51"/>
                </a:cubicBezTo>
                <a:close/>
                <a:moveTo>
                  <a:pt x="37" y="69"/>
                </a:moveTo>
                <a:cubicBezTo>
                  <a:pt x="39" y="69"/>
                  <a:pt x="40" y="70"/>
                  <a:pt x="40" y="71"/>
                </a:cubicBezTo>
                <a:cubicBezTo>
                  <a:pt x="40" y="73"/>
                  <a:pt x="39" y="74"/>
                  <a:pt x="37" y="74"/>
                </a:cubicBezTo>
                <a:cubicBezTo>
                  <a:pt x="36" y="74"/>
                  <a:pt x="34" y="73"/>
                  <a:pt x="34" y="71"/>
                </a:cubicBezTo>
                <a:cubicBezTo>
                  <a:pt x="34" y="70"/>
                  <a:pt x="36" y="69"/>
                  <a:pt x="37" y="69"/>
                </a:cubicBezTo>
                <a:close/>
                <a:moveTo>
                  <a:pt x="54" y="69"/>
                </a:moveTo>
                <a:cubicBezTo>
                  <a:pt x="56" y="69"/>
                  <a:pt x="57" y="70"/>
                  <a:pt x="57" y="71"/>
                </a:cubicBezTo>
                <a:cubicBezTo>
                  <a:pt x="57" y="73"/>
                  <a:pt x="56" y="74"/>
                  <a:pt x="54" y="74"/>
                </a:cubicBezTo>
                <a:cubicBezTo>
                  <a:pt x="53" y="74"/>
                  <a:pt x="51" y="73"/>
                  <a:pt x="51" y="71"/>
                </a:cubicBezTo>
                <a:cubicBezTo>
                  <a:pt x="51" y="70"/>
                  <a:pt x="53" y="69"/>
                  <a:pt x="54" y="69"/>
                </a:cubicBezTo>
                <a:close/>
                <a:moveTo>
                  <a:pt x="11" y="77"/>
                </a:moveTo>
                <a:cubicBezTo>
                  <a:pt x="13" y="77"/>
                  <a:pt x="14" y="78"/>
                  <a:pt x="14" y="80"/>
                </a:cubicBezTo>
                <a:cubicBezTo>
                  <a:pt x="14" y="82"/>
                  <a:pt x="13" y="83"/>
                  <a:pt x="11" y="83"/>
                </a:cubicBezTo>
                <a:cubicBezTo>
                  <a:pt x="10" y="83"/>
                  <a:pt x="9" y="82"/>
                  <a:pt x="9" y="80"/>
                </a:cubicBezTo>
                <a:cubicBezTo>
                  <a:pt x="9" y="78"/>
                  <a:pt x="10" y="77"/>
                  <a:pt x="11" y="77"/>
                </a:cubicBezTo>
                <a:close/>
                <a:moveTo>
                  <a:pt x="11" y="94"/>
                </a:moveTo>
                <a:cubicBezTo>
                  <a:pt x="13" y="94"/>
                  <a:pt x="14" y="96"/>
                  <a:pt x="14" y="97"/>
                </a:cubicBezTo>
                <a:cubicBezTo>
                  <a:pt x="14" y="99"/>
                  <a:pt x="13" y="100"/>
                  <a:pt x="11" y="100"/>
                </a:cubicBezTo>
                <a:cubicBezTo>
                  <a:pt x="10" y="100"/>
                  <a:pt x="9" y="99"/>
                  <a:pt x="9" y="97"/>
                </a:cubicBezTo>
                <a:cubicBezTo>
                  <a:pt x="9" y="96"/>
                  <a:pt x="10" y="94"/>
                  <a:pt x="11" y="94"/>
                </a:cubicBezTo>
                <a:close/>
                <a:moveTo>
                  <a:pt x="20" y="86"/>
                </a:moveTo>
                <a:cubicBezTo>
                  <a:pt x="22" y="86"/>
                  <a:pt x="23" y="87"/>
                  <a:pt x="23" y="89"/>
                </a:cubicBezTo>
                <a:cubicBezTo>
                  <a:pt x="23" y="90"/>
                  <a:pt x="22" y="91"/>
                  <a:pt x="20" y="91"/>
                </a:cubicBezTo>
                <a:cubicBezTo>
                  <a:pt x="18" y="91"/>
                  <a:pt x="17" y="90"/>
                  <a:pt x="17" y="89"/>
                </a:cubicBezTo>
                <a:cubicBezTo>
                  <a:pt x="17" y="87"/>
                  <a:pt x="18" y="86"/>
                  <a:pt x="20" y="86"/>
                </a:cubicBezTo>
                <a:close/>
                <a:moveTo>
                  <a:pt x="20" y="103"/>
                </a:moveTo>
                <a:cubicBezTo>
                  <a:pt x="22" y="103"/>
                  <a:pt x="23" y="104"/>
                  <a:pt x="23" y="106"/>
                </a:cubicBezTo>
                <a:cubicBezTo>
                  <a:pt x="23" y="107"/>
                  <a:pt x="22" y="109"/>
                  <a:pt x="20" y="109"/>
                </a:cubicBezTo>
                <a:cubicBezTo>
                  <a:pt x="18" y="109"/>
                  <a:pt x="17" y="107"/>
                  <a:pt x="17" y="106"/>
                </a:cubicBezTo>
                <a:cubicBezTo>
                  <a:pt x="17" y="104"/>
                  <a:pt x="18" y="103"/>
                  <a:pt x="20" y="103"/>
                </a:cubicBezTo>
                <a:close/>
                <a:moveTo>
                  <a:pt x="29" y="77"/>
                </a:moveTo>
                <a:cubicBezTo>
                  <a:pt x="30" y="77"/>
                  <a:pt x="31" y="78"/>
                  <a:pt x="31" y="80"/>
                </a:cubicBezTo>
                <a:cubicBezTo>
                  <a:pt x="31" y="82"/>
                  <a:pt x="30" y="83"/>
                  <a:pt x="29" y="83"/>
                </a:cubicBezTo>
                <a:cubicBezTo>
                  <a:pt x="27" y="83"/>
                  <a:pt x="26" y="82"/>
                  <a:pt x="26" y="80"/>
                </a:cubicBezTo>
                <a:cubicBezTo>
                  <a:pt x="26" y="78"/>
                  <a:pt x="27" y="77"/>
                  <a:pt x="29" y="77"/>
                </a:cubicBezTo>
                <a:close/>
                <a:moveTo>
                  <a:pt x="46" y="77"/>
                </a:moveTo>
                <a:cubicBezTo>
                  <a:pt x="47" y="77"/>
                  <a:pt x="49" y="78"/>
                  <a:pt x="49" y="80"/>
                </a:cubicBezTo>
                <a:cubicBezTo>
                  <a:pt x="49" y="82"/>
                  <a:pt x="47" y="83"/>
                  <a:pt x="46" y="83"/>
                </a:cubicBezTo>
                <a:cubicBezTo>
                  <a:pt x="44" y="83"/>
                  <a:pt x="43" y="82"/>
                  <a:pt x="43" y="80"/>
                </a:cubicBezTo>
                <a:cubicBezTo>
                  <a:pt x="43" y="78"/>
                  <a:pt x="44" y="77"/>
                  <a:pt x="46" y="77"/>
                </a:cubicBezTo>
                <a:close/>
                <a:moveTo>
                  <a:pt x="29" y="94"/>
                </a:moveTo>
                <a:cubicBezTo>
                  <a:pt x="30" y="94"/>
                  <a:pt x="31" y="96"/>
                  <a:pt x="31" y="97"/>
                </a:cubicBezTo>
                <a:cubicBezTo>
                  <a:pt x="31" y="99"/>
                  <a:pt x="30" y="100"/>
                  <a:pt x="29" y="100"/>
                </a:cubicBezTo>
                <a:cubicBezTo>
                  <a:pt x="27" y="100"/>
                  <a:pt x="26" y="99"/>
                  <a:pt x="26" y="97"/>
                </a:cubicBezTo>
                <a:cubicBezTo>
                  <a:pt x="26" y="96"/>
                  <a:pt x="27" y="94"/>
                  <a:pt x="29" y="94"/>
                </a:cubicBezTo>
                <a:close/>
                <a:moveTo>
                  <a:pt x="46" y="94"/>
                </a:moveTo>
                <a:cubicBezTo>
                  <a:pt x="47" y="94"/>
                  <a:pt x="49" y="96"/>
                  <a:pt x="49" y="97"/>
                </a:cubicBezTo>
                <a:cubicBezTo>
                  <a:pt x="49" y="99"/>
                  <a:pt x="47" y="100"/>
                  <a:pt x="46" y="100"/>
                </a:cubicBezTo>
                <a:cubicBezTo>
                  <a:pt x="44" y="100"/>
                  <a:pt x="43" y="99"/>
                  <a:pt x="43" y="97"/>
                </a:cubicBezTo>
                <a:cubicBezTo>
                  <a:pt x="43" y="96"/>
                  <a:pt x="44" y="94"/>
                  <a:pt x="46" y="94"/>
                </a:cubicBezTo>
                <a:close/>
                <a:moveTo>
                  <a:pt x="37" y="86"/>
                </a:moveTo>
                <a:cubicBezTo>
                  <a:pt x="39" y="86"/>
                  <a:pt x="40" y="87"/>
                  <a:pt x="40" y="89"/>
                </a:cubicBezTo>
                <a:cubicBezTo>
                  <a:pt x="40" y="90"/>
                  <a:pt x="39" y="91"/>
                  <a:pt x="37" y="91"/>
                </a:cubicBezTo>
                <a:cubicBezTo>
                  <a:pt x="36" y="91"/>
                  <a:pt x="34" y="90"/>
                  <a:pt x="34" y="89"/>
                </a:cubicBezTo>
                <a:cubicBezTo>
                  <a:pt x="34" y="87"/>
                  <a:pt x="36" y="86"/>
                  <a:pt x="37" y="86"/>
                </a:cubicBezTo>
                <a:close/>
                <a:moveTo>
                  <a:pt x="54" y="86"/>
                </a:moveTo>
                <a:cubicBezTo>
                  <a:pt x="56" y="86"/>
                  <a:pt x="57" y="87"/>
                  <a:pt x="57" y="89"/>
                </a:cubicBezTo>
                <a:cubicBezTo>
                  <a:pt x="57" y="90"/>
                  <a:pt x="56" y="91"/>
                  <a:pt x="54" y="91"/>
                </a:cubicBezTo>
                <a:cubicBezTo>
                  <a:pt x="53" y="91"/>
                  <a:pt x="51" y="90"/>
                  <a:pt x="51" y="89"/>
                </a:cubicBezTo>
                <a:cubicBezTo>
                  <a:pt x="51" y="87"/>
                  <a:pt x="53" y="86"/>
                  <a:pt x="54" y="86"/>
                </a:cubicBezTo>
                <a:close/>
                <a:moveTo>
                  <a:pt x="37" y="103"/>
                </a:moveTo>
                <a:cubicBezTo>
                  <a:pt x="39" y="103"/>
                  <a:pt x="40" y="104"/>
                  <a:pt x="40" y="106"/>
                </a:cubicBezTo>
                <a:cubicBezTo>
                  <a:pt x="40" y="107"/>
                  <a:pt x="39" y="109"/>
                  <a:pt x="37" y="109"/>
                </a:cubicBezTo>
                <a:cubicBezTo>
                  <a:pt x="36" y="109"/>
                  <a:pt x="34" y="107"/>
                  <a:pt x="34" y="106"/>
                </a:cubicBezTo>
                <a:cubicBezTo>
                  <a:pt x="34" y="104"/>
                  <a:pt x="36" y="103"/>
                  <a:pt x="37" y="103"/>
                </a:cubicBezTo>
                <a:close/>
                <a:moveTo>
                  <a:pt x="54" y="103"/>
                </a:moveTo>
                <a:cubicBezTo>
                  <a:pt x="56" y="103"/>
                  <a:pt x="57" y="104"/>
                  <a:pt x="57" y="106"/>
                </a:cubicBezTo>
                <a:cubicBezTo>
                  <a:pt x="57" y="107"/>
                  <a:pt x="56" y="109"/>
                  <a:pt x="54" y="109"/>
                </a:cubicBezTo>
                <a:cubicBezTo>
                  <a:pt x="53" y="109"/>
                  <a:pt x="51" y="107"/>
                  <a:pt x="51" y="106"/>
                </a:cubicBezTo>
                <a:cubicBezTo>
                  <a:pt x="51" y="104"/>
                  <a:pt x="53" y="103"/>
                  <a:pt x="54" y="103"/>
                </a:cubicBezTo>
                <a:close/>
                <a:moveTo>
                  <a:pt x="11" y="111"/>
                </a:moveTo>
                <a:cubicBezTo>
                  <a:pt x="13" y="111"/>
                  <a:pt x="14" y="113"/>
                  <a:pt x="14" y="114"/>
                </a:cubicBezTo>
                <a:cubicBezTo>
                  <a:pt x="14" y="116"/>
                  <a:pt x="13" y="117"/>
                  <a:pt x="11" y="117"/>
                </a:cubicBezTo>
                <a:cubicBezTo>
                  <a:pt x="10" y="117"/>
                  <a:pt x="9" y="116"/>
                  <a:pt x="9" y="114"/>
                </a:cubicBezTo>
                <a:cubicBezTo>
                  <a:pt x="9" y="113"/>
                  <a:pt x="10" y="111"/>
                  <a:pt x="11" y="111"/>
                </a:cubicBezTo>
                <a:close/>
                <a:moveTo>
                  <a:pt x="11" y="129"/>
                </a:moveTo>
                <a:cubicBezTo>
                  <a:pt x="13" y="129"/>
                  <a:pt x="14" y="130"/>
                  <a:pt x="14" y="131"/>
                </a:cubicBezTo>
                <a:cubicBezTo>
                  <a:pt x="14" y="133"/>
                  <a:pt x="13" y="134"/>
                  <a:pt x="11" y="134"/>
                </a:cubicBezTo>
                <a:cubicBezTo>
                  <a:pt x="10" y="134"/>
                  <a:pt x="9" y="133"/>
                  <a:pt x="9" y="131"/>
                </a:cubicBezTo>
                <a:cubicBezTo>
                  <a:pt x="9" y="130"/>
                  <a:pt x="10" y="129"/>
                  <a:pt x="11" y="129"/>
                </a:cubicBezTo>
                <a:close/>
                <a:moveTo>
                  <a:pt x="20" y="120"/>
                </a:moveTo>
                <a:cubicBezTo>
                  <a:pt x="22" y="120"/>
                  <a:pt x="23" y="121"/>
                  <a:pt x="23" y="123"/>
                </a:cubicBezTo>
                <a:cubicBezTo>
                  <a:pt x="23" y="124"/>
                  <a:pt x="22" y="126"/>
                  <a:pt x="20" y="126"/>
                </a:cubicBezTo>
                <a:cubicBezTo>
                  <a:pt x="18" y="126"/>
                  <a:pt x="17" y="124"/>
                  <a:pt x="17" y="123"/>
                </a:cubicBezTo>
                <a:cubicBezTo>
                  <a:pt x="17" y="121"/>
                  <a:pt x="18" y="120"/>
                  <a:pt x="20" y="120"/>
                </a:cubicBezTo>
                <a:close/>
                <a:moveTo>
                  <a:pt x="29" y="111"/>
                </a:moveTo>
                <a:cubicBezTo>
                  <a:pt x="30" y="111"/>
                  <a:pt x="31" y="113"/>
                  <a:pt x="31" y="114"/>
                </a:cubicBezTo>
                <a:cubicBezTo>
                  <a:pt x="31" y="116"/>
                  <a:pt x="30" y="117"/>
                  <a:pt x="29" y="117"/>
                </a:cubicBezTo>
                <a:cubicBezTo>
                  <a:pt x="27" y="117"/>
                  <a:pt x="26" y="116"/>
                  <a:pt x="26" y="114"/>
                </a:cubicBezTo>
                <a:cubicBezTo>
                  <a:pt x="26" y="113"/>
                  <a:pt x="27" y="111"/>
                  <a:pt x="29" y="111"/>
                </a:cubicBezTo>
                <a:close/>
                <a:moveTo>
                  <a:pt x="46" y="111"/>
                </a:moveTo>
                <a:cubicBezTo>
                  <a:pt x="47" y="111"/>
                  <a:pt x="49" y="113"/>
                  <a:pt x="49" y="114"/>
                </a:cubicBezTo>
                <a:cubicBezTo>
                  <a:pt x="49" y="116"/>
                  <a:pt x="47" y="117"/>
                  <a:pt x="46" y="117"/>
                </a:cubicBezTo>
                <a:cubicBezTo>
                  <a:pt x="44" y="117"/>
                  <a:pt x="43" y="116"/>
                  <a:pt x="43" y="114"/>
                </a:cubicBezTo>
                <a:cubicBezTo>
                  <a:pt x="43" y="113"/>
                  <a:pt x="44" y="111"/>
                  <a:pt x="46" y="111"/>
                </a:cubicBezTo>
                <a:close/>
                <a:moveTo>
                  <a:pt x="29" y="129"/>
                </a:moveTo>
                <a:cubicBezTo>
                  <a:pt x="30" y="129"/>
                  <a:pt x="31" y="130"/>
                  <a:pt x="31" y="131"/>
                </a:cubicBezTo>
                <a:cubicBezTo>
                  <a:pt x="31" y="133"/>
                  <a:pt x="30" y="134"/>
                  <a:pt x="29" y="134"/>
                </a:cubicBezTo>
                <a:cubicBezTo>
                  <a:pt x="27" y="134"/>
                  <a:pt x="26" y="133"/>
                  <a:pt x="26" y="131"/>
                </a:cubicBezTo>
                <a:cubicBezTo>
                  <a:pt x="26" y="130"/>
                  <a:pt x="27" y="129"/>
                  <a:pt x="29" y="129"/>
                </a:cubicBezTo>
                <a:close/>
                <a:moveTo>
                  <a:pt x="46" y="129"/>
                </a:moveTo>
                <a:cubicBezTo>
                  <a:pt x="47" y="129"/>
                  <a:pt x="49" y="130"/>
                  <a:pt x="49" y="131"/>
                </a:cubicBezTo>
                <a:cubicBezTo>
                  <a:pt x="49" y="133"/>
                  <a:pt x="47" y="134"/>
                  <a:pt x="46" y="134"/>
                </a:cubicBezTo>
                <a:cubicBezTo>
                  <a:pt x="44" y="134"/>
                  <a:pt x="43" y="133"/>
                  <a:pt x="43" y="131"/>
                </a:cubicBezTo>
                <a:cubicBezTo>
                  <a:pt x="43" y="130"/>
                  <a:pt x="44" y="129"/>
                  <a:pt x="46" y="129"/>
                </a:cubicBezTo>
                <a:close/>
                <a:moveTo>
                  <a:pt x="37" y="120"/>
                </a:moveTo>
                <a:cubicBezTo>
                  <a:pt x="39" y="120"/>
                  <a:pt x="40" y="121"/>
                  <a:pt x="40" y="123"/>
                </a:cubicBezTo>
                <a:cubicBezTo>
                  <a:pt x="40" y="124"/>
                  <a:pt x="39" y="126"/>
                  <a:pt x="37" y="126"/>
                </a:cubicBezTo>
                <a:cubicBezTo>
                  <a:pt x="36" y="126"/>
                  <a:pt x="34" y="124"/>
                  <a:pt x="34" y="123"/>
                </a:cubicBezTo>
                <a:cubicBezTo>
                  <a:pt x="34" y="121"/>
                  <a:pt x="36" y="120"/>
                  <a:pt x="37" y="120"/>
                </a:cubicBezTo>
                <a:close/>
                <a:moveTo>
                  <a:pt x="54" y="120"/>
                </a:moveTo>
                <a:cubicBezTo>
                  <a:pt x="56" y="120"/>
                  <a:pt x="57" y="121"/>
                  <a:pt x="57" y="123"/>
                </a:cubicBezTo>
                <a:cubicBezTo>
                  <a:pt x="57" y="124"/>
                  <a:pt x="56" y="126"/>
                  <a:pt x="54" y="126"/>
                </a:cubicBezTo>
                <a:cubicBezTo>
                  <a:pt x="53" y="126"/>
                  <a:pt x="51" y="124"/>
                  <a:pt x="51" y="123"/>
                </a:cubicBezTo>
                <a:cubicBezTo>
                  <a:pt x="51" y="121"/>
                  <a:pt x="53" y="120"/>
                  <a:pt x="54" y="1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38" name="Freeform 40">
            <a:extLst>
              <a:ext uri="{FF2B5EF4-FFF2-40B4-BE49-F238E27FC236}">
                <a16:creationId xmlns:a16="http://schemas.microsoft.com/office/drawing/2014/main" id="{1D9EFFF0-F0F1-3043-A706-4E8580402DF1}"/>
              </a:ext>
            </a:extLst>
          </p:cNvPr>
          <p:cNvSpPr>
            <a:spLocks noEditPoints="1"/>
          </p:cNvSpPr>
          <p:nvPr/>
        </p:nvSpPr>
        <p:spPr bwMode="auto">
          <a:xfrm>
            <a:off x="3741429" y="5864225"/>
            <a:ext cx="600075" cy="552450"/>
          </a:xfrm>
          <a:custGeom>
            <a:avLst/>
            <a:gdLst>
              <a:gd name="T0" fmla="*/ 0 w 160"/>
              <a:gd name="T1" fmla="*/ 34 h 146"/>
              <a:gd name="T2" fmla="*/ 0 w 160"/>
              <a:gd name="T3" fmla="*/ 146 h 146"/>
              <a:gd name="T4" fmla="*/ 160 w 160"/>
              <a:gd name="T5" fmla="*/ 146 h 146"/>
              <a:gd name="T6" fmla="*/ 160 w 160"/>
              <a:gd name="T7" fmla="*/ 34 h 146"/>
              <a:gd name="T8" fmla="*/ 0 w 160"/>
              <a:gd name="T9" fmla="*/ 34 h 146"/>
              <a:gd name="T10" fmla="*/ 154 w 160"/>
              <a:gd name="T11" fmla="*/ 140 h 146"/>
              <a:gd name="T12" fmla="*/ 6 w 160"/>
              <a:gd name="T13" fmla="*/ 140 h 146"/>
              <a:gd name="T14" fmla="*/ 6 w 160"/>
              <a:gd name="T15" fmla="*/ 40 h 146"/>
              <a:gd name="T16" fmla="*/ 154 w 160"/>
              <a:gd name="T17" fmla="*/ 40 h 146"/>
              <a:gd name="T18" fmla="*/ 154 w 160"/>
              <a:gd name="T19" fmla="*/ 140 h 146"/>
              <a:gd name="T20" fmla="*/ 6 w 160"/>
              <a:gd name="T21" fmla="*/ 26 h 146"/>
              <a:gd name="T22" fmla="*/ 9 w 160"/>
              <a:gd name="T23" fmla="*/ 23 h 146"/>
              <a:gd name="T24" fmla="*/ 151 w 160"/>
              <a:gd name="T25" fmla="*/ 23 h 146"/>
              <a:gd name="T26" fmla="*/ 154 w 160"/>
              <a:gd name="T27" fmla="*/ 26 h 146"/>
              <a:gd name="T28" fmla="*/ 151 w 160"/>
              <a:gd name="T29" fmla="*/ 29 h 146"/>
              <a:gd name="T30" fmla="*/ 9 w 160"/>
              <a:gd name="T31" fmla="*/ 29 h 146"/>
              <a:gd name="T32" fmla="*/ 6 w 160"/>
              <a:gd name="T33" fmla="*/ 26 h 146"/>
              <a:gd name="T34" fmla="*/ 14 w 160"/>
              <a:gd name="T35" fmla="*/ 14 h 146"/>
              <a:gd name="T36" fmla="*/ 17 w 160"/>
              <a:gd name="T37" fmla="*/ 11 h 146"/>
              <a:gd name="T38" fmla="*/ 143 w 160"/>
              <a:gd name="T39" fmla="*/ 11 h 146"/>
              <a:gd name="T40" fmla="*/ 146 w 160"/>
              <a:gd name="T41" fmla="*/ 14 h 146"/>
              <a:gd name="T42" fmla="*/ 143 w 160"/>
              <a:gd name="T43" fmla="*/ 17 h 146"/>
              <a:gd name="T44" fmla="*/ 17 w 160"/>
              <a:gd name="T45" fmla="*/ 17 h 146"/>
              <a:gd name="T46" fmla="*/ 14 w 160"/>
              <a:gd name="T47" fmla="*/ 14 h 146"/>
              <a:gd name="T48" fmla="*/ 23 w 160"/>
              <a:gd name="T49" fmla="*/ 3 h 146"/>
              <a:gd name="T50" fmla="*/ 26 w 160"/>
              <a:gd name="T51" fmla="*/ 0 h 146"/>
              <a:gd name="T52" fmla="*/ 134 w 160"/>
              <a:gd name="T53" fmla="*/ 0 h 146"/>
              <a:gd name="T54" fmla="*/ 137 w 160"/>
              <a:gd name="T55" fmla="*/ 3 h 146"/>
              <a:gd name="T56" fmla="*/ 134 w 160"/>
              <a:gd name="T57" fmla="*/ 6 h 146"/>
              <a:gd name="T58" fmla="*/ 26 w 160"/>
              <a:gd name="T59" fmla="*/ 6 h 146"/>
              <a:gd name="T60" fmla="*/ 23 w 160"/>
              <a:gd name="T61" fmla="*/ 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146">
                <a:moveTo>
                  <a:pt x="0" y="34"/>
                </a:moveTo>
                <a:cubicBezTo>
                  <a:pt x="0" y="146"/>
                  <a:pt x="0" y="146"/>
                  <a:pt x="0" y="146"/>
                </a:cubicBezTo>
                <a:cubicBezTo>
                  <a:pt x="160" y="146"/>
                  <a:pt x="160" y="146"/>
                  <a:pt x="160" y="146"/>
                </a:cubicBezTo>
                <a:cubicBezTo>
                  <a:pt x="160" y="34"/>
                  <a:pt x="160" y="34"/>
                  <a:pt x="160" y="34"/>
                </a:cubicBezTo>
                <a:lnTo>
                  <a:pt x="0" y="34"/>
                </a:lnTo>
                <a:close/>
                <a:moveTo>
                  <a:pt x="154" y="140"/>
                </a:moveTo>
                <a:cubicBezTo>
                  <a:pt x="6" y="140"/>
                  <a:pt x="6" y="140"/>
                  <a:pt x="6" y="140"/>
                </a:cubicBezTo>
                <a:cubicBezTo>
                  <a:pt x="6" y="40"/>
                  <a:pt x="6" y="40"/>
                  <a:pt x="6" y="40"/>
                </a:cubicBezTo>
                <a:cubicBezTo>
                  <a:pt x="154" y="40"/>
                  <a:pt x="154" y="40"/>
                  <a:pt x="154" y="40"/>
                </a:cubicBezTo>
                <a:lnTo>
                  <a:pt x="154" y="140"/>
                </a:lnTo>
                <a:close/>
                <a:moveTo>
                  <a:pt x="6" y="26"/>
                </a:moveTo>
                <a:cubicBezTo>
                  <a:pt x="6" y="24"/>
                  <a:pt x="7" y="23"/>
                  <a:pt x="9" y="23"/>
                </a:cubicBezTo>
                <a:cubicBezTo>
                  <a:pt x="151" y="23"/>
                  <a:pt x="151" y="23"/>
                  <a:pt x="151" y="23"/>
                </a:cubicBezTo>
                <a:cubicBezTo>
                  <a:pt x="153" y="23"/>
                  <a:pt x="154" y="24"/>
                  <a:pt x="154" y="26"/>
                </a:cubicBezTo>
                <a:cubicBezTo>
                  <a:pt x="154" y="27"/>
                  <a:pt x="153" y="29"/>
                  <a:pt x="151" y="29"/>
                </a:cubicBezTo>
                <a:cubicBezTo>
                  <a:pt x="9" y="29"/>
                  <a:pt x="9" y="29"/>
                  <a:pt x="9" y="29"/>
                </a:cubicBezTo>
                <a:cubicBezTo>
                  <a:pt x="7" y="29"/>
                  <a:pt x="6" y="27"/>
                  <a:pt x="6" y="26"/>
                </a:cubicBezTo>
                <a:close/>
                <a:moveTo>
                  <a:pt x="14" y="14"/>
                </a:moveTo>
                <a:cubicBezTo>
                  <a:pt x="14" y="13"/>
                  <a:pt x="16" y="11"/>
                  <a:pt x="17" y="11"/>
                </a:cubicBezTo>
                <a:cubicBezTo>
                  <a:pt x="143" y="11"/>
                  <a:pt x="143" y="11"/>
                  <a:pt x="143" y="11"/>
                </a:cubicBezTo>
                <a:cubicBezTo>
                  <a:pt x="144" y="11"/>
                  <a:pt x="146" y="13"/>
                  <a:pt x="146" y="14"/>
                </a:cubicBezTo>
                <a:cubicBezTo>
                  <a:pt x="146" y="16"/>
                  <a:pt x="144" y="17"/>
                  <a:pt x="143" y="17"/>
                </a:cubicBezTo>
                <a:cubicBezTo>
                  <a:pt x="17" y="17"/>
                  <a:pt x="17" y="17"/>
                  <a:pt x="17" y="17"/>
                </a:cubicBezTo>
                <a:cubicBezTo>
                  <a:pt x="16" y="17"/>
                  <a:pt x="14" y="16"/>
                  <a:pt x="14" y="14"/>
                </a:cubicBezTo>
                <a:close/>
                <a:moveTo>
                  <a:pt x="23" y="3"/>
                </a:moveTo>
                <a:cubicBezTo>
                  <a:pt x="23" y="1"/>
                  <a:pt x="24" y="0"/>
                  <a:pt x="26" y="0"/>
                </a:cubicBezTo>
                <a:cubicBezTo>
                  <a:pt x="134" y="0"/>
                  <a:pt x="134" y="0"/>
                  <a:pt x="134" y="0"/>
                </a:cubicBezTo>
                <a:cubicBezTo>
                  <a:pt x="136" y="0"/>
                  <a:pt x="137" y="1"/>
                  <a:pt x="137" y="3"/>
                </a:cubicBezTo>
                <a:cubicBezTo>
                  <a:pt x="137" y="4"/>
                  <a:pt x="136" y="6"/>
                  <a:pt x="134" y="6"/>
                </a:cubicBezTo>
                <a:cubicBezTo>
                  <a:pt x="26" y="6"/>
                  <a:pt x="26" y="6"/>
                  <a:pt x="26" y="6"/>
                </a:cubicBezTo>
                <a:cubicBezTo>
                  <a:pt x="24" y="6"/>
                  <a:pt x="23" y="4"/>
                  <a:pt x="23" y="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Freeform 41">
            <a:extLst>
              <a:ext uri="{FF2B5EF4-FFF2-40B4-BE49-F238E27FC236}">
                <a16:creationId xmlns:a16="http://schemas.microsoft.com/office/drawing/2014/main" id="{2D6A10B8-0029-504C-90D2-00945E94B4AB}"/>
              </a:ext>
            </a:extLst>
          </p:cNvPr>
          <p:cNvSpPr>
            <a:spLocks noEditPoints="1"/>
          </p:cNvSpPr>
          <p:nvPr/>
        </p:nvSpPr>
        <p:spPr bwMode="auto">
          <a:xfrm>
            <a:off x="4792354" y="400050"/>
            <a:ext cx="600075" cy="604838"/>
          </a:xfrm>
          <a:custGeom>
            <a:avLst/>
            <a:gdLst>
              <a:gd name="T0" fmla="*/ 152 w 160"/>
              <a:gd name="T1" fmla="*/ 77 h 160"/>
              <a:gd name="T2" fmla="*/ 83 w 160"/>
              <a:gd name="T3" fmla="*/ 3 h 160"/>
              <a:gd name="T4" fmla="*/ 77 w 160"/>
              <a:gd name="T5" fmla="*/ 3 h 160"/>
              <a:gd name="T6" fmla="*/ 8 w 160"/>
              <a:gd name="T7" fmla="*/ 77 h 160"/>
              <a:gd name="T8" fmla="*/ 0 w 160"/>
              <a:gd name="T9" fmla="*/ 80 h 160"/>
              <a:gd name="T10" fmla="*/ 8 w 160"/>
              <a:gd name="T11" fmla="*/ 83 h 160"/>
              <a:gd name="T12" fmla="*/ 77 w 160"/>
              <a:gd name="T13" fmla="*/ 157 h 160"/>
              <a:gd name="T14" fmla="*/ 83 w 160"/>
              <a:gd name="T15" fmla="*/ 157 h 160"/>
              <a:gd name="T16" fmla="*/ 152 w 160"/>
              <a:gd name="T17" fmla="*/ 83 h 160"/>
              <a:gd name="T18" fmla="*/ 160 w 160"/>
              <a:gd name="T19" fmla="*/ 80 h 160"/>
              <a:gd name="T20" fmla="*/ 83 w 160"/>
              <a:gd name="T21" fmla="*/ 147 h 160"/>
              <a:gd name="T22" fmla="*/ 80 w 160"/>
              <a:gd name="T23" fmla="*/ 139 h 160"/>
              <a:gd name="T24" fmla="*/ 77 w 160"/>
              <a:gd name="T25" fmla="*/ 147 h 160"/>
              <a:gd name="T26" fmla="*/ 19 w 160"/>
              <a:gd name="T27" fmla="*/ 83 h 160"/>
              <a:gd name="T28" fmla="*/ 19 w 160"/>
              <a:gd name="T29" fmla="*/ 77 h 160"/>
              <a:gd name="T30" fmla="*/ 77 w 160"/>
              <a:gd name="T31" fmla="*/ 13 h 160"/>
              <a:gd name="T32" fmla="*/ 80 w 160"/>
              <a:gd name="T33" fmla="*/ 21 h 160"/>
              <a:gd name="T34" fmla="*/ 83 w 160"/>
              <a:gd name="T35" fmla="*/ 13 h 160"/>
              <a:gd name="T36" fmla="*/ 141 w 160"/>
              <a:gd name="T37" fmla="*/ 77 h 160"/>
              <a:gd name="T38" fmla="*/ 141 w 160"/>
              <a:gd name="T39" fmla="*/ 83 h 160"/>
              <a:gd name="T40" fmla="*/ 83 w 160"/>
              <a:gd name="T41" fmla="*/ 147 h 160"/>
              <a:gd name="T42" fmla="*/ 98 w 160"/>
              <a:gd name="T43" fmla="*/ 77 h 160"/>
              <a:gd name="T44" fmla="*/ 83 w 160"/>
              <a:gd name="T45" fmla="*/ 48 h 160"/>
              <a:gd name="T46" fmla="*/ 77 w 160"/>
              <a:gd name="T47" fmla="*/ 48 h 160"/>
              <a:gd name="T48" fmla="*/ 62 w 160"/>
              <a:gd name="T49" fmla="*/ 77 h 160"/>
              <a:gd name="T50" fmla="*/ 45 w 160"/>
              <a:gd name="T51" fmla="*/ 80 h 160"/>
              <a:gd name="T52" fmla="*/ 62 w 160"/>
              <a:gd name="T53" fmla="*/ 83 h 160"/>
              <a:gd name="T54" fmla="*/ 77 w 160"/>
              <a:gd name="T55" fmla="*/ 112 h 160"/>
              <a:gd name="T56" fmla="*/ 83 w 160"/>
              <a:gd name="T57" fmla="*/ 112 h 160"/>
              <a:gd name="T58" fmla="*/ 98 w 160"/>
              <a:gd name="T59" fmla="*/ 83 h 160"/>
              <a:gd name="T60" fmla="*/ 115 w 160"/>
              <a:gd name="T61" fmla="*/ 80 h 160"/>
              <a:gd name="T62" fmla="*/ 80 w 160"/>
              <a:gd name="T63" fmla="*/ 93 h 160"/>
              <a:gd name="T64" fmla="*/ 80 w 160"/>
              <a:gd name="T65" fmla="*/ 67 h 160"/>
              <a:gd name="T66" fmla="*/ 80 w 160"/>
              <a:gd name="T67" fmla="*/ 9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60">
                <a:moveTo>
                  <a:pt x="157" y="77"/>
                </a:moveTo>
                <a:cubicBezTo>
                  <a:pt x="152" y="77"/>
                  <a:pt x="152" y="77"/>
                  <a:pt x="152" y="77"/>
                </a:cubicBezTo>
                <a:cubicBezTo>
                  <a:pt x="151" y="40"/>
                  <a:pt x="120" y="9"/>
                  <a:pt x="83" y="8"/>
                </a:cubicBezTo>
                <a:cubicBezTo>
                  <a:pt x="83" y="3"/>
                  <a:pt x="83" y="3"/>
                  <a:pt x="83" y="3"/>
                </a:cubicBezTo>
                <a:cubicBezTo>
                  <a:pt x="83" y="1"/>
                  <a:pt x="81" y="0"/>
                  <a:pt x="80" y="0"/>
                </a:cubicBezTo>
                <a:cubicBezTo>
                  <a:pt x="79" y="0"/>
                  <a:pt x="77" y="1"/>
                  <a:pt x="77" y="3"/>
                </a:cubicBezTo>
                <a:cubicBezTo>
                  <a:pt x="77" y="8"/>
                  <a:pt x="77" y="8"/>
                  <a:pt x="77" y="8"/>
                </a:cubicBezTo>
                <a:cubicBezTo>
                  <a:pt x="40" y="9"/>
                  <a:pt x="9" y="40"/>
                  <a:pt x="8" y="77"/>
                </a:cubicBezTo>
                <a:cubicBezTo>
                  <a:pt x="3" y="77"/>
                  <a:pt x="3" y="77"/>
                  <a:pt x="3" y="77"/>
                </a:cubicBezTo>
                <a:cubicBezTo>
                  <a:pt x="1" y="77"/>
                  <a:pt x="0" y="79"/>
                  <a:pt x="0" y="80"/>
                </a:cubicBezTo>
                <a:cubicBezTo>
                  <a:pt x="0" y="81"/>
                  <a:pt x="1" y="83"/>
                  <a:pt x="3" y="83"/>
                </a:cubicBezTo>
                <a:cubicBezTo>
                  <a:pt x="8" y="83"/>
                  <a:pt x="8" y="83"/>
                  <a:pt x="8" y="83"/>
                </a:cubicBezTo>
                <a:cubicBezTo>
                  <a:pt x="9" y="120"/>
                  <a:pt x="40" y="151"/>
                  <a:pt x="77" y="152"/>
                </a:cubicBezTo>
                <a:cubicBezTo>
                  <a:pt x="77" y="157"/>
                  <a:pt x="77" y="157"/>
                  <a:pt x="77" y="157"/>
                </a:cubicBezTo>
                <a:cubicBezTo>
                  <a:pt x="77" y="159"/>
                  <a:pt x="79" y="160"/>
                  <a:pt x="80" y="160"/>
                </a:cubicBezTo>
                <a:cubicBezTo>
                  <a:pt x="81" y="160"/>
                  <a:pt x="83" y="159"/>
                  <a:pt x="83" y="157"/>
                </a:cubicBezTo>
                <a:cubicBezTo>
                  <a:pt x="83" y="152"/>
                  <a:pt x="83" y="152"/>
                  <a:pt x="83" y="152"/>
                </a:cubicBezTo>
                <a:cubicBezTo>
                  <a:pt x="120" y="151"/>
                  <a:pt x="151" y="120"/>
                  <a:pt x="152" y="83"/>
                </a:cubicBezTo>
                <a:cubicBezTo>
                  <a:pt x="157" y="83"/>
                  <a:pt x="157" y="83"/>
                  <a:pt x="157" y="83"/>
                </a:cubicBezTo>
                <a:cubicBezTo>
                  <a:pt x="159" y="83"/>
                  <a:pt x="160" y="81"/>
                  <a:pt x="160" y="80"/>
                </a:cubicBezTo>
                <a:cubicBezTo>
                  <a:pt x="160" y="79"/>
                  <a:pt x="159" y="77"/>
                  <a:pt x="157" y="77"/>
                </a:cubicBezTo>
                <a:close/>
                <a:moveTo>
                  <a:pt x="83" y="147"/>
                </a:moveTo>
                <a:cubicBezTo>
                  <a:pt x="83" y="141"/>
                  <a:pt x="83" y="141"/>
                  <a:pt x="83" y="141"/>
                </a:cubicBezTo>
                <a:cubicBezTo>
                  <a:pt x="83" y="140"/>
                  <a:pt x="81" y="139"/>
                  <a:pt x="80" y="139"/>
                </a:cubicBezTo>
                <a:cubicBezTo>
                  <a:pt x="79" y="139"/>
                  <a:pt x="77" y="140"/>
                  <a:pt x="77" y="141"/>
                </a:cubicBezTo>
                <a:cubicBezTo>
                  <a:pt x="77" y="147"/>
                  <a:pt x="77" y="147"/>
                  <a:pt x="77" y="147"/>
                </a:cubicBezTo>
                <a:cubicBezTo>
                  <a:pt x="43" y="145"/>
                  <a:pt x="15" y="117"/>
                  <a:pt x="13" y="83"/>
                </a:cubicBezTo>
                <a:cubicBezTo>
                  <a:pt x="19" y="83"/>
                  <a:pt x="19" y="83"/>
                  <a:pt x="19" y="83"/>
                </a:cubicBezTo>
                <a:cubicBezTo>
                  <a:pt x="20" y="83"/>
                  <a:pt x="21" y="81"/>
                  <a:pt x="21" y="80"/>
                </a:cubicBezTo>
                <a:cubicBezTo>
                  <a:pt x="21" y="79"/>
                  <a:pt x="20" y="77"/>
                  <a:pt x="19" y="77"/>
                </a:cubicBezTo>
                <a:cubicBezTo>
                  <a:pt x="13" y="77"/>
                  <a:pt x="13" y="77"/>
                  <a:pt x="13" y="77"/>
                </a:cubicBezTo>
                <a:cubicBezTo>
                  <a:pt x="15" y="43"/>
                  <a:pt x="43" y="15"/>
                  <a:pt x="77" y="13"/>
                </a:cubicBezTo>
                <a:cubicBezTo>
                  <a:pt x="77" y="19"/>
                  <a:pt x="77" y="19"/>
                  <a:pt x="77" y="19"/>
                </a:cubicBezTo>
                <a:cubicBezTo>
                  <a:pt x="77" y="20"/>
                  <a:pt x="79" y="21"/>
                  <a:pt x="80" y="21"/>
                </a:cubicBezTo>
                <a:cubicBezTo>
                  <a:pt x="81" y="21"/>
                  <a:pt x="83" y="20"/>
                  <a:pt x="83" y="19"/>
                </a:cubicBezTo>
                <a:cubicBezTo>
                  <a:pt x="83" y="13"/>
                  <a:pt x="83" y="13"/>
                  <a:pt x="83" y="13"/>
                </a:cubicBezTo>
                <a:cubicBezTo>
                  <a:pt x="117" y="15"/>
                  <a:pt x="145" y="43"/>
                  <a:pt x="147" y="77"/>
                </a:cubicBezTo>
                <a:cubicBezTo>
                  <a:pt x="141" y="77"/>
                  <a:pt x="141" y="77"/>
                  <a:pt x="141" y="77"/>
                </a:cubicBezTo>
                <a:cubicBezTo>
                  <a:pt x="140" y="77"/>
                  <a:pt x="139" y="79"/>
                  <a:pt x="139" y="80"/>
                </a:cubicBezTo>
                <a:cubicBezTo>
                  <a:pt x="139" y="81"/>
                  <a:pt x="140" y="83"/>
                  <a:pt x="141" y="83"/>
                </a:cubicBezTo>
                <a:cubicBezTo>
                  <a:pt x="147" y="83"/>
                  <a:pt x="147" y="83"/>
                  <a:pt x="147" y="83"/>
                </a:cubicBezTo>
                <a:cubicBezTo>
                  <a:pt x="145" y="117"/>
                  <a:pt x="117" y="145"/>
                  <a:pt x="83" y="147"/>
                </a:cubicBezTo>
                <a:close/>
                <a:moveTo>
                  <a:pt x="112" y="77"/>
                </a:moveTo>
                <a:cubicBezTo>
                  <a:pt x="98" y="77"/>
                  <a:pt x="98" y="77"/>
                  <a:pt x="98" y="77"/>
                </a:cubicBezTo>
                <a:cubicBezTo>
                  <a:pt x="97" y="69"/>
                  <a:pt x="91" y="63"/>
                  <a:pt x="83" y="62"/>
                </a:cubicBezTo>
                <a:cubicBezTo>
                  <a:pt x="83" y="48"/>
                  <a:pt x="83" y="48"/>
                  <a:pt x="83" y="48"/>
                </a:cubicBezTo>
                <a:cubicBezTo>
                  <a:pt x="83" y="47"/>
                  <a:pt x="81" y="45"/>
                  <a:pt x="80" y="45"/>
                </a:cubicBezTo>
                <a:cubicBezTo>
                  <a:pt x="79" y="45"/>
                  <a:pt x="77" y="47"/>
                  <a:pt x="77" y="48"/>
                </a:cubicBezTo>
                <a:cubicBezTo>
                  <a:pt x="77" y="62"/>
                  <a:pt x="77" y="62"/>
                  <a:pt x="77" y="62"/>
                </a:cubicBezTo>
                <a:cubicBezTo>
                  <a:pt x="69" y="63"/>
                  <a:pt x="63" y="69"/>
                  <a:pt x="62" y="77"/>
                </a:cubicBezTo>
                <a:cubicBezTo>
                  <a:pt x="48" y="77"/>
                  <a:pt x="48" y="77"/>
                  <a:pt x="48" y="77"/>
                </a:cubicBezTo>
                <a:cubicBezTo>
                  <a:pt x="47" y="77"/>
                  <a:pt x="45" y="79"/>
                  <a:pt x="45" y="80"/>
                </a:cubicBezTo>
                <a:cubicBezTo>
                  <a:pt x="45" y="81"/>
                  <a:pt x="47" y="83"/>
                  <a:pt x="48" y="83"/>
                </a:cubicBezTo>
                <a:cubicBezTo>
                  <a:pt x="62" y="83"/>
                  <a:pt x="62" y="83"/>
                  <a:pt x="62" y="83"/>
                </a:cubicBezTo>
                <a:cubicBezTo>
                  <a:pt x="63" y="91"/>
                  <a:pt x="69" y="97"/>
                  <a:pt x="77" y="98"/>
                </a:cubicBezTo>
                <a:cubicBezTo>
                  <a:pt x="77" y="112"/>
                  <a:pt x="77" y="112"/>
                  <a:pt x="77" y="112"/>
                </a:cubicBezTo>
                <a:cubicBezTo>
                  <a:pt x="77" y="113"/>
                  <a:pt x="79" y="115"/>
                  <a:pt x="80" y="115"/>
                </a:cubicBezTo>
                <a:cubicBezTo>
                  <a:pt x="81" y="115"/>
                  <a:pt x="83" y="113"/>
                  <a:pt x="83" y="112"/>
                </a:cubicBezTo>
                <a:cubicBezTo>
                  <a:pt x="83" y="98"/>
                  <a:pt x="83" y="98"/>
                  <a:pt x="83" y="98"/>
                </a:cubicBezTo>
                <a:cubicBezTo>
                  <a:pt x="91" y="97"/>
                  <a:pt x="97" y="91"/>
                  <a:pt x="98" y="83"/>
                </a:cubicBezTo>
                <a:cubicBezTo>
                  <a:pt x="112" y="83"/>
                  <a:pt x="112" y="83"/>
                  <a:pt x="112" y="83"/>
                </a:cubicBezTo>
                <a:cubicBezTo>
                  <a:pt x="113" y="83"/>
                  <a:pt x="115" y="81"/>
                  <a:pt x="115" y="80"/>
                </a:cubicBezTo>
                <a:cubicBezTo>
                  <a:pt x="115" y="79"/>
                  <a:pt x="113" y="77"/>
                  <a:pt x="112" y="77"/>
                </a:cubicBezTo>
                <a:close/>
                <a:moveTo>
                  <a:pt x="80" y="93"/>
                </a:moveTo>
                <a:cubicBezTo>
                  <a:pt x="73" y="93"/>
                  <a:pt x="67" y="87"/>
                  <a:pt x="67" y="80"/>
                </a:cubicBezTo>
                <a:cubicBezTo>
                  <a:pt x="67" y="73"/>
                  <a:pt x="73" y="67"/>
                  <a:pt x="80" y="67"/>
                </a:cubicBezTo>
                <a:cubicBezTo>
                  <a:pt x="87" y="67"/>
                  <a:pt x="93" y="73"/>
                  <a:pt x="93" y="80"/>
                </a:cubicBezTo>
                <a:cubicBezTo>
                  <a:pt x="93" y="87"/>
                  <a:pt x="87" y="93"/>
                  <a:pt x="80" y="9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42">
            <a:extLst>
              <a:ext uri="{FF2B5EF4-FFF2-40B4-BE49-F238E27FC236}">
                <a16:creationId xmlns:a16="http://schemas.microsoft.com/office/drawing/2014/main" id="{ED24D39E-C9F9-7B4B-B1A8-202710A4BF5F}"/>
              </a:ext>
            </a:extLst>
          </p:cNvPr>
          <p:cNvSpPr>
            <a:spLocks noEditPoints="1"/>
          </p:cNvSpPr>
          <p:nvPr/>
        </p:nvSpPr>
        <p:spPr bwMode="auto">
          <a:xfrm>
            <a:off x="4792354" y="1141413"/>
            <a:ext cx="600075" cy="484188"/>
          </a:xfrm>
          <a:custGeom>
            <a:avLst/>
            <a:gdLst>
              <a:gd name="T0" fmla="*/ 3 w 160"/>
              <a:gd name="T1" fmla="*/ 0 h 128"/>
              <a:gd name="T2" fmla="*/ 0 w 160"/>
              <a:gd name="T3" fmla="*/ 104 h 128"/>
              <a:gd name="T4" fmla="*/ 72 w 160"/>
              <a:gd name="T5" fmla="*/ 107 h 128"/>
              <a:gd name="T6" fmla="*/ 59 w 160"/>
              <a:gd name="T7" fmla="*/ 115 h 128"/>
              <a:gd name="T8" fmla="*/ 101 w 160"/>
              <a:gd name="T9" fmla="*/ 128 h 128"/>
              <a:gd name="T10" fmla="*/ 88 w 160"/>
              <a:gd name="T11" fmla="*/ 115 h 128"/>
              <a:gd name="T12" fmla="*/ 157 w 160"/>
              <a:gd name="T13" fmla="*/ 107 h 128"/>
              <a:gd name="T14" fmla="*/ 160 w 160"/>
              <a:gd name="T15" fmla="*/ 3 h 128"/>
              <a:gd name="T16" fmla="*/ 96 w 160"/>
              <a:gd name="T17" fmla="*/ 120 h 128"/>
              <a:gd name="T18" fmla="*/ 64 w 160"/>
              <a:gd name="T19" fmla="*/ 123 h 128"/>
              <a:gd name="T20" fmla="*/ 77 w 160"/>
              <a:gd name="T21" fmla="*/ 120 h 128"/>
              <a:gd name="T22" fmla="*/ 83 w 160"/>
              <a:gd name="T23" fmla="*/ 107 h 128"/>
              <a:gd name="T24" fmla="*/ 96 w 160"/>
              <a:gd name="T25" fmla="*/ 120 h 128"/>
              <a:gd name="T26" fmla="*/ 88 w 160"/>
              <a:gd name="T27" fmla="*/ 101 h 128"/>
              <a:gd name="T28" fmla="*/ 5 w 160"/>
              <a:gd name="T29" fmla="*/ 101 h 128"/>
              <a:gd name="T30" fmla="*/ 155 w 160"/>
              <a:gd name="T31" fmla="*/ 5 h 128"/>
              <a:gd name="T32" fmla="*/ 147 w 160"/>
              <a:gd name="T33" fmla="*/ 75 h 128"/>
              <a:gd name="T34" fmla="*/ 113 w 160"/>
              <a:gd name="T35" fmla="*/ 74 h 128"/>
              <a:gd name="T36" fmla="*/ 97 w 160"/>
              <a:gd name="T37" fmla="*/ 64 h 128"/>
              <a:gd name="T38" fmla="*/ 94 w 160"/>
              <a:gd name="T39" fmla="*/ 63 h 128"/>
              <a:gd name="T40" fmla="*/ 93 w 160"/>
              <a:gd name="T41" fmla="*/ 60 h 128"/>
              <a:gd name="T42" fmla="*/ 97 w 160"/>
              <a:gd name="T43" fmla="*/ 57 h 128"/>
              <a:gd name="T44" fmla="*/ 107 w 160"/>
              <a:gd name="T45" fmla="*/ 42 h 128"/>
              <a:gd name="T46" fmla="*/ 105 w 160"/>
              <a:gd name="T47" fmla="*/ 33 h 128"/>
              <a:gd name="T48" fmla="*/ 104 w 160"/>
              <a:gd name="T49" fmla="*/ 27 h 128"/>
              <a:gd name="T50" fmla="*/ 61 w 160"/>
              <a:gd name="T51" fmla="*/ 27 h 128"/>
              <a:gd name="T52" fmla="*/ 60 w 160"/>
              <a:gd name="T53" fmla="*/ 33 h 128"/>
              <a:gd name="T54" fmla="*/ 59 w 160"/>
              <a:gd name="T55" fmla="*/ 42 h 128"/>
              <a:gd name="T56" fmla="*/ 72 w 160"/>
              <a:gd name="T57" fmla="*/ 59 h 128"/>
              <a:gd name="T58" fmla="*/ 68 w 160"/>
              <a:gd name="T59" fmla="*/ 64 h 128"/>
              <a:gd name="T60" fmla="*/ 54 w 160"/>
              <a:gd name="T61" fmla="*/ 72 h 128"/>
              <a:gd name="T62" fmla="*/ 51 w 160"/>
              <a:gd name="T63" fmla="*/ 75 h 128"/>
              <a:gd name="T64" fmla="*/ 37 w 160"/>
              <a:gd name="T65" fmla="*/ 93 h 128"/>
              <a:gd name="T66" fmla="*/ 147 w 160"/>
              <a:gd name="T67" fmla="*/ 75 h 128"/>
              <a:gd name="T68" fmla="*/ 71 w 160"/>
              <a:gd name="T69" fmla="*/ 69 h 128"/>
              <a:gd name="T70" fmla="*/ 77 w 160"/>
              <a:gd name="T71" fmla="*/ 55 h 128"/>
              <a:gd name="T72" fmla="*/ 67 w 160"/>
              <a:gd name="T73" fmla="*/ 45 h 128"/>
              <a:gd name="T74" fmla="*/ 66 w 160"/>
              <a:gd name="T75" fmla="*/ 44 h 128"/>
              <a:gd name="T76" fmla="*/ 64 w 160"/>
              <a:gd name="T77" fmla="*/ 36 h 128"/>
              <a:gd name="T78" fmla="*/ 67 w 160"/>
              <a:gd name="T79" fmla="*/ 29 h 128"/>
              <a:gd name="T80" fmla="*/ 83 w 160"/>
              <a:gd name="T81" fmla="*/ 13 h 128"/>
              <a:gd name="T82" fmla="*/ 99 w 160"/>
              <a:gd name="T83" fmla="*/ 29 h 128"/>
              <a:gd name="T84" fmla="*/ 101 w 160"/>
              <a:gd name="T85" fmla="*/ 42 h 128"/>
              <a:gd name="T86" fmla="*/ 98 w 160"/>
              <a:gd name="T87" fmla="*/ 44 h 128"/>
              <a:gd name="T88" fmla="*/ 93 w 160"/>
              <a:gd name="T89" fmla="*/ 54 h 128"/>
              <a:gd name="T90" fmla="*/ 89 w 160"/>
              <a:gd name="T91" fmla="*/ 57 h 128"/>
              <a:gd name="T92" fmla="*/ 88 w 160"/>
              <a:gd name="T93" fmla="*/ 64 h 128"/>
              <a:gd name="T94" fmla="*/ 95 w 160"/>
              <a:gd name="T95" fmla="*/ 69 h 128"/>
              <a:gd name="T96" fmla="*/ 61 w 160"/>
              <a:gd name="T97" fmla="*/ 75 h 128"/>
              <a:gd name="T98" fmla="*/ 141 w 160"/>
              <a:gd name="T99" fmla="*/ 88 h 128"/>
              <a:gd name="T100" fmla="*/ 43 w 160"/>
              <a:gd name="T101" fmla="*/ 80 h 128"/>
              <a:gd name="T102" fmla="*/ 111 w 160"/>
              <a:gd name="T103" fmla="*/ 80 h 128"/>
              <a:gd name="T104" fmla="*/ 141 w 160"/>
              <a:gd name="T105" fmla="*/ 88 h 128"/>
              <a:gd name="T106" fmla="*/ 131 w 160"/>
              <a:gd name="T107" fmla="*/ 11 h 128"/>
              <a:gd name="T108" fmla="*/ 147 w 160"/>
              <a:gd name="T109" fmla="*/ 27 h 128"/>
              <a:gd name="T110" fmla="*/ 141 w 160"/>
              <a:gd name="T111" fmla="*/ 21 h 128"/>
              <a:gd name="T112" fmla="*/ 136 w 160"/>
              <a:gd name="T113" fmla="*/ 16 h 128"/>
              <a:gd name="T114" fmla="*/ 141 w 160"/>
              <a:gd name="T115" fmla="*/ 21 h 128"/>
              <a:gd name="T116" fmla="*/ 13 w 160"/>
              <a:gd name="T117" fmla="*/ 75 h 128"/>
              <a:gd name="T118" fmla="*/ 32 w 160"/>
              <a:gd name="T119" fmla="*/ 93 h 128"/>
              <a:gd name="T120" fmla="*/ 27 w 160"/>
              <a:gd name="T121" fmla="*/ 88 h 128"/>
              <a:gd name="T122" fmla="*/ 19 w 160"/>
              <a:gd name="T123" fmla="*/ 80 h 128"/>
              <a:gd name="T124" fmla="*/ 27 w 160"/>
              <a:gd name="T125" fmla="*/ 8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128">
                <a:moveTo>
                  <a:pt x="157" y="0"/>
                </a:moveTo>
                <a:cubicBezTo>
                  <a:pt x="3" y="0"/>
                  <a:pt x="3" y="0"/>
                  <a:pt x="3" y="0"/>
                </a:cubicBezTo>
                <a:cubicBezTo>
                  <a:pt x="1" y="0"/>
                  <a:pt x="0" y="1"/>
                  <a:pt x="0" y="3"/>
                </a:cubicBezTo>
                <a:cubicBezTo>
                  <a:pt x="0" y="104"/>
                  <a:pt x="0" y="104"/>
                  <a:pt x="0" y="104"/>
                </a:cubicBezTo>
                <a:cubicBezTo>
                  <a:pt x="0" y="105"/>
                  <a:pt x="1" y="107"/>
                  <a:pt x="3" y="107"/>
                </a:cubicBezTo>
                <a:cubicBezTo>
                  <a:pt x="72" y="107"/>
                  <a:pt x="72" y="107"/>
                  <a:pt x="72" y="107"/>
                </a:cubicBezTo>
                <a:cubicBezTo>
                  <a:pt x="72" y="115"/>
                  <a:pt x="72" y="115"/>
                  <a:pt x="72" y="115"/>
                </a:cubicBezTo>
                <a:cubicBezTo>
                  <a:pt x="59" y="115"/>
                  <a:pt x="59" y="115"/>
                  <a:pt x="59" y="115"/>
                </a:cubicBezTo>
                <a:cubicBezTo>
                  <a:pt x="59" y="128"/>
                  <a:pt x="59" y="128"/>
                  <a:pt x="59" y="128"/>
                </a:cubicBezTo>
                <a:cubicBezTo>
                  <a:pt x="101" y="128"/>
                  <a:pt x="101" y="128"/>
                  <a:pt x="101" y="128"/>
                </a:cubicBezTo>
                <a:cubicBezTo>
                  <a:pt x="101" y="115"/>
                  <a:pt x="101" y="115"/>
                  <a:pt x="101" y="115"/>
                </a:cubicBezTo>
                <a:cubicBezTo>
                  <a:pt x="88" y="115"/>
                  <a:pt x="88" y="115"/>
                  <a:pt x="88" y="115"/>
                </a:cubicBezTo>
                <a:cubicBezTo>
                  <a:pt x="88" y="107"/>
                  <a:pt x="88" y="107"/>
                  <a:pt x="88" y="107"/>
                </a:cubicBezTo>
                <a:cubicBezTo>
                  <a:pt x="157" y="107"/>
                  <a:pt x="157" y="107"/>
                  <a:pt x="157" y="107"/>
                </a:cubicBezTo>
                <a:cubicBezTo>
                  <a:pt x="159" y="107"/>
                  <a:pt x="160" y="105"/>
                  <a:pt x="160" y="104"/>
                </a:cubicBezTo>
                <a:cubicBezTo>
                  <a:pt x="160" y="3"/>
                  <a:pt x="160" y="3"/>
                  <a:pt x="160" y="3"/>
                </a:cubicBezTo>
                <a:cubicBezTo>
                  <a:pt x="160" y="1"/>
                  <a:pt x="159" y="0"/>
                  <a:pt x="157" y="0"/>
                </a:cubicBezTo>
                <a:close/>
                <a:moveTo>
                  <a:pt x="96" y="120"/>
                </a:moveTo>
                <a:cubicBezTo>
                  <a:pt x="96" y="123"/>
                  <a:pt x="96" y="123"/>
                  <a:pt x="96" y="123"/>
                </a:cubicBezTo>
                <a:cubicBezTo>
                  <a:pt x="64" y="123"/>
                  <a:pt x="64" y="123"/>
                  <a:pt x="64" y="123"/>
                </a:cubicBezTo>
                <a:cubicBezTo>
                  <a:pt x="64" y="120"/>
                  <a:pt x="64" y="120"/>
                  <a:pt x="64" y="120"/>
                </a:cubicBezTo>
                <a:cubicBezTo>
                  <a:pt x="77" y="120"/>
                  <a:pt x="77" y="120"/>
                  <a:pt x="77" y="120"/>
                </a:cubicBezTo>
                <a:cubicBezTo>
                  <a:pt x="77" y="107"/>
                  <a:pt x="77" y="107"/>
                  <a:pt x="77" y="107"/>
                </a:cubicBezTo>
                <a:cubicBezTo>
                  <a:pt x="83" y="107"/>
                  <a:pt x="83" y="107"/>
                  <a:pt x="83" y="107"/>
                </a:cubicBezTo>
                <a:cubicBezTo>
                  <a:pt x="83" y="120"/>
                  <a:pt x="83" y="120"/>
                  <a:pt x="83" y="120"/>
                </a:cubicBezTo>
                <a:lnTo>
                  <a:pt x="96" y="120"/>
                </a:lnTo>
                <a:close/>
                <a:moveTo>
                  <a:pt x="155" y="101"/>
                </a:moveTo>
                <a:cubicBezTo>
                  <a:pt x="88" y="101"/>
                  <a:pt x="88" y="101"/>
                  <a:pt x="88" y="101"/>
                </a:cubicBezTo>
                <a:cubicBezTo>
                  <a:pt x="72" y="101"/>
                  <a:pt x="72" y="101"/>
                  <a:pt x="72" y="101"/>
                </a:cubicBezTo>
                <a:cubicBezTo>
                  <a:pt x="5" y="101"/>
                  <a:pt x="5" y="101"/>
                  <a:pt x="5" y="101"/>
                </a:cubicBezTo>
                <a:cubicBezTo>
                  <a:pt x="5" y="5"/>
                  <a:pt x="5" y="5"/>
                  <a:pt x="5" y="5"/>
                </a:cubicBezTo>
                <a:cubicBezTo>
                  <a:pt x="155" y="5"/>
                  <a:pt x="155" y="5"/>
                  <a:pt x="155" y="5"/>
                </a:cubicBezTo>
                <a:lnTo>
                  <a:pt x="155" y="101"/>
                </a:lnTo>
                <a:close/>
                <a:moveTo>
                  <a:pt x="147" y="75"/>
                </a:moveTo>
                <a:cubicBezTo>
                  <a:pt x="113" y="75"/>
                  <a:pt x="113" y="75"/>
                  <a:pt x="113" y="75"/>
                </a:cubicBezTo>
                <a:cubicBezTo>
                  <a:pt x="113" y="74"/>
                  <a:pt x="113" y="74"/>
                  <a:pt x="113" y="74"/>
                </a:cubicBezTo>
                <a:cubicBezTo>
                  <a:pt x="112" y="74"/>
                  <a:pt x="111" y="73"/>
                  <a:pt x="110" y="72"/>
                </a:cubicBezTo>
                <a:cubicBezTo>
                  <a:pt x="97" y="64"/>
                  <a:pt x="97" y="64"/>
                  <a:pt x="97" y="64"/>
                </a:cubicBezTo>
                <a:cubicBezTo>
                  <a:pt x="97" y="64"/>
                  <a:pt x="97" y="64"/>
                  <a:pt x="97" y="64"/>
                </a:cubicBezTo>
                <a:cubicBezTo>
                  <a:pt x="96" y="64"/>
                  <a:pt x="95" y="64"/>
                  <a:pt x="94" y="63"/>
                </a:cubicBezTo>
                <a:cubicBezTo>
                  <a:pt x="94" y="63"/>
                  <a:pt x="94" y="63"/>
                  <a:pt x="93" y="63"/>
                </a:cubicBezTo>
                <a:cubicBezTo>
                  <a:pt x="93" y="60"/>
                  <a:pt x="93" y="60"/>
                  <a:pt x="93" y="60"/>
                </a:cubicBezTo>
                <a:cubicBezTo>
                  <a:pt x="93" y="60"/>
                  <a:pt x="94" y="60"/>
                  <a:pt x="94" y="59"/>
                </a:cubicBezTo>
                <a:cubicBezTo>
                  <a:pt x="96" y="58"/>
                  <a:pt x="96" y="58"/>
                  <a:pt x="97" y="57"/>
                </a:cubicBezTo>
                <a:cubicBezTo>
                  <a:pt x="99" y="54"/>
                  <a:pt x="101" y="51"/>
                  <a:pt x="102" y="48"/>
                </a:cubicBezTo>
                <a:cubicBezTo>
                  <a:pt x="104" y="47"/>
                  <a:pt x="107" y="45"/>
                  <a:pt x="107" y="42"/>
                </a:cubicBezTo>
                <a:cubicBezTo>
                  <a:pt x="107" y="36"/>
                  <a:pt x="107" y="36"/>
                  <a:pt x="107" y="36"/>
                </a:cubicBezTo>
                <a:cubicBezTo>
                  <a:pt x="107" y="35"/>
                  <a:pt x="106" y="34"/>
                  <a:pt x="105" y="33"/>
                </a:cubicBezTo>
                <a:cubicBezTo>
                  <a:pt x="105" y="32"/>
                  <a:pt x="104" y="31"/>
                  <a:pt x="104" y="29"/>
                </a:cubicBezTo>
                <a:cubicBezTo>
                  <a:pt x="104" y="27"/>
                  <a:pt x="104" y="27"/>
                  <a:pt x="104" y="27"/>
                </a:cubicBezTo>
                <a:cubicBezTo>
                  <a:pt x="104" y="20"/>
                  <a:pt x="99" y="8"/>
                  <a:pt x="83" y="8"/>
                </a:cubicBezTo>
                <a:cubicBezTo>
                  <a:pt x="66" y="8"/>
                  <a:pt x="62" y="20"/>
                  <a:pt x="61" y="27"/>
                </a:cubicBezTo>
                <a:cubicBezTo>
                  <a:pt x="61" y="29"/>
                  <a:pt x="61" y="29"/>
                  <a:pt x="61" y="29"/>
                </a:cubicBezTo>
                <a:cubicBezTo>
                  <a:pt x="61" y="31"/>
                  <a:pt x="61" y="32"/>
                  <a:pt x="60" y="33"/>
                </a:cubicBezTo>
                <a:cubicBezTo>
                  <a:pt x="59" y="34"/>
                  <a:pt x="59" y="35"/>
                  <a:pt x="59" y="36"/>
                </a:cubicBezTo>
                <a:cubicBezTo>
                  <a:pt x="59" y="42"/>
                  <a:pt x="59" y="42"/>
                  <a:pt x="59" y="42"/>
                </a:cubicBezTo>
                <a:cubicBezTo>
                  <a:pt x="59" y="45"/>
                  <a:pt x="61" y="46"/>
                  <a:pt x="62" y="48"/>
                </a:cubicBezTo>
                <a:cubicBezTo>
                  <a:pt x="64" y="53"/>
                  <a:pt x="69" y="57"/>
                  <a:pt x="72" y="59"/>
                </a:cubicBezTo>
                <a:cubicBezTo>
                  <a:pt x="72" y="62"/>
                  <a:pt x="72" y="62"/>
                  <a:pt x="72" y="62"/>
                </a:cubicBezTo>
                <a:cubicBezTo>
                  <a:pt x="71" y="63"/>
                  <a:pt x="69" y="64"/>
                  <a:pt x="68" y="64"/>
                </a:cubicBezTo>
                <a:cubicBezTo>
                  <a:pt x="68" y="65"/>
                  <a:pt x="67" y="65"/>
                  <a:pt x="67" y="65"/>
                </a:cubicBezTo>
                <a:cubicBezTo>
                  <a:pt x="54" y="72"/>
                  <a:pt x="54" y="72"/>
                  <a:pt x="54" y="72"/>
                </a:cubicBezTo>
                <a:cubicBezTo>
                  <a:pt x="53" y="73"/>
                  <a:pt x="52" y="74"/>
                  <a:pt x="51" y="74"/>
                </a:cubicBezTo>
                <a:cubicBezTo>
                  <a:pt x="51" y="75"/>
                  <a:pt x="51" y="75"/>
                  <a:pt x="51" y="75"/>
                </a:cubicBezTo>
                <a:cubicBezTo>
                  <a:pt x="37" y="75"/>
                  <a:pt x="37" y="75"/>
                  <a:pt x="37" y="75"/>
                </a:cubicBezTo>
                <a:cubicBezTo>
                  <a:pt x="37" y="93"/>
                  <a:pt x="37" y="93"/>
                  <a:pt x="37" y="93"/>
                </a:cubicBezTo>
                <a:cubicBezTo>
                  <a:pt x="147" y="93"/>
                  <a:pt x="147" y="93"/>
                  <a:pt x="147" y="93"/>
                </a:cubicBezTo>
                <a:lnTo>
                  <a:pt x="147" y="75"/>
                </a:lnTo>
                <a:close/>
                <a:moveTo>
                  <a:pt x="69" y="70"/>
                </a:moveTo>
                <a:cubicBezTo>
                  <a:pt x="70" y="70"/>
                  <a:pt x="70" y="69"/>
                  <a:pt x="71" y="69"/>
                </a:cubicBezTo>
                <a:cubicBezTo>
                  <a:pt x="74" y="68"/>
                  <a:pt x="77" y="66"/>
                  <a:pt x="77" y="63"/>
                </a:cubicBezTo>
                <a:cubicBezTo>
                  <a:pt x="77" y="55"/>
                  <a:pt x="77" y="55"/>
                  <a:pt x="77" y="55"/>
                </a:cubicBezTo>
                <a:cubicBezTo>
                  <a:pt x="76" y="55"/>
                  <a:pt x="76" y="55"/>
                  <a:pt x="76" y="55"/>
                </a:cubicBezTo>
                <a:cubicBezTo>
                  <a:pt x="74" y="54"/>
                  <a:pt x="68" y="50"/>
                  <a:pt x="67" y="45"/>
                </a:cubicBezTo>
                <a:cubicBezTo>
                  <a:pt x="67" y="44"/>
                  <a:pt x="67" y="44"/>
                  <a:pt x="67" y="44"/>
                </a:cubicBezTo>
                <a:cubicBezTo>
                  <a:pt x="66" y="44"/>
                  <a:pt x="66" y="44"/>
                  <a:pt x="66" y="44"/>
                </a:cubicBezTo>
                <a:cubicBezTo>
                  <a:pt x="64" y="43"/>
                  <a:pt x="64" y="42"/>
                  <a:pt x="64" y="42"/>
                </a:cubicBezTo>
                <a:cubicBezTo>
                  <a:pt x="64" y="36"/>
                  <a:pt x="64" y="36"/>
                  <a:pt x="64" y="36"/>
                </a:cubicBezTo>
                <a:cubicBezTo>
                  <a:pt x="64" y="36"/>
                  <a:pt x="64" y="36"/>
                  <a:pt x="64" y="36"/>
                </a:cubicBezTo>
                <a:cubicBezTo>
                  <a:pt x="66" y="34"/>
                  <a:pt x="67" y="32"/>
                  <a:pt x="67" y="29"/>
                </a:cubicBezTo>
                <a:cubicBezTo>
                  <a:pt x="67" y="27"/>
                  <a:pt x="67" y="27"/>
                  <a:pt x="67" y="27"/>
                </a:cubicBezTo>
                <a:cubicBezTo>
                  <a:pt x="67" y="26"/>
                  <a:pt x="67" y="13"/>
                  <a:pt x="83" y="13"/>
                </a:cubicBezTo>
                <a:cubicBezTo>
                  <a:pt x="98" y="13"/>
                  <a:pt x="99" y="25"/>
                  <a:pt x="99" y="27"/>
                </a:cubicBezTo>
                <a:cubicBezTo>
                  <a:pt x="99" y="29"/>
                  <a:pt x="99" y="29"/>
                  <a:pt x="99" y="29"/>
                </a:cubicBezTo>
                <a:cubicBezTo>
                  <a:pt x="99" y="32"/>
                  <a:pt x="100" y="34"/>
                  <a:pt x="101" y="36"/>
                </a:cubicBezTo>
                <a:cubicBezTo>
                  <a:pt x="101" y="42"/>
                  <a:pt x="101" y="42"/>
                  <a:pt x="101" y="42"/>
                </a:cubicBezTo>
                <a:cubicBezTo>
                  <a:pt x="101" y="42"/>
                  <a:pt x="100" y="43"/>
                  <a:pt x="99" y="44"/>
                </a:cubicBezTo>
                <a:cubicBezTo>
                  <a:pt x="98" y="44"/>
                  <a:pt x="98" y="44"/>
                  <a:pt x="98" y="44"/>
                </a:cubicBezTo>
                <a:cubicBezTo>
                  <a:pt x="97" y="46"/>
                  <a:pt x="97" y="46"/>
                  <a:pt x="97" y="46"/>
                </a:cubicBezTo>
                <a:cubicBezTo>
                  <a:pt x="96" y="48"/>
                  <a:pt x="94" y="51"/>
                  <a:pt x="93" y="54"/>
                </a:cubicBezTo>
                <a:cubicBezTo>
                  <a:pt x="92" y="54"/>
                  <a:pt x="91" y="55"/>
                  <a:pt x="91" y="55"/>
                </a:cubicBezTo>
                <a:cubicBezTo>
                  <a:pt x="90" y="56"/>
                  <a:pt x="89" y="56"/>
                  <a:pt x="89" y="57"/>
                </a:cubicBezTo>
                <a:cubicBezTo>
                  <a:pt x="88" y="57"/>
                  <a:pt x="88" y="57"/>
                  <a:pt x="88" y="57"/>
                </a:cubicBezTo>
                <a:cubicBezTo>
                  <a:pt x="88" y="64"/>
                  <a:pt x="88" y="64"/>
                  <a:pt x="88" y="64"/>
                </a:cubicBezTo>
                <a:cubicBezTo>
                  <a:pt x="88" y="68"/>
                  <a:pt x="92" y="68"/>
                  <a:pt x="93" y="69"/>
                </a:cubicBezTo>
                <a:cubicBezTo>
                  <a:pt x="94" y="69"/>
                  <a:pt x="94" y="69"/>
                  <a:pt x="95" y="69"/>
                </a:cubicBezTo>
                <a:cubicBezTo>
                  <a:pt x="103" y="75"/>
                  <a:pt x="103" y="75"/>
                  <a:pt x="103" y="75"/>
                </a:cubicBezTo>
                <a:cubicBezTo>
                  <a:pt x="61" y="75"/>
                  <a:pt x="61" y="75"/>
                  <a:pt x="61" y="75"/>
                </a:cubicBezTo>
                <a:lnTo>
                  <a:pt x="69" y="70"/>
                </a:lnTo>
                <a:close/>
                <a:moveTo>
                  <a:pt x="141" y="88"/>
                </a:moveTo>
                <a:cubicBezTo>
                  <a:pt x="43" y="88"/>
                  <a:pt x="43" y="88"/>
                  <a:pt x="43" y="88"/>
                </a:cubicBezTo>
                <a:cubicBezTo>
                  <a:pt x="43" y="80"/>
                  <a:pt x="43" y="80"/>
                  <a:pt x="43" y="80"/>
                </a:cubicBezTo>
                <a:cubicBezTo>
                  <a:pt x="54" y="80"/>
                  <a:pt x="54" y="80"/>
                  <a:pt x="54" y="80"/>
                </a:cubicBezTo>
                <a:cubicBezTo>
                  <a:pt x="111" y="80"/>
                  <a:pt x="111" y="80"/>
                  <a:pt x="111" y="80"/>
                </a:cubicBezTo>
                <a:cubicBezTo>
                  <a:pt x="141" y="80"/>
                  <a:pt x="141" y="80"/>
                  <a:pt x="141" y="80"/>
                </a:cubicBezTo>
                <a:lnTo>
                  <a:pt x="141" y="88"/>
                </a:lnTo>
                <a:close/>
                <a:moveTo>
                  <a:pt x="147" y="11"/>
                </a:moveTo>
                <a:cubicBezTo>
                  <a:pt x="131" y="11"/>
                  <a:pt x="131" y="11"/>
                  <a:pt x="131" y="11"/>
                </a:cubicBezTo>
                <a:cubicBezTo>
                  <a:pt x="131" y="27"/>
                  <a:pt x="131" y="27"/>
                  <a:pt x="131" y="27"/>
                </a:cubicBezTo>
                <a:cubicBezTo>
                  <a:pt x="147" y="27"/>
                  <a:pt x="147" y="27"/>
                  <a:pt x="147" y="27"/>
                </a:cubicBezTo>
                <a:lnTo>
                  <a:pt x="147" y="11"/>
                </a:lnTo>
                <a:close/>
                <a:moveTo>
                  <a:pt x="141" y="21"/>
                </a:moveTo>
                <a:cubicBezTo>
                  <a:pt x="136" y="21"/>
                  <a:pt x="136" y="21"/>
                  <a:pt x="136" y="21"/>
                </a:cubicBezTo>
                <a:cubicBezTo>
                  <a:pt x="136" y="16"/>
                  <a:pt x="136" y="16"/>
                  <a:pt x="136" y="16"/>
                </a:cubicBezTo>
                <a:cubicBezTo>
                  <a:pt x="141" y="16"/>
                  <a:pt x="141" y="16"/>
                  <a:pt x="141" y="16"/>
                </a:cubicBezTo>
                <a:lnTo>
                  <a:pt x="141" y="21"/>
                </a:lnTo>
                <a:close/>
                <a:moveTo>
                  <a:pt x="32" y="75"/>
                </a:moveTo>
                <a:cubicBezTo>
                  <a:pt x="13" y="75"/>
                  <a:pt x="13" y="75"/>
                  <a:pt x="13" y="75"/>
                </a:cubicBezTo>
                <a:cubicBezTo>
                  <a:pt x="13" y="93"/>
                  <a:pt x="13" y="93"/>
                  <a:pt x="13" y="93"/>
                </a:cubicBezTo>
                <a:cubicBezTo>
                  <a:pt x="32" y="93"/>
                  <a:pt x="32" y="93"/>
                  <a:pt x="32" y="93"/>
                </a:cubicBezTo>
                <a:lnTo>
                  <a:pt x="32" y="75"/>
                </a:lnTo>
                <a:close/>
                <a:moveTo>
                  <a:pt x="27" y="88"/>
                </a:moveTo>
                <a:cubicBezTo>
                  <a:pt x="19" y="88"/>
                  <a:pt x="19" y="88"/>
                  <a:pt x="19" y="88"/>
                </a:cubicBezTo>
                <a:cubicBezTo>
                  <a:pt x="19" y="80"/>
                  <a:pt x="19" y="80"/>
                  <a:pt x="19" y="80"/>
                </a:cubicBezTo>
                <a:cubicBezTo>
                  <a:pt x="27" y="80"/>
                  <a:pt x="27" y="80"/>
                  <a:pt x="27" y="80"/>
                </a:cubicBezTo>
                <a:lnTo>
                  <a:pt x="27" y="8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43">
            <a:extLst>
              <a:ext uri="{FF2B5EF4-FFF2-40B4-BE49-F238E27FC236}">
                <a16:creationId xmlns:a16="http://schemas.microsoft.com/office/drawing/2014/main" id="{7AA7B50B-4E77-BA4F-95B1-25E5BFA11B70}"/>
              </a:ext>
            </a:extLst>
          </p:cNvPr>
          <p:cNvSpPr>
            <a:spLocks noEditPoints="1"/>
          </p:cNvSpPr>
          <p:nvPr/>
        </p:nvSpPr>
        <p:spPr bwMode="auto">
          <a:xfrm>
            <a:off x="4792354" y="1806575"/>
            <a:ext cx="600075" cy="515938"/>
          </a:xfrm>
          <a:custGeom>
            <a:avLst/>
            <a:gdLst>
              <a:gd name="T0" fmla="*/ 49 w 160"/>
              <a:gd name="T1" fmla="*/ 136 h 136"/>
              <a:gd name="T2" fmla="*/ 111 w 160"/>
              <a:gd name="T3" fmla="*/ 136 h 136"/>
              <a:gd name="T4" fmla="*/ 80 w 160"/>
              <a:gd name="T5" fmla="*/ 86 h 136"/>
              <a:gd name="T6" fmla="*/ 49 w 160"/>
              <a:gd name="T7" fmla="*/ 136 h 136"/>
              <a:gd name="T8" fmla="*/ 58 w 160"/>
              <a:gd name="T9" fmla="*/ 131 h 136"/>
              <a:gd name="T10" fmla="*/ 80 w 160"/>
              <a:gd name="T11" fmla="*/ 96 h 136"/>
              <a:gd name="T12" fmla="*/ 102 w 160"/>
              <a:gd name="T13" fmla="*/ 131 h 136"/>
              <a:gd name="T14" fmla="*/ 58 w 160"/>
              <a:gd name="T15" fmla="*/ 131 h 136"/>
              <a:gd name="T16" fmla="*/ 160 w 160"/>
              <a:gd name="T17" fmla="*/ 0 h 136"/>
              <a:gd name="T18" fmla="*/ 160 w 160"/>
              <a:gd name="T19" fmla="*/ 107 h 136"/>
              <a:gd name="T20" fmla="*/ 101 w 160"/>
              <a:gd name="T21" fmla="*/ 107 h 136"/>
              <a:gd name="T22" fmla="*/ 99 w 160"/>
              <a:gd name="T23" fmla="*/ 104 h 136"/>
              <a:gd name="T24" fmla="*/ 101 w 160"/>
              <a:gd name="T25" fmla="*/ 101 h 136"/>
              <a:gd name="T26" fmla="*/ 155 w 160"/>
              <a:gd name="T27" fmla="*/ 101 h 136"/>
              <a:gd name="T28" fmla="*/ 155 w 160"/>
              <a:gd name="T29" fmla="*/ 5 h 136"/>
              <a:gd name="T30" fmla="*/ 5 w 160"/>
              <a:gd name="T31" fmla="*/ 5 h 136"/>
              <a:gd name="T32" fmla="*/ 5 w 160"/>
              <a:gd name="T33" fmla="*/ 101 h 136"/>
              <a:gd name="T34" fmla="*/ 59 w 160"/>
              <a:gd name="T35" fmla="*/ 101 h 136"/>
              <a:gd name="T36" fmla="*/ 61 w 160"/>
              <a:gd name="T37" fmla="*/ 104 h 136"/>
              <a:gd name="T38" fmla="*/ 59 w 160"/>
              <a:gd name="T39" fmla="*/ 107 h 136"/>
              <a:gd name="T40" fmla="*/ 0 w 160"/>
              <a:gd name="T41" fmla="*/ 107 h 136"/>
              <a:gd name="T42" fmla="*/ 0 w 160"/>
              <a:gd name="T43" fmla="*/ 0 h 136"/>
              <a:gd name="T44" fmla="*/ 160 w 160"/>
              <a:gd name="T4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136">
                <a:moveTo>
                  <a:pt x="49" y="136"/>
                </a:moveTo>
                <a:cubicBezTo>
                  <a:pt x="111" y="136"/>
                  <a:pt x="111" y="136"/>
                  <a:pt x="111" y="136"/>
                </a:cubicBezTo>
                <a:cubicBezTo>
                  <a:pt x="80" y="86"/>
                  <a:pt x="80" y="86"/>
                  <a:pt x="80" y="86"/>
                </a:cubicBezTo>
                <a:lnTo>
                  <a:pt x="49" y="136"/>
                </a:lnTo>
                <a:close/>
                <a:moveTo>
                  <a:pt x="58" y="131"/>
                </a:moveTo>
                <a:cubicBezTo>
                  <a:pt x="80" y="96"/>
                  <a:pt x="80" y="96"/>
                  <a:pt x="80" y="96"/>
                </a:cubicBezTo>
                <a:cubicBezTo>
                  <a:pt x="102" y="131"/>
                  <a:pt x="102" y="131"/>
                  <a:pt x="102" y="131"/>
                </a:cubicBezTo>
                <a:lnTo>
                  <a:pt x="58" y="131"/>
                </a:lnTo>
                <a:close/>
                <a:moveTo>
                  <a:pt x="160" y="0"/>
                </a:moveTo>
                <a:cubicBezTo>
                  <a:pt x="160" y="107"/>
                  <a:pt x="160" y="107"/>
                  <a:pt x="160" y="107"/>
                </a:cubicBezTo>
                <a:cubicBezTo>
                  <a:pt x="101" y="107"/>
                  <a:pt x="101" y="107"/>
                  <a:pt x="101" y="107"/>
                </a:cubicBezTo>
                <a:cubicBezTo>
                  <a:pt x="100" y="107"/>
                  <a:pt x="99" y="105"/>
                  <a:pt x="99" y="104"/>
                </a:cubicBezTo>
                <a:cubicBezTo>
                  <a:pt x="99" y="103"/>
                  <a:pt x="100" y="101"/>
                  <a:pt x="101" y="101"/>
                </a:cubicBezTo>
                <a:cubicBezTo>
                  <a:pt x="155" y="101"/>
                  <a:pt x="155" y="101"/>
                  <a:pt x="155" y="101"/>
                </a:cubicBezTo>
                <a:cubicBezTo>
                  <a:pt x="155" y="5"/>
                  <a:pt x="155" y="5"/>
                  <a:pt x="155" y="5"/>
                </a:cubicBezTo>
                <a:cubicBezTo>
                  <a:pt x="5" y="5"/>
                  <a:pt x="5" y="5"/>
                  <a:pt x="5" y="5"/>
                </a:cubicBezTo>
                <a:cubicBezTo>
                  <a:pt x="5" y="101"/>
                  <a:pt x="5" y="101"/>
                  <a:pt x="5" y="101"/>
                </a:cubicBezTo>
                <a:cubicBezTo>
                  <a:pt x="59" y="101"/>
                  <a:pt x="59" y="101"/>
                  <a:pt x="59" y="101"/>
                </a:cubicBezTo>
                <a:cubicBezTo>
                  <a:pt x="60" y="101"/>
                  <a:pt x="61" y="103"/>
                  <a:pt x="61" y="104"/>
                </a:cubicBezTo>
                <a:cubicBezTo>
                  <a:pt x="61" y="105"/>
                  <a:pt x="60" y="107"/>
                  <a:pt x="59" y="107"/>
                </a:cubicBezTo>
                <a:cubicBezTo>
                  <a:pt x="0" y="107"/>
                  <a:pt x="0" y="107"/>
                  <a:pt x="0" y="107"/>
                </a:cubicBezTo>
                <a:cubicBezTo>
                  <a:pt x="0" y="0"/>
                  <a:pt x="0" y="0"/>
                  <a:pt x="0" y="0"/>
                </a:cubicBezTo>
                <a:lnTo>
                  <a:pt x="16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44">
            <a:extLst>
              <a:ext uri="{FF2B5EF4-FFF2-40B4-BE49-F238E27FC236}">
                <a16:creationId xmlns:a16="http://schemas.microsoft.com/office/drawing/2014/main" id="{F38D43B3-E0B3-E145-9A26-218BA9F62A9C}"/>
              </a:ext>
            </a:extLst>
          </p:cNvPr>
          <p:cNvSpPr>
            <a:spLocks noEditPoints="1"/>
          </p:cNvSpPr>
          <p:nvPr/>
        </p:nvSpPr>
        <p:spPr bwMode="auto">
          <a:xfrm>
            <a:off x="4792354" y="2443163"/>
            <a:ext cx="600075" cy="604838"/>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5 h 160"/>
              <a:gd name="T12" fmla="*/ 5 w 160"/>
              <a:gd name="T13" fmla="*/ 80 h 160"/>
              <a:gd name="T14" fmla="*/ 80 w 160"/>
              <a:gd name="T15" fmla="*/ 5 h 160"/>
              <a:gd name="T16" fmla="*/ 155 w 160"/>
              <a:gd name="T17" fmla="*/ 80 h 160"/>
              <a:gd name="T18" fmla="*/ 80 w 160"/>
              <a:gd name="T19" fmla="*/ 155 h 160"/>
              <a:gd name="T20" fmla="*/ 83 w 160"/>
              <a:gd name="T21" fmla="*/ 19 h 160"/>
              <a:gd name="T22" fmla="*/ 83 w 160"/>
              <a:gd name="T23" fmla="*/ 83 h 160"/>
              <a:gd name="T24" fmla="*/ 80 w 160"/>
              <a:gd name="T25" fmla="*/ 85 h 160"/>
              <a:gd name="T26" fmla="*/ 37 w 160"/>
              <a:gd name="T27" fmla="*/ 85 h 160"/>
              <a:gd name="T28" fmla="*/ 35 w 160"/>
              <a:gd name="T29" fmla="*/ 83 h 160"/>
              <a:gd name="T30" fmla="*/ 37 w 160"/>
              <a:gd name="T31" fmla="*/ 80 h 160"/>
              <a:gd name="T32" fmla="*/ 77 w 160"/>
              <a:gd name="T33" fmla="*/ 80 h 160"/>
              <a:gd name="T34" fmla="*/ 77 w 160"/>
              <a:gd name="T35" fmla="*/ 19 h 160"/>
              <a:gd name="T36" fmla="*/ 80 w 160"/>
              <a:gd name="T37" fmla="*/ 16 h 160"/>
              <a:gd name="T38" fmla="*/ 83 w 160"/>
              <a:gd name="T39" fmla="*/ 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5"/>
                </a:moveTo>
                <a:cubicBezTo>
                  <a:pt x="39" y="155"/>
                  <a:pt x="5" y="121"/>
                  <a:pt x="5" y="80"/>
                </a:cubicBezTo>
                <a:cubicBezTo>
                  <a:pt x="5" y="39"/>
                  <a:pt x="39" y="5"/>
                  <a:pt x="80" y="5"/>
                </a:cubicBezTo>
                <a:cubicBezTo>
                  <a:pt x="121" y="5"/>
                  <a:pt x="155" y="39"/>
                  <a:pt x="155" y="80"/>
                </a:cubicBezTo>
                <a:cubicBezTo>
                  <a:pt x="155" y="121"/>
                  <a:pt x="121" y="155"/>
                  <a:pt x="80" y="155"/>
                </a:cubicBezTo>
                <a:close/>
                <a:moveTo>
                  <a:pt x="83" y="19"/>
                </a:moveTo>
                <a:cubicBezTo>
                  <a:pt x="83" y="83"/>
                  <a:pt x="83" y="83"/>
                  <a:pt x="83" y="83"/>
                </a:cubicBezTo>
                <a:cubicBezTo>
                  <a:pt x="83" y="84"/>
                  <a:pt x="81" y="85"/>
                  <a:pt x="80" y="85"/>
                </a:cubicBezTo>
                <a:cubicBezTo>
                  <a:pt x="37" y="85"/>
                  <a:pt x="37" y="85"/>
                  <a:pt x="37" y="85"/>
                </a:cubicBezTo>
                <a:cubicBezTo>
                  <a:pt x="36" y="85"/>
                  <a:pt x="35" y="84"/>
                  <a:pt x="35" y="83"/>
                </a:cubicBezTo>
                <a:cubicBezTo>
                  <a:pt x="35" y="81"/>
                  <a:pt x="36" y="80"/>
                  <a:pt x="37" y="80"/>
                </a:cubicBezTo>
                <a:cubicBezTo>
                  <a:pt x="77" y="80"/>
                  <a:pt x="77" y="80"/>
                  <a:pt x="77" y="80"/>
                </a:cubicBezTo>
                <a:cubicBezTo>
                  <a:pt x="77" y="19"/>
                  <a:pt x="77" y="19"/>
                  <a:pt x="77" y="19"/>
                </a:cubicBezTo>
                <a:cubicBezTo>
                  <a:pt x="77" y="17"/>
                  <a:pt x="79" y="16"/>
                  <a:pt x="80" y="16"/>
                </a:cubicBezTo>
                <a:cubicBezTo>
                  <a:pt x="81" y="16"/>
                  <a:pt x="83" y="17"/>
                  <a:pt x="83" y="1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45">
            <a:extLst>
              <a:ext uri="{FF2B5EF4-FFF2-40B4-BE49-F238E27FC236}">
                <a16:creationId xmlns:a16="http://schemas.microsoft.com/office/drawing/2014/main" id="{ACAB3CEF-E1BB-EF4C-9095-8472C345E7F2}"/>
              </a:ext>
            </a:extLst>
          </p:cNvPr>
          <p:cNvSpPr>
            <a:spLocks noEditPoints="1"/>
          </p:cNvSpPr>
          <p:nvPr/>
        </p:nvSpPr>
        <p:spPr bwMode="auto">
          <a:xfrm>
            <a:off x="4852679" y="3124200"/>
            <a:ext cx="487363" cy="604838"/>
          </a:xfrm>
          <a:custGeom>
            <a:avLst/>
            <a:gdLst>
              <a:gd name="T0" fmla="*/ 127 w 130"/>
              <a:gd name="T1" fmla="*/ 16 h 160"/>
              <a:gd name="T2" fmla="*/ 89 w 130"/>
              <a:gd name="T3" fmla="*/ 16 h 160"/>
              <a:gd name="T4" fmla="*/ 84 w 130"/>
              <a:gd name="T5" fmla="*/ 3 h 160"/>
              <a:gd name="T6" fmla="*/ 76 w 130"/>
              <a:gd name="T7" fmla="*/ 0 h 160"/>
              <a:gd name="T8" fmla="*/ 49 w 130"/>
              <a:gd name="T9" fmla="*/ 0 h 160"/>
              <a:gd name="T10" fmla="*/ 40 w 130"/>
              <a:gd name="T11" fmla="*/ 3 h 160"/>
              <a:gd name="T12" fmla="*/ 35 w 130"/>
              <a:gd name="T13" fmla="*/ 16 h 160"/>
              <a:gd name="T14" fmla="*/ 3 w 130"/>
              <a:gd name="T15" fmla="*/ 16 h 160"/>
              <a:gd name="T16" fmla="*/ 0 w 130"/>
              <a:gd name="T17" fmla="*/ 19 h 160"/>
              <a:gd name="T18" fmla="*/ 3 w 130"/>
              <a:gd name="T19" fmla="*/ 22 h 160"/>
              <a:gd name="T20" fmla="*/ 127 w 130"/>
              <a:gd name="T21" fmla="*/ 22 h 160"/>
              <a:gd name="T22" fmla="*/ 130 w 130"/>
              <a:gd name="T23" fmla="*/ 19 h 160"/>
              <a:gd name="T24" fmla="*/ 127 w 130"/>
              <a:gd name="T25" fmla="*/ 16 h 160"/>
              <a:gd name="T26" fmla="*/ 44 w 130"/>
              <a:gd name="T27" fmla="*/ 7 h 160"/>
              <a:gd name="T28" fmla="*/ 49 w 130"/>
              <a:gd name="T29" fmla="*/ 5 h 160"/>
              <a:gd name="T30" fmla="*/ 76 w 130"/>
              <a:gd name="T31" fmla="*/ 5 h 160"/>
              <a:gd name="T32" fmla="*/ 81 w 130"/>
              <a:gd name="T33" fmla="*/ 7 h 160"/>
              <a:gd name="T34" fmla="*/ 84 w 130"/>
              <a:gd name="T35" fmla="*/ 16 h 160"/>
              <a:gd name="T36" fmla="*/ 41 w 130"/>
              <a:gd name="T37" fmla="*/ 16 h 160"/>
              <a:gd name="T38" fmla="*/ 44 w 130"/>
              <a:gd name="T39" fmla="*/ 7 h 160"/>
              <a:gd name="T40" fmla="*/ 13 w 130"/>
              <a:gd name="T41" fmla="*/ 147 h 160"/>
              <a:gd name="T42" fmla="*/ 27 w 130"/>
              <a:gd name="T43" fmla="*/ 160 h 160"/>
              <a:gd name="T44" fmla="*/ 103 w 130"/>
              <a:gd name="T45" fmla="*/ 160 h 160"/>
              <a:gd name="T46" fmla="*/ 117 w 130"/>
              <a:gd name="T47" fmla="*/ 147 h 160"/>
              <a:gd name="T48" fmla="*/ 122 w 130"/>
              <a:gd name="T49" fmla="*/ 27 h 160"/>
              <a:gd name="T50" fmla="*/ 8 w 130"/>
              <a:gd name="T51" fmla="*/ 27 h 160"/>
              <a:gd name="T52" fmla="*/ 13 w 130"/>
              <a:gd name="T53" fmla="*/ 147 h 160"/>
              <a:gd name="T54" fmla="*/ 116 w 130"/>
              <a:gd name="T55" fmla="*/ 33 h 160"/>
              <a:gd name="T56" fmla="*/ 111 w 130"/>
              <a:gd name="T57" fmla="*/ 146 h 160"/>
              <a:gd name="T58" fmla="*/ 103 w 130"/>
              <a:gd name="T59" fmla="*/ 155 h 160"/>
              <a:gd name="T60" fmla="*/ 27 w 130"/>
              <a:gd name="T61" fmla="*/ 155 h 160"/>
              <a:gd name="T62" fmla="*/ 19 w 130"/>
              <a:gd name="T63" fmla="*/ 146 h 160"/>
              <a:gd name="T64" fmla="*/ 14 w 130"/>
              <a:gd name="T65" fmla="*/ 33 h 160"/>
              <a:gd name="T66" fmla="*/ 116 w 130"/>
              <a:gd name="T67" fmla="*/ 33 h 160"/>
              <a:gd name="T68" fmla="*/ 30 w 130"/>
              <a:gd name="T69" fmla="*/ 144 h 160"/>
              <a:gd name="T70" fmla="*/ 33 w 130"/>
              <a:gd name="T71" fmla="*/ 141 h 160"/>
              <a:gd name="T72" fmla="*/ 98 w 130"/>
              <a:gd name="T73" fmla="*/ 141 h 160"/>
              <a:gd name="T74" fmla="*/ 100 w 130"/>
              <a:gd name="T75" fmla="*/ 144 h 160"/>
              <a:gd name="T76" fmla="*/ 98 w 130"/>
              <a:gd name="T77" fmla="*/ 146 h 160"/>
              <a:gd name="T78" fmla="*/ 33 w 130"/>
              <a:gd name="T79" fmla="*/ 146 h 160"/>
              <a:gd name="T80" fmla="*/ 30 w 130"/>
              <a:gd name="T81" fmla="*/ 144 h 160"/>
              <a:gd name="T82" fmla="*/ 30 w 130"/>
              <a:gd name="T83" fmla="*/ 130 h 160"/>
              <a:gd name="T84" fmla="*/ 33 w 130"/>
              <a:gd name="T85" fmla="*/ 127 h 160"/>
              <a:gd name="T86" fmla="*/ 98 w 130"/>
              <a:gd name="T87" fmla="*/ 127 h 160"/>
              <a:gd name="T88" fmla="*/ 100 w 130"/>
              <a:gd name="T89" fmla="*/ 130 h 160"/>
              <a:gd name="T90" fmla="*/ 98 w 130"/>
              <a:gd name="T91" fmla="*/ 133 h 160"/>
              <a:gd name="T92" fmla="*/ 33 w 130"/>
              <a:gd name="T93" fmla="*/ 133 h 160"/>
              <a:gd name="T94" fmla="*/ 30 w 130"/>
              <a:gd name="T95" fmla="*/ 130 h 160"/>
              <a:gd name="T96" fmla="*/ 30 w 130"/>
              <a:gd name="T97" fmla="*/ 117 h 160"/>
              <a:gd name="T98" fmla="*/ 33 w 130"/>
              <a:gd name="T99" fmla="*/ 114 h 160"/>
              <a:gd name="T100" fmla="*/ 98 w 130"/>
              <a:gd name="T101" fmla="*/ 114 h 160"/>
              <a:gd name="T102" fmla="*/ 100 w 130"/>
              <a:gd name="T103" fmla="*/ 117 h 160"/>
              <a:gd name="T104" fmla="*/ 98 w 130"/>
              <a:gd name="T105" fmla="*/ 119 h 160"/>
              <a:gd name="T106" fmla="*/ 33 w 130"/>
              <a:gd name="T107" fmla="*/ 119 h 160"/>
              <a:gd name="T108" fmla="*/ 30 w 130"/>
              <a:gd name="T109"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 h="160">
                <a:moveTo>
                  <a:pt x="127" y="16"/>
                </a:moveTo>
                <a:cubicBezTo>
                  <a:pt x="89" y="16"/>
                  <a:pt x="89" y="16"/>
                  <a:pt x="89" y="16"/>
                </a:cubicBezTo>
                <a:cubicBezTo>
                  <a:pt x="89" y="13"/>
                  <a:pt x="88" y="7"/>
                  <a:pt x="84" y="3"/>
                </a:cubicBezTo>
                <a:cubicBezTo>
                  <a:pt x="82" y="1"/>
                  <a:pt x="79" y="0"/>
                  <a:pt x="76" y="0"/>
                </a:cubicBezTo>
                <a:cubicBezTo>
                  <a:pt x="49" y="0"/>
                  <a:pt x="49" y="0"/>
                  <a:pt x="49" y="0"/>
                </a:cubicBezTo>
                <a:cubicBezTo>
                  <a:pt x="45" y="0"/>
                  <a:pt x="43" y="1"/>
                  <a:pt x="40" y="3"/>
                </a:cubicBezTo>
                <a:cubicBezTo>
                  <a:pt x="37" y="7"/>
                  <a:pt x="36" y="13"/>
                  <a:pt x="35" y="16"/>
                </a:cubicBezTo>
                <a:cubicBezTo>
                  <a:pt x="3" y="16"/>
                  <a:pt x="3" y="16"/>
                  <a:pt x="3" y="16"/>
                </a:cubicBezTo>
                <a:cubicBezTo>
                  <a:pt x="1" y="16"/>
                  <a:pt x="0" y="17"/>
                  <a:pt x="0" y="19"/>
                </a:cubicBezTo>
                <a:cubicBezTo>
                  <a:pt x="0" y="20"/>
                  <a:pt x="1" y="22"/>
                  <a:pt x="3" y="22"/>
                </a:cubicBezTo>
                <a:cubicBezTo>
                  <a:pt x="127" y="22"/>
                  <a:pt x="127" y="22"/>
                  <a:pt x="127" y="22"/>
                </a:cubicBezTo>
                <a:cubicBezTo>
                  <a:pt x="129" y="22"/>
                  <a:pt x="130" y="20"/>
                  <a:pt x="130" y="19"/>
                </a:cubicBezTo>
                <a:cubicBezTo>
                  <a:pt x="130" y="17"/>
                  <a:pt x="129" y="16"/>
                  <a:pt x="127" y="16"/>
                </a:cubicBezTo>
                <a:close/>
                <a:moveTo>
                  <a:pt x="44" y="7"/>
                </a:moveTo>
                <a:cubicBezTo>
                  <a:pt x="45" y="6"/>
                  <a:pt x="47" y="5"/>
                  <a:pt x="49" y="5"/>
                </a:cubicBezTo>
                <a:cubicBezTo>
                  <a:pt x="76" y="5"/>
                  <a:pt x="76" y="5"/>
                  <a:pt x="76" y="5"/>
                </a:cubicBezTo>
                <a:cubicBezTo>
                  <a:pt x="78" y="5"/>
                  <a:pt x="79" y="6"/>
                  <a:pt x="81" y="7"/>
                </a:cubicBezTo>
                <a:cubicBezTo>
                  <a:pt x="83" y="10"/>
                  <a:pt x="84" y="13"/>
                  <a:pt x="84" y="16"/>
                </a:cubicBezTo>
                <a:cubicBezTo>
                  <a:pt x="41" y="16"/>
                  <a:pt x="41" y="16"/>
                  <a:pt x="41" y="16"/>
                </a:cubicBezTo>
                <a:cubicBezTo>
                  <a:pt x="41" y="13"/>
                  <a:pt x="42" y="10"/>
                  <a:pt x="44" y="7"/>
                </a:cubicBezTo>
                <a:close/>
                <a:moveTo>
                  <a:pt x="13" y="147"/>
                </a:moveTo>
                <a:cubicBezTo>
                  <a:pt x="14" y="151"/>
                  <a:pt x="16" y="160"/>
                  <a:pt x="27" y="160"/>
                </a:cubicBezTo>
                <a:cubicBezTo>
                  <a:pt x="103" y="160"/>
                  <a:pt x="103" y="160"/>
                  <a:pt x="103" y="160"/>
                </a:cubicBezTo>
                <a:cubicBezTo>
                  <a:pt x="114" y="160"/>
                  <a:pt x="117" y="151"/>
                  <a:pt x="117" y="147"/>
                </a:cubicBezTo>
                <a:cubicBezTo>
                  <a:pt x="122" y="27"/>
                  <a:pt x="122" y="27"/>
                  <a:pt x="122" y="27"/>
                </a:cubicBezTo>
                <a:cubicBezTo>
                  <a:pt x="8" y="27"/>
                  <a:pt x="8" y="27"/>
                  <a:pt x="8" y="27"/>
                </a:cubicBezTo>
                <a:lnTo>
                  <a:pt x="13" y="147"/>
                </a:lnTo>
                <a:close/>
                <a:moveTo>
                  <a:pt x="116" y="33"/>
                </a:moveTo>
                <a:cubicBezTo>
                  <a:pt x="111" y="146"/>
                  <a:pt x="111" y="146"/>
                  <a:pt x="111" y="146"/>
                </a:cubicBezTo>
                <a:cubicBezTo>
                  <a:pt x="111" y="147"/>
                  <a:pt x="111" y="155"/>
                  <a:pt x="103" y="155"/>
                </a:cubicBezTo>
                <a:cubicBezTo>
                  <a:pt x="27" y="155"/>
                  <a:pt x="27" y="155"/>
                  <a:pt x="27" y="155"/>
                </a:cubicBezTo>
                <a:cubicBezTo>
                  <a:pt x="19" y="155"/>
                  <a:pt x="19" y="147"/>
                  <a:pt x="19" y="146"/>
                </a:cubicBezTo>
                <a:cubicBezTo>
                  <a:pt x="14" y="33"/>
                  <a:pt x="14" y="33"/>
                  <a:pt x="14" y="33"/>
                </a:cubicBezTo>
                <a:lnTo>
                  <a:pt x="116" y="33"/>
                </a:lnTo>
                <a:close/>
                <a:moveTo>
                  <a:pt x="30" y="144"/>
                </a:moveTo>
                <a:cubicBezTo>
                  <a:pt x="30" y="142"/>
                  <a:pt x="31" y="141"/>
                  <a:pt x="33" y="141"/>
                </a:cubicBezTo>
                <a:cubicBezTo>
                  <a:pt x="98" y="141"/>
                  <a:pt x="98" y="141"/>
                  <a:pt x="98" y="141"/>
                </a:cubicBezTo>
                <a:cubicBezTo>
                  <a:pt x="99" y="141"/>
                  <a:pt x="100" y="142"/>
                  <a:pt x="100" y="144"/>
                </a:cubicBezTo>
                <a:cubicBezTo>
                  <a:pt x="100" y="145"/>
                  <a:pt x="99" y="146"/>
                  <a:pt x="98" y="146"/>
                </a:cubicBezTo>
                <a:cubicBezTo>
                  <a:pt x="33" y="146"/>
                  <a:pt x="33" y="146"/>
                  <a:pt x="33" y="146"/>
                </a:cubicBezTo>
                <a:cubicBezTo>
                  <a:pt x="31" y="146"/>
                  <a:pt x="30" y="145"/>
                  <a:pt x="30" y="144"/>
                </a:cubicBezTo>
                <a:close/>
                <a:moveTo>
                  <a:pt x="30" y="130"/>
                </a:moveTo>
                <a:cubicBezTo>
                  <a:pt x="30" y="129"/>
                  <a:pt x="31" y="127"/>
                  <a:pt x="33" y="127"/>
                </a:cubicBezTo>
                <a:cubicBezTo>
                  <a:pt x="98" y="127"/>
                  <a:pt x="98" y="127"/>
                  <a:pt x="98" y="127"/>
                </a:cubicBezTo>
                <a:cubicBezTo>
                  <a:pt x="99" y="127"/>
                  <a:pt x="100" y="129"/>
                  <a:pt x="100" y="130"/>
                </a:cubicBezTo>
                <a:cubicBezTo>
                  <a:pt x="100" y="132"/>
                  <a:pt x="99" y="133"/>
                  <a:pt x="98" y="133"/>
                </a:cubicBezTo>
                <a:cubicBezTo>
                  <a:pt x="33" y="133"/>
                  <a:pt x="33" y="133"/>
                  <a:pt x="33" y="133"/>
                </a:cubicBezTo>
                <a:cubicBezTo>
                  <a:pt x="31" y="133"/>
                  <a:pt x="30" y="132"/>
                  <a:pt x="30" y="130"/>
                </a:cubicBezTo>
                <a:close/>
                <a:moveTo>
                  <a:pt x="30" y="117"/>
                </a:moveTo>
                <a:cubicBezTo>
                  <a:pt x="30" y="115"/>
                  <a:pt x="31" y="114"/>
                  <a:pt x="33" y="114"/>
                </a:cubicBezTo>
                <a:cubicBezTo>
                  <a:pt x="98" y="114"/>
                  <a:pt x="98" y="114"/>
                  <a:pt x="98" y="114"/>
                </a:cubicBezTo>
                <a:cubicBezTo>
                  <a:pt x="99" y="114"/>
                  <a:pt x="100" y="115"/>
                  <a:pt x="100" y="117"/>
                </a:cubicBezTo>
                <a:cubicBezTo>
                  <a:pt x="100" y="118"/>
                  <a:pt x="99" y="119"/>
                  <a:pt x="98" y="119"/>
                </a:cubicBezTo>
                <a:cubicBezTo>
                  <a:pt x="33" y="119"/>
                  <a:pt x="33" y="119"/>
                  <a:pt x="33" y="119"/>
                </a:cubicBezTo>
                <a:cubicBezTo>
                  <a:pt x="31" y="119"/>
                  <a:pt x="30" y="118"/>
                  <a:pt x="30" y="11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46">
            <a:extLst>
              <a:ext uri="{FF2B5EF4-FFF2-40B4-BE49-F238E27FC236}">
                <a16:creationId xmlns:a16="http://schemas.microsoft.com/office/drawing/2014/main" id="{497B354C-AE28-8E4A-8C2D-DF0DDBB1CA26}"/>
              </a:ext>
            </a:extLst>
          </p:cNvPr>
          <p:cNvSpPr>
            <a:spLocks noEditPoints="1"/>
          </p:cNvSpPr>
          <p:nvPr/>
        </p:nvSpPr>
        <p:spPr bwMode="auto">
          <a:xfrm>
            <a:off x="4836804" y="3805238"/>
            <a:ext cx="500063" cy="606425"/>
          </a:xfrm>
          <a:custGeom>
            <a:avLst/>
            <a:gdLst>
              <a:gd name="T0" fmla="*/ 133 w 133"/>
              <a:gd name="T1" fmla="*/ 75 h 160"/>
              <a:gd name="T2" fmla="*/ 69 w 133"/>
              <a:gd name="T3" fmla="*/ 8 h 160"/>
              <a:gd name="T4" fmla="*/ 67 w 133"/>
              <a:gd name="T5" fmla="*/ 0 h 160"/>
              <a:gd name="T6" fmla="*/ 64 w 133"/>
              <a:gd name="T7" fmla="*/ 8 h 160"/>
              <a:gd name="T8" fmla="*/ 0 w 133"/>
              <a:gd name="T9" fmla="*/ 75 h 160"/>
              <a:gd name="T10" fmla="*/ 0 w 133"/>
              <a:gd name="T11" fmla="*/ 76 h 160"/>
              <a:gd name="T12" fmla="*/ 1 w 133"/>
              <a:gd name="T13" fmla="*/ 77 h 160"/>
              <a:gd name="T14" fmla="*/ 1 w 133"/>
              <a:gd name="T15" fmla="*/ 77 h 160"/>
              <a:gd name="T16" fmla="*/ 2 w 133"/>
              <a:gd name="T17" fmla="*/ 77 h 160"/>
              <a:gd name="T18" fmla="*/ 3 w 133"/>
              <a:gd name="T19" fmla="*/ 77 h 160"/>
              <a:gd name="T20" fmla="*/ 4 w 133"/>
              <a:gd name="T21" fmla="*/ 77 h 160"/>
              <a:gd name="T22" fmla="*/ 5 w 133"/>
              <a:gd name="T23" fmla="*/ 76 h 160"/>
              <a:gd name="T24" fmla="*/ 19 w 133"/>
              <a:gd name="T25" fmla="*/ 69 h 160"/>
              <a:gd name="T26" fmla="*/ 33 w 133"/>
              <a:gd name="T27" fmla="*/ 77 h 160"/>
              <a:gd name="T28" fmla="*/ 33 w 133"/>
              <a:gd name="T29" fmla="*/ 77 h 160"/>
              <a:gd name="T30" fmla="*/ 34 w 133"/>
              <a:gd name="T31" fmla="*/ 77 h 160"/>
              <a:gd name="T32" fmla="*/ 35 w 133"/>
              <a:gd name="T33" fmla="*/ 77 h 160"/>
              <a:gd name="T34" fmla="*/ 36 w 133"/>
              <a:gd name="T35" fmla="*/ 77 h 160"/>
              <a:gd name="T36" fmla="*/ 36 w 133"/>
              <a:gd name="T37" fmla="*/ 77 h 160"/>
              <a:gd name="T38" fmla="*/ 37 w 133"/>
              <a:gd name="T39" fmla="*/ 76 h 160"/>
              <a:gd name="T40" fmla="*/ 64 w 133"/>
              <a:gd name="T41" fmla="*/ 76 h 160"/>
              <a:gd name="T42" fmla="*/ 56 w 133"/>
              <a:gd name="T43" fmla="*/ 155 h 160"/>
              <a:gd name="T44" fmla="*/ 45 w 133"/>
              <a:gd name="T45" fmla="*/ 144 h 160"/>
              <a:gd name="T46" fmla="*/ 56 w 133"/>
              <a:gd name="T47" fmla="*/ 160 h 160"/>
              <a:gd name="T48" fmla="*/ 69 w 133"/>
              <a:gd name="T49" fmla="*/ 76 h 160"/>
              <a:gd name="T50" fmla="*/ 97 w 133"/>
              <a:gd name="T51" fmla="*/ 76 h 160"/>
              <a:gd name="T52" fmla="*/ 97 w 133"/>
              <a:gd name="T53" fmla="*/ 77 h 160"/>
              <a:gd name="T54" fmla="*/ 98 w 133"/>
              <a:gd name="T55" fmla="*/ 77 h 160"/>
              <a:gd name="T56" fmla="*/ 99 w 133"/>
              <a:gd name="T57" fmla="*/ 77 h 160"/>
              <a:gd name="T58" fmla="*/ 99 w 133"/>
              <a:gd name="T59" fmla="*/ 77 h 160"/>
              <a:gd name="T60" fmla="*/ 100 w 133"/>
              <a:gd name="T61" fmla="*/ 77 h 160"/>
              <a:gd name="T62" fmla="*/ 101 w 133"/>
              <a:gd name="T63" fmla="*/ 77 h 160"/>
              <a:gd name="T64" fmla="*/ 115 w 133"/>
              <a:gd name="T65" fmla="*/ 69 h 160"/>
              <a:gd name="T66" fmla="*/ 129 w 133"/>
              <a:gd name="T67" fmla="*/ 76 h 160"/>
              <a:gd name="T68" fmla="*/ 130 w 133"/>
              <a:gd name="T69" fmla="*/ 77 h 160"/>
              <a:gd name="T70" fmla="*/ 131 w 133"/>
              <a:gd name="T71" fmla="*/ 77 h 160"/>
              <a:gd name="T72" fmla="*/ 132 w 133"/>
              <a:gd name="T73" fmla="*/ 77 h 160"/>
              <a:gd name="T74" fmla="*/ 132 w 133"/>
              <a:gd name="T75" fmla="*/ 77 h 160"/>
              <a:gd name="T76" fmla="*/ 133 w 133"/>
              <a:gd name="T77" fmla="*/ 76 h 160"/>
              <a:gd name="T78" fmla="*/ 133 w 133"/>
              <a:gd name="T79" fmla="*/ 75 h 160"/>
              <a:gd name="T80" fmla="*/ 99 w 133"/>
              <a:gd name="T81" fmla="*/ 71 h 160"/>
              <a:gd name="T82" fmla="*/ 67 w 133"/>
              <a:gd name="T83" fmla="*/ 71 h 160"/>
              <a:gd name="T84" fmla="*/ 35 w 133"/>
              <a:gd name="T85" fmla="*/ 71 h 160"/>
              <a:gd name="T86" fmla="*/ 6 w 133"/>
              <a:gd name="T87" fmla="*/ 68 h 160"/>
              <a:gd name="T88" fmla="*/ 128 w 133"/>
              <a:gd name="T89" fmla="*/ 6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3" h="160">
                <a:moveTo>
                  <a:pt x="133" y="75"/>
                </a:moveTo>
                <a:cubicBezTo>
                  <a:pt x="133" y="75"/>
                  <a:pt x="133" y="75"/>
                  <a:pt x="133" y="75"/>
                </a:cubicBezTo>
                <a:cubicBezTo>
                  <a:pt x="133" y="75"/>
                  <a:pt x="133" y="75"/>
                  <a:pt x="133" y="75"/>
                </a:cubicBezTo>
                <a:cubicBezTo>
                  <a:pt x="133" y="39"/>
                  <a:pt x="105" y="9"/>
                  <a:pt x="69" y="8"/>
                </a:cubicBezTo>
                <a:cubicBezTo>
                  <a:pt x="69" y="3"/>
                  <a:pt x="69" y="3"/>
                  <a:pt x="69" y="3"/>
                </a:cubicBezTo>
                <a:cubicBezTo>
                  <a:pt x="69" y="1"/>
                  <a:pt x="68" y="0"/>
                  <a:pt x="67" y="0"/>
                </a:cubicBezTo>
                <a:cubicBezTo>
                  <a:pt x="65" y="0"/>
                  <a:pt x="64" y="1"/>
                  <a:pt x="64" y="3"/>
                </a:cubicBezTo>
                <a:cubicBezTo>
                  <a:pt x="64" y="8"/>
                  <a:pt x="64" y="8"/>
                  <a:pt x="64" y="8"/>
                </a:cubicBezTo>
                <a:cubicBezTo>
                  <a:pt x="28" y="9"/>
                  <a:pt x="0" y="39"/>
                  <a:pt x="0" y="75"/>
                </a:cubicBezTo>
                <a:cubicBezTo>
                  <a:pt x="0" y="75"/>
                  <a:pt x="0" y="75"/>
                  <a:pt x="0" y="75"/>
                </a:cubicBezTo>
                <a:cubicBezTo>
                  <a:pt x="0" y="75"/>
                  <a:pt x="0" y="75"/>
                  <a:pt x="0" y="75"/>
                </a:cubicBezTo>
                <a:cubicBezTo>
                  <a:pt x="0" y="75"/>
                  <a:pt x="0" y="76"/>
                  <a:pt x="0" y="76"/>
                </a:cubicBezTo>
                <a:cubicBezTo>
                  <a:pt x="0" y="76"/>
                  <a:pt x="0" y="76"/>
                  <a:pt x="1" y="76"/>
                </a:cubicBezTo>
                <a:cubicBezTo>
                  <a:pt x="1" y="76"/>
                  <a:pt x="1" y="77"/>
                  <a:pt x="1" y="77"/>
                </a:cubicBezTo>
                <a:cubicBezTo>
                  <a:pt x="1" y="77"/>
                  <a:pt x="1" y="77"/>
                  <a:pt x="1" y="77"/>
                </a:cubicBezTo>
                <a:cubicBezTo>
                  <a:pt x="1" y="77"/>
                  <a:pt x="1" y="77"/>
                  <a:pt x="1" y="77"/>
                </a:cubicBezTo>
                <a:cubicBezTo>
                  <a:pt x="1" y="77"/>
                  <a:pt x="2" y="77"/>
                  <a:pt x="2" y="77"/>
                </a:cubicBezTo>
                <a:cubicBezTo>
                  <a:pt x="2" y="77"/>
                  <a:pt x="2" y="77"/>
                  <a:pt x="2" y="77"/>
                </a:cubicBezTo>
                <a:cubicBezTo>
                  <a:pt x="2" y="77"/>
                  <a:pt x="3" y="77"/>
                  <a:pt x="3" y="77"/>
                </a:cubicBezTo>
                <a:cubicBezTo>
                  <a:pt x="3" y="77"/>
                  <a:pt x="3" y="77"/>
                  <a:pt x="3" y="77"/>
                </a:cubicBezTo>
                <a:cubicBezTo>
                  <a:pt x="3" y="77"/>
                  <a:pt x="3" y="77"/>
                  <a:pt x="3" y="77"/>
                </a:cubicBezTo>
                <a:cubicBezTo>
                  <a:pt x="4" y="77"/>
                  <a:pt x="4" y="77"/>
                  <a:pt x="4" y="77"/>
                </a:cubicBezTo>
                <a:cubicBezTo>
                  <a:pt x="4" y="77"/>
                  <a:pt x="4" y="77"/>
                  <a:pt x="4" y="77"/>
                </a:cubicBezTo>
                <a:cubicBezTo>
                  <a:pt x="4" y="77"/>
                  <a:pt x="4" y="77"/>
                  <a:pt x="5" y="76"/>
                </a:cubicBezTo>
                <a:cubicBezTo>
                  <a:pt x="5" y="76"/>
                  <a:pt x="5" y="76"/>
                  <a:pt x="5" y="76"/>
                </a:cubicBezTo>
                <a:cubicBezTo>
                  <a:pt x="8" y="72"/>
                  <a:pt x="13" y="69"/>
                  <a:pt x="19" y="69"/>
                </a:cubicBezTo>
                <a:cubicBezTo>
                  <a:pt x="24" y="69"/>
                  <a:pt x="29" y="72"/>
                  <a:pt x="33" y="76"/>
                </a:cubicBezTo>
                <a:cubicBezTo>
                  <a:pt x="33" y="76"/>
                  <a:pt x="33" y="76"/>
                  <a:pt x="33" y="77"/>
                </a:cubicBezTo>
                <a:cubicBezTo>
                  <a:pt x="33" y="77"/>
                  <a:pt x="33" y="77"/>
                  <a:pt x="33" y="77"/>
                </a:cubicBezTo>
                <a:cubicBezTo>
                  <a:pt x="33" y="77"/>
                  <a:pt x="33" y="77"/>
                  <a:pt x="33" y="77"/>
                </a:cubicBezTo>
                <a:cubicBezTo>
                  <a:pt x="33" y="77"/>
                  <a:pt x="34" y="77"/>
                  <a:pt x="34" y="77"/>
                </a:cubicBezTo>
                <a:cubicBezTo>
                  <a:pt x="34" y="77"/>
                  <a:pt x="34" y="77"/>
                  <a:pt x="34" y="77"/>
                </a:cubicBezTo>
                <a:cubicBezTo>
                  <a:pt x="34" y="77"/>
                  <a:pt x="35" y="77"/>
                  <a:pt x="35" y="77"/>
                </a:cubicBezTo>
                <a:cubicBezTo>
                  <a:pt x="35" y="77"/>
                  <a:pt x="35" y="77"/>
                  <a:pt x="35" y="77"/>
                </a:cubicBezTo>
                <a:cubicBezTo>
                  <a:pt x="35" y="77"/>
                  <a:pt x="35" y="77"/>
                  <a:pt x="35" y="77"/>
                </a:cubicBezTo>
                <a:cubicBezTo>
                  <a:pt x="35" y="77"/>
                  <a:pt x="36" y="77"/>
                  <a:pt x="36" y="77"/>
                </a:cubicBezTo>
                <a:cubicBezTo>
                  <a:pt x="36" y="77"/>
                  <a:pt x="36" y="77"/>
                  <a:pt x="36" y="77"/>
                </a:cubicBezTo>
                <a:cubicBezTo>
                  <a:pt x="36" y="77"/>
                  <a:pt x="36" y="77"/>
                  <a:pt x="36" y="77"/>
                </a:cubicBezTo>
                <a:cubicBezTo>
                  <a:pt x="36" y="77"/>
                  <a:pt x="36" y="77"/>
                  <a:pt x="37" y="77"/>
                </a:cubicBezTo>
                <a:cubicBezTo>
                  <a:pt x="37" y="76"/>
                  <a:pt x="37" y="76"/>
                  <a:pt x="37" y="76"/>
                </a:cubicBezTo>
                <a:cubicBezTo>
                  <a:pt x="40" y="72"/>
                  <a:pt x="45" y="69"/>
                  <a:pt x="51" y="69"/>
                </a:cubicBezTo>
                <a:cubicBezTo>
                  <a:pt x="56" y="69"/>
                  <a:pt x="60" y="72"/>
                  <a:pt x="64" y="76"/>
                </a:cubicBezTo>
                <a:cubicBezTo>
                  <a:pt x="64" y="147"/>
                  <a:pt x="64" y="147"/>
                  <a:pt x="64" y="147"/>
                </a:cubicBezTo>
                <a:cubicBezTo>
                  <a:pt x="64" y="151"/>
                  <a:pt x="60" y="155"/>
                  <a:pt x="56" y="155"/>
                </a:cubicBezTo>
                <a:cubicBezTo>
                  <a:pt x="52" y="155"/>
                  <a:pt x="48" y="151"/>
                  <a:pt x="48" y="147"/>
                </a:cubicBezTo>
                <a:cubicBezTo>
                  <a:pt x="48" y="145"/>
                  <a:pt x="47" y="144"/>
                  <a:pt x="45" y="144"/>
                </a:cubicBezTo>
                <a:cubicBezTo>
                  <a:pt x="44" y="144"/>
                  <a:pt x="43" y="145"/>
                  <a:pt x="43" y="147"/>
                </a:cubicBezTo>
                <a:cubicBezTo>
                  <a:pt x="43" y="154"/>
                  <a:pt x="49" y="160"/>
                  <a:pt x="56" y="160"/>
                </a:cubicBezTo>
                <a:cubicBezTo>
                  <a:pt x="63" y="160"/>
                  <a:pt x="69" y="154"/>
                  <a:pt x="69" y="147"/>
                </a:cubicBezTo>
                <a:cubicBezTo>
                  <a:pt x="69" y="76"/>
                  <a:pt x="69" y="76"/>
                  <a:pt x="69" y="76"/>
                </a:cubicBezTo>
                <a:cubicBezTo>
                  <a:pt x="73" y="72"/>
                  <a:pt x="78" y="69"/>
                  <a:pt x="83" y="69"/>
                </a:cubicBezTo>
                <a:cubicBezTo>
                  <a:pt x="88" y="69"/>
                  <a:pt x="93" y="72"/>
                  <a:pt x="97" y="76"/>
                </a:cubicBezTo>
                <a:cubicBezTo>
                  <a:pt x="97" y="76"/>
                  <a:pt x="97" y="76"/>
                  <a:pt x="97" y="77"/>
                </a:cubicBezTo>
                <a:cubicBezTo>
                  <a:pt x="97" y="77"/>
                  <a:pt x="97" y="77"/>
                  <a:pt x="97" y="77"/>
                </a:cubicBezTo>
                <a:cubicBezTo>
                  <a:pt x="97" y="77"/>
                  <a:pt x="97" y="77"/>
                  <a:pt x="97" y="77"/>
                </a:cubicBezTo>
                <a:cubicBezTo>
                  <a:pt x="97" y="77"/>
                  <a:pt x="98" y="77"/>
                  <a:pt x="98" y="77"/>
                </a:cubicBezTo>
                <a:cubicBezTo>
                  <a:pt x="98" y="77"/>
                  <a:pt x="98" y="77"/>
                  <a:pt x="98" y="77"/>
                </a:cubicBezTo>
                <a:cubicBezTo>
                  <a:pt x="98" y="77"/>
                  <a:pt x="99" y="77"/>
                  <a:pt x="99" y="77"/>
                </a:cubicBezTo>
                <a:cubicBezTo>
                  <a:pt x="99" y="77"/>
                  <a:pt x="99" y="77"/>
                  <a:pt x="99" y="77"/>
                </a:cubicBezTo>
                <a:cubicBezTo>
                  <a:pt x="99" y="77"/>
                  <a:pt x="99" y="77"/>
                  <a:pt x="99" y="77"/>
                </a:cubicBezTo>
                <a:cubicBezTo>
                  <a:pt x="99" y="77"/>
                  <a:pt x="100" y="77"/>
                  <a:pt x="100" y="77"/>
                </a:cubicBezTo>
                <a:cubicBezTo>
                  <a:pt x="100" y="77"/>
                  <a:pt x="100" y="77"/>
                  <a:pt x="100" y="77"/>
                </a:cubicBezTo>
                <a:cubicBezTo>
                  <a:pt x="100" y="77"/>
                  <a:pt x="100" y="77"/>
                  <a:pt x="100" y="77"/>
                </a:cubicBezTo>
                <a:cubicBezTo>
                  <a:pt x="100" y="77"/>
                  <a:pt x="100" y="77"/>
                  <a:pt x="101" y="77"/>
                </a:cubicBezTo>
                <a:cubicBezTo>
                  <a:pt x="101" y="76"/>
                  <a:pt x="101" y="76"/>
                  <a:pt x="101" y="76"/>
                </a:cubicBezTo>
                <a:cubicBezTo>
                  <a:pt x="104" y="72"/>
                  <a:pt x="109" y="69"/>
                  <a:pt x="115" y="69"/>
                </a:cubicBezTo>
                <a:cubicBezTo>
                  <a:pt x="120" y="69"/>
                  <a:pt x="125" y="72"/>
                  <a:pt x="129" y="76"/>
                </a:cubicBezTo>
                <a:cubicBezTo>
                  <a:pt x="129" y="76"/>
                  <a:pt x="129" y="76"/>
                  <a:pt x="129" y="76"/>
                </a:cubicBezTo>
                <a:cubicBezTo>
                  <a:pt x="129" y="77"/>
                  <a:pt x="129" y="77"/>
                  <a:pt x="129" y="77"/>
                </a:cubicBezTo>
                <a:cubicBezTo>
                  <a:pt x="129" y="77"/>
                  <a:pt x="130" y="77"/>
                  <a:pt x="130" y="77"/>
                </a:cubicBezTo>
                <a:cubicBezTo>
                  <a:pt x="130" y="77"/>
                  <a:pt x="130" y="77"/>
                  <a:pt x="131" y="77"/>
                </a:cubicBezTo>
                <a:cubicBezTo>
                  <a:pt x="131" y="77"/>
                  <a:pt x="131" y="77"/>
                  <a:pt x="131" y="77"/>
                </a:cubicBezTo>
                <a:cubicBezTo>
                  <a:pt x="131" y="77"/>
                  <a:pt x="131" y="77"/>
                  <a:pt x="131" y="77"/>
                </a:cubicBezTo>
                <a:cubicBezTo>
                  <a:pt x="131" y="77"/>
                  <a:pt x="131" y="77"/>
                  <a:pt x="132" y="77"/>
                </a:cubicBezTo>
                <a:cubicBezTo>
                  <a:pt x="132" y="77"/>
                  <a:pt x="132" y="77"/>
                  <a:pt x="132" y="77"/>
                </a:cubicBezTo>
                <a:cubicBezTo>
                  <a:pt x="132" y="77"/>
                  <a:pt x="132" y="77"/>
                  <a:pt x="132" y="77"/>
                </a:cubicBezTo>
                <a:cubicBezTo>
                  <a:pt x="132" y="77"/>
                  <a:pt x="132" y="77"/>
                  <a:pt x="132" y="77"/>
                </a:cubicBezTo>
                <a:cubicBezTo>
                  <a:pt x="133" y="76"/>
                  <a:pt x="133" y="76"/>
                  <a:pt x="133" y="76"/>
                </a:cubicBezTo>
                <a:cubicBezTo>
                  <a:pt x="133" y="76"/>
                  <a:pt x="133" y="76"/>
                  <a:pt x="133" y="76"/>
                </a:cubicBezTo>
                <a:cubicBezTo>
                  <a:pt x="133" y="76"/>
                  <a:pt x="133" y="75"/>
                  <a:pt x="133" y="75"/>
                </a:cubicBezTo>
                <a:close/>
                <a:moveTo>
                  <a:pt x="115" y="64"/>
                </a:moveTo>
                <a:cubicBezTo>
                  <a:pt x="109" y="64"/>
                  <a:pt x="103" y="66"/>
                  <a:pt x="99" y="71"/>
                </a:cubicBezTo>
                <a:cubicBezTo>
                  <a:pt x="94" y="66"/>
                  <a:pt x="89" y="64"/>
                  <a:pt x="83" y="64"/>
                </a:cubicBezTo>
                <a:cubicBezTo>
                  <a:pt x="77" y="64"/>
                  <a:pt x="71" y="66"/>
                  <a:pt x="67" y="71"/>
                </a:cubicBezTo>
                <a:cubicBezTo>
                  <a:pt x="62" y="66"/>
                  <a:pt x="57" y="64"/>
                  <a:pt x="51" y="64"/>
                </a:cubicBezTo>
                <a:cubicBezTo>
                  <a:pt x="45" y="64"/>
                  <a:pt x="39" y="66"/>
                  <a:pt x="35" y="71"/>
                </a:cubicBezTo>
                <a:cubicBezTo>
                  <a:pt x="30" y="66"/>
                  <a:pt x="25" y="64"/>
                  <a:pt x="19" y="64"/>
                </a:cubicBezTo>
                <a:cubicBezTo>
                  <a:pt x="14" y="64"/>
                  <a:pt x="10" y="66"/>
                  <a:pt x="6" y="68"/>
                </a:cubicBezTo>
                <a:cubicBezTo>
                  <a:pt x="9" y="37"/>
                  <a:pt x="35" y="13"/>
                  <a:pt x="67" y="13"/>
                </a:cubicBezTo>
                <a:cubicBezTo>
                  <a:pt x="98" y="13"/>
                  <a:pt x="124" y="37"/>
                  <a:pt x="128" y="68"/>
                </a:cubicBezTo>
                <a:cubicBezTo>
                  <a:pt x="124" y="66"/>
                  <a:pt x="119" y="64"/>
                  <a:pt x="115"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47">
            <a:extLst>
              <a:ext uri="{FF2B5EF4-FFF2-40B4-BE49-F238E27FC236}">
                <a16:creationId xmlns:a16="http://schemas.microsoft.com/office/drawing/2014/main" id="{CDC246B1-E60B-D247-940A-D502DB11E25C}"/>
              </a:ext>
            </a:extLst>
          </p:cNvPr>
          <p:cNvSpPr>
            <a:spLocks noEditPoints="1"/>
          </p:cNvSpPr>
          <p:nvPr/>
        </p:nvSpPr>
        <p:spPr bwMode="auto">
          <a:xfrm>
            <a:off x="4792354" y="4471988"/>
            <a:ext cx="600075" cy="620713"/>
          </a:xfrm>
          <a:custGeom>
            <a:avLst/>
            <a:gdLst>
              <a:gd name="T0" fmla="*/ 160 w 160"/>
              <a:gd name="T1" fmla="*/ 40 h 164"/>
              <a:gd name="T2" fmla="*/ 149 w 160"/>
              <a:gd name="T3" fmla="*/ 66 h 164"/>
              <a:gd name="T4" fmla="*/ 113 w 160"/>
              <a:gd name="T5" fmla="*/ 102 h 164"/>
              <a:gd name="T6" fmla="*/ 87 w 160"/>
              <a:gd name="T7" fmla="*/ 113 h 164"/>
              <a:gd name="T8" fmla="*/ 62 w 160"/>
              <a:gd name="T9" fmla="*/ 102 h 164"/>
              <a:gd name="T10" fmla="*/ 62 w 160"/>
              <a:gd name="T11" fmla="*/ 98 h 164"/>
              <a:gd name="T12" fmla="*/ 66 w 160"/>
              <a:gd name="T13" fmla="*/ 98 h 164"/>
              <a:gd name="T14" fmla="*/ 109 w 160"/>
              <a:gd name="T15" fmla="*/ 98 h 164"/>
              <a:gd name="T16" fmla="*/ 145 w 160"/>
              <a:gd name="T17" fmla="*/ 62 h 164"/>
              <a:gd name="T18" fmla="*/ 154 w 160"/>
              <a:gd name="T19" fmla="*/ 40 h 164"/>
              <a:gd name="T20" fmla="*/ 145 w 160"/>
              <a:gd name="T21" fmla="*/ 19 h 164"/>
              <a:gd name="T22" fmla="*/ 124 w 160"/>
              <a:gd name="T23" fmla="*/ 10 h 164"/>
              <a:gd name="T24" fmla="*/ 102 w 160"/>
              <a:gd name="T25" fmla="*/ 19 h 164"/>
              <a:gd name="T26" fmla="*/ 75 w 160"/>
              <a:gd name="T27" fmla="*/ 47 h 164"/>
              <a:gd name="T28" fmla="*/ 70 w 160"/>
              <a:gd name="T29" fmla="*/ 47 h 164"/>
              <a:gd name="T30" fmla="*/ 70 w 160"/>
              <a:gd name="T31" fmla="*/ 42 h 164"/>
              <a:gd name="T32" fmla="*/ 98 w 160"/>
              <a:gd name="T33" fmla="*/ 15 h 164"/>
              <a:gd name="T34" fmla="*/ 149 w 160"/>
              <a:gd name="T35" fmla="*/ 15 h 164"/>
              <a:gd name="T36" fmla="*/ 160 w 160"/>
              <a:gd name="T37" fmla="*/ 40 h 164"/>
              <a:gd name="T38" fmla="*/ 81 w 160"/>
              <a:gd name="T39" fmla="*/ 126 h 164"/>
              <a:gd name="T40" fmla="*/ 58 w 160"/>
              <a:gd name="T41" fmla="*/ 149 h 164"/>
              <a:gd name="T42" fmla="*/ 36 w 160"/>
              <a:gd name="T43" fmla="*/ 158 h 164"/>
              <a:gd name="T44" fmla="*/ 15 w 160"/>
              <a:gd name="T45" fmla="*/ 149 h 164"/>
              <a:gd name="T46" fmla="*/ 15 w 160"/>
              <a:gd name="T47" fmla="*/ 106 h 164"/>
              <a:gd name="T48" fmla="*/ 49 w 160"/>
              <a:gd name="T49" fmla="*/ 72 h 164"/>
              <a:gd name="T50" fmla="*/ 92 w 160"/>
              <a:gd name="T51" fmla="*/ 72 h 164"/>
              <a:gd name="T52" fmla="*/ 96 w 160"/>
              <a:gd name="T53" fmla="*/ 72 h 164"/>
              <a:gd name="T54" fmla="*/ 96 w 160"/>
              <a:gd name="T55" fmla="*/ 68 h 164"/>
              <a:gd name="T56" fmla="*/ 45 w 160"/>
              <a:gd name="T57" fmla="*/ 68 h 164"/>
              <a:gd name="T58" fmla="*/ 11 w 160"/>
              <a:gd name="T59" fmla="*/ 102 h 164"/>
              <a:gd name="T60" fmla="*/ 0 w 160"/>
              <a:gd name="T61" fmla="*/ 128 h 164"/>
              <a:gd name="T62" fmla="*/ 11 w 160"/>
              <a:gd name="T63" fmla="*/ 153 h 164"/>
              <a:gd name="T64" fmla="*/ 36 w 160"/>
              <a:gd name="T65" fmla="*/ 164 h 164"/>
              <a:gd name="T66" fmla="*/ 62 w 160"/>
              <a:gd name="T67" fmla="*/ 153 h 164"/>
              <a:gd name="T68" fmla="*/ 85 w 160"/>
              <a:gd name="T69" fmla="*/ 130 h 164"/>
              <a:gd name="T70" fmla="*/ 85 w 160"/>
              <a:gd name="T71" fmla="*/ 126 h 164"/>
              <a:gd name="T72" fmla="*/ 81 w 160"/>
              <a:gd name="T73" fmla="*/ 12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64">
                <a:moveTo>
                  <a:pt x="160" y="40"/>
                </a:moveTo>
                <a:cubicBezTo>
                  <a:pt x="160" y="50"/>
                  <a:pt x="156" y="59"/>
                  <a:pt x="149" y="66"/>
                </a:cubicBezTo>
                <a:cubicBezTo>
                  <a:pt x="113" y="102"/>
                  <a:pt x="113" y="102"/>
                  <a:pt x="113" y="102"/>
                </a:cubicBezTo>
                <a:cubicBezTo>
                  <a:pt x="106" y="109"/>
                  <a:pt x="97" y="113"/>
                  <a:pt x="87" y="113"/>
                </a:cubicBezTo>
                <a:cubicBezTo>
                  <a:pt x="78" y="113"/>
                  <a:pt x="69" y="109"/>
                  <a:pt x="62" y="102"/>
                </a:cubicBezTo>
                <a:cubicBezTo>
                  <a:pt x="61" y="101"/>
                  <a:pt x="61" y="99"/>
                  <a:pt x="62" y="98"/>
                </a:cubicBezTo>
                <a:cubicBezTo>
                  <a:pt x="63" y="97"/>
                  <a:pt x="65" y="97"/>
                  <a:pt x="66" y="98"/>
                </a:cubicBezTo>
                <a:cubicBezTo>
                  <a:pt x="78" y="110"/>
                  <a:pt x="97" y="110"/>
                  <a:pt x="109" y="98"/>
                </a:cubicBezTo>
                <a:cubicBezTo>
                  <a:pt x="145" y="62"/>
                  <a:pt x="145" y="62"/>
                  <a:pt x="145" y="62"/>
                </a:cubicBezTo>
                <a:cubicBezTo>
                  <a:pt x="151" y="56"/>
                  <a:pt x="154" y="48"/>
                  <a:pt x="154" y="40"/>
                </a:cubicBezTo>
                <a:cubicBezTo>
                  <a:pt x="154" y="32"/>
                  <a:pt x="151" y="25"/>
                  <a:pt x="145" y="19"/>
                </a:cubicBezTo>
                <a:cubicBezTo>
                  <a:pt x="139" y="13"/>
                  <a:pt x="132" y="10"/>
                  <a:pt x="124" y="10"/>
                </a:cubicBezTo>
                <a:cubicBezTo>
                  <a:pt x="116" y="10"/>
                  <a:pt x="108" y="13"/>
                  <a:pt x="102" y="19"/>
                </a:cubicBezTo>
                <a:cubicBezTo>
                  <a:pt x="75" y="47"/>
                  <a:pt x="75" y="47"/>
                  <a:pt x="75" y="47"/>
                </a:cubicBezTo>
                <a:cubicBezTo>
                  <a:pt x="73" y="48"/>
                  <a:pt x="72" y="48"/>
                  <a:pt x="70" y="47"/>
                </a:cubicBezTo>
                <a:cubicBezTo>
                  <a:pt x="69" y="45"/>
                  <a:pt x="69" y="44"/>
                  <a:pt x="70" y="42"/>
                </a:cubicBezTo>
                <a:cubicBezTo>
                  <a:pt x="98" y="15"/>
                  <a:pt x="98" y="15"/>
                  <a:pt x="98" y="15"/>
                </a:cubicBezTo>
                <a:cubicBezTo>
                  <a:pt x="112" y="0"/>
                  <a:pt x="135" y="0"/>
                  <a:pt x="149" y="15"/>
                </a:cubicBezTo>
                <a:cubicBezTo>
                  <a:pt x="156" y="21"/>
                  <a:pt x="160" y="31"/>
                  <a:pt x="160" y="40"/>
                </a:cubicBezTo>
                <a:close/>
                <a:moveTo>
                  <a:pt x="81" y="126"/>
                </a:moveTo>
                <a:cubicBezTo>
                  <a:pt x="58" y="149"/>
                  <a:pt x="58" y="149"/>
                  <a:pt x="58" y="149"/>
                </a:cubicBezTo>
                <a:cubicBezTo>
                  <a:pt x="52" y="155"/>
                  <a:pt x="44" y="158"/>
                  <a:pt x="36" y="158"/>
                </a:cubicBezTo>
                <a:cubicBezTo>
                  <a:pt x="28" y="158"/>
                  <a:pt x="21" y="155"/>
                  <a:pt x="15" y="149"/>
                </a:cubicBezTo>
                <a:cubicBezTo>
                  <a:pt x="3" y="137"/>
                  <a:pt x="3" y="118"/>
                  <a:pt x="15" y="106"/>
                </a:cubicBezTo>
                <a:cubicBezTo>
                  <a:pt x="49" y="72"/>
                  <a:pt x="49" y="72"/>
                  <a:pt x="49" y="72"/>
                </a:cubicBezTo>
                <a:cubicBezTo>
                  <a:pt x="61" y="60"/>
                  <a:pt x="80" y="60"/>
                  <a:pt x="92" y="72"/>
                </a:cubicBezTo>
                <a:cubicBezTo>
                  <a:pt x="93" y="73"/>
                  <a:pt x="95" y="73"/>
                  <a:pt x="96" y="72"/>
                </a:cubicBezTo>
                <a:cubicBezTo>
                  <a:pt x="97" y="71"/>
                  <a:pt x="97" y="69"/>
                  <a:pt x="96" y="68"/>
                </a:cubicBezTo>
                <a:cubicBezTo>
                  <a:pt x="82" y="54"/>
                  <a:pt x="59" y="54"/>
                  <a:pt x="45" y="68"/>
                </a:cubicBezTo>
                <a:cubicBezTo>
                  <a:pt x="11" y="102"/>
                  <a:pt x="11" y="102"/>
                  <a:pt x="11" y="102"/>
                </a:cubicBezTo>
                <a:cubicBezTo>
                  <a:pt x="4" y="109"/>
                  <a:pt x="0" y="118"/>
                  <a:pt x="0" y="128"/>
                </a:cubicBezTo>
                <a:cubicBezTo>
                  <a:pt x="0" y="138"/>
                  <a:pt x="4" y="147"/>
                  <a:pt x="11" y="153"/>
                </a:cubicBezTo>
                <a:cubicBezTo>
                  <a:pt x="17" y="160"/>
                  <a:pt x="26" y="164"/>
                  <a:pt x="36" y="164"/>
                </a:cubicBezTo>
                <a:cubicBezTo>
                  <a:pt x="46" y="164"/>
                  <a:pt x="55" y="160"/>
                  <a:pt x="62" y="153"/>
                </a:cubicBezTo>
                <a:cubicBezTo>
                  <a:pt x="85" y="130"/>
                  <a:pt x="85" y="130"/>
                  <a:pt x="85" y="130"/>
                </a:cubicBezTo>
                <a:cubicBezTo>
                  <a:pt x="87" y="129"/>
                  <a:pt x="87" y="127"/>
                  <a:pt x="85" y="126"/>
                </a:cubicBezTo>
                <a:cubicBezTo>
                  <a:pt x="84" y="124"/>
                  <a:pt x="82" y="124"/>
                  <a:pt x="81" y="12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46" name="Freeform 48">
            <a:extLst>
              <a:ext uri="{FF2B5EF4-FFF2-40B4-BE49-F238E27FC236}">
                <a16:creationId xmlns:a16="http://schemas.microsoft.com/office/drawing/2014/main" id="{BFCDBB43-24C0-1F4C-94B5-E426E00585BF}"/>
              </a:ext>
            </a:extLst>
          </p:cNvPr>
          <p:cNvSpPr>
            <a:spLocks noEditPoints="1"/>
          </p:cNvSpPr>
          <p:nvPr/>
        </p:nvSpPr>
        <p:spPr bwMode="auto">
          <a:xfrm>
            <a:off x="4852679" y="5167313"/>
            <a:ext cx="487363" cy="606425"/>
          </a:xfrm>
          <a:custGeom>
            <a:avLst/>
            <a:gdLst>
              <a:gd name="T0" fmla="*/ 113 w 130"/>
              <a:gd name="T1" fmla="*/ 60 h 160"/>
              <a:gd name="T2" fmla="*/ 113 w 130"/>
              <a:gd name="T3" fmla="*/ 43 h 160"/>
              <a:gd name="T4" fmla="*/ 65 w 130"/>
              <a:gd name="T5" fmla="*/ 0 h 160"/>
              <a:gd name="T6" fmla="*/ 18 w 130"/>
              <a:gd name="T7" fmla="*/ 43 h 160"/>
              <a:gd name="T8" fmla="*/ 21 w 130"/>
              <a:gd name="T9" fmla="*/ 46 h 160"/>
              <a:gd name="T10" fmla="*/ 24 w 130"/>
              <a:gd name="T11" fmla="*/ 43 h 160"/>
              <a:gd name="T12" fmla="*/ 65 w 130"/>
              <a:gd name="T13" fmla="*/ 6 h 160"/>
              <a:gd name="T14" fmla="*/ 107 w 130"/>
              <a:gd name="T15" fmla="*/ 43 h 160"/>
              <a:gd name="T16" fmla="*/ 107 w 130"/>
              <a:gd name="T17" fmla="*/ 59 h 160"/>
              <a:gd name="T18" fmla="*/ 21 w 130"/>
              <a:gd name="T19" fmla="*/ 59 h 160"/>
              <a:gd name="T20" fmla="*/ 0 w 130"/>
              <a:gd name="T21" fmla="*/ 81 h 160"/>
              <a:gd name="T22" fmla="*/ 0 w 130"/>
              <a:gd name="T23" fmla="*/ 139 h 160"/>
              <a:gd name="T24" fmla="*/ 21 w 130"/>
              <a:gd name="T25" fmla="*/ 160 h 160"/>
              <a:gd name="T26" fmla="*/ 109 w 130"/>
              <a:gd name="T27" fmla="*/ 160 h 160"/>
              <a:gd name="T28" fmla="*/ 130 w 130"/>
              <a:gd name="T29" fmla="*/ 139 h 160"/>
              <a:gd name="T30" fmla="*/ 130 w 130"/>
              <a:gd name="T31" fmla="*/ 81 h 160"/>
              <a:gd name="T32" fmla="*/ 113 w 130"/>
              <a:gd name="T33" fmla="*/ 60 h 160"/>
              <a:gd name="T34" fmla="*/ 124 w 130"/>
              <a:gd name="T35" fmla="*/ 139 h 160"/>
              <a:gd name="T36" fmla="*/ 109 w 130"/>
              <a:gd name="T37" fmla="*/ 154 h 160"/>
              <a:gd name="T38" fmla="*/ 21 w 130"/>
              <a:gd name="T39" fmla="*/ 154 h 160"/>
              <a:gd name="T40" fmla="*/ 6 w 130"/>
              <a:gd name="T41" fmla="*/ 139 h 160"/>
              <a:gd name="T42" fmla="*/ 6 w 130"/>
              <a:gd name="T43" fmla="*/ 81 h 160"/>
              <a:gd name="T44" fmla="*/ 21 w 130"/>
              <a:gd name="T45" fmla="*/ 65 h 160"/>
              <a:gd name="T46" fmla="*/ 109 w 130"/>
              <a:gd name="T47" fmla="*/ 65 h 160"/>
              <a:gd name="T48" fmla="*/ 124 w 130"/>
              <a:gd name="T49" fmla="*/ 81 h 160"/>
              <a:gd name="T50" fmla="*/ 124 w 130"/>
              <a:gd name="T51" fmla="*/ 139 h 160"/>
              <a:gd name="T52" fmla="*/ 65 w 130"/>
              <a:gd name="T53" fmla="*/ 83 h 160"/>
              <a:gd name="T54" fmla="*/ 53 w 130"/>
              <a:gd name="T55" fmla="*/ 95 h 160"/>
              <a:gd name="T56" fmla="*/ 53 w 130"/>
              <a:gd name="T57" fmla="*/ 113 h 160"/>
              <a:gd name="T58" fmla="*/ 65 w 130"/>
              <a:gd name="T59" fmla="*/ 124 h 160"/>
              <a:gd name="T60" fmla="*/ 77 w 130"/>
              <a:gd name="T61" fmla="*/ 113 h 160"/>
              <a:gd name="T62" fmla="*/ 77 w 130"/>
              <a:gd name="T63" fmla="*/ 95 h 160"/>
              <a:gd name="T64" fmla="*/ 65 w 130"/>
              <a:gd name="T65" fmla="*/ 83 h 160"/>
              <a:gd name="T66" fmla="*/ 71 w 130"/>
              <a:gd name="T67" fmla="*/ 113 h 160"/>
              <a:gd name="T68" fmla="*/ 65 w 130"/>
              <a:gd name="T69" fmla="*/ 119 h 160"/>
              <a:gd name="T70" fmla="*/ 59 w 130"/>
              <a:gd name="T71" fmla="*/ 113 h 160"/>
              <a:gd name="T72" fmla="*/ 59 w 130"/>
              <a:gd name="T73" fmla="*/ 95 h 160"/>
              <a:gd name="T74" fmla="*/ 65 w 130"/>
              <a:gd name="T75" fmla="*/ 89 h 160"/>
              <a:gd name="T76" fmla="*/ 71 w 130"/>
              <a:gd name="T77" fmla="*/ 95 h 160"/>
              <a:gd name="T78" fmla="*/ 71 w 130"/>
              <a:gd name="T79" fmla="*/ 11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0" h="160">
                <a:moveTo>
                  <a:pt x="113" y="60"/>
                </a:moveTo>
                <a:cubicBezTo>
                  <a:pt x="113" y="43"/>
                  <a:pt x="113" y="43"/>
                  <a:pt x="113" y="43"/>
                </a:cubicBezTo>
                <a:cubicBezTo>
                  <a:pt x="113" y="19"/>
                  <a:pt x="91" y="0"/>
                  <a:pt x="65" y="0"/>
                </a:cubicBezTo>
                <a:cubicBezTo>
                  <a:pt x="39" y="0"/>
                  <a:pt x="18" y="19"/>
                  <a:pt x="18" y="43"/>
                </a:cubicBezTo>
                <a:cubicBezTo>
                  <a:pt x="18" y="45"/>
                  <a:pt x="19" y="46"/>
                  <a:pt x="21" y="46"/>
                </a:cubicBezTo>
                <a:cubicBezTo>
                  <a:pt x="22" y="46"/>
                  <a:pt x="24" y="45"/>
                  <a:pt x="24" y="43"/>
                </a:cubicBezTo>
                <a:cubicBezTo>
                  <a:pt x="24" y="23"/>
                  <a:pt x="42" y="6"/>
                  <a:pt x="65" y="6"/>
                </a:cubicBezTo>
                <a:cubicBezTo>
                  <a:pt x="88" y="6"/>
                  <a:pt x="107" y="23"/>
                  <a:pt x="107" y="43"/>
                </a:cubicBezTo>
                <a:cubicBezTo>
                  <a:pt x="107" y="59"/>
                  <a:pt x="107" y="59"/>
                  <a:pt x="107" y="59"/>
                </a:cubicBezTo>
                <a:cubicBezTo>
                  <a:pt x="21" y="59"/>
                  <a:pt x="21" y="59"/>
                  <a:pt x="21" y="59"/>
                </a:cubicBezTo>
                <a:cubicBezTo>
                  <a:pt x="10" y="59"/>
                  <a:pt x="0" y="69"/>
                  <a:pt x="0" y="81"/>
                </a:cubicBezTo>
                <a:cubicBezTo>
                  <a:pt x="0" y="139"/>
                  <a:pt x="0" y="139"/>
                  <a:pt x="0" y="139"/>
                </a:cubicBezTo>
                <a:cubicBezTo>
                  <a:pt x="0" y="150"/>
                  <a:pt x="10" y="160"/>
                  <a:pt x="21" y="160"/>
                </a:cubicBezTo>
                <a:cubicBezTo>
                  <a:pt x="109" y="160"/>
                  <a:pt x="109" y="160"/>
                  <a:pt x="109" y="160"/>
                </a:cubicBezTo>
                <a:cubicBezTo>
                  <a:pt x="121" y="160"/>
                  <a:pt x="130" y="150"/>
                  <a:pt x="130" y="139"/>
                </a:cubicBezTo>
                <a:cubicBezTo>
                  <a:pt x="130" y="81"/>
                  <a:pt x="130" y="81"/>
                  <a:pt x="130" y="81"/>
                </a:cubicBezTo>
                <a:cubicBezTo>
                  <a:pt x="130" y="70"/>
                  <a:pt x="123" y="61"/>
                  <a:pt x="113" y="60"/>
                </a:cubicBezTo>
                <a:close/>
                <a:moveTo>
                  <a:pt x="124" y="139"/>
                </a:moveTo>
                <a:cubicBezTo>
                  <a:pt x="124" y="147"/>
                  <a:pt x="117" y="154"/>
                  <a:pt x="109" y="154"/>
                </a:cubicBezTo>
                <a:cubicBezTo>
                  <a:pt x="21" y="154"/>
                  <a:pt x="21" y="154"/>
                  <a:pt x="21" y="154"/>
                </a:cubicBezTo>
                <a:cubicBezTo>
                  <a:pt x="13" y="154"/>
                  <a:pt x="6" y="147"/>
                  <a:pt x="6" y="139"/>
                </a:cubicBezTo>
                <a:cubicBezTo>
                  <a:pt x="6" y="81"/>
                  <a:pt x="6" y="81"/>
                  <a:pt x="6" y="81"/>
                </a:cubicBezTo>
                <a:cubicBezTo>
                  <a:pt x="6" y="72"/>
                  <a:pt x="13" y="65"/>
                  <a:pt x="21" y="65"/>
                </a:cubicBezTo>
                <a:cubicBezTo>
                  <a:pt x="109" y="65"/>
                  <a:pt x="109" y="65"/>
                  <a:pt x="109" y="65"/>
                </a:cubicBezTo>
                <a:cubicBezTo>
                  <a:pt x="117" y="65"/>
                  <a:pt x="124" y="72"/>
                  <a:pt x="124" y="81"/>
                </a:cubicBezTo>
                <a:lnTo>
                  <a:pt x="124" y="139"/>
                </a:lnTo>
                <a:close/>
                <a:moveTo>
                  <a:pt x="65" y="83"/>
                </a:moveTo>
                <a:cubicBezTo>
                  <a:pt x="59" y="83"/>
                  <a:pt x="53" y="88"/>
                  <a:pt x="53" y="95"/>
                </a:cubicBezTo>
                <a:cubicBezTo>
                  <a:pt x="53" y="113"/>
                  <a:pt x="53" y="113"/>
                  <a:pt x="53" y="113"/>
                </a:cubicBezTo>
                <a:cubicBezTo>
                  <a:pt x="53" y="119"/>
                  <a:pt x="59" y="124"/>
                  <a:pt x="65" y="124"/>
                </a:cubicBezTo>
                <a:cubicBezTo>
                  <a:pt x="72" y="124"/>
                  <a:pt x="77" y="119"/>
                  <a:pt x="77" y="113"/>
                </a:cubicBezTo>
                <a:cubicBezTo>
                  <a:pt x="77" y="95"/>
                  <a:pt x="77" y="95"/>
                  <a:pt x="77" y="95"/>
                </a:cubicBezTo>
                <a:cubicBezTo>
                  <a:pt x="77" y="88"/>
                  <a:pt x="72" y="83"/>
                  <a:pt x="65" y="83"/>
                </a:cubicBezTo>
                <a:close/>
                <a:moveTo>
                  <a:pt x="71" y="113"/>
                </a:moveTo>
                <a:cubicBezTo>
                  <a:pt x="71" y="116"/>
                  <a:pt x="68" y="119"/>
                  <a:pt x="65" y="119"/>
                </a:cubicBezTo>
                <a:cubicBezTo>
                  <a:pt x="62" y="119"/>
                  <a:pt x="59" y="116"/>
                  <a:pt x="59" y="113"/>
                </a:cubicBezTo>
                <a:cubicBezTo>
                  <a:pt x="59" y="95"/>
                  <a:pt x="59" y="95"/>
                  <a:pt x="59" y="95"/>
                </a:cubicBezTo>
                <a:cubicBezTo>
                  <a:pt x="59" y="92"/>
                  <a:pt x="62" y="89"/>
                  <a:pt x="65" y="89"/>
                </a:cubicBezTo>
                <a:cubicBezTo>
                  <a:pt x="68" y="89"/>
                  <a:pt x="71" y="92"/>
                  <a:pt x="71" y="95"/>
                </a:cubicBezTo>
                <a:lnTo>
                  <a:pt x="71" y="11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49">
            <a:extLst>
              <a:ext uri="{FF2B5EF4-FFF2-40B4-BE49-F238E27FC236}">
                <a16:creationId xmlns:a16="http://schemas.microsoft.com/office/drawing/2014/main" id="{584CAF40-4985-2644-B507-3D8DCF672896}"/>
              </a:ext>
            </a:extLst>
          </p:cNvPr>
          <p:cNvSpPr>
            <a:spLocks noEditPoints="1"/>
          </p:cNvSpPr>
          <p:nvPr/>
        </p:nvSpPr>
        <p:spPr bwMode="auto">
          <a:xfrm>
            <a:off x="4882841" y="5849938"/>
            <a:ext cx="412750" cy="604838"/>
          </a:xfrm>
          <a:custGeom>
            <a:avLst/>
            <a:gdLst>
              <a:gd name="T0" fmla="*/ 55 w 110"/>
              <a:gd name="T1" fmla="*/ 83 h 160"/>
              <a:gd name="T2" fmla="*/ 44 w 110"/>
              <a:gd name="T3" fmla="*/ 94 h 160"/>
              <a:gd name="T4" fmla="*/ 44 w 110"/>
              <a:gd name="T5" fmla="*/ 110 h 160"/>
              <a:gd name="T6" fmla="*/ 55 w 110"/>
              <a:gd name="T7" fmla="*/ 121 h 160"/>
              <a:gd name="T8" fmla="*/ 66 w 110"/>
              <a:gd name="T9" fmla="*/ 110 h 160"/>
              <a:gd name="T10" fmla="*/ 66 w 110"/>
              <a:gd name="T11" fmla="*/ 94 h 160"/>
              <a:gd name="T12" fmla="*/ 55 w 110"/>
              <a:gd name="T13" fmla="*/ 83 h 160"/>
              <a:gd name="T14" fmla="*/ 61 w 110"/>
              <a:gd name="T15" fmla="*/ 110 h 160"/>
              <a:gd name="T16" fmla="*/ 55 w 110"/>
              <a:gd name="T17" fmla="*/ 116 h 160"/>
              <a:gd name="T18" fmla="*/ 50 w 110"/>
              <a:gd name="T19" fmla="*/ 110 h 160"/>
              <a:gd name="T20" fmla="*/ 50 w 110"/>
              <a:gd name="T21" fmla="*/ 94 h 160"/>
              <a:gd name="T22" fmla="*/ 55 w 110"/>
              <a:gd name="T23" fmla="*/ 88 h 160"/>
              <a:gd name="T24" fmla="*/ 61 w 110"/>
              <a:gd name="T25" fmla="*/ 94 h 160"/>
              <a:gd name="T26" fmla="*/ 61 w 110"/>
              <a:gd name="T27" fmla="*/ 110 h 160"/>
              <a:gd name="T28" fmla="*/ 86 w 110"/>
              <a:gd name="T29" fmla="*/ 59 h 160"/>
              <a:gd name="T30" fmla="*/ 86 w 110"/>
              <a:gd name="T31" fmla="*/ 28 h 160"/>
              <a:gd name="T32" fmla="*/ 55 w 110"/>
              <a:gd name="T33" fmla="*/ 0 h 160"/>
              <a:gd name="T34" fmla="*/ 25 w 110"/>
              <a:gd name="T35" fmla="*/ 28 h 160"/>
              <a:gd name="T36" fmla="*/ 28 w 110"/>
              <a:gd name="T37" fmla="*/ 31 h 160"/>
              <a:gd name="T38" fmla="*/ 30 w 110"/>
              <a:gd name="T39" fmla="*/ 28 h 160"/>
              <a:gd name="T40" fmla="*/ 55 w 110"/>
              <a:gd name="T41" fmla="*/ 6 h 160"/>
              <a:gd name="T42" fmla="*/ 80 w 110"/>
              <a:gd name="T43" fmla="*/ 28 h 160"/>
              <a:gd name="T44" fmla="*/ 80 w 110"/>
              <a:gd name="T45" fmla="*/ 56 h 160"/>
              <a:gd name="T46" fmla="*/ 78 w 110"/>
              <a:gd name="T47" fmla="*/ 55 h 160"/>
              <a:gd name="T48" fmla="*/ 75 w 110"/>
              <a:gd name="T49" fmla="*/ 53 h 160"/>
              <a:gd name="T50" fmla="*/ 73 w 110"/>
              <a:gd name="T51" fmla="*/ 53 h 160"/>
              <a:gd name="T52" fmla="*/ 71 w 110"/>
              <a:gd name="T53" fmla="*/ 52 h 160"/>
              <a:gd name="T54" fmla="*/ 67 w 110"/>
              <a:gd name="T55" fmla="*/ 51 h 160"/>
              <a:gd name="T56" fmla="*/ 66 w 110"/>
              <a:gd name="T57" fmla="*/ 51 h 160"/>
              <a:gd name="T58" fmla="*/ 61 w 110"/>
              <a:gd name="T59" fmla="*/ 50 h 160"/>
              <a:gd name="T60" fmla="*/ 60 w 110"/>
              <a:gd name="T61" fmla="*/ 50 h 160"/>
              <a:gd name="T62" fmla="*/ 55 w 110"/>
              <a:gd name="T63" fmla="*/ 50 h 160"/>
              <a:gd name="T64" fmla="*/ 0 w 110"/>
              <a:gd name="T65" fmla="*/ 105 h 160"/>
              <a:gd name="T66" fmla="*/ 55 w 110"/>
              <a:gd name="T67" fmla="*/ 160 h 160"/>
              <a:gd name="T68" fmla="*/ 110 w 110"/>
              <a:gd name="T69" fmla="*/ 105 h 160"/>
              <a:gd name="T70" fmla="*/ 86 w 110"/>
              <a:gd name="T71" fmla="*/ 59 h 160"/>
              <a:gd name="T72" fmla="*/ 55 w 110"/>
              <a:gd name="T73" fmla="*/ 154 h 160"/>
              <a:gd name="T74" fmla="*/ 6 w 110"/>
              <a:gd name="T75" fmla="*/ 105 h 160"/>
              <a:gd name="T76" fmla="*/ 55 w 110"/>
              <a:gd name="T77" fmla="*/ 55 h 160"/>
              <a:gd name="T78" fmla="*/ 60 w 110"/>
              <a:gd name="T79" fmla="*/ 55 h 160"/>
              <a:gd name="T80" fmla="*/ 61 w 110"/>
              <a:gd name="T81" fmla="*/ 56 h 160"/>
              <a:gd name="T82" fmla="*/ 64 w 110"/>
              <a:gd name="T83" fmla="*/ 56 h 160"/>
              <a:gd name="T84" fmla="*/ 66 w 110"/>
              <a:gd name="T85" fmla="*/ 56 h 160"/>
              <a:gd name="T86" fmla="*/ 69 w 110"/>
              <a:gd name="T87" fmla="*/ 57 h 160"/>
              <a:gd name="T88" fmla="*/ 71 w 110"/>
              <a:gd name="T89" fmla="*/ 58 h 160"/>
              <a:gd name="T90" fmla="*/ 73 w 110"/>
              <a:gd name="T91" fmla="*/ 58 h 160"/>
              <a:gd name="T92" fmla="*/ 81 w 110"/>
              <a:gd name="T93" fmla="*/ 62 h 160"/>
              <a:gd name="T94" fmla="*/ 105 w 110"/>
              <a:gd name="T95" fmla="*/ 105 h 160"/>
              <a:gd name="T96" fmla="*/ 55 w 110"/>
              <a:gd name="T97" fmla="*/ 1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60">
                <a:moveTo>
                  <a:pt x="55" y="83"/>
                </a:moveTo>
                <a:cubicBezTo>
                  <a:pt x="49" y="83"/>
                  <a:pt x="44" y="88"/>
                  <a:pt x="44" y="94"/>
                </a:cubicBezTo>
                <a:cubicBezTo>
                  <a:pt x="44" y="110"/>
                  <a:pt x="44" y="110"/>
                  <a:pt x="44" y="110"/>
                </a:cubicBezTo>
                <a:cubicBezTo>
                  <a:pt x="44" y="116"/>
                  <a:pt x="49" y="121"/>
                  <a:pt x="55" y="121"/>
                </a:cubicBezTo>
                <a:cubicBezTo>
                  <a:pt x="61" y="121"/>
                  <a:pt x="66" y="116"/>
                  <a:pt x="66" y="110"/>
                </a:cubicBezTo>
                <a:cubicBezTo>
                  <a:pt x="66" y="94"/>
                  <a:pt x="66" y="94"/>
                  <a:pt x="66" y="94"/>
                </a:cubicBezTo>
                <a:cubicBezTo>
                  <a:pt x="66" y="88"/>
                  <a:pt x="61" y="83"/>
                  <a:pt x="55" y="83"/>
                </a:cubicBezTo>
                <a:close/>
                <a:moveTo>
                  <a:pt x="61" y="110"/>
                </a:moveTo>
                <a:cubicBezTo>
                  <a:pt x="61" y="113"/>
                  <a:pt x="58" y="116"/>
                  <a:pt x="55" y="116"/>
                </a:cubicBezTo>
                <a:cubicBezTo>
                  <a:pt x="52" y="116"/>
                  <a:pt x="50" y="113"/>
                  <a:pt x="50" y="110"/>
                </a:cubicBezTo>
                <a:cubicBezTo>
                  <a:pt x="50" y="94"/>
                  <a:pt x="50" y="94"/>
                  <a:pt x="50" y="94"/>
                </a:cubicBezTo>
                <a:cubicBezTo>
                  <a:pt x="50" y="91"/>
                  <a:pt x="52" y="88"/>
                  <a:pt x="55" y="88"/>
                </a:cubicBezTo>
                <a:cubicBezTo>
                  <a:pt x="58" y="88"/>
                  <a:pt x="61" y="91"/>
                  <a:pt x="61" y="94"/>
                </a:cubicBezTo>
                <a:lnTo>
                  <a:pt x="61" y="110"/>
                </a:lnTo>
                <a:close/>
                <a:moveTo>
                  <a:pt x="86" y="59"/>
                </a:moveTo>
                <a:cubicBezTo>
                  <a:pt x="86" y="28"/>
                  <a:pt x="86" y="28"/>
                  <a:pt x="86" y="28"/>
                </a:cubicBezTo>
                <a:cubicBezTo>
                  <a:pt x="86" y="13"/>
                  <a:pt x="72" y="0"/>
                  <a:pt x="55" y="0"/>
                </a:cubicBezTo>
                <a:cubicBezTo>
                  <a:pt x="38" y="0"/>
                  <a:pt x="25" y="13"/>
                  <a:pt x="25" y="28"/>
                </a:cubicBezTo>
                <a:cubicBezTo>
                  <a:pt x="25" y="30"/>
                  <a:pt x="26" y="31"/>
                  <a:pt x="28" y="31"/>
                </a:cubicBezTo>
                <a:cubicBezTo>
                  <a:pt x="29" y="31"/>
                  <a:pt x="30" y="30"/>
                  <a:pt x="30" y="28"/>
                </a:cubicBezTo>
                <a:cubicBezTo>
                  <a:pt x="30" y="16"/>
                  <a:pt x="41" y="6"/>
                  <a:pt x="55" y="6"/>
                </a:cubicBezTo>
                <a:cubicBezTo>
                  <a:pt x="69" y="6"/>
                  <a:pt x="80" y="16"/>
                  <a:pt x="80" y="28"/>
                </a:cubicBezTo>
                <a:cubicBezTo>
                  <a:pt x="80" y="56"/>
                  <a:pt x="80" y="56"/>
                  <a:pt x="80" y="56"/>
                </a:cubicBezTo>
                <a:cubicBezTo>
                  <a:pt x="79" y="55"/>
                  <a:pt x="79" y="55"/>
                  <a:pt x="78" y="55"/>
                </a:cubicBezTo>
                <a:cubicBezTo>
                  <a:pt x="77" y="54"/>
                  <a:pt x="76" y="54"/>
                  <a:pt x="75" y="53"/>
                </a:cubicBezTo>
                <a:cubicBezTo>
                  <a:pt x="74" y="53"/>
                  <a:pt x="74" y="53"/>
                  <a:pt x="73" y="53"/>
                </a:cubicBezTo>
                <a:cubicBezTo>
                  <a:pt x="72" y="52"/>
                  <a:pt x="72" y="52"/>
                  <a:pt x="71" y="52"/>
                </a:cubicBezTo>
                <a:cubicBezTo>
                  <a:pt x="70" y="52"/>
                  <a:pt x="68" y="51"/>
                  <a:pt x="67" y="51"/>
                </a:cubicBezTo>
                <a:cubicBezTo>
                  <a:pt x="67" y="51"/>
                  <a:pt x="66" y="51"/>
                  <a:pt x="66" y="51"/>
                </a:cubicBezTo>
                <a:cubicBezTo>
                  <a:pt x="64" y="50"/>
                  <a:pt x="63" y="50"/>
                  <a:pt x="61" y="50"/>
                </a:cubicBezTo>
                <a:cubicBezTo>
                  <a:pt x="61" y="50"/>
                  <a:pt x="61" y="50"/>
                  <a:pt x="60" y="50"/>
                </a:cubicBezTo>
                <a:cubicBezTo>
                  <a:pt x="59" y="50"/>
                  <a:pt x="57" y="50"/>
                  <a:pt x="55" y="50"/>
                </a:cubicBezTo>
                <a:cubicBezTo>
                  <a:pt x="25" y="50"/>
                  <a:pt x="0" y="74"/>
                  <a:pt x="0" y="105"/>
                </a:cubicBezTo>
                <a:cubicBezTo>
                  <a:pt x="0" y="135"/>
                  <a:pt x="25" y="160"/>
                  <a:pt x="55" y="160"/>
                </a:cubicBezTo>
                <a:cubicBezTo>
                  <a:pt x="86" y="160"/>
                  <a:pt x="110" y="135"/>
                  <a:pt x="110" y="105"/>
                </a:cubicBezTo>
                <a:cubicBezTo>
                  <a:pt x="110" y="86"/>
                  <a:pt x="100" y="69"/>
                  <a:pt x="86" y="59"/>
                </a:cubicBezTo>
                <a:close/>
                <a:moveTo>
                  <a:pt x="55" y="154"/>
                </a:moveTo>
                <a:cubicBezTo>
                  <a:pt x="28" y="154"/>
                  <a:pt x="6" y="132"/>
                  <a:pt x="6" y="105"/>
                </a:cubicBezTo>
                <a:cubicBezTo>
                  <a:pt x="6" y="77"/>
                  <a:pt x="28" y="55"/>
                  <a:pt x="55" y="55"/>
                </a:cubicBezTo>
                <a:cubicBezTo>
                  <a:pt x="57" y="55"/>
                  <a:pt x="58" y="55"/>
                  <a:pt x="60" y="55"/>
                </a:cubicBezTo>
                <a:cubicBezTo>
                  <a:pt x="60" y="55"/>
                  <a:pt x="61" y="55"/>
                  <a:pt x="61" y="56"/>
                </a:cubicBezTo>
                <a:cubicBezTo>
                  <a:pt x="62" y="56"/>
                  <a:pt x="63" y="56"/>
                  <a:pt x="64" y="56"/>
                </a:cubicBezTo>
                <a:cubicBezTo>
                  <a:pt x="65" y="56"/>
                  <a:pt x="65" y="56"/>
                  <a:pt x="66" y="56"/>
                </a:cubicBezTo>
                <a:cubicBezTo>
                  <a:pt x="67" y="57"/>
                  <a:pt x="68" y="57"/>
                  <a:pt x="69" y="57"/>
                </a:cubicBezTo>
                <a:cubicBezTo>
                  <a:pt x="70" y="57"/>
                  <a:pt x="71" y="58"/>
                  <a:pt x="71" y="58"/>
                </a:cubicBezTo>
                <a:cubicBezTo>
                  <a:pt x="72" y="58"/>
                  <a:pt x="72" y="58"/>
                  <a:pt x="73" y="58"/>
                </a:cubicBezTo>
                <a:cubicBezTo>
                  <a:pt x="76" y="60"/>
                  <a:pt x="78" y="61"/>
                  <a:pt x="81" y="62"/>
                </a:cubicBezTo>
                <a:cubicBezTo>
                  <a:pt x="95" y="71"/>
                  <a:pt x="105" y="87"/>
                  <a:pt x="105" y="105"/>
                </a:cubicBezTo>
                <a:cubicBezTo>
                  <a:pt x="105" y="132"/>
                  <a:pt x="83" y="154"/>
                  <a:pt x="55" y="15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Freeform 50">
            <a:extLst>
              <a:ext uri="{FF2B5EF4-FFF2-40B4-BE49-F238E27FC236}">
                <a16:creationId xmlns:a16="http://schemas.microsoft.com/office/drawing/2014/main" id="{871A7401-D972-5140-8DC1-104D179419FB}"/>
              </a:ext>
            </a:extLst>
          </p:cNvPr>
          <p:cNvSpPr>
            <a:spLocks noEditPoints="1"/>
          </p:cNvSpPr>
          <p:nvPr/>
        </p:nvSpPr>
        <p:spPr bwMode="auto">
          <a:xfrm>
            <a:off x="5933766" y="400050"/>
            <a:ext cx="412750" cy="604838"/>
          </a:xfrm>
          <a:custGeom>
            <a:avLst/>
            <a:gdLst>
              <a:gd name="T0" fmla="*/ 86 w 110"/>
              <a:gd name="T1" fmla="*/ 28 h 160"/>
              <a:gd name="T2" fmla="*/ 25 w 110"/>
              <a:gd name="T3" fmla="*/ 28 h 160"/>
              <a:gd name="T4" fmla="*/ 30 w 110"/>
              <a:gd name="T5" fmla="*/ 28 h 160"/>
              <a:gd name="T6" fmla="*/ 80 w 110"/>
              <a:gd name="T7" fmla="*/ 28 h 160"/>
              <a:gd name="T8" fmla="*/ 78 w 110"/>
              <a:gd name="T9" fmla="*/ 55 h 160"/>
              <a:gd name="T10" fmla="*/ 73 w 110"/>
              <a:gd name="T11" fmla="*/ 53 h 160"/>
              <a:gd name="T12" fmla="*/ 67 w 110"/>
              <a:gd name="T13" fmla="*/ 51 h 160"/>
              <a:gd name="T14" fmla="*/ 61 w 110"/>
              <a:gd name="T15" fmla="*/ 50 h 160"/>
              <a:gd name="T16" fmla="*/ 55 w 110"/>
              <a:gd name="T17" fmla="*/ 50 h 160"/>
              <a:gd name="T18" fmla="*/ 55 w 110"/>
              <a:gd name="T19" fmla="*/ 160 h 160"/>
              <a:gd name="T20" fmla="*/ 86 w 110"/>
              <a:gd name="T21" fmla="*/ 59 h 160"/>
              <a:gd name="T22" fmla="*/ 6 w 110"/>
              <a:gd name="T23" fmla="*/ 105 h 160"/>
              <a:gd name="T24" fmla="*/ 60 w 110"/>
              <a:gd name="T25" fmla="*/ 55 h 160"/>
              <a:gd name="T26" fmla="*/ 64 w 110"/>
              <a:gd name="T27" fmla="*/ 56 h 160"/>
              <a:gd name="T28" fmla="*/ 69 w 110"/>
              <a:gd name="T29" fmla="*/ 57 h 160"/>
              <a:gd name="T30" fmla="*/ 73 w 110"/>
              <a:gd name="T31" fmla="*/ 58 h 160"/>
              <a:gd name="T32" fmla="*/ 105 w 110"/>
              <a:gd name="T33" fmla="*/ 105 h 160"/>
              <a:gd name="T34" fmla="*/ 88 w 110"/>
              <a:gd name="T35" fmla="*/ 102 h 160"/>
              <a:gd name="T36" fmla="*/ 75 w 110"/>
              <a:gd name="T37" fmla="*/ 89 h 160"/>
              <a:gd name="T38" fmla="*/ 81 w 110"/>
              <a:gd name="T39" fmla="*/ 79 h 160"/>
              <a:gd name="T40" fmla="*/ 71 w 110"/>
              <a:gd name="T41" fmla="*/ 85 h 160"/>
              <a:gd name="T42" fmla="*/ 58 w 110"/>
              <a:gd name="T43" fmla="*/ 72 h 160"/>
              <a:gd name="T44" fmla="*/ 52 w 110"/>
              <a:gd name="T45" fmla="*/ 72 h 160"/>
              <a:gd name="T46" fmla="*/ 40 w 110"/>
              <a:gd name="T47" fmla="*/ 85 h 160"/>
              <a:gd name="T48" fmla="*/ 30 w 110"/>
              <a:gd name="T49" fmla="*/ 79 h 160"/>
              <a:gd name="T50" fmla="*/ 36 w 110"/>
              <a:gd name="T51" fmla="*/ 89 h 160"/>
              <a:gd name="T52" fmla="*/ 22 w 110"/>
              <a:gd name="T53" fmla="*/ 102 h 160"/>
              <a:gd name="T54" fmla="*/ 22 w 110"/>
              <a:gd name="T55" fmla="*/ 108 h 160"/>
              <a:gd name="T56" fmla="*/ 36 w 110"/>
              <a:gd name="T57" fmla="*/ 120 h 160"/>
              <a:gd name="T58" fmla="*/ 30 w 110"/>
              <a:gd name="T59" fmla="*/ 130 h 160"/>
              <a:gd name="T60" fmla="*/ 34 w 110"/>
              <a:gd name="T61" fmla="*/ 130 h 160"/>
              <a:gd name="T62" fmla="*/ 52 w 110"/>
              <a:gd name="T63" fmla="*/ 129 h 160"/>
              <a:gd name="T64" fmla="*/ 55 w 110"/>
              <a:gd name="T65" fmla="*/ 141 h 160"/>
              <a:gd name="T66" fmla="*/ 58 w 110"/>
              <a:gd name="T67" fmla="*/ 129 h 160"/>
              <a:gd name="T68" fmla="*/ 77 w 110"/>
              <a:gd name="T69" fmla="*/ 130 h 160"/>
              <a:gd name="T70" fmla="*/ 81 w 110"/>
              <a:gd name="T71" fmla="*/ 130 h 160"/>
              <a:gd name="T72" fmla="*/ 75 w 110"/>
              <a:gd name="T73" fmla="*/ 120 h 160"/>
              <a:gd name="T74" fmla="*/ 88 w 110"/>
              <a:gd name="T75" fmla="*/ 108 h 160"/>
              <a:gd name="T76" fmla="*/ 88 w 110"/>
              <a:gd name="T77" fmla="*/ 102 h 160"/>
              <a:gd name="T78" fmla="*/ 36 w 110"/>
              <a:gd name="T79" fmla="*/ 105 h 160"/>
              <a:gd name="T80" fmla="*/ 74 w 110"/>
              <a:gd name="T81" fmla="*/ 10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160">
                <a:moveTo>
                  <a:pt x="86" y="59"/>
                </a:moveTo>
                <a:cubicBezTo>
                  <a:pt x="86" y="28"/>
                  <a:pt x="86" y="28"/>
                  <a:pt x="86" y="28"/>
                </a:cubicBezTo>
                <a:cubicBezTo>
                  <a:pt x="86" y="13"/>
                  <a:pt x="72" y="0"/>
                  <a:pt x="55" y="0"/>
                </a:cubicBezTo>
                <a:cubicBezTo>
                  <a:pt x="38" y="0"/>
                  <a:pt x="25" y="13"/>
                  <a:pt x="25" y="28"/>
                </a:cubicBezTo>
                <a:cubicBezTo>
                  <a:pt x="25" y="30"/>
                  <a:pt x="26" y="31"/>
                  <a:pt x="28" y="31"/>
                </a:cubicBezTo>
                <a:cubicBezTo>
                  <a:pt x="29" y="31"/>
                  <a:pt x="30" y="30"/>
                  <a:pt x="30" y="28"/>
                </a:cubicBezTo>
                <a:cubicBezTo>
                  <a:pt x="30" y="16"/>
                  <a:pt x="41" y="6"/>
                  <a:pt x="55" y="6"/>
                </a:cubicBezTo>
                <a:cubicBezTo>
                  <a:pt x="69" y="6"/>
                  <a:pt x="80" y="16"/>
                  <a:pt x="80" y="28"/>
                </a:cubicBezTo>
                <a:cubicBezTo>
                  <a:pt x="80" y="56"/>
                  <a:pt x="80" y="56"/>
                  <a:pt x="80" y="56"/>
                </a:cubicBezTo>
                <a:cubicBezTo>
                  <a:pt x="79" y="55"/>
                  <a:pt x="79" y="55"/>
                  <a:pt x="78" y="55"/>
                </a:cubicBezTo>
                <a:cubicBezTo>
                  <a:pt x="77" y="54"/>
                  <a:pt x="76" y="54"/>
                  <a:pt x="75" y="53"/>
                </a:cubicBezTo>
                <a:cubicBezTo>
                  <a:pt x="74" y="53"/>
                  <a:pt x="74" y="53"/>
                  <a:pt x="73" y="53"/>
                </a:cubicBezTo>
                <a:cubicBezTo>
                  <a:pt x="72" y="52"/>
                  <a:pt x="72" y="52"/>
                  <a:pt x="71" y="52"/>
                </a:cubicBezTo>
                <a:cubicBezTo>
                  <a:pt x="70" y="52"/>
                  <a:pt x="68" y="51"/>
                  <a:pt x="67" y="51"/>
                </a:cubicBezTo>
                <a:cubicBezTo>
                  <a:pt x="67" y="51"/>
                  <a:pt x="66" y="51"/>
                  <a:pt x="66" y="51"/>
                </a:cubicBezTo>
                <a:cubicBezTo>
                  <a:pt x="64" y="50"/>
                  <a:pt x="63" y="50"/>
                  <a:pt x="61" y="50"/>
                </a:cubicBezTo>
                <a:cubicBezTo>
                  <a:pt x="61" y="50"/>
                  <a:pt x="61" y="50"/>
                  <a:pt x="60" y="50"/>
                </a:cubicBezTo>
                <a:cubicBezTo>
                  <a:pt x="59" y="50"/>
                  <a:pt x="57" y="50"/>
                  <a:pt x="55" y="50"/>
                </a:cubicBezTo>
                <a:cubicBezTo>
                  <a:pt x="25" y="50"/>
                  <a:pt x="0" y="74"/>
                  <a:pt x="0" y="105"/>
                </a:cubicBezTo>
                <a:cubicBezTo>
                  <a:pt x="0" y="135"/>
                  <a:pt x="25" y="160"/>
                  <a:pt x="55" y="160"/>
                </a:cubicBezTo>
                <a:cubicBezTo>
                  <a:pt x="86" y="160"/>
                  <a:pt x="110" y="135"/>
                  <a:pt x="110" y="105"/>
                </a:cubicBezTo>
                <a:cubicBezTo>
                  <a:pt x="110" y="86"/>
                  <a:pt x="100" y="69"/>
                  <a:pt x="86" y="59"/>
                </a:cubicBezTo>
                <a:close/>
                <a:moveTo>
                  <a:pt x="55" y="154"/>
                </a:moveTo>
                <a:cubicBezTo>
                  <a:pt x="28" y="154"/>
                  <a:pt x="6" y="132"/>
                  <a:pt x="6" y="105"/>
                </a:cubicBezTo>
                <a:cubicBezTo>
                  <a:pt x="6" y="77"/>
                  <a:pt x="28" y="55"/>
                  <a:pt x="55" y="55"/>
                </a:cubicBezTo>
                <a:cubicBezTo>
                  <a:pt x="57" y="55"/>
                  <a:pt x="58" y="55"/>
                  <a:pt x="60" y="55"/>
                </a:cubicBezTo>
                <a:cubicBezTo>
                  <a:pt x="60" y="55"/>
                  <a:pt x="61" y="55"/>
                  <a:pt x="61" y="56"/>
                </a:cubicBezTo>
                <a:cubicBezTo>
                  <a:pt x="62" y="56"/>
                  <a:pt x="63" y="56"/>
                  <a:pt x="64" y="56"/>
                </a:cubicBezTo>
                <a:cubicBezTo>
                  <a:pt x="65" y="56"/>
                  <a:pt x="65" y="56"/>
                  <a:pt x="66" y="56"/>
                </a:cubicBezTo>
                <a:cubicBezTo>
                  <a:pt x="67" y="57"/>
                  <a:pt x="68" y="57"/>
                  <a:pt x="69" y="57"/>
                </a:cubicBezTo>
                <a:cubicBezTo>
                  <a:pt x="70" y="57"/>
                  <a:pt x="71" y="58"/>
                  <a:pt x="71" y="58"/>
                </a:cubicBezTo>
                <a:cubicBezTo>
                  <a:pt x="72" y="58"/>
                  <a:pt x="72" y="58"/>
                  <a:pt x="73" y="58"/>
                </a:cubicBezTo>
                <a:cubicBezTo>
                  <a:pt x="76" y="60"/>
                  <a:pt x="78" y="61"/>
                  <a:pt x="81" y="62"/>
                </a:cubicBezTo>
                <a:cubicBezTo>
                  <a:pt x="95" y="71"/>
                  <a:pt x="105" y="87"/>
                  <a:pt x="105" y="105"/>
                </a:cubicBezTo>
                <a:cubicBezTo>
                  <a:pt x="105" y="132"/>
                  <a:pt x="83" y="154"/>
                  <a:pt x="55" y="154"/>
                </a:cubicBezTo>
                <a:close/>
                <a:moveTo>
                  <a:pt x="88" y="102"/>
                </a:moveTo>
                <a:cubicBezTo>
                  <a:pt x="80" y="102"/>
                  <a:pt x="80" y="102"/>
                  <a:pt x="80" y="102"/>
                </a:cubicBezTo>
                <a:cubicBezTo>
                  <a:pt x="79" y="97"/>
                  <a:pt x="77" y="93"/>
                  <a:pt x="75" y="89"/>
                </a:cubicBezTo>
                <a:cubicBezTo>
                  <a:pt x="81" y="83"/>
                  <a:pt x="81" y="83"/>
                  <a:pt x="81" y="83"/>
                </a:cubicBezTo>
                <a:cubicBezTo>
                  <a:pt x="82" y="82"/>
                  <a:pt x="82" y="81"/>
                  <a:pt x="81" y="79"/>
                </a:cubicBezTo>
                <a:cubicBezTo>
                  <a:pt x="79" y="78"/>
                  <a:pt x="78" y="78"/>
                  <a:pt x="77" y="79"/>
                </a:cubicBezTo>
                <a:cubicBezTo>
                  <a:pt x="71" y="85"/>
                  <a:pt x="71" y="85"/>
                  <a:pt x="71" y="85"/>
                </a:cubicBezTo>
                <a:cubicBezTo>
                  <a:pt x="67" y="83"/>
                  <a:pt x="63" y="81"/>
                  <a:pt x="58" y="80"/>
                </a:cubicBezTo>
                <a:cubicBezTo>
                  <a:pt x="58" y="72"/>
                  <a:pt x="58" y="72"/>
                  <a:pt x="58" y="72"/>
                </a:cubicBezTo>
                <a:cubicBezTo>
                  <a:pt x="58" y="70"/>
                  <a:pt x="57" y="69"/>
                  <a:pt x="55" y="69"/>
                </a:cubicBezTo>
                <a:cubicBezTo>
                  <a:pt x="54" y="69"/>
                  <a:pt x="52" y="70"/>
                  <a:pt x="52" y="72"/>
                </a:cubicBezTo>
                <a:cubicBezTo>
                  <a:pt x="52" y="80"/>
                  <a:pt x="52" y="80"/>
                  <a:pt x="52" y="80"/>
                </a:cubicBezTo>
                <a:cubicBezTo>
                  <a:pt x="48" y="81"/>
                  <a:pt x="43" y="83"/>
                  <a:pt x="40" y="85"/>
                </a:cubicBezTo>
                <a:cubicBezTo>
                  <a:pt x="34" y="79"/>
                  <a:pt x="34" y="79"/>
                  <a:pt x="34" y="79"/>
                </a:cubicBezTo>
                <a:cubicBezTo>
                  <a:pt x="33" y="78"/>
                  <a:pt x="31" y="78"/>
                  <a:pt x="30" y="79"/>
                </a:cubicBezTo>
                <a:cubicBezTo>
                  <a:pt x="29" y="81"/>
                  <a:pt x="29" y="82"/>
                  <a:pt x="30" y="83"/>
                </a:cubicBezTo>
                <a:cubicBezTo>
                  <a:pt x="36" y="89"/>
                  <a:pt x="36" y="89"/>
                  <a:pt x="36" y="89"/>
                </a:cubicBezTo>
                <a:cubicBezTo>
                  <a:pt x="33" y="93"/>
                  <a:pt x="31" y="97"/>
                  <a:pt x="31" y="102"/>
                </a:cubicBezTo>
                <a:cubicBezTo>
                  <a:pt x="22" y="102"/>
                  <a:pt x="22" y="102"/>
                  <a:pt x="22" y="102"/>
                </a:cubicBezTo>
                <a:cubicBezTo>
                  <a:pt x="21" y="102"/>
                  <a:pt x="19" y="103"/>
                  <a:pt x="19" y="105"/>
                </a:cubicBezTo>
                <a:cubicBezTo>
                  <a:pt x="19" y="106"/>
                  <a:pt x="21" y="108"/>
                  <a:pt x="22" y="108"/>
                </a:cubicBezTo>
                <a:cubicBezTo>
                  <a:pt x="31" y="108"/>
                  <a:pt x="31" y="108"/>
                  <a:pt x="31" y="108"/>
                </a:cubicBezTo>
                <a:cubicBezTo>
                  <a:pt x="31" y="112"/>
                  <a:pt x="33" y="117"/>
                  <a:pt x="36" y="120"/>
                </a:cubicBezTo>
                <a:cubicBezTo>
                  <a:pt x="30" y="126"/>
                  <a:pt x="30" y="126"/>
                  <a:pt x="30" y="126"/>
                </a:cubicBezTo>
                <a:cubicBezTo>
                  <a:pt x="29" y="127"/>
                  <a:pt x="29" y="129"/>
                  <a:pt x="30" y="130"/>
                </a:cubicBezTo>
                <a:cubicBezTo>
                  <a:pt x="30" y="131"/>
                  <a:pt x="31" y="131"/>
                  <a:pt x="32" y="131"/>
                </a:cubicBezTo>
                <a:cubicBezTo>
                  <a:pt x="32" y="131"/>
                  <a:pt x="33" y="131"/>
                  <a:pt x="34" y="130"/>
                </a:cubicBezTo>
                <a:cubicBezTo>
                  <a:pt x="40" y="124"/>
                  <a:pt x="40" y="124"/>
                  <a:pt x="40" y="124"/>
                </a:cubicBezTo>
                <a:cubicBezTo>
                  <a:pt x="43" y="127"/>
                  <a:pt x="48" y="129"/>
                  <a:pt x="52" y="129"/>
                </a:cubicBezTo>
                <a:cubicBezTo>
                  <a:pt x="52" y="138"/>
                  <a:pt x="52" y="138"/>
                  <a:pt x="52" y="138"/>
                </a:cubicBezTo>
                <a:cubicBezTo>
                  <a:pt x="52" y="139"/>
                  <a:pt x="54" y="141"/>
                  <a:pt x="55" y="141"/>
                </a:cubicBezTo>
                <a:cubicBezTo>
                  <a:pt x="57" y="141"/>
                  <a:pt x="58" y="139"/>
                  <a:pt x="58" y="138"/>
                </a:cubicBezTo>
                <a:cubicBezTo>
                  <a:pt x="58" y="129"/>
                  <a:pt x="58" y="129"/>
                  <a:pt x="58" y="129"/>
                </a:cubicBezTo>
                <a:cubicBezTo>
                  <a:pt x="63" y="129"/>
                  <a:pt x="67" y="127"/>
                  <a:pt x="71" y="124"/>
                </a:cubicBezTo>
                <a:cubicBezTo>
                  <a:pt x="77" y="130"/>
                  <a:pt x="77" y="130"/>
                  <a:pt x="77" y="130"/>
                </a:cubicBezTo>
                <a:cubicBezTo>
                  <a:pt x="77" y="131"/>
                  <a:pt x="78" y="131"/>
                  <a:pt x="79" y="131"/>
                </a:cubicBezTo>
                <a:cubicBezTo>
                  <a:pt x="79" y="131"/>
                  <a:pt x="80" y="131"/>
                  <a:pt x="81" y="130"/>
                </a:cubicBezTo>
                <a:cubicBezTo>
                  <a:pt x="82" y="129"/>
                  <a:pt x="82" y="127"/>
                  <a:pt x="81" y="126"/>
                </a:cubicBezTo>
                <a:cubicBezTo>
                  <a:pt x="75" y="120"/>
                  <a:pt x="75" y="120"/>
                  <a:pt x="75" y="120"/>
                </a:cubicBezTo>
                <a:cubicBezTo>
                  <a:pt x="77" y="117"/>
                  <a:pt x="79" y="112"/>
                  <a:pt x="80" y="108"/>
                </a:cubicBezTo>
                <a:cubicBezTo>
                  <a:pt x="88" y="108"/>
                  <a:pt x="88" y="108"/>
                  <a:pt x="88" y="108"/>
                </a:cubicBezTo>
                <a:cubicBezTo>
                  <a:pt x="90" y="108"/>
                  <a:pt x="91" y="106"/>
                  <a:pt x="91" y="105"/>
                </a:cubicBezTo>
                <a:cubicBezTo>
                  <a:pt x="91" y="103"/>
                  <a:pt x="90" y="102"/>
                  <a:pt x="88" y="102"/>
                </a:cubicBezTo>
                <a:close/>
                <a:moveTo>
                  <a:pt x="55" y="124"/>
                </a:moveTo>
                <a:cubicBezTo>
                  <a:pt x="45" y="124"/>
                  <a:pt x="36" y="115"/>
                  <a:pt x="36" y="105"/>
                </a:cubicBezTo>
                <a:cubicBezTo>
                  <a:pt x="36" y="94"/>
                  <a:pt x="45" y="86"/>
                  <a:pt x="55" y="86"/>
                </a:cubicBezTo>
                <a:cubicBezTo>
                  <a:pt x="66" y="86"/>
                  <a:pt x="74" y="94"/>
                  <a:pt x="74" y="105"/>
                </a:cubicBezTo>
                <a:cubicBezTo>
                  <a:pt x="74" y="115"/>
                  <a:pt x="66" y="124"/>
                  <a:pt x="55" y="12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49" name="Freeform 51">
            <a:extLst>
              <a:ext uri="{FF2B5EF4-FFF2-40B4-BE49-F238E27FC236}">
                <a16:creationId xmlns:a16="http://schemas.microsoft.com/office/drawing/2014/main" id="{15387920-A7FC-2940-A0AF-A1D467C752D4}"/>
              </a:ext>
            </a:extLst>
          </p:cNvPr>
          <p:cNvSpPr>
            <a:spLocks noEditPoints="1"/>
          </p:cNvSpPr>
          <p:nvPr/>
        </p:nvSpPr>
        <p:spPr bwMode="auto">
          <a:xfrm>
            <a:off x="5917891" y="1065213"/>
            <a:ext cx="447675" cy="606425"/>
          </a:xfrm>
          <a:custGeom>
            <a:avLst/>
            <a:gdLst>
              <a:gd name="T0" fmla="*/ 31 w 119"/>
              <a:gd name="T1" fmla="*/ 32 h 160"/>
              <a:gd name="T2" fmla="*/ 31 w 119"/>
              <a:gd name="T3" fmla="*/ 28 h 160"/>
              <a:gd name="T4" fmla="*/ 58 w 119"/>
              <a:gd name="T5" fmla="*/ 1 h 160"/>
              <a:gd name="T6" fmla="*/ 59 w 119"/>
              <a:gd name="T7" fmla="*/ 0 h 160"/>
              <a:gd name="T8" fmla="*/ 61 w 119"/>
              <a:gd name="T9" fmla="*/ 0 h 160"/>
              <a:gd name="T10" fmla="*/ 62 w 119"/>
              <a:gd name="T11" fmla="*/ 1 h 160"/>
              <a:gd name="T12" fmla="*/ 89 w 119"/>
              <a:gd name="T13" fmla="*/ 28 h 160"/>
              <a:gd name="T14" fmla="*/ 89 w 119"/>
              <a:gd name="T15" fmla="*/ 32 h 160"/>
              <a:gd name="T16" fmla="*/ 85 w 119"/>
              <a:gd name="T17" fmla="*/ 32 h 160"/>
              <a:gd name="T18" fmla="*/ 62 w 119"/>
              <a:gd name="T19" fmla="*/ 9 h 160"/>
              <a:gd name="T20" fmla="*/ 62 w 119"/>
              <a:gd name="T21" fmla="*/ 106 h 160"/>
              <a:gd name="T22" fmla="*/ 60 w 119"/>
              <a:gd name="T23" fmla="*/ 108 h 160"/>
              <a:gd name="T24" fmla="*/ 57 w 119"/>
              <a:gd name="T25" fmla="*/ 106 h 160"/>
              <a:gd name="T26" fmla="*/ 57 w 119"/>
              <a:gd name="T27" fmla="*/ 9 h 160"/>
              <a:gd name="T28" fmla="*/ 34 w 119"/>
              <a:gd name="T29" fmla="*/ 32 h 160"/>
              <a:gd name="T30" fmla="*/ 32 w 119"/>
              <a:gd name="T31" fmla="*/ 33 h 160"/>
              <a:gd name="T32" fmla="*/ 31 w 119"/>
              <a:gd name="T33" fmla="*/ 32 h 160"/>
              <a:gd name="T34" fmla="*/ 79 w 119"/>
              <a:gd name="T35" fmla="*/ 43 h 160"/>
              <a:gd name="T36" fmla="*/ 76 w 119"/>
              <a:gd name="T37" fmla="*/ 46 h 160"/>
              <a:gd name="T38" fmla="*/ 79 w 119"/>
              <a:gd name="T39" fmla="*/ 49 h 160"/>
              <a:gd name="T40" fmla="*/ 114 w 119"/>
              <a:gd name="T41" fmla="*/ 49 h 160"/>
              <a:gd name="T42" fmla="*/ 114 w 119"/>
              <a:gd name="T43" fmla="*/ 155 h 160"/>
              <a:gd name="T44" fmla="*/ 5 w 119"/>
              <a:gd name="T45" fmla="*/ 155 h 160"/>
              <a:gd name="T46" fmla="*/ 5 w 119"/>
              <a:gd name="T47" fmla="*/ 49 h 160"/>
              <a:gd name="T48" fmla="*/ 41 w 119"/>
              <a:gd name="T49" fmla="*/ 49 h 160"/>
              <a:gd name="T50" fmla="*/ 43 w 119"/>
              <a:gd name="T51" fmla="*/ 46 h 160"/>
              <a:gd name="T52" fmla="*/ 41 w 119"/>
              <a:gd name="T53" fmla="*/ 43 h 160"/>
              <a:gd name="T54" fmla="*/ 0 w 119"/>
              <a:gd name="T55" fmla="*/ 43 h 160"/>
              <a:gd name="T56" fmla="*/ 0 w 119"/>
              <a:gd name="T57" fmla="*/ 160 h 160"/>
              <a:gd name="T58" fmla="*/ 119 w 119"/>
              <a:gd name="T59" fmla="*/ 160 h 160"/>
              <a:gd name="T60" fmla="*/ 119 w 119"/>
              <a:gd name="T61" fmla="*/ 43 h 160"/>
              <a:gd name="T62" fmla="*/ 79 w 119"/>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60">
                <a:moveTo>
                  <a:pt x="31" y="32"/>
                </a:moveTo>
                <a:cubicBezTo>
                  <a:pt x="30" y="31"/>
                  <a:pt x="30" y="29"/>
                  <a:pt x="31" y="28"/>
                </a:cubicBezTo>
                <a:cubicBezTo>
                  <a:pt x="58" y="1"/>
                  <a:pt x="58" y="1"/>
                  <a:pt x="58" y="1"/>
                </a:cubicBezTo>
                <a:cubicBezTo>
                  <a:pt x="58" y="1"/>
                  <a:pt x="58" y="0"/>
                  <a:pt x="59" y="0"/>
                </a:cubicBezTo>
                <a:cubicBezTo>
                  <a:pt x="59" y="0"/>
                  <a:pt x="60" y="0"/>
                  <a:pt x="61" y="0"/>
                </a:cubicBezTo>
                <a:cubicBezTo>
                  <a:pt x="61" y="0"/>
                  <a:pt x="61" y="1"/>
                  <a:pt x="62" y="1"/>
                </a:cubicBezTo>
                <a:cubicBezTo>
                  <a:pt x="89" y="28"/>
                  <a:pt x="89" y="28"/>
                  <a:pt x="89" y="28"/>
                </a:cubicBezTo>
                <a:cubicBezTo>
                  <a:pt x="90" y="29"/>
                  <a:pt x="90" y="31"/>
                  <a:pt x="89" y="32"/>
                </a:cubicBezTo>
                <a:cubicBezTo>
                  <a:pt x="88" y="33"/>
                  <a:pt x="86" y="33"/>
                  <a:pt x="85" y="32"/>
                </a:cubicBezTo>
                <a:cubicBezTo>
                  <a:pt x="62" y="9"/>
                  <a:pt x="62" y="9"/>
                  <a:pt x="62" y="9"/>
                </a:cubicBezTo>
                <a:cubicBezTo>
                  <a:pt x="62" y="106"/>
                  <a:pt x="62" y="106"/>
                  <a:pt x="62" y="106"/>
                </a:cubicBezTo>
                <a:cubicBezTo>
                  <a:pt x="62" y="107"/>
                  <a:pt x="61" y="108"/>
                  <a:pt x="60" y="108"/>
                </a:cubicBezTo>
                <a:cubicBezTo>
                  <a:pt x="58" y="108"/>
                  <a:pt x="57" y="107"/>
                  <a:pt x="57" y="106"/>
                </a:cubicBezTo>
                <a:cubicBezTo>
                  <a:pt x="57" y="9"/>
                  <a:pt x="57" y="9"/>
                  <a:pt x="57" y="9"/>
                </a:cubicBezTo>
                <a:cubicBezTo>
                  <a:pt x="34" y="32"/>
                  <a:pt x="34" y="32"/>
                  <a:pt x="34" y="32"/>
                </a:cubicBezTo>
                <a:cubicBezTo>
                  <a:pt x="34" y="32"/>
                  <a:pt x="33" y="33"/>
                  <a:pt x="32" y="33"/>
                </a:cubicBezTo>
                <a:cubicBezTo>
                  <a:pt x="32" y="33"/>
                  <a:pt x="31" y="32"/>
                  <a:pt x="31" y="32"/>
                </a:cubicBezTo>
                <a:close/>
                <a:moveTo>
                  <a:pt x="79" y="43"/>
                </a:moveTo>
                <a:cubicBezTo>
                  <a:pt x="77" y="43"/>
                  <a:pt x="76" y="45"/>
                  <a:pt x="76" y="46"/>
                </a:cubicBezTo>
                <a:cubicBezTo>
                  <a:pt x="76" y="48"/>
                  <a:pt x="77" y="49"/>
                  <a:pt x="79" y="49"/>
                </a:cubicBezTo>
                <a:cubicBezTo>
                  <a:pt x="114" y="49"/>
                  <a:pt x="114" y="49"/>
                  <a:pt x="114" y="49"/>
                </a:cubicBezTo>
                <a:cubicBezTo>
                  <a:pt x="114" y="155"/>
                  <a:pt x="114" y="155"/>
                  <a:pt x="114" y="155"/>
                </a:cubicBezTo>
                <a:cubicBezTo>
                  <a:pt x="5" y="155"/>
                  <a:pt x="5" y="155"/>
                  <a:pt x="5" y="155"/>
                </a:cubicBezTo>
                <a:cubicBezTo>
                  <a:pt x="5" y="49"/>
                  <a:pt x="5" y="49"/>
                  <a:pt x="5" y="49"/>
                </a:cubicBezTo>
                <a:cubicBezTo>
                  <a:pt x="41" y="49"/>
                  <a:pt x="41" y="49"/>
                  <a:pt x="41" y="49"/>
                </a:cubicBezTo>
                <a:cubicBezTo>
                  <a:pt x="42" y="49"/>
                  <a:pt x="43" y="48"/>
                  <a:pt x="43" y="46"/>
                </a:cubicBezTo>
                <a:cubicBezTo>
                  <a:pt x="43" y="45"/>
                  <a:pt x="42" y="43"/>
                  <a:pt x="41" y="43"/>
                </a:cubicBezTo>
                <a:cubicBezTo>
                  <a:pt x="0" y="43"/>
                  <a:pt x="0" y="43"/>
                  <a:pt x="0" y="43"/>
                </a:cubicBezTo>
                <a:cubicBezTo>
                  <a:pt x="0" y="160"/>
                  <a:pt x="0" y="160"/>
                  <a:pt x="0" y="160"/>
                </a:cubicBezTo>
                <a:cubicBezTo>
                  <a:pt x="119" y="160"/>
                  <a:pt x="119" y="160"/>
                  <a:pt x="119" y="160"/>
                </a:cubicBezTo>
                <a:cubicBezTo>
                  <a:pt x="119" y="43"/>
                  <a:pt x="119" y="43"/>
                  <a:pt x="119" y="43"/>
                </a:cubicBezTo>
                <a:lnTo>
                  <a:pt x="79" y="4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50" name="Freeform 52">
            <a:extLst>
              <a:ext uri="{FF2B5EF4-FFF2-40B4-BE49-F238E27FC236}">
                <a16:creationId xmlns:a16="http://schemas.microsoft.com/office/drawing/2014/main" id="{A03CF75D-B56F-E441-B915-02F133DDC414}"/>
              </a:ext>
            </a:extLst>
          </p:cNvPr>
          <p:cNvSpPr>
            <a:spLocks noEditPoints="1"/>
          </p:cNvSpPr>
          <p:nvPr/>
        </p:nvSpPr>
        <p:spPr bwMode="auto">
          <a:xfrm>
            <a:off x="5917891" y="1762125"/>
            <a:ext cx="461963" cy="604838"/>
          </a:xfrm>
          <a:custGeom>
            <a:avLst/>
            <a:gdLst>
              <a:gd name="T0" fmla="*/ 61 w 123"/>
              <a:gd name="T1" fmla="*/ 160 h 160"/>
              <a:gd name="T2" fmla="*/ 0 w 123"/>
              <a:gd name="T3" fmla="*/ 144 h 160"/>
              <a:gd name="T4" fmla="*/ 0 w 123"/>
              <a:gd name="T5" fmla="*/ 138 h 160"/>
              <a:gd name="T6" fmla="*/ 13 w 123"/>
              <a:gd name="T7" fmla="*/ 117 h 160"/>
              <a:gd name="T8" fmla="*/ 37 w 123"/>
              <a:gd name="T9" fmla="*/ 103 h 160"/>
              <a:gd name="T10" fmla="*/ 39 w 123"/>
              <a:gd name="T11" fmla="*/ 101 h 160"/>
              <a:gd name="T12" fmla="*/ 19 w 123"/>
              <a:gd name="T13" fmla="*/ 101 h 160"/>
              <a:gd name="T14" fmla="*/ 8 w 123"/>
              <a:gd name="T15" fmla="*/ 99 h 160"/>
              <a:gd name="T16" fmla="*/ 4 w 123"/>
              <a:gd name="T17" fmla="*/ 94 h 160"/>
              <a:gd name="T18" fmla="*/ 5 w 123"/>
              <a:gd name="T19" fmla="*/ 87 h 160"/>
              <a:gd name="T20" fmla="*/ 21 w 123"/>
              <a:gd name="T21" fmla="*/ 40 h 160"/>
              <a:gd name="T22" fmla="*/ 25 w 123"/>
              <a:gd name="T23" fmla="*/ 22 h 160"/>
              <a:gd name="T24" fmla="*/ 60 w 123"/>
              <a:gd name="T25" fmla="*/ 0 h 160"/>
              <a:gd name="T26" fmla="*/ 97 w 123"/>
              <a:gd name="T27" fmla="*/ 36 h 160"/>
              <a:gd name="T28" fmla="*/ 116 w 123"/>
              <a:gd name="T29" fmla="*/ 87 h 160"/>
              <a:gd name="T30" fmla="*/ 117 w 123"/>
              <a:gd name="T31" fmla="*/ 94 h 160"/>
              <a:gd name="T32" fmla="*/ 112 w 123"/>
              <a:gd name="T33" fmla="*/ 99 h 160"/>
              <a:gd name="T34" fmla="*/ 98 w 123"/>
              <a:gd name="T35" fmla="*/ 101 h 160"/>
              <a:gd name="T36" fmla="*/ 77 w 123"/>
              <a:gd name="T37" fmla="*/ 101 h 160"/>
              <a:gd name="T38" fmla="*/ 80 w 123"/>
              <a:gd name="T39" fmla="*/ 104 h 160"/>
              <a:gd name="T40" fmla="*/ 109 w 123"/>
              <a:gd name="T41" fmla="*/ 117 h 160"/>
              <a:gd name="T42" fmla="*/ 123 w 123"/>
              <a:gd name="T43" fmla="*/ 139 h 160"/>
              <a:gd name="T44" fmla="*/ 123 w 123"/>
              <a:gd name="T45" fmla="*/ 144 h 160"/>
              <a:gd name="T46" fmla="*/ 61 w 123"/>
              <a:gd name="T47" fmla="*/ 160 h 160"/>
              <a:gd name="T48" fmla="*/ 19 w 123"/>
              <a:gd name="T49" fmla="*/ 96 h 160"/>
              <a:gd name="T50" fmla="*/ 40 w 123"/>
              <a:gd name="T51" fmla="*/ 96 h 160"/>
              <a:gd name="T52" fmla="*/ 45 w 123"/>
              <a:gd name="T53" fmla="*/ 99 h 160"/>
              <a:gd name="T54" fmla="*/ 43 w 123"/>
              <a:gd name="T55" fmla="*/ 105 h 160"/>
              <a:gd name="T56" fmla="*/ 40 w 123"/>
              <a:gd name="T57" fmla="*/ 107 h 160"/>
              <a:gd name="T58" fmla="*/ 15 w 123"/>
              <a:gd name="T59" fmla="*/ 122 h 160"/>
              <a:gd name="T60" fmla="*/ 5 w 123"/>
              <a:gd name="T61" fmla="*/ 138 h 160"/>
              <a:gd name="T62" fmla="*/ 5 w 123"/>
              <a:gd name="T63" fmla="*/ 144 h 160"/>
              <a:gd name="T64" fmla="*/ 61 w 123"/>
              <a:gd name="T65" fmla="*/ 155 h 160"/>
              <a:gd name="T66" fmla="*/ 117 w 123"/>
              <a:gd name="T67" fmla="*/ 144 h 160"/>
              <a:gd name="T68" fmla="*/ 117 w 123"/>
              <a:gd name="T69" fmla="*/ 139 h 160"/>
              <a:gd name="T70" fmla="*/ 107 w 123"/>
              <a:gd name="T71" fmla="*/ 122 h 160"/>
              <a:gd name="T72" fmla="*/ 78 w 123"/>
              <a:gd name="T73" fmla="*/ 109 h 160"/>
              <a:gd name="T74" fmla="*/ 73 w 123"/>
              <a:gd name="T75" fmla="*/ 104 h 160"/>
              <a:gd name="T76" fmla="*/ 73 w 123"/>
              <a:gd name="T77" fmla="*/ 98 h 160"/>
              <a:gd name="T78" fmla="*/ 77 w 123"/>
              <a:gd name="T79" fmla="*/ 96 h 160"/>
              <a:gd name="T80" fmla="*/ 98 w 123"/>
              <a:gd name="T81" fmla="*/ 96 h 160"/>
              <a:gd name="T82" fmla="*/ 110 w 123"/>
              <a:gd name="T83" fmla="*/ 94 h 160"/>
              <a:gd name="T84" fmla="*/ 112 w 123"/>
              <a:gd name="T85" fmla="*/ 92 h 160"/>
              <a:gd name="T86" fmla="*/ 112 w 123"/>
              <a:gd name="T87" fmla="*/ 90 h 160"/>
              <a:gd name="T88" fmla="*/ 92 w 123"/>
              <a:gd name="T89" fmla="*/ 36 h 160"/>
              <a:gd name="T90" fmla="*/ 60 w 123"/>
              <a:gd name="T91" fmla="*/ 5 h 160"/>
              <a:gd name="T92" fmla="*/ 30 w 123"/>
              <a:gd name="T93" fmla="*/ 25 h 160"/>
              <a:gd name="T94" fmla="*/ 27 w 123"/>
              <a:gd name="T95" fmla="*/ 40 h 160"/>
              <a:gd name="T96" fmla="*/ 10 w 123"/>
              <a:gd name="T97" fmla="*/ 90 h 160"/>
              <a:gd name="T98" fmla="*/ 9 w 123"/>
              <a:gd name="T99" fmla="*/ 93 h 160"/>
              <a:gd name="T100" fmla="*/ 11 w 123"/>
              <a:gd name="T101" fmla="*/ 94 h 160"/>
              <a:gd name="T102" fmla="*/ 19 w 123"/>
              <a:gd name="T103" fmla="*/ 9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3" h="160">
                <a:moveTo>
                  <a:pt x="61" y="160"/>
                </a:moveTo>
                <a:cubicBezTo>
                  <a:pt x="40" y="160"/>
                  <a:pt x="0" y="157"/>
                  <a:pt x="0" y="144"/>
                </a:cubicBezTo>
                <a:cubicBezTo>
                  <a:pt x="0" y="138"/>
                  <a:pt x="0" y="138"/>
                  <a:pt x="0" y="138"/>
                </a:cubicBezTo>
                <a:cubicBezTo>
                  <a:pt x="0" y="129"/>
                  <a:pt x="5" y="121"/>
                  <a:pt x="13" y="117"/>
                </a:cubicBezTo>
                <a:cubicBezTo>
                  <a:pt x="37" y="103"/>
                  <a:pt x="37" y="103"/>
                  <a:pt x="37" y="103"/>
                </a:cubicBezTo>
                <a:cubicBezTo>
                  <a:pt x="37" y="103"/>
                  <a:pt x="38" y="102"/>
                  <a:pt x="39" y="101"/>
                </a:cubicBezTo>
                <a:cubicBezTo>
                  <a:pt x="19" y="101"/>
                  <a:pt x="19" y="101"/>
                  <a:pt x="19" y="101"/>
                </a:cubicBezTo>
                <a:cubicBezTo>
                  <a:pt x="18" y="101"/>
                  <a:pt x="13" y="102"/>
                  <a:pt x="8" y="99"/>
                </a:cubicBezTo>
                <a:cubicBezTo>
                  <a:pt x="6" y="98"/>
                  <a:pt x="5" y="96"/>
                  <a:pt x="4" y="94"/>
                </a:cubicBezTo>
                <a:cubicBezTo>
                  <a:pt x="4" y="92"/>
                  <a:pt x="4" y="89"/>
                  <a:pt x="5" y="87"/>
                </a:cubicBezTo>
                <a:cubicBezTo>
                  <a:pt x="10" y="80"/>
                  <a:pt x="20" y="60"/>
                  <a:pt x="21" y="40"/>
                </a:cubicBezTo>
                <a:cubicBezTo>
                  <a:pt x="22" y="33"/>
                  <a:pt x="23" y="27"/>
                  <a:pt x="25" y="22"/>
                </a:cubicBezTo>
                <a:cubicBezTo>
                  <a:pt x="30" y="12"/>
                  <a:pt x="40" y="0"/>
                  <a:pt x="60" y="0"/>
                </a:cubicBezTo>
                <a:cubicBezTo>
                  <a:pt x="96" y="0"/>
                  <a:pt x="97" y="36"/>
                  <a:pt x="97" y="36"/>
                </a:cubicBezTo>
                <a:cubicBezTo>
                  <a:pt x="97" y="58"/>
                  <a:pt x="110" y="78"/>
                  <a:pt x="116" y="87"/>
                </a:cubicBezTo>
                <a:cubicBezTo>
                  <a:pt x="118" y="89"/>
                  <a:pt x="118" y="91"/>
                  <a:pt x="117" y="94"/>
                </a:cubicBezTo>
                <a:cubicBezTo>
                  <a:pt x="117" y="96"/>
                  <a:pt x="115" y="98"/>
                  <a:pt x="112" y="99"/>
                </a:cubicBezTo>
                <a:cubicBezTo>
                  <a:pt x="106" y="102"/>
                  <a:pt x="98" y="101"/>
                  <a:pt x="98" y="101"/>
                </a:cubicBezTo>
                <a:cubicBezTo>
                  <a:pt x="77" y="101"/>
                  <a:pt x="77" y="101"/>
                  <a:pt x="77" y="101"/>
                </a:cubicBezTo>
                <a:cubicBezTo>
                  <a:pt x="78" y="103"/>
                  <a:pt x="79" y="104"/>
                  <a:pt x="80" y="104"/>
                </a:cubicBezTo>
                <a:cubicBezTo>
                  <a:pt x="109" y="117"/>
                  <a:pt x="109" y="117"/>
                  <a:pt x="109" y="117"/>
                </a:cubicBezTo>
                <a:cubicBezTo>
                  <a:pt x="118" y="121"/>
                  <a:pt x="123" y="129"/>
                  <a:pt x="123" y="139"/>
                </a:cubicBezTo>
                <a:cubicBezTo>
                  <a:pt x="123" y="144"/>
                  <a:pt x="123" y="144"/>
                  <a:pt x="123" y="144"/>
                </a:cubicBezTo>
                <a:cubicBezTo>
                  <a:pt x="123" y="157"/>
                  <a:pt x="83" y="160"/>
                  <a:pt x="61" y="160"/>
                </a:cubicBezTo>
                <a:close/>
                <a:moveTo>
                  <a:pt x="19" y="96"/>
                </a:moveTo>
                <a:cubicBezTo>
                  <a:pt x="40" y="96"/>
                  <a:pt x="40" y="96"/>
                  <a:pt x="40" y="96"/>
                </a:cubicBezTo>
                <a:cubicBezTo>
                  <a:pt x="43" y="96"/>
                  <a:pt x="44" y="97"/>
                  <a:pt x="45" y="99"/>
                </a:cubicBezTo>
                <a:cubicBezTo>
                  <a:pt x="46" y="101"/>
                  <a:pt x="45" y="103"/>
                  <a:pt x="43" y="105"/>
                </a:cubicBezTo>
                <a:cubicBezTo>
                  <a:pt x="41" y="106"/>
                  <a:pt x="40" y="107"/>
                  <a:pt x="40" y="107"/>
                </a:cubicBezTo>
                <a:cubicBezTo>
                  <a:pt x="15" y="122"/>
                  <a:pt x="15" y="122"/>
                  <a:pt x="15" y="122"/>
                </a:cubicBezTo>
                <a:cubicBezTo>
                  <a:pt x="9" y="125"/>
                  <a:pt x="5" y="131"/>
                  <a:pt x="5" y="138"/>
                </a:cubicBezTo>
                <a:cubicBezTo>
                  <a:pt x="5" y="144"/>
                  <a:pt x="5" y="144"/>
                  <a:pt x="5" y="144"/>
                </a:cubicBezTo>
                <a:cubicBezTo>
                  <a:pt x="5" y="148"/>
                  <a:pt x="25" y="155"/>
                  <a:pt x="61" y="155"/>
                </a:cubicBezTo>
                <a:cubicBezTo>
                  <a:pt x="98" y="155"/>
                  <a:pt x="117" y="148"/>
                  <a:pt x="117" y="144"/>
                </a:cubicBezTo>
                <a:cubicBezTo>
                  <a:pt x="117" y="139"/>
                  <a:pt x="117" y="139"/>
                  <a:pt x="117" y="139"/>
                </a:cubicBezTo>
                <a:cubicBezTo>
                  <a:pt x="117" y="131"/>
                  <a:pt x="113" y="125"/>
                  <a:pt x="107" y="122"/>
                </a:cubicBezTo>
                <a:cubicBezTo>
                  <a:pt x="78" y="109"/>
                  <a:pt x="78" y="109"/>
                  <a:pt x="78" y="109"/>
                </a:cubicBezTo>
                <a:cubicBezTo>
                  <a:pt x="75" y="108"/>
                  <a:pt x="73" y="105"/>
                  <a:pt x="73" y="104"/>
                </a:cubicBezTo>
                <a:cubicBezTo>
                  <a:pt x="72" y="102"/>
                  <a:pt x="72" y="100"/>
                  <a:pt x="73" y="98"/>
                </a:cubicBezTo>
                <a:cubicBezTo>
                  <a:pt x="74" y="97"/>
                  <a:pt x="75" y="96"/>
                  <a:pt x="77" y="96"/>
                </a:cubicBezTo>
                <a:cubicBezTo>
                  <a:pt x="98" y="96"/>
                  <a:pt x="98" y="96"/>
                  <a:pt x="98" y="96"/>
                </a:cubicBezTo>
                <a:cubicBezTo>
                  <a:pt x="98" y="96"/>
                  <a:pt x="105" y="97"/>
                  <a:pt x="110" y="94"/>
                </a:cubicBezTo>
                <a:cubicBezTo>
                  <a:pt x="111" y="94"/>
                  <a:pt x="112" y="93"/>
                  <a:pt x="112" y="92"/>
                </a:cubicBezTo>
                <a:cubicBezTo>
                  <a:pt x="112" y="91"/>
                  <a:pt x="112" y="90"/>
                  <a:pt x="112" y="90"/>
                </a:cubicBezTo>
                <a:cubicBezTo>
                  <a:pt x="106" y="81"/>
                  <a:pt x="92" y="59"/>
                  <a:pt x="92" y="36"/>
                </a:cubicBezTo>
                <a:cubicBezTo>
                  <a:pt x="91" y="35"/>
                  <a:pt x="90" y="6"/>
                  <a:pt x="60" y="5"/>
                </a:cubicBezTo>
                <a:cubicBezTo>
                  <a:pt x="43" y="5"/>
                  <a:pt x="34" y="16"/>
                  <a:pt x="30" y="25"/>
                </a:cubicBezTo>
                <a:cubicBezTo>
                  <a:pt x="28" y="29"/>
                  <a:pt x="27" y="34"/>
                  <a:pt x="27" y="40"/>
                </a:cubicBezTo>
                <a:cubicBezTo>
                  <a:pt x="25" y="62"/>
                  <a:pt x="14" y="82"/>
                  <a:pt x="10" y="90"/>
                </a:cubicBezTo>
                <a:cubicBezTo>
                  <a:pt x="9" y="91"/>
                  <a:pt x="9" y="92"/>
                  <a:pt x="9" y="93"/>
                </a:cubicBezTo>
                <a:cubicBezTo>
                  <a:pt x="9" y="93"/>
                  <a:pt x="10" y="94"/>
                  <a:pt x="11" y="94"/>
                </a:cubicBezTo>
                <a:cubicBezTo>
                  <a:pt x="14" y="97"/>
                  <a:pt x="19" y="96"/>
                  <a:pt x="19" y="9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51" name="Freeform 53">
            <a:extLst>
              <a:ext uri="{FF2B5EF4-FFF2-40B4-BE49-F238E27FC236}">
                <a16:creationId xmlns:a16="http://schemas.microsoft.com/office/drawing/2014/main" id="{F36B9FA2-AEC6-7D47-A887-5531CE26F63F}"/>
              </a:ext>
            </a:extLst>
          </p:cNvPr>
          <p:cNvSpPr>
            <a:spLocks noEditPoints="1"/>
          </p:cNvSpPr>
          <p:nvPr/>
        </p:nvSpPr>
        <p:spPr bwMode="auto">
          <a:xfrm>
            <a:off x="5843279" y="2443163"/>
            <a:ext cx="600075" cy="604838"/>
          </a:xfrm>
          <a:custGeom>
            <a:avLst/>
            <a:gdLst>
              <a:gd name="T0" fmla="*/ 0 w 160"/>
              <a:gd name="T1" fmla="*/ 80 h 160"/>
              <a:gd name="T2" fmla="*/ 26 w 160"/>
              <a:gd name="T3" fmla="*/ 139 h 160"/>
              <a:gd name="T4" fmla="*/ 67 w 160"/>
              <a:gd name="T5" fmla="*/ 159 h 160"/>
              <a:gd name="T6" fmla="*/ 74 w 160"/>
              <a:gd name="T7" fmla="*/ 160 h 160"/>
              <a:gd name="T8" fmla="*/ 80 w 160"/>
              <a:gd name="T9" fmla="*/ 160 h 160"/>
              <a:gd name="T10" fmla="*/ 80 w 160"/>
              <a:gd name="T11" fmla="*/ 160 h 160"/>
              <a:gd name="T12" fmla="*/ 80 w 160"/>
              <a:gd name="T13" fmla="*/ 0 h 160"/>
              <a:gd name="T14" fmla="*/ 79 w 160"/>
              <a:gd name="T15" fmla="*/ 154 h 160"/>
              <a:gd name="T16" fmla="*/ 34 w 160"/>
              <a:gd name="T17" fmla="*/ 138 h 160"/>
              <a:gd name="T18" fmla="*/ 64 w 160"/>
              <a:gd name="T19" fmla="*/ 124 h 160"/>
              <a:gd name="T20" fmla="*/ 69 w 160"/>
              <a:gd name="T21" fmla="*/ 113 h 160"/>
              <a:gd name="T22" fmla="*/ 46 w 160"/>
              <a:gd name="T23" fmla="*/ 111 h 160"/>
              <a:gd name="T24" fmla="*/ 33 w 160"/>
              <a:gd name="T25" fmla="*/ 107 h 160"/>
              <a:gd name="T26" fmla="*/ 52 w 160"/>
              <a:gd name="T27" fmla="*/ 59 h 160"/>
              <a:gd name="T28" fmla="*/ 105 w 160"/>
              <a:gd name="T29" fmla="*/ 48 h 160"/>
              <a:gd name="T30" fmla="*/ 124 w 160"/>
              <a:gd name="T31" fmla="*/ 106 h 160"/>
              <a:gd name="T32" fmla="*/ 123 w 160"/>
              <a:gd name="T33" fmla="*/ 109 h 160"/>
              <a:gd name="T34" fmla="*/ 97 w 160"/>
              <a:gd name="T35" fmla="*/ 111 h 160"/>
              <a:gd name="T36" fmla="*/ 94 w 160"/>
              <a:gd name="T37" fmla="*/ 119 h 160"/>
              <a:gd name="T38" fmla="*/ 119 w 160"/>
              <a:gd name="T39" fmla="*/ 135 h 160"/>
              <a:gd name="T40" fmla="*/ 80 w 160"/>
              <a:gd name="T41" fmla="*/ 154 h 160"/>
              <a:gd name="T42" fmla="*/ 122 w 160"/>
              <a:gd name="T43" fmla="*/ 130 h 160"/>
              <a:gd name="T44" fmla="*/ 99 w 160"/>
              <a:gd name="T45" fmla="*/ 116 h 160"/>
              <a:gd name="T46" fmla="*/ 126 w 160"/>
              <a:gd name="T47" fmla="*/ 114 h 160"/>
              <a:gd name="T48" fmla="*/ 129 w 160"/>
              <a:gd name="T49" fmla="*/ 103 h 160"/>
              <a:gd name="T50" fmla="*/ 111 w 160"/>
              <a:gd name="T51" fmla="*/ 46 h 160"/>
              <a:gd name="T52" fmla="*/ 46 w 160"/>
              <a:gd name="T53" fmla="*/ 59 h 160"/>
              <a:gd name="T54" fmla="*/ 28 w 160"/>
              <a:gd name="T55" fmla="*/ 109 h 160"/>
              <a:gd name="T56" fmla="*/ 45 w 160"/>
              <a:gd name="T57" fmla="*/ 116 h 160"/>
              <a:gd name="T58" fmla="*/ 62 w 160"/>
              <a:gd name="T59" fmla="*/ 119 h 160"/>
              <a:gd name="T60" fmla="*/ 35 w 160"/>
              <a:gd name="T61" fmla="*/ 130 h 160"/>
              <a:gd name="T62" fmla="*/ 6 w 160"/>
              <a:gd name="T63" fmla="*/ 80 h 160"/>
              <a:gd name="T64" fmla="*/ 154 w 160"/>
              <a:gd name="T65"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80" y="0"/>
                </a:moveTo>
                <a:cubicBezTo>
                  <a:pt x="36" y="0"/>
                  <a:pt x="0" y="36"/>
                  <a:pt x="0" y="80"/>
                </a:cubicBezTo>
                <a:cubicBezTo>
                  <a:pt x="0" y="103"/>
                  <a:pt x="10" y="124"/>
                  <a:pt x="26" y="139"/>
                </a:cubicBezTo>
                <a:cubicBezTo>
                  <a:pt x="26" y="139"/>
                  <a:pt x="26" y="139"/>
                  <a:pt x="26" y="139"/>
                </a:cubicBezTo>
                <a:cubicBezTo>
                  <a:pt x="28" y="141"/>
                  <a:pt x="28" y="141"/>
                  <a:pt x="28" y="141"/>
                </a:cubicBezTo>
                <a:cubicBezTo>
                  <a:pt x="39" y="151"/>
                  <a:pt x="53" y="157"/>
                  <a:pt x="67" y="159"/>
                </a:cubicBezTo>
                <a:cubicBezTo>
                  <a:pt x="68" y="159"/>
                  <a:pt x="69" y="159"/>
                  <a:pt x="71" y="159"/>
                </a:cubicBezTo>
                <a:cubicBezTo>
                  <a:pt x="72" y="160"/>
                  <a:pt x="73" y="160"/>
                  <a:pt x="74" y="160"/>
                </a:cubicBezTo>
                <a:cubicBezTo>
                  <a:pt x="76" y="160"/>
                  <a:pt x="77" y="160"/>
                  <a:pt x="79" y="160"/>
                </a:cubicBezTo>
                <a:cubicBezTo>
                  <a:pt x="79" y="160"/>
                  <a:pt x="79" y="160"/>
                  <a:pt x="80" y="160"/>
                </a:cubicBezTo>
                <a:cubicBezTo>
                  <a:pt x="80" y="160"/>
                  <a:pt x="80" y="160"/>
                  <a:pt x="80" y="160"/>
                </a:cubicBezTo>
                <a:cubicBezTo>
                  <a:pt x="80" y="160"/>
                  <a:pt x="80" y="160"/>
                  <a:pt x="80" y="160"/>
                </a:cubicBezTo>
                <a:cubicBezTo>
                  <a:pt x="124" y="160"/>
                  <a:pt x="160" y="124"/>
                  <a:pt x="160" y="80"/>
                </a:cubicBezTo>
                <a:cubicBezTo>
                  <a:pt x="160" y="36"/>
                  <a:pt x="124" y="0"/>
                  <a:pt x="80" y="0"/>
                </a:cubicBezTo>
                <a:close/>
                <a:moveTo>
                  <a:pt x="80" y="154"/>
                </a:moveTo>
                <a:cubicBezTo>
                  <a:pt x="79" y="154"/>
                  <a:pt x="79" y="154"/>
                  <a:pt x="79" y="154"/>
                </a:cubicBezTo>
                <a:cubicBezTo>
                  <a:pt x="78" y="154"/>
                  <a:pt x="76" y="154"/>
                  <a:pt x="75" y="154"/>
                </a:cubicBezTo>
                <a:cubicBezTo>
                  <a:pt x="59" y="153"/>
                  <a:pt x="45" y="147"/>
                  <a:pt x="34" y="138"/>
                </a:cubicBezTo>
                <a:cubicBezTo>
                  <a:pt x="35" y="137"/>
                  <a:pt x="36" y="136"/>
                  <a:pt x="38" y="135"/>
                </a:cubicBezTo>
                <a:cubicBezTo>
                  <a:pt x="64" y="124"/>
                  <a:pt x="64" y="124"/>
                  <a:pt x="64" y="124"/>
                </a:cubicBezTo>
                <a:cubicBezTo>
                  <a:pt x="66" y="123"/>
                  <a:pt x="68" y="121"/>
                  <a:pt x="69" y="118"/>
                </a:cubicBezTo>
                <a:cubicBezTo>
                  <a:pt x="70" y="116"/>
                  <a:pt x="70" y="115"/>
                  <a:pt x="69" y="113"/>
                </a:cubicBezTo>
                <a:cubicBezTo>
                  <a:pt x="68" y="111"/>
                  <a:pt x="66" y="111"/>
                  <a:pt x="64" y="111"/>
                </a:cubicBezTo>
                <a:cubicBezTo>
                  <a:pt x="46" y="111"/>
                  <a:pt x="46" y="111"/>
                  <a:pt x="46" y="111"/>
                </a:cubicBezTo>
                <a:cubicBezTo>
                  <a:pt x="46" y="111"/>
                  <a:pt x="39" y="110"/>
                  <a:pt x="35" y="108"/>
                </a:cubicBezTo>
                <a:cubicBezTo>
                  <a:pt x="34" y="107"/>
                  <a:pt x="33" y="107"/>
                  <a:pt x="33" y="107"/>
                </a:cubicBezTo>
                <a:cubicBezTo>
                  <a:pt x="33" y="107"/>
                  <a:pt x="33" y="107"/>
                  <a:pt x="34" y="106"/>
                </a:cubicBezTo>
                <a:cubicBezTo>
                  <a:pt x="40" y="97"/>
                  <a:pt x="51" y="78"/>
                  <a:pt x="52" y="59"/>
                </a:cubicBezTo>
                <a:cubicBezTo>
                  <a:pt x="52" y="58"/>
                  <a:pt x="53" y="32"/>
                  <a:pt x="79" y="31"/>
                </a:cubicBezTo>
                <a:cubicBezTo>
                  <a:pt x="94" y="32"/>
                  <a:pt x="102" y="41"/>
                  <a:pt x="105" y="48"/>
                </a:cubicBezTo>
                <a:cubicBezTo>
                  <a:pt x="107" y="52"/>
                  <a:pt x="108" y="57"/>
                  <a:pt x="108" y="62"/>
                </a:cubicBezTo>
                <a:cubicBezTo>
                  <a:pt x="110" y="79"/>
                  <a:pt x="117" y="96"/>
                  <a:pt x="124" y="106"/>
                </a:cubicBezTo>
                <a:cubicBezTo>
                  <a:pt x="124" y="107"/>
                  <a:pt x="124" y="107"/>
                  <a:pt x="124" y="108"/>
                </a:cubicBezTo>
                <a:cubicBezTo>
                  <a:pt x="124" y="109"/>
                  <a:pt x="124" y="109"/>
                  <a:pt x="123" y="109"/>
                </a:cubicBezTo>
                <a:cubicBezTo>
                  <a:pt x="120" y="111"/>
                  <a:pt x="116" y="111"/>
                  <a:pt x="116" y="111"/>
                </a:cubicBezTo>
                <a:cubicBezTo>
                  <a:pt x="97" y="111"/>
                  <a:pt x="97" y="111"/>
                  <a:pt x="97" y="111"/>
                </a:cubicBezTo>
                <a:cubicBezTo>
                  <a:pt x="95" y="111"/>
                  <a:pt x="93" y="112"/>
                  <a:pt x="92" y="114"/>
                </a:cubicBezTo>
                <a:cubicBezTo>
                  <a:pt x="92" y="116"/>
                  <a:pt x="92" y="118"/>
                  <a:pt x="94" y="119"/>
                </a:cubicBezTo>
                <a:cubicBezTo>
                  <a:pt x="96" y="121"/>
                  <a:pt x="97" y="122"/>
                  <a:pt x="97" y="122"/>
                </a:cubicBezTo>
                <a:cubicBezTo>
                  <a:pt x="119" y="135"/>
                  <a:pt x="119" y="135"/>
                  <a:pt x="119" y="135"/>
                </a:cubicBezTo>
                <a:cubicBezTo>
                  <a:pt x="121" y="136"/>
                  <a:pt x="123" y="138"/>
                  <a:pt x="124" y="139"/>
                </a:cubicBezTo>
                <a:cubicBezTo>
                  <a:pt x="111" y="149"/>
                  <a:pt x="96" y="154"/>
                  <a:pt x="80" y="154"/>
                </a:cubicBezTo>
                <a:close/>
                <a:moveTo>
                  <a:pt x="129" y="136"/>
                </a:moveTo>
                <a:cubicBezTo>
                  <a:pt x="127" y="133"/>
                  <a:pt x="125" y="132"/>
                  <a:pt x="122" y="130"/>
                </a:cubicBezTo>
                <a:cubicBezTo>
                  <a:pt x="100" y="117"/>
                  <a:pt x="100" y="117"/>
                  <a:pt x="100" y="117"/>
                </a:cubicBezTo>
                <a:cubicBezTo>
                  <a:pt x="100" y="117"/>
                  <a:pt x="100" y="117"/>
                  <a:pt x="99" y="116"/>
                </a:cubicBezTo>
                <a:cubicBezTo>
                  <a:pt x="115" y="116"/>
                  <a:pt x="115" y="116"/>
                  <a:pt x="115" y="116"/>
                </a:cubicBezTo>
                <a:cubicBezTo>
                  <a:pt x="117" y="117"/>
                  <a:pt x="122" y="117"/>
                  <a:pt x="126" y="114"/>
                </a:cubicBezTo>
                <a:cubicBezTo>
                  <a:pt x="128" y="113"/>
                  <a:pt x="129" y="112"/>
                  <a:pt x="130" y="109"/>
                </a:cubicBezTo>
                <a:cubicBezTo>
                  <a:pt x="130" y="107"/>
                  <a:pt x="130" y="105"/>
                  <a:pt x="129" y="103"/>
                </a:cubicBezTo>
                <a:cubicBezTo>
                  <a:pt x="123" y="93"/>
                  <a:pt x="115" y="78"/>
                  <a:pt x="114" y="62"/>
                </a:cubicBezTo>
                <a:cubicBezTo>
                  <a:pt x="114" y="56"/>
                  <a:pt x="113" y="50"/>
                  <a:pt x="111" y="46"/>
                </a:cubicBezTo>
                <a:cubicBezTo>
                  <a:pt x="106" y="37"/>
                  <a:pt x="98" y="26"/>
                  <a:pt x="79" y="26"/>
                </a:cubicBezTo>
                <a:cubicBezTo>
                  <a:pt x="47" y="26"/>
                  <a:pt x="46" y="58"/>
                  <a:pt x="46" y="59"/>
                </a:cubicBezTo>
                <a:cubicBezTo>
                  <a:pt x="46" y="77"/>
                  <a:pt x="34" y="96"/>
                  <a:pt x="29" y="103"/>
                </a:cubicBezTo>
                <a:cubicBezTo>
                  <a:pt x="28" y="105"/>
                  <a:pt x="27" y="107"/>
                  <a:pt x="28" y="109"/>
                </a:cubicBezTo>
                <a:cubicBezTo>
                  <a:pt x="28" y="111"/>
                  <a:pt x="30" y="112"/>
                  <a:pt x="32" y="113"/>
                </a:cubicBezTo>
                <a:cubicBezTo>
                  <a:pt x="38" y="116"/>
                  <a:pt x="45" y="116"/>
                  <a:pt x="45" y="116"/>
                </a:cubicBezTo>
                <a:cubicBezTo>
                  <a:pt x="63" y="116"/>
                  <a:pt x="63" y="116"/>
                  <a:pt x="63" y="116"/>
                </a:cubicBezTo>
                <a:cubicBezTo>
                  <a:pt x="63" y="117"/>
                  <a:pt x="62" y="119"/>
                  <a:pt x="62" y="119"/>
                </a:cubicBezTo>
                <a:cubicBezTo>
                  <a:pt x="35" y="130"/>
                  <a:pt x="35" y="130"/>
                  <a:pt x="35" y="130"/>
                </a:cubicBezTo>
                <a:cubicBezTo>
                  <a:pt x="35" y="130"/>
                  <a:pt x="35" y="130"/>
                  <a:pt x="35" y="130"/>
                </a:cubicBezTo>
                <a:cubicBezTo>
                  <a:pt x="33" y="131"/>
                  <a:pt x="31" y="133"/>
                  <a:pt x="29" y="134"/>
                </a:cubicBezTo>
                <a:cubicBezTo>
                  <a:pt x="15" y="121"/>
                  <a:pt x="6" y="101"/>
                  <a:pt x="6" y="80"/>
                </a:cubicBezTo>
                <a:cubicBezTo>
                  <a:pt x="6" y="39"/>
                  <a:pt x="39" y="6"/>
                  <a:pt x="80" y="6"/>
                </a:cubicBezTo>
                <a:cubicBezTo>
                  <a:pt x="121" y="6"/>
                  <a:pt x="154" y="39"/>
                  <a:pt x="154" y="80"/>
                </a:cubicBezTo>
                <a:cubicBezTo>
                  <a:pt x="154" y="102"/>
                  <a:pt x="144" y="122"/>
                  <a:pt x="129" y="13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52" name="Freeform 54">
            <a:extLst>
              <a:ext uri="{FF2B5EF4-FFF2-40B4-BE49-F238E27FC236}">
                <a16:creationId xmlns:a16="http://schemas.microsoft.com/office/drawing/2014/main" id="{5D38918A-5789-4943-AA6C-405087CB4141}"/>
              </a:ext>
            </a:extLst>
          </p:cNvPr>
          <p:cNvSpPr>
            <a:spLocks noEditPoints="1"/>
          </p:cNvSpPr>
          <p:nvPr/>
        </p:nvSpPr>
        <p:spPr bwMode="auto">
          <a:xfrm>
            <a:off x="5843279" y="3124200"/>
            <a:ext cx="600075" cy="604838"/>
          </a:xfrm>
          <a:custGeom>
            <a:avLst/>
            <a:gdLst>
              <a:gd name="T0" fmla="*/ 80 w 160"/>
              <a:gd name="T1" fmla="*/ 0 h 160"/>
              <a:gd name="T2" fmla="*/ 26 w 160"/>
              <a:gd name="T3" fmla="*/ 139 h 160"/>
              <a:gd name="T4" fmla="*/ 28 w 160"/>
              <a:gd name="T5" fmla="*/ 141 h 160"/>
              <a:gd name="T6" fmla="*/ 33 w 160"/>
              <a:gd name="T7" fmla="*/ 145 h 160"/>
              <a:gd name="T8" fmla="*/ 39 w 160"/>
              <a:gd name="T9" fmla="*/ 149 h 160"/>
              <a:gd name="T10" fmla="*/ 46 w 160"/>
              <a:gd name="T11" fmla="*/ 152 h 160"/>
              <a:gd name="T12" fmla="*/ 66 w 160"/>
              <a:gd name="T13" fmla="*/ 159 h 160"/>
              <a:gd name="T14" fmla="*/ 73 w 160"/>
              <a:gd name="T15" fmla="*/ 160 h 160"/>
              <a:gd name="T16" fmla="*/ 80 w 160"/>
              <a:gd name="T17" fmla="*/ 160 h 160"/>
              <a:gd name="T18" fmla="*/ 87 w 160"/>
              <a:gd name="T19" fmla="*/ 160 h 160"/>
              <a:gd name="T20" fmla="*/ 94 w 160"/>
              <a:gd name="T21" fmla="*/ 159 h 160"/>
              <a:gd name="T22" fmla="*/ 114 w 160"/>
              <a:gd name="T23" fmla="*/ 152 h 160"/>
              <a:gd name="T24" fmla="*/ 120 w 160"/>
              <a:gd name="T25" fmla="*/ 149 h 160"/>
              <a:gd name="T26" fmla="*/ 127 w 160"/>
              <a:gd name="T27" fmla="*/ 145 h 160"/>
              <a:gd name="T28" fmla="*/ 131 w 160"/>
              <a:gd name="T29" fmla="*/ 141 h 160"/>
              <a:gd name="T30" fmla="*/ 134 w 160"/>
              <a:gd name="T31" fmla="*/ 139 h 160"/>
              <a:gd name="T32" fmla="*/ 6 w 160"/>
              <a:gd name="T33" fmla="*/ 80 h 160"/>
              <a:gd name="T34" fmla="*/ 154 w 160"/>
              <a:gd name="T35" fmla="*/ 80 h 160"/>
              <a:gd name="T36" fmla="*/ 127 w 160"/>
              <a:gd name="T37" fmla="*/ 134 h 160"/>
              <a:gd name="T38" fmla="*/ 98 w 160"/>
              <a:gd name="T39" fmla="*/ 116 h 160"/>
              <a:gd name="T40" fmla="*/ 100 w 160"/>
              <a:gd name="T41" fmla="*/ 105 h 160"/>
              <a:gd name="T42" fmla="*/ 114 w 160"/>
              <a:gd name="T43" fmla="*/ 80 h 160"/>
              <a:gd name="T44" fmla="*/ 111 w 160"/>
              <a:gd name="T45" fmla="*/ 63 h 160"/>
              <a:gd name="T46" fmla="*/ 106 w 160"/>
              <a:gd name="T47" fmla="*/ 32 h 160"/>
              <a:gd name="T48" fmla="*/ 54 w 160"/>
              <a:gd name="T49" fmla="*/ 32 h 160"/>
              <a:gd name="T50" fmla="*/ 49 w 160"/>
              <a:gd name="T51" fmla="*/ 63 h 160"/>
              <a:gd name="T52" fmla="*/ 46 w 160"/>
              <a:gd name="T53" fmla="*/ 80 h 160"/>
              <a:gd name="T54" fmla="*/ 59 w 160"/>
              <a:gd name="T55" fmla="*/ 107 h 160"/>
              <a:gd name="T56" fmla="*/ 56 w 160"/>
              <a:gd name="T57" fmla="*/ 121 h 160"/>
              <a:gd name="T58" fmla="*/ 30 w 160"/>
              <a:gd name="T59" fmla="*/ 135 h 160"/>
              <a:gd name="T60" fmla="*/ 124 w 160"/>
              <a:gd name="T61" fmla="*/ 140 h 160"/>
              <a:gd name="T62" fmla="*/ 119 w 160"/>
              <a:gd name="T63" fmla="*/ 143 h 160"/>
              <a:gd name="T64" fmla="*/ 114 w 160"/>
              <a:gd name="T65" fmla="*/ 146 h 160"/>
              <a:gd name="T66" fmla="*/ 103 w 160"/>
              <a:gd name="T67" fmla="*/ 150 h 160"/>
              <a:gd name="T68" fmla="*/ 98 w 160"/>
              <a:gd name="T69" fmla="*/ 152 h 160"/>
              <a:gd name="T70" fmla="*/ 92 w 160"/>
              <a:gd name="T71" fmla="*/ 153 h 160"/>
              <a:gd name="T72" fmla="*/ 85 w 160"/>
              <a:gd name="T73" fmla="*/ 154 h 160"/>
              <a:gd name="T74" fmla="*/ 74 w 160"/>
              <a:gd name="T75" fmla="*/ 154 h 160"/>
              <a:gd name="T76" fmla="*/ 68 w 160"/>
              <a:gd name="T77" fmla="*/ 153 h 160"/>
              <a:gd name="T78" fmla="*/ 56 w 160"/>
              <a:gd name="T79" fmla="*/ 150 h 160"/>
              <a:gd name="T80" fmla="*/ 51 w 160"/>
              <a:gd name="T81" fmla="*/ 148 h 160"/>
              <a:gd name="T82" fmla="*/ 46 w 160"/>
              <a:gd name="T83" fmla="*/ 146 h 160"/>
              <a:gd name="T84" fmla="*/ 41 w 160"/>
              <a:gd name="T85" fmla="*/ 143 h 160"/>
              <a:gd name="T86" fmla="*/ 36 w 160"/>
              <a:gd name="T87" fmla="*/ 139 h 160"/>
              <a:gd name="T88" fmla="*/ 35 w 160"/>
              <a:gd name="T89" fmla="*/ 139 h 160"/>
              <a:gd name="T90" fmla="*/ 65 w 160"/>
              <a:gd name="T91" fmla="*/ 116 h 160"/>
              <a:gd name="T92" fmla="*/ 64 w 160"/>
              <a:gd name="T93" fmla="*/ 104 h 160"/>
              <a:gd name="T94" fmla="*/ 55 w 160"/>
              <a:gd name="T95" fmla="*/ 85 h 160"/>
              <a:gd name="T96" fmla="*/ 52 w 160"/>
              <a:gd name="T97" fmla="*/ 80 h 160"/>
              <a:gd name="T98" fmla="*/ 54 w 160"/>
              <a:gd name="T99" fmla="*/ 66 h 160"/>
              <a:gd name="T100" fmla="*/ 55 w 160"/>
              <a:gd name="T101" fmla="*/ 49 h 160"/>
              <a:gd name="T102" fmla="*/ 59 w 160"/>
              <a:gd name="T103" fmla="*/ 36 h 160"/>
              <a:gd name="T104" fmla="*/ 101 w 160"/>
              <a:gd name="T105" fmla="*/ 36 h 160"/>
              <a:gd name="T106" fmla="*/ 105 w 160"/>
              <a:gd name="T107" fmla="*/ 66 h 160"/>
              <a:gd name="T108" fmla="*/ 108 w 160"/>
              <a:gd name="T109" fmla="*/ 70 h 160"/>
              <a:gd name="T110" fmla="*/ 105 w 160"/>
              <a:gd name="T111" fmla="*/ 85 h 160"/>
              <a:gd name="T112" fmla="*/ 103 w 160"/>
              <a:gd name="T113" fmla="*/ 87 h 160"/>
              <a:gd name="T114" fmla="*/ 93 w 160"/>
              <a:gd name="T115" fmla="*/ 104 h 160"/>
              <a:gd name="T116" fmla="*/ 93 w 160"/>
              <a:gd name="T117" fmla="*/ 116 h 160"/>
              <a:gd name="T118" fmla="*/ 124 w 160"/>
              <a:gd name="T119" fmla="*/ 139 h 160"/>
              <a:gd name="T120" fmla="*/ 124 w 160"/>
              <a:gd name="T121" fmla="*/ 14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60">
                <a:moveTo>
                  <a:pt x="160" y="80"/>
                </a:moveTo>
                <a:cubicBezTo>
                  <a:pt x="160" y="36"/>
                  <a:pt x="124" y="0"/>
                  <a:pt x="80" y="0"/>
                </a:cubicBezTo>
                <a:cubicBezTo>
                  <a:pt x="36" y="0"/>
                  <a:pt x="0" y="36"/>
                  <a:pt x="0" y="80"/>
                </a:cubicBezTo>
                <a:cubicBezTo>
                  <a:pt x="0" y="103"/>
                  <a:pt x="10" y="124"/>
                  <a:pt x="26" y="139"/>
                </a:cubicBezTo>
                <a:cubicBezTo>
                  <a:pt x="26" y="139"/>
                  <a:pt x="26" y="139"/>
                  <a:pt x="26" y="139"/>
                </a:cubicBezTo>
                <a:cubicBezTo>
                  <a:pt x="28" y="141"/>
                  <a:pt x="28" y="141"/>
                  <a:pt x="28" y="141"/>
                </a:cubicBezTo>
                <a:cubicBezTo>
                  <a:pt x="29" y="141"/>
                  <a:pt x="29" y="141"/>
                  <a:pt x="29" y="142"/>
                </a:cubicBezTo>
                <a:cubicBezTo>
                  <a:pt x="30" y="143"/>
                  <a:pt x="32" y="144"/>
                  <a:pt x="33" y="145"/>
                </a:cubicBezTo>
                <a:cubicBezTo>
                  <a:pt x="34" y="145"/>
                  <a:pt x="34" y="146"/>
                  <a:pt x="35" y="146"/>
                </a:cubicBezTo>
                <a:cubicBezTo>
                  <a:pt x="36" y="147"/>
                  <a:pt x="38" y="148"/>
                  <a:pt x="39" y="149"/>
                </a:cubicBezTo>
                <a:cubicBezTo>
                  <a:pt x="40" y="149"/>
                  <a:pt x="40" y="149"/>
                  <a:pt x="41" y="150"/>
                </a:cubicBezTo>
                <a:cubicBezTo>
                  <a:pt x="42" y="151"/>
                  <a:pt x="44" y="152"/>
                  <a:pt x="46" y="152"/>
                </a:cubicBezTo>
                <a:cubicBezTo>
                  <a:pt x="46" y="152"/>
                  <a:pt x="46" y="153"/>
                  <a:pt x="46" y="153"/>
                </a:cubicBezTo>
                <a:cubicBezTo>
                  <a:pt x="52" y="155"/>
                  <a:pt x="59" y="157"/>
                  <a:pt x="66" y="159"/>
                </a:cubicBezTo>
                <a:cubicBezTo>
                  <a:pt x="66" y="159"/>
                  <a:pt x="66" y="159"/>
                  <a:pt x="66" y="159"/>
                </a:cubicBezTo>
                <a:cubicBezTo>
                  <a:pt x="68" y="159"/>
                  <a:pt x="71" y="159"/>
                  <a:pt x="73" y="160"/>
                </a:cubicBezTo>
                <a:cubicBezTo>
                  <a:pt x="73" y="160"/>
                  <a:pt x="73" y="160"/>
                  <a:pt x="73" y="160"/>
                </a:cubicBezTo>
                <a:cubicBezTo>
                  <a:pt x="76" y="160"/>
                  <a:pt x="78" y="160"/>
                  <a:pt x="80" y="160"/>
                </a:cubicBezTo>
                <a:cubicBezTo>
                  <a:pt x="82" y="160"/>
                  <a:pt x="84" y="160"/>
                  <a:pt x="86" y="160"/>
                </a:cubicBezTo>
                <a:cubicBezTo>
                  <a:pt x="87" y="160"/>
                  <a:pt x="87" y="160"/>
                  <a:pt x="87" y="160"/>
                </a:cubicBezTo>
                <a:cubicBezTo>
                  <a:pt x="89" y="159"/>
                  <a:pt x="92" y="159"/>
                  <a:pt x="94" y="159"/>
                </a:cubicBezTo>
                <a:cubicBezTo>
                  <a:pt x="94" y="159"/>
                  <a:pt x="94" y="159"/>
                  <a:pt x="94" y="159"/>
                </a:cubicBezTo>
                <a:cubicBezTo>
                  <a:pt x="101" y="158"/>
                  <a:pt x="107" y="155"/>
                  <a:pt x="113" y="153"/>
                </a:cubicBezTo>
                <a:cubicBezTo>
                  <a:pt x="113" y="153"/>
                  <a:pt x="114" y="153"/>
                  <a:pt x="114" y="152"/>
                </a:cubicBezTo>
                <a:cubicBezTo>
                  <a:pt x="116" y="152"/>
                  <a:pt x="117" y="151"/>
                  <a:pt x="119" y="150"/>
                </a:cubicBezTo>
                <a:cubicBezTo>
                  <a:pt x="120" y="149"/>
                  <a:pt x="120" y="149"/>
                  <a:pt x="120" y="149"/>
                </a:cubicBezTo>
                <a:cubicBezTo>
                  <a:pt x="122" y="148"/>
                  <a:pt x="124" y="147"/>
                  <a:pt x="125" y="146"/>
                </a:cubicBezTo>
                <a:cubicBezTo>
                  <a:pt x="126" y="146"/>
                  <a:pt x="126" y="145"/>
                  <a:pt x="127" y="145"/>
                </a:cubicBezTo>
                <a:cubicBezTo>
                  <a:pt x="128" y="144"/>
                  <a:pt x="129" y="143"/>
                  <a:pt x="130" y="142"/>
                </a:cubicBezTo>
                <a:cubicBezTo>
                  <a:pt x="131" y="142"/>
                  <a:pt x="131" y="142"/>
                  <a:pt x="131" y="141"/>
                </a:cubicBezTo>
                <a:cubicBezTo>
                  <a:pt x="134" y="139"/>
                  <a:pt x="134" y="139"/>
                  <a:pt x="134" y="139"/>
                </a:cubicBezTo>
                <a:cubicBezTo>
                  <a:pt x="134" y="139"/>
                  <a:pt x="134" y="139"/>
                  <a:pt x="134" y="139"/>
                </a:cubicBezTo>
                <a:cubicBezTo>
                  <a:pt x="150" y="125"/>
                  <a:pt x="160" y="103"/>
                  <a:pt x="160" y="80"/>
                </a:cubicBezTo>
                <a:close/>
                <a:moveTo>
                  <a:pt x="6" y="80"/>
                </a:moveTo>
                <a:cubicBezTo>
                  <a:pt x="6" y="39"/>
                  <a:pt x="39" y="6"/>
                  <a:pt x="80" y="6"/>
                </a:cubicBezTo>
                <a:cubicBezTo>
                  <a:pt x="121" y="6"/>
                  <a:pt x="154" y="39"/>
                  <a:pt x="154" y="80"/>
                </a:cubicBezTo>
                <a:cubicBezTo>
                  <a:pt x="154" y="102"/>
                  <a:pt x="145" y="122"/>
                  <a:pt x="129" y="135"/>
                </a:cubicBezTo>
                <a:cubicBezTo>
                  <a:pt x="128" y="135"/>
                  <a:pt x="127" y="134"/>
                  <a:pt x="127" y="134"/>
                </a:cubicBezTo>
                <a:cubicBezTo>
                  <a:pt x="102" y="122"/>
                  <a:pt x="102" y="122"/>
                  <a:pt x="102" y="122"/>
                </a:cubicBezTo>
                <a:cubicBezTo>
                  <a:pt x="100" y="120"/>
                  <a:pt x="98" y="118"/>
                  <a:pt x="98" y="116"/>
                </a:cubicBezTo>
                <a:cubicBezTo>
                  <a:pt x="98" y="107"/>
                  <a:pt x="98" y="107"/>
                  <a:pt x="98" y="107"/>
                </a:cubicBezTo>
                <a:cubicBezTo>
                  <a:pt x="99" y="106"/>
                  <a:pt x="100" y="106"/>
                  <a:pt x="100" y="105"/>
                </a:cubicBezTo>
                <a:cubicBezTo>
                  <a:pt x="103" y="100"/>
                  <a:pt x="106" y="95"/>
                  <a:pt x="108" y="90"/>
                </a:cubicBezTo>
                <a:cubicBezTo>
                  <a:pt x="111" y="88"/>
                  <a:pt x="114" y="84"/>
                  <a:pt x="114" y="80"/>
                </a:cubicBezTo>
                <a:cubicBezTo>
                  <a:pt x="114" y="70"/>
                  <a:pt x="114" y="70"/>
                  <a:pt x="114" y="70"/>
                </a:cubicBezTo>
                <a:cubicBezTo>
                  <a:pt x="114" y="67"/>
                  <a:pt x="113" y="65"/>
                  <a:pt x="111" y="63"/>
                </a:cubicBezTo>
                <a:cubicBezTo>
                  <a:pt x="111" y="50"/>
                  <a:pt x="111" y="50"/>
                  <a:pt x="111" y="50"/>
                </a:cubicBezTo>
                <a:cubicBezTo>
                  <a:pt x="111" y="48"/>
                  <a:pt x="112" y="40"/>
                  <a:pt x="106" y="32"/>
                </a:cubicBezTo>
                <a:cubicBezTo>
                  <a:pt x="100" y="26"/>
                  <a:pt x="92" y="23"/>
                  <a:pt x="80" y="23"/>
                </a:cubicBezTo>
                <a:cubicBezTo>
                  <a:pt x="68" y="23"/>
                  <a:pt x="60" y="26"/>
                  <a:pt x="54" y="32"/>
                </a:cubicBezTo>
                <a:cubicBezTo>
                  <a:pt x="48" y="40"/>
                  <a:pt x="49" y="48"/>
                  <a:pt x="49" y="50"/>
                </a:cubicBezTo>
                <a:cubicBezTo>
                  <a:pt x="49" y="63"/>
                  <a:pt x="49" y="63"/>
                  <a:pt x="49" y="63"/>
                </a:cubicBezTo>
                <a:cubicBezTo>
                  <a:pt x="47" y="65"/>
                  <a:pt x="46" y="67"/>
                  <a:pt x="46" y="70"/>
                </a:cubicBezTo>
                <a:cubicBezTo>
                  <a:pt x="46" y="80"/>
                  <a:pt x="46" y="80"/>
                  <a:pt x="46" y="80"/>
                </a:cubicBezTo>
                <a:cubicBezTo>
                  <a:pt x="46" y="84"/>
                  <a:pt x="48" y="87"/>
                  <a:pt x="50" y="89"/>
                </a:cubicBezTo>
                <a:cubicBezTo>
                  <a:pt x="52" y="98"/>
                  <a:pt x="57" y="105"/>
                  <a:pt x="59" y="107"/>
                </a:cubicBezTo>
                <a:cubicBezTo>
                  <a:pt x="59" y="116"/>
                  <a:pt x="59" y="116"/>
                  <a:pt x="59" y="116"/>
                </a:cubicBezTo>
                <a:cubicBezTo>
                  <a:pt x="59" y="118"/>
                  <a:pt x="58" y="120"/>
                  <a:pt x="56" y="121"/>
                </a:cubicBezTo>
                <a:cubicBezTo>
                  <a:pt x="33" y="134"/>
                  <a:pt x="33" y="134"/>
                  <a:pt x="33" y="134"/>
                </a:cubicBezTo>
                <a:cubicBezTo>
                  <a:pt x="32" y="134"/>
                  <a:pt x="31" y="135"/>
                  <a:pt x="30" y="135"/>
                </a:cubicBezTo>
                <a:cubicBezTo>
                  <a:pt x="15" y="122"/>
                  <a:pt x="6" y="102"/>
                  <a:pt x="6" y="80"/>
                </a:cubicBezTo>
                <a:close/>
                <a:moveTo>
                  <a:pt x="124" y="140"/>
                </a:moveTo>
                <a:cubicBezTo>
                  <a:pt x="123" y="141"/>
                  <a:pt x="121" y="141"/>
                  <a:pt x="120" y="142"/>
                </a:cubicBezTo>
                <a:cubicBezTo>
                  <a:pt x="120" y="142"/>
                  <a:pt x="119" y="143"/>
                  <a:pt x="119" y="143"/>
                </a:cubicBezTo>
                <a:cubicBezTo>
                  <a:pt x="118" y="144"/>
                  <a:pt x="116" y="145"/>
                  <a:pt x="115" y="146"/>
                </a:cubicBezTo>
                <a:cubicBezTo>
                  <a:pt x="114" y="146"/>
                  <a:pt x="114" y="146"/>
                  <a:pt x="114" y="146"/>
                </a:cubicBezTo>
                <a:cubicBezTo>
                  <a:pt x="111" y="148"/>
                  <a:pt x="107" y="149"/>
                  <a:pt x="104" y="150"/>
                </a:cubicBezTo>
                <a:cubicBezTo>
                  <a:pt x="104" y="150"/>
                  <a:pt x="103" y="150"/>
                  <a:pt x="103" y="150"/>
                </a:cubicBezTo>
                <a:cubicBezTo>
                  <a:pt x="101" y="151"/>
                  <a:pt x="100" y="152"/>
                  <a:pt x="98" y="152"/>
                </a:cubicBezTo>
                <a:cubicBezTo>
                  <a:pt x="98" y="152"/>
                  <a:pt x="98" y="152"/>
                  <a:pt x="98" y="152"/>
                </a:cubicBezTo>
                <a:cubicBezTo>
                  <a:pt x="96" y="152"/>
                  <a:pt x="94" y="153"/>
                  <a:pt x="92" y="153"/>
                </a:cubicBezTo>
                <a:cubicBezTo>
                  <a:pt x="92" y="153"/>
                  <a:pt x="92" y="153"/>
                  <a:pt x="92" y="153"/>
                </a:cubicBezTo>
                <a:cubicBezTo>
                  <a:pt x="90" y="154"/>
                  <a:pt x="88" y="154"/>
                  <a:pt x="86" y="154"/>
                </a:cubicBezTo>
                <a:cubicBezTo>
                  <a:pt x="86" y="154"/>
                  <a:pt x="86" y="154"/>
                  <a:pt x="85" y="154"/>
                </a:cubicBezTo>
                <a:cubicBezTo>
                  <a:pt x="84" y="154"/>
                  <a:pt x="82" y="154"/>
                  <a:pt x="80" y="154"/>
                </a:cubicBezTo>
                <a:cubicBezTo>
                  <a:pt x="78" y="154"/>
                  <a:pt x="76" y="154"/>
                  <a:pt x="74" y="154"/>
                </a:cubicBezTo>
                <a:cubicBezTo>
                  <a:pt x="74" y="154"/>
                  <a:pt x="74" y="154"/>
                  <a:pt x="74" y="154"/>
                </a:cubicBezTo>
                <a:cubicBezTo>
                  <a:pt x="72" y="154"/>
                  <a:pt x="70" y="154"/>
                  <a:pt x="68" y="153"/>
                </a:cubicBezTo>
                <a:cubicBezTo>
                  <a:pt x="68" y="153"/>
                  <a:pt x="68" y="153"/>
                  <a:pt x="68" y="153"/>
                </a:cubicBezTo>
                <a:cubicBezTo>
                  <a:pt x="64" y="153"/>
                  <a:pt x="60" y="152"/>
                  <a:pt x="56" y="150"/>
                </a:cubicBezTo>
                <a:cubicBezTo>
                  <a:pt x="56" y="150"/>
                  <a:pt x="56" y="150"/>
                  <a:pt x="56" y="150"/>
                </a:cubicBezTo>
                <a:cubicBezTo>
                  <a:pt x="54" y="150"/>
                  <a:pt x="52" y="149"/>
                  <a:pt x="51" y="148"/>
                </a:cubicBezTo>
                <a:cubicBezTo>
                  <a:pt x="51" y="148"/>
                  <a:pt x="51" y="148"/>
                  <a:pt x="51" y="148"/>
                </a:cubicBezTo>
                <a:cubicBezTo>
                  <a:pt x="49" y="147"/>
                  <a:pt x="47" y="147"/>
                  <a:pt x="46" y="146"/>
                </a:cubicBezTo>
                <a:cubicBezTo>
                  <a:pt x="46" y="146"/>
                  <a:pt x="45" y="146"/>
                  <a:pt x="45" y="145"/>
                </a:cubicBezTo>
                <a:cubicBezTo>
                  <a:pt x="44" y="145"/>
                  <a:pt x="42" y="144"/>
                  <a:pt x="41" y="143"/>
                </a:cubicBezTo>
                <a:cubicBezTo>
                  <a:pt x="40" y="143"/>
                  <a:pt x="40" y="142"/>
                  <a:pt x="39" y="142"/>
                </a:cubicBezTo>
                <a:cubicBezTo>
                  <a:pt x="38" y="141"/>
                  <a:pt x="37" y="140"/>
                  <a:pt x="36" y="139"/>
                </a:cubicBezTo>
                <a:cubicBezTo>
                  <a:pt x="35" y="139"/>
                  <a:pt x="35" y="139"/>
                  <a:pt x="35" y="139"/>
                </a:cubicBezTo>
                <a:cubicBezTo>
                  <a:pt x="35" y="139"/>
                  <a:pt x="35" y="139"/>
                  <a:pt x="35" y="139"/>
                </a:cubicBezTo>
                <a:cubicBezTo>
                  <a:pt x="58" y="126"/>
                  <a:pt x="58" y="126"/>
                  <a:pt x="58" y="126"/>
                </a:cubicBezTo>
                <a:cubicBezTo>
                  <a:pt x="62" y="124"/>
                  <a:pt x="65" y="120"/>
                  <a:pt x="65" y="116"/>
                </a:cubicBezTo>
                <a:cubicBezTo>
                  <a:pt x="65" y="105"/>
                  <a:pt x="65" y="105"/>
                  <a:pt x="65" y="105"/>
                </a:cubicBezTo>
                <a:cubicBezTo>
                  <a:pt x="64" y="104"/>
                  <a:pt x="64" y="104"/>
                  <a:pt x="64" y="104"/>
                </a:cubicBezTo>
                <a:cubicBezTo>
                  <a:pt x="64" y="104"/>
                  <a:pt x="58" y="97"/>
                  <a:pt x="55" y="86"/>
                </a:cubicBezTo>
                <a:cubicBezTo>
                  <a:pt x="55" y="85"/>
                  <a:pt x="55" y="85"/>
                  <a:pt x="55" y="85"/>
                </a:cubicBezTo>
                <a:cubicBezTo>
                  <a:pt x="54" y="84"/>
                  <a:pt x="54" y="84"/>
                  <a:pt x="54" y="84"/>
                </a:cubicBezTo>
                <a:cubicBezTo>
                  <a:pt x="53" y="83"/>
                  <a:pt x="52" y="82"/>
                  <a:pt x="52" y="80"/>
                </a:cubicBezTo>
                <a:cubicBezTo>
                  <a:pt x="52" y="70"/>
                  <a:pt x="52" y="70"/>
                  <a:pt x="52" y="70"/>
                </a:cubicBezTo>
                <a:cubicBezTo>
                  <a:pt x="52" y="69"/>
                  <a:pt x="53" y="67"/>
                  <a:pt x="54" y="66"/>
                </a:cubicBezTo>
                <a:cubicBezTo>
                  <a:pt x="55" y="66"/>
                  <a:pt x="55" y="66"/>
                  <a:pt x="55" y="66"/>
                </a:cubicBezTo>
                <a:cubicBezTo>
                  <a:pt x="55" y="49"/>
                  <a:pt x="55" y="49"/>
                  <a:pt x="55" y="49"/>
                </a:cubicBezTo>
                <a:cubicBezTo>
                  <a:pt x="55" y="49"/>
                  <a:pt x="55" y="49"/>
                  <a:pt x="55" y="49"/>
                </a:cubicBezTo>
                <a:cubicBezTo>
                  <a:pt x="55" y="49"/>
                  <a:pt x="54" y="42"/>
                  <a:pt x="59" y="36"/>
                </a:cubicBezTo>
                <a:cubicBezTo>
                  <a:pt x="63" y="32"/>
                  <a:pt x="70" y="29"/>
                  <a:pt x="80" y="29"/>
                </a:cubicBezTo>
                <a:cubicBezTo>
                  <a:pt x="90" y="29"/>
                  <a:pt x="97" y="32"/>
                  <a:pt x="101" y="36"/>
                </a:cubicBezTo>
                <a:cubicBezTo>
                  <a:pt x="106" y="42"/>
                  <a:pt x="105" y="49"/>
                  <a:pt x="105" y="49"/>
                </a:cubicBezTo>
                <a:cubicBezTo>
                  <a:pt x="105" y="66"/>
                  <a:pt x="105" y="66"/>
                  <a:pt x="105" y="66"/>
                </a:cubicBezTo>
                <a:cubicBezTo>
                  <a:pt x="106" y="66"/>
                  <a:pt x="106" y="66"/>
                  <a:pt x="106" y="66"/>
                </a:cubicBezTo>
                <a:cubicBezTo>
                  <a:pt x="107" y="67"/>
                  <a:pt x="108" y="69"/>
                  <a:pt x="108" y="70"/>
                </a:cubicBezTo>
                <a:cubicBezTo>
                  <a:pt x="108" y="80"/>
                  <a:pt x="108" y="80"/>
                  <a:pt x="108" y="80"/>
                </a:cubicBezTo>
                <a:cubicBezTo>
                  <a:pt x="108" y="82"/>
                  <a:pt x="107" y="84"/>
                  <a:pt x="105" y="85"/>
                </a:cubicBezTo>
                <a:cubicBezTo>
                  <a:pt x="103" y="85"/>
                  <a:pt x="103" y="85"/>
                  <a:pt x="103" y="85"/>
                </a:cubicBezTo>
                <a:cubicBezTo>
                  <a:pt x="103" y="87"/>
                  <a:pt x="103" y="87"/>
                  <a:pt x="103" y="87"/>
                </a:cubicBezTo>
                <a:cubicBezTo>
                  <a:pt x="101" y="92"/>
                  <a:pt x="99" y="97"/>
                  <a:pt x="95" y="101"/>
                </a:cubicBezTo>
                <a:cubicBezTo>
                  <a:pt x="95" y="103"/>
                  <a:pt x="94" y="103"/>
                  <a:pt x="93" y="104"/>
                </a:cubicBezTo>
                <a:cubicBezTo>
                  <a:pt x="93" y="105"/>
                  <a:pt x="93" y="105"/>
                  <a:pt x="93" y="105"/>
                </a:cubicBezTo>
                <a:cubicBezTo>
                  <a:pt x="93" y="116"/>
                  <a:pt x="93" y="116"/>
                  <a:pt x="93" y="116"/>
                </a:cubicBezTo>
                <a:cubicBezTo>
                  <a:pt x="93" y="120"/>
                  <a:pt x="95" y="125"/>
                  <a:pt x="99" y="127"/>
                </a:cubicBezTo>
                <a:cubicBezTo>
                  <a:pt x="124" y="139"/>
                  <a:pt x="124" y="139"/>
                  <a:pt x="124" y="139"/>
                </a:cubicBezTo>
                <a:cubicBezTo>
                  <a:pt x="124" y="139"/>
                  <a:pt x="124" y="139"/>
                  <a:pt x="124" y="139"/>
                </a:cubicBezTo>
                <a:cubicBezTo>
                  <a:pt x="124" y="140"/>
                  <a:pt x="124" y="140"/>
                  <a:pt x="124" y="1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53" name="Freeform 55">
            <a:extLst>
              <a:ext uri="{FF2B5EF4-FFF2-40B4-BE49-F238E27FC236}">
                <a16:creationId xmlns:a16="http://schemas.microsoft.com/office/drawing/2014/main" id="{FE95D1D6-1FBD-5C44-9766-6F88EEA808AA}"/>
              </a:ext>
            </a:extLst>
          </p:cNvPr>
          <p:cNvSpPr>
            <a:spLocks noEditPoints="1"/>
          </p:cNvSpPr>
          <p:nvPr/>
        </p:nvSpPr>
        <p:spPr bwMode="auto">
          <a:xfrm>
            <a:off x="5843279" y="3805238"/>
            <a:ext cx="600075" cy="606425"/>
          </a:xfrm>
          <a:custGeom>
            <a:avLst/>
            <a:gdLst>
              <a:gd name="T0" fmla="*/ 0 w 160"/>
              <a:gd name="T1" fmla="*/ 80 h 160"/>
              <a:gd name="T2" fmla="*/ 14 w 160"/>
              <a:gd name="T3" fmla="*/ 125 h 160"/>
              <a:gd name="T4" fmla="*/ 18 w 160"/>
              <a:gd name="T5" fmla="*/ 131 h 160"/>
              <a:gd name="T6" fmla="*/ 29 w 160"/>
              <a:gd name="T7" fmla="*/ 142 h 160"/>
              <a:gd name="T8" fmla="*/ 35 w 160"/>
              <a:gd name="T9" fmla="*/ 146 h 160"/>
              <a:gd name="T10" fmla="*/ 42 w 160"/>
              <a:gd name="T11" fmla="*/ 151 h 160"/>
              <a:gd name="T12" fmla="*/ 48 w 160"/>
              <a:gd name="T13" fmla="*/ 153 h 160"/>
              <a:gd name="T14" fmla="*/ 61 w 160"/>
              <a:gd name="T15" fmla="*/ 158 h 160"/>
              <a:gd name="T16" fmla="*/ 66 w 160"/>
              <a:gd name="T17" fmla="*/ 159 h 160"/>
              <a:gd name="T18" fmla="*/ 74 w 160"/>
              <a:gd name="T19" fmla="*/ 160 h 160"/>
              <a:gd name="T20" fmla="*/ 85 w 160"/>
              <a:gd name="T21" fmla="*/ 160 h 160"/>
              <a:gd name="T22" fmla="*/ 91 w 160"/>
              <a:gd name="T23" fmla="*/ 159 h 160"/>
              <a:gd name="T24" fmla="*/ 99 w 160"/>
              <a:gd name="T25" fmla="*/ 158 h 160"/>
              <a:gd name="T26" fmla="*/ 109 w 160"/>
              <a:gd name="T27" fmla="*/ 154 h 160"/>
              <a:gd name="T28" fmla="*/ 116 w 160"/>
              <a:gd name="T29" fmla="*/ 151 h 160"/>
              <a:gd name="T30" fmla="*/ 124 w 160"/>
              <a:gd name="T31" fmla="*/ 147 h 160"/>
              <a:gd name="T32" fmla="*/ 128 w 160"/>
              <a:gd name="T33" fmla="*/ 144 h 160"/>
              <a:gd name="T34" fmla="*/ 141 w 160"/>
              <a:gd name="T35" fmla="*/ 131 h 160"/>
              <a:gd name="T36" fmla="*/ 145 w 160"/>
              <a:gd name="T37" fmla="*/ 127 h 160"/>
              <a:gd name="T38" fmla="*/ 147 w 160"/>
              <a:gd name="T39" fmla="*/ 124 h 160"/>
              <a:gd name="T40" fmla="*/ 145 w 160"/>
              <a:gd name="T41" fmla="*/ 117 h 160"/>
              <a:gd name="T42" fmla="*/ 94 w 160"/>
              <a:gd name="T43" fmla="*/ 91 h 160"/>
              <a:gd name="T44" fmla="*/ 94 w 160"/>
              <a:gd name="T45" fmla="*/ 87 h 160"/>
              <a:gd name="T46" fmla="*/ 155 w 160"/>
              <a:gd name="T47" fmla="*/ 80 h 160"/>
              <a:gd name="T48" fmla="*/ 138 w 160"/>
              <a:gd name="T49" fmla="*/ 127 h 160"/>
              <a:gd name="T50" fmla="*/ 130 w 160"/>
              <a:gd name="T51" fmla="*/ 135 h 160"/>
              <a:gd name="T52" fmla="*/ 125 w 160"/>
              <a:gd name="T53" fmla="*/ 140 h 160"/>
              <a:gd name="T54" fmla="*/ 123 w 160"/>
              <a:gd name="T55" fmla="*/ 128 h 160"/>
              <a:gd name="T56" fmla="*/ 117 w 160"/>
              <a:gd name="T57" fmla="*/ 145 h 160"/>
              <a:gd name="T58" fmla="*/ 111 w 160"/>
              <a:gd name="T59" fmla="*/ 148 h 160"/>
              <a:gd name="T60" fmla="*/ 106 w 160"/>
              <a:gd name="T61" fmla="*/ 150 h 160"/>
              <a:gd name="T62" fmla="*/ 94 w 160"/>
              <a:gd name="T63" fmla="*/ 153 h 160"/>
              <a:gd name="T64" fmla="*/ 89 w 160"/>
              <a:gd name="T65" fmla="*/ 154 h 160"/>
              <a:gd name="T66" fmla="*/ 80 w 160"/>
              <a:gd name="T67" fmla="*/ 155 h 160"/>
              <a:gd name="T68" fmla="*/ 71 w 160"/>
              <a:gd name="T69" fmla="*/ 154 h 160"/>
              <a:gd name="T70" fmla="*/ 66 w 160"/>
              <a:gd name="T71" fmla="*/ 153 h 160"/>
              <a:gd name="T72" fmla="*/ 54 w 160"/>
              <a:gd name="T73" fmla="*/ 150 h 160"/>
              <a:gd name="T74" fmla="*/ 49 w 160"/>
              <a:gd name="T75" fmla="*/ 148 h 160"/>
              <a:gd name="T76" fmla="*/ 43 w 160"/>
              <a:gd name="T77" fmla="*/ 145 h 160"/>
              <a:gd name="T78" fmla="*/ 37 w 160"/>
              <a:gd name="T79" fmla="*/ 128 h 160"/>
              <a:gd name="T80" fmla="*/ 35 w 160"/>
              <a:gd name="T81" fmla="*/ 140 h 160"/>
              <a:gd name="T82" fmla="*/ 30 w 160"/>
              <a:gd name="T83" fmla="*/ 135 h 160"/>
              <a:gd name="T84" fmla="*/ 22 w 160"/>
              <a:gd name="T85" fmla="*/ 127 h 160"/>
              <a:gd name="T86" fmla="*/ 19 w 160"/>
              <a:gd name="T87" fmla="*/ 123 h 160"/>
              <a:gd name="T88" fmla="*/ 80 w 160"/>
              <a:gd name="T89" fmla="*/ 118 h 160"/>
              <a:gd name="T90" fmla="*/ 141 w 160"/>
              <a:gd name="T91" fmla="*/ 123 h 160"/>
              <a:gd name="T92" fmla="*/ 45 w 160"/>
              <a:gd name="T93" fmla="*/ 40 h 160"/>
              <a:gd name="T94" fmla="*/ 66 w 160"/>
              <a:gd name="T95" fmla="*/ 33 h 160"/>
              <a:gd name="T96" fmla="*/ 115 w 160"/>
              <a:gd name="T97" fmla="*/ 38 h 160"/>
              <a:gd name="T98" fmla="*/ 88 w 160"/>
              <a:gd name="T99" fmla="*/ 90 h 160"/>
              <a:gd name="T100" fmla="*/ 80 w 160"/>
              <a:gd name="T101" fmla="*/ 111 h 160"/>
              <a:gd name="T102" fmla="*/ 72 w 160"/>
              <a:gd name="T103" fmla="*/ 90 h 160"/>
              <a:gd name="T104" fmla="*/ 80 w 160"/>
              <a:gd name="T105" fmla="*/ 5 h 160"/>
              <a:gd name="T106" fmla="*/ 113 w 160"/>
              <a:gd name="T107" fmla="*/ 28 h 160"/>
              <a:gd name="T108" fmla="*/ 90 w 160"/>
              <a:gd name="T109" fmla="*/ 19 h 160"/>
              <a:gd name="T110" fmla="*/ 47 w 160"/>
              <a:gd name="T111" fmla="*/ 30 h 160"/>
              <a:gd name="T112" fmla="*/ 53 w 160"/>
              <a:gd name="T113" fmla="*/ 10 h 160"/>
              <a:gd name="T114" fmla="*/ 66 w 160"/>
              <a:gd name="T115" fmla="*/ 87 h 160"/>
              <a:gd name="T116" fmla="*/ 66 w 160"/>
              <a:gd name="T117" fmla="*/ 91 h 160"/>
              <a:gd name="T118" fmla="*/ 15 w 160"/>
              <a:gd name="T119"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 h="160">
                <a:moveTo>
                  <a:pt x="160" y="80"/>
                </a:moveTo>
                <a:cubicBezTo>
                  <a:pt x="160" y="36"/>
                  <a:pt x="124" y="0"/>
                  <a:pt x="80" y="0"/>
                </a:cubicBezTo>
                <a:cubicBezTo>
                  <a:pt x="36" y="0"/>
                  <a:pt x="0" y="36"/>
                  <a:pt x="0" y="80"/>
                </a:cubicBezTo>
                <a:cubicBezTo>
                  <a:pt x="0" y="96"/>
                  <a:pt x="5" y="112"/>
                  <a:pt x="13" y="124"/>
                </a:cubicBezTo>
                <a:cubicBezTo>
                  <a:pt x="13" y="124"/>
                  <a:pt x="13" y="124"/>
                  <a:pt x="13" y="124"/>
                </a:cubicBezTo>
                <a:cubicBezTo>
                  <a:pt x="14" y="125"/>
                  <a:pt x="14" y="125"/>
                  <a:pt x="14" y="125"/>
                </a:cubicBezTo>
                <a:cubicBezTo>
                  <a:pt x="14" y="126"/>
                  <a:pt x="15" y="127"/>
                  <a:pt x="15" y="127"/>
                </a:cubicBezTo>
                <a:cubicBezTo>
                  <a:pt x="16" y="128"/>
                  <a:pt x="16" y="128"/>
                  <a:pt x="16" y="128"/>
                </a:cubicBezTo>
                <a:cubicBezTo>
                  <a:pt x="17" y="129"/>
                  <a:pt x="17" y="130"/>
                  <a:pt x="18" y="131"/>
                </a:cubicBezTo>
                <a:cubicBezTo>
                  <a:pt x="18" y="131"/>
                  <a:pt x="18" y="131"/>
                  <a:pt x="19" y="131"/>
                </a:cubicBezTo>
                <a:cubicBezTo>
                  <a:pt x="22" y="135"/>
                  <a:pt x="25" y="138"/>
                  <a:pt x="29" y="141"/>
                </a:cubicBezTo>
                <a:cubicBezTo>
                  <a:pt x="29" y="142"/>
                  <a:pt x="29" y="142"/>
                  <a:pt x="29" y="142"/>
                </a:cubicBezTo>
                <a:cubicBezTo>
                  <a:pt x="30" y="143"/>
                  <a:pt x="31" y="143"/>
                  <a:pt x="32" y="144"/>
                </a:cubicBezTo>
                <a:cubicBezTo>
                  <a:pt x="32" y="144"/>
                  <a:pt x="32" y="144"/>
                  <a:pt x="33" y="145"/>
                </a:cubicBezTo>
                <a:cubicBezTo>
                  <a:pt x="34" y="145"/>
                  <a:pt x="34" y="146"/>
                  <a:pt x="35" y="146"/>
                </a:cubicBezTo>
                <a:cubicBezTo>
                  <a:pt x="36" y="147"/>
                  <a:pt x="36" y="147"/>
                  <a:pt x="36" y="147"/>
                </a:cubicBezTo>
                <a:cubicBezTo>
                  <a:pt x="38" y="148"/>
                  <a:pt x="39" y="148"/>
                  <a:pt x="40" y="149"/>
                </a:cubicBezTo>
                <a:cubicBezTo>
                  <a:pt x="41" y="150"/>
                  <a:pt x="41" y="150"/>
                  <a:pt x="42" y="151"/>
                </a:cubicBezTo>
                <a:cubicBezTo>
                  <a:pt x="43" y="151"/>
                  <a:pt x="43" y="151"/>
                  <a:pt x="44" y="151"/>
                </a:cubicBezTo>
                <a:cubicBezTo>
                  <a:pt x="45" y="152"/>
                  <a:pt x="45" y="152"/>
                  <a:pt x="46" y="153"/>
                </a:cubicBezTo>
                <a:cubicBezTo>
                  <a:pt x="47" y="153"/>
                  <a:pt x="47" y="153"/>
                  <a:pt x="48" y="153"/>
                </a:cubicBezTo>
                <a:cubicBezTo>
                  <a:pt x="49" y="154"/>
                  <a:pt x="50" y="154"/>
                  <a:pt x="51" y="154"/>
                </a:cubicBezTo>
                <a:cubicBezTo>
                  <a:pt x="51" y="155"/>
                  <a:pt x="51" y="155"/>
                  <a:pt x="52" y="155"/>
                </a:cubicBezTo>
                <a:cubicBezTo>
                  <a:pt x="55" y="156"/>
                  <a:pt x="58" y="157"/>
                  <a:pt x="61" y="158"/>
                </a:cubicBezTo>
                <a:cubicBezTo>
                  <a:pt x="61" y="158"/>
                  <a:pt x="61" y="158"/>
                  <a:pt x="61" y="158"/>
                </a:cubicBezTo>
                <a:cubicBezTo>
                  <a:pt x="62" y="158"/>
                  <a:pt x="64" y="158"/>
                  <a:pt x="65" y="159"/>
                </a:cubicBezTo>
                <a:cubicBezTo>
                  <a:pt x="65" y="159"/>
                  <a:pt x="66" y="159"/>
                  <a:pt x="66" y="159"/>
                </a:cubicBezTo>
                <a:cubicBezTo>
                  <a:pt x="67" y="159"/>
                  <a:pt x="68" y="159"/>
                  <a:pt x="69" y="159"/>
                </a:cubicBezTo>
                <a:cubicBezTo>
                  <a:pt x="70" y="159"/>
                  <a:pt x="70" y="159"/>
                  <a:pt x="71" y="159"/>
                </a:cubicBezTo>
                <a:cubicBezTo>
                  <a:pt x="72" y="160"/>
                  <a:pt x="73" y="160"/>
                  <a:pt x="74" y="160"/>
                </a:cubicBezTo>
                <a:cubicBezTo>
                  <a:pt x="75" y="160"/>
                  <a:pt x="75" y="160"/>
                  <a:pt x="75" y="160"/>
                </a:cubicBezTo>
                <a:cubicBezTo>
                  <a:pt x="77" y="160"/>
                  <a:pt x="78" y="160"/>
                  <a:pt x="80" y="160"/>
                </a:cubicBezTo>
                <a:cubicBezTo>
                  <a:pt x="82" y="160"/>
                  <a:pt x="83" y="160"/>
                  <a:pt x="85" y="160"/>
                </a:cubicBezTo>
                <a:cubicBezTo>
                  <a:pt x="85" y="160"/>
                  <a:pt x="85" y="160"/>
                  <a:pt x="86" y="160"/>
                </a:cubicBezTo>
                <a:cubicBezTo>
                  <a:pt x="87" y="160"/>
                  <a:pt x="88" y="160"/>
                  <a:pt x="89" y="159"/>
                </a:cubicBezTo>
                <a:cubicBezTo>
                  <a:pt x="90" y="159"/>
                  <a:pt x="90" y="159"/>
                  <a:pt x="91" y="159"/>
                </a:cubicBezTo>
                <a:cubicBezTo>
                  <a:pt x="92" y="159"/>
                  <a:pt x="93" y="159"/>
                  <a:pt x="94" y="159"/>
                </a:cubicBezTo>
                <a:cubicBezTo>
                  <a:pt x="94" y="159"/>
                  <a:pt x="95" y="159"/>
                  <a:pt x="95" y="159"/>
                </a:cubicBezTo>
                <a:cubicBezTo>
                  <a:pt x="96" y="158"/>
                  <a:pt x="98" y="158"/>
                  <a:pt x="99" y="158"/>
                </a:cubicBezTo>
                <a:cubicBezTo>
                  <a:pt x="99" y="158"/>
                  <a:pt x="99" y="158"/>
                  <a:pt x="99" y="158"/>
                </a:cubicBezTo>
                <a:cubicBezTo>
                  <a:pt x="102" y="157"/>
                  <a:pt x="105" y="156"/>
                  <a:pt x="108" y="155"/>
                </a:cubicBezTo>
                <a:cubicBezTo>
                  <a:pt x="109" y="155"/>
                  <a:pt x="109" y="155"/>
                  <a:pt x="109" y="154"/>
                </a:cubicBezTo>
                <a:cubicBezTo>
                  <a:pt x="110" y="154"/>
                  <a:pt x="111" y="154"/>
                  <a:pt x="112" y="153"/>
                </a:cubicBezTo>
                <a:cubicBezTo>
                  <a:pt x="113" y="153"/>
                  <a:pt x="113" y="153"/>
                  <a:pt x="114" y="153"/>
                </a:cubicBezTo>
                <a:cubicBezTo>
                  <a:pt x="115" y="152"/>
                  <a:pt x="115" y="152"/>
                  <a:pt x="116" y="151"/>
                </a:cubicBezTo>
                <a:cubicBezTo>
                  <a:pt x="117" y="151"/>
                  <a:pt x="117" y="151"/>
                  <a:pt x="118" y="151"/>
                </a:cubicBezTo>
                <a:cubicBezTo>
                  <a:pt x="119" y="150"/>
                  <a:pt x="119" y="150"/>
                  <a:pt x="120" y="149"/>
                </a:cubicBezTo>
                <a:cubicBezTo>
                  <a:pt x="121" y="148"/>
                  <a:pt x="122" y="148"/>
                  <a:pt x="124" y="147"/>
                </a:cubicBezTo>
                <a:cubicBezTo>
                  <a:pt x="124" y="147"/>
                  <a:pt x="124" y="147"/>
                  <a:pt x="125" y="146"/>
                </a:cubicBezTo>
                <a:cubicBezTo>
                  <a:pt x="126" y="146"/>
                  <a:pt x="126" y="145"/>
                  <a:pt x="127" y="145"/>
                </a:cubicBezTo>
                <a:cubicBezTo>
                  <a:pt x="128" y="144"/>
                  <a:pt x="128" y="144"/>
                  <a:pt x="128" y="144"/>
                </a:cubicBezTo>
                <a:cubicBezTo>
                  <a:pt x="129" y="143"/>
                  <a:pt x="130" y="143"/>
                  <a:pt x="131" y="142"/>
                </a:cubicBezTo>
                <a:cubicBezTo>
                  <a:pt x="131" y="142"/>
                  <a:pt x="131" y="142"/>
                  <a:pt x="131" y="141"/>
                </a:cubicBezTo>
                <a:cubicBezTo>
                  <a:pt x="135" y="138"/>
                  <a:pt x="138" y="135"/>
                  <a:pt x="141" y="131"/>
                </a:cubicBezTo>
                <a:cubicBezTo>
                  <a:pt x="142" y="131"/>
                  <a:pt x="142" y="131"/>
                  <a:pt x="142" y="131"/>
                </a:cubicBezTo>
                <a:cubicBezTo>
                  <a:pt x="143" y="130"/>
                  <a:pt x="143" y="129"/>
                  <a:pt x="144" y="128"/>
                </a:cubicBezTo>
                <a:cubicBezTo>
                  <a:pt x="144" y="128"/>
                  <a:pt x="144" y="128"/>
                  <a:pt x="145" y="127"/>
                </a:cubicBezTo>
                <a:cubicBezTo>
                  <a:pt x="145" y="127"/>
                  <a:pt x="146" y="126"/>
                  <a:pt x="146" y="125"/>
                </a:cubicBezTo>
                <a:cubicBezTo>
                  <a:pt x="147" y="124"/>
                  <a:pt x="147" y="124"/>
                  <a:pt x="147" y="124"/>
                </a:cubicBezTo>
                <a:cubicBezTo>
                  <a:pt x="147" y="124"/>
                  <a:pt x="147" y="124"/>
                  <a:pt x="147" y="124"/>
                </a:cubicBezTo>
                <a:cubicBezTo>
                  <a:pt x="155" y="112"/>
                  <a:pt x="160" y="96"/>
                  <a:pt x="160" y="80"/>
                </a:cubicBezTo>
                <a:close/>
                <a:moveTo>
                  <a:pt x="155" y="80"/>
                </a:moveTo>
                <a:cubicBezTo>
                  <a:pt x="155" y="93"/>
                  <a:pt x="151" y="106"/>
                  <a:pt x="145" y="117"/>
                </a:cubicBezTo>
                <a:cubicBezTo>
                  <a:pt x="141" y="101"/>
                  <a:pt x="127" y="91"/>
                  <a:pt x="110" y="91"/>
                </a:cubicBezTo>
                <a:cubicBezTo>
                  <a:pt x="108" y="91"/>
                  <a:pt x="108" y="91"/>
                  <a:pt x="108" y="91"/>
                </a:cubicBezTo>
                <a:cubicBezTo>
                  <a:pt x="94" y="91"/>
                  <a:pt x="94" y="91"/>
                  <a:pt x="94" y="91"/>
                </a:cubicBezTo>
                <a:cubicBezTo>
                  <a:pt x="94" y="91"/>
                  <a:pt x="93" y="90"/>
                  <a:pt x="93" y="90"/>
                </a:cubicBezTo>
                <a:cubicBezTo>
                  <a:pt x="93" y="88"/>
                  <a:pt x="93" y="88"/>
                  <a:pt x="93" y="88"/>
                </a:cubicBezTo>
                <a:cubicBezTo>
                  <a:pt x="93" y="87"/>
                  <a:pt x="94" y="87"/>
                  <a:pt x="94" y="87"/>
                </a:cubicBezTo>
                <a:cubicBezTo>
                  <a:pt x="111" y="81"/>
                  <a:pt x="122" y="54"/>
                  <a:pt x="120" y="35"/>
                </a:cubicBezTo>
                <a:cubicBezTo>
                  <a:pt x="119" y="25"/>
                  <a:pt x="114" y="17"/>
                  <a:pt x="107" y="10"/>
                </a:cubicBezTo>
                <a:cubicBezTo>
                  <a:pt x="135" y="21"/>
                  <a:pt x="155" y="48"/>
                  <a:pt x="155" y="80"/>
                </a:cubicBezTo>
                <a:close/>
                <a:moveTo>
                  <a:pt x="140" y="124"/>
                </a:moveTo>
                <a:cubicBezTo>
                  <a:pt x="140" y="125"/>
                  <a:pt x="140" y="125"/>
                  <a:pt x="139" y="125"/>
                </a:cubicBezTo>
                <a:cubicBezTo>
                  <a:pt x="139" y="126"/>
                  <a:pt x="138" y="127"/>
                  <a:pt x="138" y="127"/>
                </a:cubicBezTo>
                <a:cubicBezTo>
                  <a:pt x="138" y="128"/>
                  <a:pt x="138" y="128"/>
                  <a:pt x="137" y="128"/>
                </a:cubicBezTo>
                <a:cubicBezTo>
                  <a:pt x="135" y="130"/>
                  <a:pt x="133" y="133"/>
                  <a:pt x="130" y="135"/>
                </a:cubicBezTo>
                <a:cubicBezTo>
                  <a:pt x="130" y="135"/>
                  <a:pt x="130" y="135"/>
                  <a:pt x="130" y="135"/>
                </a:cubicBezTo>
                <a:cubicBezTo>
                  <a:pt x="129" y="136"/>
                  <a:pt x="129" y="137"/>
                  <a:pt x="128" y="137"/>
                </a:cubicBezTo>
                <a:cubicBezTo>
                  <a:pt x="128" y="138"/>
                  <a:pt x="127" y="138"/>
                  <a:pt x="127" y="138"/>
                </a:cubicBezTo>
                <a:cubicBezTo>
                  <a:pt x="126" y="139"/>
                  <a:pt x="126" y="139"/>
                  <a:pt x="125" y="140"/>
                </a:cubicBezTo>
                <a:cubicBezTo>
                  <a:pt x="125" y="140"/>
                  <a:pt x="124" y="140"/>
                  <a:pt x="124" y="140"/>
                </a:cubicBezTo>
                <a:cubicBezTo>
                  <a:pt x="124" y="141"/>
                  <a:pt x="123" y="141"/>
                  <a:pt x="123" y="141"/>
                </a:cubicBezTo>
                <a:cubicBezTo>
                  <a:pt x="123" y="128"/>
                  <a:pt x="123" y="128"/>
                  <a:pt x="123" y="128"/>
                </a:cubicBezTo>
                <a:cubicBezTo>
                  <a:pt x="117" y="128"/>
                  <a:pt x="117" y="128"/>
                  <a:pt x="117" y="128"/>
                </a:cubicBezTo>
                <a:cubicBezTo>
                  <a:pt x="117" y="145"/>
                  <a:pt x="117" y="145"/>
                  <a:pt x="117" y="145"/>
                </a:cubicBezTo>
                <a:cubicBezTo>
                  <a:pt x="117" y="145"/>
                  <a:pt x="117" y="145"/>
                  <a:pt x="117" y="145"/>
                </a:cubicBezTo>
                <a:cubicBezTo>
                  <a:pt x="116" y="145"/>
                  <a:pt x="116" y="146"/>
                  <a:pt x="115" y="146"/>
                </a:cubicBezTo>
                <a:cubicBezTo>
                  <a:pt x="115" y="146"/>
                  <a:pt x="114" y="146"/>
                  <a:pt x="114" y="147"/>
                </a:cubicBezTo>
                <a:cubicBezTo>
                  <a:pt x="113" y="147"/>
                  <a:pt x="112" y="147"/>
                  <a:pt x="111" y="148"/>
                </a:cubicBezTo>
                <a:cubicBezTo>
                  <a:pt x="111" y="148"/>
                  <a:pt x="110" y="148"/>
                  <a:pt x="110" y="148"/>
                </a:cubicBezTo>
                <a:cubicBezTo>
                  <a:pt x="109" y="149"/>
                  <a:pt x="108" y="149"/>
                  <a:pt x="107" y="150"/>
                </a:cubicBezTo>
                <a:cubicBezTo>
                  <a:pt x="107" y="150"/>
                  <a:pt x="106" y="150"/>
                  <a:pt x="106" y="150"/>
                </a:cubicBezTo>
                <a:cubicBezTo>
                  <a:pt x="103" y="151"/>
                  <a:pt x="101" y="152"/>
                  <a:pt x="98" y="152"/>
                </a:cubicBezTo>
                <a:cubicBezTo>
                  <a:pt x="98" y="153"/>
                  <a:pt x="98" y="153"/>
                  <a:pt x="97" y="153"/>
                </a:cubicBezTo>
                <a:cubicBezTo>
                  <a:pt x="96" y="153"/>
                  <a:pt x="95" y="153"/>
                  <a:pt x="94" y="153"/>
                </a:cubicBezTo>
                <a:cubicBezTo>
                  <a:pt x="94" y="153"/>
                  <a:pt x="93" y="153"/>
                  <a:pt x="93" y="154"/>
                </a:cubicBezTo>
                <a:cubicBezTo>
                  <a:pt x="92" y="154"/>
                  <a:pt x="91" y="154"/>
                  <a:pt x="90" y="154"/>
                </a:cubicBezTo>
                <a:cubicBezTo>
                  <a:pt x="89" y="154"/>
                  <a:pt x="89" y="154"/>
                  <a:pt x="89" y="154"/>
                </a:cubicBezTo>
                <a:cubicBezTo>
                  <a:pt x="88" y="154"/>
                  <a:pt x="86" y="154"/>
                  <a:pt x="85" y="154"/>
                </a:cubicBezTo>
                <a:cubicBezTo>
                  <a:pt x="85" y="154"/>
                  <a:pt x="85" y="155"/>
                  <a:pt x="84" y="155"/>
                </a:cubicBezTo>
                <a:cubicBezTo>
                  <a:pt x="83" y="155"/>
                  <a:pt x="81" y="155"/>
                  <a:pt x="80" y="155"/>
                </a:cubicBezTo>
                <a:cubicBezTo>
                  <a:pt x="79" y="155"/>
                  <a:pt x="77" y="155"/>
                  <a:pt x="76" y="155"/>
                </a:cubicBezTo>
                <a:cubicBezTo>
                  <a:pt x="75" y="155"/>
                  <a:pt x="75" y="154"/>
                  <a:pt x="75" y="154"/>
                </a:cubicBezTo>
                <a:cubicBezTo>
                  <a:pt x="74" y="154"/>
                  <a:pt x="73" y="154"/>
                  <a:pt x="71" y="154"/>
                </a:cubicBezTo>
                <a:cubicBezTo>
                  <a:pt x="71" y="154"/>
                  <a:pt x="71" y="154"/>
                  <a:pt x="70" y="154"/>
                </a:cubicBezTo>
                <a:cubicBezTo>
                  <a:pt x="69" y="154"/>
                  <a:pt x="68" y="154"/>
                  <a:pt x="67" y="154"/>
                </a:cubicBezTo>
                <a:cubicBezTo>
                  <a:pt x="67" y="153"/>
                  <a:pt x="66" y="153"/>
                  <a:pt x="66" y="153"/>
                </a:cubicBezTo>
                <a:cubicBezTo>
                  <a:pt x="65" y="153"/>
                  <a:pt x="64" y="153"/>
                  <a:pt x="63" y="153"/>
                </a:cubicBezTo>
                <a:cubicBezTo>
                  <a:pt x="62" y="153"/>
                  <a:pt x="62" y="153"/>
                  <a:pt x="62" y="152"/>
                </a:cubicBezTo>
                <a:cubicBezTo>
                  <a:pt x="59" y="152"/>
                  <a:pt x="57" y="151"/>
                  <a:pt x="54" y="150"/>
                </a:cubicBezTo>
                <a:cubicBezTo>
                  <a:pt x="54" y="150"/>
                  <a:pt x="53" y="150"/>
                  <a:pt x="53" y="150"/>
                </a:cubicBezTo>
                <a:cubicBezTo>
                  <a:pt x="52" y="149"/>
                  <a:pt x="51" y="149"/>
                  <a:pt x="50" y="148"/>
                </a:cubicBezTo>
                <a:cubicBezTo>
                  <a:pt x="50" y="148"/>
                  <a:pt x="49" y="148"/>
                  <a:pt x="49" y="148"/>
                </a:cubicBezTo>
                <a:cubicBezTo>
                  <a:pt x="48" y="147"/>
                  <a:pt x="47" y="147"/>
                  <a:pt x="46" y="147"/>
                </a:cubicBezTo>
                <a:cubicBezTo>
                  <a:pt x="46" y="146"/>
                  <a:pt x="46" y="146"/>
                  <a:pt x="45" y="146"/>
                </a:cubicBezTo>
                <a:cubicBezTo>
                  <a:pt x="44" y="146"/>
                  <a:pt x="44" y="145"/>
                  <a:pt x="43" y="145"/>
                </a:cubicBezTo>
                <a:cubicBezTo>
                  <a:pt x="43" y="145"/>
                  <a:pt x="43" y="145"/>
                  <a:pt x="43" y="145"/>
                </a:cubicBezTo>
                <a:cubicBezTo>
                  <a:pt x="43" y="128"/>
                  <a:pt x="43" y="128"/>
                  <a:pt x="43" y="128"/>
                </a:cubicBezTo>
                <a:cubicBezTo>
                  <a:pt x="37" y="128"/>
                  <a:pt x="37" y="128"/>
                  <a:pt x="37" y="128"/>
                </a:cubicBezTo>
                <a:cubicBezTo>
                  <a:pt x="37" y="141"/>
                  <a:pt x="37" y="141"/>
                  <a:pt x="37" y="141"/>
                </a:cubicBezTo>
                <a:cubicBezTo>
                  <a:pt x="37" y="141"/>
                  <a:pt x="36" y="141"/>
                  <a:pt x="36" y="140"/>
                </a:cubicBezTo>
                <a:cubicBezTo>
                  <a:pt x="36" y="140"/>
                  <a:pt x="35" y="140"/>
                  <a:pt x="35" y="140"/>
                </a:cubicBezTo>
                <a:cubicBezTo>
                  <a:pt x="34" y="139"/>
                  <a:pt x="34" y="139"/>
                  <a:pt x="33" y="138"/>
                </a:cubicBezTo>
                <a:cubicBezTo>
                  <a:pt x="33" y="138"/>
                  <a:pt x="32" y="138"/>
                  <a:pt x="32" y="137"/>
                </a:cubicBezTo>
                <a:cubicBezTo>
                  <a:pt x="31" y="137"/>
                  <a:pt x="31" y="136"/>
                  <a:pt x="30" y="135"/>
                </a:cubicBezTo>
                <a:cubicBezTo>
                  <a:pt x="30" y="135"/>
                  <a:pt x="30" y="135"/>
                  <a:pt x="30" y="135"/>
                </a:cubicBezTo>
                <a:cubicBezTo>
                  <a:pt x="27" y="133"/>
                  <a:pt x="25" y="130"/>
                  <a:pt x="23" y="128"/>
                </a:cubicBezTo>
                <a:cubicBezTo>
                  <a:pt x="23" y="128"/>
                  <a:pt x="22" y="128"/>
                  <a:pt x="22" y="127"/>
                </a:cubicBezTo>
                <a:cubicBezTo>
                  <a:pt x="22" y="127"/>
                  <a:pt x="21" y="126"/>
                  <a:pt x="21" y="125"/>
                </a:cubicBezTo>
                <a:cubicBezTo>
                  <a:pt x="20" y="125"/>
                  <a:pt x="20" y="125"/>
                  <a:pt x="20" y="124"/>
                </a:cubicBezTo>
                <a:cubicBezTo>
                  <a:pt x="20" y="124"/>
                  <a:pt x="19" y="123"/>
                  <a:pt x="19" y="123"/>
                </a:cubicBezTo>
                <a:cubicBezTo>
                  <a:pt x="21" y="108"/>
                  <a:pt x="34" y="96"/>
                  <a:pt x="50" y="96"/>
                </a:cubicBezTo>
                <a:cubicBezTo>
                  <a:pt x="58" y="96"/>
                  <a:pt x="58" y="96"/>
                  <a:pt x="58" y="96"/>
                </a:cubicBezTo>
                <a:cubicBezTo>
                  <a:pt x="80" y="118"/>
                  <a:pt x="80" y="118"/>
                  <a:pt x="80" y="118"/>
                </a:cubicBezTo>
                <a:cubicBezTo>
                  <a:pt x="102" y="96"/>
                  <a:pt x="102" y="96"/>
                  <a:pt x="102" y="96"/>
                </a:cubicBezTo>
                <a:cubicBezTo>
                  <a:pt x="110" y="96"/>
                  <a:pt x="110" y="96"/>
                  <a:pt x="110" y="96"/>
                </a:cubicBezTo>
                <a:cubicBezTo>
                  <a:pt x="126" y="96"/>
                  <a:pt x="139" y="108"/>
                  <a:pt x="141" y="123"/>
                </a:cubicBezTo>
                <a:cubicBezTo>
                  <a:pt x="141" y="123"/>
                  <a:pt x="140" y="124"/>
                  <a:pt x="140" y="124"/>
                </a:cubicBezTo>
                <a:close/>
                <a:moveTo>
                  <a:pt x="68" y="82"/>
                </a:moveTo>
                <a:cubicBezTo>
                  <a:pt x="55" y="77"/>
                  <a:pt x="45" y="56"/>
                  <a:pt x="45" y="40"/>
                </a:cubicBezTo>
                <a:cubicBezTo>
                  <a:pt x="45" y="40"/>
                  <a:pt x="45" y="39"/>
                  <a:pt x="45" y="39"/>
                </a:cubicBezTo>
                <a:cubicBezTo>
                  <a:pt x="47" y="37"/>
                  <a:pt x="47" y="37"/>
                  <a:pt x="47" y="37"/>
                </a:cubicBezTo>
                <a:cubicBezTo>
                  <a:pt x="52" y="31"/>
                  <a:pt x="59" y="30"/>
                  <a:pt x="66" y="33"/>
                </a:cubicBezTo>
                <a:cubicBezTo>
                  <a:pt x="69" y="34"/>
                  <a:pt x="72" y="35"/>
                  <a:pt x="75" y="35"/>
                </a:cubicBezTo>
                <a:cubicBezTo>
                  <a:pt x="83" y="35"/>
                  <a:pt x="90" y="30"/>
                  <a:pt x="93" y="24"/>
                </a:cubicBezTo>
                <a:cubicBezTo>
                  <a:pt x="102" y="26"/>
                  <a:pt x="109" y="32"/>
                  <a:pt x="115" y="38"/>
                </a:cubicBezTo>
                <a:cubicBezTo>
                  <a:pt x="115" y="54"/>
                  <a:pt x="106" y="77"/>
                  <a:pt x="92" y="82"/>
                </a:cubicBezTo>
                <a:cubicBezTo>
                  <a:pt x="90" y="83"/>
                  <a:pt x="88" y="85"/>
                  <a:pt x="88" y="88"/>
                </a:cubicBezTo>
                <a:cubicBezTo>
                  <a:pt x="88" y="90"/>
                  <a:pt x="88" y="90"/>
                  <a:pt x="88" y="90"/>
                </a:cubicBezTo>
                <a:cubicBezTo>
                  <a:pt x="88" y="93"/>
                  <a:pt x="91" y="96"/>
                  <a:pt x="94" y="96"/>
                </a:cubicBezTo>
                <a:cubicBezTo>
                  <a:pt x="95" y="96"/>
                  <a:pt x="95" y="96"/>
                  <a:pt x="95" y="96"/>
                </a:cubicBezTo>
                <a:cubicBezTo>
                  <a:pt x="80" y="111"/>
                  <a:pt x="80" y="111"/>
                  <a:pt x="80" y="111"/>
                </a:cubicBezTo>
                <a:cubicBezTo>
                  <a:pt x="65" y="96"/>
                  <a:pt x="65" y="96"/>
                  <a:pt x="65" y="96"/>
                </a:cubicBezTo>
                <a:cubicBezTo>
                  <a:pt x="66" y="96"/>
                  <a:pt x="66" y="96"/>
                  <a:pt x="66" y="96"/>
                </a:cubicBezTo>
                <a:cubicBezTo>
                  <a:pt x="69" y="96"/>
                  <a:pt x="72" y="93"/>
                  <a:pt x="72" y="90"/>
                </a:cubicBezTo>
                <a:cubicBezTo>
                  <a:pt x="72" y="88"/>
                  <a:pt x="72" y="88"/>
                  <a:pt x="72" y="88"/>
                </a:cubicBezTo>
                <a:cubicBezTo>
                  <a:pt x="72" y="85"/>
                  <a:pt x="70" y="83"/>
                  <a:pt x="68" y="82"/>
                </a:cubicBezTo>
                <a:close/>
                <a:moveTo>
                  <a:pt x="80" y="5"/>
                </a:moveTo>
                <a:cubicBezTo>
                  <a:pt x="80" y="5"/>
                  <a:pt x="80" y="5"/>
                  <a:pt x="80" y="5"/>
                </a:cubicBezTo>
                <a:cubicBezTo>
                  <a:pt x="82" y="5"/>
                  <a:pt x="83" y="5"/>
                  <a:pt x="84" y="6"/>
                </a:cubicBezTo>
                <a:cubicBezTo>
                  <a:pt x="97" y="7"/>
                  <a:pt x="108" y="16"/>
                  <a:pt x="113" y="28"/>
                </a:cubicBezTo>
                <a:cubicBezTo>
                  <a:pt x="107" y="24"/>
                  <a:pt x="100" y="20"/>
                  <a:pt x="93" y="18"/>
                </a:cubicBezTo>
                <a:cubicBezTo>
                  <a:pt x="90" y="17"/>
                  <a:pt x="90" y="17"/>
                  <a:pt x="90" y="17"/>
                </a:cubicBezTo>
                <a:cubicBezTo>
                  <a:pt x="90" y="19"/>
                  <a:pt x="90" y="19"/>
                  <a:pt x="90" y="19"/>
                </a:cubicBezTo>
                <a:cubicBezTo>
                  <a:pt x="87" y="25"/>
                  <a:pt x="81" y="29"/>
                  <a:pt x="75" y="29"/>
                </a:cubicBezTo>
                <a:cubicBezTo>
                  <a:pt x="72" y="29"/>
                  <a:pt x="70" y="29"/>
                  <a:pt x="68" y="28"/>
                </a:cubicBezTo>
                <a:cubicBezTo>
                  <a:pt x="61" y="25"/>
                  <a:pt x="53" y="26"/>
                  <a:pt x="47" y="30"/>
                </a:cubicBezTo>
                <a:cubicBezTo>
                  <a:pt x="48" y="25"/>
                  <a:pt x="51" y="20"/>
                  <a:pt x="56" y="15"/>
                </a:cubicBezTo>
                <a:cubicBezTo>
                  <a:pt x="62" y="9"/>
                  <a:pt x="71" y="5"/>
                  <a:pt x="80" y="5"/>
                </a:cubicBezTo>
                <a:close/>
                <a:moveTo>
                  <a:pt x="53" y="10"/>
                </a:moveTo>
                <a:cubicBezTo>
                  <a:pt x="53" y="11"/>
                  <a:pt x="52" y="11"/>
                  <a:pt x="52" y="12"/>
                </a:cubicBezTo>
                <a:cubicBezTo>
                  <a:pt x="44" y="19"/>
                  <a:pt x="40" y="29"/>
                  <a:pt x="40" y="40"/>
                </a:cubicBezTo>
                <a:cubicBezTo>
                  <a:pt x="40" y="58"/>
                  <a:pt x="51" y="82"/>
                  <a:pt x="66" y="87"/>
                </a:cubicBezTo>
                <a:cubicBezTo>
                  <a:pt x="66" y="87"/>
                  <a:pt x="67" y="88"/>
                  <a:pt x="67" y="88"/>
                </a:cubicBezTo>
                <a:cubicBezTo>
                  <a:pt x="67" y="90"/>
                  <a:pt x="67" y="90"/>
                  <a:pt x="67" y="90"/>
                </a:cubicBezTo>
                <a:cubicBezTo>
                  <a:pt x="67" y="90"/>
                  <a:pt x="66" y="91"/>
                  <a:pt x="66" y="91"/>
                </a:cubicBezTo>
                <a:cubicBezTo>
                  <a:pt x="52" y="91"/>
                  <a:pt x="52" y="91"/>
                  <a:pt x="52" y="91"/>
                </a:cubicBezTo>
                <a:cubicBezTo>
                  <a:pt x="50" y="91"/>
                  <a:pt x="50" y="91"/>
                  <a:pt x="50" y="91"/>
                </a:cubicBezTo>
                <a:cubicBezTo>
                  <a:pt x="33" y="91"/>
                  <a:pt x="19" y="101"/>
                  <a:pt x="15" y="117"/>
                </a:cubicBezTo>
                <a:cubicBezTo>
                  <a:pt x="9" y="106"/>
                  <a:pt x="5" y="93"/>
                  <a:pt x="5" y="80"/>
                </a:cubicBezTo>
                <a:cubicBezTo>
                  <a:pt x="5" y="48"/>
                  <a:pt x="25" y="21"/>
                  <a:pt x="53" y="1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56">
            <a:extLst>
              <a:ext uri="{FF2B5EF4-FFF2-40B4-BE49-F238E27FC236}">
                <a16:creationId xmlns:a16="http://schemas.microsoft.com/office/drawing/2014/main" id="{BFFE2A9C-CE94-824C-B16C-50A75C0D7EE3}"/>
              </a:ext>
            </a:extLst>
          </p:cNvPr>
          <p:cNvSpPr>
            <a:spLocks noEditPoints="1"/>
          </p:cNvSpPr>
          <p:nvPr/>
        </p:nvSpPr>
        <p:spPr bwMode="auto">
          <a:xfrm>
            <a:off x="5843279" y="4486275"/>
            <a:ext cx="600075" cy="606425"/>
          </a:xfrm>
          <a:custGeom>
            <a:avLst/>
            <a:gdLst>
              <a:gd name="T0" fmla="*/ 78 w 160"/>
              <a:gd name="T1" fmla="*/ 0 h 160"/>
              <a:gd name="T2" fmla="*/ 75 w 160"/>
              <a:gd name="T3" fmla="*/ 0 h 160"/>
              <a:gd name="T4" fmla="*/ 11 w 160"/>
              <a:gd name="T5" fmla="*/ 121 h 160"/>
              <a:gd name="T6" fmla="*/ 13 w 160"/>
              <a:gd name="T7" fmla="*/ 124 h 160"/>
              <a:gd name="T8" fmla="*/ 16 w 160"/>
              <a:gd name="T9" fmla="*/ 128 h 160"/>
              <a:gd name="T10" fmla="*/ 71 w 160"/>
              <a:gd name="T11" fmla="*/ 159 h 160"/>
              <a:gd name="T12" fmla="*/ 80 w 160"/>
              <a:gd name="T13" fmla="*/ 160 h 160"/>
              <a:gd name="T14" fmla="*/ 89 w 160"/>
              <a:gd name="T15" fmla="*/ 160 h 160"/>
              <a:gd name="T16" fmla="*/ 96 w 160"/>
              <a:gd name="T17" fmla="*/ 158 h 160"/>
              <a:gd name="T18" fmla="*/ 100 w 160"/>
              <a:gd name="T19" fmla="*/ 157 h 160"/>
              <a:gd name="T20" fmla="*/ 141 w 160"/>
              <a:gd name="T21" fmla="*/ 131 h 160"/>
              <a:gd name="T22" fmla="*/ 144 w 160"/>
              <a:gd name="T23" fmla="*/ 128 h 160"/>
              <a:gd name="T24" fmla="*/ 155 w 160"/>
              <a:gd name="T25" fmla="*/ 80 h 160"/>
              <a:gd name="T26" fmla="*/ 117 w 160"/>
              <a:gd name="T27" fmla="*/ 40 h 160"/>
              <a:gd name="T28" fmla="*/ 117 w 160"/>
              <a:gd name="T29" fmla="*/ 35 h 160"/>
              <a:gd name="T30" fmla="*/ 138 w 160"/>
              <a:gd name="T31" fmla="*/ 127 h 160"/>
              <a:gd name="T32" fmla="*/ 120 w 160"/>
              <a:gd name="T33" fmla="*/ 131 h 160"/>
              <a:gd name="T34" fmla="*/ 99 w 160"/>
              <a:gd name="T35" fmla="*/ 152 h 160"/>
              <a:gd name="T36" fmla="*/ 94 w 160"/>
              <a:gd name="T37" fmla="*/ 153 h 160"/>
              <a:gd name="T38" fmla="*/ 88 w 160"/>
              <a:gd name="T39" fmla="*/ 154 h 160"/>
              <a:gd name="T40" fmla="*/ 80 w 160"/>
              <a:gd name="T41" fmla="*/ 155 h 160"/>
              <a:gd name="T42" fmla="*/ 71 w 160"/>
              <a:gd name="T43" fmla="*/ 154 h 160"/>
              <a:gd name="T44" fmla="*/ 65 w 160"/>
              <a:gd name="T45" fmla="*/ 153 h 160"/>
              <a:gd name="T46" fmla="*/ 40 w 160"/>
              <a:gd name="T47" fmla="*/ 131 h 160"/>
              <a:gd name="T48" fmla="*/ 18 w 160"/>
              <a:gd name="T49" fmla="*/ 122 h 160"/>
              <a:gd name="T50" fmla="*/ 27 w 160"/>
              <a:gd name="T51" fmla="*/ 103 h 160"/>
              <a:gd name="T52" fmla="*/ 139 w 160"/>
              <a:gd name="T53" fmla="*/ 126 h 160"/>
              <a:gd name="T54" fmla="*/ 43 w 160"/>
              <a:gd name="T55" fmla="*/ 64 h 160"/>
              <a:gd name="T56" fmla="*/ 45 w 160"/>
              <a:gd name="T57" fmla="*/ 68 h 160"/>
              <a:gd name="T58" fmla="*/ 49 w 160"/>
              <a:gd name="T59" fmla="*/ 75 h 160"/>
              <a:gd name="T60" fmla="*/ 52 w 160"/>
              <a:gd name="T61" fmla="*/ 79 h 160"/>
              <a:gd name="T62" fmla="*/ 57 w 160"/>
              <a:gd name="T63" fmla="*/ 83 h 160"/>
              <a:gd name="T64" fmla="*/ 60 w 160"/>
              <a:gd name="T65" fmla="*/ 86 h 160"/>
              <a:gd name="T66" fmla="*/ 64 w 160"/>
              <a:gd name="T67" fmla="*/ 90 h 160"/>
              <a:gd name="T68" fmla="*/ 43 w 160"/>
              <a:gd name="T69" fmla="*/ 91 h 160"/>
              <a:gd name="T70" fmla="*/ 43 w 160"/>
              <a:gd name="T71" fmla="*/ 96 h 160"/>
              <a:gd name="T72" fmla="*/ 63 w 160"/>
              <a:gd name="T73" fmla="*/ 96 h 160"/>
              <a:gd name="T74" fmla="*/ 65 w 160"/>
              <a:gd name="T75" fmla="*/ 82 h 160"/>
              <a:gd name="T76" fmla="*/ 44 w 160"/>
              <a:gd name="T77" fmla="*/ 37 h 160"/>
              <a:gd name="T78" fmla="*/ 90 w 160"/>
              <a:gd name="T79" fmla="*/ 24 h 160"/>
              <a:gd name="T80" fmla="*/ 112 w 160"/>
              <a:gd name="T81" fmla="*/ 39 h 160"/>
              <a:gd name="T82" fmla="*/ 94 w 160"/>
              <a:gd name="T83" fmla="*/ 80 h 160"/>
              <a:gd name="T84" fmla="*/ 85 w 160"/>
              <a:gd name="T85" fmla="*/ 88 h 160"/>
              <a:gd name="T86" fmla="*/ 107 w 160"/>
              <a:gd name="T87" fmla="*/ 96 h 160"/>
              <a:gd name="T88" fmla="*/ 114 w 160"/>
              <a:gd name="T89" fmla="*/ 97 h 160"/>
              <a:gd name="T90" fmla="*/ 80 w 160"/>
              <a:gd name="T91" fmla="*/ 136 h 160"/>
              <a:gd name="T92" fmla="*/ 101 w 160"/>
              <a:gd name="T93" fmla="*/ 109 h 160"/>
              <a:gd name="T94" fmla="*/ 51 w 160"/>
              <a:gd name="T95" fmla="*/ 112 h 160"/>
              <a:gd name="T96" fmla="*/ 75 w 160"/>
              <a:gd name="T97" fmla="*/ 138 h 160"/>
              <a:gd name="T98" fmla="*/ 73 w 160"/>
              <a:gd name="T99" fmla="*/ 6 h 160"/>
              <a:gd name="T100" fmla="*/ 78 w 160"/>
              <a:gd name="T101" fmla="*/ 5 h 160"/>
              <a:gd name="T102" fmla="*/ 89 w 160"/>
              <a:gd name="T103" fmla="*/ 18 h 160"/>
              <a:gd name="T104" fmla="*/ 71 w 160"/>
              <a:gd name="T105" fmla="*/ 29 h 160"/>
              <a:gd name="T106" fmla="*/ 73 w 160"/>
              <a:gd name="T107" fmla="*/ 6 h 160"/>
              <a:gd name="T108" fmla="*/ 107 w 160"/>
              <a:gd name="T109" fmla="*/ 91 h 160"/>
              <a:gd name="T110" fmla="*/ 91 w 160"/>
              <a:gd name="T111" fmla="*/ 88 h 160"/>
              <a:gd name="T112" fmla="*/ 112 w 160"/>
              <a:gd name="T113" fmla="*/ 64 h 160"/>
              <a:gd name="T114" fmla="*/ 37 w 160"/>
              <a:gd name="T115" fmla="*/ 40 h 160"/>
              <a:gd name="T116" fmla="*/ 5 w 160"/>
              <a:gd name="T117"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60">
                <a:moveTo>
                  <a:pt x="160" y="80"/>
                </a:moveTo>
                <a:cubicBezTo>
                  <a:pt x="160" y="36"/>
                  <a:pt x="124" y="0"/>
                  <a:pt x="80" y="0"/>
                </a:cubicBezTo>
                <a:cubicBezTo>
                  <a:pt x="79" y="0"/>
                  <a:pt x="79" y="0"/>
                  <a:pt x="78" y="0"/>
                </a:cubicBezTo>
                <a:cubicBezTo>
                  <a:pt x="78" y="0"/>
                  <a:pt x="78" y="0"/>
                  <a:pt x="78" y="0"/>
                </a:cubicBezTo>
                <a:cubicBezTo>
                  <a:pt x="78" y="0"/>
                  <a:pt x="78" y="0"/>
                  <a:pt x="78" y="0"/>
                </a:cubicBezTo>
                <a:cubicBezTo>
                  <a:pt x="77" y="0"/>
                  <a:pt x="76" y="0"/>
                  <a:pt x="75" y="0"/>
                </a:cubicBezTo>
                <a:cubicBezTo>
                  <a:pt x="74" y="0"/>
                  <a:pt x="74" y="0"/>
                  <a:pt x="73" y="0"/>
                </a:cubicBezTo>
                <a:cubicBezTo>
                  <a:pt x="32" y="4"/>
                  <a:pt x="0" y="38"/>
                  <a:pt x="0" y="80"/>
                </a:cubicBezTo>
                <a:cubicBezTo>
                  <a:pt x="0" y="95"/>
                  <a:pt x="4" y="109"/>
                  <a:pt x="11" y="121"/>
                </a:cubicBezTo>
                <a:cubicBezTo>
                  <a:pt x="11" y="121"/>
                  <a:pt x="11" y="121"/>
                  <a:pt x="11" y="121"/>
                </a:cubicBezTo>
                <a:cubicBezTo>
                  <a:pt x="12" y="122"/>
                  <a:pt x="12" y="122"/>
                  <a:pt x="12" y="122"/>
                </a:cubicBezTo>
                <a:cubicBezTo>
                  <a:pt x="12" y="123"/>
                  <a:pt x="13" y="123"/>
                  <a:pt x="13" y="124"/>
                </a:cubicBezTo>
                <a:cubicBezTo>
                  <a:pt x="13" y="124"/>
                  <a:pt x="14" y="125"/>
                  <a:pt x="14" y="125"/>
                </a:cubicBezTo>
                <a:cubicBezTo>
                  <a:pt x="14" y="126"/>
                  <a:pt x="15" y="127"/>
                  <a:pt x="16" y="128"/>
                </a:cubicBezTo>
                <a:cubicBezTo>
                  <a:pt x="16" y="128"/>
                  <a:pt x="16" y="128"/>
                  <a:pt x="16" y="128"/>
                </a:cubicBezTo>
                <a:cubicBezTo>
                  <a:pt x="28" y="144"/>
                  <a:pt x="46" y="155"/>
                  <a:pt x="66" y="159"/>
                </a:cubicBezTo>
                <a:cubicBezTo>
                  <a:pt x="67" y="159"/>
                  <a:pt x="68" y="159"/>
                  <a:pt x="69" y="159"/>
                </a:cubicBezTo>
                <a:cubicBezTo>
                  <a:pt x="69" y="159"/>
                  <a:pt x="70" y="159"/>
                  <a:pt x="71" y="159"/>
                </a:cubicBezTo>
                <a:cubicBezTo>
                  <a:pt x="72" y="160"/>
                  <a:pt x="73" y="160"/>
                  <a:pt x="74" y="160"/>
                </a:cubicBezTo>
                <a:cubicBezTo>
                  <a:pt x="74" y="160"/>
                  <a:pt x="75" y="160"/>
                  <a:pt x="75" y="160"/>
                </a:cubicBezTo>
                <a:cubicBezTo>
                  <a:pt x="77" y="160"/>
                  <a:pt x="78" y="160"/>
                  <a:pt x="80" y="160"/>
                </a:cubicBezTo>
                <a:cubicBezTo>
                  <a:pt x="81" y="160"/>
                  <a:pt x="83" y="160"/>
                  <a:pt x="84" y="160"/>
                </a:cubicBezTo>
                <a:cubicBezTo>
                  <a:pt x="85" y="160"/>
                  <a:pt x="86" y="160"/>
                  <a:pt x="86" y="160"/>
                </a:cubicBezTo>
                <a:cubicBezTo>
                  <a:pt x="87" y="160"/>
                  <a:pt x="88" y="160"/>
                  <a:pt x="89" y="160"/>
                </a:cubicBezTo>
                <a:cubicBezTo>
                  <a:pt x="89" y="159"/>
                  <a:pt x="90" y="159"/>
                  <a:pt x="91" y="159"/>
                </a:cubicBezTo>
                <a:cubicBezTo>
                  <a:pt x="92" y="159"/>
                  <a:pt x="92" y="159"/>
                  <a:pt x="93" y="159"/>
                </a:cubicBezTo>
                <a:cubicBezTo>
                  <a:pt x="94" y="159"/>
                  <a:pt x="95" y="159"/>
                  <a:pt x="96" y="158"/>
                </a:cubicBezTo>
                <a:cubicBezTo>
                  <a:pt x="96" y="158"/>
                  <a:pt x="96" y="158"/>
                  <a:pt x="97" y="158"/>
                </a:cubicBezTo>
                <a:cubicBezTo>
                  <a:pt x="98" y="158"/>
                  <a:pt x="99" y="158"/>
                  <a:pt x="100" y="157"/>
                </a:cubicBezTo>
                <a:cubicBezTo>
                  <a:pt x="100" y="157"/>
                  <a:pt x="100" y="157"/>
                  <a:pt x="100" y="157"/>
                </a:cubicBezTo>
                <a:cubicBezTo>
                  <a:pt x="115" y="154"/>
                  <a:pt x="128" y="146"/>
                  <a:pt x="139" y="134"/>
                </a:cubicBezTo>
                <a:cubicBezTo>
                  <a:pt x="139" y="134"/>
                  <a:pt x="139" y="134"/>
                  <a:pt x="139" y="134"/>
                </a:cubicBezTo>
                <a:cubicBezTo>
                  <a:pt x="140" y="133"/>
                  <a:pt x="141" y="132"/>
                  <a:pt x="141" y="131"/>
                </a:cubicBezTo>
                <a:cubicBezTo>
                  <a:pt x="142" y="131"/>
                  <a:pt x="142" y="131"/>
                  <a:pt x="142" y="130"/>
                </a:cubicBezTo>
                <a:cubicBezTo>
                  <a:pt x="143" y="130"/>
                  <a:pt x="143" y="129"/>
                  <a:pt x="143" y="129"/>
                </a:cubicBezTo>
                <a:cubicBezTo>
                  <a:pt x="144" y="128"/>
                  <a:pt x="144" y="128"/>
                  <a:pt x="144" y="128"/>
                </a:cubicBezTo>
                <a:cubicBezTo>
                  <a:pt x="144" y="128"/>
                  <a:pt x="144" y="128"/>
                  <a:pt x="144" y="128"/>
                </a:cubicBezTo>
                <a:cubicBezTo>
                  <a:pt x="154" y="115"/>
                  <a:pt x="160" y="98"/>
                  <a:pt x="160" y="80"/>
                </a:cubicBezTo>
                <a:close/>
                <a:moveTo>
                  <a:pt x="155" y="80"/>
                </a:moveTo>
                <a:cubicBezTo>
                  <a:pt x="155" y="95"/>
                  <a:pt x="150" y="108"/>
                  <a:pt x="143" y="120"/>
                </a:cubicBezTo>
                <a:cubicBezTo>
                  <a:pt x="140" y="106"/>
                  <a:pt x="130" y="96"/>
                  <a:pt x="117" y="92"/>
                </a:cubicBezTo>
                <a:cubicBezTo>
                  <a:pt x="117" y="40"/>
                  <a:pt x="117" y="40"/>
                  <a:pt x="117" y="40"/>
                </a:cubicBezTo>
                <a:cubicBezTo>
                  <a:pt x="117" y="37"/>
                  <a:pt x="117" y="37"/>
                  <a:pt x="117" y="37"/>
                </a:cubicBezTo>
                <a:cubicBezTo>
                  <a:pt x="117" y="37"/>
                  <a:pt x="117" y="37"/>
                  <a:pt x="117" y="37"/>
                </a:cubicBezTo>
                <a:cubicBezTo>
                  <a:pt x="117" y="37"/>
                  <a:pt x="117" y="36"/>
                  <a:pt x="117" y="35"/>
                </a:cubicBezTo>
                <a:cubicBezTo>
                  <a:pt x="116" y="24"/>
                  <a:pt x="110" y="15"/>
                  <a:pt x="102" y="9"/>
                </a:cubicBezTo>
                <a:cubicBezTo>
                  <a:pt x="133" y="18"/>
                  <a:pt x="155" y="47"/>
                  <a:pt x="155" y="80"/>
                </a:cubicBezTo>
                <a:close/>
                <a:moveTo>
                  <a:pt x="138" y="127"/>
                </a:moveTo>
                <a:cubicBezTo>
                  <a:pt x="138" y="127"/>
                  <a:pt x="137" y="128"/>
                  <a:pt x="137" y="128"/>
                </a:cubicBezTo>
                <a:cubicBezTo>
                  <a:pt x="132" y="134"/>
                  <a:pt x="126" y="139"/>
                  <a:pt x="120" y="143"/>
                </a:cubicBezTo>
                <a:cubicBezTo>
                  <a:pt x="120" y="131"/>
                  <a:pt x="120" y="131"/>
                  <a:pt x="120" y="131"/>
                </a:cubicBezTo>
                <a:cubicBezTo>
                  <a:pt x="115" y="131"/>
                  <a:pt x="115" y="131"/>
                  <a:pt x="115" y="131"/>
                </a:cubicBezTo>
                <a:cubicBezTo>
                  <a:pt x="115" y="146"/>
                  <a:pt x="115" y="146"/>
                  <a:pt x="115" y="146"/>
                </a:cubicBezTo>
                <a:cubicBezTo>
                  <a:pt x="110" y="149"/>
                  <a:pt x="104" y="151"/>
                  <a:pt x="99" y="152"/>
                </a:cubicBezTo>
                <a:cubicBezTo>
                  <a:pt x="99" y="152"/>
                  <a:pt x="99" y="152"/>
                  <a:pt x="98" y="152"/>
                </a:cubicBezTo>
                <a:cubicBezTo>
                  <a:pt x="97" y="153"/>
                  <a:pt x="96" y="153"/>
                  <a:pt x="95" y="153"/>
                </a:cubicBezTo>
                <a:cubicBezTo>
                  <a:pt x="95" y="153"/>
                  <a:pt x="95" y="153"/>
                  <a:pt x="94" y="153"/>
                </a:cubicBezTo>
                <a:cubicBezTo>
                  <a:pt x="94" y="153"/>
                  <a:pt x="93" y="154"/>
                  <a:pt x="92" y="154"/>
                </a:cubicBezTo>
                <a:cubicBezTo>
                  <a:pt x="91" y="154"/>
                  <a:pt x="91" y="154"/>
                  <a:pt x="90" y="154"/>
                </a:cubicBezTo>
                <a:cubicBezTo>
                  <a:pt x="89" y="154"/>
                  <a:pt x="89" y="154"/>
                  <a:pt x="88" y="154"/>
                </a:cubicBezTo>
                <a:cubicBezTo>
                  <a:pt x="87" y="154"/>
                  <a:pt x="86" y="154"/>
                  <a:pt x="86" y="154"/>
                </a:cubicBezTo>
                <a:cubicBezTo>
                  <a:pt x="85" y="154"/>
                  <a:pt x="85" y="155"/>
                  <a:pt x="84" y="155"/>
                </a:cubicBezTo>
                <a:cubicBezTo>
                  <a:pt x="83" y="155"/>
                  <a:pt x="81" y="155"/>
                  <a:pt x="80" y="155"/>
                </a:cubicBezTo>
                <a:cubicBezTo>
                  <a:pt x="79" y="155"/>
                  <a:pt x="77" y="155"/>
                  <a:pt x="76" y="155"/>
                </a:cubicBezTo>
                <a:cubicBezTo>
                  <a:pt x="75" y="155"/>
                  <a:pt x="75" y="154"/>
                  <a:pt x="74" y="154"/>
                </a:cubicBezTo>
                <a:cubicBezTo>
                  <a:pt x="73" y="154"/>
                  <a:pt x="72" y="154"/>
                  <a:pt x="71" y="154"/>
                </a:cubicBezTo>
                <a:cubicBezTo>
                  <a:pt x="71" y="154"/>
                  <a:pt x="70" y="154"/>
                  <a:pt x="69" y="154"/>
                </a:cubicBezTo>
                <a:cubicBezTo>
                  <a:pt x="69" y="154"/>
                  <a:pt x="68" y="154"/>
                  <a:pt x="67" y="154"/>
                </a:cubicBezTo>
                <a:cubicBezTo>
                  <a:pt x="67" y="153"/>
                  <a:pt x="66" y="153"/>
                  <a:pt x="65" y="153"/>
                </a:cubicBezTo>
                <a:cubicBezTo>
                  <a:pt x="65" y="153"/>
                  <a:pt x="65" y="153"/>
                  <a:pt x="65" y="153"/>
                </a:cubicBezTo>
                <a:cubicBezTo>
                  <a:pt x="56" y="151"/>
                  <a:pt x="48" y="148"/>
                  <a:pt x="40" y="143"/>
                </a:cubicBezTo>
                <a:cubicBezTo>
                  <a:pt x="40" y="131"/>
                  <a:pt x="40" y="131"/>
                  <a:pt x="40" y="131"/>
                </a:cubicBezTo>
                <a:cubicBezTo>
                  <a:pt x="35" y="131"/>
                  <a:pt x="35" y="131"/>
                  <a:pt x="35" y="131"/>
                </a:cubicBezTo>
                <a:cubicBezTo>
                  <a:pt x="35" y="139"/>
                  <a:pt x="35" y="139"/>
                  <a:pt x="35" y="139"/>
                </a:cubicBezTo>
                <a:cubicBezTo>
                  <a:pt x="28" y="134"/>
                  <a:pt x="23" y="129"/>
                  <a:pt x="18" y="122"/>
                </a:cubicBezTo>
                <a:cubicBezTo>
                  <a:pt x="18" y="122"/>
                  <a:pt x="18" y="122"/>
                  <a:pt x="18" y="121"/>
                </a:cubicBezTo>
                <a:cubicBezTo>
                  <a:pt x="18" y="121"/>
                  <a:pt x="17" y="120"/>
                  <a:pt x="17" y="120"/>
                </a:cubicBezTo>
                <a:cubicBezTo>
                  <a:pt x="19" y="113"/>
                  <a:pt x="22" y="107"/>
                  <a:pt x="27" y="103"/>
                </a:cubicBezTo>
                <a:cubicBezTo>
                  <a:pt x="77" y="148"/>
                  <a:pt x="77" y="148"/>
                  <a:pt x="77" y="148"/>
                </a:cubicBezTo>
                <a:cubicBezTo>
                  <a:pt x="127" y="103"/>
                  <a:pt x="127" y="103"/>
                  <a:pt x="127" y="103"/>
                </a:cubicBezTo>
                <a:cubicBezTo>
                  <a:pt x="134" y="109"/>
                  <a:pt x="138" y="117"/>
                  <a:pt x="139" y="126"/>
                </a:cubicBezTo>
                <a:cubicBezTo>
                  <a:pt x="138" y="126"/>
                  <a:pt x="138" y="127"/>
                  <a:pt x="138" y="127"/>
                </a:cubicBezTo>
                <a:close/>
                <a:moveTo>
                  <a:pt x="43" y="91"/>
                </a:moveTo>
                <a:cubicBezTo>
                  <a:pt x="43" y="64"/>
                  <a:pt x="43" y="64"/>
                  <a:pt x="43" y="64"/>
                </a:cubicBezTo>
                <a:cubicBezTo>
                  <a:pt x="43" y="64"/>
                  <a:pt x="43" y="64"/>
                  <a:pt x="43" y="64"/>
                </a:cubicBezTo>
                <a:cubicBezTo>
                  <a:pt x="43" y="65"/>
                  <a:pt x="44" y="66"/>
                  <a:pt x="44" y="67"/>
                </a:cubicBezTo>
                <a:cubicBezTo>
                  <a:pt x="44" y="67"/>
                  <a:pt x="44" y="67"/>
                  <a:pt x="45" y="68"/>
                </a:cubicBezTo>
                <a:cubicBezTo>
                  <a:pt x="45" y="69"/>
                  <a:pt x="46" y="70"/>
                  <a:pt x="47" y="71"/>
                </a:cubicBezTo>
                <a:cubicBezTo>
                  <a:pt x="47" y="72"/>
                  <a:pt x="47" y="72"/>
                  <a:pt x="47" y="72"/>
                </a:cubicBezTo>
                <a:cubicBezTo>
                  <a:pt x="48" y="73"/>
                  <a:pt x="48" y="74"/>
                  <a:pt x="49" y="75"/>
                </a:cubicBezTo>
                <a:cubicBezTo>
                  <a:pt x="49" y="75"/>
                  <a:pt x="49" y="75"/>
                  <a:pt x="50" y="76"/>
                </a:cubicBezTo>
                <a:cubicBezTo>
                  <a:pt x="50" y="76"/>
                  <a:pt x="51" y="77"/>
                  <a:pt x="51" y="78"/>
                </a:cubicBezTo>
                <a:cubicBezTo>
                  <a:pt x="52" y="78"/>
                  <a:pt x="52" y="79"/>
                  <a:pt x="52" y="79"/>
                </a:cubicBezTo>
                <a:cubicBezTo>
                  <a:pt x="53" y="79"/>
                  <a:pt x="53" y="80"/>
                  <a:pt x="54" y="81"/>
                </a:cubicBezTo>
                <a:cubicBezTo>
                  <a:pt x="54" y="81"/>
                  <a:pt x="54" y="81"/>
                  <a:pt x="55" y="82"/>
                </a:cubicBezTo>
                <a:cubicBezTo>
                  <a:pt x="55" y="82"/>
                  <a:pt x="56" y="83"/>
                  <a:pt x="57" y="83"/>
                </a:cubicBezTo>
                <a:cubicBezTo>
                  <a:pt x="57" y="83"/>
                  <a:pt x="57" y="84"/>
                  <a:pt x="58" y="84"/>
                </a:cubicBezTo>
                <a:cubicBezTo>
                  <a:pt x="58" y="84"/>
                  <a:pt x="59" y="85"/>
                  <a:pt x="60" y="85"/>
                </a:cubicBezTo>
                <a:cubicBezTo>
                  <a:pt x="60" y="85"/>
                  <a:pt x="60" y="86"/>
                  <a:pt x="60" y="86"/>
                </a:cubicBezTo>
                <a:cubicBezTo>
                  <a:pt x="61" y="86"/>
                  <a:pt x="62" y="87"/>
                  <a:pt x="63" y="87"/>
                </a:cubicBezTo>
                <a:cubicBezTo>
                  <a:pt x="64" y="87"/>
                  <a:pt x="64" y="88"/>
                  <a:pt x="64" y="88"/>
                </a:cubicBezTo>
                <a:cubicBezTo>
                  <a:pt x="64" y="90"/>
                  <a:pt x="64" y="90"/>
                  <a:pt x="64" y="90"/>
                </a:cubicBezTo>
                <a:cubicBezTo>
                  <a:pt x="64" y="90"/>
                  <a:pt x="64" y="91"/>
                  <a:pt x="63" y="91"/>
                </a:cubicBezTo>
                <a:cubicBezTo>
                  <a:pt x="47" y="91"/>
                  <a:pt x="47" y="91"/>
                  <a:pt x="47" y="91"/>
                </a:cubicBezTo>
                <a:cubicBezTo>
                  <a:pt x="46" y="91"/>
                  <a:pt x="44" y="91"/>
                  <a:pt x="43" y="91"/>
                </a:cubicBezTo>
                <a:cubicBezTo>
                  <a:pt x="43" y="91"/>
                  <a:pt x="43" y="91"/>
                  <a:pt x="43" y="91"/>
                </a:cubicBezTo>
                <a:close/>
                <a:moveTo>
                  <a:pt x="41" y="97"/>
                </a:moveTo>
                <a:cubicBezTo>
                  <a:pt x="42" y="96"/>
                  <a:pt x="43" y="96"/>
                  <a:pt x="43" y="96"/>
                </a:cubicBezTo>
                <a:cubicBezTo>
                  <a:pt x="44" y="96"/>
                  <a:pt x="44" y="96"/>
                  <a:pt x="44" y="96"/>
                </a:cubicBezTo>
                <a:cubicBezTo>
                  <a:pt x="45" y="96"/>
                  <a:pt x="46" y="96"/>
                  <a:pt x="47" y="96"/>
                </a:cubicBezTo>
                <a:cubicBezTo>
                  <a:pt x="63" y="96"/>
                  <a:pt x="63" y="96"/>
                  <a:pt x="63" y="96"/>
                </a:cubicBezTo>
                <a:cubicBezTo>
                  <a:pt x="67" y="96"/>
                  <a:pt x="69" y="93"/>
                  <a:pt x="69" y="90"/>
                </a:cubicBezTo>
                <a:cubicBezTo>
                  <a:pt x="69" y="88"/>
                  <a:pt x="69" y="88"/>
                  <a:pt x="69" y="88"/>
                </a:cubicBezTo>
                <a:cubicBezTo>
                  <a:pt x="69" y="85"/>
                  <a:pt x="68" y="83"/>
                  <a:pt x="65" y="82"/>
                </a:cubicBezTo>
                <a:cubicBezTo>
                  <a:pt x="53" y="77"/>
                  <a:pt x="43" y="56"/>
                  <a:pt x="43" y="40"/>
                </a:cubicBezTo>
                <a:cubicBezTo>
                  <a:pt x="43" y="39"/>
                  <a:pt x="43" y="39"/>
                  <a:pt x="43" y="38"/>
                </a:cubicBezTo>
                <a:cubicBezTo>
                  <a:pt x="44" y="37"/>
                  <a:pt x="44" y="37"/>
                  <a:pt x="44" y="37"/>
                </a:cubicBezTo>
                <a:cubicBezTo>
                  <a:pt x="48" y="31"/>
                  <a:pt x="56" y="30"/>
                  <a:pt x="63" y="33"/>
                </a:cubicBezTo>
                <a:cubicBezTo>
                  <a:pt x="65" y="34"/>
                  <a:pt x="68" y="35"/>
                  <a:pt x="71" y="35"/>
                </a:cubicBezTo>
                <a:cubicBezTo>
                  <a:pt x="79" y="35"/>
                  <a:pt x="86" y="30"/>
                  <a:pt x="90" y="24"/>
                </a:cubicBezTo>
                <a:cubicBezTo>
                  <a:pt x="99" y="26"/>
                  <a:pt x="107" y="32"/>
                  <a:pt x="112" y="39"/>
                </a:cubicBezTo>
                <a:cubicBezTo>
                  <a:pt x="112" y="39"/>
                  <a:pt x="112" y="39"/>
                  <a:pt x="112" y="39"/>
                </a:cubicBezTo>
                <a:cubicBezTo>
                  <a:pt x="112" y="39"/>
                  <a:pt x="112" y="39"/>
                  <a:pt x="112" y="39"/>
                </a:cubicBezTo>
                <a:cubicBezTo>
                  <a:pt x="112" y="40"/>
                  <a:pt x="112" y="40"/>
                  <a:pt x="112" y="40"/>
                </a:cubicBezTo>
                <a:cubicBezTo>
                  <a:pt x="112" y="54"/>
                  <a:pt x="105" y="72"/>
                  <a:pt x="94" y="79"/>
                </a:cubicBezTo>
                <a:cubicBezTo>
                  <a:pt x="94" y="80"/>
                  <a:pt x="94" y="80"/>
                  <a:pt x="94" y="80"/>
                </a:cubicBezTo>
                <a:cubicBezTo>
                  <a:pt x="93" y="80"/>
                  <a:pt x="93" y="81"/>
                  <a:pt x="92" y="81"/>
                </a:cubicBezTo>
                <a:cubicBezTo>
                  <a:pt x="91" y="81"/>
                  <a:pt x="90" y="82"/>
                  <a:pt x="90" y="82"/>
                </a:cubicBezTo>
                <a:cubicBezTo>
                  <a:pt x="87" y="83"/>
                  <a:pt x="85" y="85"/>
                  <a:pt x="85" y="88"/>
                </a:cubicBezTo>
                <a:cubicBezTo>
                  <a:pt x="85" y="90"/>
                  <a:pt x="85" y="90"/>
                  <a:pt x="85" y="90"/>
                </a:cubicBezTo>
                <a:cubicBezTo>
                  <a:pt x="85" y="93"/>
                  <a:pt x="88" y="96"/>
                  <a:pt x="92" y="96"/>
                </a:cubicBezTo>
                <a:cubicBezTo>
                  <a:pt x="107" y="96"/>
                  <a:pt x="107" y="96"/>
                  <a:pt x="107" y="96"/>
                </a:cubicBezTo>
                <a:cubicBezTo>
                  <a:pt x="109" y="96"/>
                  <a:pt x="110" y="96"/>
                  <a:pt x="111" y="96"/>
                </a:cubicBezTo>
                <a:cubicBezTo>
                  <a:pt x="111" y="96"/>
                  <a:pt x="111" y="96"/>
                  <a:pt x="111" y="96"/>
                </a:cubicBezTo>
                <a:cubicBezTo>
                  <a:pt x="112" y="96"/>
                  <a:pt x="113" y="96"/>
                  <a:pt x="114" y="97"/>
                </a:cubicBezTo>
                <a:cubicBezTo>
                  <a:pt x="117" y="97"/>
                  <a:pt x="120" y="98"/>
                  <a:pt x="123" y="100"/>
                </a:cubicBezTo>
                <a:cubicBezTo>
                  <a:pt x="80" y="138"/>
                  <a:pt x="80" y="138"/>
                  <a:pt x="80" y="138"/>
                </a:cubicBezTo>
                <a:cubicBezTo>
                  <a:pt x="80" y="136"/>
                  <a:pt x="80" y="136"/>
                  <a:pt x="80" y="136"/>
                </a:cubicBezTo>
                <a:cubicBezTo>
                  <a:pt x="80" y="124"/>
                  <a:pt x="90" y="115"/>
                  <a:pt x="101" y="115"/>
                </a:cubicBezTo>
                <a:cubicBezTo>
                  <a:pt x="103" y="115"/>
                  <a:pt x="104" y="113"/>
                  <a:pt x="104" y="112"/>
                </a:cubicBezTo>
                <a:cubicBezTo>
                  <a:pt x="104" y="111"/>
                  <a:pt x="103" y="109"/>
                  <a:pt x="101" y="109"/>
                </a:cubicBezTo>
                <a:cubicBezTo>
                  <a:pt x="91" y="109"/>
                  <a:pt x="82" y="116"/>
                  <a:pt x="77" y="124"/>
                </a:cubicBezTo>
                <a:cubicBezTo>
                  <a:pt x="73" y="116"/>
                  <a:pt x="64" y="109"/>
                  <a:pt x="53" y="109"/>
                </a:cubicBezTo>
                <a:cubicBezTo>
                  <a:pt x="52" y="109"/>
                  <a:pt x="51" y="111"/>
                  <a:pt x="51" y="112"/>
                </a:cubicBezTo>
                <a:cubicBezTo>
                  <a:pt x="51" y="113"/>
                  <a:pt x="52" y="115"/>
                  <a:pt x="53" y="115"/>
                </a:cubicBezTo>
                <a:cubicBezTo>
                  <a:pt x="65" y="115"/>
                  <a:pt x="75" y="124"/>
                  <a:pt x="75" y="136"/>
                </a:cubicBezTo>
                <a:cubicBezTo>
                  <a:pt x="75" y="138"/>
                  <a:pt x="75" y="138"/>
                  <a:pt x="75" y="138"/>
                </a:cubicBezTo>
                <a:cubicBezTo>
                  <a:pt x="32" y="100"/>
                  <a:pt x="32" y="100"/>
                  <a:pt x="32" y="100"/>
                </a:cubicBezTo>
                <a:cubicBezTo>
                  <a:pt x="35" y="98"/>
                  <a:pt x="38" y="97"/>
                  <a:pt x="41" y="97"/>
                </a:cubicBezTo>
                <a:close/>
                <a:moveTo>
                  <a:pt x="73" y="6"/>
                </a:moveTo>
                <a:cubicBezTo>
                  <a:pt x="73" y="6"/>
                  <a:pt x="74" y="6"/>
                  <a:pt x="75" y="5"/>
                </a:cubicBezTo>
                <a:cubicBezTo>
                  <a:pt x="76" y="5"/>
                  <a:pt x="77" y="5"/>
                  <a:pt x="78" y="5"/>
                </a:cubicBezTo>
                <a:cubicBezTo>
                  <a:pt x="78" y="5"/>
                  <a:pt x="78" y="5"/>
                  <a:pt x="78" y="5"/>
                </a:cubicBezTo>
                <a:cubicBezTo>
                  <a:pt x="79" y="5"/>
                  <a:pt x="80" y="5"/>
                  <a:pt x="81" y="6"/>
                </a:cubicBezTo>
                <a:cubicBezTo>
                  <a:pt x="95" y="7"/>
                  <a:pt x="106" y="17"/>
                  <a:pt x="110" y="29"/>
                </a:cubicBezTo>
                <a:cubicBezTo>
                  <a:pt x="104" y="24"/>
                  <a:pt x="97" y="20"/>
                  <a:pt x="89" y="18"/>
                </a:cubicBezTo>
                <a:cubicBezTo>
                  <a:pt x="87" y="17"/>
                  <a:pt x="87" y="17"/>
                  <a:pt x="87" y="17"/>
                </a:cubicBezTo>
                <a:cubicBezTo>
                  <a:pt x="86" y="19"/>
                  <a:pt x="86" y="19"/>
                  <a:pt x="86" y="19"/>
                </a:cubicBezTo>
                <a:cubicBezTo>
                  <a:pt x="84" y="25"/>
                  <a:pt x="78" y="29"/>
                  <a:pt x="71" y="29"/>
                </a:cubicBezTo>
                <a:cubicBezTo>
                  <a:pt x="69" y="29"/>
                  <a:pt x="67" y="29"/>
                  <a:pt x="65" y="28"/>
                </a:cubicBezTo>
                <a:cubicBezTo>
                  <a:pt x="58" y="25"/>
                  <a:pt x="50" y="26"/>
                  <a:pt x="44" y="29"/>
                </a:cubicBezTo>
                <a:cubicBezTo>
                  <a:pt x="48" y="17"/>
                  <a:pt x="59" y="8"/>
                  <a:pt x="73" y="6"/>
                </a:cubicBezTo>
                <a:close/>
                <a:moveTo>
                  <a:pt x="112" y="91"/>
                </a:moveTo>
                <a:cubicBezTo>
                  <a:pt x="112" y="91"/>
                  <a:pt x="112" y="91"/>
                  <a:pt x="112" y="91"/>
                </a:cubicBezTo>
                <a:cubicBezTo>
                  <a:pt x="110" y="91"/>
                  <a:pt x="109" y="91"/>
                  <a:pt x="107" y="91"/>
                </a:cubicBezTo>
                <a:cubicBezTo>
                  <a:pt x="92" y="91"/>
                  <a:pt x="92" y="91"/>
                  <a:pt x="92" y="91"/>
                </a:cubicBezTo>
                <a:cubicBezTo>
                  <a:pt x="91" y="91"/>
                  <a:pt x="91" y="90"/>
                  <a:pt x="91" y="90"/>
                </a:cubicBezTo>
                <a:cubicBezTo>
                  <a:pt x="91" y="88"/>
                  <a:pt x="91" y="88"/>
                  <a:pt x="91" y="88"/>
                </a:cubicBezTo>
                <a:cubicBezTo>
                  <a:pt x="91" y="87"/>
                  <a:pt x="91" y="87"/>
                  <a:pt x="91" y="87"/>
                </a:cubicBezTo>
                <a:cubicBezTo>
                  <a:pt x="91" y="87"/>
                  <a:pt x="91" y="87"/>
                  <a:pt x="91" y="87"/>
                </a:cubicBezTo>
                <a:cubicBezTo>
                  <a:pt x="100" y="84"/>
                  <a:pt x="107" y="75"/>
                  <a:pt x="112" y="64"/>
                </a:cubicBezTo>
                <a:lnTo>
                  <a:pt x="112" y="91"/>
                </a:lnTo>
                <a:close/>
                <a:moveTo>
                  <a:pt x="49" y="12"/>
                </a:moveTo>
                <a:cubicBezTo>
                  <a:pt x="42" y="20"/>
                  <a:pt x="37" y="29"/>
                  <a:pt x="37" y="40"/>
                </a:cubicBezTo>
                <a:cubicBezTo>
                  <a:pt x="37" y="92"/>
                  <a:pt x="37" y="92"/>
                  <a:pt x="37" y="92"/>
                </a:cubicBezTo>
                <a:cubicBezTo>
                  <a:pt x="27" y="95"/>
                  <a:pt x="18" y="103"/>
                  <a:pt x="13" y="114"/>
                </a:cubicBezTo>
                <a:cubicBezTo>
                  <a:pt x="8" y="103"/>
                  <a:pt x="5" y="92"/>
                  <a:pt x="5" y="80"/>
                </a:cubicBezTo>
                <a:cubicBezTo>
                  <a:pt x="5" y="50"/>
                  <a:pt x="23" y="24"/>
                  <a:pt x="49" y="1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55" name="Freeform 57">
            <a:extLst>
              <a:ext uri="{FF2B5EF4-FFF2-40B4-BE49-F238E27FC236}">
                <a16:creationId xmlns:a16="http://schemas.microsoft.com/office/drawing/2014/main" id="{DEE1615A-55F2-4544-A9E5-18690A164D60}"/>
              </a:ext>
            </a:extLst>
          </p:cNvPr>
          <p:cNvSpPr>
            <a:spLocks noEditPoints="1"/>
          </p:cNvSpPr>
          <p:nvPr/>
        </p:nvSpPr>
        <p:spPr bwMode="auto">
          <a:xfrm>
            <a:off x="5843279" y="5167313"/>
            <a:ext cx="600075" cy="606425"/>
          </a:xfrm>
          <a:custGeom>
            <a:avLst/>
            <a:gdLst>
              <a:gd name="T0" fmla="*/ 13 w 160"/>
              <a:gd name="T1" fmla="*/ 124 h 160"/>
              <a:gd name="T2" fmla="*/ 16 w 160"/>
              <a:gd name="T3" fmla="*/ 128 h 160"/>
              <a:gd name="T4" fmla="*/ 29 w 160"/>
              <a:gd name="T5" fmla="*/ 142 h 160"/>
              <a:gd name="T6" fmla="*/ 36 w 160"/>
              <a:gd name="T7" fmla="*/ 147 h 160"/>
              <a:gd name="T8" fmla="*/ 46 w 160"/>
              <a:gd name="T9" fmla="*/ 153 h 160"/>
              <a:gd name="T10" fmla="*/ 61 w 160"/>
              <a:gd name="T11" fmla="*/ 158 h 160"/>
              <a:gd name="T12" fmla="*/ 66 w 160"/>
              <a:gd name="T13" fmla="*/ 159 h 160"/>
              <a:gd name="T14" fmla="*/ 69 w 160"/>
              <a:gd name="T15" fmla="*/ 159 h 160"/>
              <a:gd name="T16" fmla="*/ 74 w 160"/>
              <a:gd name="T17" fmla="*/ 160 h 160"/>
              <a:gd name="T18" fmla="*/ 85 w 160"/>
              <a:gd name="T19" fmla="*/ 160 h 160"/>
              <a:gd name="T20" fmla="*/ 91 w 160"/>
              <a:gd name="T21" fmla="*/ 159 h 160"/>
              <a:gd name="T22" fmla="*/ 92 w 160"/>
              <a:gd name="T23" fmla="*/ 159 h 160"/>
              <a:gd name="T24" fmla="*/ 95 w 160"/>
              <a:gd name="T25" fmla="*/ 159 h 160"/>
              <a:gd name="T26" fmla="*/ 109 w 160"/>
              <a:gd name="T27" fmla="*/ 154 h 160"/>
              <a:gd name="T28" fmla="*/ 118 w 160"/>
              <a:gd name="T29" fmla="*/ 151 h 160"/>
              <a:gd name="T30" fmla="*/ 127 w 160"/>
              <a:gd name="T31" fmla="*/ 145 h 160"/>
              <a:gd name="T32" fmla="*/ 141 w 160"/>
              <a:gd name="T33" fmla="*/ 131 h 160"/>
              <a:gd name="T34" fmla="*/ 146 w 160"/>
              <a:gd name="T35" fmla="*/ 125 h 160"/>
              <a:gd name="T36" fmla="*/ 155 w 160"/>
              <a:gd name="T37" fmla="*/ 80 h 160"/>
              <a:gd name="T38" fmla="*/ 110 w 160"/>
              <a:gd name="T39" fmla="*/ 91 h 160"/>
              <a:gd name="T40" fmla="*/ 93 w 160"/>
              <a:gd name="T41" fmla="*/ 88 h 160"/>
              <a:gd name="T42" fmla="*/ 155 w 160"/>
              <a:gd name="T43" fmla="*/ 80 h 160"/>
              <a:gd name="T44" fmla="*/ 137 w 160"/>
              <a:gd name="T45" fmla="*/ 128 h 160"/>
              <a:gd name="T46" fmla="*/ 127 w 160"/>
              <a:gd name="T47" fmla="*/ 138 h 160"/>
              <a:gd name="T48" fmla="*/ 123 w 160"/>
              <a:gd name="T49" fmla="*/ 128 h 160"/>
              <a:gd name="T50" fmla="*/ 115 w 160"/>
              <a:gd name="T51" fmla="*/ 146 h 160"/>
              <a:gd name="T52" fmla="*/ 107 w 160"/>
              <a:gd name="T53" fmla="*/ 150 h 160"/>
              <a:gd name="T54" fmla="*/ 94 w 160"/>
              <a:gd name="T55" fmla="*/ 153 h 160"/>
              <a:gd name="T56" fmla="*/ 91 w 160"/>
              <a:gd name="T57" fmla="*/ 116 h 160"/>
              <a:gd name="T58" fmla="*/ 140 w 160"/>
              <a:gd name="T59" fmla="*/ 124 h 160"/>
              <a:gd name="T60" fmla="*/ 53 w 160"/>
              <a:gd name="T61" fmla="*/ 150 h 160"/>
              <a:gd name="T62" fmla="*/ 45 w 160"/>
              <a:gd name="T63" fmla="*/ 146 h 160"/>
              <a:gd name="T64" fmla="*/ 37 w 160"/>
              <a:gd name="T65" fmla="*/ 128 h 160"/>
              <a:gd name="T66" fmla="*/ 33 w 160"/>
              <a:gd name="T67" fmla="*/ 138 h 160"/>
              <a:gd name="T68" fmla="*/ 23 w 160"/>
              <a:gd name="T69" fmla="*/ 128 h 160"/>
              <a:gd name="T70" fmla="*/ 19 w 160"/>
              <a:gd name="T71" fmla="*/ 123 h 160"/>
              <a:gd name="T72" fmla="*/ 69 w 160"/>
              <a:gd name="T73" fmla="*/ 123 h 160"/>
              <a:gd name="T74" fmla="*/ 63 w 160"/>
              <a:gd name="T75" fmla="*/ 153 h 160"/>
              <a:gd name="T76" fmla="*/ 47 w 160"/>
              <a:gd name="T77" fmla="*/ 37 h 160"/>
              <a:gd name="T78" fmla="*/ 115 w 160"/>
              <a:gd name="T79" fmla="*/ 38 h 160"/>
              <a:gd name="T80" fmla="*/ 93 w 160"/>
              <a:gd name="T81" fmla="*/ 96 h 160"/>
              <a:gd name="T82" fmla="*/ 72 w 160"/>
              <a:gd name="T83" fmla="*/ 90 h 160"/>
              <a:gd name="T84" fmla="*/ 80 w 160"/>
              <a:gd name="T85" fmla="*/ 5 h 160"/>
              <a:gd name="T86" fmla="*/ 90 w 160"/>
              <a:gd name="T87" fmla="*/ 17 h 160"/>
              <a:gd name="T88" fmla="*/ 47 w 160"/>
              <a:gd name="T89" fmla="*/ 30 h 160"/>
              <a:gd name="T90" fmla="*/ 100 w 160"/>
              <a:gd name="T91" fmla="*/ 96 h 160"/>
              <a:gd name="T92" fmla="*/ 91 w 160"/>
              <a:gd name="T93" fmla="*/ 107 h 160"/>
              <a:gd name="T94" fmla="*/ 80 w 160"/>
              <a:gd name="T95" fmla="*/ 155 h 160"/>
              <a:gd name="T96" fmla="*/ 77 w 160"/>
              <a:gd name="T97" fmla="*/ 123 h 160"/>
              <a:gd name="T98" fmla="*/ 85 w 160"/>
              <a:gd name="T99" fmla="*/ 117 h 160"/>
              <a:gd name="T100" fmla="*/ 85 w 160"/>
              <a:gd name="T101" fmla="*/ 107 h 160"/>
              <a:gd name="T102" fmla="*/ 69 w 160"/>
              <a:gd name="T103" fmla="*/ 110 h 160"/>
              <a:gd name="T104" fmla="*/ 69 w 160"/>
              <a:gd name="T105" fmla="*/ 107 h 160"/>
              <a:gd name="T106" fmla="*/ 66 w 160"/>
              <a:gd name="T107" fmla="*/ 87 h 160"/>
              <a:gd name="T108" fmla="*/ 63 w 160"/>
              <a:gd name="T109" fmla="*/ 91 h 160"/>
              <a:gd name="T110" fmla="*/ 15 w 160"/>
              <a:gd name="T111"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60">
                <a:moveTo>
                  <a:pt x="160" y="80"/>
                </a:moveTo>
                <a:cubicBezTo>
                  <a:pt x="160" y="36"/>
                  <a:pt x="124" y="0"/>
                  <a:pt x="80" y="0"/>
                </a:cubicBezTo>
                <a:cubicBezTo>
                  <a:pt x="36" y="0"/>
                  <a:pt x="0" y="36"/>
                  <a:pt x="0" y="80"/>
                </a:cubicBezTo>
                <a:cubicBezTo>
                  <a:pt x="0" y="96"/>
                  <a:pt x="5" y="112"/>
                  <a:pt x="13" y="124"/>
                </a:cubicBezTo>
                <a:cubicBezTo>
                  <a:pt x="13" y="124"/>
                  <a:pt x="13" y="124"/>
                  <a:pt x="13" y="124"/>
                </a:cubicBezTo>
                <a:cubicBezTo>
                  <a:pt x="14" y="125"/>
                  <a:pt x="14" y="125"/>
                  <a:pt x="14" y="125"/>
                </a:cubicBezTo>
                <a:cubicBezTo>
                  <a:pt x="14" y="126"/>
                  <a:pt x="15" y="127"/>
                  <a:pt x="15" y="127"/>
                </a:cubicBezTo>
                <a:cubicBezTo>
                  <a:pt x="16" y="128"/>
                  <a:pt x="16" y="128"/>
                  <a:pt x="16" y="128"/>
                </a:cubicBezTo>
                <a:cubicBezTo>
                  <a:pt x="17" y="129"/>
                  <a:pt x="17" y="130"/>
                  <a:pt x="18" y="131"/>
                </a:cubicBezTo>
                <a:cubicBezTo>
                  <a:pt x="18" y="131"/>
                  <a:pt x="18" y="131"/>
                  <a:pt x="19" y="131"/>
                </a:cubicBezTo>
                <a:cubicBezTo>
                  <a:pt x="22" y="135"/>
                  <a:pt x="25" y="138"/>
                  <a:pt x="29" y="141"/>
                </a:cubicBezTo>
                <a:cubicBezTo>
                  <a:pt x="29" y="142"/>
                  <a:pt x="29" y="142"/>
                  <a:pt x="29" y="142"/>
                </a:cubicBezTo>
                <a:cubicBezTo>
                  <a:pt x="30" y="143"/>
                  <a:pt x="31" y="143"/>
                  <a:pt x="32" y="144"/>
                </a:cubicBezTo>
                <a:cubicBezTo>
                  <a:pt x="32" y="144"/>
                  <a:pt x="32" y="144"/>
                  <a:pt x="33" y="145"/>
                </a:cubicBezTo>
                <a:cubicBezTo>
                  <a:pt x="34" y="145"/>
                  <a:pt x="34" y="146"/>
                  <a:pt x="35" y="146"/>
                </a:cubicBezTo>
                <a:cubicBezTo>
                  <a:pt x="36" y="147"/>
                  <a:pt x="36" y="147"/>
                  <a:pt x="36" y="147"/>
                </a:cubicBezTo>
                <a:cubicBezTo>
                  <a:pt x="38" y="148"/>
                  <a:pt x="39" y="148"/>
                  <a:pt x="40" y="149"/>
                </a:cubicBezTo>
                <a:cubicBezTo>
                  <a:pt x="41" y="150"/>
                  <a:pt x="41" y="150"/>
                  <a:pt x="42" y="151"/>
                </a:cubicBezTo>
                <a:cubicBezTo>
                  <a:pt x="43" y="151"/>
                  <a:pt x="43" y="151"/>
                  <a:pt x="44" y="151"/>
                </a:cubicBezTo>
                <a:cubicBezTo>
                  <a:pt x="45" y="152"/>
                  <a:pt x="45" y="152"/>
                  <a:pt x="46" y="153"/>
                </a:cubicBezTo>
                <a:cubicBezTo>
                  <a:pt x="47" y="153"/>
                  <a:pt x="47" y="153"/>
                  <a:pt x="48" y="153"/>
                </a:cubicBezTo>
                <a:cubicBezTo>
                  <a:pt x="49" y="154"/>
                  <a:pt x="50" y="154"/>
                  <a:pt x="51" y="154"/>
                </a:cubicBezTo>
                <a:cubicBezTo>
                  <a:pt x="51" y="155"/>
                  <a:pt x="51" y="155"/>
                  <a:pt x="52" y="155"/>
                </a:cubicBezTo>
                <a:cubicBezTo>
                  <a:pt x="55" y="156"/>
                  <a:pt x="58" y="157"/>
                  <a:pt x="61" y="158"/>
                </a:cubicBezTo>
                <a:cubicBezTo>
                  <a:pt x="61" y="158"/>
                  <a:pt x="61" y="158"/>
                  <a:pt x="61" y="158"/>
                </a:cubicBezTo>
                <a:cubicBezTo>
                  <a:pt x="62" y="158"/>
                  <a:pt x="64" y="158"/>
                  <a:pt x="65" y="159"/>
                </a:cubicBezTo>
                <a:cubicBezTo>
                  <a:pt x="65" y="159"/>
                  <a:pt x="66" y="159"/>
                  <a:pt x="66" y="159"/>
                </a:cubicBezTo>
                <a:cubicBezTo>
                  <a:pt x="66" y="159"/>
                  <a:pt x="66" y="159"/>
                  <a:pt x="66" y="159"/>
                </a:cubicBezTo>
                <a:cubicBezTo>
                  <a:pt x="66" y="159"/>
                  <a:pt x="66" y="159"/>
                  <a:pt x="66" y="159"/>
                </a:cubicBezTo>
                <a:cubicBezTo>
                  <a:pt x="68" y="159"/>
                  <a:pt x="68" y="159"/>
                  <a:pt x="68" y="159"/>
                </a:cubicBezTo>
                <a:cubicBezTo>
                  <a:pt x="68" y="159"/>
                  <a:pt x="68" y="159"/>
                  <a:pt x="69" y="159"/>
                </a:cubicBezTo>
                <a:cubicBezTo>
                  <a:pt x="69" y="159"/>
                  <a:pt x="69" y="159"/>
                  <a:pt x="69" y="159"/>
                </a:cubicBezTo>
                <a:cubicBezTo>
                  <a:pt x="69" y="159"/>
                  <a:pt x="69" y="159"/>
                  <a:pt x="69" y="159"/>
                </a:cubicBezTo>
                <a:cubicBezTo>
                  <a:pt x="69" y="159"/>
                  <a:pt x="69" y="159"/>
                  <a:pt x="69" y="159"/>
                </a:cubicBezTo>
                <a:cubicBezTo>
                  <a:pt x="70" y="159"/>
                  <a:pt x="70" y="159"/>
                  <a:pt x="71" y="159"/>
                </a:cubicBezTo>
                <a:cubicBezTo>
                  <a:pt x="72" y="160"/>
                  <a:pt x="73" y="160"/>
                  <a:pt x="74" y="160"/>
                </a:cubicBezTo>
                <a:cubicBezTo>
                  <a:pt x="74" y="160"/>
                  <a:pt x="74" y="160"/>
                  <a:pt x="75" y="160"/>
                </a:cubicBezTo>
                <a:cubicBezTo>
                  <a:pt x="75" y="160"/>
                  <a:pt x="75" y="160"/>
                  <a:pt x="75" y="160"/>
                </a:cubicBezTo>
                <a:cubicBezTo>
                  <a:pt x="77" y="160"/>
                  <a:pt x="78" y="160"/>
                  <a:pt x="80" y="160"/>
                </a:cubicBezTo>
                <a:cubicBezTo>
                  <a:pt x="82" y="160"/>
                  <a:pt x="83" y="160"/>
                  <a:pt x="85" y="160"/>
                </a:cubicBezTo>
                <a:cubicBezTo>
                  <a:pt x="85" y="160"/>
                  <a:pt x="85" y="160"/>
                  <a:pt x="85" y="160"/>
                </a:cubicBezTo>
                <a:cubicBezTo>
                  <a:pt x="86" y="160"/>
                  <a:pt x="86" y="160"/>
                  <a:pt x="86" y="160"/>
                </a:cubicBezTo>
                <a:cubicBezTo>
                  <a:pt x="87" y="160"/>
                  <a:pt x="88" y="160"/>
                  <a:pt x="89" y="159"/>
                </a:cubicBezTo>
                <a:cubicBezTo>
                  <a:pt x="90" y="159"/>
                  <a:pt x="90" y="159"/>
                  <a:pt x="91" y="159"/>
                </a:cubicBezTo>
                <a:cubicBezTo>
                  <a:pt x="91" y="159"/>
                  <a:pt x="91" y="159"/>
                  <a:pt x="91" y="159"/>
                </a:cubicBezTo>
                <a:cubicBezTo>
                  <a:pt x="91" y="159"/>
                  <a:pt x="91" y="159"/>
                  <a:pt x="91" y="159"/>
                </a:cubicBezTo>
                <a:cubicBezTo>
                  <a:pt x="91" y="159"/>
                  <a:pt x="91" y="159"/>
                  <a:pt x="91" y="159"/>
                </a:cubicBezTo>
                <a:cubicBezTo>
                  <a:pt x="92" y="159"/>
                  <a:pt x="92" y="159"/>
                  <a:pt x="92" y="159"/>
                </a:cubicBezTo>
                <a:cubicBezTo>
                  <a:pt x="94" y="159"/>
                  <a:pt x="94" y="159"/>
                  <a:pt x="94" y="159"/>
                </a:cubicBezTo>
                <a:cubicBezTo>
                  <a:pt x="94" y="159"/>
                  <a:pt x="94" y="159"/>
                  <a:pt x="94" y="159"/>
                </a:cubicBezTo>
                <a:cubicBezTo>
                  <a:pt x="94" y="159"/>
                  <a:pt x="94" y="159"/>
                  <a:pt x="94" y="159"/>
                </a:cubicBezTo>
                <a:cubicBezTo>
                  <a:pt x="94" y="159"/>
                  <a:pt x="95" y="159"/>
                  <a:pt x="95" y="159"/>
                </a:cubicBezTo>
                <a:cubicBezTo>
                  <a:pt x="96" y="158"/>
                  <a:pt x="98" y="158"/>
                  <a:pt x="99" y="158"/>
                </a:cubicBezTo>
                <a:cubicBezTo>
                  <a:pt x="99" y="158"/>
                  <a:pt x="99" y="158"/>
                  <a:pt x="99" y="158"/>
                </a:cubicBezTo>
                <a:cubicBezTo>
                  <a:pt x="102" y="157"/>
                  <a:pt x="105" y="156"/>
                  <a:pt x="108" y="155"/>
                </a:cubicBezTo>
                <a:cubicBezTo>
                  <a:pt x="109" y="155"/>
                  <a:pt x="109" y="155"/>
                  <a:pt x="109" y="154"/>
                </a:cubicBezTo>
                <a:cubicBezTo>
                  <a:pt x="110" y="154"/>
                  <a:pt x="111" y="154"/>
                  <a:pt x="112" y="153"/>
                </a:cubicBezTo>
                <a:cubicBezTo>
                  <a:pt x="113" y="153"/>
                  <a:pt x="113" y="153"/>
                  <a:pt x="114" y="153"/>
                </a:cubicBezTo>
                <a:cubicBezTo>
                  <a:pt x="115" y="152"/>
                  <a:pt x="115" y="152"/>
                  <a:pt x="116" y="151"/>
                </a:cubicBezTo>
                <a:cubicBezTo>
                  <a:pt x="117" y="151"/>
                  <a:pt x="117" y="151"/>
                  <a:pt x="118" y="151"/>
                </a:cubicBezTo>
                <a:cubicBezTo>
                  <a:pt x="119" y="150"/>
                  <a:pt x="119" y="150"/>
                  <a:pt x="120" y="149"/>
                </a:cubicBezTo>
                <a:cubicBezTo>
                  <a:pt x="121" y="148"/>
                  <a:pt x="122" y="148"/>
                  <a:pt x="124" y="147"/>
                </a:cubicBezTo>
                <a:cubicBezTo>
                  <a:pt x="124" y="147"/>
                  <a:pt x="124" y="147"/>
                  <a:pt x="125" y="146"/>
                </a:cubicBezTo>
                <a:cubicBezTo>
                  <a:pt x="126" y="146"/>
                  <a:pt x="126" y="145"/>
                  <a:pt x="127" y="145"/>
                </a:cubicBezTo>
                <a:cubicBezTo>
                  <a:pt x="128" y="144"/>
                  <a:pt x="128" y="144"/>
                  <a:pt x="128" y="144"/>
                </a:cubicBezTo>
                <a:cubicBezTo>
                  <a:pt x="129" y="143"/>
                  <a:pt x="130" y="143"/>
                  <a:pt x="131" y="142"/>
                </a:cubicBezTo>
                <a:cubicBezTo>
                  <a:pt x="131" y="142"/>
                  <a:pt x="131" y="142"/>
                  <a:pt x="131" y="141"/>
                </a:cubicBezTo>
                <a:cubicBezTo>
                  <a:pt x="135" y="138"/>
                  <a:pt x="138" y="135"/>
                  <a:pt x="141" y="131"/>
                </a:cubicBezTo>
                <a:cubicBezTo>
                  <a:pt x="142" y="131"/>
                  <a:pt x="142" y="131"/>
                  <a:pt x="142" y="131"/>
                </a:cubicBezTo>
                <a:cubicBezTo>
                  <a:pt x="143" y="130"/>
                  <a:pt x="143" y="129"/>
                  <a:pt x="144" y="128"/>
                </a:cubicBezTo>
                <a:cubicBezTo>
                  <a:pt x="144" y="128"/>
                  <a:pt x="144" y="128"/>
                  <a:pt x="145" y="127"/>
                </a:cubicBezTo>
                <a:cubicBezTo>
                  <a:pt x="145" y="127"/>
                  <a:pt x="146" y="126"/>
                  <a:pt x="146" y="125"/>
                </a:cubicBezTo>
                <a:cubicBezTo>
                  <a:pt x="147" y="124"/>
                  <a:pt x="147" y="124"/>
                  <a:pt x="147" y="124"/>
                </a:cubicBezTo>
                <a:cubicBezTo>
                  <a:pt x="147" y="124"/>
                  <a:pt x="147" y="124"/>
                  <a:pt x="147" y="124"/>
                </a:cubicBezTo>
                <a:cubicBezTo>
                  <a:pt x="155" y="112"/>
                  <a:pt x="160" y="96"/>
                  <a:pt x="160" y="80"/>
                </a:cubicBezTo>
                <a:close/>
                <a:moveTo>
                  <a:pt x="155" y="80"/>
                </a:moveTo>
                <a:cubicBezTo>
                  <a:pt x="155" y="93"/>
                  <a:pt x="151" y="106"/>
                  <a:pt x="145" y="117"/>
                </a:cubicBezTo>
                <a:cubicBezTo>
                  <a:pt x="141" y="102"/>
                  <a:pt x="128" y="92"/>
                  <a:pt x="113" y="91"/>
                </a:cubicBezTo>
                <a:cubicBezTo>
                  <a:pt x="113" y="91"/>
                  <a:pt x="113" y="91"/>
                  <a:pt x="113" y="91"/>
                </a:cubicBezTo>
                <a:cubicBezTo>
                  <a:pt x="110" y="91"/>
                  <a:pt x="110" y="91"/>
                  <a:pt x="110" y="91"/>
                </a:cubicBezTo>
                <a:cubicBezTo>
                  <a:pt x="97" y="91"/>
                  <a:pt x="97" y="91"/>
                  <a:pt x="97" y="91"/>
                </a:cubicBezTo>
                <a:cubicBezTo>
                  <a:pt x="94" y="91"/>
                  <a:pt x="94" y="91"/>
                  <a:pt x="94" y="91"/>
                </a:cubicBezTo>
                <a:cubicBezTo>
                  <a:pt x="94" y="91"/>
                  <a:pt x="93" y="90"/>
                  <a:pt x="93" y="90"/>
                </a:cubicBezTo>
                <a:cubicBezTo>
                  <a:pt x="93" y="88"/>
                  <a:pt x="93" y="88"/>
                  <a:pt x="93" y="88"/>
                </a:cubicBezTo>
                <a:cubicBezTo>
                  <a:pt x="93" y="87"/>
                  <a:pt x="94" y="87"/>
                  <a:pt x="94" y="87"/>
                </a:cubicBezTo>
                <a:cubicBezTo>
                  <a:pt x="111" y="81"/>
                  <a:pt x="122" y="54"/>
                  <a:pt x="120" y="35"/>
                </a:cubicBezTo>
                <a:cubicBezTo>
                  <a:pt x="119" y="25"/>
                  <a:pt x="114" y="17"/>
                  <a:pt x="107" y="10"/>
                </a:cubicBezTo>
                <a:cubicBezTo>
                  <a:pt x="135" y="21"/>
                  <a:pt x="155" y="48"/>
                  <a:pt x="155" y="80"/>
                </a:cubicBezTo>
                <a:close/>
                <a:moveTo>
                  <a:pt x="140" y="124"/>
                </a:moveTo>
                <a:cubicBezTo>
                  <a:pt x="140" y="125"/>
                  <a:pt x="140" y="125"/>
                  <a:pt x="139" y="125"/>
                </a:cubicBezTo>
                <a:cubicBezTo>
                  <a:pt x="139" y="126"/>
                  <a:pt x="138" y="127"/>
                  <a:pt x="138" y="127"/>
                </a:cubicBezTo>
                <a:cubicBezTo>
                  <a:pt x="138" y="128"/>
                  <a:pt x="138" y="128"/>
                  <a:pt x="137" y="128"/>
                </a:cubicBezTo>
                <a:cubicBezTo>
                  <a:pt x="135" y="130"/>
                  <a:pt x="133" y="133"/>
                  <a:pt x="130" y="135"/>
                </a:cubicBezTo>
                <a:cubicBezTo>
                  <a:pt x="130" y="135"/>
                  <a:pt x="130" y="135"/>
                  <a:pt x="130" y="135"/>
                </a:cubicBezTo>
                <a:cubicBezTo>
                  <a:pt x="129" y="136"/>
                  <a:pt x="129" y="137"/>
                  <a:pt x="128" y="137"/>
                </a:cubicBezTo>
                <a:cubicBezTo>
                  <a:pt x="128" y="138"/>
                  <a:pt x="127" y="138"/>
                  <a:pt x="127" y="138"/>
                </a:cubicBezTo>
                <a:cubicBezTo>
                  <a:pt x="126" y="139"/>
                  <a:pt x="126" y="139"/>
                  <a:pt x="125" y="140"/>
                </a:cubicBezTo>
                <a:cubicBezTo>
                  <a:pt x="125" y="140"/>
                  <a:pt x="124" y="140"/>
                  <a:pt x="124" y="140"/>
                </a:cubicBezTo>
                <a:cubicBezTo>
                  <a:pt x="124" y="141"/>
                  <a:pt x="123" y="141"/>
                  <a:pt x="123" y="141"/>
                </a:cubicBezTo>
                <a:cubicBezTo>
                  <a:pt x="123" y="128"/>
                  <a:pt x="123" y="128"/>
                  <a:pt x="123" y="128"/>
                </a:cubicBezTo>
                <a:cubicBezTo>
                  <a:pt x="117" y="128"/>
                  <a:pt x="117" y="128"/>
                  <a:pt x="117" y="128"/>
                </a:cubicBezTo>
                <a:cubicBezTo>
                  <a:pt x="117" y="145"/>
                  <a:pt x="117" y="145"/>
                  <a:pt x="117" y="145"/>
                </a:cubicBezTo>
                <a:cubicBezTo>
                  <a:pt x="117" y="145"/>
                  <a:pt x="117" y="145"/>
                  <a:pt x="117" y="145"/>
                </a:cubicBezTo>
                <a:cubicBezTo>
                  <a:pt x="116" y="145"/>
                  <a:pt x="116" y="146"/>
                  <a:pt x="115" y="146"/>
                </a:cubicBezTo>
                <a:cubicBezTo>
                  <a:pt x="114" y="146"/>
                  <a:pt x="114" y="146"/>
                  <a:pt x="114" y="147"/>
                </a:cubicBezTo>
                <a:cubicBezTo>
                  <a:pt x="113" y="147"/>
                  <a:pt x="112" y="147"/>
                  <a:pt x="111" y="148"/>
                </a:cubicBezTo>
                <a:cubicBezTo>
                  <a:pt x="111" y="148"/>
                  <a:pt x="110" y="148"/>
                  <a:pt x="110" y="148"/>
                </a:cubicBezTo>
                <a:cubicBezTo>
                  <a:pt x="109" y="149"/>
                  <a:pt x="108" y="149"/>
                  <a:pt x="107" y="150"/>
                </a:cubicBezTo>
                <a:cubicBezTo>
                  <a:pt x="107" y="150"/>
                  <a:pt x="106" y="150"/>
                  <a:pt x="106" y="150"/>
                </a:cubicBezTo>
                <a:cubicBezTo>
                  <a:pt x="103" y="151"/>
                  <a:pt x="101" y="152"/>
                  <a:pt x="98" y="152"/>
                </a:cubicBezTo>
                <a:cubicBezTo>
                  <a:pt x="98" y="153"/>
                  <a:pt x="98" y="153"/>
                  <a:pt x="97" y="153"/>
                </a:cubicBezTo>
                <a:cubicBezTo>
                  <a:pt x="96" y="153"/>
                  <a:pt x="95" y="153"/>
                  <a:pt x="94" y="153"/>
                </a:cubicBezTo>
                <a:cubicBezTo>
                  <a:pt x="94" y="153"/>
                  <a:pt x="93" y="153"/>
                  <a:pt x="93" y="153"/>
                </a:cubicBezTo>
                <a:cubicBezTo>
                  <a:pt x="88" y="123"/>
                  <a:pt x="88" y="123"/>
                  <a:pt x="88" y="123"/>
                </a:cubicBezTo>
                <a:cubicBezTo>
                  <a:pt x="91" y="123"/>
                  <a:pt x="91" y="123"/>
                  <a:pt x="91" y="123"/>
                </a:cubicBezTo>
                <a:cubicBezTo>
                  <a:pt x="91" y="116"/>
                  <a:pt x="91" y="116"/>
                  <a:pt x="91" y="116"/>
                </a:cubicBezTo>
                <a:cubicBezTo>
                  <a:pt x="103" y="124"/>
                  <a:pt x="103" y="124"/>
                  <a:pt x="103" y="124"/>
                </a:cubicBezTo>
                <a:cubicBezTo>
                  <a:pt x="114" y="96"/>
                  <a:pt x="114" y="96"/>
                  <a:pt x="114" y="96"/>
                </a:cubicBezTo>
                <a:cubicBezTo>
                  <a:pt x="128" y="98"/>
                  <a:pt x="139" y="109"/>
                  <a:pt x="141" y="123"/>
                </a:cubicBezTo>
                <a:cubicBezTo>
                  <a:pt x="141" y="123"/>
                  <a:pt x="140" y="124"/>
                  <a:pt x="140" y="124"/>
                </a:cubicBezTo>
                <a:close/>
                <a:moveTo>
                  <a:pt x="63" y="153"/>
                </a:moveTo>
                <a:cubicBezTo>
                  <a:pt x="62" y="153"/>
                  <a:pt x="62" y="153"/>
                  <a:pt x="62" y="152"/>
                </a:cubicBezTo>
                <a:cubicBezTo>
                  <a:pt x="59" y="152"/>
                  <a:pt x="57" y="151"/>
                  <a:pt x="54" y="150"/>
                </a:cubicBezTo>
                <a:cubicBezTo>
                  <a:pt x="54" y="150"/>
                  <a:pt x="53" y="150"/>
                  <a:pt x="53" y="150"/>
                </a:cubicBezTo>
                <a:cubicBezTo>
                  <a:pt x="52" y="149"/>
                  <a:pt x="51" y="149"/>
                  <a:pt x="50" y="148"/>
                </a:cubicBezTo>
                <a:cubicBezTo>
                  <a:pt x="50" y="148"/>
                  <a:pt x="49" y="148"/>
                  <a:pt x="49" y="148"/>
                </a:cubicBezTo>
                <a:cubicBezTo>
                  <a:pt x="48" y="147"/>
                  <a:pt x="47" y="147"/>
                  <a:pt x="46" y="147"/>
                </a:cubicBezTo>
                <a:cubicBezTo>
                  <a:pt x="46" y="146"/>
                  <a:pt x="46" y="146"/>
                  <a:pt x="45" y="146"/>
                </a:cubicBezTo>
                <a:cubicBezTo>
                  <a:pt x="44" y="146"/>
                  <a:pt x="44" y="145"/>
                  <a:pt x="43" y="145"/>
                </a:cubicBezTo>
                <a:cubicBezTo>
                  <a:pt x="43" y="145"/>
                  <a:pt x="43" y="145"/>
                  <a:pt x="43" y="145"/>
                </a:cubicBezTo>
                <a:cubicBezTo>
                  <a:pt x="43" y="128"/>
                  <a:pt x="43" y="128"/>
                  <a:pt x="43" y="128"/>
                </a:cubicBezTo>
                <a:cubicBezTo>
                  <a:pt x="37" y="128"/>
                  <a:pt x="37" y="128"/>
                  <a:pt x="37" y="128"/>
                </a:cubicBezTo>
                <a:cubicBezTo>
                  <a:pt x="37" y="141"/>
                  <a:pt x="37" y="141"/>
                  <a:pt x="37" y="141"/>
                </a:cubicBezTo>
                <a:cubicBezTo>
                  <a:pt x="37" y="141"/>
                  <a:pt x="36" y="141"/>
                  <a:pt x="36" y="140"/>
                </a:cubicBezTo>
                <a:cubicBezTo>
                  <a:pt x="36" y="140"/>
                  <a:pt x="35" y="140"/>
                  <a:pt x="35" y="140"/>
                </a:cubicBezTo>
                <a:cubicBezTo>
                  <a:pt x="34" y="139"/>
                  <a:pt x="34" y="139"/>
                  <a:pt x="33" y="138"/>
                </a:cubicBezTo>
                <a:cubicBezTo>
                  <a:pt x="33" y="138"/>
                  <a:pt x="32" y="138"/>
                  <a:pt x="32" y="137"/>
                </a:cubicBezTo>
                <a:cubicBezTo>
                  <a:pt x="31" y="137"/>
                  <a:pt x="31" y="136"/>
                  <a:pt x="30" y="135"/>
                </a:cubicBezTo>
                <a:cubicBezTo>
                  <a:pt x="30" y="135"/>
                  <a:pt x="30" y="135"/>
                  <a:pt x="30" y="135"/>
                </a:cubicBezTo>
                <a:cubicBezTo>
                  <a:pt x="27" y="133"/>
                  <a:pt x="25" y="130"/>
                  <a:pt x="23" y="128"/>
                </a:cubicBezTo>
                <a:cubicBezTo>
                  <a:pt x="22" y="128"/>
                  <a:pt x="22" y="128"/>
                  <a:pt x="22" y="127"/>
                </a:cubicBezTo>
                <a:cubicBezTo>
                  <a:pt x="22" y="127"/>
                  <a:pt x="21" y="126"/>
                  <a:pt x="21" y="125"/>
                </a:cubicBezTo>
                <a:cubicBezTo>
                  <a:pt x="20" y="125"/>
                  <a:pt x="20" y="125"/>
                  <a:pt x="20" y="124"/>
                </a:cubicBezTo>
                <a:cubicBezTo>
                  <a:pt x="20" y="124"/>
                  <a:pt x="19" y="123"/>
                  <a:pt x="19" y="123"/>
                </a:cubicBezTo>
                <a:cubicBezTo>
                  <a:pt x="21" y="109"/>
                  <a:pt x="32" y="98"/>
                  <a:pt x="46" y="96"/>
                </a:cubicBezTo>
                <a:cubicBezTo>
                  <a:pt x="57" y="124"/>
                  <a:pt x="57" y="124"/>
                  <a:pt x="57" y="124"/>
                </a:cubicBezTo>
                <a:cubicBezTo>
                  <a:pt x="69" y="116"/>
                  <a:pt x="69" y="116"/>
                  <a:pt x="69" y="116"/>
                </a:cubicBezTo>
                <a:cubicBezTo>
                  <a:pt x="69" y="123"/>
                  <a:pt x="69" y="123"/>
                  <a:pt x="69" y="123"/>
                </a:cubicBezTo>
                <a:cubicBezTo>
                  <a:pt x="72" y="123"/>
                  <a:pt x="72" y="123"/>
                  <a:pt x="72" y="123"/>
                </a:cubicBezTo>
                <a:cubicBezTo>
                  <a:pt x="67" y="154"/>
                  <a:pt x="67" y="154"/>
                  <a:pt x="67" y="154"/>
                </a:cubicBezTo>
                <a:cubicBezTo>
                  <a:pt x="67" y="153"/>
                  <a:pt x="66" y="153"/>
                  <a:pt x="66" y="153"/>
                </a:cubicBezTo>
                <a:cubicBezTo>
                  <a:pt x="65" y="153"/>
                  <a:pt x="64" y="153"/>
                  <a:pt x="63" y="153"/>
                </a:cubicBezTo>
                <a:close/>
                <a:moveTo>
                  <a:pt x="68" y="82"/>
                </a:moveTo>
                <a:cubicBezTo>
                  <a:pt x="55" y="77"/>
                  <a:pt x="45" y="56"/>
                  <a:pt x="45" y="40"/>
                </a:cubicBezTo>
                <a:cubicBezTo>
                  <a:pt x="45" y="40"/>
                  <a:pt x="45" y="39"/>
                  <a:pt x="45" y="39"/>
                </a:cubicBezTo>
                <a:cubicBezTo>
                  <a:pt x="47" y="37"/>
                  <a:pt x="47" y="37"/>
                  <a:pt x="47" y="37"/>
                </a:cubicBezTo>
                <a:cubicBezTo>
                  <a:pt x="52" y="31"/>
                  <a:pt x="59" y="30"/>
                  <a:pt x="66" y="33"/>
                </a:cubicBezTo>
                <a:cubicBezTo>
                  <a:pt x="69" y="34"/>
                  <a:pt x="72" y="35"/>
                  <a:pt x="75" y="35"/>
                </a:cubicBezTo>
                <a:cubicBezTo>
                  <a:pt x="83" y="35"/>
                  <a:pt x="90" y="30"/>
                  <a:pt x="93" y="24"/>
                </a:cubicBezTo>
                <a:cubicBezTo>
                  <a:pt x="102" y="26"/>
                  <a:pt x="109" y="32"/>
                  <a:pt x="115" y="38"/>
                </a:cubicBezTo>
                <a:cubicBezTo>
                  <a:pt x="115" y="54"/>
                  <a:pt x="106" y="77"/>
                  <a:pt x="92" y="82"/>
                </a:cubicBezTo>
                <a:cubicBezTo>
                  <a:pt x="90" y="83"/>
                  <a:pt x="88" y="85"/>
                  <a:pt x="88" y="88"/>
                </a:cubicBezTo>
                <a:cubicBezTo>
                  <a:pt x="88" y="90"/>
                  <a:pt x="88" y="90"/>
                  <a:pt x="88" y="90"/>
                </a:cubicBezTo>
                <a:cubicBezTo>
                  <a:pt x="88" y="93"/>
                  <a:pt x="90" y="95"/>
                  <a:pt x="93" y="96"/>
                </a:cubicBezTo>
                <a:cubicBezTo>
                  <a:pt x="89" y="101"/>
                  <a:pt x="89" y="101"/>
                  <a:pt x="89" y="101"/>
                </a:cubicBezTo>
                <a:cubicBezTo>
                  <a:pt x="71" y="101"/>
                  <a:pt x="71" y="101"/>
                  <a:pt x="71" y="101"/>
                </a:cubicBezTo>
                <a:cubicBezTo>
                  <a:pt x="67" y="96"/>
                  <a:pt x="67" y="96"/>
                  <a:pt x="67" y="96"/>
                </a:cubicBezTo>
                <a:cubicBezTo>
                  <a:pt x="70" y="95"/>
                  <a:pt x="72" y="93"/>
                  <a:pt x="72" y="90"/>
                </a:cubicBezTo>
                <a:cubicBezTo>
                  <a:pt x="72" y="88"/>
                  <a:pt x="72" y="88"/>
                  <a:pt x="72" y="88"/>
                </a:cubicBezTo>
                <a:cubicBezTo>
                  <a:pt x="72" y="85"/>
                  <a:pt x="70" y="83"/>
                  <a:pt x="68" y="82"/>
                </a:cubicBezTo>
                <a:close/>
                <a:moveTo>
                  <a:pt x="80" y="5"/>
                </a:moveTo>
                <a:cubicBezTo>
                  <a:pt x="80" y="5"/>
                  <a:pt x="80" y="5"/>
                  <a:pt x="80" y="5"/>
                </a:cubicBezTo>
                <a:cubicBezTo>
                  <a:pt x="82" y="5"/>
                  <a:pt x="83" y="5"/>
                  <a:pt x="84" y="6"/>
                </a:cubicBezTo>
                <a:cubicBezTo>
                  <a:pt x="97" y="7"/>
                  <a:pt x="108" y="16"/>
                  <a:pt x="113" y="28"/>
                </a:cubicBezTo>
                <a:cubicBezTo>
                  <a:pt x="107" y="24"/>
                  <a:pt x="100" y="20"/>
                  <a:pt x="93" y="18"/>
                </a:cubicBezTo>
                <a:cubicBezTo>
                  <a:pt x="90" y="17"/>
                  <a:pt x="90" y="17"/>
                  <a:pt x="90" y="17"/>
                </a:cubicBezTo>
                <a:cubicBezTo>
                  <a:pt x="90" y="19"/>
                  <a:pt x="90" y="19"/>
                  <a:pt x="90" y="19"/>
                </a:cubicBezTo>
                <a:cubicBezTo>
                  <a:pt x="87" y="25"/>
                  <a:pt x="81" y="29"/>
                  <a:pt x="75" y="29"/>
                </a:cubicBezTo>
                <a:cubicBezTo>
                  <a:pt x="72" y="29"/>
                  <a:pt x="70" y="29"/>
                  <a:pt x="68" y="28"/>
                </a:cubicBezTo>
                <a:cubicBezTo>
                  <a:pt x="61" y="25"/>
                  <a:pt x="53" y="26"/>
                  <a:pt x="47" y="30"/>
                </a:cubicBezTo>
                <a:cubicBezTo>
                  <a:pt x="48" y="25"/>
                  <a:pt x="51" y="20"/>
                  <a:pt x="56" y="15"/>
                </a:cubicBezTo>
                <a:cubicBezTo>
                  <a:pt x="62" y="9"/>
                  <a:pt x="71" y="5"/>
                  <a:pt x="80" y="5"/>
                </a:cubicBezTo>
                <a:close/>
                <a:moveTo>
                  <a:pt x="91" y="107"/>
                </a:moveTo>
                <a:cubicBezTo>
                  <a:pt x="100" y="96"/>
                  <a:pt x="100" y="96"/>
                  <a:pt x="100" y="96"/>
                </a:cubicBezTo>
                <a:cubicBezTo>
                  <a:pt x="108" y="96"/>
                  <a:pt x="108" y="96"/>
                  <a:pt x="108" y="96"/>
                </a:cubicBezTo>
                <a:cubicBezTo>
                  <a:pt x="100" y="116"/>
                  <a:pt x="100" y="116"/>
                  <a:pt x="100" y="116"/>
                </a:cubicBezTo>
                <a:cubicBezTo>
                  <a:pt x="91" y="110"/>
                  <a:pt x="91" y="110"/>
                  <a:pt x="91" y="110"/>
                </a:cubicBezTo>
                <a:lnTo>
                  <a:pt x="91" y="107"/>
                </a:lnTo>
                <a:close/>
                <a:moveTo>
                  <a:pt x="86" y="154"/>
                </a:moveTo>
                <a:cubicBezTo>
                  <a:pt x="86" y="154"/>
                  <a:pt x="85" y="155"/>
                  <a:pt x="84" y="155"/>
                </a:cubicBezTo>
                <a:cubicBezTo>
                  <a:pt x="83" y="155"/>
                  <a:pt x="81" y="155"/>
                  <a:pt x="80" y="155"/>
                </a:cubicBezTo>
                <a:cubicBezTo>
                  <a:pt x="80" y="155"/>
                  <a:pt x="80" y="155"/>
                  <a:pt x="80" y="155"/>
                </a:cubicBezTo>
                <a:cubicBezTo>
                  <a:pt x="78" y="155"/>
                  <a:pt x="77" y="155"/>
                  <a:pt x="76" y="155"/>
                </a:cubicBezTo>
                <a:cubicBezTo>
                  <a:pt x="75" y="155"/>
                  <a:pt x="74" y="154"/>
                  <a:pt x="74" y="154"/>
                </a:cubicBezTo>
                <a:cubicBezTo>
                  <a:pt x="73" y="154"/>
                  <a:pt x="73" y="154"/>
                  <a:pt x="72" y="154"/>
                </a:cubicBezTo>
                <a:cubicBezTo>
                  <a:pt x="77" y="123"/>
                  <a:pt x="77" y="123"/>
                  <a:pt x="77" y="123"/>
                </a:cubicBezTo>
                <a:cubicBezTo>
                  <a:pt x="83" y="123"/>
                  <a:pt x="83" y="123"/>
                  <a:pt x="83" y="123"/>
                </a:cubicBezTo>
                <a:cubicBezTo>
                  <a:pt x="88" y="154"/>
                  <a:pt x="88" y="154"/>
                  <a:pt x="88" y="154"/>
                </a:cubicBezTo>
                <a:cubicBezTo>
                  <a:pt x="87" y="154"/>
                  <a:pt x="87" y="154"/>
                  <a:pt x="86" y="154"/>
                </a:cubicBezTo>
                <a:close/>
                <a:moveTo>
                  <a:pt x="85" y="117"/>
                </a:moveTo>
                <a:cubicBezTo>
                  <a:pt x="75" y="117"/>
                  <a:pt x="75" y="117"/>
                  <a:pt x="75" y="117"/>
                </a:cubicBezTo>
                <a:cubicBezTo>
                  <a:pt x="75" y="113"/>
                  <a:pt x="75" y="113"/>
                  <a:pt x="75" y="113"/>
                </a:cubicBezTo>
                <a:cubicBezTo>
                  <a:pt x="75" y="107"/>
                  <a:pt x="75" y="107"/>
                  <a:pt x="75" y="107"/>
                </a:cubicBezTo>
                <a:cubicBezTo>
                  <a:pt x="85" y="107"/>
                  <a:pt x="85" y="107"/>
                  <a:pt x="85" y="107"/>
                </a:cubicBezTo>
                <a:cubicBezTo>
                  <a:pt x="85" y="113"/>
                  <a:pt x="85" y="113"/>
                  <a:pt x="85" y="113"/>
                </a:cubicBezTo>
                <a:lnTo>
                  <a:pt x="85" y="117"/>
                </a:lnTo>
                <a:close/>
                <a:moveTo>
                  <a:pt x="69" y="107"/>
                </a:moveTo>
                <a:cubicBezTo>
                  <a:pt x="69" y="110"/>
                  <a:pt x="69" y="110"/>
                  <a:pt x="69" y="110"/>
                </a:cubicBezTo>
                <a:cubicBezTo>
                  <a:pt x="60" y="116"/>
                  <a:pt x="60" y="116"/>
                  <a:pt x="60" y="116"/>
                </a:cubicBezTo>
                <a:cubicBezTo>
                  <a:pt x="52" y="96"/>
                  <a:pt x="52" y="96"/>
                  <a:pt x="52" y="96"/>
                </a:cubicBezTo>
                <a:cubicBezTo>
                  <a:pt x="60" y="96"/>
                  <a:pt x="60" y="96"/>
                  <a:pt x="60" y="96"/>
                </a:cubicBezTo>
                <a:lnTo>
                  <a:pt x="69" y="107"/>
                </a:lnTo>
                <a:close/>
                <a:moveTo>
                  <a:pt x="53" y="10"/>
                </a:moveTo>
                <a:cubicBezTo>
                  <a:pt x="53" y="11"/>
                  <a:pt x="52" y="11"/>
                  <a:pt x="52" y="12"/>
                </a:cubicBezTo>
                <a:cubicBezTo>
                  <a:pt x="44" y="19"/>
                  <a:pt x="40" y="29"/>
                  <a:pt x="40" y="40"/>
                </a:cubicBezTo>
                <a:cubicBezTo>
                  <a:pt x="40" y="58"/>
                  <a:pt x="51" y="82"/>
                  <a:pt x="66" y="87"/>
                </a:cubicBezTo>
                <a:cubicBezTo>
                  <a:pt x="66" y="87"/>
                  <a:pt x="67" y="88"/>
                  <a:pt x="67" y="88"/>
                </a:cubicBezTo>
                <a:cubicBezTo>
                  <a:pt x="67" y="90"/>
                  <a:pt x="67" y="90"/>
                  <a:pt x="67" y="90"/>
                </a:cubicBezTo>
                <a:cubicBezTo>
                  <a:pt x="67" y="90"/>
                  <a:pt x="66" y="91"/>
                  <a:pt x="66" y="91"/>
                </a:cubicBezTo>
                <a:cubicBezTo>
                  <a:pt x="63" y="91"/>
                  <a:pt x="63" y="91"/>
                  <a:pt x="63" y="91"/>
                </a:cubicBezTo>
                <a:cubicBezTo>
                  <a:pt x="50" y="91"/>
                  <a:pt x="50" y="91"/>
                  <a:pt x="50" y="91"/>
                </a:cubicBezTo>
                <a:cubicBezTo>
                  <a:pt x="48" y="91"/>
                  <a:pt x="48" y="91"/>
                  <a:pt x="48" y="91"/>
                </a:cubicBezTo>
                <a:cubicBezTo>
                  <a:pt x="48" y="91"/>
                  <a:pt x="48" y="91"/>
                  <a:pt x="48" y="91"/>
                </a:cubicBezTo>
                <a:cubicBezTo>
                  <a:pt x="32" y="92"/>
                  <a:pt x="19" y="102"/>
                  <a:pt x="15" y="117"/>
                </a:cubicBezTo>
                <a:cubicBezTo>
                  <a:pt x="9" y="106"/>
                  <a:pt x="5" y="93"/>
                  <a:pt x="5" y="80"/>
                </a:cubicBezTo>
                <a:cubicBezTo>
                  <a:pt x="5" y="48"/>
                  <a:pt x="25" y="21"/>
                  <a:pt x="53" y="1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56" name="Freeform 58">
            <a:extLst>
              <a:ext uri="{FF2B5EF4-FFF2-40B4-BE49-F238E27FC236}">
                <a16:creationId xmlns:a16="http://schemas.microsoft.com/office/drawing/2014/main" id="{4CCAF76D-8179-8548-87BA-02B5863C24A5}"/>
              </a:ext>
            </a:extLst>
          </p:cNvPr>
          <p:cNvSpPr>
            <a:spLocks noEditPoints="1"/>
          </p:cNvSpPr>
          <p:nvPr/>
        </p:nvSpPr>
        <p:spPr bwMode="auto">
          <a:xfrm>
            <a:off x="5843279" y="5849938"/>
            <a:ext cx="600075" cy="604838"/>
          </a:xfrm>
          <a:custGeom>
            <a:avLst/>
            <a:gdLst>
              <a:gd name="T0" fmla="*/ 13 w 160"/>
              <a:gd name="T1" fmla="*/ 124 h 160"/>
              <a:gd name="T2" fmla="*/ 16 w 160"/>
              <a:gd name="T3" fmla="*/ 128 h 160"/>
              <a:gd name="T4" fmla="*/ 29 w 160"/>
              <a:gd name="T5" fmla="*/ 142 h 160"/>
              <a:gd name="T6" fmla="*/ 36 w 160"/>
              <a:gd name="T7" fmla="*/ 147 h 160"/>
              <a:gd name="T8" fmla="*/ 46 w 160"/>
              <a:gd name="T9" fmla="*/ 153 h 160"/>
              <a:gd name="T10" fmla="*/ 61 w 160"/>
              <a:gd name="T11" fmla="*/ 158 h 160"/>
              <a:gd name="T12" fmla="*/ 69 w 160"/>
              <a:gd name="T13" fmla="*/ 159 h 160"/>
              <a:gd name="T14" fmla="*/ 80 w 160"/>
              <a:gd name="T15" fmla="*/ 160 h 160"/>
              <a:gd name="T16" fmla="*/ 91 w 160"/>
              <a:gd name="T17" fmla="*/ 159 h 160"/>
              <a:gd name="T18" fmla="*/ 99 w 160"/>
              <a:gd name="T19" fmla="*/ 158 h 160"/>
              <a:gd name="T20" fmla="*/ 114 w 160"/>
              <a:gd name="T21" fmla="*/ 153 h 160"/>
              <a:gd name="T22" fmla="*/ 124 w 160"/>
              <a:gd name="T23" fmla="*/ 147 h 160"/>
              <a:gd name="T24" fmla="*/ 131 w 160"/>
              <a:gd name="T25" fmla="*/ 142 h 160"/>
              <a:gd name="T26" fmla="*/ 144 w 160"/>
              <a:gd name="T27" fmla="*/ 128 h 160"/>
              <a:gd name="T28" fmla="*/ 147 w 160"/>
              <a:gd name="T29" fmla="*/ 124 h 160"/>
              <a:gd name="T30" fmla="*/ 112 w 160"/>
              <a:gd name="T31" fmla="*/ 91 h 160"/>
              <a:gd name="T32" fmla="*/ 94 w 160"/>
              <a:gd name="T33" fmla="*/ 91 h 160"/>
              <a:gd name="T34" fmla="*/ 120 w 160"/>
              <a:gd name="T35" fmla="*/ 35 h 160"/>
              <a:gd name="T36" fmla="*/ 139 w 160"/>
              <a:gd name="T37" fmla="*/ 125 h 160"/>
              <a:gd name="T38" fmla="*/ 130 w 160"/>
              <a:gd name="T39" fmla="*/ 135 h 160"/>
              <a:gd name="T40" fmla="*/ 124 w 160"/>
              <a:gd name="T41" fmla="*/ 140 h 160"/>
              <a:gd name="T42" fmla="*/ 112 w 160"/>
              <a:gd name="T43" fmla="*/ 96 h 160"/>
              <a:gd name="T44" fmla="*/ 114 w 160"/>
              <a:gd name="T45" fmla="*/ 147 h 160"/>
              <a:gd name="T46" fmla="*/ 106 w 160"/>
              <a:gd name="T47" fmla="*/ 150 h 160"/>
              <a:gd name="T48" fmla="*/ 93 w 160"/>
              <a:gd name="T49" fmla="*/ 154 h 160"/>
              <a:gd name="T50" fmla="*/ 84 w 160"/>
              <a:gd name="T51" fmla="*/ 155 h 160"/>
              <a:gd name="T52" fmla="*/ 71 w 160"/>
              <a:gd name="T53" fmla="*/ 154 h 160"/>
              <a:gd name="T54" fmla="*/ 63 w 160"/>
              <a:gd name="T55" fmla="*/ 153 h 160"/>
              <a:gd name="T56" fmla="*/ 50 w 160"/>
              <a:gd name="T57" fmla="*/ 148 h 160"/>
              <a:gd name="T58" fmla="*/ 43 w 160"/>
              <a:gd name="T59" fmla="*/ 145 h 160"/>
              <a:gd name="T60" fmla="*/ 64 w 160"/>
              <a:gd name="T61" fmla="*/ 117 h 160"/>
              <a:gd name="T62" fmla="*/ 117 w 160"/>
              <a:gd name="T63" fmla="*/ 145 h 160"/>
              <a:gd name="T64" fmla="*/ 33 w 160"/>
              <a:gd name="T65" fmla="*/ 138 h 160"/>
              <a:gd name="T66" fmla="*/ 23 w 160"/>
              <a:gd name="T67" fmla="*/ 128 h 160"/>
              <a:gd name="T68" fmla="*/ 19 w 160"/>
              <a:gd name="T69" fmla="*/ 123 h 160"/>
              <a:gd name="T70" fmla="*/ 37 w 160"/>
              <a:gd name="T71" fmla="*/ 141 h 160"/>
              <a:gd name="T72" fmla="*/ 45 w 160"/>
              <a:gd name="T73" fmla="*/ 40 h 160"/>
              <a:gd name="T74" fmla="*/ 75 w 160"/>
              <a:gd name="T75" fmla="*/ 35 h 160"/>
              <a:gd name="T76" fmla="*/ 88 w 160"/>
              <a:gd name="T77" fmla="*/ 88 h 160"/>
              <a:gd name="T78" fmla="*/ 96 w 160"/>
              <a:gd name="T79" fmla="*/ 112 h 160"/>
              <a:gd name="T80" fmla="*/ 72 w 160"/>
              <a:gd name="T81" fmla="*/ 90 h 160"/>
              <a:gd name="T82" fmla="*/ 80 w 160"/>
              <a:gd name="T83" fmla="*/ 5 h 160"/>
              <a:gd name="T84" fmla="*/ 90 w 160"/>
              <a:gd name="T85" fmla="*/ 17 h 160"/>
              <a:gd name="T86" fmla="*/ 47 w 160"/>
              <a:gd name="T87" fmla="*/ 30 h 160"/>
              <a:gd name="T88" fmla="*/ 101 w 160"/>
              <a:gd name="T89" fmla="*/ 112 h 160"/>
              <a:gd name="T90" fmla="*/ 59 w 160"/>
              <a:gd name="T91" fmla="*/ 112 h 160"/>
              <a:gd name="T92" fmla="*/ 59 w 160"/>
              <a:gd name="T93" fmla="*/ 112 h 160"/>
              <a:gd name="T94" fmla="*/ 66 w 160"/>
              <a:gd name="T95" fmla="*/ 87 h 160"/>
              <a:gd name="T96" fmla="*/ 64 w 160"/>
              <a:gd name="T97" fmla="*/ 91 h 160"/>
              <a:gd name="T98" fmla="*/ 15 w 160"/>
              <a:gd name="T99"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60">
                <a:moveTo>
                  <a:pt x="160" y="80"/>
                </a:moveTo>
                <a:cubicBezTo>
                  <a:pt x="160" y="36"/>
                  <a:pt x="124" y="0"/>
                  <a:pt x="80" y="0"/>
                </a:cubicBezTo>
                <a:cubicBezTo>
                  <a:pt x="36" y="0"/>
                  <a:pt x="0" y="36"/>
                  <a:pt x="0" y="80"/>
                </a:cubicBezTo>
                <a:cubicBezTo>
                  <a:pt x="0" y="96"/>
                  <a:pt x="5" y="112"/>
                  <a:pt x="13" y="124"/>
                </a:cubicBezTo>
                <a:cubicBezTo>
                  <a:pt x="13" y="124"/>
                  <a:pt x="13" y="124"/>
                  <a:pt x="13" y="124"/>
                </a:cubicBezTo>
                <a:cubicBezTo>
                  <a:pt x="14" y="125"/>
                  <a:pt x="14" y="125"/>
                  <a:pt x="14" y="125"/>
                </a:cubicBezTo>
                <a:cubicBezTo>
                  <a:pt x="14" y="126"/>
                  <a:pt x="15" y="127"/>
                  <a:pt x="15" y="127"/>
                </a:cubicBezTo>
                <a:cubicBezTo>
                  <a:pt x="16" y="128"/>
                  <a:pt x="16" y="128"/>
                  <a:pt x="16" y="128"/>
                </a:cubicBezTo>
                <a:cubicBezTo>
                  <a:pt x="17" y="129"/>
                  <a:pt x="17" y="130"/>
                  <a:pt x="18" y="131"/>
                </a:cubicBezTo>
                <a:cubicBezTo>
                  <a:pt x="18" y="131"/>
                  <a:pt x="18" y="131"/>
                  <a:pt x="19" y="131"/>
                </a:cubicBezTo>
                <a:cubicBezTo>
                  <a:pt x="22" y="135"/>
                  <a:pt x="25" y="138"/>
                  <a:pt x="29" y="141"/>
                </a:cubicBezTo>
                <a:cubicBezTo>
                  <a:pt x="29" y="142"/>
                  <a:pt x="29" y="142"/>
                  <a:pt x="29" y="142"/>
                </a:cubicBezTo>
                <a:cubicBezTo>
                  <a:pt x="30" y="143"/>
                  <a:pt x="31" y="143"/>
                  <a:pt x="32" y="144"/>
                </a:cubicBezTo>
                <a:cubicBezTo>
                  <a:pt x="32" y="144"/>
                  <a:pt x="32" y="144"/>
                  <a:pt x="33" y="145"/>
                </a:cubicBezTo>
                <a:cubicBezTo>
                  <a:pt x="34" y="145"/>
                  <a:pt x="34" y="146"/>
                  <a:pt x="35" y="146"/>
                </a:cubicBezTo>
                <a:cubicBezTo>
                  <a:pt x="36" y="147"/>
                  <a:pt x="36" y="147"/>
                  <a:pt x="36" y="147"/>
                </a:cubicBezTo>
                <a:cubicBezTo>
                  <a:pt x="38" y="148"/>
                  <a:pt x="39" y="148"/>
                  <a:pt x="40" y="149"/>
                </a:cubicBezTo>
                <a:cubicBezTo>
                  <a:pt x="41" y="150"/>
                  <a:pt x="41" y="150"/>
                  <a:pt x="42" y="151"/>
                </a:cubicBezTo>
                <a:cubicBezTo>
                  <a:pt x="43" y="151"/>
                  <a:pt x="43" y="151"/>
                  <a:pt x="44" y="151"/>
                </a:cubicBezTo>
                <a:cubicBezTo>
                  <a:pt x="45" y="152"/>
                  <a:pt x="45" y="152"/>
                  <a:pt x="46" y="153"/>
                </a:cubicBezTo>
                <a:cubicBezTo>
                  <a:pt x="47" y="153"/>
                  <a:pt x="47" y="153"/>
                  <a:pt x="48" y="153"/>
                </a:cubicBezTo>
                <a:cubicBezTo>
                  <a:pt x="49" y="154"/>
                  <a:pt x="50" y="154"/>
                  <a:pt x="51" y="154"/>
                </a:cubicBezTo>
                <a:cubicBezTo>
                  <a:pt x="51" y="155"/>
                  <a:pt x="51" y="155"/>
                  <a:pt x="52" y="155"/>
                </a:cubicBezTo>
                <a:cubicBezTo>
                  <a:pt x="55" y="156"/>
                  <a:pt x="58" y="157"/>
                  <a:pt x="61" y="158"/>
                </a:cubicBezTo>
                <a:cubicBezTo>
                  <a:pt x="61" y="158"/>
                  <a:pt x="61" y="158"/>
                  <a:pt x="61" y="158"/>
                </a:cubicBezTo>
                <a:cubicBezTo>
                  <a:pt x="62" y="158"/>
                  <a:pt x="64" y="158"/>
                  <a:pt x="65" y="159"/>
                </a:cubicBezTo>
                <a:cubicBezTo>
                  <a:pt x="65" y="159"/>
                  <a:pt x="66" y="159"/>
                  <a:pt x="66" y="159"/>
                </a:cubicBezTo>
                <a:cubicBezTo>
                  <a:pt x="67" y="159"/>
                  <a:pt x="68" y="159"/>
                  <a:pt x="69" y="159"/>
                </a:cubicBezTo>
                <a:cubicBezTo>
                  <a:pt x="70" y="159"/>
                  <a:pt x="70" y="159"/>
                  <a:pt x="71" y="159"/>
                </a:cubicBezTo>
                <a:cubicBezTo>
                  <a:pt x="72" y="160"/>
                  <a:pt x="73" y="160"/>
                  <a:pt x="74" y="160"/>
                </a:cubicBezTo>
                <a:cubicBezTo>
                  <a:pt x="75" y="160"/>
                  <a:pt x="75" y="160"/>
                  <a:pt x="75" y="160"/>
                </a:cubicBezTo>
                <a:cubicBezTo>
                  <a:pt x="77" y="160"/>
                  <a:pt x="78" y="160"/>
                  <a:pt x="80" y="160"/>
                </a:cubicBezTo>
                <a:cubicBezTo>
                  <a:pt x="82" y="160"/>
                  <a:pt x="83" y="160"/>
                  <a:pt x="85" y="160"/>
                </a:cubicBezTo>
                <a:cubicBezTo>
                  <a:pt x="85" y="160"/>
                  <a:pt x="85" y="160"/>
                  <a:pt x="86" y="160"/>
                </a:cubicBezTo>
                <a:cubicBezTo>
                  <a:pt x="87" y="160"/>
                  <a:pt x="88" y="160"/>
                  <a:pt x="89" y="159"/>
                </a:cubicBezTo>
                <a:cubicBezTo>
                  <a:pt x="90" y="159"/>
                  <a:pt x="90" y="159"/>
                  <a:pt x="91" y="159"/>
                </a:cubicBezTo>
                <a:cubicBezTo>
                  <a:pt x="92" y="159"/>
                  <a:pt x="93" y="159"/>
                  <a:pt x="94" y="159"/>
                </a:cubicBezTo>
                <a:cubicBezTo>
                  <a:pt x="94" y="159"/>
                  <a:pt x="95" y="159"/>
                  <a:pt x="95" y="159"/>
                </a:cubicBezTo>
                <a:cubicBezTo>
                  <a:pt x="96" y="158"/>
                  <a:pt x="98" y="158"/>
                  <a:pt x="99" y="158"/>
                </a:cubicBezTo>
                <a:cubicBezTo>
                  <a:pt x="99" y="158"/>
                  <a:pt x="99" y="158"/>
                  <a:pt x="99" y="158"/>
                </a:cubicBezTo>
                <a:cubicBezTo>
                  <a:pt x="102" y="157"/>
                  <a:pt x="105" y="156"/>
                  <a:pt x="108" y="155"/>
                </a:cubicBezTo>
                <a:cubicBezTo>
                  <a:pt x="109" y="155"/>
                  <a:pt x="109" y="155"/>
                  <a:pt x="109" y="154"/>
                </a:cubicBezTo>
                <a:cubicBezTo>
                  <a:pt x="110" y="154"/>
                  <a:pt x="111" y="154"/>
                  <a:pt x="112" y="153"/>
                </a:cubicBezTo>
                <a:cubicBezTo>
                  <a:pt x="113" y="153"/>
                  <a:pt x="113" y="153"/>
                  <a:pt x="114" y="153"/>
                </a:cubicBezTo>
                <a:cubicBezTo>
                  <a:pt x="115" y="152"/>
                  <a:pt x="115" y="152"/>
                  <a:pt x="116" y="151"/>
                </a:cubicBezTo>
                <a:cubicBezTo>
                  <a:pt x="117" y="151"/>
                  <a:pt x="117" y="151"/>
                  <a:pt x="118" y="151"/>
                </a:cubicBezTo>
                <a:cubicBezTo>
                  <a:pt x="119" y="150"/>
                  <a:pt x="119" y="150"/>
                  <a:pt x="120" y="149"/>
                </a:cubicBezTo>
                <a:cubicBezTo>
                  <a:pt x="121" y="148"/>
                  <a:pt x="122" y="148"/>
                  <a:pt x="124" y="147"/>
                </a:cubicBezTo>
                <a:cubicBezTo>
                  <a:pt x="124" y="147"/>
                  <a:pt x="124" y="147"/>
                  <a:pt x="125" y="146"/>
                </a:cubicBezTo>
                <a:cubicBezTo>
                  <a:pt x="126" y="146"/>
                  <a:pt x="126" y="145"/>
                  <a:pt x="127" y="145"/>
                </a:cubicBezTo>
                <a:cubicBezTo>
                  <a:pt x="128" y="144"/>
                  <a:pt x="128" y="144"/>
                  <a:pt x="128" y="144"/>
                </a:cubicBezTo>
                <a:cubicBezTo>
                  <a:pt x="129" y="143"/>
                  <a:pt x="130" y="143"/>
                  <a:pt x="131" y="142"/>
                </a:cubicBezTo>
                <a:cubicBezTo>
                  <a:pt x="131" y="142"/>
                  <a:pt x="131" y="142"/>
                  <a:pt x="131" y="141"/>
                </a:cubicBezTo>
                <a:cubicBezTo>
                  <a:pt x="135" y="138"/>
                  <a:pt x="138" y="135"/>
                  <a:pt x="141" y="131"/>
                </a:cubicBezTo>
                <a:cubicBezTo>
                  <a:pt x="142" y="131"/>
                  <a:pt x="142" y="131"/>
                  <a:pt x="142" y="131"/>
                </a:cubicBezTo>
                <a:cubicBezTo>
                  <a:pt x="143" y="130"/>
                  <a:pt x="143" y="129"/>
                  <a:pt x="144" y="128"/>
                </a:cubicBezTo>
                <a:cubicBezTo>
                  <a:pt x="144" y="128"/>
                  <a:pt x="144" y="128"/>
                  <a:pt x="145" y="127"/>
                </a:cubicBezTo>
                <a:cubicBezTo>
                  <a:pt x="145" y="127"/>
                  <a:pt x="146" y="126"/>
                  <a:pt x="146" y="125"/>
                </a:cubicBezTo>
                <a:cubicBezTo>
                  <a:pt x="147" y="124"/>
                  <a:pt x="147" y="124"/>
                  <a:pt x="147" y="124"/>
                </a:cubicBezTo>
                <a:cubicBezTo>
                  <a:pt x="147" y="124"/>
                  <a:pt x="147" y="124"/>
                  <a:pt x="147" y="124"/>
                </a:cubicBezTo>
                <a:cubicBezTo>
                  <a:pt x="155" y="112"/>
                  <a:pt x="160" y="96"/>
                  <a:pt x="160" y="80"/>
                </a:cubicBezTo>
                <a:close/>
                <a:moveTo>
                  <a:pt x="155" y="80"/>
                </a:moveTo>
                <a:cubicBezTo>
                  <a:pt x="155" y="93"/>
                  <a:pt x="151" y="106"/>
                  <a:pt x="145" y="117"/>
                </a:cubicBezTo>
                <a:cubicBezTo>
                  <a:pt x="141" y="102"/>
                  <a:pt x="128" y="92"/>
                  <a:pt x="112" y="91"/>
                </a:cubicBezTo>
                <a:cubicBezTo>
                  <a:pt x="112" y="91"/>
                  <a:pt x="112" y="91"/>
                  <a:pt x="112" y="91"/>
                </a:cubicBezTo>
                <a:cubicBezTo>
                  <a:pt x="110" y="91"/>
                  <a:pt x="110" y="91"/>
                  <a:pt x="110" y="91"/>
                </a:cubicBezTo>
                <a:cubicBezTo>
                  <a:pt x="96" y="91"/>
                  <a:pt x="96" y="91"/>
                  <a:pt x="96" y="91"/>
                </a:cubicBezTo>
                <a:cubicBezTo>
                  <a:pt x="94" y="91"/>
                  <a:pt x="94" y="91"/>
                  <a:pt x="94" y="91"/>
                </a:cubicBezTo>
                <a:cubicBezTo>
                  <a:pt x="94" y="91"/>
                  <a:pt x="93" y="90"/>
                  <a:pt x="93" y="90"/>
                </a:cubicBezTo>
                <a:cubicBezTo>
                  <a:pt x="93" y="88"/>
                  <a:pt x="93" y="88"/>
                  <a:pt x="93" y="88"/>
                </a:cubicBezTo>
                <a:cubicBezTo>
                  <a:pt x="93" y="87"/>
                  <a:pt x="94" y="87"/>
                  <a:pt x="94" y="87"/>
                </a:cubicBezTo>
                <a:cubicBezTo>
                  <a:pt x="111" y="81"/>
                  <a:pt x="122" y="54"/>
                  <a:pt x="120" y="35"/>
                </a:cubicBezTo>
                <a:cubicBezTo>
                  <a:pt x="119" y="25"/>
                  <a:pt x="114" y="17"/>
                  <a:pt x="107" y="10"/>
                </a:cubicBezTo>
                <a:cubicBezTo>
                  <a:pt x="135" y="21"/>
                  <a:pt x="155" y="48"/>
                  <a:pt x="155" y="80"/>
                </a:cubicBezTo>
                <a:close/>
                <a:moveTo>
                  <a:pt x="140" y="124"/>
                </a:moveTo>
                <a:cubicBezTo>
                  <a:pt x="140" y="125"/>
                  <a:pt x="140" y="125"/>
                  <a:pt x="139" y="125"/>
                </a:cubicBezTo>
                <a:cubicBezTo>
                  <a:pt x="139" y="126"/>
                  <a:pt x="138" y="127"/>
                  <a:pt x="138" y="127"/>
                </a:cubicBezTo>
                <a:cubicBezTo>
                  <a:pt x="138" y="128"/>
                  <a:pt x="138" y="128"/>
                  <a:pt x="137" y="128"/>
                </a:cubicBezTo>
                <a:cubicBezTo>
                  <a:pt x="135" y="130"/>
                  <a:pt x="133" y="133"/>
                  <a:pt x="130" y="135"/>
                </a:cubicBezTo>
                <a:cubicBezTo>
                  <a:pt x="130" y="135"/>
                  <a:pt x="130" y="135"/>
                  <a:pt x="130" y="135"/>
                </a:cubicBezTo>
                <a:cubicBezTo>
                  <a:pt x="129" y="136"/>
                  <a:pt x="129" y="137"/>
                  <a:pt x="128" y="137"/>
                </a:cubicBezTo>
                <a:cubicBezTo>
                  <a:pt x="128" y="138"/>
                  <a:pt x="127" y="138"/>
                  <a:pt x="127" y="138"/>
                </a:cubicBezTo>
                <a:cubicBezTo>
                  <a:pt x="126" y="139"/>
                  <a:pt x="126" y="139"/>
                  <a:pt x="125" y="140"/>
                </a:cubicBezTo>
                <a:cubicBezTo>
                  <a:pt x="125" y="140"/>
                  <a:pt x="124" y="140"/>
                  <a:pt x="124" y="140"/>
                </a:cubicBezTo>
                <a:cubicBezTo>
                  <a:pt x="124" y="141"/>
                  <a:pt x="123" y="141"/>
                  <a:pt x="123" y="141"/>
                </a:cubicBezTo>
                <a:cubicBezTo>
                  <a:pt x="123" y="112"/>
                  <a:pt x="123" y="112"/>
                  <a:pt x="123" y="112"/>
                </a:cubicBezTo>
                <a:cubicBezTo>
                  <a:pt x="112" y="112"/>
                  <a:pt x="112" y="112"/>
                  <a:pt x="112" y="112"/>
                </a:cubicBezTo>
                <a:cubicBezTo>
                  <a:pt x="112" y="96"/>
                  <a:pt x="112" y="96"/>
                  <a:pt x="112" y="96"/>
                </a:cubicBezTo>
                <a:cubicBezTo>
                  <a:pt x="127" y="97"/>
                  <a:pt x="139" y="108"/>
                  <a:pt x="141" y="123"/>
                </a:cubicBezTo>
                <a:cubicBezTo>
                  <a:pt x="141" y="123"/>
                  <a:pt x="140" y="124"/>
                  <a:pt x="140" y="124"/>
                </a:cubicBezTo>
                <a:close/>
                <a:moveTo>
                  <a:pt x="115" y="146"/>
                </a:moveTo>
                <a:cubicBezTo>
                  <a:pt x="115" y="146"/>
                  <a:pt x="114" y="146"/>
                  <a:pt x="114" y="147"/>
                </a:cubicBezTo>
                <a:cubicBezTo>
                  <a:pt x="113" y="147"/>
                  <a:pt x="112" y="147"/>
                  <a:pt x="111" y="148"/>
                </a:cubicBezTo>
                <a:cubicBezTo>
                  <a:pt x="111" y="148"/>
                  <a:pt x="110" y="148"/>
                  <a:pt x="110" y="148"/>
                </a:cubicBezTo>
                <a:cubicBezTo>
                  <a:pt x="109" y="149"/>
                  <a:pt x="108" y="149"/>
                  <a:pt x="107" y="150"/>
                </a:cubicBezTo>
                <a:cubicBezTo>
                  <a:pt x="107" y="150"/>
                  <a:pt x="106" y="150"/>
                  <a:pt x="106" y="150"/>
                </a:cubicBezTo>
                <a:cubicBezTo>
                  <a:pt x="103" y="151"/>
                  <a:pt x="101" y="152"/>
                  <a:pt x="98" y="152"/>
                </a:cubicBezTo>
                <a:cubicBezTo>
                  <a:pt x="98" y="153"/>
                  <a:pt x="98" y="153"/>
                  <a:pt x="97" y="153"/>
                </a:cubicBezTo>
                <a:cubicBezTo>
                  <a:pt x="96" y="153"/>
                  <a:pt x="95" y="153"/>
                  <a:pt x="94" y="153"/>
                </a:cubicBezTo>
                <a:cubicBezTo>
                  <a:pt x="94" y="153"/>
                  <a:pt x="93" y="153"/>
                  <a:pt x="93" y="154"/>
                </a:cubicBezTo>
                <a:cubicBezTo>
                  <a:pt x="92" y="154"/>
                  <a:pt x="91" y="154"/>
                  <a:pt x="90" y="154"/>
                </a:cubicBezTo>
                <a:cubicBezTo>
                  <a:pt x="89" y="154"/>
                  <a:pt x="89" y="154"/>
                  <a:pt x="89" y="154"/>
                </a:cubicBezTo>
                <a:cubicBezTo>
                  <a:pt x="88" y="154"/>
                  <a:pt x="86" y="154"/>
                  <a:pt x="85" y="154"/>
                </a:cubicBezTo>
                <a:cubicBezTo>
                  <a:pt x="85" y="154"/>
                  <a:pt x="85" y="155"/>
                  <a:pt x="84" y="155"/>
                </a:cubicBezTo>
                <a:cubicBezTo>
                  <a:pt x="83" y="155"/>
                  <a:pt x="81" y="155"/>
                  <a:pt x="80" y="155"/>
                </a:cubicBezTo>
                <a:cubicBezTo>
                  <a:pt x="79" y="155"/>
                  <a:pt x="77" y="155"/>
                  <a:pt x="76" y="155"/>
                </a:cubicBezTo>
                <a:cubicBezTo>
                  <a:pt x="75" y="155"/>
                  <a:pt x="75" y="154"/>
                  <a:pt x="75" y="154"/>
                </a:cubicBezTo>
                <a:cubicBezTo>
                  <a:pt x="74" y="154"/>
                  <a:pt x="73" y="154"/>
                  <a:pt x="71" y="154"/>
                </a:cubicBezTo>
                <a:cubicBezTo>
                  <a:pt x="71" y="154"/>
                  <a:pt x="71" y="154"/>
                  <a:pt x="70" y="154"/>
                </a:cubicBezTo>
                <a:cubicBezTo>
                  <a:pt x="69" y="154"/>
                  <a:pt x="68" y="154"/>
                  <a:pt x="67" y="154"/>
                </a:cubicBezTo>
                <a:cubicBezTo>
                  <a:pt x="67" y="153"/>
                  <a:pt x="66" y="153"/>
                  <a:pt x="66" y="153"/>
                </a:cubicBezTo>
                <a:cubicBezTo>
                  <a:pt x="65" y="153"/>
                  <a:pt x="64" y="153"/>
                  <a:pt x="63" y="153"/>
                </a:cubicBezTo>
                <a:cubicBezTo>
                  <a:pt x="62" y="153"/>
                  <a:pt x="62" y="153"/>
                  <a:pt x="62" y="152"/>
                </a:cubicBezTo>
                <a:cubicBezTo>
                  <a:pt x="59" y="152"/>
                  <a:pt x="57" y="151"/>
                  <a:pt x="54" y="150"/>
                </a:cubicBezTo>
                <a:cubicBezTo>
                  <a:pt x="54" y="150"/>
                  <a:pt x="53" y="150"/>
                  <a:pt x="53" y="150"/>
                </a:cubicBezTo>
                <a:cubicBezTo>
                  <a:pt x="52" y="149"/>
                  <a:pt x="51" y="149"/>
                  <a:pt x="50" y="148"/>
                </a:cubicBezTo>
                <a:cubicBezTo>
                  <a:pt x="50" y="148"/>
                  <a:pt x="49" y="148"/>
                  <a:pt x="49" y="148"/>
                </a:cubicBezTo>
                <a:cubicBezTo>
                  <a:pt x="48" y="147"/>
                  <a:pt x="47" y="147"/>
                  <a:pt x="46" y="147"/>
                </a:cubicBezTo>
                <a:cubicBezTo>
                  <a:pt x="46" y="146"/>
                  <a:pt x="46" y="146"/>
                  <a:pt x="45" y="146"/>
                </a:cubicBezTo>
                <a:cubicBezTo>
                  <a:pt x="44" y="146"/>
                  <a:pt x="44" y="145"/>
                  <a:pt x="43" y="145"/>
                </a:cubicBezTo>
                <a:cubicBezTo>
                  <a:pt x="43" y="145"/>
                  <a:pt x="43" y="145"/>
                  <a:pt x="43" y="145"/>
                </a:cubicBezTo>
                <a:cubicBezTo>
                  <a:pt x="43" y="117"/>
                  <a:pt x="43" y="117"/>
                  <a:pt x="43" y="117"/>
                </a:cubicBezTo>
                <a:cubicBezTo>
                  <a:pt x="48" y="117"/>
                  <a:pt x="48" y="117"/>
                  <a:pt x="48" y="117"/>
                </a:cubicBezTo>
                <a:cubicBezTo>
                  <a:pt x="64" y="117"/>
                  <a:pt x="64" y="117"/>
                  <a:pt x="64" y="117"/>
                </a:cubicBezTo>
                <a:cubicBezTo>
                  <a:pt x="96" y="117"/>
                  <a:pt x="96" y="117"/>
                  <a:pt x="96" y="117"/>
                </a:cubicBezTo>
                <a:cubicBezTo>
                  <a:pt x="112" y="117"/>
                  <a:pt x="112" y="117"/>
                  <a:pt x="112" y="117"/>
                </a:cubicBezTo>
                <a:cubicBezTo>
                  <a:pt x="117" y="117"/>
                  <a:pt x="117" y="117"/>
                  <a:pt x="117" y="117"/>
                </a:cubicBezTo>
                <a:cubicBezTo>
                  <a:pt x="117" y="145"/>
                  <a:pt x="117" y="145"/>
                  <a:pt x="117" y="145"/>
                </a:cubicBezTo>
                <a:cubicBezTo>
                  <a:pt x="117" y="145"/>
                  <a:pt x="117" y="145"/>
                  <a:pt x="117" y="145"/>
                </a:cubicBezTo>
                <a:cubicBezTo>
                  <a:pt x="116" y="145"/>
                  <a:pt x="116" y="146"/>
                  <a:pt x="115" y="146"/>
                </a:cubicBezTo>
                <a:close/>
                <a:moveTo>
                  <a:pt x="35" y="140"/>
                </a:moveTo>
                <a:cubicBezTo>
                  <a:pt x="34" y="139"/>
                  <a:pt x="34" y="139"/>
                  <a:pt x="33" y="138"/>
                </a:cubicBezTo>
                <a:cubicBezTo>
                  <a:pt x="33" y="138"/>
                  <a:pt x="32" y="138"/>
                  <a:pt x="32" y="137"/>
                </a:cubicBezTo>
                <a:cubicBezTo>
                  <a:pt x="31" y="137"/>
                  <a:pt x="31" y="136"/>
                  <a:pt x="30" y="135"/>
                </a:cubicBezTo>
                <a:cubicBezTo>
                  <a:pt x="30" y="135"/>
                  <a:pt x="30" y="135"/>
                  <a:pt x="30" y="135"/>
                </a:cubicBezTo>
                <a:cubicBezTo>
                  <a:pt x="27" y="133"/>
                  <a:pt x="25" y="130"/>
                  <a:pt x="23" y="128"/>
                </a:cubicBezTo>
                <a:cubicBezTo>
                  <a:pt x="23" y="128"/>
                  <a:pt x="22" y="128"/>
                  <a:pt x="22" y="127"/>
                </a:cubicBezTo>
                <a:cubicBezTo>
                  <a:pt x="22" y="127"/>
                  <a:pt x="21" y="126"/>
                  <a:pt x="21" y="125"/>
                </a:cubicBezTo>
                <a:cubicBezTo>
                  <a:pt x="20" y="125"/>
                  <a:pt x="20" y="125"/>
                  <a:pt x="20" y="124"/>
                </a:cubicBezTo>
                <a:cubicBezTo>
                  <a:pt x="20" y="124"/>
                  <a:pt x="19" y="123"/>
                  <a:pt x="19" y="123"/>
                </a:cubicBezTo>
                <a:cubicBezTo>
                  <a:pt x="21" y="108"/>
                  <a:pt x="33" y="97"/>
                  <a:pt x="48" y="96"/>
                </a:cubicBezTo>
                <a:cubicBezTo>
                  <a:pt x="48" y="112"/>
                  <a:pt x="48" y="112"/>
                  <a:pt x="48" y="112"/>
                </a:cubicBezTo>
                <a:cubicBezTo>
                  <a:pt x="37" y="112"/>
                  <a:pt x="37" y="112"/>
                  <a:pt x="37" y="112"/>
                </a:cubicBezTo>
                <a:cubicBezTo>
                  <a:pt x="37" y="141"/>
                  <a:pt x="37" y="141"/>
                  <a:pt x="37" y="141"/>
                </a:cubicBezTo>
                <a:cubicBezTo>
                  <a:pt x="37" y="141"/>
                  <a:pt x="36" y="141"/>
                  <a:pt x="36" y="140"/>
                </a:cubicBezTo>
                <a:cubicBezTo>
                  <a:pt x="36" y="140"/>
                  <a:pt x="35" y="140"/>
                  <a:pt x="35" y="140"/>
                </a:cubicBezTo>
                <a:close/>
                <a:moveTo>
                  <a:pt x="68" y="82"/>
                </a:moveTo>
                <a:cubicBezTo>
                  <a:pt x="55" y="77"/>
                  <a:pt x="45" y="56"/>
                  <a:pt x="45" y="40"/>
                </a:cubicBezTo>
                <a:cubicBezTo>
                  <a:pt x="45" y="40"/>
                  <a:pt x="45" y="39"/>
                  <a:pt x="45" y="39"/>
                </a:cubicBezTo>
                <a:cubicBezTo>
                  <a:pt x="47" y="37"/>
                  <a:pt x="47" y="37"/>
                  <a:pt x="47" y="37"/>
                </a:cubicBezTo>
                <a:cubicBezTo>
                  <a:pt x="52" y="31"/>
                  <a:pt x="59" y="30"/>
                  <a:pt x="66" y="33"/>
                </a:cubicBezTo>
                <a:cubicBezTo>
                  <a:pt x="69" y="34"/>
                  <a:pt x="72" y="35"/>
                  <a:pt x="75" y="35"/>
                </a:cubicBezTo>
                <a:cubicBezTo>
                  <a:pt x="83" y="35"/>
                  <a:pt x="90" y="30"/>
                  <a:pt x="93" y="24"/>
                </a:cubicBezTo>
                <a:cubicBezTo>
                  <a:pt x="102" y="26"/>
                  <a:pt x="109" y="32"/>
                  <a:pt x="115" y="38"/>
                </a:cubicBezTo>
                <a:cubicBezTo>
                  <a:pt x="115" y="54"/>
                  <a:pt x="106" y="77"/>
                  <a:pt x="92" y="82"/>
                </a:cubicBezTo>
                <a:cubicBezTo>
                  <a:pt x="90" y="83"/>
                  <a:pt x="88" y="85"/>
                  <a:pt x="88" y="88"/>
                </a:cubicBezTo>
                <a:cubicBezTo>
                  <a:pt x="88" y="90"/>
                  <a:pt x="88" y="90"/>
                  <a:pt x="88" y="90"/>
                </a:cubicBezTo>
                <a:cubicBezTo>
                  <a:pt x="88" y="93"/>
                  <a:pt x="91" y="96"/>
                  <a:pt x="94" y="96"/>
                </a:cubicBezTo>
                <a:cubicBezTo>
                  <a:pt x="96" y="96"/>
                  <a:pt x="96" y="96"/>
                  <a:pt x="96" y="96"/>
                </a:cubicBezTo>
                <a:cubicBezTo>
                  <a:pt x="96" y="112"/>
                  <a:pt x="96" y="112"/>
                  <a:pt x="96" y="112"/>
                </a:cubicBezTo>
                <a:cubicBezTo>
                  <a:pt x="64" y="112"/>
                  <a:pt x="64" y="112"/>
                  <a:pt x="64" y="112"/>
                </a:cubicBezTo>
                <a:cubicBezTo>
                  <a:pt x="64" y="96"/>
                  <a:pt x="64" y="96"/>
                  <a:pt x="64" y="96"/>
                </a:cubicBezTo>
                <a:cubicBezTo>
                  <a:pt x="66" y="96"/>
                  <a:pt x="66" y="96"/>
                  <a:pt x="66" y="96"/>
                </a:cubicBezTo>
                <a:cubicBezTo>
                  <a:pt x="69" y="96"/>
                  <a:pt x="72" y="93"/>
                  <a:pt x="72" y="90"/>
                </a:cubicBezTo>
                <a:cubicBezTo>
                  <a:pt x="72" y="88"/>
                  <a:pt x="72" y="88"/>
                  <a:pt x="72" y="88"/>
                </a:cubicBezTo>
                <a:cubicBezTo>
                  <a:pt x="72" y="85"/>
                  <a:pt x="70" y="83"/>
                  <a:pt x="68" y="82"/>
                </a:cubicBezTo>
                <a:close/>
                <a:moveTo>
                  <a:pt x="80" y="5"/>
                </a:moveTo>
                <a:cubicBezTo>
                  <a:pt x="80" y="5"/>
                  <a:pt x="80" y="5"/>
                  <a:pt x="80" y="5"/>
                </a:cubicBezTo>
                <a:cubicBezTo>
                  <a:pt x="82" y="5"/>
                  <a:pt x="83" y="5"/>
                  <a:pt x="84" y="6"/>
                </a:cubicBezTo>
                <a:cubicBezTo>
                  <a:pt x="97" y="7"/>
                  <a:pt x="108" y="16"/>
                  <a:pt x="113" y="28"/>
                </a:cubicBezTo>
                <a:cubicBezTo>
                  <a:pt x="107" y="24"/>
                  <a:pt x="100" y="20"/>
                  <a:pt x="93" y="18"/>
                </a:cubicBezTo>
                <a:cubicBezTo>
                  <a:pt x="90" y="17"/>
                  <a:pt x="90" y="17"/>
                  <a:pt x="90" y="17"/>
                </a:cubicBezTo>
                <a:cubicBezTo>
                  <a:pt x="90" y="19"/>
                  <a:pt x="90" y="19"/>
                  <a:pt x="90" y="19"/>
                </a:cubicBezTo>
                <a:cubicBezTo>
                  <a:pt x="87" y="25"/>
                  <a:pt x="81" y="29"/>
                  <a:pt x="75" y="29"/>
                </a:cubicBezTo>
                <a:cubicBezTo>
                  <a:pt x="72" y="29"/>
                  <a:pt x="70" y="29"/>
                  <a:pt x="68" y="28"/>
                </a:cubicBezTo>
                <a:cubicBezTo>
                  <a:pt x="61" y="25"/>
                  <a:pt x="53" y="26"/>
                  <a:pt x="47" y="30"/>
                </a:cubicBezTo>
                <a:cubicBezTo>
                  <a:pt x="48" y="25"/>
                  <a:pt x="51" y="20"/>
                  <a:pt x="56" y="15"/>
                </a:cubicBezTo>
                <a:cubicBezTo>
                  <a:pt x="62" y="9"/>
                  <a:pt x="71" y="5"/>
                  <a:pt x="80" y="5"/>
                </a:cubicBezTo>
                <a:close/>
                <a:moveTo>
                  <a:pt x="107" y="112"/>
                </a:moveTo>
                <a:cubicBezTo>
                  <a:pt x="101" y="112"/>
                  <a:pt x="101" y="112"/>
                  <a:pt x="101" y="112"/>
                </a:cubicBezTo>
                <a:cubicBezTo>
                  <a:pt x="101" y="96"/>
                  <a:pt x="101" y="96"/>
                  <a:pt x="101" y="96"/>
                </a:cubicBezTo>
                <a:cubicBezTo>
                  <a:pt x="107" y="96"/>
                  <a:pt x="107" y="96"/>
                  <a:pt x="107" y="96"/>
                </a:cubicBezTo>
                <a:lnTo>
                  <a:pt x="107" y="112"/>
                </a:lnTo>
                <a:close/>
                <a:moveTo>
                  <a:pt x="59" y="112"/>
                </a:moveTo>
                <a:cubicBezTo>
                  <a:pt x="53" y="112"/>
                  <a:pt x="53" y="112"/>
                  <a:pt x="53" y="112"/>
                </a:cubicBezTo>
                <a:cubicBezTo>
                  <a:pt x="53" y="96"/>
                  <a:pt x="53" y="96"/>
                  <a:pt x="53" y="96"/>
                </a:cubicBezTo>
                <a:cubicBezTo>
                  <a:pt x="59" y="96"/>
                  <a:pt x="59" y="96"/>
                  <a:pt x="59" y="96"/>
                </a:cubicBezTo>
                <a:lnTo>
                  <a:pt x="59" y="112"/>
                </a:lnTo>
                <a:close/>
                <a:moveTo>
                  <a:pt x="53" y="10"/>
                </a:moveTo>
                <a:cubicBezTo>
                  <a:pt x="53" y="11"/>
                  <a:pt x="52" y="11"/>
                  <a:pt x="52" y="12"/>
                </a:cubicBezTo>
                <a:cubicBezTo>
                  <a:pt x="44" y="19"/>
                  <a:pt x="40" y="29"/>
                  <a:pt x="40" y="40"/>
                </a:cubicBezTo>
                <a:cubicBezTo>
                  <a:pt x="40" y="58"/>
                  <a:pt x="51" y="82"/>
                  <a:pt x="66" y="87"/>
                </a:cubicBezTo>
                <a:cubicBezTo>
                  <a:pt x="66" y="87"/>
                  <a:pt x="67" y="88"/>
                  <a:pt x="67" y="88"/>
                </a:cubicBezTo>
                <a:cubicBezTo>
                  <a:pt x="67" y="90"/>
                  <a:pt x="67" y="90"/>
                  <a:pt x="67" y="90"/>
                </a:cubicBezTo>
                <a:cubicBezTo>
                  <a:pt x="67" y="90"/>
                  <a:pt x="66" y="91"/>
                  <a:pt x="66" y="91"/>
                </a:cubicBezTo>
                <a:cubicBezTo>
                  <a:pt x="64" y="91"/>
                  <a:pt x="64" y="91"/>
                  <a:pt x="64" y="91"/>
                </a:cubicBezTo>
                <a:cubicBezTo>
                  <a:pt x="50" y="91"/>
                  <a:pt x="50" y="91"/>
                  <a:pt x="50" y="91"/>
                </a:cubicBezTo>
                <a:cubicBezTo>
                  <a:pt x="48" y="91"/>
                  <a:pt x="48" y="91"/>
                  <a:pt x="48" y="91"/>
                </a:cubicBezTo>
                <a:cubicBezTo>
                  <a:pt x="48" y="91"/>
                  <a:pt x="48" y="91"/>
                  <a:pt x="48" y="91"/>
                </a:cubicBezTo>
                <a:cubicBezTo>
                  <a:pt x="32" y="92"/>
                  <a:pt x="19" y="102"/>
                  <a:pt x="15" y="117"/>
                </a:cubicBezTo>
                <a:cubicBezTo>
                  <a:pt x="9" y="106"/>
                  <a:pt x="5" y="93"/>
                  <a:pt x="5" y="80"/>
                </a:cubicBezTo>
                <a:cubicBezTo>
                  <a:pt x="5" y="48"/>
                  <a:pt x="25" y="21"/>
                  <a:pt x="53" y="1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59">
            <a:extLst>
              <a:ext uri="{FF2B5EF4-FFF2-40B4-BE49-F238E27FC236}">
                <a16:creationId xmlns:a16="http://schemas.microsoft.com/office/drawing/2014/main" id="{83B21599-3531-454F-9EB2-72F42C2D3F6D}"/>
              </a:ext>
            </a:extLst>
          </p:cNvPr>
          <p:cNvSpPr>
            <a:spLocks noEditPoints="1"/>
          </p:cNvSpPr>
          <p:nvPr/>
        </p:nvSpPr>
        <p:spPr bwMode="auto">
          <a:xfrm>
            <a:off x="6970404" y="400050"/>
            <a:ext cx="460375" cy="604838"/>
          </a:xfrm>
          <a:custGeom>
            <a:avLst/>
            <a:gdLst>
              <a:gd name="T0" fmla="*/ 84 w 123"/>
              <a:gd name="T1" fmla="*/ 102 h 160"/>
              <a:gd name="T2" fmla="*/ 80 w 123"/>
              <a:gd name="T3" fmla="*/ 86 h 160"/>
              <a:gd name="T4" fmla="*/ 90 w 123"/>
              <a:gd name="T5" fmla="*/ 68 h 160"/>
              <a:gd name="T6" fmla="*/ 96 w 123"/>
              <a:gd name="T7" fmla="*/ 48 h 160"/>
              <a:gd name="T8" fmla="*/ 93 w 123"/>
              <a:gd name="T9" fmla="*/ 27 h 160"/>
              <a:gd name="T10" fmla="*/ 61 w 123"/>
              <a:gd name="T11" fmla="*/ 0 h 160"/>
              <a:gd name="T12" fmla="*/ 29 w 123"/>
              <a:gd name="T13" fmla="*/ 27 h 160"/>
              <a:gd name="T14" fmla="*/ 27 w 123"/>
              <a:gd name="T15" fmla="*/ 48 h 160"/>
              <a:gd name="T16" fmla="*/ 31 w 123"/>
              <a:gd name="T17" fmla="*/ 67 h 160"/>
              <a:gd name="T18" fmla="*/ 40 w 123"/>
              <a:gd name="T19" fmla="*/ 95 h 160"/>
              <a:gd name="T20" fmla="*/ 13 w 123"/>
              <a:gd name="T21" fmla="*/ 114 h 160"/>
              <a:gd name="T22" fmla="*/ 0 w 123"/>
              <a:gd name="T23" fmla="*/ 144 h 160"/>
              <a:gd name="T24" fmla="*/ 123 w 123"/>
              <a:gd name="T25" fmla="*/ 144 h 160"/>
              <a:gd name="T26" fmla="*/ 109 w 123"/>
              <a:gd name="T27" fmla="*/ 114 h 160"/>
              <a:gd name="T28" fmla="*/ 61 w 123"/>
              <a:gd name="T29" fmla="*/ 155 h 160"/>
              <a:gd name="T30" fmla="*/ 5 w 123"/>
              <a:gd name="T31" fmla="*/ 135 h 160"/>
              <a:gd name="T32" fmla="*/ 39 w 123"/>
              <a:gd name="T33" fmla="*/ 106 h 160"/>
              <a:gd name="T34" fmla="*/ 45 w 123"/>
              <a:gd name="T35" fmla="*/ 84 h 160"/>
              <a:gd name="T36" fmla="*/ 36 w 123"/>
              <a:gd name="T37" fmla="*/ 65 h 160"/>
              <a:gd name="T38" fmla="*/ 34 w 123"/>
              <a:gd name="T39" fmla="*/ 63 h 160"/>
              <a:gd name="T40" fmla="*/ 32 w 123"/>
              <a:gd name="T41" fmla="*/ 48 h 160"/>
              <a:gd name="T42" fmla="*/ 35 w 123"/>
              <a:gd name="T43" fmla="*/ 43 h 160"/>
              <a:gd name="T44" fmla="*/ 35 w 123"/>
              <a:gd name="T45" fmla="*/ 26 h 160"/>
              <a:gd name="T46" fmla="*/ 61 w 123"/>
              <a:gd name="T47" fmla="*/ 5 h 160"/>
              <a:gd name="T48" fmla="*/ 88 w 123"/>
              <a:gd name="T49" fmla="*/ 26 h 160"/>
              <a:gd name="T50" fmla="*/ 89 w 123"/>
              <a:gd name="T51" fmla="*/ 44 h 160"/>
              <a:gd name="T52" fmla="*/ 91 w 123"/>
              <a:gd name="T53" fmla="*/ 59 h 160"/>
              <a:gd name="T54" fmla="*/ 86 w 123"/>
              <a:gd name="T55" fmla="*/ 64 h 160"/>
              <a:gd name="T56" fmla="*/ 78 w 123"/>
              <a:gd name="T57" fmla="*/ 81 h 160"/>
              <a:gd name="T58" fmla="*/ 75 w 123"/>
              <a:gd name="T59" fmla="*/ 84 h 160"/>
              <a:gd name="T60" fmla="*/ 82 w 123"/>
              <a:gd name="T61" fmla="*/ 106 h 160"/>
              <a:gd name="T62" fmla="*/ 117 w 123"/>
              <a:gd name="T63"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3" h="160">
                <a:moveTo>
                  <a:pt x="109" y="114"/>
                </a:moveTo>
                <a:cubicBezTo>
                  <a:pt x="84" y="102"/>
                  <a:pt x="84" y="102"/>
                  <a:pt x="84" y="102"/>
                </a:cubicBezTo>
                <a:cubicBezTo>
                  <a:pt x="81" y="100"/>
                  <a:pt x="80" y="98"/>
                  <a:pt x="80" y="95"/>
                </a:cubicBezTo>
                <a:cubicBezTo>
                  <a:pt x="80" y="86"/>
                  <a:pt x="80" y="86"/>
                  <a:pt x="80" y="86"/>
                </a:cubicBezTo>
                <a:cubicBezTo>
                  <a:pt x="81" y="86"/>
                  <a:pt x="81" y="85"/>
                  <a:pt x="82" y="84"/>
                </a:cubicBezTo>
                <a:cubicBezTo>
                  <a:pt x="85" y="79"/>
                  <a:pt x="88" y="74"/>
                  <a:pt x="90" y="68"/>
                </a:cubicBezTo>
                <a:cubicBezTo>
                  <a:pt x="94" y="67"/>
                  <a:pt x="96" y="63"/>
                  <a:pt x="96" y="59"/>
                </a:cubicBezTo>
                <a:cubicBezTo>
                  <a:pt x="96" y="48"/>
                  <a:pt x="96" y="48"/>
                  <a:pt x="96" y="48"/>
                </a:cubicBezTo>
                <a:cubicBezTo>
                  <a:pt x="96" y="45"/>
                  <a:pt x="95" y="43"/>
                  <a:pt x="93" y="41"/>
                </a:cubicBezTo>
                <a:cubicBezTo>
                  <a:pt x="93" y="27"/>
                  <a:pt x="93" y="27"/>
                  <a:pt x="93" y="27"/>
                </a:cubicBezTo>
                <a:cubicBezTo>
                  <a:pt x="93" y="25"/>
                  <a:pt x="94" y="17"/>
                  <a:pt x="88" y="9"/>
                </a:cubicBezTo>
                <a:cubicBezTo>
                  <a:pt x="82" y="3"/>
                  <a:pt x="73" y="0"/>
                  <a:pt x="61" y="0"/>
                </a:cubicBezTo>
                <a:cubicBezTo>
                  <a:pt x="49" y="0"/>
                  <a:pt x="40" y="3"/>
                  <a:pt x="35" y="9"/>
                </a:cubicBezTo>
                <a:cubicBezTo>
                  <a:pt x="29" y="17"/>
                  <a:pt x="29" y="25"/>
                  <a:pt x="29" y="27"/>
                </a:cubicBezTo>
                <a:cubicBezTo>
                  <a:pt x="29" y="41"/>
                  <a:pt x="29" y="41"/>
                  <a:pt x="29" y="41"/>
                </a:cubicBezTo>
                <a:cubicBezTo>
                  <a:pt x="28" y="43"/>
                  <a:pt x="27" y="45"/>
                  <a:pt x="27" y="48"/>
                </a:cubicBezTo>
                <a:cubicBezTo>
                  <a:pt x="27" y="59"/>
                  <a:pt x="27" y="59"/>
                  <a:pt x="27" y="59"/>
                </a:cubicBezTo>
                <a:cubicBezTo>
                  <a:pt x="27" y="62"/>
                  <a:pt x="28" y="65"/>
                  <a:pt x="31" y="67"/>
                </a:cubicBezTo>
                <a:cubicBezTo>
                  <a:pt x="33" y="77"/>
                  <a:pt x="38" y="84"/>
                  <a:pt x="40" y="86"/>
                </a:cubicBezTo>
                <a:cubicBezTo>
                  <a:pt x="40" y="95"/>
                  <a:pt x="40" y="95"/>
                  <a:pt x="40" y="95"/>
                </a:cubicBezTo>
                <a:cubicBezTo>
                  <a:pt x="40" y="98"/>
                  <a:pt x="39" y="100"/>
                  <a:pt x="36" y="101"/>
                </a:cubicBezTo>
                <a:cubicBezTo>
                  <a:pt x="13" y="114"/>
                  <a:pt x="13" y="114"/>
                  <a:pt x="13" y="114"/>
                </a:cubicBezTo>
                <a:cubicBezTo>
                  <a:pt x="5" y="118"/>
                  <a:pt x="0" y="127"/>
                  <a:pt x="0" y="135"/>
                </a:cubicBezTo>
                <a:cubicBezTo>
                  <a:pt x="0" y="144"/>
                  <a:pt x="0" y="144"/>
                  <a:pt x="0" y="144"/>
                </a:cubicBezTo>
                <a:cubicBezTo>
                  <a:pt x="0" y="157"/>
                  <a:pt x="40" y="160"/>
                  <a:pt x="61" y="160"/>
                </a:cubicBezTo>
                <a:cubicBezTo>
                  <a:pt x="83" y="160"/>
                  <a:pt x="123" y="157"/>
                  <a:pt x="123" y="144"/>
                </a:cubicBezTo>
                <a:cubicBezTo>
                  <a:pt x="123" y="136"/>
                  <a:pt x="123" y="136"/>
                  <a:pt x="123" y="136"/>
                </a:cubicBezTo>
                <a:cubicBezTo>
                  <a:pt x="123" y="127"/>
                  <a:pt x="118" y="118"/>
                  <a:pt x="109" y="114"/>
                </a:cubicBezTo>
                <a:close/>
                <a:moveTo>
                  <a:pt x="117" y="144"/>
                </a:moveTo>
                <a:cubicBezTo>
                  <a:pt x="117" y="148"/>
                  <a:pt x="98" y="155"/>
                  <a:pt x="61" y="155"/>
                </a:cubicBezTo>
                <a:cubicBezTo>
                  <a:pt x="25" y="155"/>
                  <a:pt x="5" y="148"/>
                  <a:pt x="5" y="144"/>
                </a:cubicBezTo>
                <a:cubicBezTo>
                  <a:pt x="5" y="135"/>
                  <a:pt x="5" y="135"/>
                  <a:pt x="5" y="135"/>
                </a:cubicBezTo>
                <a:cubicBezTo>
                  <a:pt x="5" y="129"/>
                  <a:pt x="9" y="122"/>
                  <a:pt x="15" y="119"/>
                </a:cubicBezTo>
                <a:cubicBezTo>
                  <a:pt x="39" y="106"/>
                  <a:pt x="39" y="106"/>
                  <a:pt x="39" y="106"/>
                </a:cubicBezTo>
                <a:cubicBezTo>
                  <a:pt x="43" y="104"/>
                  <a:pt x="45" y="100"/>
                  <a:pt x="45" y="95"/>
                </a:cubicBezTo>
                <a:cubicBezTo>
                  <a:pt x="45" y="84"/>
                  <a:pt x="45" y="84"/>
                  <a:pt x="45" y="84"/>
                </a:cubicBezTo>
                <a:cubicBezTo>
                  <a:pt x="45" y="84"/>
                  <a:pt x="45" y="84"/>
                  <a:pt x="45" y="84"/>
                </a:cubicBezTo>
                <a:cubicBezTo>
                  <a:pt x="45" y="84"/>
                  <a:pt x="38" y="76"/>
                  <a:pt x="36" y="65"/>
                </a:cubicBezTo>
                <a:cubicBezTo>
                  <a:pt x="35" y="64"/>
                  <a:pt x="35" y="64"/>
                  <a:pt x="35" y="64"/>
                </a:cubicBezTo>
                <a:cubicBezTo>
                  <a:pt x="34" y="63"/>
                  <a:pt x="34" y="63"/>
                  <a:pt x="34" y="63"/>
                </a:cubicBezTo>
                <a:cubicBezTo>
                  <a:pt x="33" y="62"/>
                  <a:pt x="32" y="60"/>
                  <a:pt x="32" y="59"/>
                </a:cubicBezTo>
                <a:cubicBezTo>
                  <a:pt x="32" y="48"/>
                  <a:pt x="32" y="48"/>
                  <a:pt x="32" y="48"/>
                </a:cubicBezTo>
                <a:cubicBezTo>
                  <a:pt x="32" y="47"/>
                  <a:pt x="33" y="45"/>
                  <a:pt x="34" y="44"/>
                </a:cubicBezTo>
                <a:cubicBezTo>
                  <a:pt x="35" y="43"/>
                  <a:pt x="35" y="43"/>
                  <a:pt x="35" y="43"/>
                </a:cubicBezTo>
                <a:cubicBezTo>
                  <a:pt x="35" y="27"/>
                  <a:pt x="35" y="27"/>
                  <a:pt x="35" y="27"/>
                </a:cubicBezTo>
                <a:cubicBezTo>
                  <a:pt x="35" y="26"/>
                  <a:pt x="35" y="26"/>
                  <a:pt x="35" y="26"/>
                </a:cubicBezTo>
                <a:cubicBezTo>
                  <a:pt x="35" y="26"/>
                  <a:pt x="34" y="19"/>
                  <a:pt x="39" y="13"/>
                </a:cubicBezTo>
                <a:cubicBezTo>
                  <a:pt x="43" y="8"/>
                  <a:pt x="51" y="5"/>
                  <a:pt x="61" y="5"/>
                </a:cubicBezTo>
                <a:cubicBezTo>
                  <a:pt x="72" y="5"/>
                  <a:pt x="79" y="8"/>
                  <a:pt x="84" y="13"/>
                </a:cubicBezTo>
                <a:cubicBezTo>
                  <a:pt x="89" y="19"/>
                  <a:pt x="88" y="26"/>
                  <a:pt x="88" y="26"/>
                </a:cubicBezTo>
                <a:cubicBezTo>
                  <a:pt x="88" y="43"/>
                  <a:pt x="88" y="43"/>
                  <a:pt x="88" y="43"/>
                </a:cubicBezTo>
                <a:cubicBezTo>
                  <a:pt x="89" y="44"/>
                  <a:pt x="89" y="44"/>
                  <a:pt x="89" y="44"/>
                </a:cubicBezTo>
                <a:cubicBezTo>
                  <a:pt x="90" y="45"/>
                  <a:pt x="91" y="47"/>
                  <a:pt x="91" y="48"/>
                </a:cubicBezTo>
                <a:cubicBezTo>
                  <a:pt x="91" y="59"/>
                  <a:pt x="91" y="59"/>
                  <a:pt x="91" y="59"/>
                </a:cubicBezTo>
                <a:cubicBezTo>
                  <a:pt x="91" y="61"/>
                  <a:pt x="89" y="63"/>
                  <a:pt x="87" y="64"/>
                </a:cubicBezTo>
                <a:cubicBezTo>
                  <a:pt x="86" y="64"/>
                  <a:pt x="86" y="64"/>
                  <a:pt x="86" y="64"/>
                </a:cubicBezTo>
                <a:cubicBezTo>
                  <a:pt x="85" y="65"/>
                  <a:pt x="85" y="65"/>
                  <a:pt x="85" y="65"/>
                </a:cubicBezTo>
                <a:cubicBezTo>
                  <a:pt x="83" y="71"/>
                  <a:pt x="81" y="76"/>
                  <a:pt x="78" y="81"/>
                </a:cubicBezTo>
                <a:cubicBezTo>
                  <a:pt x="77" y="82"/>
                  <a:pt x="76" y="83"/>
                  <a:pt x="75" y="84"/>
                </a:cubicBezTo>
                <a:cubicBezTo>
                  <a:pt x="75" y="84"/>
                  <a:pt x="75" y="84"/>
                  <a:pt x="75" y="84"/>
                </a:cubicBezTo>
                <a:cubicBezTo>
                  <a:pt x="75" y="95"/>
                  <a:pt x="75" y="95"/>
                  <a:pt x="75" y="95"/>
                </a:cubicBezTo>
                <a:cubicBezTo>
                  <a:pt x="75" y="100"/>
                  <a:pt x="77" y="104"/>
                  <a:pt x="82" y="106"/>
                </a:cubicBezTo>
                <a:cubicBezTo>
                  <a:pt x="107" y="119"/>
                  <a:pt x="107" y="119"/>
                  <a:pt x="107" y="119"/>
                </a:cubicBezTo>
                <a:cubicBezTo>
                  <a:pt x="113" y="122"/>
                  <a:pt x="117" y="129"/>
                  <a:pt x="117" y="136"/>
                </a:cubicBezTo>
                <a:lnTo>
                  <a:pt x="117"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58" name="Freeform 60">
            <a:extLst>
              <a:ext uri="{FF2B5EF4-FFF2-40B4-BE49-F238E27FC236}">
                <a16:creationId xmlns:a16="http://schemas.microsoft.com/office/drawing/2014/main" id="{6B080E2D-411B-7C41-A193-E26EA3396787}"/>
              </a:ext>
            </a:extLst>
          </p:cNvPr>
          <p:cNvSpPr>
            <a:spLocks noEditPoints="1"/>
          </p:cNvSpPr>
          <p:nvPr/>
        </p:nvSpPr>
        <p:spPr bwMode="auto">
          <a:xfrm>
            <a:off x="6894204" y="1095375"/>
            <a:ext cx="601663" cy="557213"/>
          </a:xfrm>
          <a:custGeom>
            <a:avLst/>
            <a:gdLst>
              <a:gd name="T0" fmla="*/ 122 w 160"/>
              <a:gd name="T1" fmla="*/ 106 h 147"/>
              <a:gd name="T2" fmla="*/ 138 w 160"/>
              <a:gd name="T3" fmla="*/ 104 h 147"/>
              <a:gd name="T4" fmla="*/ 155 w 160"/>
              <a:gd name="T5" fmla="*/ 97 h 147"/>
              <a:gd name="T6" fmla="*/ 137 w 160"/>
              <a:gd name="T7" fmla="*/ 46 h 147"/>
              <a:gd name="T8" fmla="*/ 92 w 160"/>
              <a:gd name="T9" fmla="*/ 16 h 147"/>
              <a:gd name="T10" fmla="*/ 61 w 160"/>
              <a:gd name="T11" fmla="*/ 0 h 147"/>
              <a:gd name="T12" fmla="*/ 29 w 160"/>
              <a:gd name="T13" fmla="*/ 27 h 147"/>
              <a:gd name="T14" fmla="*/ 27 w 160"/>
              <a:gd name="T15" fmla="*/ 48 h 147"/>
              <a:gd name="T16" fmla="*/ 31 w 160"/>
              <a:gd name="T17" fmla="*/ 67 h 147"/>
              <a:gd name="T18" fmla="*/ 40 w 160"/>
              <a:gd name="T19" fmla="*/ 95 h 147"/>
              <a:gd name="T20" fmla="*/ 13 w 160"/>
              <a:gd name="T21" fmla="*/ 114 h 147"/>
              <a:gd name="T22" fmla="*/ 0 w 160"/>
              <a:gd name="T23" fmla="*/ 147 h 147"/>
              <a:gd name="T24" fmla="*/ 123 w 160"/>
              <a:gd name="T25" fmla="*/ 147 h 147"/>
              <a:gd name="T26" fmla="*/ 160 w 160"/>
              <a:gd name="T27" fmla="*/ 137 h 147"/>
              <a:gd name="T28" fmla="*/ 117 w 160"/>
              <a:gd name="T29" fmla="*/ 141 h 147"/>
              <a:gd name="T30" fmla="*/ 5 w 160"/>
              <a:gd name="T31" fmla="*/ 135 h 147"/>
              <a:gd name="T32" fmla="*/ 39 w 160"/>
              <a:gd name="T33" fmla="*/ 106 h 147"/>
              <a:gd name="T34" fmla="*/ 45 w 160"/>
              <a:gd name="T35" fmla="*/ 84 h 147"/>
              <a:gd name="T36" fmla="*/ 36 w 160"/>
              <a:gd name="T37" fmla="*/ 65 h 147"/>
              <a:gd name="T38" fmla="*/ 34 w 160"/>
              <a:gd name="T39" fmla="*/ 63 h 147"/>
              <a:gd name="T40" fmla="*/ 32 w 160"/>
              <a:gd name="T41" fmla="*/ 48 h 147"/>
              <a:gd name="T42" fmla="*/ 35 w 160"/>
              <a:gd name="T43" fmla="*/ 43 h 147"/>
              <a:gd name="T44" fmla="*/ 35 w 160"/>
              <a:gd name="T45" fmla="*/ 26 h 147"/>
              <a:gd name="T46" fmla="*/ 61 w 160"/>
              <a:gd name="T47" fmla="*/ 5 h 147"/>
              <a:gd name="T48" fmla="*/ 88 w 160"/>
              <a:gd name="T49" fmla="*/ 21 h 147"/>
              <a:gd name="T50" fmla="*/ 88 w 160"/>
              <a:gd name="T51" fmla="*/ 22 h 147"/>
              <a:gd name="T52" fmla="*/ 88 w 160"/>
              <a:gd name="T53" fmla="*/ 23 h 147"/>
              <a:gd name="T54" fmla="*/ 88 w 160"/>
              <a:gd name="T55" fmla="*/ 24 h 147"/>
              <a:gd name="T56" fmla="*/ 88 w 160"/>
              <a:gd name="T57" fmla="*/ 25 h 147"/>
              <a:gd name="T58" fmla="*/ 88 w 160"/>
              <a:gd name="T59" fmla="*/ 25 h 147"/>
              <a:gd name="T60" fmla="*/ 88 w 160"/>
              <a:gd name="T61" fmla="*/ 43 h 147"/>
              <a:gd name="T62" fmla="*/ 91 w 160"/>
              <a:gd name="T63" fmla="*/ 48 h 147"/>
              <a:gd name="T64" fmla="*/ 87 w 160"/>
              <a:gd name="T65" fmla="*/ 64 h 147"/>
              <a:gd name="T66" fmla="*/ 85 w 160"/>
              <a:gd name="T67" fmla="*/ 65 h 147"/>
              <a:gd name="T68" fmla="*/ 75 w 160"/>
              <a:gd name="T69" fmla="*/ 84 h 147"/>
              <a:gd name="T70" fmla="*/ 75 w 160"/>
              <a:gd name="T71" fmla="*/ 95 h 147"/>
              <a:gd name="T72" fmla="*/ 75 w 160"/>
              <a:gd name="T73" fmla="*/ 98 h 147"/>
              <a:gd name="T74" fmla="*/ 75 w 160"/>
              <a:gd name="T75" fmla="*/ 100 h 147"/>
              <a:gd name="T76" fmla="*/ 76 w 160"/>
              <a:gd name="T77" fmla="*/ 101 h 147"/>
              <a:gd name="T78" fmla="*/ 78 w 160"/>
              <a:gd name="T79" fmla="*/ 104 h 147"/>
              <a:gd name="T80" fmla="*/ 82 w 160"/>
              <a:gd name="T81" fmla="*/ 106 h 147"/>
              <a:gd name="T82" fmla="*/ 117 w 160"/>
              <a:gd name="T83" fmla="*/ 136 h 147"/>
              <a:gd name="T84" fmla="*/ 155 w 160"/>
              <a:gd name="T85" fmla="*/ 141 h 147"/>
              <a:gd name="T86" fmla="*/ 123 w 160"/>
              <a:gd name="T87" fmla="*/ 136 h 147"/>
              <a:gd name="T88" fmla="*/ 91 w 160"/>
              <a:gd name="T89" fmla="*/ 105 h 147"/>
              <a:gd name="T90" fmla="*/ 87 w 160"/>
              <a:gd name="T91" fmla="*/ 99 h 147"/>
              <a:gd name="T92" fmla="*/ 81 w 160"/>
              <a:gd name="T93" fmla="*/ 98 h 147"/>
              <a:gd name="T94" fmla="*/ 80 w 160"/>
              <a:gd name="T95" fmla="*/ 95 h 147"/>
              <a:gd name="T96" fmla="*/ 82 w 160"/>
              <a:gd name="T97" fmla="*/ 84 h 147"/>
              <a:gd name="T98" fmla="*/ 96 w 160"/>
              <a:gd name="T99" fmla="*/ 59 h 147"/>
              <a:gd name="T100" fmla="*/ 93 w 160"/>
              <a:gd name="T101" fmla="*/ 41 h 147"/>
              <a:gd name="T102" fmla="*/ 93 w 160"/>
              <a:gd name="T103" fmla="*/ 21 h 147"/>
              <a:gd name="T104" fmla="*/ 132 w 160"/>
              <a:gd name="T105" fmla="*/ 46 h 147"/>
              <a:gd name="T106" fmla="*/ 150 w 160"/>
              <a:gd name="T107" fmla="*/ 96 h 147"/>
              <a:gd name="T108" fmla="*/ 138 w 160"/>
              <a:gd name="T109" fmla="*/ 99 h 147"/>
              <a:gd name="T110" fmla="*/ 115 w 160"/>
              <a:gd name="T111" fmla="*/ 101 h 147"/>
              <a:gd name="T112" fmla="*/ 120 w 160"/>
              <a:gd name="T113" fmla="*/ 111 h 147"/>
              <a:gd name="T114" fmla="*/ 155 w 160"/>
              <a:gd name="T115" fmla="*/ 13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47">
                <a:moveTo>
                  <a:pt x="148" y="117"/>
                </a:moveTo>
                <a:cubicBezTo>
                  <a:pt x="122" y="106"/>
                  <a:pt x="122" y="106"/>
                  <a:pt x="122" y="106"/>
                </a:cubicBezTo>
                <a:cubicBezTo>
                  <a:pt x="121" y="106"/>
                  <a:pt x="121" y="105"/>
                  <a:pt x="120" y="104"/>
                </a:cubicBezTo>
                <a:cubicBezTo>
                  <a:pt x="138" y="104"/>
                  <a:pt x="138" y="104"/>
                  <a:pt x="138" y="104"/>
                </a:cubicBezTo>
                <a:cubicBezTo>
                  <a:pt x="138" y="104"/>
                  <a:pt x="145" y="105"/>
                  <a:pt x="151" y="102"/>
                </a:cubicBezTo>
                <a:cubicBezTo>
                  <a:pt x="153" y="101"/>
                  <a:pt x="155" y="100"/>
                  <a:pt x="155" y="97"/>
                </a:cubicBezTo>
                <a:cubicBezTo>
                  <a:pt x="156" y="95"/>
                  <a:pt x="155" y="92"/>
                  <a:pt x="154" y="91"/>
                </a:cubicBezTo>
                <a:cubicBezTo>
                  <a:pt x="149" y="83"/>
                  <a:pt x="137" y="65"/>
                  <a:pt x="137" y="46"/>
                </a:cubicBezTo>
                <a:cubicBezTo>
                  <a:pt x="137" y="46"/>
                  <a:pt x="136" y="14"/>
                  <a:pt x="105" y="14"/>
                </a:cubicBezTo>
                <a:cubicBezTo>
                  <a:pt x="100" y="14"/>
                  <a:pt x="96" y="15"/>
                  <a:pt x="92" y="16"/>
                </a:cubicBezTo>
                <a:cubicBezTo>
                  <a:pt x="91" y="14"/>
                  <a:pt x="90" y="12"/>
                  <a:pt x="88" y="9"/>
                </a:cubicBezTo>
                <a:cubicBezTo>
                  <a:pt x="82" y="3"/>
                  <a:pt x="73" y="0"/>
                  <a:pt x="61" y="0"/>
                </a:cubicBezTo>
                <a:cubicBezTo>
                  <a:pt x="49" y="0"/>
                  <a:pt x="40" y="3"/>
                  <a:pt x="35" y="9"/>
                </a:cubicBezTo>
                <a:cubicBezTo>
                  <a:pt x="29" y="17"/>
                  <a:pt x="29" y="25"/>
                  <a:pt x="29" y="27"/>
                </a:cubicBezTo>
                <a:cubicBezTo>
                  <a:pt x="29" y="41"/>
                  <a:pt x="29" y="41"/>
                  <a:pt x="29" y="41"/>
                </a:cubicBezTo>
                <a:cubicBezTo>
                  <a:pt x="28" y="43"/>
                  <a:pt x="27" y="45"/>
                  <a:pt x="27" y="48"/>
                </a:cubicBezTo>
                <a:cubicBezTo>
                  <a:pt x="27" y="59"/>
                  <a:pt x="27" y="59"/>
                  <a:pt x="27" y="59"/>
                </a:cubicBezTo>
                <a:cubicBezTo>
                  <a:pt x="27" y="62"/>
                  <a:pt x="28" y="65"/>
                  <a:pt x="31" y="67"/>
                </a:cubicBezTo>
                <a:cubicBezTo>
                  <a:pt x="33" y="77"/>
                  <a:pt x="38" y="84"/>
                  <a:pt x="40" y="86"/>
                </a:cubicBezTo>
                <a:cubicBezTo>
                  <a:pt x="40" y="95"/>
                  <a:pt x="40" y="95"/>
                  <a:pt x="40" y="95"/>
                </a:cubicBezTo>
                <a:cubicBezTo>
                  <a:pt x="40" y="98"/>
                  <a:pt x="39" y="100"/>
                  <a:pt x="36" y="101"/>
                </a:cubicBezTo>
                <a:cubicBezTo>
                  <a:pt x="13" y="114"/>
                  <a:pt x="13" y="114"/>
                  <a:pt x="13" y="114"/>
                </a:cubicBezTo>
                <a:cubicBezTo>
                  <a:pt x="5" y="118"/>
                  <a:pt x="0" y="127"/>
                  <a:pt x="0" y="135"/>
                </a:cubicBezTo>
                <a:cubicBezTo>
                  <a:pt x="0" y="147"/>
                  <a:pt x="0" y="147"/>
                  <a:pt x="0" y="147"/>
                </a:cubicBezTo>
                <a:cubicBezTo>
                  <a:pt x="117" y="147"/>
                  <a:pt x="117" y="147"/>
                  <a:pt x="117" y="147"/>
                </a:cubicBezTo>
                <a:cubicBezTo>
                  <a:pt x="123" y="147"/>
                  <a:pt x="123" y="147"/>
                  <a:pt x="123" y="147"/>
                </a:cubicBezTo>
                <a:cubicBezTo>
                  <a:pt x="160" y="147"/>
                  <a:pt x="160" y="147"/>
                  <a:pt x="160" y="147"/>
                </a:cubicBezTo>
                <a:cubicBezTo>
                  <a:pt x="160" y="137"/>
                  <a:pt x="160" y="137"/>
                  <a:pt x="160" y="137"/>
                </a:cubicBezTo>
                <a:cubicBezTo>
                  <a:pt x="160" y="129"/>
                  <a:pt x="155" y="121"/>
                  <a:pt x="148" y="117"/>
                </a:cubicBezTo>
                <a:close/>
                <a:moveTo>
                  <a:pt x="117" y="141"/>
                </a:moveTo>
                <a:cubicBezTo>
                  <a:pt x="5" y="141"/>
                  <a:pt x="5" y="141"/>
                  <a:pt x="5" y="141"/>
                </a:cubicBezTo>
                <a:cubicBezTo>
                  <a:pt x="5" y="135"/>
                  <a:pt x="5" y="135"/>
                  <a:pt x="5" y="135"/>
                </a:cubicBezTo>
                <a:cubicBezTo>
                  <a:pt x="5" y="129"/>
                  <a:pt x="9" y="122"/>
                  <a:pt x="15" y="119"/>
                </a:cubicBezTo>
                <a:cubicBezTo>
                  <a:pt x="39" y="106"/>
                  <a:pt x="39" y="106"/>
                  <a:pt x="39" y="106"/>
                </a:cubicBezTo>
                <a:cubicBezTo>
                  <a:pt x="43" y="104"/>
                  <a:pt x="45" y="100"/>
                  <a:pt x="45" y="95"/>
                </a:cubicBezTo>
                <a:cubicBezTo>
                  <a:pt x="45" y="84"/>
                  <a:pt x="45" y="84"/>
                  <a:pt x="45" y="84"/>
                </a:cubicBezTo>
                <a:cubicBezTo>
                  <a:pt x="45" y="84"/>
                  <a:pt x="45" y="84"/>
                  <a:pt x="45" y="84"/>
                </a:cubicBezTo>
                <a:cubicBezTo>
                  <a:pt x="45" y="84"/>
                  <a:pt x="38" y="76"/>
                  <a:pt x="36" y="65"/>
                </a:cubicBezTo>
                <a:cubicBezTo>
                  <a:pt x="35" y="64"/>
                  <a:pt x="35" y="64"/>
                  <a:pt x="35" y="64"/>
                </a:cubicBezTo>
                <a:cubicBezTo>
                  <a:pt x="34" y="63"/>
                  <a:pt x="34" y="63"/>
                  <a:pt x="34" y="63"/>
                </a:cubicBezTo>
                <a:cubicBezTo>
                  <a:pt x="33" y="62"/>
                  <a:pt x="32" y="60"/>
                  <a:pt x="32" y="59"/>
                </a:cubicBezTo>
                <a:cubicBezTo>
                  <a:pt x="32" y="48"/>
                  <a:pt x="32" y="48"/>
                  <a:pt x="32" y="48"/>
                </a:cubicBezTo>
                <a:cubicBezTo>
                  <a:pt x="32" y="47"/>
                  <a:pt x="33" y="45"/>
                  <a:pt x="34" y="44"/>
                </a:cubicBezTo>
                <a:cubicBezTo>
                  <a:pt x="35" y="43"/>
                  <a:pt x="35" y="43"/>
                  <a:pt x="35" y="43"/>
                </a:cubicBezTo>
                <a:cubicBezTo>
                  <a:pt x="35" y="27"/>
                  <a:pt x="35" y="27"/>
                  <a:pt x="35" y="27"/>
                </a:cubicBezTo>
                <a:cubicBezTo>
                  <a:pt x="35" y="26"/>
                  <a:pt x="35" y="26"/>
                  <a:pt x="35" y="26"/>
                </a:cubicBezTo>
                <a:cubicBezTo>
                  <a:pt x="35" y="26"/>
                  <a:pt x="34" y="19"/>
                  <a:pt x="39" y="13"/>
                </a:cubicBezTo>
                <a:cubicBezTo>
                  <a:pt x="43" y="8"/>
                  <a:pt x="51" y="5"/>
                  <a:pt x="61" y="5"/>
                </a:cubicBezTo>
                <a:cubicBezTo>
                  <a:pt x="72" y="5"/>
                  <a:pt x="79" y="8"/>
                  <a:pt x="84" y="13"/>
                </a:cubicBezTo>
                <a:cubicBezTo>
                  <a:pt x="86" y="15"/>
                  <a:pt x="87" y="18"/>
                  <a:pt x="88" y="21"/>
                </a:cubicBezTo>
                <a:cubicBezTo>
                  <a:pt x="88" y="21"/>
                  <a:pt x="88" y="21"/>
                  <a:pt x="88" y="21"/>
                </a:cubicBezTo>
                <a:cubicBezTo>
                  <a:pt x="88" y="21"/>
                  <a:pt x="88" y="21"/>
                  <a:pt x="88" y="22"/>
                </a:cubicBezTo>
                <a:cubicBezTo>
                  <a:pt x="88" y="22"/>
                  <a:pt x="88" y="22"/>
                  <a:pt x="88" y="22"/>
                </a:cubicBezTo>
                <a:cubicBezTo>
                  <a:pt x="88" y="22"/>
                  <a:pt x="88" y="23"/>
                  <a:pt x="88" y="23"/>
                </a:cubicBezTo>
                <a:cubicBezTo>
                  <a:pt x="88" y="23"/>
                  <a:pt x="88" y="23"/>
                  <a:pt x="88" y="24"/>
                </a:cubicBezTo>
                <a:cubicBezTo>
                  <a:pt x="88" y="24"/>
                  <a:pt x="88" y="24"/>
                  <a:pt x="88" y="24"/>
                </a:cubicBezTo>
                <a:cubicBezTo>
                  <a:pt x="88" y="24"/>
                  <a:pt x="88" y="24"/>
                  <a:pt x="88" y="24"/>
                </a:cubicBezTo>
                <a:cubicBezTo>
                  <a:pt x="88" y="25"/>
                  <a:pt x="88" y="25"/>
                  <a:pt x="88" y="25"/>
                </a:cubicBezTo>
                <a:cubicBezTo>
                  <a:pt x="88" y="25"/>
                  <a:pt x="88" y="25"/>
                  <a:pt x="88" y="25"/>
                </a:cubicBezTo>
                <a:cubicBezTo>
                  <a:pt x="88" y="25"/>
                  <a:pt x="88" y="25"/>
                  <a:pt x="88" y="25"/>
                </a:cubicBezTo>
                <a:cubicBezTo>
                  <a:pt x="88" y="26"/>
                  <a:pt x="88" y="26"/>
                  <a:pt x="88" y="26"/>
                </a:cubicBezTo>
                <a:cubicBezTo>
                  <a:pt x="88" y="43"/>
                  <a:pt x="88" y="43"/>
                  <a:pt x="88" y="43"/>
                </a:cubicBezTo>
                <a:cubicBezTo>
                  <a:pt x="89" y="44"/>
                  <a:pt x="89" y="44"/>
                  <a:pt x="89" y="44"/>
                </a:cubicBezTo>
                <a:cubicBezTo>
                  <a:pt x="90" y="45"/>
                  <a:pt x="91" y="47"/>
                  <a:pt x="91" y="48"/>
                </a:cubicBezTo>
                <a:cubicBezTo>
                  <a:pt x="91" y="59"/>
                  <a:pt x="91" y="59"/>
                  <a:pt x="91" y="59"/>
                </a:cubicBezTo>
                <a:cubicBezTo>
                  <a:pt x="91" y="61"/>
                  <a:pt x="89" y="63"/>
                  <a:pt x="87" y="64"/>
                </a:cubicBezTo>
                <a:cubicBezTo>
                  <a:pt x="86" y="64"/>
                  <a:pt x="86" y="64"/>
                  <a:pt x="86" y="64"/>
                </a:cubicBezTo>
                <a:cubicBezTo>
                  <a:pt x="85" y="65"/>
                  <a:pt x="85" y="65"/>
                  <a:pt x="85" y="65"/>
                </a:cubicBezTo>
                <a:cubicBezTo>
                  <a:pt x="83" y="71"/>
                  <a:pt x="81" y="76"/>
                  <a:pt x="78" y="81"/>
                </a:cubicBezTo>
                <a:cubicBezTo>
                  <a:pt x="77" y="82"/>
                  <a:pt x="76" y="83"/>
                  <a:pt x="75" y="84"/>
                </a:cubicBezTo>
                <a:cubicBezTo>
                  <a:pt x="75" y="84"/>
                  <a:pt x="75" y="84"/>
                  <a:pt x="75" y="84"/>
                </a:cubicBezTo>
                <a:cubicBezTo>
                  <a:pt x="75" y="95"/>
                  <a:pt x="75" y="95"/>
                  <a:pt x="75" y="95"/>
                </a:cubicBezTo>
                <a:cubicBezTo>
                  <a:pt x="75" y="96"/>
                  <a:pt x="75" y="97"/>
                  <a:pt x="75" y="97"/>
                </a:cubicBezTo>
                <a:cubicBezTo>
                  <a:pt x="75" y="97"/>
                  <a:pt x="75" y="98"/>
                  <a:pt x="75" y="98"/>
                </a:cubicBezTo>
                <a:cubicBezTo>
                  <a:pt x="75" y="98"/>
                  <a:pt x="75" y="99"/>
                  <a:pt x="75" y="99"/>
                </a:cubicBezTo>
                <a:cubicBezTo>
                  <a:pt x="75" y="99"/>
                  <a:pt x="75" y="100"/>
                  <a:pt x="75" y="100"/>
                </a:cubicBezTo>
                <a:cubicBezTo>
                  <a:pt x="76" y="100"/>
                  <a:pt x="76" y="101"/>
                  <a:pt x="76" y="101"/>
                </a:cubicBezTo>
                <a:cubicBezTo>
                  <a:pt x="76" y="101"/>
                  <a:pt x="76" y="101"/>
                  <a:pt x="76" y="101"/>
                </a:cubicBezTo>
                <a:cubicBezTo>
                  <a:pt x="77" y="102"/>
                  <a:pt x="77" y="103"/>
                  <a:pt x="78" y="103"/>
                </a:cubicBezTo>
                <a:cubicBezTo>
                  <a:pt x="78" y="104"/>
                  <a:pt x="78" y="104"/>
                  <a:pt x="78" y="104"/>
                </a:cubicBezTo>
                <a:cubicBezTo>
                  <a:pt x="78" y="104"/>
                  <a:pt x="78" y="104"/>
                  <a:pt x="78" y="104"/>
                </a:cubicBezTo>
                <a:cubicBezTo>
                  <a:pt x="79" y="105"/>
                  <a:pt x="80" y="106"/>
                  <a:pt x="82" y="106"/>
                </a:cubicBezTo>
                <a:cubicBezTo>
                  <a:pt x="107" y="119"/>
                  <a:pt x="107" y="119"/>
                  <a:pt x="107" y="119"/>
                </a:cubicBezTo>
                <a:cubicBezTo>
                  <a:pt x="113" y="122"/>
                  <a:pt x="117" y="129"/>
                  <a:pt x="117" y="136"/>
                </a:cubicBezTo>
                <a:lnTo>
                  <a:pt x="117" y="141"/>
                </a:lnTo>
                <a:close/>
                <a:moveTo>
                  <a:pt x="155" y="141"/>
                </a:moveTo>
                <a:cubicBezTo>
                  <a:pt x="123" y="141"/>
                  <a:pt x="123" y="141"/>
                  <a:pt x="123" y="141"/>
                </a:cubicBezTo>
                <a:cubicBezTo>
                  <a:pt x="123" y="136"/>
                  <a:pt x="123" y="136"/>
                  <a:pt x="123" y="136"/>
                </a:cubicBezTo>
                <a:cubicBezTo>
                  <a:pt x="123" y="127"/>
                  <a:pt x="118" y="118"/>
                  <a:pt x="109" y="114"/>
                </a:cubicBezTo>
                <a:cubicBezTo>
                  <a:pt x="91" y="105"/>
                  <a:pt x="91" y="105"/>
                  <a:pt x="91" y="105"/>
                </a:cubicBezTo>
                <a:cubicBezTo>
                  <a:pt x="92" y="104"/>
                  <a:pt x="92" y="103"/>
                  <a:pt x="91" y="102"/>
                </a:cubicBezTo>
                <a:cubicBezTo>
                  <a:pt x="91" y="100"/>
                  <a:pt x="89" y="99"/>
                  <a:pt x="87" y="99"/>
                </a:cubicBezTo>
                <a:cubicBezTo>
                  <a:pt x="81" y="99"/>
                  <a:pt x="81" y="99"/>
                  <a:pt x="81" y="99"/>
                </a:cubicBezTo>
                <a:cubicBezTo>
                  <a:pt x="81" y="99"/>
                  <a:pt x="81" y="98"/>
                  <a:pt x="81" y="98"/>
                </a:cubicBezTo>
                <a:cubicBezTo>
                  <a:pt x="81" y="98"/>
                  <a:pt x="80" y="97"/>
                  <a:pt x="80" y="97"/>
                </a:cubicBezTo>
                <a:cubicBezTo>
                  <a:pt x="80" y="97"/>
                  <a:pt x="80" y="96"/>
                  <a:pt x="80" y="95"/>
                </a:cubicBezTo>
                <a:cubicBezTo>
                  <a:pt x="80" y="86"/>
                  <a:pt x="80" y="86"/>
                  <a:pt x="80" y="86"/>
                </a:cubicBezTo>
                <a:cubicBezTo>
                  <a:pt x="81" y="86"/>
                  <a:pt x="81" y="85"/>
                  <a:pt x="82" y="84"/>
                </a:cubicBezTo>
                <a:cubicBezTo>
                  <a:pt x="85" y="79"/>
                  <a:pt x="88" y="74"/>
                  <a:pt x="90" y="68"/>
                </a:cubicBezTo>
                <a:cubicBezTo>
                  <a:pt x="94" y="67"/>
                  <a:pt x="96" y="63"/>
                  <a:pt x="96" y="59"/>
                </a:cubicBezTo>
                <a:cubicBezTo>
                  <a:pt x="96" y="48"/>
                  <a:pt x="96" y="48"/>
                  <a:pt x="96" y="48"/>
                </a:cubicBezTo>
                <a:cubicBezTo>
                  <a:pt x="96" y="45"/>
                  <a:pt x="95" y="43"/>
                  <a:pt x="93" y="41"/>
                </a:cubicBezTo>
                <a:cubicBezTo>
                  <a:pt x="93" y="27"/>
                  <a:pt x="93" y="27"/>
                  <a:pt x="93" y="27"/>
                </a:cubicBezTo>
                <a:cubicBezTo>
                  <a:pt x="93" y="26"/>
                  <a:pt x="94" y="24"/>
                  <a:pt x="93" y="21"/>
                </a:cubicBezTo>
                <a:cubicBezTo>
                  <a:pt x="97" y="20"/>
                  <a:pt x="100" y="19"/>
                  <a:pt x="105" y="19"/>
                </a:cubicBezTo>
                <a:cubicBezTo>
                  <a:pt x="131" y="19"/>
                  <a:pt x="132" y="45"/>
                  <a:pt x="132" y="46"/>
                </a:cubicBezTo>
                <a:cubicBezTo>
                  <a:pt x="132" y="67"/>
                  <a:pt x="144" y="86"/>
                  <a:pt x="150" y="94"/>
                </a:cubicBezTo>
                <a:cubicBezTo>
                  <a:pt x="150" y="94"/>
                  <a:pt x="150" y="95"/>
                  <a:pt x="150" y="96"/>
                </a:cubicBezTo>
                <a:cubicBezTo>
                  <a:pt x="150" y="96"/>
                  <a:pt x="150" y="97"/>
                  <a:pt x="149" y="97"/>
                </a:cubicBezTo>
                <a:cubicBezTo>
                  <a:pt x="144" y="99"/>
                  <a:pt x="138" y="99"/>
                  <a:pt x="138" y="99"/>
                </a:cubicBezTo>
                <a:cubicBezTo>
                  <a:pt x="119" y="99"/>
                  <a:pt x="119" y="99"/>
                  <a:pt x="119" y="99"/>
                </a:cubicBezTo>
                <a:cubicBezTo>
                  <a:pt x="118" y="99"/>
                  <a:pt x="116" y="100"/>
                  <a:pt x="115" y="101"/>
                </a:cubicBezTo>
                <a:cubicBezTo>
                  <a:pt x="114" y="103"/>
                  <a:pt x="114" y="104"/>
                  <a:pt x="115" y="106"/>
                </a:cubicBezTo>
                <a:cubicBezTo>
                  <a:pt x="116" y="108"/>
                  <a:pt x="117" y="110"/>
                  <a:pt x="120" y="111"/>
                </a:cubicBezTo>
                <a:cubicBezTo>
                  <a:pt x="146" y="122"/>
                  <a:pt x="146" y="122"/>
                  <a:pt x="146" y="122"/>
                </a:cubicBezTo>
                <a:cubicBezTo>
                  <a:pt x="151" y="125"/>
                  <a:pt x="155" y="131"/>
                  <a:pt x="155" y="137"/>
                </a:cubicBezTo>
                <a:lnTo>
                  <a:pt x="155" y="1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61">
            <a:extLst>
              <a:ext uri="{FF2B5EF4-FFF2-40B4-BE49-F238E27FC236}">
                <a16:creationId xmlns:a16="http://schemas.microsoft.com/office/drawing/2014/main" id="{597D1F8C-2429-3643-8DA4-E949659D7FBC}"/>
              </a:ext>
            </a:extLst>
          </p:cNvPr>
          <p:cNvSpPr>
            <a:spLocks noEditPoints="1"/>
          </p:cNvSpPr>
          <p:nvPr/>
        </p:nvSpPr>
        <p:spPr bwMode="auto">
          <a:xfrm>
            <a:off x="6894204" y="1776413"/>
            <a:ext cx="601663" cy="557213"/>
          </a:xfrm>
          <a:custGeom>
            <a:avLst/>
            <a:gdLst>
              <a:gd name="T0" fmla="*/ 117 w 160"/>
              <a:gd name="T1" fmla="*/ 95 h 147"/>
              <a:gd name="T2" fmla="*/ 127 w 160"/>
              <a:gd name="T3" fmla="*/ 68 h 147"/>
              <a:gd name="T4" fmla="*/ 131 w 160"/>
              <a:gd name="T5" fmla="*/ 41 h 147"/>
              <a:gd name="T6" fmla="*/ 99 w 160"/>
              <a:gd name="T7" fmla="*/ 0 h 147"/>
              <a:gd name="T8" fmla="*/ 51 w 160"/>
              <a:gd name="T9" fmla="*/ 19 h 147"/>
              <a:gd name="T10" fmla="*/ 19 w 160"/>
              <a:gd name="T11" fmla="*/ 61 h 147"/>
              <a:gd name="T12" fmla="*/ 32 w 160"/>
              <a:gd name="T13" fmla="*/ 94 h 147"/>
              <a:gd name="T14" fmla="*/ 11 w 160"/>
              <a:gd name="T15" fmla="*/ 118 h 147"/>
              <a:gd name="T16" fmla="*/ 37 w 160"/>
              <a:gd name="T17" fmla="*/ 147 h 147"/>
              <a:gd name="T18" fmla="*/ 160 w 160"/>
              <a:gd name="T19" fmla="*/ 136 h 147"/>
              <a:gd name="T20" fmla="*/ 37 w 160"/>
              <a:gd name="T21" fmla="*/ 141 h 147"/>
              <a:gd name="T22" fmla="*/ 14 w 160"/>
              <a:gd name="T23" fmla="*/ 123 h 147"/>
              <a:gd name="T24" fmla="*/ 37 w 160"/>
              <a:gd name="T25" fmla="*/ 92 h 147"/>
              <a:gd name="T26" fmla="*/ 27 w 160"/>
              <a:gd name="T27" fmla="*/ 74 h 147"/>
              <a:gd name="T28" fmla="*/ 24 w 160"/>
              <a:gd name="T29" fmla="*/ 61 h 147"/>
              <a:gd name="T30" fmla="*/ 27 w 160"/>
              <a:gd name="T31" fmla="*/ 43 h 147"/>
              <a:gd name="T32" fmla="*/ 67 w 160"/>
              <a:gd name="T33" fmla="*/ 41 h 147"/>
              <a:gd name="T34" fmla="*/ 64 w 160"/>
              <a:gd name="T35" fmla="*/ 61 h 147"/>
              <a:gd name="T36" fmla="*/ 65 w 160"/>
              <a:gd name="T37" fmla="*/ 63 h 147"/>
              <a:gd name="T38" fmla="*/ 69 w 160"/>
              <a:gd name="T39" fmla="*/ 69 h 147"/>
              <a:gd name="T40" fmla="*/ 69 w 160"/>
              <a:gd name="T41" fmla="*/ 71 h 147"/>
              <a:gd name="T42" fmla="*/ 71 w 160"/>
              <a:gd name="T43" fmla="*/ 75 h 147"/>
              <a:gd name="T44" fmla="*/ 71 w 160"/>
              <a:gd name="T45" fmla="*/ 76 h 147"/>
              <a:gd name="T46" fmla="*/ 73 w 160"/>
              <a:gd name="T47" fmla="*/ 79 h 147"/>
              <a:gd name="T48" fmla="*/ 75 w 160"/>
              <a:gd name="T49" fmla="*/ 83 h 147"/>
              <a:gd name="T50" fmla="*/ 77 w 160"/>
              <a:gd name="T51" fmla="*/ 86 h 147"/>
              <a:gd name="T52" fmla="*/ 74 w 160"/>
              <a:gd name="T53" fmla="*/ 101 h 147"/>
              <a:gd name="T54" fmla="*/ 65 w 160"/>
              <a:gd name="T55" fmla="*/ 106 h 147"/>
              <a:gd name="T56" fmla="*/ 155 w 160"/>
              <a:gd name="T57" fmla="*/ 141 h 147"/>
              <a:gd name="T58" fmla="*/ 52 w 160"/>
              <a:gd name="T59" fmla="*/ 119 h 147"/>
              <a:gd name="T60" fmla="*/ 83 w 160"/>
              <a:gd name="T61" fmla="*/ 84 h 147"/>
              <a:gd name="T62" fmla="*/ 82 w 160"/>
              <a:gd name="T63" fmla="*/ 84 h 147"/>
              <a:gd name="T64" fmla="*/ 81 w 160"/>
              <a:gd name="T65" fmla="*/ 82 h 147"/>
              <a:gd name="T66" fmla="*/ 80 w 160"/>
              <a:gd name="T67" fmla="*/ 80 h 147"/>
              <a:gd name="T68" fmla="*/ 77 w 160"/>
              <a:gd name="T69" fmla="*/ 75 h 147"/>
              <a:gd name="T70" fmla="*/ 76 w 160"/>
              <a:gd name="T71" fmla="*/ 73 h 147"/>
              <a:gd name="T72" fmla="*/ 75 w 160"/>
              <a:gd name="T73" fmla="*/ 72 h 147"/>
              <a:gd name="T74" fmla="*/ 74 w 160"/>
              <a:gd name="T75" fmla="*/ 68 h 147"/>
              <a:gd name="T76" fmla="*/ 73 w 160"/>
              <a:gd name="T77" fmla="*/ 65 h 147"/>
              <a:gd name="T78" fmla="*/ 69 w 160"/>
              <a:gd name="T79" fmla="*/ 59 h 147"/>
              <a:gd name="T80" fmla="*/ 72 w 160"/>
              <a:gd name="T81" fmla="*/ 43 h 147"/>
              <a:gd name="T82" fmla="*/ 72 w 160"/>
              <a:gd name="T83" fmla="*/ 26 h 147"/>
              <a:gd name="T84" fmla="*/ 121 w 160"/>
              <a:gd name="T85" fmla="*/ 13 h 147"/>
              <a:gd name="T86" fmla="*/ 126 w 160"/>
              <a:gd name="T87" fmla="*/ 44 h 147"/>
              <a:gd name="T88" fmla="*/ 124 w 160"/>
              <a:gd name="T89" fmla="*/ 64 h 147"/>
              <a:gd name="T90" fmla="*/ 115 w 160"/>
              <a:gd name="T91" fmla="*/ 81 h 147"/>
              <a:gd name="T92" fmla="*/ 112 w 160"/>
              <a:gd name="T93" fmla="*/ 95 h 147"/>
              <a:gd name="T94" fmla="*/ 155 w 160"/>
              <a:gd name="T95" fmla="*/ 1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147">
                <a:moveTo>
                  <a:pt x="147" y="114"/>
                </a:moveTo>
                <a:cubicBezTo>
                  <a:pt x="121" y="102"/>
                  <a:pt x="121" y="102"/>
                  <a:pt x="121" y="102"/>
                </a:cubicBezTo>
                <a:cubicBezTo>
                  <a:pt x="119" y="100"/>
                  <a:pt x="117" y="98"/>
                  <a:pt x="117" y="95"/>
                </a:cubicBezTo>
                <a:cubicBezTo>
                  <a:pt x="117" y="86"/>
                  <a:pt x="117" y="86"/>
                  <a:pt x="117" y="86"/>
                </a:cubicBezTo>
                <a:cubicBezTo>
                  <a:pt x="118" y="86"/>
                  <a:pt x="119" y="85"/>
                  <a:pt x="119" y="84"/>
                </a:cubicBezTo>
                <a:cubicBezTo>
                  <a:pt x="123" y="79"/>
                  <a:pt x="125" y="74"/>
                  <a:pt x="127" y="68"/>
                </a:cubicBezTo>
                <a:cubicBezTo>
                  <a:pt x="131" y="67"/>
                  <a:pt x="133" y="63"/>
                  <a:pt x="133" y="59"/>
                </a:cubicBezTo>
                <a:cubicBezTo>
                  <a:pt x="133" y="48"/>
                  <a:pt x="133" y="48"/>
                  <a:pt x="133" y="48"/>
                </a:cubicBezTo>
                <a:cubicBezTo>
                  <a:pt x="133" y="45"/>
                  <a:pt x="132" y="43"/>
                  <a:pt x="131" y="41"/>
                </a:cubicBezTo>
                <a:cubicBezTo>
                  <a:pt x="131" y="27"/>
                  <a:pt x="131" y="27"/>
                  <a:pt x="131" y="27"/>
                </a:cubicBezTo>
                <a:cubicBezTo>
                  <a:pt x="131" y="25"/>
                  <a:pt x="131" y="17"/>
                  <a:pt x="125" y="9"/>
                </a:cubicBezTo>
                <a:cubicBezTo>
                  <a:pt x="120" y="3"/>
                  <a:pt x="111" y="0"/>
                  <a:pt x="99" y="0"/>
                </a:cubicBezTo>
                <a:cubicBezTo>
                  <a:pt x="87" y="0"/>
                  <a:pt x="78" y="3"/>
                  <a:pt x="72" y="9"/>
                </a:cubicBezTo>
                <a:cubicBezTo>
                  <a:pt x="68" y="14"/>
                  <a:pt x="67" y="19"/>
                  <a:pt x="67" y="22"/>
                </a:cubicBezTo>
                <a:cubicBezTo>
                  <a:pt x="62" y="20"/>
                  <a:pt x="57" y="19"/>
                  <a:pt x="51" y="19"/>
                </a:cubicBezTo>
                <a:cubicBezTo>
                  <a:pt x="23" y="19"/>
                  <a:pt x="21" y="42"/>
                  <a:pt x="21" y="43"/>
                </a:cubicBezTo>
                <a:cubicBezTo>
                  <a:pt x="21" y="55"/>
                  <a:pt x="21" y="55"/>
                  <a:pt x="21" y="55"/>
                </a:cubicBezTo>
                <a:cubicBezTo>
                  <a:pt x="20" y="57"/>
                  <a:pt x="19" y="59"/>
                  <a:pt x="19" y="61"/>
                </a:cubicBezTo>
                <a:cubicBezTo>
                  <a:pt x="19" y="70"/>
                  <a:pt x="19" y="70"/>
                  <a:pt x="19" y="70"/>
                </a:cubicBezTo>
                <a:cubicBezTo>
                  <a:pt x="19" y="73"/>
                  <a:pt x="20" y="76"/>
                  <a:pt x="22" y="78"/>
                </a:cubicBezTo>
                <a:cubicBezTo>
                  <a:pt x="24" y="86"/>
                  <a:pt x="30" y="92"/>
                  <a:pt x="32" y="94"/>
                </a:cubicBezTo>
                <a:cubicBezTo>
                  <a:pt x="32" y="102"/>
                  <a:pt x="32" y="102"/>
                  <a:pt x="32" y="102"/>
                </a:cubicBezTo>
                <a:cubicBezTo>
                  <a:pt x="32" y="104"/>
                  <a:pt x="31" y="106"/>
                  <a:pt x="29" y="107"/>
                </a:cubicBezTo>
                <a:cubicBezTo>
                  <a:pt x="11" y="118"/>
                  <a:pt x="11" y="118"/>
                  <a:pt x="11" y="118"/>
                </a:cubicBezTo>
                <a:cubicBezTo>
                  <a:pt x="4" y="122"/>
                  <a:pt x="0" y="129"/>
                  <a:pt x="0" y="137"/>
                </a:cubicBezTo>
                <a:cubicBezTo>
                  <a:pt x="0" y="147"/>
                  <a:pt x="0" y="147"/>
                  <a:pt x="0" y="147"/>
                </a:cubicBezTo>
                <a:cubicBezTo>
                  <a:pt x="37" y="147"/>
                  <a:pt x="37" y="147"/>
                  <a:pt x="37" y="147"/>
                </a:cubicBezTo>
                <a:cubicBezTo>
                  <a:pt x="43" y="147"/>
                  <a:pt x="43" y="147"/>
                  <a:pt x="43" y="147"/>
                </a:cubicBezTo>
                <a:cubicBezTo>
                  <a:pt x="160" y="147"/>
                  <a:pt x="160" y="147"/>
                  <a:pt x="160" y="147"/>
                </a:cubicBezTo>
                <a:cubicBezTo>
                  <a:pt x="160" y="136"/>
                  <a:pt x="160" y="136"/>
                  <a:pt x="160" y="136"/>
                </a:cubicBezTo>
                <a:cubicBezTo>
                  <a:pt x="160" y="127"/>
                  <a:pt x="155" y="118"/>
                  <a:pt x="147" y="114"/>
                </a:cubicBezTo>
                <a:close/>
                <a:moveTo>
                  <a:pt x="37" y="135"/>
                </a:moveTo>
                <a:cubicBezTo>
                  <a:pt x="37" y="141"/>
                  <a:pt x="37" y="141"/>
                  <a:pt x="37" y="141"/>
                </a:cubicBezTo>
                <a:cubicBezTo>
                  <a:pt x="5" y="141"/>
                  <a:pt x="5" y="141"/>
                  <a:pt x="5" y="141"/>
                </a:cubicBezTo>
                <a:cubicBezTo>
                  <a:pt x="5" y="137"/>
                  <a:pt x="5" y="137"/>
                  <a:pt x="5" y="137"/>
                </a:cubicBezTo>
                <a:cubicBezTo>
                  <a:pt x="5" y="131"/>
                  <a:pt x="8" y="125"/>
                  <a:pt x="14" y="123"/>
                </a:cubicBezTo>
                <a:cubicBezTo>
                  <a:pt x="31" y="111"/>
                  <a:pt x="31" y="111"/>
                  <a:pt x="31" y="111"/>
                </a:cubicBezTo>
                <a:cubicBezTo>
                  <a:pt x="35" y="110"/>
                  <a:pt x="37" y="106"/>
                  <a:pt x="37" y="102"/>
                </a:cubicBezTo>
                <a:cubicBezTo>
                  <a:pt x="37" y="92"/>
                  <a:pt x="37" y="92"/>
                  <a:pt x="37" y="92"/>
                </a:cubicBezTo>
                <a:cubicBezTo>
                  <a:pt x="36" y="91"/>
                  <a:pt x="36" y="91"/>
                  <a:pt x="36" y="91"/>
                </a:cubicBezTo>
                <a:cubicBezTo>
                  <a:pt x="36" y="91"/>
                  <a:pt x="29" y="85"/>
                  <a:pt x="27" y="76"/>
                </a:cubicBezTo>
                <a:cubicBezTo>
                  <a:pt x="27" y="74"/>
                  <a:pt x="27" y="74"/>
                  <a:pt x="27" y="74"/>
                </a:cubicBezTo>
                <a:cubicBezTo>
                  <a:pt x="26" y="74"/>
                  <a:pt x="26" y="74"/>
                  <a:pt x="26" y="74"/>
                </a:cubicBezTo>
                <a:cubicBezTo>
                  <a:pt x="25" y="73"/>
                  <a:pt x="24" y="72"/>
                  <a:pt x="24" y="70"/>
                </a:cubicBezTo>
                <a:cubicBezTo>
                  <a:pt x="24" y="61"/>
                  <a:pt x="24" y="61"/>
                  <a:pt x="24" y="61"/>
                </a:cubicBezTo>
                <a:cubicBezTo>
                  <a:pt x="24" y="60"/>
                  <a:pt x="25" y="59"/>
                  <a:pt x="26" y="58"/>
                </a:cubicBezTo>
                <a:cubicBezTo>
                  <a:pt x="27" y="57"/>
                  <a:pt x="27" y="57"/>
                  <a:pt x="27" y="57"/>
                </a:cubicBezTo>
                <a:cubicBezTo>
                  <a:pt x="27" y="43"/>
                  <a:pt x="27" y="43"/>
                  <a:pt x="27" y="43"/>
                </a:cubicBezTo>
                <a:cubicBezTo>
                  <a:pt x="27" y="42"/>
                  <a:pt x="28" y="24"/>
                  <a:pt x="51" y="24"/>
                </a:cubicBezTo>
                <a:cubicBezTo>
                  <a:pt x="57" y="24"/>
                  <a:pt x="62" y="25"/>
                  <a:pt x="67" y="28"/>
                </a:cubicBezTo>
                <a:cubicBezTo>
                  <a:pt x="67" y="41"/>
                  <a:pt x="67" y="41"/>
                  <a:pt x="67" y="41"/>
                </a:cubicBezTo>
                <a:cubicBezTo>
                  <a:pt x="65" y="43"/>
                  <a:pt x="64" y="45"/>
                  <a:pt x="64" y="48"/>
                </a:cubicBezTo>
                <a:cubicBezTo>
                  <a:pt x="64" y="59"/>
                  <a:pt x="64" y="59"/>
                  <a:pt x="64" y="59"/>
                </a:cubicBezTo>
                <a:cubicBezTo>
                  <a:pt x="64" y="59"/>
                  <a:pt x="64" y="60"/>
                  <a:pt x="64" y="61"/>
                </a:cubicBezTo>
                <a:cubicBezTo>
                  <a:pt x="64" y="61"/>
                  <a:pt x="64" y="62"/>
                  <a:pt x="65" y="62"/>
                </a:cubicBezTo>
                <a:cubicBezTo>
                  <a:pt x="65" y="62"/>
                  <a:pt x="65" y="63"/>
                  <a:pt x="65" y="63"/>
                </a:cubicBezTo>
                <a:cubicBezTo>
                  <a:pt x="65" y="63"/>
                  <a:pt x="65" y="63"/>
                  <a:pt x="65" y="63"/>
                </a:cubicBezTo>
                <a:cubicBezTo>
                  <a:pt x="66" y="65"/>
                  <a:pt x="67" y="66"/>
                  <a:pt x="68" y="67"/>
                </a:cubicBezTo>
                <a:cubicBezTo>
                  <a:pt x="68" y="67"/>
                  <a:pt x="68" y="67"/>
                  <a:pt x="68" y="67"/>
                </a:cubicBezTo>
                <a:cubicBezTo>
                  <a:pt x="68" y="68"/>
                  <a:pt x="68" y="68"/>
                  <a:pt x="69" y="69"/>
                </a:cubicBezTo>
                <a:cubicBezTo>
                  <a:pt x="69" y="70"/>
                  <a:pt x="69" y="70"/>
                  <a:pt x="69" y="70"/>
                </a:cubicBezTo>
                <a:cubicBezTo>
                  <a:pt x="69" y="70"/>
                  <a:pt x="69" y="70"/>
                  <a:pt x="69" y="70"/>
                </a:cubicBezTo>
                <a:cubicBezTo>
                  <a:pt x="69" y="70"/>
                  <a:pt x="69" y="71"/>
                  <a:pt x="69" y="71"/>
                </a:cubicBezTo>
                <a:cubicBezTo>
                  <a:pt x="69" y="71"/>
                  <a:pt x="69" y="72"/>
                  <a:pt x="70" y="72"/>
                </a:cubicBezTo>
                <a:cubicBezTo>
                  <a:pt x="70" y="73"/>
                  <a:pt x="70" y="73"/>
                  <a:pt x="70" y="73"/>
                </a:cubicBezTo>
                <a:cubicBezTo>
                  <a:pt x="70" y="74"/>
                  <a:pt x="70" y="74"/>
                  <a:pt x="71" y="75"/>
                </a:cubicBezTo>
                <a:cubicBezTo>
                  <a:pt x="71" y="75"/>
                  <a:pt x="71" y="75"/>
                  <a:pt x="71" y="75"/>
                </a:cubicBezTo>
                <a:cubicBezTo>
                  <a:pt x="71" y="75"/>
                  <a:pt x="71" y="75"/>
                  <a:pt x="71" y="75"/>
                </a:cubicBezTo>
                <a:cubicBezTo>
                  <a:pt x="71" y="75"/>
                  <a:pt x="71" y="76"/>
                  <a:pt x="71" y="76"/>
                </a:cubicBezTo>
                <a:cubicBezTo>
                  <a:pt x="71" y="76"/>
                  <a:pt x="72" y="77"/>
                  <a:pt x="72" y="77"/>
                </a:cubicBezTo>
                <a:cubicBezTo>
                  <a:pt x="72" y="77"/>
                  <a:pt x="72" y="78"/>
                  <a:pt x="72" y="78"/>
                </a:cubicBezTo>
                <a:cubicBezTo>
                  <a:pt x="72" y="78"/>
                  <a:pt x="72" y="78"/>
                  <a:pt x="73" y="79"/>
                </a:cubicBezTo>
                <a:cubicBezTo>
                  <a:pt x="73" y="79"/>
                  <a:pt x="73" y="80"/>
                  <a:pt x="73" y="80"/>
                </a:cubicBezTo>
                <a:cubicBezTo>
                  <a:pt x="74" y="80"/>
                  <a:pt x="74" y="81"/>
                  <a:pt x="74" y="81"/>
                </a:cubicBezTo>
                <a:cubicBezTo>
                  <a:pt x="74" y="82"/>
                  <a:pt x="75" y="82"/>
                  <a:pt x="75" y="83"/>
                </a:cubicBezTo>
                <a:cubicBezTo>
                  <a:pt x="75" y="83"/>
                  <a:pt x="75" y="83"/>
                  <a:pt x="75" y="83"/>
                </a:cubicBezTo>
                <a:cubicBezTo>
                  <a:pt x="76" y="84"/>
                  <a:pt x="76" y="85"/>
                  <a:pt x="77" y="86"/>
                </a:cubicBezTo>
                <a:cubicBezTo>
                  <a:pt x="77" y="86"/>
                  <a:pt x="77" y="86"/>
                  <a:pt x="77" y="86"/>
                </a:cubicBezTo>
                <a:cubicBezTo>
                  <a:pt x="77" y="86"/>
                  <a:pt x="77" y="86"/>
                  <a:pt x="77" y="86"/>
                </a:cubicBezTo>
                <a:cubicBezTo>
                  <a:pt x="77" y="95"/>
                  <a:pt x="77" y="95"/>
                  <a:pt x="77" y="95"/>
                </a:cubicBezTo>
                <a:cubicBezTo>
                  <a:pt x="77" y="98"/>
                  <a:pt x="76" y="100"/>
                  <a:pt x="74" y="101"/>
                </a:cubicBezTo>
                <a:cubicBezTo>
                  <a:pt x="67" y="105"/>
                  <a:pt x="67" y="105"/>
                  <a:pt x="67" y="105"/>
                </a:cubicBezTo>
                <a:cubicBezTo>
                  <a:pt x="65" y="105"/>
                  <a:pt x="65" y="105"/>
                  <a:pt x="65" y="105"/>
                </a:cubicBezTo>
                <a:cubicBezTo>
                  <a:pt x="65" y="106"/>
                  <a:pt x="65" y="106"/>
                  <a:pt x="65" y="106"/>
                </a:cubicBezTo>
                <a:cubicBezTo>
                  <a:pt x="50" y="114"/>
                  <a:pt x="50" y="114"/>
                  <a:pt x="50" y="114"/>
                </a:cubicBezTo>
                <a:cubicBezTo>
                  <a:pt x="42" y="118"/>
                  <a:pt x="37" y="127"/>
                  <a:pt x="37" y="135"/>
                </a:cubicBezTo>
                <a:close/>
                <a:moveTo>
                  <a:pt x="155" y="141"/>
                </a:moveTo>
                <a:cubicBezTo>
                  <a:pt x="43" y="141"/>
                  <a:pt x="43" y="141"/>
                  <a:pt x="43" y="141"/>
                </a:cubicBezTo>
                <a:cubicBezTo>
                  <a:pt x="43" y="135"/>
                  <a:pt x="43" y="135"/>
                  <a:pt x="43" y="135"/>
                </a:cubicBezTo>
                <a:cubicBezTo>
                  <a:pt x="43" y="129"/>
                  <a:pt x="46" y="122"/>
                  <a:pt x="52" y="119"/>
                </a:cubicBezTo>
                <a:cubicBezTo>
                  <a:pt x="76" y="106"/>
                  <a:pt x="76" y="106"/>
                  <a:pt x="76" y="106"/>
                </a:cubicBezTo>
                <a:cubicBezTo>
                  <a:pt x="80" y="104"/>
                  <a:pt x="83" y="100"/>
                  <a:pt x="83" y="95"/>
                </a:cubicBezTo>
                <a:cubicBezTo>
                  <a:pt x="83" y="84"/>
                  <a:pt x="83" y="84"/>
                  <a:pt x="83" y="84"/>
                </a:cubicBezTo>
                <a:cubicBezTo>
                  <a:pt x="83" y="84"/>
                  <a:pt x="83" y="84"/>
                  <a:pt x="83" y="84"/>
                </a:cubicBezTo>
                <a:cubicBezTo>
                  <a:pt x="82" y="84"/>
                  <a:pt x="82" y="84"/>
                  <a:pt x="82" y="84"/>
                </a:cubicBezTo>
                <a:cubicBezTo>
                  <a:pt x="82" y="84"/>
                  <a:pt x="82" y="84"/>
                  <a:pt x="82" y="84"/>
                </a:cubicBezTo>
                <a:cubicBezTo>
                  <a:pt x="82" y="84"/>
                  <a:pt x="82" y="83"/>
                  <a:pt x="82" y="83"/>
                </a:cubicBezTo>
                <a:cubicBezTo>
                  <a:pt x="82" y="83"/>
                  <a:pt x="82" y="83"/>
                  <a:pt x="82" y="83"/>
                </a:cubicBezTo>
                <a:cubicBezTo>
                  <a:pt x="81" y="83"/>
                  <a:pt x="81" y="83"/>
                  <a:pt x="81" y="82"/>
                </a:cubicBezTo>
                <a:cubicBezTo>
                  <a:pt x="81" y="82"/>
                  <a:pt x="81" y="82"/>
                  <a:pt x="81" y="82"/>
                </a:cubicBezTo>
                <a:cubicBezTo>
                  <a:pt x="81" y="82"/>
                  <a:pt x="80" y="81"/>
                  <a:pt x="80" y="80"/>
                </a:cubicBezTo>
                <a:cubicBezTo>
                  <a:pt x="80" y="80"/>
                  <a:pt x="80" y="80"/>
                  <a:pt x="80" y="80"/>
                </a:cubicBezTo>
                <a:cubicBezTo>
                  <a:pt x="79" y="80"/>
                  <a:pt x="79" y="79"/>
                  <a:pt x="79" y="79"/>
                </a:cubicBezTo>
                <a:cubicBezTo>
                  <a:pt x="79" y="79"/>
                  <a:pt x="79" y="79"/>
                  <a:pt x="79" y="79"/>
                </a:cubicBezTo>
                <a:cubicBezTo>
                  <a:pt x="78" y="78"/>
                  <a:pt x="77" y="77"/>
                  <a:pt x="77" y="75"/>
                </a:cubicBezTo>
                <a:cubicBezTo>
                  <a:pt x="77" y="75"/>
                  <a:pt x="77" y="75"/>
                  <a:pt x="77" y="75"/>
                </a:cubicBezTo>
                <a:cubicBezTo>
                  <a:pt x="76" y="75"/>
                  <a:pt x="76" y="74"/>
                  <a:pt x="76" y="73"/>
                </a:cubicBezTo>
                <a:cubicBezTo>
                  <a:pt x="76" y="73"/>
                  <a:pt x="76" y="73"/>
                  <a:pt x="76" y="73"/>
                </a:cubicBezTo>
                <a:cubicBezTo>
                  <a:pt x="76" y="73"/>
                  <a:pt x="76" y="73"/>
                  <a:pt x="76" y="73"/>
                </a:cubicBezTo>
                <a:cubicBezTo>
                  <a:pt x="76" y="73"/>
                  <a:pt x="76" y="73"/>
                  <a:pt x="76" y="73"/>
                </a:cubicBezTo>
                <a:cubicBezTo>
                  <a:pt x="76" y="72"/>
                  <a:pt x="75" y="72"/>
                  <a:pt x="75" y="72"/>
                </a:cubicBezTo>
                <a:cubicBezTo>
                  <a:pt x="75" y="72"/>
                  <a:pt x="75" y="72"/>
                  <a:pt x="75" y="71"/>
                </a:cubicBezTo>
                <a:cubicBezTo>
                  <a:pt x="75" y="71"/>
                  <a:pt x="75" y="71"/>
                  <a:pt x="75" y="70"/>
                </a:cubicBezTo>
                <a:cubicBezTo>
                  <a:pt x="74" y="70"/>
                  <a:pt x="74" y="69"/>
                  <a:pt x="74" y="68"/>
                </a:cubicBezTo>
                <a:cubicBezTo>
                  <a:pt x="74" y="68"/>
                  <a:pt x="74" y="68"/>
                  <a:pt x="74" y="68"/>
                </a:cubicBezTo>
                <a:cubicBezTo>
                  <a:pt x="74" y="67"/>
                  <a:pt x="74" y="67"/>
                  <a:pt x="74" y="67"/>
                </a:cubicBezTo>
                <a:cubicBezTo>
                  <a:pt x="73" y="67"/>
                  <a:pt x="73" y="66"/>
                  <a:pt x="73" y="65"/>
                </a:cubicBezTo>
                <a:cubicBezTo>
                  <a:pt x="73" y="64"/>
                  <a:pt x="73" y="64"/>
                  <a:pt x="73" y="64"/>
                </a:cubicBezTo>
                <a:cubicBezTo>
                  <a:pt x="72" y="63"/>
                  <a:pt x="72" y="63"/>
                  <a:pt x="72" y="63"/>
                </a:cubicBezTo>
                <a:cubicBezTo>
                  <a:pt x="70" y="62"/>
                  <a:pt x="69" y="60"/>
                  <a:pt x="69" y="59"/>
                </a:cubicBezTo>
                <a:cubicBezTo>
                  <a:pt x="69" y="48"/>
                  <a:pt x="69" y="48"/>
                  <a:pt x="69" y="48"/>
                </a:cubicBezTo>
                <a:cubicBezTo>
                  <a:pt x="69" y="47"/>
                  <a:pt x="70" y="45"/>
                  <a:pt x="71" y="44"/>
                </a:cubicBezTo>
                <a:cubicBezTo>
                  <a:pt x="72" y="43"/>
                  <a:pt x="72" y="43"/>
                  <a:pt x="72" y="43"/>
                </a:cubicBezTo>
                <a:cubicBezTo>
                  <a:pt x="72" y="27"/>
                  <a:pt x="72" y="27"/>
                  <a:pt x="72" y="27"/>
                </a:cubicBezTo>
                <a:cubicBezTo>
                  <a:pt x="72" y="26"/>
                  <a:pt x="72" y="26"/>
                  <a:pt x="72" y="26"/>
                </a:cubicBezTo>
                <a:cubicBezTo>
                  <a:pt x="72" y="26"/>
                  <a:pt x="72" y="26"/>
                  <a:pt x="72" y="26"/>
                </a:cubicBezTo>
                <a:cubicBezTo>
                  <a:pt x="72" y="24"/>
                  <a:pt x="72" y="18"/>
                  <a:pt x="76" y="13"/>
                </a:cubicBezTo>
                <a:cubicBezTo>
                  <a:pt x="81" y="8"/>
                  <a:pt x="88" y="5"/>
                  <a:pt x="99" y="5"/>
                </a:cubicBezTo>
                <a:cubicBezTo>
                  <a:pt x="109" y="5"/>
                  <a:pt x="117" y="8"/>
                  <a:pt x="121" y="13"/>
                </a:cubicBezTo>
                <a:cubicBezTo>
                  <a:pt x="126" y="19"/>
                  <a:pt x="125" y="26"/>
                  <a:pt x="125" y="26"/>
                </a:cubicBezTo>
                <a:cubicBezTo>
                  <a:pt x="125" y="43"/>
                  <a:pt x="125" y="43"/>
                  <a:pt x="125" y="43"/>
                </a:cubicBezTo>
                <a:cubicBezTo>
                  <a:pt x="126" y="44"/>
                  <a:pt x="126" y="44"/>
                  <a:pt x="126" y="44"/>
                </a:cubicBezTo>
                <a:cubicBezTo>
                  <a:pt x="127" y="45"/>
                  <a:pt x="128" y="47"/>
                  <a:pt x="128" y="48"/>
                </a:cubicBezTo>
                <a:cubicBezTo>
                  <a:pt x="128" y="59"/>
                  <a:pt x="128" y="59"/>
                  <a:pt x="128" y="59"/>
                </a:cubicBezTo>
                <a:cubicBezTo>
                  <a:pt x="128" y="61"/>
                  <a:pt x="126" y="63"/>
                  <a:pt x="124" y="64"/>
                </a:cubicBezTo>
                <a:cubicBezTo>
                  <a:pt x="123" y="64"/>
                  <a:pt x="123" y="64"/>
                  <a:pt x="123" y="64"/>
                </a:cubicBezTo>
                <a:cubicBezTo>
                  <a:pt x="122" y="65"/>
                  <a:pt x="122" y="65"/>
                  <a:pt x="122" y="65"/>
                </a:cubicBezTo>
                <a:cubicBezTo>
                  <a:pt x="121" y="71"/>
                  <a:pt x="118" y="76"/>
                  <a:pt x="115" y="81"/>
                </a:cubicBezTo>
                <a:cubicBezTo>
                  <a:pt x="114" y="82"/>
                  <a:pt x="113" y="83"/>
                  <a:pt x="113" y="84"/>
                </a:cubicBezTo>
                <a:cubicBezTo>
                  <a:pt x="112" y="84"/>
                  <a:pt x="112" y="84"/>
                  <a:pt x="112" y="84"/>
                </a:cubicBezTo>
                <a:cubicBezTo>
                  <a:pt x="112" y="95"/>
                  <a:pt x="112" y="95"/>
                  <a:pt x="112" y="95"/>
                </a:cubicBezTo>
                <a:cubicBezTo>
                  <a:pt x="112" y="100"/>
                  <a:pt x="115" y="104"/>
                  <a:pt x="119" y="106"/>
                </a:cubicBezTo>
                <a:cubicBezTo>
                  <a:pt x="144" y="119"/>
                  <a:pt x="144" y="119"/>
                  <a:pt x="144" y="119"/>
                </a:cubicBezTo>
                <a:cubicBezTo>
                  <a:pt x="151" y="122"/>
                  <a:pt x="155" y="129"/>
                  <a:pt x="155" y="136"/>
                </a:cubicBezTo>
                <a:lnTo>
                  <a:pt x="155" y="1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62">
            <a:extLst>
              <a:ext uri="{FF2B5EF4-FFF2-40B4-BE49-F238E27FC236}">
                <a16:creationId xmlns:a16="http://schemas.microsoft.com/office/drawing/2014/main" id="{7B67003F-598F-734A-BB6F-25E00766B08C}"/>
              </a:ext>
            </a:extLst>
          </p:cNvPr>
          <p:cNvSpPr>
            <a:spLocks noEditPoints="1"/>
          </p:cNvSpPr>
          <p:nvPr/>
        </p:nvSpPr>
        <p:spPr bwMode="auto">
          <a:xfrm>
            <a:off x="6894204" y="2473325"/>
            <a:ext cx="601663" cy="522288"/>
          </a:xfrm>
          <a:custGeom>
            <a:avLst/>
            <a:gdLst>
              <a:gd name="T0" fmla="*/ 147 w 160"/>
              <a:gd name="T1" fmla="*/ 9 h 138"/>
              <a:gd name="T2" fmla="*/ 115 w 160"/>
              <a:gd name="T3" fmla="*/ 14 h 138"/>
              <a:gd name="T4" fmla="*/ 14 w 160"/>
              <a:gd name="T5" fmla="*/ 0 h 138"/>
              <a:gd name="T6" fmla="*/ 0 w 160"/>
              <a:gd name="T7" fmla="*/ 79 h 138"/>
              <a:gd name="T8" fmla="*/ 55 w 160"/>
              <a:gd name="T9" fmla="*/ 93 h 138"/>
              <a:gd name="T10" fmla="*/ 37 w 160"/>
              <a:gd name="T11" fmla="*/ 137 h 138"/>
              <a:gd name="T12" fmla="*/ 41 w 160"/>
              <a:gd name="T13" fmla="*/ 136 h 138"/>
              <a:gd name="T14" fmla="*/ 78 w 160"/>
              <a:gd name="T15" fmla="*/ 136 h 138"/>
              <a:gd name="T16" fmla="*/ 81 w 160"/>
              <a:gd name="T17" fmla="*/ 137 h 138"/>
              <a:gd name="T18" fmla="*/ 64 w 160"/>
              <a:gd name="T19" fmla="*/ 93 h 138"/>
              <a:gd name="T20" fmla="*/ 115 w 160"/>
              <a:gd name="T21" fmla="*/ 78 h 138"/>
              <a:gd name="T22" fmla="*/ 147 w 160"/>
              <a:gd name="T23" fmla="*/ 86 h 138"/>
              <a:gd name="T24" fmla="*/ 155 w 160"/>
              <a:gd name="T25" fmla="*/ 88 h 138"/>
              <a:gd name="T26" fmla="*/ 160 w 160"/>
              <a:gd name="T27" fmla="*/ 15 h 138"/>
              <a:gd name="T28" fmla="*/ 109 w 160"/>
              <a:gd name="T29" fmla="*/ 78 h 138"/>
              <a:gd name="T30" fmla="*/ 59 w 160"/>
              <a:gd name="T31" fmla="*/ 87 h 138"/>
              <a:gd name="T32" fmla="*/ 59 w 160"/>
              <a:gd name="T33" fmla="*/ 87 h 138"/>
              <a:gd name="T34" fmla="*/ 13 w 160"/>
              <a:gd name="T35" fmla="*/ 87 h 138"/>
              <a:gd name="T36" fmla="*/ 6 w 160"/>
              <a:gd name="T37" fmla="*/ 14 h 138"/>
              <a:gd name="T38" fmla="*/ 101 w 160"/>
              <a:gd name="T39" fmla="*/ 6 h 138"/>
              <a:gd name="T40" fmla="*/ 109 w 160"/>
              <a:gd name="T41" fmla="*/ 78 h 138"/>
              <a:gd name="T42" fmla="*/ 153 w 160"/>
              <a:gd name="T43" fmla="*/ 82 h 138"/>
              <a:gd name="T44" fmla="*/ 116 w 160"/>
              <a:gd name="T45" fmla="*/ 48 h 138"/>
              <a:gd name="T46" fmla="*/ 116 w 160"/>
              <a:gd name="T47" fmla="*/ 45 h 138"/>
              <a:gd name="T48" fmla="*/ 152 w 160"/>
              <a:gd name="T49" fmla="*/ 12 h 138"/>
              <a:gd name="T50" fmla="*/ 154 w 160"/>
              <a:gd name="T51" fmla="*/ 15 h 138"/>
              <a:gd name="T52" fmla="*/ 51 w 160"/>
              <a:gd name="T53" fmla="*/ 44 h 138"/>
              <a:gd name="T54" fmla="*/ 35 w 160"/>
              <a:gd name="T55" fmla="*/ 17 h 138"/>
              <a:gd name="T56" fmla="*/ 35 w 160"/>
              <a:gd name="T57" fmla="*/ 53 h 138"/>
              <a:gd name="T58" fmla="*/ 51 w 160"/>
              <a:gd name="T59" fmla="*/ 53 h 138"/>
              <a:gd name="T60" fmla="*/ 55 w 160"/>
              <a:gd name="T61" fmla="*/ 53 h 138"/>
              <a:gd name="T62" fmla="*/ 51 w 160"/>
              <a:gd name="T63" fmla="*/ 44 h 138"/>
              <a:gd name="T64" fmla="*/ 22 w 160"/>
              <a:gd name="T65" fmla="*/ 35 h 138"/>
              <a:gd name="T66" fmla="*/ 48 w 160"/>
              <a:gd name="T67" fmla="*/ 35 h 138"/>
              <a:gd name="T68" fmla="*/ 41 w 160"/>
              <a:gd name="T69" fmla="*/ 35 h 138"/>
              <a:gd name="T70" fmla="*/ 37 w 160"/>
              <a:gd name="T71" fmla="*/ 38 h 138"/>
              <a:gd name="T72" fmla="*/ 35 w 160"/>
              <a:gd name="T73" fmla="*/ 4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38">
                <a:moveTo>
                  <a:pt x="155" y="7"/>
                </a:moveTo>
                <a:cubicBezTo>
                  <a:pt x="152" y="6"/>
                  <a:pt x="149" y="7"/>
                  <a:pt x="147" y="9"/>
                </a:cubicBezTo>
                <a:cubicBezTo>
                  <a:pt x="115" y="38"/>
                  <a:pt x="115" y="38"/>
                  <a:pt x="115" y="38"/>
                </a:cubicBezTo>
                <a:cubicBezTo>
                  <a:pt x="115" y="14"/>
                  <a:pt x="115" y="14"/>
                  <a:pt x="115" y="14"/>
                </a:cubicBezTo>
                <a:cubicBezTo>
                  <a:pt x="115" y="6"/>
                  <a:pt x="109" y="0"/>
                  <a:pt x="101" y="0"/>
                </a:cubicBezTo>
                <a:cubicBezTo>
                  <a:pt x="14" y="0"/>
                  <a:pt x="14" y="0"/>
                  <a:pt x="14" y="0"/>
                </a:cubicBezTo>
                <a:cubicBezTo>
                  <a:pt x="6" y="0"/>
                  <a:pt x="0" y="6"/>
                  <a:pt x="0" y="14"/>
                </a:cubicBezTo>
                <a:cubicBezTo>
                  <a:pt x="0" y="79"/>
                  <a:pt x="0" y="79"/>
                  <a:pt x="0" y="79"/>
                </a:cubicBezTo>
                <a:cubicBezTo>
                  <a:pt x="0" y="87"/>
                  <a:pt x="6" y="93"/>
                  <a:pt x="13" y="93"/>
                </a:cubicBezTo>
                <a:cubicBezTo>
                  <a:pt x="55" y="93"/>
                  <a:pt x="55" y="93"/>
                  <a:pt x="55" y="93"/>
                </a:cubicBezTo>
                <a:cubicBezTo>
                  <a:pt x="36" y="134"/>
                  <a:pt x="36" y="134"/>
                  <a:pt x="36" y="134"/>
                </a:cubicBezTo>
                <a:cubicBezTo>
                  <a:pt x="35" y="135"/>
                  <a:pt x="36" y="137"/>
                  <a:pt x="37" y="137"/>
                </a:cubicBezTo>
                <a:cubicBezTo>
                  <a:pt x="38" y="137"/>
                  <a:pt x="38" y="138"/>
                  <a:pt x="38" y="138"/>
                </a:cubicBezTo>
                <a:cubicBezTo>
                  <a:pt x="40" y="138"/>
                  <a:pt x="41" y="137"/>
                  <a:pt x="41" y="136"/>
                </a:cubicBezTo>
                <a:cubicBezTo>
                  <a:pt x="59" y="96"/>
                  <a:pt x="59" y="96"/>
                  <a:pt x="59" y="96"/>
                </a:cubicBezTo>
                <a:cubicBezTo>
                  <a:pt x="78" y="136"/>
                  <a:pt x="78" y="136"/>
                  <a:pt x="78" y="136"/>
                </a:cubicBezTo>
                <a:cubicBezTo>
                  <a:pt x="78" y="137"/>
                  <a:pt x="79" y="138"/>
                  <a:pt x="80" y="138"/>
                </a:cubicBezTo>
                <a:cubicBezTo>
                  <a:pt x="81" y="138"/>
                  <a:pt x="81" y="137"/>
                  <a:pt x="81" y="137"/>
                </a:cubicBezTo>
                <a:cubicBezTo>
                  <a:pt x="83" y="137"/>
                  <a:pt x="83" y="135"/>
                  <a:pt x="83" y="134"/>
                </a:cubicBezTo>
                <a:cubicBezTo>
                  <a:pt x="64" y="93"/>
                  <a:pt x="64" y="93"/>
                  <a:pt x="64" y="93"/>
                </a:cubicBezTo>
                <a:cubicBezTo>
                  <a:pt x="101" y="93"/>
                  <a:pt x="101" y="93"/>
                  <a:pt x="101" y="93"/>
                </a:cubicBezTo>
                <a:cubicBezTo>
                  <a:pt x="109" y="93"/>
                  <a:pt x="115" y="86"/>
                  <a:pt x="115" y="78"/>
                </a:cubicBezTo>
                <a:cubicBezTo>
                  <a:pt x="115" y="56"/>
                  <a:pt x="115" y="56"/>
                  <a:pt x="115" y="56"/>
                </a:cubicBezTo>
                <a:cubicBezTo>
                  <a:pt x="147" y="86"/>
                  <a:pt x="147" y="86"/>
                  <a:pt x="147" y="86"/>
                </a:cubicBezTo>
                <a:cubicBezTo>
                  <a:pt x="148" y="88"/>
                  <a:pt x="150" y="88"/>
                  <a:pt x="152" y="88"/>
                </a:cubicBezTo>
                <a:cubicBezTo>
                  <a:pt x="153" y="88"/>
                  <a:pt x="154" y="88"/>
                  <a:pt x="155" y="88"/>
                </a:cubicBezTo>
                <a:cubicBezTo>
                  <a:pt x="158" y="86"/>
                  <a:pt x="160" y="84"/>
                  <a:pt x="160" y="81"/>
                </a:cubicBezTo>
                <a:cubicBezTo>
                  <a:pt x="160" y="15"/>
                  <a:pt x="160" y="15"/>
                  <a:pt x="160" y="15"/>
                </a:cubicBezTo>
                <a:cubicBezTo>
                  <a:pt x="160" y="11"/>
                  <a:pt x="158" y="9"/>
                  <a:pt x="155" y="7"/>
                </a:cubicBezTo>
                <a:close/>
                <a:moveTo>
                  <a:pt x="109" y="78"/>
                </a:moveTo>
                <a:cubicBezTo>
                  <a:pt x="109" y="83"/>
                  <a:pt x="105" y="87"/>
                  <a:pt x="101" y="87"/>
                </a:cubicBezTo>
                <a:cubicBezTo>
                  <a:pt x="59" y="87"/>
                  <a:pt x="59" y="87"/>
                  <a:pt x="59" y="87"/>
                </a:cubicBezTo>
                <a:cubicBezTo>
                  <a:pt x="59" y="87"/>
                  <a:pt x="59" y="87"/>
                  <a:pt x="59" y="87"/>
                </a:cubicBezTo>
                <a:cubicBezTo>
                  <a:pt x="59" y="87"/>
                  <a:pt x="59" y="87"/>
                  <a:pt x="59" y="87"/>
                </a:cubicBezTo>
                <a:cubicBezTo>
                  <a:pt x="59" y="87"/>
                  <a:pt x="59" y="87"/>
                  <a:pt x="59" y="87"/>
                </a:cubicBezTo>
                <a:cubicBezTo>
                  <a:pt x="13" y="87"/>
                  <a:pt x="13" y="87"/>
                  <a:pt x="13" y="87"/>
                </a:cubicBezTo>
                <a:cubicBezTo>
                  <a:pt x="9" y="87"/>
                  <a:pt x="6" y="84"/>
                  <a:pt x="6" y="79"/>
                </a:cubicBezTo>
                <a:cubicBezTo>
                  <a:pt x="6" y="14"/>
                  <a:pt x="6" y="14"/>
                  <a:pt x="6" y="14"/>
                </a:cubicBezTo>
                <a:cubicBezTo>
                  <a:pt x="6" y="9"/>
                  <a:pt x="9" y="6"/>
                  <a:pt x="14" y="6"/>
                </a:cubicBezTo>
                <a:cubicBezTo>
                  <a:pt x="101" y="6"/>
                  <a:pt x="101" y="6"/>
                  <a:pt x="101" y="6"/>
                </a:cubicBezTo>
                <a:cubicBezTo>
                  <a:pt x="106" y="6"/>
                  <a:pt x="109" y="9"/>
                  <a:pt x="109" y="14"/>
                </a:cubicBezTo>
                <a:lnTo>
                  <a:pt x="109" y="78"/>
                </a:lnTo>
                <a:close/>
                <a:moveTo>
                  <a:pt x="154" y="81"/>
                </a:moveTo>
                <a:cubicBezTo>
                  <a:pt x="154" y="82"/>
                  <a:pt x="153" y="82"/>
                  <a:pt x="153" y="82"/>
                </a:cubicBezTo>
                <a:cubicBezTo>
                  <a:pt x="153" y="83"/>
                  <a:pt x="152" y="83"/>
                  <a:pt x="151" y="82"/>
                </a:cubicBezTo>
                <a:cubicBezTo>
                  <a:pt x="116" y="48"/>
                  <a:pt x="116" y="48"/>
                  <a:pt x="116" y="48"/>
                </a:cubicBezTo>
                <a:cubicBezTo>
                  <a:pt x="115" y="48"/>
                  <a:pt x="115" y="48"/>
                  <a:pt x="115" y="47"/>
                </a:cubicBezTo>
                <a:cubicBezTo>
                  <a:pt x="115" y="46"/>
                  <a:pt x="115" y="46"/>
                  <a:pt x="116" y="45"/>
                </a:cubicBezTo>
                <a:cubicBezTo>
                  <a:pt x="151" y="13"/>
                  <a:pt x="151" y="13"/>
                  <a:pt x="151" y="13"/>
                </a:cubicBezTo>
                <a:cubicBezTo>
                  <a:pt x="151" y="13"/>
                  <a:pt x="152" y="12"/>
                  <a:pt x="152" y="12"/>
                </a:cubicBezTo>
                <a:cubicBezTo>
                  <a:pt x="153" y="12"/>
                  <a:pt x="153" y="13"/>
                  <a:pt x="153" y="13"/>
                </a:cubicBezTo>
                <a:cubicBezTo>
                  <a:pt x="153" y="13"/>
                  <a:pt x="154" y="13"/>
                  <a:pt x="154" y="15"/>
                </a:cubicBezTo>
                <a:lnTo>
                  <a:pt x="154" y="81"/>
                </a:lnTo>
                <a:close/>
                <a:moveTo>
                  <a:pt x="51" y="44"/>
                </a:moveTo>
                <a:cubicBezTo>
                  <a:pt x="52" y="41"/>
                  <a:pt x="53" y="38"/>
                  <a:pt x="53" y="35"/>
                </a:cubicBezTo>
                <a:cubicBezTo>
                  <a:pt x="53" y="25"/>
                  <a:pt x="45" y="17"/>
                  <a:pt x="35" y="17"/>
                </a:cubicBezTo>
                <a:cubicBezTo>
                  <a:pt x="25" y="17"/>
                  <a:pt x="17" y="25"/>
                  <a:pt x="17" y="35"/>
                </a:cubicBezTo>
                <a:cubicBezTo>
                  <a:pt x="17" y="45"/>
                  <a:pt x="25" y="53"/>
                  <a:pt x="35" y="53"/>
                </a:cubicBezTo>
                <a:cubicBezTo>
                  <a:pt x="40" y="53"/>
                  <a:pt x="44" y="52"/>
                  <a:pt x="47" y="49"/>
                </a:cubicBezTo>
                <a:cubicBezTo>
                  <a:pt x="51" y="53"/>
                  <a:pt x="51" y="53"/>
                  <a:pt x="51" y="53"/>
                </a:cubicBezTo>
                <a:cubicBezTo>
                  <a:pt x="52" y="53"/>
                  <a:pt x="53" y="53"/>
                  <a:pt x="53" y="53"/>
                </a:cubicBezTo>
                <a:cubicBezTo>
                  <a:pt x="54" y="53"/>
                  <a:pt x="55" y="53"/>
                  <a:pt x="55" y="53"/>
                </a:cubicBezTo>
                <a:cubicBezTo>
                  <a:pt x="56" y="51"/>
                  <a:pt x="56" y="50"/>
                  <a:pt x="55" y="49"/>
                </a:cubicBezTo>
                <a:lnTo>
                  <a:pt x="51" y="44"/>
                </a:lnTo>
                <a:close/>
                <a:moveTo>
                  <a:pt x="35" y="48"/>
                </a:moveTo>
                <a:cubicBezTo>
                  <a:pt x="28" y="48"/>
                  <a:pt x="22" y="42"/>
                  <a:pt x="22" y="35"/>
                </a:cubicBezTo>
                <a:cubicBezTo>
                  <a:pt x="22" y="28"/>
                  <a:pt x="28" y="22"/>
                  <a:pt x="35" y="22"/>
                </a:cubicBezTo>
                <a:cubicBezTo>
                  <a:pt x="42" y="22"/>
                  <a:pt x="48" y="28"/>
                  <a:pt x="48" y="35"/>
                </a:cubicBezTo>
                <a:cubicBezTo>
                  <a:pt x="48" y="37"/>
                  <a:pt x="47" y="38"/>
                  <a:pt x="47" y="40"/>
                </a:cubicBezTo>
                <a:cubicBezTo>
                  <a:pt x="41" y="35"/>
                  <a:pt x="41" y="35"/>
                  <a:pt x="41" y="35"/>
                </a:cubicBezTo>
                <a:cubicBezTo>
                  <a:pt x="40" y="33"/>
                  <a:pt x="38" y="33"/>
                  <a:pt x="37" y="35"/>
                </a:cubicBezTo>
                <a:cubicBezTo>
                  <a:pt x="36" y="36"/>
                  <a:pt x="36" y="37"/>
                  <a:pt x="37" y="38"/>
                </a:cubicBezTo>
                <a:cubicBezTo>
                  <a:pt x="43" y="45"/>
                  <a:pt x="43" y="45"/>
                  <a:pt x="43" y="45"/>
                </a:cubicBezTo>
                <a:cubicBezTo>
                  <a:pt x="41" y="46"/>
                  <a:pt x="38" y="48"/>
                  <a:pt x="35" y="4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63">
            <a:extLst>
              <a:ext uri="{FF2B5EF4-FFF2-40B4-BE49-F238E27FC236}">
                <a16:creationId xmlns:a16="http://schemas.microsoft.com/office/drawing/2014/main" id="{FD2A5BEA-33BB-E146-9F0D-D4A9FE04BE87}"/>
              </a:ext>
            </a:extLst>
          </p:cNvPr>
          <p:cNvSpPr>
            <a:spLocks noEditPoints="1"/>
          </p:cNvSpPr>
          <p:nvPr/>
        </p:nvSpPr>
        <p:spPr bwMode="auto">
          <a:xfrm>
            <a:off x="6894204" y="3200400"/>
            <a:ext cx="601663" cy="431800"/>
          </a:xfrm>
          <a:custGeom>
            <a:avLst/>
            <a:gdLst>
              <a:gd name="T0" fmla="*/ 155 w 160"/>
              <a:gd name="T1" fmla="*/ 23 h 114"/>
              <a:gd name="T2" fmla="*/ 145 w 160"/>
              <a:gd name="T3" fmla="*/ 22 h 114"/>
              <a:gd name="T4" fmla="*/ 124 w 160"/>
              <a:gd name="T5" fmla="*/ 32 h 114"/>
              <a:gd name="T6" fmla="*/ 124 w 160"/>
              <a:gd name="T7" fmla="*/ 32 h 114"/>
              <a:gd name="T8" fmla="*/ 114 w 160"/>
              <a:gd name="T9" fmla="*/ 22 h 114"/>
              <a:gd name="T10" fmla="*/ 101 w 160"/>
              <a:gd name="T11" fmla="*/ 22 h 114"/>
              <a:gd name="T12" fmla="*/ 101 w 160"/>
              <a:gd name="T13" fmla="*/ 8 h 114"/>
              <a:gd name="T14" fmla="*/ 93 w 160"/>
              <a:gd name="T15" fmla="*/ 0 h 114"/>
              <a:gd name="T16" fmla="*/ 3 w 160"/>
              <a:gd name="T17" fmla="*/ 0 h 114"/>
              <a:gd name="T18" fmla="*/ 0 w 160"/>
              <a:gd name="T19" fmla="*/ 3 h 114"/>
              <a:gd name="T20" fmla="*/ 3 w 160"/>
              <a:gd name="T21" fmla="*/ 6 h 114"/>
              <a:gd name="T22" fmla="*/ 93 w 160"/>
              <a:gd name="T23" fmla="*/ 6 h 114"/>
              <a:gd name="T24" fmla="*/ 95 w 160"/>
              <a:gd name="T25" fmla="*/ 8 h 114"/>
              <a:gd name="T26" fmla="*/ 95 w 160"/>
              <a:gd name="T27" fmla="*/ 22 h 114"/>
              <a:gd name="T28" fmla="*/ 9 w 160"/>
              <a:gd name="T29" fmla="*/ 22 h 114"/>
              <a:gd name="T30" fmla="*/ 0 w 160"/>
              <a:gd name="T31" fmla="*/ 32 h 114"/>
              <a:gd name="T32" fmla="*/ 0 w 160"/>
              <a:gd name="T33" fmla="*/ 103 h 114"/>
              <a:gd name="T34" fmla="*/ 9 w 160"/>
              <a:gd name="T35" fmla="*/ 112 h 114"/>
              <a:gd name="T36" fmla="*/ 114 w 160"/>
              <a:gd name="T37" fmla="*/ 112 h 114"/>
              <a:gd name="T38" fmla="*/ 124 w 160"/>
              <a:gd name="T39" fmla="*/ 103 h 114"/>
              <a:gd name="T40" fmla="*/ 124 w 160"/>
              <a:gd name="T41" fmla="*/ 103 h 114"/>
              <a:gd name="T42" fmla="*/ 145 w 160"/>
              <a:gd name="T43" fmla="*/ 113 h 114"/>
              <a:gd name="T44" fmla="*/ 149 w 160"/>
              <a:gd name="T45" fmla="*/ 114 h 114"/>
              <a:gd name="T46" fmla="*/ 155 w 160"/>
              <a:gd name="T47" fmla="*/ 112 h 114"/>
              <a:gd name="T48" fmla="*/ 160 w 160"/>
              <a:gd name="T49" fmla="*/ 103 h 114"/>
              <a:gd name="T50" fmla="*/ 160 w 160"/>
              <a:gd name="T51" fmla="*/ 32 h 114"/>
              <a:gd name="T52" fmla="*/ 155 w 160"/>
              <a:gd name="T53" fmla="*/ 23 h 114"/>
              <a:gd name="T54" fmla="*/ 118 w 160"/>
              <a:gd name="T55" fmla="*/ 103 h 114"/>
              <a:gd name="T56" fmla="*/ 114 w 160"/>
              <a:gd name="T57" fmla="*/ 107 h 114"/>
              <a:gd name="T58" fmla="*/ 9 w 160"/>
              <a:gd name="T59" fmla="*/ 107 h 114"/>
              <a:gd name="T60" fmla="*/ 6 w 160"/>
              <a:gd name="T61" fmla="*/ 103 h 114"/>
              <a:gd name="T62" fmla="*/ 6 w 160"/>
              <a:gd name="T63" fmla="*/ 32 h 114"/>
              <a:gd name="T64" fmla="*/ 9 w 160"/>
              <a:gd name="T65" fmla="*/ 28 h 114"/>
              <a:gd name="T66" fmla="*/ 114 w 160"/>
              <a:gd name="T67" fmla="*/ 28 h 114"/>
              <a:gd name="T68" fmla="*/ 118 w 160"/>
              <a:gd name="T69" fmla="*/ 32 h 114"/>
              <a:gd name="T70" fmla="*/ 118 w 160"/>
              <a:gd name="T71" fmla="*/ 35 h 114"/>
              <a:gd name="T72" fmla="*/ 118 w 160"/>
              <a:gd name="T73" fmla="*/ 100 h 114"/>
              <a:gd name="T74" fmla="*/ 118 w 160"/>
              <a:gd name="T75" fmla="*/ 103 h 114"/>
              <a:gd name="T76" fmla="*/ 154 w 160"/>
              <a:gd name="T77" fmla="*/ 103 h 114"/>
              <a:gd name="T78" fmla="*/ 152 w 160"/>
              <a:gd name="T79" fmla="*/ 107 h 114"/>
              <a:gd name="T80" fmla="*/ 147 w 160"/>
              <a:gd name="T81" fmla="*/ 107 h 114"/>
              <a:gd name="T82" fmla="*/ 124 w 160"/>
              <a:gd name="T83" fmla="*/ 96 h 114"/>
              <a:gd name="T84" fmla="*/ 124 w 160"/>
              <a:gd name="T85" fmla="*/ 38 h 114"/>
              <a:gd name="T86" fmla="*/ 147 w 160"/>
              <a:gd name="T87" fmla="*/ 27 h 114"/>
              <a:gd name="T88" fmla="*/ 152 w 160"/>
              <a:gd name="T89" fmla="*/ 28 h 114"/>
              <a:gd name="T90" fmla="*/ 154 w 160"/>
              <a:gd name="T91" fmla="*/ 32 h 114"/>
              <a:gd name="T92" fmla="*/ 154 w 160"/>
              <a:gd name="T93" fmla="*/ 10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14">
                <a:moveTo>
                  <a:pt x="155" y="23"/>
                </a:moveTo>
                <a:cubicBezTo>
                  <a:pt x="152" y="21"/>
                  <a:pt x="148" y="21"/>
                  <a:pt x="145" y="22"/>
                </a:cubicBezTo>
                <a:cubicBezTo>
                  <a:pt x="124" y="32"/>
                  <a:pt x="124" y="32"/>
                  <a:pt x="124" y="32"/>
                </a:cubicBezTo>
                <a:cubicBezTo>
                  <a:pt x="124" y="32"/>
                  <a:pt x="124" y="32"/>
                  <a:pt x="124" y="32"/>
                </a:cubicBezTo>
                <a:cubicBezTo>
                  <a:pt x="124" y="27"/>
                  <a:pt x="119" y="22"/>
                  <a:pt x="114" y="22"/>
                </a:cubicBezTo>
                <a:cubicBezTo>
                  <a:pt x="101" y="22"/>
                  <a:pt x="101" y="22"/>
                  <a:pt x="101" y="22"/>
                </a:cubicBezTo>
                <a:cubicBezTo>
                  <a:pt x="101" y="8"/>
                  <a:pt x="101" y="8"/>
                  <a:pt x="101" y="8"/>
                </a:cubicBezTo>
                <a:cubicBezTo>
                  <a:pt x="101" y="4"/>
                  <a:pt x="97" y="0"/>
                  <a:pt x="93" y="0"/>
                </a:cubicBezTo>
                <a:cubicBezTo>
                  <a:pt x="3" y="0"/>
                  <a:pt x="3" y="0"/>
                  <a:pt x="3" y="0"/>
                </a:cubicBezTo>
                <a:cubicBezTo>
                  <a:pt x="1" y="0"/>
                  <a:pt x="0" y="1"/>
                  <a:pt x="0" y="3"/>
                </a:cubicBezTo>
                <a:cubicBezTo>
                  <a:pt x="0" y="4"/>
                  <a:pt x="1" y="6"/>
                  <a:pt x="3" y="6"/>
                </a:cubicBezTo>
                <a:cubicBezTo>
                  <a:pt x="93" y="6"/>
                  <a:pt x="93" y="6"/>
                  <a:pt x="93" y="6"/>
                </a:cubicBezTo>
                <a:cubicBezTo>
                  <a:pt x="94" y="6"/>
                  <a:pt x="95" y="7"/>
                  <a:pt x="95" y="8"/>
                </a:cubicBezTo>
                <a:cubicBezTo>
                  <a:pt x="95" y="22"/>
                  <a:pt x="95" y="22"/>
                  <a:pt x="95" y="22"/>
                </a:cubicBezTo>
                <a:cubicBezTo>
                  <a:pt x="9" y="22"/>
                  <a:pt x="9" y="22"/>
                  <a:pt x="9" y="22"/>
                </a:cubicBezTo>
                <a:cubicBezTo>
                  <a:pt x="4" y="22"/>
                  <a:pt x="0" y="27"/>
                  <a:pt x="0" y="32"/>
                </a:cubicBezTo>
                <a:cubicBezTo>
                  <a:pt x="0" y="103"/>
                  <a:pt x="0" y="103"/>
                  <a:pt x="0" y="103"/>
                </a:cubicBezTo>
                <a:cubicBezTo>
                  <a:pt x="0" y="108"/>
                  <a:pt x="4" y="112"/>
                  <a:pt x="9" y="112"/>
                </a:cubicBezTo>
                <a:cubicBezTo>
                  <a:pt x="114" y="112"/>
                  <a:pt x="114" y="112"/>
                  <a:pt x="114" y="112"/>
                </a:cubicBezTo>
                <a:cubicBezTo>
                  <a:pt x="119" y="112"/>
                  <a:pt x="124" y="108"/>
                  <a:pt x="124" y="103"/>
                </a:cubicBezTo>
                <a:cubicBezTo>
                  <a:pt x="124" y="103"/>
                  <a:pt x="124" y="103"/>
                  <a:pt x="124" y="103"/>
                </a:cubicBezTo>
                <a:cubicBezTo>
                  <a:pt x="145" y="113"/>
                  <a:pt x="145" y="113"/>
                  <a:pt x="145" y="113"/>
                </a:cubicBezTo>
                <a:cubicBezTo>
                  <a:pt x="146" y="113"/>
                  <a:pt x="148" y="114"/>
                  <a:pt x="149" y="114"/>
                </a:cubicBezTo>
                <a:cubicBezTo>
                  <a:pt x="151" y="114"/>
                  <a:pt x="153" y="113"/>
                  <a:pt x="155" y="112"/>
                </a:cubicBezTo>
                <a:cubicBezTo>
                  <a:pt x="158" y="110"/>
                  <a:pt x="160" y="107"/>
                  <a:pt x="160" y="103"/>
                </a:cubicBezTo>
                <a:cubicBezTo>
                  <a:pt x="160" y="32"/>
                  <a:pt x="160" y="32"/>
                  <a:pt x="160" y="32"/>
                </a:cubicBezTo>
                <a:cubicBezTo>
                  <a:pt x="160" y="28"/>
                  <a:pt x="158" y="25"/>
                  <a:pt x="155" y="23"/>
                </a:cubicBezTo>
                <a:close/>
                <a:moveTo>
                  <a:pt x="118" y="103"/>
                </a:moveTo>
                <a:cubicBezTo>
                  <a:pt x="118" y="105"/>
                  <a:pt x="116" y="107"/>
                  <a:pt x="114" y="107"/>
                </a:cubicBezTo>
                <a:cubicBezTo>
                  <a:pt x="9" y="107"/>
                  <a:pt x="9" y="107"/>
                  <a:pt x="9" y="107"/>
                </a:cubicBezTo>
                <a:cubicBezTo>
                  <a:pt x="7" y="107"/>
                  <a:pt x="6" y="105"/>
                  <a:pt x="6" y="103"/>
                </a:cubicBezTo>
                <a:cubicBezTo>
                  <a:pt x="6" y="32"/>
                  <a:pt x="6" y="32"/>
                  <a:pt x="6" y="32"/>
                </a:cubicBezTo>
                <a:cubicBezTo>
                  <a:pt x="6" y="30"/>
                  <a:pt x="7" y="28"/>
                  <a:pt x="9" y="28"/>
                </a:cubicBezTo>
                <a:cubicBezTo>
                  <a:pt x="114" y="28"/>
                  <a:pt x="114" y="28"/>
                  <a:pt x="114" y="28"/>
                </a:cubicBezTo>
                <a:cubicBezTo>
                  <a:pt x="116" y="28"/>
                  <a:pt x="118" y="30"/>
                  <a:pt x="118" y="32"/>
                </a:cubicBezTo>
                <a:cubicBezTo>
                  <a:pt x="118" y="35"/>
                  <a:pt x="118" y="35"/>
                  <a:pt x="118" y="35"/>
                </a:cubicBezTo>
                <a:cubicBezTo>
                  <a:pt x="118" y="100"/>
                  <a:pt x="118" y="100"/>
                  <a:pt x="118" y="100"/>
                </a:cubicBezTo>
                <a:lnTo>
                  <a:pt x="118" y="103"/>
                </a:lnTo>
                <a:close/>
                <a:moveTo>
                  <a:pt x="154" y="103"/>
                </a:moveTo>
                <a:cubicBezTo>
                  <a:pt x="154" y="105"/>
                  <a:pt x="154" y="106"/>
                  <a:pt x="152" y="107"/>
                </a:cubicBezTo>
                <a:cubicBezTo>
                  <a:pt x="151" y="108"/>
                  <a:pt x="149" y="108"/>
                  <a:pt x="147" y="107"/>
                </a:cubicBezTo>
                <a:cubicBezTo>
                  <a:pt x="124" y="96"/>
                  <a:pt x="124" y="96"/>
                  <a:pt x="124" y="96"/>
                </a:cubicBezTo>
                <a:cubicBezTo>
                  <a:pt x="124" y="38"/>
                  <a:pt x="124" y="38"/>
                  <a:pt x="124" y="38"/>
                </a:cubicBezTo>
                <a:cubicBezTo>
                  <a:pt x="147" y="27"/>
                  <a:pt x="147" y="27"/>
                  <a:pt x="147" y="27"/>
                </a:cubicBezTo>
                <a:cubicBezTo>
                  <a:pt x="149" y="27"/>
                  <a:pt x="151" y="27"/>
                  <a:pt x="152" y="28"/>
                </a:cubicBezTo>
                <a:cubicBezTo>
                  <a:pt x="154" y="29"/>
                  <a:pt x="154" y="30"/>
                  <a:pt x="154" y="32"/>
                </a:cubicBezTo>
                <a:lnTo>
                  <a:pt x="154" y="10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64">
            <a:extLst>
              <a:ext uri="{FF2B5EF4-FFF2-40B4-BE49-F238E27FC236}">
                <a16:creationId xmlns:a16="http://schemas.microsoft.com/office/drawing/2014/main" id="{FD723681-D860-094C-A332-40FEE2694799}"/>
              </a:ext>
            </a:extLst>
          </p:cNvPr>
          <p:cNvSpPr>
            <a:spLocks noEditPoints="1"/>
          </p:cNvSpPr>
          <p:nvPr/>
        </p:nvSpPr>
        <p:spPr bwMode="auto">
          <a:xfrm>
            <a:off x="6894204" y="3865563"/>
            <a:ext cx="601663" cy="481013"/>
          </a:xfrm>
          <a:custGeom>
            <a:avLst/>
            <a:gdLst>
              <a:gd name="T0" fmla="*/ 130 w 160"/>
              <a:gd name="T1" fmla="*/ 0 h 127"/>
              <a:gd name="T2" fmla="*/ 3 w 160"/>
              <a:gd name="T3" fmla="*/ 0 h 127"/>
              <a:gd name="T4" fmla="*/ 0 w 160"/>
              <a:gd name="T5" fmla="*/ 33 h 127"/>
              <a:gd name="T6" fmla="*/ 0 w 160"/>
              <a:gd name="T7" fmla="*/ 94 h 127"/>
              <a:gd name="T8" fmla="*/ 3 w 160"/>
              <a:gd name="T9" fmla="*/ 127 h 127"/>
              <a:gd name="T10" fmla="*/ 130 w 160"/>
              <a:gd name="T11" fmla="*/ 127 h 127"/>
              <a:gd name="T12" fmla="*/ 160 w 160"/>
              <a:gd name="T13" fmla="*/ 124 h 127"/>
              <a:gd name="T14" fmla="*/ 160 w 160"/>
              <a:gd name="T15" fmla="*/ 63 h 127"/>
              <a:gd name="T16" fmla="*/ 160 w 160"/>
              <a:gd name="T17" fmla="*/ 3 h 127"/>
              <a:gd name="T18" fmla="*/ 154 w 160"/>
              <a:gd name="T19" fmla="*/ 61 h 127"/>
              <a:gd name="T20" fmla="*/ 132 w 160"/>
              <a:gd name="T21" fmla="*/ 36 h 127"/>
              <a:gd name="T22" fmla="*/ 154 w 160"/>
              <a:gd name="T23" fmla="*/ 61 h 127"/>
              <a:gd name="T24" fmla="*/ 127 w 160"/>
              <a:gd name="T25" fmla="*/ 61 h 127"/>
              <a:gd name="T26" fmla="*/ 33 w 160"/>
              <a:gd name="T27" fmla="*/ 33 h 127"/>
              <a:gd name="T28" fmla="*/ 127 w 160"/>
              <a:gd name="T29" fmla="*/ 6 h 127"/>
              <a:gd name="T30" fmla="*/ 28 w 160"/>
              <a:gd name="T31" fmla="*/ 61 h 127"/>
              <a:gd name="T32" fmla="*/ 6 w 160"/>
              <a:gd name="T33" fmla="*/ 36 h 127"/>
              <a:gd name="T34" fmla="*/ 28 w 160"/>
              <a:gd name="T35" fmla="*/ 61 h 127"/>
              <a:gd name="T36" fmla="*/ 28 w 160"/>
              <a:gd name="T37" fmla="*/ 66 h 127"/>
              <a:gd name="T38" fmla="*/ 6 w 160"/>
              <a:gd name="T39" fmla="*/ 91 h 127"/>
              <a:gd name="T40" fmla="*/ 33 w 160"/>
              <a:gd name="T41" fmla="*/ 94 h 127"/>
              <a:gd name="T42" fmla="*/ 127 w 160"/>
              <a:gd name="T43" fmla="*/ 66 h 127"/>
              <a:gd name="T44" fmla="*/ 127 w 160"/>
              <a:gd name="T45" fmla="*/ 121 h 127"/>
              <a:gd name="T46" fmla="*/ 33 w 160"/>
              <a:gd name="T47" fmla="*/ 94 h 127"/>
              <a:gd name="T48" fmla="*/ 154 w 160"/>
              <a:gd name="T49" fmla="*/ 66 h 127"/>
              <a:gd name="T50" fmla="*/ 132 w 160"/>
              <a:gd name="T51" fmla="*/ 91 h 127"/>
              <a:gd name="T52" fmla="*/ 154 w 160"/>
              <a:gd name="T53" fmla="*/ 6 h 127"/>
              <a:gd name="T54" fmla="*/ 132 w 160"/>
              <a:gd name="T55" fmla="*/ 30 h 127"/>
              <a:gd name="T56" fmla="*/ 154 w 160"/>
              <a:gd name="T57" fmla="*/ 6 h 127"/>
              <a:gd name="T58" fmla="*/ 28 w 160"/>
              <a:gd name="T59" fmla="*/ 6 h 127"/>
              <a:gd name="T60" fmla="*/ 6 w 160"/>
              <a:gd name="T61" fmla="*/ 30 h 127"/>
              <a:gd name="T62" fmla="*/ 6 w 160"/>
              <a:gd name="T63" fmla="*/ 121 h 127"/>
              <a:gd name="T64" fmla="*/ 28 w 160"/>
              <a:gd name="T65" fmla="*/ 97 h 127"/>
              <a:gd name="T66" fmla="*/ 6 w 160"/>
              <a:gd name="T67" fmla="*/ 121 h 127"/>
              <a:gd name="T68" fmla="*/ 132 w 160"/>
              <a:gd name="T69" fmla="*/ 121 h 127"/>
              <a:gd name="T70" fmla="*/ 154 w 160"/>
              <a:gd name="T71" fmla="*/ 9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27">
                <a:moveTo>
                  <a:pt x="157" y="0"/>
                </a:moveTo>
                <a:cubicBezTo>
                  <a:pt x="130" y="0"/>
                  <a:pt x="130" y="0"/>
                  <a:pt x="130" y="0"/>
                </a:cubicBezTo>
                <a:cubicBezTo>
                  <a:pt x="30" y="0"/>
                  <a:pt x="30" y="0"/>
                  <a:pt x="30" y="0"/>
                </a:cubicBezTo>
                <a:cubicBezTo>
                  <a:pt x="3" y="0"/>
                  <a:pt x="3" y="0"/>
                  <a:pt x="3" y="0"/>
                </a:cubicBezTo>
                <a:cubicBezTo>
                  <a:pt x="1" y="0"/>
                  <a:pt x="0" y="1"/>
                  <a:pt x="0" y="3"/>
                </a:cubicBezTo>
                <a:cubicBezTo>
                  <a:pt x="0" y="33"/>
                  <a:pt x="0" y="33"/>
                  <a:pt x="0" y="33"/>
                </a:cubicBezTo>
                <a:cubicBezTo>
                  <a:pt x="0" y="63"/>
                  <a:pt x="0" y="63"/>
                  <a:pt x="0" y="63"/>
                </a:cubicBezTo>
                <a:cubicBezTo>
                  <a:pt x="0" y="94"/>
                  <a:pt x="0" y="94"/>
                  <a:pt x="0" y="94"/>
                </a:cubicBezTo>
                <a:cubicBezTo>
                  <a:pt x="0" y="124"/>
                  <a:pt x="0" y="124"/>
                  <a:pt x="0" y="124"/>
                </a:cubicBezTo>
                <a:cubicBezTo>
                  <a:pt x="0" y="126"/>
                  <a:pt x="1" y="127"/>
                  <a:pt x="3" y="127"/>
                </a:cubicBezTo>
                <a:cubicBezTo>
                  <a:pt x="30" y="127"/>
                  <a:pt x="30" y="127"/>
                  <a:pt x="30" y="127"/>
                </a:cubicBezTo>
                <a:cubicBezTo>
                  <a:pt x="130" y="127"/>
                  <a:pt x="130" y="127"/>
                  <a:pt x="130" y="127"/>
                </a:cubicBezTo>
                <a:cubicBezTo>
                  <a:pt x="157" y="127"/>
                  <a:pt x="157" y="127"/>
                  <a:pt x="157" y="127"/>
                </a:cubicBezTo>
                <a:cubicBezTo>
                  <a:pt x="159" y="127"/>
                  <a:pt x="160" y="126"/>
                  <a:pt x="160" y="124"/>
                </a:cubicBezTo>
                <a:cubicBezTo>
                  <a:pt x="160" y="94"/>
                  <a:pt x="160" y="94"/>
                  <a:pt x="160" y="94"/>
                </a:cubicBezTo>
                <a:cubicBezTo>
                  <a:pt x="160" y="63"/>
                  <a:pt x="160" y="63"/>
                  <a:pt x="160" y="63"/>
                </a:cubicBezTo>
                <a:cubicBezTo>
                  <a:pt x="160" y="33"/>
                  <a:pt x="160" y="33"/>
                  <a:pt x="160" y="33"/>
                </a:cubicBezTo>
                <a:cubicBezTo>
                  <a:pt x="160" y="3"/>
                  <a:pt x="160" y="3"/>
                  <a:pt x="160" y="3"/>
                </a:cubicBezTo>
                <a:cubicBezTo>
                  <a:pt x="160" y="1"/>
                  <a:pt x="159" y="0"/>
                  <a:pt x="157" y="0"/>
                </a:cubicBezTo>
                <a:close/>
                <a:moveTo>
                  <a:pt x="154" y="61"/>
                </a:moveTo>
                <a:cubicBezTo>
                  <a:pt x="132" y="61"/>
                  <a:pt x="132" y="61"/>
                  <a:pt x="132" y="61"/>
                </a:cubicBezTo>
                <a:cubicBezTo>
                  <a:pt x="132" y="36"/>
                  <a:pt x="132" y="36"/>
                  <a:pt x="132" y="36"/>
                </a:cubicBezTo>
                <a:cubicBezTo>
                  <a:pt x="154" y="36"/>
                  <a:pt x="154" y="36"/>
                  <a:pt x="154" y="36"/>
                </a:cubicBezTo>
                <a:lnTo>
                  <a:pt x="154" y="61"/>
                </a:lnTo>
                <a:close/>
                <a:moveTo>
                  <a:pt x="127" y="33"/>
                </a:moveTo>
                <a:cubicBezTo>
                  <a:pt x="127" y="61"/>
                  <a:pt x="127" y="61"/>
                  <a:pt x="127" y="61"/>
                </a:cubicBezTo>
                <a:cubicBezTo>
                  <a:pt x="33" y="61"/>
                  <a:pt x="33" y="61"/>
                  <a:pt x="33" y="61"/>
                </a:cubicBezTo>
                <a:cubicBezTo>
                  <a:pt x="33" y="33"/>
                  <a:pt x="33" y="33"/>
                  <a:pt x="33" y="33"/>
                </a:cubicBezTo>
                <a:cubicBezTo>
                  <a:pt x="33" y="6"/>
                  <a:pt x="33" y="6"/>
                  <a:pt x="33" y="6"/>
                </a:cubicBezTo>
                <a:cubicBezTo>
                  <a:pt x="127" y="6"/>
                  <a:pt x="127" y="6"/>
                  <a:pt x="127" y="6"/>
                </a:cubicBezTo>
                <a:lnTo>
                  <a:pt x="127" y="33"/>
                </a:lnTo>
                <a:close/>
                <a:moveTo>
                  <a:pt x="28" y="61"/>
                </a:moveTo>
                <a:cubicBezTo>
                  <a:pt x="6" y="61"/>
                  <a:pt x="6" y="61"/>
                  <a:pt x="6" y="61"/>
                </a:cubicBezTo>
                <a:cubicBezTo>
                  <a:pt x="6" y="36"/>
                  <a:pt x="6" y="36"/>
                  <a:pt x="6" y="36"/>
                </a:cubicBezTo>
                <a:cubicBezTo>
                  <a:pt x="28" y="36"/>
                  <a:pt x="28" y="36"/>
                  <a:pt x="28" y="36"/>
                </a:cubicBezTo>
                <a:lnTo>
                  <a:pt x="28" y="61"/>
                </a:lnTo>
                <a:close/>
                <a:moveTo>
                  <a:pt x="6" y="66"/>
                </a:moveTo>
                <a:cubicBezTo>
                  <a:pt x="28" y="66"/>
                  <a:pt x="28" y="66"/>
                  <a:pt x="28" y="66"/>
                </a:cubicBezTo>
                <a:cubicBezTo>
                  <a:pt x="28" y="91"/>
                  <a:pt x="28" y="91"/>
                  <a:pt x="28" y="91"/>
                </a:cubicBezTo>
                <a:cubicBezTo>
                  <a:pt x="6" y="91"/>
                  <a:pt x="6" y="91"/>
                  <a:pt x="6" y="91"/>
                </a:cubicBezTo>
                <a:lnTo>
                  <a:pt x="6" y="66"/>
                </a:lnTo>
                <a:close/>
                <a:moveTo>
                  <a:pt x="33" y="94"/>
                </a:moveTo>
                <a:cubicBezTo>
                  <a:pt x="33" y="66"/>
                  <a:pt x="33" y="66"/>
                  <a:pt x="33" y="66"/>
                </a:cubicBezTo>
                <a:cubicBezTo>
                  <a:pt x="127" y="66"/>
                  <a:pt x="127" y="66"/>
                  <a:pt x="127" y="66"/>
                </a:cubicBezTo>
                <a:cubicBezTo>
                  <a:pt x="127" y="94"/>
                  <a:pt x="127" y="94"/>
                  <a:pt x="127" y="94"/>
                </a:cubicBezTo>
                <a:cubicBezTo>
                  <a:pt x="127" y="121"/>
                  <a:pt x="127" y="121"/>
                  <a:pt x="127" y="121"/>
                </a:cubicBezTo>
                <a:cubicBezTo>
                  <a:pt x="33" y="121"/>
                  <a:pt x="33" y="121"/>
                  <a:pt x="33" y="121"/>
                </a:cubicBezTo>
                <a:lnTo>
                  <a:pt x="33" y="94"/>
                </a:lnTo>
                <a:close/>
                <a:moveTo>
                  <a:pt x="132" y="66"/>
                </a:moveTo>
                <a:cubicBezTo>
                  <a:pt x="154" y="66"/>
                  <a:pt x="154" y="66"/>
                  <a:pt x="154" y="66"/>
                </a:cubicBezTo>
                <a:cubicBezTo>
                  <a:pt x="154" y="91"/>
                  <a:pt x="154" y="91"/>
                  <a:pt x="154" y="91"/>
                </a:cubicBezTo>
                <a:cubicBezTo>
                  <a:pt x="132" y="91"/>
                  <a:pt x="132" y="91"/>
                  <a:pt x="132" y="91"/>
                </a:cubicBezTo>
                <a:lnTo>
                  <a:pt x="132" y="66"/>
                </a:lnTo>
                <a:close/>
                <a:moveTo>
                  <a:pt x="154" y="6"/>
                </a:moveTo>
                <a:cubicBezTo>
                  <a:pt x="154" y="30"/>
                  <a:pt x="154" y="30"/>
                  <a:pt x="154" y="30"/>
                </a:cubicBezTo>
                <a:cubicBezTo>
                  <a:pt x="132" y="30"/>
                  <a:pt x="132" y="30"/>
                  <a:pt x="132" y="30"/>
                </a:cubicBezTo>
                <a:cubicBezTo>
                  <a:pt x="132" y="6"/>
                  <a:pt x="132" y="6"/>
                  <a:pt x="132" y="6"/>
                </a:cubicBezTo>
                <a:lnTo>
                  <a:pt x="154" y="6"/>
                </a:lnTo>
                <a:close/>
                <a:moveTo>
                  <a:pt x="6" y="6"/>
                </a:moveTo>
                <a:cubicBezTo>
                  <a:pt x="28" y="6"/>
                  <a:pt x="28" y="6"/>
                  <a:pt x="28" y="6"/>
                </a:cubicBezTo>
                <a:cubicBezTo>
                  <a:pt x="28" y="30"/>
                  <a:pt x="28" y="30"/>
                  <a:pt x="28" y="30"/>
                </a:cubicBezTo>
                <a:cubicBezTo>
                  <a:pt x="6" y="30"/>
                  <a:pt x="6" y="30"/>
                  <a:pt x="6" y="30"/>
                </a:cubicBezTo>
                <a:lnTo>
                  <a:pt x="6" y="6"/>
                </a:lnTo>
                <a:close/>
                <a:moveTo>
                  <a:pt x="6" y="121"/>
                </a:moveTo>
                <a:cubicBezTo>
                  <a:pt x="6" y="97"/>
                  <a:pt x="6" y="97"/>
                  <a:pt x="6" y="97"/>
                </a:cubicBezTo>
                <a:cubicBezTo>
                  <a:pt x="28" y="97"/>
                  <a:pt x="28" y="97"/>
                  <a:pt x="28" y="97"/>
                </a:cubicBezTo>
                <a:cubicBezTo>
                  <a:pt x="28" y="121"/>
                  <a:pt x="28" y="121"/>
                  <a:pt x="28" y="121"/>
                </a:cubicBezTo>
                <a:lnTo>
                  <a:pt x="6" y="121"/>
                </a:lnTo>
                <a:close/>
                <a:moveTo>
                  <a:pt x="154" y="121"/>
                </a:moveTo>
                <a:cubicBezTo>
                  <a:pt x="132" y="121"/>
                  <a:pt x="132" y="121"/>
                  <a:pt x="132" y="121"/>
                </a:cubicBezTo>
                <a:cubicBezTo>
                  <a:pt x="132" y="97"/>
                  <a:pt x="132" y="97"/>
                  <a:pt x="132" y="97"/>
                </a:cubicBezTo>
                <a:cubicBezTo>
                  <a:pt x="154" y="97"/>
                  <a:pt x="154" y="97"/>
                  <a:pt x="154" y="97"/>
                </a:cubicBezTo>
                <a:lnTo>
                  <a:pt x="154" y="12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65">
            <a:extLst>
              <a:ext uri="{FF2B5EF4-FFF2-40B4-BE49-F238E27FC236}">
                <a16:creationId xmlns:a16="http://schemas.microsoft.com/office/drawing/2014/main" id="{48E24459-B6F8-6F4D-B4D7-1C2966E0A192}"/>
              </a:ext>
            </a:extLst>
          </p:cNvPr>
          <p:cNvSpPr>
            <a:spLocks noEditPoints="1"/>
          </p:cNvSpPr>
          <p:nvPr/>
        </p:nvSpPr>
        <p:spPr bwMode="auto">
          <a:xfrm>
            <a:off x="6894204" y="4486275"/>
            <a:ext cx="590550" cy="606425"/>
          </a:xfrm>
          <a:custGeom>
            <a:avLst/>
            <a:gdLst>
              <a:gd name="T0" fmla="*/ 63 w 157"/>
              <a:gd name="T1" fmla="*/ 75 h 160"/>
              <a:gd name="T2" fmla="*/ 64 w 157"/>
              <a:gd name="T3" fmla="*/ 76 h 160"/>
              <a:gd name="T4" fmla="*/ 66 w 157"/>
              <a:gd name="T5" fmla="*/ 75 h 160"/>
              <a:gd name="T6" fmla="*/ 98 w 157"/>
              <a:gd name="T7" fmla="*/ 55 h 160"/>
              <a:gd name="T8" fmla="*/ 99 w 157"/>
              <a:gd name="T9" fmla="*/ 52 h 160"/>
              <a:gd name="T10" fmla="*/ 98 w 157"/>
              <a:gd name="T11" fmla="*/ 50 h 160"/>
              <a:gd name="T12" fmla="*/ 66 w 157"/>
              <a:gd name="T13" fmla="*/ 30 h 160"/>
              <a:gd name="T14" fmla="*/ 63 w 157"/>
              <a:gd name="T15" fmla="*/ 29 h 160"/>
              <a:gd name="T16" fmla="*/ 61 w 157"/>
              <a:gd name="T17" fmla="*/ 32 h 160"/>
              <a:gd name="T18" fmla="*/ 61 w 157"/>
              <a:gd name="T19" fmla="*/ 73 h 160"/>
              <a:gd name="T20" fmla="*/ 63 w 157"/>
              <a:gd name="T21" fmla="*/ 75 h 160"/>
              <a:gd name="T22" fmla="*/ 67 w 157"/>
              <a:gd name="T23" fmla="*/ 37 h 160"/>
              <a:gd name="T24" fmla="*/ 91 w 157"/>
              <a:gd name="T25" fmla="*/ 52 h 160"/>
              <a:gd name="T26" fmla="*/ 67 w 157"/>
              <a:gd name="T27" fmla="*/ 67 h 160"/>
              <a:gd name="T28" fmla="*/ 67 w 157"/>
              <a:gd name="T29" fmla="*/ 37 h 160"/>
              <a:gd name="T30" fmla="*/ 0 w 157"/>
              <a:gd name="T31" fmla="*/ 0 h 160"/>
              <a:gd name="T32" fmla="*/ 0 w 157"/>
              <a:gd name="T33" fmla="*/ 160 h 160"/>
              <a:gd name="T34" fmla="*/ 157 w 157"/>
              <a:gd name="T35" fmla="*/ 160 h 160"/>
              <a:gd name="T36" fmla="*/ 157 w 157"/>
              <a:gd name="T37" fmla="*/ 0 h 160"/>
              <a:gd name="T38" fmla="*/ 0 w 157"/>
              <a:gd name="T39" fmla="*/ 0 h 160"/>
              <a:gd name="T40" fmla="*/ 151 w 157"/>
              <a:gd name="T41" fmla="*/ 6 h 160"/>
              <a:gd name="T42" fmla="*/ 151 w 157"/>
              <a:gd name="T43" fmla="*/ 102 h 160"/>
              <a:gd name="T44" fmla="*/ 6 w 157"/>
              <a:gd name="T45" fmla="*/ 102 h 160"/>
              <a:gd name="T46" fmla="*/ 6 w 157"/>
              <a:gd name="T47" fmla="*/ 6 h 160"/>
              <a:gd name="T48" fmla="*/ 151 w 157"/>
              <a:gd name="T49" fmla="*/ 6 h 160"/>
              <a:gd name="T50" fmla="*/ 6 w 157"/>
              <a:gd name="T51" fmla="*/ 154 h 160"/>
              <a:gd name="T52" fmla="*/ 6 w 157"/>
              <a:gd name="T53" fmla="*/ 108 h 160"/>
              <a:gd name="T54" fmla="*/ 151 w 157"/>
              <a:gd name="T55" fmla="*/ 108 h 160"/>
              <a:gd name="T56" fmla="*/ 151 w 157"/>
              <a:gd name="T57" fmla="*/ 154 h 160"/>
              <a:gd name="T58" fmla="*/ 6 w 157"/>
              <a:gd name="T59" fmla="*/ 154 h 160"/>
              <a:gd name="T60" fmla="*/ 140 w 157"/>
              <a:gd name="T61" fmla="*/ 131 h 160"/>
              <a:gd name="T62" fmla="*/ 137 w 157"/>
              <a:gd name="T63" fmla="*/ 134 h 160"/>
              <a:gd name="T64" fmla="*/ 67 w 157"/>
              <a:gd name="T65" fmla="*/ 134 h 160"/>
              <a:gd name="T66" fmla="*/ 67 w 157"/>
              <a:gd name="T67" fmla="*/ 140 h 160"/>
              <a:gd name="T68" fmla="*/ 64 w 157"/>
              <a:gd name="T69" fmla="*/ 143 h 160"/>
              <a:gd name="T70" fmla="*/ 61 w 157"/>
              <a:gd name="T71" fmla="*/ 140 h 160"/>
              <a:gd name="T72" fmla="*/ 61 w 157"/>
              <a:gd name="T73" fmla="*/ 134 h 160"/>
              <a:gd name="T74" fmla="*/ 49 w 157"/>
              <a:gd name="T75" fmla="*/ 134 h 160"/>
              <a:gd name="T76" fmla="*/ 47 w 157"/>
              <a:gd name="T77" fmla="*/ 131 h 160"/>
              <a:gd name="T78" fmla="*/ 49 w 157"/>
              <a:gd name="T79" fmla="*/ 128 h 160"/>
              <a:gd name="T80" fmla="*/ 61 w 157"/>
              <a:gd name="T81" fmla="*/ 128 h 160"/>
              <a:gd name="T82" fmla="*/ 61 w 157"/>
              <a:gd name="T83" fmla="*/ 122 h 160"/>
              <a:gd name="T84" fmla="*/ 64 w 157"/>
              <a:gd name="T85" fmla="*/ 119 h 160"/>
              <a:gd name="T86" fmla="*/ 67 w 157"/>
              <a:gd name="T87" fmla="*/ 122 h 160"/>
              <a:gd name="T88" fmla="*/ 67 w 157"/>
              <a:gd name="T89" fmla="*/ 128 h 160"/>
              <a:gd name="T90" fmla="*/ 137 w 157"/>
              <a:gd name="T91" fmla="*/ 128 h 160"/>
              <a:gd name="T92" fmla="*/ 140 w 157"/>
              <a:gd name="T93" fmla="*/ 131 h 160"/>
              <a:gd name="T94" fmla="*/ 23 w 157"/>
              <a:gd name="T95" fmla="*/ 122 h 160"/>
              <a:gd name="T96" fmla="*/ 23 w 157"/>
              <a:gd name="T97" fmla="*/ 140 h 160"/>
              <a:gd name="T98" fmla="*/ 20 w 157"/>
              <a:gd name="T99" fmla="*/ 143 h 160"/>
              <a:gd name="T100" fmla="*/ 17 w 157"/>
              <a:gd name="T101" fmla="*/ 140 h 160"/>
              <a:gd name="T102" fmla="*/ 17 w 157"/>
              <a:gd name="T103" fmla="*/ 122 h 160"/>
              <a:gd name="T104" fmla="*/ 20 w 157"/>
              <a:gd name="T105" fmla="*/ 119 h 160"/>
              <a:gd name="T106" fmla="*/ 23 w 157"/>
              <a:gd name="T107" fmla="*/ 122 h 160"/>
              <a:gd name="T108" fmla="*/ 35 w 157"/>
              <a:gd name="T109" fmla="*/ 122 h 160"/>
              <a:gd name="T110" fmla="*/ 35 w 157"/>
              <a:gd name="T111" fmla="*/ 140 h 160"/>
              <a:gd name="T112" fmla="*/ 32 w 157"/>
              <a:gd name="T113" fmla="*/ 143 h 160"/>
              <a:gd name="T114" fmla="*/ 29 w 157"/>
              <a:gd name="T115" fmla="*/ 140 h 160"/>
              <a:gd name="T116" fmla="*/ 29 w 157"/>
              <a:gd name="T117" fmla="*/ 122 h 160"/>
              <a:gd name="T118" fmla="*/ 32 w 157"/>
              <a:gd name="T119" fmla="*/ 119 h 160"/>
              <a:gd name="T120" fmla="*/ 35 w 157"/>
              <a:gd name="T121" fmla="*/ 12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7" h="160">
                <a:moveTo>
                  <a:pt x="63" y="75"/>
                </a:moveTo>
                <a:cubicBezTo>
                  <a:pt x="63" y="76"/>
                  <a:pt x="64" y="76"/>
                  <a:pt x="64" y="76"/>
                </a:cubicBezTo>
                <a:cubicBezTo>
                  <a:pt x="65" y="76"/>
                  <a:pt x="65" y="75"/>
                  <a:pt x="66" y="75"/>
                </a:cubicBezTo>
                <a:cubicBezTo>
                  <a:pt x="98" y="55"/>
                  <a:pt x="98" y="55"/>
                  <a:pt x="98" y="55"/>
                </a:cubicBezTo>
                <a:cubicBezTo>
                  <a:pt x="98" y="54"/>
                  <a:pt x="99" y="53"/>
                  <a:pt x="99" y="52"/>
                </a:cubicBezTo>
                <a:cubicBezTo>
                  <a:pt x="99" y="51"/>
                  <a:pt x="98" y="50"/>
                  <a:pt x="98" y="50"/>
                </a:cubicBezTo>
                <a:cubicBezTo>
                  <a:pt x="66" y="30"/>
                  <a:pt x="66" y="30"/>
                  <a:pt x="66" y="30"/>
                </a:cubicBezTo>
                <a:cubicBezTo>
                  <a:pt x="65" y="29"/>
                  <a:pt x="64" y="29"/>
                  <a:pt x="63" y="29"/>
                </a:cubicBezTo>
                <a:cubicBezTo>
                  <a:pt x="62" y="30"/>
                  <a:pt x="61" y="31"/>
                  <a:pt x="61" y="32"/>
                </a:cubicBezTo>
                <a:cubicBezTo>
                  <a:pt x="61" y="73"/>
                  <a:pt x="61" y="73"/>
                  <a:pt x="61" y="73"/>
                </a:cubicBezTo>
                <a:cubicBezTo>
                  <a:pt x="61" y="74"/>
                  <a:pt x="62" y="75"/>
                  <a:pt x="63" y="75"/>
                </a:cubicBezTo>
                <a:close/>
                <a:moveTo>
                  <a:pt x="67" y="37"/>
                </a:moveTo>
                <a:cubicBezTo>
                  <a:pt x="91" y="52"/>
                  <a:pt x="91" y="52"/>
                  <a:pt x="91" y="52"/>
                </a:cubicBezTo>
                <a:cubicBezTo>
                  <a:pt x="67" y="67"/>
                  <a:pt x="67" y="67"/>
                  <a:pt x="67" y="67"/>
                </a:cubicBezTo>
                <a:lnTo>
                  <a:pt x="67" y="37"/>
                </a:lnTo>
                <a:close/>
                <a:moveTo>
                  <a:pt x="0" y="0"/>
                </a:moveTo>
                <a:cubicBezTo>
                  <a:pt x="0" y="160"/>
                  <a:pt x="0" y="160"/>
                  <a:pt x="0" y="160"/>
                </a:cubicBezTo>
                <a:cubicBezTo>
                  <a:pt x="157" y="160"/>
                  <a:pt x="157" y="160"/>
                  <a:pt x="157" y="160"/>
                </a:cubicBezTo>
                <a:cubicBezTo>
                  <a:pt x="157" y="0"/>
                  <a:pt x="157" y="0"/>
                  <a:pt x="157" y="0"/>
                </a:cubicBezTo>
                <a:lnTo>
                  <a:pt x="0" y="0"/>
                </a:lnTo>
                <a:close/>
                <a:moveTo>
                  <a:pt x="151" y="6"/>
                </a:moveTo>
                <a:cubicBezTo>
                  <a:pt x="151" y="102"/>
                  <a:pt x="151" y="102"/>
                  <a:pt x="151" y="102"/>
                </a:cubicBezTo>
                <a:cubicBezTo>
                  <a:pt x="6" y="102"/>
                  <a:pt x="6" y="102"/>
                  <a:pt x="6" y="102"/>
                </a:cubicBezTo>
                <a:cubicBezTo>
                  <a:pt x="6" y="6"/>
                  <a:pt x="6" y="6"/>
                  <a:pt x="6" y="6"/>
                </a:cubicBezTo>
                <a:lnTo>
                  <a:pt x="151" y="6"/>
                </a:lnTo>
                <a:close/>
                <a:moveTo>
                  <a:pt x="6" y="154"/>
                </a:moveTo>
                <a:cubicBezTo>
                  <a:pt x="6" y="108"/>
                  <a:pt x="6" y="108"/>
                  <a:pt x="6" y="108"/>
                </a:cubicBezTo>
                <a:cubicBezTo>
                  <a:pt x="151" y="108"/>
                  <a:pt x="151" y="108"/>
                  <a:pt x="151" y="108"/>
                </a:cubicBezTo>
                <a:cubicBezTo>
                  <a:pt x="151" y="154"/>
                  <a:pt x="151" y="154"/>
                  <a:pt x="151" y="154"/>
                </a:cubicBezTo>
                <a:lnTo>
                  <a:pt x="6" y="154"/>
                </a:lnTo>
                <a:close/>
                <a:moveTo>
                  <a:pt x="140" y="131"/>
                </a:moveTo>
                <a:cubicBezTo>
                  <a:pt x="140" y="133"/>
                  <a:pt x="138" y="134"/>
                  <a:pt x="137" y="134"/>
                </a:cubicBezTo>
                <a:cubicBezTo>
                  <a:pt x="67" y="134"/>
                  <a:pt x="67" y="134"/>
                  <a:pt x="67" y="134"/>
                </a:cubicBezTo>
                <a:cubicBezTo>
                  <a:pt x="67" y="140"/>
                  <a:pt x="67" y="140"/>
                  <a:pt x="67" y="140"/>
                </a:cubicBezTo>
                <a:cubicBezTo>
                  <a:pt x="67" y="141"/>
                  <a:pt x="66" y="143"/>
                  <a:pt x="64" y="143"/>
                </a:cubicBezTo>
                <a:cubicBezTo>
                  <a:pt x="62" y="143"/>
                  <a:pt x="61" y="141"/>
                  <a:pt x="61" y="140"/>
                </a:cubicBezTo>
                <a:cubicBezTo>
                  <a:pt x="61" y="134"/>
                  <a:pt x="61" y="134"/>
                  <a:pt x="61" y="134"/>
                </a:cubicBezTo>
                <a:cubicBezTo>
                  <a:pt x="49" y="134"/>
                  <a:pt x="49" y="134"/>
                  <a:pt x="49" y="134"/>
                </a:cubicBezTo>
                <a:cubicBezTo>
                  <a:pt x="48" y="134"/>
                  <a:pt x="47" y="133"/>
                  <a:pt x="47" y="131"/>
                </a:cubicBezTo>
                <a:cubicBezTo>
                  <a:pt x="47" y="129"/>
                  <a:pt x="48" y="128"/>
                  <a:pt x="49" y="128"/>
                </a:cubicBezTo>
                <a:cubicBezTo>
                  <a:pt x="61" y="128"/>
                  <a:pt x="61" y="128"/>
                  <a:pt x="61" y="128"/>
                </a:cubicBezTo>
                <a:cubicBezTo>
                  <a:pt x="61" y="122"/>
                  <a:pt x="61" y="122"/>
                  <a:pt x="61" y="122"/>
                </a:cubicBezTo>
                <a:cubicBezTo>
                  <a:pt x="61" y="121"/>
                  <a:pt x="62" y="119"/>
                  <a:pt x="64" y="119"/>
                </a:cubicBezTo>
                <a:cubicBezTo>
                  <a:pt x="66" y="119"/>
                  <a:pt x="67" y="121"/>
                  <a:pt x="67" y="122"/>
                </a:cubicBezTo>
                <a:cubicBezTo>
                  <a:pt x="67" y="128"/>
                  <a:pt x="67" y="128"/>
                  <a:pt x="67" y="128"/>
                </a:cubicBezTo>
                <a:cubicBezTo>
                  <a:pt x="137" y="128"/>
                  <a:pt x="137" y="128"/>
                  <a:pt x="137" y="128"/>
                </a:cubicBezTo>
                <a:cubicBezTo>
                  <a:pt x="138" y="128"/>
                  <a:pt x="140" y="129"/>
                  <a:pt x="140" y="131"/>
                </a:cubicBezTo>
                <a:close/>
                <a:moveTo>
                  <a:pt x="23" y="122"/>
                </a:moveTo>
                <a:cubicBezTo>
                  <a:pt x="23" y="140"/>
                  <a:pt x="23" y="140"/>
                  <a:pt x="23" y="140"/>
                </a:cubicBezTo>
                <a:cubicBezTo>
                  <a:pt x="23" y="141"/>
                  <a:pt x="22" y="143"/>
                  <a:pt x="20" y="143"/>
                </a:cubicBezTo>
                <a:cubicBezTo>
                  <a:pt x="19" y="143"/>
                  <a:pt x="17" y="141"/>
                  <a:pt x="17" y="140"/>
                </a:cubicBezTo>
                <a:cubicBezTo>
                  <a:pt x="17" y="122"/>
                  <a:pt x="17" y="122"/>
                  <a:pt x="17" y="122"/>
                </a:cubicBezTo>
                <a:cubicBezTo>
                  <a:pt x="17" y="121"/>
                  <a:pt x="19" y="119"/>
                  <a:pt x="20" y="119"/>
                </a:cubicBezTo>
                <a:cubicBezTo>
                  <a:pt x="22" y="119"/>
                  <a:pt x="23" y="121"/>
                  <a:pt x="23" y="122"/>
                </a:cubicBezTo>
                <a:close/>
                <a:moveTo>
                  <a:pt x="35" y="122"/>
                </a:moveTo>
                <a:cubicBezTo>
                  <a:pt x="35" y="140"/>
                  <a:pt x="35" y="140"/>
                  <a:pt x="35" y="140"/>
                </a:cubicBezTo>
                <a:cubicBezTo>
                  <a:pt x="35" y="141"/>
                  <a:pt x="34" y="143"/>
                  <a:pt x="32" y="143"/>
                </a:cubicBezTo>
                <a:cubicBezTo>
                  <a:pt x="30" y="143"/>
                  <a:pt x="29" y="141"/>
                  <a:pt x="29" y="140"/>
                </a:cubicBezTo>
                <a:cubicBezTo>
                  <a:pt x="29" y="122"/>
                  <a:pt x="29" y="122"/>
                  <a:pt x="29" y="122"/>
                </a:cubicBezTo>
                <a:cubicBezTo>
                  <a:pt x="29" y="121"/>
                  <a:pt x="30" y="119"/>
                  <a:pt x="32" y="119"/>
                </a:cubicBezTo>
                <a:cubicBezTo>
                  <a:pt x="34" y="119"/>
                  <a:pt x="35" y="121"/>
                  <a:pt x="35" y="12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66">
            <a:extLst>
              <a:ext uri="{FF2B5EF4-FFF2-40B4-BE49-F238E27FC236}">
                <a16:creationId xmlns:a16="http://schemas.microsoft.com/office/drawing/2014/main" id="{7907ECFE-BEA7-B34D-A0D2-FAF5374FCB27}"/>
              </a:ext>
            </a:extLst>
          </p:cNvPr>
          <p:cNvSpPr>
            <a:spLocks noEditPoints="1"/>
          </p:cNvSpPr>
          <p:nvPr/>
        </p:nvSpPr>
        <p:spPr bwMode="auto">
          <a:xfrm>
            <a:off x="6894204" y="5229225"/>
            <a:ext cx="601663" cy="479425"/>
          </a:xfrm>
          <a:custGeom>
            <a:avLst/>
            <a:gdLst>
              <a:gd name="T0" fmla="*/ 70 w 160"/>
              <a:gd name="T1" fmla="*/ 42 h 127"/>
              <a:gd name="T2" fmla="*/ 66 w 160"/>
              <a:gd name="T3" fmla="*/ 44 h 127"/>
              <a:gd name="T4" fmla="*/ 68 w 160"/>
              <a:gd name="T5" fmla="*/ 85 h 127"/>
              <a:gd name="T6" fmla="*/ 70 w 160"/>
              <a:gd name="T7" fmla="*/ 85 h 127"/>
              <a:gd name="T8" fmla="*/ 102 w 160"/>
              <a:gd name="T9" fmla="*/ 63 h 127"/>
              <a:gd name="T10" fmla="*/ 72 w 160"/>
              <a:gd name="T11" fmla="*/ 78 h 127"/>
              <a:gd name="T12" fmla="*/ 94 w 160"/>
              <a:gd name="T13" fmla="*/ 63 h 127"/>
              <a:gd name="T14" fmla="*/ 157 w 160"/>
              <a:gd name="T15" fmla="*/ 0 h 127"/>
              <a:gd name="T16" fmla="*/ 30 w 160"/>
              <a:gd name="T17" fmla="*/ 0 h 127"/>
              <a:gd name="T18" fmla="*/ 0 w 160"/>
              <a:gd name="T19" fmla="*/ 3 h 127"/>
              <a:gd name="T20" fmla="*/ 0 w 160"/>
              <a:gd name="T21" fmla="*/ 63 h 127"/>
              <a:gd name="T22" fmla="*/ 0 w 160"/>
              <a:gd name="T23" fmla="*/ 124 h 127"/>
              <a:gd name="T24" fmla="*/ 30 w 160"/>
              <a:gd name="T25" fmla="*/ 127 h 127"/>
              <a:gd name="T26" fmla="*/ 157 w 160"/>
              <a:gd name="T27" fmla="*/ 127 h 127"/>
              <a:gd name="T28" fmla="*/ 160 w 160"/>
              <a:gd name="T29" fmla="*/ 94 h 127"/>
              <a:gd name="T30" fmla="*/ 160 w 160"/>
              <a:gd name="T31" fmla="*/ 33 h 127"/>
              <a:gd name="T32" fmla="*/ 157 w 160"/>
              <a:gd name="T33" fmla="*/ 0 h 127"/>
              <a:gd name="T34" fmla="*/ 6 w 160"/>
              <a:gd name="T35" fmla="*/ 61 h 127"/>
              <a:gd name="T36" fmla="*/ 28 w 160"/>
              <a:gd name="T37" fmla="*/ 36 h 127"/>
              <a:gd name="T38" fmla="*/ 6 w 160"/>
              <a:gd name="T39" fmla="*/ 66 h 127"/>
              <a:gd name="T40" fmla="*/ 28 w 160"/>
              <a:gd name="T41" fmla="*/ 91 h 127"/>
              <a:gd name="T42" fmla="*/ 6 w 160"/>
              <a:gd name="T43" fmla="*/ 66 h 127"/>
              <a:gd name="T44" fmla="*/ 33 w 160"/>
              <a:gd name="T45" fmla="*/ 63 h 127"/>
              <a:gd name="T46" fmla="*/ 33 w 160"/>
              <a:gd name="T47" fmla="*/ 6 h 127"/>
              <a:gd name="T48" fmla="*/ 127 w 160"/>
              <a:gd name="T49" fmla="*/ 33 h 127"/>
              <a:gd name="T50" fmla="*/ 127 w 160"/>
              <a:gd name="T51" fmla="*/ 94 h 127"/>
              <a:gd name="T52" fmla="*/ 33 w 160"/>
              <a:gd name="T53" fmla="*/ 121 h 127"/>
              <a:gd name="T54" fmla="*/ 154 w 160"/>
              <a:gd name="T55" fmla="*/ 61 h 127"/>
              <a:gd name="T56" fmla="*/ 132 w 160"/>
              <a:gd name="T57" fmla="*/ 36 h 127"/>
              <a:gd name="T58" fmla="*/ 154 w 160"/>
              <a:gd name="T59" fmla="*/ 61 h 127"/>
              <a:gd name="T60" fmla="*/ 154 w 160"/>
              <a:gd name="T61" fmla="*/ 66 h 127"/>
              <a:gd name="T62" fmla="*/ 132 w 160"/>
              <a:gd name="T63" fmla="*/ 91 h 127"/>
              <a:gd name="T64" fmla="*/ 154 w 160"/>
              <a:gd name="T65" fmla="*/ 6 h 127"/>
              <a:gd name="T66" fmla="*/ 132 w 160"/>
              <a:gd name="T67" fmla="*/ 30 h 127"/>
              <a:gd name="T68" fmla="*/ 154 w 160"/>
              <a:gd name="T69" fmla="*/ 6 h 127"/>
              <a:gd name="T70" fmla="*/ 28 w 160"/>
              <a:gd name="T71" fmla="*/ 6 h 127"/>
              <a:gd name="T72" fmla="*/ 6 w 160"/>
              <a:gd name="T73" fmla="*/ 30 h 127"/>
              <a:gd name="T74" fmla="*/ 6 w 160"/>
              <a:gd name="T75" fmla="*/ 121 h 127"/>
              <a:gd name="T76" fmla="*/ 28 w 160"/>
              <a:gd name="T77" fmla="*/ 97 h 127"/>
              <a:gd name="T78" fmla="*/ 6 w 160"/>
              <a:gd name="T79" fmla="*/ 121 h 127"/>
              <a:gd name="T80" fmla="*/ 132 w 160"/>
              <a:gd name="T81" fmla="*/ 121 h 127"/>
              <a:gd name="T82" fmla="*/ 154 w 160"/>
              <a:gd name="T83" fmla="*/ 9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27">
                <a:moveTo>
                  <a:pt x="101" y="61"/>
                </a:moveTo>
                <a:cubicBezTo>
                  <a:pt x="70" y="42"/>
                  <a:pt x="70" y="42"/>
                  <a:pt x="70" y="42"/>
                </a:cubicBezTo>
                <a:cubicBezTo>
                  <a:pt x="70" y="41"/>
                  <a:pt x="69" y="41"/>
                  <a:pt x="68" y="42"/>
                </a:cubicBezTo>
                <a:cubicBezTo>
                  <a:pt x="67" y="42"/>
                  <a:pt x="66" y="43"/>
                  <a:pt x="66" y="44"/>
                </a:cubicBezTo>
                <a:cubicBezTo>
                  <a:pt x="66" y="83"/>
                  <a:pt x="66" y="83"/>
                  <a:pt x="66" y="83"/>
                </a:cubicBezTo>
                <a:cubicBezTo>
                  <a:pt x="66" y="84"/>
                  <a:pt x="67" y="85"/>
                  <a:pt x="68" y="85"/>
                </a:cubicBezTo>
                <a:cubicBezTo>
                  <a:pt x="68" y="85"/>
                  <a:pt x="69" y="86"/>
                  <a:pt x="69" y="86"/>
                </a:cubicBezTo>
                <a:cubicBezTo>
                  <a:pt x="69" y="86"/>
                  <a:pt x="70" y="85"/>
                  <a:pt x="70" y="85"/>
                </a:cubicBezTo>
                <a:cubicBezTo>
                  <a:pt x="101" y="66"/>
                  <a:pt x="101" y="66"/>
                  <a:pt x="101" y="66"/>
                </a:cubicBezTo>
                <a:cubicBezTo>
                  <a:pt x="102" y="65"/>
                  <a:pt x="102" y="64"/>
                  <a:pt x="102" y="63"/>
                </a:cubicBezTo>
                <a:cubicBezTo>
                  <a:pt x="102" y="63"/>
                  <a:pt x="102" y="62"/>
                  <a:pt x="101" y="61"/>
                </a:cubicBezTo>
                <a:close/>
                <a:moveTo>
                  <a:pt x="72" y="78"/>
                </a:moveTo>
                <a:cubicBezTo>
                  <a:pt x="72" y="49"/>
                  <a:pt x="72" y="49"/>
                  <a:pt x="72" y="49"/>
                </a:cubicBezTo>
                <a:cubicBezTo>
                  <a:pt x="94" y="63"/>
                  <a:pt x="94" y="63"/>
                  <a:pt x="94" y="63"/>
                </a:cubicBezTo>
                <a:lnTo>
                  <a:pt x="72" y="78"/>
                </a:lnTo>
                <a:close/>
                <a:moveTo>
                  <a:pt x="157" y="0"/>
                </a:moveTo>
                <a:cubicBezTo>
                  <a:pt x="130" y="0"/>
                  <a:pt x="130" y="0"/>
                  <a:pt x="130" y="0"/>
                </a:cubicBezTo>
                <a:cubicBezTo>
                  <a:pt x="30" y="0"/>
                  <a:pt x="30" y="0"/>
                  <a:pt x="30" y="0"/>
                </a:cubicBezTo>
                <a:cubicBezTo>
                  <a:pt x="3" y="0"/>
                  <a:pt x="3" y="0"/>
                  <a:pt x="3" y="0"/>
                </a:cubicBezTo>
                <a:cubicBezTo>
                  <a:pt x="1" y="0"/>
                  <a:pt x="0" y="1"/>
                  <a:pt x="0" y="3"/>
                </a:cubicBezTo>
                <a:cubicBezTo>
                  <a:pt x="0" y="33"/>
                  <a:pt x="0" y="33"/>
                  <a:pt x="0" y="33"/>
                </a:cubicBezTo>
                <a:cubicBezTo>
                  <a:pt x="0" y="63"/>
                  <a:pt x="0" y="63"/>
                  <a:pt x="0" y="63"/>
                </a:cubicBezTo>
                <a:cubicBezTo>
                  <a:pt x="0" y="94"/>
                  <a:pt x="0" y="94"/>
                  <a:pt x="0" y="94"/>
                </a:cubicBezTo>
                <a:cubicBezTo>
                  <a:pt x="0" y="124"/>
                  <a:pt x="0" y="124"/>
                  <a:pt x="0" y="124"/>
                </a:cubicBezTo>
                <a:cubicBezTo>
                  <a:pt x="0" y="126"/>
                  <a:pt x="1" y="127"/>
                  <a:pt x="3" y="127"/>
                </a:cubicBezTo>
                <a:cubicBezTo>
                  <a:pt x="30" y="127"/>
                  <a:pt x="30" y="127"/>
                  <a:pt x="30" y="127"/>
                </a:cubicBezTo>
                <a:cubicBezTo>
                  <a:pt x="130" y="127"/>
                  <a:pt x="130" y="127"/>
                  <a:pt x="130" y="127"/>
                </a:cubicBezTo>
                <a:cubicBezTo>
                  <a:pt x="157" y="127"/>
                  <a:pt x="157" y="127"/>
                  <a:pt x="157" y="127"/>
                </a:cubicBezTo>
                <a:cubicBezTo>
                  <a:pt x="159" y="127"/>
                  <a:pt x="160" y="126"/>
                  <a:pt x="160" y="124"/>
                </a:cubicBezTo>
                <a:cubicBezTo>
                  <a:pt x="160" y="94"/>
                  <a:pt x="160" y="94"/>
                  <a:pt x="160" y="94"/>
                </a:cubicBezTo>
                <a:cubicBezTo>
                  <a:pt x="160" y="63"/>
                  <a:pt x="160" y="63"/>
                  <a:pt x="160" y="63"/>
                </a:cubicBezTo>
                <a:cubicBezTo>
                  <a:pt x="160" y="33"/>
                  <a:pt x="160" y="33"/>
                  <a:pt x="160" y="33"/>
                </a:cubicBezTo>
                <a:cubicBezTo>
                  <a:pt x="160" y="3"/>
                  <a:pt x="160" y="3"/>
                  <a:pt x="160" y="3"/>
                </a:cubicBezTo>
                <a:cubicBezTo>
                  <a:pt x="160" y="1"/>
                  <a:pt x="159" y="0"/>
                  <a:pt x="157" y="0"/>
                </a:cubicBezTo>
                <a:close/>
                <a:moveTo>
                  <a:pt x="28" y="61"/>
                </a:moveTo>
                <a:cubicBezTo>
                  <a:pt x="6" y="61"/>
                  <a:pt x="6" y="61"/>
                  <a:pt x="6" y="61"/>
                </a:cubicBezTo>
                <a:cubicBezTo>
                  <a:pt x="6" y="36"/>
                  <a:pt x="6" y="36"/>
                  <a:pt x="6" y="36"/>
                </a:cubicBezTo>
                <a:cubicBezTo>
                  <a:pt x="28" y="36"/>
                  <a:pt x="28" y="36"/>
                  <a:pt x="28" y="36"/>
                </a:cubicBezTo>
                <a:lnTo>
                  <a:pt x="28" y="61"/>
                </a:lnTo>
                <a:close/>
                <a:moveTo>
                  <a:pt x="6" y="66"/>
                </a:moveTo>
                <a:cubicBezTo>
                  <a:pt x="28" y="66"/>
                  <a:pt x="28" y="66"/>
                  <a:pt x="28" y="66"/>
                </a:cubicBezTo>
                <a:cubicBezTo>
                  <a:pt x="28" y="91"/>
                  <a:pt x="28" y="91"/>
                  <a:pt x="28" y="91"/>
                </a:cubicBezTo>
                <a:cubicBezTo>
                  <a:pt x="6" y="91"/>
                  <a:pt x="6" y="91"/>
                  <a:pt x="6" y="91"/>
                </a:cubicBezTo>
                <a:lnTo>
                  <a:pt x="6" y="66"/>
                </a:lnTo>
                <a:close/>
                <a:moveTo>
                  <a:pt x="33" y="94"/>
                </a:moveTo>
                <a:cubicBezTo>
                  <a:pt x="33" y="63"/>
                  <a:pt x="33" y="63"/>
                  <a:pt x="33" y="63"/>
                </a:cubicBezTo>
                <a:cubicBezTo>
                  <a:pt x="33" y="33"/>
                  <a:pt x="33" y="33"/>
                  <a:pt x="33" y="33"/>
                </a:cubicBezTo>
                <a:cubicBezTo>
                  <a:pt x="33" y="6"/>
                  <a:pt x="33" y="6"/>
                  <a:pt x="33" y="6"/>
                </a:cubicBezTo>
                <a:cubicBezTo>
                  <a:pt x="127" y="6"/>
                  <a:pt x="127" y="6"/>
                  <a:pt x="127" y="6"/>
                </a:cubicBezTo>
                <a:cubicBezTo>
                  <a:pt x="127" y="33"/>
                  <a:pt x="127" y="33"/>
                  <a:pt x="127" y="33"/>
                </a:cubicBezTo>
                <a:cubicBezTo>
                  <a:pt x="127" y="63"/>
                  <a:pt x="127" y="63"/>
                  <a:pt x="127" y="63"/>
                </a:cubicBezTo>
                <a:cubicBezTo>
                  <a:pt x="127" y="94"/>
                  <a:pt x="127" y="94"/>
                  <a:pt x="127" y="94"/>
                </a:cubicBezTo>
                <a:cubicBezTo>
                  <a:pt x="127" y="121"/>
                  <a:pt x="127" y="121"/>
                  <a:pt x="127" y="121"/>
                </a:cubicBezTo>
                <a:cubicBezTo>
                  <a:pt x="33" y="121"/>
                  <a:pt x="33" y="121"/>
                  <a:pt x="33" y="121"/>
                </a:cubicBezTo>
                <a:lnTo>
                  <a:pt x="33" y="94"/>
                </a:lnTo>
                <a:close/>
                <a:moveTo>
                  <a:pt x="154" y="61"/>
                </a:moveTo>
                <a:cubicBezTo>
                  <a:pt x="132" y="61"/>
                  <a:pt x="132" y="61"/>
                  <a:pt x="132" y="61"/>
                </a:cubicBezTo>
                <a:cubicBezTo>
                  <a:pt x="132" y="36"/>
                  <a:pt x="132" y="36"/>
                  <a:pt x="132" y="36"/>
                </a:cubicBezTo>
                <a:cubicBezTo>
                  <a:pt x="154" y="36"/>
                  <a:pt x="154" y="36"/>
                  <a:pt x="154" y="36"/>
                </a:cubicBezTo>
                <a:lnTo>
                  <a:pt x="154" y="61"/>
                </a:lnTo>
                <a:close/>
                <a:moveTo>
                  <a:pt x="132" y="66"/>
                </a:moveTo>
                <a:cubicBezTo>
                  <a:pt x="154" y="66"/>
                  <a:pt x="154" y="66"/>
                  <a:pt x="154" y="66"/>
                </a:cubicBezTo>
                <a:cubicBezTo>
                  <a:pt x="154" y="91"/>
                  <a:pt x="154" y="91"/>
                  <a:pt x="154" y="91"/>
                </a:cubicBezTo>
                <a:cubicBezTo>
                  <a:pt x="132" y="91"/>
                  <a:pt x="132" y="91"/>
                  <a:pt x="132" y="91"/>
                </a:cubicBezTo>
                <a:lnTo>
                  <a:pt x="132" y="66"/>
                </a:lnTo>
                <a:close/>
                <a:moveTo>
                  <a:pt x="154" y="6"/>
                </a:moveTo>
                <a:cubicBezTo>
                  <a:pt x="154" y="30"/>
                  <a:pt x="154" y="30"/>
                  <a:pt x="154" y="30"/>
                </a:cubicBezTo>
                <a:cubicBezTo>
                  <a:pt x="132" y="30"/>
                  <a:pt x="132" y="30"/>
                  <a:pt x="132" y="30"/>
                </a:cubicBezTo>
                <a:cubicBezTo>
                  <a:pt x="132" y="6"/>
                  <a:pt x="132" y="6"/>
                  <a:pt x="132" y="6"/>
                </a:cubicBezTo>
                <a:lnTo>
                  <a:pt x="154" y="6"/>
                </a:lnTo>
                <a:close/>
                <a:moveTo>
                  <a:pt x="6" y="6"/>
                </a:moveTo>
                <a:cubicBezTo>
                  <a:pt x="28" y="6"/>
                  <a:pt x="28" y="6"/>
                  <a:pt x="28" y="6"/>
                </a:cubicBezTo>
                <a:cubicBezTo>
                  <a:pt x="28" y="30"/>
                  <a:pt x="28" y="30"/>
                  <a:pt x="28" y="30"/>
                </a:cubicBezTo>
                <a:cubicBezTo>
                  <a:pt x="6" y="30"/>
                  <a:pt x="6" y="30"/>
                  <a:pt x="6" y="30"/>
                </a:cubicBezTo>
                <a:lnTo>
                  <a:pt x="6" y="6"/>
                </a:lnTo>
                <a:close/>
                <a:moveTo>
                  <a:pt x="6" y="121"/>
                </a:moveTo>
                <a:cubicBezTo>
                  <a:pt x="6" y="97"/>
                  <a:pt x="6" y="97"/>
                  <a:pt x="6" y="97"/>
                </a:cubicBezTo>
                <a:cubicBezTo>
                  <a:pt x="28" y="97"/>
                  <a:pt x="28" y="97"/>
                  <a:pt x="28" y="97"/>
                </a:cubicBezTo>
                <a:cubicBezTo>
                  <a:pt x="28" y="121"/>
                  <a:pt x="28" y="121"/>
                  <a:pt x="28" y="121"/>
                </a:cubicBezTo>
                <a:lnTo>
                  <a:pt x="6" y="121"/>
                </a:lnTo>
                <a:close/>
                <a:moveTo>
                  <a:pt x="154" y="121"/>
                </a:moveTo>
                <a:cubicBezTo>
                  <a:pt x="132" y="121"/>
                  <a:pt x="132" y="121"/>
                  <a:pt x="132" y="121"/>
                </a:cubicBezTo>
                <a:cubicBezTo>
                  <a:pt x="132" y="97"/>
                  <a:pt x="132" y="97"/>
                  <a:pt x="132" y="97"/>
                </a:cubicBezTo>
                <a:cubicBezTo>
                  <a:pt x="154" y="97"/>
                  <a:pt x="154" y="97"/>
                  <a:pt x="154" y="97"/>
                </a:cubicBezTo>
                <a:lnTo>
                  <a:pt x="154" y="12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5" name="Freeform 67">
            <a:extLst>
              <a:ext uri="{FF2B5EF4-FFF2-40B4-BE49-F238E27FC236}">
                <a16:creationId xmlns:a16="http://schemas.microsoft.com/office/drawing/2014/main" id="{F2EDB180-7F76-5A44-A9A2-6DB06197E3DA}"/>
              </a:ext>
            </a:extLst>
          </p:cNvPr>
          <p:cNvSpPr>
            <a:spLocks noEditPoints="1"/>
          </p:cNvSpPr>
          <p:nvPr/>
        </p:nvSpPr>
        <p:spPr bwMode="auto">
          <a:xfrm>
            <a:off x="6894204" y="6015038"/>
            <a:ext cx="601663" cy="273050"/>
          </a:xfrm>
          <a:custGeom>
            <a:avLst/>
            <a:gdLst>
              <a:gd name="T0" fmla="*/ 83 w 160"/>
              <a:gd name="T1" fmla="*/ 19 h 72"/>
              <a:gd name="T2" fmla="*/ 80 w 160"/>
              <a:gd name="T3" fmla="*/ 22 h 72"/>
              <a:gd name="T4" fmla="*/ 66 w 160"/>
              <a:gd name="T5" fmla="*/ 36 h 72"/>
              <a:gd name="T6" fmla="*/ 64 w 160"/>
              <a:gd name="T7" fmla="*/ 39 h 72"/>
              <a:gd name="T8" fmla="*/ 61 w 160"/>
              <a:gd name="T9" fmla="*/ 36 h 72"/>
              <a:gd name="T10" fmla="*/ 80 w 160"/>
              <a:gd name="T11" fmla="*/ 17 h 72"/>
              <a:gd name="T12" fmla="*/ 83 w 160"/>
              <a:gd name="T13" fmla="*/ 19 h 72"/>
              <a:gd name="T14" fmla="*/ 159 w 160"/>
              <a:gd name="T15" fmla="*/ 37 h 72"/>
              <a:gd name="T16" fmla="*/ 155 w 160"/>
              <a:gd name="T17" fmla="*/ 37 h 72"/>
              <a:gd name="T18" fmla="*/ 102 w 160"/>
              <a:gd name="T19" fmla="*/ 8 h 72"/>
              <a:gd name="T20" fmla="*/ 116 w 160"/>
              <a:gd name="T21" fmla="*/ 36 h 72"/>
              <a:gd name="T22" fmla="*/ 80 w 160"/>
              <a:gd name="T23" fmla="*/ 72 h 72"/>
              <a:gd name="T24" fmla="*/ 44 w 160"/>
              <a:gd name="T25" fmla="*/ 36 h 72"/>
              <a:gd name="T26" fmla="*/ 58 w 160"/>
              <a:gd name="T27" fmla="*/ 8 h 72"/>
              <a:gd name="T28" fmla="*/ 5 w 160"/>
              <a:gd name="T29" fmla="*/ 37 h 72"/>
              <a:gd name="T30" fmla="*/ 5 w 160"/>
              <a:gd name="T31" fmla="*/ 37 h 72"/>
              <a:gd name="T32" fmla="*/ 3 w 160"/>
              <a:gd name="T33" fmla="*/ 38 h 72"/>
              <a:gd name="T34" fmla="*/ 1 w 160"/>
              <a:gd name="T35" fmla="*/ 37 h 72"/>
              <a:gd name="T36" fmla="*/ 1 w 160"/>
              <a:gd name="T37" fmla="*/ 34 h 72"/>
              <a:gd name="T38" fmla="*/ 1 w 160"/>
              <a:gd name="T39" fmla="*/ 33 h 72"/>
              <a:gd name="T40" fmla="*/ 80 w 160"/>
              <a:gd name="T41" fmla="*/ 0 h 72"/>
              <a:gd name="T42" fmla="*/ 80 w 160"/>
              <a:gd name="T43" fmla="*/ 0 h 72"/>
              <a:gd name="T44" fmla="*/ 80 w 160"/>
              <a:gd name="T45" fmla="*/ 0 h 72"/>
              <a:gd name="T46" fmla="*/ 80 w 160"/>
              <a:gd name="T47" fmla="*/ 0 h 72"/>
              <a:gd name="T48" fmla="*/ 159 w 160"/>
              <a:gd name="T49" fmla="*/ 33 h 72"/>
              <a:gd name="T50" fmla="*/ 159 w 160"/>
              <a:gd name="T51" fmla="*/ 37 h 72"/>
              <a:gd name="T52" fmla="*/ 80 w 160"/>
              <a:gd name="T53" fmla="*/ 6 h 72"/>
              <a:gd name="T54" fmla="*/ 80 w 160"/>
              <a:gd name="T55" fmla="*/ 6 h 72"/>
              <a:gd name="T56" fmla="*/ 50 w 160"/>
              <a:gd name="T57" fmla="*/ 36 h 72"/>
              <a:gd name="T58" fmla="*/ 80 w 160"/>
              <a:gd name="T59" fmla="*/ 66 h 72"/>
              <a:gd name="T60" fmla="*/ 110 w 160"/>
              <a:gd name="T61" fmla="*/ 36 h 72"/>
              <a:gd name="T62" fmla="*/ 80 w 160"/>
              <a:gd name="T63" fmla="*/ 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72">
                <a:moveTo>
                  <a:pt x="83" y="19"/>
                </a:moveTo>
                <a:cubicBezTo>
                  <a:pt x="83" y="21"/>
                  <a:pt x="82" y="22"/>
                  <a:pt x="80" y="22"/>
                </a:cubicBezTo>
                <a:cubicBezTo>
                  <a:pt x="72" y="22"/>
                  <a:pt x="66" y="28"/>
                  <a:pt x="66" y="36"/>
                </a:cubicBezTo>
                <a:cubicBezTo>
                  <a:pt x="66" y="37"/>
                  <a:pt x="65" y="39"/>
                  <a:pt x="64" y="39"/>
                </a:cubicBezTo>
                <a:cubicBezTo>
                  <a:pt x="62" y="39"/>
                  <a:pt x="61" y="37"/>
                  <a:pt x="61" y="36"/>
                </a:cubicBezTo>
                <a:cubicBezTo>
                  <a:pt x="61" y="25"/>
                  <a:pt x="69" y="17"/>
                  <a:pt x="80" y="17"/>
                </a:cubicBezTo>
                <a:cubicBezTo>
                  <a:pt x="82" y="17"/>
                  <a:pt x="83" y="18"/>
                  <a:pt x="83" y="19"/>
                </a:cubicBezTo>
                <a:close/>
                <a:moveTo>
                  <a:pt x="159" y="37"/>
                </a:moveTo>
                <a:cubicBezTo>
                  <a:pt x="158" y="38"/>
                  <a:pt x="156" y="38"/>
                  <a:pt x="155" y="37"/>
                </a:cubicBezTo>
                <a:cubicBezTo>
                  <a:pt x="141" y="22"/>
                  <a:pt x="122" y="12"/>
                  <a:pt x="102" y="8"/>
                </a:cubicBezTo>
                <a:cubicBezTo>
                  <a:pt x="111" y="14"/>
                  <a:pt x="116" y="25"/>
                  <a:pt x="116" y="36"/>
                </a:cubicBezTo>
                <a:cubicBezTo>
                  <a:pt x="116" y="56"/>
                  <a:pt x="100" y="72"/>
                  <a:pt x="80" y="72"/>
                </a:cubicBezTo>
                <a:cubicBezTo>
                  <a:pt x="60" y="72"/>
                  <a:pt x="44" y="56"/>
                  <a:pt x="44" y="36"/>
                </a:cubicBezTo>
                <a:cubicBezTo>
                  <a:pt x="44" y="25"/>
                  <a:pt x="49" y="15"/>
                  <a:pt x="58" y="8"/>
                </a:cubicBezTo>
                <a:cubicBezTo>
                  <a:pt x="38" y="12"/>
                  <a:pt x="20" y="22"/>
                  <a:pt x="5" y="37"/>
                </a:cubicBezTo>
                <a:cubicBezTo>
                  <a:pt x="5" y="37"/>
                  <a:pt x="5" y="37"/>
                  <a:pt x="5" y="37"/>
                </a:cubicBezTo>
                <a:cubicBezTo>
                  <a:pt x="4" y="38"/>
                  <a:pt x="3" y="38"/>
                  <a:pt x="3" y="38"/>
                </a:cubicBezTo>
                <a:cubicBezTo>
                  <a:pt x="2" y="38"/>
                  <a:pt x="1" y="38"/>
                  <a:pt x="1" y="37"/>
                </a:cubicBezTo>
                <a:cubicBezTo>
                  <a:pt x="0" y="36"/>
                  <a:pt x="0" y="35"/>
                  <a:pt x="1" y="34"/>
                </a:cubicBezTo>
                <a:cubicBezTo>
                  <a:pt x="1" y="33"/>
                  <a:pt x="1" y="33"/>
                  <a:pt x="1" y="33"/>
                </a:cubicBezTo>
                <a:cubicBezTo>
                  <a:pt x="22" y="12"/>
                  <a:pt x="50" y="0"/>
                  <a:pt x="80" y="0"/>
                </a:cubicBezTo>
                <a:cubicBezTo>
                  <a:pt x="80" y="0"/>
                  <a:pt x="80" y="0"/>
                  <a:pt x="80" y="0"/>
                </a:cubicBezTo>
                <a:cubicBezTo>
                  <a:pt x="80" y="0"/>
                  <a:pt x="80" y="0"/>
                  <a:pt x="80" y="0"/>
                </a:cubicBezTo>
                <a:cubicBezTo>
                  <a:pt x="80" y="0"/>
                  <a:pt x="80" y="0"/>
                  <a:pt x="80" y="0"/>
                </a:cubicBezTo>
                <a:cubicBezTo>
                  <a:pt x="110" y="0"/>
                  <a:pt x="138" y="12"/>
                  <a:pt x="159" y="33"/>
                </a:cubicBezTo>
                <a:cubicBezTo>
                  <a:pt x="160" y="34"/>
                  <a:pt x="160" y="36"/>
                  <a:pt x="159" y="37"/>
                </a:cubicBezTo>
                <a:close/>
                <a:moveTo>
                  <a:pt x="80" y="6"/>
                </a:moveTo>
                <a:cubicBezTo>
                  <a:pt x="80" y="6"/>
                  <a:pt x="80" y="6"/>
                  <a:pt x="80" y="6"/>
                </a:cubicBezTo>
                <a:cubicBezTo>
                  <a:pt x="63" y="6"/>
                  <a:pt x="50" y="19"/>
                  <a:pt x="50" y="36"/>
                </a:cubicBezTo>
                <a:cubicBezTo>
                  <a:pt x="50" y="53"/>
                  <a:pt x="63" y="66"/>
                  <a:pt x="80" y="66"/>
                </a:cubicBezTo>
                <a:cubicBezTo>
                  <a:pt x="97" y="66"/>
                  <a:pt x="110" y="53"/>
                  <a:pt x="110" y="36"/>
                </a:cubicBezTo>
                <a:cubicBezTo>
                  <a:pt x="110" y="19"/>
                  <a:pt x="97" y="6"/>
                  <a:pt x="80"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6" name="Freeform 68">
            <a:extLst>
              <a:ext uri="{FF2B5EF4-FFF2-40B4-BE49-F238E27FC236}">
                <a16:creationId xmlns:a16="http://schemas.microsoft.com/office/drawing/2014/main" id="{265EA0A1-7F70-724F-8EFA-3D3A9136BACD}"/>
              </a:ext>
            </a:extLst>
          </p:cNvPr>
          <p:cNvSpPr>
            <a:spLocks noEditPoints="1"/>
          </p:cNvSpPr>
          <p:nvPr/>
        </p:nvSpPr>
        <p:spPr bwMode="auto">
          <a:xfrm>
            <a:off x="9956336" y="3260726"/>
            <a:ext cx="601663" cy="271463"/>
          </a:xfrm>
          <a:custGeom>
            <a:avLst/>
            <a:gdLst>
              <a:gd name="T0" fmla="*/ 159 w 160"/>
              <a:gd name="T1" fmla="*/ 33 h 72"/>
              <a:gd name="T2" fmla="*/ 80 w 160"/>
              <a:gd name="T3" fmla="*/ 0 h 72"/>
              <a:gd name="T4" fmla="*/ 80 w 160"/>
              <a:gd name="T5" fmla="*/ 0 h 72"/>
              <a:gd name="T6" fmla="*/ 80 w 160"/>
              <a:gd name="T7" fmla="*/ 0 h 72"/>
              <a:gd name="T8" fmla="*/ 80 w 160"/>
              <a:gd name="T9" fmla="*/ 0 h 72"/>
              <a:gd name="T10" fmla="*/ 1 w 160"/>
              <a:gd name="T11" fmla="*/ 33 h 72"/>
              <a:gd name="T12" fmla="*/ 1 w 160"/>
              <a:gd name="T13" fmla="*/ 33 h 72"/>
              <a:gd name="T14" fmla="*/ 1 w 160"/>
              <a:gd name="T15" fmla="*/ 37 h 72"/>
              <a:gd name="T16" fmla="*/ 3 w 160"/>
              <a:gd name="T17" fmla="*/ 38 h 72"/>
              <a:gd name="T18" fmla="*/ 5 w 160"/>
              <a:gd name="T19" fmla="*/ 37 h 72"/>
              <a:gd name="T20" fmla="*/ 5 w 160"/>
              <a:gd name="T21" fmla="*/ 37 h 72"/>
              <a:gd name="T22" fmla="*/ 57 w 160"/>
              <a:gd name="T23" fmla="*/ 8 h 72"/>
              <a:gd name="T24" fmla="*/ 44 w 160"/>
              <a:gd name="T25" fmla="*/ 36 h 72"/>
              <a:gd name="T26" fmla="*/ 80 w 160"/>
              <a:gd name="T27" fmla="*/ 72 h 72"/>
              <a:gd name="T28" fmla="*/ 116 w 160"/>
              <a:gd name="T29" fmla="*/ 36 h 72"/>
              <a:gd name="T30" fmla="*/ 102 w 160"/>
              <a:gd name="T31" fmla="*/ 8 h 72"/>
              <a:gd name="T32" fmla="*/ 155 w 160"/>
              <a:gd name="T33" fmla="*/ 37 h 72"/>
              <a:gd name="T34" fmla="*/ 159 w 160"/>
              <a:gd name="T35" fmla="*/ 37 h 72"/>
              <a:gd name="T36" fmla="*/ 159 w 160"/>
              <a:gd name="T37" fmla="*/ 33 h 72"/>
              <a:gd name="T38" fmla="*/ 110 w 160"/>
              <a:gd name="T39" fmla="*/ 36 h 72"/>
              <a:gd name="T40" fmla="*/ 80 w 160"/>
              <a:gd name="T41" fmla="*/ 66 h 72"/>
              <a:gd name="T42" fmla="*/ 50 w 160"/>
              <a:gd name="T43" fmla="*/ 36 h 72"/>
              <a:gd name="T44" fmla="*/ 80 w 160"/>
              <a:gd name="T45" fmla="*/ 6 h 72"/>
              <a:gd name="T46" fmla="*/ 80 w 160"/>
              <a:gd name="T47" fmla="*/ 6 h 72"/>
              <a:gd name="T48" fmla="*/ 110 w 160"/>
              <a:gd name="T49" fmla="*/ 36 h 72"/>
              <a:gd name="T50" fmla="*/ 102 w 160"/>
              <a:gd name="T51" fmla="*/ 36 h 72"/>
              <a:gd name="T52" fmla="*/ 80 w 160"/>
              <a:gd name="T53" fmla="*/ 58 h 72"/>
              <a:gd name="T54" fmla="*/ 58 w 160"/>
              <a:gd name="T55" fmla="*/ 36 h 72"/>
              <a:gd name="T56" fmla="*/ 80 w 160"/>
              <a:gd name="T57" fmla="*/ 14 h 72"/>
              <a:gd name="T58" fmla="*/ 83 w 160"/>
              <a:gd name="T59" fmla="*/ 17 h 72"/>
              <a:gd name="T60" fmla="*/ 80 w 160"/>
              <a:gd name="T61" fmla="*/ 19 h 72"/>
              <a:gd name="T62" fmla="*/ 64 w 160"/>
              <a:gd name="T63" fmla="*/ 36 h 72"/>
              <a:gd name="T64" fmla="*/ 80 w 160"/>
              <a:gd name="T65" fmla="*/ 52 h 72"/>
              <a:gd name="T66" fmla="*/ 97 w 160"/>
              <a:gd name="T67" fmla="*/ 36 h 72"/>
              <a:gd name="T68" fmla="*/ 99 w 160"/>
              <a:gd name="T69" fmla="*/ 33 h 72"/>
              <a:gd name="T70" fmla="*/ 102 w 160"/>
              <a:gd name="T71"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72">
                <a:moveTo>
                  <a:pt x="159" y="33"/>
                </a:moveTo>
                <a:cubicBezTo>
                  <a:pt x="138" y="12"/>
                  <a:pt x="110" y="0"/>
                  <a:pt x="80" y="0"/>
                </a:cubicBezTo>
                <a:cubicBezTo>
                  <a:pt x="80" y="0"/>
                  <a:pt x="80" y="0"/>
                  <a:pt x="80" y="0"/>
                </a:cubicBezTo>
                <a:cubicBezTo>
                  <a:pt x="80" y="0"/>
                  <a:pt x="80" y="0"/>
                  <a:pt x="80" y="0"/>
                </a:cubicBezTo>
                <a:cubicBezTo>
                  <a:pt x="80" y="0"/>
                  <a:pt x="80" y="0"/>
                  <a:pt x="80" y="0"/>
                </a:cubicBezTo>
                <a:cubicBezTo>
                  <a:pt x="50" y="0"/>
                  <a:pt x="22" y="12"/>
                  <a:pt x="1" y="33"/>
                </a:cubicBezTo>
                <a:cubicBezTo>
                  <a:pt x="1" y="33"/>
                  <a:pt x="1" y="33"/>
                  <a:pt x="1" y="33"/>
                </a:cubicBezTo>
                <a:cubicBezTo>
                  <a:pt x="0" y="35"/>
                  <a:pt x="0" y="36"/>
                  <a:pt x="1" y="37"/>
                </a:cubicBezTo>
                <a:cubicBezTo>
                  <a:pt x="1" y="38"/>
                  <a:pt x="2" y="38"/>
                  <a:pt x="3" y="38"/>
                </a:cubicBezTo>
                <a:cubicBezTo>
                  <a:pt x="3" y="38"/>
                  <a:pt x="4" y="38"/>
                  <a:pt x="5" y="37"/>
                </a:cubicBezTo>
                <a:cubicBezTo>
                  <a:pt x="5" y="37"/>
                  <a:pt x="5" y="37"/>
                  <a:pt x="5" y="37"/>
                </a:cubicBezTo>
                <a:cubicBezTo>
                  <a:pt x="20" y="22"/>
                  <a:pt x="38" y="12"/>
                  <a:pt x="57" y="8"/>
                </a:cubicBezTo>
                <a:cubicBezTo>
                  <a:pt x="49" y="15"/>
                  <a:pt x="44" y="25"/>
                  <a:pt x="44" y="36"/>
                </a:cubicBezTo>
                <a:cubicBezTo>
                  <a:pt x="44" y="56"/>
                  <a:pt x="60" y="72"/>
                  <a:pt x="80" y="72"/>
                </a:cubicBezTo>
                <a:cubicBezTo>
                  <a:pt x="100" y="72"/>
                  <a:pt x="116" y="56"/>
                  <a:pt x="116" y="36"/>
                </a:cubicBezTo>
                <a:cubicBezTo>
                  <a:pt x="116" y="25"/>
                  <a:pt x="111" y="14"/>
                  <a:pt x="102" y="8"/>
                </a:cubicBezTo>
                <a:cubicBezTo>
                  <a:pt x="122" y="12"/>
                  <a:pt x="141" y="22"/>
                  <a:pt x="155" y="37"/>
                </a:cubicBezTo>
                <a:cubicBezTo>
                  <a:pt x="156" y="38"/>
                  <a:pt x="158" y="38"/>
                  <a:pt x="159" y="37"/>
                </a:cubicBezTo>
                <a:cubicBezTo>
                  <a:pt x="160" y="36"/>
                  <a:pt x="160" y="34"/>
                  <a:pt x="159" y="33"/>
                </a:cubicBezTo>
                <a:close/>
                <a:moveTo>
                  <a:pt x="110" y="36"/>
                </a:moveTo>
                <a:cubicBezTo>
                  <a:pt x="110" y="53"/>
                  <a:pt x="97" y="66"/>
                  <a:pt x="80" y="66"/>
                </a:cubicBezTo>
                <a:cubicBezTo>
                  <a:pt x="63" y="66"/>
                  <a:pt x="50" y="53"/>
                  <a:pt x="50" y="36"/>
                </a:cubicBezTo>
                <a:cubicBezTo>
                  <a:pt x="50" y="19"/>
                  <a:pt x="63" y="6"/>
                  <a:pt x="80" y="6"/>
                </a:cubicBezTo>
                <a:cubicBezTo>
                  <a:pt x="80" y="6"/>
                  <a:pt x="80" y="6"/>
                  <a:pt x="80" y="6"/>
                </a:cubicBezTo>
                <a:cubicBezTo>
                  <a:pt x="97" y="6"/>
                  <a:pt x="110" y="19"/>
                  <a:pt x="110" y="36"/>
                </a:cubicBezTo>
                <a:close/>
                <a:moveTo>
                  <a:pt x="102" y="36"/>
                </a:moveTo>
                <a:cubicBezTo>
                  <a:pt x="102" y="48"/>
                  <a:pt x="92" y="58"/>
                  <a:pt x="80" y="58"/>
                </a:cubicBezTo>
                <a:cubicBezTo>
                  <a:pt x="68" y="58"/>
                  <a:pt x="58" y="48"/>
                  <a:pt x="58" y="36"/>
                </a:cubicBezTo>
                <a:cubicBezTo>
                  <a:pt x="58" y="24"/>
                  <a:pt x="68" y="14"/>
                  <a:pt x="80" y="14"/>
                </a:cubicBezTo>
                <a:cubicBezTo>
                  <a:pt x="82" y="14"/>
                  <a:pt x="83" y="15"/>
                  <a:pt x="83" y="17"/>
                </a:cubicBezTo>
                <a:cubicBezTo>
                  <a:pt x="83" y="18"/>
                  <a:pt x="82" y="19"/>
                  <a:pt x="80" y="19"/>
                </a:cubicBezTo>
                <a:cubicBezTo>
                  <a:pt x="71" y="19"/>
                  <a:pt x="64" y="27"/>
                  <a:pt x="64" y="36"/>
                </a:cubicBezTo>
                <a:cubicBezTo>
                  <a:pt x="64" y="45"/>
                  <a:pt x="71" y="52"/>
                  <a:pt x="80" y="52"/>
                </a:cubicBezTo>
                <a:cubicBezTo>
                  <a:pt x="89" y="52"/>
                  <a:pt x="97" y="45"/>
                  <a:pt x="97" y="36"/>
                </a:cubicBezTo>
                <a:cubicBezTo>
                  <a:pt x="97" y="34"/>
                  <a:pt x="98" y="33"/>
                  <a:pt x="99" y="33"/>
                </a:cubicBezTo>
                <a:cubicBezTo>
                  <a:pt x="101" y="33"/>
                  <a:pt x="102" y="34"/>
                  <a:pt x="102" y="3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7" name="Freeform 69">
            <a:extLst>
              <a:ext uri="{FF2B5EF4-FFF2-40B4-BE49-F238E27FC236}">
                <a16:creationId xmlns:a16="http://schemas.microsoft.com/office/drawing/2014/main" id="{A1ADB20D-D3D2-1948-8701-CDBA8795780F}"/>
              </a:ext>
            </a:extLst>
          </p:cNvPr>
          <p:cNvSpPr>
            <a:spLocks noEditPoints="1"/>
          </p:cNvSpPr>
          <p:nvPr/>
        </p:nvSpPr>
        <p:spPr bwMode="auto">
          <a:xfrm>
            <a:off x="9956336" y="3865563"/>
            <a:ext cx="601663" cy="385763"/>
          </a:xfrm>
          <a:custGeom>
            <a:avLst/>
            <a:gdLst>
              <a:gd name="T0" fmla="*/ 138 w 160"/>
              <a:gd name="T1" fmla="*/ 32 h 102"/>
              <a:gd name="T2" fmla="*/ 21 w 160"/>
              <a:gd name="T3" fmla="*/ 32 h 102"/>
              <a:gd name="T4" fmla="*/ 0 w 160"/>
              <a:gd name="T5" fmla="*/ 54 h 102"/>
              <a:gd name="T6" fmla="*/ 22 w 160"/>
              <a:gd name="T7" fmla="*/ 76 h 102"/>
              <a:gd name="T8" fmla="*/ 80 w 160"/>
              <a:gd name="T9" fmla="*/ 100 h 102"/>
              <a:gd name="T10" fmla="*/ 139 w 160"/>
              <a:gd name="T11" fmla="*/ 76 h 102"/>
              <a:gd name="T12" fmla="*/ 160 w 160"/>
              <a:gd name="T13" fmla="*/ 54 h 102"/>
              <a:gd name="T14" fmla="*/ 138 w 160"/>
              <a:gd name="T15" fmla="*/ 32 h 102"/>
              <a:gd name="T16" fmla="*/ 135 w 160"/>
              <a:gd name="T17" fmla="*/ 72 h 102"/>
              <a:gd name="T18" fmla="*/ 26 w 160"/>
              <a:gd name="T19" fmla="*/ 72 h 102"/>
              <a:gd name="T20" fmla="*/ 8 w 160"/>
              <a:gd name="T21" fmla="*/ 54 h 102"/>
              <a:gd name="T22" fmla="*/ 25 w 160"/>
              <a:gd name="T23" fmla="*/ 36 h 102"/>
              <a:gd name="T24" fmla="*/ 134 w 160"/>
              <a:gd name="T25" fmla="*/ 36 h 102"/>
              <a:gd name="T26" fmla="*/ 152 w 160"/>
              <a:gd name="T27" fmla="*/ 54 h 102"/>
              <a:gd name="T28" fmla="*/ 135 w 160"/>
              <a:gd name="T29" fmla="*/ 72 h 102"/>
              <a:gd name="T30" fmla="*/ 80 w 160"/>
              <a:gd name="T31" fmla="*/ 35 h 102"/>
              <a:gd name="T32" fmla="*/ 77 w 160"/>
              <a:gd name="T33" fmla="*/ 38 h 102"/>
              <a:gd name="T34" fmla="*/ 64 w 160"/>
              <a:gd name="T35" fmla="*/ 51 h 102"/>
              <a:gd name="T36" fmla="*/ 61 w 160"/>
              <a:gd name="T37" fmla="*/ 54 h 102"/>
              <a:gd name="T38" fmla="*/ 58 w 160"/>
              <a:gd name="T39" fmla="*/ 51 h 102"/>
              <a:gd name="T40" fmla="*/ 77 w 160"/>
              <a:gd name="T41" fmla="*/ 32 h 102"/>
              <a:gd name="T42" fmla="*/ 80 w 160"/>
              <a:gd name="T43" fmla="*/ 35 h 102"/>
              <a:gd name="T44" fmla="*/ 80 w 160"/>
              <a:gd name="T45" fmla="*/ 19 h 102"/>
              <a:gd name="T46" fmla="*/ 45 w 160"/>
              <a:gd name="T47" fmla="*/ 54 h 102"/>
              <a:gd name="T48" fmla="*/ 80 w 160"/>
              <a:gd name="T49" fmla="*/ 89 h 102"/>
              <a:gd name="T50" fmla="*/ 115 w 160"/>
              <a:gd name="T51" fmla="*/ 54 h 102"/>
              <a:gd name="T52" fmla="*/ 80 w 160"/>
              <a:gd name="T53" fmla="*/ 19 h 102"/>
              <a:gd name="T54" fmla="*/ 80 w 160"/>
              <a:gd name="T55" fmla="*/ 83 h 102"/>
              <a:gd name="T56" fmla="*/ 50 w 160"/>
              <a:gd name="T57" fmla="*/ 54 h 102"/>
              <a:gd name="T58" fmla="*/ 80 w 160"/>
              <a:gd name="T59" fmla="*/ 24 h 102"/>
              <a:gd name="T60" fmla="*/ 110 w 160"/>
              <a:gd name="T61" fmla="*/ 54 h 102"/>
              <a:gd name="T62" fmla="*/ 80 w 160"/>
              <a:gd name="T63" fmla="*/ 8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02">
                <a:moveTo>
                  <a:pt x="138" y="32"/>
                </a:moveTo>
                <a:cubicBezTo>
                  <a:pt x="106" y="0"/>
                  <a:pt x="54" y="0"/>
                  <a:pt x="21" y="32"/>
                </a:cubicBezTo>
                <a:cubicBezTo>
                  <a:pt x="0" y="54"/>
                  <a:pt x="0" y="54"/>
                  <a:pt x="0" y="54"/>
                </a:cubicBezTo>
                <a:cubicBezTo>
                  <a:pt x="22" y="76"/>
                  <a:pt x="22" y="76"/>
                  <a:pt x="22" y="76"/>
                </a:cubicBezTo>
                <a:cubicBezTo>
                  <a:pt x="38" y="92"/>
                  <a:pt x="59" y="100"/>
                  <a:pt x="80" y="100"/>
                </a:cubicBezTo>
                <a:cubicBezTo>
                  <a:pt x="101" y="100"/>
                  <a:pt x="122" y="92"/>
                  <a:pt x="139" y="76"/>
                </a:cubicBezTo>
                <a:cubicBezTo>
                  <a:pt x="160" y="54"/>
                  <a:pt x="160" y="54"/>
                  <a:pt x="160" y="54"/>
                </a:cubicBezTo>
                <a:lnTo>
                  <a:pt x="138" y="32"/>
                </a:lnTo>
                <a:close/>
                <a:moveTo>
                  <a:pt x="135" y="72"/>
                </a:moveTo>
                <a:cubicBezTo>
                  <a:pt x="105" y="102"/>
                  <a:pt x="56" y="102"/>
                  <a:pt x="26" y="72"/>
                </a:cubicBezTo>
                <a:cubicBezTo>
                  <a:pt x="8" y="54"/>
                  <a:pt x="8" y="54"/>
                  <a:pt x="8" y="54"/>
                </a:cubicBezTo>
                <a:cubicBezTo>
                  <a:pt x="25" y="36"/>
                  <a:pt x="25" y="36"/>
                  <a:pt x="25" y="36"/>
                </a:cubicBezTo>
                <a:cubicBezTo>
                  <a:pt x="55" y="6"/>
                  <a:pt x="104" y="6"/>
                  <a:pt x="134" y="36"/>
                </a:cubicBezTo>
                <a:cubicBezTo>
                  <a:pt x="152" y="54"/>
                  <a:pt x="152" y="54"/>
                  <a:pt x="152" y="54"/>
                </a:cubicBezTo>
                <a:lnTo>
                  <a:pt x="135" y="72"/>
                </a:lnTo>
                <a:close/>
                <a:moveTo>
                  <a:pt x="80" y="35"/>
                </a:moveTo>
                <a:cubicBezTo>
                  <a:pt x="80" y="36"/>
                  <a:pt x="79" y="38"/>
                  <a:pt x="77" y="38"/>
                </a:cubicBezTo>
                <a:cubicBezTo>
                  <a:pt x="70" y="38"/>
                  <a:pt x="64" y="44"/>
                  <a:pt x="64" y="51"/>
                </a:cubicBezTo>
                <a:cubicBezTo>
                  <a:pt x="64" y="53"/>
                  <a:pt x="62" y="54"/>
                  <a:pt x="61" y="54"/>
                </a:cubicBezTo>
                <a:cubicBezTo>
                  <a:pt x="60" y="54"/>
                  <a:pt x="58" y="53"/>
                  <a:pt x="58" y="51"/>
                </a:cubicBezTo>
                <a:cubicBezTo>
                  <a:pt x="58" y="41"/>
                  <a:pt x="67" y="32"/>
                  <a:pt x="77" y="32"/>
                </a:cubicBezTo>
                <a:cubicBezTo>
                  <a:pt x="79" y="32"/>
                  <a:pt x="80" y="33"/>
                  <a:pt x="80" y="35"/>
                </a:cubicBezTo>
                <a:close/>
                <a:moveTo>
                  <a:pt x="80" y="19"/>
                </a:moveTo>
                <a:cubicBezTo>
                  <a:pt x="61" y="19"/>
                  <a:pt x="45" y="34"/>
                  <a:pt x="45" y="54"/>
                </a:cubicBezTo>
                <a:cubicBezTo>
                  <a:pt x="45" y="73"/>
                  <a:pt x="61" y="89"/>
                  <a:pt x="80" y="89"/>
                </a:cubicBezTo>
                <a:cubicBezTo>
                  <a:pt x="99" y="89"/>
                  <a:pt x="115" y="73"/>
                  <a:pt x="115" y="54"/>
                </a:cubicBezTo>
                <a:cubicBezTo>
                  <a:pt x="115" y="34"/>
                  <a:pt x="99" y="19"/>
                  <a:pt x="80" y="19"/>
                </a:cubicBezTo>
                <a:close/>
                <a:moveTo>
                  <a:pt x="80" y="83"/>
                </a:moveTo>
                <a:cubicBezTo>
                  <a:pt x="64" y="83"/>
                  <a:pt x="50" y="70"/>
                  <a:pt x="50" y="54"/>
                </a:cubicBezTo>
                <a:cubicBezTo>
                  <a:pt x="50" y="37"/>
                  <a:pt x="64" y="24"/>
                  <a:pt x="80" y="24"/>
                </a:cubicBezTo>
                <a:cubicBezTo>
                  <a:pt x="96" y="24"/>
                  <a:pt x="110" y="37"/>
                  <a:pt x="110" y="54"/>
                </a:cubicBezTo>
                <a:cubicBezTo>
                  <a:pt x="110" y="70"/>
                  <a:pt x="96" y="83"/>
                  <a:pt x="80" y="8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8" name="Freeform 70">
            <a:extLst>
              <a:ext uri="{FF2B5EF4-FFF2-40B4-BE49-F238E27FC236}">
                <a16:creationId xmlns:a16="http://schemas.microsoft.com/office/drawing/2014/main" id="{C640174C-3515-2F42-9B77-B5EB58E41A3D}"/>
              </a:ext>
            </a:extLst>
          </p:cNvPr>
          <p:cNvSpPr>
            <a:spLocks noEditPoints="1"/>
          </p:cNvSpPr>
          <p:nvPr/>
        </p:nvSpPr>
        <p:spPr bwMode="auto">
          <a:xfrm>
            <a:off x="9956336" y="4456113"/>
            <a:ext cx="601663" cy="596900"/>
          </a:xfrm>
          <a:custGeom>
            <a:avLst/>
            <a:gdLst>
              <a:gd name="T0" fmla="*/ 43 w 160"/>
              <a:gd name="T1" fmla="*/ 68 h 158"/>
              <a:gd name="T2" fmla="*/ 43 w 160"/>
              <a:gd name="T3" fmla="*/ 143 h 158"/>
              <a:gd name="T4" fmla="*/ 117 w 160"/>
              <a:gd name="T5" fmla="*/ 143 h 158"/>
              <a:gd name="T6" fmla="*/ 117 w 160"/>
              <a:gd name="T7" fmla="*/ 68 h 158"/>
              <a:gd name="T8" fmla="*/ 113 w 160"/>
              <a:gd name="T9" fmla="*/ 139 h 158"/>
              <a:gd name="T10" fmla="*/ 47 w 160"/>
              <a:gd name="T11" fmla="*/ 139 h 158"/>
              <a:gd name="T12" fmla="*/ 47 w 160"/>
              <a:gd name="T13" fmla="*/ 73 h 158"/>
              <a:gd name="T14" fmla="*/ 111 w 160"/>
              <a:gd name="T15" fmla="*/ 71 h 158"/>
              <a:gd name="T16" fmla="*/ 78 w 160"/>
              <a:gd name="T17" fmla="*/ 108 h 158"/>
              <a:gd name="T18" fmla="*/ 82 w 160"/>
              <a:gd name="T19" fmla="*/ 108 h 158"/>
              <a:gd name="T20" fmla="*/ 127 w 160"/>
              <a:gd name="T21" fmla="*/ 106 h 158"/>
              <a:gd name="T22" fmla="*/ 77 w 160"/>
              <a:gd name="T23" fmla="*/ 22 h 158"/>
              <a:gd name="T24" fmla="*/ 80 w 160"/>
              <a:gd name="T25" fmla="*/ 0 h 158"/>
              <a:gd name="T26" fmla="*/ 83 w 160"/>
              <a:gd name="T27" fmla="*/ 22 h 158"/>
              <a:gd name="T28" fmla="*/ 77 w 160"/>
              <a:gd name="T29" fmla="*/ 22 h 158"/>
              <a:gd name="T30" fmla="*/ 146 w 160"/>
              <a:gd name="T31" fmla="*/ 50 h 158"/>
              <a:gd name="T32" fmla="*/ 142 w 160"/>
              <a:gd name="T33" fmla="*/ 50 h 158"/>
              <a:gd name="T34" fmla="*/ 155 w 160"/>
              <a:gd name="T35" fmla="*/ 33 h 158"/>
              <a:gd name="T36" fmla="*/ 159 w 160"/>
              <a:gd name="T37" fmla="*/ 37 h 158"/>
              <a:gd name="T38" fmla="*/ 18 w 160"/>
              <a:gd name="T39" fmla="*/ 50 h 158"/>
              <a:gd name="T40" fmla="*/ 14 w 160"/>
              <a:gd name="T41" fmla="*/ 50 h 158"/>
              <a:gd name="T42" fmla="*/ 1 w 160"/>
              <a:gd name="T43" fmla="*/ 33 h 158"/>
              <a:gd name="T44" fmla="*/ 18 w 160"/>
              <a:gd name="T45" fmla="*/ 46 h 158"/>
              <a:gd name="T46" fmla="*/ 105 w 160"/>
              <a:gd name="T47" fmla="*/ 6 h 158"/>
              <a:gd name="T48" fmla="*/ 111 w 160"/>
              <a:gd name="T49" fmla="*/ 8 h 158"/>
              <a:gd name="T50" fmla="*/ 103 w 160"/>
              <a:gd name="T51" fmla="*/ 28 h 158"/>
              <a:gd name="T52" fmla="*/ 100 w 160"/>
              <a:gd name="T53" fmla="*/ 24 h 158"/>
              <a:gd name="T54" fmla="*/ 51 w 160"/>
              <a:gd name="T55" fmla="*/ 4 h 158"/>
              <a:gd name="T56" fmla="*/ 60 w 160"/>
              <a:gd name="T57" fmla="*/ 24 h 158"/>
              <a:gd name="T58" fmla="*/ 57 w 160"/>
              <a:gd name="T59" fmla="*/ 28 h 158"/>
              <a:gd name="T60" fmla="*/ 49 w 160"/>
              <a:gd name="T61" fmla="*/ 8 h 158"/>
              <a:gd name="T62" fmla="*/ 128 w 160"/>
              <a:gd name="T63" fmla="*/ 35 h 158"/>
              <a:gd name="T64" fmla="*/ 123 w 160"/>
              <a:gd name="T65" fmla="*/ 37 h 158"/>
              <a:gd name="T66" fmla="*/ 132 w 160"/>
              <a:gd name="T67" fmla="*/ 16 h 158"/>
              <a:gd name="T68" fmla="*/ 137 w 160"/>
              <a:gd name="T69" fmla="*/ 19 h 158"/>
              <a:gd name="T70" fmla="*/ 23 w 160"/>
              <a:gd name="T71" fmla="*/ 19 h 158"/>
              <a:gd name="T72" fmla="*/ 28 w 160"/>
              <a:gd name="T73" fmla="*/ 16 h 158"/>
              <a:gd name="T74" fmla="*/ 37 w 160"/>
              <a:gd name="T75" fmla="*/ 37 h 158"/>
              <a:gd name="T76" fmla="*/ 32 w 160"/>
              <a:gd name="T77" fmla="*/ 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58">
                <a:moveTo>
                  <a:pt x="80" y="53"/>
                </a:moveTo>
                <a:cubicBezTo>
                  <a:pt x="66" y="53"/>
                  <a:pt x="53" y="58"/>
                  <a:pt x="43" y="68"/>
                </a:cubicBezTo>
                <a:cubicBezTo>
                  <a:pt x="33" y="78"/>
                  <a:pt x="27" y="92"/>
                  <a:pt x="27" y="106"/>
                </a:cubicBezTo>
                <a:cubicBezTo>
                  <a:pt x="27" y="120"/>
                  <a:pt x="33" y="133"/>
                  <a:pt x="43" y="143"/>
                </a:cubicBezTo>
                <a:cubicBezTo>
                  <a:pt x="53" y="153"/>
                  <a:pt x="66" y="158"/>
                  <a:pt x="80" y="158"/>
                </a:cubicBezTo>
                <a:cubicBezTo>
                  <a:pt x="94" y="158"/>
                  <a:pt x="107" y="153"/>
                  <a:pt x="117" y="143"/>
                </a:cubicBezTo>
                <a:cubicBezTo>
                  <a:pt x="127" y="133"/>
                  <a:pt x="133" y="120"/>
                  <a:pt x="133" y="106"/>
                </a:cubicBezTo>
                <a:cubicBezTo>
                  <a:pt x="133" y="92"/>
                  <a:pt x="127" y="78"/>
                  <a:pt x="117" y="68"/>
                </a:cubicBezTo>
                <a:cubicBezTo>
                  <a:pt x="107" y="58"/>
                  <a:pt x="94" y="53"/>
                  <a:pt x="80" y="53"/>
                </a:cubicBezTo>
                <a:close/>
                <a:moveTo>
                  <a:pt x="113" y="139"/>
                </a:moveTo>
                <a:cubicBezTo>
                  <a:pt x="104" y="147"/>
                  <a:pt x="92" y="152"/>
                  <a:pt x="80" y="152"/>
                </a:cubicBezTo>
                <a:cubicBezTo>
                  <a:pt x="68" y="152"/>
                  <a:pt x="56" y="147"/>
                  <a:pt x="47" y="139"/>
                </a:cubicBezTo>
                <a:cubicBezTo>
                  <a:pt x="38" y="130"/>
                  <a:pt x="33" y="118"/>
                  <a:pt x="33" y="106"/>
                </a:cubicBezTo>
                <a:cubicBezTo>
                  <a:pt x="33" y="93"/>
                  <a:pt x="38" y="81"/>
                  <a:pt x="47" y="73"/>
                </a:cubicBezTo>
                <a:cubicBezTo>
                  <a:pt x="56" y="64"/>
                  <a:pt x="68" y="59"/>
                  <a:pt x="80" y="59"/>
                </a:cubicBezTo>
                <a:cubicBezTo>
                  <a:pt x="91" y="59"/>
                  <a:pt x="102" y="63"/>
                  <a:pt x="111" y="71"/>
                </a:cubicBezTo>
                <a:cubicBezTo>
                  <a:pt x="78" y="103"/>
                  <a:pt x="78" y="103"/>
                  <a:pt x="78" y="103"/>
                </a:cubicBezTo>
                <a:cubicBezTo>
                  <a:pt x="77" y="105"/>
                  <a:pt x="77" y="107"/>
                  <a:pt x="78" y="108"/>
                </a:cubicBezTo>
                <a:cubicBezTo>
                  <a:pt x="78" y="108"/>
                  <a:pt x="79" y="109"/>
                  <a:pt x="80" y="109"/>
                </a:cubicBezTo>
                <a:cubicBezTo>
                  <a:pt x="81" y="109"/>
                  <a:pt x="82" y="108"/>
                  <a:pt x="82" y="108"/>
                </a:cubicBezTo>
                <a:cubicBezTo>
                  <a:pt x="115" y="75"/>
                  <a:pt x="115" y="75"/>
                  <a:pt x="115" y="75"/>
                </a:cubicBezTo>
                <a:cubicBezTo>
                  <a:pt x="122" y="83"/>
                  <a:pt x="127" y="94"/>
                  <a:pt x="127" y="106"/>
                </a:cubicBezTo>
                <a:cubicBezTo>
                  <a:pt x="127" y="118"/>
                  <a:pt x="122" y="130"/>
                  <a:pt x="113" y="139"/>
                </a:cubicBezTo>
                <a:close/>
                <a:moveTo>
                  <a:pt x="77" y="22"/>
                </a:moveTo>
                <a:cubicBezTo>
                  <a:pt x="77" y="3"/>
                  <a:pt x="77" y="3"/>
                  <a:pt x="77" y="3"/>
                </a:cubicBezTo>
                <a:cubicBezTo>
                  <a:pt x="77" y="1"/>
                  <a:pt x="78" y="0"/>
                  <a:pt x="80" y="0"/>
                </a:cubicBezTo>
                <a:cubicBezTo>
                  <a:pt x="82" y="0"/>
                  <a:pt x="83" y="1"/>
                  <a:pt x="83" y="3"/>
                </a:cubicBezTo>
                <a:cubicBezTo>
                  <a:pt x="83" y="22"/>
                  <a:pt x="83" y="22"/>
                  <a:pt x="83" y="22"/>
                </a:cubicBezTo>
                <a:cubicBezTo>
                  <a:pt x="83" y="23"/>
                  <a:pt x="82" y="25"/>
                  <a:pt x="80" y="25"/>
                </a:cubicBezTo>
                <a:cubicBezTo>
                  <a:pt x="78" y="25"/>
                  <a:pt x="77" y="23"/>
                  <a:pt x="77" y="22"/>
                </a:cubicBezTo>
                <a:close/>
                <a:moveTo>
                  <a:pt x="159" y="37"/>
                </a:moveTo>
                <a:cubicBezTo>
                  <a:pt x="146" y="50"/>
                  <a:pt x="146" y="50"/>
                  <a:pt x="146" y="50"/>
                </a:cubicBezTo>
                <a:cubicBezTo>
                  <a:pt x="145" y="51"/>
                  <a:pt x="145" y="51"/>
                  <a:pt x="144" y="51"/>
                </a:cubicBezTo>
                <a:cubicBezTo>
                  <a:pt x="143" y="51"/>
                  <a:pt x="142" y="51"/>
                  <a:pt x="142" y="50"/>
                </a:cubicBezTo>
                <a:cubicBezTo>
                  <a:pt x="140" y="49"/>
                  <a:pt x="140" y="47"/>
                  <a:pt x="142" y="46"/>
                </a:cubicBezTo>
                <a:cubicBezTo>
                  <a:pt x="155" y="33"/>
                  <a:pt x="155" y="33"/>
                  <a:pt x="155" y="33"/>
                </a:cubicBezTo>
                <a:cubicBezTo>
                  <a:pt x="156" y="32"/>
                  <a:pt x="158" y="32"/>
                  <a:pt x="159" y="33"/>
                </a:cubicBezTo>
                <a:cubicBezTo>
                  <a:pt x="160" y="34"/>
                  <a:pt x="160" y="36"/>
                  <a:pt x="159" y="37"/>
                </a:cubicBezTo>
                <a:close/>
                <a:moveTo>
                  <a:pt x="18" y="46"/>
                </a:moveTo>
                <a:cubicBezTo>
                  <a:pt x="20" y="47"/>
                  <a:pt x="20" y="49"/>
                  <a:pt x="18" y="50"/>
                </a:cubicBezTo>
                <a:cubicBezTo>
                  <a:pt x="18" y="51"/>
                  <a:pt x="17" y="51"/>
                  <a:pt x="16" y="51"/>
                </a:cubicBezTo>
                <a:cubicBezTo>
                  <a:pt x="15" y="51"/>
                  <a:pt x="15" y="51"/>
                  <a:pt x="14" y="50"/>
                </a:cubicBezTo>
                <a:cubicBezTo>
                  <a:pt x="1" y="37"/>
                  <a:pt x="1" y="37"/>
                  <a:pt x="1" y="37"/>
                </a:cubicBezTo>
                <a:cubicBezTo>
                  <a:pt x="0" y="36"/>
                  <a:pt x="0" y="34"/>
                  <a:pt x="1" y="33"/>
                </a:cubicBezTo>
                <a:cubicBezTo>
                  <a:pt x="2" y="32"/>
                  <a:pt x="4" y="32"/>
                  <a:pt x="5" y="33"/>
                </a:cubicBezTo>
                <a:lnTo>
                  <a:pt x="18" y="46"/>
                </a:lnTo>
                <a:close/>
                <a:moveTo>
                  <a:pt x="100" y="24"/>
                </a:moveTo>
                <a:cubicBezTo>
                  <a:pt x="105" y="6"/>
                  <a:pt x="105" y="6"/>
                  <a:pt x="105" y="6"/>
                </a:cubicBezTo>
                <a:cubicBezTo>
                  <a:pt x="106" y="4"/>
                  <a:pt x="107" y="3"/>
                  <a:pt x="109" y="4"/>
                </a:cubicBezTo>
                <a:cubicBezTo>
                  <a:pt x="111" y="4"/>
                  <a:pt x="112" y="6"/>
                  <a:pt x="111" y="8"/>
                </a:cubicBezTo>
                <a:cubicBezTo>
                  <a:pt x="106" y="26"/>
                  <a:pt x="106" y="26"/>
                  <a:pt x="106" y="26"/>
                </a:cubicBezTo>
                <a:cubicBezTo>
                  <a:pt x="106" y="27"/>
                  <a:pt x="105" y="28"/>
                  <a:pt x="103" y="28"/>
                </a:cubicBezTo>
                <a:cubicBezTo>
                  <a:pt x="103" y="28"/>
                  <a:pt x="103" y="28"/>
                  <a:pt x="103" y="28"/>
                </a:cubicBezTo>
                <a:cubicBezTo>
                  <a:pt x="101" y="27"/>
                  <a:pt x="100" y="26"/>
                  <a:pt x="100" y="24"/>
                </a:cubicBezTo>
                <a:close/>
                <a:moveTo>
                  <a:pt x="49" y="8"/>
                </a:moveTo>
                <a:cubicBezTo>
                  <a:pt x="48" y="6"/>
                  <a:pt x="49" y="4"/>
                  <a:pt x="51" y="4"/>
                </a:cubicBezTo>
                <a:cubicBezTo>
                  <a:pt x="53" y="3"/>
                  <a:pt x="54" y="4"/>
                  <a:pt x="55" y="6"/>
                </a:cubicBezTo>
                <a:cubicBezTo>
                  <a:pt x="60" y="24"/>
                  <a:pt x="60" y="24"/>
                  <a:pt x="60" y="24"/>
                </a:cubicBezTo>
                <a:cubicBezTo>
                  <a:pt x="60" y="26"/>
                  <a:pt x="59" y="27"/>
                  <a:pt x="57" y="28"/>
                </a:cubicBezTo>
                <a:cubicBezTo>
                  <a:pt x="57" y="28"/>
                  <a:pt x="57" y="28"/>
                  <a:pt x="57" y="28"/>
                </a:cubicBezTo>
                <a:cubicBezTo>
                  <a:pt x="55" y="28"/>
                  <a:pt x="54" y="27"/>
                  <a:pt x="54" y="26"/>
                </a:cubicBezTo>
                <a:lnTo>
                  <a:pt x="49" y="8"/>
                </a:lnTo>
                <a:close/>
                <a:moveTo>
                  <a:pt x="137" y="19"/>
                </a:moveTo>
                <a:cubicBezTo>
                  <a:pt x="128" y="35"/>
                  <a:pt x="128" y="35"/>
                  <a:pt x="128" y="35"/>
                </a:cubicBezTo>
                <a:cubicBezTo>
                  <a:pt x="127" y="36"/>
                  <a:pt x="126" y="37"/>
                  <a:pt x="125" y="37"/>
                </a:cubicBezTo>
                <a:cubicBezTo>
                  <a:pt x="125" y="37"/>
                  <a:pt x="124" y="37"/>
                  <a:pt x="123" y="37"/>
                </a:cubicBezTo>
                <a:cubicBezTo>
                  <a:pt x="122" y="36"/>
                  <a:pt x="122" y="34"/>
                  <a:pt x="122" y="32"/>
                </a:cubicBezTo>
                <a:cubicBezTo>
                  <a:pt x="132" y="16"/>
                  <a:pt x="132" y="16"/>
                  <a:pt x="132" y="16"/>
                </a:cubicBezTo>
                <a:cubicBezTo>
                  <a:pt x="133" y="15"/>
                  <a:pt x="134" y="14"/>
                  <a:pt x="136" y="15"/>
                </a:cubicBezTo>
                <a:cubicBezTo>
                  <a:pt x="137" y="16"/>
                  <a:pt x="138" y="18"/>
                  <a:pt x="137" y="19"/>
                </a:cubicBezTo>
                <a:close/>
                <a:moveTo>
                  <a:pt x="32" y="35"/>
                </a:moveTo>
                <a:cubicBezTo>
                  <a:pt x="23" y="19"/>
                  <a:pt x="23" y="19"/>
                  <a:pt x="23" y="19"/>
                </a:cubicBezTo>
                <a:cubicBezTo>
                  <a:pt x="22" y="18"/>
                  <a:pt x="23" y="16"/>
                  <a:pt x="24" y="15"/>
                </a:cubicBezTo>
                <a:cubicBezTo>
                  <a:pt x="26" y="14"/>
                  <a:pt x="27" y="15"/>
                  <a:pt x="28" y="16"/>
                </a:cubicBezTo>
                <a:cubicBezTo>
                  <a:pt x="38" y="32"/>
                  <a:pt x="38" y="32"/>
                  <a:pt x="38" y="32"/>
                </a:cubicBezTo>
                <a:cubicBezTo>
                  <a:pt x="39" y="34"/>
                  <a:pt x="38" y="36"/>
                  <a:pt x="37" y="37"/>
                </a:cubicBezTo>
                <a:cubicBezTo>
                  <a:pt x="36" y="37"/>
                  <a:pt x="35" y="37"/>
                  <a:pt x="35" y="37"/>
                </a:cubicBezTo>
                <a:cubicBezTo>
                  <a:pt x="34" y="37"/>
                  <a:pt x="33" y="36"/>
                  <a:pt x="32"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9" name="Freeform 71">
            <a:extLst>
              <a:ext uri="{FF2B5EF4-FFF2-40B4-BE49-F238E27FC236}">
                <a16:creationId xmlns:a16="http://schemas.microsoft.com/office/drawing/2014/main" id="{1EE6E5CE-5E09-4A48-B790-6093B20EE352}"/>
              </a:ext>
            </a:extLst>
          </p:cNvPr>
          <p:cNvSpPr>
            <a:spLocks noEditPoints="1"/>
          </p:cNvSpPr>
          <p:nvPr/>
        </p:nvSpPr>
        <p:spPr bwMode="auto">
          <a:xfrm>
            <a:off x="9956336" y="5197476"/>
            <a:ext cx="601663" cy="484188"/>
          </a:xfrm>
          <a:custGeom>
            <a:avLst/>
            <a:gdLst>
              <a:gd name="T0" fmla="*/ 160 w 160"/>
              <a:gd name="T1" fmla="*/ 80 h 128"/>
              <a:gd name="T2" fmla="*/ 157 w 160"/>
              <a:gd name="T3" fmla="*/ 83 h 128"/>
              <a:gd name="T4" fmla="*/ 155 w 160"/>
              <a:gd name="T5" fmla="*/ 80 h 128"/>
              <a:gd name="T6" fmla="*/ 80 w 160"/>
              <a:gd name="T7" fmla="*/ 5 h 128"/>
              <a:gd name="T8" fmla="*/ 5 w 160"/>
              <a:gd name="T9" fmla="*/ 80 h 128"/>
              <a:gd name="T10" fmla="*/ 3 w 160"/>
              <a:gd name="T11" fmla="*/ 83 h 128"/>
              <a:gd name="T12" fmla="*/ 0 w 160"/>
              <a:gd name="T13" fmla="*/ 80 h 128"/>
              <a:gd name="T14" fmla="*/ 80 w 160"/>
              <a:gd name="T15" fmla="*/ 0 h 128"/>
              <a:gd name="T16" fmla="*/ 160 w 160"/>
              <a:gd name="T17" fmla="*/ 80 h 128"/>
              <a:gd name="T18" fmla="*/ 112 w 160"/>
              <a:gd name="T19" fmla="*/ 51 h 128"/>
              <a:gd name="T20" fmla="*/ 125 w 160"/>
              <a:gd name="T21" fmla="*/ 83 h 128"/>
              <a:gd name="T22" fmla="*/ 112 w 160"/>
              <a:gd name="T23" fmla="*/ 115 h 128"/>
              <a:gd name="T24" fmla="*/ 80 w 160"/>
              <a:gd name="T25" fmla="*/ 128 h 128"/>
              <a:gd name="T26" fmla="*/ 48 w 160"/>
              <a:gd name="T27" fmla="*/ 115 h 128"/>
              <a:gd name="T28" fmla="*/ 35 w 160"/>
              <a:gd name="T29" fmla="*/ 83 h 128"/>
              <a:gd name="T30" fmla="*/ 48 w 160"/>
              <a:gd name="T31" fmla="*/ 51 h 128"/>
              <a:gd name="T32" fmla="*/ 80 w 160"/>
              <a:gd name="T33" fmla="*/ 37 h 128"/>
              <a:gd name="T34" fmla="*/ 112 w 160"/>
              <a:gd name="T35" fmla="*/ 51 h 128"/>
              <a:gd name="T36" fmla="*/ 120 w 160"/>
              <a:gd name="T37" fmla="*/ 83 h 128"/>
              <a:gd name="T38" fmla="*/ 110 w 160"/>
              <a:gd name="T39" fmla="*/ 56 h 128"/>
              <a:gd name="T40" fmla="*/ 82 w 160"/>
              <a:gd name="T41" fmla="*/ 85 h 128"/>
              <a:gd name="T42" fmla="*/ 80 w 160"/>
              <a:gd name="T43" fmla="*/ 85 h 128"/>
              <a:gd name="T44" fmla="*/ 78 w 160"/>
              <a:gd name="T45" fmla="*/ 85 h 128"/>
              <a:gd name="T46" fmla="*/ 78 w 160"/>
              <a:gd name="T47" fmla="*/ 81 h 128"/>
              <a:gd name="T48" fmla="*/ 106 w 160"/>
              <a:gd name="T49" fmla="*/ 53 h 128"/>
              <a:gd name="T50" fmla="*/ 80 w 160"/>
              <a:gd name="T51" fmla="*/ 43 h 128"/>
              <a:gd name="T52" fmla="*/ 52 w 160"/>
              <a:gd name="T53" fmla="*/ 54 h 128"/>
              <a:gd name="T54" fmla="*/ 40 w 160"/>
              <a:gd name="T55" fmla="*/ 83 h 128"/>
              <a:gd name="T56" fmla="*/ 52 w 160"/>
              <a:gd name="T57" fmla="*/ 111 h 128"/>
              <a:gd name="T58" fmla="*/ 80 w 160"/>
              <a:gd name="T59" fmla="*/ 123 h 128"/>
              <a:gd name="T60" fmla="*/ 108 w 160"/>
              <a:gd name="T61" fmla="*/ 111 h 128"/>
              <a:gd name="T62" fmla="*/ 120 w 160"/>
              <a:gd name="T63" fmla="*/ 8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28">
                <a:moveTo>
                  <a:pt x="160" y="80"/>
                </a:moveTo>
                <a:cubicBezTo>
                  <a:pt x="160" y="81"/>
                  <a:pt x="159" y="83"/>
                  <a:pt x="157" y="83"/>
                </a:cubicBezTo>
                <a:cubicBezTo>
                  <a:pt x="156" y="83"/>
                  <a:pt x="155" y="81"/>
                  <a:pt x="155" y="80"/>
                </a:cubicBezTo>
                <a:cubicBezTo>
                  <a:pt x="155" y="39"/>
                  <a:pt x="121" y="5"/>
                  <a:pt x="80" y="5"/>
                </a:cubicBezTo>
                <a:cubicBezTo>
                  <a:pt x="39" y="5"/>
                  <a:pt x="5" y="39"/>
                  <a:pt x="5" y="80"/>
                </a:cubicBezTo>
                <a:cubicBezTo>
                  <a:pt x="5" y="81"/>
                  <a:pt x="4" y="83"/>
                  <a:pt x="3" y="83"/>
                </a:cubicBezTo>
                <a:cubicBezTo>
                  <a:pt x="1" y="83"/>
                  <a:pt x="0" y="81"/>
                  <a:pt x="0" y="80"/>
                </a:cubicBezTo>
                <a:cubicBezTo>
                  <a:pt x="0" y="36"/>
                  <a:pt x="36" y="0"/>
                  <a:pt x="80" y="0"/>
                </a:cubicBezTo>
                <a:cubicBezTo>
                  <a:pt x="124" y="0"/>
                  <a:pt x="160" y="36"/>
                  <a:pt x="160" y="80"/>
                </a:cubicBezTo>
                <a:close/>
                <a:moveTo>
                  <a:pt x="112" y="51"/>
                </a:moveTo>
                <a:cubicBezTo>
                  <a:pt x="121" y="59"/>
                  <a:pt x="125" y="71"/>
                  <a:pt x="125" y="83"/>
                </a:cubicBezTo>
                <a:cubicBezTo>
                  <a:pt x="125" y="95"/>
                  <a:pt x="121" y="106"/>
                  <a:pt x="112" y="115"/>
                </a:cubicBezTo>
                <a:cubicBezTo>
                  <a:pt x="103" y="123"/>
                  <a:pt x="92" y="128"/>
                  <a:pt x="80" y="128"/>
                </a:cubicBezTo>
                <a:cubicBezTo>
                  <a:pt x="68" y="128"/>
                  <a:pt x="57" y="123"/>
                  <a:pt x="48" y="115"/>
                </a:cubicBezTo>
                <a:cubicBezTo>
                  <a:pt x="39" y="106"/>
                  <a:pt x="35" y="95"/>
                  <a:pt x="35" y="83"/>
                </a:cubicBezTo>
                <a:cubicBezTo>
                  <a:pt x="35" y="71"/>
                  <a:pt x="39" y="59"/>
                  <a:pt x="48" y="51"/>
                </a:cubicBezTo>
                <a:cubicBezTo>
                  <a:pt x="57" y="42"/>
                  <a:pt x="68" y="37"/>
                  <a:pt x="80" y="37"/>
                </a:cubicBezTo>
                <a:cubicBezTo>
                  <a:pt x="92" y="37"/>
                  <a:pt x="103" y="42"/>
                  <a:pt x="112" y="51"/>
                </a:cubicBezTo>
                <a:close/>
                <a:moveTo>
                  <a:pt x="120" y="83"/>
                </a:moveTo>
                <a:cubicBezTo>
                  <a:pt x="120" y="73"/>
                  <a:pt x="116" y="64"/>
                  <a:pt x="110" y="56"/>
                </a:cubicBezTo>
                <a:cubicBezTo>
                  <a:pt x="82" y="85"/>
                  <a:pt x="82" y="85"/>
                  <a:pt x="82" y="85"/>
                </a:cubicBezTo>
                <a:cubicBezTo>
                  <a:pt x="81" y="85"/>
                  <a:pt x="81" y="85"/>
                  <a:pt x="80" y="85"/>
                </a:cubicBezTo>
                <a:cubicBezTo>
                  <a:pt x="79" y="85"/>
                  <a:pt x="79" y="85"/>
                  <a:pt x="78" y="85"/>
                </a:cubicBezTo>
                <a:cubicBezTo>
                  <a:pt x="77" y="84"/>
                  <a:pt x="77" y="82"/>
                  <a:pt x="78" y="81"/>
                </a:cubicBezTo>
                <a:cubicBezTo>
                  <a:pt x="106" y="53"/>
                  <a:pt x="106" y="53"/>
                  <a:pt x="106" y="53"/>
                </a:cubicBezTo>
                <a:cubicBezTo>
                  <a:pt x="99" y="46"/>
                  <a:pt x="90" y="43"/>
                  <a:pt x="80" y="43"/>
                </a:cubicBezTo>
                <a:cubicBezTo>
                  <a:pt x="69" y="43"/>
                  <a:pt x="59" y="47"/>
                  <a:pt x="52" y="54"/>
                </a:cubicBezTo>
                <a:cubicBezTo>
                  <a:pt x="44" y="62"/>
                  <a:pt x="40" y="72"/>
                  <a:pt x="40" y="83"/>
                </a:cubicBezTo>
                <a:cubicBezTo>
                  <a:pt x="40" y="93"/>
                  <a:pt x="44" y="103"/>
                  <a:pt x="52" y="111"/>
                </a:cubicBezTo>
                <a:cubicBezTo>
                  <a:pt x="59" y="119"/>
                  <a:pt x="69" y="123"/>
                  <a:pt x="80" y="123"/>
                </a:cubicBezTo>
                <a:cubicBezTo>
                  <a:pt x="91" y="123"/>
                  <a:pt x="101" y="119"/>
                  <a:pt x="108" y="111"/>
                </a:cubicBezTo>
                <a:cubicBezTo>
                  <a:pt x="116" y="103"/>
                  <a:pt x="120" y="93"/>
                  <a:pt x="120" y="8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70" name="Freeform 72">
            <a:extLst>
              <a:ext uri="{FF2B5EF4-FFF2-40B4-BE49-F238E27FC236}">
                <a16:creationId xmlns:a16="http://schemas.microsoft.com/office/drawing/2014/main" id="{41944669-C51D-724C-979D-FB15163AA734}"/>
              </a:ext>
            </a:extLst>
          </p:cNvPr>
          <p:cNvSpPr>
            <a:spLocks noEditPoints="1"/>
          </p:cNvSpPr>
          <p:nvPr/>
        </p:nvSpPr>
        <p:spPr bwMode="auto">
          <a:xfrm>
            <a:off x="7945129" y="3124200"/>
            <a:ext cx="601663" cy="604838"/>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4 h 160"/>
              <a:gd name="T12" fmla="*/ 6 w 160"/>
              <a:gd name="T13" fmla="*/ 80 h 160"/>
              <a:gd name="T14" fmla="*/ 80 w 160"/>
              <a:gd name="T15" fmla="*/ 6 h 160"/>
              <a:gd name="T16" fmla="*/ 154 w 160"/>
              <a:gd name="T17" fmla="*/ 80 h 160"/>
              <a:gd name="T18" fmla="*/ 80 w 160"/>
              <a:gd name="T19" fmla="*/ 154 h 160"/>
              <a:gd name="T20" fmla="*/ 83 w 160"/>
              <a:gd name="T21" fmla="*/ 34 h 160"/>
              <a:gd name="T22" fmla="*/ 83 w 160"/>
              <a:gd name="T23" fmla="*/ 102 h 160"/>
              <a:gd name="T24" fmla="*/ 80 w 160"/>
              <a:gd name="T25" fmla="*/ 105 h 160"/>
              <a:gd name="T26" fmla="*/ 77 w 160"/>
              <a:gd name="T27" fmla="*/ 102 h 160"/>
              <a:gd name="T28" fmla="*/ 77 w 160"/>
              <a:gd name="T29" fmla="*/ 34 h 160"/>
              <a:gd name="T30" fmla="*/ 80 w 160"/>
              <a:gd name="T31" fmla="*/ 31 h 160"/>
              <a:gd name="T32" fmla="*/ 83 w 160"/>
              <a:gd name="T33" fmla="*/ 34 h 160"/>
              <a:gd name="T34" fmla="*/ 83 w 160"/>
              <a:gd name="T35" fmla="*/ 117 h 160"/>
              <a:gd name="T36" fmla="*/ 83 w 160"/>
              <a:gd name="T37" fmla="*/ 123 h 160"/>
              <a:gd name="T38" fmla="*/ 80 w 160"/>
              <a:gd name="T39" fmla="*/ 126 h 160"/>
              <a:gd name="T40" fmla="*/ 77 w 160"/>
              <a:gd name="T41" fmla="*/ 123 h 160"/>
              <a:gd name="T42" fmla="*/ 77 w 160"/>
              <a:gd name="T43" fmla="*/ 117 h 160"/>
              <a:gd name="T44" fmla="*/ 80 w 160"/>
              <a:gd name="T45" fmla="*/ 114 h 160"/>
              <a:gd name="T46" fmla="*/ 83 w 160"/>
              <a:gd name="T47"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4"/>
                </a:moveTo>
                <a:cubicBezTo>
                  <a:pt x="39" y="154"/>
                  <a:pt x="6" y="121"/>
                  <a:pt x="6" y="80"/>
                </a:cubicBezTo>
                <a:cubicBezTo>
                  <a:pt x="6" y="39"/>
                  <a:pt x="39" y="6"/>
                  <a:pt x="80" y="6"/>
                </a:cubicBezTo>
                <a:cubicBezTo>
                  <a:pt x="121" y="6"/>
                  <a:pt x="154" y="39"/>
                  <a:pt x="154" y="80"/>
                </a:cubicBezTo>
                <a:cubicBezTo>
                  <a:pt x="154" y="121"/>
                  <a:pt x="121" y="154"/>
                  <a:pt x="80" y="154"/>
                </a:cubicBezTo>
                <a:close/>
                <a:moveTo>
                  <a:pt x="83" y="34"/>
                </a:moveTo>
                <a:cubicBezTo>
                  <a:pt x="83" y="102"/>
                  <a:pt x="83" y="102"/>
                  <a:pt x="83" y="102"/>
                </a:cubicBezTo>
                <a:cubicBezTo>
                  <a:pt x="83" y="103"/>
                  <a:pt x="82" y="105"/>
                  <a:pt x="80" y="105"/>
                </a:cubicBezTo>
                <a:cubicBezTo>
                  <a:pt x="78" y="105"/>
                  <a:pt x="77" y="103"/>
                  <a:pt x="77" y="102"/>
                </a:cubicBezTo>
                <a:cubicBezTo>
                  <a:pt x="77" y="34"/>
                  <a:pt x="77" y="34"/>
                  <a:pt x="77" y="34"/>
                </a:cubicBezTo>
                <a:cubicBezTo>
                  <a:pt x="77" y="32"/>
                  <a:pt x="78" y="31"/>
                  <a:pt x="80" y="31"/>
                </a:cubicBezTo>
                <a:cubicBezTo>
                  <a:pt x="82" y="31"/>
                  <a:pt x="83" y="32"/>
                  <a:pt x="83" y="34"/>
                </a:cubicBezTo>
                <a:close/>
                <a:moveTo>
                  <a:pt x="83" y="117"/>
                </a:moveTo>
                <a:cubicBezTo>
                  <a:pt x="83" y="123"/>
                  <a:pt x="83" y="123"/>
                  <a:pt x="83" y="123"/>
                </a:cubicBezTo>
                <a:cubicBezTo>
                  <a:pt x="83" y="125"/>
                  <a:pt x="82" y="126"/>
                  <a:pt x="80" y="126"/>
                </a:cubicBezTo>
                <a:cubicBezTo>
                  <a:pt x="78" y="126"/>
                  <a:pt x="77" y="125"/>
                  <a:pt x="77" y="123"/>
                </a:cubicBezTo>
                <a:cubicBezTo>
                  <a:pt x="77" y="117"/>
                  <a:pt x="77" y="117"/>
                  <a:pt x="77" y="117"/>
                </a:cubicBezTo>
                <a:cubicBezTo>
                  <a:pt x="77" y="115"/>
                  <a:pt x="78" y="114"/>
                  <a:pt x="80" y="114"/>
                </a:cubicBezTo>
                <a:cubicBezTo>
                  <a:pt x="82" y="114"/>
                  <a:pt x="83" y="115"/>
                  <a:pt x="83" y="11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71" name="Freeform 73">
            <a:extLst>
              <a:ext uri="{FF2B5EF4-FFF2-40B4-BE49-F238E27FC236}">
                <a16:creationId xmlns:a16="http://schemas.microsoft.com/office/drawing/2014/main" id="{78C69853-CBDD-9B44-A2C9-A5C2A4332225}"/>
              </a:ext>
            </a:extLst>
          </p:cNvPr>
          <p:cNvSpPr>
            <a:spLocks noEditPoints="1"/>
          </p:cNvSpPr>
          <p:nvPr/>
        </p:nvSpPr>
        <p:spPr bwMode="auto">
          <a:xfrm>
            <a:off x="7916554" y="3790950"/>
            <a:ext cx="619125" cy="604838"/>
          </a:xfrm>
          <a:custGeom>
            <a:avLst/>
            <a:gdLst>
              <a:gd name="T0" fmla="*/ 35 w 165"/>
              <a:gd name="T1" fmla="*/ 112 h 160"/>
              <a:gd name="T2" fmla="*/ 31 w 165"/>
              <a:gd name="T3" fmla="*/ 112 h 160"/>
              <a:gd name="T4" fmla="*/ 35 w 165"/>
              <a:gd name="T5" fmla="*/ 1 h 160"/>
              <a:gd name="T6" fmla="*/ 35 w 165"/>
              <a:gd name="T7" fmla="*/ 108 h 160"/>
              <a:gd name="T8" fmla="*/ 138 w 165"/>
              <a:gd name="T9" fmla="*/ 1 h 160"/>
              <a:gd name="T10" fmla="*/ 160 w 165"/>
              <a:gd name="T11" fmla="*/ 56 h 160"/>
              <a:gd name="T12" fmla="*/ 138 w 165"/>
              <a:gd name="T13" fmla="*/ 112 h 160"/>
              <a:gd name="T14" fmla="*/ 142 w 165"/>
              <a:gd name="T15" fmla="*/ 112 h 160"/>
              <a:gd name="T16" fmla="*/ 142 w 165"/>
              <a:gd name="T17" fmla="*/ 1 h 160"/>
              <a:gd name="T18" fmla="*/ 46 w 165"/>
              <a:gd name="T19" fmla="*/ 12 h 160"/>
              <a:gd name="T20" fmla="*/ 43 w 165"/>
              <a:gd name="T21" fmla="*/ 101 h 160"/>
              <a:gd name="T22" fmla="*/ 46 w 165"/>
              <a:gd name="T23" fmla="*/ 101 h 160"/>
              <a:gd name="T24" fmla="*/ 46 w 165"/>
              <a:gd name="T25" fmla="*/ 16 h 160"/>
              <a:gd name="T26" fmla="*/ 127 w 165"/>
              <a:gd name="T27" fmla="*/ 12 h 160"/>
              <a:gd name="T28" fmla="*/ 127 w 165"/>
              <a:gd name="T29" fmla="*/ 97 h 160"/>
              <a:gd name="T30" fmla="*/ 129 w 165"/>
              <a:gd name="T31" fmla="*/ 101 h 160"/>
              <a:gd name="T32" fmla="*/ 131 w 165"/>
              <a:gd name="T33" fmla="*/ 12 h 160"/>
              <a:gd name="T34" fmla="*/ 54 w 165"/>
              <a:gd name="T35" fmla="*/ 24 h 160"/>
              <a:gd name="T36" fmla="*/ 54 w 165"/>
              <a:gd name="T37" fmla="*/ 89 h 160"/>
              <a:gd name="T38" fmla="*/ 58 w 165"/>
              <a:gd name="T39" fmla="*/ 89 h 160"/>
              <a:gd name="T40" fmla="*/ 58 w 165"/>
              <a:gd name="T41" fmla="*/ 28 h 160"/>
              <a:gd name="T42" fmla="*/ 119 w 165"/>
              <a:gd name="T43" fmla="*/ 24 h 160"/>
              <a:gd name="T44" fmla="*/ 115 w 165"/>
              <a:gd name="T45" fmla="*/ 28 h 160"/>
              <a:gd name="T46" fmla="*/ 115 w 165"/>
              <a:gd name="T47" fmla="*/ 89 h 160"/>
              <a:gd name="T48" fmla="*/ 119 w 165"/>
              <a:gd name="T49" fmla="*/ 89 h 160"/>
              <a:gd name="T50" fmla="*/ 119 w 165"/>
              <a:gd name="T51" fmla="*/ 24 h 160"/>
              <a:gd name="T52" fmla="*/ 89 w 165"/>
              <a:gd name="T53" fmla="*/ 76 h 160"/>
              <a:gd name="T54" fmla="*/ 87 w 165"/>
              <a:gd name="T55" fmla="*/ 160 h 160"/>
              <a:gd name="T56" fmla="*/ 84 w 165"/>
              <a:gd name="T57" fmla="*/ 76 h 160"/>
              <a:gd name="T58" fmla="*/ 87 w 165"/>
              <a:gd name="T59" fmla="*/ 38 h 160"/>
              <a:gd name="T60" fmla="*/ 100 w 165"/>
              <a:gd name="T61" fmla="*/ 57 h 160"/>
              <a:gd name="T62" fmla="*/ 73 w 165"/>
              <a:gd name="T63" fmla="*/ 57 h 160"/>
              <a:gd name="T64" fmla="*/ 100 w 165"/>
              <a:gd name="T65" fmla="*/ 5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60">
                <a:moveTo>
                  <a:pt x="35" y="108"/>
                </a:moveTo>
                <a:cubicBezTo>
                  <a:pt x="36" y="109"/>
                  <a:pt x="36" y="111"/>
                  <a:pt x="35" y="112"/>
                </a:cubicBezTo>
                <a:cubicBezTo>
                  <a:pt x="34" y="113"/>
                  <a:pt x="34" y="113"/>
                  <a:pt x="33" y="113"/>
                </a:cubicBezTo>
                <a:cubicBezTo>
                  <a:pt x="32" y="113"/>
                  <a:pt x="32" y="113"/>
                  <a:pt x="31" y="112"/>
                </a:cubicBezTo>
                <a:cubicBezTo>
                  <a:pt x="0" y="81"/>
                  <a:pt x="0" y="31"/>
                  <a:pt x="31" y="1"/>
                </a:cubicBezTo>
                <a:cubicBezTo>
                  <a:pt x="32" y="0"/>
                  <a:pt x="34" y="0"/>
                  <a:pt x="35" y="1"/>
                </a:cubicBezTo>
                <a:cubicBezTo>
                  <a:pt x="36" y="2"/>
                  <a:pt x="36" y="4"/>
                  <a:pt x="35" y="5"/>
                </a:cubicBezTo>
                <a:cubicBezTo>
                  <a:pt x="6" y="33"/>
                  <a:pt x="6" y="80"/>
                  <a:pt x="35" y="108"/>
                </a:cubicBezTo>
                <a:close/>
                <a:moveTo>
                  <a:pt x="142" y="1"/>
                </a:moveTo>
                <a:cubicBezTo>
                  <a:pt x="141" y="0"/>
                  <a:pt x="139" y="0"/>
                  <a:pt x="138" y="1"/>
                </a:cubicBezTo>
                <a:cubicBezTo>
                  <a:pt x="137" y="2"/>
                  <a:pt x="137" y="4"/>
                  <a:pt x="138" y="5"/>
                </a:cubicBezTo>
                <a:cubicBezTo>
                  <a:pt x="152" y="18"/>
                  <a:pt x="160" y="37"/>
                  <a:pt x="160" y="56"/>
                </a:cubicBezTo>
                <a:cubicBezTo>
                  <a:pt x="160" y="76"/>
                  <a:pt x="152" y="94"/>
                  <a:pt x="138" y="108"/>
                </a:cubicBezTo>
                <a:cubicBezTo>
                  <a:pt x="137" y="109"/>
                  <a:pt x="137" y="111"/>
                  <a:pt x="138" y="112"/>
                </a:cubicBezTo>
                <a:cubicBezTo>
                  <a:pt x="139" y="113"/>
                  <a:pt x="140" y="113"/>
                  <a:pt x="140" y="113"/>
                </a:cubicBezTo>
                <a:cubicBezTo>
                  <a:pt x="141" y="113"/>
                  <a:pt x="142" y="113"/>
                  <a:pt x="142" y="112"/>
                </a:cubicBezTo>
                <a:cubicBezTo>
                  <a:pt x="157" y="97"/>
                  <a:pt x="165" y="77"/>
                  <a:pt x="165" y="56"/>
                </a:cubicBezTo>
                <a:cubicBezTo>
                  <a:pt x="165" y="35"/>
                  <a:pt x="157" y="16"/>
                  <a:pt x="142" y="1"/>
                </a:cubicBezTo>
                <a:close/>
                <a:moveTo>
                  <a:pt x="46" y="16"/>
                </a:moveTo>
                <a:cubicBezTo>
                  <a:pt x="47" y="15"/>
                  <a:pt x="47" y="13"/>
                  <a:pt x="46" y="12"/>
                </a:cubicBezTo>
                <a:cubicBezTo>
                  <a:pt x="45" y="11"/>
                  <a:pt x="44" y="11"/>
                  <a:pt x="43" y="12"/>
                </a:cubicBezTo>
                <a:cubicBezTo>
                  <a:pt x="18" y="37"/>
                  <a:pt x="18" y="76"/>
                  <a:pt x="43" y="101"/>
                </a:cubicBezTo>
                <a:cubicBezTo>
                  <a:pt x="43" y="101"/>
                  <a:pt x="44" y="101"/>
                  <a:pt x="44" y="101"/>
                </a:cubicBezTo>
                <a:cubicBezTo>
                  <a:pt x="45" y="101"/>
                  <a:pt x="46" y="101"/>
                  <a:pt x="46" y="101"/>
                </a:cubicBezTo>
                <a:cubicBezTo>
                  <a:pt x="47" y="99"/>
                  <a:pt x="47" y="98"/>
                  <a:pt x="46" y="97"/>
                </a:cubicBezTo>
                <a:cubicBezTo>
                  <a:pt x="24" y="74"/>
                  <a:pt x="24" y="38"/>
                  <a:pt x="46" y="16"/>
                </a:cubicBezTo>
                <a:close/>
                <a:moveTo>
                  <a:pt x="131" y="12"/>
                </a:moveTo>
                <a:cubicBezTo>
                  <a:pt x="130" y="11"/>
                  <a:pt x="128" y="11"/>
                  <a:pt x="127" y="12"/>
                </a:cubicBezTo>
                <a:cubicBezTo>
                  <a:pt x="126" y="13"/>
                  <a:pt x="126" y="15"/>
                  <a:pt x="127" y="16"/>
                </a:cubicBezTo>
                <a:cubicBezTo>
                  <a:pt x="149" y="38"/>
                  <a:pt x="149" y="74"/>
                  <a:pt x="127" y="97"/>
                </a:cubicBezTo>
                <a:cubicBezTo>
                  <a:pt x="126" y="98"/>
                  <a:pt x="126" y="99"/>
                  <a:pt x="127" y="101"/>
                </a:cubicBezTo>
                <a:cubicBezTo>
                  <a:pt x="127" y="101"/>
                  <a:pt x="128" y="101"/>
                  <a:pt x="129" y="101"/>
                </a:cubicBezTo>
                <a:cubicBezTo>
                  <a:pt x="129" y="101"/>
                  <a:pt x="130" y="101"/>
                  <a:pt x="131" y="101"/>
                </a:cubicBezTo>
                <a:cubicBezTo>
                  <a:pt x="155" y="76"/>
                  <a:pt x="155" y="37"/>
                  <a:pt x="131" y="12"/>
                </a:cubicBezTo>
                <a:close/>
                <a:moveTo>
                  <a:pt x="58" y="24"/>
                </a:moveTo>
                <a:cubicBezTo>
                  <a:pt x="57" y="23"/>
                  <a:pt x="55" y="23"/>
                  <a:pt x="54" y="24"/>
                </a:cubicBezTo>
                <a:cubicBezTo>
                  <a:pt x="45" y="33"/>
                  <a:pt x="41" y="44"/>
                  <a:pt x="41" y="56"/>
                </a:cubicBezTo>
                <a:cubicBezTo>
                  <a:pt x="41" y="69"/>
                  <a:pt x="45" y="80"/>
                  <a:pt x="54" y="89"/>
                </a:cubicBezTo>
                <a:cubicBezTo>
                  <a:pt x="55" y="90"/>
                  <a:pt x="55" y="90"/>
                  <a:pt x="56" y="90"/>
                </a:cubicBezTo>
                <a:cubicBezTo>
                  <a:pt x="57" y="90"/>
                  <a:pt x="57" y="90"/>
                  <a:pt x="58" y="89"/>
                </a:cubicBezTo>
                <a:cubicBezTo>
                  <a:pt x="59" y="88"/>
                  <a:pt x="59" y="86"/>
                  <a:pt x="58" y="85"/>
                </a:cubicBezTo>
                <a:cubicBezTo>
                  <a:pt x="42" y="69"/>
                  <a:pt x="42" y="44"/>
                  <a:pt x="58" y="28"/>
                </a:cubicBezTo>
                <a:cubicBezTo>
                  <a:pt x="59" y="27"/>
                  <a:pt x="59" y="25"/>
                  <a:pt x="58" y="24"/>
                </a:cubicBezTo>
                <a:close/>
                <a:moveTo>
                  <a:pt x="119" y="24"/>
                </a:moveTo>
                <a:cubicBezTo>
                  <a:pt x="118" y="23"/>
                  <a:pt x="116" y="23"/>
                  <a:pt x="115" y="24"/>
                </a:cubicBezTo>
                <a:cubicBezTo>
                  <a:pt x="114" y="25"/>
                  <a:pt x="114" y="27"/>
                  <a:pt x="115" y="28"/>
                </a:cubicBezTo>
                <a:cubicBezTo>
                  <a:pt x="131" y="44"/>
                  <a:pt x="131" y="69"/>
                  <a:pt x="115" y="85"/>
                </a:cubicBezTo>
                <a:cubicBezTo>
                  <a:pt x="114" y="86"/>
                  <a:pt x="114" y="88"/>
                  <a:pt x="115" y="89"/>
                </a:cubicBezTo>
                <a:cubicBezTo>
                  <a:pt x="116" y="90"/>
                  <a:pt x="117" y="90"/>
                  <a:pt x="117" y="90"/>
                </a:cubicBezTo>
                <a:cubicBezTo>
                  <a:pt x="118" y="90"/>
                  <a:pt x="119" y="90"/>
                  <a:pt x="119" y="89"/>
                </a:cubicBezTo>
                <a:cubicBezTo>
                  <a:pt x="128" y="80"/>
                  <a:pt x="133" y="69"/>
                  <a:pt x="133" y="56"/>
                </a:cubicBezTo>
                <a:cubicBezTo>
                  <a:pt x="133" y="44"/>
                  <a:pt x="128" y="33"/>
                  <a:pt x="119" y="24"/>
                </a:cubicBezTo>
                <a:close/>
                <a:moveTo>
                  <a:pt x="106" y="57"/>
                </a:moveTo>
                <a:cubicBezTo>
                  <a:pt x="106" y="66"/>
                  <a:pt x="99" y="74"/>
                  <a:pt x="89" y="76"/>
                </a:cubicBezTo>
                <a:cubicBezTo>
                  <a:pt x="89" y="157"/>
                  <a:pt x="89" y="157"/>
                  <a:pt x="89" y="157"/>
                </a:cubicBezTo>
                <a:cubicBezTo>
                  <a:pt x="89" y="159"/>
                  <a:pt x="88" y="160"/>
                  <a:pt x="87" y="160"/>
                </a:cubicBezTo>
                <a:cubicBezTo>
                  <a:pt x="85" y="160"/>
                  <a:pt x="84" y="159"/>
                  <a:pt x="84" y="157"/>
                </a:cubicBezTo>
                <a:cubicBezTo>
                  <a:pt x="84" y="76"/>
                  <a:pt x="84" y="76"/>
                  <a:pt x="84" y="76"/>
                </a:cubicBezTo>
                <a:cubicBezTo>
                  <a:pt x="75" y="74"/>
                  <a:pt x="68" y="66"/>
                  <a:pt x="68" y="57"/>
                </a:cubicBezTo>
                <a:cubicBezTo>
                  <a:pt x="68" y="46"/>
                  <a:pt x="76" y="38"/>
                  <a:pt x="87" y="38"/>
                </a:cubicBezTo>
                <a:cubicBezTo>
                  <a:pt x="97" y="38"/>
                  <a:pt x="106" y="46"/>
                  <a:pt x="106" y="57"/>
                </a:cubicBezTo>
                <a:close/>
                <a:moveTo>
                  <a:pt x="100" y="57"/>
                </a:moveTo>
                <a:cubicBezTo>
                  <a:pt x="100" y="49"/>
                  <a:pt x="94" y="43"/>
                  <a:pt x="87" y="43"/>
                </a:cubicBezTo>
                <a:cubicBezTo>
                  <a:pt x="79" y="43"/>
                  <a:pt x="73" y="49"/>
                  <a:pt x="73" y="57"/>
                </a:cubicBezTo>
                <a:cubicBezTo>
                  <a:pt x="73" y="64"/>
                  <a:pt x="79" y="71"/>
                  <a:pt x="87" y="71"/>
                </a:cubicBezTo>
                <a:cubicBezTo>
                  <a:pt x="94" y="71"/>
                  <a:pt x="100" y="64"/>
                  <a:pt x="100" y="5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72" name="Freeform 74">
            <a:extLst>
              <a:ext uri="{FF2B5EF4-FFF2-40B4-BE49-F238E27FC236}">
                <a16:creationId xmlns:a16="http://schemas.microsoft.com/office/drawing/2014/main" id="{84981AF8-E649-854F-BC31-89518357B647}"/>
              </a:ext>
            </a:extLst>
          </p:cNvPr>
          <p:cNvSpPr>
            <a:spLocks noEditPoints="1"/>
          </p:cNvSpPr>
          <p:nvPr/>
        </p:nvSpPr>
        <p:spPr bwMode="auto">
          <a:xfrm>
            <a:off x="7945129" y="4562475"/>
            <a:ext cx="601663" cy="431800"/>
          </a:xfrm>
          <a:custGeom>
            <a:avLst/>
            <a:gdLst>
              <a:gd name="T0" fmla="*/ 159 w 160"/>
              <a:gd name="T1" fmla="*/ 37 h 114"/>
              <a:gd name="T2" fmla="*/ 157 w 160"/>
              <a:gd name="T3" fmla="*/ 38 h 114"/>
              <a:gd name="T4" fmla="*/ 155 w 160"/>
              <a:gd name="T5" fmla="*/ 37 h 114"/>
              <a:gd name="T6" fmla="*/ 80 w 160"/>
              <a:gd name="T7" fmla="*/ 6 h 114"/>
              <a:gd name="T8" fmla="*/ 5 w 160"/>
              <a:gd name="T9" fmla="*/ 37 h 114"/>
              <a:gd name="T10" fmla="*/ 1 w 160"/>
              <a:gd name="T11" fmla="*/ 37 h 114"/>
              <a:gd name="T12" fmla="*/ 1 w 160"/>
              <a:gd name="T13" fmla="*/ 33 h 114"/>
              <a:gd name="T14" fmla="*/ 80 w 160"/>
              <a:gd name="T15" fmla="*/ 0 h 114"/>
              <a:gd name="T16" fmla="*/ 159 w 160"/>
              <a:gd name="T17" fmla="*/ 33 h 114"/>
              <a:gd name="T18" fmla="*/ 159 w 160"/>
              <a:gd name="T19" fmla="*/ 37 h 114"/>
              <a:gd name="T20" fmla="*/ 18 w 160"/>
              <a:gd name="T21" fmla="*/ 50 h 114"/>
              <a:gd name="T22" fmla="*/ 18 w 160"/>
              <a:gd name="T23" fmla="*/ 54 h 114"/>
              <a:gd name="T24" fmla="*/ 20 w 160"/>
              <a:gd name="T25" fmla="*/ 55 h 114"/>
              <a:gd name="T26" fmla="*/ 22 w 160"/>
              <a:gd name="T27" fmla="*/ 54 h 114"/>
              <a:gd name="T28" fmla="*/ 138 w 160"/>
              <a:gd name="T29" fmla="*/ 54 h 114"/>
              <a:gd name="T30" fmla="*/ 142 w 160"/>
              <a:gd name="T31" fmla="*/ 54 h 114"/>
              <a:gd name="T32" fmla="*/ 142 w 160"/>
              <a:gd name="T33" fmla="*/ 50 h 114"/>
              <a:gd name="T34" fmla="*/ 18 w 160"/>
              <a:gd name="T35" fmla="*/ 50 h 114"/>
              <a:gd name="T36" fmla="*/ 80 w 160"/>
              <a:gd name="T37" fmla="*/ 48 h 114"/>
              <a:gd name="T38" fmla="*/ 35 w 160"/>
              <a:gd name="T39" fmla="*/ 67 h 114"/>
              <a:gd name="T40" fmla="*/ 35 w 160"/>
              <a:gd name="T41" fmla="*/ 71 h 114"/>
              <a:gd name="T42" fmla="*/ 39 w 160"/>
              <a:gd name="T43" fmla="*/ 71 h 114"/>
              <a:gd name="T44" fmla="*/ 80 w 160"/>
              <a:gd name="T45" fmla="*/ 54 h 114"/>
              <a:gd name="T46" fmla="*/ 121 w 160"/>
              <a:gd name="T47" fmla="*/ 71 h 114"/>
              <a:gd name="T48" fmla="*/ 123 w 160"/>
              <a:gd name="T49" fmla="*/ 72 h 114"/>
              <a:gd name="T50" fmla="*/ 125 w 160"/>
              <a:gd name="T51" fmla="*/ 71 h 114"/>
              <a:gd name="T52" fmla="*/ 125 w 160"/>
              <a:gd name="T53" fmla="*/ 67 h 114"/>
              <a:gd name="T54" fmla="*/ 80 w 160"/>
              <a:gd name="T55" fmla="*/ 48 h 114"/>
              <a:gd name="T56" fmla="*/ 99 w 160"/>
              <a:gd name="T57" fmla="*/ 95 h 114"/>
              <a:gd name="T58" fmla="*/ 80 w 160"/>
              <a:gd name="T59" fmla="*/ 114 h 114"/>
              <a:gd name="T60" fmla="*/ 61 w 160"/>
              <a:gd name="T61" fmla="*/ 95 h 114"/>
              <a:gd name="T62" fmla="*/ 80 w 160"/>
              <a:gd name="T63" fmla="*/ 76 h 114"/>
              <a:gd name="T64" fmla="*/ 99 w 160"/>
              <a:gd name="T65" fmla="*/ 95 h 114"/>
              <a:gd name="T66" fmla="*/ 93 w 160"/>
              <a:gd name="T67" fmla="*/ 95 h 114"/>
              <a:gd name="T68" fmla="*/ 80 w 160"/>
              <a:gd name="T69" fmla="*/ 82 h 114"/>
              <a:gd name="T70" fmla="*/ 67 w 160"/>
              <a:gd name="T71" fmla="*/ 95 h 114"/>
              <a:gd name="T72" fmla="*/ 80 w 160"/>
              <a:gd name="T73" fmla="*/ 108 h 114"/>
              <a:gd name="T74" fmla="*/ 93 w 160"/>
              <a:gd name="T75"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14">
                <a:moveTo>
                  <a:pt x="159" y="37"/>
                </a:moveTo>
                <a:cubicBezTo>
                  <a:pt x="159" y="37"/>
                  <a:pt x="158" y="38"/>
                  <a:pt x="157" y="38"/>
                </a:cubicBezTo>
                <a:cubicBezTo>
                  <a:pt x="156" y="38"/>
                  <a:pt x="156" y="37"/>
                  <a:pt x="155" y="37"/>
                </a:cubicBezTo>
                <a:cubicBezTo>
                  <a:pt x="135" y="17"/>
                  <a:pt x="108" y="6"/>
                  <a:pt x="80" y="6"/>
                </a:cubicBezTo>
                <a:cubicBezTo>
                  <a:pt x="52" y="6"/>
                  <a:pt x="25" y="17"/>
                  <a:pt x="5" y="37"/>
                </a:cubicBezTo>
                <a:cubicBezTo>
                  <a:pt x="4" y="38"/>
                  <a:pt x="2" y="38"/>
                  <a:pt x="1" y="37"/>
                </a:cubicBezTo>
                <a:cubicBezTo>
                  <a:pt x="0" y="36"/>
                  <a:pt x="0" y="34"/>
                  <a:pt x="1" y="33"/>
                </a:cubicBezTo>
                <a:cubicBezTo>
                  <a:pt x="22" y="12"/>
                  <a:pt x="50" y="0"/>
                  <a:pt x="80" y="0"/>
                </a:cubicBezTo>
                <a:cubicBezTo>
                  <a:pt x="110" y="0"/>
                  <a:pt x="138" y="12"/>
                  <a:pt x="159" y="33"/>
                </a:cubicBezTo>
                <a:cubicBezTo>
                  <a:pt x="160" y="34"/>
                  <a:pt x="160" y="36"/>
                  <a:pt x="159" y="37"/>
                </a:cubicBezTo>
                <a:close/>
                <a:moveTo>
                  <a:pt x="18" y="50"/>
                </a:moveTo>
                <a:cubicBezTo>
                  <a:pt x="17" y="51"/>
                  <a:pt x="17" y="53"/>
                  <a:pt x="18" y="54"/>
                </a:cubicBezTo>
                <a:cubicBezTo>
                  <a:pt x="19" y="55"/>
                  <a:pt x="19" y="55"/>
                  <a:pt x="20" y="55"/>
                </a:cubicBezTo>
                <a:cubicBezTo>
                  <a:pt x="21" y="55"/>
                  <a:pt x="22" y="55"/>
                  <a:pt x="22" y="54"/>
                </a:cubicBezTo>
                <a:cubicBezTo>
                  <a:pt x="54" y="22"/>
                  <a:pt x="106" y="22"/>
                  <a:pt x="138" y="54"/>
                </a:cubicBezTo>
                <a:cubicBezTo>
                  <a:pt x="139" y="55"/>
                  <a:pt x="141" y="55"/>
                  <a:pt x="142" y="54"/>
                </a:cubicBezTo>
                <a:cubicBezTo>
                  <a:pt x="143" y="53"/>
                  <a:pt x="143" y="51"/>
                  <a:pt x="142" y="50"/>
                </a:cubicBezTo>
                <a:cubicBezTo>
                  <a:pt x="108" y="16"/>
                  <a:pt x="52" y="16"/>
                  <a:pt x="18" y="50"/>
                </a:cubicBezTo>
                <a:close/>
                <a:moveTo>
                  <a:pt x="80" y="48"/>
                </a:moveTo>
                <a:cubicBezTo>
                  <a:pt x="63" y="48"/>
                  <a:pt x="47" y="55"/>
                  <a:pt x="35" y="67"/>
                </a:cubicBezTo>
                <a:cubicBezTo>
                  <a:pt x="34" y="68"/>
                  <a:pt x="34" y="70"/>
                  <a:pt x="35" y="71"/>
                </a:cubicBezTo>
                <a:cubicBezTo>
                  <a:pt x="36" y="72"/>
                  <a:pt x="38" y="72"/>
                  <a:pt x="39" y="71"/>
                </a:cubicBezTo>
                <a:cubicBezTo>
                  <a:pt x="50" y="60"/>
                  <a:pt x="65" y="54"/>
                  <a:pt x="80" y="54"/>
                </a:cubicBezTo>
                <a:cubicBezTo>
                  <a:pt x="95" y="54"/>
                  <a:pt x="110" y="60"/>
                  <a:pt x="121" y="71"/>
                </a:cubicBezTo>
                <a:cubicBezTo>
                  <a:pt x="121" y="72"/>
                  <a:pt x="122" y="72"/>
                  <a:pt x="123" y="72"/>
                </a:cubicBezTo>
                <a:cubicBezTo>
                  <a:pt x="124" y="72"/>
                  <a:pt x="124" y="72"/>
                  <a:pt x="125" y="71"/>
                </a:cubicBezTo>
                <a:cubicBezTo>
                  <a:pt x="126" y="70"/>
                  <a:pt x="126" y="68"/>
                  <a:pt x="125" y="67"/>
                </a:cubicBezTo>
                <a:cubicBezTo>
                  <a:pt x="113" y="55"/>
                  <a:pt x="97" y="48"/>
                  <a:pt x="80" y="48"/>
                </a:cubicBezTo>
                <a:close/>
                <a:moveTo>
                  <a:pt x="99" y="95"/>
                </a:moveTo>
                <a:cubicBezTo>
                  <a:pt x="99" y="105"/>
                  <a:pt x="91" y="114"/>
                  <a:pt x="80" y="114"/>
                </a:cubicBezTo>
                <a:cubicBezTo>
                  <a:pt x="69" y="114"/>
                  <a:pt x="61" y="105"/>
                  <a:pt x="61" y="95"/>
                </a:cubicBezTo>
                <a:cubicBezTo>
                  <a:pt x="61" y="84"/>
                  <a:pt x="69" y="76"/>
                  <a:pt x="80" y="76"/>
                </a:cubicBezTo>
                <a:cubicBezTo>
                  <a:pt x="91" y="76"/>
                  <a:pt x="99" y="84"/>
                  <a:pt x="99" y="95"/>
                </a:cubicBezTo>
                <a:close/>
                <a:moveTo>
                  <a:pt x="93" y="95"/>
                </a:moveTo>
                <a:cubicBezTo>
                  <a:pt x="93" y="88"/>
                  <a:pt x="87" y="82"/>
                  <a:pt x="80" y="82"/>
                </a:cubicBezTo>
                <a:cubicBezTo>
                  <a:pt x="73" y="82"/>
                  <a:pt x="67" y="88"/>
                  <a:pt x="67" y="95"/>
                </a:cubicBezTo>
                <a:cubicBezTo>
                  <a:pt x="67" y="102"/>
                  <a:pt x="73" y="108"/>
                  <a:pt x="80" y="108"/>
                </a:cubicBezTo>
                <a:cubicBezTo>
                  <a:pt x="87" y="108"/>
                  <a:pt x="93" y="102"/>
                  <a:pt x="93" y="9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73" name="Freeform 75">
            <a:extLst>
              <a:ext uri="{FF2B5EF4-FFF2-40B4-BE49-F238E27FC236}">
                <a16:creationId xmlns:a16="http://schemas.microsoft.com/office/drawing/2014/main" id="{8802FD22-44C1-7A48-B6C9-2179A2172530}"/>
              </a:ext>
            </a:extLst>
          </p:cNvPr>
          <p:cNvSpPr>
            <a:spLocks noEditPoints="1"/>
          </p:cNvSpPr>
          <p:nvPr/>
        </p:nvSpPr>
        <p:spPr bwMode="auto">
          <a:xfrm>
            <a:off x="7945129" y="5229225"/>
            <a:ext cx="601663" cy="484188"/>
          </a:xfrm>
          <a:custGeom>
            <a:avLst/>
            <a:gdLst>
              <a:gd name="T0" fmla="*/ 334 w 379"/>
              <a:gd name="T1" fmla="*/ 88 h 305"/>
              <a:gd name="T2" fmla="*/ 334 w 379"/>
              <a:gd name="T3" fmla="*/ 45 h 305"/>
              <a:gd name="T4" fmla="*/ 291 w 379"/>
              <a:gd name="T5" fmla="*/ 45 h 305"/>
              <a:gd name="T6" fmla="*/ 291 w 379"/>
              <a:gd name="T7" fmla="*/ 0 h 305"/>
              <a:gd name="T8" fmla="*/ 0 w 379"/>
              <a:gd name="T9" fmla="*/ 0 h 305"/>
              <a:gd name="T10" fmla="*/ 0 w 379"/>
              <a:gd name="T11" fmla="*/ 217 h 305"/>
              <a:gd name="T12" fmla="*/ 45 w 379"/>
              <a:gd name="T13" fmla="*/ 217 h 305"/>
              <a:gd name="T14" fmla="*/ 45 w 379"/>
              <a:gd name="T15" fmla="*/ 259 h 305"/>
              <a:gd name="T16" fmla="*/ 88 w 379"/>
              <a:gd name="T17" fmla="*/ 259 h 305"/>
              <a:gd name="T18" fmla="*/ 88 w 379"/>
              <a:gd name="T19" fmla="*/ 305 h 305"/>
              <a:gd name="T20" fmla="*/ 379 w 379"/>
              <a:gd name="T21" fmla="*/ 305 h 305"/>
              <a:gd name="T22" fmla="*/ 379 w 379"/>
              <a:gd name="T23" fmla="*/ 88 h 305"/>
              <a:gd name="T24" fmla="*/ 334 w 379"/>
              <a:gd name="T25" fmla="*/ 88 h 305"/>
              <a:gd name="T26" fmla="*/ 12 w 379"/>
              <a:gd name="T27" fmla="*/ 202 h 305"/>
              <a:gd name="T28" fmla="*/ 12 w 379"/>
              <a:gd name="T29" fmla="*/ 11 h 305"/>
              <a:gd name="T30" fmla="*/ 277 w 379"/>
              <a:gd name="T31" fmla="*/ 11 h 305"/>
              <a:gd name="T32" fmla="*/ 277 w 379"/>
              <a:gd name="T33" fmla="*/ 45 h 305"/>
              <a:gd name="T34" fmla="*/ 45 w 379"/>
              <a:gd name="T35" fmla="*/ 45 h 305"/>
              <a:gd name="T36" fmla="*/ 45 w 379"/>
              <a:gd name="T37" fmla="*/ 202 h 305"/>
              <a:gd name="T38" fmla="*/ 12 w 379"/>
              <a:gd name="T39" fmla="*/ 202 h 305"/>
              <a:gd name="T40" fmla="*/ 57 w 379"/>
              <a:gd name="T41" fmla="*/ 248 h 305"/>
              <a:gd name="T42" fmla="*/ 57 w 379"/>
              <a:gd name="T43" fmla="*/ 217 h 305"/>
              <a:gd name="T44" fmla="*/ 57 w 379"/>
              <a:gd name="T45" fmla="*/ 57 h 305"/>
              <a:gd name="T46" fmla="*/ 291 w 379"/>
              <a:gd name="T47" fmla="*/ 57 h 305"/>
              <a:gd name="T48" fmla="*/ 322 w 379"/>
              <a:gd name="T49" fmla="*/ 57 h 305"/>
              <a:gd name="T50" fmla="*/ 322 w 379"/>
              <a:gd name="T51" fmla="*/ 88 h 305"/>
              <a:gd name="T52" fmla="*/ 88 w 379"/>
              <a:gd name="T53" fmla="*/ 88 h 305"/>
              <a:gd name="T54" fmla="*/ 88 w 379"/>
              <a:gd name="T55" fmla="*/ 248 h 305"/>
              <a:gd name="T56" fmla="*/ 57 w 379"/>
              <a:gd name="T57" fmla="*/ 248 h 305"/>
              <a:gd name="T58" fmla="*/ 367 w 379"/>
              <a:gd name="T59" fmla="*/ 293 h 305"/>
              <a:gd name="T60" fmla="*/ 102 w 379"/>
              <a:gd name="T61" fmla="*/ 293 h 305"/>
              <a:gd name="T62" fmla="*/ 102 w 379"/>
              <a:gd name="T63" fmla="*/ 259 h 305"/>
              <a:gd name="T64" fmla="*/ 102 w 379"/>
              <a:gd name="T65" fmla="*/ 102 h 305"/>
              <a:gd name="T66" fmla="*/ 334 w 379"/>
              <a:gd name="T67" fmla="*/ 102 h 305"/>
              <a:gd name="T68" fmla="*/ 367 w 379"/>
              <a:gd name="T69" fmla="*/ 102 h 305"/>
              <a:gd name="T70" fmla="*/ 367 w 379"/>
              <a:gd name="T71" fmla="*/ 29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9" h="305">
                <a:moveTo>
                  <a:pt x="334" y="88"/>
                </a:moveTo>
                <a:lnTo>
                  <a:pt x="334" y="45"/>
                </a:lnTo>
                <a:lnTo>
                  <a:pt x="291" y="45"/>
                </a:lnTo>
                <a:lnTo>
                  <a:pt x="291" y="0"/>
                </a:lnTo>
                <a:lnTo>
                  <a:pt x="0" y="0"/>
                </a:lnTo>
                <a:lnTo>
                  <a:pt x="0" y="217"/>
                </a:lnTo>
                <a:lnTo>
                  <a:pt x="45" y="217"/>
                </a:lnTo>
                <a:lnTo>
                  <a:pt x="45" y="259"/>
                </a:lnTo>
                <a:lnTo>
                  <a:pt x="88" y="259"/>
                </a:lnTo>
                <a:lnTo>
                  <a:pt x="88" y="305"/>
                </a:lnTo>
                <a:lnTo>
                  <a:pt x="379" y="305"/>
                </a:lnTo>
                <a:lnTo>
                  <a:pt x="379" y="88"/>
                </a:lnTo>
                <a:lnTo>
                  <a:pt x="334" y="88"/>
                </a:lnTo>
                <a:close/>
                <a:moveTo>
                  <a:pt x="12" y="202"/>
                </a:moveTo>
                <a:lnTo>
                  <a:pt x="12" y="11"/>
                </a:lnTo>
                <a:lnTo>
                  <a:pt x="277" y="11"/>
                </a:lnTo>
                <a:lnTo>
                  <a:pt x="277" y="45"/>
                </a:lnTo>
                <a:lnTo>
                  <a:pt x="45" y="45"/>
                </a:lnTo>
                <a:lnTo>
                  <a:pt x="45" y="202"/>
                </a:lnTo>
                <a:lnTo>
                  <a:pt x="12" y="202"/>
                </a:lnTo>
                <a:close/>
                <a:moveTo>
                  <a:pt x="57" y="248"/>
                </a:moveTo>
                <a:lnTo>
                  <a:pt x="57" y="217"/>
                </a:lnTo>
                <a:lnTo>
                  <a:pt x="57" y="57"/>
                </a:lnTo>
                <a:lnTo>
                  <a:pt x="291" y="57"/>
                </a:lnTo>
                <a:lnTo>
                  <a:pt x="322" y="57"/>
                </a:lnTo>
                <a:lnTo>
                  <a:pt x="322" y="88"/>
                </a:lnTo>
                <a:lnTo>
                  <a:pt x="88" y="88"/>
                </a:lnTo>
                <a:lnTo>
                  <a:pt x="88" y="248"/>
                </a:lnTo>
                <a:lnTo>
                  <a:pt x="57" y="248"/>
                </a:lnTo>
                <a:close/>
                <a:moveTo>
                  <a:pt x="367" y="293"/>
                </a:moveTo>
                <a:lnTo>
                  <a:pt x="102" y="293"/>
                </a:lnTo>
                <a:lnTo>
                  <a:pt x="102" y="259"/>
                </a:lnTo>
                <a:lnTo>
                  <a:pt x="102" y="102"/>
                </a:lnTo>
                <a:lnTo>
                  <a:pt x="334" y="102"/>
                </a:lnTo>
                <a:lnTo>
                  <a:pt x="367" y="102"/>
                </a:lnTo>
                <a:lnTo>
                  <a:pt x="367" y="29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74" name="Freeform 76">
            <a:extLst>
              <a:ext uri="{FF2B5EF4-FFF2-40B4-BE49-F238E27FC236}">
                <a16:creationId xmlns:a16="http://schemas.microsoft.com/office/drawing/2014/main" id="{7464E5DE-C215-CD4D-98BF-E453963CD1F8}"/>
              </a:ext>
            </a:extLst>
          </p:cNvPr>
          <p:cNvSpPr>
            <a:spLocks noEditPoints="1"/>
          </p:cNvSpPr>
          <p:nvPr/>
        </p:nvSpPr>
        <p:spPr bwMode="auto">
          <a:xfrm>
            <a:off x="7945129" y="5894388"/>
            <a:ext cx="601663" cy="500063"/>
          </a:xfrm>
          <a:custGeom>
            <a:avLst/>
            <a:gdLst>
              <a:gd name="T0" fmla="*/ 379 w 379"/>
              <a:gd name="T1" fmla="*/ 53 h 315"/>
              <a:gd name="T2" fmla="*/ 353 w 379"/>
              <a:gd name="T3" fmla="*/ 53 h 315"/>
              <a:gd name="T4" fmla="*/ 353 w 379"/>
              <a:gd name="T5" fmla="*/ 26 h 315"/>
              <a:gd name="T6" fmla="*/ 327 w 379"/>
              <a:gd name="T7" fmla="*/ 26 h 315"/>
              <a:gd name="T8" fmla="*/ 327 w 379"/>
              <a:gd name="T9" fmla="*/ 0 h 315"/>
              <a:gd name="T10" fmla="*/ 52 w 379"/>
              <a:gd name="T11" fmla="*/ 0 h 315"/>
              <a:gd name="T12" fmla="*/ 52 w 379"/>
              <a:gd name="T13" fmla="*/ 26 h 315"/>
              <a:gd name="T14" fmla="*/ 26 w 379"/>
              <a:gd name="T15" fmla="*/ 26 h 315"/>
              <a:gd name="T16" fmla="*/ 26 w 379"/>
              <a:gd name="T17" fmla="*/ 53 h 315"/>
              <a:gd name="T18" fmla="*/ 0 w 379"/>
              <a:gd name="T19" fmla="*/ 53 h 315"/>
              <a:gd name="T20" fmla="*/ 0 w 379"/>
              <a:gd name="T21" fmla="*/ 262 h 315"/>
              <a:gd name="T22" fmla="*/ 26 w 379"/>
              <a:gd name="T23" fmla="*/ 262 h 315"/>
              <a:gd name="T24" fmla="*/ 26 w 379"/>
              <a:gd name="T25" fmla="*/ 289 h 315"/>
              <a:gd name="T26" fmla="*/ 52 w 379"/>
              <a:gd name="T27" fmla="*/ 289 h 315"/>
              <a:gd name="T28" fmla="*/ 52 w 379"/>
              <a:gd name="T29" fmla="*/ 315 h 315"/>
              <a:gd name="T30" fmla="*/ 327 w 379"/>
              <a:gd name="T31" fmla="*/ 315 h 315"/>
              <a:gd name="T32" fmla="*/ 327 w 379"/>
              <a:gd name="T33" fmla="*/ 289 h 315"/>
              <a:gd name="T34" fmla="*/ 353 w 379"/>
              <a:gd name="T35" fmla="*/ 289 h 315"/>
              <a:gd name="T36" fmla="*/ 353 w 379"/>
              <a:gd name="T37" fmla="*/ 262 h 315"/>
              <a:gd name="T38" fmla="*/ 379 w 379"/>
              <a:gd name="T39" fmla="*/ 262 h 315"/>
              <a:gd name="T40" fmla="*/ 379 w 379"/>
              <a:gd name="T41" fmla="*/ 53 h 315"/>
              <a:gd name="T42" fmla="*/ 15 w 379"/>
              <a:gd name="T43" fmla="*/ 250 h 315"/>
              <a:gd name="T44" fmla="*/ 15 w 379"/>
              <a:gd name="T45" fmla="*/ 67 h 315"/>
              <a:gd name="T46" fmla="*/ 26 w 379"/>
              <a:gd name="T47" fmla="*/ 67 h 315"/>
              <a:gd name="T48" fmla="*/ 26 w 379"/>
              <a:gd name="T49" fmla="*/ 250 h 315"/>
              <a:gd name="T50" fmla="*/ 15 w 379"/>
              <a:gd name="T51" fmla="*/ 250 h 315"/>
              <a:gd name="T52" fmla="*/ 41 w 379"/>
              <a:gd name="T53" fmla="*/ 277 h 315"/>
              <a:gd name="T54" fmla="*/ 41 w 379"/>
              <a:gd name="T55" fmla="*/ 262 h 315"/>
              <a:gd name="T56" fmla="*/ 41 w 379"/>
              <a:gd name="T57" fmla="*/ 53 h 315"/>
              <a:gd name="T58" fmla="*/ 41 w 379"/>
              <a:gd name="T59" fmla="*/ 41 h 315"/>
              <a:gd name="T60" fmla="*/ 52 w 379"/>
              <a:gd name="T61" fmla="*/ 41 h 315"/>
              <a:gd name="T62" fmla="*/ 52 w 379"/>
              <a:gd name="T63" fmla="*/ 277 h 315"/>
              <a:gd name="T64" fmla="*/ 41 w 379"/>
              <a:gd name="T65" fmla="*/ 277 h 315"/>
              <a:gd name="T66" fmla="*/ 313 w 379"/>
              <a:gd name="T67" fmla="*/ 303 h 315"/>
              <a:gd name="T68" fmla="*/ 67 w 379"/>
              <a:gd name="T69" fmla="*/ 303 h 315"/>
              <a:gd name="T70" fmla="*/ 67 w 379"/>
              <a:gd name="T71" fmla="*/ 289 h 315"/>
              <a:gd name="T72" fmla="*/ 67 w 379"/>
              <a:gd name="T73" fmla="*/ 26 h 315"/>
              <a:gd name="T74" fmla="*/ 67 w 379"/>
              <a:gd name="T75" fmla="*/ 14 h 315"/>
              <a:gd name="T76" fmla="*/ 313 w 379"/>
              <a:gd name="T77" fmla="*/ 14 h 315"/>
              <a:gd name="T78" fmla="*/ 313 w 379"/>
              <a:gd name="T79" fmla="*/ 26 h 315"/>
              <a:gd name="T80" fmla="*/ 313 w 379"/>
              <a:gd name="T81" fmla="*/ 289 h 315"/>
              <a:gd name="T82" fmla="*/ 313 w 379"/>
              <a:gd name="T83" fmla="*/ 303 h 315"/>
              <a:gd name="T84" fmla="*/ 339 w 379"/>
              <a:gd name="T85" fmla="*/ 277 h 315"/>
              <a:gd name="T86" fmla="*/ 327 w 379"/>
              <a:gd name="T87" fmla="*/ 277 h 315"/>
              <a:gd name="T88" fmla="*/ 327 w 379"/>
              <a:gd name="T89" fmla="*/ 41 h 315"/>
              <a:gd name="T90" fmla="*/ 339 w 379"/>
              <a:gd name="T91" fmla="*/ 41 h 315"/>
              <a:gd name="T92" fmla="*/ 339 w 379"/>
              <a:gd name="T93" fmla="*/ 53 h 315"/>
              <a:gd name="T94" fmla="*/ 339 w 379"/>
              <a:gd name="T95" fmla="*/ 262 h 315"/>
              <a:gd name="T96" fmla="*/ 339 w 379"/>
              <a:gd name="T97" fmla="*/ 277 h 315"/>
              <a:gd name="T98" fmla="*/ 365 w 379"/>
              <a:gd name="T99" fmla="*/ 250 h 315"/>
              <a:gd name="T100" fmla="*/ 353 w 379"/>
              <a:gd name="T101" fmla="*/ 250 h 315"/>
              <a:gd name="T102" fmla="*/ 353 w 379"/>
              <a:gd name="T103" fmla="*/ 67 h 315"/>
              <a:gd name="T104" fmla="*/ 365 w 379"/>
              <a:gd name="T105" fmla="*/ 67 h 315"/>
              <a:gd name="T106" fmla="*/ 365 w 379"/>
              <a:gd name="T107" fmla="*/ 25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9" h="315">
                <a:moveTo>
                  <a:pt x="379" y="53"/>
                </a:moveTo>
                <a:lnTo>
                  <a:pt x="353" y="53"/>
                </a:lnTo>
                <a:lnTo>
                  <a:pt x="353" y="26"/>
                </a:lnTo>
                <a:lnTo>
                  <a:pt x="327" y="26"/>
                </a:lnTo>
                <a:lnTo>
                  <a:pt x="327" y="0"/>
                </a:lnTo>
                <a:lnTo>
                  <a:pt x="52" y="0"/>
                </a:lnTo>
                <a:lnTo>
                  <a:pt x="52" y="26"/>
                </a:lnTo>
                <a:lnTo>
                  <a:pt x="26" y="26"/>
                </a:lnTo>
                <a:lnTo>
                  <a:pt x="26" y="53"/>
                </a:lnTo>
                <a:lnTo>
                  <a:pt x="0" y="53"/>
                </a:lnTo>
                <a:lnTo>
                  <a:pt x="0" y="262"/>
                </a:lnTo>
                <a:lnTo>
                  <a:pt x="26" y="262"/>
                </a:lnTo>
                <a:lnTo>
                  <a:pt x="26" y="289"/>
                </a:lnTo>
                <a:lnTo>
                  <a:pt x="52" y="289"/>
                </a:lnTo>
                <a:lnTo>
                  <a:pt x="52" y="315"/>
                </a:lnTo>
                <a:lnTo>
                  <a:pt x="327" y="315"/>
                </a:lnTo>
                <a:lnTo>
                  <a:pt x="327" y="289"/>
                </a:lnTo>
                <a:lnTo>
                  <a:pt x="353" y="289"/>
                </a:lnTo>
                <a:lnTo>
                  <a:pt x="353" y="262"/>
                </a:lnTo>
                <a:lnTo>
                  <a:pt x="379" y="262"/>
                </a:lnTo>
                <a:lnTo>
                  <a:pt x="379" y="53"/>
                </a:lnTo>
                <a:close/>
                <a:moveTo>
                  <a:pt x="15" y="250"/>
                </a:moveTo>
                <a:lnTo>
                  <a:pt x="15" y="67"/>
                </a:lnTo>
                <a:lnTo>
                  <a:pt x="26" y="67"/>
                </a:lnTo>
                <a:lnTo>
                  <a:pt x="26" y="250"/>
                </a:lnTo>
                <a:lnTo>
                  <a:pt x="15" y="250"/>
                </a:lnTo>
                <a:close/>
                <a:moveTo>
                  <a:pt x="41" y="277"/>
                </a:moveTo>
                <a:lnTo>
                  <a:pt x="41" y="262"/>
                </a:lnTo>
                <a:lnTo>
                  <a:pt x="41" y="53"/>
                </a:lnTo>
                <a:lnTo>
                  <a:pt x="41" y="41"/>
                </a:lnTo>
                <a:lnTo>
                  <a:pt x="52" y="41"/>
                </a:lnTo>
                <a:lnTo>
                  <a:pt x="52" y="277"/>
                </a:lnTo>
                <a:lnTo>
                  <a:pt x="41" y="277"/>
                </a:lnTo>
                <a:close/>
                <a:moveTo>
                  <a:pt x="313" y="303"/>
                </a:moveTo>
                <a:lnTo>
                  <a:pt x="67" y="303"/>
                </a:lnTo>
                <a:lnTo>
                  <a:pt x="67" y="289"/>
                </a:lnTo>
                <a:lnTo>
                  <a:pt x="67" y="26"/>
                </a:lnTo>
                <a:lnTo>
                  <a:pt x="67" y="14"/>
                </a:lnTo>
                <a:lnTo>
                  <a:pt x="313" y="14"/>
                </a:lnTo>
                <a:lnTo>
                  <a:pt x="313" y="26"/>
                </a:lnTo>
                <a:lnTo>
                  <a:pt x="313" y="289"/>
                </a:lnTo>
                <a:lnTo>
                  <a:pt x="313" y="303"/>
                </a:lnTo>
                <a:close/>
                <a:moveTo>
                  <a:pt x="339" y="277"/>
                </a:moveTo>
                <a:lnTo>
                  <a:pt x="327" y="277"/>
                </a:lnTo>
                <a:lnTo>
                  <a:pt x="327" y="41"/>
                </a:lnTo>
                <a:lnTo>
                  <a:pt x="339" y="41"/>
                </a:lnTo>
                <a:lnTo>
                  <a:pt x="339" y="53"/>
                </a:lnTo>
                <a:lnTo>
                  <a:pt x="339" y="262"/>
                </a:lnTo>
                <a:lnTo>
                  <a:pt x="339" y="277"/>
                </a:lnTo>
                <a:close/>
                <a:moveTo>
                  <a:pt x="365" y="250"/>
                </a:moveTo>
                <a:lnTo>
                  <a:pt x="353" y="250"/>
                </a:lnTo>
                <a:lnTo>
                  <a:pt x="353" y="67"/>
                </a:lnTo>
                <a:lnTo>
                  <a:pt x="365" y="67"/>
                </a:lnTo>
                <a:lnTo>
                  <a:pt x="365" y="25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75" name="Freeform 77">
            <a:extLst>
              <a:ext uri="{FF2B5EF4-FFF2-40B4-BE49-F238E27FC236}">
                <a16:creationId xmlns:a16="http://schemas.microsoft.com/office/drawing/2014/main" id="{05905EA0-0FB2-7F4D-B0D8-F2D373A8EDCC}"/>
              </a:ext>
            </a:extLst>
          </p:cNvPr>
          <p:cNvSpPr>
            <a:spLocks noEditPoints="1"/>
          </p:cNvSpPr>
          <p:nvPr/>
        </p:nvSpPr>
        <p:spPr bwMode="auto">
          <a:xfrm>
            <a:off x="11008848" y="3154363"/>
            <a:ext cx="600075" cy="484188"/>
          </a:xfrm>
          <a:custGeom>
            <a:avLst/>
            <a:gdLst>
              <a:gd name="T0" fmla="*/ 37 w 160"/>
              <a:gd name="T1" fmla="*/ 19 h 128"/>
              <a:gd name="T2" fmla="*/ 0 w 160"/>
              <a:gd name="T3" fmla="*/ 37 h 128"/>
              <a:gd name="T4" fmla="*/ 123 w 160"/>
              <a:gd name="T5" fmla="*/ 109 h 128"/>
              <a:gd name="T6" fmla="*/ 160 w 160"/>
              <a:gd name="T7" fmla="*/ 91 h 128"/>
              <a:gd name="T8" fmla="*/ 5 w 160"/>
              <a:gd name="T9" fmla="*/ 123 h 128"/>
              <a:gd name="T10" fmla="*/ 19 w 160"/>
              <a:gd name="T11" fmla="*/ 109 h 128"/>
              <a:gd name="T12" fmla="*/ 136 w 160"/>
              <a:gd name="T13" fmla="*/ 104 h 128"/>
              <a:gd name="T14" fmla="*/ 91 w 160"/>
              <a:gd name="T15" fmla="*/ 104 h 128"/>
              <a:gd name="T16" fmla="*/ 43 w 160"/>
              <a:gd name="T17" fmla="*/ 104 h 128"/>
              <a:gd name="T18" fmla="*/ 24 w 160"/>
              <a:gd name="T19" fmla="*/ 101 h 128"/>
              <a:gd name="T20" fmla="*/ 24 w 160"/>
              <a:gd name="T21" fmla="*/ 53 h 128"/>
              <a:gd name="T22" fmla="*/ 37 w 160"/>
              <a:gd name="T23" fmla="*/ 24 h 128"/>
              <a:gd name="T24" fmla="*/ 37 w 160"/>
              <a:gd name="T25" fmla="*/ 61 h 128"/>
              <a:gd name="T26" fmla="*/ 51 w 160"/>
              <a:gd name="T27" fmla="*/ 91 h 128"/>
              <a:gd name="T28" fmla="*/ 99 w 160"/>
              <a:gd name="T29" fmla="*/ 91 h 128"/>
              <a:gd name="T30" fmla="*/ 136 w 160"/>
              <a:gd name="T31" fmla="*/ 91 h 128"/>
              <a:gd name="T32" fmla="*/ 141 w 160"/>
              <a:gd name="T33" fmla="*/ 85 h 128"/>
              <a:gd name="T34" fmla="*/ 43 w 160"/>
              <a:gd name="T35" fmla="*/ 5 h 128"/>
              <a:gd name="T36" fmla="*/ 91 w 160"/>
              <a:gd name="T37" fmla="*/ 99 h 128"/>
              <a:gd name="T38" fmla="*/ 88 w 160"/>
              <a:gd name="T39" fmla="*/ 101 h 128"/>
              <a:gd name="T40" fmla="*/ 101 w 160"/>
              <a:gd name="T41" fmla="*/ 93 h 128"/>
              <a:gd name="T42" fmla="*/ 99 w 160"/>
              <a:gd name="T43" fmla="*/ 91 h 128"/>
              <a:gd name="T44" fmla="*/ 107 w 160"/>
              <a:gd name="T45" fmla="*/ 104 h 128"/>
              <a:gd name="T46" fmla="*/ 123 w 160"/>
              <a:gd name="T47" fmla="*/ 99 h 128"/>
              <a:gd name="T48" fmla="*/ 120 w 160"/>
              <a:gd name="T49" fmla="*/ 101 h 128"/>
              <a:gd name="T50" fmla="*/ 117 w 160"/>
              <a:gd name="T51" fmla="*/ 93 h 128"/>
              <a:gd name="T52" fmla="*/ 115 w 160"/>
              <a:gd name="T53" fmla="*/ 91 h 128"/>
              <a:gd name="T54" fmla="*/ 131 w 160"/>
              <a:gd name="T55" fmla="*/ 96 h 128"/>
              <a:gd name="T56" fmla="*/ 75 w 160"/>
              <a:gd name="T57" fmla="*/ 99 h 128"/>
              <a:gd name="T58" fmla="*/ 72 w 160"/>
              <a:gd name="T59" fmla="*/ 101 h 128"/>
              <a:gd name="T60" fmla="*/ 85 w 160"/>
              <a:gd name="T61" fmla="*/ 93 h 128"/>
              <a:gd name="T62" fmla="*/ 83 w 160"/>
              <a:gd name="T63" fmla="*/ 91 h 128"/>
              <a:gd name="T64" fmla="*/ 27 w 160"/>
              <a:gd name="T65" fmla="*/ 104 h 128"/>
              <a:gd name="T66" fmla="*/ 27 w 160"/>
              <a:gd name="T67" fmla="*/ 83 h 128"/>
              <a:gd name="T68" fmla="*/ 24 w 160"/>
              <a:gd name="T69" fmla="*/ 85 h 128"/>
              <a:gd name="T70" fmla="*/ 37 w 160"/>
              <a:gd name="T71" fmla="*/ 93 h 128"/>
              <a:gd name="T72" fmla="*/ 35 w 160"/>
              <a:gd name="T73" fmla="*/ 91 h 128"/>
              <a:gd name="T74" fmla="*/ 35 w 160"/>
              <a:gd name="T75" fmla="*/ 80 h 128"/>
              <a:gd name="T76" fmla="*/ 43 w 160"/>
              <a:gd name="T77" fmla="*/ 99 h 128"/>
              <a:gd name="T78" fmla="*/ 40 w 160"/>
              <a:gd name="T79" fmla="*/ 101 h 128"/>
              <a:gd name="T80" fmla="*/ 61 w 160"/>
              <a:gd name="T81" fmla="*/ 101 h 128"/>
              <a:gd name="T82" fmla="*/ 59 w 160"/>
              <a:gd name="T83" fmla="*/ 99 h 128"/>
              <a:gd name="T84" fmla="*/ 51 w 160"/>
              <a:gd name="T85" fmla="*/ 96 h 128"/>
              <a:gd name="T86" fmla="*/ 67 w 160"/>
              <a:gd name="T87" fmla="*/ 91 h 128"/>
              <a:gd name="T88" fmla="*/ 64 w 160"/>
              <a:gd name="T89" fmla="*/ 93 h 128"/>
              <a:gd name="T90" fmla="*/ 29 w 160"/>
              <a:gd name="T91" fmla="*/ 69 h 128"/>
              <a:gd name="T92" fmla="*/ 27 w 160"/>
              <a:gd name="T93" fmla="*/ 67 h 128"/>
              <a:gd name="T94" fmla="*/ 27 w 160"/>
              <a:gd name="T95" fmla="*/ 56 h 128"/>
              <a:gd name="T96" fmla="*/ 35 w 160"/>
              <a:gd name="T97" fmla="*/ 59 h 128"/>
              <a:gd name="T98" fmla="*/ 32 w 160"/>
              <a:gd name="T99" fmla="*/ 61 h 128"/>
              <a:gd name="T100" fmla="*/ 37 w 160"/>
              <a:gd name="T101" fmla="*/ 45 h 128"/>
              <a:gd name="T102" fmla="*/ 35 w 160"/>
              <a:gd name="T103" fmla="*/ 43 h 128"/>
              <a:gd name="T104" fmla="*/ 27 w 160"/>
              <a:gd name="T105" fmla="*/ 40 h 128"/>
              <a:gd name="T106" fmla="*/ 35 w 160"/>
              <a:gd name="T107" fmla="*/ 27 h 128"/>
              <a:gd name="T108" fmla="*/ 32 w 160"/>
              <a:gd name="T109" fmla="*/ 2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28">
                <a:moveTo>
                  <a:pt x="160" y="0"/>
                </a:moveTo>
                <a:cubicBezTo>
                  <a:pt x="37" y="0"/>
                  <a:pt x="37" y="0"/>
                  <a:pt x="37" y="0"/>
                </a:cubicBezTo>
                <a:cubicBezTo>
                  <a:pt x="37" y="19"/>
                  <a:pt x="37" y="19"/>
                  <a:pt x="37" y="19"/>
                </a:cubicBezTo>
                <a:cubicBezTo>
                  <a:pt x="19" y="19"/>
                  <a:pt x="19" y="19"/>
                  <a:pt x="19" y="19"/>
                </a:cubicBezTo>
                <a:cubicBezTo>
                  <a:pt x="19" y="37"/>
                  <a:pt x="19" y="37"/>
                  <a:pt x="19" y="37"/>
                </a:cubicBezTo>
                <a:cubicBezTo>
                  <a:pt x="0" y="37"/>
                  <a:pt x="0" y="37"/>
                  <a:pt x="0" y="37"/>
                </a:cubicBezTo>
                <a:cubicBezTo>
                  <a:pt x="0" y="128"/>
                  <a:pt x="0" y="128"/>
                  <a:pt x="0" y="128"/>
                </a:cubicBezTo>
                <a:cubicBezTo>
                  <a:pt x="123" y="128"/>
                  <a:pt x="123" y="128"/>
                  <a:pt x="123" y="128"/>
                </a:cubicBezTo>
                <a:cubicBezTo>
                  <a:pt x="123" y="109"/>
                  <a:pt x="123" y="109"/>
                  <a:pt x="123" y="109"/>
                </a:cubicBezTo>
                <a:cubicBezTo>
                  <a:pt x="141" y="109"/>
                  <a:pt x="141" y="109"/>
                  <a:pt x="141" y="109"/>
                </a:cubicBezTo>
                <a:cubicBezTo>
                  <a:pt x="141" y="91"/>
                  <a:pt x="141" y="91"/>
                  <a:pt x="141" y="91"/>
                </a:cubicBezTo>
                <a:cubicBezTo>
                  <a:pt x="160" y="91"/>
                  <a:pt x="160" y="91"/>
                  <a:pt x="160" y="91"/>
                </a:cubicBezTo>
                <a:lnTo>
                  <a:pt x="160" y="0"/>
                </a:lnTo>
                <a:close/>
                <a:moveTo>
                  <a:pt x="117" y="123"/>
                </a:moveTo>
                <a:cubicBezTo>
                  <a:pt x="5" y="123"/>
                  <a:pt x="5" y="123"/>
                  <a:pt x="5" y="123"/>
                </a:cubicBezTo>
                <a:cubicBezTo>
                  <a:pt x="5" y="43"/>
                  <a:pt x="5" y="43"/>
                  <a:pt x="5" y="43"/>
                </a:cubicBezTo>
                <a:cubicBezTo>
                  <a:pt x="19" y="43"/>
                  <a:pt x="19" y="43"/>
                  <a:pt x="19" y="43"/>
                </a:cubicBezTo>
                <a:cubicBezTo>
                  <a:pt x="19" y="109"/>
                  <a:pt x="19" y="109"/>
                  <a:pt x="19" y="109"/>
                </a:cubicBezTo>
                <a:cubicBezTo>
                  <a:pt x="117" y="109"/>
                  <a:pt x="117" y="109"/>
                  <a:pt x="117" y="109"/>
                </a:cubicBezTo>
                <a:lnTo>
                  <a:pt x="117" y="123"/>
                </a:lnTo>
                <a:close/>
                <a:moveTo>
                  <a:pt x="136" y="104"/>
                </a:moveTo>
                <a:cubicBezTo>
                  <a:pt x="123" y="104"/>
                  <a:pt x="123" y="104"/>
                  <a:pt x="123" y="104"/>
                </a:cubicBezTo>
                <a:cubicBezTo>
                  <a:pt x="107" y="104"/>
                  <a:pt x="107" y="104"/>
                  <a:pt x="107" y="104"/>
                </a:cubicBezTo>
                <a:cubicBezTo>
                  <a:pt x="91" y="104"/>
                  <a:pt x="91" y="104"/>
                  <a:pt x="91" y="104"/>
                </a:cubicBezTo>
                <a:cubicBezTo>
                  <a:pt x="75" y="104"/>
                  <a:pt x="75" y="104"/>
                  <a:pt x="75" y="104"/>
                </a:cubicBezTo>
                <a:cubicBezTo>
                  <a:pt x="59" y="104"/>
                  <a:pt x="59" y="104"/>
                  <a:pt x="59" y="104"/>
                </a:cubicBezTo>
                <a:cubicBezTo>
                  <a:pt x="43" y="104"/>
                  <a:pt x="43" y="104"/>
                  <a:pt x="43" y="104"/>
                </a:cubicBezTo>
                <a:cubicBezTo>
                  <a:pt x="27" y="104"/>
                  <a:pt x="27" y="104"/>
                  <a:pt x="27" y="104"/>
                </a:cubicBezTo>
                <a:cubicBezTo>
                  <a:pt x="24" y="104"/>
                  <a:pt x="24" y="104"/>
                  <a:pt x="24" y="104"/>
                </a:cubicBezTo>
                <a:cubicBezTo>
                  <a:pt x="24" y="101"/>
                  <a:pt x="24" y="101"/>
                  <a:pt x="24" y="101"/>
                </a:cubicBezTo>
                <a:cubicBezTo>
                  <a:pt x="24" y="85"/>
                  <a:pt x="24" y="85"/>
                  <a:pt x="24" y="85"/>
                </a:cubicBezTo>
                <a:cubicBezTo>
                  <a:pt x="24" y="69"/>
                  <a:pt x="24" y="69"/>
                  <a:pt x="24" y="69"/>
                </a:cubicBezTo>
                <a:cubicBezTo>
                  <a:pt x="24" y="53"/>
                  <a:pt x="24" y="53"/>
                  <a:pt x="24" y="53"/>
                </a:cubicBezTo>
                <a:cubicBezTo>
                  <a:pt x="24" y="37"/>
                  <a:pt x="24" y="37"/>
                  <a:pt x="24" y="37"/>
                </a:cubicBezTo>
                <a:cubicBezTo>
                  <a:pt x="24" y="24"/>
                  <a:pt x="24" y="24"/>
                  <a:pt x="24" y="24"/>
                </a:cubicBezTo>
                <a:cubicBezTo>
                  <a:pt x="37" y="24"/>
                  <a:pt x="37" y="24"/>
                  <a:pt x="37" y="24"/>
                </a:cubicBezTo>
                <a:cubicBezTo>
                  <a:pt x="37" y="29"/>
                  <a:pt x="37" y="29"/>
                  <a:pt x="37" y="29"/>
                </a:cubicBezTo>
                <a:cubicBezTo>
                  <a:pt x="37" y="45"/>
                  <a:pt x="37" y="45"/>
                  <a:pt x="37" y="45"/>
                </a:cubicBezTo>
                <a:cubicBezTo>
                  <a:pt x="37" y="61"/>
                  <a:pt x="37" y="61"/>
                  <a:pt x="37" y="61"/>
                </a:cubicBezTo>
                <a:cubicBezTo>
                  <a:pt x="37" y="77"/>
                  <a:pt x="37" y="77"/>
                  <a:pt x="37" y="77"/>
                </a:cubicBezTo>
                <a:cubicBezTo>
                  <a:pt x="37" y="91"/>
                  <a:pt x="37" y="91"/>
                  <a:pt x="37" y="91"/>
                </a:cubicBezTo>
                <a:cubicBezTo>
                  <a:pt x="51" y="91"/>
                  <a:pt x="51" y="91"/>
                  <a:pt x="51" y="91"/>
                </a:cubicBezTo>
                <a:cubicBezTo>
                  <a:pt x="67" y="91"/>
                  <a:pt x="67" y="91"/>
                  <a:pt x="67" y="91"/>
                </a:cubicBezTo>
                <a:cubicBezTo>
                  <a:pt x="83" y="91"/>
                  <a:pt x="83" y="91"/>
                  <a:pt x="83" y="91"/>
                </a:cubicBezTo>
                <a:cubicBezTo>
                  <a:pt x="99" y="91"/>
                  <a:pt x="99" y="91"/>
                  <a:pt x="99" y="91"/>
                </a:cubicBezTo>
                <a:cubicBezTo>
                  <a:pt x="115" y="91"/>
                  <a:pt x="115" y="91"/>
                  <a:pt x="115" y="91"/>
                </a:cubicBezTo>
                <a:cubicBezTo>
                  <a:pt x="131" y="91"/>
                  <a:pt x="131" y="91"/>
                  <a:pt x="131" y="91"/>
                </a:cubicBezTo>
                <a:cubicBezTo>
                  <a:pt x="136" y="91"/>
                  <a:pt x="136" y="91"/>
                  <a:pt x="136" y="91"/>
                </a:cubicBezTo>
                <a:lnTo>
                  <a:pt x="136" y="104"/>
                </a:lnTo>
                <a:close/>
                <a:moveTo>
                  <a:pt x="155" y="85"/>
                </a:moveTo>
                <a:cubicBezTo>
                  <a:pt x="141" y="85"/>
                  <a:pt x="141" y="85"/>
                  <a:pt x="141" y="85"/>
                </a:cubicBezTo>
                <a:cubicBezTo>
                  <a:pt x="43" y="85"/>
                  <a:pt x="43" y="85"/>
                  <a:pt x="43" y="85"/>
                </a:cubicBezTo>
                <a:cubicBezTo>
                  <a:pt x="43" y="19"/>
                  <a:pt x="43" y="19"/>
                  <a:pt x="43" y="19"/>
                </a:cubicBezTo>
                <a:cubicBezTo>
                  <a:pt x="43" y="5"/>
                  <a:pt x="43" y="5"/>
                  <a:pt x="43" y="5"/>
                </a:cubicBezTo>
                <a:cubicBezTo>
                  <a:pt x="155" y="5"/>
                  <a:pt x="155" y="5"/>
                  <a:pt x="155" y="5"/>
                </a:cubicBezTo>
                <a:lnTo>
                  <a:pt x="155" y="85"/>
                </a:lnTo>
                <a:close/>
                <a:moveTo>
                  <a:pt x="91" y="99"/>
                </a:moveTo>
                <a:cubicBezTo>
                  <a:pt x="92" y="99"/>
                  <a:pt x="93" y="100"/>
                  <a:pt x="93" y="101"/>
                </a:cubicBezTo>
                <a:cubicBezTo>
                  <a:pt x="93" y="103"/>
                  <a:pt x="92" y="104"/>
                  <a:pt x="91" y="104"/>
                </a:cubicBezTo>
                <a:cubicBezTo>
                  <a:pt x="89" y="104"/>
                  <a:pt x="88" y="103"/>
                  <a:pt x="88" y="101"/>
                </a:cubicBezTo>
                <a:cubicBezTo>
                  <a:pt x="88" y="100"/>
                  <a:pt x="89" y="99"/>
                  <a:pt x="91" y="99"/>
                </a:cubicBezTo>
                <a:close/>
                <a:moveTo>
                  <a:pt x="99" y="91"/>
                </a:moveTo>
                <a:cubicBezTo>
                  <a:pt x="100" y="91"/>
                  <a:pt x="101" y="92"/>
                  <a:pt x="101" y="93"/>
                </a:cubicBezTo>
                <a:cubicBezTo>
                  <a:pt x="101" y="95"/>
                  <a:pt x="100" y="96"/>
                  <a:pt x="99" y="96"/>
                </a:cubicBezTo>
                <a:cubicBezTo>
                  <a:pt x="97" y="96"/>
                  <a:pt x="96" y="95"/>
                  <a:pt x="96" y="93"/>
                </a:cubicBezTo>
                <a:cubicBezTo>
                  <a:pt x="96" y="92"/>
                  <a:pt x="97" y="91"/>
                  <a:pt x="99" y="91"/>
                </a:cubicBezTo>
                <a:close/>
                <a:moveTo>
                  <a:pt x="107" y="99"/>
                </a:moveTo>
                <a:cubicBezTo>
                  <a:pt x="108" y="99"/>
                  <a:pt x="109" y="100"/>
                  <a:pt x="109" y="101"/>
                </a:cubicBezTo>
                <a:cubicBezTo>
                  <a:pt x="109" y="103"/>
                  <a:pt x="108" y="104"/>
                  <a:pt x="107" y="104"/>
                </a:cubicBezTo>
                <a:cubicBezTo>
                  <a:pt x="105" y="104"/>
                  <a:pt x="104" y="103"/>
                  <a:pt x="104" y="101"/>
                </a:cubicBezTo>
                <a:cubicBezTo>
                  <a:pt x="104" y="100"/>
                  <a:pt x="105" y="99"/>
                  <a:pt x="107" y="99"/>
                </a:cubicBezTo>
                <a:close/>
                <a:moveTo>
                  <a:pt x="123" y="99"/>
                </a:moveTo>
                <a:cubicBezTo>
                  <a:pt x="124" y="99"/>
                  <a:pt x="125" y="100"/>
                  <a:pt x="125" y="101"/>
                </a:cubicBezTo>
                <a:cubicBezTo>
                  <a:pt x="125" y="103"/>
                  <a:pt x="124" y="104"/>
                  <a:pt x="123" y="104"/>
                </a:cubicBezTo>
                <a:cubicBezTo>
                  <a:pt x="121" y="104"/>
                  <a:pt x="120" y="103"/>
                  <a:pt x="120" y="101"/>
                </a:cubicBezTo>
                <a:cubicBezTo>
                  <a:pt x="120" y="100"/>
                  <a:pt x="121" y="99"/>
                  <a:pt x="123" y="99"/>
                </a:cubicBezTo>
                <a:close/>
                <a:moveTo>
                  <a:pt x="115" y="91"/>
                </a:moveTo>
                <a:cubicBezTo>
                  <a:pt x="116" y="91"/>
                  <a:pt x="117" y="92"/>
                  <a:pt x="117" y="93"/>
                </a:cubicBezTo>
                <a:cubicBezTo>
                  <a:pt x="117" y="95"/>
                  <a:pt x="116" y="96"/>
                  <a:pt x="115" y="96"/>
                </a:cubicBezTo>
                <a:cubicBezTo>
                  <a:pt x="113" y="96"/>
                  <a:pt x="112" y="95"/>
                  <a:pt x="112" y="93"/>
                </a:cubicBezTo>
                <a:cubicBezTo>
                  <a:pt x="112" y="92"/>
                  <a:pt x="113" y="91"/>
                  <a:pt x="115" y="91"/>
                </a:cubicBezTo>
                <a:close/>
                <a:moveTo>
                  <a:pt x="131" y="91"/>
                </a:moveTo>
                <a:cubicBezTo>
                  <a:pt x="132" y="91"/>
                  <a:pt x="133" y="92"/>
                  <a:pt x="133" y="93"/>
                </a:cubicBezTo>
                <a:cubicBezTo>
                  <a:pt x="133" y="95"/>
                  <a:pt x="132" y="96"/>
                  <a:pt x="131" y="96"/>
                </a:cubicBezTo>
                <a:cubicBezTo>
                  <a:pt x="129" y="96"/>
                  <a:pt x="128" y="95"/>
                  <a:pt x="128" y="93"/>
                </a:cubicBezTo>
                <a:cubicBezTo>
                  <a:pt x="128" y="92"/>
                  <a:pt x="129" y="91"/>
                  <a:pt x="131" y="91"/>
                </a:cubicBezTo>
                <a:close/>
                <a:moveTo>
                  <a:pt x="75" y="99"/>
                </a:moveTo>
                <a:cubicBezTo>
                  <a:pt x="76" y="99"/>
                  <a:pt x="77" y="100"/>
                  <a:pt x="77" y="101"/>
                </a:cubicBezTo>
                <a:cubicBezTo>
                  <a:pt x="77" y="103"/>
                  <a:pt x="76" y="104"/>
                  <a:pt x="75" y="104"/>
                </a:cubicBezTo>
                <a:cubicBezTo>
                  <a:pt x="73" y="104"/>
                  <a:pt x="72" y="103"/>
                  <a:pt x="72" y="101"/>
                </a:cubicBezTo>
                <a:cubicBezTo>
                  <a:pt x="72" y="100"/>
                  <a:pt x="73" y="99"/>
                  <a:pt x="75" y="99"/>
                </a:cubicBezTo>
                <a:close/>
                <a:moveTo>
                  <a:pt x="83" y="91"/>
                </a:moveTo>
                <a:cubicBezTo>
                  <a:pt x="84" y="91"/>
                  <a:pt x="85" y="92"/>
                  <a:pt x="85" y="93"/>
                </a:cubicBezTo>
                <a:cubicBezTo>
                  <a:pt x="85" y="95"/>
                  <a:pt x="84" y="96"/>
                  <a:pt x="83" y="96"/>
                </a:cubicBezTo>
                <a:cubicBezTo>
                  <a:pt x="81" y="96"/>
                  <a:pt x="80" y="95"/>
                  <a:pt x="80" y="93"/>
                </a:cubicBezTo>
                <a:cubicBezTo>
                  <a:pt x="80" y="92"/>
                  <a:pt x="81" y="91"/>
                  <a:pt x="83" y="91"/>
                </a:cubicBezTo>
                <a:close/>
                <a:moveTo>
                  <a:pt x="27" y="99"/>
                </a:moveTo>
                <a:cubicBezTo>
                  <a:pt x="28" y="99"/>
                  <a:pt x="29" y="100"/>
                  <a:pt x="29" y="101"/>
                </a:cubicBezTo>
                <a:cubicBezTo>
                  <a:pt x="29" y="103"/>
                  <a:pt x="28" y="104"/>
                  <a:pt x="27" y="104"/>
                </a:cubicBezTo>
                <a:cubicBezTo>
                  <a:pt x="25" y="104"/>
                  <a:pt x="24" y="103"/>
                  <a:pt x="24" y="101"/>
                </a:cubicBezTo>
                <a:cubicBezTo>
                  <a:pt x="24" y="100"/>
                  <a:pt x="25" y="99"/>
                  <a:pt x="27" y="99"/>
                </a:cubicBezTo>
                <a:close/>
                <a:moveTo>
                  <a:pt x="27" y="83"/>
                </a:moveTo>
                <a:cubicBezTo>
                  <a:pt x="28" y="83"/>
                  <a:pt x="29" y="84"/>
                  <a:pt x="29" y="85"/>
                </a:cubicBezTo>
                <a:cubicBezTo>
                  <a:pt x="29" y="87"/>
                  <a:pt x="28" y="88"/>
                  <a:pt x="27" y="88"/>
                </a:cubicBezTo>
                <a:cubicBezTo>
                  <a:pt x="25" y="88"/>
                  <a:pt x="24" y="87"/>
                  <a:pt x="24" y="85"/>
                </a:cubicBezTo>
                <a:cubicBezTo>
                  <a:pt x="24" y="84"/>
                  <a:pt x="25" y="83"/>
                  <a:pt x="27" y="83"/>
                </a:cubicBezTo>
                <a:close/>
                <a:moveTo>
                  <a:pt x="35" y="91"/>
                </a:moveTo>
                <a:cubicBezTo>
                  <a:pt x="36" y="91"/>
                  <a:pt x="37" y="92"/>
                  <a:pt x="37" y="93"/>
                </a:cubicBezTo>
                <a:cubicBezTo>
                  <a:pt x="37" y="95"/>
                  <a:pt x="36" y="96"/>
                  <a:pt x="35" y="96"/>
                </a:cubicBezTo>
                <a:cubicBezTo>
                  <a:pt x="33" y="96"/>
                  <a:pt x="32" y="95"/>
                  <a:pt x="32" y="93"/>
                </a:cubicBezTo>
                <a:cubicBezTo>
                  <a:pt x="32" y="92"/>
                  <a:pt x="33" y="91"/>
                  <a:pt x="35" y="91"/>
                </a:cubicBezTo>
                <a:close/>
                <a:moveTo>
                  <a:pt x="35" y="75"/>
                </a:moveTo>
                <a:cubicBezTo>
                  <a:pt x="36" y="75"/>
                  <a:pt x="37" y="76"/>
                  <a:pt x="37" y="77"/>
                </a:cubicBezTo>
                <a:cubicBezTo>
                  <a:pt x="37" y="79"/>
                  <a:pt x="36" y="80"/>
                  <a:pt x="35" y="80"/>
                </a:cubicBezTo>
                <a:cubicBezTo>
                  <a:pt x="33" y="80"/>
                  <a:pt x="32" y="79"/>
                  <a:pt x="32" y="77"/>
                </a:cubicBezTo>
                <a:cubicBezTo>
                  <a:pt x="32" y="76"/>
                  <a:pt x="33" y="75"/>
                  <a:pt x="35" y="75"/>
                </a:cubicBezTo>
                <a:close/>
                <a:moveTo>
                  <a:pt x="43" y="99"/>
                </a:moveTo>
                <a:cubicBezTo>
                  <a:pt x="44" y="99"/>
                  <a:pt x="45" y="100"/>
                  <a:pt x="45" y="101"/>
                </a:cubicBezTo>
                <a:cubicBezTo>
                  <a:pt x="45" y="103"/>
                  <a:pt x="44" y="104"/>
                  <a:pt x="43" y="104"/>
                </a:cubicBezTo>
                <a:cubicBezTo>
                  <a:pt x="41" y="104"/>
                  <a:pt x="40" y="103"/>
                  <a:pt x="40" y="101"/>
                </a:cubicBezTo>
                <a:cubicBezTo>
                  <a:pt x="40" y="100"/>
                  <a:pt x="41" y="99"/>
                  <a:pt x="43" y="99"/>
                </a:cubicBezTo>
                <a:close/>
                <a:moveTo>
                  <a:pt x="59" y="99"/>
                </a:moveTo>
                <a:cubicBezTo>
                  <a:pt x="60" y="99"/>
                  <a:pt x="61" y="100"/>
                  <a:pt x="61" y="101"/>
                </a:cubicBezTo>
                <a:cubicBezTo>
                  <a:pt x="61" y="103"/>
                  <a:pt x="60" y="104"/>
                  <a:pt x="59" y="104"/>
                </a:cubicBezTo>
                <a:cubicBezTo>
                  <a:pt x="57" y="104"/>
                  <a:pt x="56" y="103"/>
                  <a:pt x="56" y="101"/>
                </a:cubicBezTo>
                <a:cubicBezTo>
                  <a:pt x="56" y="100"/>
                  <a:pt x="57" y="99"/>
                  <a:pt x="59" y="99"/>
                </a:cubicBezTo>
                <a:close/>
                <a:moveTo>
                  <a:pt x="51" y="91"/>
                </a:moveTo>
                <a:cubicBezTo>
                  <a:pt x="52" y="91"/>
                  <a:pt x="53" y="92"/>
                  <a:pt x="53" y="93"/>
                </a:cubicBezTo>
                <a:cubicBezTo>
                  <a:pt x="53" y="95"/>
                  <a:pt x="52" y="96"/>
                  <a:pt x="51" y="96"/>
                </a:cubicBezTo>
                <a:cubicBezTo>
                  <a:pt x="49" y="96"/>
                  <a:pt x="48" y="95"/>
                  <a:pt x="48" y="93"/>
                </a:cubicBezTo>
                <a:cubicBezTo>
                  <a:pt x="48" y="92"/>
                  <a:pt x="49" y="91"/>
                  <a:pt x="51" y="91"/>
                </a:cubicBezTo>
                <a:close/>
                <a:moveTo>
                  <a:pt x="67" y="91"/>
                </a:moveTo>
                <a:cubicBezTo>
                  <a:pt x="68" y="91"/>
                  <a:pt x="69" y="92"/>
                  <a:pt x="69" y="93"/>
                </a:cubicBezTo>
                <a:cubicBezTo>
                  <a:pt x="69" y="95"/>
                  <a:pt x="68" y="96"/>
                  <a:pt x="67" y="96"/>
                </a:cubicBezTo>
                <a:cubicBezTo>
                  <a:pt x="65" y="96"/>
                  <a:pt x="64" y="95"/>
                  <a:pt x="64" y="93"/>
                </a:cubicBezTo>
                <a:cubicBezTo>
                  <a:pt x="64" y="92"/>
                  <a:pt x="65" y="91"/>
                  <a:pt x="67" y="91"/>
                </a:cubicBezTo>
                <a:close/>
                <a:moveTo>
                  <a:pt x="27" y="67"/>
                </a:moveTo>
                <a:cubicBezTo>
                  <a:pt x="28" y="67"/>
                  <a:pt x="29" y="68"/>
                  <a:pt x="29" y="69"/>
                </a:cubicBezTo>
                <a:cubicBezTo>
                  <a:pt x="29" y="71"/>
                  <a:pt x="28" y="72"/>
                  <a:pt x="27" y="72"/>
                </a:cubicBezTo>
                <a:cubicBezTo>
                  <a:pt x="25" y="72"/>
                  <a:pt x="24" y="71"/>
                  <a:pt x="24" y="69"/>
                </a:cubicBezTo>
                <a:cubicBezTo>
                  <a:pt x="24" y="68"/>
                  <a:pt x="25" y="67"/>
                  <a:pt x="27" y="67"/>
                </a:cubicBezTo>
                <a:close/>
                <a:moveTo>
                  <a:pt x="27" y="51"/>
                </a:moveTo>
                <a:cubicBezTo>
                  <a:pt x="28" y="51"/>
                  <a:pt x="29" y="52"/>
                  <a:pt x="29" y="53"/>
                </a:cubicBezTo>
                <a:cubicBezTo>
                  <a:pt x="29" y="55"/>
                  <a:pt x="28" y="56"/>
                  <a:pt x="27" y="56"/>
                </a:cubicBezTo>
                <a:cubicBezTo>
                  <a:pt x="25" y="56"/>
                  <a:pt x="24" y="55"/>
                  <a:pt x="24" y="53"/>
                </a:cubicBezTo>
                <a:cubicBezTo>
                  <a:pt x="24" y="52"/>
                  <a:pt x="25" y="51"/>
                  <a:pt x="27" y="51"/>
                </a:cubicBezTo>
                <a:close/>
                <a:moveTo>
                  <a:pt x="35" y="59"/>
                </a:moveTo>
                <a:cubicBezTo>
                  <a:pt x="36" y="59"/>
                  <a:pt x="37" y="60"/>
                  <a:pt x="37" y="61"/>
                </a:cubicBezTo>
                <a:cubicBezTo>
                  <a:pt x="37" y="63"/>
                  <a:pt x="36" y="64"/>
                  <a:pt x="35" y="64"/>
                </a:cubicBezTo>
                <a:cubicBezTo>
                  <a:pt x="33" y="64"/>
                  <a:pt x="32" y="63"/>
                  <a:pt x="32" y="61"/>
                </a:cubicBezTo>
                <a:cubicBezTo>
                  <a:pt x="32" y="60"/>
                  <a:pt x="33" y="59"/>
                  <a:pt x="35" y="59"/>
                </a:cubicBezTo>
                <a:close/>
                <a:moveTo>
                  <a:pt x="35" y="43"/>
                </a:moveTo>
                <a:cubicBezTo>
                  <a:pt x="36" y="43"/>
                  <a:pt x="37" y="44"/>
                  <a:pt x="37" y="45"/>
                </a:cubicBezTo>
                <a:cubicBezTo>
                  <a:pt x="37" y="47"/>
                  <a:pt x="36" y="48"/>
                  <a:pt x="35" y="48"/>
                </a:cubicBezTo>
                <a:cubicBezTo>
                  <a:pt x="33" y="48"/>
                  <a:pt x="32" y="47"/>
                  <a:pt x="32" y="45"/>
                </a:cubicBezTo>
                <a:cubicBezTo>
                  <a:pt x="32" y="44"/>
                  <a:pt x="33" y="43"/>
                  <a:pt x="35" y="43"/>
                </a:cubicBezTo>
                <a:close/>
                <a:moveTo>
                  <a:pt x="27" y="35"/>
                </a:moveTo>
                <a:cubicBezTo>
                  <a:pt x="28" y="35"/>
                  <a:pt x="29" y="36"/>
                  <a:pt x="29" y="37"/>
                </a:cubicBezTo>
                <a:cubicBezTo>
                  <a:pt x="29" y="39"/>
                  <a:pt x="28" y="40"/>
                  <a:pt x="27" y="40"/>
                </a:cubicBezTo>
                <a:cubicBezTo>
                  <a:pt x="25" y="40"/>
                  <a:pt x="24" y="39"/>
                  <a:pt x="24" y="37"/>
                </a:cubicBezTo>
                <a:cubicBezTo>
                  <a:pt x="24" y="36"/>
                  <a:pt x="25" y="35"/>
                  <a:pt x="27" y="35"/>
                </a:cubicBezTo>
                <a:close/>
                <a:moveTo>
                  <a:pt x="35" y="27"/>
                </a:moveTo>
                <a:cubicBezTo>
                  <a:pt x="36" y="27"/>
                  <a:pt x="37" y="28"/>
                  <a:pt x="37" y="29"/>
                </a:cubicBezTo>
                <a:cubicBezTo>
                  <a:pt x="37" y="31"/>
                  <a:pt x="36" y="32"/>
                  <a:pt x="35" y="32"/>
                </a:cubicBezTo>
                <a:cubicBezTo>
                  <a:pt x="33" y="32"/>
                  <a:pt x="32" y="31"/>
                  <a:pt x="32" y="29"/>
                </a:cubicBezTo>
                <a:cubicBezTo>
                  <a:pt x="32" y="28"/>
                  <a:pt x="33" y="27"/>
                  <a:pt x="35" y="2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76" name="Freeform 78">
            <a:extLst>
              <a:ext uri="{FF2B5EF4-FFF2-40B4-BE49-F238E27FC236}">
                <a16:creationId xmlns:a16="http://schemas.microsoft.com/office/drawing/2014/main" id="{2EFAA5E8-6124-914A-98DB-A44348D7B508}"/>
              </a:ext>
            </a:extLst>
          </p:cNvPr>
          <p:cNvSpPr>
            <a:spLocks noEditPoints="1"/>
          </p:cNvSpPr>
          <p:nvPr/>
        </p:nvSpPr>
        <p:spPr bwMode="auto">
          <a:xfrm>
            <a:off x="11008848" y="3835401"/>
            <a:ext cx="600075" cy="484188"/>
          </a:xfrm>
          <a:custGeom>
            <a:avLst/>
            <a:gdLst>
              <a:gd name="T0" fmla="*/ 123 w 160"/>
              <a:gd name="T1" fmla="*/ 19 h 128"/>
              <a:gd name="T2" fmla="*/ 0 w 160"/>
              <a:gd name="T3" fmla="*/ 91 h 128"/>
              <a:gd name="T4" fmla="*/ 37 w 160"/>
              <a:gd name="T5" fmla="*/ 109 h 128"/>
              <a:gd name="T6" fmla="*/ 160 w 160"/>
              <a:gd name="T7" fmla="*/ 37 h 128"/>
              <a:gd name="T8" fmla="*/ 5 w 160"/>
              <a:gd name="T9" fmla="*/ 5 h 128"/>
              <a:gd name="T10" fmla="*/ 19 w 160"/>
              <a:gd name="T11" fmla="*/ 19 h 128"/>
              <a:gd name="T12" fmla="*/ 24 w 160"/>
              <a:gd name="T13" fmla="*/ 104 h 128"/>
              <a:gd name="T14" fmla="*/ 24 w 160"/>
              <a:gd name="T15" fmla="*/ 59 h 128"/>
              <a:gd name="T16" fmla="*/ 24 w 160"/>
              <a:gd name="T17" fmla="*/ 24 h 128"/>
              <a:gd name="T18" fmla="*/ 59 w 160"/>
              <a:gd name="T19" fmla="*/ 24 h 128"/>
              <a:gd name="T20" fmla="*/ 107 w 160"/>
              <a:gd name="T21" fmla="*/ 24 h 128"/>
              <a:gd name="T22" fmla="*/ 136 w 160"/>
              <a:gd name="T23" fmla="*/ 37 h 128"/>
              <a:gd name="T24" fmla="*/ 99 w 160"/>
              <a:gd name="T25" fmla="*/ 37 h 128"/>
              <a:gd name="T26" fmla="*/ 51 w 160"/>
              <a:gd name="T27" fmla="*/ 37 h 128"/>
              <a:gd name="T28" fmla="*/ 37 w 160"/>
              <a:gd name="T29" fmla="*/ 67 h 128"/>
              <a:gd name="T30" fmla="*/ 37 w 160"/>
              <a:gd name="T31" fmla="*/ 104 h 128"/>
              <a:gd name="T32" fmla="*/ 43 w 160"/>
              <a:gd name="T33" fmla="*/ 123 h 128"/>
              <a:gd name="T34" fmla="*/ 141 w 160"/>
              <a:gd name="T35" fmla="*/ 43 h 128"/>
              <a:gd name="T36" fmla="*/ 91 w 160"/>
              <a:gd name="T37" fmla="*/ 24 h 128"/>
              <a:gd name="T38" fmla="*/ 88 w 160"/>
              <a:gd name="T39" fmla="*/ 27 h 128"/>
              <a:gd name="T40" fmla="*/ 101 w 160"/>
              <a:gd name="T41" fmla="*/ 35 h 128"/>
              <a:gd name="T42" fmla="*/ 99 w 160"/>
              <a:gd name="T43" fmla="*/ 32 h 128"/>
              <a:gd name="T44" fmla="*/ 107 w 160"/>
              <a:gd name="T45" fmla="*/ 29 h 128"/>
              <a:gd name="T46" fmla="*/ 123 w 160"/>
              <a:gd name="T47" fmla="*/ 24 h 128"/>
              <a:gd name="T48" fmla="*/ 120 w 160"/>
              <a:gd name="T49" fmla="*/ 27 h 128"/>
              <a:gd name="T50" fmla="*/ 117 w 160"/>
              <a:gd name="T51" fmla="*/ 35 h 128"/>
              <a:gd name="T52" fmla="*/ 115 w 160"/>
              <a:gd name="T53" fmla="*/ 32 h 128"/>
              <a:gd name="T54" fmla="*/ 131 w 160"/>
              <a:gd name="T55" fmla="*/ 37 h 128"/>
              <a:gd name="T56" fmla="*/ 75 w 160"/>
              <a:gd name="T57" fmla="*/ 24 h 128"/>
              <a:gd name="T58" fmla="*/ 72 w 160"/>
              <a:gd name="T59" fmla="*/ 27 h 128"/>
              <a:gd name="T60" fmla="*/ 85 w 160"/>
              <a:gd name="T61" fmla="*/ 35 h 128"/>
              <a:gd name="T62" fmla="*/ 83 w 160"/>
              <a:gd name="T63" fmla="*/ 32 h 128"/>
              <a:gd name="T64" fmla="*/ 27 w 160"/>
              <a:gd name="T65" fmla="*/ 29 h 128"/>
              <a:gd name="T66" fmla="*/ 27 w 160"/>
              <a:gd name="T67" fmla="*/ 40 h 128"/>
              <a:gd name="T68" fmla="*/ 24 w 160"/>
              <a:gd name="T69" fmla="*/ 43 h 128"/>
              <a:gd name="T70" fmla="*/ 37 w 160"/>
              <a:gd name="T71" fmla="*/ 35 h 128"/>
              <a:gd name="T72" fmla="*/ 35 w 160"/>
              <a:gd name="T73" fmla="*/ 32 h 128"/>
              <a:gd name="T74" fmla="*/ 35 w 160"/>
              <a:gd name="T75" fmla="*/ 53 h 128"/>
              <a:gd name="T76" fmla="*/ 43 w 160"/>
              <a:gd name="T77" fmla="*/ 24 h 128"/>
              <a:gd name="T78" fmla="*/ 40 w 160"/>
              <a:gd name="T79" fmla="*/ 27 h 128"/>
              <a:gd name="T80" fmla="*/ 61 w 160"/>
              <a:gd name="T81" fmla="*/ 27 h 128"/>
              <a:gd name="T82" fmla="*/ 59 w 160"/>
              <a:gd name="T83" fmla="*/ 24 h 128"/>
              <a:gd name="T84" fmla="*/ 51 w 160"/>
              <a:gd name="T85" fmla="*/ 37 h 128"/>
              <a:gd name="T86" fmla="*/ 67 w 160"/>
              <a:gd name="T87" fmla="*/ 32 h 128"/>
              <a:gd name="T88" fmla="*/ 64 w 160"/>
              <a:gd name="T89" fmla="*/ 35 h 128"/>
              <a:gd name="T90" fmla="*/ 29 w 160"/>
              <a:gd name="T91" fmla="*/ 59 h 128"/>
              <a:gd name="T92" fmla="*/ 27 w 160"/>
              <a:gd name="T93" fmla="*/ 56 h 128"/>
              <a:gd name="T94" fmla="*/ 27 w 160"/>
              <a:gd name="T95" fmla="*/ 77 h 128"/>
              <a:gd name="T96" fmla="*/ 35 w 160"/>
              <a:gd name="T97" fmla="*/ 64 h 128"/>
              <a:gd name="T98" fmla="*/ 32 w 160"/>
              <a:gd name="T99" fmla="*/ 67 h 128"/>
              <a:gd name="T100" fmla="*/ 37 w 160"/>
              <a:gd name="T101" fmla="*/ 83 h 128"/>
              <a:gd name="T102" fmla="*/ 35 w 160"/>
              <a:gd name="T103" fmla="*/ 80 h 128"/>
              <a:gd name="T104" fmla="*/ 27 w 160"/>
              <a:gd name="T105" fmla="*/ 93 h 128"/>
              <a:gd name="T106" fmla="*/ 35 w 160"/>
              <a:gd name="T107" fmla="*/ 96 h 128"/>
              <a:gd name="T108" fmla="*/ 32 w 160"/>
              <a:gd name="T109" fmla="*/ 9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28">
                <a:moveTo>
                  <a:pt x="141" y="37"/>
                </a:moveTo>
                <a:cubicBezTo>
                  <a:pt x="141" y="19"/>
                  <a:pt x="141" y="19"/>
                  <a:pt x="141" y="19"/>
                </a:cubicBezTo>
                <a:cubicBezTo>
                  <a:pt x="123" y="19"/>
                  <a:pt x="123" y="19"/>
                  <a:pt x="123" y="19"/>
                </a:cubicBezTo>
                <a:cubicBezTo>
                  <a:pt x="123" y="0"/>
                  <a:pt x="123" y="0"/>
                  <a:pt x="123" y="0"/>
                </a:cubicBezTo>
                <a:cubicBezTo>
                  <a:pt x="0" y="0"/>
                  <a:pt x="0" y="0"/>
                  <a:pt x="0" y="0"/>
                </a:cubicBezTo>
                <a:cubicBezTo>
                  <a:pt x="0" y="91"/>
                  <a:pt x="0" y="91"/>
                  <a:pt x="0" y="91"/>
                </a:cubicBezTo>
                <a:cubicBezTo>
                  <a:pt x="19" y="91"/>
                  <a:pt x="19" y="91"/>
                  <a:pt x="19" y="91"/>
                </a:cubicBezTo>
                <a:cubicBezTo>
                  <a:pt x="19" y="109"/>
                  <a:pt x="19" y="109"/>
                  <a:pt x="19" y="109"/>
                </a:cubicBezTo>
                <a:cubicBezTo>
                  <a:pt x="37" y="109"/>
                  <a:pt x="37" y="109"/>
                  <a:pt x="37" y="109"/>
                </a:cubicBezTo>
                <a:cubicBezTo>
                  <a:pt x="37" y="128"/>
                  <a:pt x="37" y="128"/>
                  <a:pt x="37" y="128"/>
                </a:cubicBezTo>
                <a:cubicBezTo>
                  <a:pt x="160" y="128"/>
                  <a:pt x="160" y="128"/>
                  <a:pt x="160" y="128"/>
                </a:cubicBezTo>
                <a:cubicBezTo>
                  <a:pt x="160" y="37"/>
                  <a:pt x="160" y="37"/>
                  <a:pt x="160" y="37"/>
                </a:cubicBezTo>
                <a:lnTo>
                  <a:pt x="141" y="37"/>
                </a:lnTo>
                <a:close/>
                <a:moveTo>
                  <a:pt x="5" y="85"/>
                </a:moveTo>
                <a:cubicBezTo>
                  <a:pt x="5" y="5"/>
                  <a:pt x="5" y="5"/>
                  <a:pt x="5" y="5"/>
                </a:cubicBezTo>
                <a:cubicBezTo>
                  <a:pt x="117" y="5"/>
                  <a:pt x="117" y="5"/>
                  <a:pt x="117" y="5"/>
                </a:cubicBezTo>
                <a:cubicBezTo>
                  <a:pt x="117" y="19"/>
                  <a:pt x="117" y="19"/>
                  <a:pt x="117" y="19"/>
                </a:cubicBezTo>
                <a:cubicBezTo>
                  <a:pt x="19" y="19"/>
                  <a:pt x="19" y="19"/>
                  <a:pt x="19" y="19"/>
                </a:cubicBezTo>
                <a:cubicBezTo>
                  <a:pt x="19" y="85"/>
                  <a:pt x="19" y="85"/>
                  <a:pt x="19" y="85"/>
                </a:cubicBezTo>
                <a:lnTo>
                  <a:pt x="5" y="85"/>
                </a:lnTo>
                <a:close/>
                <a:moveTo>
                  <a:pt x="24" y="104"/>
                </a:moveTo>
                <a:cubicBezTo>
                  <a:pt x="24" y="91"/>
                  <a:pt x="24" y="91"/>
                  <a:pt x="24" y="91"/>
                </a:cubicBezTo>
                <a:cubicBezTo>
                  <a:pt x="24" y="75"/>
                  <a:pt x="24" y="75"/>
                  <a:pt x="24" y="75"/>
                </a:cubicBezTo>
                <a:cubicBezTo>
                  <a:pt x="24" y="59"/>
                  <a:pt x="24" y="59"/>
                  <a:pt x="24" y="59"/>
                </a:cubicBezTo>
                <a:cubicBezTo>
                  <a:pt x="24" y="43"/>
                  <a:pt x="24" y="43"/>
                  <a:pt x="24" y="43"/>
                </a:cubicBezTo>
                <a:cubicBezTo>
                  <a:pt x="24" y="27"/>
                  <a:pt x="24" y="27"/>
                  <a:pt x="24" y="27"/>
                </a:cubicBezTo>
                <a:cubicBezTo>
                  <a:pt x="24" y="24"/>
                  <a:pt x="24" y="24"/>
                  <a:pt x="24" y="24"/>
                </a:cubicBezTo>
                <a:cubicBezTo>
                  <a:pt x="27" y="24"/>
                  <a:pt x="27" y="24"/>
                  <a:pt x="27" y="24"/>
                </a:cubicBezTo>
                <a:cubicBezTo>
                  <a:pt x="43" y="24"/>
                  <a:pt x="43" y="24"/>
                  <a:pt x="43" y="24"/>
                </a:cubicBezTo>
                <a:cubicBezTo>
                  <a:pt x="59" y="24"/>
                  <a:pt x="59" y="24"/>
                  <a:pt x="59" y="24"/>
                </a:cubicBezTo>
                <a:cubicBezTo>
                  <a:pt x="75" y="24"/>
                  <a:pt x="75" y="24"/>
                  <a:pt x="75" y="24"/>
                </a:cubicBezTo>
                <a:cubicBezTo>
                  <a:pt x="91" y="24"/>
                  <a:pt x="91" y="24"/>
                  <a:pt x="91" y="24"/>
                </a:cubicBezTo>
                <a:cubicBezTo>
                  <a:pt x="107" y="24"/>
                  <a:pt x="107" y="24"/>
                  <a:pt x="107" y="24"/>
                </a:cubicBezTo>
                <a:cubicBezTo>
                  <a:pt x="123" y="24"/>
                  <a:pt x="123" y="24"/>
                  <a:pt x="123" y="24"/>
                </a:cubicBezTo>
                <a:cubicBezTo>
                  <a:pt x="136" y="24"/>
                  <a:pt x="136" y="24"/>
                  <a:pt x="136" y="24"/>
                </a:cubicBezTo>
                <a:cubicBezTo>
                  <a:pt x="136" y="37"/>
                  <a:pt x="136" y="37"/>
                  <a:pt x="136" y="37"/>
                </a:cubicBezTo>
                <a:cubicBezTo>
                  <a:pt x="131" y="37"/>
                  <a:pt x="131" y="37"/>
                  <a:pt x="131" y="37"/>
                </a:cubicBezTo>
                <a:cubicBezTo>
                  <a:pt x="115" y="37"/>
                  <a:pt x="115" y="37"/>
                  <a:pt x="115" y="37"/>
                </a:cubicBezTo>
                <a:cubicBezTo>
                  <a:pt x="99" y="37"/>
                  <a:pt x="99" y="37"/>
                  <a:pt x="99" y="37"/>
                </a:cubicBezTo>
                <a:cubicBezTo>
                  <a:pt x="83" y="37"/>
                  <a:pt x="83" y="37"/>
                  <a:pt x="83" y="37"/>
                </a:cubicBezTo>
                <a:cubicBezTo>
                  <a:pt x="67" y="37"/>
                  <a:pt x="67" y="37"/>
                  <a:pt x="67" y="37"/>
                </a:cubicBezTo>
                <a:cubicBezTo>
                  <a:pt x="51" y="37"/>
                  <a:pt x="51" y="37"/>
                  <a:pt x="51" y="37"/>
                </a:cubicBezTo>
                <a:cubicBezTo>
                  <a:pt x="37" y="37"/>
                  <a:pt x="37" y="37"/>
                  <a:pt x="37" y="37"/>
                </a:cubicBezTo>
                <a:cubicBezTo>
                  <a:pt x="37" y="51"/>
                  <a:pt x="37" y="51"/>
                  <a:pt x="37" y="51"/>
                </a:cubicBezTo>
                <a:cubicBezTo>
                  <a:pt x="37" y="67"/>
                  <a:pt x="37" y="67"/>
                  <a:pt x="37" y="67"/>
                </a:cubicBezTo>
                <a:cubicBezTo>
                  <a:pt x="37" y="83"/>
                  <a:pt x="37" y="83"/>
                  <a:pt x="37" y="83"/>
                </a:cubicBezTo>
                <a:cubicBezTo>
                  <a:pt x="37" y="99"/>
                  <a:pt x="37" y="99"/>
                  <a:pt x="37" y="99"/>
                </a:cubicBezTo>
                <a:cubicBezTo>
                  <a:pt x="37" y="104"/>
                  <a:pt x="37" y="104"/>
                  <a:pt x="37" y="104"/>
                </a:cubicBezTo>
                <a:lnTo>
                  <a:pt x="24" y="104"/>
                </a:lnTo>
                <a:close/>
                <a:moveTo>
                  <a:pt x="155" y="123"/>
                </a:moveTo>
                <a:cubicBezTo>
                  <a:pt x="43" y="123"/>
                  <a:pt x="43" y="123"/>
                  <a:pt x="43" y="123"/>
                </a:cubicBezTo>
                <a:cubicBezTo>
                  <a:pt x="43" y="109"/>
                  <a:pt x="43" y="109"/>
                  <a:pt x="43" y="109"/>
                </a:cubicBezTo>
                <a:cubicBezTo>
                  <a:pt x="43" y="43"/>
                  <a:pt x="43" y="43"/>
                  <a:pt x="43" y="43"/>
                </a:cubicBezTo>
                <a:cubicBezTo>
                  <a:pt x="141" y="43"/>
                  <a:pt x="141" y="43"/>
                  <a:pt x="141" y="43"/>
                </a:cubicBezTo>
                <a:cubicBezTo>
                  <a:pt x="155" y="43"/>
                  <a:pt x="155" y="43"/>
                  <a:pt x="155" y="43"/>
                </a:cubicBezTo>
                <a:lnTo>
                  <a:pt x="155" y="123"/>
                </a:lnTo>
                <a:close/>
                <a:moveTo>
                  <a:pt x="91" y="24"/>
                </a:moveTo>
                <a:cubicBezTo>
                  <a:pt x="92" y="24"/>
                  <a:pt x="93" y="25"/>
                  <a:pt x="93" y="27"/>
                </a:cubicBezTo>
                <a:cubicBezTo>
                  <a:pt x="93" y="28"/>
                  <a:pt x="92" y="29"/>
                  <a:pt x="91" y="29"/>
                </a:cubicBezTo>
                <a:cubicBezTo>
                  <a:pt x="89" y="29"/>
                  <a:pt x="88" y="28"/>
                  <a:pt x="88" y="27"/>
                </a:cubicBezTo>
                <a:cubicBezTo>
                  <a:pt x="88" y="25"/>
                  <a:pt x="89" y="24"/>
                  <a:pt x="91" y="24"/>
                </a:cubicBezTo>
                <a:close/>
                <a:moveTo>
                  <a:pt x="99" y="32"/>
                </a:moveTo>
                <a:cubicBezTo>
                  <a:pt x="100" y="32"/>
                  <a:pt x="101" y="33"/>
                  <a:pt x="101" y="35"/>
                </a:cubicBezTo>
                <a:cubicBezTo>
                  <a:pt x="101" y="36"/>
                  <a:pt x="100" y="37"/>
                  <a:pt x="99" y="37"/>
                </a:cubicBezTo>
                <a:cubicBezTo>
                  <a:pt x="97" y="37"/>
                  <a:pt x="96" y="36"/>
                  <a:pt x="96" y="35"/>
                </a:cubicBezTo>
                <a:cubicBezTo>
                  <a:pt x="96" y="33"/>
                  <a:pt x="97" y="32"/>
                  <a:pt x="99" y="32"/>
                </a:cubicBezTo>
                <a:close/>
                <a:moveTo>
                  <a:pt x="107" y="24"/>
                </a:moveTo>
                <a:cubicBezTo>
                  <a:pt x="108" y="24"/>
                  <a:pt x="109" y="25"/>
                  <a:pt x="109" y="27"/>
                </a:cubicBezTo>
                <a:cubicBezTo>
                  <a:pt x="109" y="28"/>
                  <a:pt x="108" y="29"/>
                  <a:pt x="107" y="29"/>
                </a:cubicBezTo>
                <a:cubicBezTo>
                  <a:pt x="105" y="29"/>
                  <a:pt x="104" y="28"/>
                  <a:pt x="104" y="27"/>
                </a:cubicBezTo>
                <a:cubicBezTo>
                  <a:pt x="104" y="25"/>
                  <a:pt x="105" y="24"/>
                  <a:pt x="107" y="24"/>
                </a:cubicBezTo>
                <a:close/>
                <a:moveTo>
                  <a:pt x="123" y="24"/>
                </a:moveTo>
                <a:cubicBezTo>
                  <a:pt x="124" y="24"/>
                  <a:pt x="125" y="25"/>
                  <a:pt x="125" y="27"/>
                </a:cubicBezTo>
                <a:cubicBezTo>
                  <a:pt x="125" y="28"/>
                  <a:pt x="124" y="29"/>
                  <a:pt x="123" y="29"/>
                </a:cubicBezTo>
                <a:cubicBezTo>
                  <a:pt x="121" y="29"/>
                  <a:pt x="120" y="28"/>
                  <a:pt x="120" y="27"/>
                </a:cubicBezTo>
                <a:cubicBezTo>
                  <a:pt x="120" y="25"/>
                  <a:pt x="121" y="24"/>
                  <a:pt x="123" y="24"/>
                </a:cubicBezTo>
                <a:close/>
                <a:moveTo>
                  <a:pt x="115" y="32"/>
                </a:moveTo>
                <a:cubicBezTo>
                  <a:pt x="116" y="32"/>
                  <a:pt x="117" y="33"/>
                  <a:pt x="117" y="35"/>
                </a:cubicBezTo>
                <a:cubicBezTo>
                  <a:pt x="117" y="36"/>
                  <a:pt x="116" y="37"/>
                  <a:pt x="115" y="37"/>
                </a:cubicBezTo>
                <a:cubicBezTo>
                  <a:pt x="113" y="37"/>
                  <a:pt x="112" y="36"/>
                  <a:pt x="112" y="35"/>
                </a:cubicBezTo>
                <a:cubicBezTo>
                  <a:pt x="112" y="33"/>
                  <a:pt x="113" y="32"/>
                  <a:pt x="115" y="32"/>
                </a:cubicBezTo>
                <a:close/>
                <a:moveTo>
                  <a:pt x="131" y="32"/>
                </a:moveTo>
                <a:cubicBezTo>
                  <a:pt x="132" y="32"/>
                  <a:pt x="133" y="33"/>
                  <a:pt x="133" y="35"/>
                </a:cubicBezTo>
                <a:cubicBezTo>
                  <a:pt x="133" y="36"/>
                  <a:pt x="132" y="37"/>
                  <a:pt x="131" y="37"/>
                </a:cubicBezTo>
                <a:cubicBezTo>
                  <a:pt x="129" y="37"/>
                  <a:pt x="128" y="36"/>
                  <a:pt x="128" y="35"/>
                </a:cubicBezTo>
                <a:cubicBezTo>
                  <a:pt x="128" y="33"/>
                  <a:pt x="129" y="32"/>
                  <a:pt x="131" y="32"/>
                </a:cubicBezTo>
                <a:close/>
                <a:moveTo>
                  <a:pt x="75" y="24"/>
                </a:moveTo>
                <a:cubicBezTo>
                  <a:pt x="76" y="24"/>
                  <a:pt x="77" y="25"/>
                  <a:pt x="77" y="27"/>
                </a:cubicBezTo>
                <a:cubicBezTo>
                  <a:pt x="77" y="28"/>
                  <a:pt x="76" y="29"/>
                  <a:pt x="75" y="29"/>
                </a:cubicBezTo>
                <a:cubicBezTo>
                  <a:pt x="73" y="29"/>
                  <a:pt x="72" y="28"/>
                  <a:pt x="72" y="27"/>
                </a:cubicBezTo>
                <a:cubicBezTo>
                  <a:pt x="72" y="25"/>
                  <a:pt x="73" y="24"/>
                  <a:pt x="75" y="24"/>
                </a:cubicBezTo>
                <a:close/>
                <a:moveTo>
                  <a:pt x="83" y="32"/>
                </a:moveTo>
                <a:cubicBezTo>
                  <a:pt x="84" y="32"/>
                  <a:pt x="85" y="33"/>
                  <a:pt x="85" y="35"/>
                </a:cubicBezTo>
                <a:cubicBezTo>
                  <a:pt x="85" y="36"/>
                  <a:pt x="84" y="37"/>
                  <a:pt x="83" y="37"/>
                </a:cubicBezTo>
                <a:cubicBezTo>
                  <a:pt x="81" y="37"/>
                  <a:pt x="80" y="36"/>
                  <a:pt x="80" y="35"/>
                </a:cubicBezTo>
                <a:cubicBezTo>
                  <a:pt x="80" y="33"/>
                  <a:pt x="81" y="32"/>
                  <a:pt x="83" y="32"/>
                </a:cubicBezTo>
                <a:close/>
                <a:moveTo>
                  <a:pt x="27" y="24"/>
                </a:moveTo>
                <a:cubicBezTo>
                  <a:pt x="28" y="24"/>
                  <a:pt x="29" y="25"/>
                  <a:pt x="29" y="27"/>
                </a:cubicBezTo>
                <a:cubicBezTo>
                  <a:pt x="29" y="28"/>
                  <a:pt x="28" y="29"/>
                  <a:pt x="27" y="29"/>
                </a:cubicBezTo>
                <a:cubicBezTo>
                  <a:pt x="25" y="29"/>
                  <a:pt x="24" y="28"/>
                  <a:pt x="24" y="27"/>
                </a:cubicBezTo>
                <a:cubicBezTo>
                  <a:pt x="24" y="25"/>
                  <a:pt x="25" y="24"/>
                  <a:pt x="27" y="24"/>
                </a:cubicBezTo>
                <a:close/>
                <a:moveTo>
                  <a:pt x="27" y="40"/>
                </a:moveTo>
                <a:cubicBezTo>
                  <a:pt x="28" y="40"/>
                  <a:pt x="29" y="41"/>
                  <a:pt x="29" y="43"/>
                </a:cubicBezTo>
                <a:cubicBezTo>
                  <a:pt x="29" y="44"/>
                  <a:pt x="28" y="45"/>
                  <a:pt x="27" y="45"/>
                </a:cubicBezTo>
                <a:cubicBezTo>
                  <a:pt x="25" y="45"/>
                  <a:pt x="24" y="44"/>
                  <a:pt x="24" y="43"/>
                </a:cubicBezTo>
                <a:cubicBezTo>
                  <a:pt x="24" y="41"/>
                  <a:pt x="25" y="40"/>
                  <a:pt x="27" y="40"/>
                </a:cubicBezTo>
                <a:close/>
                <a:moveTo>
                  <a:pt x="35" y="32"/>
                </a:moveTo>
                <a:cubicBezTo>
                  <a:pt x="36" y="32"/>
                  <a:pt x="37" y="33"/>
                  <a:pt x="37" y="35"/>
                </a:cubicBezTo>
                <a:cubicBezTo>
                  <a:pt x="37" y="36"/>
                  <a:pt x="36" y="37"/>
                  <a:pt x="35" y="37"/>
                </a:cubicBezTo>
                <a:cubicBezTo>
                  <a:pt x="33" y="37"/>
                  <a:pt x="32" y="36"/>
                  <a:pt x="32" y="35"/>
                </a:cubicBezTo>
                <a:cubicBezTo>
                  <a:pt x="32" y="33"/>
                  <a:pt x="33" y="32"/>
                  <a:pt x="35" y="32"/>
                </a:cubicBezTo>
                <a:close/>
                <a:moveTo>
                  <a:pt x="35" y="48"/>
                </a:moveTo>
                <a:cubicBezTo>
                  <a:pt x="36" y="48"/>
                  <a:pt x="37" y="49"/>
                  <a:pt x="37" y="51"/>
                </a:cubicBezTo>
                <a:cubicBezTo>
                  <a:pt x="37" y="52"/>
                  <a:pt x="36" y="53"/>
                  <a:pt x="35" y="53"/>
                </a:cubicBezTo>
                <a:cubicBezTo>
                  <a:pt x="33" y="53"/>
                  <a:pt x="32" y="52"/>
                  <a:pt x="32" y="51"/>
                </a:cubicBezTo>
                <a:cubicBezTo>
                  <a:pt x="32" y="49"/>
                  <a:pt x="33" y="48"/>
                  <a:pt x="35" y="48"/>
                </a:cubicBezTo>
                <a:close/>
                <a:moveTo>
                  <a:pt x="43" y="24"/>
                </a:moveTo>
                <a:cubicBezTo>
                  <a:pt x="44" y="24"/>
                  <a:pt x="45" y="25"/>
                  <a:pt x="45" y="27"/>
                </a:cubicBezTo>
                <a:cubicBezTo>
                  <a:pt x="45" y="28"/>
                  <a:pt x="44" y="29"/>
                  <a:pt x="43" y="29"/>
                </a:cubicBezTo>
                <a:cubicBezTo>
                  <a:pt x="41" y="29"/>
                  <a:pt x="40" y="28"/>
                  <a:pt x="40" y="27"/>
                </a:cubicBezTo>
                <a:cubicBezTo>
                  <a:pt x="40" y="25"/>
                  <a:pt x="41" y="24"/>
                  <a:pt x="43" y="24"/>
                </a:cubicBezTo>
                <a:close/>
                <a:moveTo>
                  <a:pt x="59" y="24"/>
                </a:moveTo>
                <a:cubicBezTo>
                  <a:pt x="60" y="24"/>
                  <a:pt x="61" y="25"/>
                  <a:pt x="61" y="27"/>
                </a:cubicBezTo>
                <a:cubicBezTo>
                  <a:pt x="61" y="28"/>
                  <a:pt x="60" y="29"/>
                  <a:pt x="59" y="29"/>
                </a:cubicBezTo>
                <a:cubicBezTo>
                  <a:pt x="57" y="29"/>
                  <a:pt x="56" y="28"/>
                  <a:pt x="56" y="27"/>
                </a:cubicBezTo>
                <a:cubicBezTo>
                  <a:pt x="56" y="25"/>
                  <a:pt x="57" y="24"/>
                  <a:pt x="59" y="24"/>
                </a:cubicBezTo>
                <a:close/>
                <a:moveTo>
                  <a:pt x="51" y="32"/>
                </a:moveTo>
                <a:cubicBezTo>
                  <a:pt x="52" y="32"/>
                  <a:pt x="53" y="33"/>
                  <a:pt x="53" y="35"/>
                </a:cubicBezTo>
                <a:cubicBezTo>
                  <a:pt x="53" y="36"/>
                  <a:pt x="52" y="37"/>
                  <a:pt x="51" y="37"/>
                </a:cubicBezTo>
                <a:cubicBezTo>
                  <a:pt x="49" y="37"/>
                  <a:pt x="48" y="36"/>
                  <a:pt x="48" y="35"/>
                </a:cubicBezTo>
                <a:cubicBezTo>
                  <a:pt x="48" y="33"/>
                  <a:pt x="49" y="32"/>
                  <a:pt x="51" y="32"/>
                </a:cubicBezTo>
                <a:close/>
                <a:moveTo>
                  <a:pt x="67" y="32"/>
                </a:moveTo>
                <a:cubicBezTo>
                  <a:pt x="68" y="32"/>
                  <a:pt x="69" y="33"/>
                  <a:pt x="69" y="35"/>
                </a:cubicBezTo>
                <a:cubicBezTo>
                  <a:pt x="69" y="36"/>
                  <a:pt x="68" y="37"/>
                  <a:pt x="67" y="37"/>
                </a:cubicBezTo>
                <a:cubicBezTo>
                  <a:pt x="65" y="37"/>
                  <a:pt x="64" y="36"/>
                  <a:pt x="64" y="35"/>
                </a:cubicBezTo>
                <a:cubicBezTo>
                  <a:pt x="64" y="33"/>
                  <a:pt x="65" y="32"/>
                  <a:pt x="67" y="32"/>
                </a:cubicBezTo>
                <a:close/>
                <a:moveTo>
                  <a:pt x="27" y="56"/>
                </a:moveTo>
                <a:cubicBezTo>
                  <a:pt x="28" y="56"/>
                  <a:pt x="29" y="57"/>
                  <a:pt x="29" y="59"/>
                </a:cubicBezTo>
                <a:cubicBezTo>
                  <a:pt x="29" y="60"/>
                  <a:pt x="28" y="61"/>
                  <a:pt x="27" y="61"/>
                </a:cubicBezTo>
                <a:cubicBezTo>
                  <a:pt x="25" y="61"/>
                  <a:pt x="24" y="60"/>
                  <a:pt x="24" y="59"/>
                </a:cubicBezTo>
                <a:cubicBezTo>
                  <a:pt x="24" y="57"/>
                  <a:pt x="25" y="56"/>
                  <a:pt x="27" y="56"/>
                </a:cubicBezTo>
                <a:close/>
                <a:moveTo>
                  <a:pt x="27" y="72"/>
                </a:moveTo>
                <a:cubicBezTo>
                  <a:pt x="28" y="72"/>
                  <a:pt x="29" y="73"/>
                  <a:pt x="29" y="75"/>
                </a:cubicBezTo>
                <a:cubicBezTo>
                  <a:pt x="29" y="76"/>
                  <a:pt x="28" y="77"/>
                  <a:pt x="27" y="77"/>
                </a:cubicBezTo>
                <a:cubicBezTo>
                  <a:pt x="25" y="77"/>
                  <a:pt x="24" y="76"/>
                  <a:pt x="24" y="75"/>
                </a:cubicBezTo>
                <a:cubicBezTo>
                  <a:pt x="24" y="73"/>
                  <a:pt x="25" y="72"/>
                  <a:pt x="27" y="72"/>
                </a:cubicBezTo>
                <a:close/>
                <a:moveTo>
                  <a:pt x="35" y="64"/>
                </a:moveTo>
                <a:cubicBezTo>
                  <a:pt x="36" y="64"/>
                  <a:pt x="37" y="65"/>
                  <a:pt x="37" y="67"/>
                </a:cubicBezTo>
                <a:cubicBezTo>
                  <a:pt x="37" y="68"/>
                  <a:pt x="36" y="69"/>
                  <a:pt x="35" y="69"/>
                </a:cubicBezTo>
                <a:cubicBezTo>
                  <a:pt x="33" y="69"/>
                  <a:pt x="32" y="68"/>
                  <a:pt x="32" y="67"/>
                </a:cubicBezTo>
                <a:cubicBezTo>
                  <a:pt x="32" y="65"/>
                  <a:pt x="33" y="64"/>
                  <a:pt x="35" y="64"/>
                </a:cubicBezTo>
                <a:close/>
                <a:moveTo>
                  <a:pt x="35" y="80"/>
                </a:moveTo>
                <a:cubicBezTo>
                  <a:pt x="36" y="80"/>
                  <a:pt x="37" y="81"/>
                  <a:pt x="37" y="83"/>
                </a:cubicBezTo>
                <a:cubicBezTo>
                  <a:pt x="37" y="84"/>
                  <a:pt x="36" y="85"/>
                  <a:pt x="35" y="85"/>
                </a:cubicBezTo>
                <a:cubicBezTo>
                  <a:pt x="33" y="85"/>
                  <a:pt x="32" y="84"/>
                  <a:pt x="32" y="83"/>
                </a:cubicBezTo>
                <a:cubicBezTo>
                  <a:pt x="32" y="81"/>
                  <a:pt x="33" y="80"/>
                  <a:pt x="35" y="80"/>
                </a:cubicBezTo>
                <a:close/>
                <a:moveTo>
                  <a:pt x="27" y="88"/>
                </a:moveTo>
                <a:cubicBezTo>
                  <a:pt x="28" y="88"/>
                  <a:pt x="29" y="89"/>
                  <a:pt x="29" y="91"/>
                </a:cubicBezTo>
                <a:cubicBezTo>
                  <a:pt x="29" y="92"/>
                  <a:pt x="28" y="93"/>
                  <a:pt x="27" y="93"/>
                </a:cubicBezTo>
                <a:cubicBezTo>
                  <a:pt x="25" y="93"/>
                  <a:pt x="24" y="92"/>
                  <a:pt x="24" y="91"/>
                </a:cubicBezTo>
                <a:cubicBezTo>
                  <a:pt x="24" y="89"/>
                  <a:pt x="25" y="88"/>
                  <a:pt x="27" y="88"/>
                </a:cubicBezTo>
                <a:close/>
                <a:moveTo>
                  <a:pt x="35" y="96"/>
                </a:moveTo>
                <a:cubicBezTo>
                  <a:pt x="36" y="96"/>
                  <a:pt x="37" y="97"/>
                  <a:pt x="37" y="99"/>
                </a:cubicBezTo>
                <a:cubicBezTo>
                  <a:pt x="37" y="100"/>
                  <a:pt x="36" y="101"/>
                  <a:pt x="35" y="101"/>
                </a:cubicBezTo>
                <a:cubicBezTo>
                  <a:pt x="33" y="101"/>
                  <a:pt x="32" y="100"/>
                  <a:pt x="32" y="99"/>
                </a:cubicBezTo>
                <a:cubicBezTo>
                  <a:pt x="32" y="97"/>
                  <a:pt x="33" y="96"/>
                  <a:pt x="35" y="9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77" name="Freeform 79">
            <a:extLst>
              <a:ext uri="{FF2B5EF4-FFF2-40B4-BE49-F238E27FC236}">
                <a16:creationId xmlns:a16="http://schemas.microsoft.com/office/drawing/2014/main" id="{8B8CB3DF-5BDD-8546-8008-8D9F1C8300B4}"/>
              </a:ext>
            </a:extLst>
          </p:cNvPr>
          <p:cNvSpPr>
            <a:spLocks noEditPoints="1"/>
          </p:cNvSpPr>
          <p:nvPr/>
        </p:nvSpPr>
        <p:spPr bwMode="auto">
          <a:xfrm>
            <a:off x="11008848" y="4516438"/>
            <a:ext cx="600075" cy="484188"/>
          </a:xfrm>
          <a:custGeom>
            <a:avLst/>
            <a:gdLst>
              <a:gd name="T0" fmla="*/ 378 w 378"/>
              <a:gd name="T1" fmla="*/ 0 h 305"/>
              <a:gd name="T2" fmla="*/ 87 w 378"/>
              <a:gd name="T3" fmla="*/ 0 h 305"/>
              <a:gd name="T4" fmla="*/ 87 w 378"/>
              <a:gd name="T5" fmla="*/ 45 h 305"/>
              <a:gd name="T6" fmla="*/ 45 w 378"/>
              <a:gd name="T7" fmla="*/ 45 h 305"/>
              <a:gd name="T8" fmla="*/ 45 w 378"/>
              <a:gd name="T9" fmla="*/ 88 h 305"/>
              <a:gd name="T10" fmla="*/ 0 w 378"/>
              <a:gd name="T11" fmla="*/ 88 h 305"/>
              <a:gd name="T12" fmla="*/ 0 w 378"/>
              <a:gd name="T13" fmla="*/ 305 h 305"/>
              <a:gd name="T14" fmla="*/ 291 w 378"/>
              <a:gd name="T15" fmla="*/ 305 h 305"/>
              <a:gd name="T16" fmla="*/ 291 w 378"/>
              <a:gd name="T17" fmla="*/ 260 h 305"/>
              <a:gd name="T18" fmla="*/ 333 w 378"/>
              <a:gd name="T19" fmla="*/ 260 h 305"/>
              <a:gd name="T20" fmla="*/ 333 w 378"/>
              <a:gd name="T21" fmla="*/ 217 h 305"/>
              <a:gd name="T22" fmla="*/ 378 w 378"/>
              <a:gd name="T23" fmla="*/ 217 h 305"/>
              <a:gd name="T24" fmla="*/ 378 w 378"/>
              <a:gd name="T25" fmla="*/ 0 h 305"/>
              <a:gd name="T26" fmla="*/ 276 w 378"/>
              <a:gd name="T27" fmla="*/ 293 h 305"/>
              <a:gd name="T28" fmla="*/ 11 w 378"/>
              <a:gd name="T29" fmla="*/ 293 h 305"/>
              <a:gd name="T30" fmla="*/ 11 w 378"/>
              <a:gd name="T31" fmla="*/ 102 h 305"/>
              <a:gd name="T32" fmla="*/ 45 w 378"/>
              <a:gd name="T33" fmla="*/ 102 h 305"/>
              <a:gd name="T34" fmla="*/ 45 w 378"/>
              <a:gd name="T35" fmla="*/ 260 h 305"/>
              <a:gd name="T36" fmla="*/ 276 w 378"/>
              <a:gd name="T37" fmla="*/ 260 h 305"/>
              <a:gd name="T38" fmla="*/ 276 w 378"/>
              <a:gd name="T39" fmla="*/ 293 h 305"/>
              <a:gd name="T40" fmla="*/ 321 w 378"/>
              <a:gd name="T41" fmla="*/ 248 h 305"/>
              <a:gd name="T42" fmla="*/ 291 w 378"/>
              <a:gd name="T43" fmla="*/ 248 h 305"/>
              <a:gd name="T44" fmla="*/ 56 w 378"/>
              <a:gd name="T45" fmla="*/ 248 h 305"/>
              <a:gd name="T46" fmla="*/ 56 w 378"/>
              <a:gd name="T47" fmla="*/ 88 h 305"/>
              <a:gd name="T48" fmla="*/ 56 w 378"/>
              <a:gd name="T49" fmla="*/ 57 h 305"/>
              <a:gd name="T50" fmla="*/ 87 w 378"/>
              <a:gd name="T51" fmla="*/ 57 h 305"/>
              <a:gd name="T52" fmla="*/ 87 w 378"/>
              <a:gd name="T53" fmla="*/ 217 h 305"/>
              <a:gd name="T54" fmla="*/ 321 w 378"/>
              <a:gd name="T55" fmla="*/ 217 h 305"/>
              <a:gd name="T56" fmla="*/ 321 w 378"/>
              <a:gd name="T57" fmla="*/ 248 h 305"/>
              <a:gd name="T58" fmla="*/ 366 w 378"/>
              <a:gd name="T59" fmla="*/ 203 h 305"/>
              <a:gd name="T60" fmla="*/ 333 w 378"/>
              <a:gd name="T61" fmla="*/ 203 h 305"/>
              <a:gd name="T62" fmla="*/ 101 w 378"/>
              <a:gd name="T63" fmla="*/ 203 h 305"/>
              <a:gd name="T64" fmla="*/ 101 w 378"/>
              <a:gd name="T65" fmla="*/ 45 h 305"/>
              <a:gd name="T66" fmla="*/ 101 w 378"/>
              <a:gd name="T67" fmla="*/ 12 h 305"/>
              <a:gd name="T68" fmla="*/ 366 w 378"/>
              <a:gd name="T69" fmla="*/ 12 h 305"/>
              <a:gd name="T70" fmla="*/ 366 w 378"/>
              <a:gd name="T71" fmla="*/ 20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8" h="305">
                <a:moveTo>
                  <a:pt x="378" y="0"/>
                </a:moveTo>
                <a:lnTo>
                  <a:pt x="87" y="0"/>
                </a:lnTo>
                <a:lnTo>
                  <a:pt x="87" y="45"/>
                </a:lnTo>
                <a:lnTo>
                  <a:pt x="45" y="45"/>
                </a:lnTo>
                <a:lnTo>
                  <a:pt x="45" y="88"/>
                </a:lnTo>
                <a:lnTo>
                  <a:pt x="0" y="88"/>
                </a:lnTo>
                <a:lnTo>
                  <a:pt x="0" y="305"/>
                </a:lnTo>
                <a:lnTo>
                  <a:pt x="291" y="305"/>
                </a:lnTo>
                <a:lnTo>
                  <a:pt x="291" y="260"/>
                </a:lnTo>
                <a:lnTo>
                  <a:pt x="333" y="260"/>
                </a:lnTo>
                <a:lnTo>
                  <a:pt x="333" y="217"/>
                </a:lnTo>
                <a:lnTo>
                  <a:pt x="378" y="217"/>
                </a:lnTo>
                <a:lnTo>
                  <a:pt x="378" y="0"/>
                </a:lnTo>
                <a:close/>
                <a:moveTo>
                  <a:pt x="276" y="293"/>
                </a:moveTo>
                <a:lnTo>
                  <a:pt x="11" y="293"/>
                </a:lnTo>
                <a:lnTo>
                  <a:pt x="11" y="102"/>
                </a:lnTo>
                <a:lnTo>
                  <a:pt x="45" y="102"/>
                </a:lnTo>
                <a:lnTo>
                  <a:pt x="45" y="260"/>
                </a:lnTo>
                <a:lnTo>
                  <a:pt x="276" y="260"/>
                </a:lnTo>
                <a:lnTo>
                  <a:pt x="276" y="293"/>
                </a:lnTo>
                <a:close/>
                <a:moveTo>
                  <a:pt x="321" y="248"/>
                </a:moveTo>
                <a:lnTo>
                  <a:pt x="291" y="248"/>
                </a:lnTo>
                <a:lnTo>
                  <a:pt x="56" y="248"/>
                </a:lnTo>
                <a:lnTo>
                  <a:pt x="56" y="88"/>
                </a:lnTo>
                <a:lnTo>
                  <a:pt x="56" y="57"/>
                </a:lnTo>
                <a:lnTo>
                  <a:pt x="87" y="57"/>
                </a:lnTo>
                <a:lnTo>
                  <a:pt x="87" y="217"/>
                </a:lnTo>
                <a:lnTo>
                  <a:pt x="321" y="217"/>
                </a:lnTo>
                <a:lnTo>
                  <a:pt x="321" y="248"/>
                </a:lnTo>
                <a:close/>
                <a:moveTo>
                  <a:pt x="366" y="203"/>
                </a:moveTo>
                <a:lnTo>
                  <a:pt x="333" y="203"/>
                </a:lnTo>
                <a:lnTo>
                  <a:pt x="101" y="203"/>
                </a:lnTo>
                <a:lnTo>
                  <a:pt x="101" y="45"/>
                </a:lnTo>
                <a:lnTo>
                  <a:pt x="101" y="12"/>
                </a:lnTo>
                <a:lnTo>
                  <a:pt x="366" y="12"/>
                </a:lnTo>
                <a:lnTo>
                  <a:pt x="366" y="20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78" name="Freeform 80">
            <a:extLst>
              <a:ext uri="{FF2B5EF4-FFF2-40B4-BE49-F238E27FC236}">
                <a16:creationId xmlns:a16="http://schemas.microsoft.com/office/drawing/2014/main" id="{2CB1C18A-3F14-EE44-9D6C-F7E084B9A56D}"/>
              </a:ext>
            </a:extLst>
          </p:cNvPr>
          <p:cNvSpPr>
            <a:spLocks noEditPoints="1"/>
          </p:cNvSpPr>
          <p:nvPr/>
        </p:nvSpPr>
        <p:spPr bwMode="auto">
          <a:xfrm>
            <a:off x="11008848" y="5151438"/>
            <a:ext cx="600075" cy="568325"/>
          </a:xfrm>
          <a:custGeom>
            <a:avLst/>
            <a:gdLst>
              <a:gd name="T0" fmla="*/ 69 w 160"/>
              <a:gd name="T1" fmla="*/ 80 h 150"/>
              <a:gd name="T2" fmla="*/ 91 w 160"/>
              <a:gd name="T3" fmla="*/ 80 h 150"/>
              <a:gd name="T4" fmla="*/ 80 w 160"/>
              <a:gd name="T5" fmla="*/ 85 h 150"/>
              <a:gd name="T6" fmla="*/ 80 w 160"/>
              <a:gd name="T7" fmla="*/ 75 h 150"/>
              <a:gd name="T8" fmla="*/ 80 w 160"/>
              <a:gd name="T9" fmla="*/ 85 h 150"/>
              <a:gd name="T10" fmla="*/ 92 w 160"/>
              <a:gd name="T11" fmla="*/ 101 h 150"/>
              <a:gd name="T12" fmla="*/ 89 w 160"/>
              <a:gd name="T13" fmla="*/ 100 h 150"/>
              <a:gd name="T14" fmla="*/ 99 w 160"/>
              <a:gd name="T15" fmla="*/ 80 h 150"/>
              <a:gd name="T16" fmla="*/ 61 w 160"/>
              <a:gd name="T17" fmla="*/ 80 h 150"/>
              <a:gd name="T18" fmla="*/ 71 w 160"/>
              <a:gd name="T19" fmla="*/ 100 h 150"/>
              <a:gd name="T20" fmla="*/ 56 w 160"/>
              <a:gd name="T21" fmla="*/ 80 h 150"/>
              <a:gd name="T22" fmla="*/ 104 w 160"/>
              <a:gd name="T23" fmla="*/ 80 h 150"/>
              <a:gd name="T24" fmla="*/ 121 w 160"/>
              <a:gd name="T25" fmla="*/ 149 h 150"/>
              <a:gd name="T26" fmla="*/ 118 w 160"/>
              <a:gd name="T27" fmla="*/ 144 h 150"/>
              <a:gd name="T28" fmla="*/ 80 w 160"/>
              <a:gd name="T29" fmla="*/ 5 h 150"/>
              <a:gd name="T30" fmla="*/ 42 w 160"/>
              <a:gd name="T31" fmla="*/ 144 h 150"/>
              <a:gd name="T32" fmla="*/ 41 w 160"/>
              <a:gd name="T33" fmla="*/ 149 h 150"/>
              <a:gd name="T34" fmla="*/ 0 w 160"/>
              <a:gd name="T35" fmla="*/ 80 h 150"/>
              <a:gd name="T36" fmla="*/ 160 w 160"/>
              <a:gd name="T37" fmla="*/ 80 h 150"/>
              <a:gd name="T38" fmla="*/ 107 w 160"/>
              <a:gd name="T39" fmla="*/ 132 h 150"/>
              <a:gd name="T40" fmla="*/ 136 w 160"/>
              <a:gd name="T41" fmla="*/ 80 h 150"/>
              <a:gd name="T42" fmla="*/ 24 w 160"/>
              <a:gd name="T43" fmla="*/ 80 h 150"/>
              <a:gd name="T44" fmla="*/ 53 w 160"/>
              <a:gd name="T45" fmla="*/ 132 h 150"/>
              <a:gd name="T46" fmla="*/ 49 w 160"/>
              <a:gd name="T47" fmla="*/ 133 h 150"/>
              <a:gd name="T48" fmla="*/ 80 w 160"/>
              <a:gd name="T49" fmla="*/ 19 h 150"/>
              <a:gd name="T50" fmla="*/ 111 w 160"/>
              <a:gd name="T51" fmla="*/ 133 h 150"/>
              <a:gd name="T52" fmla="*/ 100 w 160"/>
              <a:gd name="T53" fmla="*/ 117 h 150"/>
              <a:gd name="T54" fmla="*/ 99 w 160"/>
              <a:gd name="T55" fmla="*/ 112 h 150"/>
              <a:gd name="T56" fmla="*/ 80 w 160"/>
              <a:gd name="T57" fmla="*/ 43 h 150"/>
              <a:gd name="T58" fmla="*/ 61 w 160"/>
              <a:gd name="T59" fmla="*/ 112 h 150"/>
              <a:gd name="T60" fmla="*/ 58 w 160"/>
              <a:gd name="T61" fmla="*/ 117 h 150"/>
              <a:gd name="T62" fmla="*/ 80 w 160"/>
              <a:gd name="T63" fmla="*/ 37 h 150"/>
              <a:gd name="T64" fmla="*/ 102 w 160"/>
              <a:gd name="T65" fmla="*/ 11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50">
                <a:moveTo>
                  <a:pt x="80" y="69"/>
                </a:moveTo>
                <a:cubicBezTo>
                  <a:pt x="74" y="69"/>
                  <a:pt x="69" y="74"/>
                  <a:pt x="69" y="80"/>
                </a:cubicBezTo>
                <a:cubicBezTo>
                  <a:pt x="69" y="86"/>
                  <a:pt x="74" y="91"/>
                  <a:pt x="80" y="91"/>
                </a:cubicBezTo>
                <a:cubicBezTo>
                  <a:pt x="86" y="91"/>
                  <a:pt x="91" y="86"/>
                  <a:pt x="91" y="80"/>
                </a:cubicBezTo>
                <a:cubicBezTo>
                  <a:pt x="91" y="74"/>
                  <a:pt x="86" y="69"/>
                  <a:pt x="80" y="69"/>
                </a:cubicBezTo>
                <a:close/>
                <a:moveTo>
                  <a:pt x="80" y="85"/>
                </a:moveTo>
                <a:cubicBezTo>
                  <a:pt x="77" y="85"/>
                  <a:pt x="75" y="83"/>
                  <a:pt x="75" y="80"/>
                </a:cubicBezTo>
                <a:cubicBezTo>
                  <a:pt x="75" y="77"/>
                  <a:pt x="77" y="75"/>
                  <a:pt x="80" y="75"/>
                </a:cubicBezTo>
                <a:cubicBezTo>
                  <a:pt x="83" y="75"/>
                  <a:pt x="85" y="77"/>
                  <a:pt x="85" y="80"/>
                </a:cubicBezTo>
                <a:cubicBezTo>
                  <a:pt x="85" y="83"/>
                  <a:pt x="83" y="85"/>
                  <a:pt x="80" y="85"/>
                </a:cubicBezTo>
                <a:close/>
                <a:moveTo>
                  <a:pt x="104" y="80"/>
                </a:moveTo>
                <a:cubicBezTo>
                  <a:pt x="104" y="88"/>
                  <a:pt x="99" y="96"/>
                  <a:pt x="92" y="101"/>
                </a:cubicBezTo>
                <a:cubicBezTo>
                  <a:pt x="92" y="101"/>
                  <a:pt x="91" y="101"/>
                  <a:pt x="91" y="101"/>
                </a:cubicBezTo>
                <a:cubicBezTo>
                  <a:pt x="90" y="101"/>
                  <a:pt x="89" y="101"/>
                  <a:pt x="89" y="100"/>
                </a:cubicBezTo>
                <a:cubicBezTo>
                  <a:pt x="88" y="98"/>
                  <a:pt x="88" y="97"/>
                  <a:pt x="89" y="96"/>
                </a:cubicBezTo>
                <a:cubicBezTo>
                  <a:pt x="95" y="93"/>
                  <a:pt x="99" y="87"/>
                  <a:pt x="99" y="80"/>
                </a:cubicBezTo>
                <a:cubicBezTo>
                  <a:pt x="99" y="70"/>
                  <a:pt x="90" y="61"/>
                  <a:pt x="80" y="61"/>
                </a:cubicBezTo>
                <a:cubicBezTo>
                  <a:pt x="70" y="61"/>
                  <a:pt x="61" y="70"/>
                  <a:pt x="61" y="80"/>
                </a:cubicBezTo>
                <a:cubicBezTo>
                  <a:pt x="61" y="87"/>
                  <a:pt x="65" y="93"/>
                  <a:pt x="71" y="96"/>
                </a:cubicBezTo>
                <a:cubicBezTo>
                  <a:pt x="72" y="97"/>
                  <a:pt x="72" y="98"/>
                  <a:pt x="71" y="100"/>
                </a:cubicBezTo>
                <a:cubicBezTo>
                  <a:pt x="71" y="101"/>
                  <a:pt x="69" y="101"/>
                  <a:pt x="68" y="101"/>
                </a:cubicBezTo>
                <a:cubicBezTo>
                  <a:pt x="61" y="96"/>
                  <a:pt x="56" y="88"/>
                  <a:pt x="56" y="80"/>
                </a:cubicBezTo>
                <a:cubicBezTo>
                  <a:pt x="56" y="67"/>
                  <a:pt x="67" y="56"/>
                  <a:pt x="80" y="56"/>
                </a:cubicBezTo>
                <a:cubicBezTo>
                  <a:pt x="93" y="56"/>
                  <a:pt x="104" y="67"/>
                  <a:pt x="104" y="80"/>
                </a:cubicBezTo>
                <a:close/>
                <a:moveTo>
                  <a:pt x="160" y="80"/>
                </a:moveTo>
                <a:cubicBezTo>
                  <a:pt x="160" y="108"/>
                  <a:pt x="145" y="135"/>
                  <a:pt x="121" y="149"/>
                </a:cubicBezTo>
                <a:cubicBezTo>
                  <a:pt x="119" y="150"/>
                  <a:pt x="118" y="149"/>
                  <a:pt x="117" y="148"/>
                </a:cubicBezTo>
                <a:cubicBezTo>
                  <a:pt x="116" y="147"/>
                  <a:pt x="117" y="145"/>
                  <a:pt x="118" y="144"/>
                </a:cubicBezTo>
                <a:cubicBezTo>
                  <a:pt x="141" y="131"/>
                  <a:pt x="155" y="106"/>
                  <a:pt x="155" y="80"/>
                </a:cubicBezTo>
                <a:cubicBezTo>
                  <a:pt x="155" y="39"/>
                  <a:pt x="121" y="5"/>
                  <a:pt x="80" y="5"/>
                </a:cubicBezTo>
                <a:cubicBezTo>
                  <a:pt x="39" y="5"/>
                  <a:pt x="5" y="39"/>
                  <a:pt x="5" y="80"/>
                </a:cubicBezTo>
                <a:cubicBezTo>
                  <a:pt x="5" y="106"/>
                  <a:pt x="19" y="131"/>
                  <a:pt x="42" y="144"/>
                </a:cubicBezTo>
                <a:cubicBezTo>
                  <a:pt x="43" y="145"/>
                  <a:pt x="44" y="147"/>
                  <a:pt x="43" y="148"/>
                </a:cubicBezTo>
                <a:cubicBezTo>
                  <a:pt x="43" y="149"/>
                  <a:pt x="42" y="149"/>
                  <a:pt x="41" y="149"/>
                </a:cubicBezTo>
                <a:cubicBezTo>
                  <a:pt x="40" y="149"/>
                  <a:pt x="40" y="149"/>
                  <a:pt x="39" y="149"/>
                </a:cubicBezTo>
                <a:cubicBezTo>
                  <a:pt x="15" y="135"/>
                  <a:pt x="0" y="108"/>
                  <a:pt x="0" y="80"/>
                </a:cubicBezTo>
                <a:cubicBezTo>
                  <a:pt x="0" y="36"/>
                  <a:pt x="36" y="0"/>
                  <a:pt x="80" y="0"/>
                </a:cubicBezTo>
                <a:cubicBezTo>
                  <a:pt x="124" y="0"/>
                  <a:pt x="160" y="36"/>
                  <a:pt x="160" y="80"/>
                </a:cubicBezTo>
                <a:close/>
                <a:moveTo>
                  <a:pt x="111" y="133"/>
                </a:moveTo>
                <a:cubicBezTo>
                  <a:pt x="110" y="134"/>
                  <a:pt x="108" y="133"/>
                  <a:pt x="107" y="132"/>
                </a:cubicBezTo>
                <a:cubicBezTo>
                  <a:pt x="107" y="131"/>
                  <a:pt x="107" y="129"/>
                  <a:pt x="108" y="128"/>
                </a:cubicBezTo>
                <a:cubicBezTo>
                  <a:pt x="125" y="118"/>
                  <a:pt x="136" y="100"/>
                  <a:pt x="136" y="80"/>
                </a:cubicBezTo>
                <a:cubicBezTo>
                  <a:pt x="136" y="49"/>
                  <a:pt x="111" y="24"/>
                  <a:pt x="80" y="24"/>
                </a:cubicBezTo>
                <a:cubicBezTo>
                  <a:pt x="49" y="24"/>
                  <a:pt x="24" y="49"/>
                  <a:pt x="24" y="80"/>
                </a:cubicBezTo>
                <a:cubicBezTo>
                  <a:pt x="24" y="100"/>
                  <a:pt x="35" y="118"/>
                  <a:pt x="52" y="128"/>
                </a:cubicBezTo>
                <a:cubicBezTo>
                  <a:pt x="53" y="129"/>
                  <a:pt x="53" y="131"/>
                  <a:pt x="53" y="132"/>
                </a:cubicBezTo>
                <a:cubicBezTo>
                  <a:pt x="52" y="133"/>
                  <a:pt x="51" y="133"/>
                  <a:pt x="50" y="133"/>
                </a:cubicBezTo>
                <a:cubicBezTo>
                  <a:pt x="50" y="133"/>
                  <a:pt x="49" y="133"/>
                  <a:pt x="49" y="133"/>
                </a:cubicBezTo>
                <a:cubicBezTo>
                  <a:pt x="30" y="122"/>
                  <a:pt x="19" y="102"/>
                  <a:pt x="19" y="80"/>
                </a:cubicBezTo>
                <a:cubicBezTo>
                  <a:pt x="19" y="46"/>
                  <a:pt x="46" y="19"/>
                  <a:pt x="80" y="19"/>
                </a:cubicBezTo>
                <a:cubicBezTo>
                  <a:pt x="114" y="19"/>
                  <a:pt x="141" y="46"/>
                  <a:pt x="141" y="80"/>
                </a:cubicBezTo>
                <a:cubicBezTo>
                  <a:pt x="141" y="102"/>
                  <a:pt x="130" y="122"/>
                  <a:pt x="111" y="133"/>
                </a:cubicBezTo>
                <a:close/>
                <a:moveTo>
                  <a:pt x="102" y="117"/>
                </a:moveTo>
                <a:cubicBezTo>
                  <a:pt x="101" y="117"/>
                  <a:pt x="101" y="117"/>
                  <a:pt x="100" y="117"/>
                </a:cubicBezTo>
                <a:cubicBezTo>
                  <a:pt x="99" y="117"/>
                  <a:pt x="98" y="117"/>
                  <a:pt x="98" y="116"/>
                </a:cubicBezTo>
                <a:cubicBezTo>
                  <a:pt x="97" y="115"/>
                  <a:pt x="98" y="113"/>
                  <a:pt x="99" y="112"/>
                </a:cubicBezTo>
                <a:cubicBezTo>
                  <a:pt x="110" y="105"/>
                  <a:pt x="117" y="93"/>
                  <a:pt x="117" y="80"/>
                </a:cubicBezTo>
                <a:cubicBezTo>
                  <a:pt x="117" y="59"/>
                  <a:pt x="101" y="43"/>
                  <a:pt x="80" y="43"/>
                </a:cubicBezTo>
                <a:cubicBezTo>
                  <a:pt x="59" y="43"/>
                  <a:pt x="43" y="59"/>
                  <a:pt x="43" y="80"/>
                </a:cubicBezTo>
                <a:cubicBezTo>
                  <a:pt x="43" y="93"/>
                  <a:pt x="50" y="105"/>
                  <a:pt x="61" y="112"/>
                </a:cubicBezTo>
                <a:cubicBezTo>
                  <a:pt x="62" y="113"/>
                  <a:pt x="63" y="115"/>
                  <a:pt x="62" y="116"/>
                </a:cubicBezTo>
                <a:cubicBezTo>
                  <a:pt x="61" y="117"/>
                  <a:pt x="60" y="117"/>
                  <a:pt x="58" y="117"/>
                </a:cubicBezTo>
                <a:cubicBezTo>
                  <a:pt x="45" y="109"/>
                  <a:pt x="37" y="95"/>
                  <a:pt x="37" y="80"/>
                </a:cubicBezTo>
                <a:cubicBezTo>
                  <a:pt x="37" y="56"/>
                  <a:pt x="56" y="37"/>
                  <a:pt x="80" y="37"/>
                </a:cubicBezTo>
                <a:cubicBezTo>
                  <a:pt x="104" y="37"/>
                  <a:pt x="123" y="56"/>
                  <a:pt x="123" y="80"/>
                </a:cubicBezTo>
                <a:cubicBezTo>
                  <a:pt x="123" y="95"/>
                  <a:pt x="115" y="109"/>
                  <a:pt x="102" y="11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79" name="Freeform 81">
            <a:extLst>
              <a:ext uri="{FF2B5EF4-FFF2-40B4-BE49-F238E27FC236}">
                <a16:creationId xmlns:a16="http://schemas.microsoft.com/office/drawing/2014/main" id="{D4663FC6-796C-3B40-B840-219CE872113D}"/>
              </a:ext>
            </a:extLst>
          </p:cNvPr>
          <p:cNvSpPr>
            <a:spLocks noEditPoints="1"/>
          </p:cNvSpPr>
          <p:nvPr/>
        </p:nvSpPr>
        <p:spPr bwMode="auto">
          <a:xfrm>
            <a:off x="9072254" y="3124200"/>
            <a:ext cx="461963" cy="604838"/>
          </a:xfrm>
          <a:custGeom>
            <a:avLst/>
            <a:gdLst>
              <a:gd name="T0" fmla="*/ 98 w 123"/>
              <a:gd name="T1" fmla="*/ 10 h 160"/>
              <a:gd name="T2" fmla="*/ 97 w 123"/>
              <a:gd name="T3" fmla="*/ 9 h 160"/>
              <a:gd name="T4" fmla="*/ 89 w 123"/>
              <a:gd name="T5" fmla="*/ 5 h 160"/>
              <a:gd name="T6" fmla="*/ 83 w 123"/>
              <a:gd name="T7" fmla="*/ 2 h 160"/>
              <a:gd name="T8" fmla="*/ 73 w 123"/>
              <a:gd name="T9" fmla="*/ 0 h 160"/>
              <a:gd name="T10" fmla="*/ 61 w 123"/>
              <a:gd name="T11" fmla="*/ 0 h 160"/>
              <a:gd name="T12" fmla="*/ 55 w 123"/>
              <a:gd name="T13" fmla="*/ 1 h 160"/>
              <a:gd name="T14" fmla="*/ 40 w 123"/>
              <a:gd name="T15" fmla="*/ 7 h 160"/>
              <a:gd name="T16" fmla="*/ 34 w 123"/>
              <a:gd name="T17" fmla="*/ 10 h 160"/>
              <a:gd name="T18" fmla="*/ 21 w 123"/>
              <a:gd name="T19" fmla="*/ 7 h 160"/>
              <a:gd name="T20" fmla="*/ 19 w 123"/>
              <a:gd name="T21" fmla="*/ 103 h 160"/>
              <a:gd name="T22" fmla="*/ 37 w 123"/>
              <a:gd name="T23" fmla="*/ 147 h 160"/>
              <a:gd name="T24" fmla="*/ 96 w 123"/>
              <a:gd name="T25" fmla="*/ 147 h 160"/>
              <a:gd name="T26" fmla="*/ 114 w 123"/>
              <a:gd name="T27" fmla="*/ 103 h 160"/>
              <a:gd name="T28" fmla="*/ 123 w 123"/>
              <a:gd name="T29" fmla="*/ 56 h 160"/>
              <a:gd name="T30" fmla="*/ 47 w 123"/>
              <a:gd name="T31" fmla="*/ 9 h 160"/>
              <a:gd name="T32" fmla="*/ 56 w 123"/>
              <a:gd name="T33" fmla="*/ 6 h 160"/>
              <a:gd name="T34" fmla="*/ 62 w 123"/>
              <a:gd name="T35" fmla="*/ 6 h 160"/>
              <a:gd name="T36" fmla="*/ 72 w 123"/>
              <a:gd name="T37" fmla="*/ 6 h 160"/>
              <a:gd name="T38" fmla="*/ 81 w 123"/>
              <a:gd name="T39" fmla="*/ 7 h 160"/>
              <a:gd name="T40" fmla="*/ 87 w 123"/>
              <a:gd name="T41" fmla="*/ 10 h 160"/>
              <a:gd name="T42" fmla="*/ 92 w 123"/>
              <a:gd name="T43" fmla="*/ 12 h 160"/>
              <a:gd name="T44" fmla="*/ 72 w 123"/>
              <a:gd name="T45" fmla="*/ 26 h 160"/>
              <a:gd name="T46" fmla="*/ 57 w 123"/>
              <a:gd name="T47" fmla="*/ 32 h 160"/>
              <a:gd name="T48" fmla="*/ 62 w 123"/>
              <a:gd name="T49" fmla="*/ 39 h 160"/>
              <a:gd name="T50" fmla="*/ 54 w 123"/>
              <a:gd name="T51" fmla="*/ 38 h 160"/>
              <a:gd name="T52" fmla="*/ 39 w 123"/>
              <a:gd name="T53" fmla="*/ 13 h 160"/>
              <a:gd name="T54" fmla="*/ 70 w 123"/>
              <a:gd name="T55" fmla="*/ 49 h 160"/>
              <a:gd name="T56" fmla="*/ 70 w 123"/>
              <a:gd name="T57" fmla="*/ 44 h 160"/>
              <a:gd name="T58" fmla="*/ 80 w 123"/>
              <a:gd name="T59" fmla="*/ 48 h 160"/>
              <a:gd name="T60" fmla="*/ 92 w 123"/>
              <a:gd name="T61" fmla="*/ 56 h 160"/>
              <a:gd name="T62" fmla="*/ 96 w 123"/>
              <a:gd name="T63" fmla="*/ 74 h 160"/>
              <a:gd name="T64" fmla="*/ 75 w 123"/>
              <a:gd name="T65" fmla="*/ 93 h 160"/>
              <a:gd name="T66" fmla="*/ 63 w 123"/>
              <a:gd name="T67" fmla="*/ 33 h 160"/>
              <a:gd name="T68" fmla="*/ 63 w 123"/>
              <a:gd name="T69" fmla="*/ 32 h 160"/>
              <a:gd name="T70" fmla="*/ 66 w 123"/>
              <a:gd name="T71" fmla="*/ 32 h 160"/>
              <a:gd name="T72" fmla="*/ 69 w 123"/>
              <a:gd name="T73" fmla="*/ 34 h 160"/>
              <a:gd name="T74" fmla="*/ 67 w 123"/>
              <a:gd name="T75" fmla="*/ 34 h 160"/>
              <a:gd name="T76" fmla="*/ 65 w 123"/>
              <a:gd name="T77" fmla="*/ 41 h 160"/>
              <a:gd name="T78" fmla="*/ 66 w 123"/>
              <a:gd name="T79" fmla="*/ 40 h 160"/>
              <a:gd name="T80" fmla="*/ 34 w 123"/>
              <a:gd name="T81" fmla="*/ 17 h 160"/>
              <a:gd name="T82" fmla="*/ 58 w 123"/>
              <a:gd name="T83" fmla="*/ 44 h 160"/>
              <a:gd name="T84" fmla="*/ 64 w 123"/>
              <a:gd name="T85" fmla="*/ 49 h 160"/>
              <a:gd name="T86" fmla="*/ 74 w 123"/>
              <a:gd name="T87" fmla="*/ 76 h 160"/>
              <a:gd name="T88" fmla="*/ 75 w 123"/>
              <a:gd name="T89" fmla="*/ 98 h 160"/>
              <a:gd name="T90" fmla="*/ 94 w 123"/>
              <a:gd name="T91" fmla="*/ 84 h 160"/>
              <a:gd name="T92" fmla="*/ 101 w 123"/>
              <a:gd name="T93" fmla="*/ 76 h 160"/>
              <a:gd name="T94" fmla="*/ 97 w 123"/>
              <a:gd name="T95" fmla="*/ 53 h 160"/>
              <a:gd name="T96" fmla="*/ 85 w 123"/>
              <a:gd name="T97" fmla="*/ 44 h 160"/>
              <a:gd name="T98" fmla="*/ 75 w 123"/>
              <a:gd name="T99" fmla="*/ 43 h 160"/>
              <a:gd name="T100" fmla="*/ 72 w 123"/>
              <a:gd name="T101" fmla="*/ 37 h 160"/>
              <a:gd name="T102" fmla="*/ 78 w 123"/>
              <a:gd name="T103" fmla="*/ 29 h 160"/>
              <a:gd name="T104" fmla="*/ 117 w 123"/>
              <a:gd name="T105" fmla="*/ 56 h 160"/>
              <a:gd name="T106" fmla="*/ 34 w 123"/>
              <a:gd name="T107" fmla="*/ 17 h 160"/>
              <a:gd name="T108" fmla="*/ 43 w 123"/>
              <a:gd name="T109" fmla="*/ 155 h 160"/>
              <a:gd name="T110" fmla="*/ 108 w 123"/>
              <a:gd name="T111" fmla="*/ 101 h 160"/>
              <a:gd name="T112" fmla="*/ 21 w 123"/>
              <a:gd name="T113" fmla="*/ 15 h 160"/>
              <a:gd name="T114" fmla="*/ 67 w 123"/>
              <a:gd name="T115" fmla="*/ 11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 h="160">
                <a:moveTo>
                  <a:pt x="123" y="56"/>
                </a:moveTo>
                <a:cubicBezTo>
                  <a:pt x="123" y="37"/>
                  <a:pt x="113" y="20"/>
                  <a:pt x="98" y="10"/>
                </a:cubicBezTo>
                <a:cubicBezTo>
                  <a:pt x="98" y="10"/>
                  <a:pt x="98" y="10"/>
                  <a:pt x="98" y="10"/>
                </a:cubicBezTo>
                <a:cubicBezTo>
                  <a:pt x="98" y="10"/>
                  <a:pt x="98" y="10"/>
                  <a:pt x="98" y="10"/>
                </a:cubicBezTo>
                <a:cubicBezTo>
                  <a:pt x="98" y="10"/>
                  <a:pt x="98" y="10"/>
                  <a:pt x="98" y="10"/>
                </a:cubicBezTo>
                <a:cubicBezTo>
                  <a:pt x="97" y="9"/>
                  <a:pt x="97" y="9"/>
                  <a:pt x="97" y="9"/>
                </a:cubicBezTo>
                <a:cubicBezTo>
                  <a:pt x="96" y="8"/>
                  <a:pt x="95" y="8"/>
                  <a:pt x="94" y="7"/>
                </a:cubicBezTo>
                <a:cubicBezTo>
                  <a:pt x="93" y="7"/>
                  <a:pt x="93" y="6"/>
                  <a:pt x="92" y="6"/>
                </a:cubicBezTo>
                <a:cubicBezTo>
                  <a:pt x="91" y="6"/>
                  <a:pt x="90" y="5"/>
                  <a:pt x="89" y="5"/>
                </a:cubicBezTo>
                <a:cubicBezTo>
                  <a:pt x="89" y="5"/>
                  <a:pt x="88" y="4"/>
                  <a:pt x="88" y="4"/>
                </a:cubicBezTo>
                <a:cubicBezTo>
                  <a:pt x="86" y="4"/>
                  <a:pt x="85" y="3"/>
                  <a:pt x="84" y="3"/>
                </a:cubicBezTo>
                <a:cubicBezTo>
                  <a:pt x="84" y="3"/>
                  <a:pt x="83" y="3"/>
                  <a:pt x="83" y="2"/>
                </a:cubicBezTo>
                <a:cubicBezTo>
                  <a:pt x="81" y="2"/>
                  <a:pt x="80" y="2"/>
                  <a:pt x="78" y="1"/>
                </a:cubicBezTo>
                <a:cubicBezTo>
                  <a:pt x="78" y="1"/>
                  <a:pt x="77" y="1"/>
                  <a:pt x="77" y="1"/>
                </a:cubicBezTo>
                <a:cubicBezTo>
                  <a:pt x="76" y="1"/>
                  <a:pt x="74" y="1"/>
                  <a:pt x="73" y="0"/>
                </a:cubicBezTo>
                <a:cubicBezTo>
                  <a:pt x="73" y="0"/>
                  <a:pt x="72" y="0"/>
                  <a:pt x="72" y="0"/>
                </a:cubicBezTo>
                <a:cubicBezTo>
                  <a:pt x="70" y="0"/>
                  <a:pt x="68" y="0"/>
                  <a:pt x="67" y="0"/>
                </a:cubicBezTo>
                <a:cubicBezTo>
                  <a:pt x="65" y="0"/>
                  <a:pt x="63" y="0"/>
                  <a:pt x="61" y="0"/>
                </a:cubicBezTo>
                <a:cubicBezTo>
                  <a:pt x="61" y="0"/>
                  <a:pt x="61" y="0"/>
                  <a:pt x="60" y="0"/>
                </a:cubicBezTo>
                <a:cubicBezTo>
                  <a:pt x="59" y="1"/>
                  <a:pt x="57" y="1"/>
                  <a:pt x="56" y="1"/>
                </a:cubicBezTo>
                <a:cubicBezTo>
                  <a:pt x="56" y="1"/>
                  <a:pt x="55" y="1"/>
                  <a:pt x="55" y="1"/>
                </a:cubicBezTo>
                <a:cubicBezTo>
                  <a:pt x="52" y="2"/>
                  <a:pt x="48" y="3"/>
                  <a:pt x="45" y="4"/>
                </a:cubicBezTo>
                <a:cubicBezTo>
                  <a:pt x="45" y="4"/>
                  <a:pt x="45" y="5"/>
                  <a:pt x="44" y="5"/>
                </a:cubicBezTo>
                <a:cubicBezTo>
                  <a:pt x="43" y="5"/>
                  <a:pt x="42" y="6"/>
                  <a:pt x="40" y="7"/>
                </a:cubicBezTo>
                <a:cubicBezTo>
                  <a:pt x="40" y="7"/>
                  <a:pt x="40" y="7"/>
                  <a:pt x="40" y="7"/>
                </a:cubicBezTo>
                <a:cubicBezTo>
                  <a:pt x="38" y="8"/>
                  <a:pt x="37" y="9"/>
                  <a:pt x="35" y="10"/>
                </a:cubicBezTo>
                <a:cubicBezTo>
                  <a:pt x="34" y="10"/>
                  <a:pt x="34" y="10"/>
                  <a:pt x="34" y="10"/>
                </a:cubicBezTo>
                <a:cubicBezTo>
                  <a:pt x="34" y="11"/>
                  <a:pt x="34" y="11"/>
                  <a:pt x="34" y="11"/>
                </a:cubicBezTo>
                <a:cubicBezTo>
                  <a:pt x="32" y="12"/>
                  <a:pt x="31" y="13"/>
                  <a:pt x="29" y="15"/>
                </a:cubicBezTo>
                <a:cubicBezTo>
                  <a:pt x="21" y="7"/>
                  <a:pt x="21" y="7"/>
                  <a:pt x="21" y="7"/>
                </a:cubicBezTo>
                <a:cubicBezTo>
                  <a:pt x="19" y="9"/>
                  <a:pt x="19" y="9"/>
                  <a:pt x="19" y="9"/>
                </a:cubicBezTo>
                <a:cubicBezTo>
                  <a:pt x="7" y="21"/>
                  <a:pt x="0" y="38"/>
                  <a:pt x="0" y="56"/>
                </a:cubicBezTo>
                <a:cubicBezTo>
                  <a:pt x="0" y="74"/>
                  <a:pt x="7" y="91"/>
                  <a:pt x="19" y="103"/>
                </a:cubicBezTo>
                <a:cubicBezTo>
                  <a:pt x="31" y="115"/>
                  <a:pt x="47" y="122"/>
                  <a:pt x="64" y="123"/>
                </a:cubicBezTo>
                <a:cubicBezTo>
                  <a:pt x="64" y="147"/>
                  <a:pt x="64" y="147"/>
                  <a:pt x="64" y="147"/>
                </a:cubicBezTo>
                <a:cubicBezTo>
                  <a:pt x="37" y="147"/>
                  <a:pt x="37" y="147"/>
                  <a:pt x="37" y="147"/>
                </a:cubicBezTo>
                <a:cubicBezTo>
                  <a:pt x="37" y="160"/>
                  <a:pt x="37" y="160"/>
                  <a:pt x="37" y="160"/>
                </a:cubicBezTo>
                <a:cubicBezTo>
                  <a:pt x="96" y="160"/>
                  <a:pt x="96" y="160"/>
                  <a:pt x="96" y="160"/>
                </a:cubicBezTo>
                <a:cubicBezTo>
                  <a:pt x="96" y="147"/>
                  <a:pt x="96" y="147"/>
                  <a:pt x="96" y="147"/>
                </a:cubicBezTo>
                <a:cubicBezTo>
                  <a:pt x="69" y="147"/>
                  <a:pt x="69" y="147"/>
                  <a:pt x="69" y="147"/>
                </a:cubicBezTo>
                <a:cubicBezTo>
                  <a:pt x="69" y="123"/>
                  <a:pt x="69" y="123"/>
                  <a:pt x="69" y="123"/>
                </a:cubicBezTo>
                <a:cubicBezTo>
                  <a:pt x="86" y="122"/>
                  <a:pt x="102" y="115"/>
                  <a:pt x="114" y="103"/>
                </a:cubicBezTo>
                <a:cubicBezTo>
                  <a:pt x="116" y="101"/>
                  <a:pt x="116" y="101"/>
                  <a:pt x="116" y="101"/>
                </a:cubicBezTo>
                <a:cubicBezTo>
                  <a:pt x="108" y="94"/>
                  <a:pt x="108" y="94"/>
                  <a:pt x="108" y="94"/>
                </a:cubicBezTo>
                <a:cubicBezTo>
                  <a:pt x="117" y="84"/>
                  <a:pt x="123" y="70"/>
                  <a:pt x="123" y="56"/>
                </a:cubicBezTo>
                <a:close/>
                <a:moveTo>
                  <a:pt x="39" y="13"/>
                </a:moveTo>
                <a:cubicBezTo>
                  <a:pt x="42" y="12"/>
                  <a:pt x="44" y="11"/>
                  <a:pt x="47" y="9"/>
                </a:cubicBezTo>
                <a:cubicBezTo>
                  <a:pt x="47" y="9"/>
                  <a:pt x="47" y="9"/>
                  <a:pt x="47" y="9"/>
                </a:cubicBezTo>
                <a:cubicBezTo>
                  <a:pt x="49" y="9"/>
                  <a:pt x="50" y="8"/>
                  <a:pt x="51" y="8"/>
                </a:cubicBezTo>
                <a:cubicBezTo>
                  <a:pt x="51" y="8"/>
                  <a:pt x="52" y="8"/>
                  <a:pt x="52" y="8"/>
                </a:cubicBezTo>
                <a:cubicBezTo>
                  <a:pt x="53" y="7"/>
                  <a:pt x="55" y="7"/>
                  <a:pt x="56" y="6"/>
                </a:cubicBezTo>
                <a:cubicBezTo>
                  <a:pt x="56" y="6"/>
                  <a:pt x="57" y="6"/>
                  <a:pt x="57" y="6"/>
                </a:cubicBezTo>
                <a:cubicBezTo>
                  <a:pt x="58" y="6"/>
                  <a:pt x="60" y="6"/>
                  <a:pt x="61" y="6"/>
                </a:cubicBezTo>
                <a:cubicBezTo>
                  <a:pt x="61" y="6"/>
                  <a:pt x="62" y="6"/>
                  <a:pt x="62" y="6"/>
                </a:cubicBezTo>
                <a:cubicBezTo>
                  <a:pt x="64" y="5"/>
                  <a:pt x="65" y="5"/>
                  <a:pt x="67" y="5"/>
                </a:cubicBezTo>
                <a:cubicBezTo>
                  <a:pt x="68" y="5"/>
                  <a:pt x="70" y="5"/>
                  <a:pt x="71" y="6"/>
                </a:cubicBezTo>
                <a:cubicBezTo>
                  <a:pt x="72" y="6"/>
                  <a:pt x="72" y="6"/>
                  <a:pt x="72" y="6"/>
                </a:cubicBezTo>
                <a:cubicBezTo>
                  <a:pt x="74" y="6"/>
                  <a:pt x="75" y="6"/>
                  <a:pt x="77" y="6"/>
                </a:cubicBezTo>
                <a:cubicBezTo>
                  <a:pt x="77" y="6"/>
                  <a:pt x="77" y="6"/>
                  <a:pt x="77" y="7"/>
                </a:cubicBezTo>
                <a:cubicBezTo>
                  <a:pt x="79" y="7"/>
                  <a:pt x="80" y="7"/>
                  <a:pt x="81" y="7"/>
                </a:cubicBezTo>
                <a:cubicBezTo>
                  <a:pt x="81" y="8"/>
                  <a:pt x="82" y="8"/>
                  <a:pt x="82" y="8"/>
                </a:cubicBezTo>
                <a:cubicBezTo>
                  <a:pt x="84" y="8"/>
                  <a:pt x="85" y="9"/>
                  <a:pt x="86" y="9"/>
                </a:cubicBezTo>
                <a:cubicBezTo>
                  <a:pt x="86" y="9"/>
                  <a:pt x="87" y="10"/>
                  <a:pt x="87" y="10"/>
                </a:cubicBezTo>
                <a:cubicBezTo>
                  <a:pt x="88" y="10"/>
                  <a:pt x="89" y="11"/>
                  <a:pt x="90" y="11"/>
                </a:cubicBezTo>
                <a:cubicBezTo>
                  <a:pt x="90" y="11"/>
                  <a:pt x="91" y="12"/>
                  <a:pt x="91" y="12"/>
                </a:cubicBezTo>
                <a:cubicBezTo>
                  <a:pt x="92" y="12"/>
                  <a:pt x="92" y="12"/>
                  <a:pt x="92" y="12"/>
                </a:cubicBezTo>
                <a:cubicBezTo>
                  <a:pt x="84" y="15"/>
                  <a:pt x="79" y="19"/>
                  <a:pt x="74" y="26"/>
                </a:cubicBezTo>
                <a:cubicBezTo>
                  <a:pt x="73" y="26"/>
                  <a:pt x="73" y="27"/>
                  <a:pt x="73" y="27"/>
                </a:cubicBezTo>
                <a:cubicBezTo>
                  <a:pt x="72" y="27"/>
                  <a:pt x="72" y="27"/>
                  <a:pt x="72" y="26"/>
                </a:cubicBezTo>
                <a:cubicBezTo>
                  <a:pt x="70" y="25"/>
                  <a:pt x="67" y="25"/>
                  <a:pt x="64" y="26"/>
                </a:cubicBezTo>
                <a:cubicBezTo>
                  <a:pt x="64" y="27"/>
                  <a:pt x="64" y="27"/>
                  <a:pt x="64" y="27"/>
                </a:cubicBezTo>
                <a:cubicBezTo>
                  <a:pt x="60" y="27"/>
                  <a:pt x="58" y="27"/>
                  <a:pt x="57" y="32"/>
                </a:cubicBezTo>
                <a:cubicBezTo>
                  <a:pt x="57" y="34"/>
                  <a:pt x="59" y="37"/>
                  <a:pt x="61" y="38"/>
                </a:cubicBezTo>
                <a:cubicBezTo>
                  <a:pt x="61" y="38"/>
                  <a:pt x="61" y="38"/>
                  <a:pt x="62" y="38"/>
                </a:cubicBezTo>
                <a:cubicBezTo>
                  <a:pt x="62" y="38"/>
                  <a:pt x="62" y="39"/>
                  <a:pt x="62" y="39"/>
                </a:cubicBezTo>
                <a:cubicBezTo>
                  <a:pt x="63" y="40"/>
                  <a:pt x="63" y="40"/>
                  <a:pt x="63" y="40"/>
                </a:cubicBezTo>
                <a:cubicBezTo>
                  <a:pt x="61" y="39"/>
                  <a:pt x="60" y="39"/>
                  <a:pt x="59" y="39"/>
                </a:cubicBezTo>
                <a:cubicBezTo>
                  <a:pt x="57" y="39"/>
                  <a:pt x="56" y="38"/>
                  <a:pt x="54" y="38"/>
                </a:cubicBezTo>
                <a:cubicBezTo>
                  <a:pt x="48" y="36"/>
                  <a:pt x="44" y="26"/>
                  <a:pt x="41" y="19"/>
                </a:cubicBezTo>
                <a:cubicBezTo>
                  <a:pt x="40" y="18"/>
                  <a:pt x="40" y="16"/>
                  <a:pt x="39" y="15"/>
                </a:cubicBezTo>
                <a:cubicBezTo>
                  <a:pt x="39" y="14"/>
                  <a:pt x="39" y="14"/>
                  <a:pt x="39" y="13"/>
                </a:cubicBezTo>
                <a:close/>
                <a:moveTo>
                  <a:pt x="77" y="72"/>
                </a:moveTo>
                <a:cubicBezTo>
                  <a:pt x="72" y="68"/>
                  <a:pt x="70" y="62"/>
                  <a:pt x="72" y="57"/>
                </a:cubicBezTo>
                <a:cubicBezTo>
                  <a:pt x="73" y="54"/>
                  <a:pt x="72" y="51"/>
                  <a:pt x="70" y="49"/>
                </a:cubicBezTo>
                <a:cubicBezTo>
                  <a:pt x="69" y="49"/>
                  <a:pt x="69" y="48"/>
                  <a:pt x="69" y="48"/>
                </a:cubicBezTo>
                <a:cubicBezTo>
                  <a:pt x="69" y="47"/>
                  <a:pt x="69" y="45"/>
                  <a:pt x="68" y="43"/>
                </a:cubicBezTo>
                <a:cubicBezTo>
                  <a:pt x="69" y="44"/>
                  <a:pt x="69" y="44"/>
                  <a:pt x="70" y="44"/>
                </a:cubicBezTo>
                <a:cubicBezTo>
                  <a:pt x="70" y="44"/>
                  <a:pt x="70" y="44"/>
                  <a:pt x="70" y="45"/>
                </a:cubicBezTo>
                <a:cubicBezTo>
                  <a:pt x="71" y="47"/>
                  <a:pt x="72" y="49"/>
                  <a:pt x="74" y="49"/>
                </a:cubicBezTo>
                <a:cubicBezTo>
                  <a:pt x="76" y="50"/>
                  <a:pt x="79" y="49"/>
                  <a:pt x="80" y="48"/>
                </a:cubicBezTo>
                <a:cubicBezTo>
                  <a:pt x="81" y="48"/>
                  <a:pt x="81" y="48"/>
                  <a:pt x="83" y="49"/>
                </a:cubicBezTo>
                <a:cubicBezTo>
                  <a:pt x="84" y="49"/>
                  <a:pt x="86" y="50"/>
                  <a:pt x="89" y="50"/>
                </a:cubicBezTo>
                <a:cubicBezTo>
                  <a:pt x="90" y="52"/>
                  <a:pt x="91" y="54"/>
                  <a:pt x="92" y="56"/>
                </a:cubicBezTo>
                <a:cubicBezTo>
                  <a:pt x="94" y="59"/>
                  <a:pt x="96" y="61"/>
                  <a:pt x="99" y="63"/>
                </a:cubicBezTo>
                <a:cubicBezTo>
                  <a:pt x="99" y="64"/>
                  <a:pt x="99" y="67"/>
                  <a:pt x="97" y="72"/>
                </a:cubicBezTo>
                <a:cubicBezTo>
                  <a:pt x="96" y="73"/>
                  <a:pt x="96" y="73"/>
                  <a:pt x="96" y="74"/>
                </a:cubicBezTo>
                <a:cubicBezTo>
                  <a:pt x="93" y="76"/>
                  <a:pt x="92" y="78"/>
                  <a:pt x="90" y="81"/>
                </a:cubicBezTo>
                <a:cubicBezTo>
                  <a:pt x="89" y="83"/>
                  <a:pt x="87" y="85"/>
                  <a:pt x="85" y="87"/>
                </a:cubicBezTo>
                <a:cubicBezTo>
                  <a:pt x="81" y="90"/>
                  <a:pt x="78" y="92"/>
                  <a:pt x="75" y="93"/>
                </a:cubicBezTo>
                <a:cubicBezTo>
                  <a:pt x="79" y="86"/>
                  <a:pt x="83" y="77"/>
                  <a:pt x="77" y="72"/>
                </a:cubicBezTo>
                <a:close/>
                <a:moveTo>
                  <a:pt x="65" y="32"/>
                </a:moveTo>
                <a:cubicBezTo>
                  <a:pt x="63" y="33"/>
                  <a:pt x="63" y="33"/>
                  <a:pt x="63" y="33"/>
                </a:cubicBezTo>
                <a:cubicBezTo>
                  <a:pt x="63" y="33"/>
                  <a:pt x="63" y="33"/>
                  <a:pt x="63" y="33"/>
                </a:cubicBezTo>
                <a:cubicBezTo>
                  <a:pt x="63" y="33"/>
                  <a:pt x="63" y="33"/>
                  <a:pt x="63" y="33"/>
                </a:cubicBezTo>
                <a:cubicBezTo>
                  <a:pt x="63" y="33"/>
                  <a:pt x="63" y="32"/>
                  <a:pt x="63" y="32"/>
                </a:cubicBezTo>
                <a:cubicBezTo>
                  <a:pt x="63" y="32"/>
                  <a:pt x="63" y="32"/>
                  <a:pt x="63" y="32"/>
                </a:cubicBezTo>
                <a:cubicBezTo>
                  <a:pt x="63" y="32"/>
                  <a:pt x="64" y="32"/>
                  <a:pt x="65" y="32"/>
                </a:cubicBezTo>
                <a:cubicBezTo>
                  <a:pt x="66" y="32"/>
                  <a:pt x="66" y="32"/>
                  <a:pt x="66" y="32"/>
                </a:cubicBezTo>
                <a:cubicBezTo>
                  <a:pt x="66" y="31"/>
                  <a:pt x="66" y="31"/>
                  <a:pt x="66" y="31"/>
                </a:cubicBezTo>
                <a:cubicBezTo>
                  <a:pt x="68" y="31"/>
                  <a:pt x="69" y="31"/>
                  <a:pt x="69" y="31"/>
                </a:cubicBezTo>
                <a:cubicBezTo>
                  <a:pt x="69" y="31"/>
                  <a:pt x="69" y="31"/>
                  <a:pt x="69" y="34"/>
                </a:cubicBezTo>
                <a:cubicBezTo>
                  <a:pt x="69" y="35"/>
                  <a:pt x="69" y="35"/>
                  <a:pt x="69" y="35"/>
                </a:cubicBezTo>
                <a:cubicBezTo>
                  <a:pt x="69" y="35"/>
                  <a:pt x="68" y="34"/>
                  <a:pt x="67" y="34"/>
                </a:cubicBezTo>
                <a:cubicBezTo>
                  <a:pt x="67" y="34"/>
                  <a:pt x="67" y="34"/>
                  <a:pt x="67" y="34"/>
                </a:cubicBezTo>
                <a:lnTo>
                  <a:pt x="65" y="32"/>
                </a:lnTo>
                <a:close/>
                <a:moveTo>
                  <a:pt x="67" y="41"/>
                </a:moveTo>
                <a:cubicBezTo>
                  <a:pt x="66" y="41"/>
                  <a:pt x="66" y="41"/>
                  <a:pt x="65" y="41"/>
                </a:cubicBezTo>
                <a:cubicBezTo>
                  <a:pt x="65" y="40"/>
                  <a:pt x="64" y="40"/>
                  <a:pt x="64" y="40"/>
                </a:cubicBezTo>
                <a:cubicBezTo>
                  <a:pt x="65" y="40"/>
                  <a:pt x="65" y="40"/>
                  <a:pt x="65" y="40"/>
                </a:cubicBezTo>
                <a:cubicBezTo>
                  <a:pt x="65" y="40"/>
                  <a:pt x="66" y="40"/>
                  <a:pt x="66" y="40"/>
                </a:cubicBezTo>
                <a:cubicBezTo>
                  <a:pt x="66" y="40"/>
                  <a:pt x="66" y="41"/>
                  <a:pt x="67" y="41"/>
                </a:cubicBezTo>
                <a:close/>
                <a:moveTo>
                  <a:pt x="34" y="17"/>
                </a:moveTo>
                <a:cubicBezTo>
                  <a:pt x="34" y="17"/>
                  <a:pt x="34" y="17"/>
                  <a:pt x="34" y="17"/>
                </a:cubicBezTo>
                <a:cubicBezTo>
                  <a:pt x="35" y="18"/>
                  <a:pt x="36" y="20"/>
                  <a:pt x="36" y="21"/>
                </a:cubicBezTo>
                <a:cubicBezTo>
                  <a:pt x="40" y="29"/>
                  <a:pt x="44" y="40"/>
                  <a:pt x="52" y="43"/>
                </a:cubicBezTo>
                <a:cubicBezTo>
                  <a:pt x="54" y="44"/>
                  <a:pt x="56" y="44"/>
                  <a:pt x="58" y="44"/>
                </a:cubicBezTo>
                <a:cubicBezTo>
                  <a:pt x="60" y="44"/>
                  <a:pt x="61" y="45"/>
                  <a:pt x="63" y="45"/>
                </a:cubicBezTo>
                <a:cubicBezTo>
                  <a:pt x="63" y="45"/>
                  <a:pt x="63" y="45"/>
                  <a:pt x="63" y="45"/>
                </a:cubicBezTo>
                <a:cubicBezTo>
                  <a:pt x="64" y="46"/>
                  <a:pt x="64" y="47"/>
                  <a:pt x="64" y="49"/>
                </a:cubicBezTo>
                <a:cubicBezTo>
                  <a:pt x="64" y="51"/>
                  <a:pt x="65" y="53"/>
                  <a:pt x="67" y="54"/>
                </a:cubicBezTo>
                <a:cubicBezTo>
                  <a:pt x="67" y="54"/>
                  <a:pt x="67" y="54"/>
                  <a:pt x="67" y="55"/>
                </a:cubicBezTo>
                <a:cubicBezTo>
                  <a:pt x="64" y="62"/>
                  <a:pt x="67" y="70"/>
                  <a:pt x="74" y="76"/>
                </a:cubicBezTo>
                <a:cubicBezTo>
                  <a:pt x="75" y="77"/>
                  <a:pt x="76" y="80"/>
                  <a:pt x="70" y="90"/>
                </a:cubicBezTo>
                <a:cubicBezTo>
                  <a:pt x="69" y="92"/>
                  <a:pt x="69" y="95"/>
                  <a:pt x="71" y="96"/>
                </a:cubicBezTo>
                <a:cubicBezTo>
                  <a:pt x="72" y="98"/>
                  <a:pt x="73" y="98"/>
                  <a:pt x="75" y="98"/>
                </a:cubicBezTo>
                <a:cubicBezTo>
                  <a:pt x="76" y="98"/>
                  <a:pt x="76" y="98"/>
                  <a:pt x="77" y="98"/>
                </a:cubicBezTo>
                <a:cubicBezTo>
                  <a:pt x="81" y="97"/>
                  <a:pt x="84" y="95"/>
                  <a:pt x="88" y="91"/>
                </a:cubicBezTo>
                <a:cubicBezTo>
                  <a:pt x="91" y="89"/>
                  <a:pt x="93" y="86"/>
                  <a:pt x="94" y="84"/>
                </a:cubicBezTo>
                <a:cubicBezTo>
                  <a:pt x="96" y="82"/>
                  <a:pt x="97" y="80"/>
                  <a:pt x="100" y="78"/>
                </a:cubicBezTo>
                <a:cubicBezTo>
                  <a:pt x="101" y="77"/>
                  <a:pt x="101" y="77"/>
                  <a:pt x="101" y="77"/>
                </a:cubicBezTo>
                <a:cubicBezTo>
                  <a:pt x="101" y="76"/>
                  <a:pt x="101" y="76"/>
                  <a:pt x="101" y="76"/>
                </a:cubicBezTo>
                <a:cubicBezTo>
                  <a:pt x="101" y="76"/>
                  <a:pt x="101" y="75"/>
                  <a:pt x="102" y="74"/>
                </a:cubicBezTo>
                <a:cubicBezTo>
                  <a:pt x="104" y="69"/>
                  <a:pt x="107" y="61"/>
                  <a:pt x="101" y="58"/>
                </a:cubicBezTo>
                <a:cubicBezTo>
                  <a:pt x="99" y="57"/>
                  <a:pt x="98" y="55"/>
                  <a:pt x="97" y="53"/>
                </a:cubicBezTo>
                <a:cubicBezTo>
                  <a:pt x="96" y="51"/>
                  <a:pt x="94" y="49"/>
                  <a:pt x="92" y="47"/>
                </a:cubicBezTo>
                <a:cubicBezTo>
                  <a:pt x="92" y="46"/>
                  <a:pt x="90" y="45"/>
                  <a:pt x="89" y="45"/>
                </a:cubicBezTo>
                <a:cubicBezTo>
                  <a:pt x="88" y="45"/>
                  <a:pt x="86" y="44"/>
                  <a:pt x="85" y="44"/>
                </a:cubicBezTo>
                <a:cubicBezTo>
                  <a:pt x="83" y="43"/>
                  <a:pt x="80" y="41"/>
                  <a:pt x="77" y="44"/>
                </a:cubicBezTo>
                <a:cubicBezTo>
                  <a:pt x="77" y="44"/>
                  <a:pt x="76" y="44"/>
                  <a:pt x="76" y="44"/>
                </a:cubicBezTo>
                <a:cubicBezTo>
                  <a:pt x="76" y="44"/>
                  <a:pt x="76" y="44"/>
                  <a:pt x="75" y="43"/>
                </a:cubicBezTo>
                <a:cubicBezTo>
                  <a:pt x="75" y="41"/>
                  <a:pt x="74" y="40"/>
                  <a:pt x="71" y="39"/>
                </a:cubicBezTo>
                <a:cubicBezTo>
                  <a:pt x="72" y="38"/>
                  <a:pt x="72" y="37"/>
                  <a:pt x="71" y="37"/>
                </a:cubicBezTo>
                <a:cubicBezTo>
                  <a:pt x="72" y="37"/>
                  <a:pt x="72" y="37"/>
                  <a:pt x="72" y="37"/>
                </a:cubicBezTo>
                <a:cubicBezTo>
                  <a:pt x="74" y="37"/>
                  <a:pt x="76" y="36"/>
                  <a:pt x="77" y="35"/>
                </a:cubicBezTo>
                <a:cubicBezTo>
                  <a:pt x="78" y="34"/>
                  <a:pt x="78" y="32"/>
                  <a:pt x="78" y="29"/>
                </a:cubicBezTo>
                <a:cubicBezTo>
                  <a:pt x="78" y="29"/>
                  <a:pt x="78" y="29"/>
                  <a:pt x="78" y="29"/>
                </a:cubicBezTo>
                <a:cubicBezTo>
                  <a:pt x="83" y="22"/>
                  <a:pt x="87" y="20"/>
                  <a:pt x="95" y="17"/>
                </a:cubicBezTo>
                <a:cubicBezTo>
                  <a:pt x="96" y="17"/>
                  <a:pt x="96" y="16"/>
                  <a:pt x="97" y="16"/>
                </a:cubicBezTo>
                <a:cubicBezTo>
                  <a:pt x="109" y="25"/>
                  <a:pt x="117" y="39"/>
                  <a:pt x="117" y="56"/>
                </a:cubicBezTo>
                <a:cubicBezTo>
                  <a:pt x="117" y="84"/>
                  <a:pt x="95" y="107"/>
                  <a:pt x="67" y="107"/>
                </a:cubicBezTo>
                <a:cubicBezTo>
                  <a:pt x="39" y="107"/>
                  <a:pt x="16" y="84"/>
                  <a:pt x="16" y="56"/>
                </a:cubicBezTo>
                <a:cubicBezTo>
                  <a:pt x="16" y="40"/>
                  <a:pt x="23" y="26"/>
                  <a:pt x="34" y="17"/>
                </a:cubicBezTo>
                <a:close/>
                <a:moveTo>
                  <a:pt x="91" y="152"/>
                </a:moveTo>
                <a:cubicBezTo>
                  <a:pt x="91" y="155"/>
                  <a:pt x="91" y="155"/>
                  <a:pt x="91" y="155"/>
                </a:cubicBezTo>
                <a:cubicBezTo>
                  <a:pt x="43" y="155"/>
                  <a:pt x="43" y="155"/>
                  <a:pt x="43" y="155"/>
                </a:cubicBezTo>
                <a:cubicBezTo>
                  <a:pt x="43" y="152"/>
                  <a:pt x="43" y="152"/>
                  <a:pt x="43" y="152"/>
                </a:cubicBezTo>
                <a:lnTo>
                  <a:pt x="91" y="152"/>
                </a:lnTo>
                <a:close/>
                <a:moveTo>
                  <a:pt x="108" y="101"/>
                </a:moveTo>
                <a:cubicBezTo>
                  <a:pt x="84" y="123"/>
                  <a:pt x="47" y="123"/>
                  <a:pt x="23" y="99"/>
                </a:cubicBezTo>
                <a:cubicBezTo>
                  <a:pt x="12" y="88"/>
                  <a:pt x="5" y="72"/>
                  <a:pt x="5" y="56"/>
                </a:cubicBezTo>
                <a:cubicBezTo>
                  <a:pt x="5" y="40"/>
                  <a:pt x="11" y="26"/>
                  <a:pt x="21" y="15"/>
                </a:cubicBezTo>
                <a:cubicBezTo>
                  <a:pt x="25" y="18"/>
                  <a:pt x="25" y="18"/>
                  <a:pt x="25" y="18"/>
                </a:cubicBezTo>
                <a:cubicBezTo>
                  <a:pt x="16" y="28"/>
                  <a:pt x="11" y="42"/>
                  <a:pt x="11" y="56"/>
                </a:cubicBezTo>
                <a:cubicBezTo>
                  <a:pt x="11" y="87"/>
                  <a:pt x="36" y="112"/>
                  <a:pt x="67" y="112"/>
                </a:cubicBezTo>
                <a:cubicBezTo>
                  <a:pt x="81" y="112"/>
                  <a:pt x="94" y="106"/>
                  <a:pt x="104" y="97"/>
                </a:cubicBezTo>
                <a:lnTo>
                  <a:pt x="108" y="10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80" name="Freeform 82">
            <a:extLst>
              <a:ext uri="{FF2B5EF4-FFF2-40B4-BE49-F238E27FC236}">
                <a16:creationId xmlns:a16="http://schemas.microsoft.com/office/drawing/2014/main" id="{EDCF9488-B273-B346-89E7-A23DD7FC77C6}"/>
              </a:ext>
            </a:extLst>
          </p:cNvPr>
          <p:cNvSpPr>
            <a:spLocks noEditPoints="1"/>
          </p:cNvSpPr>
          <p:nvPr/>
        </p:nvSpPr>
        <p:spPr bwMode="auto">
          <a:xfrm>
            <a:off x="8997641" y="3805238"/>
            <a:ext cx="600075" cy="606425"/>
          </a:xfrm>
          <a:custGeom>
            <a:avLst/>
            <a:gdLst>
              <a:gd name="T0" fmla="*/ 122 w 160"/>
              <a:gd name="T1" fmla="*/ 12 h 160"/>
              <a:gd name="T2" fmla="*/ 116 w 160"/>
              <a:gd name="T3" fmla="*/ 9 h 160"/>
              <a:gd name="T4" fmla="*/ 107 w 160"/>
              <a:gd name="T5" fmla="*/ 5 h 160"/>
              <a:gd name="T6" fmla="*/ 101 w 160"/>
              <a:gd name="T7" fmla="*/ 3 h 160"/>
              <a:gd name="T8" fmla="*/ 91 w 160"/>
              <a:gd name="T9" fmla="*/ 1 h 160"/>
              <a:gd name="T10" fmla="*/ 85 w 160"/>
              <a:gd name="T11" fmla="*/ 0 h 160"/>
              <a:gd name="T12" fmla="*/ 73 w 160"/>
              <a:gd name="T13" fmla="*/ 0 h 160"/>
              <a:gd name="T14" fmla="*/ 63 w 160"/>
              <a:gd name="T15" fmla="*/ 2 h 160"/>
              <a:gd name="T16" fmla="*/ 55 w 160"/>
              <a:gd name="T17" fmla="*/ 4 h 160"/>
              <a:gd name="T18" fmla="*/ 45 w 160"/>
              <a:gd name="T19" fmla="*/ 8 h 160"/>
              <a:gd name="T20" fmla="*/ 39 w 160"/>
              <a:gd name="T21" fmla="*/ 11 h 160"/>
              <a:gd name="T22" fmla="*/ 33 w 160"/>
              <a:gd name="T23" fmla="*/ 15 h 160"/>
              <a:gd name="T24" fmla="*/ 80 w 160"/>
              <a:gd name="T25" fmla="*/ 160 h 160"/>
              <a:gd name="T26" fmla="*/ 40 w 160"/>
              <a:gd name="T27" fmla="*/ 17 h 160"/>
              <a:gd name="T28" fmla="*/ 48 w 160"/>
              <a:gd name="T29" fmla="*/ 13 h 160"/>
              <a:gd name="T30" fmla="*/ 54 w 160"/>
              <a:gd name="T31" fmla="*/ 10 h 160"/>
              <a:gd name="T32" fmla="*/ 63 w 160"/>
              <a:gd name="T33" fmla="*/ 7 h 160"/>
              <a:gd name="T34" fmla="*/ 70 w 160"/>
              <a:gd name="T35" fmla="*/ 6 h 160"/>
              <a:gd name="T36" fmla="*/ 80 w 160"/>
              <a:gd name="T37" fmla="*/ 5 h 160"/>
              <a:gd name="T38" fmla="*/ 88 w 160"/>
              <a:gd name="T39" fmla="*/ 6 h 160"/>
              <a:gd name="T40" fmla="*/ 94 w 160"/>
              <a:gd name="T41" fmla="*/ 7 h 160"/>
              <a:gd name="T42" fmla="*/ 102 w 160"/>
              <a:gd name="T43" fmla="*/ 9 h 160"/>
              <a:gd name="T44" fmla="*/ 107 w 160"/>
              <a:gd name="T45" fmla="*/ 11 h 160"/>
              <a:gd name="T46" fmla="*/ 113 w 160"/>
              <a:gd name="T47" fmla="*/ 13 h 160"/>
              <a:gd name="T48" fmla="*/ 89 w 160"/>
              <a:gd name="T49" fmla="*/ 37 h 160"/>
              <a:gd name="T50" fmla="*/ 76 w 160"/>
              <a:gd name="T51" fmla="*/ 34 h 160"/>
              <a:gd name="T52" fmla="*/ 73 w 160"/>
              <a:gd name="T53" fmla="*/ 49 h 160"/>
              <a:gd name="T54" fmla="*/ 77 w 160"/>
              <a:gd name="T55" fmla="*/ 51 h 160"/>
              <a:gd name="T56" fmla="*/ 84 w 160"/>
              <a:gd name="T57" fmla="*/ 57 h 160"/>
              <a:gd name="T58" fmla="*/ 99 w 160"/>
              <a:gd name="T59" fmla="*/ 63 h 160"/>
              <a:gd name="T60" fmla="*/ 113 w 160"/>
              <a:gd name="T61" fmla="*/ 66 h 160"/>
              <a:gd name="T62" fmla="*/ 125 w 160"/>
              <a:gd name="T63" fmla="*/ 100 h 160"/>
              <a:gd name="T64" fmla="*/ 107 w 160"/>
              <a:gd name="T65" fmla="*/ 122 h 160"/>
              <a:gd name="T66" fmla="*/ 91 w 160"/>
              <a:gd name="T67" fmla="*/ 129 h 160"/>
              <a:gd name="T68" fmla="*/ 83 w 160"/>
              <a:gd name="T69" fmla="*/ 67 h 160"/>
              <a:gd name="T70" fmla="*/ 77 w 160"/>
              <a:gd name="T71" fmla="*/ 54 h 160"/>
              <a:gd name="T72" fmla="*/ 41 w 160"/>
              <a:gd name="T73" fmla="*/ 22 h 160"/>
              <a:gd name="T74" fmla="*/ 80 w 160"/>
              <a:gd name="T75" fmla="*/ 155 h 160"/>
              <a:gd name="T76" fmla="*/ 36 w 160"/>
              <a:gd name="T77" fmla="*/ 24 h 160"/>
              <a:gd name="T78" fmla="*/ 75 w 160"/>
              <a:gd name="T79" fmla="*/ 59 h 160"/>
              <a:gd name="T80" fmla="*/ 80 w 160"/>
              <a:gd name="T81" fmla="*/ 71 h 160"/>
              <a:gd name="T82" fmla="*/ 86 w 160"/>
              <a:gd name="T83" fmla="*/ 126 h 160"/>
              <a:gd name="T84" fmla="*/ 94 w 160"/>
              <a:gd name="T85" fmla="*/ 136 h 160"/>
              <a:gd name="T86" fmla="*/ 127 w 160"/>
              <a:gd name="T87" fmla="*/ 106 h 160"/>
              <a:gd name="T88" fmla="*/ 129 w 160"/>
              <a:gd name="T89" fmla="*/ 80 h 160"/>
              <a:gd name="T90" fmla="*/ 112 w 160"/>
              <a:gd name="T91" fmla="*/ 61 h 160"/>
              <a:gd name="T92" fmla="*/ 93 w 160"/>
              <a:gd name="T93" fmla="*/ 59 h 160"/>
              <a:gd name="T94" fmla="*/ 86 w 160"/>
              <a:gd name="T95" fmla="*/ 51 h 160"/>
              <a:gd name="T96" fmla="*/ 80 w 160"/>
              <a:gd name="T97" fmla="*/ 45 h 160"/>
              <a:gd name="T98" fmla="*/ 76 w 160"/>
              <a:gd name="T99" fmla="*/ 43 h 160"/>
              <a:gd name="T100" fmla="*/ 73 w 160"/>
              <a:gd name="T101" fmla="*/ 39 h 160"/>
              <a:gd name="T102" fmla="*/ 79 w 160"/>
              <a:gd name="T103" fmla="*/ 39 h 160"/>
              <a:gd name="T104" fmla="*/ 85 w 160"/>
              <a:gd name="T105" fmla="*/ 46 h 160"/>
              <a:gd name="T106" fmla="*/ 95 w 160"/>
              <a:gd name="T107" fmla="*/ 37 h 160"/>
              <a:gd name="T108" fmla="*/ 155 w 160"/>
              <a:gd name="T109"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60">
                <a:moveTo>
                  <a:pt x="125" y="14"/>
                </a:moveTo>
                <a:cubicBezTo>
                  <a:pt x="125" y="14"/>
                  <a:pt x="125" y="14"/>
                  <a:pt x="125" y="14"/>
                </a:cubicBezTo>
                <a:cubicBezTo>
                  <a:pt x="122" y="12"/>
                  <a:pt x="122" y="12"/>
                  <a:pt x="122" y="12"/>
                </a:cubicBezTo>
                <a:cubicBezTo>
                  <a:pt x="122" y="12"/>
                  <a:pt x="122" y="12"/>
                  <a:pt x="121" y="12"/>
                </a:cubicBezTo>
                <a:cubicBezTo>
                  <a:pt x="120" y="11"/>
                  <a:pt x="119" y="10"/>
                  <a:pt x="118" y="10"/>
                </a:cubicBezTo>
                <a:cubicBezTo>
                  <a:pt x="117" y="9"/>
                  <a:pt x="117" y="9"/>
                  <a:pt x="116" y="9"/>
                </a:cubicBezTo>
                <a:cubicBezTo>
                  <a:pt x="115" y="8"/>
                  <a:pt x="114" y="8"/>
                  <a:pt x="113" y="7"/>
                </a:cubicBezTo>
                <a:cubicBezTo>
                  <a:pt x="113" y="7"/>
                  <a:pt x="112" y="7"/>
                  <a:pt x="112" y="7"/>
                </a:cubicBezTo>
                <a:cubicBezTo>
                  <a:pt x="110" y="6"/>
                  <a:pt x="109" y="5"/>
                  <a:pt x="107" y="5"/>
                </a:cubicBezTo>
                <a:cubicBezTo>
                  <a:pt x="107" y="5"/>
                  <a:pt x="107" y="5"/>
                  <a:pt x="106" y="4"/>
                </a:cubicBezTo>
                <a:cubicBezTo>
                  <a:pt x="105" y="4"/>
                  <a:pt x="104" y="4"/>
                  <a:pt x="102" y="3"/>
                </a:cubicBezTo>
                <a:cubicBezTo>
                  <a:pt x="102" y="3"/>
                  <a:pt x="102" y="3"/>
                  <a:pt x="101" y="3"/>
                </a:cubicBezTo>
                <a:cubicBezTo>
                  <a:pt x="100" y="2"/>
                  <a:pt x="98" y="2"/>
                  <a:pt x="97" y="2"/>
                </a:cubicBezTo>
                <a:cubicBezTo>
                  <a:pt x="97" y="2"/>
                  <a:pt x="97" y="2"/>
                  <a:pt x="96" y="2"/>
                </a:cubicBezTo>
                <a:cubicBezTo>
                  <a:pt x="95" y="1"/>
                  <a:pt x="93" y="1"/>
                  <a:pt x="91" y="1"/>
                </a:cubicBezTo>
                <a:cubicBezTo>
                  <a:pt x="91" y="1"/>
                  <a:pt x="91" y="1"/>
                  <a:pt x="90" y="1"/>
                </a:cubicBezTo>
                <a:cubicBezTo>
                  <a:pt x="89" y="1"/>
                  <a:pt x="88" y="0"/>
                  <a:pt x="86" y="0"/>
                </a:cubicBezTo>
                <a:cubicBezTo>
                  <a:pt x="86" y="0"/>
                  <a:pt x="85" y="0"/>
                  <a:pt x="85" y="0"/>
                </a:cubicBezTo>
                <a:cubicBezTo>
                  <a:pt x="83" y="0"/>
                  <a:pt x="82" y="0"/>
                  <a:pt x="80" y="0"/>
                </a:cubicBezTo>
                <a:cubicBezTo>
                  <a:pt x="78" y="0"/>
                  <a:pt x="76" y="0"/>
                  <a:pt x="75" y="0"/>
                </a:cubicBezTo>
                <a:cubicBezTo>
                  <a:pt x="74" y="0"/>
                  <a:pt x="74" y="0"/>
                  <a:pt x="73" y="0"/>
                </a:cubicBezTo>
                <a:cubicBezTo>
                  <a:pt x="72" y="0"/>
                  <a:pt x="70" y="1"/>
                  <a:pt x="68" y="1"/>
                </a:cubicBezTo>
                <a:cubicBezTo>
                  <a:pt x="68" y="1"/>
                  <a:pt x="68" y="1"/>
                  <a:pt x="68" y="1"/>
                </a:cubicBezTo>
                <a:cubicBezTo>
                  <a:pt x="66" y="1"/>
                  <a:pt x="64" y="2"/>
                  <a:pt x="63" y="2"/>
                </a:cubicBezTo>
                <a:cubicBezTo>
                  <a:pt x="62" y="2"/>
                  <a:pt x="62" y="2"/>
                  <a:pt x="61" y="2"/>
                </a:cubicBezTo>
                <a:cubicBezTo>
                  <a:pt x="60" y="3"/>
                  <a:pt x="58" y="3"/>
                  <a:pt x="57" y="3"/>
                </a:cubicBezTo>
                <a:cubicBezTo>
                  <a:pt x="56" y="4"/>
                  <a:pt x="56" y="4"/>
                  <a:pt x="55" y="4"/>
                </a:cubicBezTo>
                <a:cubicBezTo>
                  <a:pt x="54" y="4"/>
                  <a:pt x="53" y="5"/>
                  <a:pt x="51" y="5"/>
                </a:cubicBezTo>
                <a:cubicBezTo>
                  <a:pt x="51" y="6"/>
                  <a:pt x="50" y="6"/>
                  <a:pt x="50" y="6"/>
                </a:cubicBezTo>
                <a:cubicBezTo>
                  <a:pt x="48" y="7"/>
                  <a:pt x="47" y="7"/>
                  <a:pt x="45" y="8"/>
                </a:cubicBezTo>
                <a:cubicBezTo>
                  <a:pt x="45" y="8"/>
                  <a:pt x="44" y="8"/>
                  <a:pt x="44" y="9"/>
                </a:cubicBezTo>
                <a:cubicBezTo>
                  <a:pt x="43" y="9"/>
                  <a:pt x="42" y="10"/>
                  <a:pt x="41" y="10"/>
                </a:cubicBezTo>
                <a:cubicBezTo>
                  <a:pt x="40" y="11"/>
                  <a:pt x="40" y="11"/>
                  <a:pt x="39" y="11"/>
                </a:cubicBezTo>
                <a:cubicBezTo>
                  <a:pt x="38" y="12"/>
                  <a:pt x="36" y="13"/>
                  <a:pt x="35" y="14"/>
                </a:cubicBezTo>
                <a:cubicBezTo>
                  <a:pt x="35" y="14"/>
                  <a:pt x="35" y="14"/>
                  <a:pt x="34" y="14"/>
                </a:cubicBezTo>
                <a:cubicBezTo>
                  <a:pt x="33" y="15"/>
                  <a:pt x="33" y="15"/>
                  <a:pt x="33" y="15"/>
                </a:cubicBezTo>
                <a:cubicBezTo>
                  <a:pt x="33" y="15"/>
                  <a:pt x="33" y="15"/>
                  <a:pt x="33" y="15"/>
                </a:cubicBezTo>
                <a:cubicBezTo>
                  <a:pt x="13" y="30"/>
                  <a:pt x="0" y="53"/>
                  <a:pt x="0" y="80"/>
                </a:cubicBezTo>
                <a:cubicBezTo>
                  <a:pt x="0" y="124"/>
                  <a:pt x="36" y="160"/>
                  <a:pt x="80" y="160"/>
                </a:cubicBezTo>
                <a:cubicBezTo>
                  <a:pt x="124" y="160"/>
                  <a:pt x="160" y="124"/>
                  <a:pt x="160" y="80"/>
                </a:cubicBezTo>
                <a:cubicBezTo>
                  <a:pt x="160" y="53"/>
                  <a:pt x="146" y="29"/>
                  <a:pt x="125" y="14"/>
                </a:cubicBezTo>
                <a:close/>
                <a:moveTo>
                  <a:pt x="40" y="17"/>
                </a:moveTo>
                <a:cubicBezTo>
                  <a:pt x="41" y="16"/>
                  <a:pt x="42" y="16"/>
                  <a:pt x="43" y="15"/>
                </a:cubicBezTo>
                <a:cubicBezTo>
                  <a:pt x="43" y="15"/>
                  <a:pt x="44" y="15"/>
                  <a:pt x="44" y="14"/>
                </a:cubicBezTo>
                <a:cubicBezTo>
                  <a:pt x="46" y="14"/>
                  <a:pt x="47" y="13"/>
                  <a:pt x="48" y="13"/>
                </a:cubicBezTo>
                <a:cubicBezTo>
                  <a:pt x="49" y="12"/>
                  <a:pt x="49" y="12"/>
                  <a:pt x="50" y="12"/>
                </a:cubicBezTo>
                <a:cubicBezTo>
                  <a:pt x="51" y="11"/>
                  <a:pt x="52" y="11"/>
                  <a:pt x="53" y="11"/>
                </a:cubicBezTo>
                <a:cubicBezTo>
                  <a:pt x="53" y="10"/>
                  <a:pt x="54" y="10"/>
                  <a:pt x="54" y="10"/>
                </a:cubicBezTo>
                <a:cubicBezTo>
                  <a:pt x="55" y="9"/>
                  <a:pt x="57" y="9"/>
                  <a:pt x="58" y="9"/>
                </a:cubicBezTo>
                <a:cubicBezTo>
                  <a:pt x="59" y="8"/>
                  <a:pt x="59" y="8"/>
                  <a:pt x="60" y="8"/>
                </a:cubicBezTo>
                <a:cubicBezTo>
                  <a:pt x="61" y="8"/>
                  <a:pt x="62" y="8"/>
                  <a:pt x="63" y="7"/>
                </a:cubicBezTo>
                <a:cubicBezTo>
                  <a:pt x="63" y="7"/>
                  <a:pt x="64" y="7"/>
                  <a:pt x="64" y="7"/>
                </a:cubicBezTo>
                <a:cubicBezTo>
                  <a:pt x="66" y="7"/>
                  <a:pt x="67" y="6"/>
                  <a:pt x="69" y="6"/>
                </a:cubicBezTo>
                <a:cubicBezTo>
                  <a:pt x="69" y="6"/>
                  <a:pt x="70" y="6"/>
                  <a:pt x="70" y="6"/>
                </a:cubicBezTo>
                <a:cubicBezTo>
                  <a:pt x="71" y="6"/>
                  <a:pt x="73" y="6"/>
                  <a:pt x="74" y="6"/>
                </a:cubicBezTo>
                <a:cubicBezTo>
                  <a:pt x="74" y="6"/>
                  <a:pt x="75" y="6"/>
                  <a:pt x="75" y="6"/>
                </a:cubicBezTo>
                <a:cubicBezTo>
                  <a:pt x="77" y="5"/>
                  <a:pt x="78" y="5"/>
                  <a:pt x="80" y="5"/>
                </a:cubicBezTo>
                <a:cubicBezTo>
                  <a:pt x="81" y="5"/>
                  <a:pt x="83" y="5"/>
                  <a:pt x="84" y="5"/>
                </a:cubicBezTo>
                <a:cubicBezTo>
                  <a:pt x="85" y="5"/>
                  <a:pt x="85" y="6"/>
                  <a:pt x="85" y="6"/>
                </a:cubicBezTo>
                <a:cubicBezTo>
                  <a:pt x="86" y="6"/>
                  <a:pt x="87" y="6"/>
                  <a:pt x="88" y="6"/>
                </a:cubicBezTo>
                <a:cubicBezTo>
                  <a:pt x="89" y="6"/>
                  <a:pt x="89" y="6"/>
                  <a:pt x="90" y="6"/>
                </a:cubicBezTo>
                <a:cubicBezTo>
                  <a:pt x="91" y="6"/>
                  <a:pt x="92" y="6"/>
                  <a:pt x="93" y="6"/>
                </a:cubicBezTo>
                <a:cubicBezTo>
                  <a:pt x="93" y="7"/>
                  <a:pt x="94" y="7"/>
                  <a:pt x="94" y="7"/>
                </a:cubicBezTo>
                <a:cubicBezTo>
                  <a:pt x="95" y="7"/>
                  <a:pt x="96" y="7"/>
                  <a:pt x="97" y="7"/>
                </a:cubicBezTo>
                <a:cubicBezTo>
                  <a:pt x="97" y="7"/>
                  <a:pt x="98" y="7"/>
                  <a:pt x="98" y="8"/>
                </a:cubicBezTo>
                <a:cubicBezTo>
                  <a:pt x="99" y="8"/>
                  <a:pt x="101" y="8"/>
                  <a:pt x="102" y="9"/>
                </a:cubicBezTo>
                <a:cubicBezTo>
                  <a:pt x="102" y="9"/>
                  <a:pt x="102" y="9"/>
                  <a:pt x="102" y="9"/>
                </a:cubicBezTo>
                <a:cubicBezTo>
                  <a:pt x="103" y="9"/>
                  <a:pt x="105" y="10"/>
                  <a:pt x="106" y="10"/>
                </a:cubicBezTo>
                <a:cubicBezTo>
                  <a:pt x="106" y="10"/>
                  <a:pt x="107" y="10"/>
                  <a:pt x="107" y="11"/>
                </a:cubicBezTo>
                <a:cubicBezTo>
                  <a:pt x="108" y="11"/>
                  <a:pt x="109" y="11"/>
                  <a:pt x="110" y="11"/>
                </a:cubicBezTo>
                <a:cubicBezTo>
                  <a:pt x="110" y="12"/>
                  <a:pt x="111" y="12"/>
                  <a:pt x="112" y="12"/>
                </a:cubicBezTo>
                <a:cubicBezTo>
                  <a:pt x="112" y="13"/>
                  <a:pt x="113" y="13"/>
                  <a:pt x="113" y="13"/>
                </a:cubicBezTo>
                <a:cubicBezTo>
                  <a:pt x="114" y="13"/>
                  <a:pt x="114" y="14"/>
                  <a:pt x="114" y="14"/>
                </a:cubicBezTo>
                <a:cubicBezTo>
                  <a:pt x="104" y="18"/>
                  <a:pt x="98" y="23"/>
                  <a:pt x="91" y="32"/>
                </a:cubicBezTo>
                <a:cubicBezTo>
                  <a:pt x="90" y="33"/>
                  <a:pt x="89" y="35"/>
                  <a:pt x="89" y="37"/>
                </a:cubicBezTo>
                <a:cubicBezTo>
                  <a:pt x="89" y="35"/>
                  <a:pt x="88" y="34"/>
                  <a:pt x="87" y="33"/>
                </a:cubicBezTo>
                <a:cubicBezTo>
                  <a:pt x="84" y="32"/>
                  <a:pt x="81" y="32"/>
                  <a:pt x="77" y="34"/>
                </a:cubicBezTo>
                <a:cubicBezTo>
                  <a:pt x="76" y="34"/>
                  <a:pt x="76" y="34"/>
                  <a:pt x="76" y="34"/>
                </a:cubicBezTo>
                <a:cubicBezTo>
                  <a:pt x="71" y="34"/>
                  <a:pt x="68" y="35"/>
                  <a:pt x="67" y="40"/>
                </a:cubicBezTo>
                <a:cubicBezTo>
                  <a:pt x="67" y="43"/>
                  <a:pt x="69" y="46"/>
                  <a:pt x="71" y="48"/>
                </a:cubicBezTo>
                <a:cubicBezTo>
                  <a:pt x="72" y="48"/>
                  <a:pt x="73" y="48"/>
                  <a:pt x="73" y="49"/>
                </a:cubicBezTo>
                <a:cubicBezTo>
                  <a:pt x="74" y="49"/>
                  <a:pt x="74" y="49"/>
                  <a:pt x="74" y="49"/>
                </a:cubicBezTo>
                <a:cubicBezTo>
                  <a:pt x="75" y="51"/>
                  <a:pt x="75" y="51"/>
                  <a:pt x="75" y="51"/>
                </a:cubicBezTo>
                <a:cubicBezTo>
                  <a:pt x="77" y="51"/>
                  <a:pt x="77" y="51"/>
                  <a:pt x="77" y="51"/>
                </a:cubicBezTo>
                <a:cubicBezTo>
                  <a:pt x="78" y="50"/>
                  <a:pt x="79" y="50"/>
                  <a:pt x="80" y="50"/>
                </a:cubicBezTo>
                <a:cubicBezTo>
                  <a:pt x="80" y="52"/>
                  <a:pt x="80" y="53"/>
                  <a:pt x="81" y="54"/>
                </a:cubicBezTo>
                <a:cubicBezTo>
                  <a:pt x="82" y="55"/>
                  <a:pt x="83" y="56"/>
                  <a:pt x="84" y="57"/>
                </a:cubicBezTo>
                <a:cubicBezTo>
                  <a:pt x="86" y="57"/>
                  <a:pt x="86" y="58"/>
                  <a:pt x="86" y="58"/>
                </a:cubicBezTo>
                <a:cubicBezTo>
                  <a:pt x="87" y="61"/>
                  <a:pt x="89" y="64"/>
                  <a:pt x="92" y="64"/>
                </a:cubicBezTo>
                <a:cubicBezTo>
                  <a:pt x="94" y="65"/>
                  <a:pt x="97" y="65"/>
                  <a:pt x="99" y="63"/>
                </a:cubicBezTo>
                <a:cubicBezTo>
                  <a:pt x="100" y="62"/>
                  <a:pt x="101" y="62"/>
                  <a:pt x="104" y="64"/>
                </a:cubicBezTo>
                <a:cubicBezTo>
                  <a:pt x="106" y="65"/>
                  <a:pt x="108" y="66"/>
                  <a:pt x="112" y="66"/>
                </a:cubicBezTo>
                <a:cubicBezTo>
                  <a:pt x="112" y="66"/>
                  <a:pt x="112" y="66"/>
                  <a:pt x="113" y="66"/>
                </a:cubicBezTo>
                <a:cubicBezTo>
                  <a:pt x="115" y="69"/>
                  <a:pt x="116" y="72"/>
                  <a:pt x="118" y="74"/>
                </a:cubicBezTo>
                <a:cubicBezTo>
                  <a:pt x="120" y="78"/>
                  <a:pt x="123" y="82"/>
                  <a:pt x="127" y="85"/>
                </a:cubicBezTo>
                <a:cubicBezTo>
                  <a:pt x="130" y="86"/>
                  <a:pt x="126" y="95"/>
                  <a:pt x="125" y="100"/>
                </a:cubicBezTo>
                <a:cubicBezTo>
                  <a:pt x="124" y="101"/>
                  <a:pt x="124" y="101"/>
                  <a:pt x="124" y="102"/>
                </a:cubicBezTo>
                <a:cubicBezTo>
                  <a:pt x="120" y="105"/>
                  <a:pt x="117" y="109"/>
                  <a:pt x="115" y="112"/>
                </a:cubicBezTo>
                <a:cubicBezTo>
                  <a:pt x="113" y="115"/>
                  <a:pt x="110" y="119"/>
                  <a:pt x="107" y="122"/>
                </a:cubicBezTo>
                <a:cubicBezTo>
                  <a:pt x="102" y="126"/>
                  <a:pt x="97" y="129"/>
                  <a:pt x="92" y="131"/>
                </a:cubicBezTo>
                <a:cubicBezTo>
                  <a:pt x="91" y="131"/>
                  <a:pt x="91" y="130"/>
                  <a:pt x="91" y="130"/>
                </a:cubicBezTo>
                <a:cubicBezTo>
                  <a:pt x="90" y="130"/>
                  <a:pt x="90" y="129"/>
                  <a:pt x="91" y="129"/>
                </a:cubicBezTo>
                <a:cubicBezTo>
                  <a:pt x="96" y="119"/>
                  <a:pt x="102" y="106"/>
                  <a:pt x="94" y="99"/>
                </a:cubicBezTo>
                <a:cubicBezTo>
                  <a:pt x="86" y="93"/>
                  <a:pt x="83" y="84"/>
                  <a:pt x="87" y="76"/>
                </a:cubicBezTo>
                <a:cubicBezTo>
                  <a:pt x="88" y="72"/>
                  <a:pt x="86" y="69"/>
                  <a:pt x="83" y="67"/>
                </a:cubicBezTo>
                <a:cubicBezTo>
                  <a:pt x="83" y="66"/>
                  <a:pt x="83" y="65"/>
                  <a:pt x="82" y="64"/>
                </a:cubicBezTo>
                <a:cubicBezTo>
                  <a:pt x="82" y="62"/>
                  <a:pt x="82" y="59"/>
                  <a:pt x="80" y="56"/>
                </a:cubicBezTo>
                <a:cubicBezTo>
                  <a:pt x="79" y="55"/>
                  <a:pt x="78" y="54"/>
                  <a:pt x="77" y="54"/>
                </a:cubicBezTo>
                <a:cubicBezTo>
                  <a:pt x="74" y="52"/>
                  <a:pt x="71" y="52"/>
                  <a:pt x="68" y="52"/>
                </a:cubicBezTo>
                <a:cubicBezTo>
                  <a:pt x="65" y="51"/>
                  <a:pt x="63" y="51"/>
                  <a:pt x="61" y="50"/>
                </a:cubicBezTo>
                <a:cubicBezTo>
                  <a:pt x="52" y="47"/>
                  <a:pt x="46" y="32"/>
                  <a:pt x="41" y="22"/>
                </a:cubicBezTo>
                <a:cubicBezTo>
                  <a:pt x="41" y="20"/>
                  <a:pt x="40" y="19"/>
                  <a:pt x="39" y="17"/>
                </a:cubicBezTo>
                <a:cubicBezTo>
                  <a:pt x="40" y="17"/>
                  <a:pt x="40" y="17"/>
                  <a:pt x="40" y="17"/>
                </a:cubicBezTo>
                <a:close/>
                <a:moveTo>
                  <a:pt x="80" y="155"/>
                </a:moveTo>
                <a:cubicBezTo>
                  <a:pt x="39" y="155"/>
                  <a:pt x="5" y="121"/>
                  <a:pt x="5" y="80"/>
                </a:cubicBezTo>
                <a:cubicBezTo>
                  <a:pt x="5" y="56"/>
                  <a:pt x="17" y="34"/>
                  <a:pt x="35" y="21"/>
                </a:cubicBezTo>
                <a:cubicBezTo>
                  <a:pt x="35" y="22"/>
                  <a:pt x="36" y="23"/>
                  <a:pt x="36" y="24"/>
                </a:cubicBezTo>
                <a:cubicBezTo>
                  <a:pt x="42" y="36"/>
                  <a:pt x="48" y="51"/>
                  <a:pt x="59" y="55"/>
                </a:cubicBezTo>
                <a:cubicBezTo>
                  <a:pt x="62" y="56"/>
                  <a:pt x="65" y="56"/>
                  <a:pt x="67" y="57"/>
                </a:cubicBezTo>
                <a:cubicBezTo>
                  <a:pt x="70" y="57"/>
                  <a:pt x="72" y="58"/>
                  <a:pt x="75" y="59"/>
                </a:cubicBezTo>
                <a:cubicBezTo>
                  <a:pt x="75" y="59"/>
                  <a:pt x="76" y="59"/>
                  <a:pt x="76" y="59"/>
                </a:cubicBezTo>
                <a:cubicBezTo>
                  <a:pt x="77" y="61"/>
                  <a:pt x="77" y="63"/>
                  <a:pt x="77" y="65"/>
                </a:cubicBezTo>
                <a:cubicBezTo>
                  <a:pt x="77" y="67"/>
                  <a:pt x="78" y="70"/>
                  <a:pt x="80" y="71"/>
                </a:cubicBezTo>
                <a:cubicBezTo>
                  <a:pt x="81" y="72"/>
                  <a:pt x="82" y="73"/>
                  <a:pt x="82" y="74"/>
                </a:cubicBezTo>
                <a:cubicBezTo>
                  <a:pt x="78" y="84"/>
                  <a:pt x="81" y="96"/>
                  <a:pt x="91" y="103"/>
                </a:cubicBezTo>
                <a:cubicBezTo>
                  <a:pt x="93" y="105"/>
                  <a:pt x="94" y="111"/>
                  <a:pt x="86" y="126"/>
                </a:cubicBezTo>
                <a:cubicBezTo>
                  <a:pt x="84" y="128"/>
                  <a:pt x="85" y="131"/>
                  <a:pt x="87" y="134"/>
                </a:cubicBezTo>
                <a:cubicBezTo>
                  <a:pt x="88" y="135"/>
                  <a:pt x="90" y="136"/>
                  <a:pt x="92" y="136"/>
                </a:cubicBezTo>
                <a:cubicBezTo>
                  <a:pt x="93" y="136"/>
                  <a:pt x="93" y="136"/>
                  <a:pt x="94" y="136"/>
                </a:cubicBezTo>
                <a:cubicBezTo>
                  <a:pt x="100" y="134"/>
                  <a:pt x="105" y="131"/>
                  <a:pt x="110" y="126"/>
                </a:cubicBezTo>
                <a:cubicBezTo>
                  <a:pt x="114" y="122"/>
                  <a:pt x="117" y="119"/>
                  <a:pt x="119" y="115"/>
                </a:cubicBezTo>
                <a:cubicBezTo>
                  <a:pt x="122" y="112"/>
                  <a:pt x="124" y="109"/>
                  <a:pt x="127" y="106"/>
                </a:cubicBezTo>
                <a:cubicBezTo>
                  <a:pt x="128" y="106"/>
                  <a:pt x="128" y="105"/>
                  <a:pt x="129" y="105"/>
                </a:cubicBezTo>
                <a:cubicBezTo>
                  <a:pt x="129" y="104"/>
                  <a:pt x="129" y="103"/>
                  <a:pt x="130" y="102"/>
                </a:cubicBezTo>
                <a:cubicBezTo>
                  <a:pt x="132" y="94"/>
                  <a:pt x="137" y="84"/>
                  <a:pt x="129" y="80"/>
                </a:cubicBezTo>
                <a:cubicBezTo>
                  <a:pt x="127" y="78"/>
                  <a:pt x="125" y="75"/>
                  <a:pt x="123" y="72"/>
                </a:cubicBezTo>
                <a:cubicBezTo>
                  <a:pt x="121" y="69"/>
                  <a:pt x="119" y="65"/>
                  <a:pt x="116" y="63"/>
                </a:cubicBezTo>
                <a:cubicBezTo>
                  <a:pt x="115" y="62"/>
                  <a:pt x="114" y="61"/>
                  <a:pt x="112" y="61"/>
                </a:cubicBezTo>
                <a:cubicBezTo>
                  <a:pt x="110" y="61"/>
                  <a:pt x="108" y="60"/>
                  <a:pt x="106" y="59"/>
                </a:cubicBezTo>
                <a:cubicBezTo>
                  <a:pt x="103" y="57"/>
                  <a:pt x="100" y="56"/>
                  <a:pt x="96" y="59"/>
                </a:cubicBezTo>
                <a:cubicBezTo>
                  <a:pt x="95" y="59"/>
                  <a:pt x="94" y="60"/>
                  <a:pt x="93" y="59"/>
                </a:cubicBezTo>
                <a:cubicBezTo>
                  <a:pt x="92" y="59"/>
                  <a:pt x="92" y="58"/>
                  <a:pt x="91" y="57"/>
                </a:cubicBezTo>
                <a:cubicBezTo>
                  <a:pt x="91" y="55"/>
                  <a:pt x="90" y="53"/>
                  <a:pt x="86" y="52"/>
                </a:cubicBezTo>
                <a:cubicBezTo>
                  <a:pt x="86" y="52"/>
                  <a:pt x="86" y="52"/>
                  <a:pt x="86" y="51"/>
                </a:cubicBezTo>
                <a:cubicBezTo>
                  <a:pt x="85" y="51"/>
                  <a:pt x="85" y="51"/>
                  <a:pt x="86" y="51"/>
                </a:cubicBezTo>
                <a:cubicBezTo>
                  <a:pt x="86" y="49"/>
                  <a:pt x="86" y="48"/>
                  <a:pt x="85" y="47"/>
                </a:cubicBezTo>
                <a:cubicBezTo>
                  <a:pt x="84" y="46"/>
                  <a:pt x="82" y="45"/>
                  <a:pt x="80" y="45"/>
                </a:cubicBezTo>
                <a:cubicBezTo>
                  <a:pt x="80" y="45"/>
                  <a:pt x="80" y="44"/>
                  <a:pt x="79" y="44"/>
                </a:cubicBezTo>
                <a:cubicBezTo>
                  <a:pt x="78" y="42"/>
                  <a:pt x="78" y="42"/>
                  <a:pt x="78" y="42"/>
                </a:cubicBezTo>
                <a:cubicBezTo>
                  <a:pt x="76" y="43"/>
                  <a:pt x="76" y="43"/>
                  <a:pt x="76" y="43"/>
                </a:cubicBezTo>
                <a:cubicBezTo>
                  <a:pt x="75" y="44"/>
                  <a:pt x="75" y="44"/>
                  <a:pt x="74" y="43"/>
                </a:cubicBezTo>
                <a:cubicBezTo>
                  <a:pt x="73" y="43"/>
                  <a:pt x="73" y="42"/>
                  <a:pt x="73" y="41"/>
                </a:cubicBezTo>
                <a:cubicBezTo>
                  <a:pt x="73" y="40"/>
                  <a:pt x="73" y="40"/>
                  <a:pt x="73" y="39"/>
                </a:cubicBezTo>
                <a:cubicBezTo>
                  <a:pt x="73" y="39"/>
                  <a:pt x="75" y="39"/>
                  <a:pt x="77" y="39"/>
                </a:cubicBezTo>
                <a:cubicBezTo>
                  <a:pt x="78" y="39"/>
                  <a:pt x="78" y="39"/>
                  <a:pt x="78" y="39"/>
                </a:cubicBezTo>
                <a:cubicBezTo>
                  <a:pt x="79" y="39"/>
                  <a:pt x="79" y="39"/>
                  <a:pt x="79" y="39"/>
                </a:cubicBezTo>
                <a:cubicBezTo>
                  <a:pt x="81" y="37"/>
                  <a:pt x="83" y="37"/>
                  <a:pt x="84" y="38"/>
                </a:cubicBezTo>
                <a:cubicBezTo>
                  <a:pt x="84" y="38"/>
                  <a:pt x="85" y="39"/>
                  <a:pt x="85" y="43"/>
                </a:cubicBezTo>
                <a:cubicBezTo>
                  <a:pt x="85" y="46"/>
                  <a:pt x="85" y="46"/>
                  <a:pt x="85" y="46"/>
                </a:cubicBezTo>
                <a:cubicBezTo>
                  <a:pt x="87" y="46"/>
                  <a:pt x="87" y="46"/>
                  <a:pt x="87" y="46"/>
                </a:cubicBezTo>
                <a:cubicBezTo>
                  <a:pt x="90" y="46"/>
                  <a:pt x="93" y="46"/>
                  <a:pt x="94" y="44"/>
                </a:cubicBezTo>
                <a:cubicBezTo>
                  <a:pt x="95" y="42"/>
                  <a:pt x="96" y="40"/>
                  <a:pt x="95" y="37"/>
                </a:cubicBezTo>
                <a:cubicBezTo>
                  <a:pt x="95" y="36"/>
                  <a:pt x="95" y="36"/>
                  <a:pt x="95" y="35"/>
                </a:cubicBezTo>
                <a:cubicBezTo>
                  <a:pt x="102" y="26"/>
                  <a:pt x="109" y="21"/>
                  <a:pt x="120" y="17"/>
                </a:cubicBezTo>
                <a:cubicBezTo>
                  <a:pt x="141" y="31"/>
                  <a:pt x="155" y="54"/>
                  <a:pt x="155" y="80"/>
                </a:cubicBezTo>
                <a:cubicBezTo>
                  <a:pt x="155" y="121"/>
                  <a:pt x="121" y="155"/>
                  <a:pt x="80" y="1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81" name="Freeform 83">
            <a:extLst>
              <a:ext uri="{FF2B5EF4-FFF2-40B4-BE49-F238E27FC236}">
                <a16:creationId xmlns:a16="http://schemas.microsoft.com/office/drawing/2014/main" id="{D61207C3-DAD9-D142-AEE6-CA9EA16ACE27}"/>
              </a:ext>
            </a:extLst>
          </p:cNvPr>
          <p:cNvSpPr>
            <a:spLocks noEditPoints="1"/>
          </p:cNvSpPr>
          <p:nvPr/>
        </p:nvSpPr>
        <p:spPr bwMode="auto">
          <a:xfrm>
            <a:off x="9011929" y="4486275"/>
            <a:ext cx="577850" cy="606425"/>
          </a:xfrm>
          <a:custGeom>
            <a:avLst/>
            <a:gdLst>
              <a:gd name="T0" fmla="*/ 88 w 154"/>
              <a:gd name="T1" fmla="*/ 63 h 160"/>
              <a:gd name="T2" fmla="*/ 85 w 154"/>
              <a:gd name="T3" fmla="*/ 66 h 160"/>
              <a:gd name="T4" fmla="*/ 66 w 154"/>
              <a:gd name="T5" fmla="*/ 66 h 160"/>
              <a:gd name="T6" fmla="*/ 66 w 154"/>
              <a:gd name="T7" fmla="*/ 85 h 160"/>
              <a:gd name="T8" fmla="*/ 63 w 154"/>
              <a:gd name="T9" fmla="*/ 88 h 160"/>
              <a:gd name="T10" fmla="*/ 60 w 154"/>
              <a:gd name="T11" fmla="*/ 85 h 160"/>
              <a:gd name="T12" fmla="*/ 60 w 154"/>
              <a:gd name="T13" fmla="*/ 66 h 160"/>
              <a:gd name="T14" fmla="*/ 42 w 154"/>
              <a:gd name="T15" fmla="*/ 66 h 160"/>
              <a:gd name="T16" fmla="*/ 39 w 154"/>
              <a:gd name="T17" fmla="*/ 63 h 160"/>
              <a:gd name="T18" fmla="*/ 42 w 154"/>
              <a:gd name="T19" fmla="*/ 60 h 160"/>
              <a:gd name="T20" fmla="*/ 60 w 154"/>
              <a:gd name="T21" fmla="*/ 60 h 160"/>
              <a:gd name="T22" fmla="*/ 60 w 154"/>
              <a:gd name="T23" fmla="*/ 42 h 160"/>
              <a:gd name="T24" fmla="*/ 63 w 154"/>
              <a:gd name="T25" fmla="*/ 39 h 160"/>
              <a:gd name="T26" fmla="*/ 66 w 154"/>
              <a:gd name="T27" fmla="*/ 42 h 160"/>
              <a:gd name="T28" fmla="*/ 66 w 154"/>
              <a:gd name="T29" fmla="*/ 60 h 160"/>
              <a:gd name="T30" fmla="*/ 85 w 154"/>
              <a:gd name="T31" fmla="*/ 60 h 160"/>
              <a:gd name="T32" fmla="*/ 88 w 154"/>
              <a:gd name="T33" fmla="*/ 63 h 160"/>
              <a:gd name="T34" fmla="*/ 153 w 154"/>
              <a:gd name="T35" fmla="*/ 159 h 160"/>
              <a:gd name="T36" fmla="*/ 151 w 154"/>
              <a:gd name="T37" fmla="*/ 160 h 160"/>
              <a:gd name="T38" fmla="*/ 149 w 154"/>
              <a:gd name="T39" fmla="*/ 159 h 160"/>
              <a:gd name="T40" fmla="*/ 104 w 154"/>
              <a:gd name="T41" fmla="*/ 112 h 160"/>
              <a:gd name="T42" fmla="*/ 63 w 154"/>
              <a:gd name="T43" fmla="*/ 127 h 160"/>
              <a:gd name="T44" fmla="*/ 0 w 154"/>
              <a:gd name="T45" fmla="*/ 63 h 160"/>
              <a:gd name="T46" fmla="*/ 63 w 154"/>
              <a:gd name="T47" fmla="*/ 0 h 160"/>
              <a:gd name="T48" fmla="*/ 127 w 154"/>
              <a:gd name="T49" fmla="*/ 63 h 160"/>
              <a:gd name="T50" fmla="*/ 108 w 154"/>
              <a:gd name="T51" fmla="*/ 108 h 160"/>
              <a:gd name="T52" fmla="*/ 153 w 154"/>
              <a:gd name="T53" fmla="*/ 155 h 160"/>
              <a:gd name="T54" fmla="*/ 153 w 154"/>
              <a:gd name="T55" fmla="*/ 159 h 160"/>
              <a:gd name="T56" fmla="*/ 63 w 154"/>
              <a:gd name="T57" fmla="*/ 121 h 160"/>
              <a:gd name="T58" fmla="*/ 121 w 154"/>
              <a:gd name="T59" fmla="*/ 63 h 160"/>
              <a:gd name="T60" fmla="*/ 63 w 154"/>
              <a:gd name="T61" fmla="*/ 6 h 160"/>
              <a:gd name="T62" fmla="*/ 6 w 154"/>
              <a:gd name="T63" fmla="*/ 63 h 160"/>
              <a:gd name="T64" fmla="*/ 63 w 154"/>
              <a:gd name="T65" fmla="*/ 12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 h="160">
                <a:moveTo>
                  <a:pt x="88" y="63"/>
                </a:moveTo>
                <a:cubicBezTo>
                  <a:pt x="88" y="65"/>
                  <a:pt x="86" y="66"/>
                  <a:pt x="85" y="66"/>
                </a:cubicBezTo>
                <a:cubicBezTo>
                  <a:pt x="66" y="66"/>
                  <a:pt x="66" y="66"/>
                  <a:pt x="66" y="66"/>
                </a:cubicBezTo>
                <a:cubicBezTo>
                  <a:pt x="66" y="85"/>
                  <a:pt x="66" y="85"/>
                  <a:pt x="66" y="85"/>
                </a:cubicBezTo>
                <a:cubicBezTo>
                  <a:pt x="66" y="86"/>
                  <a:pt x="65" y="88"/>
                  <a:pt x="63" y="88"/>
                </a:cubicBezTo>
                <a:cubicBezTo>
                  <a:pt x="62" y="88"/>
                  <a:pt x="60" y="86"/>
                  <a:pt x="60" y="85"/>
                </a:cubicBezTo>
                <a:cubicBezTo>
                  <a:pt x="60" y="66"/>
                  <a:pt x="60" y="66"/>
                  <a:pt x="60" y="66"/>
                </a:cubicBezTo>
                <a:cubicBezTo>
                  <a:pt x="42" y="66"/>
                  <a:pt x="42" y="66"/>
                  <a:pt x="42" y="66"/>
                </a:cubicBezTo>
                <a:cubicBezTo>
                  <a:pt x="41" y="66"/>
                  <a:pt x="39" y="65"/>
                  <a:pt x="39" y="63"/>
                </a:cubicBezTo>
                <a:cubicBezTo>
                  <a:pt x="39" y="62"/>
                  <a:pt x="41" y="60"/>
                  <a:pt x="42" y="60"/>
                </a:cubicBezTo>
                <a:cubicBezTo>
                  <a:pt x="60" y="60"/>
                  <a:pt x="60" y="60"/>
                  <a:pt x="60" y="60"/>
                </a:cubicBezTo>
                <a:cubicBezTo>
                  <a:pt x="60" y="42"/>
                  <a:pt x="60" y="42"/>
                  <a:pt x="60" y="42"/>
                </a:cubicBezTo>
                <a:cubicBezTo>
                  <a:pt x="60" y="41"/>
                  <a:pt x="62" y="39"/>
                  <a:pt x="63" y="39"/>
                </a:cubicBezTo>
                <a:cubicBezTo>
                  <a:pt x="65" y="39"/>
                  <a:pt x="66" y="41"/>
                  <a:pt x="66" y="42"/>
                </a:cubicBezTo>
                <a:cubicBezTo>
                  <a:pt x="66" y="60"/>
                  <a:pt x="66" y="60"/>
                  <a:pt x="66" y="60"/>
                </a:cubicBezTo>
                <a:cubicBezTo>
                  <a:pt x="85" y="60"/>
                  <a:pt x="85" y="60"/>
                  <a:pt x="85" y="60"/>
                </a:cubicBezTo>
                <a:cubicBezTo>
                  <a:pt x="86" y="60"/>
                  <a:pt x="88" y="62"/>
                  <a:pt x="88" y="63"/>
                </a:cubicBezTo>
                <a:close/>
                <a:moveTo>
                  <a:pt x="153" y="159"/>
                </a:moveTo>
                <a:cubicBezTo>
                  <a:pt x="153" y="160"/>
                  <a:pt x="152" y="160"/>
                  <a:pt x="151" y="160"/>
                </a:cubicBezTo>
                <a:cubicBezTo>
                  <a:pt x="150" y="160"/>
                  <a:pt x="149" y="160"/>
                  <a:pt x="149" y="159"/>
                </a:cubicBezTo>
                <a:cubicBezTo>
                  <a:pt x="104" y="112"/>
                  <a:pt x="104" y="112"/>
                  <a:pt x="104" y="112"/>
                </a:cubicBezTo>
                <a:cubicBezTo>
                  <a:pt x="93" y="121"/>
                  <a:pt x="79" y="127"/>
                  <a:pt x="63" y="127"/>
                </a:cubicBezTo>
                <a:cubicBezTo>
                  <a:pt x="28" y="127"/>
                  <a:pt x="0" y="98"/>
                  <a:pt x="0" y="63"/>
                </a:cubicBezTo>
                <a:cubicBezTo>
                  <a:pt x="0" y="28"/>
                  <a:pt x="28" y="0"/>
                  <a:pt x="63" y="0"/>
                </a:cubicBezTo>
                <a:cubicBezTo>
                  <a:pt x="98" y="0"/>
                  <a:pt x="127" y="28"/>
                  <a:pt x="127" y="63"/>
                </a:cubicBezTo>
                <a:cubicBezTo>
                  <a:pt x="127" y="81"/>
                  <a:pt x="120" y="97"/>
                  <a:pt x="108" y="108"/>
                </a:cubicBezTo>
                <a:cubicBezTo>
                  <a:pt x="153" y="155"/>
                  <a:pt x="153" y="155"/>
                  <a:pt x="153" y="155"/>
                </a:cubicBezTo>
                <a:cubicBezTo>
                  <a:pt x="154" y="156"/>
                  <a:pt x="154" y="158"/>
                  <a:pt x="153" y="159"/>
                </a:cubicBezTo>
                <a:close/>
                <a:moveTo>
                  <a:pt x="63" y="121"/>
                </a:moveTo>
                <a:cubicBezTo>
                  <a:pt x="95" y="121"/>
                  <a:pt x="121" y="95"/>
                  <a:pt x="121" y="63"/>
                </a:cubicBezTo>
                <a:cubicBezTo>
                  <a:pt x="121" y="32"/>
                  <a:pt x="95" y="6"/>
                  <a:pt x="63" y="6"/>
                </a:cubicBezTo>
                <a:cubicBezTo>
                  <a:pt x="32" y="6"/>
                  <a:pt x="6" y="32"/>
                  <a:pt x="6" y="63"/>
                </a:cubicBezTo>
                <a:cubicBezTo>
                  <a:pt x="6" y="95"/>
                  <a:pt x="32" y="121"/>
                  <a:pt x="63" y="12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82" name="Freeform 84">
            <a:extLst>
              <a:ext uri="{FF2B5EF4-FFF2-40B4-BE49-F238E27FC236}">
                <a16:creationId xmlns:a16="http://schemas.microsoft.com/office/drawing/2014/main" id="{AEB57003-7847-6046-88C8-91D783AFC8A0}"/>
              </a:ext>
            </a:extLst>
          </p:cNvPr>
          <p:cNvSpPr>
            <a:spLocks noEditPoints="1"/>
          </p:cNvSpPr>
          <p:nvPr/>
        </p:nvSpPr>
        <p:spPr bwMode="auto">
          <a:xfrm>
            <a:off x="9011929" y="5167313"/>
            <a:ext cx="577850" cy="606425"/>
          </a:xfrm>
          <a:custGeom>
            <a:avLst/>
            <a:gdLst>
              <a:gd name="T0" fmla="*/ 88 w 154"/>
              <a:gd name="T1" fmla="*/ 63 h 160"/>
              <a:gd name="T2" fmla="*/ 85 w 154"/>
              <a:gd name="T3" fmla="*/ 66 h 160"/>
              <a:gd name="T4" fmla="*/ 42 w 154"/>
              <a:gd name="T5" fmla="*/ 66 h 160"/>
              <a:gd name="T6" fmla="*/ 39 w 154"/>
              <a:gd name="T7" fmla="*/ 63 h 160"/>
              <a:gd name="T8" fmla="*/ 42 w 154"/>
              <a:gd name="T9" fmla="*/ 60 h 160"/>
              <a:gd name="T10" fmla="*/ 85 w 154"/>
              <a:gd name="T11" fmla="*/ 60 h 160"/>
              <a:gd name="T12" fmla="*/ 88 w 154"/>
              <a:gd name="T13" fmla="*/ 63 h 160"/>
              <a:gd name="T14" fmla="*/ 153 w 154"/>
              <a:gd name="T15" fmla="*/ 159 h 160"/>
              <a:gd name="T16" fmla="*/ 151 w 154"/>
              <a:gd name="T17" fmla="*/ 160 h 160"/>
              <a:gd name="T18" fmla="*/ 149 w 154"/>
              <a:gd name="T19" fmla="*/ 159 h 160"/>
              <a:gd name="T20" fmla="*/ 104 w 154"/>
              <a:gd name="T21" fmla="*/ 112 h 160"/>
              <a:gd name="T22" fmla="*/ 63 w 154"/>
              <a:gd name="T23" fmla="*/ 127 h 160"/>
              <a:gd name="T24" fmla="*/ 0 w 154"/>
              <a:gd name="T25" fmla="*/ 63 h 160"/>
              <a:gd name="T26" fmla="*/ 63 w 154"/>
              <a:gd name="T27" fmla="*/ 0 h 160"/>
              <a:gd name="T28" fmla="*/ 127 w 154"/>
              <a:gd name="T29" fmla="*/ 63 h 160"/>
              <a:gd name="T30" fmla="*/ 108 w 154"/>
              <a:gd name="T31" fmla="*/ 108 h 160"/>
              <a:gd name="T32" fmla="*/ 153 w 154"/>
              <a:gd name="T33" fmla="*/ 155 h 160"/>
              <a:gd name="T34" fmla="*/ 153 w 154"/>
              <a:gd name="T35" fmla="*/ 159 h 160"/>
              <a:gd name="T36" fmla="*/ 63 w 154"/>
              <a:gd name="T37" fmla="*/ 121 h 160"/>
              <a:gd name="T38" fmla="*/ 121 w 154"/>
              <a:gd name="T39" fmla="*/ 63 h 160"/>
              <a:gd name="T40" fmla="*/ 63 w 154"/>
              <a:gd name="T41" fmla="*/ 6 h 160"/>
              <a:gd name="T42" fmla="*/ 6 w 154"/>
              <a:gd name="T43" fmla="*/ 63 h 160"/>
              <a:gd name="T44" fmla="*/ 63 w 154"/>
              <a:gd name="T45" fmla="*/ 12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4" h="160">
                <a:moveTo>
                  <a:pt x="88" y="63"/>
                </a:moveTo>
                <a:cubicBezTo>
                  <a:pt x="88" y="65"/>
                  <a:pt x="86" y="66"/>
                  <a:pt x="85" y="66"/>
                </a:cubicBezTo>
                <a:cubicBezTo>
                  <a:pt x="42" y="66"/>
                  <a:pt x="42" y="66"/>
                  <a:pt x="42" y="66"/>
                </a:cubicBezTo>
                <a:cubicBezTo>
                  <a:pt x="41" y="66"/>
                  <a:pt x="39" y="65"/>
                  <a:pt x="39" y="63"/>
                </a:cubicBezTo>
                <a:cubicBezTo>
                  <a:pt x="39" y="62"/>
                  <a:pt x="41" y="60"/>
                  <a:pt x="42" y="60"/>
                </a:cubicBezTo>
                <a:cubicBezTo>
                  <a:pt x="85" y="60"/>
                  <a:pt x="85" y="60"/>
                  <a:pt x="85" y="60"/>
                </a:cubicBezTo>
                <a:cubicBezTo>
                  <a:pt x="86" y="60"/>
                  <a:pt x="88" y="62"/>
                  <a:pt x="88" y="63"/>
                </a:cubicBezTo>
                <a:close/>
                <a:moveTo>
                  <a:pt x="153" y="159"/>
                </a:moveTo>
                <a:cubicBezTo>
                  <a:pt x="153" y="160"/>
                  <a:pt x="152" y="160"/>
                  <a:pt x="151" y="160"/>
                </a:cubicBezTo>
                <a:cubicBezTo>
                  <a:pt x="150" y="160"/>
                  <a:pt x="149" y="160"/>
                  <a:pt x="149" y="159"/>
                </a:cubicBezTo>
                <a:cubicBezTo>
                  <a:pt x="104" y="112"/>
                  <a:pt x="104" y="112"/>
                  <a:pt x="104" y="112"/>
                </a:cubicBezTo>
                <a:cubicBezTo>
                  <a:pt x="93" y="121"/>
                  <a:pt x="79" y="127"/>
                  <a:pt x="63" y="127"/>
                </a:cubicBezTo>
                <a:cubicBezTo>
                  <a:pt x="28" y="127"/>
                  <a:pt x="0" y="98"/>
                  <a:pt x="0" y="63"/>
                </a:cubicBezTo>
                <a:cubicBezTo>
                  <a:pt x="0" y="28"/>
                  <a:pt x="28" y="0"/>
                  <a:pt x="63" y="0"/>
                </a:cubicBezTo>
                <a:cubicBezTo>
                  <a:pt x="98" y="0"/>
                  <a:pt x="127" y="28"/>
                  <a:pt x="127" y="63"/>
                </a:cubicBezTo>
                <a:cubicBezTo>
                  <a:pt x="127" y="81"/>
                  <a:pt x="120" y="97"/>
                  <a:pt x="108" y="108"/>
                </a:cubicBezTo>
                <a:cubicBezTo>
                  <a:pt x="153" y="155"/>
                  <a:pt x="153" y="155"/>
                  <a:pt x="153" y="155"/>
                </a:cubicBezTo>
                <a:cubicBezTo>
                  <a:pt x="154" y="156"/>
                  <a:pt x="154" y="158"/>
                  <a:pt x="153" y="159"/>
                </a:cubicBezTo>
                <a:close/>
                <a:moveTo>
                  <a:pt x="63" y="121"/>
                </a:moveTo>
                <a:cubicBezTo>
                  <a:pt x="95" y="121"/>
                  <a:pt x="121" y="95"/>
                  <a:pt x="121" y="63"/>
                </a:cubicBezTo>
                <a:cubicBezTo>
                  <a:pt x="121" y="32"/>
                  <a:pt x="95" y="6"/>
                  <a:pt x="63" y="6"/>
                </a:cubicBezTo>
                <a:cubicBezTo>
                  <a:pt x="32" y="6"/>
                  <a:pt x="6" y="32"/>
                  <a:pt x="6" y="63"/>
                </a:cubicBezTo>
                <a:cubicBezTo>
                  <a:pt x="6" y="95"/>
                  <a:pt x="32" y="121"/>
                  <a:pt x="63" y="12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504484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verview</a:t>
            </a:r>
          </a:p>
        </p:txBody>
      </p:sp>
      <p:sp>
        <p:nvSpPr>
          <p:cNvPr id="2" name="Picture Placeholder 1"/>
          <p:cNvSpPr>
            <a:spLocks noGrp="1"/>
          </p:cNvSpPr>
          <p:nvPr>
            <p:ph type="pic" sz="quarter" idx="12"/>
          </p:nvPr>
        </p:nvSpPr>
        <p:spPr/>
        <p:txBody>
          <a:bodyPr/>
          <a:lstStyle/>
          <a:p>
            <a:endParaRPr lang="en-CA"/>
          </a:p>
        </p:txBody>
      </p:sp>
      <p:grpSp>
        <p:nvGrpSpPr>
          <p:cNvPr id="11" name="Group 10"/>
          <p:cNvGrpSpPr/>
          <p:nvPr/>
        </p:nvGrpSpPr>
        <p:grpSpPr>
          <a:xfrm>
            <a:off x="5732508" y="2699132"/>
            <a:ext cx="6346333" cy="494890"/>
            <a:chOff x="4647047" y="2220604"/>
            <a:chExt cx="6346333" cy="494890"/>
          </a:xfrm>
        </p:grpSpPr>
        <p:sp>
          <p:nvSpPr>
            <p:cNvPr id="8" name="Title 3"/>
            <p:cNvSpPr txBox="1">
              <a:spLocks/>
            </p:cNvSpPr>
            <p:nvPr/>
          </p:nvSpPr>
          <p:spPr>
            <a:xfrm>
              <a:off x="4647047" y="2280727"/>
              <a:ext cx="1079500" cy="372196"/>
            </a:xfrm>
            <a:prstGeom prst="rect">
              <a:avLst/>
            </a:prstGeom>
          </p:spPr>
          <p:txBody>
            <a:bodyPr vert="horz" lIns="0" tIns="0" rIns="0" bIns="0" rtlCol="0" anchor="t">
              <a:normAutofit/>
            </a:bodyPr>
            <a:lstStyle>
              <a:lvl1pPr algn="l" defTabSz="914400" rtl="0" eaLnBrk="1" latinLnBrk="0" hangingPunct="1">
                <a:lnSpc>
                  <a:spcPct val="110000"/>
                </a:lnSpc>
                <a:spcBef>
                  <a:spcPct val="0"/>
                </a:spcBef>
                <a:buNone/>
                <a:defRPr sz="2400" kern="1200">
                  <a:solidFill>
                    <a:schemeClr val="tx1"/>
                  </a:solidFill>
                  <a:latin typeface="+mj-lt"/>
                  <a:ea typeface="+mj-ea"/>
                  <a:cs typeface="+mj-cs"/>
                </a:defRPr>
              </a:lvl1pPr>
            </a:lstStyle>
            <a:p>
              <a:r>
                <a:rPr lang="en-US" sz="1200" b="1" dirty="0">
                  <a:latin typeface="RBC Display" panose="02000000000000000000" pitchFamily="2" charset="77"/>
                  <a:ea typeface="Open Sans" charset="0"/>
                  <a:cs typeface="Open Sans" charset="0"/>
                </a:rPr>
                <a:t>09:10 </a:t>
              </a:r>
              <a:r>
                <a:rPr lang="mr-IN" sz="1200" b="1" dirty="0">
                  <a:latin typeface="RBC Display" panose="02000000000000000000" pitchFamily="2" charset="77"/>
                  <a:ea typeface="Open Sans" charset="0"/>
                  <a:cs typeface="Open Sans" charset="0"/>
                </a:rPr>
                <a:t>–</a:t>
              </a:r>
              <a:r>
                <a:rPr lang="en-US" sz="1200" b="1" dirty="0">
                  <a:latin typeface="RBC Display" panose="02000000000000000000" pitchFamily="2" charset="77"/>
                  <a:ea typeface="Open Sans" charset="0"/>
                  <a:cs typeface="Open Sans" charset="0"/>
                </a:rPr>
                <a:t> 09:30</a:t>
              </a:r>
            </a:p>
          </p:txBody>
        </p:sp>
        <p:sp>
          <p:nvSpPr>
            <p:cNvPr id="9" name="TextBox 8"/>
            <p:cNvSpPr txBox="1"/>
            <p:nvPr/>
          </p:nvSpPr>
          <p:spPr>
            <a:xfrm>
              <a:off x="6096000" y="2220604"/>
              <a:ext cx="1632563" cy="215444"/>
            </a:xfrm>
            <a:prstGeom prst="rect">
              <a:avLst/>
            </a:prstGeom>
            <a:noFill/>
          </p:spPr>
          <p:txBody>
            <a:bodyPr wrap="none" lIns="0" tIns="0" rIns="0" bIns="0" rtlCol="0">
              <a:spAutoFit/>
            </a:bodyPr>
            <a:lstStyle/>
            <a:p>
              <a:r>
                <a:rPr lang="en-US" sz="1400" dirty="0" err="1">
                  <a:latin typeface="RBC Display" panose="02000000000000000000" pitchFamily="2" charset="77"/>
                </a:rPr>
                <a:t>Dealy</a:t>
              </a:r>
              <a:r>
                <a:rPr lang="en-US" sz="1400" dirty="0">
                  <a:latin typeface="RBC Display" panose="02000000000000000000" pitchFamily="2" charset="77"/>
                </a:rPr>
                <a:t> team </a:t>
              </a:r>
              <a:r>
                <a:rPr lang="en-US" sz="1400" dirty="0" err="1">
                  <a:latin typeface="RBC Display" panose="02000000000000000000" pitchFamily="2" charset="77"/>
                </a:rPr>
                <a:t>statd</a:t>
              </a:r>
              <a:r>
                <a:rPr lang="en-US" sz="1400" dirty="0">
                  <a:latin typeface="RBC Display" panose="02000000000000000000" pitchFamily="2" charset="77"/>
                </a:rPr>
                <a:t> up</a:t>
              </a:r>
            </a:p>
          </p:txBody>
        </p:sp>
        <p:sp>
          <p:nvSpPr>
            <p:cNvPr id="10" name="Text Placeholder 4"/>
            <p:cNvSpPr txBox="1">
              <a:spLocks/>
            </p:cNvSpPr>
            <p:nvPr/>
          </p:nvSpPr>
          <p:spPr>
            <a:xfrm>
              <a:off x="6095999" y="2501251"/>
              <a:ext cx="4897381" cy="21424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a:buNone/>
                <a:defRPr sz="1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alpha val="70000"/>
                    </a:schemeClr>
                  </a:solidFill>
                  <a:latin typeface="RBC Text" panose="02000000000000000000" pitchFamily="2" charset="77"/>
                </a:rPr>
                <a:t>Meeting Room A</a:t>
              </a:r>
            </a:p>
          </p:txBody>
        </p:sp>
      </p:grpSp>
      <p:grpSp>
        <p:nvGrpSpPr>
          <p:cNvPr id="12" name="Group 11"/>
          <p:cNvGrpSpPr/>
          <p:nvPr/>
        </p:nvGrpSpPr>
        <p:grpSpPr>
          <a:xfrm>
            <a:off x="5732508" y="3761959"/>
            <a:ext cx="6346333" cy="494890"/>
            <a:chOff x="4647047" y="2220604"/>
            <a:chExt cx="6346333" cy="494890"/>
          </a:xfrm>
        </p:grpSpPr>
        <p:sp>
          <p:nvSpPr>
            <p:cNvPr id="13" name="Title 3"/>
            <p:cNvSpPr txBox="1">
              <a:spLocks/>
            </p:cNvSpPr>
            <p:nvPr/>
          </p:nvSpPr>
          <p:spPr>
            <a:xfrm>
              <a:off x="4647047" y="2280727"/>
              <a:ext cx="1079500" cy="372196"/>
            </a:xfrm>
            <a:prstGeom prst="rect">
              <a:avLst/>
            </a:prstGeom>
          </p:spPr>
          <p:txBody>
            <a:bodyPr vert="horz" lIns="0" tIns="0" rIns="0" bIns="0" rtlCol="0" anchor="t">
              <a:normAutofit/>
            </a:bodyPr>
            <a:lstStyle>
              <a:lvl1pPr algn="l" defTabSz="914400" rtl="0" eaLnBrk="1" latinLnBrk="0" hangingPunct="1">
                <a:lnSpc>
                  <a:spcPct val="110000"/>
                </a:lnSpc>
                <a:spcBef>
                  <a:spcPct val="0"/>
                </a:spcBef>
                <a:buNone/>
                <a:defRPr sz="2400" kern="1200">
                  <a:solidFill>
                    <a:schemeClr val="tx1"/>
                  </a:solidFill>
                  <a:latin typeface="+mj-lt"/>
                  <a:ea typeface="+mj-ea"/>
                  <a:cs typeface="+mj-cs"/>
                </a:defRPr>
              </a:lvl1pPr>
            </a:lstStyle>
            <a:p>
              <a:r>
                <a:rPr lang="en-US" sz="1200" b="1" dirty="0">
                  <a:latin typeface="RBC Display" panose="02000000000000000000" pitchFamily="2" charset="77"/>
                  <a:ea typeface="Open Sans" charset="0"/>
                  <a:cs typeface="Open Sans" charset="0"/>
                </a:rPr>
                <a:t>09:10 </a:t>
              </a:r>
              <a:r>
                <a:rPr lang="mr-IN" sz="1200" b="1" dirty="0">
                  <a:latin typeface="RBC Display" panose="02000000000000000000" pitchFamily="2" charset="77"/>
                  <a:ea typeface="Open Sans" charset="0"/>
                  <a:cs typeface="Open Sans" charset="0"/>
                </a:rPr>
                <a:t>–</a:t>
              </a:r>
              <a:r>
                <a:rPr lang="en-US" sz="1200" b="1" dirty="0">
                  <a:latin typeface="RBC Display" panose="02000000000000000000" pitchFamily="2" charset="77"/>
                  <a:ea typeface="Open Sans" charset="0"/>
                  <a:cs typeface="Open Sans" charset="0"/>
                </a:rPr>
                <a:t> 09:30</a:t>
              </a:r>
            </a:p>
          </p:txBody>
        </p:sp>
        <p:sp>
          <p:nvSpPr>
            <p:cNvPr id="14" name="TextBox 13"/>
            <p:cNvSpPr txBox="1"/>
            <p:nvPr/>
          </p:nvSpPr>
          <p:spPr>
            <a:xfrm>
              <a:off x="6096000" y="2220604"/>
              <a:ext cx="1548116" cy="215444"/>
            </a:xfrm>
            <a:prstGeom prst="rect">
              <a:avLst/>
            </a:prstGeom>
            <a:noFill/>
          </p:spPr>
          <p:txBody>
            <a:bodyPr wrap="none" lIns="0" tIns="0" rIns="0" bIns="0" rtlCol="0">
              <a:spAutoFit/>
            </a:bodyPr>
            <a:lstStyle/>
            <a:p>
              <a:r>
                <a:rPr lang="en-US" sz="1400" dirty="0">
                  <a:latin typeface="RBC Display" panose="02000000000000000000" pitchFamily="2" charset="77"/>
                </a:rPr>
                <a:t>Welcome Message</a:t>
              </a:r>
            </a:p>
          </p:txBody>
        </p:sp>
        <p:sp>
          <p:nvSpPr>
            <p:cNvPr id="15" name="Text Placeholder 4"/>
            <p:cNvSpPr txBox="1">
              <a:spLocks/>
            </p:cNvSpPr>
            <p:nvPr/>
          </p:nvSpPr>
          <p:spPr>
            <a:xfrm>
              <a:off x="6095999" y="2501251"/>
              <a:ext cx="4897381" cy="21424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a:buNone/>
                <a:defRPr sz="1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alpha val="70000"/>
                    </a:schemeClr>
                  </a:solidFill>
                  <a:latin typeface="RBC Text" panose="02000000000000000000" pitchFamily="2" charset="77"/>
                </a:rPr>
                <a:t>Meeting Room B</a:t>
              </a:r>
            </a:p>
          </p:txBody>
        </p:sp>
      </p:grpSp>
      <p:grpSp>
        <p:nvGrpSpPr>
          <p:cNvPr id="16" name="Group 15"/>
          <p:cNvGrpSpPr/>
          <p:nvPr/>
        </p:nvGrpSpPr>
        <p:grpSpPr>
          <a:xfrm>
            <a:off x="5732508" y="4824786"/>
            <a:ext cx="6346333" cy="494890"/>
            <a:chOff x="4647047" y="2220604"/>
            <a:chExt cx="6346333" cy="494890"/>
          </a:xfrm>
        </p:grpSpPr>
        <p:sp>
          <p:nvSpPr>
            <p:cNvPr id="17" name="Title 3"/>
            <p:cNvSpPr txBox="1">
              <a:spLocks/>
            </p:cNvSpPr>
            <p:nvPr/>
          </p:nvSpPr>
          <p:spPr>
            <a:xfrm>
              <a:off x="4647047" y="2280727"/>
              <a:ext cx="1079500" cy="372196"/>
            </a:xfrm>
            <a:prstGeom prst="rect">
              <a:avLst/>
            </a:prstGeom>
          </p:spPr>
          <p:txBody>
            <a:bodyPr vert="horz" lIns="0" tIns="0" rIns="0" bIns="0" rtlCol="0" anchor="t">
              <a:normAutofit/>
            </a:bodyPr>
            <a:lstStyle>
              <a:lvl1pPr algn="l" defTabSz="914400" rtl="0" eaLnBrk="1" latinLnBrk="0" hangingPunct="1">
                <a:lnSpc>
                  <a:spcPct val="110000"/>
                </a:lnSpc>
                <a:spcBef>
                  <a:spcPct val="0"/>
                </a:spcBef>
                <a:buNone/>
                <a:defRPr sz="2400" kern="1200">
                  <a:solidFill>
                    <a:schemeClr val="tx1"/>
                  </a:solidFill>
                  <a:latin typeface="+mj-lt"/>
                  <a:ea typeface="+mj-ea"/>
                  <a:cs typeface="+mj-cs"/>
                </a:defRPr>
              </a:lvl1pPr>
            </a:lstStyle>
            <a:p>
              <a:r>
                <a:rPr lang="en-US" sz="1200" b="1" dirty="0">
                  <a:latin typeface="RBC Display" panose="02000000000000000000" pitchFamily="2" charset="77"/>
                  <a:ea typeface="Open Sans" charset="0"/>
                  <a:cs typeface="Open Sans" charset="0"/>
                </a:rPr>
                <a:t>09:10 </a:t>
              </a:r>
              <a:r>
                <a:rPr lang="mr-IN" sz="1200" b="1" dirty="0">
                  <a:latin typeface="RBC Display" panose="02000000000000000000" pitchFamily="2" charset="77"/>
                  <a:ea typeface="Open Sans" charset="0"/>
                  <a:cs typeface="Open Sans" charset="0"/>
                </a:rPr>
                <a:t>–</a:t>
              </a:r>
              <a:r>
                <a:rPr lang="en-US" sz="1200" b="1" dirty="0">
                  <a:latin typeface="RBC Display" panose="02000000000000000000" pitchFamily="2" charset="77"/>
                  <a:ea typeface="Open Sans" charset="0"/>
                  <a:cs typeface="Open Sans" charset="0"/>
                </a:rPr>
                <a:t> 09:30</a:t>
              </a:r>
            </a:p>
          </p:txBody>
        </p:sp>
        <p:sp>
          <p:nvSpPr>
            <p:cNvPr id="18" name="TextBox 17"/>
            <p:cNvSpPr txBox="1"/>
            <p:nvPr/>
          </p:nvSpPr>
          <p:spPr>
            <a:xfrm>
              <a:off x="6096000" y="2220604"/>
              <a:ext cx="729367" cy="215444"/>
            </a:xfrm>
            <a:prstGeom prst="rect">
              <a:avLst/>
            </a:prstGeom>
            <a:noFill/>
          </p:spPr>
          <p:txBody>
            <a:bodyPr wrap="none" lIns="0" tIns="0" rIns="0" bIns="0" rtlCol="0">
              <a:spAutoFit/>
            </a:bodyPr>
            <a:lstStyle/>
            <a:p>
              <a:r>
                <a:rPr lang="en-US" sz="1400" dirty="0">
                  <a:latin typeface="RBC Display" panose="02000000000000000000" pitchFamily="2" charset="77"/>
                </a:rPr>
                <a:t>About Us</a:t>
              </a:r>
            </a:p>
          </p:txBody>
        </p:sp>
        <p:sp>
          <p:nvSpPr>
            <p:cNvPr id="19" name="Text Placeholder 4"/>
            <p:cNvSpPr txBox="1">
              <a:spLocks/>
            </p:cNvSpPr>
            <p:nvPr/>
          </p:nvSpPr>
          <p:spPr>
            <a:xfrm>
              <a:off x="6095999" y="2501251"/>
              <a:ext cx="4897381" cy="21424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a:buNone/>
                <a:defRPr sz="1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alpha val="70000"/>
                    </a:schemeClr>
                  </a:solidFill>
                  <a:latin typeface="RBC Text" panose="02000000000000000000" pitchFamily="2" charset="77"/>
                </a:rPr>
                <a:t>Meeting Room C</a:t>
              </a:r>
            </a:p>
          </p:txBody>
        </p:sp>
      </p:grpSp>
      <p:grpSp>
        <p:nvGrpSpPr>
          <p:cNvPr id="20" name="Group 19"/>
          <p:cNvGrpSpPr/>
          <p:nvPr/>
        </p:nvGrpSpPr>
        <p:grpSpPr>
          <a:xfrm>
            <a:off x="5732508" y="5887614"/>
            <a:ext cx="6346333" cy="494890"/>
            <a:chOff x="4647047" y="2220604"/>
            <a:chExt cx="6346333" cy="494890"/>
          </a:xfrm>
        </p:grpSpPr>
        <p:sp>
          <p:nvSpPr>
            <p:cNvPr id="21" name="Title 3"/>
            <p:cNvSpPr txBox="1">
              <a:spLocks/>
            </p:cNvSpPr>
            <p:nvPr/>
          </p:nvSpPr>
          <p:spPr>
            <a:xfrm>
              <a:off x="4647047" y="2280727"/>
              <a:ext cx="1079500" cy="372196"/>
            </a:xfrm>
            <a:prstGeom prst="rect">
              <a:avLst/>
            </a:prstGeom>
          </p:spPr>
          <p:txBody>
            <a:bodyPr vert="horz" lIns="0" tIns="0" rIns="0" bIns="0" rtlCol="0" anchor="t">
              <a:normAutofit/>
            </a:bodyPr>
            <a:lstStyle>
              <a:lvl1pPr algn="l" defTabSz="914400" rtl="0" eaLnBrk="1" latinLnBrk="0" hangingPunct="1">
                <a:lnSpc>
                  <a:spcPct val="110000"/>
                </a:lnSpc>
                <a:spcBef>
                  <a:spcPct val="0"/>
                </a:spcBef>
                <a:buNone/>
                <a:defRPr sz="2400" kern="1200">
                  <a:solidFill>
                    <a:schemeClr val="tx1"/>
                  </a:solidFill>
                  <a:latin typeface="+mj-lt"/>
                  <a:ea typeface="+mj-ea"/>
                  <a:cs typeface="+mj-cs"/>
                </a:defRPr>
              </a:lvl1pPr>
            </a:lstStyle>
            <a:p>
              <a:r>
                <a:rPr lang="en-US" sz="1200" b="1" dirty="0">
                  <a:latin typeface="RBC Display" panose="02000000000000000000" pitchFamily="2" charset="77"/>
                  <a:ea typeface="Open Sans" charset="0"/>
                  <a:cs typeface="Open Sans" charset="0"/>
                </a:rPr>
                <a:t>09:10 </a:t>
              </a:r>
              <a:r>
                <a:rPr lang="mr-IN" sz="1200" b="1" dirty="0">
                  <a:latin typeface="RBC Display" panose="02000000000000000000" pitchFamily="2" charset="77"/>
                  <a:ea typeface="Open Sans" charset="0"/>
                  <a:cs typeface="Open Sans" charset="0"/>
                </a:rPr>
                <a:t>–</a:t>
              </a:r>
              <a:r>
                <a:rPr lang="en-US" sz="1200" b="1" dirty="0">
                  <a:latin typeface="RBC Display" panose="02000000000000000000" pitchFamily="2" charset="77"/>
                  <a:ea typeface="Open Sans" charset="0"/>
                  <a:cs typeface="Open Sans" charset="0"/>
                </a:rPr>
                <a:t> 09:30</a:t>
              </a:r>
            </a:p>
          </p:txBody>
        </p:sp>
        <p:sp>
          <p:nvSpPr>
            <p:cNvPr id="22" name="TextBox 21"/>
            <p:cNvSpPr txBox="1"/>
            <p:nvPr/>
          </p:nvSpPr>
          <p:spPr>
            <a:xfrm>
              <a:off x="6096000" y="2220604"/>
              <a:ext cx="690382" cy="215444"/>
            </a:xfrm>
            <a:prstGeom prst="rect">
              <a:avLst/>
            </a:prstGeom>
            <a:noFill/>
          </p:spPr>
          <p:txBody>
            <a:bodyPr wrap="none" lIns="0" tIns="0" rIns="0" bIns="0" rtlCol="0">
              <a:spAutoFit/>
            </a:bodyPr>
            <a:lstStyle/>
            <a:p>
              <a:r>
                <a:rPr lang="en-US" sz="1400" dirty="0">
                  <a:latin typeface="RBC Display" panose="02000000000000000000" pitchFamily="2" charset="77"/>
                </a:rPr>
                <a:t>Services</a:t>
              </a:r>
            </a:p>
          </p:txBody>
        </p:sp>
        <p:sp>
          <p:nvSpPr>
            <p:cNvPr id="23" name="Text Placeholder 4"/>
            <p:cNvSpPr txBox="1">
              <a:spLocks/>
            </p:cNvSpPr>
            <p:nvPr/>
          </p:nvSpPr>
          <p:spPr>
            <a:xfrm>
              <a:off x="6095999" y="2501251"/>
              <a:ext cx="4897381" cy="21424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a:buNone/>
                <a:defRPr sz="1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alpha val="70000"/>
                    </a:schemeClr>
                  </a:solidFill>
                  <a:latin typeface="RBC Text" panose="02000000000000000000" pitchFamily="2" charset="77"/>
                </a:rPr>
                <a:t>Event big room</a:t>
              </a:r>
            </a:p>
          </p:txBody>
        </p:sp>
      </p:grpSp>
      <p:sp>
        <p:nvSpPr>
          <p:cNvPr id="24" name="TextBox 23"/>
          <p:cNvSpPr txBox="1"/>
          <p:nvPr/>
        </p:nvSpPr>
        <p:spPr>
          <a:xfrm>
            <a:off x="7181461" y="1761862"/>
            <a:ext cx="1498808" cy="369332"/>
          </a:xfrm>
          <a:prstGeom prst="rect">
            <a:avLst/>
          </a:prstGeom>
          <a:noFill/>
        </p:spPr>
        <p:txBody>
          <a:bodyPr wrap="none" lIns="0" tIns="0" rIns="0" bIns="0" rtlCol="0">
            <a:spAutoFit/>
          </a:bodyPr>
          <a:lstStyle/>
          <a:p>
            <a:r>
              <a:rPr lang="en-US" sz="2400" dirty="0">
                <a:latin typeface="RBC Display" panose="02000000000000000000" pitchFamily="2" charset="77"/>
              </a:rPr>
              <a:t>January 23</a:t>
            </a:r>
          </a:p>
        </p:txBody>
      </p:sp>
      <p:cxnSp>
        <p:nvCxnSpPr>
          <p:cNvPr id="27" name="Straight Connector 26"/>
          <p:cNvCxnSpPr/>
          <p:nvPr/>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909268" y="6295673"/>
            <a:ext cx="279465" cy="57600"/>
            <a:chOff x="909268" y="6459095"/>
            <a:chExt cx="279465" cy="57600"/>
          </a:xfrm>
        </p:grpSpPr>
        <p:sp>
          <p:nvSpPr>
            <p:cNvPr id="32" name="Oval 31"/>
            <p:cNvSpPr/>
            <p:nvPr/>
          </p:nvSpPr>
          <p:spPr>
            <a:xfrm>
              <a:off x="909268" y="6459095"/>
              <a:ext cx="57600" cy="57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33" name="Oval 32"/>
            <p:cNvSpPr/>
            <p:nvPr/>
          </p:nvSpPr>
          <p:spPr>
            <a:xfrm>
              <a:off x="1020201"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34" name="Oval 33"/>
            <p:cNvSpPr/>
            <p:nvPr/>
          </p:nvSpPr>
          <p:spPr>
            <a:xfrm>
              <a:off x="1131133"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grpSp>
    </p:spTree>
    <p:extLst>
      <p:ext uri="{BB962C8B-B14F-4D97-AF65-F5344CB8AC3E}">
        <p14:creationId xmlns:p14="http://schemas.microsoft.com/office/powerpoint/2010/main" val="7912010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verview</a:t>
            </a:r>
          </a:p>
        </p:txBody>
      </p:sp>
      <p:sp>
        <p:nvSpPr>
          <p:cNvPr id="2" name="Picture Placeholder 1"/>
          <p:cNvSpPr>
            <a:spLocks noGrp="1"/>
          </p:cNvSpPr>
          <p:nvPr>
            <p:ph type="pic" sz="quarter" idx="12"/>
          </p:nvPr>
        </p:nvSpPr>
        <p:spPr/>
        <p:txBody>
          <a:bodyPr/>
          <a:lstStyle/>
          <a:p>
            <a:endParaRPr lang="en-CA"/>
          </a:p>
        </p:txBody>
      </p:sp>
      <p:cxnSp>
        <p:nvCxnSpPr>
          <p:cNvPr id="27" name="Straight Connector 26"/>
          <p:cNvCxnSpPr/>
          <p:nvPr/>
        </p:nvCxnSpPr>
        <p:spPr>
          <a:xfrm>
            <a:off x="6990773" y="-5361"/>
            <a:ext cx="0" cy="5325037"/>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181461" y="1761862"/>
            <a:ext cx="1498808" cy="369332"/>
          </a:xfrm>
          <a:prstGeom prst="rect">
            <a:avLst/>
          </a:prstGeom>
          <a:noFill/>
        </p:spPr>
        <p:txBody>
          <a:bodyPr wrap="none" lIns="0" tIns="0" rIns="0" bIns="0" rtlCol="0">
            <a:spAutoFit/>
          </a:bodyPr>
          <a:lstStyle/>
          <a:p>
            <a:r>
              <a:rPr lang="en-US" sz="2400" dirty="0">
                <a:latin typeface="RBC Display" panose="02000000000000000000" pitchFamily="2" charset="77"/>
              </a:rPr>
              <a:t>January 23</a:t>
            </a:r>
          </a:p>
        </p:txBody>
      </p:sp>
      <p:grpSp>
        <p:nvGrpSpPr>
          <p:cNvPr id="23" name="Group 22"/>
          <p:cNvGrpSpPr/>
          <p:nvPr/>
        </p:nvGrpSpPr>
        <p:grpSpPr>
          <a:xfrm>
            <a:off x="5732508" y="2699132"/>
            <a:ext cx="6346333" cy="494890"/>
            <a:chOff x="4647047" y="2220604"/>
            <a:chExt cx="6346333" cy="494890"/>
          </a:xfrm>
        </p:grpSpPr>
        <p:sp>
          <p:nvSpPr>
            <p:cNvPr id="26" name="Title 3"/>
            <p:cNvSpPr txBox="1">
              <a:spLocks/>
            </p:cNvSpPr>
            <p:nvPr/>
          </p:nvSpPr>
          <p:spPr>
            <a:xfrm>
              <a:off x="4647047" y="2280727"/>
              <a:ext cx="1079500" cy="372196"/>
            </a:xfrm>
            <a:prstGeom prst="rect">
              <a:avLst/>
            </a:prstGeom>
          </p:spPr>
          <p:txBody>
            <a:bodyPr vert="horz" lIns="0" tIns="0" rIns="0" bIns="0" rtlCol="0" anchor="t">
              <a:normAutofit/>
            </a:bodyPr>
            <a:lstStyle>
              <a:lvl1pPr algn="l" defTabSz="914400" rtl="0" eaLnBrk="1" latinLnBrk="0" hangingPunct="1">
                <a:lnSpc>
                  <a:spcPct val="110000"/>
                </a:lnSpc>
                <a:spcBef>
                  <a:spcPct val="0"/>
                </a:spcBef>
                <a:buNone/>
                <a:defRPr sz="2400" kern="1200">
                  <a:solidFill>
                    <a:schemeClr val="tx1"/>
                  </a:solidFill>
                  <a:latin typeface="+mj-lt"/>
                  <a:ea typeface="+mj-ea"/>
                  <a:cs typeface="+mj-cs"/>
                </a:defRPr>
              </a:lvl1pPr>
            </a:lstStyle>
            <a:p>
              <a:r>
                <a:rPr lang="en-US" sz="1200" b="1" dirty="0">
                  <a:latin typeface="RBC Display" panose="02000000000000000000" pitchFamily="2" charset="77"/>
                  <a:ea typeface="Open Sans" charset="0"/>
                  <a:cs typeface="Open Sans" charset="0"/>
                </a:rPr>
                <a:t>09:10 </a:t>
              </a:r>
              <a:r>
                <a:rPr lang="mr-IN" sz="1200" b="1" dirty="0">
                  <a:latin typeface="RBC Display" panose="02000000000000000000" pitchFamily="2" charset="77"/>
                  <a:ea typeface="Open Sans" charset="0"/>
                  <a:cs typeface="Open Sans" charset="0"/>
                </a:rPr>
                <a:t>–</a:t>
              </a:r>
              <a:r>
                <a:rPr lang="en-US" sz="1200" b="1" dirty="0">
                  <a:latin typeface="RBC Display" panose="02000000000000000000" pitchFamily="2" charset="77"/>
                  <a:ea typeface="Open Sans" charset="0"/>
                  <a:cs typeface="Open Sans" charset="0"/>
                </a:rPr>
                <a:t> 09:30</a:t>
              </a:r>
            </a:p>
          </p:txBody>
        </p:sp>
        <p:sp>
          <p:nvSpPr>
            <p:cNvPr id="28" name="TextBox 27"/>
            <p:cNvSpPr txBox="1"/>
            <p:nvPr/>
          </p:nvSpPr>
          <p:spPr>
            <a:xfrm>
              <a:off x="6096000" y="2220604"/>
              <a:ext cx="1632563" cy="215444"/>
            </a:xfrm>
            <a:prstGeom prst="rect">
              <a:avLst/>
            </a:prstGeom>
            <a:noFill/>
          </p:spPr>
          <p:txBody>
            <a:bodyPr wrap="none" lIns="0" tIns="0" rIns="0" bIns="0" rtlCol="0">
              <a:spAutoFit/>
            </a:bodyPr>
            <a:lstStyle/>
            <a:p>
              <a:r>
                <a:rPr lang="en-US" sz="1400" dirty="0" err="1">
                  <a:latin typeface="RBC Display" panose="02000000000000000000" pitchFamily="2" charset="77"/>
                </a:rPr>
                <a:t>Dealy</a:t>
              </a:r>
              <a:r>
                <a:rPr lang="en-US" sz="1400" dirty="0">
                  <a:latin typeface="RBC Display" panose="02000000000000000000" pitchFamily="2" charset="77"/>
                </a:rPr>
                <a:t> team </a:t>
              </a:r>
              <a:r>
                <a:rPr lang="en-US" sz="1400" dirty="0" err="1">
                  <a:latin typeface="RBC Display" panose="02000000000000000000" pitchFamily="2" charset="77"/>
                </a:rPr>
                <a:t>statd</a:t>
              </a:r>
              <a:r>
                <a:rPr lang="en-US" sz="1400" dirty="0">
                  <a:latin typeface="RBC Display" panose="02000000000000000000" pitchFamily="2" charset="77"/>
                </a:rPr>
                <a:t> up</a:t>
              </a:r>
            </a:p>
          </p:txBody>
        </p:sp>
        <p:sp>
          <p:nvSpPr>
            <p:cNvPr id="29" name="Text Placeholder 4"/>
            <p:cNvSpPr txBox="1">
              <a:spLocks/>
            </p:cNvSpPr>
            <p:nvPr/>
          </p:nvSpPr>
          <p:spPr>
            <a:xfrm>
              <a:off x="6095999" y="2501251"/>
              <a:ext cx="4897381" cy="21424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a:buNone/>
                <a:defRPr sz="1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alpha val="70000"/>
                    </a:schemeClr>
                  </a:solidFill>
                  <a:latin typeface="RBC Text" panose="02000000000000000000" pitchFamily="2" charset="77"/>
                </a:rPr>
                <a:t>Meeting Room A</a:t>
              </a:r>
            </a:p>
          </p:txBody>
        </p:sp>
      </p:grpSp>
      <p:grpSp>
        <p:nvGrpSpPr>
          <p:cNvPr id="30" name="Group 29"/>
          <p:cNvGrpSpPr/>
          <p:nvPr/>
        </p:nvGrpSpPr>
        <p:grpSpPr>
          <a:xfrm>
            <a:off x="5732508" y="3761959"/>
            <a:ext cx="6346333" cy="494890"/>
            <a:chOff x="4647047" y="2220604"/>
            <a:chExt cx="6346333" cy="494890"/>
          </a:xfrm>
        </p:grpSpPr>
        <p:sp>
          <p:nvSpPr>
            <p:cNvPr id="31" name="Title 3"/>
            <p:cNvSpPr txBox="1">
              <a:spLocks/>
            </p:cNvSpPr>
            <p:nvPr/>
          </p:nvSpPr>
          <p:spPr>
            <a:xfrm>
              <a:off x="4647047" y="2280727"/>
              <a:ext cx="1079500" cy="372196"/>
            </a:xfrm>
            <a:prstGeom prst="rect">
              <a:avLst/>
            </a:prstGeom>
          </p:spPr>
          <p:txBody>
            <a:bodyPr vert="horz" lIns="0" tIns="0" rIns="0" bIns="0" rtlCol="0" anchor="t">
              <a:normAutofit/>
            </a:bodyPr>
            <a:lstStyle>
              <a:lvl1pPr algn="l" defTabSz="914400" rtl="0" eaLnBrk="1" latinLnBrk="0" hangingPunct="1">
                <a:lnSpc>
                  <a:spcPct val="110000"/>
                </a:lnSpc>
                <a:spcBef>
                  <a:spcPct val="0"/>
                </a:spcBef>
                <a:buNone/>
                <a:defRPr sz="2400" kern="1200">
                  <a:solidFill>
                    <a:schemeClr val="tx1"/>
                  </a:solidFill>
                  <a:latin typeface="+mj-lt"/>
                  <a:ea typeface="+mj-ea"/>
                  <a:cs typeface="+mj-cs"/>
                </a:defRPr>
              </a:lvl1pPr>
            </a:lstStyle>
            <a:p>
              <a:r>
                <a:rPr lang="en-US" sz="1200" b="1" dirty="0">
                  <a:latin typeface="RBC Display" panose="02000000000000000000" pitchFamily="2" charset="77"/>
                  <a:ea typeface="Open Sans" charset="0"/>
                  <a:cs typeface="Open Sans" charset="0"/>
                </a:rPr>
                <a:t>09:10 </a:t>
              </a:r>
              <a:r>
                <a:rPr lang="mr-IN" sz="1200" b="1" dirty="0">
                  <a:latin typeface="RBC Display" panose="02000000000000000000" pitchFamily="2" charset="77"/>
                  <a:ea typeface="Open Sans" charset="0"/>
                  <a:cs typeface="Open Sans" charset="0"/>
                </a:rPr>
                <a:t>–</a:t>
              </a:r>
              <a:r>
                <a:rPr lang="en-US" sz="1200" b="1" dirty="0">
                  <a:latin typeface="RBC Display" panose="02000000000000000000" pitchFamily="2" charset="77"/>
                  <a:ea typeface="Open Sans" charset="0"/>
                  <a:cs typeface="Open Sans" charset="0"/>
                </a:rPr>
                <a:t> 09:30</a:t>
              </a:r>
            </a:p>
          </p:txBody>
        </p:sp>
        <p:sp>
          <p:nvSpPr>
            <p:cNvPr id="32" name="TextBox 31"/>
            <p:cNvSpPr txBox="1"/>
            <p:nvPr/>
          </p:nvSpPr>
          <p:spPr>
            <a:xfrm>
              <a:off x="6096000" y="2220604"/>
              <a:ext cx="1548116" cy="215444"/>
            </a:xfrm>
            <a:prstGeom prst="rect">
              <a:avLst/>
            </a:prstGeom>
            <a:noFill/>
          </p:spPr>
          <p:txBody>
            <a:bodyPr wrap="none" lIns="0" tIns="0" rIns="0" bIns="0" rtlCol="0">
              <a:spAutoFit/>
            </a:bodyPr>
            <a:lstStyle/>
            <a:p>
              <a:r>
                <a:rPr lang="en-US" sz="1400" dirty="0">
                  <a:latin typeface="RBC Display" panose="02000000000000000000" pitchFamily="2" charset="77"/>
                </a:rPr>
                <a:t>Welcome Message</a:t>
              </a:r>
            </a:p>
          </p:txBody>
        </p:sp>
        <p:sp>
          <p:nvSpPr>
            <p:cNvPr id="33" name="Text Placeholder 4"/>
            <p:cNvSpPr txBox="1">
              <a:spLocks/>
            </p:cNvSpPr>
            <p:nvPr/>
          </p:nvSpPr>
          <p:spPr>
            <a:xfrm>
              <a:off x="6095999" y="2501251"/>
              <a:ext cx="4897381" cy="21424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a:buNone/>
                <a:defRPr sz="1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alpha val="70000"/>
                    </a:schemeClr>
                  </a:solidFill>
                  <a:latin typeface="RBC Text" panose="02000000000000000000" pitchFamily="2" charset="77"/>
                </a:rPr>
                <a:t>Meeting Room B</a:t>
              </a:r>
            </a:p>
          </p:txBody>
        </p:sp>
      </p:grpSp>
      <p:grpSp>
        <p:nvGrpSpPr>
          <p:cNvPr id="34" name="Group 33"/>
          <p:cNvGrpSpPr/>
          <p:nvPr/>
        </p:nvGrpSpPr>
        <p:grpSpPr>
          <a:xfrm>
            <a:off x="5732508" y="4824786"/>
            <a:ext cx="6346333" cy="494890"/>
            <a:chOff x="4647047" y="2220604"/>
            <a:chExt cx="6346333" cy="494890"/>
          </a:xfrm>
        </p:grpSpPr>
        <p:sp>
          <p:nvSpPr>
            <p:cNvPr id="35" name="Title 3"/>
            <p:cNvSpPr txBox="1">
              <a:spLocks/>
            </p:cNvSpPr>
            <p:nvPr/>
          </p:nvSpPr>
          <p:spPr>
            <a:xfrm>
              <a:off x="4647047" y="2280727"/>
              <a:ext cx="1079500" cy="372196"/>
            </a:xfrm>
            <a:prstGeom prst="rect">
              <a:avLst/>
            </a:prstGeom>
          </p:spPr>
          <p:txBody>
            <a:bodyPr vert="horz" lIns="0" tIns="0" rIns="0" bIns="0" rtlCol="0" anchor="t">
              <a:normAutofit/>
            </a:bodyPr>
            <a:lstStyle>
              <a:lvl1pPr algn="l" defTabSz="914400" rtl="0" eaLnBrk="1" latinLnBrk="0" hangingPunct="1">
                <a:lnSpc>
                  <a:spcPct val="110000"/>
                </a:lnSpc>
                <a:spcBef>
                  <a:spcPct val="0"/>
                </a:spcBef>
                <a:buNone/>
                <a:defRPr sz="2400" kern="1200">
                  <a:solidFill>
                    <a:schemeClr val="tx1"/>
                  </a:solidFill>
                  <a:latin typeface="+mj-lt"/>
                  <a:ea typeface="+mj-ea"/>
                  <a:cs typeface="+mj-cs"/>
                </a:defRPr>
              </a:lvl1pPr>
            </a:lstStyle>
            <a:p>
              <a:r>
                <a:rPr lang="en-US" sz="1200" b="1" dirty="0">
                  <a:latin typeface="RBC Display" panose="02000000000000000000" pitchFamily="2" charset="77"/>
                  <a:ea typeface="Open Sans" charset="0"/>
                  <a:cs typeface="Open Sans" charset="0"/>
                </a:rPr>
                <a:t>09:10 </a:t>
              </a:r>
              <a:r>
                <a:rPr lang="mr-IN" sz="1200" b="1" dirty="0">
                  <a:latin typeface="RBC Display" panose="02000000000000000000" pitchFamily="2" charset="77"/>
                  <a:ea typeface="Open Sans" charset="0"/>
                  <a:cs typeface="Open Sans" charset="0"/>
                </a:rPr>
                <a:t>–</a:t>
              </a:r>
              <a:r>
                <a:rPr lang="en-US" sz="1200" b="1" dirty="0">
                  <a:latin typeface="RBC Display" panose="02000000000000000000" pitchFamily="2" charset="77"/>
                  <a:ea typeface="Open Sans" charset="0"/>
                  <a:cs typeface="Open Sans" charset="0"/>
                </a:rPr>
                <a:t> 09:30</a:t>
              </a:r>
            </a:p>
          </p:txBody>
        </p:sp>
        <p:sp>
          <p:nvSpPr>
            <p:cNvPr id="36" name="TextBox 35"/>
            <p:cNvSpPr txBox="1"/>
            <p:nvPr/>
          </p:nvSpPr>
          <p:spPr>
            <a:xfrm>
              <a:off x="6096000" y="2220604"/>
              <a:ext cx="729367" cy="215444"/>
            </a:xfrm>
            <a:prstGeom prst="rect">
              <a:avLst/>
            </a:prstGeom>
            <a:noFill/>
          </p:spPr>
          <p:txBody>
            <a:bodyPr wrap="none" lIns="0" tIns="0" rIns="0" bIns="0" rtlCol="0">
              <a:spAutoFit/>
            </a:bodyPr>
            <a:lstStyle/>
            <a:p>
              <a:r>
                <a:rPr lang="en-US" sz="1400" dirty="0">
                  <a:latin typeface="RBC Display" panose="02000000000000000000" pitchFamily="2" charset="77"/>
                </a:rPr>
                <a:t>About Us</a:t>
              </a:r>
            </a:p>
          </p:txBody>
        </p:sp>
        <p:sp>
          <p:nvSpPr>
            <p:cNvPr id="37" name="Text Placeholder 4"/>
            <p:cNvSpPr txBox="1">
              <a:spLocks/>
            </p:cNvSpPr>
            <p:nvPr/>
          </p:nvSpPr>
          <p:spPr>
            <a:xfrm>
              <a:off x="6095999" y="2501251"/>
              <a:ext cx="4897381" cy="21424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a:buNone/>
                <a:defRPr sz="1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alpha val="70000"/>
                    </a:schemeClr>
                  </a:solidFill>
                  <a:latin typeface="RBC Text" panose="02000000000000000000" pitchFamily="2" charset="77"/>
                </a:rPr>
                <a:t>Meeting Room C</a:t>
              </a:r>
            </a:p>
          </p:txBody>
        </p:sp>
      </p:grpSp>
      <p:grpSp>
        <p:nvGrpSpPr>
          <p:cNvPr id="40" name="Group 39"/>
          <p:cNvGrpSpPr/>
          <p:nvPr/>
        </p:nvGrpSpPr>
        <p:grpSpPr>
          <a:xfrm>
            <a:off x="909268" y="6295673"/>
            <a:ext cx="279465" cy="57600"/>
            <a:chOff x="909268" y="6459095"/>
            <a:chExt cx="279465" cy="57600"/>
          </a:xfrm>
        </p:grpSpPr>
        <p:sp>
          <p:nvSpPr>
            <p:cNvPr id="41" name="Oval 40"/>
            <p:cNvSpPr/>
            <p:nvPr/>
          </p:nvSpPr>
          <p:spPr>
            <a:xfrm>
              <a:off x="909268" y="6459095"/>
              <a:ext cx="57600" cy="57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42" name="Oval 41"/>
            <p:cNvSpPr/>
            <p:nvPr/>
          </p:nvSpPr>
          <p:spPr>
            <a:xfrm>
              <a:off x="1020201"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43" name="Oval 42"/>
            <p:cNvSpPr/>
            <p:nvPr/>
          </p:nvSpPr>
          <p:spPr>
            <a:xfrm>
              <a:off x="1131133"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grpSp>
    </p:spTree>
    <p:extLst>
      <p:ext uri="{BB962C8B-B14F-4D97-AF65-F5344CB8AC3E}">
        <p14:creationId xmlns:p14="http://schemas.microsoft.com/office/powerpoint/2010/main" val="1674472135"/>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Vision</a:t>
            </a:r>
          </a:p>
        </p:txBody>
      </p:sp>
      <p:sp>
        <p:nvSpPr>
          <p:cNvPr id="3" name="Picture Placeholder 2"/>
          <p:cNvSpPr>
            <a:spLocks noGrp="1"/>
          </p:cNvSpPr>
          <p:nvPr>
            <p:ph type="pic" sz="quarter" idx="12"/>
          </p:nvPr>
        </p:nvSpPr>
        <p:spPr/>
        <p:txBody>
          <a:bodyPr/>
          <a:lstStyle/>
          <a:p>
            <a:endParaRPr lang="en-CA"/>
          </a:p>
        </p:txBody>
      </p:sp>
      <p:sp>
        <p:nvSpPr>
          <p:cNvPr id="4" name="Picture Placeholder 3"/>
          <p:cNvSpPr>
            <a:spLocks noGrp="1"/>
          </p:cNvSpPr>
          <p:nvPr>
            <p:ph type="pic" sz="quarter" idx="13"/>
          </p:nvPr>
        </p:nvSpPr>
        <p:spPr/>
        <p:txBody>
          <a:bodyPr/>
          <a:lstStyle/>
          <a:p>
            <a:endParaRPr lang="en-CA"/>
          </a:p>
        </p:txBody>
      </p:sp>
      <p:sp>
        <p:nvSpPr>
          <p:cNvPr id="8" name="Rectangle 7"/>
          <p:cNvSpPr/>
          <p:nvPr/>
        </p:nvSpPr>
        <p:spPr>
          <a:xfrm>
            <a:off x="3498571" y="2850536"/>
            <a:ext cx="1842774" cy="1825161"/>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grpSp>
        <p:nvGrpSpPr>
          <p:cNvPr id="9" name="Group 8"/>
          <p:cNvGrpSpPr/>
          <p:nvPr/>
        </p:nvGrpSpPr>
        <p:grpSpPr>
          <a:xfrm>
            <a:off x="909268" y="6295673"/>
            <a:ext cx="279465" cy="57600"/>
            <a:chOff x="909268" y="6459095"/>
            <a:chExt cx="279465" cy="57600"/>
          </a:xfrm>
        </p:grpSpPr>
        <p:sp>
          <p:nvSpPr>
            <p:cNvPr id="10" name="Oval 9"/>
            <p:cNvSpPr/>
            <p:nvPr/>
          </p:nvSpPr>
          <p:spPr>
            <a:xfrm>
              <a:off x="909268" y="6459095"/>
              <a:ext cx="57600" cy="57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1" name="Oval 10"/>
            <p:cNvSpPr/>
            <p:nvPr/>
          </p:nvSpPr>
          <p:spPr>
            <a:xfrm>
              <a:off x="1020201"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2" name="Oval 11"/>
            <p:cNvSpPr/>
            <p:nvPr/>
          </p:nvSpPr>
          <p:spPr>
            <a:xfrm>
              <a:off x="1131133"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grpSp>
      <p:sp>
        <p:nvSpPr>
          <p:cNvPr id="13" name="TextBox 12"/>
          <p:cNvSpPr txBox="1"/>
          <p:nvPr/>
        </p:nvSpPr>
        <p:spPr>
          <a:xfrm>
            <a:off x="5825616" y="5042546"/>
            <a:ext cx="2307042" cy="461665"/>
          </a:xfrm>
          <a:prstGeom prst="rect">
            <a:avLst/>
          </a:prstGeom>
          <a:noFill/>
        </p:spPr>
        <p:txBody>
          <a:bodyPr wrap="none" lIns="0" rIns="0" rtlCol="0">
            <a:spAutoFit/>
          </a:bodyPr>
          <a:lstStyle/>
          <a:p>
            <a:r>
              <a:rPr lang="en-US" sz="1200" dirty="0">
                <a:solidFill>
                  <a:srgbClr val="FFFFFF"/>
                </a:solidFill>
                <a:latin typeface="RBC Display" panose="02000000000000000000" pitchFamily="2" charset="77"/>
              </a:rPr>
              <a:t>A red flare silhouetted the jagged</a:t>
            </a:r>
          </a:p>
          <a:p>
            <a:r>
              <a:rPr lang="en-US" sz="1200" dirty="0">
                <a:solidFill>
                  <a:srgbClr val="FFFFFF"/>
                </a:solidFill>
                <a:latin typeface="RBC Display" panose="02000000000000000000" pitchFamily="2" charset="77"/>
              </a:rPr>
              <a:t>Edge of a wing.</a:t>
            </a:r>
          </a:p>
        </p:txBody>
      </p:sp>
      <p:sp>
        <p:nvSpPr>
          <p:cNvPr id="14" name="TextBox 13"/>
          <p:cNvSpPr txBox="1"/>
          <p:nvPr/>
        </p:nvSpPr>
        <p:spPr>
          <a:xfrm>
            <a:off x="5825616" y="5633538"/>
            <a:ext cx="5830230" cy="535531"/>
          </a:xfrm>
          <a:prstGeom prst="rect">
            <a:avLst/>
          </a:prstGeom>
          <a:noFill/>
        </p:spPr>
        <p:txBody>
          <a:bodyPr wrap="square" lIns="0" rIns="0" rtlCol="0">
            <a:spAutoFit/>
          </a:bodyPr>
          <a:lstStyle/>
          <a:p>
            <a:pPr>
              <a:lnSpc>
                <a:spcPct val="120000"/>
              </a:lnSpc>
            </a:pPr>
            <a:r>
              <a:rPr lang="en-US" sz="1200" dirty="0">
                <a:solidFill>
                  <a:srgbClr val="FFFFFF">
                    <a:alpha val="70000"/>
                  </a:srgbClr>
                </a:solidFill>
                <a:latin typeface="RBC Text" panose="02000000000000000000" pitchFamily="2" charset="77"/>
              </a:rPr>
              <a:t>A peep at some distant orb has power to raise and purify our thoughts like a strain of sacred music, or a noble picture, or a passage</a:t>
            </a:r>
          </a:p>
        </p:txBody>
      </p:sp>
      <p:sp>
        <p:nvSpPr>
          <p:cNvPr id="15" name="TextBox 14"/>
          <p:cNvSpPr txBox="1"/>
          <p:nvPr/>
        </p:nvSpPr>
        <p:spPr>
          <a:xfrm>
            <a:off x="5825616" y="1574779"/>
            <a:ext cx="2370933" cy="2071977"/>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Apparently we had reached a great height in the atmosphere, for the sky was a dead black, and the stars had ceased to twinkle. </a:t>
            </a:r>
          </a:p>
        </p:txBody>
      </p:sp>
      <p:sp>
        <p:nvSpPr>
          <p:cNvPr id="16" name="TextBox 15"/>
          <p:cNvSpPr txBox="1"/>
          <p:nvPr/>
        </p:nvSpPr>
        <p:spPr>
          <a:xfrm>
            <a:off x="8833220" y="1574779"/>
            <a:ext cx="2370933" cy="2299091"/>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By the same illusion was dished out, and the car seemed to float in the middle of an immense dark sphere, whose upper half was strewn with silver. By the same illusion was dished out, and the car seemed to float in the middle of an immense dark sphere, whose upper half was strewn with silver.</a:t>
            </a:r>
          </a:p>
        </p:txBody>
      </p:sp>
      <p:sp>
        <p:nvSpPr>
          <p:cNvPr id="17" name="Text Placeholder 6">
            <a:extLst>
              <a:ext uri="{FF2B5EF4-FFF2-40B4-BE49-F238E27FC236}">
                <a16:creationId xmlns:a16="http://schemas.microsoft.com/office/drawing/2014/main" id="{755CE05C-5032-024B-AB4E-477D4BD6AEE1}"/>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7484864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Line</a:t>
            </a:r>
          </a:p>
        </p:txBody>
      </p:sp>
      <p:sp>
        <p:nvSpPr>
          <p:cNvPr id="3" name="Picture Placeholder 2"/>
          <p:cNvSpPr>
            <a:spLocks noGrp="1"/>
          </p:cNvSpPr>
          <p:nvPr>
            <p:ph type="pic" sz="quarter" idx="12"/>
          </p:nvPr>
        </p:nvSpPr>
        <p:spPr/>
        <p:txBody>
          <a:bodyPr/>
          <a:lstStyle/>
          <a:p>
            <a:endParaRPr lang="en-CA"/>
          </a:p>
        </p:txBody>
      </p:sp>
      <p:sp>
        <p:nvSpPr>
          <p:cNvPr id="4" name="Picture Placeholder 3"/>
          <p:cNvSpPr>
            <a:spLocks noGrp="1"/>
          </p:cNvSpPr>
          <p:nvPr>
            <p:ph type="pic" sz="quarter" idx="13"/>
          </p:nvPr>
        </p:nvSpPr>
        <p:spPr/>
        <p:txBody>
          <a:bodyPr/>
          <a:lstStyle/>
          <a:p>
            <a:endParaRPr lang="en-CA"/>
          </a:p>
        </p:txBody>
      </p:sp>
      <p:sp>
        <p:nvSpPr>
          <p:cNvPr id="5" name="Picture Placeholder 4"/>
          <p:cNvSpPr>
            <a:spLocks noGrp="1"/>
          </p:cNvSpPr>
          <p:nvPr>
            <p:ph type="pic" sz="quarter" idx="14"/>
          </p:nvPr>
        </p:nvSpPr>
        <p:spPr/>
        <p:txBody>
          <a:bodyPr/>
          <a:lstStyle/>
          <a:p>
            <a:endParaRPr lang="en-CA"/>
          </a:p>
        </p:txBody>
      </p:sp>
      <p:grpSp>
        <p:nvGrpSpPr>
          <p:cNvPr id="23" name="Group 22"/>
          <p:cNvGrpSpPr/>
          <p:nvPr/>
        </p:nvGrpSpPr>
        <p:grpSpPr>
          <a:xfrm>
            <a:off x="5563532" y="3701667"/>
            <a:ext cx="2926800" cy="2743200"/>
            <a:chOff x="5563532" y="3701667"/>
            <a:chExt cx="2926800" cy="2743200"/>
          </a:xfrm>
        </p:grpSpPr>
        <p:sp>
          <p:nvSpPr>
            <p:cNvPr id="18" name="Rectangle 17"/>
            <p:cNvSpPr/>
            <p:nvPr/>
          </p:nvSpPr>
          <p:spPr>
            <a:xfrm>
              <a:off x="5563532" y="3701667"/>
              <a:ext cx="29268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a:solidFill>
                  <a:schemeClr val="tx1">
                    <a:alpha val="70000"/>
                  </a:schemeClr>
                </a:solidFill>
                <a:latin typeface="RBC Text" panose="02000000000000000000" pitchFamily="2" charset="77"/>
              </a:endParaRPr>
            </a:p>
          </p:txBody>
        </p:sp>
        <p:sp>
          <p:nvSpPr>
            <p:cNvPr id="20" name="TextBox 19"/>
            <p:cNvSpPr txBox="1"/>
            <p:nvPr/>
          </p:nvSpPr>
          <p:spPr>
            <a:xfrm>
              <a:off x="5899219" y="4402713"/>
              <a:ext cx="2307042" cy="461665"/>
            </a:xfrm>
            <a:prstGeom prst="rect">
              <a:avLst/>
            </a:prstGeom>
            <a:noFill/>
          </p:spPr>
          <p:txBody>
            <a:bodyPr wrap="none" lIns="0" rIns="0" rtlCol="0">
              <a:spAutoFit/>
            </a:bodyPr>
            <a:lstStyle/>
            <a:p>
              <a:r>
                <a:rPr lang="en-US" sz="1200" dirty="0">
                  <a:latin typeface="RBC Display" panose="02000000000000000000" pitchFamily="2" charset="77"/>
                </a:rPr>
                <a:t>A red flare silhouetted the jagged</a:t>
              </a:r>
            </a:p>
            <a:p>
              <a:r>
                <a:rPr lang="en-US" sz="1200" dirty="0">
                  <a:latin typeface="RBC Display" panose="02000000000000000000" pitchFamily="2" charset="77"/>
                </a:rPr>
                <a:t>Edge of a wing.</a:t>
              </a:r>
            </a:p>
          </p:txBody>
        </p:sp>
        <p:sp>
          <p:nvSpPr>
            <p:cNvPr id="21" name="TextBox 20"/>
            <p:cNvSpPr txBox="1"/>
            <p:nvPr/>
          </p:nvSpPr>
          <p:spPr>
            <a:xfrm>
              <a:off x="5899219" y="4976953"/>
              <a:ext cx="2255426" cy="1200329"/>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22" name="TextBox 21"/>
            <p:cNvSpPr txBox="1"/>
            <p:nvPr/>
          </p:nvSpPr>
          <p:spPr>
            <a:xfrm>
              <a:off x="5899219" y="3885186"/>
              <a:ext cx="519373" cy="400110"/>
            </a:xfrm>
            <a:prstGeom prst="rect">
              <a:avLst/>
            </a:prstGeom>
            <a:noFill/>
          </p:spPr>
          <p:txBody>
            <a:bodyPr wrap="none" lIns="0" rIns="0" rtlCol="0">
              <a:spAutoFit/>
            </a:bodyPr>
            <a:lstStyle/>
            <a:p>
              <a:r>
                <a:rPr lang="en-US" sz="2000" dirty="0">
                  <a:solidFill>
                    <a:schemeClr val="tx1">
                      <a:alpha val="60000"/>
                    </a:schemeClr>
                  </a:solidFill>
                  <a:latin typeface="RBC Text" panose="02000000000000000000" pitchFamily="2" charset="77"/>
                </a:rPr>
                <a:t>2013</a:t>
              </a:r>
            </a:p>
          </p:txBody>
        </p:sp>
      </p:grpSp>
      <p:grpSp>
        <p:nvGrpSpPr>
          <p:cNvPr id="24" name="Group 23"/>
          <p:cNvGrpSpPr/>
          <p:nvPr/>
        </p:nvGrpSpPr>
        <p:grpSpPr>
          <a:xfrm>
            <a:off x="8879609" y="3701667"/>
            <a:ext cx="2926800" cy="2743200"/>
            <a:chOff x="5563532" y="3701667"/>
            <a:chExt cx="2926800" cy="2743200"/>
          </a:xfrm>
        </p:grpSpPr>
        <p:sp>
          <p:nvSpPr>
            <p:cNvPr id="25" name="Rectangle 24"/>
            <p:cNvSpPr/>
            <p:nvPr/>
          </p:nvSpPr>
          <p:spPr>
            <a:xfrm>
              <a:off x="5563532" y="3701667"/>
              <a:ext cx="29268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a:solidFill>
                  <a:schemeClr val="tx1">
                    <a:alpha val="70000"/>
                  </a:schemeClr>
                </a:solidFill>
                <a:latin typeface="RBC Text" panose="02000000000000000000" pitchFamily="2" charset="77"/>
              </a:endParaRPr>
            </a:p>
          </p:txBody>
        </p:sp>
        <p:sp>
          <p:nvSpPr>
            <p:cNvPr id="26" name="TextBox 25"/>
            <p:cNvSpPr txBox="1"/>
            <p:nvPr/>
          </p:nvSpPr>
          <p:spPr>
            <a:xfrm>
              <a:off x="5899219" y="4402713"/>
              <a:ext cx="2307042" cy="461665"/>
            </a:xfrm>
            <a:prstGeom prst="rect">
              <a:avLst/>
            </a:prstGeom>
            <a:noFill/>
          </p:spPr>
          <p:txBody>
            <a:bodyPr wrap="none" lIns="0" rIns="0" rtlCol="0">
              <a:spAutoFit/>
            </a:bodyPr>
            <a:lstStyle/>
            <a:p>
              <a:r>
                <a:rPr lang="en-US" sz="1200" dirty="0">
                  <a:latin typeface="RBC Display" panose="02000000000000000000" pitchFamily="2" charset="77"/>
                </a:rPr>
                <a:t>A red flare silhouetted the jagged</a:t>
              </a:r>
            </a:p>
            <a:p>
              <a:r>
                <a:rPr lang="en-US" sz="1200" dirty="0">
                  <a:latin typeface="RBC Display" panose="02000000000000000000" pitchFamily="2" charset="77"/>
                </a:rPr>
                <a:t>Edge of a wing.</a:t>
              </a:r>
            </a:p>
          </p:txBody>
        </p:sp>
        <p:sp>
          <p:nvSpPr>
            <p:cNvPr id="27" name="TextBox 26"/>
            <p:cNvSpPr txBox="1"/>
            <p:nvPr/>
          </p:nvSpPr>
          <p:spPr>
            <a:xfrm>
              <a:off x="5899219" y="4976953"/>
              <a:ext cx="2255426" cy="1200329"/>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28" name="TextBox 27"/>
            <p:cNvSpPr txBox="1"/>
            <p:nvPr/>
          </p:nvSpPr>
          <p:spPr>
            <a:xfrm>
              <a:off x="5899219" y="3885186"/>
              <a:ext cx="540212" cy="400110"/>
            </a:xfrm>
            <a:prstGeom prst="rect">
              <a:avLst/>
            </a:prstGeom>
            <a:noFill/>
          </p:spPr>
          <p:txBody>
            <a:bodyPr wrap="none" lIns="0" rIns="0" rtlCol="0">
              <a:spAutoFit/>
            </a:bodyPr>
            <a:lstStyle/>
            <a:p>
              <a:r>
                <a:rPr lang="en-US" sz="2000" dirty="0">
                  <a:solidFill>
                    <a:schemeClr val="tx1">
                      <a:alpha val="60000"/>
                    </a:schemeClr>
                  </a:solidFill>
                  <a:latin typeface="RBC Text" panose="02000000000000000000" pitchFamily="2" charset="77"/>
                </a:rPr>
                <a:t>2014</a:t>
              </a:r>
            </a:p>
          </p:txBody>
        </p:sp>
      </p:grpSp>
      <p:grpSp>
        <p:nvGrpSpPr>
          <p:cNvPr id="29" name="Group 28"/>
          <p:cNvGrpSpPr/>
          <p:nvPr/>
        </p:nvGrpSpPr>
        <p:grpSpPr>
          <a:xfrm>
            <a:off x="913016" y="4958766"/>
            <a:ext cx="2255426" cy="770634"/>
            <a:chOff x="913016" y="4958766"/>
            <a:chExt cx="2255426" cy="770634"/>
          </a:xfrm>
        </p:grpSpPr>
        <p:sp>
          <p:nvSpPr>
            <p:cNvPr id="30" name="TextBox 29"/>
            <p:cNvSpPr txBox="1"/>
            <p:nvPr/>
          </p:nvSpPr>
          <p:spPr>
            <a:xfrm>
              <a:off x="913016" y="4958766"/>
              <a:ext cx="667427" cy="276999"/>
            </a:xfrm>
            <a:prstGeom prst="rect">
              <a:avLst/>
            </a:prstGeom>
            <a:noFill/>
          </p:spPr>
          <p:txBody>
            <a:bodyPr wrap="none" lIns="0" rIns="0" rtlCol="0">
              <a:spAutoFit/>
            </a:bodyPr>
            <a:lstStyle/>
            <a:p>
              <a:r>
                <a:rPr lang="en-US" sz="1200" dirty="0">
                  <a:solidFill>
                    <a:srgbClr val="FFFFFF">
                      <a:alpha val="40000"/>
                    </a:srgbClr>
                  </a:solidFill>
                  <a:latin typeface="RBC Text" panose="02000000000000000000" pitchFamily="2" charset="77"/>
                </a:rPr>
                <a:t>TimeLine</a:t>
              </a:r>
            </a:p>
          </p:txBody>
        </p:sp>
        <p:sp>
          <p:nvSpPr>
            <p:cNvPr id="31" name="TextBox 30"/>
            <p:cNvSpPr txBox="1"/>
            <p:nvPr/>
          </p:nvSpPr>
          <p:spPr>
            <a:xfrm>
              <a:off x="913016" y="5083069"/>
              <a:ext cx="2255426" cy="646331"/>
            </a:xfrm>
            <a:prstGeom prst="rect">
              <a:avLst/>
            </a:prstGeom>
            <a:noFill/>
          </p:spPr>
          <p:txBody>
            <a:bodyPr wrap="none" lIns="0" rIns="0" rtlCol="0">
              <a:spAutoFit/>
            </a:bodyPr>
            <a:lstStyle/>
            <a:p>
              <a:r>
                <a:rPr lang="en-US" sz="3600" dirty="0">
                  <a:solidFill>
                    <a:srgbClr val="FFFFFF"/>
                  </a:solidFill>
                  <a:latin typeface="RBC Text" panose="02000000000000000000" pitchFamily="2" charset="77"/>
                </a:rPr>
                <a:t>2013 - 2018</a:t>
              </a:r>
            </a:p>
          </p:txBody>
        </p:sp>
      </p:grpSp>
      <p:sp>
        <p:nvSpPr>
          <p:cNvPr id="32" name="Text Placeholder 6">
            <a:extLst>
              <a:ext uri="{FF2B5EF4-FFF2-40B4-BE49-F238E27FC236}">
                <a16:creationId xmlns:a16="http://schemas.microsoft.com/office/drawing/2014/main" id="{727C36A9-6E47-414F-BFA3-40FD624B1238}"/>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86548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3" name="Picture Placeholder 2"/>
          <p:cNvSpPr>
            <a:spLocks noGrp="1"/>
          </p:cNvSpPr>
          <p:nvPr>
            <p:ph type="pic" sz="quarter" idx="13"/>
          </p:nvPr>
        </p:nvSpPr>
        <p:spPr/>
        <p:txBody>
          <a:bodyPr/>
          <a:lstStyle/>
          <a:p>
            <a:endParaRPr lang="en-CA"/>
          </a:p>
        </p:txBody>
      </p:sp>
      <p:sp>
        <p:nvSpPr>
          <p:cNvPr id="4" name="Picture Placeholder 3"/>
          <p:cNvSpPr>
            <a:spLocks noGrp="1"/>
          </p:cNvSpPr>
          <p:nvPr>
            <p:ph type="pic" sz="quarter" idx="14"/>
          </p:nvPr>
        </p:nvSpPr>
        <p:spPr/>
        <p:txBody>
          <a:bodyPr/>
          <a:lstStyle/>
          <a:p>
            <a:endParaRPr lang="en-CA"/>
          </a:p>
        </p:txBody>
      </p:sp>
      <p:sp>
        <p:nvSpPr>
          <p:cNvPr id="5" name="Picture Placeholder 4"/>
          <p:cNvSpPr>
            <a:spLocks noGrp="1"/>
          </p:cNvSpPr>
          <p:nvPr>
            <p:ph type="pic" sz="quarter" idx="15"/>
          </p:nvPr>
        </p:nvSpPr>
        <p:spPr/>
        <p:txBody>
          <a:bodyPr/>
          <a:lstStyle/>
          <a:p>
            <a:endParaRPr lang="en-CA"/>
          </a:p>
        </p:txBody>
      </p:sp>
      <p:grpSp>
        <p:nvGrpSpPr>
          <p:cNvPr id="7" name="Group 6"/>
          <p:cNvGrpSpPr/>
          <p:nvPr/>
        </p:nvGrpSpPr>
        <p:grpSpPr>
          <a:xfrm>
            <a:off x="903397" y="3701667"/>
            <a:ext cx="2926800" cy="2743200"/>
            <a:chOff x="5563532" y="3701667"/>
            <a:chExt cx="2926800" cy="2743200"/>
          </a:xfrm>
        </p:grpSpPr>
        <p:sp>
          <p:nvSpPr>
            <p:cNvPr id="8" name="Rectangle 7"/>
            <p:cNvSpPr/>
            <p:nvPr/>
          </p:nvSpPr>
          <p:spPr>
            <a:xfrm>
              <a:off x="5563532" y="3701667"/>
              <a:ext cx="29268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a:solidFill>
                  <a:schemeClr val="tx1">
                    <a:alpha val="70000"/>
                  </a:schemeClr>
                </a:solidFill>
                <a:latin typeface="RBC Text" panose="02000000000000000000" pitchFamily="2" charset="77"/>
              </a:endParaRPr>
            </a:p>
          </p:txBody>
        </p:sp>
        <p:sp>
          <p:nvSpPr>
            <p:cNvPr id="9" name="TextBox 8"/>
            <p:cNvSpPr txBox="1"/>
            <p:nvPr/>
          </p:nvSpPr>
          <p:spPr>
            <a:xfrm>
              <a:off x="5899219" y="4402713"/>
              <a:ext cx="2307042" cy="461665"/>
            </a:xfrm>
            <a:prstGeom prst="rect">
              <a:avLst/>
            </a:prstGeom>
            <a:noFill/>
          </p:spPr>
          <p:txBody>
            <a:bodyPr wrap="none" lIns="0" rIns="0" rtlCol="0">
              <a:spAutoFit/>
            </a:bodyPr>
            <a:lstStyle/>
            <a:p>
              <a:r>
                <a:rPr lang="en-US" sz="1200" dirty="0">
                  <a:latin typeface="RBC Display" panose="02000000000000000000" pitchFamily="2" charset="77"/>
                </a:rPr>
                <a:t>A red flare silhouetted the jagged</a:t>
              </a:r>
            </a:p>
            <a:p>
              <a:r>
                <a:rPr lang="en-US" sz="1200" dirty="0">
                  <a:latin typeface="RBC Display" panose="02000000000000000000" pitchFamily="2" charset="77"/>
                </a:rPr>
                <a:t>Edge of a wing.</a:t>
              </a:r>
            </a:p>
          </p:txBody>
        </p:sp>
        <p:sp>
          <p:nvSpPr>
            <p:cNvPr id="10" name="TextBox 9"/>
            <p:cNvSpPr txBox="1"/>
            <p:nvPr/>
          </p:nvSpPr>
          <p:spPr>
            <a:xfrm>
              <a:off x="5899219" y="4976953"/>
              <a:ext cx="2255426" cy="1200329"/>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1" name="TextBox 10"/>
            <p:cNvSpPr txBox="1"/>
            <p:nvPr/>
          </p:nvSpPr>
          <p:spPr>
            <a:xfrm>
              <a:off x="5899219" y="3885186"/>
              <a:ext cx="540212" cy="400110"/>
            </a:xfrm>
            <a:prstGeom prst="rect">
              <a:avLst/>
            </a:prstGeom>
            <a:noFill/>
          </p:spPr>
          <p:txBody>
            <a:bodyPr wrap="none" lIns="0" rIns="0" rtlCol="0">
              <a:spAutoFit/>
            </a:bodyPr>
            <a:lstStyle/>
            <a:p>
              <a:r>
                <a:rPr lang="en-US" sz="2000" dirty="0">
                  <a:solidFill>
                    <a:schemeClr val="tx1">
                      <a:alpha val="60000"/>
                    </a:schemeClr>
                  </a:solidFill>
                  <a:latin typeface="RBC Text" panose="02000000000000000000" pitchFamily="2" charset="77"/>
                </a:rPr>
                <a:t>2014</a:t>
              </a:r>
            </a:p>
          </p:txBody>
        </p:sp>
      </p:grpSp>
      <p:grpSp>
        <p:nvGrpSpPr>
          <p:cNvPr id="12" name="Group 11"/>
          <p:cNvGrpSpPr/>
          <p:nvPr/>
        </p:nvGrpSpPr>
        <p:grpSpPr>
          <a:xfrm>
            <a:off x="4219473" y="3701667"/>
            <a:ext cx="2926800" cy="2743200"/>
            <a:chOff x="5563532" y="3701667"/>
            <a:chExt cx="2926800" cy="2743200"/>
          </a:xfrm>
        </p:grpSpPr>
        <p:sp>
          <p:nvSpPr>
            <p:cNvPr id="13" name="Rectangle 12"/>
            <p:cNvSpPr/>
            <p:nvPr/>
          </p:nvSpPr>
          <p:spPr>
            <a:xfrm>
              <a:off x="5563532" y="3701667"/>
              <a:ext cx="29268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a:solidFill>
                  <a:schemeClr val="tx1">
                    <a:alpha val="70000"/>
                  </a:schemeClr>
                </a:solidFill>
                <a:latin typeface="RBC Text" panose="02000000000000000000" pitchFamily="2" charset="77"/>
              </a:endParaRPr>
            </a:p>
          </p:txBody>
        </p:sp>
        <p:sp>
          <p:nvSpPr>
            <p:cNvPr id="14" name="TextBox 13"/>
            <p:cNvSpPr txBox="1"/>
            <p:nvPr/>
          </p:nvSpPr>
          <p:spPr>
            <a:xfrm>
              <a:off x="5899219" y="4402713"/>
              <a:ext cx="2307042" cy="461665"/>
            </a:xfrm>
            <a:prstGeom prst="rect">
              <a:avLst/>
            </a:prstGeom>
            <a:noFill/>
          </p:spPr>
          <p:txBody>
            <a:bodyPr wrap="none" lIns="0" rIns="0" rtlCol="0">
              <a:spAutoFit/>
            </a:bodyPr>
            <a:lstStyle/>
            <a:p>
              <a:r>
                <a:rPr lang="en-US" sz="1200" dirty="0">
                  <a:latin typeface="RBC Display" panose="02000000000000000000" pitchFamily="2" charset="77"/>
                </a:rPr>
                <a:t>A red flare silhouetted the jagged</a:t>
              </a:r>
            </a:p>
            <a:p>
              <a:r>
                <a:rPr lang="en-US" sz="1200" dirty="0">
                  <a:latin typeface="RBC Display" panose="02000000000000000000" pitchFamily="2" charset="77"/>
                </a:rPr>
                <a:t>Edge of a wing.</a:t>
              </a:r>
            </a:p>
          </p:txBody>
        </p:sp>
        <p:sp>
          <p:nvSpPr>
            <p:cNvPr id="15" name="TextBox 14"/>
            <p:cNvSpPr txBox="1"/>
            <p:nvPr/>
          </p:nvSpPr>
          <p:spPr>
            <a:xfrm>
              <a:off x="5899219" y="4976953"/>
              <a:ext cx="2255426" cy="1200329"/>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6" name="TextBox 15"/>
            <p:cNvSpPr txBox="1"/>
            <p:nvPr/>
          </p:nvSpPr>
          <p:spPr>
            <a:xfrm>
              <a:off x="5899219" y="3885186"/>
              <a:ext cx="525785" cy="400110"/>
            </a:xfrm>
            <a:prstGeom prst="rect">
              <a:avLst/>
            </a:prstGeom>
            <a:noFill/>
          </p:spPr>
          <p:txBody>
            <a:bodyPr wrap="none" lIns="0" rIns="0" rtlCol="0">
              <a:spAutoFit/>
            </a:bodyPr>
            <a:lstStyle/>
            <a:p>
              <a:r>
                <a:rPr lang="en-US" sz="2000" dirty="0">
                  <a:solidFill>
                    <a:schemeClr val="tx1">
                      <a:alpha val="60000"/>
                    </a:schemeClr>
                  </a:solidFill>
                  <a:latin typeface="RBC Text" panose="02000000000000000000" pitchFamily="2" charset="77"/>
                </a:rPr>
                <a:t>2016</a:t>
              </a:r>
            </a:p>
          </p:txBody>
        </p:sp>
      </p:grpSp>
      <p:grpSp>
        <p:nvGrpSpPr>
          <p:cNvPr id="17" name="Group 16"/>
          <p:cNvGrpSpPr/>
          <p:nvPr/>
        </p:nvGrpSpPr>
        <p:grpSpPr>
          <a:xfrm>
            <a:off x="7535549" y="3701667"/>
            <a:ext cx="2926800" cy="2743200"/>
            <a:chOff x="5563532" y="3701667"/>
            <a:chExt cx="2926800" cy="2743200"/>
          </a:xfrm>
        </p:grpSpPr>
        <p:sp>
          <p:nvSpPr>
            <p:cNvPr id="18" name="Rectangle 17"/>
            <p:cNvSpPr/>
            <p:nvPr/>
          </p:nvSpPr>
          <p:spPr>
            <a:xfrm>
              <a:off x="5563532" y="3701667"/>
              <a:ext cx="29268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a:solidFill>
                  <a:schemeClr val="tx1">
                    <a:alpha val="70000"/>
                  </a:schemeClr>
                </a:solidFill>
                <a:latin typeface="RBC Text" panose="02000000000000000000" pitchFamily="2" charset="77"/>
              </a:endParaRPr>
            </a:p>
          </p:txBody>
        </p:sp>
        <p:sp>
          <p:nvSpPr>
            <p:cNvPr id="19" name="TextBox 18"/>
            <p:cNvSpPr txBox="1"/>
            <p:nvPr/>
          </p:nvSpPr>
          <p:spPr>
            <a:xfrm>
              <a:off x="5899219" y="4402713"/>
              <a:ext cx="2307042" cy="461665"/>
            </a:xfrm>
            <a:prstGeom prst="rect">
              <a:avLst/>
            </a:prstGeom>
            <a:noFill/>
          </p:spPr>
          <p:txBody>
            <a:bodyPr wrap="none" lIns="0" rIns="0" rtlCol="0">
              <a:spAutoFit/>
            </a:bodyPr>
            <a:lstStyle/>
            <a:p>
              <a:r>
                <a:rPr lang="en-US" sz="1200" dirty="0">
                  <a:latin typeface="RBC Display" panose="02000000000000000000" pitchFamily="2" charset="77"/>
                </a:rPr>
                <a:t>A red flare silhouetted the jagged</a:t>
              </a:r>
            </a:p>
            <a:p>
              <a:r>
                <a:rPr lang="en-US" sz="1200" dirty="0">
                  <a:latin typeface="RBC Display" panose="02000000000000000000" pitchFamily="2" charset="77"/>
                </a:rPr>
                <a:t>Edge of a wing.</a:t>
              </a:r>
            </a:p>
          </p:txBody>
        </p:sp>
        <p:sp>
          <p:nvSpPr>
            <p:cNvPr id="20" name="TextBox 19"/>
            <p:cNvSpPr txBox="1"/>
            <p:nvPr/>
          </p:nvSpPr>
          <p:spPr>
            <a:xfrm>
              <a:off x="5899219" y="4976953"/>
              <a:ext cx="2255426" cy="1200329"/>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21" name="TextBox 20"/>
            <p:cNvSpPr txBox="1"/>
            <p:nvPr/>
          </p:nvSpPr>
          <p:spPr>
            <a:xfrm>
              <a:off x="5899219" y="3885186"/>
              <a:ext cx="519373" cy="400110"/>
            </a:xfrm>
            <a:prstGeom prst="rect">
              <a:avLst/>
            </a:prstGeom>
            <a:noFill/>
          </p:spPr>
          <p:txBody>
            <a:bodyPr wrap="none" lIns="0" rIns="0" rtlCol="0">
              <a:spAutoFit/>
            </a:bodyPr>
            <a:lstStyle/>
            <a:p>
              <a:r>
                <a:rPr lang="en-US" sz="2000" dirty="0">
                  <a:solidFill>
                    <a:schemeClr val="tx1">
                      <a:alpha val="60000"/>
                    </a:schemeClr>
                  </a:solidFill>
                  <a:latin typeface="RBC Text" panose="02000000000000000000" pitchFamily="2" charset="77"/>
                </a:rPr>
                <a:t>2018</a:t>
              </a:r>
            </a:p>
          </p:txBody>
        </p:sp>
      </p:grpSp>
      <p:sp>
        <p:nvSpPr>
          <p:cNvPr id="22" name="Text Placeholder 6">
            <a:extLst>
              <a:ext uri="{FF2B5EF4-FFF2-40B4-BE49-F238E27FC236}">
                <a16:creationId xmlns:a16="http://schemas.microsoft.com/office/drawing/2014/main" id="{162B951E-E064-FB45-AC6F-7C0C70B67654}"/>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84885995"/>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59AC8-E25A-4D41-9D46-FF7F99DE6AE7}"/>
              </a:ext>
            </a:extLst>
          </p:cNvPr>
          <p:cNvSpPr>
            <a:spLocks noGrp="1"/>
          </p:cNvSpPr>
          <p:nvPr>
            <p:ph type="ctrTitle"/>
          </p:nvPr>
        </p:nvSpPr>
        <p:spPr/>
        <p:txBody>
          <a:bodyPr/>
          <a:lstStyle/>
          <a:p>
            <a:endParaRPr lang="en-US"/>
          </a:p>
        </p:txBody>
      </p:sp>
    </p:spTree>
    <p:extLst>
      <p:ext uri="{BB962C8B-B14F-4D97-AF65-F5344CB8AC3E}">
        <p14:creationId xmlns:p14="http://schemas.microsoft.com/office/powerpoint/2010/main" val="2438611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3" name="Picture Placeholder 2"/>
          <p:cNvSpPr>
            <a:spLocks noGrp="1"/>
          </p:cNvSpPr>
          <p:nvPr>
            <p:ph type="pic" sz="quarter" idx="13"/>
          </p:nvPr>
        </p:nvSpPr>
        <p:spPr/>
        <p:txBody>
          <a:bodyPr/>
          <a:lstStyle/>
          <a:p>
            <a:endParaRPr lang="en-CA"/>
          </a:p>
        </p:txBody>
      </p:sp>
      <p:sp>
        <p:nvSpPr>
          <p:cNvPr id="5" name="Title 4"/>
          <p:cNvSpPr>
            <a:spLocks noGrp="1"/>
          </p:cNvSpPr>
          <p:nvPr>
            <p:ph type="title"/>
          </p:nvPr>
        </p:nvSpPr>
        <p:spPr/>
        <p:txBody>
          <a:bodyPr/>
          <a:lstStyle/>
          <a:p>
            <a:r>
              <a:rPr lang="en-US" dirty="0"/>
              <a:t>Alexandra</a:t>
            </a:r>
          </a:p>
        </p:txBody>
      </p:sp>
      <p:sp>
        <p:nvSpPr>
          <p:cNvPr id="10" name="Rectangle 9"/>
          <p:cNvSpPr/>
          <p:nvPr/>
        </p:nvSpPr>
        <p:spPr>
          <a:xfrm>
            <a:off x="7774236" y="1"/>
            <a:ext cx="4417764" cy="39358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RBC Text" panose="02000000000000000000" pitchFamily="2" charset="77"/>
            </a:endParaRPr>
          </a:p>
        </p:txBody>
      </p:sp>
      <p:sp>
        <p:nvSpPr>
          <p:cNvPr id="11" name="TextBox 10"/>
          <p:cNvSpPr txBox="1"/>
          <p:nvPr/>
        </p:nvSpPr>
        <p:spPr>
          <a:xfrm>
            <a:off x="8349401" y="1269922"/>
            <a:ext cx="2502213" cy="2554545"/>
          </a:xfrm>
          <a:prstGeom prst="rect">
            <a:avLst/>
          </a:prstGeom>
          <a:noFill/>
        </p:spPr>
        <p:txBody>
          <a:bodyPr wrap="square" lIns="0" rIns="0" rtlCol="0">
            <a:spAutoFit/>
          </a:bodyPr>
          <a:lstStyle/>
          <a:p>
            <a:r>
              <a:rPr lang="en-US" sz="2000" dirty="0">
                <a:solidFill>
                  <a:schemeClr val="tx1">
                    <a:alpha val="70000"/>
                  </a:schemeClr>
                </a:solidFill>
                <a:latin typeface="RBC Text" panose="02000000000000000000" pitchFamily="2" charset="77"/>
              </a:rPr>
              <a:t>A peep at some distant orb has power to raise and purify our thoughts like </a:t>
            </a:r>
            <a:r>
              <a:rPr lang="en-US" sz="2000" dirty="0">
                <a:solidFill>
                  <a:schemeClr val="tx1">
                    <a:alpha val="70000"/>
                  </a:schemeClr>
                </a:solidFill>
                <a:latin typeface="RBC Display" panose="02000000000000000000" pitchFamily="2" charset="77"/>
              </a:rPr>
              <a:t>a strain of sacred music,</a:t>
            </a:r>
            <a:r>
              <a:rPr lang="en-US" sz="2000" dirty="0">
                <a:solidFill>
                  <a:schemeClr val="tx1">
                    <a:alpha val="70000"/>
                  </a:schemeClr>
                </a:solidFill>
                <a:latin typeface="RBC Text" panose="02000000000000000000" pitchFamily="2" charset="77"/>
              </a:rPr>
              <a:t> or a noble picture, or a passage</a:t>
            </a:r>
          </a:p>
        </p:txBody>
      </p:sp>
      <p:sp>
        <p:nvSpPr>
          <p:cNvPr id="12" name="TextBox 11"/>
          <p:cNvSpPr txBox="1"/>
          <p:nvPr/>
        </p:nvSpPr>
        <p:spPr>
          <a:xfrm>
            <a:off x="8349401" y="657625"/>
            <a:ext cx="240450" cy="769441"/>
          </a:xfrm>
          <a:prstGeom prst="rect">
            <a:avLst/>
          </a:prstGeom>
          <a:noFill/>
        </p:spPr>
        <p:txBody>
          <a:bodyPr wrap="none" lIns="0" rIns="0" rtlCol="0">
            <a:spAutoFit/>
          </a:bodyPr>
          <a:lstStyle/>
          <a:p>
            <a:r>
              <a:rPr lang="en-US" sz="4400" dirty="0">
                <a:solidFill>
                  <a:schemeClr val="accent1"/>
                </a:solidFill>
                <a:latin typeface="RBC Text" panose="02000000000000000000" pitchFamily="2" charset="77"/>
              </a:rPr>
              <a:t>“</a:t>
            </a:r>
          </a:p>
        </p:txBody>
      </p:sp>
      <p:sp>
        <p:nvSpPr>
          <p:cNvPr id="21" name="Rectangle 20"/>
          <p:cNvSpPr/>
          <p:nvPr/>
        </p:nvSpPr>
        <p:spPr>
          <a:xfrm>
            <a:off x="5065553" y="4113694"/>
            <a:ext cx="2926800" cy="292210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4" name="TextBox 23"/>
          <p:cNvSpPr txBox="1"/>
          <p:nvPr/>
        </p:nvSpPr>
        <p:spPr>
          <a:xfrm>
            <a:off x="909268" y="2346476"/>
            <a:ext cx="897682" cy="276999"/>
          </a:xfrm>
          <a:prstGeom prst="rect">
            <a:avLst/>
          </a:prstGeom>
          <a:noFill/>
        </p:spPr>
        <p:txBody>
          <a:bodyPr wrap="none" lIns="0" rIns="0" rtlCol="0">
            <a:spAutoFit/>
          </a:bodyPr>
          <a:lstStyle/>
          <a:p>
            <a:r>
              <a:rPr lang="en-US" sz="1200" dirty="0" err="1">
                <a:latin typeface="RBC Display" panose="02000000000000000000" pitchFamily="2" charset="77"/>
              </a:rPr>
              <a:t>LiteCoin</a:t>
            </a:r>
            <a:r>
              <a:rPr lang="en-US" sz="1200" dirty="0">
                <a:latin typeface="RBC Display" panose="02000000000000000000" pitchFamily="2" charset="77"/>
              </a:rPr>
              <a:t> CPO</a:t>
            </a:r>
          </a:p>
        </p:txBody>
      </p:sp>
      <p:grpSp>
        <p:nvGrpSpPr>
          <p:cNvPr id="26" name="Group 25"/>
          <p:cNvGrpSpPr/>
          <p:nvPr/>
        </p:nvGrpSpPr>
        <p:grpSpPr>
          <a:xfrm>
            <a:off x="909268" y="4970134"/>
            <a:ext cx="964816" cy="1047633"/>
            <a:chOff x="913016" y="4970134"/>
            <a:chExt cx="964816" cy="1047633"/>
          </a:xfrm>
        </p:grpSpPr>
        <p:sp>
          <p:nvSpPr>
            <p:cNvPr id="27" name="TextBox 26"/>
            <p:cNvSpPr txBox="1"/>
            <p:nvPr/>
          </p:nvSpPr>
          <p:spPr>
            <a:xfrm>
              <a:off x="913016" y="4970134"/>
              <a:ext cx="314189"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USD</a:t>
              </a:r>
            </a:p>
          </p:txBody>
        </p:sp>
        <p:sp>
          <p:nvSpPr>
            <p:cNvPr id="28" name="TextBox 27"/>
            <p:cNvSpPr txBox="1"/>
            <p:nvPr/>
          </p:nvSpPr>
          <p:spPr>
            <a:xfrm>
              <a:off x="913016" y="5083069"/>
              <a:ext cx="964816" cy="646331"/>
            </a:xfrm>
            <a:prstGeom prst="rect">
              <a:avLst/>
            </a:prstGeom>
            <a:noFill/>
          </p:spPr>
          <p:txBody>
            <a:bodyPr wrap="none" lIns="0" rIns="0" rtlCol="0">
              <a:spAutoFit/>
            </a:bodyPr>
            <a:lstStyle/>
            <a:p>
              <a:r>
                <a:rPr lang="en-US" sz="3600" dirty="0">
                  <a:latin typeface="RBC Text" panose="02000000000000000000" pitchFamily="2" charset="77"/>
                </a:rPr>
                <a:t>181.5</a:t>
              </a:r>
            </a:p>
          </p:txBody>
        </p:sp>
        <p:sp>
          <p:nvSpPr>
            <p:cNvPr id="29" name="TextBox 28"/>
            <p:cNvSpPr txBox="1"/>
            <p:nvPr/>
          </p:nvSpPr>
          <p:spPr>
            <a:xfrm>
              <a:off x="913016" y="5740768"/>
              <a:ext cx="589905" cy="276999"/>
            </a:xfrm>
            <a:prstGeom prst="rect">
              <a:avLst/>
            </a:prstGeom>
            <a:noFill/>
          </p:spPr>
          <p:txBody>
            <a:bodyPr wrap="none" lIns="0" rIns="0" rtlCol="0">
              <a:spAutoFit/>
            </a:bodyPr>
            <a:lstStyle/>
            <a:p>
              <a:r>
                <a:rPr lang="en-US" sz="1200" dirty="0" err="1">
                  <a:solidFill>
                    <a:schemeClr val="tx1">
                      <a:alpha val="40000"/>
                    </a:schemeClr>
                  </a:solidFill>
                  <a:latin typeface="RBC Text" panose="02000000000000000000" pitchFamily="2" charset="77"/>
                </a:rPr>
                <a:t>Litecoin</a:t>
              </a:r>
              <a:endParaRPr lang="en-US" sz="1200" dirty="0">
                <a:solidFill>
                  <a:schemeClr val="tx1">
                    <a:alpha val="40000"/>
                  </a:schemeClr>
                </a:solidFill>
                <a:latin typeface="RBC Text" panose="02000000000000000000" pitchFamily="2" charset="77"/>
              </a:endParaRPr>
            </a:p>
          </p:txBody>
        </p:sp>
      </p:grpSp>
      <p:sp>
        <p:nvSpPr>
          <p:cNvPr id="19" name="Text Placeholder 6">
            <a:extLst>
              <a:ext uri="{FF2B5EF4-FFF2-40B4-BE49-F238E27FC236}">
                <a16:creationId xmlns:a16="http://schemas.microsoft.com/office/drawing/2014/main" id="{9FE11366-CBC3-4F4F-9226-4D8C0ACE2914}"/>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5096152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3" name="Title 2"/>
          <p:cNvSpPr>
            <a:spLocks noGrp="1"/>
          </p:cNvSpPr>
          <p:nvPr>
            <p:ph type="title"/>
          </p:nvPr>
        </p:nvSpPr>
        <p:spPr/>
        <p:txBody>
          <a:bodyPr/>
          <a:lstStyle/>
          <a:p>
            <a:r>
              <a:rPr lang="en-US" dirty="0"/>
              <a:t>Our Service</a:t>
            </a:r>
          </a:p>
        </p:txBody>
      </p:sp>
      <p:sp>
        <p:nvSpPr>
          <p:cNvPr id="11" name="TextBox 10"/>
          <p:cNvSpPr txBox="1"/>
          <p:nvPr/>
        </p:nvSpPr>
        <p:spPr>
          <a:xfrm>
            <a:off x="909268" y="4013456"/>
            <a:ext cx="2307042" cy="461665"/>
          </a:xfrm>
          <a:prstGeom prst="rect">
            <a:avLst/>
          </a:prstGeom>
          <a:noFill/>
        </p:spPr>
        <p:txBody>
          <a:bodyPr wrap="none" lIns="0" rIns="0" rtlCol="0">
            <a:spAutoFit/>
          </a:bodyPr>
          <a:lstStyle/>
          <a:p>
            <a:r>
              <a:rPr lang="en-US" sz="1200" dirty="0">
                <a:solidFill>
                  <a:srgbClr val="FFFFFF"/>
                </a:solidFill>
                <a:latin typeface="RBC Display" panose="02000000000000000000" pitchFamily="2" charset="77"/>
              </a:rPr>
              <a:t>A red flare silhouetted the jagged</a:t>
            </a:r>
          </a:p>
          <a:p>
            <a:r>
              <a:rPr lang="en-US" sz="1200" dirty="0">
                <a:solidFill>
                  <a:srgbClr val="FFFFFF"/>
                </a:solidFill>
                <a:latin typeface="RBC Display" panose="02000000000000000000" pitchFamily="2" charset="77"/>
              </a:rPr>
              <a:t>Edge of a wing.</a:t>
            </a:r>
          </a:p>
        </p:txBody>
      </p:sp>
      <p:sp>
        <p:nvSpPr>
          <p:cNvPr id="12" name="TextBox 11"/>
          <p:cNvSpPr txBox="1"/>
          <p:nvPr/>
        </p:nvSpPr>
        <p:spPr>
          <a:xfrm>
            <a:off x="909268" y="4587696"/>
            <a:ext cx="2255426" cy="1200329"/>
          </a:xfrm>
          <a:prstGeom prst="rect">
            <a:avLst/>
          </a:prstGeom>
          <a:noFill/>
        </p:spPr>
        <p:txBody>
          <a:bodyPr wrap="square" lIns="0" rIns="0" rtlCol="0">
            <a:spAutoFit/>
          </a:bodyPr>
          <a:lstStyle/>
          <a:p>
            <a:pPr>
              <a:lnSpc>
                <a:spcPct val="120000"/>
              </a:lnSpc>
            </a:pPr>
            <a:r>
              <a:rPr lang="en-US" sz="1200" dirty="0">
                <a:solidFill>
                  <a:srgbClr val="FFFFFF">
                    <a:alpha val="70000"/>
                  </a:srgbClr>
                </a:solidFill>
                <a:latin typeface="RBC Text" panose="02000000000000000000" pitchFamily="2" charset="77"/>
              </a:rPr>
              <a:t>A peep at some distant orb has power to raise and purify our thoughts like a strain of sacred music, or a noble picture, or a passage</a:t>
            </a:r>
          </a:p>
        </p:txBody>
      </p:sp>
      <p:sp>
        <p:nvSpPr>
          <p:cNvPr id="13" name="TextBox 12"/>
          <p:cNvSpPr txBox="1"/>
          <p:nvPr/>
        </p:nvSpPr>
        <p:spPr>
          <a:xfrm>
            <a:off x="4291447" y="4013456"/>
            <a:ext cx="2307042" cy="461665"/>
          </a:xfrm>
          <a:prstGeom prst="rect">
            <a:avLst/>
          </a:prstGeom>
          <a:noFill/>
        </p:spPr>
        <p:txBody>
          <a:bodyPr wrap="none" lIns="0" rIns="0" rtlCol="0">
            <a:spAutoFit/>
          </a:bodyPr>
          <a:lstStyle/>
          <a:p>
            <a:r>
              <a:rPr lang="en-US" sz="1200" dirty="0">
                <a:solidFill>
                  <a:srgbClr val="FFFFFF"/>
                </a:solidFill>
                <a:latin typeface="RBC Display" panose="02000000000000000000" pitchFamily="2" charset="77"/>
              </a:rPr>
              <a:t>A red flare silhouetted the jagged</a:t>
            </a:r>
          </a:p>
          <a:p>
            <a:r>
              <a:rPr lang="en-US" sz="1200" dirty="0">
                <a:solidFill>
                  <a:srgbClr val="FFFFFF"/>
                </a:solidFill>
                <a:latin typeface="RBC Display" panose="02000000000000000000" pitchFamily="2" charset="77"/>
              </a:rPr>
              <a:t>Edge of a wing.</a:t>
            </a:r>
          </a:p>
        </p:txBody>
      </p:sp>
      <p:sp>
        <p:nvSpPr>
          <p:cNvPr id="14" name="TextBox 13"/>
          <p:cNvSpPr txBox="1"/>
          <p:nvPr/>
        </p:nvSpPr>
        <p:spPr>
          <a:xfrm>
            <a:off x="4291447" y="4587696"/>
            <a:ext cx="2255426" cy="1200329"/>
          </a:xfrm>
          <a:prstGeom prst="rect">
            <a:avLst/>
          </a:prstGeom>
          <a:noFill/>
        </p:spPr>
        <p:txBody>
          <a:bodyPr wrap="square" lIns="0" rIns="0" rtlCol="0">
            <a:spAutoFit/>
          </a:bodyPr>
          <a:lstStyle/>
          <a:p>
            <a:pPr>
              <a:lnSpc>
                <a:spcPct val="120000"/>
              </a:lnSpc>
            </a:pPr>
            <a:r>
              <a:rPr lang="en-US" sz="1200" dirty="0">
                <a:solidFill>
                  <a:srgbClr val="FFFFFF">
                    <a:alpha val="70000"/>
                  </a:srgbClr>
                </a:solidFill>
                <a:latin typeface="RBC Text" panose="02000000000000000000" pitchFamily="2" charset="77"/>
              </a:rPr>
              <a:t>A peep at some distant orb has power to raise and purify our thoughts like a strain of sacred music, or a noble picture, or a passage</a:t>
            </a:r>
          </a:p>
        </p:txBody>
      </p:sp>
      <p:sp>
        <p:nvSpPr>
          <p:cNvPr id="15" name="TextBox 14"/>
          <p:cNvSpPr txBox="1"/>
          <p:nvPr/>
        </p:nvSpPr>
        <p:spPr>
          <a:xfrm>
            <a:off x="7673626" y="4013456"/>
            <a:ext cx="2307042" cy="461665"/>
          </a:xfrm>
          <a:prstGeom prst="rect">
            <a:avLst/>
          </a:prstGeom>
          <a:noFill/>
        </p:spPr>
        <p:txBody>
          <a:bodyPr wrap="none" lIns="0" rIns="0" rtlCol="0">
            <a:spAutoFit/>
          </a:bodyPr>
          <a:lstStyle/>
          <a:p>
            <a:r>
              <a:rPr lang="en-US" sz="1200" dirty="0">
                <a:solidFill>
                  <a:srgbClr val="FFFFFF"/>
                </a:solidFill>
                <a:latin typeface="RBC Display" panose="02000000000000000000" pitchFamily="2" charset="77"/>
              </a:rPr>
              <a:t>A red flare silhouetted the jagged</a:t>
            </a:r>
          </a:p>
          <a:p>
            <a:r>
              <a:rPr lang="en-US" sz="1200" dirty="0">
                <a:solidFill>
                  <a:srgbClr val="FFFFFF"/>
                </a:solidFill>
                <a:latin typeface="RBC Display" panose="02000000000000000000" pitchFamily="2" charset="77"/>
              </a:rPr>
              <a:t>Edge of a wing.</a:t>
            </a:r>
          </a:p>
        </p:txBody>
      </p:sp>
      <p:sp>
        <p:nvSpPr>
          <p:cNvPr id="16" name="TextBox 15"/>
          <p:cNvSpPr txBox="1"/>
          <p:nvPr/>
        </p:nvSpPr>
        <p:spPr>
          <a:xfrm>
            <a:off x="7673626" y="4587696"/>
            <a:ext cx="2255426" cy="1200329"/>
          </a:xfrm>
          <a:prstGeom prst="rect">
            <a:avLst/>
          </a:prstGeom>
          <a:noFill/>
        </p:spPr>
        <p:txBody>
          <a:bodyPr wrap="square" lIns="0" rIns="0" rtlCol="0">
            <a:spAutoFit/>
          </a:bodyPr>
          <a:lstStyle/>
          <a:p>
            <a:pPr>
              <a:lnSpc>
                <a:spcPct val="120000"/>
              </a:lnSpc>
            </a:pPr>
            <a:r>
              <a:rPr lang="en-US" sz="1200" dirty="0">
                <a:solidFill>
                  <a:srgbClr val="FFFFFF">
                    <a:alpha val="70000"/>
                  </a:srgbClr>
                </a:solidFill>
                <a:latin typeface="RBC Text" panose="02000000000000000000" pitchFamily="2" charset="77"/>
              </a:rPr>
              <a:t>A peep at some distant orb has power to raise and purify our thoughts like a strain of sacred music, or a noble picture, or a passage</a:t>
            </a:r>
          </a:p>
        </p:txBody>
      </p:sp>
      <p:sp>
        <p:nvSpPr>
          <p:cNvPr id="17" name="Freeform 1125">
            <a:extLst>
              <a:ext uri="{FF2B5EF4-FFF2-40B4-BE49-F238E27FC236}">
                <a16:creationId xmlns:a16="http://schemas.microsoft.com/office/drawing/2014/main" id="{5C8BE624-820B-4C18-96EF-18AC8BE169C9}"/>
              </a:ext>
            </a:extLst>
          </p:cNvPr>
          <p:cNvSpPr>
            <a:spLocks noEditPoints="1"/>
          </p:cNvSpPr>
          <p:nvPr/>
        </p:nvSpPr>
        <p:spPr bwMode="auto">
          <a:xfrm>
            <a:off x="4291447" y="3266585"/>
            <a:ext cx="541338" cy="552450"/>
          </a:xfrm>
          <a:custGeom>
            <a:avLst/>
            <a:gdLst>
              <a:gd name="T0" fmla="*/ 143 w 158"/>
              <a:gd name="T1" fmla="*/ 11 h 160"/>
              <a:gd name="T2" fmla="*/ 0 w 158"/>
              <a:gd name="T3" fmla="*/ 96 h 160"/>
              <a:gd name="T4" fmla="*/ 64 w 158"/>
              <a:gd name="T5" fmla="*/ 160 h 160"/>
              <a:gd name="T6" fmla="*/ 147 w 158"/>
              <a:gd name="T7" fmla="*/ 14 h 160"/>
              <a:gd name="T8" fmla="*/ 141 w 158"/>
              <a:gd name="T9" fmla="*/ 77 h 160"/>
              <a:gd name="T10" fmla="*/ 7 w 158"/>
              <a:gd name="T11" fmla="*/ 99 h 160"/>
              <a:gd name="T12" fmla="*/ 138 w 158"/>
              <a:gd name="T13" fmla="*/ 16 h 160"/>
              <a:gd name="T14" fmla="*/ 104 w 158"/>
              <a:gd name="T15" fmla="*/ 40 h 160"/>
              <a:gd name="T16" fmla="*/ 128 w 158"/>
              <a:gd name="T17" fmla="*/ 33 h 160"/>
              <a:gd name="T18" fmla="*/ 125 w 158"/>
              <a:gd name="T19" fmla="*/ 40 h 160"/>
              <a:gd name="T20" fmla="*/ 117 w 158"/>
              <a:gd name="T21" fmla="*/ 32 h 160"/>
              <a:gd name="T22" fmla="*/ 115 w 158"/>
              <a:gd name="T23" fmla="*/ 42 h 160"/>
              <a:gd name="T24" fmla="*/ 125 w 158"/>
              <a:gd name="T25" fmla="*/ 37 h 160"/>
              <a:gd name="T26" fmla="*/ 83 w 158"/>
              <a:gd name="T27" fmla="*/ 112 h 160"/>
              <a:gd name="T28" fmla="*/ 87 w 158"/>
              <a:gd name="T29" fmla="*/ 115 h 160"/>
              <a:gd name="T30" fmla="*/ 111 w 158"/>
              <a:gd name="T31" fmla="*/ 83 h 160"/>
              <a:gd name="T32" fmla="*/ 121 w 158"/>
              <a:gd name="T33" fmla="*/ 78 h 160"/>
              <a:gd name="T34" fmla="*/ 125 w 158"/>
              <a:gd name="T35" fmla="*/ 76 h 160"/>
              <a:gd name="T36" fmla="*/ 98 w 158"/>
              <a:gd name="T37" fmla="*/ 51 h 160"/>
              <a:gd name="T38" fmla="*/ 66 w 158"/>
              <a:gd name="T39" fmla="*/ 76 h 160"/>
              <a:gd name="T40" fmla="*/ 70 w 158"/>
              <a:gd name="T41" fmla="*/ 80 h 160"/>
              <a:gd name="T42" fmla="*/ 91 w 158"/>
              <a:gd name="T43" fmla="*/ 84 h 160"/>
              <a:gd name="T44" fmla="*/ 111 w 158"/>
              <a:gd name="T45" fmla="*/ 61 h 160"/>
              <a:gd name="T46" fmla="*/ 89 w 158"/>
              <a:gd name="T47" fmla="*/ 83 h 160"/>
              <a:gd name="T48" fmla="*/ 70 w 158"/>
              <a:gd name="T49" fmla="*/ 102 h 160"/>
              <a:gd name="T50" fmla="*/ 77 w 158"/>
              <a:gd name="T51" fmla="*/ 99 h 160"/>
              <a:gd name="T52" fmla="*/ 45 w 158"/>
              <a:gd name="T53" fmla="*/ 77 h 160"/>
              <a:gd name="T54" fmla="*/ 76 w 158"/>
              <a:gd name="T55" fmla="*/ 44 h 160"/>
              <a:gd name="T56" fmla="*/ 43 w 158"/>
              <a:gd name="T57" fmla="*/ 76 h 160"/>
              <a:gd name="T58" fmla="*/ 85 w 158"/>
              <a:gd name="T59" fmla="*/ 38 h 160"/>
              <a:gd name="T60" fmla="*/ 81 w 158"/>
              <a:gd name="T61" fmla="*/ 34 h 160"/>
              <a:gd name="T62" fmla="*/ 83 w 158"/>
              <a:gd name="T63" fmla="*/ 39 h 160"/>
              <a:gd name="T64" fmla="*/ 59 w 158"/>
              <a:gd name="T65" fmla="*/ 87 h 160"/>
              <a:gd name="T66" fmla="*/ 63 w 158"/>
              <a:gd name="T67" fmla="*/ 85 h 160"/>
              <a:gd name="T68" fmla="*/ 85 w 158"/>
              <a:gd name="T69" fmla="*/ 91 h 160"/>
              <a:gd name="T70" fmla="*/ 81 w 158"/>
              <a:gd name="T71" fmla="*/ 87 h 160"/>
              <a:gd name="T72" fmla="*/ 83 w 158"/>
              <a:gd name="T73" fmla="*/ 92 h 160"/>
              <a:gd name="T74" fmla="*/ 67 w 158"/>
              <a:gd name="T75" fmla="*/ 119 h 160"/>
              <a:gd name="T76" fmla="*/ 48 w 158"/>
              <a:gd name="T77" fmla="*/ 111 h 160"/>
              <a:gd name="T78" fmla="*/ 51 w 158"/>
              <a:gd name="T79" fmla="*/ 102 h 160"/>
              <a:gd name="T80" fmla="*/ 32 w 158"/>
              <a:gd name="T81" fmla="*/ 95 h 160"/>
              <a:gd name="T82" fmla="*/ 30 w 158"/>
              <a:gd name="T83" fmla="*/ 101 h 160"/>
              <a:gd name="T84" fmla="*/ 39 w 158"/>
              <a:gd name="T85" fmla="*/ 118 h 160"/>
              <a:gd name="T86" fmla="*/ 48 w 158"/>
              <a:gd name="T87" fmla="*/ 125 h 160"/>
              <a:gd name="T88" fmla="*/ 53 w 158"/>
              <a:gd name="T89" fmla="*/ 133 h 160"/>
              <a:gd name="T90" fmla="*/ 64 w 158"/>
              <a:gd name="T91" fmla="*/ 133 h 160"/>
              <a:gd name="T92" fmla="*/ 64 w 158"/>
              <a:gd name="T93" fmla="*/ 127 h 160"/>
              <a:gd name="T94" fmla="*/ 34 w 158"/>
              <a:gd name="T95" fmla="*/ 109 h 160"/>
              <a:gd name="T96" fmla="*/ 38 w 158"/>
              <a:gd name="T97" fmla="*/ 112 h 160"/>
              <a:gd name="T98" fmla="*/ 61 w 158"/>
              <a:gd name="T99" fmla="*/ 119 h 160"/>
              <a:gd name="T100" fmla="*/ 57 w 158"/>
              <a:gd name="T101" fmla="*/ 11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60">
                <a:moveTo>
                  <a:pt x="157" y="1"/>
                </a:moveTo>
                <a:cubicBezTo>
                  <a:pt x="156" y="0"/>
                  <a:pt x="154" y="0"/>
                  <a:pt x="153" y="1"/>
                </a:cubicBezTo>
                <a:cubicBezTo>
                  <a:pt x="143" y="11"/>
                  <a:pt x="143" y="11"/>
                  <a:pt x="143" y="11"/>
                </a:cubicBezTo>
                <a:cubicBezTo>
                  <a:pt x="81" y="11"/>
                  <a:pt x="81" y="11"/>
                  <a:pt x="81" y="11"/>
                </a:cubicBezTo>
                <a:cubicBezTo>
                  <a:pt x="3" y="89"/>
                  <a:pt x="3" y="89"/>
                  <a:pt x="3" y="89"/>
                </a:cubicBezTo>
                <a:cubicBezTo>
                  <a:pt x="1" y="91"/>
                  <a:pt x="0" y="94"/>
                  <a:pt x="0" y="96"/>
                </a:cubicBezTo>
                <a:cubicBezTo>
                  <a:pt x="0" y="99"/>
                  <a:pt x="1" y="101"/>
                  <a:pt x="3" y="103"/>
                </a:cubicBezTo>
                <a:cubicBezTo>
                  <a:pt x="57" y="157"/>
                  <a:pt x="57" y="157"/>
                  <a:pt x="57" y="157"/>
                </a:cubicBezTo>
                <a:cubicBezTo>
                  <a:pt x="59" y="159"/>
                  <a:pt x="62" y="160"/>
                  <a:pt x="64" y="160"/>
                </a:cubicBezTo>
                <a:cubicBezTo>
                  <a:pt x="66" y="160"/>
                  <a:pt x="69" y="159"/>
                  <a:pt x="71" y="157"/>
                </a:cubicBezTo>
                <a:cubicBezTo>
                  <a:pt x="147" y="79"/>
                  <a:pt x="147" y="79"/>
                  <a:pt x="147" y="79"/>
                </a:cubicBezTo>
                <a:cubicBezTo>
                  <a:pt x="147" y="14"/>
                  <a:pt x="147" y="14"/>
                  <a:pt x="147" y="14"/>
                </a:cubicBezTo>
                <a:cubicBezTo>
                  <a:pt x="157" y="5"/>
                  <a:pt x="157" y="5"/>
                  <a:pt x="157" y="5"/>
                </a:cubicBezTo>
                <a:cubicBezTo>
                  <a:pt x="158" y="4"/>
                  <a:pt x="158" y="2"/>
                  <a:pt x="157" y="1"/>
                </a:cubicBezTo>
                <a:close/>
                <a:moveTo>
                  <a:pt x="141" y="77"/>
                </a:moveTo>
                <a:cubicBezTo>
                  <a:pt x="67" y="153"/>
                  <a:pt x="67" y="153"/>
                  <a:pt x="67" y="153"/>
                </a:cubicBezTo>
                <a:cubicBezTo>
                  <a:pt x="65" y="155"/>
                  <a:pt x="63" y="155"/>
                  <a:pt x="61" y="153"/>
                </a:cubicBezTo>
                <a:cubicBezTo>
                  <a:pt x="7" y="99"/>
                  <a:pt x="7" y="99"/>
                  <a:pt x="7" y="99"/>
                </a:cubicBezTo>
                <a:cubicBezTo>
                  <a:pt x="5" y="97"/>
                  <a:pt x="5" y="95"/>
                  <a:pt x="7" y="93"/>
                </a:cubicBezTo>
                <a:cubicBezTo>
                  <a:pt x="83" y="16"/>
                  <a:pt x="83" y="16"/>
                  <a:pt x="83" y="16"/>
                </a:cubicBezTo>
                <a:cubicBezTo>
                  <a:pt x="138" y="16"/>
                  <a:pt x="138" y="16"/>
                  <a:pt x="138" y="16"/>
                </a:cubicBezTo>
                <a:cubicBezTo>
                  <a:pt x="125" y="29"/>
                  <a:pt x="125" y="29"/>
                  <a:pt x="125" y="29"/>
                </a:cubicBezTo>
                <a:cubicBezTo>
                  <a:pt x="123" y="27"/>
                  <a:pt x="120" y="27"/>
                  <a:pt x="117" y="27"/>
                </a:cubicBezTo>
                <a:cubicBezTo>
                  <a:pt x="110" y="27"/>
                  <a:pt x="104" y="33"/>
                  <a:pt x="104" y="40"/>
                </a:cubicBezTo>
                <a:cubicBezTo>
                  <a:pt x="104" y="47"/>
                  <a:pt x="110" y="53"/>
                  <a:pt x="117" y="53"/>
                </a:cubicBezTo>
                <a:cubicBezTo>
                  <a:pt x="125" y="53"/>
                  <a:pt x="131" y="47"/>
                  <a:pt x="131" y="40"/>
                </a:cubicBezTo>
                <a:cubicBezTo>
                  <a:pt x="131" y="37"/>
                  <a:pt x="130" y="35"/>
                  <a:pt x="128" y="33"/>
                </a:cubicBezTo>
                <a:cubicBezTo>
                  <a:pt x="141" y="20"/>
                  <a:pt x="141" y="20"/>
                  <a:pt x="141" y="20"/>
                </a:cubicBezTo>
                <a:lnTo>
                  <a:pt x="141" y="77"/>
                </a:lnTo>
                <a:close/>
                <a:moveTo>
                  <a:pt x="125" y="40"/>
                </a:moveTo>
                <a:cubicBezTo>
                  <a:pt x="125" y="44"/>
                  <a:pt x="122" y="48"/>
                  <a:pt x="117" y="48"/>
                </a:cubicBezTo>
                <a:cubicBezTo>
                  <a:pt x="113" y="48"/>
                  <a:pt x="109" y="44"/>
                  <a:pt x="109" y="40"/>
                </a:cubicBezTo>
                <a:cubicBezTo>
                  <a:pt x="109" y="36"/>
                  <a:pt x="113" y="32"/>
                  <a:pt x="117" y="32"/>
                </a:cubicBezTo>
                <a:cubicBezTo>
                  <a:pt x="119" y="32"/>
                  <a:pt x="120" y="32"/>
                  <a:pt x="121" y="33"/>
                </a:cubicBezTo>
                <a:cubicBezTo>
                  <a:pt x="115" y="38"/>
                  <a:pt x="115" y="38"/>
                  <a:pt x="115" y="38"/>
                </a:cubicBezTo>
                <a:cubicBezTo>
                  <a:pt x="114" y="39"/>
                  <a:pt x="114" y="41"/>
                  <a:pt x="115" y="42"/>
                </a:cubicBezTo>
                <a:cubicBezTo>
                  <a:pt x="116" y="42"/>
                  <a:pt x="117" y="43"/>
                  <a:pt x="117" y="43"/>
                </a:cubicBezTo>
                <a:cubicBezTo>
                  <a:pt x="118" y="43"/>
                  <a:pt x="119" y="42"/>
                  <a:pt x="119" y="42"/>
                </a:cubicBezTo>
                <a:cubicBezTo>
                  <a:pt x="125" y="37"/>
                  <a:pt x="125" y="37"/>
                  <a:pt x="125" y="37"/>
                </a:cubicBezTo>
                <a:cubicBezTo>
                  <a:pt x="125" y="38"/>
                  <a:pt x="125" y="39"/>
                  <a:pt x="125" y="40"/>
                </a:cubicBezTo>
                <a:close/>
                <a:moveTo>
                  <a:pt x="111" y="83"/>
                </a:moveTo>
                <a:cubicBezTo>
                  <a:pt x="83" y="112"/>
                  <a:pt x="83" y="112"/>
                  <a:pt x="83" y="112"/>
                </a:cubicBezTo>
                <a:cubicBezTo>
                  <a:pt x="82" y="113"/>
                  <a:pt x="82" y="114"/>
                  <a:pt x="83" y="115"/>
                </a:cubicBezTo>
                <a:cubicBezTo>
                  <a:pt x="84" y="116"/>
                  <a:pt x="84" y="116"/>
                  <a:pt x="85" y="116"/>
                </a:cubicBezTo>
                <a:cubicBezTo>
                  <a:pt x="86" y="116"/>
                  <a:pt x="86" y="116"/>
                  <a:pt x="87" y="115"/>
                </a:cubicBezTo>
                <a:cubicBezTo>
                  <a:pt x="115" y="87"/>
                  <a:pt x="115" y="87"/>
                  <a:pt x="115" y="87"/>
                </a:cubicBezTo>
                <a:cubicBezTo>
                  <a:pt x="116" y="86"/>
                  <a:pt x="116" y="84"/>
                  <a:pt x="115" y="83"/>
                </a:cubicBezTo>
                <a:cubicBezTo>
                  <a:pt x="114" y="82"/>
                  <a:pt x="112" y="82"/>
                  <a:pt x="111" y="83"/>
                </a:cubicBezTo>
                <a:close/>
                <a:moveTo>
                  <a:pt x="121" y="74"/>
                </a:moveTo>
                <a:cubicBezTo>
                  <a:pt x="120" y="74"/>
                  <a:pt x="120" y="75"/>
                  <a:pt x="120" y="76"/>
                </a:cubicBezTo>
                <a:cubicBezTo>
                  <a:pt x="120" y="77"/>
                  <a:pt x="120" y="77"/>
                  <a:pt x="121" y="78"/>
                </a:cubicBezTo>
                <a:cubicBezTo>
                  <a:pt x="121" y="78"/>
                  <a:pt x="122" y="79"/>
                  <a:pt x="123" y="79"/>
                </a:cubicBezTo>
                <a:cubicBezTo>
                  <a:pt x="123" y="79"/>
                  <a:pt x="124" y="78"/>
                  <a:pt x="125" y="78"/>
                </a:cubicBezTo>
                <a:cubicBezTo>
                  <a:pt x="125" y="77"/>
                  <a:pt x="125" y="77"/>
                  <a:pt x="125" y="76"/>
                </a:cubicBezTo>
                <a:cubicBezTo>
                  <a:pt x="125" y="75"/>
                  <a:pt x="125" y="74"/>
                  <a:pt x="125" y="74"/>
                </a:cubicBezTo>
                <a:cubicBezTo>
                  <a:pt x="124" y="73"/>
                  <a:pt x="122" y="73"/>
                  <a:pt x="121" y="74"/>
                </a:cubicBezTo>
                <a:close/>
                <a:moveTo>
                  <a:pt x="98" y="51"/>
                </a:moveTo>
                <a:cubicBezTo>
                  <a:pt x="99" y="50"/>
                  <a:pt x="99" y="49"/>
                  <a:pt x="98" y="48"/>
                </a:cubicBezTo>
                <a:cubicBezTo>
                  <a:pt x="97" y="47"/>
                  <a:pt x="95" y="47"/>
                  <a:pt x="94" y="48"/>
                </a:cubicBezTo>
                <a:cubicBezTo>
                  <a:pt x="66" y="76"/>
                  <a:pt x="66" y="76"/>
                  <a:pt x="66" y="76"/>
                </a:cubicBezTo>
                <a:cubicBezTo>
                  <a:pt x="65" y="77"/>
                  <a:pt x="65" y="79"/>
                  <a:pt x="66" y="80"/>
                </a:cubicBezTo>
                <a:cubicBezTo>
                  <a:pt x="67" y="80"/>
                  <a:pt x="67" y="80"/>
                  <a:pt x="68" y="80"/>
                </a:cubicBezTo>
                <a:cubicBezTo>
                  <a:pt x="69" y="80"/>
                  <a:pt x="69" y="80"/>
                  <a:pt x="70" y="80"/>
                </a:cubicBezTo>
                <a:lnTo>
                  <a:pt x="98" y="51"/>
                </a:lnTo>
                <a:close/>
                <a:moveTo>
                  <a:pt x="89" y="83"/>
                </a:moveTo>
                <a:cubicBezTo>
                  <a:pt x="89" y="84"/>
                  <a:pt x="90" y="84"/>
                  <a:pt x="91" y="84"/>
                </a:cubicBezTo>
                <a:cubicBezTo>
                  <a:pt x="91" y="84"/>
                  <a:pt x="92" y="84"/>
                  <a:pt x="92" y="83"/>
                </a:cubicBezTo>
                <a:cubicBezTo>
                  <a:pt x="111" y="65"/>
                  <a:pt x="111" y="65"/>
                  <a:pt x="111" y="65"/>
                </a:cubicBezTo>
                <a:cubicBezTo>
                  <a:pt x="112" y="64"/>
                  <a:pt x="112" y="62"/>
                  <a:pt x="111" y="61"/>
                </a:cubicBezTo>
                <a:cubicBezTo>
                  <a:pt x="110" y="60"/>
                  <a:pt x="109" y="60"/>
                  <a:pt x="108" y="61"/>
                </a:cubicBezTo>
                <a:cubicBezTo>
                  <a:pt x="89" y="80"/>
                  <a:pt x="89" y="80"/>
                  <a:pt x="89" y="80"/>
                </a:cubicBezTo>
                <a:cubicBezTo>
                  <a:pt x="88" y="81"/>
                  <a:pt x="88" y="82"/>
                  <a:pt x="89" y="83"/>
                </a:cubicBezTo>
                <a:close/>
                <a:moveTo>
                  <a:pt x="74" y="95"/>
                </a:moveTo>
                <a:cubicBezTo>
                  <a:pt x="70" y="99"/>
                  <a:pt x="70" y="99"/>
                  <a:pt x="70" y="99"/>
                </a:cubicBezTo>
                <a:cubicBezTo>
                  <a:pt x="69" y="100"/>
                  <a:pt x="69" y="101"/>
                  <a:pt x="70" y="102"/>
                </a:cubicBezTo>
                <a:cubicBezTo>
                  <a:pt x="70" y="103"/>
                  <a:pt x="71" y="103"/>
                  <a:pt x="72" y="103"/>
                </a:cubicBezTo>
                <a:cubicBezTo>
                  <a:pt x="72" y="103"/>
                  <a:pt x="73" y="103"/>
                  <a:pt x="74" y="102"/>
                </a:cubicBezTo>
                <a:cubicBezTo>
                  <a:pt x="77" y="99"/>
                  <a:pt x="77" y="99"/>
                  <a:pt x="77" y="99"/>
                </a:cubicBezTo>
                <a:cubicBezTo>
                  <a:pt x="78" y="97"/>
                  <a:pt x="78" y="96"/>
                  <a:pt x="77" y="95"/>
                </a:cubicBezTo>
                <a:cubicBezTo>
                  <a:pt x="76" y="94"/>
                  <a:pt x="75" y="94"/>
                  <a:pt x="74" y="95"/>
                </a:cubicBezTo>
                <a:close/>
                <a:moveTo>
                  <a:pt x="45" y="77"/>
                </a:moveTo>
                <a:cubicBezTo>
                  <a:pt x="46" y="77"/>
                  <a:pt x="47" y="76"/>
                  <a:pt x="47" y="76"/>
                </a:cubicBezTo>
                <a:cubicBezTo>
                  <a:pt x="76" y="48"/>
                  <a:pt x="76" y="48"/>
                  <a:pt x="76" y="48"/>
                </a:cubicBezTo>
                <a:cubicBezTo>
                  <a:pt x="77" y="47"/>
                  <a:pt x="77" y="45"/>
                  <a:pt x="76" y="44"/>
                </a:cubicBezTo>
                <a:cubicBezTo>
                  <a:pt x="74" y="43"/>
                  <a:pt x="73" y="43"/>
                  <a:pt x="72" y="44"/>
                </a:cubicBezTo>
                <a:cubicBezTo>
                  <a:pt x="43" y="72"/>
                  <a:pt x="43" y="72"/>
                  <a:pt x="43" y="72"/>
                </a:cubicBezTo>
                <a:cubicBezTo>
                  <a:pt x="42" y="73"/>
                  <a:pt x="42" y="75"/>
                  <a:pt x="43" y="76"/>
                </a:cubicBezTo>
                <a:cubicBezTo>
                  <a:pt x="44" y="76"/>
                  <a:pt x="45" y="77"/>
                  <a:pt x="45" y="77"/>
                </a:cubicBezTo>
                <a:close/>
                <a:moveTo>
                  <a:pt x="83" y="39"/>
                </a:moveTo>
                <a:cubicBezTo>
                  <a:pt x="84" y="39"/>
                  <a:pt x="84" y="39"/>
                  <a:pt x="85" y="38"/>
                </a:cubicBezTo>
                <a:cubicBezTo>
                  <a:pt x="85" y="38"/>
                  <a:pt x="86" y="37"/>
                  <a:pt x="86" y="36"/>
                </a:cubicBezTo>
                <a:cubicBezTo>
                  <a:pt x="86" y="36"/>
                  <a:pt x="85" y="35"/>
                  <a:pt x="85" y="34"/>
                </a:cubicBezTo>
                <a:cubicBezTo>
                  <a:pt x="84" y="33"/>
                  <a:pt x="82" y="33"/>
                  <a:pt x="81" y="34"/>
                </a:cubicBezTo>
                <a:cubicBezTo>
                  <a:pt x="81" y="35"/>
                  <a:pt x="80" y="36"/>
                  <a:pt x="80" y="36"/>
                </a:cubicBezTo>
                <a:cubicBezTo>
                  <a:pt x="80" y="37"/>
                  <a:pt x="81" y="38"/>
                  <a:pt x="81" y="38"/>
                </a:cubicBezTo>
                <a:cubicBezTo>
                  <a:pt x="82" y="39"/>
                  <a:pt x="82" y="39"/>
                  <a:pt x="83" y="39"/>
                </a:cubicBezTo>
                <a:close/>
                <a:moveTo>
                  <a:pt x="59" y="83"/>
                </a:moveTo>
                <a:cubicBezTo>
                  <a:pt x="58" y="84"/>
                  <a:pt x="58" y="85"/>
                  <a:pt x="58" y="85"/>
                </a:cubicBezTo>
                <a:cubicBezTo>
                  <a:pt x="58" y="86"/>
                  <a:pt x="58" y="87"/>
                  <a:pt x="59" y="87"/>
                </a:cubicBezTo>
                <a:cubicBezTo>
                  <a:pt x="59" y="88"/>
                  <a:pt x="60" y="88"/>
                  <a:pt x="60" y="88"/>
                </a:cubicBezTo>
                <a:cubicBezTo>
                  <a:pt x="61" y="88"/>
                  <a:pt x="62" y="88"/>
                  <a:pt x="62" y="87"/>
                </a:cubicBezTo>
                <a:cubicBezTo>
                  <a:pt x="63" y="87"/>
                  <a:pt x="63" y="86"/>
                  <a:pt x="63" y="85"/>
                </a:cubicBezTo>
                <a:cubicBezTo>
                  <a:pt x="63" y="85"/>
                  <a:pt x="63" y="84"/>
                  <a:pt x="62" y="83"/>
                </a:cubicBezTo>
                <a:cubicBezTo>
                  <a:pt x="61" y="82"/>
                  <a:pt x="60" y="82"/>
                  <a:pt x="59" y="83"/>
                </a:cubicBezTo>
                <a:close/>
                <a:moveTo>
                  <a:pt x="85" y="91"/>
                </a:moveTo>
                <a:cubicBezTo>
                  <a:pt x="85" y="90"/>
                  <a:pt x="86" y="90"/>
                  <a:pt x="86" y="89"/>
                </a:cubicBezTo>
                <a:cubicBezTo>
                  <a:pt x="86" y="88"/>
                  <a:pt x="85" y="88"/>
                  <a:pt x="85" y="87"/>
                </a:cubicBezTo>
                <a:cubicBezTo>
                  <a:pt x="84" y="86"/>
                  <a:pt x="82" y="86"/>
                  <a:pt x="81" y="87"/>
                </a:cubicBezTo>
                <a:cubicBezTo>
                  <a:pt x="81" y="88"/>
                  <a:pt x="80" y="88"/>
                  <a:pt x="80" y="89"/>
                </a:cubicBezTo>
                <a:cubicBezTo>
                  <a:pt x="80" y="90"/>
                  <a:pt x="81" y="90"/>
                  <a:pt x="81" y="91"/>
                </a:cubicBezTo>
                <a:cubicBezTo>
                  <a:pt x="82" y="91"/>
                  <a:pt x="82" y="92"/>
                  <a:pt x="83" y="92"/>
                </a:cubicBezTo>
                <a:cubicBezTo>
                  <a:pt x="84" y="92"/>
                  <a:pt x="84" y="91"/>
                  <a:pt x="85" y="91"/>
                </a:cubicBezTo>
                <a:close/>
                <a:moveTo>
                  <a:pt x="64" y="127"/>
                </a:moveTo>
                <a:cubicBezTo>
                  <a:pt x="66" y="125"/>
                  <a:pt x="67" y="122"/>
                  <a:pt x="67" y="119"/>
                </a:cubicBezTo>
                <a:cubicBezTo>
                  <a:pt x="66" y="116"/>
                  <a:pt x="65" y="114"/>
                  <a:pt x="63" y="112"/>
                </a:cubicBezTo>
                <a:cubicBezTo>
                  <a:pt x="61" y="110"/>
                  <a:pt x="58" y="110"/>
                  <a:pt x="56" y="110"/>
                </a:cubicBezTo>
                <a:cubicBezTo>
                  <a:pt x="48" y="111"/>
                  <a:pt x="48" y="111"/>
                  <a:pt x="48" y="111"/>
                </a:cubicBezTo>
                <a:cubicBezTo>
                  <a:pt x="38" y="101"/>
                  <a:pt x="38" y="101"/>
                  <a:pt x="38" y="101"/>
                </a:cubicBezTo>
                <a:cubicBezTo>
                  <a:pt x="41" y="99"/>
                  <a:pt x="45" y="100"/>
                  <a:pt x="47" y="102"/>
                </a:cubicBezTo>
                <a:cubicBezTo>
                  <a:pt x="48" y="103"/>
                  <a:pt x="50" y="103"/>
                  <a:pt x="51" y="102"/>
                </a:cubicBezTo>
                <a:cubicBezTo>
                  <a:pt x="52" y="101"/>
                  <a:pt x="52" y="100"/>
                  <a:pt x="51" y="99"/>
                </a:cubicBezTo>
                <a:cubicBezTo>
                  <a:pt x="46" y="94"/>
                  <a:pt x="39" y="93"/>
                  <a:pt x="34" y="97"/>
                </a:cubicBezTo>
                <a:cubicBezTo>
                  <a:pt x="32" y="95"/>
                  <a:pt x="32" y="95"/>
                  <a:pt x="32" y="95"/>
                </a:cubicBezTo>
                <a:cubicBezTo>
                  <a:pt x="31" y="94"/>
                  <a:pt x="29" y="94"/>
                  <a:pt x="28" y="95"/>
                </a:cubicBezTo>
                <a:cubicBezTo>
                  <a:pt x="27" y="96"/>
                  <a:pt x="27" y="97"/>
                  <a:pt x="28" y="99"/>
                </a:cubicBezTo>
                <a:cubicBezTo>
                  <a:pt x="30" y="101"/>
                  <a:pt x="30" y="101"/>
                  <a:pt x="30" y="101"/>
                </a:cubicBezTo>
                <a:cubicBezTo>
                  <a:pt x="29" y="103"/>
                  <a:pt x="28" y="106"/>
                  <a:pt x="28" y="109"/>
                </a:cubicBezTo>
                <a:cubicBezTo>
                  <a:pt x="28" y="112"/>
                  <a:pt x="30" y="114"/>
                  <a:pt x="32" y="115"/>
                </a:cubicBezTo>
                <a:cubicBezTo>
                  <a:pt x="34" y="117"/>
                  <a:pt x="36" y="118"/>
                  <a:pt x="39" y="118"/>
                </a:cubicBezTo>
                <a:cubicBezTo>
                  <a:pt x="46" y="117"/>
                  <a:pt x="46" y="117"/>
                  <a:pt x="46" y="117"/>
                </a:cubicBezTo>
                <a:cubicBezTo>
                  <a:pt x="57" y="127"/>
                  <a:pt x="57" y="127"/>
                  <a:pt x="57" y="127"/>
                </a:cubicBezTo>
                <a:cubicBezTo>
                  <a:pt x="54" y="128"/>
                  <a:pt x="50" y="128"/>
                  <a:pt x="48" y="125"/>
                </a:cubicBezTo>
                <a:cubicBezTo>
                  <a:pt x="47" y="124"/>
                  <a:pt x="45" y="124"/>
                  <a:pt x="44" y="125"/>
                </a:cubicBezTo>
                <a:cubicBezTo>
                  <a:pt x="43" y="126"/>
                  <a:pt x="43" y="128"/>
                  <a:pt x="44" y="129"/>
                </a:cubicBezTo>
                <a:cubicBezTo>
                  <a:pt x="46" y="132"/>
                  <a:pt x="50" y="133"/>
                  <a:pt x="53" y="133"/>
                </a:cubicBezTo>
                <a:cubicBezTo>
                  <a:pt x="56" y="133"/>
                  <a:pt x="58" y="132"/>
                  <a:pt x="61" y="131"/>
                </a:cubicBezTo>
                <a:cubicBezTo>
                  <a:pt x="62" y="132"/>
                  <a:pt x="62" y="132"/>
                  <a:pt x="62" y="132"/>
                </a:cubicBezTo>
                <a:cubicBezTo>
                  <a:pt x="63" y="133"/>
                  <a:pt x="64" y="133"/>
                  <a:pt x="64" y="133"/>
                </a:cubicBezTo>
                <a:cubicBezTo>
                  <a:pt x="65" y="133"/>
                  <a:pt x="66" y="133"/>
                  <a:pt x="66" y="132"/>
                </a:cubicBezTo>
                <a:cubicBezTo>
                  <a:pt x="67" y="131"/>
                  <a:pt x="67" y="130"/>
                  <a:pt x="66" y="129"/>
                </a:cubicBezTo>
                <a:lnTo>
                  <a:pt x="64" y="127"/>
                </a:lnTo>
                <a:close/>
                <a:moveTo>
                  <a:pt x="38" y="112"/>
                </a:moveTo>
                <a:cubicBezTo>
                  <a:pt x="37" y="112"/>
                  <a:pt x="36" y="112"/>
                  <a:pt x="35" y="111"/>
                </a:cubicBezTo>
                <a:cubicBezTo>
                  <a:pt x="34" y="111"/>
                  <a:pt x="34" y="110"/>
                  <a:pt x="34" y="109"/>
                </a:cubicBezTo>
                <a:cubicBezTo>
                  <a:pt x="33" y="107"/>
                  <a:pt x="34" y="106"/>
                  <a:pt x="34" y="105"/>
                </a:cubicBezTo>
                <a:cubicBezTo>
                  <a:pt x="42" y="112"/>
                  <a:pt x="42" y="112"/>
                  <a:pt x="42" y="112"/>
                </a:cubicBezTo>
                <a:lnTo>
                  <a:pt x="38" y="112"/>
                </a:lnTo>
                <a:close/>
                <a:moveTo>
                  <a:pt x="57" y="115"/>
                </a:moveTo>
                <a:cubicBezTo>
                  <a:pt x="58" y="115"/>
                  <a:pt x="59" y="116"/>
                  <a:pt x="60" y="116"/>
                </a:cubicBezTo>
                <a:cubicBezTo>
                  <a:pt x="61" y="117"/>
                  <a:pt x="61" y="118"/>
                  <a:pt x="61" y="119"/>
                </a:cubicBezTo>
                <a:cubicBezTo>
                  <a:pt x="61" y="120"/>
                  <a:pt x="61" y="122"/>
                  <a:pt x="60" y="123"/>
                </a:cubicBezTo>
                <a:cubicBezTo>
                  <a:pt x="53" y="116"/>
                  <a:pt x="53" y="116"/>
                  <a:pt x="53" y="116"/>
                </a:cubicBezTo>
                <a:lnTo>
                  <a:pt x="57" y="1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8" name="Freeform 1139">
            <a:extLst>
              <a:ext uri="{FF2B5EF4-FFF2-40B4-BE49-F238E27FC236}">
                <a16:creationId xmlns:a16="http://schemas.microsoft.com/office/drawing/2014/main" id="{CB5482B3-A551-460A-BE34-486F10E2E431}"/>
              </a:ext>
            </a:extLst>
          </p:cNvPr>
          <p:cNvSpPr>
            <a:spLocks noEditPoints="1"/>
          </p:cNvSpPr>
          <p:nvPr/>
        </p:nvSpPr>
        <p:spPr bwMode="auto">
          <a:xfrm>
            <a:off x="7673626" y="3302303"/>
            <a:ext cx="547688" cy="481013"/>
          </a:xfrm>
          <a:custGeom>
            <a:avLst/>
            <a:gdLst>
              <a:gd name="T0" fmla="*/ 5 w 160"/>
              <a:gd name="T1" fmla="*/ 139 h 139"/>
              <a:gd name="T2" fmla="*/ 128 w 160"/>
              <a:gd name="T3" fmla="*/ 139 h 139"/>
              <a:gd name="T4" fmla="*/ 160 w 160"/>
              <a:gd name="T5" fmla="*/ 107 h 139"/>
              <a:gd name="T6" fmla="*/ 160 w 160"/>
              <a:gd name="T7" fmla="*/ 0 h 139"/>
              <a:gd name="T8" fmla="*/ 11 w 160"/>
              <a:gd name="T9" fmla="*/ 128 h 139"/>
              <a:gd name="T10" fmla="*/ 133 w 160"/>
              <a:gd name="T11" fmla="*/ 133 h 139"/>
              <a:gd name="T12" fmla="*/ 144 w 160"/>
              <a:gd name="T13" fmla="*/ 21 h 139"/>
              <a:gd name="T14" fmla="*/ 144 w 160"/>
              <a:gd name="T15" fmla="*/ 91 h 139"/>
              <a:gd name="T16" fmla="*/ 144 w 160"/>
              <a:gd name="T17" fmla="*/ 112 h 139"/>
              <a:gd name="T18" fmla="*/ 144 w 160"/>
              <a:gd name="T19" fmla="*/ 21 h 139"/>
              <a:gd name="T20" fmla="*/ 149 w 160"/>
              <a:gd name="T21" fmla="*/ 32 h 139"/>
              <a:gd name="T22" fmla="*/ 139 w 160"/>
              <a:gd name="T23" fmla="*/ 101 h 139"/>
              <a:gd name="T24" fmla="*/ 155 w 160"/>
              <a:gd name="T25" fmla="*/ 101 h 139"/>
              <a:gd name="T26" fmla="*/ 149 w 160"/>
              <a:gd name="T27" fmla="*/ 91 h 139"/>
              <a:gd name="T28" fmla="*/ 149 w 160"/>
              <a:gd name="T29" fmla="*/ 21 h 139"/>
              <a:gd name="T30" fmla="*/ 11 w 160"/>
              <a:gd name="T31" fmla="*/ 16 h 139"/>
              <a:gd name="T32" fmla="*/ 149 w 160"/>
              <a:gd name="T33" fmla="*/ 112 h 139"/>
              <a:gd name="T34" fmla="*/ 128 w 160"/>
              <a:gd name="T35" fmla="*/ 123 h 139"/>
              <a:gd name="T36" fmla="*/ 155 w 160"/>
              <a:gd name="T37" fmla="*/ 5 h 139"/>
              <a:gd name="T38" fmla="*/ 56 w 160"/>
              <a:gd name="T39" fmla="*/ 64 h 139"/>
              <a:gd name="T40" fmla="*/ 24 w 160"/>
              <a:gd name="T41" fmla="*/ 67 h 139"/>
              <a:gd name="T42" fmla="*/ 31 w 160"/>
              <a:gd name="T43" fmla="*/ 87 h 139"/>
              <a:gd name="T44" fmla="*/ 51 w 160"/>
              <a:gd name="T45" fmla="*/ 82 h 139"/>
              <a:gd name="T46" fmla="*/ 56 w 160"/>
              <a:gd name="T47" fmla="*/ 82 h 139"/>
              <a:gd name="T48" fmla="*/ 76 w 160"/>
              <a:gd name="T49" fmla="*/ 87 h 139"/>
              <a:gd name="T50" fmla="*/ 83 w 160"/>
              <a:gd name="T51" fmla="*/ 67 h 139"/>
              <a:gd name="T52" fmla="*/ 68 w 160"/>
              <a:gd name="T53" fmla="*/ 53 h 139"/>
              <a:gd name="T54" fmla="*/ 64 w 160"/>
              <a:gd name="T55" fmla="*/ 49 h 139"/>
              <a:gd name="T56" fmla="*/ 51 w 160"/>
              <a:gd name="T57" fmla="*/ 35 h 139"/>
              <a:gd name="T58" fmla="*/ 31 w 160"/>
              <a:gd name="T59" fmla="*/ 41 h 139"/>
              <a:gd name="T60" fmla="*/ 24 w 160"/>
              <a:gd name="T61" fmla="*/ 61 h 139"/>
              <a:gd name="T62" fmla="*/ 67 w 160"/>
              <a:gd name="T63" fmla="*/ 64 h 139"/>
              <a:gd name="T64" fmla="*/ 99 w 160"/>
              <a:gd name="T65" fmla="*/ 64 h 139"/>
              <a:gd name="T66" fmla="*/ 101 w 160"/>
              <a:gd name="T67" fmla="*/ 69 h 139"/>
              <a:gd name="T68" fmla="*/ 109 w 160"/>
              <a:gd name="T69" fmla="*/ 67 h 139"/>
              <a:gd name="T70" fmla="*/ 115 w 160"/>
              <a:gd name="T71" fmla="*/ 67 h 139"/>
              <a:gd name="T72" fmla="*/ 123 w 160"/>
              <a:gd name="T73" fmla="*/ 69 h 139"/>
              <a:gd name="T74" fmla="*/ 125 w 160"/>
              <a:gd name="T75" fmla="*/ 64 h 139"/>
              <a:gd name="T76" fmla="*/ 99 w 160"/>
              <a:gd name="T77" fmla="*/ 83 h 139"/>
              <a:gd name="T78" fmla="*/ 112 w 160"/>
              <a:gd name="T79" fmla="*/ 75 h 139"/>
              <a:gd name="T80" fmla="*/ 115 w 160"/>
              <a:gd name="T81" fmla="*/ 80 h 139"/>
              <a:gd name="T82" fmla="*/ 123 w 160"/>
              <a:gd name="T83" fmla="*/ 77 h 139"/>
              <a:gd name="T84" fmla="*/ 128 w 160"/>
              <a:gd name="T85" fmla="*/ 77 h 139"/>
              <a:gd name="T86" fmla="*/ 96 w 160"/>
              <a:gd name="T87" fmla="*/ 91 h 139"/>
              <a:gd name="T88" fmla="*/ 99 w 160"/>
              <a:gd name="T89" fmla="*/ 85 h 139"/>
              <a:gd name="T90" fmla="*/ 112 w 160"/>
              <a:gd name="T91" fmla="*/ 93 h 139"/>
              <a:gd name="T92" fmla="*/ 125 w 160"/>
              <a:gd name="T93" fmla="*/ 85 h 139"/>
              <a:gd name="T94" fmla="*/ 128 w 160"/>
              <a:gd name="T95" fmla="*/ 91 h 139"/>
              <a:gd name="T96" fmla="*/ 93 w 160"/>
              <a:gd name="T97" fmla="*/ 40 h 139"/>
              <a:gd name="T98" fmla="*/ 125 w 160"/>
              <a:gd name="T99" fmla="*/ 51 h 139"/>
              <a:gd name="T100" fmla="*/ 125 w 160"/>
              <a:gd name="T101" fmla="*/ 5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139">
                <a:moveTo>
                  <a:pt x="0" y="0"/>
                </a:moveTo>
                <a:cubicBezTo>
                  <a:pt x="0" y="128"/>
                  <a:pt x="0" y="128"/>
                  <a:pt x="0" y="128"/>
                </a:cubicBezTo>
                <a:cubicBezTo>
                  <a:pt x="5" y="128"/>
                  <a:pt x="5" y="128"/>
                  <a:pt x="5" y="128"/>
                </a:cubicBezTo>
                <a:cubicBezTo>
                  <a:pt x="5" y="139"/>
                  <a:pt x="5" y="139"/>
                  <a:pt x="5" y="139"/>
                </a:cubicBezTo>
                <a:cubicBezTo>
                  <a:pt x="32" y="139"/>
                  <a:pt x="32" y="139"/>
                  <a:pt x="32" y="139"/>
                </a:cubicBezTo>
                <a:cubicBezTo>
                  <a:pt x="32" y="128"/>
                  <a:pt x="32" y="128"/>
                  <a:pt x="32" y="128"/>
                </a:cubicBezTo>
                <a:cubicBezTo>
                  <a:pt x="128" y="128"/>
                  <a:pt x="128" y="128"/>
                  <a:pt x="128" y="128"/>
                </a:cubicBezTo>
                <a:cubicBezTo>
                  <a:pt x="128" y="139"/>
                  <a:pt x="128" y="139"/>
                  <a:pt x="128" y="139"/>
                </a:cubicBezTo>
                <a:cubicBezTo>
                  <a:pt x="155" y="139"/>
                  <a:pt x="155" y="139"/>
                  <a:pt x="155" y="139"/>
                </a:cubicBezTo>
                <a:cubicBezTo>
                  <a:pt x="155" y="128"/>
                  <a:pt x="155" y="128"/>
                  <a:pt x="155" y="128"/>
                </a:cubicBezTo>
                <a:cubicBezTo>
                  <a:pt x="160" y="128"/>
                  <a:pt x="160" y="128"/>
                  <a:pt x="160" y="128"/>
                </a:cubicBezTo>
                <a:cubicBezTo>
                  <a:pt x="160" y="107"/>
                  <a:pt x="160" y="107"/>
                  <a:pt x="160" y="107"/>
                </a:cubicBezTo>
                <a:cubicBezTo>
                  <a:pt x="160" y="91"/>
                  <a:pt x="160" y="91"/>
                  <a:pt x="160" y="91"/>
                </a:cubicBezTo>
                <a:cubicBezTo>
                  <a:pt x="160" y="37"/>
                  <a:pt x="160" y="37"/>
                  <a:pt x="160" y="37"/>
                </a:cubicBezTo>
                <a:cubicBezTo>
                  <a:pt x="160" y="21"/>
                  <a:pt x="160" y="21"/>
                  <a:pt x="160" y="21"/>
                </a:cubicBezTo>
                <a:cubicBezTo>
                  <a:pt x="160" y="0"/>
                  <a:pt x="160" y="0"/>
                  <a:pt x="160" y="0"/>
                </a:cubicBezTo>
                <a:lnTo>
                  <a:pt x="0" y="0"/>
                </a:lnTo>
                <a:close/>
                <a:moveTo>
                  <a:pt x="27" y="133"/>
                </a:moveTo>
                <a:cubicBezTo>
                  <a:pt x="11" y="133"/>
                  <a:pt x="11" y="133"/>
                  <a:pt x="11" y="133"/>
                </a:cubicBezTo>
                <a:cubicBezTo>
                  <a:pt x="11" y="128"/>
                  <a:pt x="11" y="128"/>
                  <a:pt x="11" y="128"/>
                </a:cubicBezTo>
                <a:cubicBezTo>
                  <a:pt x="27" y="128"/>
                  <a:pt x="27" y="128"/>
                  <a:pt x="27" y="128"/>
                </a:cubicBezTo>
                <a:lnTo>
                  <a:pt x="27" y="133"/>
                </a:lnTo>
                <a:close/>
                <a:moveTo>
                  <a:pt x="149" y="133"/>
                </a:moveTo>
                <a:cubicBezTo>
                  <a:pt x="133" y="133"/>
                  <a:pt x="133" y="133"/>
                  <a:pt x="133" y="133"/>
                </a:cubicBezTo>
                <a:cubicBezTo>
                  <a:pt x="133" y="128"/>
                  <a:pt x="133" y="128"/>
                  <a:pt x="133" y="128"/>
                </a:cubicBezTo>
                <a:cubicBezTo>
                  <a:pt x="149" y="128"/>
                  <a:pt x="149" y="128"/>
                  <a:pt x="149" y="128"/>
                </a:cubicBezTo>
                <a:lnTo>
                  <a:pt x="149" y="133"/>
                </a:lnTo>
                <a:close/>
                <a:moveTo>
                  <a:pt x="144" y="21"/>
                </a:moveTo>
                <a:cubicBezTo>
                  <a:pt x="133" y="21"/>
                  <a:pt x="133" y="21"/>
                  <a:pt x="133" y="21"/>
                </a:cubicBezTo>
                <a:cubicBezTo>
                  <a:pt x="133" y="37"/>
                  <a:pt x="133" y="37"/>
                  <a:pt x="133" y="37"/>
                </a:cubicBezTo>
                <a:cubicBezTo>
                  <a:pt x="144" y="37"/>
                  <a:pt x="144" y="37"/>
                  <a:pt x="144" y="37"/>
                </a:cubicBezTo>
                <a:cubicBezTo>
                  <a:pt x="144" y="91"/>
                  <a:pt x="144" y="91"/>
                  <a:pt x="144" y="91"/>
                </a:cubicBezTo>
                <a:cubicBezTo>
                  <a:pt x="133" y="91"/>
                  <a:pt x="133" y="91"/>
                  <a:pt x="133" y="91"/>
                </a:cubicBezTo>
                <a:cubicBezTo>
                  <a:pt x="133" y="107"/>
                  <a:pt x="133" y="107"/>
                  <a:pt x="133" y="107"/>
                </a:cubicBezTo>
                <a:cubicBezTo>
                  <a:pt x="144" y="107"/>
                  <a:pt x="144" y="107"/>
                  <a:pt x="144" y="107"/>
                </a:cubicBezTo>
                <a:cubicBezTo>
                  <a:pt x="144" y="112"/>
                  <a:pt x="144" y="112"/>
                  <a:pt x="144" y="112"/>
                </a:cubicBezTo>
                <a:cubicBezTo>
                  <a:pt x="16" y="112"/>
                  <a:pt x="16" y="112"/>
                  <a:pt x="16" y="112"/>
                </a:cubicBezTo>
                <a:cubicBezTo>
                  <a:pt x="16" y="16"/>
                  <a:pt x="16" y="16"/>
                  <a:pt x="16" y="16"/>
                </a:cubicBezTo>
                <a:cubicBezTo>
                  <a:pt x="144" y="16"/>
                  <a:pt x="144" y="16"/>
                  <a:pt x="144" y="16"/>
                </a:cubicBezTo>
                <a:lnTo>
                  <a:pt x="144" y="21"/>
                </a:lnTo>
                <a:close/>
                <a:moveTo>
                  <a:pt x="149" y="27"/>
                </a:moveTo>
                <a:cubicBezTo>
                  <a:pt x="155" y="27"/>
                  <a:pt x="155" y="27"/>
                  <a:pt x="155" y="27"/>
                </a:cubicBezTo>
                <a:cubicBezTo>
                  <a:pt x="155" y="32"/>
                  <a:pt x="155" y="32"/>
                  <a:pt x="155" y="32"/>
                </a:cubicBezTo>
                <a:cubicBezTo>
                  <a:pt x="149" y="32"/>
                  <a:pt x="149" y="32"/>
                  <a:pt x="149" y="32"/>
                </a:cubicBezTo>
                <a:cubicBezTo>
                  <a:pt x="139" y="32"/>
                  <a:pt x="139" y="32"/>
                  <a:pt x="139" y="32"/>
                </a:cubicBezTo>
                <a:cubicBezTo>
                  <a:pt x="139" y="27"/>
                  <a:pt x="139" y="27"/>
                  <a:pt x="139" y="27"/>
                </a:cubicBezTo>
                <a:lnTo>
                  <a:pt x="149" y="27"/>
                </a:lnTo>
                <a:close/>
                <a:moveTo>
                  <a:pt x="139" y="101"/>
                </a:moveTo>
                <a:cubicBezTo>
                  <a:pt x="139" y="96"/>
                  <a:pt x="139" y="96"/>
                  <a:pt x="139" y="96"/>
                </a:cubicBezTo>
                <a:cubicBezTo>
                  <a:pt x="149" y="96"/>
                  <a:pt x="149" y="96"/>
                  <a:pt x="149" y="96"/>
                </a:cubicBezTo>
                <a:cubicBezTo>
                  <a:pt x="155" y="96"/>
                  <a:pt x="155" y="96"/>
                  <a:pt x="155" y="96"/>
                </a:cubicBezTo>
                <a:cubicBezTo>
                  <a:pt x="155" y="101"/>
                  <a:pt x="155" y="101"/>
                  <a:pt x="155" y="101"/>
                </a:cubicBezTo>
                <a:cubicBezTo>
                  <a:pt x="149" y="101"/>
                  <a:pt x="149" y="101"/>
                  <a:pt x="149" y="101"/>
                </a:cubicBezTo>
                <a:lnTo>
                  <a:pt x="139" y="101"/>
                </a:lnTo>
                <a:close/>
                <a:moveTo>
                  <a:pt x="155" y="91"/>
                </a:moveTo>
                <a:cubicBezTo>
                  <a:pt x="149" y="91"/>
                  <a:pt x="149" y="91"/>
                  <a:pt x="149" y="91"/>
                </a:cubicBezTo>
                <a:cubicBezTo>
                  <a:pt x="149" y="37"/>
                  <a:pt x="149" y="37"/>
                  <a:pt x="149" y="37"/>
                </a:cubicBezTo>
                <a:cubicBezTo>
                  <a:pt x="155" y="37"/>
                  <a:pt x="155" y="37"/>
                  <a:pt x="155" y="37"/>
                </a:cubicBezTo>
                <a:lnTo>
                  <a:pt x="155" y="91"/>
                </a:lnTo>
                <a:close/>
                <a:moveTo>
                  <a:pt x="149" y="21"/>
                </a:moveTo>
                <a:cubicBezTo>
                  <a:pt x="149" y="16"/>
                  <a:pt x="149" y="16"/>
                  <a:pt x="149" y="16"/>
                </a:cubicBezTo>
                <a:cubicBezTo>
                  <a:pt x="149" y="13"/>
                  <a:pt x="147" y="11"/>
                  <a:pt x="144" y="11"/>
                </a:cubicBezTo>
                <a:cubicBezTo>
                  <a:pt x="16" y="11"/>
                  <a:pt x="16" y="11"/>
                  <a:pt x="16" y="11"/>
                </a:cubicBezTo>
                <a:cubicBezTo>
                  <a:pt x="13" y="11"/>
                  <a:pt x="11" y="13"/>
                  <a:pt x="11" y="16"/>
                </a:cubicBezTo>
                <a:cubicBezTo>
                  <a:pt x="11" y="112"/>
                  <a:pt x="11" y="112"/>
                  <a:pt x="11" y="112"/>
                </a:cubicBezTo>
                <a:cubicBezTo>
                  <a:pt x="11" y="115"/>
                  <a:pt x="13" y="117"/>
                  <a:pt x="16" y="117"/>
                </a:cubicBezTo>
                <a:cubicBezTo>
                  <a:pt x="144" y="117"/>
                  <a:pt x="144" y="117"/>
                  <a:pt x="144" y="117"/>
                </a:cubicBezTo>
                <a:cubicBezTo>
                  <a:pt x="147" y="117"/>
                  <a:pt x="149" y="115"/>
                  <a:pt x="149" y="112"/>
                </a:cubicBezTo>
                <a:cubicBezTo>
                  <a:pt x="149" y="107"/>
                  <a:pt x="149" y="107"/>
                  <a:pt x="149" y="107"/>
                </a:cubicBezTo>
                <a:cubicBezTo>
                  <a:pt x="155" y="107"/>
                  <a:pt x="155" y="107"/>
                  <a:pt x="155" y="107"/>
                </a:cubicBezTo>
                <a:cubicBezTo>
                  <a:pt x="155" y="123"/>
                  <a:pt x="155" y="123"/>
                  <a:pt x="155" y="123"/>
                </a:cubicBezTo>
                <a:cubicBezTo>
                  <a:pt x="128" y="123"/>
                  <a:pt x="128" y="123"/>
                  <a:pt x="128" y="123"/>
                </a:cubicBezTo>
                <a:cubicBezTo>
                  <a:pt x="32" y="123"/>
                  <a:pt x="32" y="123"/>
                  <a:pt x="32" y="123"/>
                </a:cubicBezTo>
                <a:cubicBezTo>
                  <a:pt x="5" y="123"/>
                  <a:pt x="5" y="123"/>
                  <a:pt x="5" y="123"/>
                </a:cubicBezTo>
                <a:cubicBezTo>
                  <a:pt x="5" y="5"/>
                  <a:pt x="5" y="5"/>
                  <a:pt x="5" y="5"/>
                </a:cubicBezTo>
                <a:cubicBezTo>
                  <a:pt x="155" y="5"/>
                  <a:pt x="155" y="5"/>
                  <a:pt x="155" y="5"/>
                </a:cubicBezTo>
                <a:cubicBezTo>
                  <a:pt x="155" y="21"/>
                  <a:pt x="155" y="21"/>
                  <a:pt x="155" y="21"/>
                </a:cubicBezTo>
                <a:lnTo>
                  <a:pt x="149" y="21"/>
                </a:lnTo>
                <a:close/>
                <a:moveTo>
                  <a:pt x="53" y="61"/>
                </a:moveTo>
                <a:cubicBezTo>
                  <a:pt x="55" y="61"/>
                  <a:pt x="56" y="63"/>
                  <a:pt x="56" y="64"/>
                </a:cubicBezTo>
                <a:cubicBezTo>
                  <a:pt x="56" y="65"/>
                  <a:pt x="55" y="67"/>
                  <a:pt x="53" y="67"/>
                </a:cubicBezTo>
                <a:cubicBezTo>
                  <a:pt x="52" y="67"/>
                  <a:pt x="51" y="65"/>
                  <a:pt x="51" y="64"/>
                </a:cubicBezTo>
                <a:cubicBezTo>
                  <a:pt x="51" y="63"/>
                  <a:pt x="52" y="61"/>
                  <a:pt x="53" y="61"/>
                </a:cubicBezTo>
                <a:close/>
                <a:moveTo>
                  <a:pt x="24" y="67"/>
                </a:moveTo>
                <a:cubicBezTo>
                  <a:pt x="35" y="67"/>
                  <a:pt x="35" y="67"/>
                  <a:pt x="35" y="67"/>
                </a:cubicBezTo>
                <a:cubicBezTo>
                  <a:pt x="35" y="70"/>
                  <a:pt x="37" y="73"/>
                  <a:pt x="38" y="75"/>
                </a:cubicBezTo>
                <a:cubicBezTo>
                  <a:pt x="31" y="83"/>
                  <a:pt x="31" y="83"/>
                  <a:pt x="31" y="83"/>
                </a:cubicBezTo>
                <a:cubicBezTo>
                  <a:pt x="30" y="84"/>
                  <a:pt x="30" y="86"/>
                  <a:pt x="31" y="87"/>
                </a:cubicBezTo>
                <a:cubicBezTo>
                  <a:pt x="31" y="87"/>
                  <a:pt x="32" y="87"/>
                  <a:pt x="33" y="87"/>
                </a:cubicBezTo>
                <a:cubicBezTo>
                  <a:pt x="33" y="87"/>
                  <a:pt x="34" y="87"/>
                  <a:pt x="34" y="87"/>
                </a:cubicBezTo>
                <a:cubicBezTo>
                  <a:pt x="42" y="79"/>
                  <a:pt x="42" y="79"/>
                  <a:pt x="42" y="79"/>
                </a:cubicBezTo>
                <a:cubicBezTo>
                  <a:pt x="45" y="81"/>
                  <a:pt x="48" y="82"/>
                  <a:pt x="51" y="82"/>
                </a:cubicBezTo>
                <a:cubicBezTo>
                  <a:pt x="51" y="93"/>
                  <a:pt x="51" y="93"/>
                  <a:pt x="51" y="93"/>
                </a:cubicBezTo>
                <a:cubicBezTo>
                  <a:pt x="51" y="95"/>
                  <a:pt x="52" y="96"/>
                  <a:pt x="53" y="96"/>
                </a:cubicBezTo>
                <a:cubicBezTo>
                  <a:pt x="55" y="96"/>
                  <a:pt x="56" y="95"/>
                  <a:pt x="56" y="93"/>
                </a:cubicBezTo>
                <a:cubicBezTo>
                  <a:pt x="56" y="82"/>
                  <a:pt x="56" y="82"/>
                  <a:pt x="56" y="82"/>
                </a:cubicBezTo>
                <a:cubicBezTo>
                  <a:pt x="59" y="82"/>
                  <a:pt x="62" y="81"/>
                  <a:pt x="64" y="79"/>
                </a:cubicBezTo>
                <a:cubicBezTo>
                  <a:pt x="72" y="87"/>
                  <a:pt x="72" y="87"/>
                  <a:pt x="72" y="87"/>
                </a:cubicBezTo>
                <a:cubicBezTo>
                  <a:pt x="73" y="87"/>
                  <a:pt x="73" y="87"/>
                  <a:pt x="74" y="87"/>
                </a:cubicBezTo>
                <a:cubicBezTo>
                  <a:pt x="75" y="87"/>
                  <a:pt x="75" y="87"/>
                  <a:pt x="76" y="87"/>
                </a:cubicBezTo>
                <a:cubicBezTo>
                  <a:pt x="77" y="86"/>
                  <a:pt x="77" y="84"/>
                  <a:pt x="76" y="83"/>
                </a:cubicBezTo>
                <a:cubicBezTo>
                  <a:pt x="68" y="75"/>
                  <a:pt x="68" y="75"/>
                  <a:pt x="68" y="75"/>
                </a:cubicBezTo>
                <a:cubicBezTo>
                  <a:pt x="70" y="73"/>
                  <a:pt x="71" y="70"/>
                  <a:pt x="72" y="67"/>
                </a:cubicBezTo>
                <a:cubicBezTo>
                  <a:pt x="83" y="67"/>
                  <a:pt x="83" y="67"/>
                  <a:pt x="83" y="67"/>
                </a:cubicBezTo>
                <a:cubicBezTo>
                  <a:pt x="84" y="67"/>
                  <a:pt x="85" y="65"/>
                  <a:pt x="85" y="64"/>
                </a:cubicBezTo>
                <a:cubicBezTo>
                  <a:pt x="85" y="63"/>
                  <a:pt x="84" y="61"/>
                  <a:pt x="83" y="61"/>
                </a:cubicBezTo>
                <a:cubicBezTo>
                  <a:pt x="72" y="61"/>
                  <a:pt x="72" y="61"/>
                  <a:pt x="72" y="61"/>
                </a:cubicBezTo>
                <a:cubicBezTo>
                  <a:pt x="71" y="58"/>
                  <a:pt x="70" y="55"/>
                  <a:pt x="68" y="53"/>
                </a:cubicBezTo>
                <a:cubicBezTo>
                  <a:pt x="76" y="45"/>
                  <a:pt x="76" y="45"/>
                  <a:pt x="76" y="45"/>
                </a:cubicBezTo>
                <a:cubicBezTo>
                  <a:pt x="77" y="44"/>
                  <a:pt x="77" y="42"/>
                  <a:pt x="76" y="41"/>
                </a:cubicBezTo>
                <a:cubicBezTo>
                  <a:pt x="75" y="40"/>
                  <a:pt x="73" y="40"/>
                  <a:pt x="72" y="41"/>
                </a:cubicBezTo>
                <a:cubicBezTo>
                  <a:pt x="64" y="49"/>
                  <a:pt x="64" y="49"/>
                  <a:pt x="64" y="49"/>
                </a:cubicBezTo>
                <a:cubicBezTo>
                  <a:pt x="62" y="47"/>
                  <a:pt x="59" y="46"/>
                  <a:pt x="56" y="46"/>
                </a:cubicBezTo>
                <a:cubicBezTo>
                  <a:pt x="56" y="35"/>
                  <a:pt x="56" y="35"/>
                  <a:pt x="56" y="35"/>
                </a:cubicBezTo>
                <a:cubicBezTo>
                  <a:pt x="56" y="33"/>
                  <a:pt x="55" y="32"/>
                  <a:pt x="53" y="32"/>
                </a:cubicBezTo>
                <a:cubicBezTo>
                  <a:pt x="52" y="32"/>
                  <a:pt x="51" y="33"/>
                  <a:pt x="51" y="35"/>
                </a:cubicBezTo>
                <a:cubicBezTo>
                  <a:pt x="51" y="46"/>
                  <a:pt x="51" y="46"/>
                  <a:pt x="51" y="46"/>
                </a:cubicBezTo>
                <a:cubicBezTo>
                  <a:pt x="48" y="46"/>
                  <a:pt x="45" y="47"/>
                  <a:pt x="42" y="49"/>
                </a:cubicBezTo>
                <a:cubicBezTo>
                  <a:pt x="34" y="41"/>
                  <a:pt x="34" y="41"/>
                  <a:pt x="34" y="41"/>
                </a:cubicBezTo>
                <a:cubicBezTo>
                  <a:pt x="33" y="40"/>
                  <a:pt x="32" y="40"/>
                  <a:pt x="31" y="41"/>
                </a:cubicBezTo>
                <a:cubicBezTo>
                  <a:pt x="30" y="42"/>
                  <a:pt x="30" y="44"/>
                  <a:pt x="31" y="45"/>
                </a:cubicBezTo>
                <a:cubicBezTo>
                  <a:pt x="38" y="53"/>
                  <a:pt x="38" y="53"/>
                  <a:pt x="38" y="53"/>
                </a:cubicBezTo>
                <a:cubicBezTo>
                  <a:pt x="37" y="55"/>
                  <a:pt x="35" y="58"/>
                  <a:pt x="35" y="61"/>
                </a:cubicBezTo>
                <a:cubicBezTo>
                  <a:pt x="24" y="61"/>
                  <a:pt x="24" y="61"/>
                  <a:pt x="24" y="61"/>
                </a:cubicBezTo>
                <a:cubicBezTo>
                  <a:pt x="23" y="61"/>
                  <a:pt x="21" y="63"/>
                  <a:pt x="21" y="64"/>
                </a:cubicBezTo>
                <a:cubicBezTo>
                  <a:pt x="21" y="65"/>
                  <a:pt x="23" y="67"/>
                  <a:pt x="24" y="67"/>
                </a:cubicBezTo>
                <a:close/>
                <a:moveTo>
                  <a:pt x="53" y="51"/>
                </a:moveTo>
                <a:cubicBezTo>
                  <a:pt x="61" y="51"/>
                  <a:pt x="67" y="57"/>
                  <a:pt x="67" y="64"/>
                </a:cubicBezTo>
                <a:cubicBezTo>
                  <a:pt x="67" y="71"/>
                  <a:pt x="61" y="77"/>
                  <a:pt x="53" y="77"/>
                </a:cubicBezTo>
                <a:cubicBezTo>
                  <a:pt x="46" y="77"/>
                  <a:pt x="40" y="71"/>
                  <a:pt x="40" y="64"/>
                </a:cubicBezTo>
                <a:cubicBezTo>
                  <a:pt x="40" y="57"/>
                  <a:pt x="46" y="51"/>
                  <a:pt x="53" y="51"/>
                </a:cubicBezTo>
                <a:close/>
                <a:moveTo>
                  <a:pt x="99" y="64"/>
                </a:moveTo>
                <a:cubicBezTo>
                  <a:pt x="97" y="64"/>
                  <a:pt x="96" y="65"/>
                  <a:pt x="96" y="67"/>
                </a:cubicBezTo>
                <a:cubicBezTo>
                  <a:pt x="96" y="69"/>
                  <a:pt x="96" y="69"/>
                  <a:pt x="96" y="69"/>
                </a:cubicBezTo>
                <a:cubicBezTo>
                  <a:pt x="96" y="71"/>
                  <a:pt x="97" y="72"/>
                  <a:pt x="99" y="72"/>
                </a:cubicBezTo>
                <a:cubicBezTo>
                  <a:pt x="100" y="72"/>
                  <a:pt x="101" y="71"/>
                  <a:pt x="101" y="69"/>
                </a:cubicBezTo>
                <a:cubicBezTo>
                  <a:pt x="101" y="67"/>
                  <a:pt x="101" y="67"/>
                  <a:pt x="101" y="67"/>
                </a:cubicBezTo>
                <a:cubicBezTo>
                  <a:pt x="101" y="65"/>
                  <a:pt x="100" y="64"/>
                  <a:pt x="99" y="64"/>
                </a:cubicBezTo>
                <a:close/>
                <a:moveTo>
                  <a:pt x="112" y="64"/>
                </a:moveTo>
                <a:cubicBezTo>
                  <a:pt x="111" y="64"/>
                  <a:pt x="109" y="65"/>
                  <a:pt x="109" y="67"/>
                </a:cubicBezTo>
                <a:cubicBezTo>
                  <a:pt x="109" y="69"/>
                  <a:pt x="109" y="69"/>
                  <a:pt x="109" y="69"/>
                </a:cubicBezTo>
                <a:cubicBezTo>
                  <a:pt x="109" y="71"/>
                  <a:pt x="111" y="72"/>
                  <a:pt x="112" y="72"/>
                </a:cubicBezTo>
                <a:cubicBezTo>
                  <a:pt x="113" y="72"/>
                  <a:pt x="115" y="71"/>
                  <a:pt x="115" y="69"/>
                </a:cubicBezTo>
                <a:cubicBezTo>
                  <a:pt x="115" y="67"/>
                  <a:pt x="115" y="67"/>
                  <a:pt x="115" y="67"/>
                </a:cubicBezTo>
                <a:cubicBezTo>
                  <a:pt x="115" y="65"/>
                  <a:pt x="113" y="64"/>
                  <a:pt x="112" y="64"/>
                </a:cubicBezTo>
                <a:close/>
                <a:moveTo>
                  <a:pt x="125" y="64"/>
                </a:moveTo>
                <a:cubicBezTo>
                  <a:pt x="124" y="64"/>
                  <a:pt x="123" y="65"/>
                  <a:pt x="123" y="67"/>
                </a:cubicBezTo>
                <a:cubicBezTo>
                  <a:pt x="123" y="69"/>
                  <a:pt x="123" y="69"/>
                  <a:pt x="123" y="69"/>
                </a:cubicBezTo>
                <a:cubicBezTo>
                  <a:pt x="123" y="71"/>
                  <a:pt x="124" y="72"/>
                  <a:pt x="125" y="72"/>
                </a:cubicBezTo>
                <a:cubicBezTo>
                  <a:pt x="127" y="72"/>
                  <a:pt x="128" y="71"/>
                  <a:pt x="128" y="69"/>
                </a:cubicBezTo>
                <a:cubicBezTo>
                  <a:pt x="128" y="67"/>
                  <a:pt x="128" y="67"/>
                  <a:pt x="128" y="67"/>
                </a:cubicBezTo>
                <a:cubicBezTo>
                  <a:pt x="128" y="65"/>
                  <a:pt x="127" y="64"/>
                  <a:pt x="125" y="64"/>
                </a:cubicBezTo>
                <a:close/>
                <a:moveTo>
                  <a:pt x="99" y="75"/>
                </a:moveTo>
                <a:cubicBezTo>
                  <a:pt x="97" y="75"/>
                  <a:pt x="96" y="76"/>
                  <a:pt x="96" y="77"/>
                </a:cubicBezTo>
                <a:cubicBezTo>
                  <a:pt x="96" y="80"/>
                  <a:pt x="96" y="80"/>
                  <a:pt x="96" y="80"/>
                </a:cubicBezTo>
                <a:cubicBezTo>
                  <a:pt x="96" y="81"/>
                  <a:pt x="97" y="83"/>
                  <a:pt x="99" y="83"/>
                </a:cubicBezTo>
                <a:cubicBezTo>
                  <a:pt x="100" y="83"/>
                  <a:pt x="101" y="81"/>
                  <a:pt x="101" y="80"/>
                </a:cubicBezTo>
                <a:cubicBezTo>
                  <a:pt x="101" y="77"/>
                  <a:pt x="101" y="77"/>
                  <a:pt x="101" y="77"/>
                </a:cubicBezTo>
                <a:cubicBezTo>
                  <a:pt x="101" y="76"/>
                  <a:pt x="100" y="75"/>
                  <a:pt x="99" y="75"/>
                </a:cubicBezTo>
                <a:close/>
                <a:moveTo>
                  <a:pt x="112" y="75"/>
                </a:moveTo>
                <a:cubicBezTo>
                  <a:pt x="111" y="75"/>
                  <a:pt x="109" y="76"/>
                  <a:pt x="109" y="77"/>
                </a:cubicBezTo>
                <a:cubicBezTo>
                  <a:pt x="109" y="80"/>
                  <a:pt x="109" y="80"/>
                  <a:pt x="109" y="80"/>
                </a:cubicBezTo>
                <a:cubicBezTo>
                  <a:pt x="109" y="81"/>
                  <a:pt x="111" y="83"/>
                  <a:pt x="112" y="83"/>
                </a:cubicBezTo>
                <a:cubicBezTo>
                  <a:pt x="113" y="83"/>
                  <a:pt x="115" y="81"/>
                  <a:pt x="115" y="80"/>
                </a:cubicBezTo>
                <a:cubicBezTo>
                  <a:pt x="115" y="77"/>
                  <a:pt x="115" y="77"/>
                  <a:pt x="115" y="77"/>
                </a:cubicBezTo>
                <a:cubicBezTo>
                  <a:pt x="115" y="76"/>
                  <a:pt x="113" y="75"/>
                  <a:pt x="112" y="75"/>
                </a:cubicBezTo>
                <a:close/>
                <a:moveTo>
                  <a:pt x="125" y="75"/>
                </a:moveTo>
                <a:cubicBezTo>
                  <a:pt x="124" y="75"/>
                  <a:pt x="123" y="76"/>
                  <a:pt x="123" y="77"/>
                </a:cubicBezTo>
                <a:cubicBezTo>
                  <a:pt x="123" y="80"/>
                  <a:pt x="123" y="80"/>
                  <a:pt x="123" y="80"/>
                </a:cubicBezTo>
                <a:cubicBezTo>
                  <a:pt x="123" y="81"/>
                  <a:pt x="124" y="83"/>
                  <a:pt x="125" y="83"/>
                </a:cubicBezTo>
                <a:cubicBezTo>
                  <a:pt x="127" y="83"/>
                  <a:pt x="128" y="81"/>
                  <a:pt x="128" y="80"/>
                </a:cubicBezTo>
                <a:cubicBezTo>
                  <a:pt x="128" y="77"/>
                  <a:pt x="128" y="77"/>
                  <a:pt x="128" y="77"/>
                </a:cubicBezTo>
                <a:cubicBezTo>
                  <a:pt x="128" y="76"/>
                  <a:pt x="127" y="75"/>
                  <a:pt x="125" y="75"/>
                </a:cubicBezTo>
                <a:close/>
                <a:moveTo>
                  <a:pt x="99" y="85"/>
                </a:moveTo>
                <a:cubicBezTo>
                  <a:pt x="97" y="85"/>
                  <a:pt x="96" y="87"/>
                  <a:pt x="96" y="88"/>
                </a:cubicBezTo>
                <a:cubicBezTo>
                  <a:pt x="96" y="91"/>
                  <a:pt x="96" y="91"/>
                  <a:pt x="96" y="91"/>
                </a:cubicBezTo>
                <a:cubicBezTo>
                  <a:pt x="96" y="92"/>
                  <a:pt x="97" y="93"/>
                  <a:pt x="99" y="93"/>
                </a:cubicBezTo>
                <a:cubicBezTo>
                  <a:pt x="100" y="93"/>
                  <a:pt x="101" y="92"/>
                  <a:pt x="101" y="91"/>
                </a:cubicBezTo>
                <a:cubicBezTo>
                  <a:pt x="101" y="88"/>
                  <a:pt x="101" y="88"/>
                  <a:pt x="101" y="88"/>
                </a:cubicBezTo>
                <a:cubicBezTo>
                  <a:pt x="101" y="87"/>
                  <a:pt x="100" y="85"/>
                  <a:pt x="99" y="85"/>
                </a:cubicBezTo>
                <a:close/>
                <a:moveTo>
                  <a:pt x="112" y="85"/>
                </a:moveTo>
                <a:cubicBezTo>
                  <a:pt x="111" y="85"/>
                  <a:pt x="109" y="87"/>
                  <a:pt x="109" y="88"/>
                </a:cubicBezTo>
                <a:cubicBezTo>
                  <a:pt x="109" y="91"/>
                  <a:pt x="109" y="91"/>
                  <a:pt x="109" y="91"/>
                </a:cubicBezTo>
                <a:cubicBezTo>
                  <a:pt x="109" y="92"/>
                  <a:pt x="111" y="93"/>
                  <a:pt x="112" y="93"/>
                </a:cubicBezTo>
                <a:cubicBezTo>
                  <a:pt x="113" y="93"/>
                  <a:pt x="115" y="92"/>
                  <a:pt x="115" y="91"/>
                </a:cubicBezTo>
                <a:cubicBezTo>
                  <a:pt x="115" y="88"/>
                  <a:pt x="115" y="88"/>
                  <a:pt x="115" y="88"/>
                </a:cubicBezTo>
                <a:cubicBezTo>
                  <a:pt x="115" y="87"/>
                  <a:pt x="113" y="85"/>
                  <a:pt x="112" y="85"/>
                </a:cubicBezTo>
                <a:close/>
                <a:moveTo>
                  <a:pt x="125" y="85"/>
                </a:moveTo>
                <a:cubicBezTo>
                  <a:pt x="124" y="85"/>
                  <a:pt x="123" y="87"/>
                  <a:pt x="123" y="88"/>
                </a:cubicBezTo>
                <a:cubicBezTo>
                  <a:pt x="123" y="91"/>
                  <a:pt x="123" y="91"/>
                  <a:pt x="123" y="91"/>
                </a:cubicBezTo>
                <a:cubicBezTo>
                  <a:pt x="123" y="92"/>
                  <a:pt x="124" y="93"/>
                  <a:pt x="125" y="93"/>
                </a:cubicBezTo>
                <a:cubicBezTo>
                  <a:pt x="127" y="93"/>
                  <a:pt x="128" y="92"/>
                  <a:pt x="128" y="91"/>
                </a:cubicBezTo>
                <a:cubicBezTo>
                  <a:pt x="128" y="88"/>
                  <a:pt x="128" y="88"/>
                  <a:pt x="128" y="88"/>
                </a:cubicBezTo>
                <a:cubicBezTo>
                  <a:pt x="128" y="87"/>
                  <a:pt x="127" y="85"/>
                  <a:pt x="125" y="85"/>
                </a:cubicBezTo>
                <a:close/>
                <a:moveTo>
                  <a:pt x="131" y="40"/>
                </a:moveTo>
                <a:cubicBezTo>
                  <a:pt x="93" y="40"/>
                  <a:pt x="93" y="40"/>
                  <a:pt x="93" y="40"/>
                </a:cubicBezTo>
                <a:cubicBezTo>
                  <a:pt x="93" y="56"/>
                  <a:pt x="93" y="56"/>
                  <a:pt x="93" y="56"/>
                </a:cubicBezTo>
                <a:cubicBezTo>
                  <a:pt x="131" y="56"/>
                  <a:pt x="131" y="56"/>
                  <a:pt x="131" y="56"/>
                </a:cubicBezTo>
                <a:lnTo>
                  <a:pt x="131" y="40"/>
                </a:lnTo>
                <a:close/>
                <a:moveTo>
                  <a:pt x="125" y="51"/>
                </a:moveTo>
                <a:cubicBezTo>
                  <a:pt x="99" y="51"/>
                  <a:pt x="99" y="51"/>
                  <a:pt x="99" y="51"/>
                </a:cubicBezTo>
                <a:cubicBezTo>
                  <a:pt x="99" y="45"/>
                  <a:pt x="99" y="45"/>
                  <a:pt x="99" y="45"/>
                </a:cubicBezTo>
                <a:cubicBezTo>
                  <a:pt x="125" y="45"/>
                  <a:pt x="125" y="45"/>
                  <a:pt x="125" y="45"/>
                </a:cubicBezTo>
                <a:lnTo>
                  <a:pt x="125" y="5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9" name="Freeform 1151">
            <a:extLst>
              <a:ext uri="{FF2B5EF4-FFF2-40B4-BE49-F238E27FC236}">
                <a16:creationId xmlns:a16="http://schemas.microsoft.com/office/drawing/2014/main" id="{9B72CD13-CB9C-4F19-AC7C-DBBBF2B6789F}"/>
              </a:ext>
            </a:extLst>
          </p:cNvPr>
          <p:cNvSpPr>
            <a:spLocks noEditPoints="1"/>
          </p:cNvSpPr>
          <p:nvPr/>
        </p:nvSpPr>
        <p:spPr bwMode="auto">
          <a:xfrm>
            <a:off x="909268" y="3266585"/>
            <a:ext cx="549275" cy="552450"/>
          </a:xfrm>
          <a:custGeom>
            <a:avLst/>
            <a:gdLst>
              <a:gd name="T0" fmla="*/ 83 w 160"/>
              <a:gd name="T1" fmla="*/ 69 h 160"/>
              <a:gd name="T2" fmla="*/ 80 w 160"/>
              <a:gd name="T3" fmla="*/ 40 h 160"/>
              <a:gd name="T4" fmla="*/ 77 w 160"/>
              <a:gd name="T5" fmla="*/ 69 h 160"/>
              <a:gd name="T6" fmla="*/ 51 w 160"/>
              <a:gd name="T7" fmla="*/ 77 h 160"/>
              <a:gd name="T8" fmla="*/ 51 w 160"/>
              <a:gd name="T9" fmla="*/ 82 h 160"/>
              <a:gd name="T10" fmla="*/ 80 w 160"/>
              <a:gd name="T11" fmla="*/ 90 h 160"/>
              <a:gd name="T12" fmla="*/ 80 w 160"/>
              <a:gd name="T13" fmla="*/ 85 h 160"/>
              <a:gd name="T14" fmla="*/ 80 w 160"/>
              <a:gd name="T15" fmla="*/ 74 h 160"/>
              <a:gd name="T16" fmla="*/ 80 w 160"/>
              <a:gd name="T17" fmla="*/ 85 h 160"/>
              <a:gd name="T18" fmla="*/ 83 w 160"/>
              <a:gd name="T19" fmla="*/ 24 h 160"/>
              <a:gd name="T20" fmla="*/ 80 w 160"/>
              <a:gd name="T21" fmla="*/ 18 h 160"/>
              <a:gd name="T22" fmla="*/ 77 w 160"/>
              <a:gd name="T23" fmla="*/ 24 h 160"/>
              <a:gd name="T24" fmla="*/ 77 w 160"/>
              <a:gd name="T25" fmla="*/ 136 h 160"/>
              <a:gd name="T26" fmla="*/ 80 w 160"/>
              <a:gd name="T27" fmla="*/ 141 h 160"/>
              <a:gd name="T28" fmla="*/ 83 w 160"/>
              <a:gd name="T29" fmla="*/ 136 h 160"/>
              <a:gd name="T30" fmla="*/ 77 w 160"/>
              <a:gd name="T31" fmla="*/ 136 h 160"/>
              <a:gd name="T32" fmla="*/ 141 w 160"/>
              <a:gd name="T33" fmla="*/ 80 h 160"/>
              <a:gd name="T34" fmla="*/ 136 w 160"/>
              <a:gd name="T35" fmla="*/ 77 h 160"/>
              <a:gd name="T36" fmla="*/ 136 w 160"/>
              <a:gd name="T37" fmla="*/ 82 h 160"/>
              <a:gd name="T38" fmla="*/ 21 w 160"/>
              <a:gd name="T39" fmla="*/ 77 h 160"/>
              <a:gd name="T40" fmla="*/ 21 w 160"/>
              <a:gd name="T41" fmla="*/ 82 h 160"/>
              <a:gd name="T42" fmla="*/ 27 w 160"/>
              <a:gd name="T43" fmla="*/ 80 h 160"/>
              <a:gd name="T44" fmla="*/ 21 w 160"/>
              <a:gd name="T45" fmla="*/ 77 h 160"/>
              <a:gd name="T46" fmla="*/ 121 w 160"/>
              <a:gd name="T47" fmla="*/ 42 h 160"/>
              <a:gd name="T48" fmla="*/ 123 w 160"/>
              <a:gd name="T49" fmla="*/ 36 h 160"/>
              <a:gd name="T50" fmla="*/ 118 w 160"/>
              <a:gd name="T51" fmla="*/ 38 h 160"/>
              <a:gd name="T52" fmla="*/ 120 w 160"/>
              <a:gd name="T53" fmla="*/ 43 h 160"/>
              <a:gd name="T54" fmla="*/ 37 w 160"/>
              <a:gd name="T55" fmla="*/ 119 h 160"/>
              <a:gd name="T56" fmla="*/ 39 w 160"/>
              <a:gd name="T57" fmla="*/ 124 h 160"/>
              <a:gd name="T58" fmla="*/ 42 w 160"/>
              <a:gd name="T59" fmla="*/ 121 h 160"/>
              <a:gd name="T60" fmla="*/ 39 w 160"/>
              <a:gd name="T61" fmla="*/ 117 h 160"/>
              <a:gd name="T62" fmla="*/ 40 w 160"/>
              <a:gd name="T63" fmla="*/ 36 h 160"/>
              <a:gd name="T64" fmla="*/ 37 w 160"/>
              <a:gd name="T65" fmla="*/ 40 h 160"/>
              <a:gd name="T66" fmla="*/ 40 w 160"/>
              <a:gd name="T67" fmla="*/ 43 h 160"/>
              <a:gd name="T68" fmla="*/ 42 w 160"/>
              <a:gd name="T69" fmla="*/ 38 h 160"/>
              <a:gd name="T70" fmla="*/ 0 w 160"/>
              <a:gd name="T71" fmla="*/ 80 h 160"/>
              <a:gd name="T72" fmla="*/ 108 w 160"/>
              <a:gd name="T73" fmla="*/ 155 h 160"/>
              <a:gd name="T74" fmla="*/ 106 w 160"/>
              <a:gd name="T75" fmla="*/ 150 h 160"/>
              <a:gd name="T76" fmla="*/ 5 w 160"/>
              <a:gd name="T77" fmla="*/ 80 h 160"/>
              <a:gd name="T78" fmla="*/ 155 w 160"/>
              <a:gd name="T79" fmla="*/ 80 h 160"/>
              <a:gd name="T80" fmla="*/ 152 w 160"/>
              <a:gd name="T81" fmla="*/ 109 h 160"/>
              <a:gd name="T82" fmla="*/ 160 w 160"/>
              <a:gd name="T83" fmla="*/ 80 h 160"/>
              <a:gd name="T84" fmla="*/ 133 w 160"/>
              <a:gd name="T85" fmla="*/ 110 h 160"/>
              <a:gd name="T86" fmla="*/ 131 w 160"/>
              <a:gd name="T87" fmla="*/ 104 h 160"/>
              <a:gd name="T88" fmla="*/ 128 w 160"/>
              <a:gd name="T89" fmla="*/ 110 h 160"/>
              <a:gd name="T90" fmla="*/ 118 w 160"/>
              <a:gd name="T91" fmla="*/ 121 h 160"/>
              <a:gd name="T92" fmla="*/ 128 w 160"/>
              <a:gd name="T93" fmla="*/ 132 h 160"/>
              <a:gd name="T94" fmla="*/ 123 w 160"/>
              <a:gd name="T95" fmla="*/ 139 h 160"/>
              <a:gd name="T96" fmla="*/ 117 w 160"/>
              <a:gd name="T97" fmla="*/ 139 h 160"/>
              <a:gd name="T98" fmla="*/ 128 w 160"/>
              <a:gd name="T99" fmla="*/ 155 h 160"/>
              <a:gd name="T100" fmla="*/ 133 w 160"/>
              <a:gd name="T101" fmla="*/ 155 h 160"/>
              <a:gd name="T102" fmla="*/ 141 w 160"/>
              <a:gd name="T103" fmla="*/ 148 h 160"/>
              <a:gd name="T104" fmla="*/ 139 w 160"/>
              <a:gd name="T105" fmla="*/ 134 h 160"/>
              <a:gd name="T106" fmla="*/ 133 w 160"/>
              <a:gd name="T107" fmla="*/ 115 h 160"/>
              <a:gd name="T108" fmla="*/ 141 w 160"/>
              <a:gd name="T109" fmla="*/ 125 h 160"/>
              <a:gd name="T110" fmla="*/ 133 w 160"/>
              <a:gd name="T111" fmla="*/ 110 h 160"/>
              <a:gd name="T112" fmla="*/ 138 w 160"/>
              <a:gd name="T113" fmla="*/ 141 h 160"/>
              <a:gd name="T114" fmla="*/ 133 w 160"/>
              <a:gd name="T115" fmla="*/ 147 h 160"/>
              <a:gd name="T116" fmla="*/ 136 w 160"/>
              <a:gd name="T117" fmla="*/ 138 h 160"/>
              <a:gd name="T118" fmla="*/ 124 w 160"/>
              <a:gd name="T119" fmla="*/ 120 h 160"/>
              <a:gd name="T120" fmla="*/ 128 w 160"/>
              <a:gd name="T121" fmla="*/ 115 h 160"/>
              <a:gd name="T122" fmla="*/ 125 w 160"/>
              <a:gd name="T123"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 h="160">
                <a:moveTo>
                  <a:pt x="91" y="80"/>
                </a:moveTo>
                <a:cubicBezTo>
                  <a:pt x="91" y="75"/>
                  <a:pt x="87" y="71"/>
                  <a:pt x="83" y="69"/>
                </a:cubicBezTo>
                <a:cubicBezTo>
                  <a:pt x="83" y="42"/>
                  <a:pt x="83" y="42"/>
                  <a:pt x="83" y="42"/>
                </a:cubicBezTo>
                <a:cubicBezTo>
                  <a:pt x="83" y="41"/>
                  <a:pt x="81" y="40"/>
                  <a:pt x="80" y="40"/>
                </a:cubicBezTo>
                <a:cubicBezTo>
                  <a:pt x="79" y="40"/>
                  <a:pt x="77" y="41"/>
                  <a:pt x="77" y="42"/>
                </a:cubicBezTo>
                <a:cubicBezTo>
                  <a:pt x="77" y="69"/>
                  <a:pt x="77" y="69"/>
                  <a:pt x="77" y="69"/>
                </a:cubicBezTo>
                <a:cubicBezTo>
                  <a:pt x="74" y="70"/>
                  <a:pt x="71" y="73"/>
                  <a:pt x="70" y="77"/>
                </a:cubicBezTo>
                <a:cubicBezTo>
                  <a:pt x="51" y="77"/>
                  <a:pt x="51" y="77"/>
                  <a:pt x="51" y="77"/>
                </a:cubicBezTo>
                <a:cubicBezTo>
                  <a:pt x="49" y="77"/>
                  <a:pt x="48" y="78"/>
                  <a:pt x="48" y="80"/>
                </a:cubicBezTo>
                <a:cubicBezTo>
                  <a:pt x="48" y="81"/>
                  <a:pt x="49" y="82"/>
                  <a:pt x="51" y="82"/>
                </a:cubicBezTo>
                <a:cubicBezTo>
                  <a:pt x="70" y="82"/>
                  <a:pt x="70" y="82"/>
                  <a:pt x="70" y="82"/>
                </a:cubicBezTo>
                <a:cubicBezTo>
                  <a:pt x="71" y="87"/>
                  <a:pt x="75" y="90"/>
                  <a:pt x="80" y="90"/>
                </a:cubicBezTo>
                <a:cubicBezTo>
                  <a:pt x="86" y="90"/>
                  <a:pt x="91" y="86"/>
                  <a:pt x="91" y="80"/>
                </a:cubicBezTo>
                <a:close/>
                <a:moveTo>
                  <a:pt x="80" y="85"/>
                </a:moveTo>
                <a:cubicBezTo>
                  <a:pt x="77" y="85"/>
                  <a:pt x="75" y="83"/>
                  <a:pt x="75" y="80"/>
                </a:cubicBezTo>
                <a:cubicBezTo>
                  <a:pt x="75" y="77"/>
                  <a:pt x="77" y="74"/>
                  <a:pt x="80" y="74"/>
                </a:cubicBezTo>
                <a:cubicBezTo>
                  <a:pt x="83" y="74"/>
                  <a:pt x="85" y="77"/>
                  <a:pt x="85" y="80"/>
                </a:cubicBezTo>
                <a:cubicBezTo>
                  <a:pt x="85" y="83"/>
                  <a:pt x="83" y="85"/>
                  <a:pt x="80" y="85"/>
                </a:cubicBezTo>
                <a:close/>
                <a:moveTo>
                  <a:pt x="80" y="26"/>
                </a:moveTo>
                <a:cubicBezTo>
                  <a:pt x="81" y="26"/>
                  <a:pt x="83" y="25"/>
                  <a:pt x="83" y="24"/>
                </a:cubicBezTo>
                <a:cubicBezTo>
                  <a:pt x="83" y="21"/>
                  <a:pt x="83" y="21"/>
                  <a:pt x="83" y="21"/>
                </a:cubicBezTo>
                <a:cubicBezTo>
                  <a:pt x="83" y="20"/>
                  <a:pt x="81" y="18"/>
                  <a:pt x="80" y="18"/>
                </a:cubicBezTo>
                <a:cubicBezTo>
                  <a:pt x="79" y="18"/>
                  <a:pt x="77" y="20"/>
                  <a:pt x="77" y="21"/>
                </a:cubicBezTo>
                <a:cubicBezTo>
                  <a:pt x="77" y="24"/>
                  <a:pt x="77" y="24"/>
                  <a:pt x="77" y="24"/>
                </a:cubicBezTo>
                <a:cubicBezTo>
                  <a:pt x="77" y="25"/>
                  <a:pt x="79" y="26"/>
                  <a:pt x="80" y="26"/>
                </a:cubicBezTo>
                <a:close/>
                <a:moveTo>
                  <a:pt x="77" y="136"/>
                </a:moveTo>
                <a:cubicBezTo>
                  <a:pt x="77" y="138"/>
                  <a:pt x="77" y="138"/>
                  <a:pt x="77" y="138"/>
                </a:cubicBezTo>
                <a:cubicBezTo>
                  <a:pt x="77" y="140"/>
                  <a:pt x="79" y="141"/>
                  <a:pt x="80" y="141"/>
                </a:cubicBezTo>
                <a:cubicBezTo>
                  <a:pt x="81" y="141"/>
                  <a:pt x="83" y="140"/>
                  <a:pt x="83" y="138"/>
                </a:cubicBezTo>
                <a:cubicBezTo>
                  <a:pt x="83" y="136"/>
                  <a:pt x="83" y="136"/>
                  <a:pt x="83" y="136"/>
                </a:cubicBezTo>
                <a:cubicBezTo>
                  <a:pt x="83" y="134"/>
                  <a:pt x="81" y="133"/>
                  <a:pt x="80" y="133"/>
                </a:cubicBezTo>
                <a:cubicBezTo>
                  <a:pt x="79" y="133"/>
                  <a:pt x="77" y="134"/>
                  <a:pt x="77" y="136"/>
                </a:cubicBezTo>
                <a:close/>
                <a:moveTo>
                  <a:pt x="139" y="82"/>
                </a:moveTo>
                <a:cubicBezTo>
                  <a:pt x="140" y="82"/>
                  <a:pt x="141" y="81"/>
                  <a:pt x="141" y="80"/>
                </a:cubicBezTo>
                <a:cubicBezTo>
                  <a:pt x="141" y="78"/>
                  <a:pt x="140" y="77"/>
                  <a:pt x="139" y="77"/>
                </a:cubicBezTo>
                <a:cubicBezTo>
                  <a:pt x="136" y="77"/>
                  <a:pt x="136" y="77"/>
                  <a:pt x="136" y="77"/>
                </a:cubicBezTo>
                <a:cubicBezTo>
                  <a:pt x="135" y="77"/>
                  <a:pt x="133" y="78"/>
                  <a:pt x="133" y="80"/>
                </a:cubicBezTo>
                <a:cubicBezTo>
                  <a:pt x="133" y="81"/>
                  <a:pt x="135" y="82"/>
                  <a:pt x="136" y="82"/>
                </a:cubicBezTo>
                <a:lnTo>
                  <a:pt x="139" y="82"/>
                </a:lnTo>
                <a:close/>
                <a:moveTo>
                  <a:pt x="21" y="77"/>
                </a:moveTo>
                <a:cubicBezTo>
                  <a:pt x="20" y="77"/>
                  <a:pt x="19" y="78"/>
                  <a:pt x="19" y="80"/>
                </a:cubicBezTo>
                <a:cubicBezTo>
                  <a:pt x="19" y="81"/>
                  <a:pt x="20" y="82"/>
                  <a:pt x="21" y="82"/>
                </a:cubicBezTo>
                <a:cubicBezTo>
                  <a:pt x="24" y="82"/>
                  <a:pt x="24" y="82"/>
                  <a:pt x="24" y="82"/>
                </a:cubicBezTo>
                <a:cubicBezTo>
                  <a:pt x="25" y="82"/>
                  <a:pt x="27" y="81"/>
                  <a:pt x="27" y="80"/>
                </a:cubicBezTo>
                <a:cubicBezTo>
                  <a:pt x="27" y="78"/>
                  <a:pt x="25" y="77"/>
                  <a:pt x="24" y="77"/>
                </a:cubicBezTo>
                <a:lnTo>
                  <a:pt x="21" y="77"/>
                </a:lnTo>
                <a:close/>
                <a:moveTo>
                  <a:pt x="120" y="43"/>
                </a:moveTo>
                <a:cubicBezTo>
                  <a:pt x="120" y="43"/>
                  <a:pt x="121" y="42"/>
                  <a:pt x="121" y="42"/>
                </a:cubicBezTo>
                <a:cubicBezTo>
                  <a:pt x="123" y="40"/>
                  <a:pt x="123" y="40"/>
                  <a:pt x="123" y="40"/>
                </a:cubicBezTo>
                <a:cubicBezTo>
                  <a:pt x="124" y="39"/>
                  <a:pt x="124" y="37"/>
                  <a:pt x="123" y="36"/>
                </a:cubicBezTo>
                <a:cubicBezTo>
                  <a:pt x="122" y="35"/>
                  <a:pt x="121" y="35"/>
                  <a:pt x="120" y="36"/>
                </a:cubicBezTo>
                <a:cubicBezTo>
                  <a:pt x="118" y="38"/>
                  <a:pt x="118" y="38"/>
                  <a:pt x="118" y="38"/>
                </a:cubicBezTo>
                <a:cubicBezTo>
                  <a:pt x="117" y="39"/>
                  <a:pt x="117" y="41"/>
                  <a:pt x="118" y="42"/>
                </a:cubicBezTo>
                <a:cubicBezTo>
                  <a:pt x="118" y="42"/>
                  <a:pt x="119" y="43"/>
                  <a:pt x="120" y="43"/>
                </a:cubicBezTo>
                <a:close/>
                <a:moveTo>
                  <a:pt x="39" y="117"/>
                </a:moveTo>
                <a:cubicBezTo>
                  <a:pt x="37" y="119"/>
                  <a:pt x="37" y="119"/>
                  <a:pt x="37" y="119"/>
                </a:cubicBezTo>
                <a:cubicBezTo>
                  <a:pt x="36" y="120"/>
                  <a:pt x="36" y="122"/>
                  <a:pt x="37" y="123"/>
                </a:cubicBezTo>
                <a:cubicBezTo>
                  <a:pt x="37" y="124"/>
                  <a:pt x="38" y="124"/>
                  <a:pt x="39" y="124"/>
                </a:cubicBezTo>
                <a:cubicBezTo>
                  <a:pt x="39" y="124"/>
                  <a:pt x="40" y="124"/>
                  <a:pt x="40" y="123"/>
                </a:cubicBezTo>
                <a:cubicBezTo>
                  <a:pt x="42" y="121"/>
                  <a:pt x="42" y="121"/>
                  <a:pt x="42" y="121"/>
                </a:cubicBezTo>
                <a:cubicBezTo>
                  <a:pt x="43" y="120"/>
                  <a:pt x="43" y="118"/>
                  <a:pt x="42" y="117"/>
                </a:cubicBezTo>
                <a:cubicBezTo>
                  <a:pt x="41" y="116"/>
                  <a:pt x="40" y="116"/>
                  <a:pt x="39" y="117"/>
                </a:cubicBezTo>
                <a:close/>
                <a:moveTo>
                  <a:pt x="42" y="38"/>
                </a:moveTo>
                <a:cubicBezTo>
                  <a:pt x="40" y="36"/>
                  <a:pt x="40" y="36"/>
                  <a:pt x="40" y="36"/>
                </a:cubicBezTo>
                <a:cubicBezTo>
                  <a:pt x="39" y="35"/>
                  <a:pt x="38" y="35"/>
                  <a:pt x="37" y="36"/>
                </a:cubicBezTo>
                <a:cubicBezTo>
                  <a:pt x="36" y="37"/>
                  <a:pt x="36" y="39"/>
                  <a:pt x="37" y="40"/>
                </a:cubicBezTo>
                <a:cubicBezTo>
                  <a:pt x="39" y="42"/>
                  <a:pt x="39" y="42"/>
                  <a:pt x="39" y="42"/>
                </a:cubicBezTo>
                <a:cubicBezTo>
                  <a:pt x="39" y="42"/>
                  <a:pt x="40" y="43"/>
                  <a:pt x="40" y="43"/>
                </a:cubicBezTo>
                <a:cubicBezTo>
                  <a:pt x="41" y="43"/>
                  <a:pt x="42" y="42"/>
                  <a:pt x="42" y="42"/>
                </a:cubicBezTo>
                <a:cubicBezTo>
                  <a:pt x="43" y="41"/>
                  <a:pt x="43" y="39"/>
                  <a:pt x="42" y="38"/>
                </a:cubicBezTo>
                <a:close/>
                <a:moveTo>
                  <a:pt x="80" y="0"/>
                </a:moveTo>
                <a:cubicBezTo>
                  <a:pt x="36" y="0"/>
                  <a:pt x="0" y="36"/>
                  <a:pt x="0" y="80"/>
                </a:cubicBezTo>
                <a:cubicBezTo>
                  <a:pt x="0" y="124"/>
                  <a:pt x="36" y="160"/>
                  <a:pt x="80" y="160"/>
                </a:cubicBezTo>
                <a:cubicBezTo>
                  <a:pt x="90" y="160"/>
                  <a:pt x="99" y="158"/>
                  <a:pt x="108" y="155"/>
                </a:cubicBezTo>
                <a:cubicBezTo>
                  <a:pt x="109" y="155"/>
                  <a:pt x="110" y="153"/>
                  <a:pt x="109" y="152"/>
                </a:cubicBezTo>
                <a:cubicBezTo>
                  <a:pt x="109" y="150"/>
                  <a:pt x="107" y="150"/>
                  <a:pt x="106" y="150"/>
                </a:cubicBezTo>
                <a:cubicBezTo>
                  <a:pt x="98" y="153"/>
                  <a:pt x="89" y="155"/>
                  <a:pt x="80" y="155"/>
                </a:cubicBezTo>
                <a:cubicBezTo>
                  <a:pt x="39" y="155"/>
                  <a:pt x="5" y="121"/>
                  <a:pt x="5" y="80"/>
                </a:cubicBezTo>
                <a:cubicBezTo>
                  <a:pt x="5" y="39"/>
                  <a:pt x="39" y="5"/>
                  <a:pt x="80" y="5"/>
                </a:cubicBezTo>
                <a:cubicBezTo>
                  <a:pt x="121" y="5"/>
                  <a:pt x="155" y="39"/>
                  <a:pt x="155" y="80"/>
                </a:cubicBezTo>
                <a:cubicBezTo>
                  <a:pt x="155" y="89"/>
                  <a:pt x="153" y="98"/>
                  <a:pt x="150" y="106"/>
                </a:cubicBezTo>
                <a:cubicBezTo>
                  <a:pt x="150" y="107"/>
                  <a:pt x="150" y="109"/>
                  <a:pt x="152" y="109"/>
                </a:cubicBezTo>
                <a:cubicBezTo>
                  <a:pt x="153" y="110"/>
                  <a:pt x="155" y="109"/>
                  <a:pt x="155" y="108"/>
                </a:cubicBezTo>
                <a:cubicBezTo>
                  <a:pt x="158" y="99"/>
                  <a:pt x="160" y="90"/>
                  <a:pt x="160" y="80"/>
                </a:cubicBezTo>
                <a:cubicBezTo>
                  <a:pt x="160" y="36"/>
                  <a:pt x="124" y="0"/>
                  <a:pt x="80" y="0"/>
                </a:cubicBezTo>
                <a:close/>
                <a:moveTo>
                  <a:pt x="133" y="110"/>
                </a:moveTo>
                <a:cubicBezTo>
                  <a:pt x="133" y="107"/>
                  <a:pt x="133" y="107"/>
                  <a:pt x="133" y="107"/>
                </a:cubicBezTo>
                <a:cubicBezTo>
                  <a:pt x="133" y="105"/>
                  <a:pt x="132" y="104"/>
                  <a:pt x="131" y="104"/>
                </a:cubicBezTo>
                <a:cubicBezTo>
                  <a:pt x="129" y="104"/>
                  <a:pt x="128" y="105"/>
                  <a:pt x="128" y="107"/>
                </a:cubicBezTo>
                <a:cubicBezTo>
                  <a:pt x="128" y="110"/>
                  <a:pt x="128" y="110"/>
                  <a:pt x="128" y="110"/>
                </a:cubicBezTo>
                <a:cubicBezTo>
                  <a:pt x="125" y="110"/>
                  <a:pt x="122" y="112"/>
                  <a:pt x="120" y="114"/>
                </a:cubicBezTo>
                <a:cubicBezTo>
                  <a:pt x="119" y="116"/>
                  <a:pt x="118" y="118"/>
                  <a:pt x="118" y="121"/>
                </a:cubicBezTo>
                <a:cubicBezTo>
                  <a:pt x="119" y="124"/>
                  <a:pt x="120" y="126"/>
                  <a:pt x="122" y="128"/>
                </a:cubicBezTo>
                <a:cubicBezTo>
                  <a:pt x="128" y="132"/>
                  <a:pt x="128" y="132"/>
                  <a:pt x="128" y="132"/>
                </a:cubicBezTo>
                <a:cubicBezTo>
                  <a:pt x="128" y="147"/>
                  <a:pt x="128" y="147"/>
                  <a:pt x="128" y="147"/>
                </a:cubicBezTo>
                <a:cubicBezTo>
                  <a:pt x="125" y="146"/>
                  <a:pt x="123" y="143"/>
                  <a:pt x="123" y="139"/>
                </a:cubicBezTo>
                <a:cubicBezTo>
                  <a:pt x="123" y="138"/>
                  <a:pt x="121" y="137"/>
                  <a:pt x="120" y="137"/>
                </a:cubicBezTo>
                <a:cubicBezTo>
                  <a:pt x="119" y="137"/>
                  <a:pt x="117" y="138"/>
                  <a:pt x="117" y="139"/>
                </a:cubicBezTo>
                <a:cubicBezTo>
                  <a:pt x="117" y="146"/>
                  <a:pt x="122" y="151"/>
                  <a:pt x="128" y="152"/>
                </a:cubicBezTo>
                <a:cubicBezTo>
                  <a:pt x="128" y="155"/>
                  <a:pt x="128" y="155"/>
                  <a:pt x="128" y="155"/>
                </a:cubicBezTo>
                <a:cubicBezTo>
                  <a:pt x="128" y="156"/>
                  <a:pt x="129" y="157"/>
                  <a:pt x="131" y="157"/>
                </a:cubicBezTo>
                <a:cubicBezTo>
                  <a:pt x="132" y="157"/>
                  <a:pt x="133" y="156"/>
                  <a:pt x="133" y="155"/>
                </a:cubicBezTo>
                <a:cubicBezTo>
                  <a:pt x="133" y="152"/>
                  <a:pt x="133" y="152"/>
                  <a:pt x="133" y="152"/>
                </a:cubicBezTo>
                <a:cubicBezTo>
                  <a:pt x="136" y="152"/>
                  <a:pt x="139" y="150"/>
                  <a:pt x="141" y="148"/>
                </a:cubicBezTo>
                <a:cubicBezTo>
                  <a:pt x="142" y="146"/>
                  <a:pt x="143" y="143"/>
                  <a:pt x="143" y="141"/>
                </a:cubicBezTo>
                <a:cubicBezTo>
                  <a:pt x="143" y="138"/>
                  <a:pt x="141" y="136"/>
                  <a:pt x="139" y="134"/>
                </a:cubicBezTo>
                <a:cubicBezTo>
                  <a:pt x="133" y="130"/>
                  <a:pt x="133" y="130"/>
                  <a:pt x="133" y="130"/>
                </a:cubicBezTo>
                <a:cubicBezTo>
                  <a:pt x="133" y="115"/>
                  <a:pt x="133" y="115"/>
                  <a:pt x="133" y="115"/>
                </a:cubicBezTo>
                <a:cubicBezTo>
                  <a:pt x="136" y="116"/>
                  <a:pt x="139" y="119"/>
                  <a:pt x="139" y="123"/>
                </a:cubicBezTo>
                <a:cubicBezTo>
                  <a:pt x="139" y="124"/>
                  <a:pt x="140" y="125"/>
                  <a:pt x="141" y="125"/>
                </a:cubicBezTo>
                <a:cubicBezTo>
                  <a:pt x="143" y="125"/>
                  <a:pt x="144" y="124"/>
                  <a:pt x="144" y="123"/>
                </a:cubicBezTo>
                <a:cubicBezTo>
                  <a:pt x="144" y="116"/>
                  <a:pt x="139" y="111"/>
                  <a:pt x="133" y="110"/>
                </a:cubicBezTo>
                <a:close/>
                <a:moveTo>
                  <a:pt x="136" y="138"/>
                </a:moveTo>
                <a:cubicBezTo>
                  <a:pt x="137" y="139"/>
                  <a:pt x="138" y="140"/>
                  <a:pt x="138" y="141"/>
                </a:cubicBezTo>
                <a:cubicBezTo>
                  <a:pt x="138" y="143"/>
                  <a:pt x="137" y="144"/>
                  <a:pt x="137" y="144"/>
                </a:cubicBezTo>
                <a:cubicBezTo>
                  <a:pt x="136" y="146"/>
                  <a:pt x="135" y="146"/>
                  <a:pt x="133" y="147"/>
                </a:cubicBezTo>
                <a:cubicBezTo>
                  <a:pt x="133" y="136"/>
                  <a:pt x="133" y="136"/>
                  <a:pt x="133" y="136"/>
                </a:cubicBezTo>
                <a:lnTo>
                  <a:pt x="136" y="138"/>
                </a:lnTo>
                <a:close/>
                <a:moveTo>
                  <a:pt x="125" y="123"/>
                </a:moveTo>
                <a:cubicBezTo>
                  <a:pt x="124" y="123"/>
                  <a:pt x="124" y="122"/>
                  <a:pt x="124" y="120"/>
                </a:cubicBezTo>
                <a:cubicBezTo>
                  <a:pt x="124" y="119"/>
                  <a:pt x="124" y="118"/>
                  <a:pt x="125" y="118"/>
                </a:cubicBezTo>
                <a:cubicBezTo>
                  <a:pt x="125" y="116"/>
                  <a:pt x="127" y="116"/>
                  <a:pt x="128" y="115"/>
                </a:cubicBezTo>
                <a:cubicBezTo>
                  <a:pt x="128" y="126"/>
                  <a:pt x="128" y="126"/>
                  <a:pt x="128" y="126"/>
                </a:cubicBezTo>
                <a:lnTo>
                  <a:pt x="125" y="1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0" name="Text Placeholder 6">
            <a:extLst>
              <a:ext uri="{FF2B5EF4-FFF2-40B4-BE49-F238E27FC236}">
                <a16:creationId xmlns:a16="http://schemas.microsoft.com/office/drawing/2014/main" id="{9C51BE2A-2F1F-1E4B-AE8E-922208DA08E1}"/>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754566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3" name="Title 2"/>
          <p:cNvSpPr>
            <a:spLocks noGrp="1"/>
          </p:cNvSpPr>
          <p:nvPr>
            <p:ph type="title"/>
          </p:nvPr>
        </p:nvSpPr>
        <p:spPr/>
        <p:txBody>
          <a:bodyPr/>
          <a:lstStyle/>
          <a:p>
            <a:r>
              <a:rPr lang="en-US" dirty="0"/>
              <a:t>Bitcoin</a:t>
            </a:r>
          </a:p>
        </p:txBody>
      </p:sp>
      <p:sp>
        <p:nvSpPr>
          <p:cNvPr id="8" name="TextBox 7"/>
          <p:cNvSpPr txBox="1"/>
          <p:nvPr/>
        </p:nvSpPr>
        <p:spPr>
          <a:xfrm>
            <a:off x="913017" y="2386843"/>
            <a:ext cx="2392044" cy="747897"/>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a:t>
            </a:r>
          </a:p>
        </p:txBody>
      </p:sp>
      <p:sp>
        <p:nvSpPr>
          <p:cNvPr id="11" name="TextBox 10"/>
          <p:cNvSpPr txBox="1"/>
          <p:nvPr/>
        </p:nvSpPr>
        <p:spPr>
          <a:xfrm>
            <a:off x="909268" y="4234770"/>
            <a:ext cx="4226670" cy="1323439"/>
          </a:xfrm>
          <a:prstGeom prst="rect">
            <a:avLst/>
          </a:prstGeom>
          <a:noFill/>
        </p:spPr>
        <p:txBody>
          <a:bodyPr wrap="none" lIns="0" rIns="0" rtlCol="0">
            <a:spAutoFit/>
          </a:bodyPr>
          <a:lstStyle/>
          <a:p>
            <a:r>
              <a:rPr lang="en-US" sz="8000" dirty="0">
                <a:latin typeface="RBC Text" panose="02000000000000000000" pitchFamily="2" charset="77"/>
              </a:rPr>
              <a:t>$5,744,12</a:t>
            </a:r>
          </a:p>
        </p:txBody>
      </p:sp>
      <p:sp>
        <p:nvSpPr>
          <p:cNvPr id="12" name="TextBox 11"/>
          <p:cNvSpPr txBox="1"/>
          <p:nvPr/>
        </p:nvSpPr>
        <p:spPr>
          <a:xfrm>
            <a:off x="909268" y="5455034"/>
            <a:ext cx="669799" cy="338554"/>
          </a:xfrm>
          <a:prstGeom prst="rect">
            <a:avLst/>
          </a:prstGeom>
          <a:noFill/>
        </p:spPr>
        <p:txBody>
          <a:bodyPr wrap="none" lIns="0" rIns="0" rtlCol="0">
            <a:spAutoFit/>
          </a:bodyPr>
          <a:lstStyle/>
          <a:p>
            <a:r>
              <a:rPr lang="en-US" sz="1600" dirty="0">
                <a:solidFill>
                  <a:schemeClr val="tx1">
                    <a:alpha val="40000"/>
                  </a:schemeClr>
                </a:solidFill>
                <a:latin typeface="RBC Text" panose="02000000000000000000" pitchFamily="2" charset="77"/>
              </a:rPr>
              <a:t>Trillion</a:t>
            </a:r>
          </a:p>
        </p:txBody>
      </p:sp>
      <p:grpSp>
        <p:nvGrpSpPr>
          <p:cNvPr id="13" name="Group 12"/>
          <p:cNvGrpSpPr/>
          <p:nvPr/>
        </p:nvGrpSpPr>
        <p:grpSpPr>
          <a:xfrm>
            <a:off x="6974180" y="1516484"/>
            <a:ext cx="1175130" cy="736210"/>
            <a:chOff x="864891" y="4970134"/>
            <a:chExt cx="1175130" cy="736210"/>
          </a:xfrm>
        </p:grpSpPr>
        <p:sp>
          <p:nvSpPr>
            <p:cNvPr id="14" name="TextBox 13"/>
            <p:cNvSpPr txBox="1"/>
            <p:nvPr/>
          </p:nvSpPr>
          <p:spPr>
            <a:xfrm>
              <a:off x="864891" y="4970134"/>
              <a:ext cx="314189"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USD</a:t>
              </a:r>
            </a:p>
          </p:txBody>
        </p:sp>
        <p:sp>
          <p:nvSpPr>
            <p:cNvPr id="15" name="TextBox 14"/>
            <p:cNvSpPr txBox="1"/>
            <p:nvPr/>
          </p:nvSpPr>
          <p:spPr>
            <a:xfrm>
              <a:off x="864891" y="5121569"/>
              <a:ext cx="1175130" cy="584775"/>
            </a:xfrm>
            <a:prstGeom prst="rect">
              <a:avLst/>
            </a:prstGeom>
            <a:noFill/>
          </p:spPr>
          <p:txBody>
            <a:bodyPr wrap="none" lIns="0" rIns="0" rtlCol="0">
              <a:spAutoFit/>
            </a:bodyPr>
            <a:lstStyle/>
            <a:p>
              <a:r>
                <a:rPr lang="en-US" sz="3200" dirty="0">
                  <a:latin typeface="RBC Text" panose="02000000000000000000" pitchFamily="2" charset="77"/>
                </a:rPr>
                <a:t>10,476</a:t>
              </a:r>
            </a:p>
          </p:txBody>
        </p:sp>
      </p:grpSp>
      <p:sp>
        <p:nvSpPr>
          <p:cNvPr id="16" name="Text Placeholder 6">
            <a:extLst>
              <a:ext uri="{FF2B5EF4-FFF2-40B4-BE49-F238E27FC236}">
                <a16:creationId xmlns:a16="http://schemas.microsoft.com/office/drawing/2014/main" id="{B907D54F-5D41-3840-9AC4-B28E6ADD8E05}"/>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grpSp>
        <p:nvGrpSpPr>
          <p:cNvPr id="17" name="Group 16">
            <a:extLst>
              <a:ext uri="{FF2B5EF4-FFF2-40B4-BE49-F238E27FC236}">
                <a16:creationId xmlns:a16="http://schemas.microsoft.com/office/drawing/2014/main" id="{A74B7E85-3117-7C4B-A15C-86D9160FA178}"/>
              </a:ext>
            </a:extLst>
          </p:cNvPr>
          <p:cNvGrpSpPr/>
          <p:nvPr/>
        </p:nvGrpSpPr>
        <p:grpSpPr>
          <a:xfrm>
            <a:off x="8716351" y="1516484"/>
            <a:ext cx="1175130" cy="736210"/>
            <a:chOff x="913016" y="4970134"/>
            <a:chExt cx="1175130" cy="736210"/>
          </a:xfrm>
        </p:grpSpPr>
        <p:sp>
          <p:nvSpPr>
            <p:cNvPr id="18" name="TextBox 17">
              <a:extLst>
                <a:ext uri="{FF2B5EF4-FFF2-40B4-BE49-F238E27FC236}">
                  <a16:creationId xmlns:a16="http://schemas.microsoft.com/office/drawing/2014/main" id="{5851B84D-EBB5-D640-BFF9-9B5DCCF548CB}"/>
                </a:ext>
              </a:extLst>
            </p:cNvPr>
            <p:cNvSpPr txBox="1"/>
            <p:nvPr/>
          </p:nvSpPr>
          <p:spPr>
            <a:xfrm>
              <a:off x="913016" y="4970134"/>
              <a:ext cx="314189"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USD</a:t>
              </a:r>
            </a:p>
          </p:txBody>
        </p:sp>
        <p:sp>
          <p:nvSpPr>
            <p:cNvPr id="19" name="TextBox 18">
              <a:extLst>
                <a:ext uri="{FF2B5EF4-FFF2-40B4-BE49-F238E27FC236}">
                  <a16:creationId xmlns:a16="http://schemas.microsoft.com/office/drawing/2014/main" id="{0F6A1E88-5556-7447-9CB9-23D21ACF09C9}"/>
                </a:ext>
              </a:extLst>
            </p:cNvPr>
            <p:cNvSpPr txBox="1"/>
            <p:nvPr/>
          </p:nvSpPr>
          <p:spPr>
            <a:xfrm>
              <a:off x="913016" y="5121569"/>
              <a:ext cx="1175130" cy="584775"/>
            </a:xfrm>
            <a:prstGeom prst="rect">
              <a:avLst/>
            </a:prstGeom>
            <a:noFill/>
          </p:spPr>
          <p:txBody>
            <a:bodyPr wrap="none" lIns="0" rIns="0" rtlCol="0">
              <a:spAutoFit/>
            </a:bodyPr>
            <a:lstStyle/>
            <a:p>
              <a:r>
                <a:rPr lang="en-US" sz="3200" dirty="0">
                  <a:latin typeface="RBC Text" panose="02000000000000000000" pitchFamily="2" charset="77"/>
                </a:rPr>
                <a:t>10,476</a:t>
              </a:r>
            </a:p>
          </p:txBody>
        </p:sp>
      </p:grpSp>
      <p:grpSp>
        <p:nvGrpSpPr>
          <p:cNvPr id="20" name="Group 19">
            <a:extLst>
              <a:ext uri="{FF2B5EF4-FFF2-40B4-BE49-F238E27FC236}">
                <a16:creationId xmlns:a16="http://schemas.microsoft.com/office/drawing/2014/main" id="{EB591440-52BD-F544-AB31-F70B73F8E530}"/>
              </a:ext>
            </a:extLst>
          </p:cNvPr>
          <p:cNvGrpSpPr/>
          <p:nvPr/>
        </p:nvGrpSpPr>
        <p:grpSpPr>
          <a:xfrm>
            <a:off x="10477774" y="1516484"/>
            <a:ext cx="1175130" cy="736210"/>
            <a:chOff x="913016" y="4970134"/>
            <a:chExt cx="1175130" cy="736210"/>
          </a:xfrm>
        </p:grpSpPr>
        <p:sp>
          <p:nvSpPr>
            <p:cNvPr id="21" name="TextBox 20">
              <a:extLst>
                <a:ext uri="{FF2B5EF4-FFF2-40B4-BE49-F238E27FC236}">
                  <a16:creationId xmlns:a16="http://schemas.microsoft.com/office/drawing/2014/main" id="{E9E32BAA-E5D9-C349-BD07-A98DFF1C945F}"/>
                </a:ext>
              </a:extLst>
            </p:cNvPr>
            <p:cNvSpPr txBox="1"/>
            <p:nvPr/>
          </p:nvSpPr>
          <p:spPr>
            <a:xfrm>
              <a:off x="913016" y="4970134"/>
              <a:ext cx="314189"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USD</a:t>
              </a:r>
            </a:p>
          </p:txBody>
        </p:sp>
        <p:sp>
          <p:nvSpPr>
            <p:cNvPr id="22" name="TextBox 21">
              <a:extLst>
                <a:ext uri="{FF2B5EF4-FFF2-40B4-BE49-F238E27FC236}">
                  <a16:creationId xmlns:a16="http://schemas.microsoft.com/office/drawing/2014/main" id="{211E6948-5B50-E647-905A-5D95E4F85457}"/>
                </a:ext>
              </a:extLst>
            </p:cNvPr>
            <p:cNvSpPr txBox="1"/>
            <p:nvPr/>
          </p:nvSpPr>
          <p:spPr>
            <a:xfrm>
              <a:off x="913016" y="5121569"/>
              <a:ext cx="1175130" cy="584775"/>
            </a:xfrm>
            <a:prstGeom prst="rect">
              <a:avLst/>
            </a:prstGeom>
            <a:noFill/>
          </p:spPr>
          <p:txBody>
            <a:bodyPr wrap="none" lIns="0" rIns="0" rtlCol="0">
              <a:spAutoFit/>
            </a:bodyPr>
            <a:lstStyle/>
            <a:p>
              <a:r>
                <a:rPr lang="en-US" sz="3200" dirty="0">
                  <a:latin typeface="RBC Text" panose="02000000000000000000" pitchFamily="2" charset="77"/>
                </a:rPr>
                <a:t>10,476</a:t>
              </a:r>
            </a:p>
          </p:txBody>
        </p:sp>
      </p:grpSp>
    </p:spTree>
    <p:extLst>
      <p:ext uri="{BB962C8B-B14F-4D97-AF65-F5344CB8AC3E}">
        <p14:creationId xmlns:p14="http://schemas.microsoft.com/office/powerpoint/2010/main" val="514805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ypto Price</a:t>
            </a:r>
          </a:p>
        </p:txBody>
      </p:sp>
      <p:grpSp>
        <p:nvGrpSpPr>
          <p:cNvPr id="18" name="Group 17"/>
          <p:cNvGrpSpPr/>
          <p:nvPr/>
        </p:nvGrpSpPr>
        <p:grpSpPr>
          <a:xfrm>
            <a:off x="913016" y="2721166"/>
            <a:ext cx="11278984" cy="1156771"/>
            <a:chOff x="913016" y="2721166"/>
            <a:chExt cx="11278984" cy="1156771"/>
          </a:xfrm>
        </p:grpSpPr>
        <p:sp>
          <p:nvSpPr>
            <p:cNvPr id="4" name="Rectangle 3"/>
            <p:cNvSpPr/>
            <p:nvPr/>
          </p:nvSpPr>
          <p:spPr>
            <a:xfrm>
              <a:off x="913016" y="2732183"/>
              <a:ext cx="6997095" cy="11457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r>
                <a:rPr lang="en-US" dirty="0">
                  <a:solidFill>
                    <a:schemeClr val="tx1"/>
                  </a:solidFill>
                  <a:latin typeface="RBC Display" panose="02000000000000000000" pitchFamily="2" charset="77"/>
                </a:rPr>
                <a:t>Bitcoin</a:t>
              </a:r>
            </a:p>
          </p:txBody>
        </p:sp>
        <p:sp>
          <p:nvSpPr>
            <p:cNvPr id="5" name="Rectangle 4"/>
            <p:cNvSpPr/>
            <p:nvPr/>
          </p:nvSpPr>
          <p:spPr>
            <a:xfrm>
              <a:off x="7910111" y="2732183"/>
              <a:ext cx="4281889" cy="11457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endParaRPr lang="en-US" dirty="0">
                <a:solidFill>
                  <a:schemeClr val="tx1"/>
                </a:solidFill>
                <a:latin typeface="RBC Display" panose="02000000000000000000" pitchFamily="2" charset="77"/>
              </a:endParaRPr>
            </a:p>
          </p:txBody>
        </p:sp>
        <p:grpSp>
          <p:nvGrpSpPr>
            <p:cNvPr id="8" name="Group 7"/>
            <p:cNvGrpSpPr/>
            <p:nvPr/>
          </p:nvGrpSpPr>
          <p:grpSpPr>
            <a:xfrm>
              <a:off x="2991456" y="2995010"/>
              <a:ext cx="1745927" cy="614714"/>
              <a:chOff x="2991456" y="2995010"/>
              <a:chExt cx="1745927" cy="614714"/>
            </a:xfrm>
          </p:grpSpPr>
          <p:sp>
            <p:nvSpPr>
              <p:cNvPr id="6" name="TextBox 5"/>
              <p:cNvSpPr txBox="1"/>
              <p:nvPr/>
            </p:nvSpPr>
            <p:spPr>
              <a:xfrm>
                <a:off x="2991456" y="2995010"/>
                <a:ext cx="544252"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Volume</a:t>
                </a:r>
              </a:p>
            </p:txBody>
          </p:sp>
          <p:sp>
            <p:nvSpPr>
              <p:cNvPr id="7" name="TextBox 6"/>
              <p:cNvSpPr txBox="1"/>
              <p:nvPr/>
            </p:nvSpPr>
            <p:spPr>
              <a:xfrm>
                <a:off x="2991456" y="3209614"/>
                <a:ext cx="1745927" cy="400110"/>
              </a:xfrm>
              <a:prstGeom prst="rect">
                <a:avLst/>
              </a:prstGeom>
              <a:noFill/>
            </p:spPr>
            <p:txBody>
              <a:bodyPr wrap="none" lIns="0" rIns="0" rtlCol="0">
                <a:spAutoFit/>
              </a:bodyPr>
              <a:lstStyle/>
              <a:p>
                <a:r>
                  <a:rPr lang="en-US" sz="2000" dirty="0">
                    <a:latin typeface="RBC Text" panose="02000000000000000000" pitchFamily="2" charset="77"/>
                  </a:rPr>
                  <a:t>$5,745,580,000</a:t>
                </a:r>
              </a:p>
            </p:txBody>
          </p:sp>
        </p:grpSp>
        <p:grpSp>
          <p:nvGrpSpPr>
            <p:cNvPr id="9" name="Group 8"/>
            <p:cNvGrpSpPr/>
            <p:nvPr/>
          </p:nvGrpSpPr>
          <p:grpSpPr>
            <a:xfrm>
              <a:off x="5487651" y="2995010"/>
              <a:ext cx="890308" cy="614714"/>
              <a:chOff x="2991456" y="2995010"/>
              <a:chExt cx="890308" cy="614714"/>
            </a:xfrm>
          </p:grpSpPr>
          <p:sp>
            <p:nvSpPr>
              <p:cNvPr id="10" name="TextBox 9"/>
              <p:cNvSpPr txBox="1"/>
              <p:nvPr/>
            </p:nvSpPr>
            <p:spPr>
              <a:xfrm>
                <a:off x="2991456" y="2995010"/>
                <a:ext cx="890308"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Change (24)</a:t>
                </a:r>
              </a:p>
            </p:txBody>
          </p:sp>
          <p:sp>
            <p:nvSpPr>
              <p:cNvPr id="11" name="TextBox 10"/>
              <p:cNvSpPr txBox="1"/>
              <p:nvPr/>
            </p:nvSpPr>
            <p:spPr>
              <a:xfrm>
                <a:off x="2991456" y="3209614"/>
                <a:ext cx="796180" cy="400110"/>
              </a:xfrm>
              <a:prstGeom prst="rect">
                <a:avLst/>
              </a:prstGeom>
              <a:noFill/>
            </p:spPr>
            <p:txBody>
              <a:bodyPr wrap="none" lIns="0" rIns="0" rtlCol="0">
                <a:spAutoFit/>
              </a:bodyPr>
              <a:lstStyle/>
              <a:p>
                <a:r>
                  <a:rPr lang="en-US" sz="2000" dirty="0">
                    <a:solidFill>
                      <a:schemeClr val="accent1"/>
                    </a:solidFill>
                    <a:latin typeface="RBC Text" panose="02000000000000000000" pitchFamily="2" charset="77"/>
                  </a:rPr>
                  <a:t>-3.03%</a:t>
                </a:r>
              </a:p>
            </p:txBody>
          </p:sp>
        </p:grpSp>
        <p:grpSp>
          <p:nvGrpSpPr>
            <p:cNvPr id="12" name="Group 11"/>
            <p:cNvGrpSpPr/>
            <p:nvPr/>
          </p:nvGrpSpPr>
          <p:grpSpPr>
            <a:xfrm>
              <a:off x="8154611" y="2995010"/>
              <a:ext cx="1044710" cy="614714"/>
              <a:chOff x="2991456" y="2995010"/>
              <a:chExt cx="1044710" cy="614714"/>
            </a:xfrm>
          </p:grpSpPr>
          <p:sp>
            <p:nvSpPr>
              <p:cNvPr id="13" name="TextBox 12"/>
              <p:cNvSpPr txBox="1"/>
              <p:nvPr/>
            </p:nvSpPr>
            <p:spPr>
              <a:xfrm>
                <a:off x="2991456" y="2995010"/>
                <a:ext cx="371897" cy="276999"/>
              </a:xfrm>
              <a:prstGeom prst="rect">
                <a:avLst/>
              </a:prstGeom>
              <a:noFill/>
            </p:spPr>
            <p:txBody>
              <a:bodyPr wrap="none" lIns="0" rIns="0" rtlCol="0">
                <a:spAutoFit/>
              </a:bodyPr>
              <a:lstStyle/>
              <a:p>
                <a:r>
                  <a:rPr lang="en-US" sz="1200" dirty="0">
                    <a:solidFill>
                      <a:schemeClr val="bg1">
                        <a:alpha val="40000"/>
                      </a:schemeClr>
                    </a:solidFill>
                    <a:latin typeface="RBC Text" panose="02000000000000000000" pitchFamily="2" charset="77"/>
                  </a:rPr>
                  <a:t>Price</a:t>
                </a:r>
              </a:p>
            </p:txBody>
          </p:sp>
          <p:sp>
            <p:nvSpPr>
              <p:cNvPr id="14" name="TextBox 13"/>
              <p:cNvSpPr txBox="1"/>
              <p:nvPr/>
            </p:nvSpPr>
            <p:spPr>
              <a:xfrm>
                <a:off x="2991456" y="3209614"/>
                <a:ext cx="1044710" cy="400110"/>
              </a:xfrm>
              <a:prstGeom prst="rect">
                <a:avLst/>
              </a:prstGeom>
              <a:noFill/>
            </p:spPr>
            <p:txBody>
              <a:bodyPr wrap="none" lIns="0" rIns="0" rtlCol="0">
                <a:spAutoFit/>
              </a:bodyPr>
              <a:lstStyle/>
              <a:p>
                <a:r>
                  <a:rPr lang="en-US" sz="2000" dirty="0">
                    <a:solidFill>
                      <a:schemeClr val="bg1"/>
                    </a:solidFill>
                    <a:latin typeface="RBC Text" panose="02000000000000000000" pitchFamily="2" charset="77"/>
                  </a:rPr>
                  <a:t>$9,501.73</a:t>
                </a:r>
              </a:p>
            </p:txBody>
          </p:sp>
        </p:grpSp>
        <p:cxnSp>
          <p:nvCxnSpPr>
            <p:cNvPr id="16" name="Straight Connector 15"/>
            <p:cNvCxnSpPr/>
            <p:nvPr/>
          </p:nvCxnSpPr>
          <p:spPr>
            <a:xfrm>
              <a:off x="2765234"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299113"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913016" y="3955055"/>
            <a:ext cx="11278984" cy="1156771"/>
            <a:chOff x="913016" y="2721166"/>
            <a:chExt cx="11278984" cy="1156771"/>
          </a:xfrm>
        </p:grpSpPr>
        <p:sp>
          <p:nvSpPr>
            <p:cNvPr id="20" name="Rectangle 19"/>
            <p:cNvSpPr/>
            <p:nvPr/>
          </p:nvSpPr>
          <p:spPr>
            <a:xfrm>
              <a:off x="913016" y="2732183"/>
              <a:ext cx="6997095" cy="11457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r>
                <a:rPr lang="en-US" dirty="0" err="1">
                  <a:solidFill>
                    <a:schemeClr val="tx1"/>
                  </a:solidFill>
                  <a:latin typeface="RBC Display" panose="02000000000000000000" pitchFamily="2" charset="77"/>
                </a:rPr>
                <a:t>Ethereum</a:t>
              </a:r>
              <a:endParaRPr lang="en-US" dirty="0">
                <a:solidFill>
                  <a:schemeClr val="tx1"/>
                </a:solidFill>
                <a:latin typeface="RBC Display" panose="02000000000000000000" pitchFamily="2" charset="77"/>
              </a:endParaRPr>
            </a:p>
          </p:txBody>
        </p:sp>
        <p:sp>
          <p:nvSpPr>
            <p:cNvPr id="21" name="Rectangle 20"/>
            <p:cNvSpPr/>
            <p:nvPr/>
          </p:nvSpPr>
          <p:spPr>
            <a:xfrm>
              <a:off x="7910111" y="2732183"/>
              <a:ext cx="4281889" cy="11457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endParaRPr lang="en-US" dirty="0">
                <a:solidFill>
                  <a:schemeClr val="tx1"/>
                </a:solidFill>
                <a:latin typeface="RBC Display" panose="02000000000000000000" pitchFamily="2" charset="77"/>
              </a:endParaRPr>
            </a:p>
          </p:txBody>
        </p:sp>
        <p:grpSp>
          <p:nvGrpSpPr>
            <p:cNvPr id="22" name="Group 21"/>
            <p:cNvGrpSpPr/>
            <p:nvPr/>
          </p:nvGrpSpPr>
          <p:grpSpPr>
            <a:xfrm>
              <a:off x="2991456" y="2995010"/>
              <a:ext cx="1703159" cy="614714"/>
              <a:chOff x="2991456" y="2995010"/>
              <a:chExt cx="1703159" cy="614714"/>
            </a:xfrm>
          </p:grpSpPr>
          <p:sp>
            <p:nvSpPr>
              <p:cNvPr id="31" name="TextBox 30"/>
              <p:cNvSpPr txBox="1"/>
              <p:nvPr/>
            </p:nvSpPr>
            <p:spPr>
              <a:xfrm>
                <a:off x="2991456" y="2995010"/>
                <a:ext cx="544252"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Volume</a:t>
                </a:r>
              </a:p>
            </p:txBody>
          </p:sp>
          <p:sp>
            <p:nvSpPr>
              <p:cNvPr id="32" name="TextBox 31"/>
              <p:cNvSpPr txBox="1"/>
              <p:nvPr/>
            </p:nvSpPr>
            <p:spPr>
              <a:xfrm>
                <a:off x="2991456" y="3209614"/>
                <a:ext cx="1703159" cy="400110"/>
              </a:xfrm>
              <a:prstGeom prst="rect">
                <a:avLst/>
              </a:prstGeom>
              <a:noFill/>
            </p:spPr>
            <p:txBody>
              <a:bodyPr wrap="none" lIns="0" rIns="0" rtlCol="0">
                <a:spAutoFit/>
              </a:bodyPr>
              <a:lstStyle/>
              <a:p>
                <a:r>
                  <a:rPr lang="en-US" sz="2000" dirty="0">
                    <a:latin typeface="RBC Text" panose="02000000000000000000" pitchFamily="2" charset="77"/>
                  </a:rPr>
                  <a:t>$1,745,580,000</a:t>
                </a:r>
              </a:p>
            </p:txBody>
          </p:sp>
        </p:grpSp>
        <p:grpSp>
          <p:nvGrpSpPr>
            <p:cNvPr id="23" name="Group 22"/>
            <p:cNvGrpSpPr/>
            <p:nvPr/>
          </p:nvGrpSpPr>
          <p:grpSpPr>
            <a:xfrm>
              <a:off x="5487651" y="2995010"/>
              <a:ext cx="890308" cy="614714"/>
              <a:chOff x="2991456" y="2995010"/>
              <a:chExt cx="890308" cy="614714"/>
            </a:xfrm>
          </p:grpSpPr>
          <p:sp>
            <p:nvSpPr>
              <p:cNvPr id="29" name="TextBox 28"/>
              <p:cNvSpPr txBox="1"/>
              <p:nvPr/>
            </p:nvSpPr>
            <p:spPr>
              <a:xfrm>
                <a:off x="2991456" y="2995010"/>
                <a:ext cx="890308"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Change (24)</a:t>
                </a:r>
              </a:p>
            </p:txBody>
          </p:sp>
          <p:sp>
            <p:nvSpPr>
              <p:cNvPr id="30" name="TextBox 29"/>
              <p:cNvSpPr txBox="1"/>
              <p:nvPr/>
            </p:nvSpPr>
            <p:spPr>
              <a:xfrm>
                <a:off x="2991456" y="3209614"/>
                <a:ext cx="740587" cy="400110"/>
              </a:xfrm>
              <a:prstGeom prst="rect">
                <a:avLst/>
              </a:prstGeom>
              <a:noFill/>
            </p:spPr>
            <p:txBody>
              <a:bodyPr wrap="none" lIns="0" rIns="0" rtlCol="0">
                <a:spAutoFit/>
              </a:bodyPr>
              <a:lstStyle/>
              <a:p>
                <a:r>
                  <a:rPr lang="en-US" sz="2000" dirty="0">
                    <a:solidFill>
                      <a:schemeClr val="accent1"/>
                    </a:solidFill>
                    <a:latin typeface="RBC Text" panose="02000000000000000000" pitchFamily="2" charset="77"/>
                  </a:rPr>
                  <a:t>-0.12%</a:t>
                </a:r>
              </a:p>
            </p:txBody>
          </p:sp>
        </p:grpSp>
        <p:grpSp>
          <p:nvGrpSpPr>
            <p:cNvPr id="24" name="Group 23"/>
            <p:cNvGrpSpPr/>
            <p:nvPr/>
          </p:nvGrpSpPr>
          <p:grpSpPr>
            <a:xfrm>
              <a:off x="8154611" y="2995010"/>
              <a:ext cx="924099" cy="614714"/>
              <a:chOff x="2991456" y="2995010"/>
              <a:chExt cx="924099" cy="614714"/>
            </a:xfrm>
          </p:grpSpPr>
          <p:sp>
            <p:nvSpPr>
              <p:cNvPr id="27" name="TextBox 26"/>
              <p:cNvSpPr txBox="1"/>
              <p:nvPr/>
            </p:nvSpPr>
            <p:spPr>
              <a:xfrm>
                <a:off x="2991456" y="2995010"/>
                <a:ext cx="371897" cy="276999"/>
              </a:xfrm>
              <a:prstGeom prst="rect">
                <a:avLst/>
              </a:prstGeom>
              <a:noFill/>
            </p:spPr>
            <p:txBody>
              <a:bodyPr wrap="none" lIns="0" rIns="0" rtlCol="0">
                <a:spAutoFit/>
              </a:bodyPr>
              <a:lstStyle/>
              <a:p>
                <a:r>
                  <a:rPr lang="en-US" sz="1200" dirty="0">
                    <a:solidFill>
                      <a:schemeClr val="bg1">
                        <a:alpha val="40000"/>
                      </a:schemeClr>
                    </a:solidFill>
                    <a:latin typeface="RBC Text" panose="02000000000000000000" pitchFamily="2" charset="77"/>
                  </a:rPr>
                  <a:t>Price</a:t>
                </a:r>
              </a:p>
            </p:txBody>
          </p:sp>
          <p:sp>
            <p:nvSpPr>
              <p:cNvPr id="28" name="TextBox 27"/>
              <p:cNvSpPr txBox="1"/>
              <p:nvPr/>
            </p:nvSpPr>
            <p:spPr>
              <a:xfrm>
                <a:off x="2991456" y="3209614"/>
                <a:ext cx="924099" cy="400110"/>
              </a:xfrm>
              <a:prstGeom prst="rect">
                <a:avLst/>
              </a:prstGeom>
              <a:noFill/>
            </p:spPr>
            <p:txBody>
              <a:bodyPr wrap="none" lIns="0" rIns="0" rtlCol="0">
                <a:spAutoFit/>
              </a:bodyPr>
              <a:lstStyle/>
              <a:p>
                <a:r>
                  <a:rPr lang="en-US" sz="2000" dirty="0">
                    <a:solidFill>
                      <a:schemeClr val="bg1"/>
                    </a:solidFill>
                    <a:latin typeface="RBC Text" panose="02000000000000000000" pitchFamily="2" charset="77"/>
                  </a:rPr>
                  <a:t>$843.38</a:t>
                </a:r>
              </a:p>
            </p:txBody>
          </p:sp>
        </p:grpSp>
        <p:cxnSp>
          <p:nvCxnSpPr>
            <p:cNvPr id="25" name="Straight Connector 24"/>
            <p:cNvCxnSpPr/>
            <p:nvPr/>
          </p:nvCxnSpPr>
          <p:spPr>
            <a:xfrm>
              <a:off x="2765234"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299113"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913016" y="5189577"/>
            <a:ext cx="11278984" cy="1156771"/>
            <a:chOff x="913016" y="2721166"/>
            <a:chExt cx="11278984" cy="1156771"/>
          </a:xfrm>
        </p:grpSpPr>
        <p:sp>
          <p:nvSpPr>
            <p:cNvPr id="34" name="Rectangle 33"/>
            <p:cNvSpPr/>
            <p:nvPr/>
          </p:nvSpPr>
          <p:spPr>
            <a:xfrm>
              <a:off x="913016" y="2732183"/>
              <a:ext cx="6997095" cy="11457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r>
                <a:rPr lang="en-US" dirty="0">
                  <a:solidFill>
                    <a:schemeClr val="tx1"/>
                  </a:solidFill>
                  <a:latin typeface="RBC Display" panose="02000000000000000000" pitchFamily="2" charset="77"/>
                </a:rPr>
                <a:t>Ripple</a:t>
              </a:r>
            </a:p>
          </p:txBody>
        </p:sp>
        <p:sp>
          <p:nvSpPr>
            <p:cNvPr id="35" name="Rectangle 34"/>
            <p:cNvSpPr/>
            <p:nvPr/>
          </p:nvSpPr>
          <p:spPr>
            <a:xfrm>
              <a:off x="7910111" y="2732183"/>
              <a:ext cx="4281889" cy="11457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endParaRPr lang="en-US" dirty="0">
                <a:solidFill>
                  <a:schemeClr val="tx1"/>
                </a:solidFill>
                <a:latin typeface="RBC Display" panose="02000000000000000000" pitchFamily="2" charset="77"/>
              </a:endParaRPr>
            </a:p>
          </p:txBody>
        </p:sp>
        <p:grpSp>
          <p:nvGrpSpPr>
            <p:cNvPr id="36" name="Group 35"/>
            <p:cNvGrpSpPr/>
            <p:nvPr/>
          </p:nvGrpSpPr>
          <p:grpSpPr>
            <a:xfrm>
              <a:off x="2991456" y="2995010"/>
              <a:ext cx="1567417" cy="614714"/>
              <a:chOff x="2991456" y="2995010"/>
              <a:chExt cx="1567417" cy="614714"/>
            </a:xfrm>
          </p:grpSpPr>
          <p:sp>
            <p:nvSpPr>
              <p:cNvPr id="45" name="TextBox 44"/>
              <p:cNvSpPr txBox="1"/>
              <p:nvPr/>
            </p:nvSpPr>
            <p:spPr>
              <a:xfrm>
                <a:off x="2991456" y="2995010"/>
                <a:ext cx="544252"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Volume</a:t>
                </a:r>
              </a:p>
            </p:txBody>
          </p:sp>
          <p:sp>
            <p:nvSpPr>
              <p:cNvPr id="46" name="TextBox 45"/>
              <p:cNvSpPr txBox="1"/>
              <p:nvPr/>
            </p:nvSpPr>
            <p:spPr>
              <a:xfrm>
                <a:off x="2991456" y="3209614"/>
                <a:ext cx="1567417" cy="400110"/>
              </a:xfrm>
              <a:prstGeom prst="rect">
                <a:avLst/>
              </a:prstGeom>
              <a:noFill/>
            </p:spPr>
            <p:txBody>
              <a:bodyPr wrap="none" lIns="0" rIns="0" rtlCol="0">
                <a:spAutoFit/>
              </a:bodyPr>
              <a:lstStyle/>
              <a:p>
                <a:r>
                  <a:rPr lang="en-US" sz="2000" dirty="0">
                    <a:latin typeface="RBC Text" panose="02000000000000000000" pitchFamily="2" charset="77"/>
                  </a:rPr>
                  <a:t>$360,580,000</a:t>
                </a:r>
              </a:p>
            </p:txBody>
          </p:sp>
        </p:grpSp>
        <p:grpSp>
          <p:nvGrpSpPr>
            <p:cNvPr id="37" name="Group 36"/>
            <p:cNvGrpSpPr/>
            <p:nvPr/>
          </p:nvGrpSpPr>
          <p:grpSpPr>
            <a:xfrm>
              <a:off x="5487651" y="2995010"/>
              <a:ext cx="890308" cy="614714"/>
              <a:chOff x="2991456" y="2995010"/>
              <a:chExt cx="890308" cy="614714"/>
            </a:xfrm>
          </p:grpSpPr>
          <p:sp>
            <p:nvSpPr>
              <p:cNvPr id="43" name="TextBox 42"/>
              <p:cNvSpPr txBox="1"/>
              <p:nvPr/>
            </p:nvSpPr>
            <p:spPr>
              <a:xfrm>
                <a:off x="2991456" y="2995010"/>
                <a:ext cx="890308"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Change (24)</a:t>
                </a:r>
              </a:p>
            </p:txBody>
          </p:sp>
          <p:sp>
            <p:nvSpPr>
              <p:cNvPr id="44" name="TextBox 43"/>
              <p:cNvSpPr txBox="1"/>
              <p:nvPr/>
            </p:nvSpPr>
            <p:spPr>
              <a:xfrm>
                <a:off x="2991456" y="3209614"/>
                <a:ext cx="740587" cy="400110"/>
              </a:xfrm>
              <a:prstGeom prst="rect">
                <a:avLst/>
              </a:prstGeom>
              <a:noFill/>
            </p:spPr>
            <p:txBody>
              <a:bodyPr wrap="none" lIns="0" rIns="0" rtlCol="0">
                <a:spAutoFit/>
              </a:bodyPr>
              <a:lstStyle/>
              <a:p>
                <a:r>
                  <a:rPr lang="en-US" sz="2000" dirty="0">
                    <a:solidFill>
                      <a:schemeClr val="accent1"/>
                    </a:solidFill>
                    <a:latin typeface="RBC Text" panose="02000000000000000000" pitchFamily="2" charset="77"/>
                  </a:rPr>
                  <a:t>-4.11%</a:t>
                </a:r>
              </a:p>
            </p:txBody>
          </p:sp>
        </p:grpSp>
        <p:grpSp>
          <p:nvGrpSpPr>
            <p:cNvPr id="38" name="Group 37"/>
            <p:cNvGrpSpPr/>
            <p:nvPr/>
          </p:nvGrpSpPr>
          <p:grpSpPr>
            <a:xfrm>
              <a:off x="8154611" y="2995010"/>
              <a:ext cx="1163780" cy="614714"/>
              <a:chOff x="2991456" y="2995010"/>
              <a:chExt cx="1163780" cy="614714"/>
            </a:xfrm>
          </p:grpSpPr>
          <p:sp>
            <p:nvSpPr>
              <p:cNvPr id="41" name="TextBox 40"/>
              <p:cNvSpPr txBox="1"/>
              <p:nvPr/>
            </p:nvSpPr>
            <p:spPr>
              <a:xfrm>
                <a:off x="2991456" y="2995010"/>
                <a:ext cx="371897" cy="276999"/>
              </a:xfrm>
              <a:prstGeom prst="rect">
                <a:avLst/>
              </a:prstGeom>
              <a:noFill/>
            </p:spPr>
            <p:txBody>
              <a:bodyPr wrap="none" lIns="0" rIns="0" rtlCol="0">
                <a:spAutoFit/>
              </a:bodyPr>
              <a:lstStyle/>
              <a:p>
                <a:r>
                  <a:rPr lang="en-US" sz="1200" dirty="0">
                    <a:solidFill>
                      <a:schemeClr val="bg1">
                        <a:alpha val="40000"/>
                      </a:schemeClr>
                    </a:solidFill>
                    <a:latin typeface="RBC Text" panose="02000000000000000000" pitchFamily="2" charset="77"/>
                  </a:rPr>
                  <a:t>Price</a:t>
                </a:r>
              </a:p>
            </p:txBody>
          </p:sp>
          <p:sp>
            <p:nvSpPr>
              <p:cNvPr id="42" name="TextBox 41"/>
              <p:cNvSpPr txBox="1"/>
              <p:nvPr/>
            </p:nvSpPr>
            <p:spPr>
              <a:xfrm>
                <a:off x="2991456" y="3209614"/>
                <a:ext cx="1163780" cy="400110"/>
              </a:xfrm>
              <a:prstGeom prst="rect">
                <a:avLst/>
              </a:prstGeom>
              <a:noFill/>
            </p:spPr>
            <p:txBody>
              <a:bodyPr wrap="none" lIns="0" rIns="0" rtlCol="0">
                <a:spAutoFit/>
              </a:bodyPr>
              <a:lstStyle/>
              <a:p>
                <a:r>
                  <a:rPr lang="en-US" sz="2000" dirty="0">
                    <a:solidFill>
                      <a:schemeClr val="bg1"/>
                    </a:solidFill>
                    <a:latin typeface="RBC Text" panose="02000000000000000000" pitchFamily="2" charset="77"/>
                  </a:rPr>
                  <a:t>$0.915244</a:t>
                </a:r>
              </a:p>
            </p:txBody>
          </p:sp>
        </p:grpSp>
        <p:cxnSp>
          <p:nvCxnSpPr>
            <p:cNvPr id="39" name="Straight Connector 38"/>
            <p:cNvCxnSpPr/>
            <p:nvPr/>
          </p:nvCxnSpPr>
          <p:spPr>
            <a:xfrm>
              <a:off x="2765234"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299113"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8" name="Rectangle 47"/>
          <p:cNvSpPr/>
          <p:nvPr/>
        </p:nvSpPr>
        <p:spPr>
          <a:xfrm>
            <a:off x="913015" y="6435116"/>
            <a:ext cx="11278985" cy="11457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endParaRPr lang="en-US" dirty="0">
              <a:solidFill>
                <a:schemeClr val="tx1"/>
              </a:solidFill>
              <a:latin typeface="RBC Display" panose="02000000000000000000" pitchFamily="2" charset="77"/>
            </a:endParaRPr>
          </a:p>
        </p:txBody>
      </p:sp>
      <p:sp>
        <p:nvSpPr>
          <p:cNvPr id="49" name="Text Placeholder 6">
            <a:extLst>
              <a:ext uri="{FF2B5EF4-FFF2-40B4-BE49-F238E27FC236}">
                <a16:creationId xmlns:a16="http://schemas.microsoft.com/office/drawing/2014/main" id="{8853461E-0E12-0241-906D-30A54A49545F}"/>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6447212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913016" y="543915"/>
            <a:ext cx="11278984" cy="1156771"/>
            <a:chOff x="913016" y="2721166"/>
            <a:chExt cx="11278984" cy="1156771"/>
          </a:xfrm>
        </p:grpSpPr>
        <p:sp>
          <p:nvSpPr>
            <p:cNvPr id="4" name="Rectangle 3"/>
            <p:cNvSpPr/>
            <p:nvPr/>
          </p:nvSpPr>
          <p:spPr>
            <a:xfrm>
              <a:off x="913016" y="2732183"/>
              <a:ext cx="6997095" cy="11457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r>
                <a:rPr lang="en-US" dirty="0">
                  <a:solidFill>
                    <a:schemeClr val="tx1"/>
                  </a:solidFill>
                  <a:latin typeface="RBC Display" panose="02000000000000000000" pitchFamily="2" charset="77"/>
                </a:rPr>
                <a:t>Bitcoin</a:t>
              </a:r>
            </a:p>
          </p:txBody>
        </p:sp>
        <p:sp>
          <p:nvSpPr>
            <p:cNvPr id="5" name="Rectangle 4"/>
            <p:cNvSpPr/>
            <p:nvPr/>
          </p:nvSpPr>
          <p:spPr>
            <a:xfrm>
              <a:off x="7910111" y="2732183"/>
              <a:ext cx="4281889" cy="11457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endParaRPr lang="en-US" dirty="0">
                <a:solidFill>
                  <a:schemeClr val="tx1"/>
                </a:solidFill>
                <a:latin typeface="RBC Display" panose="02000000000000000000" pitchFamily="2" charset="77"/>
              </a:endParaRPr>
            </a:p>
          </p:txBody>
        </p:sp>
        <p:grpSp>
          <p:nvGrpSpPr>
            <p:cNvPr id="8" name="Group 7"/>
            <p:cNvGrpSpPr/>
            <p:nvPr/>
          </p:nvGrpSpPr>
          <p:grpSpPr>
            <a:xfrm>
              <a:off x="2991456" y="2995010"/>
              <a:ext cx="1745927" cy="614714"/>
              <a:chOff x="2991456" y="2995010"/>
              <a:chExt cx="1745927" cy="614714"/>
            </a:xfrm>
          </p:grpSpPr>
          <p:sp>
            <p:nvSpPr>
              <p:cNvPr id="6" name="TextBox 5"/>
              <p:cNvSpPr txBox="1"/>
              <p:nvPr/>
            </p:nvSpPr>
            <p:spPr>
              <a:xfrm>
                <a:off x="2991456" y="2995010"/>
                <a:ext cx="544252"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Volume</a:t>
                </a:r>
              </a:p>
            </p:txBody>
          </p:sp>
          <p:sp>
            <p:nvSpPr>
              <p:cNvPr id="7" name="TextBox 6"/>
              <p:cNvSpPr txBox="1"/>
              <p:nvPr/>
            </p:nvSpPr>
            <p:spPr>
              <a:xfrm>
                <a:off x="2991456" y="3209614"/>
                <a:ext cx="1745927" cy="400110"/>
              </a:xfrm>
              <a:prstGeom prst="rect">
                <a:avLst/>
              </a:prstGeom>
              <a:noFill/>
            </p:spPr>
            <p:txBody>
              <a:bodyPr wrap="none" lIns="0" rIns="0" rtlCol="0">
                <a:spAutoFit/>
              </a:bodyPr>
              <a:lstStyle/>
              <a:p>
                <a:r>
                  <a:rPr lang="en-US" sz="2000" dirty="0">
                    <a:latin typeface="RBC Text" panose="02000000000000000000" pitchFamily="2" charset="77"/>
                  </a:rPr>
                  <a:t>$5,745,580,000</a:t>
                </a:r>
              </a:p>
            </p:txBody>
          </p:sp>
        </p:grpSp>
        <p:grpSp>
          <p:nvGrpSpPr>
            <p:cNvPr id="9" name="Group 8"/>
            <p:cNvGrpSpPr/>
            <p:nvPr/>
          </p:nvGrpSpPr>
          <p:grpSpPr>
            <a:xfrm>
              <a:off x="5487651" y="2995010"/>
              <a:ext cx="890308" cy="614714"/>
              <a:chOff x="2991456" y="2995010"/>
              <a:chExt cx="890308" cy="614714"/>
            </a:xfrm>
          </p:grpSpPr>
          <p:sp>
            <p:nvSpPr>
              <p:cNvPr id="10" name="TextBox 9"/>
              <p:cNvSpPr txBox="1"/>
              <p:nvPr/>
            </p:nvSpPr>
            <p:spPr>
              <a:xfrm>
                <a:off x="2991456" y="2995010"/>
                <a:ext cx="890308"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Change (24)</a:t>
                </a:r>
              </a:p>
            </p:txBody>
          </p:sp>
          <p:sp>
            <p:nvSpPr>
              <p:cNvPr id="11" name="TextBox 10"/>
              <p:cNvSpPr txBox="1"/>
              <p:nvPr/>
            </p:nvSpPr>
            <p:spPr>
              <a:xfrm>
                <a:off x="2991456" y="3209614"/>
                <a:ext cx="796180" cy="400110"/>
              </a:xfrm>
              <a:prstGeom prst="rect">
                <a:avLst/>
              </a:prstGeom>
              <a:noFill/>
            </p:spPr>
            <p:txBody>
              <a:bodyPr wrap="none" lIns="0" rIns="0" rtlCol="0">
                <a:spAutoFit/>
              </a:bodyPr>
              <a:lstStyle/>
              <a:p>
                <a:r>
                  <a:rPr lang="en-US" sz="2000" dirty="0">
                    <a:solidFill>
                      <a:schemeClr val="accent1"/>
                    </a:solidFill>
                    <a:latin typeface="RBC Text" panose="02000000000000000000" pitchFamily="2" charset="77"/>
                  </a:rPr>
                  <a:t>-3.03%</a:t>
                </a:r>
              </a:p>
            </p:txBody>
          </p:sp>
        </p:grpSp>
        <p:grpSp>
          <p:nvGrpSpPr>
            <p:cNvPr id="12" name="Group 11"/>
            <p:cNvGrpSpPr/>
            <p:nvPr/>
          </p:nvGrpSpPr>
          <p:grpSpPr>
            <a:xfrm>
              <a:off x="8154611" y="2995010"/>
              <a:ext cx="1044710" cy="614714"/>
              <a:chOff x="2991456" y="2995010"/>
              <a:chExt cx="1044710" cy="614714"/>
            </a:xfrm>
          </p:grpSpPr>
          <p:sp>
            <p:nvSpPr>
              <p:cNvPr id="13" name="TextBox 12"/>
              <p:cNvSpPr txBox="1"/>
              <p:nvPr/>
            </p:nvSpPr>
            <p:spPr>
              <a:xfrm>
                <a:off x="2991456" y="2995010"/>
                <a:ext cx="371897" cy="276999"/>
              </a:xfrm>
              <a:prstGeom prst="rect">
                <a:avLst/>
              </a:prstGeom>
              <a:noFill/>
            </p:spPr>
            <p:txBody>
              <a:bodyPr wrap="none" lIns="0" rIns="0" rtlCol="0">
                <a:spAutoFit/>
              </a:bodyPr>
              <a:lstStyle/>
              <a:p>
                <a:r>
                  <a:rPr lang="en-US" sz="1200" dirty="0">
                    <a:solidFill>
                      <a:schemeClr val="bg1">
                        <a:alpha val="40000"/>
                      </a:schemeClr>
                    </a:solidFill>
                    <a:latin typeface="RBC Text" panose="02000000000000000000" pitchFamily="2" charset="77"/>
                  </a:rPr>
                  <a:t>Price</a:t>
                </a:r>
              </a:p>
            </p:txBody>
          </p:sp>
          <p:sp>
            <p:nvSpPr>
              <p:cNvPr id="14" name="TextBox 13"/>
              <p:cNvSpPr txBox="1"/>
              <p:nvPr/>
            </p:nvSpPr>
            <p:spPr>
              <a:xfrm>
                <a:off x="2991456" y="3209614"/>
                <a:ext cx="1044710" cy="400110"/>
              </a:xfrm>
              <a:prstGeom prst="rect">
                <a:avLst/>
              </a:prstGeom>
              <a:noFill/>
            </p:spPr>
            <p:txBody>
              <a:bodyPr wrap="none" lIns="0" rIns="0" rtlCol="0">
                <a:spAutoFit/>
              </a:bodyPr>
              <a:lstStyle/>
              <a:p>
                <a:r>
                  <a:rPr lang="en-US" sz="2000" dirty="0">
                    <a:solidFill>
                      <a:schemeClr val="bg1"/>
                    </a:solidFill>
                    <a:latin typeface="RBC Text" panose="02000000000000000000" pitchFamily="2" charset="77"/>
                  </a:rPr>
                  <a:t>$9,501.73</a:t>
                </a:r>
              </a:p>
            </p:txBody>
          </p:sp>
        </p:grpSp>
        <p:cxnSp>
          <p:nvCxnSpPr>
            <p:cNvPr id="16" name="Straight Connector 15"/>
            <p:cNvCxnSpPr/>
            <p:nvPr/>
          </p:nvCxnSpPr>
          <p:spPr>
            <a:xfrm>
              <a:off x="2765234"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299113"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913016" y="1777804"/>
            <a:ext cx="11278984" cy="1156771"/>
            <a:chOff x="913016" y="2721166"/>
            <a:chExt cx="11278984" cy="1156771"/>
          </a:xfrm>
        </p:grpSpPr>
        <p:sp>
          <p:nvSpPr>
            <p:cNvPr id="20" name="Rectangle 19"/>
            <p:cNvSpPr/>
            <p:nvPr/>
          </p:nvSpPr>
          <p:spPr>
            <a:xfrm>
              <a:off x="913016" y="2732183"/>
              <a:ext cx="6997095" cy="11457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r>
                <a:rPr lang="en-US" dirty="0" err="1">
                  <a:solidFill>
                    <a:schemeClr val="tx1"/>
                  </a:solidFill>
                  <a:latin typeface="RBC Display" panose="02000000000000000000" pitchFamily="2" charset="77"/>
                </a:rPr>
                <a:t>Ethereum</a:t>
              </a:r>
              <a:endParaRPr lang="en-US" dirty="0">
                <a:solidFill>
                  <a:schemeClr val="tx1"/>
                </a:solidFill>
                <a:latin typeface="RBC Display" panose="02000000000000000000" pitchFamily="2" charset="77"/>
              </a:endParaRPr>
            </a:p>
          </p:txBody>
        </p:sp>
        <p:sp>
          <p:nvSpPr>
            <p:cNvPr id="21" name="Rectangle 20"/>
            <p:cNvSpPr/>
            <p:nvPr/>
          </p:nvSpPr>
          <p:spPr>
            <a:xfrm>
              <a:off x="7910111" y="2732183"/>
              <a:ext cx="4281889" cy="11457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endParaRPr lang="en-US" dirty="0">
                <a:solidFill>
                  <a:schemeClr val="tx1"/>
                </a:solidFill>
                <a:latin typeface="RBC Display" panose="02000000000000000000" pitchFamily="2" charset="77"/>
              </a:endParaRPr>
            </a:p>
          </p:txBody>
        </p:sp>
        <p:grpSp>
          <p:nvGrpSpPr>
            <p:cNvPr id="22" name="Group 21"/>
            <p:cNvGrpSpPr/>
            <p:nvPr/>
          </p:nvGrpSpPr>
          <p:grpSpPr>
            <a:xfrm>
              <a:off x="2991456" y="2995010"/>
              <a:ext cx="1703159" cy="614714"/>
              <a:chOff x="2991456" y="2995010"/>
              <a:chExt cx="1703159" cy="614714"/>
            </a:xfrm>
          </p:grpSpPr>
          <p:sp>
            <p:nvSpPr>
              <p:cNvPr id="31" name="TextBox 30"/>
              <p:cNvSpPr txBox="1"/>
              <p:nvPr/>
            </p:nvSpPr>
            <p:spPr>
              <a:xfrm>
                <a:off x="2991456" y="2995010"/>
                <a:ext cx="544252"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Volume</a:t>
                </a:r>
              </a:p>
            </p:txBody>
          </p:sp>
          <p:sp>
            <p:nvSpPr>
              <p:cNvPr id="32" name="TextBox 31"/>
              <p:cNvSpPr txBox="1"/>
              <p:nvPr/>
            </p:nvSpPr>
            <p:spPr>
              <a:xfrm>
                <a:off x="2991456" y="3209614"/>
                <a:ext cx="1703159" cy="400110"/>
              </a:xfrm>
              <a:prstGeom prst="rect">
                <a:avLst/>
              </a:prstGeom>
              <a:noFill/>
            </p:spPr>
            <p:txBody>
              <a:bodyPr wrap="none" lIns="0" rIns="0" rtlCol="0">
                <a:spAutoFit/>
              </a:bodyPr>
              <a:lstStyle/>
              <a:p>
                <a:r>
                  <a:rPr lang="en-US" sz="2000" dirty="0">
                    <a:latin typeface="RBC Text" panose="02000000000000000000" pitchFamily="2" charset="77"/>
                  </a:rPr>
                  <a:t>$1,745,580,000</a:t>
                </a:r>
              </a:p>
            </p:txBody>
          </p:sp>
        </p:grpSp>
        <p:grpSp>
          <p:nvGrpSpPr>
            <p:cNvPr id="23" name="Group 22"/>
            <p:cNvGrpSpPr/>
            <p:nvPr/>
          </p:nvGrpSpPr>
          <p:grpSpPr>
            <a:xfrm>
              <a:off x="5487651" y="2995010"/>
              <a:ext cx="890308" cy="614714"/>
              <a:chOff x="2991456" y="2995010"/>
              <a:chExt cx="890308" cy="614714"/>
            </a:xfrm>
          </p:grpSpPr>
          <p:sp>
            <p:nvSpPr>
              <p:cNvPr id="29" name="TextBox 28"/>
              <p:cNvSpPr txBox="1"/>
              <p:nvPr/>
            </p:nvSpPr>
            <p:spPr>
              <a:xfrm>
                <a:off x="2991456" y="2995010"/>
                <a:ext cx="890308"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Change (24)</a:t>
                </a:r>
              </a:p>
            </p:txBody>
          </p:sp>
          <p:sp>
            <p:nvSpPr>
              <p:cNvPr id="30" name="TextBox 29"/>
              <p:cNvSpPr txBox="1"/>
              <p:nvPr/>
            </p:nvSpPr>
            <p:spPr>
              <a:xfrm>
                <a:off x="2991456" y="3209614"/>
                <a:ext cx="740587" cy="400110"/>
              </a:xfrm>
              <a:prstGeom prst="rect">
                <a:avLst/>
              </a:prstGeom>
              <a:noFill/>
            </p:spPr>
            <p:txBody>
              <a:bodyPr wrap="none" lIns="0" rIns="0" rtlCol="0">
                <a:spAutoFit/>
              </a:bodyPr>
              <a:lstStyle/>
              <a:p>
                <a:r>
                  <a:rPr lang="en-US" sz="2000" dirty="0">
                    <a:solidFill>
                      <a:schemeClr val="accent1"/>
                    </a:solidFill>
                    <a:latin typeface="RBC Text" panose="02000000000000000000" pitchFamily="2" charset="77"/>
                  </a:rPr>
                  <a:t>-0.12%</a:t>
                </a:r>
              </a:p>
            </p:txBody>
          </p:sp>
        </p:grpSp>
        <p:grpSp>
          <p:nvGrpSpPr>
            <p:cNvPr id="24" name="Group 23"/>
            <p:cNvGrpSpPr/>
            <p:nvPr/>
          </p:nvGrpSpPr>
          <p:grpSpPr>
            <a:xfrm>
              <a:off x="8154611" y="2995010"/>
              <a:ext cx="924099" cy="614714"/>
              <a:chOff x="2991456" y="2995010"/>
              <a:chExt cx="924099" cy="614714"/>
            </a:xfrm>
          </p:grpSpPr>
          <p:sp>
            <p:nvSpPr>
              <p:cNvPr id="27" name="TextBox 26"/>
              <p:cNvSpPr txBox="1"/>
              <p:nvPr/>
            </p:nvSpPr>
            <p:spPr>
              <a:xfrm>
                <a:off x="2991456" y="2995010"/>
                <a:ext cx="371897" cy="276999"/>
              </a:xfrm>
              <a:prstGeom prst="rect">
                <a:avLst/>
              </a:prstGeom>
              <a:noFill/>
            </p:spPr>
            <p:txBody>
              <a:bodyPr wrap="none" lIns="0" rIns="0" rtlCol="0">
                <a:spAutoFit/>
              </a:bodyPr>
              <a:lstStyle/>
              <a:p>
                <a:r>
                  <a:rPr lang="en-US" sz="1200" dirty="0">
                    <a:solidFill>
                      <a:schemeClr val="bg1">
                        <a:alpha val="40000"/>
                      </a:schemeClr>
                    </a:solidFill>
                    <a:latin typeface="RBC Text" panose="02000000000000000000" pitchFamily="2" charset="77"/>
                  </a:rPr>
                  <a:t>Price</a:t>
                </a:r>
              </a:p>
            </p:txBody>
          </p:sp>
          <p:sp>
            <p:nvSpPr>
              <p:cNvPr id="28" name="TextBox 27"/>
              <p:cNvSpPr txBox="1"/>
              <p:nvPr/>
            </p:nvSpPr>
            <p:spPr>
              <a:xfrm>
                <a:off x="2991456" y="3209614"/>
                <a:ext cx="924099" cy="400110"/>
              </a:xfrm>
              <a:prstGeom prst="rect">
                <a:avLst/>
              </a:prstGeom>
              <a:noFill/>
            </p:spPr>
            <p:txBody>
              <a:bodyPr wrap="none" lIns="0" rIns="0" rtlCol="0">
                <a:spAutoFit/>
              </a:bodyPr>
              <a:lstStyle/>
              <a:p>
                <a:r>
                  <a:rPr lang="en-US" sz="2000" dirty="0">
                    <a:solidFill>
                      <a:schemeClr val="bg1"/>
                    </a:solidFill>
                    <a:latin typeface="RBC Text" panose="02000000000000000000" pitchFamily="2" charset="77"/>
                  </a:rPr>
                  <a:t>$843.38</a:t>
                </a:r>
              </a:p>
            </p:txBody>
          </p:sp>
        </p:grpSp>
        <p:cxnSp>
          <p:nvCxnSpPr>
            <p:cNvPr id="25" name="Straight Connector 24"/>
            <p:cNvCxnSpPr/>
            <p:nvPr/>
          </p:nvCxnSpPr>
          <p:spPr>
            <a:xfrm>
              <a:off x="2765234"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299113"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913016" y="3012326"/>
            <a:ext cx="11278984" cy="1156771"/>
            <a:chOff x="913016" y="2721166"/>
            <a:chExt cx="11278984" cy="1156771"/>
          </a:xfrm>
        </p:grpSpPr>
        <p:sp>
          <p:nvSpPr>
            <p:cNvPr id="34" name="Rectangle 33"/>
            <p:cNvSpPr/>
            <p:nvPr/>
          </p:nvSpPr>
          <p:spPr>
            <a:xfrm>
              <a:off x="913016" y="2732183"/>
              <a:ext cx="6997095" cy="11457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r>
                <a:rPr lang="en-US" dirty="0">
                  <a:solidFill>
                    <a:schemeClr val="tx1"/>
                  </a:solidFill>
                  <a:latin typeface="RBC Display" panose="02000000000000000000" pitchFamily="2" charset="77"/>
                </a:rPr>
                <a:t>Ripple</a:t>
              </a:r>
            </a:p>
          </p:txBody>
        </p:sp>
        <p:sp>
          <p:nvSpPr>
            <p:cNvPr id="35" name="Rectangle 34"/>
            <p:cNvSpPr/>
            <p:nvPr/>
          </p:nvSpPr>
          <p:spPr>
            <a:xfrm>
              <a:off x="7910111" y="2732183"/>
              <a:ext cx="4281889" cy="11457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endParaRPr lang="en-US" dirty="0">
                <a:solidFill>
                  <a:schemeClr val="tx1"/>
                </a:solidFill>
                <a:latin typeface="RBC Display" panose="02000000000000000000" pitchFamily="2" charset="77"/>
              </a:endParaRPr>
            </a:p>
          </p:txBody>
        </p:sp>
        <p:grpSp>
          <p:nvGrpSpPr>
            <p:cNvPr id="36" name="Group 35"/>
            <p:cNvGrpSpPr/>
            <p:nvPr/>
          </p:nvGrpSpPr>
          <p:grpSpPr>
            <a:xfrm>
              <a:off x="2991456" y="2995010"/>
              <a:ext cx="1567417" cy="614714"/>
              <a:chOff x="2991456" y="2995010"/>
              <a:chExt cx="1567417" cy="614714"/>
            </a:xfrm>
          </p:grpSpPr>
          <p:sp>
            <p:nvSpPr>
              <p:cNvPr id="45" name="TextBox 44"/>
              <p:cNvSpPr txBox="1"/>
              <p:nvPr/>
            </p:nvSpPr>
            <p:spPr>
              <a:xfrm>
                <a:off x="2991456" y="2995010"/>
                <a:ext cx="544252"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Volume</a:t>
                </a:r>
              </a:p>
            </p:txBody>
          </p:sp>
          <p:sp>
            <p:nvSpPr>
              <p:cNvPr id="46" name="TextBox 45"/>
              <p:cNvSpPr txBox="1"/>
              <p:nvPr/>
            </p:nvSpPr>
            <p:spPr>
              <a:xfrm>
                <a:off x="2991456" y="3209614"/>
                <a:ext cx="1567417" cy="400110"/>
              </a:xfrm>
              <a:prstGeom prst="rect">
                <a:avLst/>
              </a:prstGeom>
              <a:noFill/>
            </p:spPr>
            <p:txBody>
              <a:bodyPr wrap="none" lIns="0" rIns="0" rtlCol="0">
                <a:spAutoFit/>
              </a:bodyPr>
              <a:lstStyle/>
              <a:p>
                <a:r>
                  <a:rPr lang="en-US" sz="2000" dirty="0">
                    <a:latin typeface="RBC Text" panose="02000000000000000000" pitchFamily="2" charset="77"/>
                  </a:rPr>
                  <a:t>$360,580,000</a:t>
                </a:r>
              </a:p>
            </p:txBody>
          </p:sp>
        </p:grpSp>
        <p:grpSp>
          <p:nvGrpSpPr>
            <p:cNvPr id="37" name="Group 36"/>
            <p:cNvGrpSpPr/>
            <p:nvPr/>
          </p:nvGrpSpPr>
          <p:grpSpPr>
            <a:xfrm>
              <a:off x="5487651" y="2995010"/>
              <a:ext cx="890308" cy="614714"/>
              <a:chOff x="2991456" y="2995010"/>
              <a:chExt cx="890308" cy="614714"/>
            </a:xfrm>
          </p:grpSpPr>
          <p:sp>
            <p:nvSpPr>
              <p:cNvPr id="43" name="TextBox 42"/>
              <p:cNvSpPr txBox="1"/>
              <p:nvPr/>
            </p:nvSpPr>
            <p:spPr>
              <a:xfrm>
                <a:off x="2991456" y="2995010"/>
                <a:ext cx="890308" cy="276999"/>
              </a:xfrm>
              <a:prstGeom prst="rect">
                <a:avLst/>
              </a:prstGeom>
              <a:noFill/>
            </p:spPr>
            <p:txBody>
              <a:bodyPr wrap="none" lIns="0" rIns="0" rtlCol="0">
                <a:spAutoFit/>
              </a:bodyPr>
              <a:lstStyle/>
              <a:p>
                <a:r>
                  <a:rPr lang="en-US" sz="1200" dirty="0">
                    <a:solidFill>
                      <a:schemeClr val="tx1">
                        <a:alpha val="40000"/>
                      </a:schemeClr>
                    </a:solidFill>
                    <a:latin typeface="RBC Text" panose="02000000000000000000" pitchFamily="2" charset="77"/>
                  </a:rPr>
                  <a:t>Change (24)</a:t>
                </a:r>
              </a:p>
            </p:txBody>
          </p:sp>
          <p:sp>
            <p:nvSpPr>
              <p:cNvPr id="44" name="TextBox 43"/>
              <p:cNvSpPr txBox="1"/>
              <p:nvPr/>
            </p:nvSpPr>
            <p:spPr>
              <a:xfrm>
                <a:off x="2991456" y="3209614"/>
                <a:ext cx="740587" cy="400110"/>
              </a:xfrm>
              <a:prstGeom prst="rect">
                <a:avLst/>
              </a:prstGeom>
              <a:noFill/>
            </p:spPr>
            <p:txBody>
              <a:bodyPr wrap="none" lIns="0" rIns="0" rtlCol="0">
                <a:spAutoFit/>
              </a:bodyPr>
              <a:lstStyle/>
              <a:p>
                <a:r>
                  <a:rPr lang="en-US" sz="2000" dirty="0">
                    <a:solidFill>
                      <a:schemeClr val="accent1"/>
                    </a:solidFill>
                    <a:latin typeface="RBC Text" panose="02000000000000000000" pitchFamily="2" charset="77"/>
                  </a:rPr>
                  <a:t>-4.11%</a:t>
                </a:r>
              </a:p>
            </p:txBody>
          </p:sp>
        </p:grpSp>
        <p:grpSp>
          <p:nvGrpSpPr>
            <p:cNvPr id="38" name="Group 37"/>
            <p:cNvGrpSpPr/>
            <p:nvPr/>
          </p:nvGrpSpPr>
          <p:grpSpPr>
            <a:xfrm>
              <a:off x="8154611" y="2995010"/>
              <a:ext cx="1163780" cy="614714"/>
              <a:chOff x="2991456" y="2995010"/>
              <a:chExt cx="1163780" cy="614714"/>
            </a:xfrm>
          </p:grpSpPr>
          <p:sp>
            <p:nvSpPr>
              <p:cNvPr id="41" name="TextBox 40"/>
              <p:cNvSpPr txBox="1"/>
              <p:nvPr/>
            </p:nvSpPr>
            <p:spPr>
              <a:xfrm>
                <a:off x="2991456" y="2995010"/>
                <a:ext cx="371897" cy="276999"/>
              </a:xfrm>
              <a:prstGeom prst="rect">
                <a:avLst/>
              </a:prstGeom>
              <a:noFill/>
            </p:spPr>
            <p:txBody>
              <a:bodyPr wrap="none" lIns="0" rIns="0" rtlCol="0">
                <a:spAutoFit/>
              </a:bodyPr>
              <a:lstStyle/>
              <a:p>
                <a:r>
                  <a:rPr lang="en-US" sz="1200" dirty="0">
                    <a:solidFill>
                      <a:schemeClr val="bg1">
                        <a:alpha val="40000"/>
                      </a:schemeClr>
                    </a:solidFill>
                    <a:latin typeface="RBC Text" panose="02000000000000000000" pitchFamily="2" charset="77"/>
                  </a:rPr>
                  <a:t>Price</a:t>
                </a:r>
              </a:p>
            </p:txBody>
          </p:sp>
          <p:sp>
            <p:nvSpPr>
              <p:cNvPr id="42" name="TextBox 41"/>
              <p:cNvSpPr txBox="1"/>
              <p:nvPr/>
            </p:nvSpPr>
            <p:spPr>
              <a:xfrm>
                <a:off x="2991456" y="3209614"/>
                <a:ext cx="1163780" cy="400110"/>
              </a:xfrm>
              <a:prstGeom prst="rect">
                <a:avLst/>
              </a:prstGeom>
              <a:noFill/>
            </p:spPr>
            <p:txBody>
              <a:bodyPr wrap="none" lIns="0" rIns="0" rtlCol="0">
                <a:spAutoFit/>
              </a:bodyPr>
              <a:lstStyle/>
              <a:p>
                <a:r>
                  <a:rPr lang="en-US" sz="2000" dirty="0">
                    <a:solidFill>
                      <a:schemeClr val="bg1"/>
                    </a:solidFill>
                    <a:latin typeface="RBC Text" panose="02000000000000000000" pitchFamily="2" charset="77"/>
                  </a:rPr>
                  <a:t>$0.915244</a:t>
                </a:r>
              </a:p>
            </p:txBody>
          </p:sp>
        </p:grpSp>
        <p:cxnSp>
          <p:nvCxnSpPr>
            <p:cNvPr id="39" name="Straight Connector 38"/>
            <p:cNvCxnSpPr/>
            <p:nvPr/>
          </p:nvCxnSpPr>
          <p:spPr>
            <a:xfrm>
              <a:off x="2765234"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299113" y="2721166"/>
              <a:ext cx="0" cy="11457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8" name="Rectangle 47"/>
          <p:cNvSpPr/>
          <p:nvPr/>
        </p:nvSpPr>
        <p:spPr>
          <a:xfrm>
            <a:off x="913016" y="-678958"/>
            <a:ext cx="11278985" cy="11457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45720" rIns="91440" bIns="45720" numCol="1" spcCol="0" rtlCol="0" fromWordArt="0" anchor="ctr" anchorCtr="0" forceAA="0" compatLnSpc="1">
            <a:prstTxWarp prst="textNoShape">
              <a:avLst/>
            </a:prstTxWarp>
            <a:noAutofit/>
          </a:bodyPr>
          <a:lstStyle/>
          <a:p>
            <a:endParaRPr lang="en-US" dirty="0">
              <a:solidFill>
                <a:schemeClr val="tx1"/>
              </a:solidFill>
              <a:latin typeface="RBC Display" panose="02000000000000000000" pitchFamily="2" charset="77"/>
            </a:endParaRPr>
          </a:p>
        </p:txBody>
      </p:sp>
      <p:sp>
        <p:nvSpPr>
          <p:cNvPr id="49" name="TextBox 48"/>
          <p:cNvSpPr txBox="1"/>
          <p:nvPr/>
        </p:nvSpPr>
        <p:spPr>
          <a:xfrm>
            <a:off x="913016" y="5103953"/>
            <a:ext cx="9938598" cy="535531"/>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Apparently we had reached a great height in the atmosphere, for the sky was a dead black, and the stars had ceased to twinkle. </a:t>
            </a:r>
          </a:p>
        </p:txBody>
      </p:sp>
    </p:spTree>
    <p:extLst>
      <p:ext uri="{BB962C8B-B14F-4D97-AF65-F5344CB8AC3E}">
        <p14:creationId xmlns:p14="http://schemas.microsoft.com/office/powerpoint/2010/main" val="180356535"/>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Partners</a:t>
            </a:r>
          </a:p>
        </p:txBody>
      </p:sp>
      <p:sp>
        <p:nvSpPr>
          <p:cNvPr id="3" name="Picture Placeholder 2"/>
          <p:cNvSpPr>
            <a:spLocks noGrp="1"/>
          </p:cNvSpPr>
          <p:nvPr>
            <p:ph type="pic" sz="quarter" idx="12"/>
          </p:nvPr>
        </p:nvSpPr>
        <p:spPr/>
        <p:txBody>
          <a:bodyPr/>
          <a:lstStyle/>
          <a:p>
            <a:endParaRPr lang="en-CA"/>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41581" y="1880370"/>
            <a:ext cx="2725297" cy="1854737"/>
          </a:xfrm>
          <a:prstGeom prst="rect">
            <a:avLst/>
          </a:prstGeom>
        </p:spPr>
      </p:pic>
      <p:sp>
        <p:nvSpPr>
          <p:cNvPr id="11" name="TextBox 10"/>
          <p:cNvSpPr txBox="1"/>
          <p:nvPr/>
        </p:nvSpPr>
        <p:spPr>
          <a:xfrm>
            <a:off x="7459841" y="4232658"/>
            <a:ext cx="2307042" cy="461665"/>
          </a:xfrm>
          <a:prstGeom prst="rect">
            <a:avLst/>
          </a:prstGeom>
          <a:noFill/>
        </p:spPr>
        <p:txBody>
          <a:bodyPr wrap="none" lIns="0" rIns="0" rtlCol="0">
            <a:spAutoFit/>
          </a:bodyPr>
          <a:lstStyle/>
          <a:p>
            <a:pPr algn="ctr"/>
            <a:r>
              <a:rPr lang="en-US" sz="1200" dirty="0">
                <a:latin typeface="RBC Display" panose="02000000000000000000" pitchFamily="2" charset="77"/>
              </a:rPr>
              <a:t>A red flare silhouetted the jagged</a:t>
            </a:r>
          </a:p>
          <a:p>
            <a:pPr algn="ctr"/>
            <a:r>
              <a:rPr lang="en-US" sz="1200" dirty="0">
                <a:latin typeface="RBC Display" panose="02000000000000000000" pitchFamily="2" charset="77"/>
              </a:rPr>
              <a:t>Edge of a wing.</a:t>
            </a:r>
          </a:p>
        </p:txBody>
      </p:sp>
      <p:sp>
        <p:nvSpPr>
          <p:cNvPr id="12" name="TextBox 11"/>
          <p:cNvSpPr txBox="1"/>
          <p:nvPr/>
        </p:nvSpPr>
        <p:spPr>
          <a:xfrm>
            <a:off x="6474260" y="4806898"/>
            <a:ext cx="4278204" cy="757130"/>
          </a:xfrm>
          <a:prstGeom prst="rect">
            <a:avLst/>
          </a:prstGeom>
          <a:noFill/>
        </p:spPr>
        <p:txBody>
          <a:bodyPr wrap="square" lIns="0" rIns="0" rtlCol="0">
            <a:spAutoFit/>
          </a:bodyPr>
          <a:lstStyle/>
          <a:p>
            <a:pPr algn="ct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3" name="Text Placeholder 6">
            <a:extLst>
              <a:ext uri="{FF2B5EF4-FFF2-40B4-BE49-F238E27FC236}">
                <a16:creationId xmlns:a16="http://schemas.microsoft.com/office/drawing/2014/main" id="{9C904ACE-604B-CA47-9AB1-92D85CDDF377}"/>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4287640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ur Partner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016" y="2900342"/>
            <a:ext cx="1755354" cy="1236832"/>
          </a:xfrm>
          <a:prstGeom prst="rect">
            <a:avLst/>
          </a:prstGeom>
        </p:spPr>
      </p:pic>
      <p:sp>
        <p:nvSpPr>
          <p:cNvPr id="6" name="TextBox 5"/>
          <p:cNvSpPr txBox="1"/>
          <p:nvPr/>
        </p:nvSpPr>
        <p:spPr>
          <a:xfrm>
            <a:off x="913016" y="4545933"/>
            <a:ext cx="1101264" cy="276999"/>
          </a:xfrm>
          <a:prstGeom prst="rect">
            <a:avLst/>
          </a:prstGeom>
          <a:noFill/>
        </p:spPr>
        <p:txBody>
          <a:bodyPr wrap="none" lIns="0" rIns="0" rtlCol="0">
            <a:spAutoFit/>
          </a:bodyPr>
          <a:lstStyle/>
          <a:p>
            <a:r>
              <a:rPr lang="en-US" sz="1200" dirty="0">
                <a:latin typeface="RBC Display" panose="02000000000000000000" pitchFamily="2" charset="77"/>
              </a:rPr>
              <a:t>Company Name</a:t>
            </a:r>
          </a:p>
        </p:txBody>
      </p:sp>
      <p:sp>
        <p:nvSpPr>
          <p:cNvPr id="7" name="TextBox 6"/>
          <p:cNvSpPr txBox="1"/>
          <p:nvPr/>
        </p:nvSpPr>
        <p:spPr>
          <a:xfrm>
            <a:off x="913016" y="4877773"/>
            <a:ext cx="2255426" cy="535531"/>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10" name="TextBox 9"/>
          <p:cNvSpPr txBox="1"/>
          <p:nvPr/>
        </p:nvSpPr>
        <p:spPr>
          <a:xfrm>
            <a:off x="3722318" y="4545933"/>
            <a:ext cx="1101264" cy="276999"/>
          </a:xfrm>
          <a:prstGeom prst="rect">
            <a:avLst/>
          </a:prstGeom>
          <a:noFill/>
        </p:spPr>
        <p:txBody>
          <a:bodyPr wrap="none" lIns="0" rIns="0" rtlCol="0">
            <a:spAutoFit/>
          </a:bodyPr>
          <a:lstStyle/>
          <a:p>
            <a:r>
              <a:rPr lang="en-US" sz="1200" dirty="0">
                <a:latin typeface="RBC Display" panose="02000000000000000000" pitchFamily="2" charset="77"/>
              </a:rPr>
              <a:t>Company Name</a:t>
            </a:r>
          </a:p>
        </p:txBody>
      </p:sp>
      <p:sp>
        <p:nvSpPr>
          <p:cNvPr id="11" name="TextBox 10"/>
          <p:cNvSpPr txBox="1"/>
          <p:nvPr/>
        </p:nvSpPr>
        <p:spPr>
          <a:xfrm>
            <a:off x="3722318" y="4877773"/>
            <a:ext cx="2255426" cy="535531"/>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12" name="TextBox 11"/>
          <p:cNvSpPr txBox="1"/>
          <p:nvPr/>
        </p:nvSpPr>
        <p:spPr>
          <a:xfrm>
            <a:off x="6531620" y="4545933"/>
            <a:ext cx="1101264" cy="276999"/>
          </a:xfrm>
          <a:prstGeom prst="rect">
            <a:avLst/>
          </a:prstGeom>
          <a:noFill/>
        </p:spPr>
        <p:txBody>
          <a:bodyPr wrap="none" lIns="0" rIns="0" rtlCol="0">
            <a:spAutoFit/>
          </a:bodyPr>
          <a:lstStyle/>
          <a:p>
            <a:r>
              <a:rPr lang="en-US" sz="1200" dirty="0">
                <a:latin typeface="RBC Display" panose="02000000000000000000" pitchFamily="2" charset="77"/>
              </a:rPr>
              <a:t>Company Name</a:t>
            </a:r>
          </a:p>
        </p:txBody>
      </p:sp>
      <p:sp>
        <p:nvSpPr>
          <p:cNvPr id="13" name="TextBox 12"/>
          <p:cNvSpPr txBox="1"/>
          <p:nvPr/>
        </p:nvSpPr>
        <p:spPr>
          <a:xfrm>
            <a:off x="6531620" y="4877773"/>
            <a:ext cx="2255426" cy="535531"/>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14" name="TextBox 13"/>
          <p:cNvSpPr txBox="1"/>
          <p:nvPr/>
        </p:nvSpPr>
        <p:spPr>
          <a:xfrm>
            <a:off x="9340921" y="4545933"/>
            <a:ext cx="1101264" cy="276999"/>
          </a:xfrm>
          <a:prstGeom prst="rect">
            <a:avLst/>
          </a:prstGeom>
          <a:noFill/>
        </p:spPr>
        <p:txBody>
          <a:bodyPr wrap="none" lIns="0" rIns="0" rtlCol="0">
            <a:spAutoFit/>
          </a:bodyPr>
          <a:lstStyle/>
          <a:p>
            <a:r>
              <a:rPr lang="en-US" sz="1200" dirty="0">
                <a:latin typeface="RBC Display" panose="02000000000000000000" pitchFamily="2" charset="77"/>
              </a:rPr>
              <a:t>Company Name</a:t>
            </a:r>
          </a:p>
        </p:txBody>
      </p:sp>
      <p:sp>
        <p:nvSpPr>
          <p:cNvPr id="15" name="TextBox 14"/>
          <p:cNvSpPr txBox="1"/>
          <p:nvPr/>
        </p:nvSpPr>
        <p:spPr>
          <a:xfrm>
            <a:off x="9340921" y="4877773"/>
            <a:ext cx="2255426" cy="535531"/>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128" y="2988234"/>
            <a:ext cx="1030230" cy="1296373"/>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1649" y="3135090"/>
            <a:ext cx="2143183" cy="886794"/>
          </a:xfrm>
          <a:prstGeom prst="rect">
            <a:avLst/>
          </a:prstGeom>
        </p:spPr>
      </p:pic>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40921" y="3209346"/>
            <a:ext cx="1501833" cy="738282"/>
          </a:xfrm>
          <a:prstGeom prst="rect">
            <a:avLst/>
          </a:prstGeom>
        </p:spPr>
      </p:pic>
      <p:cxnSp>
        <p:nvCxnSpPr>
          <p:cNvPr id="20" name="Straight Connector 19"/>
          <p:cNvCxnSpPr/>
          <p:nvPr/>
        </p:nvCxnSpPr>
        <p:spPr>
          <a:xfrm>
            <a:off x="3382178" y="2820318"/>
            <a:ext cx="0" cy="3051672"/>
          </a:xfrm>
          <a:prstGeom prst="line">
            <a:avLst/>
          </a:prstGeom>
          <a:ln>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136394" y="2820318"/>
            <a:ext cx="0" cy="3051672"/>
          </a:xfrm>
          <a:prstGeom prst="line">
            <a:avLst/>
          </a:prstGeom>
          <a:ln>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8945695" y="2820318"/>
            <a:ext cx="0" cy="3051672"/>
          </a:xfrm>
          <a:prstGeom prst="line">
            <a:avLst/>
          </a:prstGeom>
          <a:ln>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9C1E7B66-1897-2749-9ACC-127A994B6E72}"/>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20977494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5" name="TextBox 4"/>
          <p:cNvSpPr txBox="1"/>
          <p:nvPr/>
        </p:nvSpPr>
        <p:spPr>
          <a:xfrm>
            <a:off x="913016" y="1255291"/>
            <a:ext cx="1810752" cy="461665"/>
          </a:xfrm>
          <a:prstGeom prst="rect">
            <a:avLst/>
          </a:prstGeom>
          <a:noFill/>
        </p:spPr>
        <p:txBody>
          <a:bodyPr wrap="none" lIns="0" rIns="0" rtlCol="0">
            <a:spAutoFit/>
          </a:bodyPr>
          <a:lstStyle/>
          <a:p>
            <a:r>
              <a:rPr lang="en-US" sz="2400" dirty="0">
                <a:solidFill>
                  <a:schemeClr val="accent1"/>
                </a:solidFill>
                <a:latin typeface="RBC Display" panose="02000000000000000000" pitchFamily="2" charset="77"/>
              </a:rPr>
              <a:t>For Investors</a:t>
            </a:r>
          </a:p>
        </p:txBody>
      </p:sp>
      <p:sp>
        <p:nvSpPr>
          <p:cNvPr id="6" name="TextBox 5"/>
          <p:cNvSpPr txBox="1"/>
          <p:nvPr/>
        </p:nvSpPr>
        <p:spPr>
          <a:xfrm>
            <a:off x="913016" y="1624623"/>
            <a:ext cx="2981585" cy="369332"/>
          </a:xfrm>
          <a:prstGeom prst="rect">
            <a:avLst/>
          </a:prstGeom>
          <a:noFill/>
        </p:spPr>
        <p:txBody>
          <a:bodyPr wrap="none" lIns="0" rIns="0" rtlCol="0">
            <a:spAutoFit/>
          </a:bodyPr>
          <a:lstStyle/>
          <a:p>
            <a:r>
              <a:rPr lang="en-US" dirty="0">
                <a:solidFill>
                  <a:schemeClr val="bg1"/>
                </a:solidFill>
                <a:latin typeface="RBC Text" panose="02000000000000000000" pitchFamily="2" charset="77"/>
              </a:rPr>
              <a:t>How to work with the fund?</a:t>
            </a:r>
          </a:p>
        </p:txBody>
      </p:sp>
      <p:sp>
        <p:nvSpPr>
          <p:cNvPr id="12" name="TextBox 11"/>
          <p:cNvSpPr txBox="1"/>
          <p:nvPr/>
        </p:nvSpPr>
        <p:spPr>
          <a:xfrm>
            <a:off x="1807491" y="2633693"/>
            <a:ext cx="1799723" cy="338554"/>
          </a:xfrm>
          <a:prstGeom prst="rect">
            <a:avLst/>
          </a:prstGeom>
          <a:noFill/>
        </p:spPr>
        <p:txBody>
          <a:bodyPr wrap="none" lIns="0" rIns="0" rtlCol="0">
            <a:spAutoFit/>
          </a:bodyPr>
          <a:lstStyle/>
          <a:p>
            <a:r>
              <a:rPr lang="en-US" sz="1600" dirty="0">
                <a:solidFill>
                  <a:schemeClr val="bg1"/>
                </a:solidFill>
                <a:latin typeface="RBC Display" panose="02000000000000000000" pitchFamily="2" charset="77"/>
              </a:rPr>
              <a:t>Give an application</a:t>
            </a:r>
          </a:p>
        </p:txBody>
      </p:sp>
      <p:sp>
        <p:nvSpPr>
          <p:cNvPr id="13" name="TextBox 12"/>
          <p:cNvSpPr txBox="1"/>
          <p:nvPr/>
        </p:nvSpPr>
        <p:spPr>
          <a:xfrm>
            <a:off x="1807491" y="2972247"/>
            <a:ext cx="1990481"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How to work with the fund?</a:t>
            </a:r>
          </a:p>
        </p:txBody>
      </p:sp>
      <p:sp>
        <p:nvSpPr>
          <p:cNvPr id="18" name="Freeform 39"/>
          <p:cNvSpPr>
            <a:spLocks noEditPoints="1"/>
          </p:cNvSpPr>
          <p:nvPr/>
        </p:nvSpPr>
        <p:spPr bwMode="auto">
          <a:xfrm>
            <a:off x="961340" y="2709237"/>
            <a:ext cx="495930" cy="456570"/>
          </a:xfrm>
          <a:custGeom>
            <a:avLst/>
            <a:gdLst>
              <a:gd name="T0" fmla="*/ 137 w 160"/>
              <a:gd name="T1" fmla="*/ 140 h 146"/>
              <a:gd name="T2" fmla="*/ 86 w 160"/>
              <a:gd name="T3" fmla="*/ 140 h 146"/>
              <a:gd name="T4" fmla="*/ 34 w 160"/>
              <a:gd name="T5" fmla="*/ 140 h 146"/>
              <a:gd name="T6" fmla="*/ 9 w 160"/>
              <a:gd name="T7" fmla="*/ 23 h 146"/>
              <a:gd name="T8" fmla="*/ 146 w 160"/>
              <a:gd name="T9" fmla="*/ 14 h 146"/>
              <a:gd name="T10" fmla="*/ 26 w 160"/>
              <a:gd name="T11" fmla="*/ 6 h 146"/>
              <a:gd name="T12" fmla="*/ 131 w 160"/>
              <a:gd name="T13" fmla="*/ 66 h 146"/>
              <a:gd name="T14" fmla="*/ 143 w 160"/>
              <a:gd name="T15" fmla="*/ 71 h 146"/>
              <a:gd name="T16" fmla="*/ 149 w 160"/>
              <a:gd name="T17" fmla="*/ 60 h 146"/>
              <a:gd name="T18" fmla="*/ 131 w 160"/>
              <a:gd name="T19" fmla="*/ 77 h 146"/>
              <a:gd name="T20" fmla="*/ 137 w 160"/>
              <a:gd name="T21" fmla="*/ 89 h 146"/>
              <a:gd name="T22" fmla="*/ 149 w 160"/>
              <a:gd name="T23" fmla="*/ 83 h 146"/>
              <a:gd name="T24" fmla="*/ 134 w 160"/>
              <a:gd name="T25" fmla="*/ 114 h 146"/>
              <a:gd name="T26" fmla="*/ 140 w 160"/>
              <a:gd name="T27" fmla="*/ 120 h 146"/>
              <a:gd name="T28" fmla="*/ 149 w 160"/>
              <a:gd name="T29" fmla="*/ 111 h 146"/>
              <a:gd name="T30" fmla="*/ 77 w 160"/>
              <a:gd name="T31" fmla="*/ 46 h 146"/>
              <a:gd name="T32" fmla="*/ 89 w 160"/>
              <a:gd name="T33" fmla="*/ 57 h 146"/>
              <a:gd name="T34" fmla="*/ 100 w 160"/>
              <a:gd name="T35" fmla="*/ 46 h 146"/>
              <a:gd name="T36" fmla="*/ 97 w 160"/>
              <a:gd name="T37" fmla="*/ 60 h 146"/>
              <a:gd name="T38" fmla="*/ 114 w 160"/>
              <a:gd name="T39" fmla="*/ 60 h 146"/>
              <a:gd name="T40" fmla="*/ 120 w 160"/>
              <a:gd name="T41" fmla="*/ 54 h 146"/>
              <a:gd name="T42" fmla="*/ 123 w 160"/>
              <a:gd name="T43" fmla="*/ 74 h 146"/>
              <a:gd name="T44" fmla="*/ 83 w 160"/>
              <a:gd name="T45" fmla="*/ 97 h 146"/>
              <a:gd name="T46" fmla="*/ 89 w 160"/>
              <a:gd name="T47" fmla="*/ 103 h 146"/>
              <a:gd name="T48" fmla="*/ 97 w 160"/>
              <a:gd name="T49" fmla="*/ 77 h 146"/>
              <a:gd name="T50" fmla="*/ 94 w 160"/>
              <a:gd name="T51" fmla="*/ 97 h 146"/>
              <a:gd name="T52" fmla="*/ 106 w 160"/>
              <a:gd name="T53" fmla="*/ 91 h 146"/>
              <a:gd name="T54" fmla="*/ 109 w 160"/>
              <a:gd name="T55" fmla="*/ 106 h 146"/>
              <a:gd name="T56" fmla="*/ 80 w 160"/>
              <a:gd name="T57" fmla="*/ 111 h 146"/>
              <a:gd name="T58" fmla="*/ 80 w 160"/>
              <a:gd name="T59" fmla="*/ 129 h 146"/>
              <a:gd name="T60" fmla="*/ 94 w 160"/>
              <a:gd name="T61" fmla="*/ 114 h 146"/>
              <a:gd name="T62" fmla="*/ 97 w 160"/>
              <a:gd name="T63" fmla="*/ 134 h 146"/>
              <a:gd name="T64" fmla="*/ 109 w 160"/>
              <a:gd name="T65" fmla="*/ 123 h 146"/>
              <a:gd name="T66" fmla="*/ 63 w 160"/>
              <a:gd name="T67" fmla="*/ 43 h 146"/>
              <a:gd name="T68" fmla="*/ 63 w 160"/>
              <a:gd name="T69" fmla="*/ 60 h 146"/>
              <a:gd name="T70" fmla="*/ 69 w 160"/>
              <a:gd name="T71" fmla="*/ 71 h 146"/>
              <a:gd name="T72" fmla="*/ 63 w 160"/>
              <a:gd name="T73" fmla="*/ 100 h 146"/>
              <a:gd name="T74" fmla="*/ 74 w 160"/>
              <a:gd name="T75" fmla="*/ 106 h 146"/>
              <a:gd name="T76" fmla="*/ 63 w 160"/>
              <a:gd name="T77" fmla="*/ 129 h 146"/>
              <a:gd name="T78" fmla="*/ 71 w 160"/>
              <a:gd name="T79" fmla="*/ 120 h 146"/>
              <a:gd name="T80" fmla="*/ 9 w 160"/>
              <a:gd name="T81" fmla="*/ 63 h 146"/>
              <a:gd name="T82" fmla="*/ 20 w 160"/>
              <a:gd name="T83" fmla="*/ 74 h 146"/>
              <a:gd name="T84" fmla="*/ 49 w 160"/>
              <a:gd name="T85" fmla="*/ 46 h 146"/>
              <a:gd name="T86" fmla="*/ 46 w 160"/>
              <a:gd name="T87" fmla="*/ 60 h 146"/>
              <a:gd name="T88" fmla="*/ 37 w 160"/>
              <a:gd name="T89" fmla="*/ 51 h 146"/>
              <a:gd name="T90" fmla="*/ 34 w 160"/>
              <a:gd name="T91" fmla="*/ 71 h 146"/>
              <a:gd name="T92" fmla="*/ 11 w 160"/>
              <a:gd name="T93" fmla="*/ 83 h 146"/>
              <a:gd name="T94" fmla="*/ 23 w 160"/>
              <a:gd name="T95" fmla="*/ 89 h 146"/>
              <a:gd name="T96" fmla="*/ 29 w 160"/>
              <a:gd name="T97" fmla="*/ 77 h 146"/>
              <a:gd name="T98" fmla="*/ 46 w 160"/>
              <a:gd name="T99" fmla="*/ 77 h 146"/>
              <a:gd name="T100" fmla="*/ 43 w 160"/>
              <a:gd name="T101" fmla="*/ 97 h 146"/>
              <a:gd name="T102" fmla="*/ 54 w 160"/>
              <a:gd name="T103" fmla="*/ 91 h 146"/>
              <a:gd name="T104" fmla="*/ 57 w 160"/>
              <a:gd name="T105" fmla="*/ 106 h 146"/>
              <a:gd name="T106" fmla="*/ 11 w 160"/>
              <a:gd name="T107" fmla="*/ 129 h 146"/>
              <a:gd name="T108" fmla="*/ 20 w 160"/>
              <a:gd name="T109" fmla="*/ 120 h 146"/>
              <a:gd name="T110" fmla="*/ 43 w 160"/>
              <a:gd name="T111" fmla="*/ 114 h 146"/>
              <a:gd name="T112" fmla="*/ 46 w 160"/>
              <a:gd name="T113" fmla="*/ 134 h 146"/>
              <a:gd name="T114" fmla="*/ 57 w 160"/>
              <a:gd name="T115" fmla="*/ 12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46">
                <a:moveTo>
                  <a:pt x="0" y="34"/>
                </a:moveTo>
                <a:cubicBezTo>
                  <a:pt x="0" y="146"/>
                  <a:pt x="0" y="146"/>
                  <a:pt x="0" y="146"/>
                </a:cubicBezTo>
                <a:cubicBezTo>
                  <a:pt x="160" y="146"/>
                  <a:pt x="160" y="146"/>
                  <a:pt x="160" y="146"/>
                </a:cubicBezTo>
                <a:cubicBezTo>
                  <a:pt x="160" y="34"/>
                  <a:pt x="160" y="34"/>
                  <a:pt x="160" y="34"/>
                </a:cubicBezTo>
                <a:lnTo>
                  <a:pt x="0" y="34"/>
                </a:lnTo>
                <a:close/>
                <a:moveTo>
                  <a:pt x="154" y="140"/>
                </a:moveTo>
                <a:cubicBezTo>
                  <a:pt x="143" y="140"/>
                  <a:pt x="143" y="140"/>
                  <a:pt x="143" y="140"/>
                </a:cubicBezTo>
                <a:cubicBezTo>
                  <a:pt x="143" y="138"/>
                  <a:pt x="142" y="137"/>
                  <a:pt x="140" y="137"/>
                </a:cubicBezTo>
                <a:cubicBezTo>
                  <a:pt x="138" y="137"/>
                  <a:pt x="137" y="138"/>
                  <a:pt x="137" y="140"/>
                </a:cubicBezTo>
                <a:cubicBezTo>
                  <a:pt x="126" y="140"/>
                  <a:pt x="126" y="140"/>
                  <a:pt x="126" y="140"/>
                </a:cubicBezTo>
                <a:cubicBezTo>
                  <a:pt x="126" y="138"/>
                  <a:pt x="124" y="137"/>
                  <a:pt x="123" y="137"/>
                </a:cubicBezTo>
                <a:cubicBezTo>
                  <a:pt x="121" y="137"/>
                  <a:pt x="120" y="138"/>
                  <a:pt x="120" y="140"/>
                </a:cubicBezTo>
                <a:cubicBezTo>
                  <a:pt x="109" y="140"/>
                  <a:pt x="109" y="140"/>
                  <a:pt x="109" y="140"/>
                </a:cubicBezTo>
                <a:cubicBezTo>
                  <a:pt x="109" y="138"/>
                  <a:pt x="107" y="137"/>
                  <a:pt x="106" y="137"/>
                </a:cubicBezTo>
                <a:cubicBezTo>
                  <a:pt x="104" y="137"/>
                  <a:pt x="103" y="138"/>
                  <a:pt x="103" y="140"/>
                </a:cubicBezTo>
                <a:cubicBezTo>
                  <a:pt x="91" y="140"/>
                  <a:pt x="91" y="140"/>
                  <a:pt x="91" y="140"/>
                </a:cubicBezTo>
                <a:cubicBezTo>
                  <a:pt x="91" y="138"/>
                  <a:pt x="90" y="137"/>
                  <a:pt x="89" y="137"/>
                </a:cubicBezTo>
                <a:cubicBezTo>
                  <a:pt x="87" y="137"/>
                  <a:pt x="86" y="138"/>
                  <a:pt x="86" y="140"/>
                </a:cubicBezTo>
                <a:cubicBezTo>
                  <a:pt x="74" y="140"/>
                  <a:pt x="74" y="140"/>
                  <a:pt x="74" y="140"/>
                </a:cubicBezTo>
                <a:cubicBezTo>
                  <a:pt x="74" y="138"/>
                  <a:pt x="73" y="137"/>
                  <a:pt x="71" y="137"/>
                </a:cubicBezTo>
                <a:cubicBezTo>
                  <a:pt x="70" y="137"/>
                  <a:pt x="69" y="138"/>
                  <a:pt x="69" y="140"/>
                </a:cubicBezTo>
                <a:cubicBezTo>
                  <a:pt x="57" y="140"/>
                  <a:pt x="57" y="140"/>
                  <a:pt x="57" y="140"/>
                </a:cubicBezTo>
                <a:cubicBezTo>
                  <a:pt x="57" y="138"/>
                  <a:pt x="56" y="137"/>
                  <a:pt x="54" y="137"/>
                </a:cubicBezTo>
                <a:cubicBezTo>
                  <a:pt x="53" y="137"/>
                  <a:pt x="51" y="138"/>
                  <a:pt x="51" y="140"/>
                </a:cubicBezTo>
                <a:cubicBezTo>
                  <a:pt x="40" y="140"/>
                  <a:pt x="40" y="140"/>
                  <a:pt x="40" y="140"/>
                </a:cubicBezTo>
                <a:cubicBezTo>
                  <a:pt x="40" y="138"/>
                  <a:pt x="39" y="137"/>
                  <a:pt x="37" y="137"/>
                </a:cubicBezTo>
                <a:cubicBezTo>
                  <a:pt x="36" y="137"/>
                  <a:pt x="34" y="138"/>
                  <a:pt x="34" y="140"/>
                </a:cubicBezTo>
                <a:cubicBezTo>
                  <a:pt x="23" y="140"/>
                  <a:pt x="23" y="140"/>
                  <a:pt x="23" y="140"/>
                </a:cubicBezTo>
                <a:cubicBezTo>
                  <a:pt x="23" y="138"/>
                  <a:pt x="22" y="137"/>
                  <a:pt x="20" y="137"/>
                </a:cubicBezTo>
                <a:cubicBezTo>
                  <a:pt x="18" y="137"/>
                  <a:pt x="17" y="138"/>
                  <a:pt x="17" y="140"/>
                </a:cubicBezTo>
                <a:cubicBezTo>
                  <a:pt x="6" y="140"/>
                  <a:pt x="6" y="140"/>
                  <a:pt x="6" y="140"/>
                </a:cubicBezTo>
                <a:cubicBezTo>
                  <a:pt x="6" y="40"/>
                  <a:pt x="6" y="40"/>
                  <a:pt x="6" y="40"/>
                </a:cubicBezTo>
                <a:cubicBezTo>
                  <a:pt x="154" y="40"/>
                  <a:pt x="154" y="40"/>
                  <a:pt x="154" y="40"/>
                </a:cubicBezTo>
                <a:lnTo>
                  <a:pt x="154" y="140"/>
                </a:lnTo>
                <a:close/>
                <a:moveTo>
                  <a:pt x="6" y="26"/>
                </a:moveTo>
                <a:cubicBezTo>
                  <a:pt x="6" y="24"/>
                  <a:pt x="7" y="23"/>
                  <a:pt x="9" y="23"/>
                </a:cubicBezTo>
                <a:cubicBezTo>
                  <a:pt x="151" y="23"/>
                  <a:pt x="151" y="23"/>
                  <a:pt x="151" y="23"/>
                </a:cubicBezTo>
                <a:cubicBezTo>
                  <a:pt x="153" y="23"/>
                  <a:pt x="154" y="24"/>
                  <a:pt x="154" y="26"/>
                </a:cubicBezTo>
                <a:cubicBezTo>
                  <a:pt x="154" y="27"/>
                  <a:pt x="153" y="29"/>
                  <a:pt x="151" y="29"/>
                </a:cubicBezTo>
                <a:cubicBezTo>
                  <a:pt x="9" y="29"/>
                  <a:pt x="9" y="29"/>
                  <a:pt x="9" y="29"/>
                </a:cubicBezTo>
                <a:cubicBezTo>
                  <a:pt x="7" y="29"/>
                  <a:pt x="6" y="27"/>
                  <a:pt x="6" y="26"/>
                </a:cubicBezTo>
                <a:close/>
                <a:moveTo>
                  <a:pt x="14" y="14"/>
                </a:moveTo>
                <a:cubicBezTo>
                  <a:pt x="14" y="13"/>
                  <a:pt x="16" y="11"/>
                  <a:pt x="17" y="11"/>
                </a:cubicBezTo>
                <a:cubicBezTo>
                  <a:pt x="143" y="11"/>
                  <a:pt x="143" y="11"/>
                  <a:pt x="143" y="11"/>
                </a:cubicBezTo>
                <a:cubicBezTo>
                  <a:pt x="144" y="11"/>
                  <a:pt x="146" y="13"/>
                  <a:pt x="146" y="14"/>
                </a:cubicBezTo>
                <a:cubicBezTo>
                  <a:pt x="146" y="16"/>
                  <a:pt x="144" y="17"/>
                  <a:pt x="143" y="17"/>
                </a:cubicBezTo>
                <a:cubicBezTo>
                  <a:pt x="17" y="17"/>
                  <a:pt x="17" y="17"/>
                  <a:pt x="17" y="17"/>
                </a:cubicBezTo>
                <a:cubicBezTo>
                  <a:pt x="16" y="17"/>
                  <a:pt x="14" y="16"/>
                  <a:pt x="14" y="14"/>
                </a:cubicBezTo>
                <a:close/>
                <a:moveTo>
                  <a:pt x="23" y="3"/>
                </a:moveTo>
                <a:cubicBezTo>
                  <a:pt x="23" y="1"/>
                  <a:pt x="24" y="0"/>
                  <a:pt x="26" y="0"/>
                </a:cubicBezTo>
                <a:cubicBezTo>
                  <a:pt x="134" y="0"/>
                  <a:pt x="134" y="0"/>
                  <a:pt x="134" y="0"/>
                </a:cubicBezTo>
                <a:cubicBezTo>
                  <a:pt x="136" y="0"/>
                  <a:pt x="137" y="1"/>
                  <a:pt x="137" y="3"/>
                </a:cubicBezTo>
                <a:cubicBezTo>
                  <a:pt x="137" y="4"/>
                  <a:pt x="136" y="6"/>
                  <a:pt x="134" y="6"/>
                </a:cubicBezTo>
                <a:cubicBezTo>
                  <a:pt x="26" y="6"/>
                  <a:pt x="26" y="6"/>
                  <a:pt x="26" y="6"/>
                </a:cubicBezTo>
                <a:cubicBezTo>
                  <a:pt x="24" y="6"/>
                  <a:pt x="23" y="4"/>
                  <a:pt x="23" y="3"/>
                </a:cubicBezTo>
                <a:close/>
                <a:moveTo>
                  <a:pt x="131" y="43"/>
                </a:moveTo>
                <a:cubicBezTo>
                  <a:pt x="133" y="43"/>
                  <a:pt x="134" y="44"/>
                  <a:pt x="134" y="46"/>
                </a:cubicBezTo>
                <a:cubicBezTo>
                  <a:pt x="134" y="47"/>
                  <a:pt x="133" y="49"/>
                  <a:pt x="131" y="49"/>
                </a:cubicBezTo>
                <a:cubicBezTo>
                  <a:pt x="130" y="49"/>
                  <a:pt x="129" y="47"/>
                  <a:pt x="129" y="46"/>
                </a:cubicBezTo>
                <a:cubicBezTo>
                  <a:pt x="129" y="44"/>
                  <a:pt x="130" y="43"/>
                  <a:pt x="131" y="43"/>
                </a:cubicBezTo>
                <a:close/>
                <a:moveTo>
                  <a:pt x="131" y="60"/>
                </a:moveTo>
                <a:cubicBezTo>
                  <a:pt x="133" y="60"/>
                  <a:pt x="134" y="61"/>
                  <a:pt x="134" y="63"/>
                </a:cubicBezTo>
                <a:cubicBezTo>
                  <a:pt x="134" y="64"/>
                  <a:pt x="133" y="66"/>
                  <a:pt x="131" y="66"/>
                </a:cubicBezTo>
                <a:cubicBezTo>
                  <a:pt x="130" y="66"/>
                  <a:pt x="129" y="64"/>
                  <a:pt x="129" y="63"/>
                </a:cubicBezTo>
                <a:cubicBezTo>
                  <a:pt x="129" y="61"/>
                  <a:pt x="130" y="60"/>
                  <a:pt x="131" y="60"/>
                </a:cubicBezTo>
                <a:close/>
                <a:moveTo>
                  <a:pt x="140" y="51"/>
                </a:moveTo>
                <a:cubicBezTo>
                  <a:pt x="142" y="51"/>
                  <a:pt x="143" y="53"/>
                  <a:pt x="143" y="54"/>
                </a:cubicBezTo>
                <a:cubicBezTo>
                  <a:pt x="143" y="56"/>
                  <a:pt x="142" y="57"/>
                  <a:pt x="140" y="57"/>
                </a:cubicBezTo>
                <a:cubicBezTo>
                  <a:pt x="138" y="57"/>
                  <a:pt x="137" y="56"/>
                  <a:pt x="137" y="54"/>
                </a:cubicBezTo>
                <a:cubicBezTo>
                  <a:pt x="137" y="53"/>
                  <a:pt x="138" y="51"/>
                  <a:pt x="140" y="51"/>
                </a:cubicBezTo>
                <a:close/>
                <a:moveTo>
                  <a:pt x="140" y="69"/>
                </a:moveTo>
                <a:cubicBezTo>
                  <a:pt x="142" y="69"/>
                  <a:pt x="143" y="70"/>
                  <a:pt x="143" y="71"/>
                </a:cubicBezTo>
                <a:cubicBezTo>
                  <a:pt x="143" y="73"/>
                  <a:pt x="142" y="74"/>
                  <a:pt x="140" y="74"/>
                </a:cubicBezTo>
                <a:cubicBezTo>
                  <a:pt x="138" y="74"/>
                  <a:pt x="137" y="73"/>
                  <a:pt x="137" y="71"/>
                </a:cubicBezTo>
                <a:cubicBezTo>
                  <a:pt x="137" y="70"/>
                  <a:pt x="138" y="69"/>
                  <a:pt x="140" y="69"/>
                </a:cubicBezTo>
                <a:close/>
                <a:moveTo>
                  <a:pt x="149" y="43"/>
                </a:moveTo>
                <a:cubicBezTo>
                  <a:pt x="150" y="43"/>
                  <a:pt x="151" y="44"/>
                  <a:pt x="151" y="46"/>
                </a:cubicBezTo>
                <a:cubicBezTo>
                  <a:pt x="151" y="47"/>
                  <a:pt x="150" y="49"/>
                  <a:pt x="149" y="49"/>
                </a:cubicBezTo>
                <a:cubicBezTo>
                  <a:pt x="147" y="49"/>
                  <a:pt x="146" y="47"/>
                  <a:pt x="146" y="46"/>
                </a:cubicBezTo>
                <a:cubicBezTo>
                  <a:pt x="146" y="44"/>
                  <a:pt x="147" y="43"/>
                  <a:pt x="149" y="43"/>
                </a:cubicBezTo>
                <a:close/>
                <a:moveTo>
                  <a:pt x="149" y="60"/>
                </a:moveTo>
                <a:cubicBezTo>
                  <a:pt x="150" y="60"/>
                  <a:pt x="151" y="61"/>
                  <a:pt x="151" y="63"/>
                </a:cubicBezTo>
                <a:cubicBezTo>
                  <a:pt x="151" y="64"/>
                  <a:pt x="150" y="66"/>
                  <a:pt x="149" y="66"/>
                </a:cubicBezTo>
                <a:cubicBezTo>
                  <a:pt x="147" y="66"/>
                  <a:pt x="146" y="64"/>
                  <a:pt x="146" y="63"/>
                </a:cubicBezTo>
                <a:cubicBezTo>
                  <a:pt x="146" y="61"/>
                  <a:pt x="147" y="60"/>
                  <a:pt x="149" y="60"/>
                </a:cubicBezTo>
                <a:close/>
                <a:moveTo>
                  <a:pt x="131" y="77"/>
                </a:moveTo>
                <a:cubicBezTo>
                  <a:pt x="133" y="77"/>
                  <a:pt x="134" y="78"/>
                  <a:pt x="134" y="80"/>
                </a:cubicBezTo>
                <a:cubicBezTo>
                  <a:pt x="134" y="82"/>
                  <a:pt x="133" y="83"/>
                  <a:pt x="131" y="83"/>
                </a:cubicBezTo>
                <a:cubicBezTo>
                  <a:pt x="130" y="83"/>
                  <a:pt x="129" y="82"/>
                  <a:pt x="129" y="80"/>
                </a:cubicBezTo>
                <a:cubicBezTo>
                  <a:pt x="129" y="78"/>
                  <a:pt x="130" y="77"/>
                  <a:pt x="131" y="77"/>
                </a:cubicBezTo>
                <a:close/>
                <a:moveTo>
                  <a:pt x="131" y="94"/>
                </a:moveTo>
                <a:cubicBezTo>
                  <a:pt x="133" y="94"/>
                  <a:pt x="134" y="96"/>
                  <a:pt x="134" y="97"/>
                </a:cubicBezTo>
                <a:cubicBezTo>
                  <a:pt x="134" y="99"/>
                  <a:pt x="133" y="100"/>
                  <a:pt x="131" y="100"/>
                </a:cubicBezTo>
                <a:cubicBezTo>
                  <a:pt x="130" y="100"/>
                  <a:pt x="129" y="99"/>
                  <a:pt x="129" y="97"/>
                </a:cubicBezTo>
                <a:cubicBezTo>
                  <a:pt x="129" y="96"/>
                  <a:pt x="130" y="94"/>
                  <a:pt x="131" y="94"/>
                </a:cubicBezTo>
                <a:close/>
                <a:moveTo>
                  <a:pt x="140" y="86"/>
                </a:moveTo>
                <a:cubicBezTo>
                  <a:pt x="142" y="86"/>
                  <a:pt x="143" y="87"/>
                  <a:pt x="143" y="89"/>
                </a:cubicBezTo>
                <a:cubicBezTo>
                  <a:pt x="143" y="90"/>
                  <a:pt x="142" y="91"/>
                  <a:pt x="140" y="91"/>
                </a:cubicBezTo>
                <a:cubicBezTo>
                  <a:pt x="138" y="91"/>
                  <a:pt x="137" y="90"/>
                  <a:pt x="137" y="89"/>
                </a:cubicBezTo>
                <a:cubicBezTo>
                  <a:pt x="137" y="87"/>
                  <a:pt x="138" y="86"/>
                  <a:pt x="140" y="86"/>
                </a:cubicBezTo>
                <a:close/>
                <a:moveTo>
                  <a:pt x="140" y="103"/>
                </a:moveTo>
                <a:cubicBezTo>
                  <a:pt x="142" y="103"/>
                  <a:pt x="143" y="104"/>
                  <a:pt x="143" y="106"/>
                </a:cubicBezTo>
                <a:cubicBezTo>
                  <a:pt x="143" y="107"/>
                  <a:pt x="142" y="109"/>
                  <a:pt x="140" y="109"/>
                </a:cubicBezTo>
                <a:cubicBezTo>
                  <a:pt x="138" y="109"/>
                  <a:pt x="137" y="107"/>
                  <a:pt x="137" y="106"/>
                </a:cubicBezTo>
                <a:cubicBezTo>
                  <a:pt x="137" y="104"/>
                  <a:pt x="138" y="103"/>
                  <a:pt x="140" y="103"/>
                </a:cubicBezTo>
                <a:close/>
                <a:moveTo>
                  <a:pt x="149" y="77"/>
                </a:moveTo>
                <a:cubicBezTo>
                  <a:pt x="150" y="77"/>
                  <a:pt x="151" y="78"/>
                  <a:pt x="151" y="80"/>
                </a:cubicBezTo>
                <a:cubicBezTo>
                  <a:pt x="151" y="82"/>
                  <a:pt x="150" y="83"/>
                  <a:pt x="149" y="83"/>
                </a:cubicBezTo>
                <a:cubicBezTo>
                  <a:pt x="147" y="83"/>
                  <a:pt x="146" y="82"/>
                  <a:pt x="146" y="80"/>
                </a:cubicBezTo>
                <a:cubicBezTo>
                  <a:pt x="146" y="78"/>
                  <a:pt x="147" y="77"/>
                  <a:pt x="149" y="77"/>
                </a:cubicBezTo>
                <a:close/>
                <a:moveTo>
                  <a:pt x="149" y="94"/>
                </a:moveTo>
                <a:cubicBezTo>
                  <a:pt x="150" y="94"/>
                  <a:pt x="151" y="96"/>
                  <a:pt x="151" y="97"/>
                </a:cubicBezTo>
                <a:cubicBezTo>
                  <a:pt x="151" y="99"/>
                  <a:pt x="150" y="100"/>
                  <a:pt x="149" y="100"/>
                </a:cubicBezTo>
                <a:cubicBezTo>
                  <a:pt x="147" y="100"/>
                  <a:pt x="146" y="99"/>
                  <a:pt x="146" y="97"/>
                </a:cubicBezTo>
                <a:cubicBezTo>
                  <a:pt x="146" y="96"/>
                  <a:pt x="147" y="94"/>
                  <a:pt x="149" y="94"/>
                </a:cubicBezTo>
                <a:close/>
                <a:moveTo>
                  <a:pt x="131" y="111"/>
                </a:moveTo>
                <a:cubicBezTo>
                  <a:pt x="133" y="111"/>
                  <a:pt x="134" y="113"/>
                  <a:pt x="134" y="114"/>
                </a:cubicBezTo>
                <a:cubicBezTo>
                  <a:pt x="134" y="116"/>
                  <a:pt x="133" y="117"/>
                  <a:pt x="131" y="117"/>
                </a:cubicBezTo>
                <a:cubicBezTo>
                  <a:pt x="130" y="117"/>
                  <a:pt x="129" y="116"/>
                  <a:pt x="129" y="114"/>
                </a:cubicBezTo>
                <a:cubicBezTo>
                  <a:pt x="129" y="113"/>
                  <a:pt x="130" y="111"/>
                  <a:pt x="131" y="111"/>
                </a:cubicBezTo>
                <a:close/>
                <a:moveTo>
                  <a:pt x="131" y="129"/>
                </a:moveTo>
                <a:cubicBezTo>
                  <a:pt x="133" y="129"/>
                  <a:pt x="134" y="130"/>
                  <a:pt x="134" y="131"/>
                </a:cubicBezTo>
                <a:cubicBezTo>
                  <a:pt x="134" y="133"/>
                  <a:pt x="133" y="134"/>
                  <a:pt x="131" y="134"/>
                </a:cubicBezTo>
                <a:cubicBezTo>
                  <a:pt x="130" y="134"/>
                  <a:pt x="129" y="133"/>
                  <a:pt x="129" y="131"/>
                </a:cubicBezTo>
                <a:cubicBezTo>
                  <a:pt x="129" y="130"/>
                  <a:pt x="130" y="129"/>
                  <a:pt x="131" y="129"/>
                </a:cubicBezTo>
                <a:close/>
                <a:moveTo>
                  <a:pt x="140" y="120"/>
                </a:moveTo>
                <a:cubicBezTo>
                  <a:pt x="142" y="120"/>
                  <a:pt x="143" y="121"/>
                  <a:pt x="143" y="123"/>
                </a:cubicBezTo>
                <a:cubicBezTo>
                  <a:pt x="143" y="124"/>
                  <a:pt x="142" y="126"/>
                  <a:pt x="140" y="126"/>
                </a:cubicBezTo>
                <a:cubicBezTo>
                  <a:pt x="138" y="126"/>
                  <a:pt x="137" y="124"/>
                  <a:pt x="137" y="123"/>
                </a:cubicBezTo>
                <a:cubicBezTo>
                  <a:pt x="137" y="121"/>
                  <a:pt x="138" y="120"/>
                  <a:pt x="140" y="120"/>
                </a:cubicBezTo>
                <a:close/>
                <a:moveTo>
                  <a:pt x="149" y="111"/>
                </a:moveTo>
                <a:cubicBezTo>
                  <a:pt x="150" y="111"/>
                  <a:pt x="151" y="113"/>
                  <a:pt x="151" y="114"/>
                </a:cubicBezTo>
                <a:cubicBezTo>
                  <a:pt x="151" y="116"/>
                  <a:pt x="150" y="117"/>
                  <a:pt x="149" y="117"/>
                </a:cubicBezTo>
                <a:cubicBezTo>
                  <a:pt x="147" y="117"/>
                  <a:pt x="146" y="116"/>
                  <a:pt x="146" y="114"/>
                </a:cubicBezTo>
                <a:cubicBezTo>
                  <a:pt x="146" y="113"/>
                  <a:pt x="147" y="111"/>
                  <a:pt x="149" y="111"/>
                </a:cubicBezTo>
                <a:close/>
                <a:moveTo>
                  <a:pt x="149" y="129"/>
                </a:moveTo>
                <a:cubicBezTo>
                  <a:pt x="150" y="129"/>
                  <a:pt x="151" y="130"/>
                  <a:pt x="151" y="131"/>
                </a:cubicBezTo>
                <a:cubicBezTo>
                  <a:pt x="151" y="133"/>
                  <a:pt x="150" y="134"/>
                  <a:pt x="149" y="134"/>
                </a:cubicBezTo>
                <a:cubicBezTo>
                  <a:pt x="147" y="134"/>
                  <a:pt x="146" y="133"/>
                  <a:pt x="146" y="131"/>
                </a:cubicBezTo>
                <a:cubicBezTo>
                  <a:pt x="146" y="130"/>
                  <a:pt x="147" y="129"/>
                  <a:pt x="149" y="129"/>
                </a:cubicBezTo>
                <a:close/>
                <a:moveTo>
                  <a:pt x="80" y="43"/>
                </a:moveTo>
                <a:cubicBezTo>
                  <a:pt x="82" y="43"/>
                  <a:pt x="83" y="44"/>
                  <a:pt x="83" y="46"/>
                </a:cubicBezTo>
                <a:cubicBezTo>
                  <a:pt x="83" y="47"/>
                  <a:pt x="82" y="49"/>
                  <a:pt x="80" y="49"/>
                </a:cubicBezTo>
                <a:cubicBezTo>
                  <a:pt x="78" y="49"/>
                  <a:pt x="77" y="47"/>
                  <a:pt x="77" y="46"/>
                </a:cubicBezTo>
                <a:cubicBezTo>
                  <a:pt x="77" y="44"/>
                  <a:pt x="78" y="43"/>
                  <a:pt x="80" y="43"/>
                </a:cubicBezTo>
                <a:close/>
                <a:moveTo>
                  <a:pt x="80" y="60"/>
                </a:moveTo>
                <a:cubicBezTo>
                  <a:pt x="82" y="60"/>
                  <a:pt x="83" y="61"/>
                  <a:pt x="83" y="63"/>
                </a:cubicBezTo>
                <a:cubicBezTo>
                  <a:pt x="83" y="64"/>
                  <a:pt x="82" y="66"/>
                  <a:pt x="80" y="66"/>
                </a:cubicBezTo>
                <a:cubicBezTo>
                  <a:pt x="78" y="66"/>
                  <a:pt x="77" y="64"/>
                  <a:pt x="77" y="63"/>
                </a:cubicBezTo>
                <a:cubicBezTo>
                  <a:pt x="77" y="61"/>
                  <a:pt x="78" y="60"/>
                  <a:pt x="80" y="60"/>
                </a:cubicBezTo>
                <a:close/>
                <a:moveTo>
                  <a:pt x="89" y="51"/>
                </a:moveTo>
                <a:cubicBezTo>
                  <a:pt x="90" y="51"/>
                  <a:pt x="91" y="53"/>
                  <a:pt x="91" y="54"/>
                </a:cubicBezTo>
                <a:cubicBezTo>
                  <a:pt x="91" y="56"/>
                  <a:pt x="90" y="57"/>
                  <a:pt x="89" y="57"/>
                </a:cubicBezTo>
                <a:cubicBezTo>
                  <a:pt x="87" y="57"/>
                  <a:pt x="86" y="56"/>
                  <a:pt x="86" y="54"/>
                </a:cubicBezTo>
                <a:cubicBezTo>
                  <a:pt x="86" y="53"/>
                  <a:pt x="87" y="51"/>
                  <a:pt x="89" y="51"/>
                </a:cubicBezTo>
                <a:close/>
                <a:moveTo>
                  <a:pt x="89" y="69"/>
                </a:moveTo>
                <a:cubicBezTo>
                  <a:pt x="90" y="69"/>
                  <a:pt x="91" y="70"/>
                  <a:pt x="91" y="71"/>
                </a:cubicBezTo>
                <a:cubicBezTo>
                  <a:pt x="91" y="73"/>
                  <a:pt x="90" y="74"/>
                  <a:pt x="89" y="74"/>
                </a:cubicBezTo>
                <a:cubicBezTo>
                  <a:pt x="87" y="74"/>
                  <a:pt x="86" y="73"/>
                  <a:pt x="86" y="71"/>
                </a:cubicBezTo>
                <a:cubicBezTo>
                  <a:pt x="86" y="70"/>
                  <a:pt x="87" y="69"/>
                  <a:pt x="89" y="69"/>
                </a:cubicBezTo>
                <a:close/>
                <a:moveTo>
                  <a:pt x="97" y="43"/>
                </a:moveTo>
                <a:cubicBezTo>
                  <a:pt x="99" y="43"/>
                  <a:pt x="100" y="44"/>
                  <a:pt x="100" y="46"/>
                </a:cubicBezTo>
                <a:cubicBezTo>
                  <a:pt x="100" y="47"/>
                  <a:pt x="99" y="49"/>
                  <a:pt x="97" y="49"/>
                </a:cubicBezTo>
                <a:cubicBezTo>
                  <a:pt x="96" y="49"/>
                  <a:pt x="94" y="47"/>
                  <a:pt x="94" y="46"/>
                </a:cubicBezTo>
                <a:cubicBezTo>
                  <a:pt x="94" y="44"/>
                  <a:pt x="96" y="43"/>
                  <a:pt x="97" y="43"/>
                </a:cubicBezTo>
                <a:close/>
                <a:moveTo>
                  <a:pt x="114" y="43"/>
                </a:moveTo>
                <a:cubicBezTo>
                  <a:pt x="116" y="43"/>
                  <a:pt x="117" y="44"/>
                  <a:pt x="117" y="46"/>
                </a:cubicBezTo>
                <a:cubicBezTo>
                  <a:pt x="117" y="47"/>
                  <a:pt x="116" y="49"/>
                  <a:pt x="114" y="49"/>
                </a:cubicBezTo>
                <a:cubicBezTo>
                  <a:pt x="113" y="49"/>
                  <a:pt x="111" y="47"/>
                  <a:pt x="111" y="46"/>
                </a:cubicBezTo>
                <a:cubicBezTo>
                  <a:pt x="111" y="44"/>
                  <a:pt x="113" y="43"/>
                  <a:pt x="114" y="43"/>
                </a:cubicBezTo>
                <a:close/>
                <a:moveTo>
                  <a:pt x="97" y="60"/>
                </a:moveTo>
                <a:cubicBezTo>
                  <a:pt x="99" y="60"/>
                  <a:pt x="100" y="61"/>
                  <a:pt x="100" y="63"/>
                </a:cubicBezTo>
                <a:cubicBezTo>
                  <a:pt x="100" y="64"/>
                  <a:pt x="99" y="66"/>
                  <a:pt x="97" y="66"/>
                </a:cubicBezTo>
                <a:cubicBezTo>
                  <a:pt x="96" y="66"/>
                  <a:pt x="94" y="64"/>
                  <a:pt x="94" y="63"/>
                </a:cubicBezTo>
                <a:cubicBezTo>
                  <a:pt x="94" y="61"/>
                  <a:pt x="96" y="60"/>
                  <a:pt x="97" y="60"/>
                </a:cubicBezTo>
                <a:close/>
                <a:moveTo>
                  <a:pt x="114" y="60"/>
                </a:moveTo>
                <a:cubicBezTo>
                  <a:pt x="116" y="60"/>
                  <a:pt x="117" y="61"/>
                  <a:pt x="117" y="63"/>
                </a:cubicBezTo>
                <a:cubicBezTo>
                  <a:pt x="117" y="64"/>
                  <a:pt x="116" y="66"/>
                  <a:pt x="114" y="66"/>
                </a:cubicBezTo>
                <a:cubicBezTo>
                  <a:pt x="113" y="66"/>
                  <a:pt x="111" y="64"/>
                  <a:pt x="111" y="63"/>
                </a:cubicBezTo>
                <a:cubicBezTo>
                  <a:pt x="111" y="61"/>
                  <a:pt x="113" y="60"/>
                  <a:pt x="114" y="60"/>
                </a:cubicBezTo>
                <a:close/>
                <a:moveTo>
                  <a:pt x="106" y="51"/>
                </a:moveTo>
                <a:cubicBezTo>
                  <a:pt x="107" y="51"/>
                  <a:pt x="109" y="53"/>
                  <a:pt x="109" y="54"/>
                </a:cubicBezTo>
                <a:cubicBezTo>
                  <a:pt x="109" y="56"/>
                  <a:pt x="107" y="57"/>
                  <a:pt x="106" y="57"/>
                </a:cubicBezTo>
                <a:cubicBezTo>
                  <a:pt x="104" y="57"/>
                  <a:pt x="103" y="56"/>
                  <a:pt x="103" y="54"/>
                </a:cubicBezTo>
                <a:cubicBezTo>
                  <a:pt x="103" y="53"/>
                  <a:pt x="104" y="51"/>
                  <a:pt x="106" y="51"/>
                </a:cubicBezTo>
                <a:close/>
                <a:moveTo>
                  <a:pt x="123" y="51"/>
                </a:moveTo>
                <a:cubicBezTo>
                  <a:pt x="124" y="51"/>
                  <a:pt x="126" y="53"/>
                  <a:pt x="126" y="54"/>
                </a:cubicBezTo>
                <a:cubicBezTo>
                  <a:pt x="126" y="56"/>
                  <a:pt x="124" y="57"/>
                  <a:pt x="123" y="57"/>
                </a:cubicBezTo>
                <a:cubicBezTo>
                  <a:pt x="121" y="57"/>
                  <a:pt x="120" y="56"/>
                  <a:pt x="120" y="54"/>
                </a:cubicBezTo>
                <a:cubicBezTo>
                  <a:pt x="120" y="53"/>
                  <a:pt x="121" y="51"/>
                  <a:pt x="123" y="51"/>
                </a:cubicBezTo>
                <a:close/>
                <a:moveTo>
                  <a:pt x="106" y="69"/>
                </a:moveTo>
                <a:cubicBezTo>
                  <a:pt x="107" y="69"/>
                  <a:pt x="109" y="70"/>
                  <a:pt x="109" y="71"/>
                </a:cubicBezTo>
                <a:cubicBezTo>
                  <a:pt x="109" y="73"/>
                  <a:pt x="107" y="74"/>
                  <a:pt x="106" y="74"/>
                </a:cubicBezTo>
                <a:cubicBezTo>
                  <a:pt x="104" y="74"/>
                  <a:pt x="103" y="73"/>
                  <a:pt x="103" y="71"/>
                </a:cubicBezTo>
                <a:cubicBezTo>
                  <a:pt x="103" y="70"/>
                  <a:pt x="104" y="69"/>
                  <a:pt x="106" y="69"/>
                </a:cubicBezTo>
                <a:close/>
                <a:moveTo>
                  <a:pt x="123" y="69"/>
                </a:moveTo>
                <a:cubicBezTo>
                  <a:pt x="124" y="69"/>
                  <a:pt x="126" y="70"/>
                  <a:pt x="126" y="71"/>
                </a:cubicBezTo>
                <a:cubicBezTo>
                  <a:pt x="126" y="73"/>
                  <a:pt x="124" y="74"/>
                  <a:pt x="123" y="74"/>
                </a:cubicBezTo>
                <a:cubicBezTo>
                  <a:pt x="121" y="74"/>
                  <a:pt x="120" y="73"/>
                  <a:pt x="120" y="71"/>
                </a:cubicBezTo>
                <a:cubicBezTo>
                  <a:pt x="120" y="70"/>
                  <a:pt x="121" y="69"/>
                  <a:pt x="123" y="69"/>
                </a:cubicBezTo>
                <a:close/>
                <a:moveTo>
                  <a:pt x="80" y="77"/>
                </a:moveTo>
                <a:cubicBezTo>
                  <a:pt x="82" y="77"/>
                  <a:pt x="83" y="78"/>
                  <a:pt x="83" y="80"/>
                </a:cubicBezTo>
                <a:cubicBezTo>
                  <a:pt x="83" y="82"/>
                  <a:pt x="82" y="83"/>
                  <a:pt x="80" y="83"/>
                </a:cubicBezTo>
                <a:cubicBezTo>
                  <a:pt x="78" y="83"/>
                  <a:pt x="77" y="82"/>
                  <a:pt x="77" y="80"/>
                </a:cubicBezTo>
                <a:cubicBezTo>
                  <a:pt x="77" y="78"/>
                  <a:pt x="78" y="77"/>
                  <a:pt x="80" y="77"/>
                </a:cubicBezTo>
                <a:close/>
                <a:moveTo>
                  <a:pt x="80" y="94"/>
                </a:moveTo>
                <a:cubicBezTo>
                  <a:pt x="82" y="94"/>
                  <a:pt x="83" y="96"/>
                  <a:pt x="83" y="97"/>
                </a:cubicBezTo>
                <a:cubicBezTo>
                  <a:pt x="83" y="99"/>
                  <a:pt x="82" y="100"/>
                  <a:pt x="80" y="100"/>
                </a:cubicBezTo>
                <a:cubicBezTo>
                  <a:pt x="78" y="100"/>
                  <a:pt x="77" y="99"/>
                  <a:pt x="77" y="97"/>
                </a:cubicBezTo>
                <a:cubicBezTo>
                  <a:pt x="77" y="96"/>
                  <a:pt x="78" y="94"/>
                  <a:pt x="80" y="94"/>
                </a:cubicBezTo>
                <a:close/>
                <a:moveTo>
                  <a:pt x="89" y="86"/>
                </a:moveTo>
                <a:cubicBezTo>
                  <a:pt x="90" y="86"/>
                  <a:pt x="91" y="87"/>
                  <a:pt x="91" y="89"/>
                </a:cubicBezTo>
                <a:cubicBezTo>
                  <a:pt x="91" y="90"/>
                  <a:pt x="90" y="91"/>
                  <a:pt x="89" y="91"/>
                </a:cubicBezTo>
                <a:cubicBezTo>
                  <a:pt x="87" y="91"/>
                  <a:pt x="86" y="90"/>
                  <a:pt x="86" y="89"/>
                </a:cubicBezTo>
                <a:cubicBezTo>
                  <a:pt x="86" y="87"/>
                  <a:pt x="87" y="86"/>
                  <a:pt x="89" y="86"/>
                </a:cubicBezTo>
                <a:close/>
                <a:moveTo>
                  <a:pt x="89" y="103"/>
                </a:moveTo>
                <a:cubicBezTo>
                  <a:pt x="90" y="103"/>
                  <a:pt x="91" y="104"/>
                  <a:pt x="91" y="106"/>
                </a:cubicBezTo>
                <a:cubicBezTo>
                  <a:pt x="91" y="107"/>
                  <a:pt x="90" y="109"/>
                  <a:pt x="89" y="109"/>
                </a:cubicBezTo>
                <a:cubicBezTo>
                  <a:pt x="87" y="109"/>
                  <a:pt x="86" y="107"/>
                  <a:pt x="86" y="106"/>
                </a:cubicBezTo>
                <a:cubicBezTo>
                  <a:pt x="86" y="104"/>
                  <a:pt x="87" y="103"/>
                  <a:pt x="89" y="103"/>
                </a:cubicBezTo>
                <a:close/>
                <a:moveTo>
                  <a:pt x="97" y="77"/>
                </a:moveTo>
                <a:cubicBezTo>
                  <a:pt x="99" y="77"/>
                  <a:pt x="100" y="78"/>
                  <a:pt x="100" y="80"/>
                </a:cubicBezTo>
                <a:cubicBezTo>
                  <a:pt x="100" y="82"/>
                  <a:pt x="99" y="83"/>
                  <a:pt x="97" y="83"/>
                </a:cubicBezTo>
                <a:cubicBezTo>
                  <a:pt x="96" y="83"/>
                  <a:pt x="94" y="82"/>
                  <a:pt x="94" y="80"/>
                </a:cubicBezTo>
                <a:cubicBezTo>
                  <a:pt x="94" y="78"/>
                  <a:pt x="96" y="77"/>
                  <a:pt x="97" y="77"/>
                </a:cubicBezTo>
                <a:close/>
                <a:moveTo>
                  <a:pt x="114" y="77"/>
                </a:moveTo>
                <a:cubicBezTo>
                  <a:pt x="116" y="77"/>
                  <a:pt x="117" y="78"/>
                  <a:pt x="117" y="80"/>
                </a:cubicBezTo>
                <a:cubicBezTo>
                  <a:pt x="117" y="82"/>
                  <a:pt x="116" y="83"/>
                  <a:pt x="114" y="83"/>
                </a:cubicBezTo>
                <a:cubicBezTo>
                  <a:pt x="113" y="83"/>
                  <a:pt x="111" y="82"/>
                  <a:pt x="111" y="80"/>
                </a:cubicBezTo>
                <a:cubicBezTo>
                  <a:pt x="111" y="78"/>
                  <a:pt x="113" y="77"/>
                  <a:pt x="114" y="77"/>
                </a:cubicBezTo>
                <a:close/>
                <a:moveTo>
                  <a:pt x="97" y="94"/>
                </a:moveTo>
                <a:cubicBezTo>
                  <a:pt x="99" y="94"/>
                  <a:pt x="100" y="96"/>
                  <a:pt x="100" y="97"/>
                </a:cubicBezTo>
                <a:cubicBezTo>
                  <a:pt x="100" y="99"/>
                  <a:pt x="99" y="100"/>
                  <a:pt x="97" y="100"/>
                </a:cubicBezTo>
                <a:cubicBezTo>
                  <a:pt x="96" y="100"/>
                  <a:pt x="94" y="99"/>
                  <a:pt x="94" y="97"/>
                </a:cubicBezTo>
                <a:cubicBezTo>
                  <a:pt x="94" y="96"/>
                  <a:pt x="96" y="94"/>
                  <a:pt x="97" y="94"/>
                </a:cubicBezTo>
                <a:close/>
                <a:moveTo>
                  <a:pt x="114" y="94"/>
                </a:moveTo>
                <a:cubicBezTo>
                  <a:pt x="116" y="94"/>
                  <a:pt x="117" y="96"/>
                  <a:pt x="117" y="97"/>
                </a:cubicBezTo>
                <a:cubicBezTo>
                  <a:pt x="117" y="99"/>
                  <a:pt x="116" y="100"/>
                  <a:pt x="114" y="100"/>
                </a:cubicBezTo>
                <a:cubicBezTo>
                  <a:pt x="113" y="100"/>
                  <a:pt x="111" y="99"/>
                  <a:pt x="111" y="97"/>
                </a:cubicBezTo>
                <a:cubicBezTo>
                  <a:pt x="111" y="96"/>
                  <a:pt x="113" y="94"/>
                  <a:pt x="114" y="94"/>
                </a:cubicBezTo>
                <a:close/>
                <a:moveTo>
                  <a:pt x="106" y="86"/>
                </a:moveTo>
                <a:cubicBezTo>
                  <a:pt x="107" y="86"/>
                  <a:pt x="109" y="87"/>
                  <a:pt x="109" y="89"/>
                </a:cubicBezTo>
                <a:cubicBezTo>
                  <a:pt x="109" y="90"/>
                  <a:pt x="107" y="91"/>
                  <a:pt x="106" y="91"/>
                </a:cubicBezTo>
                <a:cubicBezTo>
                  <a:pt x="104" y="91"/>
                  <a:pt x="103" y="90"/>
                  <a:pt x="103" y="89"/>
                </a:cubicBezTo>
                <a:cubicBezTo>
                  <a:pt x="103" y="87"/>
                  <a:pt x="104" y="86"/>
                  <a:pt x="106" y="86"/>
                </a:cubicBezTo>
                <a:close/>
                <a:moveTo>
                  <a:pt x="123" y="86"/>
                </a:moveTo>
                <a:cubicBezTo>
                  <a:pt x="124" y="86"/>
                  <a:pt x="126" y="87"/>
                  <a:pt x="126" y="89"/>
                </a:cubicBezTo>
                <a:cubicBezTo>
                  <a:pt x="126" y="90"/>
                  <a:pt x="124" y="91"/>
                  <a:pt x="123" y="91"/>
                </a:cubicBezTo>
                <a:cubicBezTo>
                  <a:pt x="121" y="91"/>
                  <a:pt x="120" y="90"/>
                  <a:pt x="120" y="89"/>
                </a:cubicBezTo>
                <a:cubicBezTo>
                  <a:pt x="120" y="87"/>
                  <a:pt x="121" y="86"/>
                  <a:pt x="123" y="86"/>
                </a:cubicBezTo>
                <a:close/>
                <a:moveTo>
                  <a:pt x="106" y="103"/>
                </a:moveTo>
                <a:cubicBezTo>
                  <a:pt x="107" y="103"/>
                  <a:pt x="109" y="104"/>
                  <a:pt x="109" y="106"/>
                </a:cubicBezTo>
                <a:cubicBezTo>
                  <a:pt x="109" y="107"/>
                  <a:pt x="107" y="109"/>
                  <a:pt x="106" y="109"/>
                </a:cubicBezTo>
                <a:cubicBezTo>
                  <a:pt x="104" y="109"/>
                  <a:pt x="103" y="107"/>
                  <a:pt x="103" y="106"/>
                </a:cubicBezTo>
                <a:cubicBezTo>
                  <a:pt x="103" y="104"/>
                  <a:pt x="104" y="103"/>
                  <a:pt x="106" y="103"/>
                </a:cubicBezTo>
                <a:close/>
                <a:moveTo>
                  <a:pt x="123" y="103"/>
                </a:moveTo>
                <a:cubicBezTo>
                  <a:pt x="124" y="103"/>
                  <a:pt x="126" y="104"/>
                  <a:pt x="126" y="106"/>
                </a:cubicBezTo>
                <a:cubicBezTo>
                  <a:pt x="126" y="107"/>
                  <a:pt x="124" y="109"/>
                  <a:pt x="123" y="109"/>
                </a:cubicBezTo>
                <a:cubicBezTo>
                  <a:pt x="121" y="109"/>
                  <a:pt x="120" y="107"/>
                  <a:pt x="120" y="106"/>
                </a:cubicBezTo>
                <a:cubicBezTo>
                  <a:pt x="120" y="104"/>
                  <a:pt x="121" y="103"/>
                  <a:pt x="123" y="103"/>
                </a:cubicBezTo>
                <a:close/>
                <a:moveTo>
                  <a:pt x="80" y="111"/>
                </a:moveTo>
                <a:cubicBezTo>
                  <a:pt x="82" y="111"/>
                  <a:pt x="83" y="113"/>
                  <a:pt x="83" y="114"/>
                </a:cubicBezTo>
                <a:cubicBezTo>
                  <a:pt x="83" y="116"/>
                  <a:pt x="82" y="117"/>
                  <a:pt x="80" y="117"/>
                </a:cubicBezTo>
                <a:cubicBezTo>
                  <a:pt x="78" y="117"/>
                  <a:pt x="77" y="116"/>
                  <a:pt x="77" y="114"/>
                </a:cubicBezTo>
                <a:cubicBezTo>
                  <a:pt x="77" y="113"/>
                  <a:pt x="78" y="111"/>
                  <a:pt x="80" y="111"/>
                </a:cubicBezTo>
                <a:close/>
                <a:moveTo>
                  <a:pt x="80" y="129"/>
                </a:moveTo>
                <a:cubicBezTo>
                  <a:pt x="82" y="129"/>
                  <a:pt x="83" y="130"/>
                  <a:pt x="83" y="131"/>
                </a:cubicBezTo>
                <a:cubicBezTo>
                  <a:pt x="83" y="133"/>
                  <a:pt x="82" y="134"/>
                  <a:pt x="80" y="134"/>
                </a:cubicBezTo>
                <a:cubicBezTo>
                  <a:pt x="78" y="134"/>
                  <a:pt x="77" y="133"/>
                  <a:pt x="77" y="131"/>
                </a:cubicBezTo>
                <a:cubicBezTo>
                  <a:pt x="77" y="130"/>
                  <a:pt x="78" y="129"/>
                  <a:pt x="80" y="129"/>
                </a:cubicBezTo>
                <a:close/>
                <a:moveTo>
                  <a:pt x="89" y="120"/>
                </a:moveTo>
                <a:cubicBezTo>
                  <a:pt x="90" y="120"/>
                  <a:pt x="91" y="121"/>
                  <a:pt x="91" y="123"/>
                </a:cubicBezTo>
                <a:cubicBezTo>
                  <a:pt x="91" y="124"/>
                  <a:pt x="90" y="126"/>
                  <a:pt x="89" y="126"/>
                </a:cubicBezTo>
                <a:cubicBezTo>
                  <a:pt x="87" y="126"/>
                  <a:pt x="86" y="124"/>
                  <a:pt x="86" y="123"/>
                </a:cubicBezTo>
                <a:cubicBezTo>
                  <a:pt x="86" y="121"/>
                  <a:pt x="87" y="120"/>
                  <a:pt x="89" y="120"/>
                </a:cubicBezTo>
                <a:close/>
                <a:moveTo>
                  <a:pt x="97" y="111"/>
                </a:moveTo>
                <a:cubicBezTo>
                  <a:pt x="99" y="111"/>
                  <a:pt x="100" y="113"/>
                  <a:pt x="100" y="114"/>
                </a:cubicBezTo>
                <a:cubicBezTo>
                  <a:pt x="100" y="116"/>
                  <a:pt x="99" y="117"/>
                  <a:pt x="97" y="117"/>
                </a:cubicBezTo>
                <a:cubicBezTo>
                  <a:pt x="96" y="117"/>
                  <a:pt x="94" y="116"/>
                  <a:pt x="94" y="114"/>
                </a:cubicBezTo>
                <a:cubicBezTo>
                  <a:pt x="94" y="113"/>
                  <a:pt x="96" y="111"/>
                  <a:pt x="97" y="111"/>
                </a:cubicBezTo>
                <a:close/>
                <a:moveTo>
                  <a:pt x="114" y="111"/>
                </a:moveTo>
                <a:cubicBezTo>
                  <a:pt x="116" y="111"/>
                  <a:pt x="117" y="113"/>
                  <a:pt x="117" y="114"/>
                </a:cubicBezTo>
                <a:cubicBezTo>
                  <a:pt x="117" y="116"/>
                  <a:pt x="116" y="117"/>
                  <a:pt x="114" y="117"/>
                </a:cubicBezTo>
                <a:cubicBezTo>
                  <a:pt x="113" y="117"/>
                  <a:pt x="111" y="116"/>
                  <a:pt x="111" y="114"/>
                </a:cubicBezTo>
                <a:cubicBezTo>
                  <a:pt x="111" y="113"/>
                  <a:pt x="113" y="111"/>
                  <a:pt x="114" y="111"/>
                </a:cubicBezTo>
                <a:close/>
                <a:moveTo>
                  <a:pt x="97" y="129"/>
                </a:moveTo>
                <a:cubicBezTo>
                  <a:pt x="99" y="129"/>
                  <a:pt x="100" y="130"/>
                  <a:pt x="100" y="131"/>
                </a:cubicBezTo>
                <a:cubicBezTo>
                  <a:pt x="100" y="133"/>
                  <a:pt x="99" y="134"/>
                  <a:pt x="97" y="134"/>
                </a:cubicBezTo>
                <a:cubicBezTo>
                  <a:pt x="96" y="134"/>
                  <a:pt x="94" y="133"/>
                  <a:pt x="94" y="131"/>
                </a:cubicBezTo>
                <a:cubicBezTo>
                  <a:pt x="94" y="130"/>
                  <a:pt x="96" y="129"/>
                  <a:pt x="97" y="129"/>
                </a:cubicBezTo>
                <a:close/>
                <a:moveTo>
                  <a:pt x="114" y="129"/>
                </a:moveTo>
                <a:cubicBezTo>
                  <a:pt x="116" y="129"/>
                  <a:pt x="117" y="130"/>
                  <a:pt x="117" y="131"/>
                </a:cubicBezTo>
                <a:cubicBezTo>
                  <a:pt x="117" y="133"/>
                  <a:pt x="116" y="134"/>
                  <a:pt x="114" y="134"/>
                </a:cubicBezTo>
                <a:cubicBezTo>
                  <a:pt x="113" y="134"/>
                  <a:pt x="111" y="133"/>
                  <a:pt x="111" y="131"/>
                </a:cubicBezTo>
                <a:cubicBezTo>
                  <a:pt x="111" y="130"/>
                  <a:pt x="113" y="129"/>
                  <a:pt x="114" y="129"/>
                </a:cubicBezTo>
                <a:close/>
                <a:moveTo>
                  <a:pt x="106" y="120"/>
                </a:moveTo>
                <a:cubicBezTo>
                  <a:pt x="107" y="120"/>
                  <a:pt x="109" y="121"/>
                  <a:pt x="109" y="123"/>
                </a:cubicBezTo>
                <a:cubicBezTo>
                  <a:pt x="109" y="124"/>
                  <a:pt x="107" y="126"/>
                  <a:pt x="106" y="126"/>
                </a:cubicBezTo>
                <a:cubicBezTo>
                  <a:pt x="104" y="126"/>
                  <a:pt x="103" y="124"/>
                  <a:pt x="103" y="123"/>
                </a:cubicBezTo>
                <a:cubicBezTo>
                  <a:pt x="103" y="121"/>
                  <a:pt x="104" y="120"/>
                  <a:pt x="106" y="120"/>
                </a:cubicBezTo>
                <a:close/>
                <a:moveTo>
                  <a:pt x="123" y="120"/>
                </a:moveTo>
                <a:cubicBezTo>
                  <a:pt x="124" y="120"/>
                  <a:pt x="126" y="121"/>
                  <a:pt x="126" y="123"/>
                </a:cubicBezTo>
                <a:cubicBezTo>
                  <a:pt x="126" y="124"/>
                  <a:pt x="124" y="126"/>
                  <a:pt x="123" y="126"/>
                </a:cubicBezTo>
                <a:cubicBezTo>
                  <a:pt x="121" y="126"/>
                  <a:pt x="120" y="124"/>
                  <a:pt x="120" y="123"/>
                </a:cubicBezTo>
                <a:cubicBezTo>
                  <a:pt x="120" y="121"/>
                  <a:pt x="121" y="120"/>
                  <a:pt x="123" y="120"/>
                </a:cubicBezTo>
                <a:close/>
                <a:moveTo>
                  <a:pt x="63" y="43"/>
                </a:moveTo>
                <a:cubicBezTo>
                  <a:pt x="64" y="43"/>
                  <a:pt x="66" y="44"/>
                  <a:pt x="66" y="46"/>
                </a:cubicBezTo>
                <a:cubicBezTo>
                  <a:pt x="66" y="47"/>
                  <a:pt x="64" y="49"/>
                  <a:pt x="63" y="49"/>
                </a:cubicBezTo>
                <a:cubicBezTo>
                  <a:pt x="61" y="49"/>
                  <a:pt x="60" y="47"/>
                  <a:pt x="60" y="46"/>
                </a:cubicBezTo>
                <a:cubicBezTo>
                  <a:pt x="60" y="44"/>
                  <a:pt x="61" y="43"/>
                  <a:pt x="63" y="43"/>
                </a:cubicBezTo>
                <a:close/>
                <a:moveTo>
                  <a:pt x="63" y="60"/>
                </a:moveTo>
                <a:cubicBezTo>
                  <a:pt x="64" y="60"/>
                  <a:pt x="66" y="61"/>
                  <a:pt x="66" y="63"/>
                </a:cubicBezTo>
                <a:cubicBezTo>
                  <a:pt x="66" y="64"/>
                  <a:pt x="64" y="66"/>
                  <a:pt x="63" y="66"/>
                </a:cubicBezTo>
                <a:cubicBezTo>
                  <a:pt x="61" y="66"/>
                  <a:pt x="60" y="64"/>
                  <a:pt x="60" y="63"/>
                </a:cubicBezTo>
                <a:cubicBezTo>
                  <a:pt x="60" y="61"/>
                  <a:pt x="61" y="60"/>
                  <a:pt x="63" y="60"/>
                </a:cubicBezTo>
                <a:close/>
                <a:moveTo>
                  <a:pt x="71" y="51"/>
                </a:moveTo>
                <a:cubicBezTo>
                  <a:pt x="73" y="51"/>
                  <a:pt x="74" y="53"/>
                  <a:pt x="74" y="54"/>
                </a:cubicBezTo>
                <a:cubicBezTo>
                  <a:pt x="74" y="56"/>
                  <a:pt x="73" y="57"/>
                  <a:pt x="71" y="57"/>
                </a:cubicBezTo>
                <a:cubicBezTo>
                  <a:pt x="70" y="57"/>
                  <a:pt x="69" y="56"/>
                  <a:pt x="69" y="54"/>
                </a:cubicBezTo>
                <a:cubicBezTo>
                  <a:pt x="69" y="53"/>
                  <a:pt x="70" y="51"/>
                  <a:pt x="71" y="51"/>
                </a:cubicBezTo>
                <a:close/>
                <a:moveTo>
                  <a:pt x="71" y="69"/>
                </a:moveTo>
                <a:cubicBezTo>
                  <a:pt x="73" y="69"/>
                  <a:pt x="74" y="70"/>
                  <a:pt x="74" y="71"/>
                </a:cubicBezTo>
                <a:cubicBezTo>
                  <a:pt x="74" y="73"/>
                  <a:pt x="73" y="74"/>
                  <a:pt x="71" y="74"/>
                </a:cubicBezTo>
                <a:cubicBezTo>
                  <a:pt x="70" y="74"/>
                  <a:pt x="69" y="73"/>
                  <a:pt x="69" y="71"/>
                </a:cubicBezTo>
                <a:cubicBezTo>
                  <a:pt x="69" y="70"/>
                  <a:pt x="70" y="69"/>
                  <a:pt x="71" y="69"/>
                </a:cubicBezTo>
                <a:close/>
                <a:moveTo>
                  <a:pt x="63" y="77"/>
                </a:moveTo>
                <a:cubicBezTo>
                  <a:pt x="64" y="77"/>
                  <a:pt x="66" y="78"/>
                  <a:pt x="66" y="80"/>
                </a:cubicBezTo>
                <a:cubicBezTo>
                  <a:pt x="66" y="82"/>
                  <a:pt x="64" y="83"/>
                  <a:pt x="63" y="83"/>
                </a:cubicBezTo>
                <a:cubicBezTo>
                  <a:pt x="61" y="83"/>
                  <a:pt x="60" y="82"/>
                  <a:pt x="60" y="80"/>
                </a:cubicBezTo>
                <a:cubicBezTo>
                  <a:pt x="60" y="78"/>
                  <a:pt x="61" y="77"/>
                  <a:pt x="63" y="77"/>
                </a:cubicBezTo>
                <a:close/>
                <a:moveTo>
                  <a:pt x="63" y="94"/>
                </a:moveTo>
                <a:cubicBezTo>
                  <a:pt x="64" y="94"/>
                  <a:pt x="66" y="96"/>
                  <a:pt x="66" y="97"/>
                </a:cubicBezTo>
                <a:cubicBezTo>
                  <a:pt x="66" y="99"/>
                  <a:pt x="64" y="100"/>
                  <a:pt x="63" y="100"/>
                </a:cubicBezTo>
                <a:cubicBezTo>
                  <a:pt x="61" y="100"/>
                  <a:pt x="60" y="99"/>
                  <a:pt x="60" y="97"/>
                </a:cubicBezTo>
                <a:cubicBezTo>
                  <a:pt x="60" y="96"/>
                  <a:pt x="61" y="94"/>
                  <a:pt x="63" y="94"/>
                </a:cubicBezTo>
                <a:close/>
                <a:moveTo>
                  <a:pt x="71" y="86"/>
                </a:moveTo>
                <a:cubicBezTo>
                  <a:pt x="73" y="86"/>
                  <a:pt x="74" y="87"/>
                  <a:pt x="74" y="89"/>
                </a:cubicBezTo>
                <a:cubicBezTo>
                  <a:pt x="74" y="90"/>
                  <a:pt x="73" y="91"/>
                  <a:pt x="71" y="91"/>
                </a:cubicBezTo>
                <a:cubicBezTo>
                  <a:pt x="70" y="91"/>
                  <a:pt x="69" y="90"/>
                  <a:pt x="69" y="89"/>
                </a:cubicBezTo>
                <a:cubicBezTo>
                  <a:pt x="69" y="87"/>
                  <a:pt x="70" y="86"/>
                  <a:pt x="71" y="86"/>
                </a:cubicBezTo>
                <a:close/>
                <a:moveTo>
                  <a:pt x="71" y="103"/>
                </a:moveTo>
                <a:cubicBezTo>
                  <a:pt x="73" y="103"/>
                  <a:pt x="74" y="104"/>
                  <a:pt x="74" y="106"/>
                </a:cubicBezTo>
                <a:cubicBezTo>
                  <a:pt x="74" y="107"/>
                  <a:pt x="73" y="109"/>
                  <a:pt x="71" y="109"/>
                </a:cubicBezTo>
                <a:cubicBezTo>
                  <a:pt x="70" y="109"/>
                  <a:pt x="69" y="107"/>
                  <a:pt x="69" y="106"/>
                </a:cubicBezTo>
                <a:cubicBezTo>
                  <a:pt x="69" y="104"/>
                  <a:pt x="70" y="103"/>
                  <a:pt x="71" y="103"/>
                </a:cubicBezTo>
                <a:close/>
                <a:moveTo>
                  <a:pt x="63" y="111"/>
                </a:moveTo>
                <a:cubicBezTo>
                  <a:pt x="64" y="111"/>
                  <a:pt x="66" y="113"/>
                  <a:pt x="66" y="114"/>
                </a:cubicBezTo>
                <a:cubicBezTo>
                  <a:pt x="66" y="116"/>
                  <a:pt x="64" y="117"/>
                  <a:pt x="63" y="117"/>
                </a:cubicBezTo>
                <a:cubicBezTo>
                  <a:pt x="61" y="117"/>
                  <a:pt x="60" y="116"/>
                  <a:pt x="60" y="114"/>
                </a:cubicBezTo>
                <a:cubicBezTo>
                  <a:pt x="60" y="113"/>
                  <a:pt x="61" y="111"/>
                  <a:pt x="63" y="111"/>
                </a:cubicBezTo>
                <a:close/>
                <a:moveTo>
                  <a:pt x="63" y="129"/>
                </a:moveTo>
                <a:cubicBezTo>
                  <a:pt x="64" y="129"/>
                  <a:pt x="66" y="130"/>
                  <a:pt x="66" y="131"/>
                </a:cubicBezTo>
                <a:cubicBezTo>
                  <a:pt x="66" y="133"/>
                  <a:pt x="64" y="134"/>
                  <a:pt x="63" y="134"/>
                </a:cubicBezTo>
                <a:cubicBezTo>
                  <a:pt x="61" y="134"/>
                  <a:pt x="60" y="133"/>
                  <a:pt x="60" y="131"/>
                </a:cubicBezTo>
                <a:cubicBezTo>
                  <a:pt x="60" y="130"/>
                  <a:pt x="61" y="129"/>
                  <a:pt x="63" y="129"/>
                </a:cubicBezTo>
                <a:close/>
                <a:moveTo>
                  <a:pt x="71" y="120"/>
                </a:moveTo>
                <a:cubicBezTo>
                  <a:pt x="73" y="120"/>
                  <a:pt x="74" y="121"/>
                  <a:pt x="74" y="123"/>
                </a:cubicBezTo>
                <a:cubicBezTo>
                  <a:pt x="74" y="124"/>
                  <a:pt x="73" y="126"/>
                  <a:pt x="71" y="126"/>
                </a:cubicBezTo>
                <a:cubicBezTo>
                  <a:pt x="70" y="126"/>
                  <a:pt x="69" y="124"/>
                  <a:pt x="69" y="123"/>
                </a:cubicBezTo>
                <a:cubicBezTo>
                  <a:pt x="69" y="121"/>
                  <a:pt x="70" y="120"/>
                  <a:pt x="71" y="120"/>
                </a:cubicBezTo>
                <a:close/>
                <a:moveTo>
                  <a:pt x="11" y="43"/>
                </a:moveTo>
                <a:cubicBezTo>
                  <a:pt x="13" y="43"/>
                  <a:pt x="14" y="44"/>
                  <a:pt x="14" y="46"/>
                </a:cubicBezTo>
                <a:cubicBezTo>
                  <a:pt x="14" y="47"/>
                  <a:pt x="13" y="49"/>
                  <a:pt x="11" y="49"/>
                </a:cubicBezTo>
                <a:cubicBezTo>
                  <a:pt x="10" y="49"/>
                  <a:pt x="9" y="47"/>
                  <a:pt x="9" y="46"/>
                </a:cubicBezTo>
                <a:cubicBezTo>
                  <a:pt x="9" y="44"/>
                  <a:pt x="10" y="43"/>
                  <a:pt x="11" y="43"/>
                </a:cubicBezTo>
                <a:close/>
                <a:moveTo>
                  <a:pt x="11" y="60"/>
                </a:moveTo>
                <a:cubicBezTo>
                  <a:pt x="13" y="60"/>
                  <a:pt x="14" y="61"/>
                  <a:pt x="14" y="63"/>
                </a:cubicBezTo>
                <a:cubicBezTo>
                  <a:pt x="14" y="64"/>
                  <a:pt x="13" y="66"/>
                  <a:pt x="11" y="66"/>
                </a:cubicBezTo>
                <a:cubicBezTo>
                  <a:pt x="10" y="66"/>
                  <a:pt x="9" y="64"/>
                  <a:pt x="9" y="63"/>
                </a:cubicBezTo>
                <a:cubicBezTo>
                  <a:pt x="9" y="61"/>
                  <a:pt x="10" y="60"/>
                  <a:pt x="11" y="60"/>
                </a:cubicBezTo>
                <a:close/>
                <a:moveTo>
                  <a:pt x="20" y="51"/>
                </a:moveTo>
                <a:cubicBezTo>
                  <a:pt x="22" y="51"/>
                  <a:pt x="23" y="53"/>
                  <a:pt x="23" y="54"/>
                </a:cubicBezTo>
                <a:cubicBezTo>
                  <a:pt x="23" y="56"/>
                  <a:pt x="22" y="57"/>
                  <a:pt x="20" y="57"/>
                </a:cubicBezTo>
                <a:cubicBezTo>
                  <a:pt x="18" y="57"/>
                  <a:pt x="17" y="56"/>
                  <a:pt x="17" y="54"/>
                </a:cubicBezTo>
                <a:cubicBezTo>
                  <a:pt x="17" y="53"/>
                  <a:pt x="18" y="51"/>
                  <a:pt x="20" y="51"/>
                </a:cubicBezTo>
                <a:close/>
                <a:moveTo>
                  <a:pt x="20" y="69"/>
                </a:moveTo>
                <a:cubicBezTo>
                  <a:pt x="22" y="69"/>
                  <a:pt x="23" y="70"/>
                  <a:pt x="23" y="71"/>
                </a:cubicBezTo>
                <a:cubicBezTo>
                  <a:pt x="23" y="73"/>
                  <a:pt x="22" y="74"/>
                  <a:pt x="20" y="74"/>
                </a:cubicBezTo>
                <a:cubicBezTo>
                  <a:pt x="18" y="74"/>
                  <a:pt x="17" y="73"/>
                  <a:pt x="17" y="71"/>
                </a:cubicBezTo>
                <a:cubicBezTo>
                  <a:pt x="17" y="70"/>
                  <a:pt x="18" y="69"/>
                  <a:pt x="20" y="69"/>
                </a:cubicBezTo>
                <a:close/>
                <a:moveTo>
                  <a:pt x="29" y="43"/>
                </a:moveTo>
                <a:cubicBezTo>
                  <a:pt x="30" y="43"/>
                  <a:pt x="31" y="44"/>
                  <a:pt x="31" y="46"/>
                </a:cubicBezTo>
                <a:cubicBezTo>
                  <a:pt x="31" y="47"/>
                  <a:pt x="30" y="49"/>
                  <a:pt x="29" y="49"/>
                </a:cubicBezTo>
                <a:cubicBezTo>
                  <a:pt x="27" y="49"/>
                  <a:pt x="26" y="47"/>
                  <a:pt x="26" y="46"/>
                </a:cubicBezTo>
                <a:cubicBezTo>
                  <a:pt x="26" y="44"/>
                  <a:pt x="27" y="43"/>
                  <a:pt x="29" y="43"/>
                </a:cubicBezTo>
                <a:close/>
                <a:moveTo>
                  <a:pt x="46" y="43"/>
                </a:moveTo>
                <a:cubicBezTo>
                  <a:pt x="47" y="43"/>
                  <a:pt x="49" y="44"/>
                  <a:pt x="49" y="46"/>
                </a:cubicBezTo>
                <a:cubicBezTo>
                  <a:pt x="49" y="47"/>
                  <a:pt x="47" y="49"/>
                  <a:pt x="46" y="49"/>
                </a:cubicBezTo>
                <a:cubicBezTo>
                  <a:pt x="44" y="49"/>
                  <a:pt x="43" y="47"/>
                  <a:pt x="43" y="46"/>
                </a:cubicBezTo>
                <a:cubicBezTo>
                  <a:pt x="43" y="44"/>
                  <a:pt x="44" y="43"/>
                  <a:pt x="46" y="43"/>
                </a:cubicBezTo>
                <a:close/>
                <a:moveTo>
                  <a:pt x="29" y="60"/>
                </a:moveTo>
                <a:cubicBezTo>
                  <a:pt x="30" y="60"/>
                  <a:pt x="31" y="61"/>
                  <a:pt x="31" y="63"/>
                </a:cubicBezTo>
                <a:cubicBezTo>
                  <a:pt x="31" y="64"/>
                  <a:pt x="30" y="66"/>
                  <a:pt x="29" y="66"/>
                </a:cubicBezTo>
                <a:cubicBezTo>
                  <a:pt x="27" y="66"/>
                  <a:pt x="26" y="64"/>
                  <a:pt x="26" y="63"/>
                </a:cubicBezTo>
                <a:cubicBezTo>
                  <a:pt x="26" y="61"/>
                  <a:pt x="27" y="60"/>
                  <a:pt x="29" y="60"/>
                </a:cubicBezTo>
                <a:close/>
                <a:moveTo>
                  <a:pt x="46" y="60"/>
                </a:moveTo>
                <a:cubicBezTo>
                  <a:pt x="47" y="60"/>
                  <a:pt x="49" y="61"/>
                  <a:pt x="49" y="63"/>
                </a:cubicBezTo>
                <a:cubicBezTo>
                  <a:pt x="49" y="64"/>
                  <a:pt x="47" y="66"/>
                  <a:pt x="46" y="66"/>
                </a:cubicBezTo>
                <a:cubicBezTo>
                  <a:pt x="44" y="66"/>
                  <a:pt x="43" y="64"/>
                  <a:pt x="43" y="63"/>
                </a:cubicBezTo>
                <a:cubicBezTo>
                  <a:pt x="43" y="61"/>
                  <a:pt x="44" y="60"/>
                  <a:pt x="46" y="60"/>
                </a:cubicBezTo>
                <a:close/>
                <a:moveTo>
                  <a:pt x="37" y="51"/>
                </a:moveTo>
                <a:cubicBezTo>
                  <a:pt x="39" y="51"/>
                  <a:pt x="40" y="53"/>
                  <a:pt x="40" y="54"/>
                </a:cubicBezTo>
                <a:cubicBezTo>
                  <a:pt x="40" y="56"/>
                  <a:pt x="39" y="57"/>
                  <a:pt x="37" y="57"/>
                </a:cubicBezTo>
                <a:cubicBezTo>
                  <a:pt x="36" y="57"/>
                  <a:pt x="34" y="56"/>
                  <a:pt x="34" y="54"/>
                </a:cubicBezTo>
                <a:cubicBezTo>
                  <a:pt x="34" y="53"/>
                  <a:pt x="36" y="51"/>
                  <a:pt x="37" y="51"/>
                </a:cubicBezTo>
                <a:close/>
                <a:moveTo>
                  <a:pt x="54" y="51"/>
                </a:moveTo>
                <a:cubicBezTo>
                  <a:pt x="56" y="51"/>
                  <a:pt x="57" y="53"/>
                  <a:pt x="57" y="54"/>
                </a:cubicBezTo>
                <a:cubicBezTo>
                  <a:pt x="57" y="56"/>
                  <a:pt x="56" y="57"/>
                  <a:pt x="54" y="57"/>
                </a:cubicBezTo>
                <a:cubicBezTo>
                  <a:pt x="53" y="57"/>
                  <a:pt x="51" y="56"/>
                  <a:pt x="51" y="54"/>
                </a:cubicBezTo>
                <a:cubicBezTo>
                  <a:pt x="51" y="53"/>
                  <a:pt x="53" y="51"/>
                  <a:pt x="54" y="51"/>
                </a:cubicBezTo>
                <a:close/>
                <a:moveTo>
                  <a:pt x="37" y="69"/>
                </a:moveTo>
                <a:cubicBezTo>
                  <a:pt x="39" y="69"/>
                  <a:pt x="40" y="70"/>
                  <a:pt x="40" y="71"/>
                </a:cubicBezTo>
                <a:cubicBezTo>
                  <a:pt x="40" y="73"/>
                  <a:pt x="39" y="74"/>
                  <a:pt x="37" y="74"/>
                </a:cubicBezTo>
                <a:cubicBezTo>
                  <a:pt x="36" y="74"/>
                  <a:pt x="34" y="73"/>
                  <a:pt x="34" y="71"/>
                </a:cubicBezTo>
                <a:cubicBezTo>
                  <a:pt x="34" y="70"/>
                  <a:pt x="36" y="69"/>
                  <a:pt x="37" y="69"/>
                </a:cubicBezTo>
                <a:close/>
                <a:moveTo>
                  <a:pt x="54" y="69"/>
                </a:moveTo>
                <a:cubicBezTo>
                  <a:pt x="56" y="69"/>
                  <a:pt x="57" y="70"/>
                  <a:pt x="57" y="71"/>
                </a:cubicBezTo>
                <a:cubicBezTo>
                  <a:pt x="57" y="73"/>
                  <a:pt x="56" y="74"/>
                  <a:pt x="54" y="74"/>
                </a:cubicBezTo>
                <a:cubicBezTo>
                  <a:pt x="53" y="74"/>
                  <a:pt x="51" y="73"/>
                  <a:pt x="51" y="71"/>
                </a:cubicBezTo>
                <a:cubicBezTo>
                  <a:pt x="51" y="70"/>
                  <a:pt x="53" y="69"/>
                  <a:pt x="54" y="69"/>
                </a:cubicBezTo>
                <a:close/>
                <a:moveTo>
                  <a:pt x="11" y="77"/>
                </a:moveTo>
                <a:cubicBezTo>
                  <a:pt x="13" y="77"/>
                  <a:pt x="14" y="78"/>
                  <a:pt x="14" y="80"/>
                </a:cubicBezTo>
                <a:cubicBezTo>
                  <a:pt x="14" y="82"/>
                  <a:pt x="13" y="83"/>
                  <a:pt x="11" y="83"/>
                </a:cubicBezTo>
                <a:cubicBezTo>
                  <a:pt x="10" y="83"/>
                  <a:pt x="9" y="82"/>
                  <a:pt x="9" y="80"/>
                </a:cubicBezTo>
                <a:cubicBezTo>
                  <a:pt x="9" y="78"/>
                  <a:pt x="10" y="77"/>
                  <a:pt x="11" y="77"/>
                </a:cubicBezTo>
                <a:close/>
                <a:moveTo>
                  <a:pt x="11" y="94"/>
                </a:moveTo>
                <a:cubicBezTo>
                  <a:pt x="13" y="94"/>
                  <a:pt x="14" y="96"/>
                  <a:pt x="14" y="97"/>
                </a:cubicBezTo>
                <a:cubicBezTo>
                  <a:pt x="14" y="99"/>
                  <a:pt x="13" y="100"/>
                  <a:pt x="11" y="100"/>
                </a:cubicBezTo>
                <a:cubicBezTo>
                  <a:pt x="10" y="100"/>
                  <a:pt x="9" y="99"/>
                  <a:pt x="9" y="97"/>
                </a:cubicBezTo>
                <a:cubicBezTo>
                  <a:pt x="9" y="96"/>
                  <a:pt x="10" y="94"/>
                  <a:pt x="11" y="94"/>
                </a:cubicBezTo>
                <a:close/>
                <a:moveTo>
                  <a:pt x="20" y="86"/>
                </a:moveTo>
                <a:cubicBezTo>
                  <a:pt x="22" y="86"/>
                  <a:pt x="23" y="87"/>
                  <a:pt x="23" y="89"/>
                </a:cubicBezTo>
                <a:cubicBezTo>
                  <a:pt x="23" y="90"/>
                  <a:pt x="22" y="91"/>
                  <a:pt x="20" y="91"/>
                </a:cubicBezTo>
                <a:cubicBezTo>
                  <a:pt x="18" y="91"/>
                  <a:pt x="17" y="90"/>
                  <a:pt x="17" y="89"/>
                </a:cubicBezTo>
                <a:cubicBezTo>
                  <a:pt x="17" y="87"/>
                  <a:pt x="18" y="86"/>
                  <a:pt x="20" y="86"/>
                </a:cubicBezTo>
                <a:close/>
                <a:moveTo>
                  <a:pt x="20" y="103"/>
                </a:moveTo>
                <a:cubicBezTo>
                  <a:pt x="22" y="103"/>
                  <a:pt x="23" y="104"/>
                  <a:pt x="23" y="106"/>
                </a:cubicBezTo>
                <a:cubicBezTo>
                  <a:pt x="23" y="107"/>
                  <a:pt x="22" y="109"/>
                  <a:pt x="20" y="109"/>
                </a:cubicBezTo>
                <a:cubicBezTo>
                  <a:pt x="18" y="109"/>
                  <a:pt x="17" y="107"/>
                  <a:pt x="17" y="106"/>
                </a:cubicBezTo>
                <a:cubicBezTo>
                  <a:pt x="17" y="104"/>
                  <a:pt x="18" y="103"/>
                  <a:pt x="20" y="103"/>
                </a:cubicBezTo>
                <a:close/>
                <a:moveTo>
                  <a:pt x="29" y="77"/>
                </a:moveTo>
                <a:cubicBezTo>
                  <a:pt x="30" y="77"/>
                  <a:pt x="31" y="78"/>
                  <a:pt x="31" y="80"/>
                </a:cubicBezTo>
                <a:cubicBezTo>
                  <a:pt x="31" y="82"/>
                  <a:pt x="30" y="83"/>
                  <a:pt x="29" y="83"/>
                </a:cubicBezTo>
                <a:cubicBezTo>
                  <a:pt x="27" y="83"/>
                  <a:pt x="26" y="82"/>
                  <a:pt x="26" y="80"/>
                </a:cubicBezTo>
                <a:cubicBezTo>
                  <a:pt x="26" y="78"/>
                  <a:pt x="27" y="77"/>
                  <a:pt x="29" y="77"/>
                </a:cubicBezTo>
                <a:close/>
                <a:moveTo>
                  <a:pt x="46" y="77"/>
                </a:moveTo>
                <a:cubicBezTo>
                  <a:pt x="47" y="77"/>
                  <a:pt x="49" y="78"/>
                  <a:pt x="49" y="80"/>
                </a:cubicBezTo>
                <a:cubicBezTo>
                  <a:pt x="49" y="82"/>
                  <a:pt x="47" y="83"/>
                  <a:pt x="46" y="83"/>
                </a:cubicBezTo>
                <a:cubicBezTo>
                  <a:pt x="44" y="83"/>
                  <a:pt x="43" y="82"/>
                  <a:pt x="43" y="80"/>
                </a:cubicBezTo>
                <a:cubicBezTo>
                  <a:pt x="43" y="78"/>
                  <a:pt x="44" y="77"/>
                  <a:pt x="46" y="77"/>
                </a:cubicBezTo>
                <a:close/>
                <a:moveTo>
                  <a:pt x="29" y="94"/>
                </a:moveTo>
                <a:cubicBezTo>
                  <a:pt x="30" y="94"/>
                  <a:pt x="31" y="96"/>
                  <a:pt x="31" y="97"/>
                </a:cubicBezTo>
                <a:cubicBezTo>
                  <a:pt x="31" y="99"/>
                  <a:pt x="30" y="100"/>
                  <a:pt x="29" y="100"/>
                </a:cubicBezTo>
                <a:cubicBezTo>
                  <a:pt x="27" y="100"/>
                  <a:pt x="26" y="99"/>
                  <a:pt x="26" y="97"/>
                </a:cubicBezTo>
                <a:cubicBezTo>
                  <a:pt x="26" y="96"/>
                  <a:pt x="27" y="94"/>
                  <a:pt x="29" y="94"/>
                </a:cubicBezTo>
                <a:close/>
                <a:moveTo>
                  <a:pt x="46" y="94"/>
                </a:moveTo>
                <a:cubicBezTo>
                  <a:pt x="47" y="94"/>
                  <a:pt x="49" y="96"/>
                  <a:pt x="49" y="97"/>
                </a:cubicBezTo>
                <a:cubicBezTo>
                  <a:pt x="49" y="99"/>
                  <a:pt x="47" y="100"/>
                  <a:pt x="46" y="100"/>
                </a:cubicBezTo>
                <a:cubicBezTo>
                  <a:pt x="44" y="100"/>
                  <a:pt x="43" y="99"/>
                  <a:pt x="43" y="97"/>
                </a:cubicBezTo>
                <a:cubicBezTo>
                  <a:pt x="43" y="96"/>
                  <a:pt x="44" y="94"/>
                  <a:pt x="46" y="94"/>
                </a:cubicBezTo>
                <a:close/>
                <a:moveTo>
                  <a:pt x="37" y="86"/>
                </a:moveTo>
                <a:cubicBezTo>
                  <a:pt x="39" y="86"/>
                  <a:pt x="40" y="87"/>
                  <a:pt x="40" y="89"/>
                </a:cubicBezTo>
                <a:cubicBezTo>
                  <a:pt x="40" y="90"/>
                  <a:pt x="39" y="91"/>
                  <a:pt x="37" y="91"/>
                </a:cubicBezTo>
                <a:cubicBezTo>
                  <a:pt x="36" y="91"/>
                  <a:pt x="34" y="90"/>
                  <a:pt x="34" y="89"/>
                </a:cubicBezTo>
                <a:cubicBezTo>
                  <a:pt x="34" y="87"/>
                  <a:pt x="36" y="86"/>
                  <a:pt x="37" y="86"/>
                </a:cubicBezTo>
                <a:close/>
                <a:moveTo>
                  <a:pt x="54" y="86"/>
                </a:moveTo>
                <a:cubicBezTo>
                  <a:pt x="56" y="86"/>
                  <a:pt x="57" y="87"/>
                  <a:pt x="57" y="89"/>
                </a:cubicBezTo>
                <a:cubicBezTo>
                  <a:pt x="57" y="90"/>
                  <a:pt x="56" y="91"/>
                  <a:pt x="54" y="91"/>
                </a:cubicBezTo>
                <a:cubicBezTo>
                  <a:pt x="53" y="91"/>
                  <a:pt x="51" y="90"/>
                  <a:pt x="51" y="89"/>
                </a:cubicBezTo>
                <a:cubicBezTo>
                  <a:pt x="51" y="87"/>
                  <a:pt x="53" y="86"/>
                  <a:pt x="54" y="86"/>
                </a:cubicBezTo>
                <a:close/>
                <a:moveTo>
                  <a:pt x="37" y="103"/>
                </a:moveTo>
                <a:cubicBezTo>
                  <a:pt x="39" y="103"/>
                  <a:pt x="40" y="104"/>
                  <a:pt x="40" y="106"/>
                </a:cubicBezTo>
                <a:cubicBezTo>
                  <a:pt x="40" y="107"/>
                  <a:pt x="39" y="109"/>
                  <a:pt x="37" y="109"/>
                </a:cubicBezTo>
                <a:cubicBezTo>
                  <a:pt x="36" y="109"/>
                  <a:pt x="34" y="107"/>
                  <a:pt x="34" y="106"/>
                </a:cubicBezTo>
                <a:cubicBezTo>
                  <a:pt x="34" y="104"/>
                  <a:pt x="36" y="103"/>
                  <a:pt x="37" y="103"/>
                </a:cubicBezTo>
                <a:close/>
                <a:moveTo>
                  <a:pt x="54" y="103"/>
                </a:moveTo>
                <a:cubicBezTo>
                  <a:pt x="56" y="103"/>
                  <a:pt x="57" y="104"/>
                  <a:pt x="57" y="106"/>
                </a:cubicBezTo>
                <a:cubicBezTo>
                  <a:pt x="57" y="107"/>
                  <a:pt x="56" y="109"/>
                  <a:pt x="54" y="109"/>
                </a:cubicBezTo>
                <a:cubicBezTo>
                  <a:pt x="53" y="109"/>
                  <a:pt x="51" y="107"/>
                  <a:pt x="51" y="106"/>
                </a:cubicBezTo>
                <a:cubicBezTo>
                  <a:pt x="51" y="104"/>
                  <a:pt x="53" y="103"/>
                  <a:pt x="54" y="103"/>
                </a:cubicBezTo>
                <a:close/>
                <a:moveTo>
                  <a:pt x="11" y="111"/>
                </a:moveTo>
                <a:cubicBezTo>
                  <a:pt x="13" y="111"/>
                  <a:pt x="14" y="113"/>
                  <a:pt x="14" y="114"/>
                </a:cubicBezTo>
                <a:cubicBezTo>
                  <a:pt x="14" y="116"/>
                  <a:pt x="13" y="117"/>
                  <a:pt x="11" y="117"/>
                </a:cubicBezTo>
                <a:cubicBezTo>
                  <a:pt x="10" y="117"/>
                  <a:pt x="9" y="116"/>
                  <a:pt x="9" y="114"/>
                </a:cubicBezTo>
                <a:cubicBezTo>
                  <a:pt x="9" y="113"/>
                  <a:pt x="10" y="111"/>
                  <a:pt x="11" y="111"/>
                </a:cubicBezTo>
                <a:close/>
                <a:moveTo>
                  <a:pt x="11" y="129"/>
                </a:moveTo>
                <a:cubicBezTo>
                  <a:pt x="13" y="129"/>
                  <a:pt x="14" y="130"/>
                  <a:pt x="14" y="131"/>
                </a:cubicBezTo>
                <a:cubicBezTo>
                  <a:pt x="14" y="133"/>
                  <a:pt x="13" y="134"/>
                  <a:pt x="11" y="134"/>
                </a:cubicBezTo>
                <a:cubicBezTo>
                  <a:pt x="10" y="134"/>
                  <a:pt x="9" y="133"/>
                  <a:pt x="9" y="131"/>
                </a:cubicBezTo>
                <a:cubicBezTo>
                  <a:pt x="9" y="130"/>
                  <a:pt x="10" y="129"/>
                  <a:pt x="11" y="129"/>
                </a:cubicBezTo>
                <a:close/>
                <a:moveTo>
                  <a:pt x="20" y="120"/>
                </a:moveTo>
                <a:cubicBezTo>
                  <a:pt x="22" y="120"/>
                  <a:pt x="23" y="121"/>
                  <a:pt x="23" y="123"/>
                </a:cubicBezTo>
                <a:cubicBezTo>
                  <a:pt x="23" y="124"/>
                  <a:pt x="22" y="126"/>
                  <a:pt x="20" y="126"/>
                </a:cubicBezTo>
                <a:cubicBezTo>
                  <a:pt x="18" y="126"/>
                  <a:pt x="17" y="124"/>
                  <a:pt x="17" y="123"/>
                </a:cubicBezTo>
                <a:cubicBezTo>
                  <a:pt x="17" y="121"/>
                  <a:pt x="18" y="120"/>
                  <a:pt x="20" y="120"/>
                </a:cubicBezTo>
                <a:close/>
                <a:moveTo>
                  <a:pt x="29" y="111"/>
                </a:moveTo>
                <a:cubicBezTo>
                  <a:pt x="30" y="111"/>
                  <a:pt x="31" y="113"/>
                  <a:pt x="31" y="114"/>
                </a:cubicBezTo>
                <a:cubicBezTo>
                  <a:pt x="31" y="116"/>
                  <a:pt x="30" y="117"/>
                  <a:pt x="29" y="117"/>
                </a:cubicBezTo>
                <a:cubicBezTo>
                  <a:pt x="27" y="117"/>
                  <a:pt x="26" y="116"/>
                  <a:pt x="26" y="114"/>
                </a:cubicBezTo>
                <a:cubicBezTo>
                  <a:pt x="26" y="113"/>
                  <a:pt x="27" y="111"/>
                  <a:pt x="29" y="111"/>
                </a:cubicBezTo>
                <a:close/>
                <a:moveTo>
                  <a:pt x="46" y="111"/>
                </a:moveTo>
                <a:cubicBezTo>
                  <a:pt x="47" y="111"/>
                  <a:pt x="49" y="113"/>
                  <a:pt x="49" y="114"/>
                </a:cubicBezTo>
                <a:cubicBezTo>
                  <a:pt x="49" y="116"/>
                  <a:pt x="47" y="117"/>
                  <a:pt x="46" y="117"/>
                </a:cubicBezTo>
                <a:cubicBezTo>
                  <a:pt x="44" y="117"/>
                  <a:pt x="43" y="116"/>
                  <a:pt x="43" y="114"/>
                </a:cubicBezTo>
                <a:cubicBezTo>
                  <a:pt x="43" y="113"/>
                  <a:pt x="44" y="111"/>
                  <a:pt x="46" y="111"/>
                </a:cubicBezTo>
                <a:close/>
                <a:moveTo>
                  <a:pt x="29" y="129"/>
                </a:moveTo>
                <a:cubicBezTo>
                  <a:pt x="30" y="129"/>
                  <a:pt x="31" y="130"/>
                  <a:pt x="31" y="131"/>
                </a:cubicBezTo>
                <a:cubicBezTo>
                  <a:pt x="31" y="133"/>
                  <a:pt x="30" y="134"/>
                  <a:pt x="29" y="134"/>
                </a:cubicBezTo>
                <a:cubicBezTo>
                  <a:pt x="27" y="134"/>
                  <a:pt x="26" y="133"/>
                  <a:pt x="26" y="131"/>
                </a:cubicBezTo>
                <a:cubicBezTo>
                  <a:pt x="26" y="130"/>
                  <a:pt x="27" y="129"/>
                  <a:pt x="29" y="129"/>
                </a:cubicBezTo>
                <a:close/>
                <a:moveTo>
                  <a:pt x="46" y="129"/>
                </a:moveTo>
                <a:cubicBezTo>
                  <a:pt x="47" y="129"/>
                  <a:pt x="49" y="130"/>
                  <a:pt x="49" y="131"/>
                </a:cubicBezTo>
                <a:cubicBezTo>
                  <a:pt x="49" y="133"/>
                  <a:pt x="47" y="134"/>
                  <a:pt x="46" y="134"/>
                </a:cubicBezTo>
                <a:cubicBezTo>
                  <a:pt x="44" y="134"/>
                  <a:pt x="43" y="133"/>
                  <a:pt x="43" y="131"/>
                </a:cubicBezTo>
                <a:cubicBezTo>
                  <a:pt x="43" y="130"/>
                  <a:pt x="44" y="129"/>
                  <a:pt x="46" y="129"/>
                </a:cubicBezTo>
                <a:close/>
                <a:moveTo>
                  <a:pt x="37" y="120"/>
                </a:moveTo>
                <a:cubicBezTo>
                  <a:pt x="39" y="120"/>
                  <a:pt x="40" y="121"/>
                  <a:pt x="40" y="123"/>
                </a:cubicBezTo>
                <a:cubicBezTo>
                  <a:pt x="40" y="124"/>
                  <a:pt x="39" y="126"/>
                  <a:pt x="37" y="126"/>
                </a:cubicBezTo>
                <a:cubicBezTo>
                  <a:pt x="36" y="126"/>
                  <a:pt x="34" y="124"/>
                  <a:pt x="34" y="123"/>
                </a:cubicBezTo>
                <a:cubicBezTo>
                  <a:pt x="34" y="121"/>
                  <a:pt x="36" y="120"/>
                  <a:pt x="37" y="120"/>
                </a:cubicBezTo>
                <a:close/>
                <a:moveTo>
                  <a:pt x="54" y="120"/>
                </a:moveTo>
                <a:cubicBezTo>
                  <a:pt x="56" y="120"/>
                  <a:pt x="57" y="121"/>
                  <a:pt x="57" y="123"/>
                </a:cubicBezTo>
                <a:cubicBezTo>
                  <a:pt x="57" y="124"/>
                  <a:pt x="56" y="126"/>
                  <a:pt x="54" y="126"/>
                </a:cubicBezTo>
                <a:cubicBezTo>
                  <a:pt x="53" y="126"/>
                  <a:pt x="51" y="124"/>
                  <a:pt x="51" y="123"/>
                </a:cubicBezTo>
                <a:cubicBezTo>
                  <a:pt x="51" y="121"/>
                  <a:pt x="53" y="120"/>
                  <a:pt x="54"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9" name="TextBox 18"/>
          <p:cNvSpPr txBox="1"/>
          <p:nvPr/>
        </p:nvSpPr>
        <p:spPr>
          <a:xfrm>
            <a:off x="1807491" y="3779647"/>
            <a:ext cx="2101537" cy="338554"/>
          </a:xfrm>
          <a:prstGeom prst="rect">
            <a:avLst/>
          </a:prstGeom>
          <a:noFill/>
        </p:spPr>
        <p:txBody>
          <a:bodyPr wrap="none" lIns="0" rIns="0" rtlCol="0">
            <a:spAutoFit/>
          </a:bodyPr>
          <a:lstStyle/>
          <a:p>
            <a:r>
              <a:rPr lang="en-US" sz="1600" dirty="0">
                <a:solidFill>
                  <a:schemeClr val="bg1"/>
                </a:solidFill>
                <a:latin typeface="RBC Display" panose="02000000000000000000" pitchFamily="2" charset="77"/>
              </a:rPr>
              <a:t>Get actual information</a:t>
            </a:r>
          </a:p>
        </p:txBody>
      </p:sp>
      <p:sp>
        <p:nvSpPr>
          <p:cNvPr id="20" name="TextBox 19"/>
          <p:cNvSpPr txBox="1"/>
          <p:nvPr/>
        </p:nvSpPr>
        <p:spPr>
          <a:xfrm>
            <a:off x="1807491" y="4118201"/>
            <a:ext cx="3582017" cy="276999"/>
          </a:xfrm>
          <a:prstGeom prst="rect">
            <a:avLst/>
          </a:prstGeom>
          <a:noFill/>
        </p:spPr>
        <p:txBody>
          <a:bodyPr wrap="square" lIns="0" rIns="0" rtlCol="0">
            <a:spAutoFit/>
          </a:bodyPr>
          <a:lstStyle/>
          <a:p>
            <a:r>
              <a:rPr lang="en-US" sz="1200" dirty="0">
                <a:solidFill>
                  <a:schemeClr val="bg1">
                    <a:alpha val="70000"/>
                  </a:schemeClr>
                </a:solidFill>
                <a:latin typeface="RBC Text" panose="02000000000000000000" pitchFamily="2" charset="77"/>
              </a:rPr>
              <a:t>A peep at some distant orb has power to raise.</a:t>
            </a:r>
          </a:p>
        </p:txBody>
      </p:sp>
      <p:sp>
        <p:nvSpPr>
          <p:cNvPr id="21" name="TextBox 20"/>
          <p:cNvSpPr txBox="1"/>
          <p:nvPr/>
        </p:nvSpPr>
        <p:spPr>
          <a:xfrm>
            <a:off x="1807491" y="4925601"/>
            <a:ext cx="1816203" cy="338554"/>
          </a:xfrm>
          <a:prstGeom prst="rect">
            <a:avLst/>
          </a:prstGeom>
          <a:noFill/>
        </p:spPr>
        <p:txBody>
          <a:bodyPr wrap="none" lIns="0" rIns="0" rtlCol="0">
            <a:spAutoFit/>
          </a:bodyPr>
          <a:lstStyle/>
          <a:p>
            <a:r>
              <a:rPr lang="en-US" sz="1600" dirty="0">
                <a:solidFill>
                  <a:schemeClr val="bg1"/>
                </a:solidFill>
                <a:latin typeface="RBC Display" panose="02000000000000000000" pitchFamily="2" charset="77"/>
              </a:rPr>
              <a:t>Buy application IOS</a:t>
            </a:r>
          </a:p>
        </p:txBody>
      </p:sp>
      <p:sp>
        <p:nvSpPr>
          <p:cNvPr id="22" name="TextBox 21"/>
          <p:cNvSpPr txBox="1"/>
          <p:nvPr/>
        </p:nvSpPr>
        <p:spPr>
          <a:xfrm>
            <a:off x="1807492" y="5264155"/>
            <a:ext cx="3582016" cy="646331"/>
          </a:xfrm>
          <a:prstGeom prst="rect">
            <a:avLst/>
          </a:prstGeom>
          <a:noFill/>
        </p:spPr>
        <p:txBody>
          <a:bodyPr wrap="square" lIns="0" rIns="0" rtlCol="0">
            <a:spAutoFit/>
          </a:bodyPr>
          <a:lstStyle/>
          <a:p>
            <a:r>
              <a:rPr lang="en-US" sz="1200" dirty="0">
                <a:solidFill>
                  <a:schemeClr val="bg1">
                    <a:alpha val="70000"/>
                  </a:schemeClr>
                </a:solidFill>
                <a:latin typeface="RBC Text" panose="02000000000000000000" pitchFamily="2" charset="77"/>
              </a:rPr>
              <a:t>A peep at some distant orb has power to raise and purify our thoughts like a strain of sacred music.</a:t>
            </a:r>
          </a:p>
        </p:txBody>
      </p:sp>
      <p:sp>
        <p:nvSpPr>
          <p:cNvPr id="23" name="Freeform 61"/>
          <p:cNvSpPr>
            <a:spLocks noEditPoints="1"/>
          </p:cNvSpPr>
          <p:nvPr/>
        </p:nvSpPr>
        <p:spPr bwMode="auto">
          <a:xfrm>
            <a:off x="911311" y="3873274"/>
            <a:ext cx="497242" cy="460506"/>
          </a:xfrm>
          <a:custGeom>
            <a:avLst/>
            <a:gdLst>
              <a:gd name="T0" fmla="*/ 117 w 160"/>
              <a:gd name="T1" fmla="*/ 95 h 147"/>
              <a:gd name="T2" fmla="*/ 127 w 160"/>
              <a:gd name="T3" fmla="*/ 68 h 147"/>
              <a:gd name="T4" fmla="*/ 131 w 160"/>
              <a:gd name="T5" fmla="*/ 41 h 147"/>
              <a:gd name="T6" fmla="*/ 99 w 160"/>
              <a:gd name="T7" fmla="*/ 0 h 147"/>
              <a:gd name="T8" fmla="*/ 51 w 160"/>
              <a:gd name="T9" fmla="*/ 19 h 147"/>
              <a:gd name="T10" fmla="*/ 19 w 160"/>
              <a:gd name="T11" fmla="*/ 61 h 147"/>
              <a:gd name="T12" fmla="*/ 32 w 160"/>
              <a:gd name="T13" fmla="*/ 94 h 147"/>
              <a:gd name="T14" fmla="*/ 11 w 160"/>
              <a:gd name="T15" fmla="*/ 118 h 147"/>
              <a:gd name="T16" fmla="*/ 37 w 160"/>
              <a:gd name="T17" fmla="*/ 147 h 147"/>
              <a:gd name="T18" fmla="*/ 160 w 160"/>
              <a:gd name="T19" fmla="*/ 136 h 147"/>
              <a:gd name="T20" fmla="*/ 37 w 160"/>
              <a:gd name="T21" fmla="*/ 141 h 147"/>
              <a:gd name="T22" fmla="*/ 14 w 160"/>
              <a:gd name="T23" fmla="*/ 123 h 147"/>
              <a:gd name="T24" fmla="*/ 37 w 160"/>
              <a:gd name="T25" fmla="*/ 92 h 147"/>
              <a:gd name="T26" fmla="*/ 27 w 160"/>
              <a:gd name="T27" fmla="*/ 74 h 147"/>
              <a:gd name="T28" fmla="*/ 24 w 160"/>
              <a:gd name="T29" fmla="*/ 61 h 147"/>
              <a:gd name="T30" fmla="*/ 27 w 160"/>
              <a:gd name="T31" fmla="*/ 43 h 147"/>
              <a:gd name="T32" fmla="*/ 67 w 160"/>
              <a:gd name="T33" fmla="*/ 41 h 147"/>
              <a:gd name="T34" fmla="*/ 64 w 160"/>
              <a:gd name="T35" fmla="*/ 61 h 147"/>
              <a:gd name="T36" fmla="*/ 65 w 160"/>
              <a:gd name="T37" fmla="*/ 63 h 147"/>
              <a:gd name="T38" fmla="*/ 69 w 160"/>
              <a:gd name="T39" fmla="*/ 69 h 147"/>
              <a:gd name="T40" fmla="*/ 69 w 160"/>
              <a:gd name="T41" fmla="*/ 71 h 147"/>
              <a:gd name="T42" fmla="*/ 71 w 160"/>
              <a:gd name="T43" fmla="*/ 75 h 147"/>
              <a:gd name="T44" fmla="*/ 71 w 160"/>
              <a:gd name="T45" fmla="*/ 76 h 147"/>
              <a:gd name="T46" fmla="*/ 73 w 160"/>
              <a:gd name="T47" fmla="*/ 79 h 147"/>
              <a:gd name="T48" fmla="*/ 75 w 160"/>
              <a:gd name="T49" fmla="*/ 83 h 147"/>
              <a:gd name="T50" fmla="*/ 77 w 160"/>
              <a:gd name="T51" fmla="*/ 86 h 147"/>
              <a:gd name="T52" fmla="*/ 74 w 160"/>
              <a:gd name="T53" fmla="*/ 101 h 147"/>
              <a:gd name="T54" fmla="*/ 65 w 160"/>
              <a:gd name="T55" fmla="*/ 106 h 147"/>
              <a:gd name="T56" fmla="*/ 155 w 160"/>
              <a:gd name="T57" fmla="*/ 141 h 147"/>
              <a:gd name="T58" fmla="*/ 52 w 160"/>
              <a:gd name="T59" fmla="*/ 119 h 147"/>
              <a:gd name="T60" fmla="*/ 83 w 160"/>
              <a:gd name="T61" fmla="*/ 84 h 147"/>
              <a:gd name="T62" fmla="*/ 82 w 160"/>
              <a:gd name="T63" fmla="*/ 84 h 147"/>
              <a:gd name="T64" fmla="*/ 81 w 160"/>
              <a:gd name="T65" fmla="*/ 82 h 147"/>
              <a:gd name="T66" fmla="*/ 80 w 160"/>
              <a:gd name="T67" fmla="*/ 80 h 147"/>
              <a:gd name="T68" fmla="*/ 77 w 160"/>
              <a:gd name="T69" fmla="*/ 75 h 147"/>
              <a:gd name="T70" fmla="*/ 76 w 160"/>
              <a:gd name="T71" fmla="*/ 73 h 147"/>
              <a:gd name="T72" fmla="*/ 75 w 160"/>
              <a:gd name="T73" fmla="*/ 72 h 147"/>
              <a:gd name="T74" fmla="*/ 74 w 160"/>
              <a:gd name="T75" fmla="*/ 68 h 147"/>
              <a:gd name="T76" fmla="*/ 73 w 160"/>
              <a:gd name="T77" fmla="*/ 65 h 147"/>
              <a:gd name="T78" fmla="*/ 69 w 160"/>
              <a:gd name="T79" fmla="*/ 59 h 147"/>
              <a:gd name="T80" fmla="*/ 72 w 160"/>
              <a:gd name="T81" fmla="*/ 43 h 147"/>
              <a:gd name="T82" fmla="*/ 72 w 160"/>
              <a:gd name="T83" fmla="*/ 26 h 147"/>
              <a:gd name="T84" fmla="*/ 121 w 160"/>
              <a:gd name="T85" fmla="*/ 13 h 147"/>
              <a:gd name="T86" fmla="*/ 126 w 160"/>
              <a:gd name="T87" fmla="*/ 44 h 147"/>
              <a:gd name="T88" fmla="*/ 124 w 160"/>
              <a:gd name="T89" fmla="*/ 64 h 147"/>
              <a:gd name="T90" fmla="*/ 115 w 160"/>
              <a:gd name="T91" fmla="*/ 81 h 147"/>
              <a:gd name="T92" fmla="*/ 112 w 160"/>
              <a:gd name="T93" fmla="*/ 95 h 147"/>
              <a:gd name="T94" fmla="*/ 155 w 160"/>
              <a:gd name="T95" fmla="*/ 1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147">
                <a:moveTo>
                  <a:pt x="147" y="114"/>
                </a:moveTo>
                <a:cubicBezTo>
                  <a:pt x="121" y="102"/>
                  <a:pt x="121" y="102"/>
                  <a:pt x="121" y="102"/>
                </a:cubicBezTo>
                <a:cubicBezTo>
                  <a:pt x="119" y="100"/>
                  <a:pt x="117" y="98"/>
                  <a:pt x="117" y="95"/>
                </a:cubicBezTo>
                <a:cubicBezTo>
                  <a:pt x="117" y="86"/>
                  <a:pt x="117" y="86"/>
                  <a:pt x="117" y="86"/>
                </a:cubicBezTo>
                <a:cubicBezTo>
                  <a:pt x="118" y="86"/>
                  <a:pt x="119" y="85"/>
                  <a:pt x="119" y="84"/>
                </a:cubicBezTo>
                <a:cubicBezTo>
                  <a:pt x="123" y="79"/>
                  <a:pt x="125" y="74"/>
                  <a:pt x="127" y="68"/>
                </a:cubicBezTo>
                <a:cubicBezTo>
                  <a:pt x="131" y="67"/>
                  <a:pt x="133" y="63"/>
                  <a:pt x="133" y="59"/>
                </a:cubicBezTo>
                <a:cubicBezTo>
                  <a:pt x="133" y="48"/>
                  <a:pt x="133" y="48"/>
                  <a:pt x="133" y="48"/>
                </a:cubicBezTo>
                <a:cubicBezTo>
                  <a:pt x="133" y="45"/>
                  <a:pt x="132" y="43"/>
                  <a:pt x="131" y="41"/>
                </a:cubicBezTo>
                <a:cubicBezTo>
                  <a:pt x="131" y="27"/>
                  <a:pt x="131" y="27"/>
                  <a:pt x="131" y="27"/>
                </a:cubicBezTo>
                <a:cubicBezTo>
                  <a:pt x="131" y="25"/>
                  <a:pt x="131" y="17"/>
                  <a:pt x="125" y="9"/>
                </a:cubicBezTo>
                <a:cubicBezTo>
                  <a:pt x="120" y="3"/>
                  <a:pt x="111" y="0"/>
                  <a:pt x="99" y="0"/>
                </a:cubicBezTo>
                <a:cubicBezTo>
                  <a:pt x="87" y="0"/>
                  <a:pt x="78" y="3"/>
                  <a:pt x="72" y="9"/>
                </a:cubicBezTo>
                <a:cubicBezTo>
                  <a:pt x="68" y="14"/>
                  <a:pt x="67" y="19"/>
                  <a:pt x="67" y="22"/>
                </a:cubicBezTo>
                <a:cubicBezTo>
                  <a:pt x="62" y="20"/>
                  <a:pt x="57" y="19"/>
                  <a:pt x="51" y="19"/>
                </a:cubicBezTo>
                <a:cubicBezTo>
                  <a:pt x="23" y="19"/>
                  <a:pt x="21" y="42"/>
                  <a:pt x="21" y="43"/>
                </a:cubicBezTo>
                <a:cubicBezTo>
                  <a:pt x="21" y="55"/>
                  <a:pt x="21" y="55"/>
                  <a:pt x="21" y="55"/>
                </a:cubicBezTo>
                <a:cubicBezTo>
                  <a:pt x="20" y="57"/>
                  <a:pt x="19" y="59"/>
                  <a:pt x="19" y="61"/>
                </a:cubicBezTo>
                <a:cubicBezTo>
                  <a:pt x="19" y="70"/>
                  <a:pt x="19" y="70"/>
                  <a:pt x="19" y="70"/>
                </a:cubicBezTo>
                <a:cubicBezTo>
                  <a:pt x="19" y="73"/>
                  <a:pt x="20" y="76"/>
                  <a:pt x="22" y="78"/>
                </a:cubicBezTo>
                <a:cubicBezTo>
                  <a:pt x="24" y="86"/>
                  <a:pt x="30" y="92"/>
                  <a:pt x="32" y="94"/>
                </a:cubicBezTo>
                <a:cubicBezTo>
                  <a:pt x="32" y="102"/>
                  <a:pt x="32" y="102"/>
                  <a:pt x="32" y="102"/>
                </a:cubicBezTo>
                <a:cubicBezTo>
                  <a:pt x="32" y="104"/>
                  <a:pt x="31" y="106"/>
                  <a:pt x="29" y="107"/>
                </a:cubicBezTo>
                <a:cubicBezTo>
                  <a:pt x="11" y="118"/>
                  <a:pt x="11" y="118"/>
                  <a:pt x="11" y="118"/>
                </a:cubicBezTo>
                <a:cubicBezTo>
                  <a:pt x="4" y="122"/>
                  <a:pt x="0" y="129"/>
                  <a:pt x="0" y="137"/>
                </a:cubicBezTo>
                <a:cubicBezTo>
                  <a:pt x="0" y="147"/>
                  <a:pt x="0" y="147"/>
                  <a:pt x="0" y="147"/>
                </a:cubicBezTo>
                <a:cubicBezTo>
                  <a:pt x="37" y="147"/>
                  <a:pt x="37" y="147"/>
                  <a:pt x="37" y="147"/>
                </a:cubicBezTo>
                <a:cubicBezTo>
                  <a:pt x="43" y="147"/>
                  <a:pt x="43" y="147"/>
                  <a:pt x="43" y="147"/>
                </a:cubicBezTo>
                <a:cubicBezTo>
                  <a:pt x="160" y="147"/>
                  <a:pt x="160" y="147"/>
                  <a:pt x="160" y="147"/>
                </a:cubicBezTo>
                <a:cubicBezTo>
                  <a:pt x="160" y="136"/>
                  <a:pt x="160" y="136"/>
                  <a:pt x="160" y="136"/>
                </a:cubicBezTo>
                <a:cubicBezTo>
                  <a:pt x="160" y="127"/>
                  <a:pt x="155" y="118"/>
                  <a:pt x="147" y="114"/>
                </a:cubicBezTo>
                <a:close/>
                <a:moveTo>
                  <a:pt x="37" y="135"/>
                </a:moveTo>
                <a:cubicBezTo>
                  <a:pt x="37" y="141"/>
                  <a:pt x="37" y="141"/>
                  <a:pt x="37" y="141"/>
                </a:cubicBezTo>
                <a:cubicBezTo>
                  <a:pt x="5" y="141"/>
                  <a:pt x="5" y="141"/>
                  <a:pt x="5" y="141"/>
                </a:cubicBezTo>
                <a:cubicBezTo>
                  <a:pt x="5" y="137"/>
                  <a:pt x="5" y="137"/>
                  <a:pt x="5" y="137"/>
                </a:cubicBezTo>
                <a:cubicBezTo>
                  <a:pt x="5" y="131"/>
                  <a:pt x="8" y="125"/>
                  <a:pt x="14" y="123"/>
                </a:cubicBezTo>
                <a:cubicBezTo>
                  <a:pt x="31" y="111"/>
                  <a:pt x="31" y="111"/>
                  <a:pt x="31" y="111"/>
                </a:cubicBezTo>
                <a:cubicBezTo>
                  <a:pt x="35" y="110"/>
                  <a:pt x="37" y="106"/>
                  <a:pt x="37" y="102"/>
                </a:cubicBezTo>
                <a:cubicBezTo>
                  <a:pt x="37" y="92"/>
                  <a:pt x="37" y="92"/>
                  <a:pt x="37" y="92"/>
                </a:cubicBezTo>
                <a:cubicBezTo>
                  <a:pt x="36" y="91"/>
                  <a:pt x="36" y="91"/>
                  <a:pt x="36" y="91"/>
                </a:cubicBezTo>
                <a:cubicBezTo>
                  <a:pt x="36" y="91"/>
                  <a:pt x="29" y="85"/>
                  <a:pt x="27" y="76"/>
                </a:cubicBezTo>
                <a:cubicBezTo>
                  <a:pt x="27" y="74"/>
                  <a:pt x="27" y="74"/>
                  <a:pt x="27" y="74"/>
                </a:cubicBezTo>
                <a:cubicBezTo>
                  <a:pt x="26" y="74"/>
                  <a:pt x="26" y="74"/>
                  <a:pt x="26" y="74"/>
                </a:cubicBezTo>
                <a:cubicBezTo>
                  <a:pt x="25" y="73"/>
                  <a:pt x="24" y="72"/>
                  <a:pt x="24" y="70"/>
                </a:cubicBezTo>
                <a:cubicBezTo>
                  <a:pt x="24" y="61"/>
                  <a:pt x="24" y="61"/>
                  <a:pt x="24" y="61"/>
                </a:cubicBezTo>
                <a:cubicBezTo>
                  <a:pt x="24" y="60"/>
                  <a:pt x="25" y="59"/>
                  <a:pt x="26" y="58"/>
                </a:cubicBezTo>
                <a:cubicBezTo>
                  <a:pt x="27" y="57"/>
                  <a:pt x="27" y="57"/>
                  <a:pt x="27" y="57"/>
                </a:cubicBezTo>
                <a:cubicBezTo>
                  <a:pt x="27" y="43"/>
                  <a:pt x="27" y="43"/>
                  <a:pt x="27" y="43"/>
                </a:cubicBezTo>
                <a:cubicBezTo>
                  <a:pt x="27" y="42"/>
                  <a:pt x="28" y="24"/>
                  <a:pt x="51" y="24"/>
                </a:cubicBezTo>
                <a:cubicBezTo>
                  <a:pt x="57" y="24"/>
                  <a:pt x="62" y="25"/>
                  <a:pt x="67" y="28"/>
                </a:cubicBezTo>
                <a:cubicBezTo>
                  <a:pt x="67" y="41"/>
                  <a:pt x="67" y="41"/>
                  <a:pt x="67" y="41"/>
                </a:cubicBezTo>
                <a:cubicBezTo>
                  <a:pt x="65" y="43"/>
                  <a:pt x="64" y="45"/>
                  <a:pt x="64" y="48"/>
                </a:cubicBezTo>
                <a:cubicBezTo>
                  <a:pt x="64" y="59"/>
                  <a:pt x="64" y="59"/>
                  <a:pt x="64" y="59"/>
                </a:cubicBezTo>
                <a:cubicBezTo>
                  <a:pt x="64" y="59"/>
                  <a:pt x="64" y="60"/>
                  <a:pt x="64" y="61"/>
                </a:cubicBezTo>
                <a:cubicBezTo>
                  <a:pt x="64" y="61"/>
                  <a:pt x="64" y="62"/>
                  <a:pt x="65" y="62"/>
                </a:cubicBezTo>
                <a:cubicBezTo>
                  <a:pt x="65" y="62"/>
                  <a:pt x="65" y="63"/>
                  <a:pt x="65" y="63"/>
                </a:cubicBezTo>
                <a:cubicBezTo>
                  <a:pt x="65" y="63"/>
                  <a:pt x="65" y="63"/>
                  <a:pt x="65" y="63"/>
                </a:cubicBezTo>
                <a:cubicBezTo>
                  <a:pt x="66" y="65"/>
                  <a:pt x="67" y="66"/>
                  <a:pt x="68" y="67"/>
                </a:cubicBezTo>
                <a:cubicBezTo>
                  <a:pt x="68" y="67"/>
                  <a:pt x="68" y="67"/>
                  <a:pt x="68" y="67"/>
                </a:cubicBezTo>
                <a:cubicBezTo>
                  <a:pt x="68" y="68"/>
                  <a:pt x="68" y="68"/>
                  <a:pt x="69" y="69"/>
                </a:cubicBezTo>
                <a:cubicBezTo>
                  <a:pt x="69" y="70"/>
                  <a:pt x="69" y="70"/>
                  <a:pt x="69" y="70"/>
                </a:cubicBezTo>
                <a:cubicBezTo>
                  <a:pt x="69" y="70"/>
                  <a:pt x="69" y="70"/>
                  <a:pt x="69" y="70"/>
                </a:cubicBezTo>
                <a:cubicBezTo>
                  <a:pt x="69" y="70"/>
                  <a:pt x="69" y="71"/>
                  <a:pt x="69" y="71"/>
                </a:cubicBezTo>
                <a:cubicBezTo>
                  <a:pt x="69" y="71"/>
                  <a:pt x="69" y="72"/>
                  <a:pt x="70" y="72"/>
                </a:cubicBezTo>
                <a:cubicBezTo>
                  <a:pt x="70" y="73"/>
                  <a:pt x="70" y="73"/>
                  <a:pt x="70" y="73"/>
                </a:cubicBezTo>
                <a:cubicBezTo>
                  <a:pt x="70" y="74"/>
                  <a:pt x="70" y="74"/>
                  <a:pt x="71" y="75"/>
                </a:cubicBezTo>
                <a:cubicBezTo>
                  <a:pt x="71" y="75"/>
                  <a:pt x="71" y="75"/>
                  <a:pt x="71" y="75"/>
                </a:cubicBezTo>
                <a:cubicBezTo>
                  <a:pt x="71" y="75"/>
                  <a:pt x="71" y="75"/>
                  <a:pt x="71" y="75"/>
                </a:cubicBezTo>
                <a:cubicBezTo>
                  <a:pt x="71" y="75"/>
                  <a:pt x="71" y="76"/>
                  <a:pt x="71" y="76"/>
                </a:cubicBezTo>
                <a:cubicBezTo>
                  <a:pt x="71" y="76"/>
                  <a:pt x="72" y="77"/>
                  <a:pt x="72" y="77"/>
                </a:cubicBezTo>
                <a:cubicBezTo>
                  <a:pt x="72" y="77"/>
                  <a:pt x="72" y="78"/>
                  <a:pt x="72" y="78"/>
                </a:cubicBezTo>
                <a:cubicBezTo>
                  <a:pt x="72" y="78"/>
                  <a:pt x="72" y="78"/>
                  <a:pt x="73" y="79"/>
                </a:cubicBezTo>
                <a:cubicBezTo>
                  <a:pt x="73" y="79"/>
                  <a:pt x="73" y="80"/>
                  <a:pt x="73" y="80"/>
                </a:cubicBezTo>
                <a:cubicBezTo>
                  <a:pt x="74" y="80"/>
                  <a:pt x="74" y="81"/>
                  <a:pt x="74" y="81"/>
                </a:cubicBezTo>
                <a:cubicBezTo>
                  <a:pt x="74" y="82"/>
                  <a:pt x="75" y="82"/>
                  <a:pt x="75" y="83"/>
                </a:cubicBezTo>
                <a:cubicBezTo>
                  <a:pt x="75" y="83"/>
                  <a:pt x="75" y="83"/>
                  <a:pt x="75" y="83"/>
                </a:cubicBezTo>
                <a:cubicBezTo>
                  <a:pt x="76" y="84"/>
                  <a:pt x="76" y="85"/>
                  <a:pt x="77" y="86"/>
                </a:cubicBezTo>
                <a:cubicBezTo>
                  <a:pt x="77" y="86"/>
                  <a:pt x="77" y="86"/>
                  <a:pt x="77" y="86"/>
                </a:cubicBezTo>
                <a:cubicBezTo>
                  <a:pt x="77" y="86"/>
                  <a:pt x="77" y="86"/>
                  <a:pt x="77" y="86"/>
                </a:cubicBezTo>
                <a:cubicBezTo>
                  <a:pt x="77" y="95"/>
                  <a:pt x="77" y="95"/>
                  <a:pt x="77" y="95"/>
                </a:cubicBezTo>
                <a:cubicBezTo>
                  <a:pt x="77" y="98"/>
                  <a:pt x="76" y="100"/>
                  <a:pt x="74" y="101"/>
                </a:cubicBezTo>
                <a:cubicBezTo>
                  <a:pt x="67" y="105"/>
                  <a:pt x="67" y="105"/>
                  <a:pt x="67" y="105"/>
                </a:cubicBezTo>
                <a:cubicBezTo>
                  <a:pt x="65" y="105"/>
                  <a:pt x="65" y="105"/>
                  <a:pt x="65" y="105"/>
                </a:cubicBezTo>
                <a:cubicBezTo>
                  <a:pt x="65" y="106"/>
                  <a:pt x="65" y="106"/>
                  <a:pt x="65" y="106"/>
                </a:cubicBezTo>
                <a:cubicBezTo>
                  <a:pt x="50" y="114"/>
                  <a:pt x="50" y="114"/>
                  <a:pt x="50" y="114"/>
                </a:cubicBezTo>
                <a:cubicBezTo>
                  <a:pt x="42" y="118"/>
                  <a:pt x="37" y="127"/>
                  <a:pt x="37" y="135"/>
                </a:cubicBezTo>
                <a:close/>
                <a:moveTo>
                  <a:pt x="155" y="141"/>
                </a:moveTo>
                <a:cubicBezTo>
                  <a:pt x="43" y="141"/>
                  <a:pt x="43" y="141"/>
                  <a:pt x="43" y="141"/>
                </a:cubicBezTo>
                <a:cubicBezTo>
                  <a:pt x="43" y="135"/>
                  <a:pt x="43" y="135"/>
                  <a:pt x="43" y="135"/>
                </a:cubicBezTo>
                <a:cubicBezTo>
                  <a:pt x="43" y="129"/>
                  <a:pt x="46" y="122"/>
                  <a:pt x="52" y="119"/>
                </a:cubicBezTo>
                <a:cubicBezTo>
                  <a:pt x="76" y="106"/>
                  <a:pt x="76" y="106"/>
                  <a:pt x="76" y="106"/>
                </a:cubicBezTo>
                <a:cubicBezTo>
                  <a:pt x="80" y="104"/>
                  <a:pt x="83" y="100"/>
                  <a:pt x="83" y="95"/>
                </a:cubicBezTo>
                <a:cubicBezTo>
                  <a:pt x="83" y="84"/>
                  <a:pt x="83" y="84"/>
                  <a:pt x="83" y="84"/>
                </a:cubicBezTo>
                <a:cubicBezTo>
                  <a:pt x="83" y="84"/>
                  <a:pt x="83" y="84"/>
                  <a:pt x="83" y="84"/>
                </a:cubicBezTo>
                <a:cubicBezTo>
                  <a:pt x="82" y="84"/>
                  <a:pt x="82" y="84"/>
                  <a:pt x="82" y="84"/>
                </a:cubicBezTo>
                <a:cubicBezTo>
                  <a:pt x="82" y="84"/>
                  <a:pt x="82" y="84"/>
                  <a:pt x="82" y="84"/>
                </a:cubicBezTo>
                <a:cubicBezTo>
                  <a:pt x="82" y="84"/>
                  <a:pt x="82" y="83"/>
                  <a:pt x="82" y="83"/>
                </a:cubicBezTo>
                <a:cubicBezTo>
                  <a:pt x="82" y="83"/>
                  <a:pt x="82" y="83"/>
                  <a:pt x="82" y="83"/>
                </a:cubicBezTo>
                <a:cubicBezTo>
                  <a:pt x="81" y="83"/>
                  <a:pt x="81" y="83"/>
                  <a:pt x="81" y="82"/>
                </a:cubicBezTo>
                <a:cubicBezTo>
                  <a:pt x="81" y="82"/>
                  <a:pt x="81" y="82"/>
                  <a:pt x="81" y="82"/>
                </a:cubicBezTo>
                <a:cubicBezTo>
                  <a:pt x="81" y="82"/>
                  <a:pt x="80" y="81"/>
                  <a:pt x="80" y="80"/>
                </a:cubicBezTo>
                <a:cubicBezTo>
                  <a:pt x="80" y="80"/>
                  <a:pt x="80" y="80"/>
                  <a:pt x="80" y="80"/>
                </a:cubicBezTo>
                <a:cubicBezTo>
                  <a:pt x="79" y="80"/>
                  <a:pt x="79" y="79"/>
                  <a:pt x="79" y="79"/>
                </a:cubicBezTo>
                <a:cubicBezTo>
                  <a:pt x="79" y="79"/>
                  <a:pt x="79" y="79"/>
                  <a:pt x="79" y="79"/>
                </a:cubicBezTo>
                <a:cubicBezTo>
                  <a:pt x="78" y="78"/>
                  <a:pt x="77" y="77"/>
                  <a:pt x="77" y="75"/>
                </a:cubicBezTo>
                <a:cubicBezTo>
                  <a:pt x="77" y="75"/>
                  <a:pt x="77" y="75"/>
                  <a:pt x="77" y="75"/>
                </a:cubicBezTo>
                <a:cubicBezTo>
                  <a:pt x="76" y="75"/>
                  <a:pt x="76" y="74"/>
                  <a:pt x="76" y="73"/>
                </a:cubicBezTo>
                <a:cubicBezTo>
                  <a:pt x="76" y="73"/>
                  <a:pt x="76" y="73"/>
                  <a:pt x="76" y="73"/>
                </a:cubicBezTo>
                <a:cubicBezTo>
                  <a:pt x="76" y="73"/>
                  <a:pt x="76" y="73"/>
                  <a:pt x="76" y="73"/>
                </a:cubicBezTo>
                <a:cubicBezTo>
                  <a:pt x="76" y="73"/>
                  <a:pt x="76" y="73"/>
                  <a:pt x="76" y="73"/>
                </a:cubicBezTo>
                <a:cubicBezTo>
                  <a:pt x="76" y="72"/>
                  <a:pt x="75" y="72"/>
                  <a:pt x="75" y="72"/>
                </a:cubicBezTo>
                <a:cubicBezTo>
                  <a:pt x="75" y="72"/>
                  <a:pt x="75" y="72"/>
                  <a:pt x="75" y="71"/>
                </a:cubicBezTo>
                <a:cubicBezTo>
                  <a:pt x="75" y="71"/>
                  <a:pt x="75" y="71"/>
                  <a:pt x="75" y="70"/>
                </a:cubicBezTo>
                <a:cubicBezTo>
                  <a:pt x="74" y="70"/>
                  <a:pt x="74" y="69"/>
                  <a:pt x="74" y="68"/>
                </a:cubicBezTo>
                <a:cubicBezTo>
                  <a:pt x="74" y="68"/>
                  <a:pt x="74" y="68"/>
                  <a:pt x="74" y="68"/>
                </a:cubicBezTo>
                <a:cubicBezTo>
                  <a:pt x="74" y="67"/>
                  <a:pt x="74" y="67"/>
                  <a:pt x="74" y="67"/>
                </a:cubicBezTo>
                <a:cubicBezTo>
                  <a:pt x="73" y="67"/>
                  <a:pt x="73" y="66"/>
                  <a:pt x="73" y="65"/>
                </a:cubicBezTo>
                <a:cubicBezTo>
                  <a:pt x="73" y="64"/>
                  <a:pt x="73" y="64"/>
                  <a:pt x="73" y="64"/>
                </a:cubicBezTo>
                <a:cubicBezTo>
                  <a:pt x="72" y="63"/>
                  <a:pt x="72" y="63"/>
                  <a:pt x="72" y="63"/>
                </a:cubicBezTo>
                <a:cubicBezTo>
                  <a:pt x="70" y="62"/>
                  <a:pt x="69" y="60"/>
                  <a:pt x="69" y="59"/>
                </a:cubicBezTo>
                <a:cubicBezTo>
                  <a:pt x="69" y="48"/>
                  <a:pt x="69" y="48"/>
                  <a:pt x="69" y="48"/>
                </a:cubicBezTo>
                <a:cubicBezTo>
                  <a:pt x="69" y="47"/>
                  <a:pt x="70" y="45"/>
                  <a:pt x="71" y="44"/>
                </a:cubicBezTo>
                <a:cubicBezTo>
                  <a:pt x="72" y="43"/>
                  <a:pt x="72" y="43"/>
                  <a:pt x="72" y="43"/>
                </a:cubicBezTo>
                <a:cubicBezTo>
                  <a:pt x="72" y="27"/>
                  <a:pt x="72" y="27"/>
                  <a:pt x="72" y="27"/>
                </a:cubicBezTo>
                <a:cubicBezTo>
                  <a:pt x="72" y="26"/>
                  <a:pt x="72" y="26"/>
                  <a:pt x="72" y="26"/>
                </a:cubicBezTo>
                <a:cubicBezTo>
                  <a:pt x="72" y="26"/>
                  <a:pt x="72" y="26"/>
                  <a:pt x="72" y="26"/>
                </a:cubicBezTo>
                <a:cubicBezTo>
                  <a:pt x="72" y="24"/>
                  <a:pt x="72" y="18"/>
                  <a:pt x="76" y="13"/>
                </a:cubicBezTo>
                <a:cubicBezTo>
                  <a:pt x="81" y="8"/>
                  <a:pt x="88" y="5"/>
                  <a:pt x="99" y="5"/>
                </a:cubicBezTo>
                <a:cubicBezTo>
                  <a:pt x="109" y="5"/>
                  <a:pt x="117" y="8"/>
                  <a:pt x="121" y="13"/>
                </a:cubicBezTo>
                <a:cubicBezTo>
                  <a:pt x="126" y="19"/>
                  <a:pt x="125" y="26"/>
                  <a:pt x="125" y="26"/>
                </a:cubicBezTo>
                <a:cubicBezTo>
                  <a:pt x="125" y="43"/>
                  <a:pt x="125" y="43"/>
                  <a:pt x="125" y="43"/>
                </a:cubicBezTo>
                <a:cubicBezTo>
                  <a:pt x="126" y="44"/>
                  <a:pt x="126" y="44"/>
                  <a:pt x="126" y="44"/>
                </a:cubicBezTo>
                <a:cubicBezTo>
                  <a:pt x="127" y="45"/>
                  <a:pt x="128" y="47"/>
                  <a:pt x="128" y="48"/>
                </a:cubicBezTo>
                <a:cubicBezTo>
                  <a:pt x="128" y="59"/>
                  <a:pt x="128" y="59"/>
                  <a:pt x="128" y="59"/>
                </a:cubicBezTo>
                <a:cubicBezTo>
                  <a:pt x="128" y="61"/>
                  <a:pt x="126" y="63"/>
                  <a:pt x="124" y="64"/>
                </a:cubicBezTo>
                <a:cubicBezTo>
                  <a:pt x="123" y="64"/>
                  <a:pt x="123" y="64"/>
                  <a:pt x="123" y="64"/>
                </a:cubicBezTo>
                <a:cubicBezTo>
                  <a:pt x="122" y="65"/>
                  <a:pt x="122" y="65"/>
                  <a:pt x="122" y="65"/>
                </a:cubicBezTo>
                <a:cubicBezTo>
                  <a:pt x="121" y="71"/>
                  <a:pt x="118" y="76"/>
                  <a:pt x="115" y="81"/>
                </a:cubicBezTo>
                <a:cubicBezTo>
                  <a:pt x="114" y="82"/>
                  <a:pt x="113" y="83"/>
                  <a:pt x="113" y="84"/>
                </a:cubicBezTo>
                <a:cubicBezTo>
                  <a:pt x="112" y="84"/>
                  <a:pt x="112" y="84"/>
                  <a:pt x="112" y="84"/>
                </a:cubicBezTo>
                <a:cubicBezTo>
                  <a:pt x="112" y="95"/>
                  <a:pt x="112" y="95"/>
                  <a:pt x="112" y="95"/>
                </a:cubicBezTo>
                <a:cubicBezTo>
                  <a:pt x="112" y="100"/>
                  <a:pt x="115" y="104"/>
                  <a:pt x="119" y="106"/>
                </a:cubicBezTo>
                <a:cubicBezTo>
                  <a:pt x="144" y="119"/>
                  <a:pt x="144" y="119"/>
                  <a:pt x="144" y="119"/>
                </a:cubicBezTo>
                <a:cubicBezTo>
                  <a:pt x="151" y="122"/>
                  <a:pt x="155" y="129"/>
                  <a:pt x="155" y="136"/>
                </a:cubicBezTo>
                <a:lnTo>
                  <a:pt x="155" y="1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4" name="Freeform 1381"/>
          <p:cNvSpPr>
            <a:spLocks noEditPoints="1"/>
          </p:cNvSpPr>
          <p:nvPr/>
        </p:nvSpPr>
        <p:spPr bwMode="auto">
          <a:xfrm>
            <a:off x="951969" y="4958583"/>
            <a:ext cx="415925" cy="554038"/>
          </a:xfrm>
          <a:custGeom>
            <a:avLst/>
            <a:gdLst>
              <a:gd name="T0" fmla="*/ 78 w 122"/>
              <a:gd name="T1" fmla="*/ 153 h 161"/>
              <a:gd name="T2" fmla="*/ 78 w 122"/>
              <a:gd name="T3" fmla="*/ 148 h 161"/>
              <a:gd name="T4" fmla="*/ 82 w 122"/>
              <a:gd name="T5" fmla="*/ 144 h 161"/>
              <a:gd name="T6" fmla="*/ 101 w 122"/>
              <a:gd name="T7" fmla="*/ 89 h 161"/>
              <a:gd name="T8" fmla="*/ 90 w 122"/>
              <a:gd name="T9" fmla="*/ 100 h 161"/>
              <a:gd name="T10" fmla="*/ 90 w 122"/>
              <a:gd name="T11" fmla="*/ 94 h 161"/>
              <a:gd name="T12" fmla="*/ 24 w 122"/>
              <a:gd name="T13" fmla="*/ 32 h 161"/>
              <a:gd name="T14" fmla="*/ 33 w 122"/>
              <a:gd name="T15" fmla="*/ 23 h 161"/>
              <a:gd name="T16" fmla="*/ 26 w 122"/>
              <a:gd name="T17" fmla="*/ 33 h 161"/>
              <a:gd name="T18" fmla="*/ 119 w 122"/>
              <a:gd name="T19" fmla="*/ 74 h 161"/>
              <a:gd name="T20" fmla="*/ 110 w 122"/>
              <a:gd name="T21" fmla="*/ 52 h 161"/>
              <a:gd name="T22" fmla="*/ 97 w 122"/>
              <a:gd name="T23" fmla="*/ 38 h 161"/>
              <a:gd name="T24" fmla="*/ 83 w 122"/>
              <a:gd name="T25" fmla="*/ 25 h 161"/>
              <a:gd name="T26" fmla="*/ 70 w 122"/>
              <a:gd name="T27" fmla="*/ 12 h 161"/>
              <a:gd name="T28" fmla="*/ 49 w 122"/>
              <a:gd name="T29" fmla="*/ 4 h 161"/>
              <a:gd name="T30" fmla="*/ 4 w 122"/>
              <a:gd name="T31" fmla="*/ 49 h 161"/>
              <a:gd name="T32" fmla="*/ 21 w 122"/>
              <a:gd name="T33" fmla="*/ 82 h 161"/>
              <a:gd name="T34" fmla="*/ 55 w 122"/>
              <a:gd name="T35" fmla="*/ 122 h 161"/>
              <a:gd name="T36" fmla="*/ 50 w 122"/>
              <a:gd name="T37" fmla="*/ 161 h 161"/>
              <a:gd name="T38" fmla="*/ 119 w 122"/>
              <a:gd name="T39" fmla="*/ 126 h 161"/>
              <a:gd name="T40" fmla="*/ 122 w 122"/>
              <a:gd name="T41" fmla="*/ 101 h 161"/>
              <a:gd name="T42" fmla="*/ 122 w 122"/>
              <a:gd name="T43" fmla="*/ 80 h 161"/>
              <a:gd name="T44" fmla="*/ 105 w 122"/>
              <a:gd name="T45" fmla="*/ 60 h 161"/>
              <a:gd name="T46" fmla="*/ 103 w 122"/>
              <a:gd name="T47" fmla="*/ 50 h 161"/>
              <a:gd name="T48" fmla="*/ 97 w 122"/>
              <a:gd name="T49" fmla="*/ 44 h 161"/>
              <a:gd name="T50" fmla="*/ 87 w 122"/>
              <a:gd name="T51" fmla="*/ 42 h 161"/>
              <a:gd name="T52" fmla="*/ 90 w 122"/>
              <a:gd name="T53" fmla="*/ 37 h 161"/>
              <a:gd name="T54" fmla="*/ 74 w 122"/>
              <a:gd name="T55" fmla="*/ 29 h 161"/>
              <a:gd name="T56" fmla="*/ 7 w 122"/>
              <a:gd name="T57" fmla="*/ 45 h 161"/>
              <a:gd name="T58" fmla="*/ 41 w 122"/>
              <a:gd name="T59" fmla="*/ 7 h 161"/>
              <a:gd name="T60" fmla="*/ 44 w 122"/>
              <a:gd name="T61" fmla="*/ 7 h 161"/>
              <a:gd name="T62" fmla="*/ 14 w 122"/>
              <a:gd name="T63" fmla="*/ 51 h 161"/>
              <a:gd name="T64" fmla="*/ 58 w 122"/>
              <a:gd name="T65" fmla="*/ 21 h 161"/>
              <a:gd name="T66" fmla="*/ 85 w 122"/>
              <a:gd name="T67" fmla="*/ 47 h 161"/>
              <a:gd name="T68" fmla="*/ 100 w 122"/>
              <a:gd name="T69" fmla="*/ 62 h 161"/>
              <a:gd name="T70" fmla="*/ 116 w 122"/>
              <a:gd name="T71" fmla="*/ 83 h 161"/>
              <a:gd name="T72" fmla="*/ 83 w 122"/>
              <a:gd name="T73" fmla="*/ 116 h 161"/>
              <a:gd name="T74" fmla="*/ 59 w 122"/>
              <a:gd name="T75" fmla="*/ 94 h 161"/>
              <a:gd name="T76" fmla="*/ 33 w 122"/>
              <a:gd name="T77" fmla="*/ 70 h 161"/>
              <a:gd name="T78" fmla="*/ 31 w 122"/>
              <a:gd name="T79" fmla="*/ 76 h 161"/>
              <a:gd name="T80" fmla="*/ 59 w 122"/>
              <a:gd name="T81" fmla="*/ 76 h 161"/>
              <a:gd name="T82" fmla="*/ 51 w 122"/>
              <a:gd name="T83" fmla="*/ 89 h 161"/>
              <a:gd name="T84" fmla="*/ 26 w 122"/>
              <a:gd name="T85" fmla="*/ 82 h 161"/>
              <a:gd name="T86" fmla="*/ 55 w 122"/>
              <a:gd name="T87" fmla="*/ 132 h 161"/>
              <a:gd name="T88" fmla="*/ 93 w 122"/>
              <a:gd name="T89" fmla="*/ 156 h 161"/>
              <a:gd name="T90" fmla="*/ 98 w 122"/>
              <a:gd name="T91" fmla="*/ 156 h 161"/>
              <a:gd name="T92" fmla="*/ 114 w 122"/>
              <a:gd name="T93" fmla="*/ 132 h 161"/>
              <a:gd name="T94" fmla="*/ 117 w 122"/>
              <a:gd name="T95" fmla="*/ 101 h 161"/>
              <a:gd name="T96" fmla="*/ 109 w 122"/>
              <a:gd name="T97" fmla="*/ 126 h 161"/>
              <a:gd name="T98" fmla="*/ 61 w 122"/>
              <a:gd name="T99" fmla="*/ 119 h 161"/>
              <a:gd name="T100" fmla="*/ 36 w 122"/>
              <a:gd name="T101" fmla="*/ 94 h 161"/>
              <a:gd name="T102" fmla="*/ 80 w 122"/>
              <a:gd name="T103" fmla="*/ 1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 h="161">
                <a:moveTo>
                  <a:pt x="78" y="134"/>
                </a:moveTo>
                <a:cubicBezTo>
                  <a:pt x="73" y="134"/>
                  <a:pt x="69" y="139"/>
                  <a:pt x="69" y="144"/>
                </a:cubicBezTo>
                <a:cubicBezTo>
                  <a:pt x="69" y="149"/>
                  <a:pt x="73" y="153"/>
                  <a:pt x="78" y="153"/>
                </a:cubicBezTo>
                <a:cubicBezTo>
                  <a:pt x="83" y="153"/>
                  <a:pt x="87" y="149"/>
                  <a:pt x="87" y="144"/>
                </a:cubicBezTo>
                <a:cubicBezTo>
                  <a:pt x="87" y="139"/>
                  <a:pt x="83" y="134"/>
                  <a:pt x="78" y="134"/>
                </a:cubicBezTo>
                <a:close/>
                <a:moveTo>
                  <a:pt x="78" y="148"/>
                </a:moveTo>
                <a:cubicBezTo>
                  <a:pt x="76" y="148"/>
                  <a:pt x="74" y="146"/>
                  <a:pt x="74" y="144"/>
                </a:cubicBezTo>
                <a:cubicBezTo>
                  <a:pt x="74" y="141"/>
                  <a:pt x="76" y="140"/>
                  <a:pt x="78" y="140"/>
                </a:cubicBezTo>
                <a:cubicBezTo>
                  <a:pt x="80" y="140"/>
                  <a:pt x="82" y="141"/>
                  <a:pt x="82" y="144"/>
                </a:cubicBezTo>
                <a:cubicBezTo>
                  <a:pt x="82" y="146"/>
                  <a:pt x="80" y="148"/>
                  <a:pt x="78" y="148"/>
                </a:cubicBezTo>
                <a:close/>
                <a:moveTo>
                  <a:pt x="90" y="100"/>
                </a:moveTo>
                <a:cubicBezTo>
                  <a:pt x="96" y="100"/>
                  <a:pt x="101" y="95"/>
                  <a:pt x="101" y="89"/>
                </a:cubicBezTo>
                <a:cubicBezTo>
                  <a:pt x="101" y="83"/>
                  <a:pt x="96" y="78"/>
                  <a:pt x="90" y="78"/>
                </a:cubicBezTo>
                <a:cubicBezTo>
                  <a:pt x="84" y="78"/>
                  <a:pt x="79" y="83"/>
                  <a:pt x="79" y="89"/>
                </a:cubicBezTo>
                <a:cubicBezTo>
                  <a:pt x="79" y="95"/>
                  <a:pt x="84" y="100"/>
                  <a:pt x="90" y="100"/>
                </a:cubicBezTo>
                <a:close/>
                <a:moveTo>
                  <a:pt x="90" y="84"/>
                </a:moveTo>
                <a:cubicBezTo>
                  <a:pt x="93" y="84"/>
                  <a:pt x="95" y="86"/>
                  <a:pt x="95" y="89"/>
                </a:cubicBezTo>
                <a:cubicBezTo>
                  <a:pt x="95" y="92"/>
                  <a:pt x="93" y="94"/>
                  <a:pt x="90" y="94"/>
                </a:cubicBezTo>
                <a:cubicBezTo>
                  <a:pt x="87" y="94"/>
                  <a:pt x="85" y="92"/>
                  <a:pt x="85" y="89"/>
                </a:cubicBezTo>
                <a:cubicBezTo>
                  <a:pt x="85" y="86"/>
                  <a:pt x="87" y="84"/>
                  <a:pt x="90" y="84"/>
                </a:cubicBezTo>
                <a:close/>
                <a:moveTo>
                  <a:pt x="24" y="32"/>
                </a:moveTo>
                <a:cubicBezTo>
                  <a:pt x="23" y="31"/>
                  <a:pt x="23" y="29"/>
                  <a:pt x="24" y="28"/>
                </a:cubicBezTo>
                <a:cubicBezTo>
                  <a:pt x="29" y="23"/>
                  <a:pt x="29" y="23"/>
                  <a:pt x="29" y="23"/>
                </a:cubicBezTo>
                <a:cubicBezTo>
                  <a:pt x="30" y="22"/>
                  <a:pt x="32" y="22"/>
                  <a:pt x="33" y="23"/>
                </a:cubicBezTo>
                <a:cubicBezTo>
                  <a:pt x="34" y="24"/>
                  <a:pt x="34" y="26"/>
                  <a:pt x="33" y="27"/>
                </a:cubicBezTo>
                <a:cubicBezTo>
                  <a:pt x="28" y="32"/>
                  <a:pt x="28" y="32"/>
                  <a:pt x="28" y="32"/>
                </a:cubicBezTo>
                <a:cubicBezTo>
                  <a:pt x="27" y="33"/>
                  <a:pt x="27" y="33"/>
                  <a:pt x="26" y="33"/>
                </a:cubicBezTo>
                <a:cubicBezTo>
                  <a:pt x="25" y="33"/>
                  <a:pt x="25" y="33"/>
                  <a:pt x="24" y="32"/>
                </a:cubicBezTo>
                <a:close/>
                <a:moveTo>
                  <a:pt x="122" y="80"/>
                </a:moveTo>
                <a:cubicBezTo>
                  <a:pt x="122" y="78"/>
                  <a:pt x="121" y="76"/>
                  <a:pt x="119" y="74"/>
                </a:cubicBezTo>
                <a:cubicBezTo>
                  <a:pt x="118" y="73"/>
                  <a:pt x="118" y="73"/>
                  <a:pt x="118" y="73"/>
                </a:cubicBezTo>
                <a:cubicBezTo>
                  <a:pt x="120" y="70"/>
                  <a:pt x="122" y="67"/>
                  <a:pt x="122" y="64"/>
                </a:cubicBezTo>
                <a:cubicBezTo>
                  <a:pt x="122" y="57"/>
                  <a:pt x="117" y="52"/>
                  <a:pt x="110" y="52"/>
                </a:cubicBezTo>
                <a:cubicBezTo>
                  <a:pt x="109" y="52"/>
                  <a:pt x="109" y="52"/>
                  <a:pt x="108" y="52"/>
                </a:cubicBezTo>
                <a:cubicBezTo>
                  <a:pt x="109" y="51"/>
                  <a:pt x="109" y="51"/>
                  <a:pt x="109" y="50"/>
                </a:cubicBezTo>
                <a:cubicBezTo>
                  <a:pt x="109" y="44"/>
                  <a:pt x="103" y="38"/>
                  <a:pt x="97" y="38"/>
                </a:cubicBezTo>
                <a:cubicBezTo>
                  <a:pt x="96" y="38"/>
                  <a:pt x="96" y="38"/>
                  <a:pt x="95" y="38"/>
                </a:cubicBezTo>
                <a:cubicBezTo>
                  <a:pt x="95" y="38"/>
                  <a:pt x="95" y="37"/>
                  <a:pt x="95" y="37"/>
                </a:cubicBezTo>
                <a:cubicBezTo>
                  <a:pt x="95" y="30"/>
                  <a:pt x="90" y="25"/>
                  <a:pt x="83" y="25"/>
                </a:cubicBezTo>
                <a:cubicBezTo>
                  <a:pt x="83" y="25"/>
                  <a:pt x="82" y="25"/>
                  <a:pt x="82" y="25"/>
                </a:cubicBezTo>
                <a:cubicBezTo>
                  <a:pt x="82" y="25"/>
                  <a:pt x="82" y="24"/>
                  <a:pt x="82" y="24"/>
                </a:cubicBezTo>
                <a:cubicBezTo>
                  <a:pt x="82" y="17"/>
                  <a:pt x="77" y="12"/>
                  <a:pt x="70" y="12"/>
                </a:cubicBezTo>
                <a:cubicBezTo>
                  <a:pt x="66" y="12"/>
                  <a:pt x="63" y="13"/>
                  <a:pt x="61" y="16"/>
                </a:cubicBezTo>
                <a:cubicBezTo>
                  <a:pt x="59" y="14"/>
                  <a:pt x="59" y="14"/>
                  <a:pt x="59" y="14"/>
                </a:cubicBezTo>
                <a:cubicBezTo>
                  <a:pt x="49" y="4"/>
                  <a:pt x="49" y="4"/>
                  <a:pt x="49" y="4"/>
                </a:cubicBezTo>
                <a:cubicBezTo>
                  <a:pt x="45" y="0"/>
                  <a:pt x="40" y="0"/>
                  <a:pt x="36" y="4"/>
                </a:cubicBezTo>
                <a:cubicBezTo>
                  <a:pt x="4" y="36"/>
                  <a:pt x="4" y="36"/>
                  <a:pt x="4" y="36"/>
                </a:cubicBezTo>
                <a:cubicBezTo>
                  <a:pt x="0" y="40"/>
                  <a:pt x="0" y="45"/>
                  <a:pt x="4" y="49"/>
                </a:cubicBezTo>
                <a:cubicBezTo>
                  <a:pt x="14" y="59"/>
                  <a:pt x="14" y="59"/>
                  <a:pt x="14" y="59"/>
                </a:cubicBezTo>
                <a:cubicBezTo>
                  <a:pt x="27" y="72"/>
                  <a:pt x="27" y="72"/>
                  <a:pt x="27" y="72"/>
                </a:cubicBezTo>
                <a:cubicBezTo>
                  <a:pt x="23" y="74"/>
                  <a:pt x="21" y="78"/>
                  <a:pt x="21" y="82"/>
                </a:cubicBezTo>
                <a:cubicBezTo>
                  <a:pt x="21" y="87"/>
                  <a:pt x="23" y="90"/>
                  <a:pt x="26" y="92"/>
                </a:cubicBezTo>
                <a:cubicBezTo>
                  <a:pt x="26" y="93"/>
                  <a:pt x="26" y="93"/>
                  <a:pt x="27" y="93"/>
                </a:cubicBezTo>
                <a:cubicBezTo>
                  <a:pt x="55" y="122"/>
                  <a:pt x="55" y="122"/>
                  <a:pt x="55" y="122"/>
                </a:cubicBezTo>
                <a:cubicBezTo>
                  <a:pt x="55" y="126"/>
                  <a:pt x="55" y="126"/>
                  <a:pt x="55" y="126"/>
                </a:cubicBezTo>
                <a:cubicBezTo>
                  <a:pt x="50" y="126"/>
                  <a:pt x="50" y="126"/>
                  <a:pt x="50" y="126"/>
                </a:cubicBezTo>
                <a:cubicBezTo>
                  <a:pt x="50" y="161"/>
                  <a:pt x="50" y="161"/>
                  <a:pt x="50" y="161"/>
                </a:cubicBezTo>
                <a:cubicBezTo>
                  <a:pt x="98" y="161"/>
                  <a:pt x="98" y="161"/>
                  <a:pt x="98" y="161"/>
                </a:cubicBezTo>
                <a:cubicBezTo>
                  <a:pt x="119" y="161"/>
                  <a:pt x="119" y="161"/>
                  <a:pt x="119" y="161"/>
                </a:cubicBezTo>
                <a:cubicBezTo>
                  <a:pt x="119" y="126"/>
                  <a:pt x="119" y="126"/>
                  <a:pt x="119" y="126"/>
                </a:cubicBezTo>
                <a:cubicBezTo>
                  <a:pt x="114" y="126"/>
                  <a:pt x="114" y="126"/>
                  <a:pt x="114" y="126"/>
                </a:cubicBezTo>
                <a:cubicBezTo>
                  <a:pt x="114" y="118"/>
                  <a:pt x="114" y="118"/>
                  <a:pt x="114" y="118"/>
                </a:cubicBezTo>
                <a:cubicBezTo>
                  <a:pt x="119" y="114"/>
                  <a:pt x="122" y="108"/>
                  <a:pt x="122" y="101"/>
                </a:cubicBezTo>
                <a:cubicBezTo>
                  <a:pt x="122" y="96"/>
                  <a:pt x="120" y="92"/>
                  <a:pt x="118" y="88"/>
                </a:cubicBezTo>
                <a:cubicBezTo>
                  <a:pt x="119" y="87"/>
                  <a:pt x="119" y="87"/>
                  <a:pt x="119" y="87"/>
                </a:cubicBezTo>
                <a:cubicBezTo>
                  <a:pt x="121" y="85"/>
                  <a:pt x="122" y="83"/>
                  <a:pt x="122" y="80"/>
                </a:cubicBezTo>
                <a:close/>
                <a:moveTo>
                  <a:pt x="117" y="64"/>
                </a:moveTo>
                <a:cubicBezTo>
                  <a:pt x="117" y="66"/>
                  <a:pt x="116" y="68"/>
                  <a:pt x="114" y="69"/>
                </a:cubicBezTo>
                <a:cubicBezTo>
                  <a:pt x="105" y="60"/>
                  <a:pt x="105" y="60"/>
                  <a:pt x="105" y="60"/>
                </a:cubicBezTo>
                <a:cubicBezTo>
                  <a:pt x="106" y="58"/>
                  <a:pt x="108" y="57"/>
                  <a:pt x="110" y="57"/>
                </a:cubicBezTo>
                <a:cubicBezTo>
                  <a:pt x="114" y="57"/>
                  <a:pt x="117" y="60"/>
                  <a:pt x="117" y="64"/>
                </a:cubicBezTo>
                <a:close/>
                <a:moveTo>
                  <a:pt x="103" y="50"/>
                </a:moveTo>
                <a:cubicBezTo>
                  <a:pt x="103" y="52"/>
                  <a:pt x="102" y="54"/>
                  <a:pt x="101" y="56"/>
                </a:cubicBezTo>
                <a:cubicBezTo>
                  <a:pt x="91" y="46"/>
                  <a:pt x="91" y="46"/>
                  <a:pt x="91" y="46"/>
                </a:cubicBezTo>
                <a:cubicBezTo>
                  <a:pt x="93" y="45"/>
                  <a:pt x="95" y="44"/>
                  <a:pt x="97" y="44"/>
                </a:cubicBezTo>
                <a:cubicBezTo>
                  <a:pt x="100" y="44"/>
                  <a:pt x="103" y="47"/>
                  <a:pt x="103" y="50"/>
                </a:cubicBezTo>
                <a:close/>
                <a:moveTo>
                  <a:pt x="90" y="37"/>
                </a:moveTo>
                <a:cubicBezTo>
                  <a:pt x="90" y="39"/>
                  <a:pt x="89" y="41"/>
                  <a:pt x="87" y="42"/>
                </a:cubicBezTo>
                <a:cubicBezTo>
                  <a:pt x="78" y="33"/>
                  <a:pt x="78" y="33"/>
                  <a:pt x="78" y="33"/>
                </a:cubicBezTo>
                <a:cubicBezTo>
                  <a:pt x="79" y="31"/>
                  <a:pt x="81" y="30"/>
                  <a:pt x="83" y="30"/>
                </a:cubicBezTo>
                <a:cubicBezTo>
                  <a:pt x="87" y="30"/>
                  <a:pt x="90" y="33"/>
                  <a:pt x="90" y="37"/>
                </a:cubicBezTo>
                <a:close/>
                <a:moveTo>
                  <a:pt x="70" y="17"/>
                </a:moveTo>
                <a:cubicBezTo>
                  <a:pt x="74" y="17"/>
                  <a:pt x="77" y="20"/>
                  <a:pt x="77" y="24"/>
                </a:cubicBezTo>
                <a:cubicBezTo>
                  <a:pt x="77" y="26"/>
                  <a:pt x="76" y="28"/>
                  <a:pt x="74" y="29"/>
                </a:cubicBezTo>
                <a:cubicBezTo>
                  <a:pt x="65" y="19"/>
                  <a:pt x="65" y="19"/>
                  <a:pt x="65" y="19"/>
                </a:cubicBezTo>
                <a:cubicBezTo>
                  <a:pt x="66" y="18"/>
                  <a:pt x="68" y="17"/>
                  <a:pt x="70" y="17"/>
                </a:cubicBezTo>
                <a:close/>
                <a:moveTo>
                  <a:pt x="7" y="45"/>
                </a:moveTo>
                <a:cubicBezTo>
                  <a:pt x="6" y="44"/>
                  <a:pt x="6" y="42"/>
                  <a:pt x="7" y="40"/>
                </a:cubicBezTo>
                <a:cubicBezTo>
                  <a:pt x="40" y="7"/>
                  <a:pt x="40" y="7"/>
                  <a:pt x="40" y="7"/>
                </a:cubicBezTo>
                <a:cubicBezTo>
                  <a:pt x="41" y="7"/>
                  <a:pt x="41" y="7"/>
                  <a:pt x="41" y="7"/>
                </a:cubicBezTo>
                <a:cubicBezTo>
                  <a:pt x="41" y="7"/>
                  <a:pt x="42" y="7"/>
                  <a:pt x="42" y="6"/>
                </a:cubicBezTo>
                <a:cubicBezTo>
                  <a:pt x="42" y="6"/>
                  <a:pt x="43" y="6"/>
                  <a:pt x="43" y="6"/>
                </a:cubicBezTo>
                <a:cubicBezTo>
                  <a:pt x="44" y="7"/>
                  <a:pt x="44" y="7"/>
                  <a:pt x="44" y="7"/>
                </a:cubicBezTo>
                <a:cubicBezTo>
                  <a:pt x="44" y="7"/>
                  <a:pt x="45" y="7"/>
                  <a:pt x="45" y="7"/>
                </a:cubicBezTo>
                <a:cubicBezTo>
                  <a:pt x="51" y="14"/>
                  <a:pt x="51" y="14"/>
                  <a:pt x="51" y="14"/>
                </a:cubicBezTo>
                <a:cubicBezTo>
                  <a:pt x="14" y="51"/>
                  <a:pt x="14" y="51"/>
                  <a:pt x="14" y="51"/>
                </a:cubicBezTo>
                <a:lnTo>
                  <a:pt x="7" y="45"/>
                </a:lnTo>
                <a:close/>
                <a:moveTo>
                  <a:pt x="55" y="17"/>
                </a:moveTo>
                <a:cubicBezTo>
                  <a:pt x="58" y="21"/>
                  <a:pt x="58" y="21"/>
                  <a:pt x="58" y="21"/>
                </a:cubicBezTo>
                <a:cubicBezTo>
                  <a:pt x="72" y="34"/>
                  <a:pt x="72" y="34"/>
                  <a:pt x="72" y="34"/>
                </a:cubicBezTo>
                <a:cubicBezTo>
                  <a:pt x="73" y="35"/>
                  <a:pt x="73" y="35"/>
                  <a:pt x="73" y="35"/>
                </a:cubicBezTo>
                <a:cubicBezTo>
                  <a:pt x="85" y="47"/>
                  <a:pt x="85" y="47"/>
                  <a:pt x="85" y="47"/>
                </a:cubicBezTo>
                <a:cubicBezTo>
                  <a:pt x="86" y="49"/>
                  <a:pt x="86" y="49"/>
                  <a:pt x="86" y="49"/>
                </a:cubicBezTo>
                <a:cubicBezTo>
                  <a:pt x="98" y="61"/>
                  <a:pt x="98" y="61"/>
                  <a:pt x="98" y="61"/>
                </a:cubicBezTo>
                <a:cubicBezTo>
                  <a:pt x="100" y="62"/>
                  <a:pt x="100" y="62"/>
                  <a:pt x="100" y="62"/>
                </a:cubicBezTo>
                <a:cubicBezTo>
                  <a:pt x="113" y="75"/>
                  <a:pt x="113" y="75"/>
                  <a:pt x="113" y="75"/>
                </a:cubicBezTo>
                <a:cubicBezTo>
                  <a:pt x="116" y="78"/>
                  <a:pt x="116" y="78"/>
                  <a:pt x="116" y="78"/>
                </a:cubicBezTo>
                <a:cubicBezTo>
                  <a:pt x="117" y="79"/>
                  <a:pt x="117" y="81"/>
                  <a:pt x="116" y="83"/>
                </a:cubicBezTo>
                <a:cubicBezTo>
                  <a:pt x="114" y="84"/>
                  <a:pt x="114" y="84"/>
                  <a:pt x="114" y="84"/>
                </a:cubicBezTo>
                <a:cubicBezTo>
                  <a:pt x="114" y="84"/>
                  <a:pt x="114" y="84"/>
                  <a:pt x="114" y="84"/>
                </a:cubicBezTo>
                <a:cubicBezTo>
                  <a:pt x="83" y="116"/>
                  <a:pt x="83" y="116"/>
                  <a:pt x="83" y="116"/>
                </a:cubicBezTo>
                <a:cubicBezTo>
                  <a:pt x="81" y="117"/>
                  <a:pt x="79" y="117"/>
                  <a:pt x="78" y="116"/>
                </a:cubicBezTo>
                <a:cubicBezTo>
                  <a:pt x="57" y="94"/>
                  <a:pt x="57" y="94"/>
                  <a:pt x="57" y="94"/>
                </a:cubicBezTo>
                <a:cubicBezTo>
                  <a:pt x="59" y="94"/>
                  <a:pt x="59" y="94"/>
                  <a:pt x="59" y="94"/>
                </a:cubicBezTo>
                <a:cubicBezTo>
                  <a:pt x="66" y="94"/>
                  <a:pt x="71" y="89"/>
                  <a:pt x="71" y="82"/>
                </a:cubicBezTo>
                <a:cubicBezTo>
                  <a:pt x="71" y="76"/>
                  <a:pt x="66" y="70"/>
                  <a:pt x="59" y="70"/>
                </a:cubicBezTo>
                <a:cubicBezTo>
                  <a:pt x="33" y="70"/>
                  <a:pt x="33" y="70"/>
                  <a:pt x="33" y="70"/>
                </a:cubicBezTo>
                <a:cubicBezTo>
                  <a:pt x="17" y="55"/>
                  <a:pt x="17" y="55"/>
                  <a:pt x="17" y="55"/>
                </a:cubicBezTo>
                <a:lnTo>
                  <a:pt x="55" y="17"/>
                </a:lnTo>
                <a:close/>
                <a:moveTo>
                  <a:pt x="31" y="76"/>
                </a:moveTo>
                <a:cubicBezTo>
                  <a:pt x="32" y="76"/>
                  <a:pt x="32" y="76"/>
                  <a:pt x="32" y="76"/>
                </a:cubicBezTo>
                <a:cubicBezTo>
                  <a:pt x="32" y="76"/>
                  <a:pt x="32" y="76"/>
                  <a:pt x="33" y="76"/>
                </a:cubicBezTo>
                <a:cubicBezTo>
                  <a:pt x="59" y="76"/>
                  <a:pt x="59" y="76"/>
                  <a:pt x="59" y="76"/>
                </a:cubicBezTo>
                <a:cubicBezTo>
                  <a:pt x="63" y="76"/>
                  <a:pt x="66" y="79"/>
                  <a:pt x="66" y="82"/>
                </a:cubicBezTo>
                <a:cubicBezTo>
                  <a:pt x="66" y="86"/>
                  <a:pt x="63" y="89"/>
                  <a:pt x="59" y="89"/>
                </a:cubicBezTo>
                <a:cubicBezTo>
                  <a:pt x="51" y="89"/>
                  <a:pt x="51" y="89"/>
                  <a:pt x="51" y="89"/>
                </a:cubicBezTo>
                <a:cubicBezTo>
                  <a:pt x="44" y="89"/>
                  <a:pt x="44" y="89"/>
                  <a:pt x="44" y="89"/>
                </a:cubicBezTo>
                <a:cubicBezTo>
                  <a:pt x="33" y="89"/>
                  <a:pt x="33" y="89"/>
                  <a:pt x="33" y="89"/>
                </a:cubicBezTo>
                <a:cubicBezTo>
                  <a:pt x="29" y="89"/>
                  <a:pt x="26" y="86"/>
                  <a:pt x="26" y="82"/>
                </a:cubicBezTo>
                <a:cubicBezTo>
                  <a:pt x="26" y="79"/>
                  <a:pt x="28" y="76"/>
                  <a:pt x="31" y="76"/>
                </a:cubicBezTo>
                <a:close/>
                <a:moveTo>
                  <a:pt x="55" y="156"/>
                </a:moveTo>
                <a:cubicBezTo>
                  <a:pt x="55" y="132"/>
                  <a:pt x="55" y="132"/>
                  <a:pt x="55" y="132"/>
                </a:cubicBezTo>
                <a:cubicBezTo>
                  <a:pt x="78" y="132"/>
                  <a:pt x="78" y="132"/>
                  <a:pt x="78" y="132"/>
                </a:cubicBezTo>
                <a:cubicBezTo>
                  <a:pt x="86" y="132"/>
                  <a:pt x="93" y="138"/>
                  <a:pt x="93" y="147"/>
                </a:cubicBezTo>
                <a:cubicBezTo>
                  <a:pt x="93" y="156"/>
                  <a:pt x="93" y="156"/>
                  <a:pt x="93" y="156"/>
                </a:cubicBezTo>
                <a:lnTo>
                  <a:pt x="55" y="156"/>
                </a:lnTo>
                <a:close/>
                <a:moveTo>
                  <a:pt x="114" y="156"/>
                </a:moveTo>
                <a:cubicBezTo>
                  <a:pt x="98" y="156"/>
                  <a:pt x="98" y="156"/>
                  <a:pt x="98" y="156"/>
                </a:cubicBezTo>
                <a:cubicBezTo>
                  <a:pt x="98" y="147"/>
                  <a:pt x="98" y="147"/>
                  <a:pt x="98" y="147"/>
                </a:cubicBezTo>
                <a:cubicBezTo>
                  <a:pt x="98" y="141"/>
                  <a:pt x="95" y="135"/>
                  <a:pt x="91" y="132"/>
                </a:cubicBezTo>
                <a:cubicBezTo>
                  <a:pt x="114" y="132"/>
                  <a:pt x="114" y="132"/>
                  <a:pt x="114" y="132"/>
                </a:cubicBezTo>
                <a:lnTo>
                  <a:pt x="114" y="156"/>
                </a:lnTo>
                <a:close/>
                <a:moveTo>
                  <a:pt x="114" y="92"/>
                </a:moveTo>
                <a:cubicBezTo>
                  <a:pt x="116" y="95"/>
                  <a:pt x="117" y="98"/>
                  <a:pt x="117" y="101"/>
                </a:cubicBezTo>
                <a:cubicBezTo>
                  <a:pt x="117" y="106"/>
                  <a:pt x="114" y="112"/>
                  <a:pt x="110" y="115"/>
                </a:cubicBezTo>
                <a:cubicBezTo>
                  <a:pt x="109" y="116"/>
                  <a:pt x="109" y="116"/>
                  <a:pt x="109" y="116"/>
                </a:cubicBezTo>
                <a:cubicBezTo>
                  <a:pt x="109" y="126"/>
                  <a:pt x="109" y="126"/>
                  <a:pt x="109" y="126"/>
                </a:cubicBezTo>
                <a:cubicBezTo>
                  <a:pt x="78" y="126"/>
                  <a:pt x="78" y="126"/>
                  <a:pt x="78" y="126"/>
                </a:cubicBezTo>
                <a:cubicBezTo>
                  <a:pt x="61" y="126"/>
                  <a:pt x="61" y="126"/>
                  <a:pt x="61" y="126"/>
                </a:cubicBezTo>
                <a:cubicBezTo>
                  <a:pt x="61" y="119"/>
                  <a:pt x="61" y="119"/>
                  <a:pt x="61" y="119"/>
                </a:cubicBezTo>
                <a:cubicBezTo>
                  <a:pt x="60" y="118"/>
                  <a:pt x="60" y="118"/>
                  <a:pt x="60" y="118"/>
                </a:cubicBezTo>
                <a:cubicBezTo>
                  <a:pt x="60" y="118"/>
                  <a:pt x="59" y="118"/>
                  <a:pt x="59" y="118"/>
                </a:cubicBezTo>
                <a:cubicBezTo>
                  <a:pt x="36" y="94"/>
                  <a:pt x="36" y="94"/>
                  <a:pt x="36" y="94"/>
                </a:cubicBezTo>
                <a:cubicBezTo>
                  <a:pt x="49" y="94"/>
                  <a:pt x="49" y="94"/>
                  <a:pt x="49" y="94"/>
                </a:cubicBezTo>
                <a:cubicBezTo>
                  <a:pt x="74" y="119"/>
                  <a:pt x="74" y="119"/>
                  <a:pt x="74" y="119"/>
                </a:cubicBezTo>
                <a:cubicBezTo>
                  <a:pt x="76" y="121"/>
                  <a:pt x="78" y="122"/>
                  <a:pt x="80" y="122"/>
                </a:cubicBezTo>
                <a:cubicBezTo>
                  <a:pt x="83" y="122"/>
                  <a:pt x="85" y="121"/>
                  <a:pt x="87" y="119"/>
                </a:cubicBezTo>
                <a:lnTo>
                  <a:pt x="114" y="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5" name="Rectangle 24"/>
          <p:cNvSpPr/>
          <p:nvPr/>
        </p:nvSpPr>
        <p:spPr>
          <a:xfrm>
            <a:off x="1" y="6751894"/>
            <a:ext cx="6096000" cy="1202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6" name="TextBox 25"/>
          <p:cNvSpPr txBox="1"/>
          <p:nvPr/>
        </p:nvSpPr>
        <p:spPr>
          <a:xfrm>
            <a:off x="6748148" y="1255291"/>
            <a:ext cx="1660519" cy="461665"/>
          </a:xfrm>
          <a:prstGeom prst="rect">
            <a:avLst/>
          </a:prstGeom>
          <a:noFill/>
        </p:spPr>
        <p:txBody>
          <a:bodyPr wrap="none" lIns="0" rIns="0" rtlCol="0">
            <a:spAutoFit/>
          </a:bodyPr>
          <a:lstStyle/>
          <a:p>
            <a:r>
              <a:rPr lang="en-US" sz="2400" dirty="0">
                <a:solidFill>
                  <a:schemeClr val="accent3"/>
                </a:solidFill>
                <a:latin typeface="RBC Display" panose="02000000000000000000" pitchFamily="2" charset="77"/>
              </a:rPr>
              <a:t>For Projects</a:t>
            </a:r>
          </a:p>
        </p:txBody>
      </p:sp>
      <p:sp>
        <p:nvSpPr>
          <p:cNvPr id="27" name="TextBox 26"/>
          <p:cNvSpPr txBox="1"/>
          <p:nvPr/>
        </p:nvSpPr>
        <p:spPr>
          <a:xfrm>
            <a:off x="6748148" y="1624623"/>
            <a:ext cx="3361305" cy="369332"/>
          </a:xfrm>
          <a:prstGeom prst="rect">
            <a:avLst/>
          </a:prstGeom>
          <a:noFill/>
        </p:spPr>
        <p:txBody>
          <a:bodyPr wrap="none" lIns="0" rIns="0" rtlCol="0">
            <a:spAutoFit/>
          </a:bodyPr>
          <a:lstStyle/>
          <a:p>
            <a:r>
              <a:rPr lang="en-US" dirty="0">
                <a:latin typeface="RBC Text" panose="02000000000000000000" pitchFamily="2" charset="77"/>
              </a:rPr>
              <a:t>How to launch ICO with Crypto</a:t>
            </a:r>
          </a:p>
        </p:txBody>
      </p:sp>
      <p:sp>
        <p:nvSpPr>
          <p:cNvPr id="28" name="TextBox 27"/>
          <p:cNvSpPr txBox="1"/>
          <p:nvPr/>
        </p:nvSpPr>
        <p:spPr>
          <a:xfrm>
            <a:off x="7642623" y="2633693"/>
            <a:ext cx="2379113" cy="338554"/>
          </a:xfrm>
          <a:prstGeom prst="rect">
            <a:avLst/>
          </a:prstGeom>
          <a:noFill/>
        </p:spPr>
        <p:txBody>
          <a:bodyPr wrap="none" lIns="0" rIns="0" rtlCol="0">
            <a:spAutoFit/>
          </a:bodyPr>
          <a:lstStyle/>
          <a:p>
            <a:r>
              <a:rPr lang="en-US" sz="1600" dirty="0">
                <a:latin typeface="RBC Display" panose="02000000000000000000" pitchFamily="2" charset="77"/>
              </a:rPr>
              <a:t>Selection and </a:t>
            </a:r>
            <a:r>
              <a:rPr lang="en-US" sz="1600" dirty="0" err="1">
                <a:latin typeface="RBC Display" panose="02000000000000000000" pitchFamily="2" charset="77"/>
              </a:rPr>
              <a:t>evaltuation</a:t>
            </a:r>
            <a:endParaRPr lang="en-US" sz="1600" dirty="0">
              <a:latin typeface="RBC Display" panose="02000000000000000000" pitchFamily="2" charset="77"/>
            </a:endParaRPr>
          </a:p>
        </p:txBody>
      </p:sp>
      <p:sp>
        <p:nvSpPr>
          <p:cNvPr id="29" name="TextBox 28"/>
          <p:cNvSpPr txBox="1"/>
          <p:nvPr/>
        </p:nvSpPr>
        <p:spPr>
          <a:xfrm>
            <a:off x="7642623" y="2972247"/>
            <a:ext cx="1990481" cy="276999"/>
          </a:xfrm>
          <a:prstGeom prst="rect">
            <a:avLst/>
          </a:prstGeom>
          <a:noFill/>
        </p:spPr>
        <p:txBody>
          <a:bodyPr wrap="none" lIns="0" rIns="0" rtlCol="0">
            <a:spAutoFit/>
          </a:bodyPr>
          <a:lstStyle/>
          <a:p>
            <a:r>
              <a:rPr lang="en-US" sz="1200" dirty="0">
                <a:solidFill>
                  <a:schemeClr val="tx1">
                    <a:alpha val="70000"/>
                  </a:schemeClr>
                </a:solidFill>
                <a:latin typeface="RBC Text" panose="02000000000000000000" pitchFamily="2" charset="77"/>
              </a:rPr>
              <a:t>How to work with the fund?</a:t>
            </a:r>
          </a:p>
        </p:txBody>
      </p:sp>
      <p:sp>
        <p:nvSpPr>
          <p:cNvPr id="31" name="TextBox 30"/>
          <p:cNvSpPr txBox="1"/>
          <p:nvPr/>
        </p:nvSpPr>
        <p:spPr>
          <a:xfrm>
            <a:off x="7642623" y="3779647"/>
            <a:ext cx="1343638" cy="338554"/>
          </a:xfrm>
          <a:prstGeom prst="rect">
            <a:avLst/>
          </a:prstGeom>
          <a:noFill/>
        </p:spPr>
        <p:txBody>
          <a:bodyPr wrap="none" lIns="0" rIns="0" rtlCol="0">
            <a:spAutoFit/>
          </a:bodyPr>
          <a:lstStyle/>
          <a:p>
            <a:r>
              <a:rPr lang="en-US" sz="1600" dirty="0">
                <a:latin typeface="RBC Display" panose="02000000000000000000" pitchFamily="2" charset="77"/>
              </a:rPr>
              <a:t>Prepare to ICO</a:t>
            </a:r>
          </a:p>
        </p:txBody>
      </p:sp>
      <p:sp>
        <p:nvSpPr>
          <p:cNvPr id="32" name="TextBox 31"/>
          <p:cNvSpPr txBox="1"/>
          <p:nvPr/>
        </p:nvSpPr>
        <p:spPr>
          <a:xfrm>
            <a:off x="7642623" y="4118201"/>
            <a:ext cx="3582017" cy="276999"/>
          </a:xfrm>
          <a:prstGeom prst="rect">
            <a:avLst/>
          </a:prstGeom>
          <a:noFill/>
        </p:spPr>
        <p:txBody>
          <a:bodyPr wrap="square" lIns="0" rIns="0" rtlCol="0">
            <a:spAutoFit/>
          </a:bodyPr>
          <a:lstStyle/>
          <a:p>
            <a:r>
              <a:rPr lang="en-US" sz="1200" dirty="0">
                <a:solidFill>
                  <a:schemeClr val="tx1">
                    <a:alpha val="70000"/>
                  </a:schemeClr>
                </a:solidFill>
                <a:latin typeface="RBC Text" panose="02000000000000000000" pitchFamily="2" charset="77"/>
              </a:rPr>
              <a:t>A peep at some distant orb has power to raise.</a:t>
            </a:r>
          </a:p>
        </p:txBody>
      </p:sp>
      <p:sp>
        <p:nvSpPr>
          <p:cNvPr id="33" name="TextBox 32"/>
          <p:cNvSpPr txBox="1"/>
          <p:nvPr/>
        </p:nvSpPr>
        <p:spPr>
          <a:xfrm>
            <a:off x="7642623" y="4925601"/>
            <a:ext cx="1054071" cy="338554"/>
          </a:xfrm>
          <a:prstGeom prst="rect">
            <a:avLst/>
          </a:prstGeom>
          <a:noFill/>
        </p:spPr>
        <p:txBody>
          <a:bodyPr wrap="none" lIns="0" rIns="0" rtlCol="0">
            <a:spAutoFit/>
          </a:bodyPr>
          <a:lstStyle/>
          <a:p>
            <a:r>
              <a:rPr lang="en-US" sz="1600" dirty="0">
                <a:latin typeface="RBC Display" panose="02000000000000000000" pitchFamily="2" charset="77"/>
              </a:rPr>
              <a:t>Launch ICO</a:t>
            </a:r>
          </a:p>
        </p:txBody>
      </p:sp>
      <p:sp>
        <p:nvSpPr>
          <p:cNvPr id="34" name="TextBox 33"/>
          <p:cNvSpPr txBox="1"/>
          <p:nvPr/>
        </p:nvSpPr>
        <p:spPr>
          <a:xfrm>
            <a:off x="7642624" y="5264155"/>
            <a:ext cx="3582016" cy="646331"/>
          </a:xfrm>
          <a:prstGeom prst="rect">
            <a:avLst/>
          </a:prstGeom>
          <a:noFill/>
        </p:spPr>
        <p:txBody>
          <a:bodyPr wrap="square" lIns="0" rIns="0" rtlCol="0">
            <a:spAutoFit/>
          </a:bodyPr>
          <a:lstStyle/>
          <a:p>
            <a:r>
              <a:rPr lang="en-US" sz="1200" dirty="0">
                <a:solidFill>
                  <a:schemeClr val="tx1">
                    <a:alpha val="70000"/>
                  </a:schemeClr>
                </a:solidFill>
                <a:latin typeface="RBC Text" panose="02000000000000000000" pitchFamily="2" charset="77"/>
              </a:rPr>
              <a:t>A peep at some distant orb has power to raise and purify our thoughts like a strain of sacred music.</a:t>
            </a:r>
          </a:p>
        </p:txBody>
      </p:sp>
      <p:sp>
        <p:nvSpPr>
          <p:cNvPr id="37" name="Freeform 2113"/>
          <p:cNvSpPr>
            <a:spLocks noEditPoints="1"/>
          </p:cNvSpPr>
          <p:nvPr/>
        </p:nvSpPr>
        <p:spPr bwMode="auto">
          <a:xfrm>
            <a:off x="6787273" y="3828889"/>
            <a:ext cx="454025" cy="549275"/>
          </a:xfrm>
          <a:custGeom>
            <a:avLst/>
            <a:gdLst>
              <a:gd name="T0" fmla="*/ 67 w 133"/>
              <a:gd name="T1" fmla="*/ 72 h 160"/>
              <a:gd name="T2" fmla="*/ 72 w 133"/>
              <a:gd name="T3" fmla="*/ 64 h 160"/>
              <a:gd name="T4" fmla="*/ 75 w 133"/>
              <a:gd name="T5" fmla="*/ 61 h 160"/>
              <a:gd name="T6" fmla="*/ 59 w 133"/>
              <a:gd name="T7" fmla="*/ 67 h 160"/>
              <a:gd name="T8" fmla="*/ 56 w 133"/>
              <a:gd name="T9" fmla="*/ 64 h 160"/>
              <a:gd name="T10" fmla="*/ 53 w 133"/>
              <a:gd name="T11" fmla="*/ 59 h 160"/>
              <a:gd name="T12" fmla="*/ 80 w 133"/>
              <a:gd name="T13" fmla="*/ 59 h 160"/>
              <a:gd name="T14" fmla="*/ 83 w 133"/>
              <a:gd name="T15" fmla="*/ 56 h 160"/>
              <a:gd name="T16" fmla="*/ 91 w 133"/>
              <a:gd name="T17" fmla="*/ 56 h 160"/>
              <a:gd name="T18" fmla="*/ 88 w 133"/>
              <a:gd name="T19" fmla="*/ 53 h 160"/>
              <a:gd name="T20" fmla="*/ 45 w 133"/>
              <a:gd name="T21" fmla="*/ 53 h 160"/>
              <a:gd name="T22" fmla="*/ 64 w 133"/>
              <a:gd name="T23" fmla="*/ 59 h 160"/>
              <a:gd name="T24" fmla="*/ 67 w 133"/>
              <a:gd name="T25" fmla="*/ 56 h 160"/>
              <a:gd name="T26" fmla="*/ 67 w 133"/>
              <a:gd name="T27" fmla="*/ 93 h 160"/>
              <a:gd name="T28" fmla="*/ 64 w 133"/>
              <a:gd name="T29" fmla="*/ 91 h 160"/>
              <a:gd name="T30" fmla="*/ 69 w 133"/>
              <a:gd name="T31" fmla="*/ 99 h 160"/>
              <a:gd name="T32" fmla="*/ 64 w 133"/>
              <a:gd name="T33" fmla="*/ 107 h 160"/>
              <a:gd name="T34" fmla="*/ 67 w 133"/>
              <a:gd name="T35" fmla="*/ 104 h 160"/>
              <a:gd name="T36" fmla="*/ 67 w 133"/>
              <a:gd name="T37" fmla="*/ 117 h 160"/>
              <a:gd name="T38" fmla="*/ 64 w 133"/>
              <a:gd name="T39" fmla="*/ 115 h 160"/>
              <a:gd name="T40" fmla="*/ 69 w 133"/>
              <a:gd name="T41" fmla="*/ 123 h 160"/>
              <a:gd name="T42" fmla="*/ 64 w 133"/>
              <a:gd name="T43" fmla="*/ 131 h 160"/>
              <a:gd name="T44" fmla="*/ 67 w 133"/>
              <a:gd name="T45" fmla="*/ 128 h 160"/>
              <a:gd name="T46" fmla="*/ 131 w 133"/>
              <a:gd name="T47" fmla="*/ 160 h 160"/>
              <a:gd name="T48" fmla="*/ 13 w 133"/>
              <a:gd name="T49" fmla="*/ 160 h 160"/>
              <a:gd name="T50" fmla="*/ 0 w 133"/>
              <a:gd name="T51" fmla="*/ 157 h 160"/>
              <a:gd name="T52" fmla="*/ 11 w 133"/>
              <a:gd name="T53" fmla="*/ 144 h 160"/>
              <a:gd name="T54" fmla="*/ 34 w 133"/>
              <a:gd name="T55" fmla="*/ 99 h 160"/>
              <a:gd name="T56" fmla="*/ 24 w 133"/>
              <a:gd name="T57" fmla="*/ 43 h 160"/>
              <a:gd name="T58" fmla="*/ 11 w 133"/>
              <a:gd name="T59" fmla="*/ 5 h 160"/>
              <a:gd name="T60" fmla="*/ 3 w 133"/>
              <a:gd name="T61" fmla="*/ 0 h 160"/>
              <a:gd name="T62" fmla="*/ 120 w 133"/>
              <a:gd name="T63" fmla="*/ 0 h 160"/>
              <a:gd name="T64" fmla="*/ 133 w 133"/>
              <a:gd name="T65" fmla="*/ 3 h 160"/>
              <a:gd name="T66" fmla="*/ 123 w 133"/>
              <a:gd name="T67" fmla="*/ 16 h 160"/>
              <a:gd name="T68" fmla="*/ 100 w 133"/>
              <a:gd name="T69" fmla="*/ 61 h 160"/>
              <a:gd name="T70" fmla="*/ 109 w 133"/>
              <a:gd name="T71" fmla="*/ 117 h 160"/>
              <a:gd name="T72" fmla="*/ 123 w 133"/>
              <a:gd name="T73" fmla="*/ 155 h 160"/>
              <a:gd name="T74" fmla="*/ 24 w 133"/>
              <a:gd name="T75" fmla="*/ 11 h 160"/>
              <a:gd name="T76" fmla="*/ 117 w 133"/>
              <a:gd name="T77" fmla="*/ 5 h 160"/>
              <a:gd name="T78" fmla="*/ 24 w 133"/>
              <a:gd name="T79" fmla="*/ 11 h 160"/>
              <a:gd name="T80" fmla="*/ 104 w 133"/>
              <a:gd name="T81" fmla="*/ 43 h 160"/>
              <a:gd name="T82" fmla="*/ 29 w 133"/>
              <a:gd name="T83" fmla="*/ 43 h 160"/>
              <a:gd name="T84" fmla="*/ 29 w 133"/>
              <a:gd name="T85" fmla="*/ 144 h 160"/>
              <a:gd name="T86" fmla="*/ 97 w 133"/>
              <a:gd name="T87" fmla="*/ 103 h 160"/>
              <a:gd name="T88" fmla="*/ 29 w 133"/>
              <a:gd name="T89" fmla="*/ 117 h 160"/>
              <a:gd name="T90" fmla="*/ 117 w 133"/>
              <a:gd name="T91" fmla="*/ 155 h 160"/>
              <a:gd name="T92" fmla="*/ 24 w 133"/>
              <a:gd name="T93"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3" h="160">
                <a:moveTo>
                  <a:pt x="67" y="67"/>
                </a:moveTo>
                <a:cubicBezTo>
                  <a:pt x="68" y="67"/>
                  <a:pt x="69" y="68"/>
                  <a:pt x="69" y="69"/>
                </a:cubicBezTo>
                <a:cubicBezTo>
                  <a:pt x="69" y="71"/>
                  <a:pt x="68" y="72"/>
                  <a:pt x="67" y="72"/>
                </a:cubicBezTo>
                <a:cubicBezTo>
                  <a:pt x="65" y="72"/>
                  <a:pt x="64" y="71"/>
                  <a:pt x="64" y="69"/>
                </a:cubicBezTo>
                <a:cubicBezTo>
                  <a:pt x="64" y="68"/>
                  <a:pt x="65" y="67"/>
                  <a:pt x="67" y="67"/>
                </a:cubicBezTo>
                <a:close/>
                <a:moveTo>
                  <a:pt x="72" y="64"/>
                </a:moveTo>
                <a:cubicBezTo>
                  <a:pt x="72" y="65"/>
                  <a:pt x="73" y="67"/>
                  <a:pt x="75" y="67"/>
                </a:cubicBezTo>
                <a:cubicBezTo>
                  <a:pt x="76" y="67"/>
                  <a:pt x="77" y="65"/>
                  <a:pt x="77" y="64"/>
                </a:cubicBezTo>
                <a:cubicBezTo>
                  <a:pt x="77" y="63"/>
                  <a:pt x="76" y="61"/>
                  <a:pt x="75" y="61"/>
                </a:cubicBezTo>
                <a:cubicBezTo>
                  <a:pt x="73" y="61"/>
                  <a:pt x="72" y="63"/>
                  <a:pt x="72" y="64"/>
                </a:cubicBezTo>
                <a:close/>
                <a:moveTo>
                  <a:pt x="56" y="64"/>
                </a:moveTo>
                <a:cubicBezTo>
                  <a:pt x="56" y="65"/>
                  <a:pt x="57" y="67"/>
                  <a:pt x="59" y="67"/>
                </a:cubicBezTo>
                <a:cubicBezTo>
                  <a:pt x="60" y="67"/>
                  <a:pt x="61" y="65"/>
                  <a:pt x="61" y="64"/>
                </a:cubicBezTo>
                <a:cubicBezTo>
                  <a:pt x="61" y="63"/>
                  <a:pt x="60" y="61"/>
                  <a:pt x="59" y="61"/>
                </a:cubicBezTo>
                <a:cubicBezTo>
                  <a:pt x="57" y="61"/>
                  <a:pt x="56" y="63"/>
                  <a:pt x="56" y="64"/>
                </a:cubicBezTo>
                <a:close/>
                <a:moveTo>
                  <a:pt x="48" y="59"/>
                </a:moveTo>
                <a:cubicBezTo>
                  <a:pt x="48" y="60"/>
                  <a:pt x="49" y="61"/>
                  <a:pt x="51" y="61"/>
                </a:cubicBezTo>
                <a:cubicBezTo>
                  <a:pt x="52" y="61"/>
                  <a:pt x="53" y="60"/>
                  <a:pt x="53" y="59"/>
                </a:cubicBezTo>
                <a:cubicBezTo>
                  <a:pt x="53" y="57"/>
                  <a:pt x="52" y="56"/>
                  <a:pt x="51" y="56"/>
                </a:cubicBezTo>
                <a:cubicBezTo>
                  <a:pt x="49" y="56"/>
                  <a:pt x="48" y="57"/>
                  <a:pt x="48" y="59"/>
                </a:cubicBezTo>
                <a:close/>
                <a:moveTo>
                  <a:pt x="80" y="59"/>
                </a:moveTo>
                <a:cubicBezTo>
                  <a:pt x="80" y="60"/>
                  <a:pt x="81" y="61"/>
                  <a:pt x="83" y="61"/>
                </a:cubicBezTo>
                <a:cubicBezTo>
                  <a:pt x="84" y="61"/>
                  <a:pt x="85" y="60"/>
                  <a:pt x="85" y="59"/>
                </a:cubicBezTo>
                <a:cubicBezTo>
                  <a:pt x="85" y="57"/>
                  <a:pt x="84" y="56"/>
                  <a:pt x="83" y="56"/>
                </a:cubicBezTo>
                <a:cubicBezTo>
                  <a:pt x="81" y="56"/>
                  <a:pt x="80" y="57"/>
                  <a:pt x="80" y="59"/>
                </a:cubicBezTo>
                <a:close/>
                <a:moveTo>
                  <a:pt x="88" y="53"/>
                </a:moveTo>
                <a:cubicBezTo>
                  <a:pt x="88" y="55"/>
                  <a:pt x="89" y="56"/>
                  <a:pt x="91" y="56"/>
                </a:cubicBezTo>
                <a:cubicBezTo>
                  <a:pt x="92" y="56"/>
                  <a:pt x="93" y="55"/>
                  <a:pt x="93" y="53"/>
                </a:cubicBezTo>
                <a:cubicBezTo>
                  <a:pt x="93" y="52"/>
                  <a:pt x="92" y="51"/>
                  <a:pt x="91" y="51"/>
                </a:cubicBezTo>
                <a:cubicBezTo>
                  <a:pt x="89" y="51"/>
                  <a:pt x="88" y="52"/>
                  <a:pt x="88" y="53"/>
                </a:cubicBezTo>
                <a:close/>
                <a:moveTo>
                  <a:pt x="40" y="53"/>
                </a:moveTo>
                <a:cubicBezTo>
                  <a:pt x="40" y="55"/>
                  <a:pt x="41" y="56"/>
                  <a:pt x="43" y="56"/>
                </a:cubicBezTo>
                <a:cubicBezTo>
                  <a:pt x="44" y="56"/>
                  <a:pt x="45" y="55"/>
                  <a:pt x="45" y="53"/>
                </a:cubicBezTo>
                <a:cubicBezTo>
                  <a:pt x="45" y="52"/>
                  <a:pt x="44" y="51"/>
                  <a:pt x="43" y="51"/>
                </a:cubicBezTo>
                <a:cubicBezTo>
                  <a:pt x="41" y="51"/>
                  <a:pt x="40" y="52"/>
                  <a:pt x="40" y="53"/>
                </a:cubicBezTo>
                <a:close/>
                <a:moveTo>
                  <a:pt x="64" y="59"/>
                </a:moveTo>
                <a:cubicBezTo>
                  <a:pt x="64" y="60"/>
                  <a:pt x="65" y="61"/>
                  <a:pt x="67" y="61"/>
                </a:cubicBezTo>
                <a:cubicBezTo>
                  <a:pt x="68" y="61"/>
                  <a:pt x="69" y="60"/>
                  <a:pt x="69" y="59"/>
                </a:cubicBezTo>
                <a:cubicBezTo>
                  <a:pt x="69" y="57"/>
                  <a:pt x="68" y="56"/>
                  <a:pt x="67" y="56"/>
                </a:cubicBezTo>
                <a:cubicBezTo>
                  <a:pt x="65" y="56"/>
                  <a:pt x="64" y="57"/>
                  <a:pt x="64" y="59"/>
                </a:cubicBezTo>
                <a:close/>
                <a:moveTo>
                  <a:pt x="64" y="91"/>
                </a:moveTo>
                <a:cubicBezTo>
                  <a:pt x="64" y="92"/>
                  <a:pt x="65" y="93"/>
                  <a:pt x="67" y="93"/>
                </a:cubicBezTo>
                <a:cubicBezTo>
                  <a:pt x="68" y="93"/>
                  <a:pt x="69" y="92"/>
                  <a:pt x="69" y="91"/>
                </a:cubicBezTo>
                <a:cubicBezTo>
                  <a:pt x="69" y="89"/>
                  <a:pt x="68" y="88"/>
                  <a:pt x="67" y="88"/>
                </a:cubicBezTo>
                <a:cubicBezTo>
                  <a:pt x="65" y="88"/>
                  <a:pt x="64" y="89"/>
                  <a:pt x="64" y="91"/>
                </a:cubicBezTo>
                <a:close/>
                <a:moveTo>
                  <a:pt x="64" y="99"/>
                </a:moveTo>
                <a:cubicBezTo>
                  <a:pt x="64" y="100"/>
                  <a:pt x="65" y="101"/>
                  <a:pt x="67" y="101"/>
                </a:cubicBezTo>
                <a:cubicBezTo>
                  <a:pt x="68" y="101"/>
                  <a:pt x="69" y="100"/>
                  <a:pt x="69" y="99"/>
                </a:cubicBezTo>
                <a:cubicBezTo>
                  <a:pt x="69" y="97"/>
                  <a:pt x="68" y="96"/>
                  <a:pt x="67" y="96"/>
                </a:cubicBezTo>
                <a:cubicBezTo>
                  <a:pt x="65" y="96"/>
                  <a:pt x="64" y="97"/>
                  <a:pt x="64" y="99"/>
                </a:cubicBezTo>
                <a:close/>
                <a:moveTo>
                  <a:pt x="64" y="107"/>
                </a:moveTo>
                <a:cubicBezTo>
                  <a:pt x="64" y="108"/>
                  <a:pt x="65" y="109"/>
                  <a:pt x="67" y="109"/>
                </a:cubicBezTo>
                <a:cubicBezTo>
                  <a:pt x="68" y="109"/>
                  <a:pt x="69" y="108"/>
                  <a:pt x="69" y="107"/>
                </a:cubicBezTo>
                <a:cubicBezTo>
                  <a:pt x="69" y="105"/>
                  <a:pt x="68" y="104"/>
                  <a:pt x="67" y="104"/>
                </a:cubicBezTo>
                <a:cubicBezTo>
                  <a:pt x="65" y="104"/>
                  <a:pt x="64" y="105"/>
                  <a:pt x="64" y="107"/>
                </a:cubicBezTo>
                <a:close/>
                <a:moveTo>
                  <a:pt x="64" y="115"/>
                </a:moveTo>
                <a:cubicBezTo>
                  <a:pt x="64" y="116"/>
                  <a:pt x="65" y="117"/>
                  <a:pt x="67" y="117"/>
                </a:cubicBezTo>
                <a:cubicBezTo>
                  <a:pt x="68" y="117"/>
                  <a:pt x="69" y="116"/>
                  <a:pt x="69" y="115"/>
                </a:cubicBezTo>
                <a:cubicBezTo>
                  <a:pt x="69" y="113"/>
                  <a:pt x="68" y="112"/>
                  <a:pt x="67" y="112"/>
                </a:cubicBezTo>
                <a:cubicBezTo>
                  <a:pt x="65" y="112"/>
                  <a:pt x="64" y="113"/>
                  <a:pt x="64" y="115"/>
                </a:cubicBezTo>
                <a:close/>
                <a:moveTo>
                  <a:pt x="64" y="123"/>
                </a:moveTo>
                <a:cubicBezTo>
                  <a:pt x="64" y="124"/>
                  <a:pt x="65" y="125"/>
                  <a:pt x="67" y="125"/>
                </a:cubicBezTo>
                <a:cubicBezTo>
                  <a:pt x="68" y="125"/>
                  <a:pt x="69" y="124"/>
                  <a:pt x="69" y="123"/>
                </a:cubicBezTo>
                <a:cubicBezTo>
                  <a:pt x="69" y="121"/>
                  <a:pt x="68" y="120"/>
                  <a:pt x="67" y="120"/>
                </a:cubicBezTo>
                <a:cubicBezTo>
                  <a:pt x="65" y="120"/>
                  <a:pt x="64" y="121"/>
                  <a:pt x="64" y="123"/>
                </a:cubicBezTo>
                <a:close/>
                <a:moveTo>
                  <a:pt x="64" y="131"/>
                </a:moveTo>
                <a:cubicBezTo>
                  <a:pt x="64" y="132"/>
                  <a:pt x="65" y="133"/>
                  <a:pt x="67" y="133"/>
                </a:cubicBezTo>
                <a:cubicBezTo>
                  <a:pt x="68" y="133"/>
                  <a:pt x="69" y="132"/>
                  <a:pt x="69" y="131"/>
                </a:cubicBezTo>
                <a:cubicBezTo>
                  <a:pt x="69" y="129"/>
                  <a:pt x="68" y="128"/>
                  <a:pt x="67" y="128"/>
                </a:cubicBezTo>
                <a:cubicBezTo>
                  <a:pt x="65" y="128"/>
                  <a:pt x="64" y="129"/>
                  <a:pt x="64" y="131"/>
                </a:cubicBezTo>
                <a:close/>
                <a:moveTo>
                  <a:pt x="133" y="157"/>
                </a:moveTo>
                <a:cubicBezTo>
                  <a:pt x="133" y="159"/>
                  <a:pt x="132" y="160"/>
                  <a:pt x="131" y="160"/>
                </a:cubicBezTo>
                <a:cubicBezTo>
                  <a:pt x="123" y="160"/>
                  <a:pt x="123" y="160"/>
                  <a:pt x="123" y="160"/>
                </a:cubicBezTo>
                <a:cubicBezTo>
                  <a:pt x="120" y="160"/>
                  <a:pt x="120" y="160"/>
                  <a:pt x="120" y="160"/>
                </a:cubicBezTo>
                <a:cubicBezTo>
                  <a:pt x="13" y="160"/>
                  <a:pt x="13" y="160"/>
                  <a:pt x="13" y="160"/>
                </a:cubicBezTo>
                <a:cubicBezTo>
                  <a:pt x="11" y="160"/>
                  <a:pt x="11" y="160"/>
                  <a:pt x="11" y="160"/>
                </a:cubicBezTo>
                <a:cubicBezTo>
                  <a:pt x="3" y="160"/>
                  <a:pt x="3" y="160"/>
                  <a:pt x="3" y="160"/>
                </a:cubicBezTo>
                <a:cubicBezTo>
                  <a:pt x="1" y="160"/>
                  <a:pt x="0" y="159"/>
                  <a:pt x="0" y="157"/>
                </a:cubicBezTo>
                <a:cubicBezTo>
                  <a:pt x="0" y="156"/>
                  <a:pt x="1" y="155"/>
                  <a:pt x="3" y="155"/>
                </a:cubicBezTo>
                <a:cubicBezTo>
                  <a:pt x="11" y="155"/>
                  <a:pt x="11" y="155"/>
                  <a:pt x="11" y="155"/>
                </a:cubicBezTo>
                <a:cubicBezTo>
                  <a:pt x="11" y="144"/>
                  <a:pt x="11" y="144"/>
                  <a:pt x="11" y="144"/>
                </a:cubicBezTo>
                <a:cubicBezTo>
                  <a:pt x="24" y="144"/>
                  <a:pt x="24" y="144"/>
                  <a:pt x="24" y="144"/>
                </a:cubicBezTo>
                <a:cubicBezTo>
                  <a:pt x="24" y="117"/>
                  <a:pt x="24" y="117"/>
                  <a:pt x="24" y="117"/>
                </a:cubicBezTo>
                <a:cubicBezTo>
                  <a:pt x="24" y="110"/>
                  <a:pt x="28" y="103"/>
                  <a:pt x="34" y="99"/>
                </a:cubicBezTo>
                <a:cubicBezTo>
                  <a:pt x="62" y="80"/>
                  <a:pt x="62" y="80"/>
                  <a:pt x="62" y="80"/>
                </a:cubicBezTo>
                <a:cubicBezTo>
                  <a:pt x="34" y="61"/>
                  <a:pt x="34" y="61"/>
                  <a:pt x="34" y="61"/>
                </a:cubicBezTo>
                <a:cubicBezTo>
                  <a:pt x="28" y="57"/>
                  <a:pt x="24" y="50"/>
                  <a:pt x="24" y="43"/>
                </a:cubicBezTo>
                <a:cubicBezTo>
                  <a:pt x="24" y="16"/>
                  <a:pt x="24" y="16"/>
                  <a:pt x="24" y="16"/>
                </a:cubicBezTo>
                <a:cubicBezTo>
                  <a:pt x="11" y="16"/>
                  <a:pt x="11" y="16"/>
                  <a:pt x="11" y="16"/>
                </a:cubicBezTo>
                <a:cubicBezTo>
                  <a:pt x="11" y="5"/>
                  <a:pt x="11" y="5"/>
                  <a:pt x="11" y="5"/>
                </a:cubicBezTo>
                <a:cubicBezTo>
                  <a:pt x="3" y="5"/>
                  <a:pt x="3" y="5"/>
                  <a:pt x="3" y="5"/>
                </a:cubicBezTo>
                <a:cubicBezTo>
                  <a:pt x="1" y="5"/>
                  <a:pt x="0" y="4"/>
                  <a:pt x="0" y="3"/>
                </a:cubicBezTo>
                <a:cubicBezTo>
                  <a:pt x="0" y="1"/>
                  <a:pt x="1" y="0"/>
                  <a:pt x="3" y="0"/>
                </a:cubicBezTo>
                <a:cubicBezTo>
                  <a:pt x="11" y="0"/>
                  <a:pt x="11" y="0"/>
                  <a:pt x="11" y="0"/>
                </a:cubicBezTo>
                <a:cubicBezTo>
                  <a:pt x="13" y="0"/>
                  <a:pt x="13" y="0"/>
                  <a:pt x="13" y="0"/>
                </a:cubicBezTo>
                <a:cubicBezTo>
                  <a:pt x="120" y="0"/>
                  <a:pt x="120" y="0"/>
                  <a:pt x="120" y="0"/>
                </a:cubicBezTo>
                <a:cubicBezTo>
                  <a:pt x="123" y="0"/>
                  <a:pt x="123" y="0"/>
                  <a:pt x="123" y="0"/>
                </a:cubicBezTo>
                <a:cubicBezTo>
                  <a:pt x="131" y="0"/>
                  <a:pt x="131" y="0"/>
                  <a:pt x="131" y="0"/>
                </a:cubicBezTo>
                <a:cubicBezTo>
                  <a:pt x="132" y="0"/>
                  <a:pt x="133" y="1"/>
                  <a:pt x="133" y="3"/>
                </a:cubicBezTo>
                <a:cubicBezTo>
                  <a:pt x="133" y="4"/>
                  <a:pt x="132" y="5"/>
                  <a:pt x="131" y="5"/>
                </a:cubicBezTo>
                <a:cubicBezTo>
                  <a:pt x="123" y="5"/>
                  <a:pt x="123" y="5"/>
                  <a:pt x="123" y="5"/>
                </a:cubicBezTo>
                <a:cubicBezTo>
                  <a:pt x="123" y="16"/>
                  <a:pt x="123" y="16"/>
                  <a:pt x="123" y="16"/>
                </a:cubicBezTo>
                <a:cubicBezTo>
                  <a:pt x="109" y="16"/>
                  <a:pt x="109" y="16"/>
                  <a:pt x="109" y="16"/>
                </a:cubicBezTo>
                <a:cubicBezTo>
                  <a:pt x="109" y="43"/>
                  <a:pt x="109" y="43"/>
                  <a:pt x="109" y="43"/>
                </a:cubicBezTo>
                <a:cubicBezTo>
                  <a:pt x="109" y="50"/>
                  <a:pt x="106" y="57"/>
                  <a:pt x="100" y="61"/>
                </a:cubicBezTo>
                <a:cubicBezTo>
                  <a:pt x="71" y="80"/>
                  <a:pt x="71" y="80"/>
                  <a:pt x="71" y="80"/>
                </a:cubicBezTo>
                <a:cubicBezTo>
                  <a:pt x="100" y="99"/>
                  <a:pt x="100" y="99"/>
                  <a:pt x="100" y="99"/>
                </a:cubicBezTo>
                <a:cubicBezTo>
                  <a:pt x="106" y="103"/>
                  <a:pt x="109" y="110"/>
                  <a:pt x="109" y="117"/>
                </a:cubicBezTo>
                <a:cubicBezTo>
                  <a:pt x="109" y="144"/>
                  <a:pt x="109" y="144"/>
                  <a:pt x="109" y="144"/>
                </a:cubicBezTo>
                <a:cubicBezTo>
                  <a:pt x="123" y="144"/>
                  <a:pt x="123" y="144"/>
                  <a:pt x="123" y="144"/>
                </a:cubicBezTo>
                <a:cubicBezTo>
                  <a:pt x="123" y="155"/>
                  <a:pt x="123" y="155"/>
                  <a:pt x="123" y="155"/>
                </a:cubicBezTo>
                <a:cubicBezTo>
                  <a:pt x="131" y="155"/>
                  <a:pt x="131" y="155"/>
                  <a:pt x="131" y="155"/>
                </a:cubicBezTo>
                <a:cubicBezTo>
                  <a:pt x="132" y="155"/>
                  <a:pt x="133" y="156"/>
                  <a:pt x="133" y="157"/>
                </a:cubicBezTo>
                <a:close/>
                <a:moveTo>
                  <a:pt x="24" y="11"/>
                </a:moveTo>
                <a:cubicBezTo>
                  <a:pt x="109" y="11"/>
                  <a:pt x="109" y="11"/>
                  <a:pt x="109" y="11"/>
                </a:cubicBezTo>
                <a:cubicBezTo>
                  <a:pt x="117" y="11"/>
                  <a:pt x="117" y="11"/>
                  <a:pt x="117" y="11"/>
                </a:cubicBezTo>
                <a:cubicBezTo>
                  <a:pt x="117" y="5"/>
                  <a:pt x="117" y="5"/>
                  <a:pt x="117" y="5"/>
                </a:cubicBezTo>
                <a:cubicBezTo>
                  <a:pt x="16" y="5"/>
                  <a:pt x="16" y="5"/>
                  <a:pt x="16" y="5"/>
                </a:cubicBezTo>
                <a:cubicBezTo>
                  <a:pt x="16" y="11"/>
                  <a:pt x="16" y="11"/>
                  <a:pt x="16" y="11"/>
                </a:cubicBezTo>
                <a:lnTo>
                  <a:pt x="24" y="11"/>
                </a:lnTo>
                <a:close/>
                <a:moveTo>
                  <a:pt x="67" y="77"/>
                </a:moveTo>
                <a:cubicBezTo>
                  <a:pt x="97" y="57"/>
                  <a:pt x="97" y="57"/>
                  <a:pt x="97" y="57"/>
                </a:cubicBezTo>
                <a:cubicBezTo>
                  <a:pt x="101" y="54"/>
                  <a:pt x="104" y="49"/>
                  <a:pt x="104" y="43"/>
                </a:cubicBezTo>
                <a:cubicBezTo>
                  <a:pt x="104" y="16"/>
                  <a:pt x="104" y="16"/>
                  <a:pt x="104" y="16"/>
                </a:cubicBezTo>
                <a:cubicBezTo>
                  <a:pt x="29" y="16"/>
                  <a:pt x="29" y="16"/>
                  <a:pt x="29" y="16"/>
                </a:cubicBezTo>
                <a:cubicBezTo>
                  <a:pt x="29" y="43"/>
                  <a:pt x="29" y="43"/>
                  <a:pt x="29" y="43"/>
                </a:cubicBezTo>
                <a:cubicBezTo>
                  <a:pt x="29" y="49"/>
                  <a:pt x="32" y="54"/>
                  <a:pt x="37" y="57"/>
                </a:cubicBezTo>
                <a:lnTo>
                  <a:pt x="67" y="77"/>
                </a:lnTo>
                <a:close/>
                <a:moveTo>
                  <a:pt x="29" y="144"/>
                </a:moveTo>
                <a:cubicBezTo>
                  <a:pt x="104" y="144"/>
                  <a:pt x="104" y="144"/>
                  <a:pt x="104" y="144"/>
                </a:cubicBezTo>
                <a:cubicBezTo>
                  <a:pt x="104" y="117"/>
                  <a:pt x="104" y="117"/>
                  <a:pt x="104" y="117"/>
                </a:cubicBezTo>
                <a:cubicBezTo>
                  <a:pt x="104" y="111"/>
                  <a:pt x="101" y="106"/>
                  <a:pt x="97" y="103"/>
                </a:cubicBezTo>
                <a:cubicBezTo>
                  <a:pt x="67" y="83"/>
                  <a:pt x="67" y="83"/>
                  <a:pt x="67" y="83"/>
                </a:cubicBezTo>
                <a:cubicBezTo>
                  <a:pt x="37" y="103"/>
                  <a:pt x="37" y="103"/>
                  <a:pt x="37" y="103"/>
                </a:cubicBezTo>
                <a:cubicBezTo>
                  <a:pt x="32" y="106"/>
                  <a:pt x="29" y="111"/>
                  <a:pt x="29" y="117"/>
                </a:cubicBezTo>
                <a:lnTo>
                  <a:pt x="29" y="144"/>
                </a:lnTo>
                <a:close/>
                <a:moveTo>
                  <a:pt x="16" y="155"/>
                </a:moveTo>
                <a:cubicBezTo>
                  <a:pt x="117" y="155"/>
                  <a:pt x="117" y="155"/>
                  <a:pt x="117" y="155"/>
                </a:cubicBezTo>
                <a:cubicBezTo>
                  <a:pt x="117" y="149"/>
                  <a:pt x="117" y="149"/>
                  <a:pt x="117" y="149"/>
                </a:cubicBezTo>
                <a:cubicBezTo>
                  <a:pt x="109" y="149"/>
                  <a:pt x="109" y="149"/>
                  <a:pt x="109" y="149"/>
                </a:cubicBezTo>
                <a:cubicBezTo>
                  <a:pt x="24" y="149"/>
                  <a:pt x="24" y="149"/>
                  <a:pt x="24" y="149"/>
                </a:cubicBezTo>
                <a:cubicBezTo>
                  <a:pt x="16" y="149"/>
                  <a:pt x="16" y="149"/>
                  <a:pt x="16" y="149"/>
                </a:cubicBezTo>
                <a:lnTo>
                  <a:pt x="16" y="1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8" name="Freeform 2156"/>
          <p:cNvSpPr>
            <a:spLocks noEditPoints="1"/>
          </p:cNvSpPr>
          <p:nvPr/>
        </p:nvSpPr>
        <p:spPr bwMode="auto">
          <a:xfrm>
            <a:off x="6762016" y="5144321"/>
            <a:ext cx="546100" cy="368300"/>
          </a:xfrm>
          <a:custGeom>
            <a:avLst/>
            <a:gdLst>
              <a:gd name="T0" fmla="*/ 101 w 160"/>
              <a:gd name="T1" fmla="*/ 14 h 107"/>
              <a:gd name="T2" fmla="*/ 0 w 160"/>
              <a:gd name="T3" fmla="*/ 41 h 107"/>
              <a:gd name="T4" fmla="*/ 19 w 160"/>
              <a:gd name="T5" fmla="*/ 67 h 107"/>
              <a:gd name="T6" fmla="*/ 28 w 160"/>
              <a:gd name="T7" fmla="*/ 83 h 107"/>
              <a:gd name="T8" fmla="*/ 61 w 160"/>
              <a:gd name="T9" fmla="*/ 93 h 107"/>
              <a:gd name="T10" fmla="*/ 101 w 160"/>
              <a:gd name="T11" fmla="*/ 93 h 107"/>
              <a:gd name="T12" fmla="*/ 123 w 160"/>
              <a:gd name="T13" fmla="*/ 96 h 107"/>
              <a:gd name="T14" fmla="*/ 65 w 160"/>
              <a:gd name="T15" fmla="*/ 85 h 107"/>
              <a:gd name="T16" fmla="*/ 27 w 160"/>
              <a:gd name="T17" fmla="*/ 73 h 107"/>
              <a:gd name="T18" fmla="*/ 65 w 160"/>
              <a:gd name="T19" fmla="*/ 85 h 107"/>
              <a:gd name="T20" fmla="*/ 5 w 160"/>
              <a:gd name="T21" fmla="*/ 65 h 107"/>
              <a:gd name="T22" fmla="*/ 13 w 160"/>
              <a:gd name="T23" fmla="*/ 41 h 107"/>
              <a:gd name="T24" fmla="*/ 19 w 160"/>
              <a:gd name="T25" fmla="*/ 61 h 107"/>
              <a:gd name="T26" fmla="*/ 101 w 160"/>
              <a:gd name="T27" fmla="*/ 87 h 107"/>
              <a:gd name="T28" fmla="*/ 112 w 160"/>
              <a:gd name="T29" fmla="*/ 101 h 107"/>
              <a:gd name="T30" fmla="*/ 107 w 160"/>
              <a:gd name="T31" fmla="*/ 12 h 107"/>
              <a:gd name="T32" fmla="*/ 117 w 160"/>
              <a:gd name="T33" fmla="*/ 11 h 107"/>
              <a:gd name="T34" fmla="*/ 147 w 160"/>
              <a:gd name="T35" fmla="*/ 56 h 107"/>
              <a:gd name="T36" fmla="*/ 144 w 160"/>
              <a:gd name="T37" fmla="*/ 51 h 107"/>
              <a:gd name="T38" fmla="*/ 131 w 160"/>
              <a:gd name="T39" fmla="*/ 53 h 107"/>
              <a:gd name="T40" fmla="*/ 139 w 160"/>
              <a:gd name="T41" fmla="*/ 53 h 107"/>
              <a:gd name="T42" fmla="*/ 131 w 160"/>
              <a:gd name="T43" fmla="*/ 53 h 107"/>
              <a:gd name="T44" fmla="*/ 155 w 160"/>
              <a:gd name="T45" fmla="*/ 56 h 107"/>
              <a:gd name="T46" fmla="*/ 157 w 160"/>
              <a:gd name="T47" fmla="*/ 51 h 107"/>
              <a:gd name="T48" fmla="*/ 139 w 160"/>
              <a:gd name="T49" fmla="*/ 13 h 107"/>
              <a:gd name="T50" fmla="*/ 145 w 160"/>
              <a:gd name="T51" fmla="*/ 15 h 107"/>
              <a:gd name="T52" fmla="*/ 139 w 160"/>
              <a:gd name="T53" fmla="*/ 17 h 107"/>
              <a:gd name="T54" fmla="*/ 148 w 160"/>
              <a:gd name="T55" fmla="*/ 3 h 107"/>
              <a:gd name="T56" fmla="*/ 150 w 160"/>
              <a:gd name="T57" fmla="*/ 9 h 107"/>
              <a:gd name="T58" fmla="*/ 131 w 160"/>
              <a:gd name="T59" fmla="*/ 24 h 107"/>
              <a:gd name="T60" fmla="*/ 137 w 160"/>
              <a:gd name="T61" fmla="*/ 19 h 107"/>
              <a:gd name="T62" fmla="*/ 133 w 160"/>
              <a:gd name="T63" fmla="*/ 25 h 107"/>
              <a:gd name="T64" fmla="*/ 137 w 160"/>
              <a:gd name="T65" fmla="*/ 40 h 107"/>
              <a:gd name="T66" fmla="*/ 131 w 160"/>
              <a:gd name="T67" fmla="*/ 39 h 107"/>
              <a:gd name="T68" fmla="*/ 138 w 160"/>
              <a:gd name="T69" fmla="*/ 37 h 107"/>
              <a:gd name="T70" fmla="*/ 145 w 160"/>
              <a:gd name="T71" fmla="*/ 32 h 107"/>
              <a:gd name="T72" fmla="*/ 144 w 160"/>
              <a:gd name="T73" fmla="*/ 37 h 107"/>
              <a:gd name="T74" fmla="*/ 153 w 160"/>
              <a:gd name="T75" fmla="*/ 29 h 107"/>
              <a:gd name="T76" fmla="*/ 157 w 160"/>
              <a:gd name="T77" fmla="*/ 33 h 107"/>
              <a:gd name="T78" fmla="*/ 151 w 160"/>
              <a:gd name="T79" fmla="*/ 32 h 107"/>
              <a:gd name="T80" fmla="*/ 152 w 160"/>
              <a:gd name="T81" fmla="*/ 103 h 107"/>
              <a:gd name="T82" fmla="*/ 147 w 160"/>
              <a:gd name="T83" fmla="*/ 101 h 107"/>
              <a:gd name="T84" fmla="*/ 152 w 160"/>
              <a:gd name="T85" fmla="*/ 99 h 107"/>
              <a:gd name="T86" fmla="*/ 143 w 160"/>
              <a:gd name="T87" fmla="*/ 96 h 107"/>
              <a:gd name="T88" fmla="*/ 139 w 160"/>
              <a:gd name="T89" fmla="*/ 90 h 107"/>
              <a:gd name="T90" fmla="*/ 137 w 160"/>
              <a:gd name="T91" fmla="*/ 84 h 107"/>
              <a:gd name="T92" fmla="*/ 133 w 160"/>
              <a:gd name="T93" fmla="*/ 88 h 107"/>
              <a:gd name="T94" fmla="*/ 135 w 160"/>
              <a:gd name="T95" fmla="*/ 82 h 107"/>
              <a:gd name="T96" fmla="*/ 144 w 160"/>
              <a:gd name="T97" fmla="*/ 69 h 107"/>
              <a:gd name="T98" fmla="*/ 146 w 160"/>
              <a:gd name="T99" fmla="*/ 75 h 107"/>
              <a:gd name="T100" fmla="*/ 141 w 160"/>
              <a:gd name="T101" fmla="*/ 71 h 107"/>
              <a:gd name="T102" fmla="*/ 135 w 160"/>
              <a:gd name="T103" fmla="*/ 72 h 107"/>
              <a:gd name="T104" fmla="*/ 134 w 160"/>
              <a:gd name="T105" fmla="*/ 66 h 107"/>
              <a:gd name="T106" fmla="*/ 159 w 160"/>
              <a:gd name="T107" fmla="*/ 77 h 107"/>
              <a:gd name="T108" fmla="*/ 153 w 160"/>
              <a:gd name="T109" fmla="*/ 78 h 107"/>
              <a:gd name="T110" fmla="*/ 157 w 160"/>
              <a:gd name="T111" fmla="*/ 7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07">
                <a:moveTo>
                  <a:pt x="112" y="0"/>
                </a:moveTo>
                <a:cubicBezTo>
                  <a:pt x="106" y="0"/>
                  <a:pt x="101" y="5"/>
                  <a:pt x="101" y="11"/>
                </a:cubicBezTo>
                <a:cubicBezTo>
                  <a:pt x="101" y="14"/>
                  <a:pt x="101" y="14"/>
                  <a:pt x="101" y="14"/>
                </a:cubicBezTo>
                <a:cubicBezTo>
                  <a:pt x="19" y="40"/>
                  <a:pt x="19" y="40"/>
                  <a:pt x="19" y="40"/>
                </a:cubicBezTo>
                <a:cubicBezTo>
                  <a:pt x="18" y="36"/>
                  <a:pt x="14" y="32"/>
                  <a:pt x="9" y="32"/>
                </a:cubicBezTo>
                <a:cubicBezTo>
                  <a:pt x="4" y="32"/>
                  <a:pt x="0" y="36"/>
                  <a:pt x="0" y="41"/>
                </a:cubicBezTo>
                <a:cubicBezTo>
                  <a:pt x="0" y="65"/>
                  <a:pt x="0" y="65"/>
                  <a:pt x="0" y="65"/>
                </a:cubicBezTo>
                <a:cubicBezTo>
                  <a:pt x="0" y="70"/>
                  <a:pt x="4" y="75"/>
                  <a:pt x="9" y="75"/>
                </a:cubicBezTo>
                <a:cubicBezTo>
                  <a:pt x="14" y="75"/>
                  <a:pt x="18" y="71"/>
                  <a:pt x="19" y="67"/>
                </a:cubicBezTo>
                <a:cubicBezTo>
                  <a:pt x="24" y="68"/>
                  <a:pt x="24" y="68"/>
                  <a:pt x="24" y="68"/>
                </a:cubicBezTo>
                <a:cubicBezTo>
                  <a:pt x="23" y="69"/>
                  <a:pt x="23" y="70"/>
                  <a:pt x="22" y="72"/>
                </a:cubicBezTo>
                <a:cubicBezTo>
                  <a:pt x="21" y="76"/>
                  <a:pt x="23" y="81"/>
                  <a:pt x="28" y="83"/>
                </a:cubicBezTo>
                <a:cubicBezTo>
                  <a:pt x="59" y="93"/>
                  <a:pt x="59" y="93"/>
                  <a:pt x="59" y="93"/>
                </a:cubicBezTo>
                <a:cubicBezTo>
                  <a:pt x="59" y="93"/>
                  <a:pt x="59" y="93"/>
                  <a:pt x="59" y="93"/>
                </a:cubicBezTo>
                <a:cubicBezTo>
                  <a:pt x="60" y="93"/>
                  <a:pt x="60" y="93"/>
                  <a:pt x="61" y="93"/>
                </a:cubicBezTo>
                <a:cubicBezTo>
                  <a:pt x="65" y="93"/>
                  <a:pt x="69" y="91"/>
                  <a:pt x="70" y="87"/>
                </a:cubicBezTo>
                <a:cubicBezTo>
                  <a:pt x="70" y="86"/>
                  <a:pt x="71" y="84"/>
                  <a:pt x="70" y="83"/>
                </a:cubicBezTo>
                <a:cubicBezTo>
                  <a:pt x="101" y="93"/>
                  <a:pt x="101" y="93"/>
                  <a:pt x="101" y="93"/>
                </a:cubicBezTo>
                <a:cubicBezTo>
                  <a:pt x="101" y="96"/>
                  <a:pt x="101" y="96"/>
                  <a:pt x="101" y="96"/>
                </a:cubicBezTo>
                <a:cubicBezTo>
                  <a:pt x="101" y="102"/>
                  <a:pt x="106" y="107"/>
                  <a:pt x="112" y="107"/>
                </a:cubicBezTo>
                <a:cubicBezTo>
                  <a:pt x="118" y="107"/>
                  <a:pt x="123" y="102"/>
                  <a:pt x="123" y="96"/>
                </a:cubicBezTo>
                <a:cubicBezTo>
                  <a:pt x="123" y="11"/>
                  <a:pt x="123" y="11"/>
                  <a:pt x="123" y="11"/>
                </a:cubicBezTo>
                <a:cubicBezTo>
                  <a:pt x="123" y="5"/>
                  <a:pt x="118" y="0"/>
                  <a:pt x="112" y="0"/>
                </a:cubicBezTo>
                <a:close/>
                <a:moveTo>
                  <a:pt x="65" y="85"/>
                </a:moveTo>
                <a:cubicBezTo>
                  <a:pt x="64" y="87"/>
                  <a:pt x="62" y="88"/>
                  <a:pt x="60" y="88"/>
                </a:cubicBezTo>
                <a:cubicBezTo>
                  <a:pt x="30" y="78"/>
                  <a:pt x="30" y="78"/>
                  <a:pt x="30" y="78"/>
                </a:cubicBezTo>
                <a:cubicBezTo>
                  <a:pt x="28" y="77"/>
                  <a:pt x="27" y="75"/>
                  <a:pt x="27" y="73"/>
                </a:cubicBezTo>
                <a:cubicBezTo>
                  <a:pt x="28" y="71"/>
                  <a:pt x="30" y="70"/>
                  <a:pt x="32" y="71"/>
                </a:cubicBezTo>
                <a:cubicBezTo>
                  <a:pt x="63" y="81"/>
                  <a:pt x="63" y="81"/>
                  <a:pt x="63" y="81"/>
                </a:cubicBezTo>
                <a:cubicBezTo>
                  <a:pt x="64" y="81"/>
                  <a:pt x="66" y="83"/>
                  <a:pt x="65" y="85"/>
                </a:cubicBezTo>
                <a:close/>
                <a:moveTo>
                  <a:pt x="13" y="65"/>
                </a:moveTo>
                <a:cubicBezTo>
                  <a:pt x="13" y="68"/>
                  <a:pt x="12" y="69"/>
                  <a:pt x="9" y="69"/>
                </a:cubicBezTo>
                <a:cubicBezTo>
                  <a:pt x="7" y="69"/>
                  <a:pt x="5" y="68"/>
                  <a:pt x="5" y="65"/>
                </a:cubicBezTo>
                <a:cubicBezTo>
                  <a:pt x="5" y="41"/>
                  <a:pt x="5" y="41"/>
                  <a:pt x="5" y="41"/>
                </a:cubicBezTo>
                <a:cubicBezTo>
                  <a:pt x="5" y="39"/>
                  <a:pt x="7" y="37"/>
                  <a:pt x="9" y="37"/>
                </a:cubicBezTo>
                <a:cubicBezTo>
                  <a:pt x="12" y="37"/>
                  <a:pt x="13" y="39"/>
                  <a:pt x="13" y="41"/>
                </a:cubicBezTo>
                <a:cubicBezTo>
                  <a:pt x="13" y="42"/>
                  <a:pt x="13" y="42"/>
                  <a:pt x="13" y="42"/>
                </a:cubicBezTo>
                <a:cubicBezTo>
                  <a:pt x="13" y="65"/>
                  <a:pt x="13" y="65"/>
                  <a:pt x="13" y="65"/>
                </a:cubicBezTo>
                <a:close/>
                <a:moveTo>
                  <a:pt x="19" y="61"/>
                </a:moveTo>
                <a:cubicBezTo>
                  <a:pt x="19" y="46"/>
                  <a:pt x="19" y="46"/>
                  <a:pt x="19" y="46"/>
                </a:cubicBezTo>
                <a:cubicBezTo>
                  <a:pt x="101" y="20"/>
                  <a:pt x="101" y="20"/>
                  <a:pt x="101" y="20"/>
                </a:cubicBezTo>
                <a:cubicBezTo>
                  <a:pt x="101" y="87"/>
                  <a:pt x="101" y="87"/>
                  <a:pt x="101" y="87"/>
                </a:cubicBezTo>
                <a:lnTo>
                  <a:pt x="19" y="61"/>
                </a:lnTo>
                <a:close/>
                <a:moveTo>
                  <a:pt x="117" y="96"/>
                </a:moveTo>
                <a:cubicBezTo>
                  <a:pt x="117" y="99"/>
                  <a:pt x="115" y="101"/>
                  <a:pt x="112" y="101"/>
                </a:cubicBezTo>
                <a:cubicBezTo>
                  <a:pt x="109" y="101"/>
                  <a:pt x="107" y="99"/>
                  <a:pt x="107" y="96"/>
                </a:cubicBezTo>
                <a:cubicBezTo>
                  <a:pt x="107" y="94"/>
                  <a:pt x="107" y="94"/>
                  <a:pt x="107" y="94"/>
                </a:cubicBezTo>
                <a:cubicBezTo>
                  <a:pt x="107" y="12"/>
                  <a:pt x="107" y="12"/>
                  <a:pt x="107" y="12"/>
                </a:cubicBezTo>
                <a:cubicBezTo>
                  <a:pt x="107" y="11"/>
                  <a:pt x="107" y="11"/>
                  <a:pt x="107" y="11"/>
                </a:cubicBezTo>
                <a:cubicBezTo>
                  <a:pt x="107" y="8"/>
                  <a:pt x="109" y="5"/>
                  <a:pt x="112" y="5"/>
                </a:cubicBezTo>
                <a:cubicBezTo>
                  <a:pt x="115" y="5"/>
                  <a:pt x="117" y="8"/>
                  <a:pt x="117" y="11"/>
                </a:cubicBezTo>
                <a:lnTo>
                  <a:pt x="117" y="96"/>
                </a:lnTo>
                <a:close/>
                <a:moveTo>
                  <a:pt x="149" y="53"/>
                </a:moveTo>
                <a:cubicBezTo>
                  <a:pt x="149" y="55"/>
                  <a:pt x="148" y="56"/>
                  <a:pt x="147" y="56"/>
                </a:cubicBezTo>
                <a:cubicBezTo>
                  <a:pt x="144" y="56"/>
                  <a:pt x="144" y="56"/>
                  <a:pt x="144" y="56"/>
                </a:cubicBezTo>
                <a:cubicBezTo>
                  <a:pt x="143" y="56"/>
                  <a:pt x="141" y="55"/>
                  <a:pt x="141" y="53"/>
                </a:cubicBezTo>
                <a:cubicBezTo>
                  <a:pt x="141" y="52"/>
                  <a:pt x="143" y="51"/>
                  <a:pt x="144" y="51"/>
                </a:cubicBezTo>
                <a:cubicBezTo>
                  <a:pt x="147" y="51"/>
                  <a:pt x="147" y="51"/>
                  <a:pt x="147" y="51"/>
                </a:cubicBezTo>
                <a:cubicBezTo>
                  <a:pt x="148" y="51"/>
                  <a:pt x="149" y="52"/>
                  <a:pt x="149" y="53"/>
                </a:cubicBezTo>
                <a:close/>
                <a:moveTo>
                  <a:pt x="131" y="53"/>
                </a:moveTo>
                <a:cubicBezTo>
                  <a:pt x="131" y="52"/>
                  <a:pt x="132" y="51"/>
                  <a:pt x="133" y="51"/>
                </a:cubicBezTo>
                <a:cubicBezTo>
                  <a:pt x="136" y="51"/>
                  <a:pt x="136" y="51"/>
                  <a:pt x="136" y="51"/>
                </a:cubicBezTo>
                <a:cubicBezTo>
                  <a:pt x="137" y="51"/>
                  <a:pt x="139" y="52"/>
                  <a:pt x="139" y="53"/>
                </a:cubicBezTo>
                <a:cubicBezTo>
                  <a:pt x="139" y="55"/>
                  <a:pt x="137" y="56"/>
                  <a:pt x="136" y="56"/>
                </a:cubicBezTo>
                <a:cubicBezTo>
                  <a:pt x="133" y="56"/>
                  <a:pt x="133" y="56"/>
                  <a:pt x="133" y="56"/>
                </a:cubicBezTo>
                <a:cubicBezTo>
                  <a:pt x="132" y="56"/>
                  <a:pt x="131" y="55"/>
                  <a:pt x="131" y="53"/>
                </a:cubicBezTo>
                <a:close/>
                <a:moveTo>
                  <a:pt x="160" y="53"/>
                </a:moveTo>
                <a:cubicBezTo>
                  <a:pt x="160" y="55"/>
                  <a:pt x="159" y="56"/>
                  <a:pt x="157" y="56"/>
                </a:cubicBezTo>
                <a:cubicBezTo>
                  <a:pt x="155" y="56"/>
                  <a:pt x="155" y="56"/>
                  <a:pt x="155" y="56"/>
                </a:cubicBezTo>
                <a:cubicBezTo>
                  <a:pt x="153" y="56"/>
                  <a:pt x="152" y="55"/>
                  <a:pt x="152" y="53"/>
                </a:cubicBezTo>
                <a:cubicBezTo>
                  <a:pt x="152" y="52"/>
                  <a:pt x="153" y="51"/>
                  <a:pt x="155" y="51"/>
                </a:cubicBezTo>
                <a:cubicBezTo>
                  <a:pt x="157" y="51"/>
                  <a:pt x="157" y="51"/>
                  <a:pt x="157" y="51"/>
                </a:cubicBezTo>
                <a:cubicBezTo>
                  <a:pt x="159" y="51"/>
                  <a:pt x="160" y="52"/>
                  <a:pt x="160" y="53"/>
                </a:cubicBezTo>
                <a:close/>
                <a:moveTo>
                  <a:pt x="139" y="17"/>
                </a:moveTo>
                <a:cubicBezTo>
                  <a:pt x="138" y="16"/>
                  <a:pt x="138" y="14"/>
                  <a:pt x="139" y="13"/>
                </a:cubicBezTo>
                <a:cubicBezTo>
                  <a:pt x="141" y="11"/>
                  <a:pt x="141" y="11"/>
                  <a:pt x="141" y="11"/>
                </a:cubicBezTo>
                <a:cubicBezTo>
                  <a:pt x="142" y="10"/>
                  <a:pt x="144" y="10"/>
                  <a:pt x="145" y="11"/>
                </a:cubicBezTo>
                <a:cubicBezTo>
                  <a:pt x="146" y="12"/>
                  <a:pt x="146" y="14"/>
                  <a:pt x="145" y="15"/>
                </a:cubicBezTo>
                <a:cubicBezTo>
                  <a:pt x="143" y="17"/>
                  <a:pt x="143" y="17"/>
                  <a:pt x="143" y="17"/>
                </a:cubicBezTo>
                <a:cubicBezTo>
                  <a:pt x="142" y="17"/>
                  <a:pt x="142" y="17"/>
                  <a:pt x="141" y="17"/>
                </a:cubicBezTo>
                <a:cubicBezTo>
                  <a:pt x="140" y="17"/>
                  <a:pt x="140" y="17"/>
                  <a:pt x="139" y="17"/>
                </a:cubicBezTo>
                <a:close/>
                <a:moveTo>
                  <a:pt x="147" y="9"/>
                </a:moveTo>
                <a:cubicBezTo>
                  <a:pt x="145" y="8"/>
                  <a:pt x="145" y="6"/>
                  <a:pt x="147" y="5"/>
                </a:cubicBezTo>
                <a:cubicBezTo>
                  <a:pt x="148" y="3"/>
                  <a:pt x="148" y="3"/>
                  <a:pt x="148" y="3"/>
                </a:cubicBezTo>
                <a:cubicBezTo>
                  <a:pt x="149" y="2"/>
                  <a:pt x="151" y="2"/>
                  <a:pt x="152" y="3"/>
                </a:cubicBezTo>
                <a:cubicBezTo>
                  <a:pt x="153" y="4"/>
                  <a:pt x="153" y="6"/>
                  <a:pt x="152" y="7"/>
                </a:cubicBezTo>
                <a:cubicBezTo>
                  <a:pt x="150" y="9"/>
                  <a:pt x="150" y="9"/>
                  <a:pt x="150" y="9"/>
                </a:cubicBezTo>
                <a:cubicBezTo>
                  <a:pt x="150" y="10"/>
                  <a:pt x="149" y="10"/>
                  <a:pt x="148" y="10"/>
                </a:cubicBezTo>
                <a:cubicBezTo>
                  <a:pt x="148" y="10"/>
                  <a:pt x="147" y="10"/>
                  <a:pt x="147" y="9"/>
                </a:cubicBezTo>
                <a:close/>
                <a:moveTo>
                  <a:pt x="131" y="24"/>
                </a:moveTo>
                <a:cubicBezTo>
                  <a:pt x="130" y="23"/>
                  <a:pt x="130" y="21"/>
                  <a:pt x="131" y="20"/>
                </a:cubicBezTo>
                <a:cubicBezTo>
                  <a:pt x="133" y="19"/>
                  <a:pt x="133" y="19"/>
                  <a:pt x="133" y="19"/>
                </a:cubicBezTo>
                <a:cubicBezTo>
                  <a:pt x="134" y="17"/>
                  <a:pt x="136" y="17"/>
                  <a:pt x="137" y="19"/>
                </a:cubicBezTo>
                <a:cubicBezTo>
                  <a:pt x="138" y="20"/>
                  <a:pt x="138" y="21"/>
                  <a:pt x="137" y="22"/>
                </a:cubicBezTo>
                <a:cubicBezTo>
                  <a:pt x="135" y="24"/>
                  <a:pt x="135" y="24"/>
                  <a:pt x="135" y="24"/>
                </a:cubicBezTo>
                <a:cubicBezTo>
                  <a:pt x="135" y="25"/>
                  <a:pt x="134" y="25"/>
                  <a:pt x="133" y="25"/>
                </a:cubicBezTo>
                <a:cubicBezTo>
                  <a:pt x="133" y="25"/>
                  <a:pt x="132" y="25"/>
                  <a:pt x="131" y="24"/>
                </a:cubicBezTo>
                <a:close/>
                <a:moveTo>
                  <a:pt x="138" y="37"/>
                </a:moveTo>
                <a:cubicBezTo>
                  <a:pt x="139" y="38"/>
                  <a:pt x="138" y="40"/>
                  <a:pt x="137" y="40"/>
                </a:cubicBezTo>
                <a:cubicBezTo>
                  <a:pt x="134" y="41"/>
                  <a:pt x="134" y="41"/>
                  <a:pt x="134" y="41"/>
                </a:cubicBezTo>
                <a:cubicBezTo>
                  <a:pt x="134" y="41"/>
                  <a:pt x="134" y="41"/>
                  <a:pt x="133" y="41"/>
                </a:cubicBezTo>
                <a:cubicBezTo>
                  <a:pt x="132" y="41"/>
                  <a:pt x="131" y="40"/>
                  <a:pt x="131" y="39"/>
                </a:cubicBezTo>
                <a:cubicBezTo>
                  <a:pt x="130" y="38"/>
                  <a:pt x="131" y="36"/>
                  <a:pt x="132" y="36"/>
                </a:cubicBezTo>
                <a:cubicBezTo>
                  <a:pt x="135" y="35"/>
                  <a:pt x="135" y="35"/>
                  <a:pt x="135" y="35"/>
                </a:cubicBezTo>
                <a:cubicBezTo>
                  <a:pt x="136" y="34"/>
                  <a:pt x="138" y="35"/>
                  <a:pt x="138" y="37"/>
                </a:cubicBezTo>
                <a:close/>
                <a:moveTo>
                  <a:pt x="141" y="36"/>
                </a:moveTo>
                <a:cubicBezTo>
                  <a:pt x="140" y="34"/>
                  <a:pt x="141" y="33"/>
                  <a:pt x="143" y="32"/>
                </a:cubicBezTo>
                <a:cubicBezTo>
                  <a:pt x="145" y="32"/>
                  <a:pt x="145" y="32"/>
                  <a:pt x="145" y="32"/>
                </a:cubicBezTo>
                <a:cubicBezTo>
                  <a:pt x="147" y="31"/>
                  <a:pt x="148" y="32"/>
                  <a:pt x="149" y="33"/>
                </a:cubicBezTo>
                <a:cubicBezTo>
                  <a:pt x="149" y="35"/>
                  <a:pt x="148" y="36"/>
                  <a:pt x="147" y="37"/>
                </a:cubicBezTo>
                <a:cubicBezTo>
                  <a:pt x="144" y="37"/>
                  <a:pt x="144" y="37"/>
                  <a:pt x="144" y="37"/>
                </a:cubicBezTo>
                <a:cubicBezTo>
                  <a:pt x="144" y="38"/>
                  <a:pt x="144" y="38"/>
                  <a:pt x="143" y="38"/>
                </a:cubicBezTo>
                <a:cubicBezTo>
                  <a:pt x="142" y="38"/>
                  <a:pt x="141" y="37"/>
                  <a:pt x="141" y="36"/>
                </a:cubicBezTo>
                <a:close/>
                <a:moveTo>
                  <a:pt x="153" y="29"/>
                </a:moveTo>
                <a:cubicBezTo>
                  <a:pt x="155" y="28"/>
                  <a:pt x="155" y="28"/>
                  <a:pt x="155" y="28"/>
                </a:cubicBezTo>
                <a:cubicBezTo>
                  <a:pt x="157" y="28"/>
                  <a:pt x="158" y="28"/>
                  <a:pt x="159" y="30"/>
                </a:cubicBezTo>
                <a:cubicBezTo>
                  <a:pt x="159" y="31"/>
                  <a:pt x="158" y="33"/>
                  <a:pt x="157" y="33"/>
                </a:cubicBezTo>
                <a:cubicBezTo>
                  <a:pt x="154" y="34"/>
                  <a:pt x="154" y="34"/>
                  <a:pt x="154" y="34"/>
                </a:cubicBezTo>
                <a:cubicBezTo>
                  <a:pt x="154" y="34"/>
                  <a:pt x="154" y="34"/>
                  <a:pt x="154" y="34"/>
                </a:cubicBezTo>
                <a:cubicBezTo>
                  <a:pt x="152" y="34"/>
                  <a:pt x="151" y="34"/>
                  <a:pt x="151" y="32"/>
                </a:cubicBezTo>
                <a:cubicBezTo>
                  <a:pt x="151" y="31"/>
                  <a:pt x="151" y="29"/>
                  <a:pt x="153" y="29"/>
                </a:cubicBezTo>
                <a:close/>
                <a:moveTo>
                  <a:pt x="152" y="99"/>
                </a:moveTo>
                <a:cubicBezTo>
                  <a:pt x="153" y="100"/>
                  <a:pt x="153" y="102"/>
                  <a:pt x="152" y="103"/>
                </a:cubicBezTo>
                <a:cubicBezTo>
                  <a:pt x="152" y="104"/>
                  <a:pt x="151" y="104"/>
                  <a:pt x="150" y="104"/>
                </a:cubicBezTo>
                <a:cubicBezTo>
                  <a:pt x="150" y="104"/>
                  <a:pt x="149" y="104"/>
                  <a:pt x="148" y="103"/>
                </a:cubicBezTo>
                <a:cubicBezTo>
                  <a:pt x="147" y="101"/>
                  <a:pt x="147" y="101"/>
                  <a:pt x="147" y="101"/>
                </a:cubicBezTo>
                <a:cubicBezTo>
                  <a:pt x="145" y="100"/>
                  <a:pt x="145" y="99"/>
                  <a:pt x="147" y="98"/>
                </a:cubicBezTo>
                <a:cubicBezTo>
                  <a:pt x="148" y="97"/>
                  <a:pt x="149" y="97"/>
                  <a:pt x="150" y="98"/>
                </a:cubicBezTo>
                <a:lnTo>
                  <a:pt x="152" y="99"/>
                </a:lnTo>
                <a:close/>
                <a:moveTo>
                  <a:pt x="145" y="92"/>
                </a:moveTo>
                <a:cubicBezTo>
                  <a:pt x="146" y="93"/>
                  <a:pt x="146" y="95"/>
                  <a:pt x="145" y="96"/>
                </a:cubicBezTo>
                <a:cubicBezTo>
                  <a:pt x="144" y="96"/>
                  <a:pt x="143" y="96"/>
                  <a:pt x="143" y="96"/>
                </a:cubicBezTo>
                <a:cubicBezTo>
                  <a:pt x="142" y="96"/>
                  <a:pt x="141" y="96"/>
                  <a:pt x="141" y="96"/>
                </a:cubicBezTo>
                <a:cubicBezTo>
                  <a:pt x="139" y="94"/>
                  <a:pt x="139" y="94"/>
                  <a:pt x="139" y="94"/>
                </a:cubicBezTo>
                <a:cubicBezTo>
                  <a:pt x="138" y="93"/>
                  <a:pt x="138" y="91"/>
                  <a:pt x="139" y="90"/>
                </a:cubicBezTo>
                <a:cubicBezTo>
                  <a:pt x="140" y="89"/>
                  <a:pt x="142" y="89"/>
                  <a:pt x="143" y="90"/>
                </a:cubicBezTo>
                <a:lnTo>
                  <a:pt x="145" y="92"/>
                </a:lnTo>
                <a:close/>
                <a:moveTo>
                  <a:pt x="137" y="84"/>
                </a:moveTo>
                <a:cubicBezTo>
                  <a:pt x="138" y="85"/>
                  <a:pt x="138" y="87"/>
                  <a:pt x="137" y="88"/>
                </a:cubicBezTo>
                <a:cubicBezTo>
                  <a:pt x="137" y="89"/>
                  <a:pt x="136" y="89"/>
                  <a:pt x="135" y="89"/>
                </a:cubicBezTo>
                <a:cubicBezTo>
                  <a:pt x="135" y="89"/>
                  <a:pt x="134" y="89"/>
                  <a:pt x="133" y="88"/>
                </a:cubicBezTo>
                <a:cubicBezTo>
                  <a:pt x="131" y="86"/>
                  <a:pt x="131" y="86"/>
                  <a:pt x="131" y="86"/>
                </a:cubicBezTo>
                <a:cubicBezTo>
                  <a:pt x="130" y="85"/>
                  <a:pt x="130" y="84"/>
                  <a:pt x="131" y="82"/>
                </a:cubicBezTo>
                <a:cubicBezTo>
                  <a:pt x="132" y="81"/>
                  <a:pt x="134" y="81"/>
                  <a:pt x="135" y="82"/>
                </a:cubicBezTo>
                <a:lnTo>
                  <a:pt x="137" y="84"/>
                </a:lnTo>
                <a:close/>
                <a:moveTo>
                  <a:pt x="141" y="71"/>
                </a:moveTo>
                <a:cubicBezTo>
                  <a:pt x="141" y="69"/>
                  <a:pt x="143" y="69"/>
                  <a:pt x="144" y="69"/>
                </a:cubicBezTo>
                <a:cubicBezTo>
                  <a:pt x="147" y="70"/>
                  <a:pt x="147" y="70"/>
                  <a:pt x="147" y="70"/>
                </a:cubicBezTo>
                <a:cubicBezTo>
                  <a:pt x="148" y="71"/>
                  <a:pt x="149" y="72"/>
                  <a:pt x="149" y="73"/>
                </a:cubicBezTo>
                <a:cubicBezTo>
                  <a:pt x="148" y="75"/>
                  <a:pt x="147" y="75"/>
                  <a:pt x="146" y="75"/>
                </a:cubicBezTo>
                <a:cubicBezTo>
                  <a:pt x="146" y="75"/>
                  <a:pt x="145" y="75"/>
                  <a:pt x="145" y="75"/>
                </a:cubicBezTo>
                <a:cubicBezTo>
                  <a:pt x="143" y="74"/>
                  <a:pt x="143" y="74"/>
                  <a:pt x="143" y="74"/>
                </a:cubicBezTo>
                <a:cubicBezTo>
                  <a:pt x="141" y="74"/>
                  <a:pt x="140" y="72"/>
                  <a:pt x="141" y="71"/>
                </a:cubicBezTo>
                <a:close/>
                <a:moveTo>
                  <a:pt x="138" y="70"/>
                </a:moveTo>
                <a:cubicBezTo>
                  <a:pt x="138" y="71"/>
                  <a:pt x="137" y="72"/>
                  <a:pt x="136" y="72"/>
                </a:cubicBezTo>
                <a:cubicBezTo>
                  <a:pt x="136" y="72"/>
                  <a:pt x="135" y="72"/>
                  <a:pt x="135" y="72"/>
                </a:cubicBezTo>
                <a:cubicBezTo>
                  <a:pt x="132" y="71"/>
                  <a:pt x="132" y="71"/>
                  <a:pt x="132" y="71"/>
                </a:cubicBezTo>
                <a:cubicBezTo>
                  <a:pt x="131" y="70"/>
                  <a:pt x="130" y="69"/>
                  <a:pt x="131" y="68"/>
                </a:cubicBezTo>
                <a:cubicBezTo>
                  <a:pt x="131" y="66"/>
                  <a:pt x="133" y="65"/>
                  <a:pt x="134" y="66"/>
                </a:cubicBezTo>
                <a:cubicBezTo>
                  <a:pt x="137" y="67"/>
                  <a:pt x="137" y="67"/>
                  <a:pt x="137" y="67"/>
                </a:cubicBezTo>
                <a:cubicBezTo>
                  <a:pt x="138" y="67"/>
                  <a:pt x="139" y="69"/>
                  <a:pt x="138" y="70"/>
                </a:cubicBezTo>
                <a:close/>
                <a:moveTo>
                  <a:pt x="159" y="77"/>
                </a:moveTo>
                <a:cubicBezTo>
                  <a:pt x="158" y="78"/>
                  <a:pt x="157" y="79"/>
                  <a:pt x="156" y="79"/>
                </a:cubicBezTo>
                <a:cubicBezTo>
                  <a:pt x="156" y="79"/>
                  <a:pt x="156" y="79"/>
                  <a:pt x="155" y="78"/>
                </a:cubicBezTo>
                <a:cubicBezTo>
                  <a:pt x="153" y="78"/>
                  <a:pt x="153" y="78"/>
                  <a:pt x="153" y="78"/>
                </a:cubicBezTo>
                <a:cubicBezTo>
                  <a:pt x="151" y="77"/>
                  <a:pt x="151" y="76"/>
                  <a:pt x="151" y="74"/>
                </a:cubicBezTo>
                <a:cubicBezTo>
                  <a:pt x="152" y="73"/>
                  <a:pt x="153" y="72"/>
                  <a:pt x="154" y="73"/>
                </a:cubicBezTo>
                <a:cubicBezTo>
                  <a:pt x="157" y="73"/>
                  <a:pt x="157" y="73"/>
                  <a:pt x="157" y="73"/>
                </a:cubicBezTo>
                <a:cubicBezTo>
                  <a:pt x="158" y="74"/>
                  <a:pt x="159" y="75"/>
                  <a:pt x="159" y="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9" name="Freeform 1337"/>
          <p:cNvSpPr>
            <a:spLocks noEditPoints="1"/>
          </p:cNvSpPr>
          <p:nvPr/>
        </p:nvSpPr>
        <p:spPr bwMode="auto">
          <a:xfrm>
            <a:off x="6786839" y="2670307"/>
            <a:ext cx="496455" cy="500785"/>
          </a:xfrm>
          <a:custGeom>
            <a:avLst/>
            <a:gdLst>
              <a:gd name="T0" fmla="*/ 160 w 160"/>
              <a:gd name="T1" fmla="*/ 64 h 160"/>
              <a:gd name="T2" fmla="*/ 158 w 160"/>
              <a:gd name="T3" fmla="*/ 62 h 160"/>
              <a:gd name="T4" fmla="*/ 103 w 160"/>
              <a:gd name="T5" fmla="*/ 63 h 160"/>
              <a:gd name="T6" fmla="*/ 58 w 160"/>
              <a:gd name="T7" fmla="*/ 25 h 160"/>
              <a:gd name="T8" fmla="*/ 51 w 160"/>
              <a:gd name="T9" fmla="*/ 1 h 160"/>
              <a:gd name="T10" fmla="*/ 49 w 160"/>
              <a:gd name="T11" fmla="*/ 0 h 160"/>
              <a:gd name="T12" fmla="*/ 47 w 160"/>
              <a:gd name="T13" fmla="*/ 1 h 160"/>
              <a:gd name="T14" fmla="*/ 1 w 160"/>
              <a:gd name="T15" fmla="*/ 47 h 160"/>
              <a:gd name="T16" fmla="*/ 0 w 160"/>
              <a:gd name="T17" fmla="*/ 49 h 160"/>
              <a:gd name="T18" fmla="*/ 1 w 160"/>
              <a:gd name="T19" fmla="*/ 51 h 160"/>
              <a:gd name="T20" fmla="*/ 24 w 160"/>
              <a:gd name="T21" fmla="*/ 58 h 160"/>
              <a:gd name="T22" fmla="*/ 63 w 160"/>
              <a:gd name="T23" fmla="*/ 103 h 160"/>
              <a:gd name="T24" fmla="*/ 62 w 160"/>
              <a:gd name="T25" fmla="*/ 158 h 160"/>
              <a:gd name="T26" fmla="*/ 64 w 160"/>
              <a:gd name="T27" fmla="*/ 160 h 160"/>
              <a:gd name="T28" fmla="*/ 65 w 160"/>
              <a:gd name="T29" fmla="*/ 160 h 160"/>
              <a:gd name="T30" fmla="*/ 67 w 160"/>
              <a:gd name="T31" fmla="*/ 159 h 160"/>
              <a:gd name="T32" fmla="*/ 111 w 160"/>
              <a:gd name="T33" fmla="*/ 115 h 160"/>
              <a:gd name="T34" fmla="*/ 152 w 160"/>
              <a:gd name="T35" fmla="*/ 156 h 160"/>
              <a:gd name="T36" fmla="*/ 154 w 160"/>
              <a:gd name="T37" fmla="*/ 157 h 160"/>
              <a:gd name="T38" fmla="*/ 156 w 160"/>
              <a:gd name="T39" fmla="*/ 156 h 160"/>
              <a:gd name="T40" fmla="*/ 156 w 160"/>
              <a:gd name="T41" fmla="*/ 152 h 160"/>
              <a:gd name="T42" fmla="*/ 115 w 160"/>
              <a:gd name="T43" fmla="*/ 111 h 160"/>
              <a:gd name="T44" fmla="*/ 159 w 160"/>
              <a:gd name="T45" fmla="*/ 67 h 160"/>
              <a:gd name="T46" fmla="*/ 160 w 160"/>
              <a:gd name="T47" fmla="*/ 64 h 160"/>
              <a:gd name="T48" fmla="*/ 107 w 160"/>
              <a:gd name="T49" fmla="*/ 111 h 160"/>
              <a:gd name="T50" fmla="*/ 66 w 160"/>
              <a:gd name="T51" fmla="*/ 151 h 160"/>
              <a:gd name="T52" fmla="*/ 69 w 160"/>
              <a:gd name="T53" fmla="*/ 103 h 160"/>
              <a:gd name="T54" fmla="*/ 69 w 160"/>
              <a:gd name="T55" fmla="*/ 100 h 160"/>
              <a:gd name="T56" fmla="*/ 28 w 160"/>
              <a:gd name="T57" fmla="*/ 52 h 160"/>
              <a:gd name="T58" fmla="*/ 26 w 160"/>
              <a:gd name="T59" fmla="*/ 51 h 160"/>
              <a:gd name="T60" fmla="*/ 25 w 160"/>
              <a:gd name="T61" fmla="*/ 51 h 160"/>
              <a:gd name="T62" fmla="*/ 8 w 160"/>
              <a:gd name="T63" fmla="*/ 49 h 160"/>
              <a:gd name="T64" fmla="*/ 49 w 160"/>
              <a:gd name="T65" fmla="*/ 8 h 160"/>
              <a:gd name="T66" fmla="*/ 51 w 160"/>
              <a:gd name="T67" fmla="*/ 25 h 160"/>
              <a:gd name="T68" fmla="*/ 52 w 160"/>
              <a:gd name="T69" fmla="*/ 28 h 160"/>
              <a:gd name="T70" fmla="*/ 100 w 160"/>
              <a:gd name="T71" fmla="*/ 69 h 160"/>
              <a:gd name="T72" fmla="*/ 103 w 160"/>
              <a:gd name="T73" fmla="*/ 69 h 160"/>
              <a:gd name="T74" fmla="*/ 151 w 160"/>
              <a:gd name="T75" fmla="*/ 66 h 160"/>
              <a:gd name="T76" fmla="*/ 107 w 160"/>
              <a:gd name="T77" fmla="*/ 11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60">
                <a:moveTo>
                  <a:pt x="160" y="64"/>
                </a:moveTo>
                <a:cubicBezTo>
                  <a:pt x="160" y="63"/>
                  <a:pt x="159" y="62"/>
                  <a:pt x="158" y="62"/>
                </a:cubicBezTo>
                <a:cubicBezTo>
                  <a:pt x="132" y="52"/>
                  <a:pt x="109" y="60"/>
                  <a:pt x="103" y="63"/>
                </a:cubicBezTo>
                <a:cubicBezTo>
                  <a:pt x="58" y="25"/>
                  <a:pt x="58" y="25"/>
                  <a:pt x="58" y="25"/>
                </a:cubicBezTo>
                <a:cubicBezTo>
                  <a:pt x="59" y="11"/>
                  <a:pt x="52" y="2"/>
                  <a:pt x="51" y="1"/>
                </a:cubicBezTo>
                <a:cubicBezTo>
                  <a:pt x="51" y="0"/>
                  <a:pt x="50" y="0"/>
                  <a:pt x="49" y="0"/>
                </a:cubicBezTo>
                <a:cubicBezTo>
                  <a:pt x="48" y="0"/>
                  <a:pt x="48" y="0"/>
                  <a:pt x="47" y="1"/>
                </a:cubicBezTo>
                <a:cubicBezTo>
                  <a:pt x="1" y="47"/>
                  <a:pt x="1" y="47"/>
                  <a:pt x="1" y="47"/>
                </a:cubicBezTo>
                <a:cubicBezTo>
                  <a:pt x="0" y="48"/>
                  <a:pt x="0" y="48"/>
                  <a:pt x="0" y="49"/>
                </a:cubicBezTo>
                <a:cubicBezTo>
                  <a:pt x="0" y="50"/>
                  <a:pt x="0" y="51"/>
                  <a:pt x="1" y="51"/>
                </a:cubicBezTo>
                <a:cubicBezTo>
                  <a:pt x="10" y="58"/>
                  <a:pt x="20" y="58"/>
                  <a:pt x="24" y="58"/>
                </a:cubicBezTo>
                <a:cubicBezTo>
                  <a:pt x="63" y="103"/>
                  <a:pt x="63" y="103"/>
                  <a:pt x="63" y="103"/>
                </a:cubicBezTo>
                <a:cubicBezTo>
                  <a:pt x="60" y="109"/>
                  <a:pt x="52" y="134"/>
                  <a:pt x="62" y="158"/>
                </a:cubicBezTo>
                <a:cubicBezTo>
                  <a:pt x="62" y="159"/>
                  <a:pt x="63" y="160"/>
                  <a:pt x="64" y="160"/>
                </a:cubicBezTo>
                <a:cubicBezTo>
                  <a:pt x="64" y="160"/>
                  <a:pt x="65" y="160"/>
                  <a:pt x="65" y="160"/>
                </a:cubicBezTo>
                <a:cubicBezTo>
                  <a:pt x="66" y="160"/>
                  <a:pt x="66" y="160"/>
                  <a:pt x="67" y="159"/>
                </a:cubicBezTo>
                <a:cubicBezTo>
                  <a:pt x="111" y="115"/>
                  <a:pt x="111" y="115"/>
                  <a:pt x="111" y="115"/>
                </a:cubicBezTo>
                <a:cubicBezTo>
                  <a:pt x="152" y="156"/>
                  <a:pt x="152" y="156"/>
                  <a:pt x="152" y="156"/>
                </a:cubicBezTo>
                <a:cubicBezTo>
                  <a:pt x="152" y="157"/>
                  <a:pt x="153" y="157"/>
                  <a:pt x="154" y="157"/>
                </a:cubicBezTo>
                <a:cubicBezTo>
                  <a:pt x="155" y="157"/>
                  <a:pt x="155" y="157"/>
                  <a:pt x="156" y="156"/>
                </a:cubicBezTo>
                <a:cubicBezTo>
                  <a:pt x="157" y="155"/>
                  <a:pt x="157" y="153"/>
                  <a:pt x="156" y="152"/>
                </a:cubicBezTo>
                <a:cubicBezTo>
                  <a:pt x="115" y="111"/>
                  <a:pt x="115" y="111"/>
                  <a:pt x="115" y="111"/>
                </a:cubicBezTo>
                <a:cubicBezTo>
                  <a:pt x="159" y="67"/>
                  <a:pt x="159" y="67"/>
                  <a:pt x="159" y="67"/>
                </a:cubicBezTo>
                <a:cubicBezTo>
                  <a:pt x="160" y="66"/>
                  <a:pt x="160" y="65"/>
                  <a:pt x="160" y="64"/>
                </a:cubicBezTo>
                <a:close/>
                <a:moveTo>
                  <a:pt x="107" y="111"/>
                </a:moveTo>
                <a:cubicBezTo>
                  <a:pt x="66" y="151"/>
                  <a:pt x="66" y="151"/>
                  <a:pt x="66" y="151"/>
                </a:cubicBezTo>
                <a:cubicBezTo>
                  <a:pt x="59" y="127"/>
                  <a:pt x="69" y="104"/>
                  <a:pt x="69" y="103"/>
                </a:cubicBezTo>
                <a:cubicBezTo>
                  <a:pt x="70" y="102"/>
                  <a:pt x="69" y="101"/>
                  <a:pt x="69" y="100"/>
                </a:cubicBezTo>
                <a:cubicBezTo>
                  <a:pt x="28" y="52"/>
                  <a:pt x="28" y="52"/>
                  <a:pt x="28" y="52"/>
                </a:cubicBezTo>
                <a:cubicBezTo>
                  <a:pt x="27" y="52"/>
                  <a:pt x="27" y="51"/>
                  <a:pt x="26" y="51"/>
                </a:cubicBezTo>
                <a:cubicBezTo>
                  <a:pt x="26" y="51"/>
                  <a:pt x="25" y="51"/>
                  <a:pt x="25" y="51"/>
                </a:cubicBezTo>
                <a:cubicBezTo>
                  <a:pt x="25" y="51"/>
                  <a:pt x="16" y="53"/>
                  <a:pt x="8" y="49"/>
                </a:cubicBezTo>
                <a:cubicBezTo>
                  <a:pt x="49" y="8"/>
                  <a:pt x="49" y="8"/>
                  <a:pt x="49" y="8"/>
                </a:cubicBezTo>
                <a:cubicBezTo>
                  <a:pt x="50" y="11"/>
                  <a:pt x="53" y="18"/>
                  <a:pt x="51" y="25"/>
                </a:cubicBezTo>
                <a:cubicBezTo>
                  <a:pt x="51" y="27"/>
                  <a:pt x="52" y="28"/>
                  <a:pt x="52" y="28"/>
                </a:cubicBezTo>
                <a:cubicBezTo>
                  <a:pt x="100" y="69"/>
                  <a:pt x="100" y="69"/>
                  <a:pt x="100" y="69"/>
                </a:cubicBezTo>
                <a:cubicBezTo>
                  <a:pt x="101" y="70"/>
                  <a:pt x="102" y="70"/>
                  <a:pt x="103" y="69"/>
                </a:cubicBezTo>
                <a:cubicBezTo>
                  <a:pt x="104" y="69"/>
                  <a:pt x="126" y="58"/>
                  <a:pt x="151" y="66"/>
                </a:cubicBezTo>
                <a:lnTo>
                  <a:pt x="107" y="1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0" name="Rectangle 39"/>
          <p:cNvSpPr/>
          <p:nvPr/>
        </p:nvSpPr>
        <p:spPr>
          <a:xfrm>
            <a:off x="6096000" y="6751894"/>
            <a:ext cx="6096000" cy="1202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35" name="Text Placeholder 6">
            <a:extLst>
              <a:ext uri="{FF2B5EF4-FFF2-40B4-BE49-F238E27FC236}">
                <a16:creationId xmlns:a16="http://schemas.microsoft.com/office/drawing/2014/main" id="{F38D4DA1-E837-A641-9A75-730BF1D9A679}"/>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bg1"/>
                </a:solidFill>
              </a:rPr>
              <a:t>SECTION  /  Title</a:t>
            </a:r>
          </a:p>
        </p:txBody>
      </p:sp>
    </p:spTree>
    <p:extLst>
      <p:ext uri="{BB962C8B-B14F-4D97-AF65-F5344CB8AC3E}">
        <p14:creationId xmlns:p14="http://schemas.microsoft.com/office/powerpoint/2010/main" val="11663452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9" name="Rectangle 8"/>
          <p:cNvSpPr/>
          <p:nvPr/>
        </p:nvSpPr>
        <p:spPr>
          <a:xfrm>
            <a:off x="190500" y="197593"/>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0" name="Title 1"/>
          <p:cNvSpPr txBox="1">
            <a:spLocks/>
          </p:cNvSpPr>
          <p:nvPr/>
        </p:nvSpPr>
        <p:spPr>
          <a:xfrm>
            <a:off x="913016" y="1574779"/>
            <a:ext cx="4275929" cy="1325563"/>
          </a:xfrm>
          <a:prstGeom prst="rect">
            <a:avLst/>
          </a:prstGeom>
        </p:spPr>
        <p:txBody>
          <a:bodyPr lIns="0" rIns="0" anchor="t">
            <a:noAutofit/>
          </a:bodyPr>
          <a:lstStyle>
            <a:lvl1pPr algn="l" defTabSz="914400" rtl="0" eaLnBrk="1" latinLnBrk="0" hangingPunct="1">
              <a:lnSpc>
                <a:spcPct val="80000"/>
              </a:lnSpc>
              <a:spcBef>
                <a:spcPct val="0"/>
              </a:spcBef>
              <a:buNone/>
              <a:defRPr sz="5400" kern="1200">
                <a:solidFill>
                  <a:srgbClr val="FFFFFF"/>
                </a:solidFill>
                <a:latin typeface="+mj-lt"/>
                <a:ea typeface="+mj-ea"/>
                <a:cs typeface="+mj-cs"/>
              </a:defRPr>
            </a:lvl1pPr>
          </a:lstStyle>
          <a:p>
            <a:r>
              <a:rPr lang="en-US" dirty="0">
                <a:latin typeface="RBC Display" panose="02000000000000000000" pitchFamily="2" charset="77"/>
              </a:rPr>
              <a:t>Problem</a:t>
            </a:r>
          </a:p>
        </p:txBody>
      </p:sp>
      <p:grpSp>
        <p:nvGrpSpPr>
          <p:cNvPr id="21" name="Group 20"/>
          <p:cNvGrpSpPr/>
          <p:nvPr/>
        </p:nvGrpSpPr>
        <p:grpSpPr>
          <a:xfrm>
            <a:off x="909268" y="2900342"/>
            <a:ext cx="2956676" cy="1010145"/>
            <a:chOff x="909268" y="2844225"/>
            <a:chExt cx="2956676" cy="1010145"/>
          </a:xfrm>
        </p:grpSpPr>
        <p:sp>
          <p:nvSpPr>
            <p:cNvPr id="17" name="TextBox 16"/>
            <p:cNvSpPr txBox="1"/>
            <p:nvPr/>
          </p:nvSpPr>
          <p:spPr>
            <a:xfrm>
              <a:off x="909268" y="2844225"/>
              <a:ext cx="1978106" cy="584775"/>
            </a:xfrm>
            <a:prstGeom prst="rect">
              <a:avLst/>
            </a:prstGeom>
            <a:noFill/>
          </p:spPr>
          <p:txBody>
            <a:bodyPr wrap="none" lIns="0" rIns="0" rtlCol="0">
              <a:spAutoFit/>
            </a:bodyPr>
            <a:lstStyle/>
            <a:p>
              <a:r>
                <a:rPr lang="en-US" sz="3200" dirty="0">
                  <a:solidFill>
                    <a:srgbClr val="FFFFFF"/>
                  </a:solidFill>
                  <a:latin typeface="RBC Display" panose="02000000000000000000" pitchFamily="2" charset="77"/>
                </a:rPr>
                <a:t>7,6 billions</a:t>
              </a:r>
            </a:p>
          </p:txBody>
        </p:sp>
        <p:sp>
          <p:nvSpPr>
            <p:cNvPr id="18" name="TextBox 17"/>
            <p:cNvSpPr txBox="1"/>
            <p:nvPr/>
          </p:nvSpPr>
          <p:spPr>
            <a:xfrm>
              <a:off x="909268" y="3431977"/>
              <a:ext cx="1727268"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Population in the World</a:t>
              </a:r>
            </a:p>
          </p:txBody>
        </p:sp>
        <p:cxnSp>
          <p:nvCxnSpPr>
            <p:cNvPr id="20" name="Straight Connector 19"/>
            <p:cNvCxnSpPr/>
            <p:nvPr/>
          </p:nvCxnSpPr>
          <p:spPr>
            <a:xfrm>
              <a:off x="909268" y="3854370"/>
              <a:ext cx="2956676" cy="0"/>
            </a:xfrm>
            <a:prstGeom prst="line">
              <a:avLst/>
            </a:prstGeom>
            <a:ln w="25400"/>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909268" y="4475121"/>
            <a:ext cx="2956676" cy="1010145"/>
            <a:chOff x="909268" y="2844225"/>
            <a:chExt cx="2956676" cy="1010145"/>
          </a:xfrm>
        </p:grpSpPr>
        <p:sp>
          <p:nvSpPr>
            <p:cNvPr id="36" name="TextBox 35"/>
            <p:cNvSpPr txBox="1"/>
            <p:nvPr/>
          </p:nvSpPr>
          <p:spPr>
            <a:xfrm>
              <a:off x="909268" y="2844225"/>
              <a:ext cx="2093522" cy="584775"/>
            </a:xfrm>
            <a:prstGeom prst="rect">
              <a:avLst/>
            </a:prstGeom>
            <a:noFill/>
          </p:spPr>
          <p:txBody>
            <a:bodyPr wrap="none" lIns="0" rIns="0" rtlCol="0">
              <a:spAutoFit/>
            </a:bodyPr>
            <a:lstStyle/>
            <a:p>
              <a:r>
                <a:rPr lang="en-US" sz="3200" dirty="0">
                  <a:solidFill>
                    <a:srgbClr val="FFFFFF"/>
                  </a:solidFill>
                  <a:latin typeface="RBC Display" panose="02000000000000000000" pitchFamily="2" charset="77"/>
                </a:rPr>
                <a:t>1,5 millions</a:t>
              </a:r>
            </a:p>
          </p:txBody>
        </p:sp>
        <p:sp>
          <p:nvSpPr>
            <p:cNvPr id="37" name="TextBox 36"/>
            <p:cNvSpPr txBox="1"/>
            <p:nvPr/>
          </p:nvSpPr>
          <p:spPr>
            <a:xfrm>
              <a:off x="909268" y="3431977"/>
              <a:ext cx="1727268"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Population in the World</a:t>
              </a:r>
            </a:p>
          </p:txBody>
        </p:sp>
        <p:cxnSp>
          <p:nvCxnSpPr>
            <p:cNvPr id="38" name="Straight Connector 37"/>
            <p:cNvCxnSpPr/>
            <p:nvPr/>
          </p:nvCxnSpPr>
          <p:spPr>
            <a:xfrm>
              <a:off x="909268" y="3854370"/>
              <a:ext cx="2956676"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4500495" y="2900342"/>
            <a:ext cx="2956676" cy="1010145"/>
            <a:chOff x="909268" y="2844225"/>
            <a:chExt cx="2956676" cy="1010145"/>
          </a:xfrm>
        </p:grpSpPr>
        <p:sp>
          <p:nvSpPr>
            <p:cNvPr id="40" name="TextBox 39"/>
            <p:cNvSpPr txBox="1"/>
            <p:nvPr/>
          </p:nvSpPr>
          <p:spPr>
            <a:xfrm>
              <a:off x="909268" y="2844225"/>
              <a:ext cx="2071080" cy="584775"/>
            </a:xfrm>
            <a:prstGeom prst="rect">
              <a:avLst/>
            </a:prstGeom>
            <a:noFill/>
          </p:spPr>
          <p:txBody>
            <a:bodyPr wrap="none" lIns="0" rIns="0" rtlCol="0">
              <a:spAutoFit/>
            </a:bodyPr>
            <a:lstStyle/>
            <a:p>
              <a:r>
                <a:rPr lang="en-US" sz="3200" dirty="0">
                  <a:solidFill>
                    <a:srgbClr val="FFFFFF"/>
                  </a:solidFill>
                  <a:latin typeface="RBC Display" panose="02000000000000000000" pitchFamily="2" charset="77"/>
                </a:rPr>
                <a:t>$67 billions</a:t>
              </a:r>
            </a:p>
          </p:txBody>
        </p:sp>
        <p:sp>
          <p:nvSpPr>
            <p:cNvPr id="41" name="TextBox 40"/>
            <p:cNvSpPr txBox="1"/>
            <p:nvPr/>
          </p:nvSpPr>
          <p:spPr>
            <a:xfrm>
              <a:off x="909268" y="3431977"/>
              <a:ext cx="2564869"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Users have access to internet daily</a:t>
              </a:r>
            </a:p>
          </p:txBody>
        </p:sp>
        <p:cxnSp>
          <p:nvCxnSpPr>
            <p:cNvPr id="42" name="Straight Connector 41"/>
            <p:cNvCxnSpPr/>
            <p:nvPr/>
          </p:nvCxnSpPr>
          <p:spPr>
            <a:xfrm>
              <a:off x="909268" y="3854370"/>
              <a:ext cx="295667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4500495" y="4475121"/>
            <a:ext cx="2956676" cy="1010145"/>
            <a:chOff x="909268" y="2844225"/>
            <a:chExt cx="2956676" cy="1010145"/>
          </a:xfrm>
        </p:grpSpPr>
        <p:sp>
          <p:nvSpPr>
            <p:cNvPr id="44" name="TextBox 43"/>
            <p:cNvSpPr txBox="1"/>
            <p:nvPr/>
          </p:nvSpPr>
          <p:spPr>
            <a:xfrm>
              <a:off x="909268" y="2844225"/>
              <a:ext cx="2365840" cy="584775"/>
            </a:xfrm>
            <a:prstGeom prst="rect">
              <a:avLst/>
            </a:prstGeom>
            <a:noFill/>
          </p:spPr>
          <p:txBody>
            <a:bodyPr wrap="none" lIns="0" rIns="0" rtlCol="0">
              <a:spAutoFit/>
            </a:bodyPr>
            <a:lstStyle/>
            <a:p>
              <a:r>
                <a:rPr lang="en-US" sz="3200" dirty="0">
                  <a:solidFill>
                    <a:srgbClr val="FFFFFF"/>
                  </a:solidFill>
                  <a:latin typeface="RBC Display" panose="02000000000000000000" pitchFamily="2" charset="77"/>
                </a:rPr>
                <a:t>$490 billions</a:t>
              </a:r>
            </a:p>
          </p:txBody>
        </p:sp>
        <p:sp>
          <p:nvSpPr>
            <p:cNvPr id="45" name="TextBox 44"/>
            <p:cNvSpPr txBox="1"/>
            <p:nvPr/>
          </p:nvSpPr>
          <p:spPr>
            <a:xfrm>
              <a:off x="909268" y="3431977"/>
              <a:ext cx="1727268"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Population in the World</a:t>
              </a:r>
            </a:p>
          </p:txBody>
        </p:sp>
        <p:cxnSp>
          <p:nvCxnSpPr>
            <p:cNvPr id="46" name="Straight Connector 45"/>
            <p:cNvCxnSpPr/>
            <p:nvPr/>
          </p:nvCxnSpPr>
          <p:spPr>
            <a:xfrm>
              <a:off x="909268" y="3854370"/>
              <a:ext cx="2956676"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p:nvGrpSpPr>
        <p:grpSpPr>
          <a:xfrm>
            <a:off x="8090480" y="2900342"/>
            <a:ext cx="2956676" cy="1010145"/>
            <a:chOff x="909268" y="2844225"/>
            <a:chExt cx="2956676" cy="1010145"/>
          </a:xfrm>
        </p:grpSpPr>
        <p:sp>
          <p:nvSpPr>
            <p:cNvPr id="48" name="TextBox 47"/>
            <p:cNvSpPr txBox="1"/>
            <p:nvPr/>
          </p:nvSpPr>
          <p:spPr>
            <a:xfrm>
              <a:off x="909268" y="2844225"/>
              <a:ext cx="1638269" cy="584775"/>
            </a:xfrm>
            <a:prstGeom prst="rect">
              <a:avLst/>
            </a:prstGeom>
            <a:noFill/>
          </p:spPr>
          <p:txBody>
            <a:bodyPr wrap="none" lIns="0" rIns="0" rtlCol="0">
              <a:spAutoFit/>
            </a:bodyPr>
            <a:lstStyle/>
            <a:p>
              <a:r>
                <a:rPr lang="en-US" sz="3200" dirty="0">
                  <a:solidFill>
                    <a:srgbClr val="FFFFFF"/>
                  </a:solidFill>
                  <a:latin typeface="RBC Display" panose="02000000000000000000" pitchFamily="2" charset="77"/>
                </a:rPr>
                <a:t>2 billions</a:t>
              </a:r>
            </a:p>
          </p:txBody>
        </p:sp>
        <p:sp>
          <p:nvSpPr>
            <p:cNvPr id="49" name="TextBox 48"/>
            <p:cNvSpPr txBox="1"/>
            <p:nvPr/>
          </p:nvSpPr>
          <p:spPr>
            <a:xfrm>
              <a:off x="909268" y="3431977"/>
              <a:ext cx="2595647"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Have on access to popular services</a:t>
              </a:r>
            </a:p>
          </p:txBody>
        </p:sp>
        <p:cxnSp>
          <p:nvCxnSpPr>
            <p:cNvPr id="50" name="Straight Connector 49"/>
            <p:cNvCxnSpPr/>
            <p:nvPr/>
          </p:nvCxnSpPr>
          <p:spPr>
            <a:xfrm>
              <a:off x="909268" y="3854370"/>
              <a:ext cx="2956676"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8090480" y="4475121"/>
            <a:ext cx="2956676" cy="1010145"/>
            <a:chOff x="909268" y="2844225"/>
            <a:chExt cx="2956676" cy="1010145"/>
          </a:xfrm>
        </p:grpSpPr>
        <p:sp>
          <p:nvSpPr>
            <p:cNvPr id="52" name="TextBox 51"/>
            <p:cNvSpPr txBox="1"/>
            <p:nvPr/>
          </p:nvSpPr>
          <p:spPr>
            <a:xfrm>
              <a:off x="909268" y="2844225"/>
              <a:ext cx="1978106" cy="584775"/>
            </a:xfrm>
            <a:prstGeom prst="rect">
              <a:avLst/>
            </a:prstGeom>
            <a:noFill/>
          </p:spPr>
          <p:txBody>
            <a:bodyPr wrap="none" lIns="0" rIns="0" rtlCol="0">
              <a:spAutoFit/>
            </a:bodyPr>
            <a:lstStyle/>
            <a:p>
              <a:r>
                <a:rPr lang="en-US" sz="3200" dirty="0">
                  <a:solidFill>
                    <a:srgbClr val="FFFFFF"/>
                  </a:solidFill>
                  <a:latin typeface="RBC Display" panose="02000000000000000000" pitchFamily="2" charset="77"/>
                </a:rPr>
                <a:t>1.3 billions</a:t>
              </a:r>
            </a:p>
          </p:txBody>
        </p:sp>
        <p:sp>
          <p:nvSpPr>
            <p:cNvPr id="53" name="TextBox 52"/>
            <p:cNvSpPr txBox="1"/>
            <p:nvPr/>
          </p:nvSpPr>
          <p:spPr>
            <a:xfrm>
              <a:off x="909268" y="3431977"/>
              <a:ext cx="1727268"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Population in the World</a:t>
              </a:r>
            </a:p>
          </p:txBody>
        </p:sp>
        <p:cxnSp>
          <p:nvCxnSpPr>
            <p:cNvPr id="54" name="Straight Connector 53"/>
            <p:cNvCxnSpPr/>
            <p:nvPr/>
          </p:nvCxnSpPr>
          <p:spPr>
            <a:xfrm>
              <a:off x="909268" y="3854370"/>
              <a:ext cx="2956676"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55" name="Rectangle 54"/>
          <p:cNvSpPr/>
          <p:nvPr/>
        </p:nvSpPr>
        <p:spPr>
          <a:xfrm>
            <a:off x="6096000" y="1"/>
            <a:ext cx="6096000" cy="13255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58" name="TextBox 57"/>
          <p:cNvSpPr txBox="1"/>
          <p:nvPr/>
        </p:nvSpPr>
        <p:spPr>
          <a:xfrm>
            <a:off x="7290582" y="431950"/>
            <a:ext cx="3415872" cy="461665"/>
          </a:xfrm>
          <a:prstGeom prst="rect">
            <a:avLst/>
          </a:prstGeom>
          <a:noFill/>
        </p:spPr>
        <p:txBody>
          <a:bodyPr wrap="none" lIns="0" rIns="0" rtlCol="0">
            <a:spAutoFit/>
          </a:bodyPr>
          <a:lstStyle/>
          <a:p>
            <a:r>
              <a:rPr lang="en-US" sz="1200" dirty="0" err="1">
                <a:solidFill>
                  <a:schemeClr val="bg1">
                    <a:alpha val="70000"/>
                  </a:schemeClr>
                </a:solidFill>
                <a:latin typeface="RBC Text" panose="02000000000000000000" pitchFamily="2" charset="77"/>
              </a:rPr>
              <a:t>PopulaUour</a:t>
            </a:r>
            <a:r>
              <a:rPr lang="en-US" sz="1200" dirty="0">
                <a:solidFill>
                  <a:schemeClr val="bg1">
                    <a:alpha val="70000"/>
                  </a:schemeClr>
                </a:solidFill>
                <a:latin typeface="RBC Text" panose="02000000000000000000" pitchFamily="2" charset="77"/>
              </a:rPr>
              <a:t> VPN already is used by 21 millions</a:t>
            </a:r>
          </a:p>
          <a:p>
            <a:r>
              <a:rPr lang="en-US" sz="1200" dirty="0">
                <a:solidFill>
                  <a:schemeClr val="bg1">
                    <a:alpha val="70000"/>
                  </a:schemeClr>
                </a:solidFill>
                <a:latin typeface="RBC Text" panose="02000000000000000000" pitchFamily="2" charset="77"/>
              </a:rPr>
              <a:t>Users in 183 countries and now we do ultimate.</a:t>
            </a:r>
          </a:p>
        </p:txBody>
      </p:sp>
      <p:sp>
        <p:nvSpPr>
          <p:cNvPr id="59" name="Freeform 943"/>
          <p:cNvSpPr>
            <a:spLocks/>
          </p:cNvSpPr>
          <p:nvPr/>
        </p:nvSpPr>
        <p:spPr bwMode="auto">
          <a:xfrm>
            <a:off x="6537769" y="489146"/>
            <a:ext cx="356730" cy="383836"/>
          </a:xfrm>
          <a:custGeom>
            <a:avLst/>
            <a:gdLst>
              <a:gd name="T0" fmla="*/ 152 w 153"/>
              <a:gd name="T1" fmla="*/ 67 h 163"/>
              <a:gd name="T2" fmla="*/ 67 w 153"/>
              <a:gd name="T3" fmla="*/ 152 h 163"/>
              <a:gd name="T4" fmla="*/ 39 w 153"/>
              <a:gd name="T5" fmla="*/ 163 h 163"/>
              <a:gd name="T6" fmla="*/ 11 w 153"/>
              <a:gd name="T7" fmla="*/ 152 h 163"/>
              <a:gd name="T8" fmla="*/ 0 w 153"/>
              <a:gd name="T9" fmla="*/ 124 h 163"/>
              <a:gd name="T10" fmla="*/ 11 w 153"/>
              <a:gd name="T11" fmla="*/ 96 h 163"/>
              <a:gd name="T12" fmla="*/ 96 w 153"/>
              <a:gd name="T13" fmla="*/ 11 h 163"/>
              <a:gd name="T14" fmla="*/ 138 w 153"/>
              <a:gd name="T15" fmla="*/ 13 h 163"/>
              <a:gd name="T16" fmla="*/ 139 w 153"/>
              <a:gd name="T17" fmla="*/ 54 h 163"/>
              <a:gd name="T18" fmla="*/ 59 w 153"/>
              <a:gd name="T19" fmla="*/ 134 h 163"/>
              <a:gd name="T20" fmla="*/ 35 w 153"/>
              <a:gd name="T21" fmla="*/ 134 h 163"/>
              <a:gd name="T22" fmla="*/ 35 w 153"/>
              <a:gd name="T23" fmla="*/ 109 h 163"/>
              <a:gd name="T24" fmla="*/ 88 w 153"/>
              <a:gd name="T25" fmla="*/ 55 h 163"/>
              <a:gd name="T26" fmla="*/ 93 w 153"/>
              <a:gd name="T27" fmla="*/ 55 h 163"/>
              <a:gd name="T28" fmla="*/ 93 w 153"/>
              <a:gd name="T29" fmla="*/ 59 h 163"/>
              <a:gd name="T30" fmla="*/ 39 w 153"/>
              <a:gd name="T31" fmla="*/ 113 h 163"/>
              <a:gd name="T32" fmla="*/ 39 w 153"/>
              <a:gd name="T33" fmla="*/ 129 h 163"/>
              <a:gd name="T34" fmla="*/ 55 w 153"/>
              <a:gd name="T35" fmla="*/ 129 h 163"/>
              <a:gd name="T36" fmla="*/ 135 w 153"/>
              <a:gd name="T37" fmla="*/ 50 h 163"/>
              <a:gd name="T38" fmla="*/ 133 w 153"/>
              <a:gd name="T39" fmla="*/ 17 h 163"/>
              <a:gd name="T40" fmla="*/ 100 w 153"/>
              <a:gd name="T41" fmla="*/ 16 h 163"/>
              <a:gd name="T42" fmla="*/ 16 w 153"/>
              <a:gd name="T43" fmla="*/ 100 h 163"/>
              <a:gd name="T44" fmla="*/ 6 w 153"/>
              <a:gd name="T45" fmla="*/ 124 h 163"/>
              <a:gd name="T46" fmla="*/ 16 w 153"/>
              <a:gd name="T47" fmla="*/ 147 h 163"/>
              <a:gd name="T48" fmla="*/ 39 w 153"/>
              <a:gd name="T49" fmla="*/ 157 h 163"/>
              <a:gd name="T50" fmla="*/ 63 w 153"/>
              <a:gd name="T51" fmla="*/ 147 h 163"/>
              <a:gd name="T52" fmla="*/ 147 w 153"/>
              <a:gd name="T53" fmla="*/ 63 h 163"/>
              <a:gd name="T54" fmla="*/ 152 w 153"/>
              <a:gd name="T55" fmla="*/ 63 h 163"/>
              <a:gd name="T56" fmla="*/ 152 w 153"/>
              <a:gd name="T57" fmla="*/ 6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3" h="163">
                <a:moveTo>
                  <a:pt x="152" y="67"/>
                </a:moveTo>
                <a:cubicBezTo>
                  <a:pt x="67" y="152"/>
                  <a:pt x="67" y="152"/>
                  <a:pt x="67" y="152"/>
                </a:cubicBezTo>
                <a:cubicBezTo>
                  <a:pt x="60" y="159"/>
                  <a:pt x="50" y="163"/>
                  <a:pt x="39" y="163"/>
                </a:cubicBezTo>
                <a:cubicBezTo>
                  <a:pt x="29" y="163"/>
                  <a:pt x="19" y="159"/>
                  <a:pt x="11" y="152"/>
                </a:cubicBezTo>
                <a:cubicBezTo>
                  <a:pt x="4" y="144"/>
                  <a:pt x="0" y="134"/>
                  <a:pt x="0" y="124"/>
                </a:cubicBezTo>
                <a:cubicBezTo>
                  <a:pt x="0" y="113"/>
                  <a:pt x="4" y="103"/>
                  <a:pt x="11" y="96"/>
                </a:cubicBezTo>
                <a:cubicBezTo>
                  <a:pt x="96" y="11"/>
                  <a:pt x="96" y="11"/>
                  <a:pt x="96" y="11"/>
                </a:cubicBezTo>
                <a:cubicBezTo>
                  <a:pt x="108" y="0"/>
                  <a:pt x="125" y="0"/>
                  <a:pt x="138" y="13"/>
                </a:cubicBezTo>
                <a:cubicBezTo>
                  <a:pt x="150" y="25"/>
                  <a:pt x="150" y="43"/>
                  <a:pt x="139" y="54"/>
                </a:cubicBezTo>
                <a:cubicBezTo>
                  <a:pt x="59" y="134"/>
                  <a:pt x="59" y="134"/>
                  <a:pt x="59" y="134"/>
                </a:cubicBezTo>
                <a:cubicBezTo>
                  <a:pt x="53" y="140"/>
                  <a:pt x="41" y="140"/>
                  <a:pt x="35" y="134"/>
                </a:cubicBezTo>
                <a:cubicBezTo>
                  <a:pt x="28" y="127"/>
                  <a:pt x="28" y="116"/>
                  <a:pt x="35" y="109"/>
                </a:cubicBezTo>
                <a:cubicBezTo>
                  <a:pt x="88" y="55"/>
                  <a:pt x="88" y="55"/>
                  <a:pt x="88" y="55"/>
                </a:cubicBezTo>
                <a:cubicBezTo>
                  <a:pt x="90" y="54"/>
                  <a:pt x="92" y="54"/>
                  <a:pt x="93" y="55"/>
                </a:cubicBezTo>
                <a:cubicBezTo>
                  <a:pt x="94" y="56"/>
                  <a:pt x="94" y="58"/>
                  <a:pt x="93" y="59"/>
                </a:cubicBezTo>
                <a:cubicBezTo>
                  <a:pt x="39" y="113"/>
                  <a:pt x="39" y="113"/>
                  <a:pt x="39" y="113"/>
                </a:cubicBezTo>
                <a:cubicBezTo>
                  <a:pt x="34" y="118"/>
                  <a:pt x="34" y="125"/>
                  <a:pt x="39" y="129"/>
                </a:cubicBezTo>
                <a:cubicBezTo>
                  <a:pt x="43" y="134"/>
                  <a:pt x="51" y="134"/>
                  <a:pt x="55" y="129"/>
                </a:cubicBezTo>
                <a:cubicBezTo>
                  <a:pt x="135" y="50"/>
                  <a:pt x="135" y="50"/>
                  <a:pt x="135" y="50"/>
                </a:cubicBezTo>
                <a:cubicBezTo>
                  <a:pt x="144" y="41"/>
                  <a:pt x="143" y="27"/>
                  <a:pt x="133" y="17"/>
                </a:cubicBezTo>
                <a:cubicBezTo>
                  <a:pt x="124" y="7"/>
                  <a:pt x="109" y="7"/>
                  <a:pt x="100" y="16"/>
                </a:cubicBezTo>
                <a:cubicBezTo>
                  <a:pt x="16" y="100"/>
                  <a:pt x="16" y="100"/>
                  <a:pt x="16" y="100"/>
                </a:cubicBezTo>
                <a:cubicBezTo>
                  <a:pt x="10" y="106"/>
                  <a:pt x="6" y="115"/>
                  <a:pt x="6" y="124"/>
                </a:cubicBezTo>
                <a:cubicBezTo>
                  <a:pt x="6" y="133"/>
                  <a:pt x="10" y="141"/>
                  <a:pt x="16" y="147"/>
                </a:cubicBezTo>
                <a:cubicBezTo>
                  <a:pt x="22" y="153"/>
                  <a:pt x="30" y="157"/>
                  <a:pt x="39" y="157"/>
                </a:cubicBezTo>
                <a:cubicBezTo>
                  <a:pt x="48" y="157"/>
                  <a:pt x="57" y="153"/>
                  <a:pt x="63" y="147"/>
                </a:cubicBezTo>
                <a:cubicBezTo>
                  <a:pt x="147" y="63"/>
                  <a:pt x="147" y="63"/>
                  <a:pt x="147" y="63"/>
                </a:cubicBezTo>
                <a:cubicBezTo>
                  <a:pt x="149" y="61"/>
                  <a:pt x="151" y="61"/>
                  <a:pt x="152" y="63"/>
                </a:cubicBezTo>
                <a:cubicBezTo>
                  <a:pt x="153" y="64"/>
                  <a:pt x="153" y="66"/>
                  <a:pt x="152" y="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6" name="Text Placeholder 6">
            <a:extLst>
              <a:ext uri="{FF2B5EF4-FFF2-40B4-BE49-F238E27FC236}">
                <a16:creationId xmlns:a16="http://schemas.microsoft.com/office/drawing/2014/main" id="{DF4E5BC8-3179-DE4F-86DA-37D0258A3200}"/>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bg1"/>
                </a:solidFill>
              </a:rPr>
              <a:t>SECTION  /  Title</a:t>
            </a:r>
          </a:p>
        </p:txBody>
      </p:sp>
    </p:spTree>
    <p:extLst>
      <p:ext uri="{BB962C8B-B14F-4D97-AF65-F5344CB8AC3E}">
        <p14:creationId xmlns:p14="http://schemas.microsoft.com/office/powerpoint/2010/main" val="4926195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3" name="Title 2"/>
          <p:cNvSpPr>
            <a:spLocks noGrp="1"/>
          </p:cNvSpPr>
          <p:nvPr>
            <p:ph type="title"/>
          </p:nvPr>
        </p:nvSpPr>
        <p:spPr/>
        <p:txBody>
          <a:bodyPr/>
          <a:lstStyle/>
          <a:p>
            <a:r>
              <a:rPr lang="en-US" dirty="0" err="1"/>
              <a:t>Crowdale</a:t>
            </a:r>
            <a:br>
              <a:rPr lang="en-US" dirty="0"/>
            </a:br>
            <a:r>
              <a:rPr lang="en-US" dirty="0"/>
              <a:t>starts in:</a:t>
            </a:r>
          </a:p>
        </p:txBody>
      </p:sp>
      <p:grpSp>
        <p:nvGrpSpPr>
          <p:cNvPr id="13" name="Group 12"/>
          <p:cNvGrpSpPr/>
          <p:nvPr/>
        </p:nvGrpSpPr>
        <p:grpSpPr>
          <a:xfrm>
            <a:off x="913017" y="3899976"/>
            <a:ext cx="1714436" cy="1714436"/>
            <a:chOff x="913017" y="3899976"/>
            <a:chExt cx="1714436" cy="1714436"/>
          </a:xfrm>
        </p:grpSpPr>
        <p:sp>
          <p:nvSpPr>
            <p:cNvPr id="7" name="Rectangle 6"/>
            <p:cNvSpPr/>
            <p:nvPr/>
          </p:nvSpPr>
          <p:spPr>
            <a:xfrm>
              <a:off x="913017" y="3899976"/>
              <a:ext cx="1714436" cy="17144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8" name="TextBox 7"/>
            <p:cNvSpPr txBox="1"/>
            <p:nvPr/>
          </p:nvSpPr>
          <p:spPr>
            <a:xfrm>
              <a:off x="1118201" y="4298526"/>
              <a:ext cx="945772" cy="1107996"/>
            </a:xfrm>
            <a:prstGeom prst="rect">
              <a:avLst/>
            </a:prstGeom>
            <a:noFill/>
          </p:spPr>
          <p:txBody>
            <a:bodyPr wrap="none" lIns="0" rIns="0" rtlCol="0">
              <a:spAutoFit/>
            </a:bodyPr>
            <a:lstStyle/>
            <a:p>
              <a:r>
                <a:rPr lang="en-US" sz="6600" dirty="0">
                  <a:latin typeface="RBC Text" panose="02000000000000000000" pitchFamily="2" charset="77"/>
                </a:rPr>
                <a:t>20</a:t>
              </a:r>
            </a:p>
          </p:txBody>
        </p:sp>
        <p:sp>
          <p:nvSpPr>
            <p:cNvPr id="9" name="TextBox 8"/>
            <p:cNvSpPr txBox="1"/>
            <p:nvPr/>
          </p:nvSpPr>
          <p:spPr>
            <a:xfrm>
              <a:off x="1118201" y="5217383"/>
              <a:ext cx="365869" cy="276999"/>
            </a:xfrm>
            <a:prstGeom prst="rect">
              <a:avLst/>
            </a:prstGeom>
            <a:noFill/>
          </p:spPr>
          <p:txBody>
            <a:bodyPr wrap="none" lIns="0" rIns="0" rtlCol="0">
              <a:spAutoFit/>
            </a:bodyPr>
            <a:lstStyle/>
            <a:p>
              <a:r>
                <a:rPr lang="en-US" sz="1200" dirty="0">
                  <a:latin typeface="RBC Text" panose="02000000000000000000" pitchFamily="2" charset="77"/>
                </a:rPr>
                <a:t>Days</a:t>
              </a:r>
            </a:p>
          </p:txBody>
        </p:sp>
      </p:grpSp>
      <p:grpSp>
        <p:nvGrpSpPr>
          <p:cNvPr id="14" name="Group 13"/>
          <p:cNvGrpSpPr/>
          <p:nvPr/>
        </p:nvGrpSpPr>
        <p:grpSpPr>
          <a:xfrm>
            <a:off x="2832637" y="3899976"/>
            <a:ext cx="1714436" cy="1714436"/>
            <a:chOff x="913017" y="3899976"/>
            <a:chExt cx="1714436" cy="1714436"/>
          </a:xfrm>
        </p:grpSpPr>
        <p:sp>
          <p:nvSpPr>
            <p:cNvPr id="15" name="Rectangle 14"/>
            <p:cNvSpPr/>
            <p:nvPr/>
          </p:nvSpPr>
          <p:spPr>
            <a:xfrm>
              <a:off x="913017" y="3899976"/>
              <a:ext cx="1714436" cy="17144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6" name="TextBox 15"/>
            <p:cNvSpPr txBox="1"/>
            <p:nvPr/>
          </p:nvSpPr>
          <p:spPr>
            <a:xfrm>
              <a:off x="1118201" y="4298526"/>
              <a:ext cx="769441" cy="1107996"/>
            </a:xfrm>
            <a:prstGeom prst="rect">
              <a:avLst/>
            </a:prstGeom>
            <a:noFill/>
          </p:spPr>
          <p:txBody>
            <a:bodyPr wrap="none" lIns="0" rIns="0" rtlCol="0">
              <a:spAutoFit/>
            </a:bodyPr>
            <a:lstStyle/>
            <a:p>
              <a:r>
                <a:rPr lang="en-US" sz="6600" dirty="0">
                  <a:latin typeface="RBC Text" panose="02000000000000000000" pitchFamily="2" charset="77"/>
                </a:rPr>
                <a:t>12</a:t>
              </a:r>
            </a:p>
          </p:txBody>
        </p:sp>
        <p:sp>
          <p:nvSpPr>
            <p:cNvPr id="17" name="TextBox 16"/>
            <p:cNvSpPr txBox="1"/>
            <p:nvPr/>
          </p:nvSpPr>
          <p:spPr>
            <a:xfrm>
              <a:off x="1118201" y="5217383"/>
              <a:ext cx="440826" cy="276999"/>
            </a:xfrm>
            <a:prstGeom prst="rect">
              <a:avLst/>
            </a:prstGeom>
            <a:noFill/>
          </p:spPr>
          <p:txBody>
            <a:bodyPr wrap="none" lIns="0" rIns="0" rtlCol="0">
              <a:spAutoFit/>
            </a:bodyPr>
            <a:lstStyle/>
            <a:p>
              <a:r>
                <a:rPr lang="en-US" sz="1200" dirty="0">
                  <a:latin typeface="RBC Text" panose="02000000000000000000" pitchFamily="2" charset="77"/>
                </a:rPr>
                <a:t>Hours</a:t>
              </a:r>
            </a:p>
          </p:txBody>
        </p:sp>
      </p:grpSp>
      <p:grpSp>
        <p:nvGrpSpPr>
          <p:cNvPr id="18" name="Group 17"/>
          <p:cNvGrpSpPr/>
          <p:nvPr/>
        </p:nvGrpSpPr>
        <p:grpSpPr>
          <a:xfrm>
            <a:off x="4752257" y="3899976"/>
            <a:ext cx="1714436" cy="1714436"/>
            <a:chOff x="913017" y="3899976"/>
            <a:chExt cx="1714436" cy="1714436"/>
          </a:xfrm>
        </p:grpSpPr>
        <p:sp>
          <p:nvSpPr>
            <p:cNvPr id="19" name="Rectangle 18"/>
            <p:cNvSpPr/>
            <p:nvPr/>
          </p:nvSpPr>
          <p:spPr>
            <a:xfrm>
              <a:off x="913017" y="3899976"/>
              <a:ext cx="1714436" cy="17144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0" name="TextBox 19"/>
            <p:cNvSpPr txBox="1"/>
            <p:nvPr/>
          </p:nvSpPr>
          <p:spPr>
            <a:xfrm>
              <a:off x="1118201" y="4298526"/>
              <a:ext cx="769441" cy="1107996"/>
            </a:xfrm>
            <a:prstGeom prst="rect">
              <a:avLst/>
            </a:prstGeom>
            <a:noFill/>
          </p:spPr>
          <p:txBody>
            <a:bodyPr wrap="none" lIns="0" rIns="0" rtlCol="0">
              <a:spAutoFit/>
            </a:bodyPr>
            <a:lstStyle/>
            <a:p>
              <a:r>
                <a:rPr lang="en-US" sz="6600" dirty="0">
                  <a:latin typeface="RBC Text" panose="02000000000000000000" pitchFamily="2" charset="77"/>
                </a:rPr>
                <a:t>21</a:t>
              </a:r>
            </a:p>
          </p:txBody>
        </p:sp>
        <p:sp>
          <p:nvSpPr>
            <p:cNvPr id="21" name="TextBox 20"/>
            <p:cNvSpPr txBox="1"/>
            <p:nvPr/>
          </p:nvSpPr>
          <p:spPr>
            <a:xfrm>
              <a:off x="1118201" y="5217383"/>
              <a:ext cx="275717" cy="276999"/>
            </a:xfrm>
            <a:prstGeom prst="rect">
              <a:avLst/>
            </a:prstGeom>
            <a:noFill/>
          </p:spPr>
          <p:txBody>
            <a:bodyPr wrap="none" lIns="0" rIns="0" rtlCol="0">
              <a:spAutoFit/>
            </a:bodyPr>
            <a:lstStyle/>
            <a:p>
              <a:r>
                <a:rPr lang="en-US" sz="1200" dirty="0">
                  <a:latin typeface="RBC Text" panose="02000000000000000000" pitchFamily="2" charset="77"/>
                </a:rPr>
                <a:t>Min</a:t>
              </a:r>
            </a:p>
          </p:txBody>
        </p:sp>
      </p:grpSp>
      <p:grpSp>
        <p:nvGrpSpPr>
          <p:cNvPr id="22" name="Group 21"/>
          <p:cNvGrpSpPr/>
          <p:nvPr/>
        </p:nvGrpSpPr>
        <p:grpSpPr>
          <a:xfrm>
            <a:off x="6671877" y="3899976"/>
            <a:ext cx="1714436" cy="1714436"/>
            <a:chOff x="913017" y="3899976"/>
            <a:chExt cx="1714436" cy="1714436"/>
          </a:xfrm>
        </p:grpSpPr>
        <p:sp>
          <p:nvSpPr>
            <p:cNvPr id="23" name="Rectangle 22"/>
            <p:cNvSpPr/>
            <p:nvPr/>
          </p:nvSpPr>
          <p:spPr>
            <a:xfrm>
              <a:off x="913017" y="3899976"/>
              <a:ext cx="1714436" cy="17144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4" name="TextBox 23"/>
            <p:cNvSpPr txBox="1"/>
            <p:nvPr/>
          </p:nvSpPr>
          <p:spPr>
            <a:xfrm>
              <a:off x="1118201" y="4298526"/>
              <a:ext cx="771045" cy="1107996"/>
            </a:xfrm>
            <a:prstGeom prst="rect">
              <a:avLst/>
            </a:prstGeom>
            <a:noFill/>
          </p:spPr>
          <p:txBody>
            <a:bodyPr wrap="none" lIns="0" rIns="0" rtlCol="0">
              <a:spAutoFit/>
            </a:bodyPr>
            <a:lstStyle/>
            <a:p>
              <a:r>
                <a:rPr lang="en-US" sz="6600" dirty="0">
                  <a:latin typeface="RBC Text" panose="02000000000000000000" pitchFamily="2" charset="77"/>
                </a:rPr>
                <a:t>18</a:t>
              </a:r>
            </a:p>
          </p:txBody>
        </p:sp>
        <p:sp>
          <p:nvSpPr>
            <p:cNvPr id="25" name="TextBox 24"/>
            <p:cNvSpPr txBox="1"/>
            <p:nvPr/>
          </p:nvSpPr>
          <p:spPr>
            <a:xfrm>
              <a:off x="1118201" y="5217383"/>
              <a:ext cx="264240" cy="276999"/>
            </a:xfrm>
            <a:prstGeom prst="rect">
              <a:avLst/>
            </a:prstGeom>
            <a:noFill/>
          </p:spPr>
          <p:txBody>
            <a:bodyPr wrap="none" lIns="0" rIns="0" rtlCol="0">
              <a:spAutoFit/>
            </a:bodyPr>
            <a:lstStyle/>
            <a:p>
              <a:r>
                <a:rPr lang="en-US" sz="1200" dirty="0">
                  <a:latin typeface="RBC Text" panose="02000000000000000000" pitchFamily="2" charset="77"/>
                </a:rPr>
                <a:t>Sec</a:t>
              </a:r>
            </a:p>
          </p:txBody>
        </p:sp>
      </p:grpSp>
      <p:sp>
        <p:nvSpPr>
          <p:cNvPr id="26" name="TextBox 25"/>
          <p:cNvSpPr txBox="1"/>
          <p:nvPr/>
        </p:nvSpPr>
        <p:spPr>
          <a:xfrm>
            <a:off x="8980571" y="4635683"/>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27" name="Text Placeholder 6">
            <a:extLst>
              <a:ext uri="{FF2B5EF4-FFF2-40B4-BE49-F238E27FC236}">
                <a16:creationId xmlns:a16="http://schemas.microsoft.com/office/drawing/2014/main" id="{7F4FB8DF-E3BC-AD4B-B8C5-35B7EC552B0E}"/>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bg1"/>
                </a:solidFill>
              </a:rPr>
              <a:t>SECTION  /  Title</a:t>
            </a:r>
          </a:p>
        </p:txBody>
      </p:sp>
    </p:spTree>
    <p:extLst>
      <p:ext uri="{BB962C8B-B14F-4D97-AF65-F5344CB8AC3E}">
        <p14:creationId xmlns:p14="http://schemas.microsoft.com/office/powerpoint/2010/main" val="270029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54BE38-91A8-D54A-A754-1E03335C73ED}"/>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A34BED05-3511-0F41-9874-1807DF722992}"/>
              </a:ext>
            </a:extLst>
          </p:cNvPr>
          <p:cNvSpPr>
            <a:spLocks noGrp="1"/>
          </p:cNvSpPr>
          <p:nvPr>
            <p:ph type="ctrTitle"/>
          </p:nvPr>
        </p:nvSpPr>
        <p:spPr/>
        <p:txBody>
          <a:bodyPr/>
          <a:lstStyle/>
          <a:p>
            <a:endParaRPr lang="en-US"/>
          </a:p>
        </p:txBody>
      </p:sp>
      <p:sp>
        <p:nvSpPr>
          <p:cNvPr id="4" name="Subtitle 3">
            <a:extLst>
              <a:ext uri="{FF2B5EF4-FFF2-40B4-BE49-F238E27FC236}">
                <a16:creationId xmlns:a16="http://schemas.microsoft.com/office/drawing/2014/main" id="{C5F0F847-1EA2-9547-9AC1-ABCDFC688245}"/>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9B2A57BF-0B78-D14D-9F26-DCD154052A3F}"/>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6510690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C79C37-DC39-7C41-9483-219EC0BFDDE9}"/>
              </a:ext>
            </a:extLst>
          </p:cNvPr>
          <p:cNvSpPr/>
          <p:nvPr/>
        </p:nvSpPr>
        <p:spPr>
          <a:xfrm>
            <a:off x="177800" y="16510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 name="Picture Placeholder 1"/>
          <p:cNvSpPr>
            <a:spLocks noGrp="1"/>
          </p:cNvSpPr>
          <p:nvPr>
            <p:ph type="pic" sz="quarter" idx="12"/>
          </p:nvPr>
        </p:nvSpPr>
        <p:spPr/>
        <p:txBody>
          <a:bodyPr/>
          <a:lstStyle/>
          <a:p>
            <a:endParaRPr lang="en-CA"/>
          </a:p>
        </p:txBody>
      </p:sp>
      <p:sp>
        <p:nvSpPr>
          <p:cNvPr id="6" name="TextBox 5"/>
          <p:cNvSpPr txBox="1"/>
          <p:nvPr/>
        </p:nvSpPr>
        <p:spPr>
          <a:xfrm>
            <a:off x="2603870" y="2552366"/>
            <a:ext cx="6984284" cy="2123658"/>
          </a:xfrm>
          <a:prstGeom prst="rect">
            <a:avLst/>
          </a:prstGeom>
          <a:noFill/>
        </p:spPr>
        <p:txBody>
          <a:bodyPr wrap="none" lIns="0" rIns="0" rtlCol="0">
            <a:spAutoFit/>
          </a:bodyPr>
          <a:lstStyle/>
          <a:p>
            <a:pPr algn="ctr"/>
            <a:r>
              <a:rPr lang="en-US" sz="4400" dirty="0">
                <a:solidFill>
                  <a:schemeClr val="bg1"/>
                </a:solidFill>
                <a:latin typeface="RBC Text" panose="02000000000000000000" pitchFamily="2" charset="77"/>
                <a:ea typeface="Source Sans Pro Black" charset="0"/>
                <a:cs typeface="Source Sans Pro Black" charset="0"/>
              </a:rPr>
              <a:t>ICO and Cryptocurrency</a:t>
            </a:r>
          </a:p>
          <a:p>
            <a:pPr algn="ctr"/>
            <a:r>
              <a:rPr lang="en-US" sz="4400" dirty="0">
                <a:solidFill>
                  <a:schemeClr val="bg1"/>
                </a:solidFill>
                <a:latin typeface="RBC Text" panose="02000000000000000000" pitchFamily="2" charset="77"/>
                <a:ea typeface="Source Sans Pro Black" charset="0"/>
                <a:cs typeface="Source Sans Pro Black" charset="0"/>
              </a:rPr>
              <a:t>Presentation Template for</a:t>
            </a:r>
          </a:p>
          <a:p>
            <a:pPr algn="ctr"/>
            <a:r>
              <a:rPr lang="en-US" sz="4400" dirty="0">
                <a:solidFill>
                  <a:schemeClr val="bg1"/>
                </a:solidFill>
                <a:latin typeface="RBC Text" panose="02000000000000000000" pitchFamily="2" charset="77"/>
                <a:ea typeface="Source Sans Pro Black" charset="0"/>
                <a:cs typeface="Source Sans Pro Black" charset="0"/>
              </a:rPr>
              <a:t>Your Crypto Business</a:t>
            </a:r>
          </a:p>
        </p:txBody>
      </p:sp>
      <p:sp>
        <p:nvSpPr>
          <p:cNvPr id="7" name="Freeform 2127"/>
          <p:cNvSpPr>
            <a:spLocks noEditPoints="1"/>
          </p:cNvSpPr>
          <p:nvPr/>
        </p:nvSpPr>
        <p:spPr bwMode="auto">
          <a:xfrm>
            <a:off x="5822950" y="1679354"/>
            <a:ext cx="546100" cy="550863"/>
          </a:xfrm>
          <a:custGeom>
            <a:avLst/>
            <a:gdLst>
              <a:gd name="T0" fmla="*/ 160 w 160"/>
              <a:gd name="T1" fmla="*/ 80 h 160"/>
              <a:gd name="T2" fmla="*/ 138 w 160"/>
              <a:gd name="T3" fmla="*/ 25 h 160"/>
              <a:gd name="T4" fmla="*/ 83 w 160"/>
              <a:gd name="T5" fmla="*/ 0 h 160"/>
              <a:gd name="T6" fmla="*/ 81 w 160"/>
              <a:gd name="T7" fmla="*/ 0 h 160"/>
              <a:gd name="T8" fmla="*/ 79 w 160"/>
              <a:gd name="T9" fmla="*/ 0 h 160"/>
              <a:gd name="T10" fmla="*/ 77 w 160"/>
              <a:gd name="T11" fmla="*/ 0 h 160"/>
              <a:gd name="T12" fmla="*/ 22 w 160"/>
              <a:gd name="T13" fmla="*/ 25 h 160"/>
              <a:gd name="T14" fmla="*/ 0 w 160"/>
              <a:gd name="T15" fmla="*/ 80 h 160"/>
              <a:gd name="T16" fmla="*/ 20 w 160"/>
              <a:gd name="T17" fmla="*/ 133 h 160"/>
              <a:gd name="T18" fmla="*/ 77 w 160"/>
              <a:gd name="T19" fmla="*/ 160 h 160"/>
              <a:gd name="T20" fmla="*/ 79 w 160"/>
              <a:gd name="T21" fmla="*/ 160 h 160"/>
              <a:gd name="T22" fmla="*/ 81 w 160"/>
              <a:gd name="T23" fmla="*/ 160 h 160"/>
              <a:gd name="T24" fmla="*/ 83 w 160"/>
              <a:gd name="T25" fmla="*/ 160 h 160"/>
              <a:gd name="T26" fmla="*/ 140 w 160"/>
              <a:gd name="T27" fmla="*/ 133 h 160"/>
              <a:gd name="T28" fmla="*/ 6 w 160"/>
              <a:gd name="T29" fmla="*/ 83 h 160"/>
              <a:gd name="T30" fmla="*/ 45 w 160"/>
              <a:gd name="T31" fmla="*/ 116 h 160"/>
              <a:gd name="T32" fmla="*/ 6 w 160"/>
              <a:gd name="T33" fmla="*/ 83 h 160"/>
              <a:gd name="T34" fmla="*/ 46 w 160"/>
              <a:gd name="T35" fmla="*/ 41 h 160"/>
              <a:gd name="T36" fmla="*/ 6 w 160"/>
              <a:gd name="T37" fmla="*/ 77 h 160"/>
              <a:gd name="T38" fmla="*/ 154 w 160"/>
              <a:gd name="T39" fmla="*/ 77 h 160"/>
              <a:gd name="T40" fmla="*/ 114 w 160"/>
              <a:gd name="T41" fmla="*/ 41 h 160"/>
              <a:gd name="T42" fmla="*/ 154 w 160"/>
              <a:gd name="T43" fmla="*/ 77 h 160"/>
              <a:gd name="T44" fmla="*/ 54 w 160"/>
              <a:gd name="T45" fmla="*/ 38 h 160"/>
              <a:gd name="T46" fmla="*/ 77 w 160"/>
              <a:gd name="T47" fmla="*/ 41 h 160"/>
              <a:gd name="T48" fmla="*/ 77 w 160"/>
              <a:gd name="T49" fmla="*/ 77 h 160"/>
              <a:gd name="T50" fmla="*/ 52 w 160"/>
              <a:gd name="T51" fmla="*/ 43 h 160"/>
              <a:gd name="T52" fmla="*/ 83 w 160"/>
              <a:gd name="T53" fmla="*/ 47 h 160"/>
              <a:gd name="T54" fmla="*/ 116 w 160"/>
              <a:gd name="T55" fmla="*/ 77 h 160"/>
              <a:gd name="T56" fmla="*/ 83 w 160"/>
              <a:gd name="T57" fmla="*/ 47 h 160"/>
              <a:gd name="T58" fmla="*/ 83 w 160"/>
              <a:gd name="T59" fmla="*/ 7 h 160"/>
              <a:gd name="T60" fmla="*/ 83 w 160"/>
              <a:gd name="T61" fmla="*/ 41 h 160"/>
              <a:gd name="T62" fmla="*/ 90 w 160"/>
              <a:gd name="T63" fmla="*/ 6 h 160"/>
              <a:gd name="T64" fmla="*/ 111 w 160"/>
              <a:gd name="T65" fmla="*/ 36 h 160"/>
              <a:gd name="T66" fmla="*/ 28 w 160"/>
              <a:gd name="T67" fmla="*/ 26 h 160"/>
              <a:gd name="T68" fmla="*/ 49 w 160"/>
              <a:gd name="T69" fmla="*/ 36 h 160"/>
              <a:gd name="T70" fmla="*/ 77 w 160"/>
              <a:gd name="T71" fmla="*/ 83 h 160"/>
              <a:gd name="T72" fmla="*/ 51 w 160"/>
              <a:gd name="T73" fmla="*/ 115 h 160"/>
              <a:gd name="T74" fmla="*/ 77 w 160"/>
              <a:gd name="T75" fmla="*/ 116 h 160"/>
              <a:gd name="T76" fmla="*/ 53 w 160"/>
              <a:gd name="T77" fmla="*/ 120 h 160"/>
              <a:gd name="T78" fmla="*/ 83 w 160"/>
              <a:gd name="T79" fmla="*/ 153 h 160"/>
              <a:gd name="T80" fmla="*/ 107 w 160"/>
              <a:gd name="T81" fmla="*/ 120 h 160"/>
              <a:gd name="T82" fmla="*/ 83 w 160"/>
              <a:gd name="T83" fmla="*/ 110 h 160"/>
              <a:gd name="T84" fmla="*/ 116 w 160"/>
              <a:gd name="T85" fmla="*/ 83 h 160"/>
              <a:gd name="T86" fmla="*/ 83 w 160"/>
              <a:gd name="T87" fmla="*/ 110 h 160"/>
              <a:gd name="T88" fmla="*/ 154 w 160"/>
              <a:gd name="T89" fmla="*/ 83 h 160"/>
              <a:gd name="T90" fmla="*/ 115 w 160"/>
              <a:gd name="T91" fmla="*/ 116 h 160"/>
              <a:gd name="T92" fmla="*/ 27 w 160"/>
              <a:gd name="T93" fmla="*/ 132 h 160"/>
              <a:gd name="T94" fmla="*/ 70 w 160"/>
              <a:gd name="T95" fmla="*/ 154 h 160"/>
              <a:gd name="T96" fmla="*/ 90 w 160"/>
              <a:gd name="T97" fmla="*/ 154 h 160"/>
              <a:gd name="T98" fmla="*/ 133 w 160"/>
              <a:gd name="T99" fmla="*/ 13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60">
                <a:moveTo>
                  <a:pt x="140" y="133"/>
                </a:moveTo>
                <a:cubicBezTo>
                  <a:pt x="152" y="119"/>
                  <a:pt x="160" y="100"/>
                  <a:pt x="160" y="80"/>
                </a:cubicBezTo>
                <a:cubicBezTo>
                  <a:pt x="160" y="59"/>
                  <a:pt x="152" y="40"/>
                  <a:pt x="138" y="25"/>
                </a:cubicBezTo>
                <a:cubicBezTo>
                  <a:pt x="138" y="25"/>
                  <a:pt x="138" y="25"/>
                  <a:pt x="138" y="25"/>
                </a:cubicBezTo>
                <a:cubicBezTo>
                  <a:pt x="138" y="25"/>
                  <a:pt x="138" y="25"/>
                  <a:pt x="138" y="25"/>
                </a:cubicBezTo>
                <a:cubicBezTo>
                  <a:pt x="124" y="10"/>
                  <a:pt x="105" y="1"/>
                  <a:pt x="83" y="0"/>
                </a:cubicBezTo>
                <a:cubicBezTo>
                  <a:pt x="83" y="0"/>
                  <a:pt x="83" y="0"/>
                  <a:pt x="83" y="0"/>
                </a:cubicBezTo>
                <a:cubicBezTo>
                  <a:pt x="81" y="0"/>
                  <a:pt x="81" y="0"/>
                  <a:pt x="81" y="0"/>
                </a:cubicBezTo>
                <a:cubicBezTo>
                  <a:pt x="81" y="0"/>
                  <a:pt x="80" y="0"/>
                  <a:pt x="80" y="0"/>
                </a:cubicBezTo>
                <a:cubicBezTo>
                  <a:pt x="80" y="0"/>
                  <a:pt x="79" y="0"/>
                  <a:pt x="79" y="0"/>
                </a:cubicBezTo>
                <a:cubicBezTo>
                  <a:pt x="77" y="0"/>
                  <a:pt x="77" y="0"/>
                  <a:pt x="77" y="0"/>
                </a:cubicBezTo>
                <a:cubicBezTo>
                  <a:pt x="77" y="0"/>
                  <a:pt x="77" y="0"/>
                  <a:pt x="77" y="0"/>
                </a:cubicBezTo>
                <a:cubicBezTo>
                  <a:pt x="55" y="1"/>
                  <a:pt x="36" y="10"/>
                  <a:pt x="22" y="25"/>
                </a:cubicBezTo>
                <a:cubicBezTo>
                  <a:pt x="22" y="25"/>
                  <a:pt x="22" y="25"/>
                  <a:pt x="22" y="25"/>
                </a:cubicBezTo>
                <a:cubicBezTo>
                  <a:pt x="22" y="25"/>
                  <a:pt x="22" y="25"/>
                  <a:pt x="22" y="25"/>
                </a:cubicBezTo>
                <a:cubicBezTo>
                  <a:pt x="8" y="40"/>
                  <a:pt x="0" y="59"/>
                  <a:pt x="0" y="80"/>
                </a:cubicBezTo>
                <a:cubicBezTo>
                  <a:pt x="0" y="100"/>
                  <a:pt x="8" y="119"/>
                  <a:pt x="20" y="133"/>
                </a:cubicBezTo>
                <a:cubicBezTo>
                  <a:pt x="20" y="133"/>
                  <a:pt x="20" y="133"/>
                  <a:pt x="20" y="133"/>
                </a:cubicBezTo>
                <a:cubicBezTo>
                  <a:pt x="20" y="133"/>
                  <a:pt x="20" y="133"/>
                  <a:pt x="20" y="133"/>
                </a:cubicBezTo>
                <a:cubicBezTo>
                  <a:pt x="34" y="149"/>
                  <a:pt x="55" y="159"/>
                  <a:pt x="77" y="160"/>
                </a:cubicBezTo>
                <a:cubicBezTo>
                  <a:pt x="77" y="160"/>
                  <a:pt x="77" y="160"/>
                  <a:pt x="77" y="160"/>
                </a:cubicBezTo>
                <a:cubicBezTo>
                  <a:pt x="79" y="160"/>
                  <a:pt x="79" y="160"/>
                  <a:pt x="79" y="160"/>
                </a:cubicBezTo>
                <a:cubicBezTo>
                  <a:pt x="79" y="160"/>
                  <a:pt x="80" y="160"/>
                  <a:pt x="80" y="160"/>
                </a:cubicBezTo>
                <a:cubicBezTo>
                  <a:pt x="80" y="160"/>
                  <a:pt x="81" y="160"/>
                  <a:pt x="81" y="160"/>
                </a:cubicBezTo>
                <a:cubicBezTo>
                  <a:pt x="83" y="160"/>
                  <a:pt x="83" y="160"/>
                  <a:pt x="83" y="160"/>
                </a:cubicBezTo>
                <a:cubicBezTo>
                  <a:pt x="83" y="160"/>
                  <a:pt x="83" y="160"/>
                  <a:pt x="83" y="160"/>
                </a:cubicBezTo>
                <a:cubicBezTo>
                  <a:pt x="105" y="159"/>
                  <a:pt x="126" y="149"/>
                  <a:pt x="140" y="133"/>
                </a:cubicBezTo>
                <a:cubicBezTo>
                  <a:pt x="140" y="133"/>
                  <a:pt x="140" y="133"/>
                  <a:pt x="140" y="133"/>
                </a:cubicBezTo>
                <a:cubicBezTo>
                  <a:pt x="140" y="133"/>
                  <a:pt x="140" y="133"/>
                  <a:pt x="140" y="133"/>
                </a:cubicBezTo>
                <a:close/>
                <a:moveTo>
                  <a:pt x="6" y="83"/>
                </a:moveTo>
                <a:cubicBezTo>
                  <a:pt x="39" y="83"/>
                  <a:pt x="39" y="83"/>
                  <a:pt x="39" y="83"/>
                </a:cubicBezTo>
                <a:cubicBezTo>
                  <a:pt x="39" y="94"/>
                  <a:pt x="41" y="106"/>
                  <a:pt x="45" y="116"/>
                </a:cubicBezTo>
                <a:cubicBezTo>
                  <a:pt x="38" y="119"/>
                  <a:pt x="30" y="123"/>
                  <a:pt x="23" y="128"/>
                </a:cubicBezTo>
                <a:cubicBezTo>
                  <a:pt x="13" y="116"/>
                  <a:pt x="6" y="100"/>
                  <a:pt x="6" y="83"/>
                </a:cubicBezTo>
                <a:close/>
                <a:moveTo>
                  <a:pt x="24" y="30"/>
                </a:moveTo>
                <a:cubicBezTo>
                  <a:pt x="31" y="35"/>
                  <a:pt x="39" y="38"/>
                  <a:pt x="46" y="41"/>
                </a:cubicBezTo>
                <a:cubicBezTo>
                  <a:pt x="42" y="52"/>
                  <a:pt x="39" y="65"/>
                  <a:pt x="39" y="77"/>
                </a:cubicBezTo>
                <a:cubicBezTo>
                  <a:pt x="6" y="77"/>
                  <a:pt x="6" y="77"/>
                  <a:pt x="6" y="77"/>
                </a:cubicBezTo>
                <a:cubicBezTo>
                  <a:pt x="6" y="59"/>
                  <a:pt x="13" y="43"/>
                  <a:pt x="24" y="30"/>
                </a:cubicBezTo>
                <a:close/>
                <a:moveTo>
                  <a:pt x="154" y="77"/>
                </a:moveTo>
                <a:cubicBezTo>
                  <a:pt x="121" y="77"/>
                  <a:pt x="121" y="77"/>
                  <a:pt x="121" y="77"/>
                </a:cubicBezTo>
                <a:cubicBezTo>
                  <a:pt x="121" y="65"/>
                  <a:pt x="118" y="52"/>
                  <a:pt x="114" y="41"/>
                </a:cubicBezTo>
                <a:cubicBezTo>
                  <a:pt x="121" y="38"/>
                  <a:pt x="129" y="35"/>
                  <a:pt x="136" y="30"/>
                </a:cubicBezTo>
                <a:cubicBezTo>
                  <a:pt x="147" y="43"/>
                  <a:pt x="154" y="59"/>
                  <a:pt x="154" y="77"/>
                </a:cubicBezTo>
                <a:close/>
                <a:moveTo>
                  <a:pt x="77" y="41"/>
                </a:moveTo>
                <a:cubicBezTo>
                  <a:pt x="69" y="41"/>
                  <a:pt x="61" y="40"/>
                  <a:pt x="54" y="38"/>
                </a:cubicBezTo>
                <a:cubicBezTo>
                  <a:pt x="59" y="26"/>
                  <a:pt x="67" y="16"/>
                  <a:pt x="77" y="7"/>
                </a:cubicBezTo>
                <a:lnTo>
                  <a:pt x="77" y="41"/>
                </a:lnTo>
                <a:close/>
                <a:moveTo>
                  <a:pt x="77" y="47"/>
                </a:moveTo>
                <a:cubicBezTo>
                  <a:pt x="77" y="77"/>
                  <a:pt x="77" y="77"/>
                  <a:pt x="77" y="77"/>
                </a:cubicBezTo>
                <a:cubicBezTo>
                  <a:pt x="44" y="77"/>
                  <a:pt x="44" y="77"/>
                  <a:pt x="44" y="77"/>
                </a:cubicBezTo>
                <a:cubicBezTo>
                  <a:pt x="45" y="65"/>
                  <a:pt x="47" y="54"/>
                  <a:pt x="52" y="43"/>
                </a:cubicBezTo>
                <a:cubicBezTo>
                  <a:pt x="60" y="45"/>
                  <a:pt x="68" y="47"/>
                  <a:pt x="77" y="47"/>
                </a:cubicBezTo>
                <a:close/>
                <a:moveTo>
                  <a:pt x="83" y="47"/>
                </a:moveTo>
                <a:cubicBezTo>
                  <a:pt x="92" y="47"/>
                  <a:pt x="100" y="45"/>
                  <a:pt x="108" y="43"/>
                </a:cubicBezTo>
                <a:cubicBezTo>
                  <a:pt x="113" y="54"/>
                  <a:pt x="115" y="65"/>
                  <a:pt x="116" y="77"/>
                </a:cubicBezTo>
                <a:cubicBezTo>
                  <a:pt x="83" y="77"/>
                  <a:pt x="83" y="77"/>
                  <a:pt x="83" y="77"/>
                </a:cubicBezTo>
                <a:lnTo>
                  <a:pt x="83" y="47"/>
                </a:lnTo>
                <a:close/>
                <a:moveTo>
                  <a:pt x="83" y="41"/>
                </a:moveTo>
                <a:cubicBezTo>
                  <a:pt x="83" y="7"/>
                  <a:pt x="83" y="7"/>
                  <a:pt x="83" y="7"/>
                </a:cubicBezTo>
                <a:cubicBezTo>
                  <a:pt x="93" y="16"/>
                  <a:pt x="101" y="26"/>
                  <a:pt x="106" y="38"/>
                </a:cubicBezTo>
                <a:cubicBezTo>
                  <a:pt x="99" y="40"/>
                  <a:pt x="91" y="41"/>
                  <a:pt x="83" y="41"/>
                </a:cubicBezTo>
                <a:close/>
                <a:moveTo>
                  <a:pt x="111" y="36"/>
                </a:moveTo>
                <a:cubicBezTo>
                  <a:pt x="106" y="25"/>
                  <a:pt x="99" y="15"/>
                  <a:pt x="90" y="6"/>
                </a:cubicBezTo>
                <a:cubicBezTo>
                  <a:pt x="106" y="8"/>
                  <a:pt x="120" y="16"/>
                  <a:pt x="132" y="26"/>
                </a:cubicBezTo>
                <a:cubicBezTo>
                  <a:pt x="125" y="30"/>
                  <a:pt x="119" y="34"/>
                  <a:pt x="111" y="36"/>
                </a:cubicBezTo>
                <a:close/>
                <a:moveTo>
                  <a:pt x="49" y="36"/>
                </a:moveTo>
                <a:cubicBezTo>
                  <a:pt x="42" y="34"/>
                  <a:pt x="35" y="30"/>
                  <a:pt x="28" y="26"/>
                </a:cubicBezTo>
                <a:cubicBezTo>
                  <a:pt x="40" y="16"/>
                  <a:pt x="54" y="8"/>
                  <a:pt x="70" y="6"/>
                </a:cubicBezTo>
                <a:cubicBezTo>
                  <a:pt x="61" y="15"/>
                  <a:pt x="54" y="25"/>
                  <a:pt x="49" y="36"/>
                </a:cubicBezTo>
                <a:close/>
                <a:moveTo>
                  <a:pt x="44" y="83"/>
                </a:moveTo>
                <a:cubicBezTo>
                  <a:pt x="77" y="83"/>
                  <a:pt x="77" y="83"/>
                  <a:pt x="77" y="83"/>
                </a:cubicBezTo>
                <a:cubicBezTo>
                  <a:pt x="77" y="110"/>
                  <a:pt x="77" y="110"/>
                  <a:pt x="77" y="110"/>
                </a:cubicBezTo>
                <a:cubicBezTo>
                  <a:pt x="68" y="111"/>
                  <a:pt x="59" y="112"/>
                  <a:pt x="51" y="115"/>
                </a:cubicBezTo>
                <a:cubicBezTo>
                  <a:pt x="47" y="105"/>
                  <a:pt x="45" y="94"/>
                  <a:pt x="44" y="83"/>
                </a:cubicBezTo>
                <a:close/>
                <a:moveTo>
                  <a:pt x="77" y="116"/>
                </a:moveTo>
                <a:cubicBezTo>
                  <a:pt x="77" y="153"/>
                  <a:pt x="77" y="153"/>
                  <a:pt x="77" y="153"/>
                </a:cubicBezTo>
                <a:cubicBezTo>
                  <a:pt x="67" y="143"/>
                  <a:pt x="58" y="132"/>
                  <a:pt x="53" y="120"/>
                </a:cubicBezTo>
                <a:cubicBezTo>
                  <a:pt x="61" y="118"/>
                  <a:pt x="69" y="116"/>
                  <a:pt x="77" y="116"/>
                </a:cubicBezTo>
                <a:close/>
                <a:moveTo>
                  <a:pt x="83" y="153"/>
                </a:moveTo>
                <a:cubicBezTo>
                  <a:pt x="83" y="116"/>
                  <a:pt x="83" y="116"/>
                  <a:pt x="83" y="116"/>
                </a:cubicBezTo>
                <a:cubicBezTo>
                  <a:pt x="91" y="116"/>
                  <a:pt x="99" y="118"/>
                  <a:pt x="107" y="120"/>
                </a:cubicBezTo>
                <a:cubicBezTo>
                  <a:pt x="102" y="132"/>
                  <a:pt x="93" y="143"/>
                  <a:pt x="83" y="153"/>
                </a:cubicBezTo>
                <a:close/>
                <a:moveTo>
                  <a:pt x="83" y="110"/>
                </a:moveTo>
                <a:cubicBezTo>
                  <a:pt x="83" y="83"/>
                  <a:pt x="83" y="83"/>
                  <a:pt x="83" y="83"/>
                </a:cubicBezTo>
                <a:cubicBezTo>
                  <a:pt x="116" y="83"/>
                  <a:pt x="116" y="83"/>
                  <a:pt x="116" y="83"/>
                </a:cubicBezTo>
                <a:cubicBezTo>
                  <a:pt x="115" y="94"/>
                  <a:pt x="113" y="105"/>
                  <a:pt x="109" y="115"/>
                </a:cubicBezTo>
                <a:cubicBezTo>
                  <a:pt x="101" y="112"/>
                  <a:pt x="92" y="111"/>
                  <a:pt x="83" y="110"/>
                </a:cubicBezTo>
                <a:close/>
                <a:moveTo>
                  <a:pt x="121" y="83"/>
                </a:moveTo>
                <a:cubicBezTo>
                  <a:pt x="154" y="83"/>
                  <a:pt x="154" y="83"/>
                  <a:pt x="154" y="83"/>
                </a:cubicBezTo>
                <a:cubicBezTo>
                  <a:pt x="154" y="100"/>
                  <a:pt x="147" y="116"/>
                  <a:pt x="137" y="128"/>
                </a:cubicBezTo>
                <a:cubicBezTo>
                  <a:pt x="130" y="123"/>
                  <a:pt x="122" y="119"/>
                  <a:pt x="115" y="116"/>
                </a:cubicBezTo>
                <a:cubicBezTo>
                  <a:pt x="119" y="106"/>
                  <a:pt x="121" y="94"/>
                  <a:pt x="121" y="83"/>
                </a:cubicBezTo>
                <a:close/>
                <a:moveTo>
                  <a:pt x="27" y="132"/>
                </a:moveTo>
                <a:cubicBezTo>
                  <a:pt x="33" y="128"/>
                  <a:pt x="40" y="124"/>
                  <a:pt x="47" y="122"/>
                </a:cubicBezTo>
                <a:cubicBezTo>
                  <a:pt x="53" y="134"/>
                  <a:pt x="61" y="145"/>
                  <a:pt x="70" y="154"/>
                </a:cubicBezTo>
                <a:cubicBezTo>
                  <a:pt x="53" y="152"/>
                  <a:pt x="38" y="144"/>
                  <a:pt x="27" y="132"/>
                </a:cubicBezTo>
                <a:close/>
                <a:moveTo>
                  <a:pt x="90" y="154"/>
                </a:moveTo>
                <a:cubicBezTo>
                  <a:pt x="99" y="145"/>
                  <a:pt x="107" y="134"/>
                  <a:pt x="113" y="122"/>
                </a:cubicBezTo>
                <a:cubicBezTo>
                  <a:pt x="120" y="124"/>
                  <a:pt x="127" y="128"/>
                  <a:pt x="133" y="132"/>
                </a:cubicBezTo>
                <a:cubicBezTo>
                  <a:pt x="122" y="144"/>
                  <a:pt x="107" y="152"/>
                  <a:pt x="90" y="15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 name="TextBox 7"/>
          <p:cNvSpPr txBox="1"/>
          <p:nvPr/>
        </p:nvSpPr>
        <p:spPr>
          <a:xfrm>
            <a:off x="3059575" y="5499246"/>
            <a:ext cx="6072850" cy="535531"/>
          </a:xfrm>
          <a:prstGeom prst="rect">
            <a:avLst/>
          </a:prstGeom>
          <a:noFill/>
        </p:spPr>
        <p:txBody>
          <a:bodyPr wrap="square" lIns="0" rIns="0" rtlCol="0">
            <a:spAutoFit/>
          </a:bodyPr>
          <a:lstStyle/>
          <a:p>
            <a:pPr algn="ctr">
              <a:lnSpc>
                <a:spcPct val="120000"/>
              </a:lnSpc>
            </a:pPr>
            <a:r>
              <a:rPr lang="en-US" sz="1200" dirty="0">
                <a:solidFill>
                  <a:schemeClr val="bg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2" name="Text Placeholder 6">
            <a:extLst>
              <a:ext uri="{FF2B5EF4-FFF2-40B4-BE49-F238E27FC236}">
                <a16:creationId xmlns:a16="http://schemas.microsoft.com/office/drawing/2014/main" id="{F3B308F6-BD95-7244-8FC5-5EA97C3ACC14}"/>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bg1"/>
                </a:solidFill>
              </a:rPr>
              <a:t>SECTION  /  Title</a:t>
            </a:r>
          </a:p>
        </p:txBody>
      </p:sp>
    </p:spTree>
    <p:extLst>
      <p:ext uri="{BB962C8B-B14F-4D97-AF65-F5344CB8AC3E}">
        <p14:creationId xmlns:p14="http://schemas.microsoft.com/office/powerpoint/2010/main" val="10363865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5" name="Rectangle 4"/>
          <p:cNvSpPr/>
          <p:nvPr/>
        </p:nvSpPr>
        <p:spPr>
          <a:xfrm>
            <a:off x="177800" y="16510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6" name="TextBox 5"/>
          <p:cNvSpPr txBox="1"/>
          <p:nvPr/>
        </p:nvSpPr>
        <p:spPr>
          <a:xfrm>
            <a:off x="5150240" y="4236912"/>
            <a:ext cx="1891543" cy="769441"/>
          </a:xfrm>
          <a:prstGeom prst="rect">
            <a:avLst/>
          </a:prstGeom>
          <a:noFill/>
        </p:spPr>
        <p:txBody>
          <a:bodyPr wrap="none" lIns="0" rIns="0" rtlCol="0">
            <a:spAutoFit/>
          </a:bodyPr>
          <a:lstStyle/>
          <a:p>
            <a:pPr algn="ctr"/>
            <a:r>
              <a:rPr lang="en-US" sz="4400" dirty="0">
                <a:solidFill>
                  <a:schemeClr val="bg1"/>
                </a:solidFill>
                <a:latin typeface="RBC Text" panose="02000000000000000000" pitchFamily="2" charset="77"/>
                <a:ea typeface="Source Sans Pro Black" charset="0"/>
                <a:cs typeface="Source Sans Pro Black" charset="0"/>
              </a:rPr>
              <a:t>Bitcoin</a:t>
            </a:r>
          </a:p>
        </p:txBody>
      </p:sp>
      <p:sp>
        <p:nvSpPr>
          <p:cNvPr id="7" name="Freeform 2127"/>
          <p:cNvSpPr>
            <a:spLocks noEditPoints="1"/>
          </p:cNvSpPr>
          <p:nvPr/>
        </p:nvSpPr>
        <p:spPr bwMode="auto">
          <a:xfrm>
            <a:off x="5822950" y="1679354"/>
            <a:ext cx="546100" cy="550863"/>
          </a:xfrm>
          <a:custGeom>
            <a:avLst/>
            <a:gdLst>
              <a:gd name="T0" fmla="*/ 160 w 160"/>
              <a:gd name="T1" fmla="*/ 80 h 160"/>
              <a:gd name="T2" fmla="*/ 138 w 160"/>
              <a:gd name="T3" fmla="*/ 25 h 160"/>
              <a:gd name="T4" fmla="*/ 83 w 160"/>
              <a:gd name="T5" fmla="*/ 0 h 160"/>
              <a:gd name="T6" fmla="*/ 81 w 160"/>
              <a:gd name="T7" fmla="*/ 0 h 160"/>
              <a:gd name="T8" fmla="*/ 79 w 160"/>
              <a:gd name="T9" fmla="*/ 0 h 160"/>
              <a:gd name="T10" fmla="*/ 77 w 160"/>
              <a:gd name="T11" fmla="*/ 0 h 160"/>
              <a:gd name="T12" fmla="*/ 22 w 160"/>
              <a:gd name="T13" fmla="*/ 25 h 160"/>
              <a:gd name="T14" fmla="*/ 0 w 160"/>
              <a:gd name="T15" fmla="*/ 80 h 160"/>
              <a:gd name="T16" fmla="*/ 20 w 160"/>
              <a:gd name="T17" fmla="*/ 133 h 160"/>
              <a:gd name="T18" fmla="*/ 77 w 160"/>
              <a:gd name="T19" fmla="*/ 160 h 160"/>
              <a:gd name="T20" fmla="*/ 79 w 160"/>
              <a:gd name="T21" fmla="*/ 160 h 160"/>
              <a:gd name="T22" fmla="*/ 81 w 160"/>
              <a:gd name="T23" fmla="*/ 160 h 160"/>
              <a:gd name="T24" fmla="*/ 83 w 160"/>
              <a:gd name="T25" fmla="*/ 160 h 160"/>
              <a:gd name="T26" fmla="*/ 140 w 160"/>
              <a:gd name="T27" fmla="*/ 133 h 160"/>
              <a:gd name="T28" fmla="*/ 6 w 160"/>
              <a:gd name="T29" fmla="*/ 83 h 160"/>
              <a:gd name="T30" fmla="*/ 45 w 160"/>
              <a:gd name="T31" fmla="*/ 116 h 160"/>
              <a:gd name="T32" fmla="*/ 6 w 160"/>
              <a:gd name="T33" fmla="*/ 83 h 160"/>
              <a:gd name="T34" fmla="*/ 46 w 160"/>
              <a:gd name="T35" fmla="*/ 41 h 160"/>
              <a:gd name="T36" fmla="*/ 6 w 160"/>
              <a:gd name="T37" fmla="*/ 77 h 160"/>
              <a:gd name="T38" fmla="*/ 154 w 160"/>
              <a:gd name="T39" fmla="*/ 77 h 160"/>
              <a:gd name="T40" fmla="*/ 114 w 160"/>
              <a:gd name="T41" fmla="*/ 41 h 160"/>
              <a:gd name="T42" fmla="*/ 154 w 160"/>
              <a:gd name="T43" fmla="*/ 77 h 160"/>
              <a:gd name="T44" fmla="*/ 54 w 160"/>
              <a:gd name="T45" fmla="*/ 38 h 160"/>
              <a:gd name="T46" fmla="*/ 77 w 160"/>
              <a:gd name="T47" fmla="*/ 41 h 160"/>
              <a:gd name="T48" fmla="*/ 77 w 160"/>
              <a:gd name="T49" fmla="*/ 77 h 160"/>
              <a:gd name="T50" fmla="*/ 52 w 160"/>
              <a:gd name="T51" fmla="*/ 43 h 160"/>
              <a:gd name="T52" fmla="*/ 83 w 160"/>
              <a:gd name="T53" fmla="*/ 47 h 160"/>
              <a:gd name="T54" fmla="*/ 116 w 160"/>
              <a:gd name="T55" fmla="*/ 77 h 160"/>
              <a:gd name="T56" fmla="*/ 83 w 160"/>
              <a:gd name="T57" fmla="*/ 47 h 160"/>
              <a:gd name="T58" fmla="*/ 83 w 160"/>
              <a:gd name="T59" fmla="*/ 7 h 160"/>
              <a:gd name="T60" fmla="*/ 83 w 160"/>
              <a:gd name="T61" fmla="*/ 41 h 160"/>
              <a:gd name="T62" fmla="*/ 90 w 160"/>
              <a:gd name="T63" fmla="*/ 6 h 160"/>
              <a:gd name="T64" fmla="*/ 111 w 160"/>
              <a:gd name="T65" fmla="*/ 36 h 160"/>
              <a:gd name="T66" fmla="*/ 28 w 160"/>
              <a:gd name="T67" fmla="*/ 26 h 160"/>
              <a:gd name="T68" fmla="*/ 49 w 160"/>
              <a:gd name="T69" fmla="*/ 36 h 160"/>
              <a:gd name="T70" fmla="*/ 77 w 160"/>
              <a:gd name="T71" fmla="*/ 83 h 160"/>
              <a:gd name="T72" fmla="*/ 51 w 160"/>
              <a:gd name="T73" fmla="*/ 115 h 160"/>
              <a:gd name="T74" fmla="*/ 77 w 160"/>
              <a:gd name="T75" fmla="*/ 116 h 160"/>
              <a:gd name="T76" fmla="*/ 53 w 160"/>
              <a:gd name="T77" fmla="*/ 120 h 160"/>
              <a:gd name="T78" fmla="*/ 83 w 160"/>
              <a:gd name="T79" fmla="*/ 153 h 160"/>
              <a:gd name="T80" fmla="*/ 107 w 160"/>
              <a:gd name="T81" fmla="*/ 120 h 160"/>
              <a:gd name="T82" fmla="*/ 83 w 160"/>
              <a:gd name="T83" fmla="*/ 110 h 160"/>
              <a:gd name="T84" fmla="*/ 116 w 160"/>
              <a:gd name="T85" fmla="*/ 83 h 160"/>
              <a:gd name="T86" fmla="*/ 83 w 160"/>
              <a:gd name="T87" fmla="*/ 110 h 160"/>
              <a:gd name="T88" fmla="*/ 154 w 160"/>
              <a:gd name="T89" fmla="*/ 83 h 160"/>
              <a:gd name="T90" fmla="*/ 115 w 160"/>
              <a:gd name="T91" fmla="*/ 116 h 160"/>
              <a:gd name="T92" fmla="*/ 27 w 160"/>
              <a:gd name="T93" fmla="*/ 132 h 160"/>
              <a:gd name="T94" fmla="*/ 70 w 160"/>
              <a:gd name="T95" fmla="*/ 154 h 160"/>
              <a:gd name="T96" fmla="*/ 90 w 160"/>
              <a:gd name="T97" fmla="*/ 154 h 160"/>
              <a:gd name="T98" fmla="*/ 133 w 160"/>
              <a:gd name="T99" fmla="*/ 13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60">
                <a:moveTo>
                  <a:pt x="140" y="133"/>
                </a:moveTo>
                <a:cubicBezTo>
                  <a:pt x="152" y="119"/>
                  <a:pt x="160" y="100"/>
                  <a:pt x="160" y="80"/>
                </a:cubicBezTo>
                <a:cubicBezTo>
                  <a:pt x="160" y="59"/>
                  <a:pt x="152" y="40"/>
                  <a:pt x="138" y="25"/>
                </a:cubicBezTo>
                <a:cubicBezTo>
                  <a:pt x="138" y="25"/>
                  <a:pt x="138" y="25"/>
                  <a:pt x="138" y="25"/>
                </a:cubicBezTo>
                <a:cubicBezTo>
                  <a:pt x="138" y="25"/>
                  <a:pt x="138" y="25"/>
                  <a:pt x="138" y="25"/>
                </a:cubicBezTo>
                <a:cubicBezTo>
                  <a:pt x="124" y="10"/>
                  <a:pt x="105" y="1"/>
                  <a:pt x="83" y="0"/>
                </a:cubicBezTo>
                <a:cubicBezTo>
                  <a:pt x="83" y="0"/>
                  <a:pt x="83" y="0"/>
                  <a:pt x="83" y="0"/>
                </a:cubicBezTo>
                <a:cubicBezTo>
                  <a:pt x="81" y="0"/>
                  <a:pt x="81" y="0"/>
                  <a:pt x="81" y="0"/>
                </a:cubicBezTo>
                <a:cubicBezTo>
                  <a:pt x="81" y="0"/>
                  <a:pt x="80" y="0"/>
                  <a:pt x="80" y="0"/>
                </a:cubicBezTo>
                <a:cubicBezTo>
                  <a:pt x="80" y="0"/>
                  <a:pt x="79" y="0"/>
                  <a:pt x="79" y="0"/>
                </a:cubicBezTo>
                <a:cubicBezTo>
                  <a:pt x="77" y="0"/>
                  <a:pt x="77" y="0"/>
                  <a:pt x="77" y="0"/>
                </a:cubicBezTo>
                <a:cubicBezTo>
                  <a:pt x="77" y="0"/>
                  <a:pt x="77" y="0"/>
                  <a:pt x="77" y="0"/>
                </a:cubicBezTo>
                <a:cubicBezTo>
                  <a:pt x="55" y="1"/>
                  <a:pt x="36" y="10"/>
                  <a:pt x="22" y="25"/>
                </a:cubicBezTo>
                <a:cubicBezTo>
                  <a:pt x="22" y="25"/>
                  <a:pt x="22" y="25"/>
                  <a:pt x="22" y="25"/>
                </a:cubicBezTo>
                <a:cubicBezTo>
                  <a:pt x="22" y="25"/>
                  <a:pt x="22" y="25"/>
                  <a:pt x="22" y="25"/>
                </a:cubicBezTo>
                <a:cubicBezTo>
                  <a:pt x="8" y="40"/>
                  <a:pt x="0" y="59"/>
                  <a:pt x="0" y="80"/>
                </a:cubicBezTo>
                <a:cubicBezTo>
                  <a:pt x="0" y="100"/>
                  <a:pt x="8" y="119"/>
                  <a:pt x="20" y="133"/>
                </a:cubicBezTo>
                <a:cubicBezTo>
                  <a:pt x="20" y="133"/>
                  <a:pt x="20" y="133"/>
                  <a:pt x="20" y="133"/>
                </a:cubicBezTo>
                <a:cubicBezTo>
                  <a:pt x="20" y="133"/>
                  <a:pt x="20" y="133"/>
                  <a:pt x="20" y="133"/>
                </a:cubicBezTo>
                <a:cubicBezTo>
                  <a:pt x="34" y="149"/>
                  <a:pt x="55" y="159"/>
                  <a:pt x="77" y="160"/>
                </a:cubicBezTo>
                <a:cubicBezTo>
                  <a:pt x="77" y="160"/>
                  <a:pt x="77" y="160"/>
                  <a:pt x="77" y="160"/>
                </a:cubicBezTo>
                <a:cubicBezTo>
                  <a:pt x="79" y="160"/>
                  <a:pt x="79" y="160"/>
                  <a:pt x="79" y="160"/>
                </a:cubicBezTo>
                <a:cubicBezTo>
                  <a:pt x="79" y="160"/>
                  <a:pt x="80" y="160"/>
                  <a:pt x="80" y="160"/>
                </a:cubicBezTo>
                <a:cubicBezTo>
                  <a:pt x="80" y="160"/>
                  <a:pt x="81" y="160"/>
                  <a:pt x="81" y="160"/>
                </a:cubicBezTo>
                <a:cubicBezTo>
                  <a:pt x="83" y="160"/>
                  <a:pt x="83" y="160"/>
                  <a:pt x="83" y="160"/>
                </a:cubicBezTo>
                <a:cubicBezTo>
                  <a:pt x="83" y="160"/>
                  <a:pt x="83" y="160"/>
                  <a:pt x="83" y="160"/>
                </a:cubicBezTo>
                <a:cubicBezTo>
                  <a:pt x="105" y="159"/>
                  <a:pt x="126" y="149"/>
                  <a:pt x="140" y="133"/>
                </a:cubicBezTo>
                <a:cubicBezTo>
                  <a:pt x="140" y="133"/>
                  <a:pt x="140" y="133"/>
                  <a:pt x="140" y="133"/>
                </a:cubicBezTo>
                <a:cubicBezTo>
                  <a:pt x="140" y="133"/>
                  <a:pt x="140" y="133"/>
                  <a:pt x="140" y="133"/>
                </a:cubicBezTo>
                <a:close/>
                <a:moveTo>
                  <a:pt x="6" y="83"/>
                </a:moveTo>
                <a:cubicBezTo>
                  <a:pt x="39" y="83"/>
                  <a:pt x="39" y="83"/>
                  <a:pt x="39" y="83"/>
                </a:cubicBezTo>
                <a:cubicBezTo>
                  <a:pt x="39" y="94"/>
                  <a:pt x="41" y="106"/>
                  <a:pt x="45" y="116"/>
                </a:cubicBezTo>
                <a:cubicBezTo>
                  <a:pt x="38" y="119"/>
                  <a:pt x="30" y="123"/>
                  <a:pt x="23" y="128"/>
                </a:cubicBezTo>
                <a:cubicBezTo>
                  <a:pt x="13" y="116"/>
                  <a:pt x="6" y="100"/>
                  <a:pt x="6" y="83"/>
                </a:cubicBezTo>
                <a:close/>
                <a:moveTo>
                  <a:pt x="24" y="30"/>
                </a:moveTo>
                <a:cubicBezTo>
                  <a:pt x="31" y="35"/>
                  <a:pt x="39" y="38"/>
                  <a:pt x="46" y="41"/>
                </a:cubicBezTo>
                <a:cubicBezTo>
                  <a:pt x="42" y="52"/>
                  <a:pt x="39" y="65"/>
                  <a:pt x="39" y="77"/>
                </a:cubicBezTo>
                <a:cubicBezTo>
                  <a:pt x="6" y="77"/>
                  <a:pt x="6" y="77"/>
                  <a:pt x="6" y="77"/>
                </a:cubicBezTo>
                <a:cubicBezTo>
                  <a:pt x="6" y="59"/>
                  <a:pt x="13" y="43"/>
                  <a:pt x="24" y="30"/>
                </a:cubicBezTo>
                <a:close/>
                <a:moveTo>
                  <a:pt x="154" y="77"/>
                </a:moveTo>
                <a:cubicBezTo>
                  <a:pt x="121" y="77"/>
                  <a:pt x="121" y="77"/>
                  <a:pt x="121" y="77"/>
                </a:cubicBezTo>
                <a:cubicBezTo>
                  <a:pt x="121" y="65"/>
                  <a:pt x="118" y="52"/>
                  <a:pt x="114" y="41"/>
                </a:cubicBezTo>
                <a:cubicBezTo>
                  <a:pt x="121" y="38"/>
                  <a:pt x="129" y="35"/>
                  <a:pt x="136" y="30"/>
                </a:cubicBezTo>
                <a:cubicBezTo>
                  <a:pt x="147" y="43"/>
                  <a:pt x="154" y="59"/>
                  <a:pt x="154" y="77"/>
                </a:cubicBezTo>
                <a:close/>
                <a:moveTo>
                  <a:pt x="77" y="41"/>
                </a:moveTo>
                <a:cubicBezTo>
                  <a:pt x="69" y="41"/>
                  <a:pt x="61" y="40"/>
                  <a:pt x="54" y="38"/>
                </a:cubicBezTo>
                <a:cubicBezTo>
                  <a:pt x="59" y="26"/>
                  <a:pt x="67" y="16"/>
                  <a:pt x="77" y="7"/>
                </a:cubicBezTo>
                <a:lnTo>
                  <a:pt x="77" y="41"/>
                </a:lnTo>
                <a:close/>
                <a:moveTo>
                  <a:pt x="77" y="47"/>
                </a:moveTo>
                <a:cubicBezTo>
                  <a:pt x="77" y="77"/>
                  <a:pt x="77" y="77"/>
                  <a:pt x="77" y="77"/>
                </a:cubicBezTo>
                <a:cubicBezTo>
                  <a:pt x="44" y="77"/>
                  <a:pt x="44" y="77"/>
                  <a:pt x="44" y="77"/>
                </a:cubicBezTo>
                <a:cubicBezTo>
                  <a:pt x="45" y="65"/>
                  <a:pt x="47" y="54"/>
                  <a:pt x="52" y="43"/>
                </a:cubicBezTo>
                <a:cubicBezTo>
                  <a:pt x="60" y="45"/>
                  <a:pt x="68" y="47"/>
                  <a:pt x="77" y="47"/>
                </a:cubicBezTo>
                <a:close/>
                <a:moveTo>
                  <a:pt x="83" y="47"/>
                </a:moveTo>
                <a:cubicBezTo>
                  <a:pt x="92" y="47"/>
                  <a:pt x="100" y="45"/>
                  <a:pt x="108" y="43"/>
                </a:cubicBezTo>
                <a:cubicBezTo>
                  <a:pt x="113" y="54"/>
                  <a:pt x="115" y="65"/>
                  <a:pt x="116" y="77"/>
                </a:cubicBezTo>
                <a:cubicBezTo>
                  <a:pt x="83" y="77"/>
                  <a:pt x="83" y="77"/>
                  <a:pt x="83" y="77"/>
                </a:cubicBezTo>
                <a:lnTo>
                  <a:pt x="83" y="47"/>
                </a:lnTo>
                <a:close/>
                <a:moveTo>
                  <a:pt x="83" y="41"/>
                </a:moveTo>
                <a:cubicBezTo>
                  <a:pt x="83" y="7"/>
                  <a:pt x="83" y="7"/>
                  <a:pt x="83" y="7"/>
                </a:cubicBezTo>
                <a:cubicBezTo>
                  <a:pt x="93" y="16"/>
                  <a:pt x="101" y="26"/>
                  <a:pt x="106" y="38"/>
                </a:cubicBezTo>
                <a:cubicBezTo>
                  <a:pt x="99" y="40"/>
                  <a:pt x="91" y="41"/>
                  <a:pt x="83" y="41"/>
                </a:cubicBezTo>
                <a:close/>
                <a:moveTo>
                  <a:pt x="111" y="36"/>
                </a:moveTo>
                <a:cubicBezTo>
                  <a:pt x="106" y="25"/>
                  <a:pt x="99" y="15"/>
                  <a:pt x="90" y="6"/>
                </a:cubicBezTo>
                <a:cubicBezTo>
                  <a:pt x="106" y="8"/>
                  <a:pt x="120" y="16"/>
                  <a:pt x="132" y="26"/>
                </a:cubicBezTo>
                <a:cubicBezTo>
                  <a:pt x="125" y="30"/>
                  <a:pt x="119" y="34"/>
                  <a:pt x="111" y="36"/>
                </a:cubicBezTo>
                <a:close/>
                <a:moveTo>
                  <a:pt x="49" y="36"/>
                </a:moveTo>
                <a:cubicBezTo>
                  <a:pt x="42" y="34"/>
                  <a:pt x="35" y="30"/>
                  <a:pt x="28" y="26"/>
                </a:cubicBezTo>
                <a:cubicBezTo>
                  <a:pt x="40" y="16"/>
                  <a:pt x="54" y="8"/>
                  <a:pt x="70" y="6"/>
                </a:cubicBezTo>
                <a:cubicBezTo>
                  <a:pt x="61" y="15"/>
                  <a:pt x="54" y="25"/>
                  <a:pt x="49" y="36"/>
                </a:cubicBezTo>
                <a:close/>
                <a:moveTo>
                  <a:pt x="44" y="83"/>
                </a:moveTo>
                <a:cubicBezTo>
                  <a:pt x="77" y="83"/>
                  <a:pt x="77" y="83"/>
                  <a:pt x="77" y="83"/>
                </a:cubicBezTo>
                <a:cubicBezTo>
                  <a:pt x="77" y="110"/>
                  <a:pt x="77" y="110"/>
                  <a:pt x="77" y="110"/>
                </a:cubicBezTo>
                <a:cubicBezTo>
                  <a:pt x="68" y="111"/>
                  <a:pt x="59" y="112"/>
                  <a:pt x="51" y="115"/>
                </a:cubicBezTo>
                <a:cubicBezTo>
                  <a:pt x="47" y="105"/>
                  <a:pt x="45" y="94"/>
                  <a:pt x="44" y="83"/>
                </a:cubicBezTo>
                <a:close/>
                <a:moveTo>
                  <a:pt x="77" y="116"/>
                </a:moveTo>
                <a:cubicBezTo>
                  <a:pt x="77" y="153"/>
                  <a:pt x="77" y="153"/>
                  <a:pt x="77" y="153"/>
                </a:cubicBezTo>
                <a:cubicBezTo>
                  <a:pt x="67" y="143"/>
                  <a:pt x="58" y="132"/>
                  <a:pt x="53" y="120"/>
                </a:cubicBezTo>
                <a:cubicBezTo>
                  <a:pt x="61" y="118"/>
                  <a:pt x="69" y="116"/>
                  <a:pt x="77" y="116"/>
                </a:cubicBezTo>
                <a:close/>
                <a:moveTo>
                  <a:pt x="83" y="153"/>
                </a:moveTo>
                <a:cubicBezTo>
                  <a:pt x="83" y="116"/>
                  <a:pt x="83" y="116"/>
                  <a:pt x="83" y="116"/>
                </a:cubicBezTo>
                <a:cubicBezTo>
                  <a:pt x="91" y="116"/>
                  <a:pt x="99" y="118"/>
                  <a:pt x="107" y="120"/>
                </a:cubicBezTo>
                <a:cubicBezTo>
                  <a:pt x="102" y="132"/>
                  <a:pt x="93" y="143"/>
                  <a:pt x="83" y="153"/>
                </a:cubicBezTo>
                <a:close/>
                <a:moveTo>
                  <a:pt x="83" y="110"/>
                </a:moveTo>
                <a:cubicBezTo>
                  <a:pt x="83" y="83"/>
                  <a:pt x="83" y="83"/>
                  <a:pt x="83" y="83"/>
                </a:cubicBezTo>
                <a:cubicBezTo>
                  <a:pt x="116" y="83"/>
                  <a:pt x="116" y="83"/>
                  <a:pt x="116" y="83"/>
                </a:cubicBezTo>
                <a:cubicBezTo>
                  <a:pt x="115" y="94"/>
                  <a:pt x="113" y="105"/>
                  <a:pt x="109" y="115"/>
                </a:cubicBezTo>
                <a:cubicBezTo>
                  <a:pt x="101" y="112"/>
                  <a:pt x="92" y="111"/>
                  <a:pt x="83" y="110"/>
                </a:cubicBezTo>
                <a:close/>
                <a:moveTo>
                  <a:pt x="121" y="83"/>
                </a:moveTo>
                <a:cubicBezTo>
                  <a:pt x="154" y="83"/>
                  <a:pt x="154" y="83"/>
                  <a:pt x="154" y="83"/>
                </a:cubicBezTo>
                <a:cubicBezTo>
                  <a:pt x="154" y="100"/>
                  <a:pt x="147" y="116"/>
                  <a:pt x="137" y="128"/>
                </a:cubicBezTo>
                <a:cubicBezTo>
                  <a:pt x="130" y="123"/>
                  <a:pt x="122" y="119"/>
                  <a:pt x="115" y="116"/>
                </a:cubicBezTo>
                <a:cubicBezTo>
                  <a:pt x="119" y="106"/>
                  <a:pt x="121" y="94"/>
                  <a:pt x="121" y="83"/>
                </a:cubicBezTo>
                <a:close/>
                <a:moveTo>
                  <a:pt x="27" y="132"/>
                </a:moveTo>
                <a:cubicBezTo>
                  <a:pt x="33" y="128"/>
                  <a:pt x="40" y="124"/>
                  <a:pt x="47" y="122"/>
                </a:cubicBezTo>
                <a:cubicBezTo>
                  <a:pt x="53" y="134"/>
                  <a:pt x="61" y="145"/>
                  <a:pt x="70" y="154"/>
                </a:cubicBezTo>
                <a:cubicBezTo>
                  <a:pt x="53" y="152"/>
                  <a:pt x="38" y="144"/>
                  <a:pt x="27" y="132"/>
                </a:cubicBezTo>
                <a:close/>
                <a:moveTo>
                  <a:pt x="90" y="154"/>
                </a:moveTo>
                <a:cubicBezTo>
                  <a:pt x="99" y="145"/>
                  <a:pt x="107" y="134"/>
                  <a:pt x="113" y="122"/>
                </a:cubicBezTo>
                <a:cubicBezTo>
                  <a:pt x="120" y="124"/>
                  <a:pt x="127" y="128"/>
                  <a:pt x="133" y="132"/>
                </a:cubicBezTo>
                <a:cubicBezTo>
                  <a:pt x="122" y="144"/>
                  <a:pt x="107" y="152"/>
                  <a:pt x="90" y="1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 name="TextBox 7"/>
          <p:cNvSpPr txBox="1"/>
          <p:nvPr/>
        </p:nvSpPr>
        <p:spPr>
          <a:xfrm>
            <a:off x="3059575" y="5499246"/>
            <a:ext cx="6072850" cy="535531"/>
          </a:xfrm>
          <a:prstGeom prst="rect">
            <a:avLst/>
          </a:prstGeom>
          <a:noFill/>
        </p:spPr>
        <p:txBody>
          <a:bodyPr wrap="square" lIns="0" rIns="0" rtlCol="0">
            <a:spAutoFit/>
          </a:bodyPr>
          <a:lstStyle/>
          <a:p>
            <a:pPr algn="ctr">
              <a:lnSpc>
                <a:spcPct val="120000"/>
              </a:lnSpc>
            </a:pPr>
            <a:r>
              <a:rPr lang="en-US" sz="1200" dirty="0">
                <a:solidFill>
                  <a:schemeClr val="bg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2" name="TextBox 11"/>
          <p:cNvSpPr txBox="1"/>
          <p:nvPr/>
        </p:nvSpPr>
        <p:spPr>
          <a:xfrm>
            <a:off x="3890090" y="2215975"/>
            <a:ext cx="4411849" cy="2215991"/>
          </a:xfrm>
          <a:prstGeom prst="rect">
            <a:avLst/>
          </a:prstGeom>
          <a:noFill/>
        </p:spPr>
        <p:txBody>
          <a:bodyPr wrap="none" lIns="0" rIns="0" rtlCol="0">
            <a:spAutoFit/>
          </a:bodyPr>
          <a:lstStyle/>
          <a:p>
            <a:pPr algn="ctr"/>
            <a:r>
              <a:rPr lang="en-US" sz="13800" dirty="0">
                <a:solidFill>
                  <a:schemeClr val="bg1"/>
                </a:solidFill>
                <a:latin typeface="RBC Display" panose="02000000000000000000" pitchFamily="2" charset="77"/>
                <a:ea typeface="Source Sans Pro Black" charset="0"/>
                <a:cs typeface="Source Sans Pro Black" charset="0"/>
              </a:rPr>
              <a:t>11,583</a:t>
            </a:r>
          </a:p>
        </p:txBody>
      </p:sp>
      <p:sp>
        <p:nvSpPr>
          <p:cNvPr id="13" name="Text Placeholder 6">
            <a:extLst>
              <a:ext uri="{FF2B5EF4-FFF2-40B4-BE49-F238E27FC236}">
                <a16:creationId xmlns:a16="http://schemas.microsoft.com/office/drawing/2014/main" id="{369BEA89-9E35-524B-9873-A43EE31E67FA}"/>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bg1"/>
                </a:solidFill>
              </a:rPr>
              <a:t>SECTION  /  Title</a:t>
            </a:r>
          </a:p>
        </p:txBody>
      </p:sp>
    </p:spTree>
    <p:extLst>
      <p:ext uri="{BB962C8B-B14F-4D97-AF65-F5344CB8AC3E}">
        <p14:creationId xmlns:p14="http://schemas.microsoft.com/office/powerpoint/2010/main" val="8504284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it works</a:t>
            </a:r>
            <a:r>
              <a:rPr lang="en-US" dirty="0">
                <a:solidFill>
                  <a:schemeClr val="accent1"/>
                </a:solidFill>
              </a:rPr>
              <a:t>?</a:t>
            </a:r>
          </a:p>
        </p:txBody>
      </p:sp>
      <p:sp>
        <p:nvSpPr>
          <p:cNvPr id="4" name="TextBox 3"/>
          <p:cNvSpPr txBox="1"/>
          <p:nvPr/>
        </p:nvSpPr>
        <p:spPr>
          <a:xfrm>
            <a:off x="913016" y="1799194"/>
            <a:ext cx="3291840" cy="318549"/>
          </a:xfrm>
          <a:prstGeom prst="rect">
            <a:avLst/>
          </a:prstGeom>
          <a:noFill/>
        </p:spPr>
        <p:txBody>
          <a:bodyPr wrap="square" lIns="0" rIns="0" rtlCol="0">
            <a:spAutoFit/>
          </a:bodyPr>
          <a:lstStyle/>
          <a:p>
            <a:pPr>
              <a:lnSpc>
                <a:spcPct val="130000"/>
              </a:lnSpc>
            </a:pPr>
            <a:r>
              <a:rPr lang="en-US" sz="1200" dirty="0">
                <a:solidFill>
                  <a:schemeClr val="tx1">
                    <a:alpha val="70000"/>
                  </a:schemeClr>
                </a:solidFill>
                <a:latin typeface="RBC Text" panose="02000000000000000000" pitchFamily="2" charset="77"/>
              </a:rPr>
              <a:t>It always does one good. Apparently.</a:t>
            </a:r>
          </a:p>
        </p:txBody>
      </p:sp>
      <p:sp>
        <p:nvSpPr>
          <p:cNvPr id="5" name="TextBox 4"/>
          <p:cNvSpPr txBox="1"/>
          <p:nvPr/>
        </p:nvSpPr>
        <p:spPr>
          <a:xfrm>
            <a:off x="913016" y="4309689"/>
            <a:ext cx="1554913" cy="369332"/>
          </a:xfrm>
          <a:prstGeom prst="rect">
            <a:avLst/>
          </a:prstGeom>
          <a:noFill/>
        </p:spPr>
        <p:txBody>
          <a:bodyPr wrap="none" lIns="0" rIns="0" rtlCol="0">
            <a:spAutoFit/>
          </a:bodyPr>
          <a:lstStyle/>
          <a:p>
            <a:r>
              <a:rPr lang="en-US" b="1" dirty="0">
                <a:latin typeface="RBC Display" panose="02000000000000000000" pitchFamily="2" charset="77"/>
                <a:ea typeface="Open Sans" charset="0"/>
                <a:cs typeface="Open Sans" charset="0"/>
              </a:rPr>
              <a:t>Digital Assets</a:t>
            </a:r>
          </a:p>
        </p:txBody>
      </p:sp>
      <p:sp>
        <p:nvSpPr>
          <p:cNvPr id="6" name="TextBox 5"/>
          <p:cNvSpPr txBox="1"/>
          <p:nvPr/>
        </p:nvSpPr>
        <p:spPr>
          <a:xfrm>
            <a:off x="913016" y="4714581"/>
            <a:ext cx="2599384" cy="1033232"/>
          </a:xfrm>
          <a:prstGeom prst="rect">
            <a:avLst/>
          </a:prstGeom>
          <a:noFill/>
        </p:spPr>
        <p:txBody>
          <a:bodyPr wrap="square" lIns="0" rIns="0" rtlCol="0">
            <a:spAutoFit/>
          </a:bodyPr>
          <a:lstStyle/>
          <a:p>
            <a:pPr>
              <a:lnSpc>
                <a:spcPct val="130000"/>
              </a:lnSpc>
            </a:pPr>
            <a:r>
              <a:rPr lang="en-US" sz="1200" dirty="0" err="1">
                <a:solidFill>
                  <a:schemeClr val="tx1">
                    <a:alpha val="70000"/>
                  </a:schemeClr>
                </a:solidFill>
                <a:latin typeface="RBC Text" panose="02000000000000000000" pitchFamily="2" charset="77"/>
              </a:rPr>
              <a:t>Sed</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t</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perspiciat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nd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omn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ist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natus</a:t>
            </a:r>
            <a:r>
              <a:rPr lang="en-US" sz="1200" dirty="0">
                <a:solidFill>
                  <a:schemeClr val="tx1">
                    <a:alpha val="70000"/>
                  </a:schemeClr>
                </a:solidFill>
                <a:latin typeface="RBC Text" panose="02000000000000000000" pitchFamily="2" charset="77"/>
              </a:rPr>
              <a:t> error sit </a:t>
            </a:r>
            <a:r>
              <a:rPr lang="en-US" sz="1200" dirty="0" err="1">
                <a:solidFill>
                  <a:schemeClr val="tx1">
                    <a:alpha val="70000"/>
                  </a:schemeClr>
                </a:solidFill>
                <a:latin typeface="RBC Text" panose="02000000000000000000" pitchFamily="2" charset="77"/>
              </a:rPr>
              <a:t>voluptate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accusantiu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doloremqu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laudantium</a:t>
            </a:r>
            <a:r>
              <a:rPr lang="en-US" sz="1200" dirty="0">
                <a:solidFill>
                  <a:schemeClr val="tx1">
                    <a:alpha val="70000"/>
                  </a:schemeClr>
                </a:solidFill>
                <a:latin typeface="RBC Text" panose="02000000000000000000" pitchFamily="2" charset="77"/>
              </a:rPr>
              <a:t>.</a:t>
            </a:r>
          </a:p>
        </p:txBody>
      </p:sp>
      <p:sp>
        <p:nvSpPr>
          <p:cNvPr id="7" name="Freeform 1098">
            <a:extLst>
              <a:ext uri="{FF2B5EF4-FFF2-40B4-BE49-F238E27FC236}">
                <a16:creationId xmlns:a16="http://schemas.microsoft.com/office/drawing/2014/main" id="{86EE3BE9-8060-4E5B-9D73-6C0637F7E30F}"/>
              </a:ext>
            </a:extLst>
          </p:cNvPr>
          <p:cNvSpPr>
            <a:spLocks noEditPoints="1"/>
          </p:cNvSpPr>
          <p:nvPr/>
        </p:nvSpPr>
        <p:spPr bwMode="auto">
          <a:xfrm>
            <a:off x="913016" y="3289300"/>
            <a:ext cx="728973" cy="735312"/>
          </a:xfrm>
          <a:custGeom>
            <a:avLst/>
            <a:gdLst>
              <a:gd name="T0" fmla="*/ 48 w 160"/>
              <a:gd name="T1" fmla="*/ 78 h 160"/>
              <a:gd name="T2" fmla="*/ 38 w 160"/>
              <a:gd name="T3" fmla="*/ 74 h 160"/>
              <a:gd name="T4" fmla="*/ 156 w 160"/>
              <a:gd name="T5" fmla="*/ 77 h 160"/>
              <a:gd name="T6" fmla="*/ 150 w 160"/>
              <a:gd name="T7" fmla="*/ 73 h 160"/>
              <a:gd name="T8" fmla="*/ 141 w 160"/>
              <a:gd name="T9" fmla="*/ 72 h 160"/>
              <a:gd name="T10" fmla="*/ 50 w 160"/>
              <a:gd name="T11" fmla="*/ 33 h 160"/>
              <a:gd name="T12" fmla="*/ 16 w 160"/>
              <a:gd name="T13" fmla="*/ 40 h 160"/>
              <a:gd name="T14" fmla="*/ 16 w 160"/>
              <a:gd name="T15" fmla="*/ 80 h 160"/>
              <a:gd name="T16" fmla="*/ 13 w 160"/>
              <a:gd name="T17" fmla="*/ 122 h 160"/>
              <a:gd name="T18" fmla="*/ 21 w 160"/>
              <a:gd name="T19" fmla="*/ 155 h 160"/>
              <a:gd name="T20" fmla="*/ 54 w 160"/>
              <a:gd name="T21" fmla="*/ 154 h 160"/>
              <a:gd name="T22" fmla="*/ 112 w 160"/>
              <a:gd name="T23" fmla="*/ 160 h 160"/>
              <a:gd name="T24" fmla="*/ 135 w 160"/>
              <a:gd name="T25" fmla="*/ 136 h 160"/>
              <a:gd name="T26" fmla="*/ 143 w 160"/>
              <a:gd name="T27" fmla="*/ 90 h 160"/>
              <a:gd name="T28" fmla="*/ 136 w 160"/>
              <a:gd name="T29" fmla="*/ 83 h 160"/>
              <a:gd name="T30" fmla="*/ 138 w 160"/>
              <a:gd name="T31" fmla="*/ 79 h 160"/>
              <a:gd name="T32" fmla="*/ 139 w 160"/>
              <a:gd name="T33" fmla="*/ 78 h 160"/>
              <a:gd name="T34" fmla="*/ 149 w 160"/>
              <a:gd name="T35" fmla="*/ 84 h 160"/>
              <a:gd name="T36" fmla="*/ 110 w 160"/>
              <a:gd name="T37" fmla="*/ 43 h 160"/>
              <a:gd name="T38" fmla="*/ 101 w 160"/>
              <a:gd name="T39" fmla="*/ 51 h 160"/>
              <a:gd name="T40" fmla="*/ 90 w 160"/>
              <a:gd name="T41" fmla="*/ 49 h 160"/>
              <a:gd name="T42" fmla="*/ 81 w 160"/>
              <a:gd name="T43" fmla="*/ 49 h 160"/>
              <a:gd name="T44" fmla="*/ 70 w 160"/>
              <a:gd name="T45" fmla="*/ 52 h 160"/>
              <a:gd name="T46" fmla="*/ 63 w 160"/>
              <a:gd name="T47" fmla="*/ 52 h 160"/>
              <a:gd name="T48" fmla="*/ 57 w 160"/>
              <a:gd name="T49" fmla="*/ 42 h 160"/>
              <a:gd name="T50" fmla="*/ 48 w 160"/>
              <a:gd name="T51" fmla="*/ 155 h 160"/>
              <a:gd name="T52" fmla="*/ 27 w 160"/>
              <a:gd name="T53" fmla="*/ 140 h 160"/>
              <a:gd name="T54" fmla="*/ 128 w 160"/>
              <a:gd name="T55" fmla="*/ 155 h 160"/>
              <a:gd name="T56" fmla="*/ 131 w 160"/>
              <a:gd name="T57" fmla="*/ 140 h 160"/>
              <a:gd name="T58" fmla="*/ 128 w 160"/>
              <a:gd name="T59" fmla="*/ 136 h 160"/>
              <a:gd name="T60" fmla="*/ 120 w 160"/>
              <a:gd name="T61" fmla="*/ 142 h 160"/>
              <a:gd name="T62" fmla="*/ 110 w 160"/>
              <a:gd name="T63" fmla="*/ 147 h 160"/>
              <a:gd name="T64" fmla="*/ 82 w 160"/>
              <a:gd name="T65" fmla="*/ 153 h 160"/>
              <a:gd name="T66" fmla="*/ 19 w 160"/>
              <a:gd name="T67" fmla="*/ 117 h 160"/>
              <a:gd name="T68" fmla="*/ 13 w 160"/>
              <a:gd name="T69" fmla="*/ 85 h 160"/>
              <a:gd name="T70" fmla="*/ 32 w 160"/>
              <a:gd name="T71" fmla="*/ 59 h 160"/>
              <a:gd name="T72" fmla="*/ 44 w 160"/>
              <a:gd name="T73" fmla="*/ 48 h 160"/>
              <a:gd name="T74" fmla="*/ 55 w 160"/>
              <a:gd name="T75" fmla="*/ 50 h 160"/>
              <a:gd name="T76" fmla="*/ 60 w 160"/>
              <a:gd name="T77" fmla="*/ 56 h 160"/>
              <a:gd name="T78" fmla="*/ 57 w 160"/>
              <a:gd name="T79" fmla="*/ 65 h 160"/>
              <a:gd name="T80" fmla="*/ 69 w 160"/>
              <a:gd name="T81" fmla="*/ 58 h 160"/>
              <a:gd name="T82" fmla="*/ 76 w 160"/>
              <a:gd name="T83" fmla="*/ 56 h 160"/>
              <a:gd name="T84" fmla="*/ 100 w 160"/>
              <a:gd name="T85" fmla="*/ 57 h 160"/>
              <a:gd name="T86" fmla="*/ 116 w 160"/>
              <a:gd name="T87" fmla="*/ 65 h 160"/>
              <a:gd name="T88" fmla="*/ 111 w 160"/>
              <a:gd name="T89" fmla="*/ 53 h 160"/>
              <a:gd name="T90" fmla="*/ 113 w 160"/>
              <a:gd name="T91" fmla="*/ 49 h 160"/>
              <a:gd name="T92" fmla="*/ 132 w 160"/>
              <a:gd name="T93" fmla="*/ 79 h 160"/>
              <a:gd name="T94" fmla="*/ 130 w 160"/>
              <a:gd name="T95" fmla="*/ 84 h 160"/>
              <a:gd name="T96" fmla="*/ 132 w 160"/>
              <a:gd name="T97" fmla="*/ 89 h 160"/>
              <a:gd name="T98" fmla="*/ 134 w 160"/>
              <a:gd name="T99" fmla="*/ 93 h 160"/>
              <a:gd name="T100" fmla="*/ 138 w 160"/>
              <a:gd name="T101" fmla="*/ 95 h 160"/>
              <a:gd name="T102" fmla="*/ 141 w 160"/>
              <a:gd name="T103" fmla="*/ 104 h 160"/>
              <a:gd name="T104" fmla="*/ 154 w 160"/>
              <a:gd name="T105" fmla="*/ 86 h 160"/>
              <a:gd name="T106" fmla="*/ 72 w 160"/>
              <a:gd name="T107" fmla="*/ 50 h 160"/>
              <a:gd name="T108" fmla="*/ 84 w 160"/>
              <a:gd name="T109" fmla="*/ 15 h 160"/>
              <a:gd name="T110" fmla="*/ 99 w 160"/>
              <a:gd name="T111" fmla="*/ 49 h 160"/>
              <a:gd name="T112" fmla="*/ 70 w 160"/>
              <a:gd name="T113" fmla="*/ 50 h 160"/>
              <a:gd name="T114" fmla="*/ 50 w 160"/>
              <a:gd name="T115" fmla="*/ 141 h 160"/>
              <a:gd name="T116" fmla="*/ 85 w 160"/>
              <a:gd name="T117" fmla="*/ 14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60">
                <a:moveTo>
                  <a:pt x="38" y="69"/>
                </a:moveTo>
                <a:cubicBezTo>
                  <a:pt x="33" y="69"/>
                  <a:pt x="29" y="73"/>
                  <a:pt x="29" y="78"/>
                </a:cubicBezTo>
                <a:cubicBezTo>
                  <a:pt x="29" y="84"/>
                  <a:pt x="33" y="88"/>
                  <a:pt x="38" y="88"/>
                </a:cubicBezTo>
                <a:cubicBezTo>
                  <a:pt x="44" y="88"/>
                  <a:pt x="48" y="84"/>
                  <a:pt x="48" y="78"/>
                </a:cubicBezTo>
                <a:cubicBezTo>
                  <a:pt x="48" y="73"/>
                  <a:pt x="44" y="69"/>
                  <a:pt x="38" y="69"/>
                </a:cubicBezTo>
                <a:close/>
                <a:moveTo>
                  <a:pt x="38" y="82"/>
                </a:moveTo>
                <a:cubicBezTo>
                  <a:pt x="36" y="82"/>
                  <a:pt x="34" y="81"/>
                  <a:pt x="34" y="78"/>
                </a:cubicBezTo>
                <a:cubicBezTo>
                  <a:pt x="34" y="76"/>
                  <a:pt x="36" y="74"/>
                  <a:pt x="38" y="74"/>
                </a:cubicBezTo>
                <a:cubicBezTo>
                  <a:pt x="41" y="74"/>
                  <a:pt x="42" y="76"/>
                  <a:pt x="42" y="78"/>
                </a:cubicBezTo>
                <a:cubicBezTo>
                  <a:pt x="42" y="81"/>
                  <a:pt x="41" y="82"/>
                  <a:pt x="38" y="82"/>
                </a:cubicBezTo>
                <a:close/>
                <a:moveTo>
                  <a:pt x="160" y="88"/>
                </a:moveTo>
                <a:cubicBezTo>
                  <a:pt x="160" y="84"/>
                  <a:pt x="158" y="80"/>
                  <a:pt x="156" y="77"/>
                </a:cubicBezTo>
                <a:cubicBezTo>
                  <a:pt x="156" y="74"/>
                  <a:pt x="155" y="71"/>
                  <a:pt x="154" y="68"/>
                </a:cubicBezTo>
                <a:cubicBezTo>
                  <a:pt x="154" y="67"/>
                  <a:pt x="152" y="66"/>
                  <a:pt x="151" y="67"/>
                </a:cubicBezTo>
                <a:cubicBezTo>
                  <a:pt x="149" y="67"/>
                  <a:pt x="149" y="69"/>
                  <a:pt x="149" y="70"/>
                </a:cubicBezTo>
                <a:cubicBezTo>
                  <a:pt x="150" y="71"/>
                  <a:pt x="150" y="72"/>
                  <a:pt x="150" y="73"/>
                </a:cubicBezTo>
                <a:cubicBezTo>
                  <a:pt x="148" y="72"/>
                  <a:pt x="146" y="72"/>
                  <a:pt x="144" y="72"/>
                </a:cubicBezTo>
                <a:cubicBezTo>
                  <a:pt x="144" y="72"/>
                  <a:pt x="144" y="72"/>
                  <a:pt x="143" y="72"/>
                </a:cubicBezTo>
                <a:cubicBezTo>
                  <a:pt x="143" y="72"/>
                  <a:pt x="143" y="72"/>
                  <a:pt x="142" y="72"/>
                </a:cubicBezTo>
                <a:cubicBezTo>
                  <a:pt x="142" y="72"/>
                  <a:pt x="141" y="72"/>
                  <a:pt x="141" y="72"/>
                </a:cubicBezTo>
                <a:cubicBezTo>
                  <a:pt x="136" y="60"/>
                  <a:pt x="127" y="50"/>
                  <a:pt x="115" y="44"/>
                </a:cubicBezTo>
                <a:cubicBezTo>
                  <a:pt x="117" y="40"/>
                  <a:pt x="117" y="37"/>
                  <a:pt x="117" y="33"/>
                </a:cubicBezTo>
                <a:cubicBezTo>
                  <a:pt x="117" y="15"/>
                  <a:pt x="102" y="0"/>
                  <a:pt x="84" y="0"/>
                </a:cubicBezTo>
                <a:cubicBezTo>
                  <a:pt x="65" y="0"/>
                  <a:pt x="50" y="15"/>
                  <a:pt x="50" y="33"/>
                </a:cubicBezTo>
                <a:cubicBezTo>
                  <a:pt x="50" y="36"/>
                  <a:pt x="51" y="38"/>
                  <a:pt x="51" y="41"/>
                </a:cubicBezTo>
                <a:cubicBezTo>
                  <a:pt x="49" y="41"/>
                  <a:pt x="47" y="42"/>
                  <a:pt x="45" y="43"/>
                </a:cubicBezTo>
                <a:cubicBezTo>
                  <a:pt x="33" y="38"/>
                  <a:pt x="26" y="37"/>
                  <a:pt x="19" y="37"/>
                </a:cubicBezTo>
                <a:cubicBezTo>
                  <a:pt x="17" y="38"/>
                  <a:pt x="16" y="39"/>
                  <a:pt x="16" y="40"/>
                </a:cubicBezTo>
                <a:cubicBezTo>
                  <a:pt x="16" y="42"/>
                  <a:pt x="16" y="44"/>
                  <a:pt x="18" y="44"/>
                </a:cubicBezTo>
                <a:cubicBezTo>
                  <a:pt x="21" y="46"/>
                  <a:pt x="23" y="50"/>
                  <a:pt x="25" y="55"/>
                </a:cubicBezTo>
                <a:cubicBezTo>
                  <a:pt x="25" y="56"/>
                  <a:pt x="25" y="57"/>
                  <a:pt x="26" y="58"/>
                </a:cubicBezTo>
                <a:cubicBezTo>
                  <a:pt x="19" y="65"/>
                  <a:pt x="18" y="71"/>
                  <a:pt x="16" y="80"/>
                </a:cubicBezTo>
                <a:cubicBezTo>
                  <a:pt x="13" y="80"/>
                  <a:pt x="13" y="80"/>
                  <a:pt x="13" y="80"/>
                </a:cubicBezTo>
                <a:cubicBezTo>
                  <a:pt x="5" y="80"/>
                  <a:pt x="0" y="86"/>
                  <a:pt x="0" y="96"/>
                </a:cubicBezTo>
                <a:cubicBezTo>
                  <a:pt x="0" y="106"/>
                  <a:pt x="0" y="106"/>
                  <a:pt x="0" y="106"/>
                </a:cubicBezTo>
                <a:cubicBezTo>
                  <a:pt x="0" y="116"/>
                  <a:pt x="5" y="122"/>
                  <a:pt x="13" y="122"/>
                </a:cubicBezTo>
                <a:cubicBezTo>
                  <a:pt x="15" y="122"/>
                  <a:pt x="15" y="122"/>
                  <a:pt x="15" y="122"/>
                </a:cubicBezTo>
                <a:cubicBezTo>
                  <a:pt x="17" y="127"/>
                  <a:pt x="20" y="132"/>
                  <a:pt x="23" y="136"/>
                </a:cubicBezTo>
                <a:cubicBezTo>
                  <a:pt x="20" y="145"/>
                  <a:pt x="20" y="145"/>
                  <a:pt x="20" y="145"/>
                </a:cubicBezTo>
                <a:cubicBezTo>
                  <a:pt x="18" y="148"/>
                  <a:pt x="19" y="152"/>
                  <a:pt x="21" y="155"/>
                </a:cubicBezTo>
                <a:cubicBezTo>
                  <a:pt x="23" y="158"/>
                  <a:pt x="26" y="160"/>
                  <a:pt x="30" y="160"/>
                </a:cubicBezTo>
                <a:cubicBezTo>
                  <a:pt x="48" y="160"/>
                  <a:pt x="48" y="160"/>
                  <a:pt x="48" y="160"/>
                </a:cubicBezTo>
                <a:cubicBezTo>
                  <a:pt x="50" y="160"/>
                  <a:pt x="52" y="159"/>
                  <a:pt x="53" y="157"/>
                </a:cubicBezTo>
                <a:cubicBezTo>
                  <a:pt x="54" y="154"/>
                  <a:pt x="54" y="154"/>
                  <a:pt x="54" y="154"/>
                </a:cubicBezTo>
                <a:cubicBezTo>
                  <a:pt x="62" y="157"/>
                  <a:pt x="72" y="158"/>
                  <a:pt x="82" y="158"/>
                </a:cubicBezTo>
                <a:cubicBezTo>
                  <a:pt x="90" y="158"/>
                  <a:pt x="98" y="157"/>
                  <a:pt x="105" y="155"/>
                </a:cubicBezTo>
                <a:cubicBezTo>
                  <a:pt x="105" y="155"/>
                  <a:pt x="105" y="155"/>
                  <a:pt x="105" y="155"/>
                </a:cubicBezTo>
                <a:cubicBezTo>
                  <a:pt x="106" y="158"/>
                  <a:pt x="108" y="160"/>
                  <a:pt x="112" y="160"/>
                </a:cubicBezTo>
                <a:cubicBezTo>
                  <a:pt x="128" y="160"/>
                  <a:pt x="128" y="160"/>
                  <a:pt x="128" y="160"/>
                </a:cubicBezTo>
                <a:cubicBezTo>
                  <a:pt x="131" y="160"/>
                  <a:pt x="135" y="158"/>
                  <a:pt x="137" y="155"/>
                </a:cubicBezTo>
                <a:cubicBezTo>
                  <a:pt x="139" y="152"/>
                  <a:pt x="140" y="148"/>
                  <a:pt x="139" y="145"/>
                </a:cubicBezTo>
                <a:cubicBezTo>
                  <a:pt x="135" y="136"/>
                  <a:pt x="135" y="136"/>
                  <a:pt x="135" y="136"/>
                </a:cubicBezTo>
                <a:cubicBezTo>
                  <a:pt x="143" y="127"/>
                  <a:pt x="146" y="116"/>
                  <a:pt x="146" y="104"/>
                </a:cubicBezTo>
                <a:cubicBezTo>
                  <a:pt x="146" y="104"/>
                  <a:pt x="146" y="104"/>
                  <a:pt x="146" y="104"/>
                </a:cubicBezTo>
                <a:cubicBezTo>
                  <a:pt x="154" y="102"/>
                  <a:pt x="160" y="96"/>
                  <a:pt x="160" y="88"/>
                </a:cubicBezTo>
                <a:close/>
                <a:moveTo>
                  <a:pt x="143" y="90"/>
                </a:moveTo>
                <a:cubicBezTo>
                  <a:pt x="143" y="90"/>
                  <a:pt x="143" y="90"/>
                  <a:pt x="143" y="90"/>
                </a:cubicBezTo>
                <a:cubicBezTo>
                  <a:pt x="143" y="90"/>
                  <a:pt x="143" y="90"/>
                  <a:pt x="142" y="90"/>
                </a:cubicBezTo>
                <a:cubicBezTo>
                  <a:pt x="139" y="90"/>
                  <a:pt x="136" y="87"/>
                  <a:pt x="136" y="84"/>
                </a:cubicBezTo>
                <a:cubicBezTo>
                  <a:pt x="136" y="83"/>
                  <a:pt x="136" y="83"/>
                  <a:pt x="136" y="83"/>
                </a:cubicBezTo>
                <a:cubicBezTo>
                  <a:pt x="136" y="82"/>
                  <a:pt x="136" y="82"/>
                  <a:pt x="136" y="82"/>
                </a:cubicBezTo>
                <a:cubicBezTo>
                  <a:pt x="136" y="82"/>
                  <a:pt x="136" y="82"/>
                  <a:pt x="136" y="81"/>
                </a:cubicBezTo>
                <a:cubicBezTo>
                  <a:pt x="136" y="81"/>
                  <a:pt x="136" y="81"/>
                  <a:pt x="136" y="81"/>
                </a:cubicBezTo>
                <a:cubicBezTo>
                  <a:pt x="137" y="80"/>
                  <a:pt x="137" y="80"/>
                  <a:pt x="138" y="79"/>
                </a:cubicBezTo>
                <a:cubicBezTo>
                  <a:pt x="138" y="79"/>
                  <a:pt x="138" y="79"/>
                  <a:pt x="138" y="79"/>
                </a:cubicBezTo>
                <a:cubicBezTo>
                  <a:pt x="138" y="79"/>
                  <a:pt x="138" y="79"/>
                  <a:pt x="139" y="78"/>
                </a:cubicBezTo>
                <a:cubicBezTo>
                  <a:pt x="139" y="78"/>
                  <a:pt x="139" y="78"/>
                  <a:pt x="139" y="78"/>
                </a:cubicBezTo>
                <a:cubicBezTo>
                  <a:pt x="139" y="78"/>
                  <a:pt x="139" y="78"/>
                  <a:pt x="139" y="78"/>
                </a:cubicBezTo>
                <a:cubicBezTo>
                  <a:pt x="140" y="78"/>
                  <a:pt x="140" y="78"/>
                  <a:pt x="140" y="78"/>
                </a:cubicBezTo>
                <a:cubicBezTo>
                  <a:pt x="140" y="78"/>
                  <a:pt x="140" y="78"/>
                  <a:pt x="140" y="78"/>
                </a:cubicBezTo>
                <a:cubicBezTo>
                  <a:pt x="141" y="77"/>
                  <a:pt x="142" y="77"/>
                  <a:pt x="142" y="77"/>
                </a:cubicBezTo>
                <a:cubicBezTo>
                  <a:pt x="146" y="77"/>
                  <a:pt x="149" y="80"/>
                  <a:pt x="149" y="84"/>
                </a:cubicBezTo>
                <a:cubicBezTo>
                  <a:pt x="149" y="87"/>
                  <a:pt x="147" y="90"/>
                  <a:pt x="143" y="90"/>
                </a:cubicBezTo>
                <a:close/>
                <a:moveTo>
                  <a:pt x="84" y="5"/>
                </a:moveTo>
                <a:cubicBezTo>
                  <a:pt x="99" y="5"/>
                  <a:pt x="112" y="18"/>
                  <a:pt x="112" y="33"/>
                </a:cubicBezTo>
                <a:cubicBezTo>
                  <a:pt x="112" y="37"/>
                  <a:pt x="111" y="40"/>
                  <a:pt x="110" y="43"/>
                </a:cubicBezTo>
                <a:cubicBezTo>
                  <a:pt x="110" y="44"/>
                  <a:pt x="110" y="44"/>
                  <a:pt x="110" y="44"/>
                </a:cubicBezTo>
                <a:cubicBezTo>
                  <a:pt x="108" y="47"/>
                  <a:pt x="106" y="50"/>
                  <a:pt x="104" y="53"/>
                </a:cubicBezTo>
                <a:cubicBezTo>
                  <a:pt x="104" y="52"/>
                  <a:pt x="103" y="52"/>
                  <a:pt x="103" y="52"/>
                </a:cubicBezTo>
                <a:cubicBezTo>
                  <a:pt x="102" y="52"/>
                  <a:pt x="101" y="52"/>
                  <a:pt x="101" y="51"/>
                </a:cubicBezTo>
                <a:cubicBezTo>
                  <a:pt x="100" y="51"/>
                  <a:pt x="99" y="51"/>
                  <a:pt x="99" y="51"/>
                </a:cubicBezTo>
                <a:cubicBezTo>
                  <a:pt x="98" y="50"/>
                  <a:pt x="97" y="50"/>
                  <a:pt x="96" y="50"/>
                </a:cubicBezTo>
                <a:cubicBezTo>
                  <a:pt x="95" y="50"/>
                  <a:pt x="94" y="49"/>
                  <a:pt x="92" y="49"/>
                </a:cubicBezTo>
                <a:cubicBezTo>
                  <a:pt x="91" y="49"/>
                  <a:pt x="91" y="49"/>
                  <a:pt x="90" y="49"/>
                </a:cubicBezTo>
                <a:cubicBezTo>
                  <a:pt x="89" y="49"/>
                  <a:pt x="88" y="49"/>
                  <a:pt x="88" y="49"/>
                </a:cubicBezTo>
                <a:cubicBezTo>
                  <a:pt x="87" y="49"/>
                  <a:pt x="86" y="49"/>
                  <a:pt x="86" y="49"/>
                </a:cubicBezTo>
                <a:cubicBezTo>
                  <a:pt x="85" y="49"/>
                  <a:pt x="84" y="49"/>
                  <a:pt x="83" y="49"/>
                </a:cubicBezTo>
                <a:cubicBezTo>
                  <a:pt x="82" y="49"/>
                  <a:pt x="82" y="49"/>
                  <a:pt x="81" y="49"/>
                </a:cubicBezTo>
                <a:cubicBezTo>
                  <a:pt x="80" y="49"/>
                  <a:pt x="80" y="49"/>
                  <a:pt x="79" y="49"/>
                </a:cubicBezTo>
                <a:cubicBezTo>
                  <a:pt x="78" y="50"/>
                  <a:pt x="77" y="50"/>
                  <a:pt x="76" y="50"/>
                </a:cubicBezTo>
                <a:cubicBezTo>
                  <a:pt x="75" y="50"/>
                  <a:pt x="75" y="50"/>
                  <a:pt x="74" y="50"/>
                </a:cubicBezTo>
                <a:cubicBezTo>
                  <a:pt x="73" y="51"/>
                  <a:pt x="72" y="51"/>
                  <a:pt x="70" y="52"/>
                </a:cubicBezTo>
                <a:cubicBezTo>
                  <a:pt x="70" y="52"/>
                  <a:pt x="69" y="52"/>
                  <a:pt x="69" y="52"/>
                </a:cubicBezTo>
                <a:cubicBezTo>
                  <a:pt x="68" y="53"/>
                  <a:pt x="67" y="53"/>
                  <a:pt x="66" y="54"/>
                </a:cubicBezTo>
                <a:cubicBezTo>
                  <a:pt x="66" y="54"/>
                  <a:pt x="65" y="54"/>
                  <a:pt x="65" y="54"/>
                </a:cubicBezTo>
                <a:cubicBezTo>
                  <a:pt x="64" y="54"/>
                  <a:pt x="64" y="53"/>
                  <a:pt x="63" y="52"/>
                </a:cubicBezTo>
                <a:cubicBezTo>
                  <a:pt x="63" y="52"/>
                  <a:pt x="63" y="52"/>
                  <a:pt x="62" y="51"/>
                </a:cubicBezTo>
                <a:cubicBezTo>
                  <a:pt x="62" y="51"/>
                  <a:pt x="61" y="50"/>
                  <a:pt x="61" y="49"/>
                </a:cubicBezTo>
                <a:cubicBezTo>
                  <a:pt x="60" y="49"/>
                  <a:pt x="60" y="49"/>
                  <a:pt x="60" y="49"/>
                </a:cubicBezTo>
                <a:cubicBezTo>
                  <a:pt x="59" y="47"/>
                  <a:pt x="58" y="44"/>
                  <a:pt x="57" y="42"/>
                </a:cubicBezTo>
                <a:cubicBezTo>
                  <a:pt x="57" y="41"/>
                  <a:pt x="57" y="41"/>
                  <a:pt x="57" y="41"/>
                </a:cubicBezTo>
                <a:cubicBezTo>
                  <a:pt x="56" y="39"/>
                  <a:pt x="56" y="36"/>
                  <a:pt x="56" y="33"/>
                </a:cubicBezTo>
                <a:cubicBezTo>
                  <a:pt x="56" y="18"/>
                  <a:pt x="68" y="5"/>
                  <a:pt x="84" y="5"/>
                </a:cubicBezTo>
                <a:close/>
                <a:moveTo>
                  <a:pt x="48" y="155"/>
                </a:moveTo>
                <a:cubicBezTo>
                  <a:pt x="30" y="155"/>
                  <a:pt x="30" y="155"/>
                  <a:pt x="30" y="155"/>
                </a:cubicBezTo>
                <a:cubicBezTo>
                  <a:pt x="28" y="155"/>
                  <a:pt x="26" y="154"/>
                  <a:pt x="25" y="152"/>
                </a:cubicBezTo>
                <a:cubicBezTo>
                  <a:pt x="24" y="151"/>
                  <a:pt x="24" y="149"/>
                  <a:pt x="25" y="147"/>
                </a:cubicBezTo>
                <a:cubicBezTo>
                  <a:pt x="27" y="140"/>
                  <a:pt x="27" y="140"/>
                  <a:pt x="27" y="140"/>
                </a:cubicBezTo>
                <a:cubicBezTo>
                  <a:pt x="33" y="145"/>
                  <a:pt x="40" y="149"/>
                  <a:pt x="49" y="152"/>
                </a:cubicBezTo>
                <a:lnTo>
                  <a:pt x="48" y="155"/>
                </a:lnTo>
                <a:close/>
                <a:moveTo>
                  <a:pt x="133" y="152"/>
                </a:moveTo>
                <a:cubicBezTo>
                  <a:pt x="132" y="154"/>
                  <a:pt x="130" y="155"/>
                  <a:pt x="128" y="155"/>
                </a:cubicBezTo>
                <a:cubicBezTo>
                  <a:pt x="112" y="155"/>
                  <a:pt x="112" y="155"/>
                  <a:pt x="112" y="155"/>
                </a:cubicBezTo>
                <a:cubicBezTo>
                  <a:pt x="111" y="155"/>
                  <a:pt x="110" y="154"/>
                  <a:pt x="110" y="153"/>
                </a:cubicBezTo>
                <a:cubicBezTo>
                  <a:pt x="110" y="153"/>
                  <a:pt x="110" y="153"/>
                  <a:pt x="110" y="153"/>
                </a:cubicBezTo>
                <a:cubicBezTo>
                  <a:pt x="118" y="150"/>
                  <a:pt x="126" y="146"/>
                  <a:pt x="131" y="140"/>
                </a:cubicBezTo>
                <a:cubicBezTo>
                  <a:pt x="134" y="146"/>
                  <a:pt x="134" y="146"/>
                  <a:pt x="134" y="146"/>
                </a:cubicBezTo>
                <a:cubicBezTo>
                  <a:pt x="134" y="148"/>
                  <a:pt x="134" y="150"/>
                  <a:pt x="133" y="152"/>
                </a:cubicBezTo>
                <a:close/>
                <a:moveTo>
                  <a:pt x="128" y="135"/>
                </a:moveTo>
                <a:cubicBezTo>
                  <a:pt x="128" y="136"/>
                  <a:pt x="128" y="136"/>
                  <a:pt x="128" y="136"/>
                </a:cubicBezTo>
                <a:cubicBezTo>
                  <a:pt x="127" y="137"/>
                  <a:pt x="126" y="138"/>
                  <a:pt x="125" y="139"/>
                </a:cubicBezTo>
                <a:cubicBezTo>
                  <a:pt x="125" y="139"/>
                  <a:pt x="124" y="139"/>
                  <a:pt x="124" y="139"/>
                </a:cubicBezTo>
                <a:cubicBezTo>
                  <a:pt x="123" y="140"/>
                  <a:pt x="122" y="141"/>
                  <a:pt x="121" y="141"/>
                </a:cubicBezTo>
                <a:cubicBezTo>
                  <a:pt x="121" y="142"/>
                  <a:pt x="120" y="142"/>
                  <a:pt x="120" y="142"/>
                </a:cubicBezTo>
                <a:cubicBezTo>
                  <a:pt x="119" y="143"/>
                  <a:pt x="118" y="144"/>
                  <a:pt x="116" y="145"/>
                </a:cubicBezTo>
                <a:cubicBezTo>
                  <a:pt x="116" y="145"/>
                  <a:pt x="115" y="145"/>
                  <a:pt x="115" y="145"/>
                </a:cubicBezTo>
                <a:cubicBezTo>
                  <a:pt x="114" y="146"/>
                  <a:pt x="113" y="146"/>
                  <a:pt x="112" y="147"/>
                </a:cubicBezTo>
                <a:cubicBezTo>
                  <a:pt x="111" y="147"/>
                  <a:pt x="111" y="147"/>
                  <a:pt x="110" y="147"/>
                </a:cubicBezTo>
                <a:cubicBezTo>
                  <a:pt x="109" y="148"/>
                  <a:pt x="108" y="148"/>
                  <a:pt x="107" y="149"/>
                </a:cubicBezTo>
                <a:cubicBezTo>
                  <a:pt x="106" y="149"/>
                  <a:pt x="106" y="149"/>
                  <a:pt x="106" y="149"/>
                </a:cubicBezTo>
                <a:cubicBezTo>
                  <a:pt x="106" y="149"/>
                  <a:pt x="106" y="149"/>
                  <a:pt x="106" y="149"/>
                </a:cubicBezTo>
                <a:cubicBezTo>
                  <a:pt x="98" y="151"/>
                  <a:pt x="90" y="153"/>
                  <a:pt x="82" y="153"/>
                </a:cubicBezTo>
                <a:cubicBezTo>
                  <a:pt x="71" y="153"/>
                  <a:pt x="61" y="151"/>
                  <a:pt x="52" y="148"/>
                </a:cubicBezTo>
                <a:cubicBezTo>
                  <a:pt x="51" y="147"/>
                  <a:pt x="50" y="147"/>
                  <a:pt x="50" y="147"/>
                </a:cubicBezTo>
                <a:cubicBezTo>
                  <a:pt x="35" y="141"/>
                  <a:pt x="23" y="131"/>
                  <a:pt x="19" y="119"/>
                </a:cubicBezTo>
                <a:cubicBezTo>
                  <a:pt x="19" y="117"/>
                  <a:pt x="19" y="117"/>
                  <a:pt x="19" y="117"/>
                </a:cubicBezTo>
                <a:cubicBezTo>
                  <a:pt x="13" y="117"/>
                  <a:pt x="13" y="117"/>
                  <a:pt x="13" y="117"/>
                </a:cubicBezTo>
                <a:cubicBezTo>
                  <a:pt x="7" y="117"/>
                  <a:pt x="5" y="111"/>
                  <a:pt x="5" y="106"/>
                </a:cubicBezTo>
                <a:cubicBezTo>
                  <a:pt x="5" y="96"/>
                  <a:pt x="5" y="96"/>
                  <a:pt x="5" y="96"/>
                </a:cubicBezTo>
                <a:cubicBezTo>
                  <a:pt x="5" y="85"/>
                  <a:pt x="11" y="85"/>
                  <a:pt x="13" y="85"/>
                </a:cubicBezTo>
                <a:cubicBezTo>
                  <a:pt x="21" y="85"/>
                  <a:pt x="21" y="85"/>
                  <a:pt x="21" y="85"/>
                </a:cubicBezTo>
                <a:cubicBezTo>
                  <a:pt x="21" y="83"/>
                  <a:pt x="21" y="83"/>
                  <a:pt x="21" y="83"/>
                </a:cubicBezTo>
                <a:cubicBezTo>
                  <a:pt x="23" y="73"/>
                  <a:pt x="24" y="68"/>
                  <a:pt x="31" y="61"/>
                </a:cubicBezTo>
                <a:cubicBezTo>
                  <a:pt x="32" y="59"/>
                  <a:pt x="32" y="59"/>
                  <a:pt x="32" y="59"/>
                </a:cubicBezTo>
                <a:cubicBezTo>
                  <a:pt x="32" y="58"/>
                  <a:pt x="32" y="58"/>
                  <a:pt x="32" y="58"/>
                </a:cubicBezTo>
                <a:cubicBezTo>
                  <a:pt x="31" y="56"/>
                  <a:pt x="30" y="55"/>
                  <a:pt x="30" y="53"/>
                </a:cubicBezTo>
                <a:cubicBezTo>
                  <a:pt x="28" y="49"/>
                  <a:pt x="27" y="45"/>
                  <a:pt x="24" y="43"/>
                </a:cubicBezTo>
                <a:cubicBezTo>
                  <a:pt x="29" y="43"/>
                  <a:pt x="36" y="45"/>
                  <a:pt x="44" y="48"/>
                </a:cubicBezTo>
                <a:cubicBezTo>
                  <a:pt x="45" y="49"/>
                  <a:pt x="45" y="49"/>
                  <a:pt x="45" y="49"/>
                </a:cubicBezTo>
                <a:cubicBezTo>
                  <a:pt x="46" y="48"/>
                  <a:pt x="46" y="48"/>
                  <a:pt x="46" y="48"/>
                </a:cubicBezTo>
                <a:cubicBezTo>
                  <a:pt x="48" y="48"/>
                  <a:pt x="50" y="47"/>
                  <a:pt x="53" y="46"/>
                </a:cubicBezTo>
                <a:cubicBezTo>
                  <a:pt x="53" y="47"/>
                  <a:pt x="54" y="48"/>
                  <a:pt x="55" y="50"/>
                </a:cubicBezTo>
                <a:cubicBezTo>
                  <a:pt x="55" y="50"/>
                  <a:pt x="55" y="50"/>
                  <a:pt x="55" y="50"/>
                </a:cubicBezTo>
                <a:cubicBezTo>
                  <a:pt x="56" y="51"/>
                  <a:pt x="56" y="52"/>
                  <a:pt x="57" y="53"/>
                </a:cubicBezTo>
                <a:cubicBezTo>
                  <a:pt x="57" y="53"/>
                  <a:pt x="57" y="53"/>
                  <a:pt x="57" y="54"/>
                </a:cubicBezTo>
                <a:cubicBezTo>
                  <a:pt x="58" y="55"/>
                  <a:pt x="59" y="55"/>
                  <a:pt x="60" y="56"/>
                </a:cubicBezTo>
                <a:cubicBezTo>
                  <a:pt x="60" y="56"/>
                  <a:pt x="60" y="57"/>
                  <a:pt x="60" y="57"/>
                </a:cubicBezTo>
                <a:cubicBezTo>
                  <a:pt x="60" y="57"/>
                  <a:pt x="61" y="57"/>
                  <a:pt x="61" y="57"/>
                </a:cubicBezTo>
                <a:cubicBezTo>
                  <a:pt x="59" y="58"/>
                  <a:pt x="58" y="60"/>
                  <a:pt x="57" y="61"/>
                </a:cubicBezTo>
                <a:cubicBezTo>
                  <a:pt x="56" y="62"/>
                  <a:pt x="56" y="64"/>
                  <a:pt x="57" y="65"/>
                </a:cubicBezTo>
                <a:cubicBezTo>
                  <a:pt x="58" y="66"/>
                  <a:pt x="59" y="66"/>
                  <a:pt x="60" y="65"/>
                </a:cubicBezTo>
                <a:cubicBezTo>
                  <a:pt x="62" y="63"/>
                  <a:pt x="64" y="61"/>
                  <a:pt x="66" y="60"/>
                </a:cubicBezTo>
                <a:cubicBezTo>
                  <a:pt x="66" y="60"/>
                  <a:pt x="66" y="60"/>
                  <a:pt x="66" y="60"/>
                </a:cubicBezTo>
                <a:cubicBezTo>
                  <a:pt x="67" y="59"/>
                  <a:pt x="68" y="59"/>
                  <a:pt x="69" y="58"/>
                </a:cubicBezTo>
                <a:cubicBezTo>
                  <a:pt x="69" y="58"/>
                  <a:pt x="70" y="58"/>
                  <a:pt x="70" y="58"/>
                </a:cubicBezTo>
                <a:cubicBezTo>
                  <a:pt x="71" y="58"/>
                  <a:pt x="71" y="57"/>
                  <a:pt x="72" y="57"/>
                </a:cubicBezTo>
                <a:cubicBezTo>
                  <a:pt x="72" y="57"/>
                  <a:pt x="72" y="57"/>
                  <a:pt x="73" y="57"/>
                </a:cubicBezTo>
                <a:cubicBezTo>
                  <a:pt x="74" y="56"/>
                  <a:pt x="75" y="56"/>
                  <a:pt x="76" y="56"/>
                </a:cubicBezTo>
                <a:cubicBezTo>
                  <a:pt x="76" y="56"/>
                  <a:pt x="76" y="55"/>
                  <a:pt x="76" y="55"/>
                </a:cubicBezTo>
                <a:cubicBezTo>
                  <a:pt x="77" y="55"/>
                  <a:pt x="78" y="55"/>
                  <a:pt x="79" y="55"/>
                </a:cubicBezTo>
                <a:cubicBezTo>
                  <a:pt x="79" y="55"/>
                  <a:pt x="79" y="55"/>
                  <a:pt x="79" y="55"/>
                </a:cubicBezTo>
                <a:cubicBezTo>
                  <a:pt x="86" y="53"/>
                  <a:pt x="93" y="54"/>
                  <a:pt x="100" y="57"/>
                </a:cubicBezTo>
                <a:cubicBezTo>
                  <a:pt x="100" y="57"/>
                  <a:pt x="100" y="57"/>
                  <a:pt x="100" y="57"/>
                </a:cubicBezTo>
                <a:cubicBezTo>
                  <a:pt x="105" y="59"/>
                  <a:pt x="109" y="61"/>
                  <a:pt x="112" y="65"/>
                </a:cubicBezTo>
                <a:cubicBezTo>
                  <a:pt x="113" y="65"/>
                  <a:pt x="113" y="66"/>
                  <a:pt x="114" y="66"/>
                </a:cubicBezTo>
                <a:cubicBezTo>
                  <a:pt x="115" y="66"/>
                  <a:pt x="115" y="65"/>
                  <a:pt x="116" y="65"/>
                </a:cubicBezTo>
                <a:cubicBezTo>
                  <a:pt x="117" y="64"/>
                  <a:pt x="117" y="62"/>
                  <a:pt x="116" y="61"/>
                </a:cubicBezTo>
                <a:cubicBezTo>
                  <a:pt x="114" y="59"/>
                  <a:pt x="111" y="57"/>
                  <a:pt x="109" y="55"/>
                </a:cubicBezTo>
                <a:cubicBezTo>
                  <a:pt x="109" y="55"/>
                  <a:pt x="109" y="55"/>
                  <a:pt x="109" y="54"/>
                </a:cubicBezTo>
                <a:cubicBezTo>
                  <a:pt x="110" y="54"/>
                  <a:pt x="110" y="54"/>
                  <a:pt x="111" y="53"/>
                </a:cubicBezTo>
                <a:cubicBezTo>
                  <a:pt x="111" y="53"/>
                  <a:pt x="111" y="52"/>
                  <a:pt x="111" y="52"/>
                </a:cubicBezTo>
                <a:cubicBezTo>
                  <a:pt x="112" y="51"/>
                  <a:pt x="112" y="51"/>
                  <a:pt x="112" y="51"/>
                </a:cubicBezTo>
                <a:cubicBezTo>
                  <a:pt x="113" y="50"/>
                  <a:pt x="113" y="50"/>
                  <a:pt x="113" y="49"/>
                </a:cubicBezTo>
                <a:cubicBezTo>
                  <a:pt x="113" y="49"/>
                  <a:pt x="113" y="49"/>
                  <a:pt x="113" y="49"/>
                </a:cubicBezTo>
                <a:cubicBezTo>
                  <a:pt x="124" y="55"/>
                  <a:pt x="131" y="63"/>
                  <a:pt x="136" y="74"/>
                </a:cubicBezTo>
                <a:cubicBezTo>
                  <a:pt x="135" y="74"/>
                  <a:pt x="135" y="75"/>
                  <a:pt x="134" y="75"/>
                </a:cubicBezTo>
                <a:cubicBezTo>
                  <a:pt x="134" y="75"/>
                  <a:pt x="134" y="75"/>
                  <a:pt x="134" y="75"/>
                </a:cubicBezTo>
                <a:cubicBezTo>
                  <a:pt x="133" y="76"/>
                  <a:pt x="132" y="78"/>
                  <a:pt x="132" y="79"/>
                </a:cubicBezTo>
                <a:cubicBezTo>
                  <a:pt x="131" y="79"/>
                  <a:pt x="131" y="79"/>
                  <a:pt x="131" y="79"/>
                </a:cubicBezTo>
                <a:cubicBezTo>
                  <a:pt x="131" y="80"/>
                  <a:pt x="131" y="80"/>
                  <a:pt x="131" y="81"/>
                </a:cubicBezTo>
                <a:cubicBezTo>
                  <a:pt x="131" y="81"/>
                  <a:pt x="131" y="81"/>
                  <a:pt x="131" y="82"/>
                </a:cubicBezTo>
                <a:cubicBezTo>
                  <a:pt x="131" y="82"/>
                  <a:pt x="130" y="83"/>
                  <a:pt x="130" y="84"/>
                </a:cubicBezTo>
                <a:cubicBezTo>
                  <a:pt x="130" y="85"/>
                  <a:pt x="131" y="85"/>
                  <a:pt x="131" y="86"/>
                </a:cubicBezTo>
                <a:cubicBezTo>
                  <a:pt x="131" y="86"/>
                  <a:pt x="131" y="87"/>
                  <a:pt x="131" y="87"/>
                </a:cubicBezTo>
                <a:cubicBezTo>
                  <a:pt x="131" y="87"/>
                  <a:pt x="131" y="88"/>
                  <a:pt x="131" y="88"/>
                </a:cubicBezTo>
                <a:cubicBezTo>
                  <a:pt x="131" y="89"/>
                  <a:pt x="132" y="89"/>
                  <a:pt x="132" y="89"/>
                </a:cubicBezTo>
                <a:cubicBezTo>
                  <a:pt x="132" y="89"/>
                  <a:pt x="132" y="90"/>
                  <a:pt x="132" y="90"/>
                </a:cubicBezTo>
                <a:cubicBezTo>
                  <a:pt x="133" y="90"/>
                  <a:pt x="133" y="91"/>
                  <a:pt x="133" y="91"/>
                </a:cubicBezTo>
                <a:cubicBezTo>
                  <a:pt x="133" y="91"/>
                  <a:pt x="133" y="92"/>
                  <a:pt x="134" y="92"/>
                </a:cubicBezTo>
                <a:cubicBezTo>
                  <a:pt x="134" y="92"/>
                  <a:pt x="134" y="92"/>
                  <a:pt x="134" y="93"/>
                </a:cubicBezTo>
                <a:cubicBezTo>
                  <a:pt x="135" y="93"/>
                  <a:pt x="135" y="93"/>
                  <a:pt x="135" y="93"/>
                </a:cubicBezTo>
                <a:cubicBezTo>
                  <a:pt x="136" y="94"/>
                  <a:pt x="136" y="94"/>
                  <a:pt x="136" y="94"/>
                </a:cubicBezTo>
                <a:cubicBezTo>
                  <a:pt x="137" y="94"/>
                  <a:pt x="137" y="94"/>
                  <a:pt x="137" y="95"/>
                </a:cubicBezTo>
                <a:cubicBezTo>
                  <a:pt x="138" y="95"/>
                  <a:pt x="138" y="95"/>
                  <a:pt x="138" y="95"/>
                </a:cubicBezTo>
                <a:cubicBezTo>
                  <a:pt x="139" y="95"/>
                  <a:pt x="139" y="95"/>
                  <a:pt x="139" y="95"/>
                </a:cubicBezTo>
                <a:cubicBezTo>
                  <a:pt x="140" y="95"/>
                  <a:pt x="140" y="95"/>
                  <a:pt x="140" y="96"/>
                </a:cubicBezTo>
                <a:cubicBezTo>
                  <a:pt x="141" y="96"/>
                  <a:pt x="141" y="96"/>
                  <a:pt x="141" y="96"/>
                </a:cubicBezTo>
                <a:cubicBezTo>
                  <a:pt x="141" y="98"/>
                  <a:pt x="141" y="101"/>
                  <a:pt x="141" y="104"/>
                </a:cubicBezTo>
                <a:cubicBezTo>
                  <a:pt x="141" y="116"/>
                  <a:pt x="136" y="127"/>
                  <a:pt x="128" y="135"/>
                </a:cubicBezTo>
                <a:close/>
                <a:moveTo>
                  <a:pt x="146" y="98"/>
                </a:moveTo>
                <a:cubicBezTo>
                  <a:pt x="146" y="97"/>
                  <a:pt x="146" y="96"/>
                  <a:pt x="146" y="95"/>
                </a:cubicBezTo>
                <a:cubicBezTo>
                  <a:pt x="150" y="94"/>
                  <a:pt x="154" y="90"/>
                  <a:pt x="154" y="86"/>
                </a:cubicBezTo>
                <a:cubicBezTo>
                  <a:pt x="154" y="86"/>
                  <a:pt x="154" y="87"/>
                  <a:pt x="154" y="88"/>
                </a:cubicBezTo>
                <a:cubicBezTo>
                  <a:pt x="154" y="93"/>
                  <a:pt x="151" y="97"/>
                  <a:pt x="146" y="98"/>
                </a:cubicBezTo>
                <a:close/>
                <a:moveTo>
                  <a:pt x="70" y="50"/>
                </a:moveTo>
                <a:cubicBezTo>
                  <a:pt x="71" y="50"/>
                  <a:pt x="71" y="50"/>
                  <a:pt x="72" y="50"/>
                </a:cubicBezTo>
                <a:cubicBezTo>
                  <a:pt x="73" y="50"/>
                  <a:pt x="73" y="50"/>
                  <a:pt x="74" y="49"/>
                </a:cubicBezTo>
                <a:cubicBezTo>
                  <a:pt x="75" y="48"/>
                  <a:pt x="75" y="47"/>
                  <a:pt x="73" y="46"/>
                </a:cubicBezTo>
                <a:cubicBezTo>
                  <a:pt x="69" y="42"/>
                  <a:pt x="67" y="37"/>
                  <a:pt x="67" y="32"/>
                </a:cubicBezTo>
                <a:cubicBezTo>
                  <a:pt x="67" y="23"/>
                  <a:pt x="74" y="15"/>
                  <a:pt x="84" y="15"/>
                </a:cubicBezTo>
                <a:cubicBezTo>
                  <a:pt x="93" y="15"/>
                  <a:pt x="101" y="23"/>
                  <a:pt x="101" y="32"/>
                </a:cubicBezTo>
                <a:cubicBezTo>
                  <a:pt x="101" y="37"/>
                  <a:pt x="99" y="41"/>
                  <a:pt x="95" y="45"/>
                </a:cubicBezTo>
                <a:cubicBezTo>
                  <a:pt x="94" y="46"/>
                  <a:pt x="94" y="47"/>
                  <a:pt x="95" y="48"/>
                </a:cubicBezTo>
                <a:cubicBezTo>
                  <a:pt x="96" y="50"/>
                  <a:pt x="98" y="50"/>
                  <a:pt x="99" y="49"/>
                </a:cubicBezTo>
                <a:cubicBezTo>
                  <a:pt x="104" y="44"/>
                  <a:pt x="106" y="38"/>
                  <a:pt x="106" y="32"/>
                </a:cubicBezTo>
                <a:cubicBezTo>
                  <a:pt x="106" y="20"/>
                  <a:pt x="96" y="10"/>
                  <a:pt x="84" y="10"/>
                </a:cubicBezTo>
                <a:cubicBezTo>
                  <a:pt x="71" y="10"/>
                  <a:pt x="61" y="20"/>
                  <a:pt x="61" y="32"/>
                </a:cubicBezTo>
                <a:cubicBezTo>
                  <a:pt x="61" y="39"/>
                  <a:pt x="65" y="46"/>
                  <a:pt x="70" y="50"/>
                </a:cubicBezTo>
                <a:close/>
                <a:moveTo>
                  <a:pt x="85" y="141"/>
                </a:moveTo>
                <a:cubicBezTo>
                  <a:pt x="73" y="142"/>
                  <a:pt x="63" y="141"/>
                  <a:pt x="52" y="136"/>
                </a:cubicBezTo>
                <a:cubicBezTo>
                  <a:pt x="51" y="136"/>
                  <a:pt x="49" y="136"/>
                  <a:pt x="49" y="138"/>
                </a:cubicBezTo>
                <a:cubicBezTo>
                  <a:pt x="48" y="139"/>
                  <a:pt x="49" y="140"/>
                  <a:pt x="50" y="141"/>
                </a:cubicBezTo>
                <a:cubicBezTo>
                  <a:pt x="59" y="145"/>
                  <a:pt x="68" y="147"/>
                  <a:pt x="78" y="147"/>
                </a:cubicBezTo>
                <a:cubicBezTo>
                  <a:pt x="81" y="147"/>
                  <a:pt x="83" y="147"/>
                  <a:pt x="85" y="147"/>
                </a:cubicBezTo>
                <a:cubicBezTo>
                  <a:pt x="87" y="147"/>
                  <a:pt x="88" y="145"/>
                  <a:pt x="88" y="144"/>
                </a:cubicBezTo>
                <a:cubicBezTo>
                  <a:pt x="88" y="142"/>
                  <a:pt x="86" y="141"/>
                  <a:pt x="85" y="1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 name="Freeform 1133">
            <a:extLst>
              <a:ext uri="{FF2B5EF4-FFF2-40B4-BE49-F238E27FC236}">
                <a16:creationId xmlns:a16="http://schemas.microsoft.com/office/drawing/2014/main" id="{48BCBC5B-0FAF-4A50-92CD-00E076DD48C2}"/>
              </a:ext>
            </a:extLst>
          </p:cNvPr>
          <p:cNvSpPr>
            <a:spLocks noEditPoints="1"/>
          </p:cNvSpPr>
          <p:nvPr/>
        </p:nvSpPr>
        <p:spPr bwMode="auto">
          <a:xfrm>
            <a:off x="4062283" y="3289300"/>
            <a:ext cx="731085" cy="735312"/>
          </a:xfrm>
          <a:custGeom>
            <a:avLst/>
            <a:gdLst>
              <a:gd name="T0" fmla="*/ 80 w 160"/>
              <a:gd name="T1" fmla="*/ 139 h 160"/>
              <a:gd name="T2" fmla="*/ 80 w 160"/>
              <a:gd name="T3" fmla="*/ 27 h 160"/>
              <a:gd name="T4" fmla="*/ 77 w 160"/>
              <a:gd name="T5" fmla="*/ 32 h 160"/>
              <a:gd name="T6" fmla="*/ 77 w 160"/>
              <a:gd name="T7" fmla="*/ 128 h 160"/>
              <a:gd name="T8" fmla="*/ 123 w 160"/>
              <a:gd name="T9" fmla="*/ 83 h 160"/>
              <a:gd name="T10" fmla="*/ 120 w 160"/>
              <a:gd name="T11" fmla="*/ 80 h 160"/>
              <a:gd name="T12" fmla="*/ 32 w 160"/>
              <a:gd name="T13" fmla="*/ 83 h 160"/>
              <a:gd name="T14" fmla="*/ 53 w 160"/>
              <a:gd name="T15" fmla="*/ 109 h 160"/>
              <a:gd name="T16" fmla="*/ 83 w 160"/>
              <a:gd name="T17" fmla="*/ 53 h 160"/>
              <a:gd name="T18" fmla="*/ 71 w 160"/>
              <a:gd name="T19" fmla="*/ 83 h 160"/>
              <a:gd name="T20" fmla="*/ 85 w 160"/>
              <a:gd name="T21" fmla="*/ 77 h 160"/>
              <a:gd name="T22" fmla="*/ 48 w 160"/>
              <a:gd name="T23" fmla="*/ 27 h 160"/>
              <a:gd name="T24" fmla="*/ 155 w 160"/>
              <a:gd name="T25" fmla="*/ 80 h 160"/>
              <a:gd name="T26" fmla="*/ 29 w 160"/>
              <a:gd name="T27" fmla="*/ 3 h 160"/>
              <a:gd name="T28" fmla="*/ 27 w 160"/>
              <a:gd name="T29" fmla="*/ 27 h 160"/>
              <a:gd name="T30" fmla="*/ 12 w 160"/>
              <a:gd name="T31" fmla="*/ 116 h 160"/>
              <a:gd name="T32" fmla="*/ 19 w 160"/>
              <a:gd name="T33" fmla="*/ 130 h 160"/>
              <a:gd name="T34" fmla="*/ 12 w 160"/>
              <a:gd name="T35" fmla="*/ 122 h 160"/>
              <a:gd name="T36" fmla="*/ 22 w 160"/>
              <a:gd name="T37" fmla="*/ 135 h 160"/>
              <a:gd name="T38" fmla="*/ 28 w 160"/>
              <a:gd name="T39" fmla="*/ 137 h 160"/>
              <a:gd name="T40" fmla="*/ 28 w 160"/>
              <a:gd name="T41" fmla="*/ 137 h 160"/>
              <a:gd name="T42" fmla="*/ 5 w 160"/>
              <a:gd name="T43" fmla="*/ 101 h 160"/>
              <a:gd name="T44" fmla="*/ 1 w 160"/>
              <a:gd name="T45" fmla="*/ 91 h 160"/>
              <a:gd name="T46" fmla="*/ 5 w 160"/>
              <a:gd name="T47" fmla="*/ 107 h 160"/>
              <a:gd name="T48" fmla="*/ 3 w 160"/>
              <a:gd name="T49" fmla="*/ 86 h 160"/>
              <a:gd name="T50" fmla="*/ 34 w 160"/>
              <a:gd name="T51" fmla="*/ 142 h 160"/>
              <a:gd name="T52" fmla="*/ 34 w 160"/>
              <a:gd name="T53" fmla="*/ 142 h 160"/>
              <a:gd name="T54" fmla="*/ 134 w 160"/>
              <a:gd name="T55" fmla="*/ 139 h 160"/>
              <a:gd name="T56" fmla="*/ 138 w 160"/>
              <a:gd name="T57" fmla="*/ 134 h 160"/>
              <a:gd name="T58" fmla="*/ 141 w 160"/>
              <a:gd name="T59" fmla="*/ 127 h 160"/>
              <a:gd name="T60" fmla="*/ 125 w 160"/>
              <a:gd name="T61" fmla="*/ 140 h 160"/>
              <a:gd name="T62" fmla="*/ 125 w 160"/>
              <a:gd name="T63" fmla="*/ 140 h 160"/>
              <a:gd name="T64" fmla="*/ 122 w 160"/>
              <a:gd name="T65" fmla="*/ 145 h 160"/>
              <a:gd name="T66" fmla="*/ 146 w 160"/>
              <a:gd name="T67" fmla="*/ 121 h 160"/>
              <a:gd name="T68" fmla="*/ 154 w 160"/>
              <a:gd name="T69" fmla="*/ 88 h 160"/>
              <a:gd name="T70" fmla="*/ 156 w 160"/>
              <a:gd name="T71" fmla="*/ 93 h 160"/>
              <a:gd name="T72" fmla="*/ 156 w 160"/>
              <a:gd name="T73" fmla="*/ 93 h 160"/>
              <a:gd name="T74" fmla="*/ 156 w 160"/>
              <a:gd name="T75" fmla="*/ 104 h 160"/>
              <a:gd name="T76" fmla="*/ 151 w 160"/>
              <a:gd name="T77" fmla="*/ 114 h 160"/>
              <a:gd name="T78" fmla="*/ 112 w 160"/>
              <a:gd name="T79" fmla="*/ 153 h 160"/>
              <a:gd name="T80" fmla="*/ 63 w 160"/>
              <a:gd name="T81" fmla="*/ 156 h 160"/>
              <a:gd name="T82" fmla="*/ 74 w 160"/>
              <a:gd name="T83" fmla="*/ 154 h 160"/>
              <a:gd name="T84" fmla="*/ 76 w 160"/>
              <a:gd name="T85" fmla="*/ 157 h 160"/>
              <a:gd name="T86" fmla="*/ 58 w 160"/>
              <a:gd name="T87" fmla="*/ 157 h 160"/>
              <a:gd name="T88" fmla="*/ 49 w 160"/>
              <a:gd name="T89" fmla="*/ 154 h 160"/>
              <a:gd name="T90" fmla="*/ 87 w 160"/>
              <a:gd name="T91" fmla="*/ 157 h 160"/>
              <a:gd name="T92" fmla="*/ 89 w 160"/>
              <a:gd name="T93" fmla="*/ 154 h 160"/>
              <a:gd name="T94" fmla="*/ 108 w 160"/>
              <a:gd name="T95" fmla="*/ 152 h 160"/>
              <a:gd name="T96" fmla="*/ 98 w 160"/>
              <a:gd name="T97" fmla="*/ 158 h 160"/>
              <a:gd name="T98" fmla="*/ 81 w 160"/>
              <a:gd name="T99" fmla="*/ 160 h 160"/>
              <a:gd name="T100" fmla="*/ 41 w 160"/>
              <a:gd name="T101" fmla="*/ 1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160">
                <a:moveTo>
                  <a:pt x="80" y="139"/>
                </a:moveTo>
                <a:cubicBezTo>
                  <a:pt x="112" y="139"/>
                  <a:pt x="139" y="112"/>
                  <a:pt x="139" y="80"/>
                </a:cubicBezTo>
                <a:cubicBezTo>
                  <a:pt x="139" y="48"/>
                  <a:pt x="112" y="21"/>
                  <a:pt x="80" y="21"/>
                </a:cubicBezTo>
                <a:cubicBezTo>
                  <a:pt x="48" y="21"/>
                  <a:pt x="21" y="48"/>
                  <a:pt x="21" y="80"/>
                </a:cubicBezTo>
                <a:cubicBezTo>
                  <a:pt x="21" y="112"/>
                  <a:pt x="48" y="139"/>
                  <a:pt x="80" y="139"/>
                </a:cubicBezTo>
                <a:close/>
                <a:moveTo>
                  <a:pt x="80" y="27"/>
                </a:moveTo>
                <a:cubicBezTo>
                  <a:pt x="109" y="27"/>
                  <a:pt x="133" y="51"/>
                  <a:pt x="133" y="80"/>
                </a:cubicBezTo>
                <a:cubicBezTo>
                  <a:pt x="133" y="109"/>
                  <a:pt x="109" y="133"/>
                  <a:pt x="80" y="133"/>
                </a:cubicBezTo>
                <a:cubicBezTo>
                  <a:pt x="51" y="133"/>
                  <a:pt x="27" y="109"/>
                  <a:pt x="27" y="80"/>
                </a:cubicBezTo>
                <a:cubicBezTo>
                  <a:pt x="27" y="51"/>
                  <a:pt x="51" y="27"/>
                  <a:pt x="80" y="27"/>
                </a:cubicBezTo>
                <a:close/>
                <a:moveTo>
                  <a:pt x="80" y="40"/>
                </a:moveTo>
                <a:cubicBezTo>
                  <a:pt x="81" y="40"/>
                  <a:pt x="83" y="39"/>
                  <a:pt x="83" y="37"/>
                </a:cubicBezTo>
                <a:cubicBezTo>
                  <a:pt x="83" y="32"/>
                  <a:pt x="83" y="32"/>
                  <a:pt x="83" y="32"/>
                </a:cubicBezTo>
                <a:cubicBezTo>
                  <a:pt x="83" y="31"/>
                  <a:pt x="81" y="29"/>
                  <a:pt x="80" y="29"/>
                </a:cubicBezTo>
                <a:cubicBezTo>
                  <a:pt x="78" y="29"/>
                  <a:pt x="77" y="31"/>
                  <a:pt x="77" y="32"/>
                </a:cubicBezTo>
                <a:cubicBezTo>
                  <a:pt x="77" y="37"/>
                  <a:pt x="77" y="37"/>
                  <a:pt x="77" y="37"/>
                </a:cubicBezTo>
                <a:cubicBezTo>
                  <a:pt x="77" y="39"/>
                  <a:pt x="78" y="40"/>
                  <a:pt x="80" y="40"/>
                </a:cubicBezTo>
                <a:close/>
                <a:moveTo>
                  <a:pt x="80" y="120"/>
                </a:moveTo>
                <a:cubicBezTo>
                  <a:pt x="78" y="120"/>
                  <a:pt x="77" y="121"/>
                  <a:pt x="77" y="123"/>
                </a:cubicBezTo>
                <a:cubicBezTo>
                  <a:pt x="77" y="128"/>
                  <a:pt x="77" y="128"/>
                  <a:pt x="77" y="128"/>
                </a:cubicBezTo>
                <a:cubicBezTo>
                  <a:pt x="77" y="129"/>
                  <a:pt x="78" y="131"/>
                  <a:pt x="80" y="131"/>
                </a:cubicBezTo>
                <a:cubicBezTo>
                  <a:pt x="81" y="131"/>
                  <a:pt x="83" y="129"/>
                  <a:pt x="83" y="128"/>
                </a:cubicBezTo>
                <a:cubicBezTo>
                  <a:pt x="83" y="123"/>
                  <a:pt x="83" y="123"/>
                  <a:pt x="83" y="123"/>
                </a:cubicBezTo>
                <a:cubicBezTo>
                  <a:pt x="83" y="121"/>
                  <a:pt x="81" y="120"/>
                  <a:pt x="80" y="120"/>
                </a:cubicBezTo>
                <a:close/>
                <a:moveTo>
                  <a:pt x="123" y="83"/>
                </a:moveTo>
                <a:cubicBezTo>
                  <a:pt x="128" y="83"/>
                  <a:pt x="128" y="83"/>
                  <a:pt x="128" y="83"/>
                </a:cubicBezTo>
                <a:cubicBezTo>
                  <a:pt x="129" y="83"/>
                  <a:pt x="131" y="81"/>
                  <a:pt x="131" y="80"/>
                </a:cubicBezTo>
                <a:cubicBezTo>
                  <a:pt x="131" y="79"/>
                  <a:pt x="129" y="77"/>
                  <a:pt x="128" y="77"/>
                </a:cubicBezTo>
                <a:cubicBezTo>
                  <a:pt x="123" y="77"/>
                  <a:pt x="123" y="77"/>
                  <a:pt x="123" y="77"/>
                </a:cubicBezTo>
                <a:cubicBezTo>
                  <a:pt x="121" y="77"/>
                  <a:pt x="120" y="79"/>
                  <a:pt x="120" y="80"/>
                </a:cubicBezTo>
                <a:cubicBezTo>
                  <a:pt x="120" y="81"/>
                  <a:pt x="121" y="83"/>
                  <a:pt x="123" y="83"/>
                </a:cubicBezTo>
                <a:close/>
                <a:moveTo>
                  <a:pt x="37" y="77"/>
                </a:moveTo>
                <a:cubicBezTo>
                  <a:pt x="32" y="77"/>
                  <a:pt x="32" y="77"/>
                  <a:pt x="32" y="77"/>
                </a:cubicBezTo>
                <a:cubicBezTo>
                  <a:pt x="30" y="77"/>
                  <a:pt x="29" y="79"/>
                  <a:pt x="29" y="80"/>
                </a:cubicBezTo>
                <a:cubicBezTo>
                  <a:pt x="29" y="81"/>
                  <a:pt x="30" y="83"/>
                  <a:pt x="32" y="83"/>
                </a:cubicBezTo>
                <a:cubicBezTo>
                  <a:pt x="37" y="83"/>
                  <a:pt x="37" y="83"/>
                  <a:pt x="37" y="83"/>
                </a:cubicBezTo>
                <a:cubicBezTo>
                  <a:pt x="39" y="83"/>
                  <a:pt x="40" y="81"/>
                  <a:pt x="40" y="80"/>
                </a:cubicBezTo>
                <a:cubicBezTo>
                  <a:pt x="40" y="79"/>
                  <a:pt x="39" y="77"/>
                  <a:pt x="37" y="77"/>
                </a:cubicBezTo>
                <a:close/>
                <a:moveTo>
                  <a:pt x="51" y="109"/>
                </a:moveTo>
                <a:cubicBezTo>
                  <a:pt x="51" y="109"/>
                  <a:pt x="52" y="109"/>
                  <a:pt x="53" y="109"/>
                </a:cubicBezTo>
                <a:cubicBezTo>
                  <a:pt x="75" y="87"/>
                  <a:pt x="75" y="87"/>
                  <a:pt x="75" y="87"/>
                </a:cubicBezTo>
                <a:cubicBezTo>
                  <a:pt x="76" y="87"/>
                  <a:pt x="78" y="88"/>
                  <a:pt x="80" y="88"/>
                </a:cubicBezTo>
                <a:cubicBezTo>
                  <a:pt x="86" y="88"/>
                  <a:pt x="91" y="83"/>
                  <a:pt x="91" y="77"/>
                </a:cubicBezTo>
                <a:cubicBezTo>
                  <a:pt x="91" y="72"/>
                  <a:pt x="87" y="68"/>
                  <a:pt x="83" y="67"/>
                </a:cubicBezTo>
                <a:cubicBezTo>
                  <a:pt x="83" y="53"/>
                  <a:pt x="83" y="53"/>
                  <a:pt x="83" y="53"/>
                </a:cubicBezTo>
                <a:cubicBezTo>
                  <a:pt x="83" y="52"/>
                  <a:pt x="81" y="51"/>
                  <a:pt x="80" y="51"/>
                </a:cubicBezTo>
                <a:cubicBezTo>
                  <a:pt x="78" y="51"/>
                  <a:pt x="77" y="52"/>
                  <a:pt x="77" y="53"/>
                </a:cubicBezTo>
                <a:cubicBezTo>
                  <a:pt x="77" y="67"/>
                  <a:pt x="77" y="67"/>
                  <a:pt x="77" y="67"/>
                </a:cubicBezTo>
                <a:cubicBezTo>
                  <a:pt x="73" y="68"/>
                  <a:pt x="69" y="72"/>
                  <a:pt x="69" y="77"/>
                </a:cubicBezTo>
                <a:cubicBezTo>
                  <a:pt x="69" y="79"/>
                  <a:pt x="70" y="81"/>
                  <a:pt x="71" y="83"/>
                </a:cubicBezTo>
                <a:cubicBezTo>
                  <a:pt x="49" y="105"/>
                  <a:pt x="49" y="105"/>
                  <a:pt x="49" y="105"/>
                </a:cubicBezTo>
                <a:cubicBezTo>
                  <a:pt x="48" y="106"/>
                  <a:pt x="48" y="108"/>
                  <a:pt x="49" y="109"/>
                </a:cubicBezTo>
                <a:cubicBezTo>
                  <a:pt x="49" y="109"/>
                  <a:pt x="50" y="109"/>
                  <a:pt x="51" y="109"/>
                </a:cubicBezTo>
                <a:close/>
                <a:moveTo>
                  <a:pt x="80" y="72"/>
                </a:moveTo>
                <a:cubicBezTo>
                  <a:pt x="83" y="72"/>
                  <a:pt x="85" y="74"/>
                  <a:pt x="85" y="77"/>
                </a:cubicBezTo>
                <a:cubicBezTo>
                  <a:pt x="85" y="80"/>
                  <a:pt x="83" y="83"/>
                  <a:pt x="80" y="83"/>
                </a:cubicBezTo>
                <a:cubicBezTo>
                  <a:pt x="77" y="83"/>
                  <a:pt x="75" y="80"/>
                  <a:pt x="75" y="77"/>
                </a:cubicBezTo>
                <a:cubicBezTo>
                  <a:pt x="75" y="74"/>
                  <a:pt x="77" y="72"/>
                  <a:pt x="80" y="72"/>
                </a:cubicBezTo>
                <a:close/>
                <a:moveTo>
                  <a:pt x="27" y="27"/>
                </a:moveTo>
                <a:cubicBezTo>
                  <a:pt x="48" y="27"/>
                  <a:pt x="48" y="27"/>
                  <a:pt x="48" y="27"/>
                </a:cubicBezTo>
                <a:cubicBezTo>
                  <a:pt x="49" y="27"/>
                  <a:pt x="51" y="25"/>
                  <a:pt x="51" y="24"/>
                </a:cubicBezTo>
                <a:cubicBezTo>
                  <a:pt x="51" y="23"/>
                  <a:pt x="49" y="21"/>
                  <a:pt x="48" y="21"/>
                </a:cubicBezTo>
                <a:cubicBezTo>
                  <a:pt x="34" y="21"/>
                  <a:pt x="34" y="21"/>
                  <a:pt x="34" y="21"/>
                </a:cubicBezTo>
                <a:cubicBezTo>
                  <a:pt x="47" y="11"/>
                  <a:pt x="63" y="5"/>
                  <a:pt x="80" y="5"/>
                </a:cubicBezTo>
                <a:cubicBezTo>
                  <a:pt x="121" y="5"/>
                  <a:pt x="155" y="39"/>
                  <a:pt x="155" y="80"/>
                </a:cubicBezTo>
                <a:cubicBezTo>
                  <a:pt x="155" y="81"/>
                  <a:pt x="156" y="83"/>
                  <a:pt x="157" y="83"/>
                </a:cubicBezTo>
                <a:cubicBezTo>
                  <a:pt x="159" y="83"/>
                  <a:pt x="160" y="81"/>
                  <a:pt x="160" y="80"/>
                </a:cubicBezTo>
                <a:cubicBezTo>
                  <a:pt x="160" y="36"/>
                  <a:pt x="124" y="0"/>
                  <a:pt x="80" y="0"/>
                </a:cubicBezTo>
                <a:cubicBezTo>
                  <a:pt x="61" y="0"/>
                  <a:pt x="44" y="6"/>
                  <a:pt x="29" y="18"/>
                </a:cubicBezTo>
                <a:cubicBezTo>
                  <a:pt x="29" y="3"/>
                  <a:pt x="29" y="3"/>
                  <a:pt x="29" y="3"/>
                </a:cubicBezTo>
                <a:cubicBezTo>
                  <a:pt x="29" y="1"/>
                  <a:pt x="28" y="0"/>
                  <a:pt x="27" y="0"/>
                </a:cubicBezTo>
                <a:cubicBezTo>
                  <a:pt x="25" y="0"/>
                  <a:pt x="24" y="1"/>
                  <a:pt x="24" y="3"/>
                </a:cubicBezTo>
                <a:cubicBezTo>
                  <a:pt x="24" y="27"/>
                  <a:pt x="24" y="27"/>
                  <a:pt x="24" y="27"/>
                </a:cubicBezTo>
                <a:cubicBezTo>
                  <a:pt x="26" y="27"/>
                  <a:pt x="26" y="27"/>
                  <a:pt x="26" y="27"/>
                </a:cubicBezTo>
                <a:cubicBezTo>
                  <a:pt x="27" y="27"/>
                  <a:pt x="27" y="27"/>
                  <a:pt x="27" y="27"/>
                </a:cubicBezTo>
                <a:close/>
                <a:moveTo>
                  <a:pt x="13" y="113"/>
                </a:moveTo>
                <a:cubicBezTo>
                  <a:pt x="12" y="111"/>
                  <a:pt x="11" y="111"/>
                  <a:pt x="9" y="111"/>
                </a:cubicBezTo>
                <a:cubicBezTo>
                  <a:pt x="8" y="112"/>
                  <a:pt x="7" y="114"/>
                  <a:pt x="8" y="115"/>
                </a:cubicBezTo>
                <a:cubicBezTo>
                  <a:pt x="8" y="116"/>
                  <a:pt x="9" y="116"/>
                  <a:pt x="10" y="116"/>
                </a:cubicBezTo>
                <a:cubicBezTo>
                  <a:pt x="11" y="116"/>
                  <a:pt x="11" y="116"/>
                  <a:pt x="12" y="116"/>
                </a:cubicBezTo>
                <a:cubicBezTo>
                  <a:pt x="13" y="116"/>
                  <a:pt x="13" y="114"/>
                  <a:pt x="13" y="113"/>
                </a:cubicBezTo>
                <a:close/>
                <a:moveTo>
                  <a:pt x="21" y="126"/>
                </a:moveTo>
                <a:cubicBezTo>
                  <a:pt x="20" y="125"/>
                  <a:pt x="18" y="124"/>
                  <a:pt x="17" y="125"/>
                </a:cubicBezTo>
                <a:cubicBezTo>
                  <a:pt x="16" y="126"/>
                  <a:pt x="16" y="128"/>
                  <a:pt x="17" y="129"/>
                </a:cubicBezTo>
                <a:cubicBezTo>
                  <a:pt x="17" y="130"/>
                  <a:pt x="18" y="130"/>
                  <a:pt x="19" y="130"/>
                </a:cubicBezTo>
                <a:cubicBezTo>
                  <a:pt x="19" y="130"/>
                  <a:pt x="20" y="130"/>
                  <a:pt x="20" y="129"/>
                </a:cubicBezTo>
                <a:cubicBezTo>
                  <a:pt x="22" y="129"/>
                  <a:pt x="22" y="127"/>
                  <a:pt x="21" y="126"/>
                </a:cubicBezTo>
                <a:close/>
                <a:moveTo>
                  <a:pt x="17" y="119"/>
                </a:moveTo>
                <a:cubicBezTo>
                  <a:pt x="16" y="118"/>
                  <a:pt x="14" y="118"/>
                  <a:pt x="13" y="119"/>
                </a:cubicBezTo>
                <a:cubicBezTo>
                  <a:pt x="12" y="119"/>
                  <a:pt x="11" y="121"/>
                  <a:pt x="12" y="122"/>
                </a:cubicBezTo>
                <a:cubicBezTo>
                  <a:pt x="13" y="123"/>
                  <a:pt x="13" y="123"/>
                  <a:pt x="14" y="123"/>
                </a:cubicBezTo>
                <a:cubicBezTo>
                  <a:pt x="15" y="123"/>
                  <a:pt x="15" y="123"/>
                  <a:pt x="16" y="123"/>
                </a:cubicBezTo>
                <a:cubicBezTo>
                  <a:pt x="17" y="122"/>
                  <a:pt x="17" y="121"/>
                  <a:pt x="17" y="119"/>
                </a:cubicBezTo>
                <a:close/>
                <a:moveTo>
                  <a:pt x="22" y="131"/>
                </a:moveTo>
                <a:cubicBezTo>
                  <a:pt x="21" y="133"/>
                  <a:pt x="21" y="134"/>
                  <a:pt x="22" y="135"/>
                </a:cubicBezTo>
                <a:cubicBezTo>
                  <a:pt x="23" y="136"/>
                  <a:pt x="23" y="136"/>
                  <a:pt x="24" y="136"/>
                </a:cubicBezTo>
                <a:cubicBezTo>
                  <a:pt x="25" y="136"/>
                  <a:pt x="25" y="136"/>
                  <a:pt x="26" y="135"/>
                </a:cubicBezTo>
                <a:cubicBezTo>
                  <a:pt x="27" y="134"/>
                  <a:pt x="27" y="133"/>
                  <a:pt x="26" y="132"/>
                </a:cubicBezTo>
                <a:cubicBezTo>
                  <a:pt x="25" y="131"/>
                  <a:pt x="23" y="130"/>
                  <a:pt x="22" y="131"/>
                </a:cubicBezTo>
                <a:close/>
                <a:moveTo>
                  <a:pt x="28" y="137"/>
                </a:moveTo>
                <a:cubicBezTo>
                  <a:pt x="27" y="138"/>
                  <a:pt x="27" y="140"/>
                  <a:pt x="28" y="141"/>
                </a:cubicBezTo>
                <a:cubicBezTo>
                  <a:pt x="29" y="141"/>
                  <a:pt x="29" y="142"/>
                  <a:pt x="30" y="142"/>
                </a:cubicBezTo>
                <a:cubicBezTo>
                  <a:pt x="31" y="142"/>
                  <a:pt x="31" y="141"/>
                  <a:pt x="32" y="141"/>
                </a:cubicBezTo>
                <a:cubicBezTo>
                  <a:pt x="33" y="140"/>
                  <a:pt x="33" y="138"/>
                  <a:pt x="32" y="137"/>
                </a:cubicBezTo>
                <a:cubicBezTo>
                  <a:pt x="30" y="136"/>
                  <a:pt x="29" y="136"/>
                  <a:pt x="28" y="137"/>
                </a:cubicBezTo>
                <a:close/>
                <a:moveTo>
                  <a:pt x="6" y="101"/>
                </a:moveTo>
                <a:cubicBezTo>
                  <a:pt x="7" y="101"/>
                  <a:pt x="8" y="100"/>
                  <a:pt x="8" y="98"/>
                </a:cubicBezTo>
                <a:cubicBezTo>
                  <a:pt x="7" y="97"/>
                  <a:pt x="6" y="96"/>
                  <a:pt x="4" y="96"/>
                </a:cubicBezTo>
                <a:cubicBezTo>
                  <a:pt x="3" y="97"/>
                  <a:pt x="2" y="98"/>
                  <a:pt x="2" y="99"/>
                </a:cubicBezTo>
                <a:cubicBezTo>
                  <a:pt x="3" y="101"/>
                  <a:pt x="4" y="101"/>
                  <a:pt x="5" y="101"/>
                </a:cubicBezTo>
                <a:cubicBezTo>
                  <a:pt x="5" y="101"/>
                  <a:pt x="5" y="101"/>
                  <a:pt x="6" y="101"/>
                </a:cubicBezTo>
                <a:close/>
                <a:moveTo>
                  <a:pt x="4" y="94"/>
                </a:moveTo>
                <a:cubicBezTo>
                  <a:pt x="5" y="93"/>
                  <a:pt x="6" y="92"/>
                  <a:pt x="6" y="91"/>
                </a:cubicBezTo>
                <a:cubicBezTo>
                  <a:pt x="6" y="89"/>
                  <a:pt x="4" y="88"/>
                  <a:pt x="3" y="88"/>
                </a:cubicBezTo>
                <a:cubicBezTo>
                  <a:pt x="2" y="89"/>
                  <a:pt x="1" y="90"/>
                  <a:pt x="1" y="91"/>
                </a:cubicBezTo>
                <a:cubicBezTo>
                  <a:pt x="1" y="93"/>
                  <a:pt x="2" y="94"/>
                  <a:pt x="3" y="94"/>
                </a:cubicBezTo>
                <a:cubicBezTo>
                  <a:pt x="4" y="94"/>
                  <a:pt x="4" y="94"/>
                  <a:pt x="4" y="94"/>
                </a:cubicBezTo>
                <a:close/>
                <a:moveTo>
                  <a:pt x="10" y="106"/>
                </a:moveTo>
                <a:cubicBezTo>
                  <a:pt x="9" y="104"/>
                  <a:pt x="8" y="103"/>
                  <a:pt x="6" y="104"/>
                </a:cubicBezTo>
                <a:cubicBezTo>
                  <a:pt x="5" y="104"/>
                  <a:pt x="4" y="106"/>
                  <a:pt x="5" y="107"/>
                </a:cubicBezTo>
                <a:cubicBezTo>
                  <a:pt x="5" y="108"/>
                  <a:pt x="6" y="109"/>
                  <a:pt x="7" y="109"/>
                </a:cubicBezTo>
                <a:cubicBezTo>
                  <a:pt x="8" y="109"/>
                  <a:pt x="8" y="109"/>
                  <a:pt x="8" y="109"/>
                </a:cubicBezTo>
                <a:cubicBezTo>
                  <a:pt x="10" y="108"/>
                  <a:pt x="10" y="107"/>
                  <a:pt x="10" y="106"/>
                </a:cubicBezTo>
                <a:close/>
                <a:moveTo>
                  <a:pt x="3" y="86"/>
                </a:moveTo>
                <a:cubicBezTo>
                  <a:pt x="3" y="86"/>
                  <a:pt x="3" y="86"/>
                  <a:pt x="3" y="86"/>
                </a:cubicBezTo>
                <a:cubicBezTo>
                  <a:pt x="4" y="86"/>
                  <a:pt x="5" y="84"/>
                  <a:pt x="5" y="83"/>
                </a:cubicBezTo>
                <a:cubicBezTo>
                  <a:pt x="5" y="81"/>
                  <a:pt x="4" y="80"/>
                  <a:pt x="3" y="80"/>
                </a:cubicBezTo>
                <a:cubicBezTo>
                  <a:pt x="1" y="80"/>
                  <a:pt x="0" y="82"/>
                  <a:pt x="0" y="83"/>
                </a:cubicBezTo>
                <a:cubicBezTo>
                  <a:pt x="0" y="85"/>
                  <a:pt x="1" y="86"/>
                  <a:pt x="3" y="86"/>
                </a:cubicBezTo>
                <a:close/>
                <a:moveTo>
                  <a:pt x="34" y="142"/>
                </a:moveTo>
                <a:cubicBezTo>
                  <a:pt x="33" y="143"/>
                  <a:pt x="34" y="145"/>
                  <a:pt x="35" y="146"/>
                </a:cubicBezTo>
                <a:cubicBezTo>
                  <a:pt x="35" y="146"/>
                  <a:pt x="36" y="146"/>
                  <a:pt x="36" y="146"/>
                </a:cubicBezTo>
                <a:cubicBezTo>
                  <a:pt x="37" y="146"/>
                  <a:pt x="38" y="146"/>
                  <a:pt x="38" y="145"/>
                </a:cubicBezTo>
                <a:cubicBezTo>
                  <a:pt x="39" y="144"/>
                  <a:pt x="39" y="142"/>
                  <a:pt x="38" y="142"/>
                </a:cubicBezTo>
                <a:cubicBezTo>
                  <a:pt x="37" y="141"/>
                  <a:pt x="35" y="141"/>
                  <a:pt x="34" y="142"/>
                </a:cubicBezTo>
                <a:close/>
                <a:moveTo>
                  <a:pt x="130" y="135"/>
                </a:moveTo>
                <a:cubicBezTo>
                  <a:pt x="130" y="135"/>
                  <a:pt x="130" y="135"/>
                  <a:pt x="130" y="135"/>
                </a:cubicBezTo>
                <a:cubicBezTo>
                  <a:pt x="129" y="136"/>
                  <a:pt x="129" y="138"/>
                  <a:pt x="130" y="139"/>
                </a:cubicBezTo>
                <a:cubicBezTo>
                  <a:pt x="131" y="139"/>
                  <a:pt x="132" y="140"/>
                  <a:pt x="132" y="140"/>
                </a:cubicBezTo>
                <a:cubicBezTo>
                  <a:pt x="133" y="140"/>
                  <a:pt x="134" y="139"/>
                  <a:pt x="134" y="139"/>
                </a:cubicBezTo>
                <a:cubicBezTo>
                  <a:pt x="135" y="138"/>
                  <a:pt x="135" y="136"/>
                  <a:pt x="134" y="135"/>
                </a:cubicBezTo>
                <a:cubicBezTo>
                  <a:pt x="133" y="134"/>
                  <a:pt x="132" y="134"/>
                  <a:pt x="130" y="135"/>
                </a:cubicBezTo>
                <a:close/>
                <a:moveTo>
                  <a:pt x="136" y="129"/>
                </a:moveTo>
                <a:cubicBezTo>
                  <a:pt x="135" y="131"/>
                  <a:pt x="135" y="132"/>
                  <a:pt x="136" y="133"/>
                </a:cubicBezTo>
                <a:cubicBezTo>
                  <a:pt x="137" y="134"/>
                  <a:pt x="137" y="134"/>
                  <a:pt x="138" y="134"/>
                </a:cubicBezTo>
                <a:cubicBezTo>
                  <a:pt x="139" y="134"/>
                  <a:pt x="139" y="134"/>
                  <a:pt x="140" y="133"/>
                </a:cubicBezTo>
                <a:cubicBezTo>
                  <a:pt x="141" y="132"/>
                  <a:pt x="141" y="130"/>
                  <a:pt x="140" y="129"/>
                </a:cubicBezTo>
                <a:cubicBezTo>
                  <a:pt x="139" y="128"/>
                  <a:pt x="137" y="128"/>
                  <a:pt x="136" y="129"/>
                </a:cubicBezTo>
                <a:close/>
                <a:moveTo>
                  <a:pt x="141" y="123"/>
                </a:moveTo>
                <a:cubicBezTo>
                  <a:pt x="140" y="125"/>
                  <a:pt x="140" y="126"/>
                  <a:pt x="141" y="127"/>
                </a:cubicBezTo>
                <a:cubicBezTo>
                  <a:pt x="142" y="127"/>
                  <a:pt x="142" y="128"/>
                  <a:pt x="143" y="128"/>
                </a:cubicBezTo>
                <a:cubicBezTo>
                  <a:pt x="144" y="128"/>
                  <a:pt x="145" y="127"/>
                  <a:pt x="145" y="127"/>
                </a:cubicBezTo>
                <a:cubicBezTo>
                  <a:pt x="146" y="125"/>
                  <a:pt x="146" y="124"/>
                  <a:pt x="144" y="123"/>
                </a:cubicBezTo>
                <a:cubicBezTo>
                  <a:pt x="143" y="122"/>
                  <a:pt x="142" y="122"/>
                  <a:pt x="141" y="123"/>
                </a:cubicBezTo>
                <a:close/>
                <a:moveTo>
                  <a:pt x="125" y="140"/>
                </a:moveTo>
                <a:cubicBezTo>
                  <a:pt x="123" y="141"/>
                  <a:pt x="123" y="142"/>
                  <a:pt x="124" y="144"/>
                </a:cubicBezTo>
                <a:cubicBezTo>
                  <a:pt x="125" y="144"/>
                  <a:pt x="125" y="145"/>
                  <a:pt x="126" y="145"/>
                </a:cubicBezTo>
                <a:cubicBezTo>
                  <a:pt x="127" y="145"/>
                  <a:pt x="127" y="145"/>
                  <a:pt x="128" y="144"/>
                </a:cubicBezTo>
                <a:cubicBezTo>
                  <a:pt x="129" y="143"/>
                  <a:pt x="129" y="142"/>
                  <a:pt x="128" y="140"/>
                </a:cubicBezTo>
                <a:cubicBezTo>
                  <a:pt x="127" y="139"/>
                  <a:pt x="126" y="139"/>
                  <a:pt x="125" y="140"/>
                </a:cubicBezTo>
                <a:close/>
                <a:moveTo>
                  <a:pt x="118" y="144"/>
                </a:moveTo>
                <a:cubicBezTo>
                  <a:pt x="117" y="145"/>
                  <a:pt x="116" y="147"/>
                  <a:pt x="117" y="148"/>
                </a:cubicBezTo>
                <a:cubicBezTo>
                  <a:pt x="118" y="149"/>
                  <a:pt x="119" y="149"/>
                  <a:pt x="119" y="149"/>
                </a:cubicBezTo>
                <a:cubicBezTo>
                  <a:pt x="120" y="149"/>
                  <a:pt x="120" y="149"/>
                  <a:pt x="121" y="149"/>
                </a:cubicBezTo>
                <a:cubicBezTo>
                  <a:pt x="122" y="148"/>
                  <a:pt x="123" y="146"/>
                  <a:pt x="122" y="145"/>
                </a:cubicBezTo>
                <a:cubicBezTo>
                  <a:pt x="121" y="144"/>
                  <a:pt x="119" y="143"/>
                  <a:pt x="118" y="144"/>
                </a:cubicBezTo>
                <a:close/>
                <a:moveTo>
                  <a:pt x="149" y="116"/>
                </a:moveTo>
                <a:cubicBezTo>
                  <a:pt x="147" y="115"/>
                  <a:pt x="146" y="116"/>
                  <a:pt x="145" y="117"/>
                </a:cubicBezTo>
                <a:cubicBezTo>
                  <a:pt x="145" y="117"/>
                  <a:pt x="145" y="117"/>
                  <a:pt x="145" y="117"/>
                </a:cubicBezTo>
                <a:cubicBezTo>
                  <a:pt x="144" y="118"/>
                  <a:pt x="145" y="120"/>
                  <a:pt x="146" y="121"/>
                </a:cubicBezTo>
                <a:cubicBezTo>
                  <a:pt x="146" y="121"/>
                  <a:pt x="147" y="121"/>
                  <a:pt x="147" y="121"/>
                </a:cubicBezTo>
                <a:cubicBezTo>
                  <a:pt x="148" y="121"/>
                  <a:pt x="149" y="120"/>
                  <a:pt x="149" y="120"/>
                </a:cubicBezTo>
                <a:cubicBezTo>
                  <a:pt x="150" y="118"/>
                  <a:pt x="150" y="117"/>
                  <a:pt x="149" y="116"/>
                </a:cubicBezTo>
                <a:close/>
                <a:moveTo>
                  <a:pt x="157" y="85"/>
                </a:moveTo>
                <a:cubicBezTo>
                  <a:pt x="156" y="85"/>
                  <a:pt x="154" y="86"/>
                  <a:pt x="154" y="88"/>
                </a:cubicBezTo>
                <a:cubicBezTo>
                  <a:pt x="154" y="89"/>
                  <a:pt x="155" y="90"/>
                  <a:pt x="157" y="91"/>
                </a:cubicBezTo>
                <a:cubicBezTo>
                  <a:pt x="157" y="91"/>
                  <a:pt x="157" y="91"/>
                  <a:pt x="157" y="91"/>
                </a:cubicBezTo>
                <a:cubicBezTo>
                  <a:pt x="158" y="91"/>
                  <a:pt x="159" y="90"/>
                  <a:pt x="160" y="88"/>
                </a:cubicBezTo>
                <a:cubicBezTo>
                  <a:pt x="160" y="87"/>
                  <a:pt x="159" y="85"/>
                  <a:pt x="157" y="85"/>
                </a:cubicBezTo>
                <a:close/>
                <a:moveTo>
                  <a:pt x="156" y="93"/>
                </a:moveTo>
                <a:cubicBezTo>
                  <a:pt x="155" y="93"/>
                  <a:pt x="153" y="94"/>
                  <a:pt x="153" y="95"/>
                </a:cubicBezTo>
                <a:cubicBezTo>
                  <a:pt x="153" y="97"/>
                  <a:pt x="154" y="98"/>
                  <a:pt x="155" y="98"/>
                </a:cubicBezTo>
                <a:cubicBezTo>
                  <a:pt x="155" y="99"/>
                  <a:pt x="155" y="99"/>
                  <a:pt x="156" y="99"/>
                </a:cubicBezTo>
                <a:cubicBezTo>
                  <a:pt x="157" y="99"/>
                  <a:pt x="158" y="98"/>
                  <a:pt x="158" y="96"/>
                </a:cubicBezTo>
                <a:cubicBezTo>
                  <a:pt x="159" y="95"/>
                  <a:pt x="158" y="94"/>
                  <a:pt x="156" y="93"/>
                </a:cubicBezTo>
                <a:close/>
                <a:moveTo>
                  <a:pt x="154" y="101"/>
                </a:moveTo>
                <a:cubicBezTo>
                  <a:pt x="153" y="101"/>
                  <a:pt x="152" y="101"/>
                  <a:pt x="151" y="103"/>
                </a:cubicBezTo>
                <a:cubicBezTo>
                  <a:pt x="151" y="104"/>
                  <a:pt x="151" y="106"/>
                  <a:pt x="153" y="106"/>
                </a:cubicBezTo>
                <a:cubicBezTo>
                  <a:pt x="153" y="106"/>
                  <a:pt x="153" y="106"/>
                  <a:pt x="154" y="106"/>
                </a:cubicBezTo>
                <a:cubicBezTo>
                  <a:pt x="155" y="106"/>
                  <a:pt x="156" y="106"/>
                  <a:pt x="156" y="104"/>
                </a:cubicBezTo>
                <a:cubicBezTo>
                  <a:pt x="157" y="103"/>
                  <a:pt x="156" y="102"/>
                  <a:pt x="154" y="101"/>
                </a:cubicBezTo>
                <a:close/>
                <a:moveTo>
                  <a:pt x="152" y="109"/>
                </a:moveTo>
                <a:cubicBezTo>
                  <a:pt x="151" y="108"/>
                  <a:pt x="149" y="109"/>
                  <a:pt x="148" y="110"/>
                </a:cubicBezTo>
                <a:cubicBezTo>
                  <a:pt x="148" y="111"/>
                  <a:pt x="148" y="113"/>
                  <a:pt x="150" y="114"/>
                </a:cubicBezTo>
                <a:cubicBezTo>
                  <a:pt x="150" y="114"/>
                  <a:pt x="150" y="114"/>
                  <a:pt x="151" y="114"/>
                </a:cubicBezTo>
                <a:cubicBezTo>
                  <a:pt x="152" y="114"/>
                  <a:pt x="153" y="113"/>
                  <a:pt x="153" y="112"/>
                </a:cubicBezTo>
                <a:cubicBezTo>
                  <a:pt x="154" y="111"/>
                  <a:pt x="153" y="109"/>
                  <a:pt x="152" y="109"/>
                </a:cubicBezTo>
                <a:close/>
                <a:moveTo>
                  <a:pt x="111" y="148"/>
                </a:moveTo>
                <a:cubicBezTo>
                  <a:pt x="110" y="148"/>
                  <a:pt x="109" y="150"/>
                  <a:pt x="110" y="151"/>
                </a:cubicBezTo>
                <a:cubicBezTo>
                  <a:pt x="110" y="152"/>
                  <a:pt x="111" y="153"/>
                  <a:pt x="112" y="153"/>
                </a:cubicBezTo>
                <a:cubicBezTo>
                  <a:pt x="113" y="153"/>
                  <a:pt x="113" y="153"/>
                  <a:pt x="114" y="153"/>
                </a:cubicBezTo>
                <a:cubicBezTo>
                  <a:pt x="115" y="152"/>
                  <a:pt x="115" y="150"/>
                  <a:pt x="115" y="149"/>
                </a:cubicBezTo>
                <a:cubicBezTo>
                  <a:pt x="114" y="148"/>
                  <a:pt x="113" y="147"/>
                  <a:pt x="111" y="148"/>
                </a:cubicBezTo>
                <a:close/>
                <a:moveTo>
                  <a:pt x="66" y="153"/>
                </a:moveTo>
                <a:cubicBezTo>
                  <a:pt x="65" y="153"/>
                  <a:pt x="63" y="154"/>
                  <a:pt x="63" y="156"/>
                </a:cubicBezTo>
                <a:cubicBezTo>
                  <a:pt x="63" y="157"/>
                  <a:pt x="64" y="158"/>
                  <a:pt x="65" y="159"/>
                </a:cubicBezTo>
                <a:cubicBezTo>
                  <a:pt x="65" y="159"/>
                  <a:pt x="65" y="159"/>
                  <a:pt x="66" y="159"/>
                </a:cubicBezTo>
                <a:cubicBezTo>
                  <a:pt x="67" y="159"/>
                  <a:pt x="68" y="158"/>
                  <a:pt x="68" y="157"/>
                </a:cubicBezTo>
                <a:cubicBezTo>
                  <a:pt x="68" y="155"/>
                  <a:pt x="67" y="154"/>
                  <a:pt x="66" y="153"/>
                </a:cubicBezTo>
                <a:close/>
                <a:moveTo>
                  <a:pt x="74" y="154"/>
                </a:moveTo>
                <a:cubicBezTo>
                  <a:pt x="72" y="154"/>
                  <a:pt x="71" y="155"/>
                  <a:pt x="71" y="157"/>
                </a:cubicBezTo>
                <a:cubicBezTo>
                  <a:pt x="71" y="158"/>
                  <a:pt x="72" y="160"/>
                  <a:pt x="73" y="160"/>
                </a:cubicBezTo>
                <a:cubicBezTo>
                  <a:pt x="73" y="160"/>
                  <a:pt x="73" y="160"/>
                  <a:pt x="73" y="160"/>
                </a:cubicBezTo>
                <a:cubicBezTo>
                  <a:pt x="73" y="160"/>
                  <a:pt x="73" y="160"/>
                  <a:pt x="73" y="160"/>
                </a:cubicBezTo>
                <a:cubicBezTo>
                  <a:pt x="75" y="160"/>
                  <a:pt x="76" y="159"/>
                  <a:pt x="76" y="157"/>
                </a:cubicBezTo>
                <a:cubicBezTo>
                  <a:pt x="76" y="156"/>
                  <a:pt x="75" y="155"/>
                  <a:pt x="74" y="154"/>
                </a:cubicBezTo>
                <a:close/>
                <a:moveTo>
                  <a:pt x="59" y="152"/>
                </a:moveTo>
                <a:cubicBezTo>
                  <a:pt x="57" y="151"/>
                  <a:pt x="56" y="152"/>
                  <a:pt x="55" y="153"/>
                </a:cubicBezTo>
                <a:cubicBezTo>
                  <a:pt x="55" y="155"/>
                  <a:pt x="56" y="156"/>
                  <a:pt x="57" y="157"/>
                </a:cubicBezTo>
                <a:cubicBezTo>
                  <a:pt x="57" y="157"/>
                  <a:pt x="58" y="157"/>
                  <a:pt x="58" y="157"/>
                </a:cubicBezTo>
                <a:cubicBezTo>
                  <a:pt x="59" y="157"/>
                  <a:pt x="60" y="156"/>
                  <a:pt x="60" y="155"/>
                </a:cubicBezTo>
                <a:cubicBezTo>
                  <a:pt x="61" y="153"/>
                  <a:pt x="60" y="152"/>
                  <a:pt x="59" y="152"/>
                </a:cubicBezTo>
                <a:close/>
                <a:moveTo>
                  <a:pt x="51" y="149"/>
                </a:moveTo>
                <a:cubicBezTo>
                  <a:pt x="50" y="148"/>
                  <a:pt x="48" y="149"/>
                  <a:pt x="48" y="150"/>
                </a:cubicBezTo>
                <a:cubicBezTo>
                  <a:pt x="47" y="152"/>
                  <a:pt x="48" y="153"/>
                  <a:pt x="49" y="154"/>
                </a:cubicBezTo>
                <a:cubicBezTo>
                  <a:pt x="50" y="154"/>
                  <a:pt x="50" y="154"/>
                  <a:pt x="50" y="154"/>
                </a:cubicBezTo>
                <a:cubicBezTo>
                  <a:pt x="51" y="154"/>
                  <a:pt x="52" y="153"/>
                  <a:pt x="53" y="152"/>
                </a:cubicBezTo>
                <a:cubicBezTo>
                  <a:pt x="53" y="151"/>
                  <a:pt x="53" y="150"/>
                  <a:pt x="51" y="149"/>
                </a:cubicBezTo>
                <a:close/>
                <a:moveTo>
                  <a:pt x="89" y="154"/>
                </a:moveTo>
                <a:cubicBezTo>
                  <a:pt x="88" y="154"/>
                  <a:pt x="87" y="156"/>
                  <a:pt x="87" y="157"/>
                </a:cubicBezTo>
                <a:cubicBezTo>
                  <a:pt x="87" y="158"/>
                  <a:pt x="88" y="159"/>
                  <a:pt x="89" y="159"/>
                </a:cubicBezTo>
                <a:cubicBezTo>
                  <a:pt x="90" y="159"/>
                  <a:pt x="90" y="159"/>
                  <a:pt x="90" y="159"/>
                </a:cubicBezTo>
                <a:cubicBezTo>
                  <a:pt x="90" y="159"/>
                  <a:pt x="90" y="159"/>
                  <a:pt x="90" y="159"/>
                </a:cubicBezTo>
                <a:cubicBezTo>
                  <a:pt x="91" y="159"/>
                  <a:pt x="92" y="158"/>
                  <a:pt x="92" y="156"/>
                </a:cubicBezTo>
                <a:cubicBezTo>
                  <a:pt x="92" y="155"/>
                  <a:pt x="91" y="154"/>
                  <a:pt x="89" y="154"/>
                </a:cubicBezTo>
                <a:close/>
                <a:moveTo>
                  <a:pt x="104" y="151"/>
                </a:moveTo>
                <a:cubicBezTo>
                  <a:pt x="103" y="151"/>
                  <a:pt x="102" y="153"/>
                  <a:pt x="102" y="154"/>
                </a:cubicBezTo>
                <a:cubicBezTo>
                  <a:pt x="103" y="155"/>
                  <a:pt x="104" y="156"/>
                  <a:pt x="105" y="156"/>
                </a:cubicBezTo>
                <a:cubicBezTo>
                  <a:pt x="105" y="156"/>
                  <a:pt x="106" y="156"/>
                  <a:pt x="106" y="156"/>
                </a:cubicBezTo>
                <a:cubicBezTo>
                  <a:pt x="107" y="155"/>
                  <a:pt x="108" y="154"/>
                  <a:pt x="108" y="152"/>
                </a:cubicBezTo>
                <a:cubicBezTo>
                  <a:pt x="107" y="151"/>
                  <a:pt x="106" y="150"/>
                  <a:pt x="104" y="151"/>
                </a:cubicBezTo>
                <a:close/>
                <a:moveTo>
                  <a:pt x="97" y="153"/>
                </a:moveTo>
                <a:cubicBezTo>
                  <a:pt x="95" y="153"/>
                  <a:pt x="94" y="155"/>
                  <a:pt x="95" y="156"/>
                </a:cubicBezTo>
                <a:cubicBezTo>
                  <a:pt x="95" y="157"/>
                  <a:pt x="96" y="158"/>
                  <a:pt x="97" y="158"/>
                </a:cubicBezTo>
                <a:cubicBezTo>
                  <a:pt x="98" y="158"/>
                  <a:pt x="98" y="158"/>
                  <a:pt x="98" y="158"/>
                </a:cubicBezTo>
                <a:cubicBezTo>
                  <a:pt x="99" y="158"/>
                  <a:pt x="100" y="156"/>
                  <a:pt x="100" y="155"/>
                </a:cubicBezTo>
                <a:cubicBezTo>
                  <a:pt x="100" y="153"/>
                  <a:pt x="98" y="152"/>
                  <a:pt x="97" y="153"/>
                </a:cubicBezTo>
                <a:close/>
                <a:moveTo>
                  <a:pt x="81" y="155"/>
                </a:moveTo>
                <a:cubicBezTo>
                  <a:pt x="80" y="155"/>
                  <a:pt x="79" y="156"/>
                  <a:pt x="79" y="157"/>
                </a:cubicBezTo>
                <a:cubicBezTo>
                  <a:pt x="79" y="159"/>
                  <a:pt x="80" y="160"/>
                  <a:pt x="81" y="160"/>
                </a:cubicBezTo>
                <a:cubicBezTo>
                  <a:pt x="81" y="160"/>
                  <a:pt x="81" y="160"/>
                  <a:pt x="82" y="160"/>
                </a:cubicBezTo>
                <a:cubicBezTo>
                  <a:pt x="83" y="160"/>
                  <a:pt x="84" y="159"/>
                  <a:pt x="84" y="157"/>
                </a:cubicBezTo>
                <a:cubicBezTo>
                  <a:pt x="84" y="156"/>
                  <a:pt x="83" y="155"/>
                  <a:pt x="81" y="155"/>
                </a:cubicBezTo>
                <a:close/>
                <a:moveTo>
                  <a:pt x="44" y="146"/>
                </a:moveTo>
                <a:cubicBezTo>
                  <a:pt x="43" y="145"/>
                  <a:pt x="41" y="145"/>
                  <a:pt x="41" y="147"/>
                </a:cubicBezTo>
                <a:cubicBezTo>
                  <a:pt x="40" y="148"/>
                  <a:pt x="40" y="150"/>
                  <a:pt x="42" y="150"/>
                </a:cubicBezTo>
                <a:cubicBezTo>
                  <a:pt x="42" y="151"/>
                  <a:pt x="43" y="151"/>
                  <a:pt x="43" y="151"/>
                </a:cubicBezTo>
                <a:cubicBezTo>
                  <a:pt x="44" y="151"/>
                  <a:pt x="45" y="150"/>
                  <a:pt x="45" y="149"/>
                </a:cubicBezTo>
                <a:cubicBezTo>
                  <a:pt x="46" y="148"/>
                  <a:pt x="46" y="146"/>
                  <a:pt x="44" y="1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9" name="Freeform 1137">
            <a:extLst>
              <a:ext uri="{FF2B5EF4-FFF2-40B4-BE49-F238E27FC236}">
                <a16:creationId xmlns:a16="http://schemas.microsoft.com/office/drawing/2014/main" id="{9B9DD969-9BCD-4E2A-84EA-65B9231048A0}"/>
              </a:ext>
            </a:extLst>
          </p:cNvPr>
          <p:cNvSpPr>
            <a:spLocks noEditPoints="1"/>
          </p:cNvSpPr>
          <p:nvPr/>
        </p:nvSpPr>
        <p:spPr bwMode="auto">
          <a:xfrm>
            <a:off x="7224606" y="3289300"/>
            <a:ext cx="728973" cy="707842"/>
          </a:xfrm>
          <a:custGeom>
            <a:avLst/>
            <a:gdLst>
              <a:gd name="T0" fmla="*/ 100 w 160"/>
              <a:gd name="T1" fmla="*/ 0 h 154"/>
              <a:gd name="T2" fmla="*/ 77 w 160"/>
              <a:gd name="T3" fmla="*/ 13 h 154"/>
              <a:gd name="T4" fmla="*/ 5 w 160"/>
              <a:gd name="T5" fmla="*/ 141 h 154"/>
              <a:gd name="T6" fmla="*/ 32 w 160"/>
              <a:gd name="T7" fmla="*/ 141 h 154"/>
              <a:gd name="T8" fmla="*/ 99 w 160"/>
              <a:gd name="T9" fmla="*/ 151 h 154"/>
              <a:gd name="T10" fmla="*/ 125 w 160"/>
              <a:gd name="T11" fmla="*/ 141 h 154"/>
              <a:gd name="T12" fmla="*/ 155 w 160"/>
              <a:gd name="T13" fmla="*/ 141 h 154"/>
              <a:gd name="T14" fmla="*/ 155 w 160"/>
              <a:gd name="T15" fmla="*/ 13 h 154"/>
              <a:gd name="T16" fmla="*/ 27 w 160"/>
              <a:gd name="T17" fmla="*/ 141 h 154"/>
              <a:gd name="T18" fmla="*/ 5 w 160"/>
              <a:gd name="T19" fmla="*/ 136 h 154"/>
              <a:gd name="T20" fmla="*/ 77 w 160"/>
              <a:gd name="T21" fmla="*/ 24 h 154"/>
              <a:gd name="T22" fmla="*/ 13 w 160"/>
              <a:gd name="T23" fmla="*/ 129 h 154"/>
              <a:gd name="T24" fmla="*/ 63 w 160"/>
              <a:gd name="T25" fmla="*/ 131 h 154"/>
              <a:gd name="T26" fmla="*/ 77 w 160"/>
              <a:gd name="T27" fmla="*/ 53 h 154"/>
              <a:gd name="T28" fmla="*/ 30 w 160"/>
              <a:gd name="T29" fmla="*/ 101 h 154"/>
              <a:gd name="T30" fmla="*/ 17 w 160"/>
              <a:gd name="T31" fmla="*/ 29 h 154"/>
              <a:gd name="T32" fmla="*/ 46 w 160"/>
              <a:gd name="T33" fmla="*/ 107 h 154"/>
              <a:gd name="T34" fmla="*/ 28 w 160"/>
              <a:gd name="T35" fmla="*/ 107 h 154"/>
              <a:gd name="T36" fmla="*/ 65 w 160"/>
              <a:gd name="T37" fmla="*/ 101 h 154"/>
              <a:gd name="T38" fmla="*/ 63 w 160"/>
              <a:gd name="T39" fmla="*/ 107 h 154"/>
              <a:gd name="T40" fmla="*/ 60 w 160"/>
              <a:gd name="T41" fmla="*/ 125 h 154"/>
              <a:gd name="T42" fmla="*/ 60 w 160"/>
              <a:gd name="T43" fmla="*/ 125 h 154"/>
              <a:gd name="T44" fmla="*/ 77 w 160"/>
              <a:gd name="T45" fmla="*/ 101 h 154"/>
              <a:gd name="T46" fmla="*/ 52 w 160"/>
              <a:gd name="T47" fmla="*/ 77 h 154"/>
              <a:gd name="T48" fmla="*/ 83 w 160"/>
              <a:gd name="T49" fmla="*/ 144 h 154"/>
              <a:gd name="T50" fmla="*/ 83 w 160"/>
              <a:gd name="T51" fmla="*/ 83 h 154"/>
              <a:gd name="T52" fmla="*/ 83 w 160"/>
              <a:gd name="T53" fmla="*/ 11 h 154"/>
              <a:gd name="T54" fmla="*/ 104 w 160"/>
              <a:gd name="T55" fmla="*/ 7 h 154"/>
              <a:gd name="T56" fmla="*/ 141 w 160"/>
              <a:gd name="T57" fmla="*/ 37 h 154"/>
              <a:gd name="T58" fmla="*/ 139 w 160"/>
              <a:gd name="T59" fmla="*/ 48 h 154"/>
              <a:gd name="T60" fmla="*/ 141 w 160"/>
              <a:gd name="T61" fmla="*/ 109 h 154"/>
              <a:gd name="T62" fmla="*/ 141 w 160"/>
              <a:gd name="T63" fmla="*/ 126 h 154"/>
              <a:gd name="T64" fmla="*/ 133 w 160"/>
              <a:gd name="T65" fmla="*/ 147 h 154"/>
              <a:gd name="T66" fmla="*/ 155 w 160"/>
              <a:gd name="T67" fmla="*/ 136 h 154"/>
              <a:gd name="T68" fmla="*/ 147 w 160"/>
              <a:gd name="T69" fmla="*/ 117 h 154"/>
              <a:gd name="T70" fmla="*/ 147 w 160"/>
              <a:gd name="T71" fmla="*/ 112 h 154"/>
              <a:gd name="T72" fmla="*/ 149 w 160"/>
              <a:gd name="T73" fmla="*/ 104 h 154"/>
              <a:gd name="T74" fmla="*/ 152 w 160"/>
              <a:gd name="T75" fmla="*/ 48 h 154"/>
              <a:gd name="T76" fmla="*/ 149 w 160"/>
              <a:gd name="T77" fmla="*/ 43 h 154"/>
              <a:gd name="T78" fmla="*/ 147 w 160"/>
              <a:gd name="T79" fmla="*/ 25 h 154"/>
              <a:gd name="T80" fmla="*/ 155 w 160"/>
              <a:gd name="T81" fmla="*/ 136 h 154"/>
              <a:gd name="T82" fmla="*/ 88 w 160"/>
              <a:gd name="T83" fmla="*/ 16 h 154"/>
              <a:gd name="T84" fmla="*/ 91 w 160"/>
              <a:gd name="T85" fmla="*/ 34 h 154"/>
              <a:gd name="T86" fmla="*/ 93 w 160"/>
              <a:gd name="T87" fmla="*/ 122 h 154"/>
              <a:gd name="T88" fmla="*/ 91 w 160"/>
              <a:gd name="T89" fmla="*/ 104 h 154"/>
              <a:gd name="T90" fmla="*/ 91 w 160"/>
              <a:gd name="T91" fmla="*/ 104 h 154"/>
              <a:gd name="T92" fmla="*/ 88 w 160"/>
              <a:gd name="T93" fmla="*/ 48 h 154"/>
              <a:gd name="T94" fmla="*/ 91 w 160"/>
              <a:gd name="T95" fmla="*/ 141 h 154"/>
              <a:gd name="T96" fmla="*/ 107 w 160"/>
              <a:gd name="T97" fmla="*/ 93 h 154"/>
              <a:gd name="T98" fmla="*/ 109 w 160"/>
              <a:gd name="T99" fmla="*/ 58 h 154"/>
              <a:gd name="T100" fmla="*/ 115 w 160"/>
              <a:gd name="T101" fmla="*/ 85 h 154"/>
              <a:gd name="T102" fmla="*/ 109 w 160"/>
              <a:gd name="T103" fmla="*/ 53 h 154"/>
              <a:gd name="T104" fmla="*/ 107 w 160"/>
              <a:gd name="T105" fmla="*/ 104 h 154"/>
              <a:gd name="T106" fmla="*/ 109 w 160"/>
              <a:gd name="T107" fmla="*/ 4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54">
                <a:moveTo>
                  <a:pt x="155" y="13"/>
                </a:moveTo>
                <a:cubicBezTo>
                  <a:pt x="126" y="13"/>
                  <a:pt x="126" y="13"/>
                  <a:pt x="126" y="13"/>
                </a:cubicBezTo>
                <a:cubicBezTo>
                  <a:pt x="103" y="0"/>
                  <a:pt x="103" y="0"/>
                  <a:pt x="103" y="0"/>
                </a:cubicBezTo>
                <a:cubicBezTo>
                  <a:pt x="102" y="0"/>
                  <a:pt x="101" y="0"/>
                  <a:pt x="100" y="0"/>
                </a:cubicBezTo>
                <a:cubicBezTo>
                  <a:pt x="99" y="1"/>
                  <a:pt x="99" y="2"/>
                  <a:pt x="99" y="3"/>
                </a:cubicBezTo>
                <a:cubicBezTo>
                  <a:pt x="99" y="5"/>
                  <a:pt x="99" y="5"/>
                  <a:pt x="99" y="5"/>
                </a:cubicBezTo>
                <a:cubicBezTo>
                  <a:pt x="77" y="5"/>
                  <a:pt x="77" y="5"/>
                  <a:pt x="77" y="5"/>
                </a:cubicBezTo>
                <a:cubicBezTo>
                  <a:pt x="77" y="13"/>
                  <a:pt x="77" y="13"/>
                  <a:pt x="77" y="13"/>
                </a:cubicBezTo>
                <a:cubicBezTo>
                  <a:pt x="5" y="13"/>
                  <a:pt x="5" y="13"/>
                  <a:pt x="5" y="13"/>
                </a:cubicBezTo>
                <a:cubicBezTo>
                  <a:pt x="2" y="13"/>
                  <a:pt x="0" y="16"/>
                  <a:pt x="0" y="19"/>
                </a:cubicBezTo>
                <a:cubicBezTo>
                  <a:pt x="0" y="136"/>
                  <a:pt x="0" y="136"/>
                  <a:pt x="0" y="136"/>
                </a:cubicBezTo>
                <a:cubicBezTo>
                  <a:pt x="0" y="139"/>
                  <a:pt x="2" y="141"/>
                  <a:pt x="5" y="141"/>
                </a:cubicBezTo>
                <a:cubicBezTo>
                  <a:pt x="5" y="141"/>
                  <a:pt x="5" y="141"/>
                  <a:pt x="5" y="141"/>
                </a:cubicBezTo>
                <a:cubicBezTo>
                  <a:pt x="5" y="152"/>
                  <a:pt x="5" y="152"/>
                  <a:pt x="5" y="152"/>
                </a:cubicBezTo>
                <a:cubicBezTo>
                  <a:pt x="32" y="152"/>
                  <a:pt x="32" y="152"/>
                  <a:pt x="32" y="152"/>
                </a:cubicBezTo>
                <a:cubicBezTo>
                  <a:pt x="32" y="141"/>
                  <a:pt x="32" y="141"/>
                  <a:pt x="32" y="141"/>
                </a:cubicBezTo>
                <a:cubicBezTo>
                  <a:pt x="77" y="141"/>
                  <a:pt x="77" y="141"/>
                  <a:pt x="77" y="141"/>
                </a:cubicBezTo>
                <a:cubicBezTo>
                  <a:pt x="77" y="149"/>
                  <a:pt x="77" y="149"/>
                  <a:pt x="77" y="149"/>
                </a:cubicBezTo>
                <a:cubicBezTo>
                  <a:pt x="99" y="149"/>
                  <a:pt x="99" y="149"/>
                  <a:pt x="99" y="149"/>
                </a:cubicBezTo>
                <a:cubicBezTo>
                  <a:pt x="99" y="151"/>
                  <a:pt x="99" y="151"/>
                  <a:pt x="99" y="151"/>
                </a:cubicBezTo>
                <a:cubicBezTo>
                  <a:pt x="99" y="152"/>
                  <a:pt x="99" y="153"/>
                  <a:pt x="100" y="154"/>
                </a:cubicBezTo>
                <a:cubicBezTo>
                  <a:pt x="101" y="154"/>
                  <a:pt x="101" y="154"/>
                  <a:pt x="102" y="154"/>
                </a:cubicBezTo>
                <a:cubicBezTo>
                  <a:pt x="102" y="154"/>
                  <a:pt x="103" y="154"/>
                  <a:pt x="103" y="154"/>
                </a:cubicBezTo>
                <a:cubicBezTo>
                  <a:pt x="125" y="141"/>
                  <a:pt x="125" y="141"/>
                  <a:pt x="125" y="141"/>
                </a:cubicBezTo>
                <a:cubicBezTo>
                  <a:pt x="128" y="141"/>
                  <a:pt x="128" y="141"/>
                  <a:pt x="128" y="141"/>
                </a:cubicBezTo>
                <a:cubicBezTo>
                  <a:pt x="128" y="152"/>
                  <a:pt x="128" y="152"/>
                  <a:pt x="128" y="152"/>
                </a:cubicBezTo>
                <a:cubicBezTo>
                  <a:pt x="155" y="152"/>
                  <a:pt x="155" y="152"/>
                  <a:pt x="155" y="152"/>
                </a:cubicBezTo>
                <a:cubicBezTo>
                  <a:pt x="155" y="141"/>
                  <a:pt x="155" y="141"/>
                  <a:pt x="155" y="141"/>
                </a:cubicBezTo>
                <a:cubicBezTo>
                  <a:pt x="155" y="141"/>
                  <a:pt x="155" y="141"/>
                  <a:pt x="155" y="141"/>
                </a:cubicBezTo>
                <a:cubicBezTo>
                  <a:pt x="158" y="141"/>
                  <a:pt x="160" y="139"/>
                  <a:pt x="160" y="136"/>
                </a:cubicBezTo>
                <a:cubicBezTo>
                  <a:pt x="160" y="19"/>
                  <a:pt x="160" y="19"/>
                  <a:pt x="160" y="19"/>
                </a:cubicBezTo>
                <a:cubicBezTo>
                  <a:pt x="160" y="16"/>
                  <a:pt x="158" y="13"/>
                  <a:pt x="155" y="13"/>
                </a:cubicBezTo>
                <a:close/>
                <a:moveTo>
                  <a:pt x="27" y="147"/>
                </a:moveTo>
                <a:cubicBezTo>
                  <a:pt x="11" y="147"/>
                  <a:pt x="11" y="147"/>
                  <a:pt x="11" y="147"/>
                </a:cubicBezTo>
                <a:cubicBezTo>
                  <a:pt x="11" y="141"/>
                  <a:pt x="11" y="141"/>
                  <a:pt x="11" y="141"/>
                </a:cubicBezTo>
                <a:cubicBezTo>
                  <a:pt x="27" y="141"/>
                  <a:pt x="27" y="141"/>
                  <a:pt x="27" y="141"/>
                </a:cubicBezTo>
                <a:lnTo>
                  <a:pt x="27" y="147"/>
                </a:lnTo>
                <a:close/>
                <a:moveTo>
                  <a:pt x="32" y="136"/>
                </a:moveTo>
                <a:cubicBezTo>
                  <a:pt x="32" y="136"/>
                  <a:pt x="32" y="136"/>
                  <a:pt x="32" y="136"/>
                </a:cubicBezTo>
                <a:cubicBezTo>
                  <a:pt x="5" y="136"/>
                  <a:pt x="5" y="136"/>
                  <a:pt x="5" y="136"/>
                </a:cubicBezTo>
                <a:cubicBezTo>
                  <a:pt x="5" y="136"/>
                  <a:pt x="5" y="136"/>
                  <a:pt x="5" y="136"/>
                </a:cubicBezTo>
                <a:cubicBezTo>
                  <a:pt x="5" y="19"/>
                  <a:pt x="5" y="19"/>
                  <a:pt x="5" y="19"/>
                </a:cubicBezTo>
                <a:cubicBezTo>
                  <a:pt x="77" y="19"/>
                  <a:pt x="77" y="19"/>
                  <a:pt x="77" y="19"/>
                </a:cubicBezTo>
                <a:cubicBezTo>
                  <a:pt x="77" y="24"/>
                  <a:pt x="77" y="24"/>
                  <a:pt x="77" y="24"/>
                </a:cubicBezTo>
                <a:cubicBezTo>
                  <a:pt x="17" y="24"/>
                  <a:pt x="17" y="24"/>
                  <a:pt x="17" y="24"/>
                </a:cubicBezTo>
                <a:cubicBezTo>
                  <a:pt x="13" y="24"/>
                  <a:pt x="11" y="27"/>
                  <a:pt x="11" y="30"/>
                </a:cubicBezTo>
                <a:cubicBezTo>
                  <a:pt x="11" y="124"/>
                  <a:pt x="11" y="124"/>
                  <a:pt x="11" y="124"/>
                </a:cubicBezTo>
                <a:cubicBezTo>
                  <a:pt x="11" y="126"/>
                  <a:pt x="11" y="128"/>
                  <a:pt x="13" y="129"/>
                </a:cubicBezTo>
                <a:cubicBezTo>
                  <a:pt x="12" y="131"/>
                  <a:pt x="12" y="131"/>
                  <a:pt x="12" y="131"/>
                </a:cubicBezTo>
                <a:cubicBezTo>
                  <a:pt x="17" y="131"/>
                  <a:pt x="17" y="131"/>
                  <a:pt x="17" y="131"/>
                </a:cubicBezTo>
                <a:cubicBezTo>
                  <a:pt x="52" y="131"/>
                  <a:pt x="52" y="131"/>
                  <a:pt x="52" y="131"/>
                </a:cubicBezTo>
                <a:cubicBezTo>
                  <a:pt x="63" y="131"/>
                  <a:pt x="63" y="131"/>
                  <a:pt x="63" y="131"/>
                </a:cubicBezTo>
                <a:cubicBezTo>
                  <a:pt x="77" y="131"/>
                  <a:pt x="77" y="131"/>
                  <a:pt x="77" y="131"/>
                </a:cubicBezTo>
                <a:cubicBezTo>
                  <a:pt x="77" y="136"/>
                  <a:pt x="77" y="136"/>
                  <a:pt x="77" y="136"/>
                </a:cubicBezTo>
                <a:lnTo>
                  <a:pt x="32" y="136"/>
                </a:lnTo>
                <a:close/>
                <a:moveTo>
                  <a:pt x="77" y="53"/>
                </a:moveTo>
                <a:cubicBezTo>
                  <a:pt x="57" y="53"/>
                  <a:pt x="57" y="53"/>
                  <a:pt x="57" y="53"/>
                </a:cubicBezTo>
                <a:cubicBezTo>
                  <a:pt x="46" y="77"/>
                  <a:pt x="46" y="77"/>
                  <a:pt x="46" y="77"/>
                </a:cubicBezTo>
                <a:cubicBezTo>
                  <a:pt x="41" y="77"/>
                  <a:pt x="41" y="77"/>
                  <a:pt x="41" y="77"/>
                </a:cubicBezTo>
                <a:cubicBezTo>
                  <a:pt x="30" y="101"/>
                  <a:pt x="30" y="101"/>
                  <a:pt x="30" y="101"/>
                </a:cubicBezTo>
                <a:cubicBezTo>
                  <a:pt x="25" y="101"/>
                  <a:pt x="25" y="101"/>
                  <a:pt x="25" y="101"/>
                </a:cubicBezTo>
                <a:cubicBezTo>
                  <a:pt x="16" y="121"/>
                  <a:pt x="16" y="121"/>
                  <a:pt x="16" y="121"/>
                </a:cubicBezTo>
                <a:cubicBezTo>
                  <a:pt x="16" y="30"/>
                  <a:pt x="16" y="30"/>
                  <a:pt x="16" y="30"/>
                </a:cubicBezTo>
                <a:cubicBezTo>
                  <a:pt x="16" y="30"/>
                  <a:pt x="16" y="29"/>
                  <a:pt x="17" y="29"/>
                </a:cubicBezTo>
                <a:cubicBezTo>
                  <a:pt x="77" y="29"/>
                  <a:pt x="77" y="29"/>
                  <a:pt x="77" y="29"/>
                </a:cubicBezTo>
                <a:lnTo>
                  <a:pt x="77" y="53"/>
                </a:lnTo>
                <a:close/>
                <a:moveTo>
                  <a:pt x="28" y="107"/>
                </a:moveTo>
                <a:cubicBezTo>
                  <a:pt x="46" y="107"/>
                  <a:pt x="46" y="107"/>
                  <a:pt x="46" y="107"/>
                </a:cubicBezTo>
                <a:cubicBezTo>
                  <a:pt x="54" y="125"/>
                  <a:pt x="54" y="125"/>
                  <a:pt x="54" y="125"/>
                </a:cubicBezTo>
                <a:cubicBezTo>
                  <a:pt x="54" y="125"/>
                  <a:pt x="54" y="125"/>
                  <a:pt x="54" y="125"/>
                </a:cubicBezTo>
                <a:cubicBezTo>
                  <a:pt x="20" y="125"/>
                  <a:pt x="20" y="125"/>
                  <a:pt x="20" y="125"/>
                </a:cubicBezTo>
                <a:lnTo>
                  <a:pt x="28" y="107"/>
                </a:lnTo>
                <a:close/>
                <a:moveTo>
                  <a:pt x="44" y="83"/>
                </a:moveTo>
                <a:cubicBezTo>
                  <a:pt x="62" y="83"/>
                  <a:pt x="62" y="83"/>
                  <a:pt x="62" y="83"/>
                </a:cubicBezTo>
                <a:cubicBezTo>
                  <a:pt x="71" y="101"/>
                  <a:pt x="71" y="101"/>
                  <a:pt x="71" y="101"/>
                </a:cubicBezTo>
                <a:cubicBezTo>
                  <a:pt x="65" y="101"/>
                  <a:pt x="65" y="101"/>
                  <a:pt x="65" y="101"/>
                </a:cubicBezTo>
                <a:cubicBezTo>
                  <a:pt x="50" y="101"/>
                  <a:pt x="50" y="101"/>
                  <a:pt x="50" y="101"/>
                </a:cubicBezTo>
                <a:cubicBezTo>
                  <a:pt x="36" y="101"/>
                  <a:pt x="36" y="101"/>
                  <a:pt x="36" y="101"/>
                </a:cubicBezTo>
                <a:lnTo>
                  <a:pt x="44" y="83"/>
                </a:lnTo>
                <a:close/>
                <a:moveTo>
                  <a:pt x="63" y="107"/>
                </a:moveTo>
                <a:cubicBezTo>
                  <a:pt x="57" y="118"/>
                  <a:pt x="57" y="118"/>
                  <a:pt x="57" y="118"/>
                </a:cubicBezTo>
                <a:cubicBezTo>
                  <a:pt x="52" y="107"/>
                  <a:pt x="52" y="107"/>
                  <a:pt x="52" y="107"/>
                </a:cubicBezTo>
                <a:cubicBezTo>
                  <a:pt x="63" y="107"/>
                  <a:pt x="63" y="107"/>
                  <a:pt x="63" y="107"/>
                </a:cubicBezTo>
                <a:close/>
                <a:moveTo>
                  <a:pt x="60" y="125"/>
                </a:moveTo>
                <a:cubicBezTo>
                  <a:pt x="68" y="107"/>
                  <a:pt x="68" y="107"/>
                  <a:pt x="68" y="107"/>
                </a:cubicBezTo>
                <a:cubicBezTo>
                  <a:pt x="77" y="107"/>
                  <a:pt x="77" y="107"/>
                  <a:pt x="77" y="107"/>
                </a:cubicBezTo>
                <a:cubicBezTo>
                  <a:pt x="77" y="125"/>
                  <a:pt x="77" y="125"/>
                  <a:pt x="77" y="125"/>
                </a:cubicBezTo>
                <a:cubicBezTo>
                  <a:pt x="60" y="125"/>
                  <a:pt x="60" y="125"/>
                  <a:pt x="60" y="125"/>
                </a:cubicBezTo>
                <a:close/>
                <a:moveTo>
                  <a:pt x="76" y="101"/>
                </a:moveTo>
                <a:cubicBezTo>
                  <a:pt x="68" y="83"/>
                  <a:pt x="68" y="83"/>
                  <a:pt x="68" y="83"/>
                </a:cubicBezTo>
                <a:cubicBezTo>
                  <a:pt x="77" y="83"/>
                  <a:pt x="77" y="83"/>
                  <a:pt x="77" y="83"/>
                </a:cubicBezTo>
                <a:cubicBezTo>
                  <a:pt x="77" y="101"/>
                  <a:pt x="77" y="101"/>
                  <a:pt x="77" y="101"/>
                </a:cubicBezTo>
                <a:lnTo>
                  <a:pt x="76" y="101"/>
                </a:lnTo>
                <a:close/>
                <a:moveTo>
                  <a:pt x="77" y="77"/>
                </a:moveTo>
                <a:cubicBezTo>
                  <a:pt x="66" y="77"/>
                  <a:pt x="66" y="77"/>
                  <a:pt x="66" y="77"/>
                </a:cubicBezTo>
                <a:cubicBezTo>
                  <a:pt x="52" y="77"/>
                  <a:pt x="52" y="77"/>
                  <a:pt x="52" y="77"/>
                </a:cubicBezTo>
                <a:cubicBezTo>
                  <a:pt x="60" y="59"/>
                  <a:pt x="60" y="59"/>
                  <a:pt x="60" y="59"/>
                </a:cubicBezTo>
                <a:cubicBezTo>
                  <a:pt x="77" y="59"/>
                  <a:pt x="77" y="59"/>
                  <a:pt x="77" y="59"/>
                </a:cubicBezTo>
                <a:lnTo>
                  <a:pt x="77" y="77"/>
                </a:lnTo>
                <a:close/>
                <a:moveTo>
                  <a:pt x="83" y="144"/>
                </a:moveTo>
                <a:cubicBezTo>
                  <a:pt x="83" y="141"/>
                  <a:pt x="83" y="141"/>
                  <a:pt x="83" y="141"/>
                </a:cubicBezTo>
                <a:cubicBezTo>
                  <a:pt x="83" y="131"/>
                  <a:pt x="83" y="131"/>
                  <a:pt x="83" y="131"/>
                </a:cubicBezTo>
                <a:cubicBezTo>
                  <a:pt x="83" y="101"/>
                  <a:pt x="83" y="101"/>
                  <a:pt x="83" y="101"/>
                </a:cubicBezTo>
                <a:cubicBezTo>
                  <a:pt x="83" y="83"/>
                  <a:pt x="83" y="83"/>
                  <a:pt x="83" y="83"/>
                </a:cubicBezTo>
                <a:cubicBezTo>
                  <a:pt x="83" y="53"/>
                  <a:pt x="83" y="53"/>
                  <a:pt x="83" y="53"/>
                </a:cubicBezTo>
                <a:cubicBezTo>
                  <a:pt x="83" y="24"/>
                  <a:pt x="83" y="24"/>
                  <a:pt x="83" y="24"/>
                </a:cubicBezTo>
                <a:cubicBezTo>
                  <a:pt x="83" y="13"/>
                  <a:pt x="83" y="13"/>
                  <a:pt x="83" y="13"/>
                </a:cubicBezTo>
                <a:cubicBezTo>
                  <a:pt x="83" y="11"/>
                  <a:pt x="83" y="11"/>
                  <a:pt x="83" y="11"/>
                </a:cubicBezTo>
                <a:cubicBezTo>
                  <a:pt x="99" y="11"/>
                  <a:pt x="99" y="11"/>
                  <a:pt x="99" y="11"/>
                </a:cubicBezTo>
                <a:cubicBezTo>
                  <a:pt x="99" y="144"/>
                  <a:pt x="99" y="144"/>
                  <a:pt x="99" y="144"/>
                </a:cubicBezTo>
                <a:lnTo>
                  <a:pt x="83" y="144"/>
                </a:lnTo>
                <a:close/>
                <a:moveTo>
                  <a:pt x="104" y="7"/>
                </a:moveTo>
                <a:cubicBezTo>
                  <a:pt x="115" y="13"/>
                  <a:pt x="115" y="13"/>
                  <a:pt x="115" y="13"/>
                </a:cubicBezTo>
                <a:cubicBezTo>
                  <a:pt x="115" y="13"/>
                  <a:pt x="115" y="13"/>
                  <a:pt x="115" y="13"/>
                </a:cubicBezTo>
                <a:cubicBezTo>
                  <a:pt x="141" y="28"/>
                  <a:pt x="141" y="28"/>
                  <a:pt x="141" y="28"/>
                </a:cubicBezTo>
                <a:cubicBezTo>
                  <a:pt x="141" y="37"/>
                  <a:pt x="141" y="37"/>
                  <a:pt x="141" y="37"/>
                </a:cubicBezTo>
                <a:cubicBezTo>
                  <a:pt x="140" y="37"/>
                  <a:pt x="139" y="39"/>
                  <a:pt x="139" y="40"/>
                </a:cubicBezTo>
                <a:cubicBezTo>
                  <a:pt x="139" y="41"/>
                  <a:pt x="140" y="43"/>
                  <a:pt x="141" y="43"/>
                </a:cubicBezTo>
                <a:cubicBezTo>
                  <a:pt x="141" y="45"/>
                  <a:pt x="141" y="45"/>
                  <a:pt x="141" y="45"/>
                </a:cubicBezTo>
                <a:cubicBezTo>
                  <a:pt x="140" y="45"/>
                  <a:pt x="139" y="47"/>
                  <a:pt x="139" y="48"/>
                </a:cubicBezTo>
                <a:cubicBezTo>
                  <a:pt x="139" y="49"/>
                  <a:pt x="140" y="51"/>
                  <a:pt x="141" y="51"/>
                </a:cubicBezTo>
                <a:cubicBezTo>
                  <a:pt x="141" y="104"/>
                  <a:pt x="141" y="104"/>
                  <a:pt x="141" y="104"/>
                </a:cubicBezTo>
                <a:cubicBezTo>
                  <a:pt x="140" y="104"/>
                  <a:pt x="139" y="105"/>
                  <a:pt x="139" y="107"/>
                </a:cubicBezTo>
                <a:cubicBezTo>
                  <a:pt x="139" y="108"/>
                  <a:pt x="140" y="109"/>
                  <a:pt x="141" y="109"/>
                </a:cubicBezTo>
                <a:cubicBezTo>
                  <a:pt x="141" y="112"/>
                  <a:pt x="141" y="112"/>
                  <a:pt x="141" y="112"/>
                </a:cubicBezTo>
                <a:cubicBezTo>
                  <a:pt x="140" y="112"/>
                  <a:pt x="139" y="113"/>
                  <a:pt x="139" y="115"/>
                </a:cubicBezTo>
                <a:cubicBezTo>
                  <a:pt x="139" y="116"/>
                  <a:pt x="140" y="117"/>
                  <a:pt x="141" y="117"/>
                </a:cubicBezTo>
                <a:cubicBezTo>
                  <a:pt x="141" y="126"/>
                  <a:pt x="141" y="126"/>
                  <a:pt x="141" y="126"/>
                </a:cubicBezTo>
                <a:cubicBezTo>
                  <a:pt x="104" y="147"/>
                  <a:pt x="104" y="147"/>
                  <a:pt x="104" y="147"/>
                </a:cubicBezTo>
                <a:lnTo>
                  <a:pt x="104" y="7"/>
                </a:lnTo>
                <a:close/>
                <a:moveTo>
                  <a:pt x="149" y="147"/>
                </a:moveTo>
                <a:cubicBezTo>
                  <a:pt x="133" y="147"/>
                  <a:pt x="133" y="147"/>
                  <a:pt x="133" y="147"/>
                </a:cubicBezTo>
                <a:cubicBezTo>
                  <a:pt x="133" y="141"/>
                  <a:pt x="133" y="141"/>
                  <a:pt x="133" y="141"/>
                </a:cubicBezTo>
                <a:cubicBezTo>
                  <a:pt x="149" y="141"/>
                  <a:pt x="149" y="141"/>
                  <a:pt x="149" y="141"/>
                </a:cubicBezTo>
                <a:lnTo>
                  <a:pt x="149" y="147"/>
                </a:lnTo>
                <a:close/>
                <a:moveTo>
                  <a:pt x="155" y="136"/>
                </a:moveTo>
                <a:cubicBezTo>
                  <a:pt x="135" y="136"/>
                  <a:pt x="135" y="136"/>
                  <a:pt x="135" y="136"/>
                </a:cubicBezTo>
                <a:cubicBezTo>
                  <a:pt x="147" y="130"/>
                  <a:pt x="147" y="130"/>
                  <a:pt x="147" y="130"/>
                </a:cubicBezTo>
                <a:cubicBezTo>
                  <a:pt x="147" y="129"/>
                  <a:pt x="147" y="129"/>
                  <a:pt x="147" y="129"/>
                </a:cubicBezTo>
                <a:cubicBezTo>
                  <a:pt x="147" y="117"/>
                  <a:pt x="147" y="117"/>
                  <a:pt x="147" y="117"/>
                </a:cubicBezTo>
                <a:cubicBezTo>
                  <a:pt x="149" y="117"/>
                  <a:pt x="149" y="117"/>
                  <a:pt x="149" y="117"/>
                </a:cubicBezTo>
                <a:cubicBezTo>
                  <a:pt x="151" y="117"/>
                  <a:pt x="152" y="116"/>
                  <a:pt x="152" y="115"/>
                </a:cubicBezTo>
                <a:cubicBezTo>
                  <a:pt x="152" y="113"/>
                  <a:pt x="151" y="112"/>
                  <a:pt x="149" y="112"/>
                </a:cubicBezTo>
                <a:cubicBezTo>
                  <a:pt x="147" y="112"/>
                  <a:pt x="147" y="112"/>
                  <a:pt x="147" y="112"/>
                </a:cubicBezTo>
                <a:cubicBezTo>
                  <a:pt x="147" y="109"/>
                  <a:pt x="147" y="109"/>
                  <a:pt x="147" y="109"/>
                </a:cubicBezTo>
                <a:cubicBezTo>
                  <a:pt x="149" y="109"/>
                  <a:pt x="149" y="109"/>
                  <a:pt x="149" y="109"/>
                </a:cubicBezTo>
                <a:cubicBezTo>
                  <a:pt x="151" y="109"/>
                  <a:pt x="152" y="108"/>
                  <a:pt x="152" y="107"/>
                </a:cubicBezTo>
                <a:cubicBezTo>
                  <a:pt x="152" y="105"/>
                  <a:pt x="151" y="104"/>
                  <a:pt x="149" y="104"/>
                </a:cubicBezTo>
                <a:cubicBezTo>
                  <a:pt x="147" y="104"/>
                  <a:pt x="147" y="104"/>
                  <a:pt x="147" y="104"/>
                </a:cubicBezTo>
                <a:cubicBezTo>
                  <a:pt x="147" y="51"/>
                  <a:pt x="147" y="51"/>
                  <a:pt x="147" y="51"/>
                </a:cubicBezTo>
                <a:cubicBezTo>
                  <a:pt x="149" y="51"/>
                  <a:pt x="149" y="51"/>
                  <a:pt x="149" y="51"/>
                </a:cubicBezTo>
                <a:cubicBezTo>
                  <a:pt x="151" y="51"/>
                  <a:pt x="152" y="49"/>
                  <a:pt x="152" y="48"/>
                </a:cubicBezTo>
                <a:cubicBezTo>
                  <a:pt x="152" y="47"/>
                  <a:pt x="151" y="45"/>
                  <a:pt x="149" y="45"/>
                </a:cubicBezTo>
                <a:cubicBezTo>
                  <a:pt x="147" y="45"/>
                  <a:pt x="147" y="45"/>
                  <a:pt x="147" y="45"/>
                </a:cubicBezTo>
                <a:cubicBezTo>
                  <a:pt x="147" y="43"/>
                  <a:pt x="147" y="43"/>
                  <a:pt x="147" y="43"/>
                </a:cubicBezTo>
                <a:cubicBezTo>
                  <a:pt x="149" y="43"/>
                  <a:pt x="149" y="43"/>
                  <a:pt x="149" y="43"/>
                </a:cubicBezTo>
                <a:cubicBezTo>
                  <a:pt x="151" y="43"/>
                  <a:pt x="152" y="41"/>
                  <a:pt x="152" y="40"/>
                </a:cubicBezTo>
                <a:cubicBezTo>
                  <a:pt x="152" y="39"/>
                  <a:pt x="151" y="37"/>
                  <a:pt x="149" y="37"/>
                </a:cubicBezTo>
                <a:cubicBezTo>
                  <a:pt x="147" y="37"/>
                  <a:pt x="147" y="37"/>
                  <a:pt x="147" y="37"/>
                </a:cubicBezTo>
                <a:cubicBezTo>
                  <a:pt x="147" y="25"/>
                  <a:pt x="147" y="25"/>
                  <a:pt x="147" y="25"/>
                </a:cubicBezTo>
                <a:cubicBezTo>
                  <a:pt x="147" y="25"/>
                  <a:pt x="147" y="25"/>
                  <a:pt x="147" y="25"/>
                </a:cubicBezTo>
                <a:cubicBezTo>
                  <a:pt x="136" y="19"/>
                  <a:pt x="136" y="19"/>
                  <a:pt x="136" y="19"/>
                </a:cubicBezTo>
                <a:cubicBezTo>
                  <a:pt x="155" y="19"/>
                  <a:pt x="155" y="19"/>
                  <a:pt x="155" y="19"/>
                </a:cubicBezTo>
                <a:cubicBezTo>
                  <a:pt x="155" y="136"/>
                  <a:pt x="155" y="136"/>
                  <a:pt x="155" y="136"/>
                </a:cubicBezTo>
                <a:close/>
                <a:moveTo>
                  <a:pt x="91" y="13"/>
                </a:moveTo>
                <a:cubicBezTo>
                  <a:pt x="92" y="13"/>
                  <a:pt x="93" y="14"/>
                  <a:pt x="93" y="16"/>
                </a:cubicBezTo>
                <a:cubicBezTo>
                  <a:pt x="93" y="17"/>
                  <a:pt x="92" y="18"/>
                  <a:pt x="91" y="18"/>
                </a:cubicBezTo>
                <a:cubicBezTo>
                  <a:pt x="89" y="18"/>
                  <a:pt x="88" y="17"/>
                  <a:pt x="88" y="16"/>
                </a:cubicBezTo>
                <a:cubicBezTo>
                  <a:pt x="88" y="14"/>
                  <a:pt x="89" y="13"/>
                  <a:pt x="91" y="13"/>
                </a:cubicBezTo>
                <a:close/>
                <a:moveTo>
                  <a:pt x="91" y="29"/>
                </a:moveTo>
                <a:cubicBezTo>
                  <a:pt x="92" y="29"/>
                  <a:pt x="93" y="30"/>
                  <a:pt x="93" y="32"/>
                </a:cubicBezTo>
                <a:cubicBezTo>
                  <a:pt x="93" y="33"/>
                  <a:pt x="92" y="34"/>
                  <a:pt x="91" y="34"/>
                </a:cubicBezTo>
                <a:cubicBezTo>
                  <a:pt x="89" y="34"/>
                  <a:pt x="88" y="33"/>
                  <a:pt x="88" y="32"/>
                </a:cubicBezTo>
                <a:cubicBezTo>
                  <a:pt x="88" y="30"/>
                  <a:pt x="89" y="29"/>
                  <a:pt x="91" y="29"/>
                </a:cubicBezTo>
                <a:close/>
                <a:moveTo>
                  <a:pt x="91" y="120"/>
                </a:moveTo>
                <a:cubicBezTo>
                  <a:pt x="92" y="120"/>
                  <a:pt x="93" y="121"/>
                  <a:pt x="93" y="122"/>
                </a:cubicBezTo>
                <a:cubicBezTo>
                  <a:pt x="93" y="124"/>
                  <a:pt x="92" y="125"/>
                  <a:pt x="91" y="125"/>
                </a:cubicBezTo>
                <a:cubicBezTo>
                  <a:pt x="89" y="125"/>
                  <a:pt x="88" y="124"/>
                  <a:pt x="88" y="122"/>
                </a:cubicBezTo>
                <a:cubicBezTo>
                  <a:pt x="88" y="121"/>
                  <a:pt x="89" y="120"/>
                  <a:pt x="91" y="120"/>
                </a:cubicBezTo>
                <a:close/>
                <a:moveTo>
                  <a:pt x="91" y="104"/>
                </a:moveTo>
                <a:cubicBezTo>
                  <a:pt x="92" y="104"/>
                  <a:pt x="93" y="105"/>
                  <a:pt x="93" y="106"/>
                </a:cubicBezTo>
                <a:cubicBezTo>
                  <a:pt x="93" y="108"/>
                  <a:pt x="92" y="109"/>
                  <a:pt x="91" y="109"/>
                </a:cubicBezTo>
                <a:cubicBezTo>
                  <a:pt x="89" y="109"/>
                  <a:pt x="88" y="108"/>
                  <a:pt x="88" y="106"/>
                </a:cubicBezTo>
                <a:cubicBezTo>
                  <a:pt x="88" y="105"/>
                  <a:pt x="89" y="104"/>
                  <a:pt x="91" y="104"/>
                </a:cubicBezTo>
                <a:close/>
                <a:moveTo>
                  <a:pt x="91" y="45"/>
                </a:moveTo>
                <a:cubicBezTo>
                  <a:pt x="92" y="45"/>
                  <a:pt x="93" y="46"/>
                  <a:pt x="93" y="48"/>
                </a:cubicBezTo>
                <a:cubicBezTo>
                  <a:pt x="93" y="49"/>
                  <a:pt x="92" y="50"/>
                  <a:pt x="91" y="50"/>
                </a:cubicBezTo>
                <a:cubicBezTo>
                  <a:pt x="89" y="50"/>
                  <a:pt x="88" y="49"/>
                  <a:pt x="88" y="48"/>
                </a:cubicBezTo>
                <a:cubicBezTo>
                  <a:pt x="88" y="46"/>
                  <a:pt x="89" y="45"/>
                  <a:pt x="91" y="45"/>
                </a:cubicBezTo>
                <a:close/>
                <a:moveTo>
                  <a:pt x="91" y="136"/>
                </a:moveTo>
                <a:cubicBezTo>
                  <a:pt x="92" y="136"/>
                  <a:pt x="93" y="137"/>
                  <a:pt x="93" y="138"/>
                </a:cubicBezTo>
                <a:cubicBezTo>
                  <a:pt x="93" y="140"/>
                  <a:pt x="92" y="141"/>
                  <a:pt x="91" y="141"/>
                </a:cubicBezTo>
                <a:cubicBezTo>
                  <a:pt x="89" y="141"/>
                  <a:pt x="88" y="140"/>
                  <a:pt x="88" y="138"/>
                </a:cubicBezTo>
                <a:cubicBezTo>
                  <a:pt x="88" y="137"/>
                  <a:pt x="89" y="136"/>
                  <a:pt x="91" y="136"/>
                </a:cubicBezTo>
                <a:close/>
                <a:moveTo>
                  <a:pt x="109" y="90"/>
                </a:moveTo>
                <a:cubicBezTo>
                  <a:pt x="108" y="90"/>
                  <a:pt x="107" y="92"/>
                  <a:pt x="107" y="93"/>
                </a:cubicBezTo>
                <a:cubicBezTo>
                  <a:pt x="107" y="95"/>
                  <a:pt x="108" y="96"/>
                  <a:pt x="109" y="96"/>
                </a:cubicBezTo>
                <a:cubicBezTo>
                  <a:pt x="115" y="96"/>
                  <a:pt x="120" y="91"/>
                  <a:pt x="120" y="85"/>
                </a:cubicBezTo>
                <a:cubicBezTo>
                  <a:pt x="120" y="69"/>
                  <a:pt x="120" y="69"/>
                  <a:pt x="120" y="69"/>
                </a:cubicBezTo>
                <a:cubicBezTo>
                  <a:pt x="120" y="63"/>
                  <a:pt x="115" y="58"/>
                  <a:pt x="109" y="58"/>
                </a:cubicBezTo>
                <a:cubicBezTo>
                  <a:pt x="108" y="58"/>
                  <a:pt x="107" y="60"/>
                  <a:pt x="107" y="61"/>
                </a:cubicBezTo>
                <a:cubicBezTo>
                  <a:pt x="107" y="63"/>
                  <a:pt x="108" y="64"/>
                  <a:pt x="109" y="64"/>
                </a:cubicBezTo>
                <a:cubicBezTo>
                  <a:pt x="112" y="64"/>
                  <a:pt x="115" y="66"/>
                  <a:pt x="115" y="69"/>
                </a:cubicBezTo>
                <a:cubicBezTo>
                  <a:pt x="115" y="85"/>
                  <a:pt x="115" y="85"/>
                  <a:pt x="115" y="85"/>
                </a:cubicBezTo>
                <a:cubicBezTo>
                  <a:pt x="115" y="88"/>
                  <a:pt x="112" y="90"/>
                  <a:pt x="109" y="90"/>
                </a:cubicBezTo>
                <a:close/>
                <a:moveTo>
                  <a:pt x="109" y="48"/>
                </a:moveTo>
                <a:cubicBezTo>
                  <a:pt x="108" y="48"/>
                  <a:pt x="107" y="49"/>
                  <a:pt x="107" y="50"/>
                </a:cubicBezTo>
                <a:cubicBezTo>
                  <a:pt x="107" y="52"/>
                  <a:pt x="108" y="53"/>
                  <a:pt x="109" y="53"/>
                </a:cubicBezTo>
                <a:cubicBezTo>
                  <a:pt x="118" y="53"/>
                  <a:pt x="125" y="60"/>
                  <a:pt x="125" y="69"/>
                </a:cubicBezTo>
                <a:cubicBezTo>
                  <a:pt x="125" y="85"/>
                  <a:pt x="125" y="85"/>
                  <a:pt x="125" y="85"/>
                </a:cubicBezTo>
                <a:cubicBezTo>
                  <a:pt x="125" y="94"/>
                  <a:pt x="118" y="101"/>
                  <a:pt x="109" y="101"/>
                </a:cubicBezTo>
                <a:cubicBezTo>
                  <a:pt x="108" y="101"/>
                  <a:pt x="107" y="102"/>
                  <a:pt x="107" y="104"/>
                </a:cubicBezTo>
                <a:cubicBezTo>
                  <a:pt x="107" y="105"/>
                  <a:pt x="108" y="106"/>
                  <a:pt x="109" y="106"/>
                </a:cubicBezTo>
                <a:cubicBezTo>
                  <a:pt x="121" y="106"/>
                  <a:pt x="131" y="97"/>
                  <a:pt x="131" y="85"/>
                </a:cubicBezTo>
                <a:cubicBezTo>
                  <a:pt x="131" y="69"/>
                  <a:pt x="131" y="69"/>
                  <a:pt x="131" y="69"/>
                </a:cubicBezTo>
                <a:cubicBezTo>
                  <a:pt x="131" y="57"/>
                  <a:pt x="121" y="48"/>
                  <a:pt x="109"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0" name="TextBox 9"/>
          <p:cNvSpPr txBox="1"/>
          <p:nvPr/>
        </p:nvSpPr>
        <p:spPr>
          <a:xfrm>
            <a:off x="4068811" y="4309689"/>
            <a:ext cx="1627753" cy="369332"/>
          </a:xfrm>
          <a:prstGeom prst="rect">
            <a:avLst/>
          </a:prstGeom>
          <a:noFill/>
        </p:spPr>
        <p:txBody>
          <a:bodyPr wrap="none" lIns="0" rIns="0" rtlCol="0">
            <a:spAutoFit/>
          </a:bodyPr>
          <a:lstStyle/>
          <a:p>
            <a:r>
              <a:rPr lang="en-US" b="1" dirty="0">
                <a:latin typeface="RBC Display" panose="02000000000000000000" pitchFamily="2" charset="77"/>
                <a:ea typeface="Open Sans" charset="0"/>
                <a:cs typeface="Open Sans" charset="0"/>
              </a:rPr>
              <a:t>Digital Identity</a:t>
            </a:r>
          </a:p>
        </p:txBody>
      </p:sp>
      <p:sp>
        <p:nvSpPr>
          <p:cNvPr id="11" name="TextBox 10"/>
          <p:cNvSpPr txBox="1"/>
          <p:nvPr/>
        </p:nvSpPr>
        <p:spPr>
          <a:xfrm>
            <a:off x="4068811" y="4714581"/>
            <a:ext cx="2599384" cy="1033232"/>
          </a:xfrm>
          <a:prstGeom prst="rect">
            <a:avLst/>
          </a:prstGeom>
          <a:noFill/>
        </p:spPr>
        <p:txBody>
          <a:bodyPr wrap="square" lIns="0" rIns="0" rtlCol="0">
            <a:spAutoFit/>
          </a:bodyPr>
          <a:lstStyle/>
          <a:p>
            <a:pPr>
              <a:lnSpc>
                <a:spcPct val="130000"/>
              </a:lnSpc>
            </a:pPr>
            <a:r>
              <a:rPr lang="en-US" sz="1200" dirty="0" err="1">
                <a:solidFill>
                  <a:schemeClr val="tx1">
                    <a:alpha val="70000"/>
                  </a:schemeClr>
                </a:solidFill>
                <a:latin typeface="RBC Text" panose="02000000000000000000" pitchFamily="2" charset="77"/>
              </a:rPr>
              <a:t>Sed</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t</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perspiciat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nd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omn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ist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natus</a:t>
            </a:r>
            <a:r>
              <a:rPr lang="en-US" sz="1200" dirty="0">
                <a:solidFill>
                  <a:schemeClr val="tx1">
                    <a:alpha val="70000"/>
                  </a:schemeClr>
                </a:solidFill>
                <a:latin typeface="RBC Text" panose="02000000000000000000" pitchFamily="2" charset="77"/>
              </a:rPr>
              <a:t> error sit </a:t>
            </a:r>
            <a:r>
              <a:rPr lang="en-US" sz="1200" dirty="0" err="1">
                <a:solidFill>
                  <a:schemeClr val="tx1">
                    <a:alpha val="70000"/>
                  </a:schemeClr>
                </a:solidFill>
                <a:latin typeface="RBC Text" panose="02000000000000000000" pitchFamily="2" charset="77"/>
              </a:rPr>
              <a:t>voluptate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accusantiu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doloremqu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laudantium</a:t>
            </a:r>
            <a:r>
              <a:rPr lang="en-US" sz="1200" dirty="0">
                <a:solidFill>
                  <a:schemeClr val="tx1">
                    <a:alpha val="70000"/>
                  </a:schemeClr>
                </a:solidFill>
                <a:latin typeface="RBC Text" panose="02000000000000000000" pitchFamily="2" charset="77"/>
              </a:rPr>
              <a:t>.</a:t>
            </a:r>
          </a:p>
        </p:txBody>
      </p:sp>
      <p:sp>
        <p:nvSpPr>
          <p:cNvPr id="13" name="TextBox 12"/>
          <p:cNvSpPr txBox="1"/>
          <p:nvPr/>
        </p:nvSpPr>
        <p:spPr>
          <a:xfrm>
            <a:off x="7224606" y="4309689"/>
            <a:ext cx="1670073" cy="369332"/>
          </a:xfrm>
          <a:prstGeom prst="rect">
            <a:avLst/>
          </a:prstGeom>
          <a:noFill/>
        </p:spPr>
        <p:txBody>
          <a:bodyPr wrap="none" lIns="0" rIns="0" rtlCol="0">
            <a:spAutoFit/>
          </a:bodyPr>
          <a:lstStyle/>
          <a:p>
            <a:r>
              <a:rPr lang="en-US" b="1" dirty="0">
                <a:latin typeface="RBC Display" panose="02000000000000000000" pitchFamily="2" charset="77"/>
                <a:ea typeface="Open Sans" charset="0"/>
                <a:cs typeface="Open Sans" charset="0"/>
              </a:rPr>
              <a:t>Smart Contract</a:t>
            </a:r>
          </a:p>
        </p:txBody>
      </p:sp>
      <p:sp>
        <p:nvSpPr>
          <p:cNvPr id="14" name="TextBox 13"/>
          <p:cNvSpPr txBox="1"/>
          <p:nvPr/>
        </p:nvSpPr>
        <p:spPr>
          <a:xfrm>
            <a:off x="7224606" y="4714581"/>
            <a:ext cx="2599384" cy="1033232"/>
          </a:xfrm>
          <a:prstGeom prst="rect">
            <a:avLst/>
          </a:prstGeom>
          <a:noFill/>
        </p:spPr>
        <p:txBody>
          <a:bodyPr wrap="square" lIns="0" rIns="0" rtlCol="0">
            <a:spAutoFit/>
          </a:bodyPr>
          <a:lstStyle/>
          <a:p>
            <a:pPr>
              <a:lnSpc>
                <a:spcPct val="130000"/>
              </a:lnSpc>
            </a:pPr>
            <a:r>
              <a:rPr lang="en-US" sz="1200" dirty="0" err="1">
                <a:solidFill>
                  <a:schemeClr val="tx1">
                    <a:alpha val="70000"/>
                  </a:schemeClr>
                </a:solidFill>
                <a:latin typeface="RBC Text" panose="02000000000000000000" pitchFamily="2" charset="77"/>
              </a:rPr>
              <a:t>Sed</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t</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perspiciat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nd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omn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ist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natus</a:t>
            </a:r>
            <a:r>
              <a:rPr lang="en-US" sz="1200" dirty="0">
                <a:solidFill>
                  <a:schemeClr val="tx1">
                    <a:alpha val="70000"/>
                  </a:schemeClr>
                </a:solidFill>
                <a:latin typeface="RBC Text" panose="02000000000000000000" pitchFamily="2" charset="77"/>
              </a:rPr>
              <a:t> error sit </a:t>
            </a:r>
            <a:r>
              <a:rPr lang="en-US" sz="1200" dirty="0" err="1">
                <a:solidFill>
                  <a:schemeClr val="tx1">
                    <a:alpha val="70000"/>
                  </a:schemeClr>
                </a:solidFill>
                <a:latin typeface="RBC Text" panose="02000000000000000000" pitchFamily="2" charset="77"/>
              </a:rPr>
              <a:t>voluptate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accusantiu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doloremqu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laudantium</a:t>
            </a:r>
            <a:r>
              <a:rPr lang="en-US" sz="1200" dirty="0">
                <a:solidFill>
                  <a:schemeClr val="tx1">
                    <a:alpha val="70000"/>
                  </a:schemeClr>
                </a:solidFill>
                <a:latin typeface="RBC Text" panose="02000000000000000000" pitchFamily="2" charset="77"/>
              </a:rPr>
              <a:t>.</a:t>
            </a:r>
          </a:p>
        </p:txBody>
      </p:sp>
      <p:sp>
        <p:nvSpPr>
          <p:cNvPr id="15" name="Text Placeholder 6">
            <a:extLst>
              <a:ext uri="{FF2B5EF4-FFF2-40B4-BE49-F238E27FC236}">
                <a16:creationId xmlns:a16="http://schemas.microsoft.com/office/drawing/2014/main" id="{24587DA1-C24D-7C42-BCE4-30FEE74D6239}"/>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20370441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p:txBody>
          <a:bodyPr/>
          <a:lstStyle/>
          <a:p>
            <a:endParaRPr lang="en-CA"/>
          </a:p>
        </p:txBody>
      </p:sp>
      <p:sp>
        <p:nvSpPr>
          <p:cNvPr id="25" name="Rectangle 24"/>
          <p:cNvSpPr/>
          <p:nvPr/>
        </p:nvSpPr>
        <p:spPr>
          <a:xfrm>
            <a:off x="203200" y="26670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8" name="AutoShape 2"/>
          <p:cNvSpPr>
            <a:spLocks/>
          </p:cNvSpPr>
          <p:nvPr/>
        </p:nvSpPr>
        <p:spPr bwMode="auto">
          <a:xfrm>
            <a:off x="1149511" y="2421963"/>
            <a:ext cx="1800000" cy="1800000"/>
          </a:xfrm>
          <a:prstGeom prst="ellipse">
            <a:avLst/>
          </a:prstGeom>
          <a:solidFill>
            <a:schemeClr val="tx1"/>
          </a:solidFill>
          <a:ln>
            <a:noFill/>
          </a:ln>
        </p:spPr>
        <p:txBody>
          <a:bodyPr lIns="0" tIns="0" rIns="0" bIns="0" anchor="ctr"/>
          <a:lstStyle/>
          <a:p>
            <a:pPr algn="ctr"/>
            <a:endParaRPr lang="en-US" sz="1600" dirty="0">
              <a:solidFill>
                <a:srgbClr val="FFFFFF"/>
              </a:solidFill>
              <a:latin typeface="Titillium" charset="0"/>
              <a:ea typeface="Titillium" charset="0"/>
              <a:cs typeface="Titillium" charset="0"/>
            </a:endParaRPr>
          </a:p>
        </p:txBody>
      </p:sp>
      <p:sp>
        <p:nvSpPr>
          <p:cNvPr id="26" name="AutoShape 2"/>
          <p:cNvSpPr>
            <a:spLocks/>
          </p:cNvSpPr>
          <p:nvPr/>
        </p:nvSpPr>
        <p:spPr bwMode="auto">
          <a:xfrm>
            <a:off x="4174210" y="2421963"/>
            <a:ext cx="1800000" cy="1800000"/>
          </a:xfrm>
          <a:prstGeom prst="ellipse">
            <a:avLst/>
          </a:prstGeom>
          <a:solidFill>
            <a:schemeClr val="tx1"/>
          </a:solidFill>
          <a:ln>
            <a:noFill/>
          </a:ln>
        </p:spPr>
        <p:txBody>
          <a:bodyPr lIns="0" tIns="0" rIns="0" bIns="0" anchor="ctr"/>
          <a:lstStyle/>
          <a:p>
            <a:pPr algn="ctr"/>
            <a:endParaRPr lang="en-US" sz="1600" dirty="0">
              <a:solidFill>
                <a:srgbClr val="FFFFFF"/>
              </a:solidFill>
              <a:latin typeface="Titillium" charset="0"/>
              <a:ea typeface="Titillium" charset="0"/>
              <a:cs typeface="Titillium" charset="0"/>
            </a:endParaRPr>
          </a:p>
        </p:txBody>
      </p:sp>
      <p:sp>
        <p:nvSpPr>
          <p:cNvPr id="27" name="AutoShape 2"/>
          <p:cNvSpPr>
            <a:spLocks/>
          </p:cNvSpPr>
          <p:nvPr/>
        </p:nvSpPr>
        <p:spPr bwMode="auto">
          <a:xfrm>
            <a:off x="7213382" y="2421963"/>
            <a:ext cx="1800000" cy="1800000"/>
          </a:xfrm>
          <a:prstGeom prst="ellipse">
            <a:avLst/>
          </a:prstGeom>
          <a:solidFill>
            <a:schemeClr val="tx1"/>
          </a:solidFill>
          <a:ln>
            <a:noFill/>
          </a:ln>
        </p:spPr>
        <p:txBody>
          <a:bodyPr lIns="0" tIns="0" rIns="0" bIns="0" anchor="ctr"/>
          <a:lstStyle/>
          <a:p>
            <a:pPr algn="ctr"/>
            <a:endParaRPr lang="en-US" sz="1600" dirty="0">
              <a:solidFill>
                <a:srgbClr val="FFFFFF"/>
              </a:solidFill>
              <a:latin typeface="Titillium" charset="0"/>
              <a:ea typeface="Titillium" charset="0"/>
              <a:cs typeface="Titillium" charset="0"/>
            </a:endParaRPr>
          </a:p>
        </p:txBody>
      </p:sp>
      <p:sp>
        <p:nvSpPr>
          <p:cNvPr id="29" name="Freeform 1098">
            <a:extLst>
              <a:ext uri="{FF2B5EF4-FFF2-40B4-BE49-F238E27FC236}">
                <a16:creationId xmlns:a16="http://schemas.microsoft.com/office/drawing/2014/main" id="{86EE3BE9-8060-4E5B-9D73-6C0637F7E30F}"/>
              </a:ext>
            </a:extLst>
          </p:cNvPr>
          <p:cNvSpPr>
            <a:spLocks noEditPoints="1"/>
          </p:cNvSpPr>
          <p:nvPr/>
        </p:nvSpPr>
        <p:spPr bwMode="auto">
          <a:xfrm>
            <a:off x="1716836" y="3001965"/>
            <a:ext cx="602457" cy="607695"/>
          </a:xfrm>
          <a:custGeom>
            <a:avLst/>
            <a:gdLst>
              <a:gd name="T0" fmla="*/ 48 w 160"/>
              <a:gd name="T1" fmla="*/ 78 h 160"/>
              <a:gd name="T2" fmla="*/ 38 w 160"/>
              <a:gd name="T3" fmla="*/ 74 h 160"/>
              <a:gd name="T4" fmla="*/ 156 w 160"/>
              <a:gd name="T5" fmla="*/ 77 h 160"/>
              <a:gd name="T6" fmla="*/ 150 w 160"/>
              <a:gd name="T7" fmla="*/ 73 h 160"/>
              <a:gd name="T8" fmla="*/ 141 w 160"/>
              <a:gd name="T9" fmla="*/ 72 h 160"/>
              <a:gd name="T10" fmla="*/ 50 w 160"/>
              <a:gd name="T11" fmla="*/ 33 h 160"/>
              <a:gd name="T12" fmla="*/ 16 w 160"/>
              <a:gd name="T13" fmla="*/ 40 h 160"/>
              <a:gd name="T14" fmla="*/ 16 w 160"/>
              <a:gd name="T15" fmla="*/ 80 h 160"/>
              <a:gd name="T16" fmla="*/ 13 w 160"/>
              <a:gd name="T17" fmla="*/ 122 h 160"/>
              <a:gd name="T18" fmla="*/ 21 w 160"/>
              <a:gd name="T19" fmla="*/ 155 h 160"/>
              <a:gd name="T20" fmla="*/ 54 w 160"/>
              <a:gd name="T21" fmla="*/ 154 h 160"/>
              <a:gd name="T22" fmla="*/ 112 w 160"/>
              <a:gd name="T23" fmla="*/ 160 h 160"/>
              <a:gd name="T24" fmla="*/ 135 w 160"/>
              <a:gd name="T25" fmla="*/ 136 h 160"/>
              <a:gd name="T26" fmla="*/ 143 w 160"/>
              <a:gd name="T27" fmla="*/ 90 h 160"/>
              <a:gd name="T28" fmla="*/ 136 w 160"/>
              <a:gd name="T29" fmla="*/ 83 h 160"/>
              <a:gd name="T30" fmla="*/ 138 w 160"/>
              <a:gd name="T31" fmla="*/ 79 h 160"/>
              <a:gd name="T32" fmla="*/ 139 w 160"/>
              <a:gd name="T33" fmla="*/ 78 h 160"/>
              <a:gd name="T34" fmla="*/ 149 w 160"/>
              <a:gd name="T35" fmla="*/ 84 h 160"/>
              <a:gd name="T36" fmla="*/ 110 w 160"/>
              <a:gd name="T37" fmla="*/ 43 h 160"/>
              <a:gd name="T38" fmla="*/ 101 w 160"/>
              <a:gd name="T39" fmla="*/ 51 h 160"/>
              <a:gd name="T40" fmla="*/ 90 w 160"/>
              <a:gd name="T41" fmla="*/ 49 h 160"/>
              <a:gd name="T42" fmla="*/ 81 w 160"/>
              <a:gd name="T43" fmla="*/ 49 h 160"/>
              <a:gd name="T44" fmla="*/ 70 w 160"/>
              <a:gd name="T45" fmla="*/ 52 h 160"/>
              <a:gd name="T46" fmla="*/ 63 w 160"/>
              <a:gd name="T47" fmla="*/ 52 h 160"/>
              <a:gd name="T48" fmla="*/ 57 w 160"/>
              <a:gd name="T49" fmla="*/ 42 h 160"/>
              <a:gd name="T50" fmla="*/ 48 w 160"/>
              <a:gd name="T51" fmla="*/ 155 h 160"/>
              <a:gd name="T52" fmla="*/ 27 w 160"/>
              <a:gd name="T53" fmla="*/ 140 h 160"/>
              <a:gd name="T54" fmla="*/ 128 w 160"/>
              <a:gd name="T55" fmla="*/ 155 h 160"/>
              <a:gd name="T56" fmla="*/ 131 w 160"/>
              <a:gd name="T57" fmla="*/ 140 h 160"/>
              <a:gd name="T58" fmla="*/ 128 w 160"/>
              <a:gd name="T59" fmla="*/ 136 h 160"/>
              <a:gd name="T60" fmla="*/ 120 w 160"/>
              <a:gd name="T61" fmla="*/ 142 h 160"/>
              <a:gd name="T62" fmla="*/ 110 w 160"/>
              <a:gd name="T63" fmla="*/ 147 h 160"/>
              <a:gd name="T64" fmla="*/ 82 w 160"/>
              <a:gd name="T65" fmla="*/ 153 h 160"/>
              <a:gd name="T66" fmla="*/ 19 w 160"/>
              <a:gd name="T67" fmla="*/ 117 h 160"/>
              <a:gd name="T68" fmla="*/ 13 w 160"/>
              <a:gd name="T69" fmla="*/ 85 h 160"/>
              <a:gd name="T70" fmla="*/ 32 w 160"/>
              <a:gd name="T71" fmla="*/ 59 h 160"/>
              <a:gd name="T72" fmla="*/ 44 w 160"/>
              <a:gd name="T73" fmla="*/ 48 h 160"/>
              <a:gd name="T74" fmla="*/ 55 w 160"/>
              <a:gd name="T75" fmla="*/ 50 h 160"/>
              <a:gd name="T76" fmla="*/ 60 w 160"/>
              <a:gd name="T77" fmla="*/ 56 h 160"/>
              <a:gd name="T78" fmla="*/ 57 w 160"/>
              <a:gd name="T79" fmla="*/ 65 h 160"/>
              <a:gd name="T80" fmla="*/ 69 w 160"/>
              <a:gd name="T81" fmla="*/ 58 h 160"/>
              <a:gd name="T82" fmla="*/ 76 w 160"/>
              <a:gd name="T83" fmla="*/ 56 h 160"/>
              <a:gd name="T84" fmla="*/ 100 w 160"/>
              <a:gd name="T85" fmla="*/ 57 h 160"/>
              <a:gd name="T86" fmla="*/ 116 w 160"/>
              <a:gd name="T87" fmla="*/ 65 h 160"/>
              <a:gd name="T88" fmla="*/ 111 w 160"/>
              <a:gd name="T89" fmla="*/ 53 h 160"/>
              <a:gd name="T90" fmla="*/ 113 w 160"/>
              <a:gd name="T91" fmla="*/ 49 h 160"/>
              <a:gd name="T92" fmla="*/ 132 w 160"/>
              <a:gd name="T93" fmla="*/ 79 h 160"/>
              <a:gd name="T94" fmla="*/ 130 w 160"/>
              <a:gd name="T95" fmla="*/ 84 h 160"/>
              <a:gd name="T96" fmla="*/ 132 w 160"/>
              <a:gd name="T97" fmla="*/ 89 h 160"/>
              <a:gd name="T98" fmla="*/ 134 w 160"/>
              <a:gd name="T99" fmla="*/ 93 h 160"/>
              <a:gd name="T100" fmla="*/ 138 w 160"/>
              <a:gd name="T101" fmla="*/ 95 h 160"/>
              <a:gd name="T102" fmla="*/ 141 w 160"/>
              <a:gd name="T103" fmla="*/ 104 h 160"/>
              <a:gd name="T104" fmla="*/ 154 w 160"/>
              <a:gd name="T105" fmla="*/ 86 h 160"/>
              <a:gd name="T106" fmla="*/ 72 w 160"/>
              <a:gd name="T107" fmla="*/ 50 h 160"/>
              <a:gd name="T108" fmla="*/ 84 w 160"/>
              <a:gd name="T109" fmla="*/ 15 h 160"/>
              <a:gd name="T110" fmla="*/ 99 w 160"/>
              <a:gd name="T111" fmla="*/ 49 h 160"/>
              <a:gd name="T112" fmla="*/ 70 w 160"/>
              <a:gd name="T113" fmla="*/ 50 h 160"/>
              <a:gd name="T114" fmla="*/ 50 w 160"/>
              <a:gd name="T115" fmla="*/ 141 h 160"/>
              <a:gd name="T116" fmla="*/ 85 w 160"/>
              <a:gd name="T117" fmla="*/ 14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60">
                <a:moveTo>
                  <a:pt x="38" y="69"/>
                </a:moveTo>
                <a:cubicBezTo>
                  <a:pt x="33" y="69"/>
                  <a:pt x="29" y="73"/>
                  <a:pt x="29" y="78"/>
                </a:cubicBezTo>
                <a:cubicBezTo>
                  <a:pt x="29" y="84"/>
                  <a:pt x="33" y="88"/>
                  <a:pt x="38" y="88"/>
                </a:cubicBezTo>
                <a:cubicBezTo>
                  <a:pt x="44" y="88"/>
                  <a:pt x="48" y="84"/>
                  <a:pt x="48" y="78"/>
                </a:cubicBezTo>
                <a:cubicBezTo>
                  <a:pt x="48" y="73"/>
                  <a:pt x="44" y="69"/>
                  <a:pt x="38" y="69"/>
                </a:cubicBezTo>
                <a:close/>
                <a:moveTo>
                  <a:pt x="38" y="82"/>
                </a:moveTo>
                <a:cubicBezTo>
                  <a:pt x="36" y="82"/>
                  <a:pt x="34" y="81"/>
                  <a:pt x="34" y="78"/>
                </a:cubicBezTo>
                <a:cubicBezTo>
                  <a:pt x="34" y="76"/>
                  <a:pt x="36" y="74"/>
                  <a:pt x="38" y="74"/>
                </a:cubicBezTo>
                <a:cubicBezTo>
                  <a:pt x="41" y="74"/>
                  <a:pt x="42" y="76"/>
                  <a:pt x="42" y="78"/>
                </a:cubicBezTo>
                <a:cubicBezTo>
                  <a:pt x="42" y="81"/>
                  <a:pt x="41" y="82"/>
                  <a:pt x="38" y="82"/>
                </a:cubicBezTo>
                <a:close/>
                <a:moveTo>
                  <a:pt x="160" y="88"/>
                </a:moveTo>
                <a:cubicBezTo>
                  <a:pt x="160" y="84"/>
                  <a:pt x="158" y="80"/>
                  <a:pt x="156" y="77"/>
                </a:cubicBezTo>
                <a:cubicBezTo>
                  <a:pt x="156" y="74"/>
                  <a:pt x="155" y="71"/>
                  <a:pt x="154" y="68"/>
                </a:cubicBezTo>
                <a:cubicBezTo>
                  <a:pt x="154" y="67"/>
                  <a:pt x="152" y="66"/>
                  <a:pt x="151" y="67"/>
                </a:cubicBezTo>
                <a:cubicBezTo>
                  <a:pt x="149" y="67"/>
                  <a:pt x="149" y="69"/>
                  <a:pt x="149" y="70"/>
                </a:cubicBezTo>
                <a:cubicBezTo>
                  <a:pt x="150" y="71"/>
                  <a:pt x="150" y="72"/>
                  <a:pt x="150" y="73"/>
                </a:cubicBezTo>
                <a:cubicBezTo>
                  <a:pt x="148" y="72"/>
                  <a:pt x="146" y="72"/>
                  <a:pt x="144" y="72"/>
                </a:cubicBezTo>
                <a:cubicBezTo>
                  <a:pt x="144" y="72"/>
                  <a:pt x="144" y="72"/>
                  <a:pt x="143" y="72"/>
                </a:cubicBezTo>
                <a:cubicBezTo>
                  <a:pt x="143" y="72"/>
                  <a:pt x="143" y="72"/>
                  <a:pt x="142" y="72"/>
                </a:cubicBezTo>
                <a:cubicBezTo>
                  <a:pt x="142" y="72"/>
                  <a:pt x="141" y="72"/>
                  <a:pt x="141" y="72"/>
                </a:cubicBezTo>
                <a:cubicBezTo>
                  <a:pt x="136" y="60"/>
                  <a:pt x="127" y="50"/>
                  <a:pt x="115" y="44"/>
                </a:cubicBezTo>
                <a:cubicBezTo>
                  <a:pt x="117" y="40"/>
                  <a:pt x="117" y="37"/>
                  <a:pt x="117" y="33"/>
                </a:cubicBezTo>
                <a:cubicBezTo>
                  <a:pt x="117" y="15"/>
                  <a:pt x="102" y="0"/>
                  <a:pt x="84" y="0"/>
                </a:cubicBezTo>
                <a:cubicBezTo>
                  <a:pt x="65" y="0"/>
                  <a:pt x="50" y="15"/>
                  <a:pt x="50" y="33"/>
                </a:cubicBezTo>
                <a:cubicBezTo>
                  <a:pt x="50" y="36"/>
                  <a:pt x="51" y="38"/>
                  <a:pt x="51" y="41"/>
                </a:cubicBezTo>
                <a:cubicBezTo>
                  <a:pt x="49" y="41"/>
                  <a:pt x="47" y="42"/>
                  <a:pt x="45" y="43"/>
                </a:cubicBezTo>
                <a:cubicBezTo>
                  <a:pt x="33" y="38"/>
                  <a:pt x="26" y="37"/>
                  <a:pt x="19" y="37"/>
                </a:cubicBezTo>
                <a:cubicBezTo>
                  <a:pt x="17" y="38"/>
                  <a:pt x="16" y="39"/>
                  <a:pt x="16" y="40"/>
                </a:cubicBezTo>
                <a:cubicBezTo>
                  <a:pt x="16" y="42"/>
                  <a:pt x="16" y="44"/>
                  <a:pt x="18" y="44"/>
                </a:cubicBezTo>
                <a:cubicBezTo>
                  <a:pt x="21" y="46"/>
                  <a:pt x="23" y="50"/>
                  <a:pt x="25" y="55"/>
                </a:cubicBezTo>
                <a:cubicBezTo>
                  <a:pt x="25" y="56"/>
                  <a:pt x="25" y="57"/>
                  <a:pt x="26" y="58"/>
                </a:cubicBezTo>
                <a:cubicBezTo>
                  <a:pt x="19" y="65"/>
                  <a:pt x="18" y="71"/>
                  <a:pt x="16" y="80"/>
                </a:cubicBezTo>
                <a:cubicBezTo>
                  <a:pt x="13" y="80"/>
                  <a:pt x="13" y="80"/>
                  <a:pt x="13" y="80"/>
                </a:cubicBezTo>
                <a:cubicBezTo>
                  <a:pt x="5" y="80"/>
                  <a:pt x="0" y="86"/>
                  <a:pt x="0" y="96"/>
                </a:cubicBezTo>
                <a:cubicBezTo>
                  <a:pt x="0" y="106"/>
                  <a:pt x="0" y="106"/>
                  <a:pt x="0" y="106"/>
                </a:cubicBezTo>
                <a:cubicBezTo>
                  <a:pt x="0" y="116"/>
                  <a:pt x="5" y="122"/>
                  <a:pt x="13" y="122"/>
                </a:cubicBezTo>
                <a:cubicBezTo>
                  <a:pt x="15" y="122"/>
                  <a:pt x="15" y="122"/>
                  <a:pt x="15" y="122"/>
                </a:cubicBezTo>
                <a:cubicBezTo>
                  <a:pt x="17" y="127"/>
                  <a:pt x="20" y="132"/>
                  <a:pt x="23" y="136"/>
                </a:cubicBezTo>
                <a:cubicBezTo>
                  <a:pt x="20" y="145"/>
                  <a:pt x="20" y="145"/>
                  <a:pt x="20" y="145"/>
                </a:cubicBezTo>
                <a:cubicBezTo>
                  <a:pt x="18" y="148"/>
                  <a:pt x="19" y="152"/>
                  <a:pt x="21" y="155"/>
                </a:cubicBezTo>
                <a:cubicBezTo>
                  <a:pt x="23" y="158"/>
                  <a:pt x="26" y="160"/>
                  <a:pt x="30" y="160"/>
                </a:cubicBezTo>
                <a:cubicBezTo>
                  <a:pt x="48" y="160"/>
                  <a:pt x="48" y="160"/>
                  <a:pt x="48" y="160"/>
                </a:cubicBezTo>
                <a:cubicBezTo>
                  <a:pt x="50" y="160"/>
                  <a:pt x="52" y="159"/>
                  <a:pt x="53" y="157"/>
                </a:cubicBezTo>
                <a:cubicBezTo>
                  <a:pt x="54" y="154"/>
                  <a:pt x="54" y="154"/>
                  <a:pt x="54" y="154"/>
                </a:cubicBezTo>
                <a:cubicBezTo>
                  <a:pt x="62" y="157"/>
                  <a:pt x="72" y="158"/>
                  <a:pt x="82" y="158"/>
                </a:cubicBezTo>
                <a:cubicBezTo>
                  <a:pt x="90" y="158"/>
                  <a:pt x="98" y="157"/>
                  <a:pt x="105" y="155"/>
                </a:cubicBezTo>
                <a:cubicBezTo>
                  <a:pt x="105" y="155"/>
                  <a:pt x="105" y="155"/>
                  <a:pt x="105" y="155"/>
                </a:cubicBezTo>
                <a:cubicBezTo>
                  <a:pt x="106" y="158"/>
                  <a:pt x="108" y="160"/>
                  <a:pt x="112" y="160"/>
                </a:cubicBezTo>
                <a:cubicBezTo>
                  <a:pt x="128" y="160"/>
                  <a:pt x="128" y="160"/>
                  <a:pt x="128" y="160"/>
                </a:cubicBezTo>
                <a:cubicBezTo>
                  <a:pt x="131" y="160"/>
                  <a:pt x="135" y="158"/>
                  <a:pt x="137" y="155"/>
                </a:cubicBezTo>
                <a:cubicBezTo>
                  <a:pt x="139" y="152"/>
                  <a:pt x="140" y="148"/>
                  <a:pt x="139" y="145"/>
                </a:cubicBezTo>
                <a:cubicBezTo>
                  <a:pt x="135" y="136"/>
                  <a:pt x="135" y="136"/>
                  <a:pt x="135" y="136"/>
                </a:cubicBezTo>
                <a:cubicBezTo>
                  <a:pt x="143" y="127"/>
                  <a:pt x="146" y="116"/>
                  <a:pt x="146" y="104"/>
                </a:cubicBezTo>
                <a:cubicBezTo>
                  <a:pt x="146" y="104"/>
                  <a:pt x="146" y="104"/>
                  <a:pt x="146" y="104"/>
                </a:cubicBezTo>
                <a:cubicBezTo>
                  <a:pt x="154" y="102"/>
                  <a:pt x="160" y="96"/>
                  <a:pt x="160" y="88"/>
                </a:cubicBezTo>
                <a:close/>
                <a:moveTo>
                  <a:pt x="143" y="90"/>
                </a:moveTo>
                <a:cubicBezTo>
                  <a:pt x="143" y="90"/>
                  <a:pt x="143" y="90"/>
                  <a:pt x="143" y="90"/>
                </a:cubicBezTo>
                <a:cubicBezTo>
                  <a:pt x="143" y="90"/>
                  <a:pt x="143" y="90"/>
                  <a:pt x="142" y="90"/>
                </a:cubicBezTo>
                <a:cubicBezTo>
                  <a:pt x="139" y="90"/>
                  <a:pt x="136" y="87"/>
                  <a:pt x="136" y="84"/>
                </a:cubicBezTo>
                <a:cubicBezTo>
                  <a:pt x="136" y="83"/>
                  <a:pt x="136" y="83"/>
                  <a:pt x="136" y="83"/>
                </a:cubicBezTo>
                <a:cubicBezTo>
                  <a:pt x="136" y="82"/>
                  <a:pt x="136" y="82"/>
                  <a:pt x="136" y="82"/>
                </a:cubicBezTo>
                <a:cubicBezTo>
                  <a:pt x="136" y="82"/>
                  <a:pt x="136" y="82"/>
                  <a:pt x="136" y="81"/>
                </a:cubicBezTo>
                <a:cubicBezTo>
                  <a:pt x="136" y="81"/>
                  <a:pt x="136" y="81"/>
                  <a:pt x="136" y="81"/>
                </a:cubicBezTo>
                <a:cubicBezTo>
                  <a:pt x="137" y="80"/>
                  <a:pt x="137" y="80"/>
                  <a:pt x="138" y="79"/>
                </a:cubicBezTo>
                <a:cubicBezTo>
                  <a:pt x="138" y="79"/>
                  <a:pt x="138" y="79"/>
                  <a:pt x="138" y="79"/>
                </a:cubicBezTo>
                <a:cubicBezTo>
                  <a:pt x="138" y="79"/>
                  <a:pt x="138" y="79"/>
                  <a:pt x="139" y="78"/>
                </a:cubicBezTo>
                <a:cubicBezTo>
                  <a:pt x="139" y="78"/>
                  <a:pt x="139" y="78"/>
                  <a:pt x="139" y="78"/>
                </a:cubicBezTo>
                <a:cubicBezTo>
                  <a:pt x="139" y="78"/>
                  <a:pt x="139" y="78"/>
                  <a:pt x="139" y="78"/>
                </a:cubicBezTo>
                <a:cubicBezTo>
                  <a:pt x="140" y="78"/>
                  <a:pt x="140" y="78"/>
                  <a:pt x="140" y="78"/>
                </a:cubicBezTo>
                <a:cubicBezTo>
                  <a:pt x="140" y="78"/>
                  <a:pt x="140" y="78"/>
                  <a:pt x="140" y="78"/>
                </a:cubicBezTo>
                <a:cubicBezTo>
                  <a:pt x="141" y="77"/>
                  <a:pt x="142" y="77"/>
                  <a:pt x="142" y="77"/>
                </a:cubicBezTo>
                <a:cubicBezTo>
                  <a:pt x="146" y="77"/>
                  <a:pt x="149" y="80"/>
                  <a:pt x="149" y="84"/>
                </a:cubicBezTo>
                <a:cubicBezTo>
                  <a:pt x="149" y="87"/>
                  <a:pt x="147" y="90"/>
                  <a:pt x="143" y="90"/>
                </a:cubicBezTo>
                <a:close/>
                <a:moveTo>
                  <a:pt x="84" y="5"/>
                </a:moveTo>
                <a:cubicBezTo>
                  <a:pt x="99" y="5"/>
                  <a:pt x="112" y="18"/>
                  <a:pt x="112" y="33"/>
                </a:cubicBezTo>
                <a:cubicBezTo>
                  <a:pt x="112" y="37"/>
                  <a:pt x="111" y="40"/>
                  <a:pt x="110" y="43"/>
                </a:cubicBezTo>
                <a:cubicBezTo>
                  <a:pt x="110" y="44"/>
                  <a:pt x="110" y="44"/>
                  <a:pt x="110" y="44"/>
                </a:cubicBezTo>
                <a:cubicBezTo>
                  <a:pt x="108" y="47"/>
                  <a:pt x="106" y="50"/>
                  <a:pt x="104" y="53"/>
                </a:cubicBezTo>
                <a:cubicBezTo>
                  <a:pt x="104" y="52"/>
                  <a:pt x="103" y="52"/>
                  <a:pt x="103" y="52"/>
                </a:cubicBezTo>
                <a:cubicBezTo>
                  <a:pt x="102" y="52"/>
                  <a:pt x="101" y="52"/>
                  <a:pt x="101" y="51"/>
                </a:cubicBezTo>
                <a:cubicBezTo>
                  <a:pt x="100" y="51"/>
                  <a:pt x="99" y="51"/>
                  <a:pt x="99" y="51"/>
                </a:cubicBezTo>
                <a:cubicBezTo>
                  <a:pt x="98" y="50"/>
                  <a:pt x="97" y="50"/>
                  <a:pt x="96" y="50"/>
                </a:cubicBezTo>
                <a:cubicBezTo>
                  <a:pt x="95" y="50"/>
                  <a:pt x="94" y="49"/>
                  <a:pt x="92" y="49"/>
                </a:cubicBezTo>
                <a:cubicBezTo>
                  <a:pt x="91" y="49"/>
                  <a:pt x="91" y="49"/>
                  <a:pt x="90" y="49"/>
                </a:cubicBezTo>
                <a:cubicBezTo>
                  <a:pt x="89" y="49"/>
                  <a:pt x="88" y="49"/>
                  <a:pt x="88" y="49"/>
                </a:cubicBezTo>
                <a:cubicBezTo>
                  <a:pt x="87" y="49"/>
                  <a:pt x="86" y="49"/>
                  <a:pt x="86" y="49"/>
                </a:cubicBezTo>
                <a:cubicBezTo>
                  <a:pt x="85" y="49"/>
                  <a:pt x="84" y="49"/>
                  <a:pt x="83" y="49"/>
                </a:cubicBezTo>
                <a:cubicBezTo>
                  <a:pt x="82" y="49"/>
                  <a:pt x="82" y="49"/>
                  <a:pt x="81" y="49"/>
                </a:cubicBezTo>
                <a:cubicBezTo>
                  <a:pt x="80" y="49"/>
                  <a:pt x="80" y="49"/>
                  <a:pt x="79" y="49"/>
                </a:cubicBezTo>
                <a:cubicBezTo>
                  <a:pt x="78" y="50"/>
                  <a:pt x="77" y="50"/>
                  <a:pt x="76" y="50"/>
                </a:cubicBezTo>
                <a:cubicBezTo>
                  <a:pt x="75" y="50"/>
                  <a:pt x="75" y="50"/>
                  <a:pt x="74" y="50"/>
                </a:cubicBezTo>
                <a:cubicBezTo>
                  <a:pt x="73" y="51"/>
                  <a:pt x="72" y="51"/>
                  <a:pt x="70" y="52"/>
                </a:cubicBezTo>
                <a:cubicBezTo>
                  <a:pt x="70" y="52"/>
                  <a:pt x="69" y="52"/>
                  <a:pt x="69" y="52"/>
                </a:cubicBezTo>
                <a:cubicBezTo>
                  <a:pt x="68" y="53"/>
                  <a:pt x="67" y="53"/>
                  <a:pt x="66" y="54"/>
                </a:cubicBezTo>
                <a:cubicBezTo>
                  <a:pt x="66" y="54"/>
                  <a:pt x="65" y="54"/>
                  <a:pt x="65" y="54"/>
                </a:cubicBezTo>
                <a:cubicBezTo>
                  <a:pt x="64" y="54"/>
                  <a:pt x="64" y="53"/>
                  <a:pt x="63" y="52"/>
                </a:cubicBezTo>
                <a:cubicBezTo>
                  <a:pt x="63" y="52"/>
                  <a:pt x="63" y="52"/>
                  <a:pt x="62" y="51"/>
                </a:cubicBezTo>
                <a:cubicBezTo>
                  <a:pt x="62" y="51"/>
                  <a:pt x="61" y="50"/>
                  <a:pt x="61" y="49"/>
                </a:cubicBezTo>
                <a:cubicBezTo>
                  <a:pt x="60" y="49"/>
                  <a:pt x="60" y="49"/>
                  <a:pt x="60" y="49"/>
                </a:cubicBezTo>
                <a:cubicBezTo>
                  <a:pt x="59" y="47"/>
                  <a:pt x="58" y="44"/>
                  <a:pt x="57" y="42"/>
                </a:cubicBezTo>
                <a:cubicBezTo>
                  <a:pt x="57" y="41"/>
                  <a:pt x="57" y="41"/>
                  <a:pt x="57" y="41"/>
                </a:cubicBezTo>
                <a:cubicBezTo>
                  <a:pt x="56" y="39"/>
                  <a:pt x="56" y="36"/>
                  <a:pt x="56" y="33"/>
                </a:cubicBezTo>
                <a:cubicBezTo>
                  <a:pt x="56" y="18"/>
                  <a:pt x="68" y="5"/>
                  <a:pt x="84" y="5"/>
                </a:cubicBezTo>
                <a:close/>
                <a:moveTo>
                  <a:pt x="48" y="155"/>
                </a:moveTo>
                <a:cubicBezTo>
                  <a:pt x="30" y="155"/>
                  <a:pt x="30" y="155"/>
                  <a:pt x="30" y="155"/>
                </a:cubicBezTo>
                <a:cubicBezTo>
                  <a:pt x="28" y="155"/>
                  <a:pt x="26" y="154"/>
                  <a:pt x="25" y="152"/>
                </a:cubicBezTo>
                <a:cubicBezTo>
                  <a:pt x="24" y="151"/>
                  <a:pt x="24" y="149"/>
                  <a:pt x="25" y="147"/>
                </a:cubicBezTo>
                <a:cubicBezTo>
                  <a:pt x="27" y="140"/>
                  <a:pt x="27" y="140"/>
                  <a:pt x="27" y="140"/>
                </a:cubicBezTo>
                <a:cubicBezTo>
                  <a:pt x="33" y="145"/>
                  <a:pt x="40" y="149"/>
                  <a:pt x="49" y="152"/>
                </a:cubicBezTo>
                <a:lnTo>
                  <a:pt x="48" y="155"/>
                </a:lnTo>
                <a:close/>
                <a:moveTo>
                  <a:pt x="133" y="152"/>
                </a:moveTo>
                <a:cubicBezTo>
                  <a:pt x="132" y="154"/>
                  <a:pt x="130" y="155"/>
                  <a:pt x="128" y="155"/>
                </a:cubicBezTo>
                <a:cubicBezTo>
                  <a:pt x="112" y="155"/>
                  <a:pt x="112" y="155"/>
                  <a:pt x="112" y="155"/>
                </a:cubicBezTo>
                <a:cubicBezTo>
                  <a:pt x="111" y="155"/>
                  <a:pt x="110" y="154"/>
                  <a:pt x="110" y="153"/>
                </a:cubicBezTo>
                <a:cubicBezTo>
                  <a:pt x="110" y="153"/>
                  <a:pt x="110" y="153"/>
                  <a:pt x="110" y="153"/>
                </a:cubicBezTo>
                <a:cubicBezTo>
                  <a:pt x="118" y="150"/>
                  <a:pt x="126" y="146"/>
                  <a:pt x="131" y="140"/>
                </a:cubicBezTo>
                <a:cubicBezTo>
                  <a:pt x="134" y="146"/>
                  <a:pt x="134" y="146"/>
                  <a:pt x="134" y="146"/>
                </a:cubicBezTo>
                <a:cubicBezTo>
                  <a:pt x="134" y="148"/>
                  <a:pt x="134" y="150"/>
                  <a:pt x="133" y="152"/>
                </a:cubicBezTo>
                <a:close/>
                <a:moveTo>
                  <a:pt x="128" y="135"/>
                </a:moveTo>
                <a:cubicBezTo>
                  <a:pt x="128" y="136"/>
                  <a:pt x="128" y="136"/>
                  <a:pt x="128" y="136"/>
                </a:cubicBezTo>
                <a:cubicBezTo>
                  <a:pt x="127" y="137"/>
                  <a:pt x="126" y="138"/>
                  <a:pt x="125" y="139"/>
                </a:cubicBezTo>
                <a:cubicBezTo>
                  <a:pt x="125" y="139"/>
                  <a:pt x="124" y="139"/>
                  <a:pt x="124" y="139"/>
                </a:cubicBezTo>
                <a:cubicBezTo>
                  <a:pt x="123" y="140"/>
                  <a:pt x="122" y="141"/>
                  <a:pt x="121" y="141"/>
                </a:cubicBezTo>
                <a:cubicBezTo>
                  <a:pt x="121" y="142"/>
                  <a:pt x="120" y="142"/>
                  <a:pt x="120" y="142"/>
                </a:cubicBezTo>
                <a:cubicBezTo>
                  <a:pt x="119" y="143"/>
                  <a:pt x="118" y="144"/>
                  <a:pt x="116" y="145"/>
                </a:cubicBezTo>
                <a:cubicBezTo>
                  <a:pt x="116" y="145"/>
                  <a:pt x="115" y="145"/>
                  <a:pt x="115" y="145"/>
                </a:cubicBezTo>
                <a:cubicBezTo>
                  <a:pt x="114" y="146"/>
                  <a:pt x="113" y="146"/>
                  <a:pt x="112" y="147"/>
                </a:cubicBezTo>
                <a:cubicBezTo>
                  <a:pt x="111" y="147"/>
                  <a:pt x="111" y="147"/>
                  <a:pt x="110" y="147"/>
                </a:cubicBezTo>
                <a:cubicBezTo>
                  <a:pt x="109" y="148"/>
                  <a:pt x="108" y="148"/>
                  <a:pt x="107" y="149"/>
                </a:cubicBezTo>
                <a:cubicBezTo>
                  <a:pt x="106" y="149"/>
                  <a:pt x="106" y="149"/>
                  <a:pt x="106" y="149"/>
                </a:cubicBezTo>
                <a:cubicBezTo>
                  <a:pt x="106" y="149"/>
                  <a:pt x="106" y="149"/>
                  <a:pt x="106" y="149"/>
                </a:cubicBezTo>
                <a:cubicBezTo>
                  <a:pt x="98" y="151"/>
                  <a:pt x="90" y="153"/>
                  <a:pt x="82" y="153"/>
                </a:cubicBezTo>
                <a:cubicBezTo>
                  <a:pt x="71" y="153"/>
                  <a:pt x="61" y="151"/>
                  <a:pt x="52" y="148"/>
                </a:cubicBezTo>
                <a:cubicBezTo>
                  <a:pt x="51" y="147"/>
                  <a:pt x="50" y="147"/>
                  <a:pt x="50" y="147"/>
                </a:cubicBezTo>
                <a:cubicBezTo>
                  <a:pt x="35" y="141"/>
                  <a:pt x="23" y="131"/>
                  <a:pt x="19" y="119"/>
                </a:cubicBezTo>
                <a:cubicBezTo>
                  <a:pt x="19" y="117"/>
                  <a:pt x="19" y="117"/>
                  <a:pt x="19" y="117"/>
                </a:cubicBezTo>
                <a:cubicBezTo>
                  <a:pt x="13" y="117"/>
                  <a:pt x="13" y="117"/>
                  <a:pt x="13" y="117"/>
                </a:cubicBezTo>
                <a:cubicBezTo>
                  <a:pt x="7" y="117"/>
                  <a:pt x="5" y="111"/>
                  <a:pt x="5" y="106"/>
                </a:cubicBezTo>
                <a:cubicBezTo>
                  <a:pt x="5" y="96"/>
                  <a:pt x="5" y="96"/>
                  <a:pt x="5" y="96"/>
                </a:cubicBezTo>
                <a:cubicBezTo>
                  <a:pt x="5" y="85"/>
                  <a:pt x="11" y="85"/>
                  <a:pt x="13" y="85"/>
                </a:cubicBezTo>
                <a:cubicBezTo>
                  <a:pt x="21" y="85"/>
                  <a:pt x="21" y="85"/>
                  <a:pt x="21" y="85"/>
                </a:cubicBezTo>
                <a:cubicBezTo>
                  <a:pt x="21" y="83"/>
                  <a:pt x="21" y="83"/>
                  <a:pt x="21" y="83"/>
                </a:cubicBezTo>
                <a:cubicBezTo>
                  <a:pt x="23" y="73"/>
                  <a:pt x="24" y="68"/>
                  <a:pt x="31" y="61"/>
                </a:cubicBezTo>
                <a:cubicBezTo>
                  <a:pt x="32" y="59"/>
                  <a:pt x="32" y="59"/>
                  <a:pt x="32" y="59"/>
                </a:cubicBezTo>
                <a:cubicBezTo>
                  <a:pt x="32" y="58"/>
                  <a:pt x="32" y="58"/>
                  <a:pt x="32" y="58"/>
                </a:cubicBezTo>
                <a:cubicBezTo>
                  <a:pt x="31" y="56"/>
                  <a:pt x="30" y="55"/>
                  <a:pt x="30" y="53"/>
                </a:cubicBezTo>
                <a:cubicBezTo>
                  <a:pt x="28" y="49"/>
                  <a:pt x="27" y="45"/>
                  <a:pt x="24" y="43"/>
                </a:cubicBezTo>
                <a:cubicBezTo>
                  <a:pt x="29" y="43"/>
                  <a:pt x="36" y="45"/>
                  <a:pt x="44" y="48"/>
                </a:cubicBezTo>
                <a:cubicBezTo>
                  <a:pt x="45" y="49"/>
                  <a:pt x="45" y="49"/>
                  <a:pt x="45" y="49"/>
                </a:cubicBezTo>
                <a:cubicBezTo>
                  <a:pt x="46" y="48"/>
                  <a:pt x="46" y="48"/>
                  <a:pt x="46" y="48"/>
                </a:cubicBezTo>
                <a:cubicBezTo>
                  <a:pt x="48" y="48"/>
                  <a:pt x="50" y="47"/>
                  <a:pt x="53" y="46"/>
                </a:cubicBezTo>
                <a:cubicBezTo>
                  <a:pt x="53" y="47"/>
                  <a:pt x="54" y="48"/>
                  <a:pt x="55" y="50"/>
                </a:cubicBezTo>
                <a:cubicBezTo>
                  <a:pt x="55" y="50"/>
                  <a:pt x="55" y="50"/>
                  <a:pt x="55" y="50"/>
                </a:cubicBezTo>
                <a:cubicBezTo>
                  <a:pt x="56" y="51"/>
                  <a:pt x="56" y="52"/>
                  <a:pt x="57" y="53"/>
                </a:cubicBezTo>
                <a:cubicBezTo>
                  <a:pt x="57" y="53"/>
                  <a:pt x="57" y="53"/>
                  <a:pt x="57" y="54"/>
                </a:cubicBezTo>
                <a:cubicBezTo>
                  <a:pt x="58" y="55"/>
                  <a:pt x="59" y="55"/>
                  <a:pt x="60" y="56"/>
                </a:cubicBezTo>
                <a:cubicBezTo>
                  <a:pt x="60" y="56"/>
                  <a:pt x="60" y="57"/>
                  <a:pt x="60" y="57"/>
                </a:cubicBezTo>
                <a:cubicBezTo>
                  <a:pt x="60" y="57"/>
                  <a:pt x="61" y="57"/>
                  <a:pt x="61" y="57"/>
                </a:cubicBezTo>
                <a:cubicBezTo>
                  <a:pt x="59" y="58"/>
                  <a:pt x="58" y="60"/>
                  <a:pt x="57" y="61"/>
                </a:cubicBezTo>
                <a:cubicBezTo>
                  <a:pt x="56" y="62"/>
                  <a:pt x="56" y="64"/>
                  <a:pt x="57" y="65"/>
                </a:cubicBezTo>
                <a:cubicBezTo>
                  <a:pt x="58" y="66"/>
                  <a:pt x="59" y="66"/>
                  <a:pt x="60" y="65"/>
                </a:cubicBezTo>
                <a:cubicBezTo>
                  <a:pt x="62" y="63"/>
                  <a:pt x="64" y="61"/>
                  <a:pt x="66" y="60"/>
                </a:cubicBezTo>
                <a:cubicBezTo>
                  <a:pt x="66" y="60"/>
                  <a:pt x="66" y="60"/>
                  <a:pt x="66" y="60"/>
                </a:cubicBezTo>
                <a:cubicBezTo>
                  <a:pt x="67" y="59"/>
                  <a:pt x="68" y="59"/>
                  <a:pt x="69" y="58"/>
                </a:cubicBezTo>
                <a:cubicBezTo>
                  <a:pt x="69" y="58"/>
                  <a:pt x="70" y="58"/>
                  <a:pt x="70" y="58"/>
                </a:cubicBezTo>
                <a:cubicBezTo>
                  <a:pt x="71" y="58"/>
                  <a:pt x="71" y="57"/>
                  <a:pt x="72" y="57"/>
                </a:cubicBezTo>
                <a:cubicBezTo>
                  <a:pt x="72" y="57"/>
                  <a:pt x="72" y="57"/>
                  <a:pt x="73" y="57"/>
                </a:cubicBezTo>
                <a:cubicBezTo>
                  <a:pt x="74" y="56"/>
                  <a:pt x="75" y="56"/>
                  <a:pt x="76" y="56"/>
                </a:cubicBezTo>
                <a:cubicBezTo>
                  <a:pt x="76" y="56"/>
                  <a:pt x="76" y="55"/>
                  <a:pt x="76" y="55"/>
                </a:cubicBezTo>
                <a:cubicBezTo>
                  <a:pt x="77" y="55"/>
                  <a:pt x="78" y="55"/>
                  <a:pt x="79" y="55"/>
                </a:cubicBezTo>
                <a:cubicBezTo>
                  <a:pt x="79" y="55"/>
                  <a:pt x="79" y="55"/>
                  <a:pt x="79" y="55"/>
                </a:cubicBezTo>
                <a:cubicBezTo>
                  <a:pt x="86" y="53"/>
                  <a:pt x="93" y="54"/>
                  <a:pt x="100" y="57"/>
                </a:cubicBezTo>
                <a:cubicBezTo>
                  <a:pt x="100" y="57"/>
                  <a:pt x="100" y="57"/>
                  <a:pt x="100" y="57"/>
                </a:cubicBezTo>
                <a:cubicBezTo>
                  <a:pt x="105" y="59"/>
                  <a:pt x="109" y="61"/>
                  <a:pt x="112" y="65"/>
                </a:cubicBezTo>
                <a:cubicBezTo>
                  <a:pt x="113" y="65"/>
                  <a:pt x="113" y="66"/>
                  <a:pt x="114" y="66"/>
                </a:cubicBezTo>
                <a:cubicBezTo>
                  <a:pt x="115" y="66"/>
                  <a:pt x="115" y="65"/>
                  <a:pt x="116" y="65"/>
                </a:cubicBezTo>
                <a:cubicBezTo>
                  <a:pt x="117" y="64"/>
                  <a:pt x="117" y="62"/>
                  <a:pt x="116" y="61"/>
                </a:cubicBezTo>
                <a:cubicBezTo>
                  <a:pt x="114" y="59"/>
                  <a:pt x="111" y="57"/>
                  <a:pt x="109" y="55"/>
                </a:cubicBezTo>
                <a:cubicBezTo>
                  <a:pt x="109" y="55"/>
                  <a:pt x="109" y="55"/>
                  <a:pt x="109" y="54"/>
                </a:cubicBezTo>
                <a:cubicBezTo>
                  <a:pt x="110" y="54"/>
                  <a:pt x="110" y="54"/>
                  <a:pt x="111" y="53"/>
                </a:cubicBezTo>
                <a:cubicBezTo>
                  <a:pt x="111" y="53"/>
                  <a:pt x="111" y="52"/>
                  <a:pt x="111" y="52"/>
                </a:cubicBezTo>
                <a:cubicBezTo>
                  <a:pt x="112" y="51"/>
                  <a:pt x="112" y="51"/>
                  <a:pt x="112" y="51"/>
                </a:cubicBezTo>
                <a:cubicBezTo>
                  <a:pt x="113" y="50"/>
                  <a:pt x="113" y="50"/>
                  <a:pt x="113" y="49"/>
                </a:cubicBezTo>
                <a:cubicBezTo>
                  <a:pt x="113" y="49"/>
                  <a:pt x="113" y="49"/>
                  <a:pt x="113" y="49"/>
                </a:cubicBezTo>
                <a:cubicBezTo>
                  <a:pt x="124" y="55"/>
                  <a:pt x="131" y="63"/>
                  <a:pt x="136" y="74"/>
                </a:cubicBezTo>
                <a:cubicBezTo>
                  <a:pt x="135" y="74"/>
                  <a:pt x="135" y="75"/>
                  <a:pt x="134" y="75"/>
                </a:cubicBezTo>
                <a:cubicBezTo>
                  <a:pt x="134" y="75"/>
                  <a:pt x="134" y="75"/>
                  <a:pt x="134" y="75"/>
                </a:cubicBezTo>
                <a:cubicBezTo>
                  <a:pt x="133" y="76"/>
                  <a:pt x="132" y="78"/>
                  <a:pt x="132" y="79"/>
                </a:cubicBezTo>
                <a:cubicBezTo>
                  <a:pt x="131" y="79"/>
                  <a:pt x="131" y="79"/>
                  <a:pt x="131" y="79"/>
                </a:cubicBezTo>
                <a:cubicBezTo>
                  <a:pt x="131" y="80"/>
                  <a:pt x="131" y="80"/>
                  <a:pt x="131" y="81"/>
                </a:cubicBezTo>
                <a:cubicBezTo>
                  <a:pt x="131" y="81"/>
                  <a:pt x="131" y="81"/>
                  <a:pt x="131" y="82"/>
                </a:cubicBezTo>
                <a:cubicBezTo>
                  <a:pt x="131" y="82"/>
                  <a:pt x="130" y="83"/>
                  <a:pt x="130" y="84"/>
                </a:cubicBezTo>
                <a:cubicBezTo>
                  <a:pt x="130" y="85"/>
                  <a:pt x="131" y="85"/>
                  <a:pt x="131" y="86"/>
                </a:cubicBezTo>
                <a:cubicBezTo>
                  <a:pt x="131" y="86"/>
                  <a:pt x="131" y="87"/>
                  <a:pt x="131" y="87"/>
                </a:cubicBezTo>
                <a:cubicBezTo>
                  <a:pt x="131" y="87"/>
                  <a:pt x="131" y="88"/>
                  <a:pt x="131" y="88"/>
                </a:cubicBezTo>
                <a:cubicBezTo>
                  <a:pt x="131" y="89"/>
                  <a:pt x="132" y="89"/>
                  <a:pt x="132" y="89"/>
                </a:cubicBezTo>
                <a:cubicBezTo>
                  <a:pt x="132" y="89"/>
                  <a:pt x="132" y="90"/>
                  <a:pt x="132" y="90"/>
                </a:cubicBezTo>
                <a:cubicBezTo>
                  <a:pt x="133" y="90"/>
                  <a:pt x="133" y="91"/>
                  <a:pt x="133" y="91"/>
                </a:cubicBezTo>
                <a:cubicBezTo>
                  <a:pt x="133" y="91"/>
                  <a:pt x="133" y="92"/>
                  <a:pt x="134" y="92"/>
                </a:cubicBezTo>
                <a:cubicBezTo>
                  <a:pt x="134" y="92"/>
                  <a:pt x="134" y="92"/>
                  <a:pt x="134" y="93"/>
                </a:cubicBezTo>
                <a:cubicBezTo>
                  <a:pt x="135" y="93"/>
                  <a:pt x="135" y="93"/>
                  <a:pt x="135" y="93"/>
                </a:cubicBezTo>
                <a:cubicBezTo>
                  <a:pt x="136" y="94"/>
                  <a:pt x="136" y="94"/>
                  <a:pt x="136" y="94"/>
                </a:cubicBezTo>
                <a:cubicBezTo>
                  <a:pt x="137" y="94"/>
                  <a:pt x="137" y="94"/>
                  <a:pt x="137" y="95"/>
                </a:cubicBezTo>
                <a:cubicBezTo>
                  <a:pt x="138" y="95"/>
                  <a:pt x="138" y="95"/>
                  <a:pt x="138" y="95"/>
                </a:cubicBezTo>
                <a:cubicBezTo>
                  <a:pt x="139" y="95"/>
                  <a:pt x="139" y="95"/>
                  <a:pt x="139" y="95"/>
                </a:cubicBezTo>
                <a:cubicBezTo>
                  <a:pt x="140" y="95"/>
                  <a:pt x="140" y="95"/>
                  <a:pt x="140" y="96"/>
                </a:cubicBezTo>
                <a:cubicBezTo>
                  <a:pt x="141" y="96"/>
                  <a:pt x="141" y="96"/>
                  <a:pt x="141" y="96"/>
                </a:cubicBezTo>
                <a:cubicBezTo>
                  <a:pt x="141" y="98"/>
                  <a:pt x="141" y="101"/>
                  <a:pt x="141" y="104"/>
                </a:cubicBezTo>
                <a:cubicBezTo>
                  <a:pt x="141" y="116"/>
                  <a:pt x="136" y="127"/>
                  <a:pt x="128" y="135"/>
                </a:cubicBezTo>
                <a:close/>
                <a:moveTo>
                  <a:pt x="146" y="98"/>
                </a:moveTo>
                <a:cubicBezTo>
                  <a:pt x="146" y="97"/>
                  <a:pt x="146" y="96"/>
                  <a:pt x="146" y="95"/>
                </a:cubicBezTo>
                <a:cubicBezTo>
                  <a:pt x="150" y="94"/>
                  <a:pt x="154" y="90"/>
                  <a:pt x="154" y="86"/>
                </a:cubicBezTo>
                <a:cubicBezTo>
                  <a:pt x="154" y="86"/>
                  <a:pt x="154" y="87"/>
                  <a:pt x="154" y="88"/>
                </a:cubicBezTo>
                <a:cubicBezTo>
                  <a:pt x="154" y="93"/>
                  <a:pt x="151" y="97"/>
                  <a:pt x="146" y="98"/>
                </a:cubicBezTo>
                <a:close/>
                <a:moveTo>
                  <a:pt x="70" y="50"/>
                </a:moveTo>
                <a:cubicBezTo>
                  <a:pt x="71" y="50"/>
                  <a:pt x="71" y="50"/>
                  <a:pt x="72" y="50"/>
                </a:cubicBezTo>
                <a:cubicBezTo>
                  <a:pt x="73" y="50"/>
                  <a:pt x="73" y="50"/>
                  <a:pt x="74" y="49"/>
                </a:cubicBezTo>
                <a:cubicBezTo>
                  <a:pt x="75" y="48"/>
                  <a:pt x="75" y="47"/>
                  <a:pt x="73" y="46"/>
                </a:cubicBezTo>
                <a:cubicBezTo>
                  <a:pt x="69" y="42"/>
                  <a:pt x="67" y="37"/>
                  <a:pt x="67" y="32"/>
                </a:cubicBezTo>
                <a:cubicBezTo>
                  <a:pt x="67" y="23"/>
                  <a:pt x="74" y="15"/>
                  <a:pt x="84" y="15"/>
                </a:cubicBezTo>
                <a:cubicBezTo>
                  <a:pt x="93" y="15"/>
                  <a:pt x="101" y="23"/>
                  <a:pt x="101" y="32"/>
                </a:cubicBezTo>
                <a:cubicBezTo>
                  <a:pt x="101" y="37"/>
                  <a:pt x="99" y="41"/>
                  <a:pt x="95" y="45"/>
                </a:cubicBezTo>
                <a:cubicBezTo>
                  <a:pt x="94" y="46"/>
                  <a:pt x="94" y="47"/>
                  <a:pt x="95" y="48"/>
                </a:cubicBezTo>
                <a:cubicBezTo>
                  <a:pt x="96" y="50"/>
                  <a:pt x="98" y="50"/>
                  <a:pt x="99" y="49"/>
                </a:cubicBezTo>
                <a:cubicBezTo>
                  <a:pt x="104" y="44"/>
                  <a:pt x="106" y="38"/>
                  <a:pt x="106" y="32"/>
                </a:cubicBezTo>
                <a:cubicBezTo>
                  <a:pt x="106" y="20"/>
                  <a:pt x="96" y="10"/>
                  <a:pt x="84" y="10"/>
                </a:cubicBezTo>
                <a:cubicBezTo>
                  <a:pt x="71" y="10"/>
                  <a:pt x="61" y="20"/>
                  <a:pt x="61" y="32"/>
                </a:cubicBezTo>
                <a:cubicBezTo>
                  <a:pt x="61" y="39"/>
                  <a:pt x="65" y="46"/>
                  <a:pt x="70" y="50"/>
                </a:cubicBezTo>
                <a:close/>
                <a:moveTo>
                  <a:pt x="85" y="141"/>
                </a:moveTo>
                <a:cubicBezTo>
                  <a:pt x="73" y="142"/>
                  <a:pt x="63" y="141"/>
                  <a:pt x="52" y="136"/>
                </a:cubicBezTo>
                <a:cubicBezTo>
                  <a:pt x="51" y="136"/>
                  <a:pt x="49" y="136"/>
                  <a:pt x="49" y="138"/>
                </a:cubicBezTo>
                <a:cubicBezTo>
                  <a:pt x="48" y="139"/>
                  <a:pt x="49" y="140"/>
                  <a:pt x="50" y="141"/>
                </a:cubicBezTo>
                <a:cubicBezTo>
                  <a:pt x="59" y="145"/>
                  <a:pt x="68" y="147"/>
                  <a:pt x="78" y="147"/>
                </a:cubicBezTo>
                <a:cubicBezTo>
                  <a:pt x="81" y="147"/>
                  <a:pt x="83" y="147"/>
                  <a:pt x="85" y="147"/>
                </a:cubicBezTo>
                <a:cubicBezTo>
                  <a:pt x="87" y="147"/>
                  <a:pt x="88" y="145"/>
                  <a:pt x="88" y="144"/>
                </a:cubicBezTo>
                <a:cubicBezTo>
                  <a:pt x="88" y="142"/>
                  <a:pt x="86" y="141"/>
                  <a:pt x="85" y="14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0" name="Freeform 1114">
            <a:extLst>
              <a:ext uri="{FF2B5EF4-FFF2-40B4-BE49-F238E27FC236}">
                <a16:creationId xmlns:a16="http://schemas.microsoft.com/office/drawing/2014/main" id="{E7F45AE2-34B3-4CA6-BE8D-DD63FB8171C1}"/>
              </a:ext>
            </a:extLst>
          </p:cNvPr>
          <p:cNvSpPr>
            <a:spLocks noEditPoints="1"/>
          </p:cNvSpPr>
          <p:nvPr/>
        </p:nvSpPr>
        <p:spPr bwMode="auto">
          <a:xfrm>
            <a:off x="4772108" y="3022985"/>
            <a:ext cx="604203" cy="607695"/>
          </a:xfrm>
          <a:custGeom>
            <a:avLst/>
            <a:gdLst>
              <a:gd name="T0" fmla="*/ 160 w 160"/>
              <a:gd name="T1" fmla="*/ 0 h 160"/>
              <a:gd name="T2" fmla="*/ 0 w 160"/>
              <a:gd name="T3" fmla="*/ 21 h 160"/>
              <a:gd name="T4" fmla="*/ 5 w 160"/>
              <a:gd name="T5" fmla="*/ 128 h 160"/>
              <a:gd name="T6" fmla="*/ 0 w 160"/>
              <a:gd name="T7" fmla="*/ 131 h 160"/>
              <a:gd name="T8" fmla="*/ 5 w 160"/>
              <a:gd name="T9" fmla="*/ 133 h 160"/>
              <a:gd name="T10" fmla="*/ 77 w 160"/>
              <a:gd name="T11" fmla="*/ 139 h 160"/>
              <a:gd name="T12" fmla="*/ 69 w 160"/>
              <a:gd name="T13" fmla="*/ 149 h 160"/>
              <a:gd name="T14" fmla="*/ 91 w 160"/>
              <a:gd name="T15" fmla="*/ 149 h 160"/>
              <a:gd name="T16" fmla="*/ 83 w 160"/>
              <a:gd name="T17" fmla="*/ 139 h 160"/>
              <a:gd name="T18" fmla="*/ 155 w 160"/>
              <a:gd name="T19" fmla="*/ 133 h 160"/>
              <a:gd name="T20" fmla="*/ 160 w 160"/>
              <a:gd name="T21" fmla="*/ 131 h 160"/>
              <a:gd name="T22" fmla="*/ 155 w 160"/>
              <a:gd name="T23" fmla="*/ 128 h 160"/>
              <a:gd name="T24" fmla="*/ 160 w 160"/>
              <a:gd name="T25" fmla="*/ 21 h 160"/>
              <a:gd name="T26" fmla="*/ 80 w 160"/>
              <a:gd name="T27" fmla="*/ 155 h 160"/>
              <a:gd name="T28" fmla="*/ 80 w 160"/>
              <a:gd name="T29" fmla="*/ 144 h 160"/>
              <a:gd name="T30" fmla="*/ 5 w 160"/>
              <a:gd name="T31" fmla="*/ 5 h 160"/>
              <a:gd name="T32" fmla="*/ 155 w 160"/>
              <a:gd name="T33" fmla="*/ 16 h 160"/>
              <a:gd name="T34" fmla="*/ 5 w 160"/>
              <a:gd name="T35" fmla="*/ 5 h 160"/>
              <a:gd name="T36" fmla="*/ 11 w 160"/>
              <a:gd name="T37" fmla="*/ 128 h 160"/>
              <a:gd name="T38" fmla="*/ 149 w 160"/>
              <a:gd name="T39" fmla="*/ 21 h 160"/>
              <a:gd name="T40" fmla="*/ 27 w 160"/>
              <a:gd name="T41" fmla="*/ 53 h 160"/>
              <a:gd name="T42" fmla="*/ 53 w 160"/>
              <a:gd name="T43" fmla="*/ 51 h 160"/>
              <a:gd name="T44" fmla="*/ 27 w 160"/>
              <a:gd name="T45" fmla="*/ 48 h 160"/>
              <a:gd name="T46" fmla="*/ 27 w 160"/>
              <a:gd name="T47" fmla="*/ 53 h 160"/>
              <a:gd name="T48" fmla="*/ 40 w 160"/>
              <a:gd name="T49" fmla="*/ 45 h 160"/>
              <a:gd name="T50" fmla="*/ 40 w 160"/>
              <a:gd name="T51" fmla="*/ 40 h 160"/>
              <a:gd name="T52" fmla="*/ 24 w 160"/>
              <a:gd name="T53" fmla="*/ 43 h 160"/>
              <a:gd name="T54" fmla="*/ 27 w 160"/>
              <a:gd name="T55" fmla="*/ 61 h 160"/>
              <a:gd name="T56" fmla="*/ 53 w 160"/>
              <a:gd name="T57" fmla="*/ 59 h 160"/>
              <a:gd name="T58" fmla="*/ 27 w 160"/>
              <a:gd name="T59" fmla="*/ 56 h 160"/>
              <a:gd name="T60" fmla="*/ 27 w 160"/>
              <a:gd name="T61" fmla="*/ 61 h 160"/>
              <a:gd name="T62" fmla="*/ 32 w 160"/>
              <a:gd name="T63" fmla="*/ 112 h 160"/>
              <a:gd name="T64" fmla="*/ 66 w 160"/>
              <a:gd name="T65" fmla="*/ 80 h 160"/>
              <a:gd name="T66" fmla="*/ 90 w 160"/>
              <a:gd name="T67" fmla="*/ 102 h 160"/>
              <a:gd name="T68" fmla="*/ 125 w 160"/>
              <a:gd name="T69" fmla="*/ 68 h 160"/>
              <a:gd name="T70" fmla="*/ 128 w 160"/>
              <a:gd name="T71" fmla="*/ 83 h 160"/>
              <a:gd name="T72" fmla="*/ 131 w 160"/>
              <a:gd name="T73" fmla="*/ 61 h 160"/>
              <a:gd name="T74" fmla="*/ 129 w 160"/>
              <a:gd name="T75" fmla="*/ 59 h 160"/>
              <a:gd name="T76" fmla="*/ 109 w 160"/>
              <a:gd name="T77" fmla="*/ 59 h 160"/>
              <a:gd name="T78" fmla="*/ 109 w 160"/>
              <a:gd name="T79" fmla="*/ 64 h 160"/>
              <a:gd name="T80" fmla="*/ 90 w 160"/>
              <a:gd name="T81" fmla="*/ 96 h 160"/>
              <a:gd name="T82" fmla="*/ 64 w 160"/>
              <a:gd name="T83" fmla="*/ 74 h 160"/>
              <a:gd name="T84" fmla="*/ 30 w 160"/>
              <a:gd name="T85" fmla="*/ 11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60">
                <a:moveTo>
                  <a:pt x="160" y="21"/>
                </a:moveTo>
                <a:cubicBezTo>
                  <a:pt x="160" y="0"/>
                  <a:pt x="160" y="0"/>
                  <a:pt x="160" y="0"/>
                </a:cubicBezTo>
                <a:cubicBezTo>
                  <a:pt x="0" y="0"/>
                  <a:pt x="0" y="0"/>
                  <a:pt x="0" y="0"/>
                </a:cubicBezTo>
                <a:cubicBezTo>
                  <a:pt x="0" y="21"/>
                  <a:pt x="0" y="21"/>
                  <a:pt x="0" y="21"/>
                </a:cubicBezTo>
                <a:cubicBezTo>
                  <a:pt x="5" y="21"/>
                  <a:pt x="5" y="21"/>
                  <a:pt x="5" y="21"/>
                </a:cubicBezTo>
                <a:cubicBezTo>
                  <a:pt x="5" y="128"/>
                  <a:pt x="5" y="128"/>
                  <a:pt x="5" y="128"/>
                </a:cubicBezTo>
                <a:cubicBezTo>
                  <a:pt x="3" y="128"/>
                  <a:pt x="3" y="128"/>
                  <a:pt x="3" y="128"/>
                </a:cubicBezTo>
                <a:cubicBezTo>
                  <a:pt x="1" y="128"/>
                  <a:pt x="0" y="129"/>
                  <a:pt x="0" y="131"/>
                </a:cubicBezTo>
                <a:cubicBezTo>
                  <a:pt x="0" y="132"/>
                  <a:pt x="1" y="133"/>
                  <a:pt x="3" y="133"/>
                </a:cubicBezTo>
                <a:cubicBezTo>
                  <a:pt x="5" y="133"/>
                  <a:pt x="5" y="133"/>
                  <a:pt x="5" y="133"/>
                </a:cubicBezTo>
                <a:cubicBezTo>
                  <a:pt x="77" y="133"/>
                  <a:pt x="77" y="133"/>
                  <a:pt x="77" y="133"/>
                </a:cubicBezTo>
                <a:cubicBezTo>
                  <a:pt x="77" y="139"/>
                  <a:pt x="77" y="139"/>
                  <a:pt x="77" y="139"/>
                </a:cubicBezTo>
                <a:cubicBezTo>
                  <a:pt x="77" y="139"/>
                  <a:pt x="77" y="139"/>
                  <a:pt x="77" y="139"/>
                </a:cubicBezTo>
                <a:cubicBezTo>
                  <a:pt x="73" y="140"/>
                  <a:pt x="69" y="144"/>
                  <a:pt x="69" y="149"/>
                </a:cubicBezTo>
                <a:cubicBezTo>
                  <a:pt x="69" y="155"/>
                  <a:pt x="74" y="160"/>
                  <a:pt x="80" y="160"/>
                </a:cubicBezTo>
                <a:cubicBezTo>
                  <a:pt x="86" y="160"/>
                  <a:pt x="91" y="155"/>
                  <a:pt x="91" y="149"/>
                </a:cubicBezTo>
                <a:cubicBezTo>
                  <a:pt x="91" y="144"/>
                  <a:pt x="87" y="140"/>
                  <a:pt x="83" y="139"/>
                </a:cubicBezTo>
                <a:cubicBezTo>
                  <a:pt x="83" y="139"/>
                  <a:pt x="83" y="139"/>
                  <a:pt x="83" y="139"/>
                </a:cubicBezTo>
                <a:cubicBezTo>
                  <a:pt x="83" y="133"/>
                  <a:pt x="83" y="133"/>
                  <a:pt x="83" y="133"/>
                </a:cubicBezTo>
                <a:cubicBezTo>
                  <a:pt x="155" y="133"/>
                  <a:pt x="155" y="133"/>
                  <a:pt x="155" y="133"/>
                </a:cubicBezTo>
                <a:cubicBezTo>
                  <a:pt x="157" y="133"/>
                  <a:pt x="157" y="133"/>
                  <a:pt x="157" y="133"/>
                </a:cubicBezTo>
                <a:cubicBezTo>
                  <a:pt x="159" y="133"/>
                  <a:pt x="160" y="132"/>
                  <a:pt x="160" y="131"/>
                </a:cubicBezTo>
                <a:cubicBezTo>
                  <a:pt x="160" y="129"/>
                  <a:pt x="159" y="128"/>
                  <a:pt x="157" y="128"/>
                </a:cubicBezTo>
                <a:cubicBezTo>
                  <a:pt x="155" y="128"/>
                  <a:pt x="155" y="128"/>
                  <a:pt x="155" y="128"/>
                </a:cubicBezTo>
                <a:cubicBezTo>
                  <a:pt x="155" y="21"/>
                  <a:pt x="155" y="21"/>
                  <a:pt x="155" y="21"/>
                </a:cubicBezTo>
                <a:lnTo>
                  <a:pt x="160" y="21"/>
                </a:lnTo>
                <a:close/>
                <a:moveTo>
                  <a:pt x="85" y="149"/>
                </a:moveTo>
                <a:cubicBezTo>
                  <a:pt x="85" y="152"/>
                  <a:pt x="83" y="155"/>
                  <a:pt x="80" y="155"/>
                </a:cubicBezTo>
                <a:cubicBezTo>
                  <a:pt x="77" y="155"/>
                  <a:pt x="75" y="152"/>
                  <a:pt x="75" y="149"/>
                </a:cubicBezTo>
                <a:cubicBezTo>
                  <a:pt x="75" y="146"/>
                  <a:pt x="77" y="144"/>
                  <a:pt x="80" y="144"/>
                </a:cubicBezTo>
                <a:cubicBezTo>
                  <a:pt x="83" y="144"/>
                  <a:pt x="85" y="146"/>
                  <a:pt x="85" y="149"/>
                </a:cubicBezTo>
                <a:close/>
                <a:moveTo>
                  <a:pt x="5" y="5"/>
                </a:moveTo>
                <a:cubicBezTo>
                  <a:pt x="155" y="5"/>
                  <a:pt x="155" y="5"/>
                  <a:pt x="155" y="5"/>
                </a:cubicBezTo>
                <a:cubicBezTo>
                  <a:pt x="155" y="16"/>
                  <a:pt x="155" y="16"/>
                  <a:pt x="155" y="16"/>
                </a:cubicBezTo>
                <a:cubicBezTo>
                  <a:pt x="5" y="16"/>
                  <a:pt x="5" y="16"/>
                  <a:pt x="5" y="16"/>
                </a:cubicBezTo>
                <a:lnTo>
                  <a:pt x="5" y="5"/>
                </a:lnTo>
                <a:close/>
                <a:moveTo>
                  <a:pt x="149" y="128"/>
                </a:moveTo>
                <a:cubicBezTo>
                  <a:pt x="11" y="128"/>
                  <a:pt x="11" y="128"/>
                  <a:pt x="11" y="128"/>
                </a:cubicBezTo>
                <a:cubicBezTo>
                  <a:pt x="11" y="21"/>
                  <a:pt x="11" y="21"/>
                  <a:pt x="11" y="21"/>
                </a:cubicBezTo>
                <a:cubicBezTo>
                  <a:pt x="149" y="21"/>
                  <a:pt x="149" y="21"/>
                  <a:pt x="149" y="21"/>
                </a:cubicBezTo>
                <a:lnTo>
                  <a:pt x="149" y="128"/>
                </a:lnTo>
                <a:close/>
                <a:moveTo>
                  <a:pt x="27" y="53"/>
                </a:moveTo>
                <a:cubicBezTo>
                  <a:pt x="51" y="53"/>
                  <a:pt x="51" y="53"/>
                  <a:pt x="51" y="53"/>
                </a:cubicBezTo>
                <a:cubicBezTo>
                  <a:pt x="52" y="53"/>
                  <a:pt x="53" y="52"/>
                  <a:pt x="53" y="51"/>
                </a:cubicBezTo>
                <a:cubicBezTo>
                  <a:pt x="53" y="49"/>
                  <a:pt x="52" y="48"/>
                  <a:pt x="51" y="48"/>
                </a:cubicBezTo>
                <a:cubicBezTo>
                  <a:pt x="27" y="48"/>
                  <a:pt x="27" y="48"/>
                  <a:pt x="27" y="48"/>
                </a:cubicBezTo>
                <a:cubicBezTo>
                  <a:pt x="25" y="48"/>
                  <a:pt x="24" y="49"/>
                  <a:pt x="24" y="51"/>
                </a:cubicBezTo>
                <a:cubicBezTo>
                  <a:pt x="24" y="52"/>
                  <a:pt x="25" y="53"/>
                  <a:pt x="27" y="53"/>
                </a:cubicBezTo>
                <a:close/>
                <a:moveTo>
                  <a:pt x="27" y="45"/>
                </a:moveTo>
                <a:cubicBezTo>
                  <a:pt x="40" y="45"/>
                  <a:pt x="40" y="45"/>
                  <a:pt x="40" y="45"/>
                </a:cubicBezTo>
                <a:cubicBezTo>
                  <a:pt x="41" y="45"/>
                  <a:pt x="43" y="44"/>
                  <a:pt x="43" y="43"/>
                </a:cubicBezTo>
                <a:cubicBezTo>
                  <a:pt x="43" y="41"/>
                  <a:pt x="41" y="40"/>
                  <a:pt x="40" y="40"/>
                </a:cubicBezTo>
                <a:cubicBezTo>
                  <a:pt x="27" y="40"/>
                  <a:pt x="27" y="40"/>
                  <a:pt x="27" y="40"/>
                </a:cubicBezTo>
                <a:cubicBezTo>
                  <a:pt x="25" y="40"/>
                  <a:pt x="24" y="41"/>
                  <a:pt x="24" y="43"/>
                </a:cubicBezTo>
                <a:cubicBezTo>
                  <a:pt x="24" y="44"/>
                  <a:pt x="25" y="45"/>
                  <a:pt x="27" y="45"/>
                </a:cubicBezTo>
                <a:close/>
                <a:moveTo>
                  <a:pt x="27" y="61"/>
                </a:moveTo>
                <a:cubicBezTo>
                  <a:pt x="51" y="61"/>
                  <a:pt x="51" y="61"/>
                  <a:pt x="51" y="61"/>
                </a:cubicBezTo>
                <a:cubicBezTo>
                  <a:pt x="52" y="61"/>
                  <a:pt x="53" y="60"/>
                  <a:pt x="53" y="59"/>
                </a:cubicBezTo>
                <a:cubicBezTo>
                  <a:pt x="53" y="57"/>
                  <a:pt x="52" y="56"/>
                  <a:pt x="51" y="56"/>
                </a:cubicBezTo>
                <a:cubicBezTo>
                  <a:pt x="27" y="56"/>
                  <a:pt x="27" y="56"/>
                  <a:pt x="27" y="56"/>
                </a:cubicBezTo>
                <a:cubicBezTo>
                  <a:pt x="25" y="56"/>
                  <a:pt x="24" y="57"/>
                  <a:pt x="24" y="59"/>
                </a:cubicBezTo>
                <a:cubicBezTo>
                  <a:pt x="24" y="60"/>
                  <a:pt x="25" y="61"/>
                  <a:pt x="27" y="61"/>
                </a:cubicBezTo>
                <a:close/>
                <a:moveTo>
                  <a:pt x="30" y="111"/>
                </a:moveTo>
                <a:cubicBezTo>
                  <a:pt x="31" y="112"/>
                  <a:pt x="31" y="112"/>
                  <a:pt x="32" y="112"/>
                </a:cubicBezTo>
                <a:cubicBezTo>
                  <a:pt x="33" y="112"/>
                  <a:pt x="33" y="112"/>
                  <a:pt x="34" y="111"/>
                </a:cubicBezTo>
                <a:cubicBezTo>
                  <a:pt x="66" y="80"/>
                  <a:pt x="66" y="80"/>
                  <a:pt x="66" y="80"/>
                </a:cubicBezTo>
                <a:cubicBezTo>
                  <a:pt x="88" y="102"/>
                  <a:pt x="88" y="102"/>
                  <a:pt x="88" y="102"/>
                </a:cubicBezTo>
                <a:cubicBezTo>
                  <a:pt x="88" y="102"/>
                  <a:pt x="89" y="102"/>
                  <a:pt x="90" y="102"/>
                </a:cubicBezTo>
                <a:cubicBezTo>
                  <a:pt x="90" y="102"/>
                  <a:pt x="91" y="102"/>
                  <a:pt x="91" y="102"/>
                </a:cubicBezTo>
                <a:cubicBezTo>
                  <a:pt x="125" y="68"/>
                  <a:pt x="125" y="68"/>
                  <a:pt x="125" y="68"/>
                </a:cubicBezTo>
                <a:cubicBezTo>
                  <a:pt x="125" y="80"/>
                  <a:pt x="125" y="80"/>
                  <a:pt x="125" y="80"/>
                </a:cubicBezTo>
                <a:cubicBezTo>
                  <a:pt x="125" y="81"/>
                  <a:pt x="127" y="83"/>
                  <a:pt x="128" y="83"/>
                </a:cubicBezTo>
                <a:cubicBezTo>
                  <a:pt x="129" y="83"/>
                  <a:pt x="131" y="81"/>
                  <a:pt x="131" y="80"/>
                </a:cubicBezTo>
                <a:cubicBezTo>
                  <a:pt x="131" y="61"/>
                  <a:pt x="131" y="61"/>
                  <a:pt x="131" y="61"/>
                </a:cubicBezTo>
                <a:cubicBezTo>
                  <a:pt x="131" y="61"/>
                  <a:pt x="131" y="61"/>
                  <a:pt x="130" y="60"/>
                </a:cubicBezTo>
                <a:cubicBezTo>
                  <a:pt x="130" y="60"/>
                  <a:pt x="130" y="59"/>
                  <a:pt x="129" y="59"/>
                </a:cubicBezTo>
                <a:cubicBezTo>
                  <a:pt x="129" y="59"/>
                  <a:pt x="128" y="59"/>
                  <a:pt x="128" y="59"/>
                </a:cubicBezTo>
                <a:cubicBezTo>
                  <a:pt x="109" y="59"/>
                  <a:pt x="109" y="59"/>
                  <a:pt x="109" y="59"/>
                </a:cubicBezTo>
                <a:cubicBezTo>
                  <a:pt x="108" y="59"/>
                  <a:pt x="107" y="60"/>
                  <a:pt x="107" y="61"/>
                </a:cubicBezTo>
                <a:cubicBezTo>
                  <a:pt x="107" y="63"/>
                  <a:pt x="108" y="64"/>
                  <a:pt x="109" y="64"/>
                </a:cubicBezTo>
                <a:cubicBezTo>
                  <a:pt x="122" y="64"/>
                  <a:pt x="122" y="64"/>
                  <a:pt x="122" y="64"/>
                </a:cubicBezTo>
                <a:cubicBezTo>
                  <a:pt x="90" y="96"/>
                  <a:pt x="90" y="96"/>
                  <a:pt x="90" y="96"/>
                </a:cubicBezTo>
                <a:cubicBezTo>
                  <a:pt x="67" y="74"/>
                  <a:pt x="67" y="74"/>
                  <a:pt x="67" y="74"/>
                </a:cubicBezTo>
                <a:cubicBezTo>
                  <a:pt x="66" y="73"/>
                  <a:pt x="65" y="73"/>
                  <a:pt x="64" y="74"/>
                </a:cubicBezTo>
                <a:cubicBezTo>
                  <a:pt x="30" y="107"/>
                  <a:pt x="30" y="107"/>
                  <a:pt x="30" y="107"/>
                </a:cubicBezTo>
                <a:cubicBezTo>
                  <a:pt x="29" y="108"/>
                  <a:pt x="29" y="110"/>
                  <a:pt x="30" y="11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1" name="Freeform 1152">
            <a:extLst>
              <a:ext uri="{FF2B5EF4-FFF2-40B4-BE49-F238E27FC236}">
                <a16:creationId xmlns:a16="http://schemas.microsoft.com/office/drawing/2014/main" id="{0027FA13-7B21-41AA-88B0-CC6385BB7FF3}"/>
              </a:ext>
            </a:extLst>
          </p:cNvPr>
          <p:cNvSpPr>
            <a:spLocks noEditPoints="1"/>
          </p:cNvSpPr>
          <p:nvPr/>
        </p:nvSpPr>
        <p:spPr bwMode="auto">
          <a:xfrm>
            <a:off x="7811280" y="3022985"/>
            <a:ext cx="604203" cy="607695"/>
          </a:xfrm>
          <a:custGeom>
            <a:avLst/>
            <a:gdLst>
              <a:gd name="T0" fmla="*/ 112 w 160"/>
              <a:gd name="T1" fmla="*/ 21 h 160"/>
              <a:gd name="T2" fmla="*/ 136 w 160"/>
              <a:gd name="T3" fmla="*/ 27 h 160"/>
              <a:gd name="T4" fmla="*/ 80 w 160"/>
              <a:gd name="T5" fmla="*/ 0 h 160"/>
              <a:gd name="T6" fmla="*/ 80 w 160"/>
              <a:gd name="T7" fmla="*/ 139 h 160"/>
              <a:gd name="T8" fmla="*/ 80 w 160"/>
              <a:gd name="T9" fmla="*/ 27 h 160"/>
              <a:gd name="T10" fmla="*/ 83 w 160"/>
              <a:gd name="T11" fmla="*/ 32 h 160"/>
              <a:gd name="T12" fmla="*/ 80 w 160"/>
              <a:gd name="T13" fmla="*/ 120 h 160"/>
              <a:gd name="T14" fmla="*/ 83 w 160"/>
              <a:gd name="T15" fmla="*/ 123 h 160"/>
              <a:gd name="T16" fmla="*/ 128 w 160"/>
              <a:gd name="T17" fmla="*/ 77 h 160"/>
              <a:gd name="T18" fmla="*/ 32 w 160"/>
              <a:gd name="T19" fmla="*/ 77 h 160"/>
              <a:gd name="T20" fmla="*/ 37 w 160"/>
              <a:gd name="T21" fmla="*/ 77 h 160"/>
              <a:gd name="T22" fmla="*/ 77 w 160"/>
              <a:gd name="T23" fmla="*/ 67 h 160"/>
              <a:gd name="T24" fmla="*/ 51 w 160"/>
              <a:gd name="T25" fmla="*/ 109 h 160"/>
              <a:gd name="T26" fmla="*/ 83 w 160"/>
              <a:gd name="T27" fmla="*/ 67 h 160"/>
              <a:gd name="T28" fmla="*/ 80 w 160"/>
              <a:gd name="T29" fmla="*/ 83 h 160"/>
              <a:gd name="T30" fmla="*/ 35 w 160"/>
              <a:gd name="T31" fmla="*/ 140 h 160"/>
              <a:gd name="T32" fmla="*/ 17 w 160"/>
              <a:gd name="T33" fmla="*/ 128 h 160"/>
              <a:gd name="T34" fmla="*/ 22 w 160"/>
              <a:gd name="T35" fmla="*/ 134 h 160"/>
              <a:gd name="T36" fmla="*/ 26 w 160"/>
              <a:gd name="T37" fmla="*/ 135 h 160"/>
              <a:gd name="T38" fmla="*/ 30 w 160"/>
              <a:gd name="T39" fmla="*/ 135 h 160"/>
              <a:gd name="T40" fmla="*/ 13 w 160"/>
              <a:gd name="T41" fmla="*/ 121 h 160"/>
              <a:gd name="T42" fmla="*/ 160 w 160"/>
              <a:gd name="T43" fmla="*/ 83 h 160"/>
              <a:gd name="T44" fmla="*/ 6 w 160"/>
              <a:gd name="T45" fmla="*/ 88 h 160"/>
              <a:gd name="T46" fmla="*/ 5 w 160"/>
              <a:gd name="T47" fmla="*/ 98 h 160"/>
              <a:gd name="T48" fmla="*/ 5 w 160"/>
              <a:gd name="T49" fmla="*/ 98 h 160"/>
              <a:gd name="T50" fmla="*/ 10 w 160"/>
              <a:gd name="T51" fmla="*/ 114 h 160"/>
              <a:gd name="T52" fmla="*/ 6 w 160"/>
              <a:gd name="T53" fmla="*/ 106 h 160"/>
              <a:gd name="T54" fmla="*/ 78 w 160"/>
              <a:gd name="T55" fmla="*/ 160 h 160"/>
              <a:gd name="T56" fmla="*/ 139 w 160"/>
              <a:gd name="T57" fmla="*/ 129 h 160"/>
              <a:gd name="T58" fmla="*/ 122 w 160"/>
              <a:gd name="T59" fmla="*/ 142 h 160"/>
              <a:gd name="T60" fmla="*/ 122 w 160"/>
              <a:gd name="T61" fmla="*/ 142 h 160"/>
              <a:gd name="T62" fmla="*/ 132 w 160"/>
              <a:gd name="T63" fmla="*/ 137 h 160"/>
              <a:gd name="T64" fmla="*/ 146 w 160"/>
              <a:gd name="T65" fmla="*/ 123 h 160"/>
              <a:gd name="T66" fmla="*/ 136 w 160"/>
              <a:gd name="T67" fmla="*/ 136 h 160"/>
              <a:gd name="T68" fmla="*/ 154 w 160"/>
              <a:gd name="T69" fmla="*/ 91 h 160"/>
              <a:gd name="T70" fmla="*/ 156 w 160"/>
              <a:gd name="T71" fmla="*/ 96 h 160"/>
              <a:gd name="T72" fmla="*/ 156 w 160"/>
              <a:gd name="T73" fmla="*/ 96 h 160"/>
              <a:gd name="T74" fmla="*/ 43 w 160"/>
              <a:gd name="T75" fmla="*/ 148 h 160"/>
              <a:gd name="T76" fmla="*/ 153 w 160"/>
              <a:gd name="T77" fmla="*/ 109 h 160"/>
              <a:gd name="T78" fmla="*/ 148 w 160"/>
              <a:gd name="T79" fmla="*/ 116 h 160"/>
              <a:gd name="T80" fmla="*/ 68 w 160"/>
              <a:gd name="T81" fmla="*/ 156 h 160"/>
              <a:gd name="T82" fmla="*/ 71 w 160"/>
              <a:gd name="T83" fmla="*/ 154 h 160"/>
              <a:gd name="T84" fmla="*/ 58 w 160"/>
              <a:gd name="T85" fmla="*/ 154 h 160"/>
              <a:gd name="T86" fmla="*/ 63 w 160"/>
              <a:gd name="T87" fmla="*/ 158 h 160"/>
              <a:gd name="T88" fmla="*/ 46 w 160"/>
              <a:gd name="T89" fmla="*/ 153 h 160"/>
              <a:gd name="T90" fmla="*/ 92 w 160"/>
              <a:gd name="T91" fmla="*/ 157 h 160"/>
              <a:gd name="T92" fmla="*/ 101 w 160"/>
              <a:gd name="T93" fmla="*/ 152 h 160"/>
              <a:gd name="T94" fmla="*/ 101 w 160"/>
              <a:gd name="T95" fmla="*/ 152 h 160"/>
              <a:gd name="T96" fmla="*/ 112 w 160"/>
              <a:gd name="T97" fmla="*/ 150 h 160"/>
              <a:gd name="T98" fmla="*/ 87 w 160"/>
              <a:gd name="T99" fmla="*/ 160 h 160"/>
              <a:gd name="T100" fmla="*/ 115 w 160"/>
              <a:gd name="T101"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160">
                <a:moveTo>
                  <a:pt x="3" y="83"/>
                </a:moveTo>
                <a:cubicBezTo>
                  <a:pt x="4" y="83"/>
                  <a:pt x="5" y="81"/>
                  <a:pt x="5" y="80"/>
                </a:cubicBezTo>
                <a:cubicBezTo>
                  <a:pt x="5" y="39"/>
                  <a:pt x="39" y="5"/>
                  <a:pt x="80" y="5"/>
                </a:cubicBezTo>
                <a:cubicBezTo>
                  <a:pt x="97" y="5"/>
                  <a:pt x="113" y="11"/>
                  <a:pt x="126" y="21"/>
                </a:cubicBezTo>
                <a:cubicBezTo>
                  <a:pt x="112" y="21"/>
                  <a:pt x="112" y="21"/>
                  <a:pt x="112" y="21"/>
                </a:cubicBezTo>
                <a:cubicBezTo>
                  <a:pt x="111" y="21"/>
                  <a:pt x="109" y="23"/>
                  <a:pt x="109" y="24"/>
                </a:cubicBezTo>
                <a:cubicBezTo>
                  <a:pt x="109" y="25"/>
                  <a:pt x="111" y="27"/>
                  <a:pt x="112" y="27"/>
                </a:cubicBezTo>
                <a:cubicBezTo>
                  <a:pt x="133" y="27"/>
                  <a:pt x="133" y="27"/>
                  <a:pt x="133" y="27"/>
                </a:cubicBezTo>
                <a:cubicBezTo>
                  <a:pt x="133" y="27"/>
                  <a:pt x="133" y="27"/>
                  <a:pt x="134" y="27"/>
                </a:cubicBezTo>
                <a:cubicBezTo>
                  <a:pt x="136" y="27"/>
                  <a:pt x="136" y="27"/>
                  <a:pt x="136" y="27"/>
                </a:cubicBezTo>
                <a:cubicBezTo>
                  <a:pt x="136" y="3"/>
                  <a:pt x="136" y="3"/>
                  <a:pt x="136" y="3"/>
                </a:cubicBezTo>
                <a:cubicBezTo>
                  <a:pt x="136" y="1"/>
                  <a:pt x="135" y="0"/>
                  <a:pt x="133" y="0"/>
                </a:cubicBezTo>
                <a:cubicBezTo>
                  <a:pt x="132" y="0"/>
                  <a:pt x="131" y="1"/>
                  <a:pt x="131" y="3"/>
                </a:cubicBezTo>
                <a:cubicBezTo>
                  <a:pt x="131" y="18"/>
                  <a:pt x="131" y="18"/>
                  <a:pt x="131" y="18"/>
                </a:cubicBezTo>
                <a:cubicBezTo>
                  <a:pt x="116" y="6"/>
                  <a:pt x="99" y="0"/>
                  <a:pt x="80" y="0"/>
                </a:cubicBezTo>
                <a:cubicBezTo>
                  <a:pt x="36" y="0"/>
                  <a:pt x="0" y="36"/>
                  <a:pt x="0" y="80"/>
                </a:cubicBezTo>
                <a:cubicBezTo>
                  <a:pt x="0" y="81"/>
                  <a:pt x="1" y="83"/>
                  <a:pt x="3" y="83"/>
                </a:cubicBezTo>
                <a:close/>
                <a:moveTo>
                  <a:pt x="80" y="21"/>
                </a:moveTo>
                <a:cubicBezTo>
                  <a:pt x="48" y="21"/>
                  <a:pt x="21" y="48"/>
                  <a:pt x="21" y="80"/>
                </a:cubicBezTo>
                <a:cubicBezTo>
                  <a:pt x="21" y="112"/>
                  <a:pt x="48" y="139"/>
                  <a:pt x="80" y="139"/>
                </a:cubicBezTo>
                <a:cubicBezTo>
                  <a:pt x="112" y="139"/>
                  <a:pt x="139" y="112"/>
                  <a:pt x="139" y="80"/>
                </a:cubicBezTo>
                <a:cubicBezTo>
                  <a:pt x="139" y="48"/>
                  <a:pt x="112" y="21"/>
                  <a:pt x="80" y="21"/>
                </a:cubicBezTo>
                <a:close/>
                <a:moveTo>
                  <a:pt x="80" y="133"/>
                </a:moveTo>
                <a:cubicBezTo>
                  <a:pt x="51" y="133"/>
                  <a:pt x="27" y="109"/>
                  <a:pt x="27" y="80"/>
                </a:cubicBezTo>
                <a:cubicBezTo>
                  <a:pt x="27" y="51"/>
                  <a:pt x="51" y="27"/>
                  <a:pt x="80" y="27"/>
                </a:cubicBezTo>
                <a:cubicBezTo>
                  <a:pt x="109" y="27"/>
                  <a:pt x="133" y="51"/>
                  <a:pt x="133" y="80"/>
                </a:cubicBezTo>
                <a:cubicBezTo>
                  <a:pt x="133" y="109"/>
                  <a:pt x="109" y="133"/>
                  <a:pt x="80" y="133"/>
                </a:cubicBezTo>
                <a:close/>
                <a:moveTo>
                  <a:pt x="80" y="40"/>
                </a:moveTo>
                <a:cubicBezTo>
                  <a:pt x="81" y="40"/>
                  <a:pt x="83" y="39"/>
                  <a:pt x="83" y="37"/>
                </a:cubicBezTo>
                <a:cubicBezTo>
                  <a:pt x="83" y="32"/>
                  <a:pt x="83" y="32"/>
                  <a:pt x="83" y="32"/>
                </a:cubicBezTo>
                <a:cubicBezTo>
                  <a:pt x="83" y="31"/>
                  <a:pt x="81" y="29"/>
                  <a:pt x="80" y="29"/>
                </a:cubicBezTo>
                <a:cubicBezTo>
                  <a:pt x="79" y="29"/>
                  <a:pt x="77" y="31"/>
                  <a:pt x="77" y="32"/>
                </a:cubicBezTo>
                <a:cubicBezTo>
                  <a:pt x="77" y="37"/>
                  <a:pt x="77" y="37"/>
                  <a:pt x="77" y="37"/>
                </a:cubicBezTo>
                <a:cubicBezTo>
                  <a:pt x="77" y="39"/>
                  <a:pt x="79" y="40"/>
                  <a:pt x="80" y="40"/>
                </a:cubicBezTo>
                <a:close/>
                <a:moveTo>
                  <a:pt x="80" y="120"/>
                </a:moveTo>
                <a:cubicBezTo>
                  <a:pt x="79" y="120"/>
                  <a:pt x="77" y="121"/>
                  <a:pt x="77" y="123"/>
                </a:cubicBezTo>
                <a:cubicBezTo>
                  <a:pt x="77" y="128"/>
                  <a:pt x="77" y="128"/>
                  <a:pt x="77" y="128"/>
                </a:cubicBezTo>
                <a:cubicBezTo>
                  <a:pt x="77" y="129"/>
                  <a:pt x="79" y="131"/>
                  <a:pt x="80" y="131"/>
                </a:cubicBezTo>
                <a:cubicBezTo>
                  <a:pt x="81" y="131"/>
                  <a:pt x="83" y="129"/>
                  <a:pt x="83" y="128"/>
                </a:cubicBezTo>
                <a:cubicBezTo>
                  <a:pt x="83" y="123"/>
                  <a:pt x="83" y="123"/>
                  <a:pt x="83" y="123"/>
                </a:cubicBezTo>
                <a:cubicBezTo>
                  <a:pt x="83" y="121"/>
                  <a:pt x="81" y="120"/>
                  <a:pt x="80" y="120"/>
                </a:cubicBezTo>
                <a:close/>
                <a:moveTo>
                  <a:pt x="123" y="83"/>
                </a:moveTo>
                <a:cubicBezTo>
                  <a:pt x="128" y="83"/>
                  <a:pt x="128" y="83"/>
                  <a:pt x="128" y="83"/>
                </a:cubicBezTo>
                <a:cubicBezTo>
                  <a:pt x="129" y="83"/>
                  <a:pt x="131" y="81"/>
                  <a:pt x="131" y="80"/>
                </a:cubicBezTo>
                <a:cubicBezTo>
                  <a:pt x="131" y="79"/>
                  <a:pt x="129" y="77"/>
                  <a:pt x="128" y="77"/>
                </a:cubicBezTo>
                <a:cubicBezTo>
                  <a:pt x="123" y="77"/>
                  <a:pt x="123" y="77"/>
                  <a:pt x="123" y="77"/>
                </a:cubicBezTo>
                <a:cubicBezTo>
                  <a:pt x="121" y="77"/>
                  <a:pt x="120" y="79"/>
                  <a:pt x="120" y="80"/>
                </a:cubicBezTo>
                <a:cubicBezTo>
                  <a:pt x="120" y="81"/>
                  <a:pt x="121" y="83"/>
                  <a:pt x="123" y="83"/>
                </a:cubicBezTo>
                <a:close/>
                <a:moveTo>
                  <a:pt x="37" y="77"/>
                </a:moveTo>
                <a:cubicBezTo>
                  <a:pt x="32" y="77"/>
                  <a:pt x="32" y="77"/>
                  <a:pt x="32" y="77"/>
                </a:cubicBezTo>
                <a:cubicBezTo>
                  <a:pt x="31" y="77"/>
                  <a:pt x="29" y="79"/>
                  <a:pt x="29" y="80"/>
                </a:cubicBezTo>
                <a:cubicBezTo>
                  <a:pt x="29" y="81"/>
                  <a:pt x="31" y="83"/>
                  <a:pt x="32" y="83"/>
                </a:cubicBezTo>
                <a:cubicBezTo>
                  <a:pt x="37" y="83"/>
                  <a:pt x="37" y="83"/>
                  <a:pt x="37" y="83"/>
                </a:cubicBezTo>
                <a:cubicBezTo>
                  <a:pt x="39" y="83"/>
                  <a:pt x="40" y="81"/>
                  <a:pt x="40" y="80"/>
                </a:cubicBezTo>
                <a:cubicBezTo>
                  <a:pt x="40" y="79"/>
                  <a:pt x="39" y="77"/>
                  <a:pt x="37" y="77"/>
                </a:cubicBezTo>
                <a:close/>
                <a:moveTo>
                  <a:pt x="83" y="67"/>
                </a:moveTo>
                <a:cubicBezTo>
                  <a:pt x="83" y="53"/>
                  <a:pt x="83" y="53"/>
                  <a:pt x="83" y="53"/>
                </a:cubicBezTo>
                <a:cubicBezTo>
                  <a:pt x="83" y="52"/>
                  <a:pt x="81" y="51"/>
                  <a:pt x="80" y="51"/>
                </a:cubicBezTo>
                <a:cubicBezTo>
                  <a:pt x="79" y="51"/>
                  <a:pt x="77" y="52"/>
                  <a:pt x="77" y="53"/>
                </a:cubicBezTo>
                <a:cubicBezTo>
                  <a:pt x="77" y="67"/>
                  <a:pt x="77" y="67"/>
                  <a:pt x="77" y="67"/>
                </a:cubicBezTo>
                <a:cubicBezTo>
                  <a:pt x="73" y="68"/>
                  <a:pt x="69" y="72"/>
                  <a:pt x="69" y="77"/>
                </a:cubicBezTo>
                <a:cubicBezTo>
                  <a:pt x="69" y="79"/>
                  <a:pt x="70" y="81"/>
                  <a:pt x="71" y="83"/>
                </a:cubicBezTo>
                <a:cubicBezTo>
                  <a:pt x="49" y="105"/>
                  <a:pt x="49" y="105"/>
                  <a:pt x="49" y="105"/>
                </a:cubicBezTo>
                <a:cubicBezTo>
                  <a:pt x="48" y="106"/>
                  <a:pt x="48" y="108"/>
                  <a:pt x="49" y="109"/>
                </a:cubicBezTo>
                <a:cubicBezTo>
                  <a:pt x="49" y="109"/>
                  <a:pt x="50" y="109"/>
                  <a:pt x="51" y="109"/>
                </a:cubicBezTo>
                <a:cubicBezTo>
                  <a:pt x="51" y="109"/>
                  <a:pt x="52" y="109"/>
                  <a:pt x="53" y="109"/>
                </a:cubicBezTo>
                <a:cubicBezTo>
                  <a:pt x="75" y="87"/>
                  <a:pt x="75" y="87"/>
                  <a:pt x="75" y="87"/>
                </a:cubicBezTo>
                <a:cubicBezTo>
                  <a:pt x="76" y="87"/>
                  <a:pt x="78" y="88"/>
                  <a:pt x="80" y="88"/>
                </a:cubicBezTo>
                <a:cubicBezTo>
                  <a:pt x="86" y="88"/>
                  <a:pt x="91" y="83"/>
                  <a:pt x="91" y="77"/>
                </a:cubicBezTo>
                <a:cubicBezTo>
                  <a:pt x="91" y="72"/>
                  <a:pt x="87" y="68"/>
                  <a:pt x="83" y="67"/>
                </a:cubicBezTo>
                <a:close/>
                <a:moveTo>
                  <a:pt x="80" y="83"/>
                </a:moveTo>
                <a:cubicBezTo>
                  <a:pt x="77" y="83"/>
                  <a:pt x="75" y="80"/>
                  <a:pt x="75" y="77"/>
                </a:cubicBezTo>
                <a:cubicBezTo>
                  <a:pt x="75" y="74"/>
                  <a:pt x="77" y="72"/>
                  <a:pt x="80" y="72"/>
                </a:cubicBezTo>
                <a:cubicBezTo>
                  <a:pt x="83" y="72"/>
                  <a:pt x="85" y="74"/>
                  <a:pt x="85" y="77"/>
                </a:cubicBezTo>
                <a:cubicBezTo>
                  <a:pt x="85" y="80"/>
                  <a:pt x="83" y="83"/>
                  <a:pt x="80" y="83"/>
                </a:cubicBezTo>
                <a:close/>
                <a:moveTo>
                  <a:pt x="32" y="140"/>
                </a:moveTo>
                <a:cubicBezTo>
                  <a:pt x="31" y="142"/>
                  <a:pt x="31" y="143"/>
                  <a:pt x="32" y="144"/>
                </a:cubicBezTo>
                <a:cubicBezTo>
                  <a:pt x="33" y="145"/>
                  <a:pt x="33" y="145"/>
                  <a:pt x="34" y="145"/>
                </a:cubicBezTo>
                <a:cubicBezTo>
                  <a:pt x="35" y="145"/>
                  <a:pt x="35" y="144"/>
                  <a:pt x="36" y="144"/>
                </a:cubicBezTo>
                <a:cubicBezTo>
                  <a:pt x="37" y="142"/>
                  <a:pt x="37" y="141"/>
                  <a:pt x="35" y="140"/>
                </a:cubicBezTo>
                <a:cubicBezTo>
                  <a:pt x="34" y="139"/>
                  <a:pt x="33" y="139"/>
                  <a:pt x="32" y="140"/>
                </a:cubicBezTo>
                <a:close/>
                <a:moveTo>
                  <a:pt x="19" y="123"/>
                </a:moveTo>
                <a:cubicBezTo>
                  <a:pt x="18" y="122"/>
                  <a:pt x="17" y="122"/>
                  <a:pt x="16" y="123"/>
                </a:cubicBezTo>
                <a:cubicBezTo>
                  <a:pt x="14" y="124"/>
                  <a:pt x="14" y="125"/>
                  <a:pt x="15" y="127"/>
                </a:cubicBezTo>
                <a:cubicBezTo>
                  <a:pt x="15" y="127"/>
                  <a:pt x="16" y="128"/>
                  <a:pt x="17" y="128"/>
                </a:cubicBezTo>
                <a:cubicBezTo>
                  <a:pt x="18" y="128"/>
                  <a:pt x="18" y="127"/>
                  <a:pt x="19" y="127"/>
                </a:cubicBezTo>
                <a:cubicBezTo>
                  <a:pt x="20" y="126"/>
                  <a:pt x="20" y="125"/>
                  <a:pt x="19" y="123"/>
                </a:cubicBezTo>
                <a:close/>
                <a:moveTo>
                  <a:pt x="20" y="129"/>
                </a:moveTo>
                <a:cubicBezTo>
                  <a:pt x="19" y="130"/>
                  <a:pt x="19" y="132"/>
                  <a:pt x="20" y="133"/>
                </a:cubicBezTo>
                <a:cubicBezTo>
                  <a:pt x="21" y="134"/>
                  <a:pt x="21" y="134"/>
                  <a:pt x="22" y="134"/>
                </a:cubicBezTo>
                <a:cubicBezTo>
                  <a:pt x="23" y="134"/>
                  <a:pt x="23" y="134"/>
                  <a:pt x="24" y="133"/>
                </a:cubicBezTo>
                <a:cubicBezTo>
                  <a:pt x="25" y="132"/>
                  <a:pt x="25" y="131"/>
                  <a:pt x="24" y="129"/>
                </a:cubicBezTo>
                <a:cubicBezTo>
                  <a:pt x="23" y="128"/>
                  <a:pt x="21" y="128"/>
                  <a:pt x="20" y="129"/>
                </a:cubicBezTo>
                <a:close/>
                <a:moveTo>
                  <a:pt x="30" y="135"/>
                </a:moveTo>
                <a:cubicBezTo>
                  <a:pt x="28" y="134"/>
                  <a:pt x="27" y="134"/>
                  <a:pt x="26" y="135"/>
                </a:cubicBezTo>
                <a:cubicBezTo>
                  <a:pt x="25" y="136"/>
                  <a:pt x="25" y="138"/>
                  <a:pt x="26" y="139"/>
                </a:cubicBezTo>
                <a:cubicBezTo>
                  <a:pt x="26" y="139"/>
                  <a:pt x="27" y="140"/>
                  <a:pt x="28" y="140"/>
                </a:cubicBezTo>
                <a:cubicBezTo>
                  <a:pt x="28" y="140"/>
                  <a:pt x="29" y="139"/>
                  <a:pt x="30" y="139"/>
                </a:cubicBezTo>
                <a:cubicBezTo>
                  <a:pt x="31" y="138"/>
                  <a:pt x="31" y="136"/>
                  <a:pt x="30" y="135"/>
                </a:cubicBezTo>
                <a:cubicBezTo>
                  <a:pt x="30" y="135"/>
                  <a:pt x="30" y="135"/>
                  <a:pt x="30" y="135"/>
                </a:cubicBezTo>
                <a:close/>
                <a:moveTo>
                  <a:pt x="15" y="117"/>
                </a:moveTo>
                <a:cubicBezTo>
                  <a:pt x="15" y="117"/>
                  <a:pt x="15" y="117"/>
                  <a:pt x="15" y="117"/>
                </a:cubicBezTo>
                <a:cubicBezTo>
                  <a:pt x="14" y="116"/>
                  <a:pt x="13" y="115"/>
                  <a:pt x="11" y="116"/>
                </a:cubicBezTo>
                <a:cubicBezTo>
                  <a:pt x="10" y="117"/>
                  <a:pt x="10" y="118"/>
                  <a:pt x="10" y="120"/>
                </a:cubicBezTo>
                <a:cubicBezTo>
                  <a:pt x="11" y="120"/>
                  <a:pt x="12" y="121"/>
                  <a:pt x="13" y="121"/>
                </a:cubicBezTo>
                <a:cubicBezTo>
                  <a:pt x="13" y="121"/>
                  <a:pt x="14" y="121"/>
                  <a:pt x="14" y="121"/>
                </a:cubicBezTo>
                <a:cubicBezTo>
                  <a:pt x="15" y="120"/>
                  <a:pt x="16" y="118"/>
                  <a:pt x="15" y="117"/>
                </a:cubicBezTo>
                <a:close/>
                <a:moveTo>
                  <a:pt x="157" y="86"/>
                </a:moveTo>
                <a:cubicBezTo>
                  <a:pt x="157" y="86"/>
                  <a:pt x="157" y="86"/>
                  <a:pt x="157" y="86"/>
                </a:cubicBezTo>
                <a:cubicBezTo>
                  <a:pt x="159" y="86"/>
                  <a:pt x="160" y="85"/>
                  <a:pt x="160" y="83"/>
                </a:cubicBezTo>
                <a:cubicBezTo>
                  <a:pt x="160" y="82"/>
                  <a:pt x="159" y="80"/>
                  <a:pt x="157" y="80"/>
                </a:cubicBezTo>
                <a:cubicBezTo>
                  <a:pt x="156" y="80"/>
                  <a:pt x="155" y="81"/>
                  <a:pt x="155" y="83"/>
                </a:cubicBezTo>
                <a:cubicBezTo>
                  <a:pt x="155" y="84"/>
                  <a:pt x="156" y="86"/>
                  <a:pt x="157" y="86"/>
                </a:cubicBezTo>
                <a:close/>
                <a:moveTo>
                  <a:pt x="3" y="91"/>
                </a:moveTo>
                <a:cubicBezTo>
                  <a:pt x="5" y="90"/>
                  <a:pt x="6" y="89"/>
                  <a:pt x="6" y="88"/>
                </a:cubicBezTo>
                <a:cubicBezTo>
                  <a:pt x="6" y="86"/>
                  <a:pt x="4" y="85"/>
                  <a:pt x="3" y="85"/>
                </a:cubicBezTo>
                <a:cubicBezTo>
                  <a:pt x="1" y="85"/>
                  <a:pt x="0" y="87"/>
                  <a:pt x="0" y="88"/>
                </a:cubicBezTo>
                <a:cubicBezTo>
                  <a:pt x="1" y="90"/>
                  <a:pt x="2" y="91"/>
                  <a:pt x="3" y="91"/>
                </a:cubicBezTo>
                <a:cubicBezTo>
                  <a:pt x="3" y="91"/>
                  <a:pt x="3" y="91"/>
                  <a:pt x="3" y="91"/>
                </a:cubicBezTo>
                <a:close/>
                <a:moveTo>
                  <a:pt x="5" y="98"/>
                </a:moveTo>
                <a:cubicBezTo>
                  <a:pt x="6" y="98"/>
                  <a:pt x="7" y="97"/>
                  <a:pt x="7" y="95"/>
                </a:cubicBezTo>
                <a:cubicBezTo>
                  <a:pt x="7" y="94"/>
                  <a:pt x="5" y="93"/>
                  <a:pt x="4" y="93"/>
                </a:cubicBezTo>
                <a:cubicBezTo>
                  <a:pt x="2" y="94"/>
                  <a:pt x="1" y="95"/>
                  <a:pt x="2" y="96"/>
                </a:cubicBezTo>
                <a:cubicBezTo>
                  <a:pt x="2" y="98"/>
                  <a:pt x="3" y="99"/>
                  <a:pt x="4" y="99"/>
                </a:cubicBezTo>
                <a:cubicBezTo>
                  <a:pt x="4" y="99"/>
                  <a:pt x="5" y="99"/>
                  <a:pt x="5" y="98"/>
                </a:cubicBezTo>
                <a:close/>
                <a:moveTo>
                  <a:pt x="12" y="110"/>
                </a:moveTo>
                <a:cubicBezTo>
                  <a:pt x="11" y="109"/>
                  <a:pt x="9" y="108"/>
                  <a:pt x="8" y="109"/>
                </a:cubicBezTo>
                <a:cubicBezTo>
                  <a:pt x="7" y="109"/>
                  <a:pt x="6" y="111"/>
                  <a:pt x="7" y="112"/>
                </a:cubicBezTo>
                <a:cubicBezTo>
                  <a:pt x="7" y="113"/>
                  <a:pt x="8" y="114"/>
                  <a:pt x="9" y="114"/>
                </a:cubicBezTo>
                <a:cubicBezTo>
                  <a:pt x="10" y="114"/>
                  <a:pt x="10" y="114"/>
                  <a:pt x="10" y="114"/>
                </a:cubicBezTo>
                <a:cubicBezTo>
                  <a:pt x="12" y="113"/>
                  <a:pt x="12" y="111"/>
                  <a:pt x="12" y="110"/>
                </a:cubicBezTo>
                <a:close/>
                <a:moveTo>
                  <a:pt x="9" y="103"/>
                </a:moveTo>
                <a:cubicBezTo>
                  <a:pt x="8" y="101"/>
                  <a:pt x="7" y="101"/>
                  <a:pt x="6" y="101"/>
                </a:cubicBezTo>
                <a:cubicBezTo>
                  <a:pt x="4" y="102"/>
                  <a:pt x="3" y="103"/>
                  <a:pt x="4" y="104"/>
                </a:cubicBezTo>
                <a:cubicBezTo>
                  <a:pt x="4" y="106"/>
                  <a:pt x="5" y="106"/>
                  <a:pt x="6" y="106"/>
                </a:cubicBezTo>
                <a:cubicBezTo>
                  <a:pt x="7" y="106"/>
                  <a:pt x="7" y="106"/>
                  <a:pt x="7" y="106"/>
                </a:cubicBezTo>
                <a:cubicBezTo>
                  <a:pt x="9" y="106"/>
                  <a:pt x="9" y="104"/>
                  <a:pt x="9" y="103"/>
                </a:cubicBezTo>
                <a:close/>
                <a:moveTo>
                  <a:pt x="79" y="155"/>
                </a:moveTo>
                <a:cubicBezTo>
                  <a:pt x="77" y="155"/>
                  <a:pt x="76" y="156"/>
                  <a:pt x="76" y="157"/>
                </a:cubicBezTo>
                <a:cubicBezTo>
                  <a:pt x="76" y="159"/>
                  <a:pt x="77" y="160"/>
                  <a:pt x="78" y="160"/>
                </a:cubicBezTo>
                <a:cubicBezTo>
                  <a:pt x="78" y="160"/>
                  <a:pt x="79" y="160"/>
                  <a:pt x="79" y="160"/>
                </a:cubicBezTo>
                <a:cubicBezTo>
                  <a:pt x="80" y="160"/>
                  <a:pt x="81" y="159"/>
                  <a:pt x="81" y="157"/>
                </a:cubicBezTo>
                <a:cubicBezTo>
                  <a:pt x="81" y="156"/>
                  <a:pt x="80" y="155"/>
                  <a:pt x="79" y="155"/>
                </a:cubicBezTo>
                <a:close/>
                <a:moveTo>
                  <a:pt x="139" y="126"/>
                </a:moveTo>
                <a:cubicBezTo>
                  <a:pt x="138" y="127"/>
                  <a:pt x="138" y="129"/>
                  <a:pt x="139" y="129"/>
                </a:cubicBezTo>
                <a:cubicBezTo>
                  <a:pt x="140" y="130"/>
                  <a:pt x="141" y="130"/>
                  <a:pt x="141" y="130"/>
                </a:cubicBezTo>
                <a:cubicBezTo>
                  <a:pt x="142" y="130"/>
                  <a:pt x="143" y="130"/>
                  <a:pt x="143" y="129"/>
                </a:cubicBezTo>
                <a:cubicBezTo>
                  <a:pt x="144" y="128"/>
                  <a:pt x="144" y="126"/>
                  <a:pt x="143" y="125"/>
                </a:cubicBezTo>
                <a:cubicBezTo>
                  <a:pt x="142" y="124"/>
                  <a:pt x="140" y="125"/>
                  <a:pt x="139" y="126"/>
                </a:cubicBezTo>
                <a:close/>
                <a:moveTo>
                  <a:pt x="122" y="142"/>
                </a:moveTo>
                <a:cubicBezTo>
                  <a:pt x="121" y="142"/>
                  <a:pt x="121" y="144"/>
                  <a:pt x="122" y="145"/>
                </a:cubicBezTo>
                <a:cubicBezTo>
                  <a:pt x="122" y="146"/>
                  <a:pt x="123" y="146"/>
                  <a:pt x="124" y="146"/>
                </a:cubicBezTo>
                <a:cubicBezTo>
                  <a:pt x="124" y="146"/>
                  <a:pt x="125" y="146"/>
                  <a:pt x="125" y="146"/>
                </a:cubicBezTo>
                <a:cubicBezTo>
                  <a:pt x="126" y="145"/>
                  <a:pt x="127" y="143"/>
                  <a:pt x="126" y="142"/>
                </a:cubicBezTo>
                <a:cubicBezTo>
                  <a:pt x="125" y="141"/>
                  <a:pt x="123" y="141"/>
                  <a:pt x="122" y="142"/>
                </a:cubicBezTo>
                <a:close/>
                <a:moveTo>
                  <a:pt x="128" y="137"/>
                </a:moveTo>
                <a:cubicBezTo>
                  <a:pt x="127" y="138"/>
                  <a:pt x="127" y="140"/>
                  <a:pt x="128" y="141"/>
                </a:cubicBezTo>
                <a:cubicBezTo>
                  <a:pt x="129" y="141"/>
                  <a:pt x="129" y="142"/>
                  <a:pt x="130" y="142"/>
                </a:cubicBezTo>
                <a:cubicBezTo>
                  <a:pt x="131" y="142"/>
                  <a:pt x="131" y="141"/>
                  <a:pt x="132" y="141"/>
                </a:cubicBezTo>
                <a:cubicBezTo>
                  <a:pt x="133" y="140"/>
                  <a:pt x="133" y="138"/>
                  <a:pt x="132" y="137"/>
                </a:cubicBezTo>
                <a:cubicBezTo>
                  <a:pt x="131" y="136"/>
                  <a:pt x="129" y="136"/>
                  <a:pt x="128" y="137"/>
                </a:cubicBezTo>
                <a:close/>
                <a:moveTo>
                  <a:pt x="147" y="119"/>
                </a:moveTo>
                <a:cubicBezTo>
                  <a:pt x="146" y="118"/>
                  <a:pt x="144" y="118"/>
                  <a:pt x="143" y="119"/>
                </a:cubicBezTo>
                <a:cubicBezTo>
                  <a:pt x="143" y="121"/>
                  <a:pt x="143" y="122"/>
                  <a:pt x="144" y="123"/>
                </a:cubicBezTo>
                <a:cubicBezTo>
                  <a:pt x="145" y="123"/>
                  <a:pt x="145" y="123"/>
                  <a:pt x="146" y="123"/>
                </a:cubicBezTo>
                <a:cubicBezTo>
                  <a:pt x="147" y="123"/>
                  <a:pt x="147" y="123"/>
                  <a:pt x="148" y="122"/>
                </a:cubicBezTo>
                <a:cubicBezTo>
                  <a:pt x="149" y="121"/>
                  <a:pt x="148" y="119"/>
                  <a:pt x="147" y="119"/>
                </a:cubicBezTo>
                <a:close/>
                <a:moveTo>
                  <a:pt x="134" y="132"/>
                </a:moveTo>
                <a:cubicBezTo>
                  <a:pt x="133" y="133"/>
                  <a:pt x="133" y="134"/>
                  <a:pt x="134" y="135"/>
                </a:cubicBezTo>
                <a:cubicBezTo>
                  <a:pt x="135" y="136"/>
                  <a:pt x="135" y="136"/>
                  <a:pt x="136" y="136"/>
                </a:cubicBezTo>
                <a:cubicBezTo>
                  <a:pt x="137" y="136"/>
                  <a:pt x="137" y="136"/>
                  <a:pt x="138" y="135"/>
                </a:cubicBezTo>
                <a:cubicBezTo>
                  <a:pt x="139" y="134"/>
                  <a:pt x="139" y="133"/>
                  <a:pt x="138" y="131"/>
                </a:cubicBezTo>
                <a:cubicBezTo>
                  <a:pt x="137" y="130"/>
                  <a:pt x="135" y="131"/>
                  <a:pt x="134" y="132"/>
                </a:cubicBezTo>
                <a:close/>
                <a:moveTo>
                  <a:pt x="157" y="88"/>
                </a:moveTo>
                <a:cubicBezTo>
                  <a:pt x="156" y="88"/>
                  <a:pt x="154" y="89"/>
                  <a:pt x="154" y="91"/>
                </a:cubicBezTo>
                <a:cubicBezTo>
                  <a:pt x="154" y="92"/>
                  <a:pt x="155" y="93"/>
                  <a:pt x="156" y="94"/>
                </a:cubicBezTo>
                <a:cubicBezTo>
                  <a:pt x="156" y="94"/>
                  <a:pt x="156" y="94"/>
                  <a:pt x="157" y="94"/>
                </a:cubicBezTo>
                <a:cubicBezTo>
                  <a:pt x="158" y="94"/>
                  <a:pt x="159" y="93"/>
                  <a:pt x="159" y="91"/>
                </a:cubicBezTo>
                <a:cubicBezTo>
                  <a:pt x="159" y="90"/>
                  <a:pt x="158" y="89"/>
                  <a:pt x="157" y="88"/>
                </a:cubicBezTo>
                <a:close/>
                <a:moveTo>
                  <a:pt x="156" y="96"/>
                </a:moveTo>
                <a:cubicBezTo>
                  <a:pt x="154" y="96"/>
                  <a:pt x="153" y="97"/>
                  <a:pt x="152" y="98"/>
                </a:cubicBezTo>
                <a:cubicBezTo>
                  <a:pt x="152" y="100"/>
                  <a:pt x="153" y="101"/>
                  <a:pt x="154" y="101"/>
                </a:cubicBezTo>
                <a:cubicBezTo>
                  <a:pt x="155" y="101"/>
                  <a:pt x="155" y="101"/>
                  <a:pt x="155" y="101"/>
                </a:cubicBezTo>
                <a:cubicBezTo>
                  <a:pt x="156" y="101"/>
                  <a:pt x="157" y="101"/>
                  <a:pt x="158" y="99"/>
                </a:cubicBezTo>
                <a:cubicBezTo>
                  <a:pt x="158" y="98"/>
                  <a:pt x="157" y="97"/>
                  <a:pt x="156" y="96"/>
                </a:cubicBezTo>
                <a:close/>
                <a:moveTo>
                  <a:pt x="42" y="144"/>
                </a:moveTo>
                <a:cubicBezTo>
                  <a:pt x="41" y="143"/>
                  <a:pt x="39" y="144"/>
                  <a:pt x="38" y="145"/>
                </a:cubicBezTo>
                <a:cubicBezTo>
                  <a:pt x="37" y="146"/>
                  <a:pt x="38" y="148"/>
                  <a:pt x="39" y="149"/>
                </a:cubicBezTo>
                <a:cubicBezTo>
                  <a:pt x="40" y="149"/>
                  <a:pt x="40" y="149"/>
                  <a:pt x="40" y="149"/>
                </a:cubicBezTo>
                <a:cubicBezTo>
                  <a:pt x="41" y="149"/>
                  <a:pt x="42" y="149"/>
                  <a:pt x="43" y="148"/>
                </a:cubicBezTo>
                <a:cubicBezTo>
                  <a:pt x="44" y="147"/>
                  <a:pt x="43" y="145"/>
                  <a:pt x="42" y="144"/>
                </a:cubicBezTo>
                <a:close/>
                <a:moveTo>
                  <a:pt x="154" y="104"/>
                </a:moveTo>
                <a:cubicBezTo>
                  <a:pt x="152" y="103"/>
                  <a:pt x="151" y="104"/>
                  <a:pt x="150" y="106"/>
                </a:cubicBezTo>
                <a:cubicBezTo>
                  <a:pt x="150" y="107"/>
                  <a:pt x="150" y="108"/>
                  <a:pt x="152" y="109"/>
                </a:cubicBezTo>
                <a:cubicBezTo>
                  <a:pt x="152" y="109"/>
                  <a:pt x="152" y="109"/>
                  <a:pt x="153" y="109"/>
                </a:cubicBezTo>
                <a:cubicBezTo>
                  <a:pt x="154" y="109"/>
                  <a:pt x="155" y="108"/>
                  <a:pt x="155" y="107"/>
                </a:cubicBezTo>
                <a:cubicBezTo>
                  <a:pt x="156" y="106"/>
                  <a:pt x="155" y="104"/>
                  <a:pt x="154" y="104"/>
                </a:cubicBezTo>
                <a:close/>
                <a:moveTo>
                  <a:pt x="151" y="111"/>
                </a:moveTo>
                <a:cubicBezTo>
                  <a:pt x="149" y="111"/>
                  <a:pt x="148" y="111"/>
                  <a:pt x="147" y="113"/>
                </a:cubicBezTo>
                <a:cubicBezTo>
                  <a:pt x="147" y="114"/>
                  <a:pt x="147" y="116"/>
                  <a:pt x="148" y="116"/>
                </a:cubicBezTo>
                <a:cubicBezTo>
                  <a:pt x="149" y="116"/>
                  <a:pt x="149" y="116"/>
                  <a:pt x="150" y="116"/>
                </a:cubicBezTo>
                <a:cubicBezTo>
                  <a:pt x="151" y="116"/>
                  <a:pt x="152" y="116"/>
                  <a:pt x="152" y="115"/>
                </a:cubicBezTo>
                <a:cubicBezTo>
                  <a:pt x="153" y="114"/>
                  <a:pt x="152" y="112"/>
                  <a:pt x="151" y="111"/>
                </a:cubicBezTo>
                <a:close/>
                <a:moveTo>
                  <a:pt x="71" y="154"/>
                </a:moveTo>
                <a:cubicBezTo>
                  <a:pt x="69" y="154"/>
                  <a:pt x="68" y="155"/>
                  <a:pt x="68" y="156"/>
                </a:cubicBezTo>
                <a:cubicBezTo>
                  <a:pt x="68" y="158"/>
                  <a:pt x="69" y="159"/>
                  <a:pt x="70" y="159"/>
                </a:cubicBezTo>
                <a:cubicBezTo>
                  <a:pt x="70" y="159"/>
                  <a:pt x="70" y="159"/>
                  <a:pt x="70" y="159"/>
                </a:cubicBezTo>
                <a:cubicBezTo>
                  <a:pt x="70" y="159"/>
                  <a:pt x="70" y="159"/>
                  <a:pt x="71" y="159"/>
                </a:cubicBezTo>
                <a:cubicBezTo>
                  <a:pt x="72" y="159"/>
                  <a:pt x="73" y="158"/>
                  <a:pt x="73" y="157"/>
                </a:cubicBezTo>
                <a:cubicBezTo>
                  <a:pt x="73" y="156"/>
                  <a:pt x="72" y="154"/>
                  <a:pt x="71" y="154"/>
                </a:cubicBezTo>
                <a:close/>
                <a:moveTo>
                  <a:pt x="56" y="151"/>
                </a:moveTo>
                <a:cubicBezTo>
                  <a:pt x="54" y="150"/>
                  <a:pt x="53" y="151"/>
                  <a:pt x="52" y="152"/>
                </a:cubicBezTo>
                <a:cubicBezTo>
                  <a:pt x="52" y="154"/>
                  <a:pt x="53" y="155"/>
                  <a:pt x="54" y="156"/>
                </a:cubicBezTo>
                <a:cubicBezTo>
                  <a:pt x="54" y="156"/>
                  <a:pt x="55" y="156"/>
                  <a:pt x="55" y="156"/>
                </a:cubicBezTo>
                <a:cubicBezTo>
                  <a:pt x="56" y="156"/>
                  <a:pt x="57" y="155"/>
                  <a:pt x="58" y="154"/>
                </a:cubicBezTo>
                <a:cubicBezTo>
                  <a:pt x="58" y="153"/>
                  <a:pt x="57" y="151"/>
                  <a:pt x="56" y="151"/>
                </a:cubicBezTo>
                <a:close/>
                <a:moveTo>
                  <a:pt x="63" y="153"/>
                </a:moveTo>
                <a:cubicBezTo>
                  <a:pt x="62" y="152"/>
                  <a:pt x="60" y="153"/>
                  <a:pt x="60" y="155"/>
                </a:cubicBezTo>
                <a:cubicBezTo>
                  <a:pt x="60" y="156"/>
                  <a:pt x="61" y="158"/>
                  <a:pt x="62" y="158"/>
                </a:cubicBezTo>
                <a:cubicBezTo>
                  <a:pt x="62" y="158"/>
                  <a:pt x="62" y="158"/>
                  <a:pt x="63" y="158"/>
                </a:cubicBezTo>
                <a:cubicBezTo>
                  <a:pt x="64" y="158"/>
                  <a:pt x="65" y="157"/>
                  <a:pt x="65" y="156"/>
                </a:cubicBezTo>
                <a:cubicBezTo>
                  <a:pt x="66" y="155"/>
                  <a:pt x="65" y="153"/>
                  <a:pt x="63" y="153"/>
                </a:cubicBezTo>
                <a:close/>
                <a:moveTo>
                  <a:pt x="49" y="148"/>
                </a:moveTo>
                <a:cubicBezTo>
                  <a:pt x="47" y="147"/>
                  <a:pt x="46" y="148"/>
                  <a:pt x="45" y="149"/>
                </a:cubicBezTo>
                <a:cubicBezTo>
                  <a:pt x="45" y="150"/>
                  <a:pt x="45" y="152"/>
                  <a:pt x="46" y="153"/>
                </a:cubicBezTo>
                <a:cubicBezTo>
                  <a:pt x="47" y="153"/>
                  <a:pt x="47" y="153"/>
                  <a:pt x="48" y="153"/>
                </a:cubicBezTo>
                <a:cubicBezTo>
                  <a:pt x="49" y="153"/>
                  <a:pt x="50" y="152"/>
                  <a:pt x="50" y="151"/>
                </a:cubicBezTo>
                <a:cubicBezTo>
                  <a:pt x="51" y="150"/>
                  <a:pt x="50" y="148"/>
                  <a:pt x="49" y="148"/>
                </a:cubicBezTo>
                <a:close/>
                <a:moveTo>
                  <a:pt x="94" y="153"/>
                </a:moveTo>
                <a:cubicBezTo>
                  <a:pt x="92" y="154"/>
                  <a:pt x="92" y="155"/>
                  <a:pt x="92" y="157"/>
                </a:cubicBezTo>
                <a:cubicBezTo>
                  <a:pt x="92" y="158"/>
                  <a:pt x="93" y="159"/>
                  <a:pt x="94" y="159"/>
                </a:cubicBezTo>
                <a:cubicBezTo>
                  <a:pt x="95" y="159"/>
                  <a:pt x="95" y="159"/>
                  <a:pt x="95" y="159"/>
                </a:cubicBezTo>
                <a:cubicBezTo>
                  <a:pt x="96" y="158"/>
                  <a:pt x="97" y="157"/>
                  <a:pt x="97" y="156"/>
                </a:cubicBezTo>
                <a:cubicBezTo>
                  <a:pt x="97" y="154"/>
                  <a:pt x="95" y="153"/>
                  <a:pt x="94" y="153"/>
                </a:cubicBezTo>
                <a:close/>
                <a:moveTo>
                  <a:pt x="101" y="152"/>
                </a:moveTo>
                <a:cubicBezTo>
                  <a:pt x="100" y="152"/>
                  <a:pt x="99" y="153"/>
                  <a:pt x="100" y="155"/>
                </a:cubicBezTo>
                <a:cubicBezTo>
                  <a:pt x="100" y="156"/>
                  <a:pt x="101" y="157"/>
                  <a:pt x="102" y="157"/>
                </a:cubicBezTo>
                <a:cubicBezTo>
                  <a:pt x="102" y="157"/>
                  <a:pt x="103" y="157"/>
                  <a:pt x="103" y="157"/>
                </a:cubicBezTo>
                <a:cubicBezTo>
                  <a:pt x="104" y="156"/>
                  <a:pt x="105" y="155"/>
                  <a:pt x="105" y="153"/>
                </a:cubicBezTo>
                <a:cubicBezTo>
                  <a:pt x="104" y="152"/>
                  <a:pt x="103" y="151"/>
                  <a:pt x="101" y="152"/>
                </a:cubicBezTo>
                <a:close/>
                <a:moveTo>
                  <a:pt x="109" y="149"/>
                </a:moveTo>
                <a:cubicBezTo>
                  <a:pt x="107" y="150"/>
                  <a:pt x="107" y="151"/>
                  <a:pt x="107" y="152"/>
                </a:cubicBezTo>
                <a:cubicBezTo>
                  <a:pt x="108" y="153"/>
                  <a:pt x="109" y="154"/>
                  <a:pt x="110" y="154"/>
                </a:cubicBezTo>
                <a:cubicBezTo>
                  <a:pt x="110" y="154"/>
                  <a:pt x="110" y="154"/>
                  <a:pt x="111" y="154"/>
                </a:cubicBezTo>
                <a:cubicBezTo>
                  <a:pt x="112" y="153"/>
                  <a:pt x="113" y="152"/>
                  <a:pt x="112" y="150"/>
                </a:cubicBezTo>
                <a:cubicBezTo>
                  <a:pt x="112" y="149"/>
                  <a:pt x="110" y="148"/>
                  <a:pt x="109" y="149"/>
                </a:cubicBezTo>
                <a:close/>
                <a:moveTo>
                  <a:pt x="86" y="154"/>
                </a:moveTo>
                <a:cubicBezTo>
                  <a:pt x="85" y="155"/>
                  <a:pt x="84" y="156"/>
                  <a:pt x="84" y="157"/>
                </a:cubicBezTo>
                <a:cubicBezTo>
                  <a:pt x="84" y="159"/>
                  <a:pt x="85" y="160"/>
                  <a:pt x="87" y="160"/>
                </a:cubicBezTo>
                <a:cubicBezTo>
                  <a:pt x="87" y="160"/>
                  <a:pt x="87" y="160"/>
                  <a:pt x="87" y="160"/>
                </a:cubicBezTo>
                <a:cubicBezTo>
                  <a:pt x="87" y="160"/>
                  <a:pt x="87" y="160"/>
                  <a:pt x="87" y="160"/>
                </a:cubicBezTo>
                <a:cubicBezTo>
                  <a:pt x="88" y="160"/>
                  <a:pt x="89" y="158"/>
                  <a:pt x="89" y="157"/>
                </a:cubicBezTo>
                <a:cubicBezTo>
                  <a:pt x="89" y="155"/>
                  <a:pt x="88" y="154"/>
                  <a:pt x="86" y="154"/>
                </a:cubicBezTo>
                <a:close/>
                <a:moveTo>
                  <a:pt x="116" y="146"/>
                </a:moveTo>
                <a:cubicBezTo>
                  <a:pt x="114" y="146"/>
                  <a:pt x="114" y="148"/>
                  <a:pt x="115" y="149"/>
                </a:cubicBezTo>
                <a:cubicBezTo>
                  <a:pt x="115" y="150"/>
                  <a:pt x="116" y="151"/>
                  <a:pt x="117" y="151"/>
                </a:cubicBezTo>
                <a:cubicBezTo>
                  <a:pt x="117" y="151"/>
                  <a:pt x="118" y="151"/>
                  <a:pt x="118" y="150"/>
                </a:cubicBezTo>
                <a:cubicBezTo>
                  <a:pt x="120" y="150"/>
                  <a:pt x="120" y="148"/>
                  <a:pt x="119" y="147"/>
                </a:cubicBezTo>
                <a:cubicBezTo>
                  <a:pt x="119" y="145"/>
                  <a:pt x="117" y="145"/>
                  <a:pt x="116" y="14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2" name="TextBox 31"/>
          <p:cNvSpPr txBox="1"/>
          <p:nvPr/>
        </p:nvSpPr>
        <p:spPr>
          <a:xfrm>
            <a:off x="1143001" y="4453045"/>
            <a:ext cx="1586332" cy="369332"/>
          </a:xfrm>
          <a:prstGeom prst="rect">
            <a:avLst/>
          </a:prstGeom>
          <a:noFill/>
        </p:spPr>
        <p:txBody>
          <a:bodyPr wrap="none" lIns="0" rIns="0" rtlCol="0">
            <a:spAutoFit/>
          </a:bodyPr>
          <a:lstStyle/>
          <a:p>
            <a:r>
              <a:rPr lang="en-US" b="1" spc="50" dirty="0">
                <a:latin typeface="RBC Display" panose="02000000000000000000" pitchFamily="2" charset="77"/>
                <a:ea typeface="Open Sans" charset="0"/>
                <a:cs typeface="Open Sans" charset="0"/>
              </a:rPr>
              <a:t>Digital Assets</a:t>
            </a:r>
          </a:p>
        </p:txBody>
      </p:sp>
      <p:sp>
        <p:nvSpPr>
          <p:cNvPr id="33" name="TextBox 32"/>
          <p:cNvSpPr txBox="1"/>
          <p:nvPr/>
        </p:nvSpPr>
        <p:spPr>
          <a:xfrm>
            <a:off x="1143001" y="4857937"/>
            <a:ext cx="2599384" cy="1033232"/>
          </a:xfrm>
          <a:prstGeom prst="rect">
            <a:avLst/>
          </a:prstGeom>
          <a:noFill/>
        </p:spPr>
        <p:txBody>
          <a:bodyPr wrap="square" lIns="0" rIns="0" rtlCol="0">
            <a:spAutoFit/>
          </a:bodyPr>
          <a:lstStyle/>
          <a:p>
            <a:pPr>
              <a:lnSpc>
                <a:spcPct val="130000"/>
              </a:lnSpc>
            </a:pPr>
            <a:r>
              <a:rPr lang="en-US" sz="1200" dirty="0" err="1">
                <a:solidFill>
                  <a:schemeClr val="tx1">
                    <a:alpha val="70000"/>
                  </a:schemeClr>
                </a:solidFill>
                <a:latin typeface="RBC Text" panose="02000000000000000000" pitchFamily="2" charset="77"/>
              </a:rPr>
              <a:t>Sed</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t</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perspiciat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nd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omn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ist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natus</a:t>
            </a:r>
            <a:r>
              <a:rPr lang="en-US" sz="1200" dirty="0">
                <a:solidFill>
                  <a:schemeClr val="tx1">
                    <a:alpha val="70000"/>
                  </a:schemeClr>
                </a:solidFill>
                <a:latin typeface="RBC Text" panose="02000000000000000000" pitchFamily="2" charset="77"/>
              </a:rPr>
              <a:t> error sit </a:t>
            </a:r>
            <a:r>
              <a:rPr lang="en-US" sz="1200" dirty="0" err="1">
                <a:solidFill>
                  <a:schemeClr val="tx1">
                    <a:alpha val="70000"/>
                  </a:schemeClr>
                </a:solidFill>
                <a:latin typeface="RBC Text" panose="02000000000000000000" pitchFamily="2" charset="77"/>
              </a:rPr>
              <a:t>voluptate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accusantiu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doloremqu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laudantium</a:t>
            </a:r>
            <a:r>
              <a:rPr lang="en-US" sz="1200" dirty="0">
                <a:solidFill>
                  <a:schemeClr val="tx1">
                    <a:alpha val="70000"/>
                  </a:schemeClr>
                </a:solidFill>
                <a:latin typeface="RBC Text" panose="02000000000000000000" pitchFamily="2" charset="77"/>
              </a:rPr>
              <a:t>.</a:t>
            </a:r>
          </a:p>
        </p:txBody>
      </p:sp>
      <p:sp>
        <p:nvSpPr>
          <p:cNvPr id="34" name="TextBox 33"/>
          <p:cNvSpPr txBox="1"/>
          <p:nvPr/>
        </p:nvSpPr>
        <p:spPr>
          <a:xfrm>
            <a:off x="4174210" y="4453045"/>
            <a:ext cx="1627753" cy="369332"/>
          </a:xfrm>
          <a:prstGeom prst="rect">
            <a:avLst/>
          </a:prstGeom>
          <a:noFill/>
        </p:spPr>
        <p:txBody>
          <a:bodyPr wrap="none" lIns="0" rIns="0" rtlCol="0">
            <a:spAutoFit/>
          </a:bodyPr>
          <a:lstStyle/>
          <a:p>
            <a:r>
              <a:rPr lang="en-US" b="1" spc="50" dirty="0">
                <a:latin typeface="RBC Display" panose="02000000000000000000" pitchFamily="2" charset="77"/>
                <a:ea typeface="Open Sans" charset="0"/>
                <a:cs typeface="Open Sans" charset="0"/>
              </a:rPr>
              <a:t>Digital Assets</a:t>
            </a:r>
          </a:p>
        </p:txBody>
      </p:sp>
      <p:sp>
        <p:nvSpPr>
          <p:cNvPr id="35" name="TextBox 34"/>
          <p:cNvSpPr txBox="1"/>
          <p:nvPr/>
        </p:nvSpPr>
        <p:spPr>
          <a:xfrm>
            <a:off x="4174210" y="4857937"/>
            <a:ext cx="2599384" cy="1033232"/>
          </a:xfrm>
          <a:prstGeom prst="rect">
            <a:avLst/>
          </a:prstGeom>
          <a:noFill/>
        </p:spPr>
        <p:txBody>
          <a:bodyPr wrap="square" lIns="0" rIns="0" rtlCol="0">
            <a:spAutoFit/>
          </a:bodyPr>
          <a:lstStyle/>
          <a:p>
            <a:pPr>
              <a:lnSpc>
                <a:spcPct val="130000"/>
              </a:lnSpc>
            </a:pPr>
            <a:r>
              <a:rPr lang="en-US" sz="1200" dirty="0" err="1">
                <a:solidFill>
                  <a:schemeClr val="tx1">
                    <a:alpha val="70000"/>
                  </a:schemeClr>
                </a:solidFill>
                <a:latin typeface="RBC Text" panose="02000000000000000000" pitchFamily="2" charset="77"/>
              </a:rPr>
              <a:t>Sed</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t</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perspiciat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nd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omn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ist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natus</a:t>
            </a:r>
            <a:r>
              <a:rPr lang="en-US" sz="1200" dirty="0">
                <a:solidFill>
                  <a:schemeClr val="tx1">
                    <a:alpha val="70000"/>
                  </a:schemeClr>
                </a:solidFill>
                <a:latin typeface="RBC Text" panose="02000000000000000000" pitchFamily="2" charset="77"/>
              </a:rPr>
              <a:t> error sit </a:t>
            </a:r>
            <a:r>
              <a:rPr lang="en-US" sz="1200" dirty="0" err="1">
                <a:solidFill>
                  <a:schemeClr val="tx1">
                    <a:alpha val="70000"/>
                  </a:schemeClr>
                </a:solidFill>
                <a:latin typeface="RBC Text" panose="02000000000000000000" pitchFamily="2" charset="77"/>
              </a:rPr>
              <a:t>voluptate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accusantiu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doloremqu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laudantium</a:t>
            </a:r>
            <a:r>
              <a:rPr lang="en-US" sz="1200" dirty="0">
                <a:solidFill>
                  <a:schemeClr val="tx1">
                    <a:alpha val="70000"/>
                  </a:schemeClr>
                </a:solidFill>
                <a:latin typeface="RBC Text" panose="02000000000000000000" pitchFamily="2" charset="77"/>
              </a:rPr>
              <a:t>.</a:t>
            </a:r>
          </a:p>
        </p:txBody>
      </p:sp>
      <p:sp>
        <p:nvSpPr>
          <p:cNvPr id="36" name="TextBox 35"/>
          <p:cNvSpPr txBox="1"/>
          <p:nvPr/>
        </p:nvSpPr>
        <p:spPr>
          <a:xfrm>
            <a:off x="7213382" y="4453045"/>
            <a:ext cx="1586332" cy="369332"/>
          </a:xfrm>
          <a:prstGeom prst="rect">
            <a:avLst/>
          </a:prstGeom>
          <a:noFill/>
        </p:spPr>
        <p:txBody>
          <a:bodyPr wrap="none" lIns="0" rIns="0" rtlCol="0">
            <a:spAutoFit/>
          </a:bodyPr>
          <a:lstStyle/>
          <a:p>
            <a:r>
              <a:rPr lang="en-US" b="1" spc="50" dirty="0">
                <a:latin typeface="RBC Display" panose="02000000000000000000" pitchFamily="2" charset="77"/>
                <a:ea typeface="Open Sans" charset="0"/>
                <a:cs typeface="Open Sans" charset="0"/>
              </a:rPr>
              <a:t>Digital Assets</a:t>
            </a:r>
          </a:p>
        </p:txBody>
      </p:sp>
      <p:sp>
        <p:nvSpPr>
          <p:cNvPr id="37" name="TextBox 36"/>
          <p:cNvSpPr txBox="1"/>
          <p:nvPr/>
        </p:nvSpPr>
        <p:spPr>
          <a:xfrm>
            <a:off x="7213382" y="4857937"/>
            <a:ext cx="2599384" cy="1033232"/>
          </a:xfrm>
          <a:prstGeom prst="rect">
            <a:avLst/>
          </a:prstGeom>
          <a:noFill/>
        </p:spPr>
        <p:txBody>
          <a:bodyPr wrap="square" lIns="0" rIns="0" rtlCol="0">
            <a:spAutoFit/>
          </a:bodyPr>
          <a:lstStyle/>
          <a:p>
            <a:pPr>
              <a:lnSpc>
                <a:spcPct val="130000"/>
              </a:lnSpc>
            </a:pPr>
            <a:r>
              <a:rPr lang="en-US" sz="1200" dirty="0" err="1">
                <a:solidFill>
                  <a:schemeClr val="tx1">
                    <a:alpha val="70000"/>
                  </a:schemeClr>
                </a:solidFill>
                <a:latin typeface="RBC Text" panose="02000000000000000000" pitchFamily="2" charset="77"/>
              </a:rPr>
              <a:t>Sed</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t</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perspiciat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nd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omn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ist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natus</a:t>
            </a:r>
            <a:r>
              <a:rPr lang="en-US" sz="1200" dirty="0">
                <a:solidFill>
                  <a:schemeClr val="tx1">
                    <a:alpha val="70000"/>
                  </a:schemeClr>
                </a:solidFill>
                <a:latin typeface="RBC Text" panose="02000000000000000000" pitchFamily="2" charset="77"/>
              </a:rPr>
              <a:t> error sit </a:t>
            </a:r>
            <a:r>
              <a:rPr lang="en-US" sz="1200" dirty="0" err="1">
                <a:solidFill>
                  <a:schemeClr val="tx1">
                    <a:alpha val="70000"/>
                  </a:schemeClr>
                </a:solidFill>
                <a:latin typeface="RBC Text" panose="02000000000000000000" pitchFamily="2" charset="77"/>
              </a:rPr>
              <a:t>voluptate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accusantiu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doloremqu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laudantium</a:t>
            </a:r>
            <a:r>
              <a:rPr lang="en-US" sz="1200" dirty="0">
                <a:solidFill>
                  <a:schemeClr val="tx1">
                    <a:alpha val="70000"/>
                  </a:schemeClr>
                </a:solidFill>
                <a:latin typeface="RBC Text" panose="02000000000000000000" pitchFamily="2" charset="77"/>
              </a:rPr>
              <a:t>.</a:t>
            </a:r>
          </a:p>
        </p:txBody>
      </p:sp>
      <p:sp>
        <p:nvSpPr>
          <p:cNvPr id="16" name="Text Placeholder 6">
            <a:extLst>
              <a:ext uri="{FF2B5EF4-FFF2-40B4-BE49-F238E27FC236}">
                <a16:creationId xmlns:a16="http://schemas.microsoft.com/office/drawing/2014/main" id="{0CE37A53-2F8B-2D46-A675-5810FEDEBF9F}"/>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241032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ypto live price tables</a:t>
            </a:r>
          </a:p>
        </p:txBody>
      </p:sp>
      <p:sp>
        <p:nvSpPr>
          <p:cNvPr id="3" name="TextBox 2"/>
          <p:cNvSpPr txBox="1"/>
          <p:nvPr/>
        </p:nvSpPr>
        <p:spPr>
          <a:xfrm>
            <a:off x="913016" y="1869260"/>
            <a:ext cx="3291840" cy="558614"/>
          </a:xfrm>
          <a:prstGeom prst="rect">
            <a:avLst/>
          </a:prstGeom>
          <a:noFill/>
        </p:spPr>
        <p:txBody>
          <a:bodyPr wrap="square" lIns="0" rIns="0" rtlCol="0">
            <a:spAutoFit/>
          </a:bodyPr>
          <a:lstStyle/>
          <a:p>
            <a:pPr>
              <a:lnSpc>
                <a:spcPct val="130000"/>
              </a:lnSpc>
            </a:pPr>
            <a:r>
              <a:rPr lang="en-US" sz="1200" dirty="0">
                <a:solidFill>
                  <a:schemeClr val="tx1">
                    <a:alpha val="70000"/>
                  </a:schemeClr>
                </a:solidFill>
                <a:latin typeface="RBC Text" panose="02000000000000000000" pitchFamily="2" charset="77"/>
              </a:rPr>
              <a:t>Minimum purchase is 50 Coins tokens. Get a bonus from 5% to 25%</a:t>
            </a:r>
          </a:p>
        </p:txBody>
      </p:sp>
      <p:graphicFrame>
        <p:nvGraphicFramePr>
          <p:cNvPr id="5" name="Table 4"/>
          <p:cNvGraphicFramePr>
            <a:graphicFrameLocks noGrp="1"/>
          </p:cNvGraphicFramePr>
          <p:nvPr>
            <p:extLst>
              <p:ext uri="{D42A27DB-BD31-4B8C-83A1-F6EECF244321}">
                <p14:modId xmlns:p14="http://schemas.microsoft.com/office/powerpoint/2010/main" val="1050095351"/>
              </p:ext>
            </p:extLst>
          </p:nvPr>
        </p:nvGraphicFramePr>
        <p:xfrm>
          <a:off x="913016" y="2915423"/>
          <a:ext cx="3113976" cy="2921622"/>
        </p:xfrm>
        <a:graphic>
          <a:graphicData uri="http://schemas.openxmlformats.org/drawingml/2006/table">
            <a:tbl>
              <a:tblPr firstRow="1" bandRow="1">
                <a:tableStyleId>{5C22544A-7EE6-4342-B048-85BDC9FD1C3A}</a:tableStyleId>
              </a:tblPr>
              <a:tblGrid>
                <a:gridCol w="1037992">
                  <a:extLst>
                    <a:ext uri="{9D8B030D-6E8A-4147-A177-3AD203B41FA5}">
                      <a16:colId xmlns:a16="http://schemas.microsoft.com/office/drawing/2014/main" val="20000"/>
                    </a:ext>
                  </a:extLst>
                </a:gridCol>
                <a:gridCol w="1037992">
                  <a:extLst>
                    <a:ext uri="{9D8B030D-6E8A-4147-A177-3AD203B41FA5}">
                      <a16:colId xmlns:a16="http://schemas.microsoft.com/office/drawing/2014/main" val="20001"/>
                    </a:ext>
                  </a:extLst>
                </a:gridCol>
                <a:gridCol w="1037992">
                  <a:extLst>
                    <a:ext uri="{9D8B030D-6E8A-4147-A177-3AD203B41FA5}">
                      <a16:colId xmlns:a16="http://schemas.microsoft.com/office/drawing/2014/main" val="20002"/>
                    </a:ext>
                  </a:extLst>
                </a:gridCol>
              </a:tblGrid>
              <a:tr h="973874">
                <a:tc gridSpan="3">
                  <a:txBody>
                    <a:bodyPr/>
                    <a:lstStyle/>
                    <a:p>
                      <a:pPr algn="ctr"/>
                      <a:r>
                        <a:rPr lang="en-US" b="0" i="0" dirty="0">
                          <a:solidFill>
                            <a:schemeClr val="tx1"/>
                          </a:solidFill>
                          <a:latin typeface="RBC Text" panose="02000000000000000000" pitchFamily="2" charset="77"/>
                        </a:rPr>
                        <a:t>BTC</a:t>
                      </a:r>
                    </a:p>
                    <a:p>
                      <a:pPr algn="ctr"/>
                      <a:r>
                        <a:rPr lang="en-US" sz="1200" b="0" dirty="0">
                          <a:solidFill>
                            <a:schemeClr val="accent1"/>
                          </a:solidFill>
                        </a:rPr>
                        <a:t>Bitcoin</a:t>
                      </a:r>
                    </a:p>
                  </a:txBody>
                  <a:tcPr marT="216000">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973874">
                <a:tc>
                  <a:txBody>
                    <a:bodyPr/>
                    <a:lstStyle/>
                    <a:p>
                      <a:pPr algn="ctr"/>
                      <a:r>
                        <a:rPr lang="en-US" sz="1000" b="0" i="0" dirty="0">
                          <a:solidFill>
                            <a:schemeClr val="accent1"/>
                          </a:solidFill>
                          <a:latin typeface="RBC Text" panose="02000000000000000000" pitchFamily="2" charset="77"/>
                        </a:rPr>
                        <a:t>USD</a:t>
                      </a:r>
                    </a:p>
                    <a:p>
                      <a:pPr algn="ctr"/>
                      <a:r>
                        <a:rPr lang="en-US" dirty="0"/>
                        <a:t>11,500</a:t>
                      </a:r>
                    </a:p>
                  </a:txBody>
                  <a:tcPr anchor="ctr">
                    <a:lnL w="6350" cap="flat" cmpd="sng" algn="ctr">
                      <a:solidFill>
                        <a:schemeClr val="accent1"/>
                      </a:solidFill>
                      <a:prstDash val="solid"/>
                      <a:round/>
                      <a:headEnd type="none" w="med" len="med"/>
                      <a:tailEnd type="none" w="med" len="med"/>
                    </a:lnL>
                    <a:lnR w="12700" cmpd="sng">
                      <a:noFill/>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EUR</a:t>
                      </a:r>
                    </a:p>
                    <a:p>
                      <a:pPr algn="ctr"/>
                      <a:r>
                        <a:rPr lang="en-US" dirty="0"/>
                        <a:t>9,521</a:t>
                      </a:r>
                    </a:p>
                  </a:txBody>
                  <a:tcPr anchor="ctr">
                    <a:lnL w="12700" cmpd="sng">
                      <a:noFill/>
                    </a:lnL>
                    <a:lnR w="12700" cmpd="sng">
                      <a:noFill/>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GBP</a:t>
                      </a:r>
                    </a:p>
                    <a:p>
                      <a:pPr algn="ctr"/>
                      <a:r>
                        <a:rPr lang="en-US" dirty="0"/>
                        <a:t>8,231</a:t>
                      </a:r>
                    </a:p>
                  </a:txBody>
                  <a:tcPr anchor="ctr">
                    <a:lnL w="12700" cmpd="sng">
                      <a:noFill/>
                    </a:lnL>
                    <a:lnR w="6350" cap="flat" cmpd="sng" algn="ctr">
                      <a:solidFill>
                        <a:schemeClr val="accent1"/>
                      </a:solid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73874">
                <a:tc>
                  <a:txBody>
                    <a:bodyPr/>
                    <a:lstStyle/>
                    <a:p>
                      <a:pPr algn="ctr"/>
                      <a:r>
                        <a:rPr lang="en-US" sz="1000" b="0" i="0" dirty="0">
                          <a:solidFill>
                            <a:schemeClr val="accent1"/>
                          </a:solidFill>
                          <a:latin typeface="RBC Text" panose="02000000000000000000" pitchFamily="2" charset="77"/>
                        </a:rPr>
                        <a:t>% 1h</a:t>
                      </a:r>
                    </a:p>
                    <a:p>
                      <a:pPr algn="ctr"/>
                      <a:r>
                        <a:rPr lang="en-US" sz="1800" dirty="0"/>
                        <a:t>▾ </a:t>
                      </a:r>
                      <a:r>
                        <a:rPr lang="en-US" dirty="0"/>
                        <a:t>-0.2</a:t>
                      </a:r>
                    </a:p>
                  </a:txBody>
                  <a:tcPr anchor="ctr">
                    <a:lnL w="6350" cap="flat" cmpd="sng" algn="ctr">
                      <a:solidFill>
                        <a:schemeClr val="accent1"/>
                      </a:solid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a:t>
                      </a:r>
                      <a:r>
                        <a:rPr lang="en-US" sz="1000" baseline="0" dirty="0">
                          <a:solidFill>
                            <a:schemeClr val="accent1"/>
                          </a:solidFill>
                        </a:rPr>
                        <a:t> 24h</a:t>
                      </a:r>
                    </a:p>
                    <a:p>
                      <a:pPr algn="ctr"/>
                      <a:r>
                        <a:rPr lang="en-US" sz="1800" dirty="0"/>
                        <a:t>▾ </a:t>
                      </a:r>
                      <a:r>
                        <a:rPr lang="en-US" baseline="0" dirty="0"/>
                        <a:t>-0.36</a:t>
                      </a:r>
                      <a:endParaRPr lang="en-US" dirty="0"/>
                    </a:p>
                  </a:txBody>
                  <a:tcPr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 7d</a:t>
                      </a:r>
                    </a:p>
                    <a:p>
                      <a:pPr algn="ctr"/>
                      <a:r>
                        <a:rPr lang="en-US" sz="1800" dirty="0"/>
                        <a:t>▴ </a:t>
                      </a:r>
                      <a:r>
                        <a:rPr lang="en-US" dirty="0"/>
                        <a:t>0.41</a:t>
                      </a:r>
                    </a:p>
                  </a:txBody>
                  <a:tcPr anchor="ctr">
                    <a:lnL w="12700" cmpd="sng">
                      <a:noFill/>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931953211"/>
              </p:ext>
            </p:extLst>
          </p:nvPr>
        </p:nvGraphicFramePr>
        <p:xfrm>
          <a:off x="4213777" y="2915423"/>
          <a:ext cx="3113976" cy="2921622"/>
        </p:xfrm>
        <a:graphic>
          <a:graphicData uri="http://schemas.openxmlformats.org/drawingml/2006/table">
            <a:tbl>
              <a:tblPr firstRow="1" bandRow="1">
                <a:tableStyleId>{5C22544A-7EE6-4342-B048-85BDC9FD1C3A}</a:tableStyleId>
              </a:tblPr>
              <a:tblGrid>
                <a:gridCol w="1037992">
                  <a:extLst>
                    <a:ext uri="{9D8B030D-6E8A-4147-A177-3AD203B41FA5}">
                      <a16:colId xmlns:a16="http://schemas.microsoft.com/office/drawing/2014/main" val="20000"/>
                    </a:ext>
                  </a:extLst>
                </a:gridCol>
                <a:gridCol w="1037992">
                  <a:extLst>
                    <a:ext uri="{9D8B030D-6E8A-4147-A177-3AD203B41FA5}">
                      <a16:colId xmlns:a16="http://schemas.microsoft.com/office/drawing/2014/main" val="20001"/>
                    </a:ext>
                  </a:extLst>
                </a:gridCol>
                <a:gridCol w="1037992">
                  <a:extLst>
                    <a:ext uri="{9D8B030D-6E8A-4147-A177-3AD203B41FA5}">
                      <a16:colId xmlns:a16="http://schemas.microsoft.com/office/drawing/2014/main" val="20002"/>
                    </a:ext>
                  </a:extLst>
                </a:gridCol>
              </a:tblGrid>
              <a:tr h="973874">
                <a:tc gridSpan="3">
                  <a:txBody>
                    <a:bodyPr/>
                    <a:lstStyle/>
                    <a:p>
                      <a:pPr algn="ctr"/>
                      <a:r>
                        <a:rPr lang="en-US" b="0" i="0" dirty="0">
                          <a:solidFill>
                            <a:schemeClr val="tx1"/>
                          </a:solidFill>
                          <a:latin typeface="RBC Text" panose="02000000000000000000" pitchFamily="2" charset="77"/>
                        </a:rPr>
                        <a:t>ETH</a:t>
                      </a:r>
                    </a:p>
                    <a:p>
                      <a:pPr algn="ctr"/>
                      <a:r>
                        <a:rPr lang="en-US" sz="1200" b="0" dirty="0" err="1">
                          <a:solidFill>
                            <a:schemeClr val="accent1"/>
                          </a:solidFill>
                        </a:rPr>
                        <a:t>Ethereum</a:t>
                      </a:r>
                      <a:endParaRPr lang="en-US" sz="1200" b="0" dirty="0">
                        <a:solidFill>
                          <a:schemeClr val="accent1"/>
                        </a:solidFill>
                      </a:endParaRPr>
                    </a:p>
                  </a:txBody>
                  <a:tcPr marT="216000">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973874">
                <a:tc>
                  <a:txBody>
                    <a:bodyPr/>
                    <a:lstStyle/>
                    <a:p>
                      <a:pPr algn="ctr"/>
                      <a:r>
                        <a:rPr lang="en-US" sz="1000" b="0" i="0" dirty="0">
                          <a:solidFill>
                            <a:schemeClr val="accent1"/>
                          </a:solidFill>
                          <a:latin typeface="RBC Text" panose="02000000000000000000" pitchFamily="2" charset="77"/>
                        </a:rPr>
                        <a:t>USD</a:t>
                      </a:r>
                    </a:p>
                    <a:p>
                      <a:pPr algn="ctr"/>
                      <a:r>
                        <a:rPr lang="en-US" dirty="0"/>
                        <a:t>1,050</a:t>
                      </a:r>
                    </a:p>
                  </a:txBody>
                  <a:tcPr anchor="ctr">
                    <a:lnL w="6350" cap="flat" cmpd="sng" algn="ctr">
                      <a:solidFill>
                        <a:schemeClr val="accent1"/>
                      </a:solidFill>
                      <a:prstDash val="solid"/>
                      <a:round/>
                      <a:headEnd type="none" w="med" len="med"/>
                      <a:tailEnd type="none" w="med" len="med"/>
                    </a:lnL>
                    <a:lnR w="12700" cmpd="sng">
                      <a:noFill/>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EUR</a:t>
                      </a:r>
                    </a:p>
                    <a:p>
                      <a:pPr algn="ctr"/>
                      <a:r>
                        <a:rPr lang="en-US" dirty="0"/>
                        <a:t>950.4</a:t>
                      </a:r>
                    </a:p>
                  </a:txBody>
                  <a:tcPr anchor="ctr">
                    <a:lnL w="12700" cmpd="sng">
                      <a:noFill/>
                    </a:lnL>
                    <a:lnR w="12700" cmpd="sng">
                      <a:noFill/>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GBP</a:t>
                      </a:r>
                    </a:p>
                    <a:p>
                      <a:pPr algn="ctr"/>
                      <a:r>
                        <a:rPr lang="en-US" dirty="0"/>
                        <a:t>751.0</a:t>
                      </a:r>
                    </a:p>
                  </a:txBody>
                  <a:tcPr anchor="ctr">
                    <a:lnL w="12700" cmpd="sng">
                      <a:noFill/>
                    </a:lnL>
                    <a:lnR w="6350" cap="flat" cmpd="sng" algn="ctr">
                      <a:solidFill>
                        <a:schemeClr val="accent1"/>
                      </a:solid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73874">
                <a:tc>
                  <a:txBody>
                    <a:bodyPr/>
                    <a:lstStyle/>
                    <a:p>
                      <a:pPr algn="ctr"/>
                      <a:r>
                        <a:rPr lang="en-US" sz="1000" b="0" i="0" dirty="0">
                          <a:solidFill>
                            <a:schemeClr val="accent1"/>
                          </a:solidFill>
                          <a:latin typeface="RBC Text" panose="02000000000000000000" pitchFamily="2" charset="77"/>
                        </a:rPr>
                        <a:t>% 1h</a:t>
                      </a:r>
                    </a:p>
                    <a:p>
                      <a:pPr algn="ctr"/>
                      <a:r>
                        <a:rPr lang="en-US" sz="1800" dirty="0"/>
                        <a:t>▾</a:t>
                      </a:r>
                      <a:r>
                        <a:rPr lang="en-US" baseline="0" dirty="0"/>
                        <a:t> </a:t>
                      </a:r>
                      <a:r>
                        <a:rPr lang="en-US" dirty="0"/>
                        <a:t>-0.2</a:t>
                      </a:r>
                    </a:p>
                  </a:txBody>
                  <a:tcPr anchor="ctr">
                    <a:lnL w="6350" cap="flat" cmpd="sng" algn="ctr">
                      <a:solidFill>
                        <a:schemeClr val="accent1"/>
                      </a:solid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a:t>
                      </a:r>
                      <a:r>
                        <a:rPr lang="en-US" sz="1000" baseline="0" dirty="0">
                          <a:solidFill>
                            <a:schemeClr val="accent1"/>
                          </a:solidFill>
                        </a:rPr>
                        <a:t> 24h</a:t>
                      </a:r>
                    </a:p>
                    <a:p>
                      <a:pPr algn="ctr"/>
                      <a:r>
                        <a:rPr lang="en-US" sz="1800" dirty="0"/>
                        <a:t>▾</a:t>
                      </a:r>
                      <a:r>
                        <a:rPr lang="en-US" baseline="0" dirty="0"/>
                        <a:t> -0.36</a:t>
                      </a:r>
                      <a:endParaRPr lang="en-US" dirty="0"/>
                    </a:p>
                  </a:txBody>
                  <a:tcPr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 7d</a:t>
                      </a:r>
                    </a:p>
                    <a:p>
                      <a:pPr algn="ctr"/>
                      <a:r>
                        <a:rPr lang="en-US" sz="1800" dirty="0"/>
                        <a:t>▴ </a:t>
                      </a:r>
                      <a:r>
                        <a:rPr lang="en-US" dirty="0"/>
                        <a:t>0.41</a:t>
                      </a:r>
                    </a:p>
                  </a:txBody>
                  <a:tcPr anchor="ctr">
                    <a:lnL w="12700" cmpd="sng">
                      <a:noFill/>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739379706"/>
              </p:ext>
            </p:extLst>
          </p:nvPr>
        </p:nvGraphicFramePr>
        <p:xfrm>
          <a:off x="7514539" y="2915423"/>
          <a:ext cx="3113976" cy="2921622"/>
        </p:xfrm>
        <a:graphic>
          <a:graphicData uri="http://schemas.openxmlformats.org/drawingml/2006/table">
            <a:tbl>
              <a:tblPr firstRow="1" bandRow="1">
                <a:tableStyleId>{5C22544A-7EE6-4342-B048-85BDC9FD1C3A}</a:tableStyleId>
              </a:tblPr>
              <a:tblGrid>
                <a:gridCol w="1037992">
                  <a:extLst>
                    <a:ext uri="{9D8B030D-6E8A-4147-A177-3AD203B41FA5}">
                      <a16:colId xmlns:a16="http://schemas.microsoft.com/office/drawing/2014/main" val="20000"/>
                    </a:ext>
                  </a:extLst>
                </a:gridCol>
                <a:gridCol w="1037992">
                  <a:extLst>
                    <a:ext uri="{9D8B030D-6E8A-4147-A177-3AD203B41FA5}">
                      <a16:colId xmlns:a16="http://schemas.microsoft.com/office/drawing/2014/main" val="20001"/>
                    </a:ext>
                  </a:extLst>
                </a:gridCol>
                <a:gridCol w="1037992">
                  <a:extLst>
                    <a:ext uri="{9D8B030D-6E8A-4147-A177-3AD203B41FA5}">
                      <a16:colId xmlns:a16="http://schemas.microsoft.com/office/drawing/2014/main" val="20002"/>
                    </a:ext>
                  </a:extLst>
                </a:gridCol>
              </a:tblGrid>
              <a:tr h="973874">
                <a:tc gridSpan="3">
                  <a:txBody>
                    <a:bodyPr/>
                    <a:lstStyle/>
                    <a:p>
                      <a:pPr algn="ctr"/>
                      <a:r>
                        <a:rPr lang="en-US" b="0" i="0" dirty="0">
                          <a:solidFill>
                            <a:schemeClr val="tx1"/>
                          </a:solidFill>
                          <a:latin typeface="RBC Text" panose="02000000000000000000" pitchFamily="2" charset="77"/>
                        </a:rPr>
                        <a:t>LTC</a:t>
                      </a:r>
                    </a:p>
                    <a:p>
                      <a:pPr algn="ctr"/>
                      <a:r>
                        <a:rPr lang="en-US" sz="1200" b="0" dirty="0" err="1">
                          <a:solidFill>
                            <a:schemeClr val="accent1"/>
                          </a:solidFill>
                        </a:rPr>
                        <a:t>Litecoin</a:t>
                      </a:r>
                      <a:endParaRPr lang="en-US" sz="1200" b="0" dirty="0">
                        <a:solidFill>
                          <a:schemeClr val="accent1"/>
                        </a:solidFill>
                      </a:endParaRPr>
                    </a:p>
                  </a:txBody>
                  <a:tcPr marT="216000">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973874">
                <a:tc>
                  <a:txBody>
                    <a:bodyPr/>
                    <a:lstStyle/>
                    <a:p>
                      <a:pPr algn="ctr"/>
                      <a:r>
                        <a:rPr lang="en-US" sz="1000" b="0" i="0" dirty="0">
                          <a:solidFill>
                            <a:schemeClr val="accent1"/>
                          </a:solidFill>
                          <a:latin typeface="RBC Text" panose="02000000000000000000" pitchFamily="2" charset="77"/>
                        </a:rPr>
                        <a:t>USD</a:t>
                      </a:r>
                    </a:p>
                    <a:p>
                      <a:pPr algn="ctr"/>
                      <a:r>
                        <a:rPr lang="en-US" dirty="0"/>
                        <a:t>181.5</a:t>
                      </a:r>
                    </a:p>
                  </a:txBody>
                  <a:tcPr anchor="ctr">
                    <a:lnL w="6350" cap="flat" cmpd="sng" algn="ctr">
                      <a:solidFill>
                        <a:schemeClr val="accent1"/>
                      </a:solidFill>
                      <a:prstDash val="solid"/>
                      <a:round/>
                      <a:headEnd type="none" w="med" len="med"/>
                      <a:tailEnd type="none" w="med" len="med"/>
                    </a:lnL>
                    <a:lnR w="12700" cmpd="sng">
                      <a:noFill/>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EUR</a:t>
                      </a:r>
                    </a:p>
                    <a:p>
                      <a:pPr algn="ctr"/>
                      <a:r>
                        <a:rPr lang="en-US" dirty="0"/>
                        <a:t>132.4</a:t>
                      </a:r>
                    </a:p>
                  </a:txBody>
                  <a:tcPr anchor="ctr">
                    <a:lnL w="12700" cmpd="sng">
                      <a:noFill/>
                    </a:lnL>
                    <a:lnR w="12700" cmpd="sng">
                      <a:noFill/>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GBP</a:t>
                      </a:r>
                    </a:p>
                    <a:p>
                      <a:pPr algn="ctr"/>
                      <a:r>
                        <a:rPr lang="en-US" dirty="0"/>
                        <a:t>129.0</a:t>
                      </a:r>
                    </a:p>
                  </a:txBody>
                  <a:tcPr anchor="ctr">
                    <a:lnL w="12700" cmpd="sng">
                      <a:noFill/>
                    </a:lnL>
                    <a:lnR w="6350" cap="flat" cmpd="sng" algn="ctr">
                      <a:solidFill>
                        <a:schemeClr val="accent1"/>
                      </a:solid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73874">
                <a:tc>
                  <a:txBody>
                    <a:bodyPr/>
                    <a:lstStyle/>
                    <a:p>
                      <a:pPr algn="ctr"/>
                      <a:r>
                        <a:rPr lang="en-US" sz="1000" b="0" i="0" dirty="0">
                          <a:solidFill>
                            <a:schemeClr val="accent1"/>
                          </a:solidFill>
                          <a:latin typeface="RBC Text" panose="02000000000000000000" pitchFamily="2" charset="77"/>
                        </a:rPr>
                        <a:t>% 1h</a:t>
                      </a:r>
                    </a:p>
                    <a:p>
                      <a:pPr algn="ctr"/>
                      <a:r>
                        <a:rPr lang="en-US" sz="1800" dirty="0"/>
                        <a:t>▾</a:t>
                      </a:r>
                      <a:r>
                        <a:rPr lang="en-US" baseline="0" dirty="0"/>
                        <a:t> </a:t>
                      </a:r>
                      <a:r>
                        <a:rPr lang="en-US" dirty="0"/>
                        <a:t>-0.2</a:t>
                      </a:r>
                    </a:p>
                  </a:txBody>
                  <a:tcPr anchor="ctr">
                    <a:lnL w="6350" cap="flat" cmpd="sng" algn="ctr">
                      <a:solidFill>
                        <a:schemeClr val="accent1"/>
                      </a:solid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a:t>
                      </a:r>
                      <a:r>
                        <a:rPr lang="en-US" sz="1000" baseline="0" dirty="0">
                          <a:solidFill>
                            <a:schemeClr val="accent1"/>
                          </a:solidFill>
                        </a:rPr>
                        <a:t> 24h</a:t>
                      </a:r>
                    </a:p>
                    <a:p>
                      <a:pPr algn="ctr"/>
                      <a:r>
                        <a:rPr lang="en-US" sz="1800" dirty="0"/>
                        <a:t>▾</a:t>
                      </a:r>
                      <a:r>
                        <a:rPr lang="en-US" baseline="0" dirty="0"/>
                        <a:t> -0.36</a:t>
                      </a:r>
                      <a:endParaRPr lang="en-US" dirty="0"/>
                    </a:p>
                  </a:txBody>
                  <a:tcPr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chemeClr val="accent1"/>
                          </a:solidFill>
                          <a:latin typeface="RBC Text" panose="02000000000000000000" pitchFamily="2" charset="77"/>
                        </a:rPr>
                        <a:t>% 7d</a:t>
                      </a:r>
                    </a:p>
                    <a:p>
                      <a:pPr algn="ctr"/>
                      <a:r>
                        <a:rPr lang="en-US" sz="1800" dirty="0"/>
                        <a:t>▴ </a:t>
                      </a:r>
                      <a:r>
                        <a:rPr lang="en-US" dirty="0"/>
                        <a:t>0.41</a:t>
                      </a:r>
                    </a:p>
                  </a:txBody>
                  <a:tcPr anchor="ctr">
                    <a:lnL w="12700" cmpd="sng">
                      <a:noFill/>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7" name="Text Placeholder 6">
            <a:extLst>
              <a:ext uri="{FF2B5EF4-FFF2-40B4-BE49-F238E27FC236}">
                <a16:creationId xmlns:a16="http://schemas.microsoft.com/office/drawing/2014/main" id="{219A8781-9F7D-D14E-AAC4-7EC4B7DE93F6}"/>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4597555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Bitcoin</a:t>
            </a:r>
            <a:br>
              <a:rPr lang="en-US" dirty="0"/>
            </a:br>
            <a:r>
              <a:rPr lang="en-US" dirty="0"/>
              <a:t>Price</a:t>
            </a:r>
            <a:br>
              <a:rPr lang="en-US" dirty="0"/>
            </a:br>
            <a:r>
              <a:rPr lang="en-US" dirty="0"/>
              <a:t>Tables</a:t>
            </a:r>
          </a:p>
        </p:txBody>
      </p:sp>
      <p:graphicFrame>
        <p:nvGraphicFramePr>
          <p:cNvPr id="3" name="Table 2"/>
          <p:cNvGraphicFramePr>
            <a:graphicFrameLocks noGrp="1"/>
          </p:cNvGraphicFramePr>
          <p:nvPr/>
        </p:nvGraphicFramePr>
        <p:xfrm>
          <a:off x="5349799" y="1800851"/>
          <a:ext cx="5868327" cy="3896097"/>
        </p:xfrm>
        <a:graphic>
          <a:graphicData uri="http://schemas.openxmlformats.org/drawingml/2006/table">
            <a:tbl>
              <a:tblPr firstRow="1" bandRow="1">
                <a:tableStyleId>{5C22544A-7EE6-4342-B048-85BDC9FD1C3A}</a:tableStyleId>
              </a:tblPr>
              <a:tblGrid>
                <a:gridCol w="1956109">
                  <a:extLst>
                    <a:ext uri="{9D8B030D-6E8A-4147-A177-3AD203B41FA5}">
                      <a16:colId xmlns:a16="http://schemas.microsoft.com/office/drawing/2014/main" val="20000"/>
                    </a:ext>
                  </a:extLst>
                </a:gridCol>
                <a:gridCol w="1956109">
                  <a:extLst>
                    <a:ext uri="{9D8B030D-6E8A-4147-A177-3AD203B41FA5}">
                      <a16:colId xmlns:a16="http://schemas.microsoft.com/office/drawing/2014/main" val="20001"/>
                    </a:ext>
                  </a:extLst>
                </a:gridCol>
                <a:gridCol w="1956109">
                  <a:extLst>
                    <a:ext uri="{9D8B030D-6E8A-4147-A177-3AD203B41FA5}">
                      <a16:colId xmlns:a16="http://schemas.microsoft.com/office/drawing/2014/main" val="20002"/>
                    </a:ext>
                  </a:extLst>
                </a:gridCol>
              </a:tblGrid>
              <a:tr h="1298699">
                <a:tc gridSpan="3">
                  <a:txBody>
                    <a:bodyPr/>
                    <a:lstStyle/>
                    <a:p>
                      <a:pPr algn="ctr"/>
                      <a:r>
                        <a:rPr lang="en-US" sz="2000" b="0" i="0" dirty="0">
                          <a:solidFill>
                            <a:schemeClr val="tx1"/>
                          </a:solidFill>
                          <a:latin typeface="RBC Text" panose="02000000000000000000" pitchFamily="2" charset="77"/>
                        </a:rPr>
                        <a:t>BTC</a:t>
                      </a:r>
                    </a:p>
                    <a:p>
                      <a:pPr algn="ctr"/>
                      <a:r>
                        <a:rPr lang="en-US" sz="1400" b="0" dirty="0">
                          <a:solidFill>
                            <a:schemeClr val="accent1"/>
                          </a:solidFill>
                        </a:rPr>
                        <a:t>Bitcoin</a:t>
                      </a:r>
                    </a:p>
                  </a:txBody>
                  <a:tcPr marT="216000">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1298699">
                <a:tc>
                  <a:txBody>
                    <a:bodyPr/>
                    <a:lstStyle/>
                    <a:p>
                      <a:pPr algn="ctr"/>
                      <a:r>
                        <a:rPr lang="en-US" sz="1050" b="0" i="0" dirty="0">
                          <a:solidFill>
                            <a:schemeClr val="accent1"/>
                          </a:solidFill>
                          <a:latin typeface="RBC Text" panose="02000000000000000000" pitchFamily="2" charset="77"/>
                        </a:rPr>
                        <a:t>USD</a:t>
                      </a:r>
                    </a:p>
                    <a:p>
                      <a:pPr algn="ctr"/>
                      <a:r>
                        <a:rPr lang="en-US" sz="2000" dirty="0"/>
                        <a:t>11,500</a:t>
                      </a:r>
                    </a:p>
                  </a:txBody>
                  <a:tcPr anchor="ctr">
                    <a:lnL w="6350" cap="flat" cmpd="sng" algn="ctr">
                      <a:solidFill>
                        <a:schemeClr val="accent1"/>
                      </a:solidFill>
                      <a:prstDash val="solid"/>
                      <a:round/>
                      <a:headEnd type="none" w="med" len="med"/>
                      <a:tailEnd type="none" w="med" len="med"/>
                    </a:lnL>
                    <a:lnR w="12700" cmpd="sng">
                      <a:noFill/>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i="0" dirty="0">
                          <a:solidFill>
                            <a:schemeClr val="accent1"/>
                          </a:solidFill>
                          <a:latin typeface="RBC Text" panose="02000000000000000000" pitchFamily="2" charset="77"/>
                        </a:rPr>
                        <a:t>EUR</a:t>
                      </a:r>
                    </a:p>
                    <a:p>
                      <a:pPr algn="ctr"/>
                      <a:r>
                        <a:rPr lang="en-US" sz="2000" dirty="0"/>
                        <a:t>9,521</a:t>
                      </a:r>
                    </a:p>
                  </a:txBody>
                  <a:tcPr anchor="ctr">
                    <a:lnL w="12700" cmpd="sng">
                      <a:noFill/>
                    </a:lnL>
                    <a:lnR w="12700" cmpd="sng">
                      <a:noFill/>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i="0" dirty="0">
                          <a:solidFill>
                            <a:schemeClr val="accent1"/>
                          </a:solidFill>
                          <a:latin typeface="RBC Text" panose="02000000000000000000" pitchFamily="2" charset="77"/>
                        </a:rPr>
                        <a:t>GBP</a:t>
                      </a:r>
                    </a:p>
                    <a:p>
                      <a:pPr algn="ctr"/>
                      <a:r>
                        <a:rPr lang="en-US" sz="2000" dirty="0"/>
                        <a:t>8,231</a:t>
                      </a:r>
                    </a:p>
                  </a:txBody>
                  <a:tcPr anchor="ctr">
                    <a:lnL w="12700" cmpd="sng">
                      <a:noFill/>
                    </a:lnL>
                    <a:lnR w="6350" cap="flat" cmpd="sng" algn="ctr">
                      <a:solidFill>
                        <a:schemeClr val="accent1"/>
                      </a:solid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98699">
                <a:tc>
                  <a:txBody>
                    <a:bodyPr/>
                    <a:lstStyle/>
                    <a:p>
                      <a:pPr algn="ctr"/>
                      <a:r>
                        <a:rPr lang="en-US" sz="1050" b="0" i="0" dirty="0">
                          <a:solidFill>
                            <a:schemeClr val="accent1"/>
                          </a:solidFill>
                          <a:latin typeface="RBC Text" panose="02000000000000000000" pitchFamily="2" charset="77"/>
                        </a:rPr>
                        <a:t>% 1h</a:t>
                      </a:r>
                    </a:p>
                    <a:p>
                      <a:pPr algn="ctr"/>
                      <a:r>
                        <a:rPr lang="en-US" sz="2000" dirty="0"/>
                        <a:t>▾ -0.2</a:t>
                      </a:r>
                    </a:p>
                  </a:txBody>
                  <a:tcPr anchor="ctr">
                    <a:lnL w="6350" cap="flat" cmpd="sng" algn="ctr">
                      <a:solidFill>
                        <a:schemeClr val="accent1"/>
                      </a:solid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i="0" dirty="0">
                          <a:solidFill>
                            <a:schemeClr val="accent1"/>
                          </a:solidFill>
                          <a:latin typeface="RBC Text" panose="02000000000000000000" pitchFamily="2" charset="77"/>
                        </a:rPr>
                        <a:t>%</a:t>
                      </a:r>
                      <a:r>
                        <a:rPr lang="en-US" sz="1050" baseline="0" dirty="0">
                          <a:solidFill>
                            <a:schemeClr val="accent1"/>
                          </a:solidFill>
                        </a:rPr>
                        <a:t> 24h</a:t>
                      </a:r>
                    </a:p>
                    <a:p>
                      <a:pPr algn="ctr"/>
                      <a:r>
                        <a:rPr lang="en-US" sz="2000" dirty="0"/>
                        <a:t>▾ </a:t>
                      </a:r>
                      <a:r>
                        <a:rPr lang="en-US" sz="2000" baseline="0" dirty="0"/>
                        <a:t>-0.36</a:t>
                      </a:r>
                      <a:endParaRPr lang="en-US" sz="2000" dirty="0"/>
                    </a:p>
                  </a:txBody>
                  <a:tcPr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i="0" dirty="0">
                          <a:solidFill>
                            <a:schemeClr val="accent1"/>
                          </a:solidFill>
                          <a:latin typeface="RBC Text" panose="02000000000000000000" pitchFamily="2" charset="77"/>
                        </a:rPr>
                        <a:t>% 7d</a:t>
                      </a:r>
                    </a:p>
                    <a:p>
                      <a:pPr algn="ctr"/>
                      <a:r>
                        <a:rPr lang="en-US" sz="2000" dirty="0"/>
                        <a:t>▴ 0.41</a:t>
                      </a:r>
                    </a:p>
                  </a:txBody>
                  <a:tcPr anchor="ctr">
                    <a:lnL w="12700" cmpd="sng">
                      <a:noFill/>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6" name="TextBox 5"/>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D1C583AC-E109-5744-9FFA-C543A929A714}"/>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4651148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ypto live </a:t>
            </a:r>
            <a:r>
              <a:rPr lang="en-US" dirty="0">
                <a:solidFill>
                  <a:schemeClr val="accent1"/>
                </a:solidFill>
              </a:rPr>
              <a:t>price</a:t>
            </a:r>
            <a:r>
              <a:rPr lang="en-US" dirty="0"/>
              <a:t> tables</a:t>
            </a:r>
          </a:p>
        </p:txBody>
      </p:sp>
      <p:graphicFrame>
        <p:nvGraphicFramePr>
          <p:cNvPr id="5" name="Table 4"/>
          <p:cNvGraphicFramePr>
            <a:graphicFrameLocks noGrp="1"/>
          </p:cNvGraphicFramePr>
          <p:nvPr>
            <p:extLst>
              <p:ext uri="{D42A27DB-BD31-4B8C-83A1-F6EECF244321}">
                <p14:modId xmlns:p14="http://schemas.microsoft.com/office/powerpoint/2010/main" val="98839121"/>
              </p:ext>
            </p:extLst>
          </p:nvPr>
        </p:nvGraphicFramePr>
        <p:xfrm>
          <a:off x="913016" y="2311399"/>
          <a:ext cx="10542384" cy="3426272"/>
        </p:xfrm>
        <a:graphic>
          <a:graphicData uri="http://schemas.openxmlformats.org/drawingml/2006/table">
            <a:tbl>
              <a:tblPr firstRow="1" bandRow="1">
                <a:tableStyleId>{5C22544A-7EE6-4342-B048-85BDC9FD1C3A}</a:tableStyleId>
              </a:tblPr>
              <a:tblGrid>
                <a:gridCol w="1757064">
                  <a:extLst>
                    <a:ext uri="{9D8B030D-6E8A-4147-A177-3AD203B41FA5}">
                      <a16:colId xmlns:a16="http://schemas.microsoft.com/office/drawing/2014/main" val="20000"/>
                    </a:ext>
                  </a:extLst>
                </a:gridCol>
                <a:gridCol w="1757064">
                  <a:extLst>
                    <a:ext uri="{9D8B030D-6E8A-4147-A177-3AD203B41FA5}">
                      <a16:colId xmlns:a16="http://schemas.microsoft.com/office/drawing/2014/main" val="20001"/>
                    </a:ext>
                  </a:extLst>
                </a:gridCol>
                <a:gridCol w="1757064">
                  <a:extLst>
                    <a:ext uri="{9D8B030D-6E8A-4147-A177-3AD203B41FA5}">
                      <a16:colId xmlns:a16="http://schemas.microsoft.com/office/drawing/2014/main" val="20002"/>
                    </a:ext>
                  </a:extLst>
                </a:gridCol>
                <a:gridCol w="1757064">
                  <a:extLst>
                    <a:ext uri="{9D8B030D-6E8A-4147-A177-3AD203B41FA5}">
                      <a16:colId xmlns:a16="http://schemas.microsoft.com/office/drawing/2014/main" val="20003"/>
                    </a:ext>
                  </a:extLst>
                </a:gridCol>
                <a:gridCol w="1757064">
                  <a:extLst>
                    <a:ext uri="{9D8B030D-6E8A-4147-A177-3AD203B41FA5}">
                      <a16:colId xmlns:a16="http://schemas.microsoft.com/office/drawing/2014/main" val="20004"/>
                    </a:ext>
                  </a:extLst>
                </a:gridCol>
                <a:gridCol w="1757064">
                  <a:extLst>
                    <a:ext uri="{9D8B030D-6E8A-4147-A177-3AD203B41FA5}">
                      <a16:colId xmlns:a16="http://schemas.microsoft.com/office/drawing/2014/main" val="20005"/>
                    </a:ext>
                  </a:extLst>
                </a:gridCol>
              </a:tblGrid>
              <a:tr h="839937">
                <a:tc>
                  <a:txBody>
                    <a:bodyPr/>
                    <a:lstStyle/>
                    <a:p>
                      <a:r>
                        <a:rPr lang="en-US" sz="1100" b="0" i="0" dirty="0">
                          <a:solidFill>
                            <a:schemeClr val="tx1">
                              <a:alpha val="60000"/>
                            </a:schemeClr>
                          </a:solidFill>
                          <a:latin typeface="RBC Text" panose="02000000000000000000" pitchFamily="2" charset="77"/>
                        </a:rPr>
                        <a:t>Symbol</a:t>
                      </a:r>
                    </a:p>
                  </a:txBody>
                  <a:tcPr anchor="ctr">
                    <a:noFill/>
                  </a:tcPr>
                </a:tc>
                <a:tc>
                  <a:txBody>
                    <a:bodyPr/>
                    <a:lstStyle/>
                    <a:p>
                      <a:r>
                        <a:rPr lang="en-US" sz="1100" b="0" i="0" dirty="0">
                          <a:solidFill>
                            <a:schemeClr val="tx1">
                              <a:alpha val="60000"/>
                            </a:schemeClr>
                          </a:solidFill>
                          <a:latin typeface="RBC Text" panose="02000000000000000000" pitchFamily="2" charset="77"/>
                        </a:rPr>
                        <a:t>Name</a:t>
                      </a:r>
                    </a:p>
                  </a:txBody>
                  <a:tcPr anchor="ctr">
                    <a:noFill/>
                  </a:tcPr>
                </a:tc>
                <a:tc>
                  <a:txBody>
                    <a:bodyPr/>
                    <a:lstStyle/>
                    <a:p>
                      <a:r>
                        <a:rPr lang="en-US" sz="1100" b="0" i="0" dirty="0">
                          <a:solidFill>
                            <a:schemeClr val="tx1">
                              <a:alpha val="60000"/>
                            </a:schemeClr>
                          </a:solidFill>
                          <a:latin typeface="RBC Text" panose="02000000000000000000" pitchFamily="2" charset="77"/>
                        </a:rPr>
                        <a:t>USD</a:t>
                      </a:r>
                    </a:p>
                  </a:txBody>
                  <a:tcPr anchor="ctr">
                    <a:noFill/>
                  </a:tcPr>
                </a:tc>
                <a:tc>
                  <a:txBody>
                    <a:bodyPr/>
                    <a:lstStyle/>
                    <a:p>
                      <a:r>
                        <a:rPr lang="en-US" sz="1100" b="0" i="0" dirty="0">
                          <a:solidFill>
                            <a:schemeClr val="tx1">
                              <a:alpha val="60000"/>
                            </a:schemeClr>
                          </a:solidFill>
                          <a:latin typeface="RBC Text" panose="02000000000000000000" pitchFamily="2" charset="77"/>
                        </a:rPr>
                        <a:t>Change 1h</a:t>
                      </a:r>
                    </a:p>
                  </a:txBody>
                  <a:tcPr anchor="ctr">
                    <a:noFill/>
                  </a:tcPr>
                </a:tc>
                <a:tc>
                  <a:txBody>
                    <a:bodyPr/>
                    <a:lstStyle/>
                    <a:p>
                      <a:r>
                        <a:rPr lang="en-US" sz="1100" b="0" i="0" dirty="0">
                          <a:solidFill>
                            <a:schemeClr val="tx1">
                              <a:alpha val="60000"/>
                            </a:schemeClr>
                          </a:solidFill>
                          <a:latin typeface="RBC Text" panose="02000000000000000000" pitchFamily="2" charset="77"/>
                        </a:rPr>
                        <a:t>Change 24h</a:t>
                      </a:r>
                    </a:p>
                  </a:txBody>
                  <a:tcPr anchor="ctr">
                    <a:noFill/>
                  </a:tcPr>
                </a:tc>
                <a:tc>
                  <a:txBody>
                    <a:bodyPr/>
                    <a:lstStyle/>
                    <a:p>
                      <a:r>
                        <a:rPr lang="en-US" sz="1100" b="0" i="0" dirty="0">
                          <a:solidFill>
                            <a:schemeClr val="tx1">
                              <a:alpha val="60000"/>
                            </a:schemeClr>
                          </a:solidFill>
                          <a:latin typeface="RBC Text" panose="02000000000000000000" pitchFamily="2" charset="77"/>
                        </a:rPr>
                        <a:t>Change 7d</a:t>
                      </a:r>
                    </a:p>
                  </a:txBody>
                  <a:tcPr anchor="ctr">
                    <a:noFill/>
                  </a:tcPr>
                </a:tc>
                <a:extLst>
                  <a:ext uri="{0D108BD9-81ED-4DB2-BD59-A6C34878D82A}">
                    <a16:rowId xmlns:a16="http://schemas.microsoft.com/office/drawing/2014/main" val="10000"/>
                  </a:ext>
                </a:extLst>
              </a:tr>
              <a:tr h="517267">
                <a:tc>
                  <a:txBody>
                    <a:bodyPr/>
                    <a:lstStyle/>
                    <a:p>
                      <a:r>
                        <a:rPr lang="en-US" sz="1600" b="0" i="0" dirty="0">
                          <a:solidFill>
                            <a:schemeClr val="tx1"/>
                          </a:solidFill>
                          <a:latin typeface="RBC Text" panose="02000000000000000000" pitchFamily="2" charset="77"/>
                        </a:rPr>
                        <a:t>BTC</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Bitcoin</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11,509</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0.55%</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0.55%</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0.55%</a:t>
                      </a:r>
                    </a:p>
                  </a:txBody>
                  <a:tcPr anchor="ctr">
                    <a:solidFill>
                      <a:schemeClr val="tx1">
                        <a:alpha val="10000"/>
                      </a:schemeClr>
                    </a:solidFill>
                  </a:tcPr>
                </a:tc>
                <a:extLst>
                  <a:ext uri="{0D108BD9-81ED-4DB2-BD59-A6C34878D82A}">
                    <a16:rowId xmlns:a16="http://schemas.microsoft.com/office/drawing/2014/main" val="10001"/>
                  </a:ext>
                </a:extLst>
              </a:tr>
              <a:tr h="517267">
                <a:tc>
                  <a:txBody>
                    <a:bodyPr/>
                    <a:lstStyle/>
                    <a:p>
                      <a:r>
                        <a:rPr lang="en-US" sz="1600" b="0" i="0" dirty="0">
                          <a:solidFill>
                            <a:schemeClr val="tx1"/>
                          </a:solidFill>
                          <a:latin typeface="RBC Text" panose="02000000000000000000" pitchFamily="2" charset="77"/>
                        </a:rPr>
                        <a:t>ETH</a:t>
                      </a:r>
                    </a:p>
                  </a:txBody>
                  <a:tcPr anchor="ctr">
                    <a:noFill/>
                  </a:tcPr>
                </a:tc>
                <a:tc>
                  <a:txBody>
                    <a:bodyPr/>
                    <a:lstStyle/>
                    <a:p>
                      <a:r>
                        <a:rPr lang="en-US" sz="1600" b="0" i="0" dirty="0" err="1">
                          <a:solidFill>
                            <a:schemeClr val="tx1"/>
                          </a:solidFill>
                          <a:latin typeface="RBC Text" panose="02000000000000000000" pitchFamily="2" charset="77"/>
                        </a:rPr>
                        <a:t>Ethereum</a:t>
                      </a:r>
                      <a:endParaRPr lang="en-US" sz="1600" dirty="0">
                        <a:solidFill>
                          <a:schemeClr val="tx1"/>
                        </a:solidFill>
                      </a:endParaRPr>
                    </a:p>
                  </a:txBody>
                  <a:tcPr anchor="ctr">
                    <a:noFill/>
                  </a:tcPr>
                </a:tc>
                <a:tc>
                  <a:txBody>
                    <a:bodyPr/>
                    <a:lstStyle/>
                    <a:p>
                      <a:r>
                        <a:rPr lang="en-US" sz="1600" b="0" i="0" dirty="0">
                          <a:solidFill>
                            <a:schemeClr val="tx1"/>
                          </a:solidFill>
                          <a:latin typeface="RBC Text" panose="02000000000000000000" pitchFamily="2" charset="77"/>
                        </a:rPr>
                        <a:t>1,065</a:t>
                      </a:r>
                    </a:p>
                  </a:txBody>
                  <a:tcPr anchor="ctr">
                    <a:noFill/>
                  </a:tcPr>
                </a:tc>
                <a:tc>
                  <a:txBody>
                    <a:bodyPr/>
                    <a:lstStyle/>
                    <a:p>
                      <a:r>
                        <a:rPr lang="en-US" sz="1600" b="0" i="0" dirty="0">
                          <a:solidFill>
                            <a:schemeClr val="tx1"/>
                          </a:solidFill>
                          <a:latin typeface="RBC Text" panose="02000000000000000000" pitchFamily="2" charset="77"/>
                        </a:rPr>
                        <a:t>-0.32%</a:t>
                      </a:r>
                    </a:p>
                  </a:txBody>
                  <a:tcPr anchor="ctr">
                    <a:noFill/>
                  </a:tcPr>
                </a:tc>
                <a:tc>
                  <a:txBody>
                    <a:bodyPr/>
                    <a:lstStyle/>
                    <a:p>
                      <a:r>
                        <a:rPr lang="en-US" sz="1600" b="0" i="0" dirty="0">
                          <a:solidFill>
                            <a:schemeClr val="tx1"/>
                          </a:solidFill>
                          <a:latin typeface="RBC Text" panose="02000000000000000000" pitchFamily="2" charset="77"/>
                        </a:rPr>
                        <a:t>-0.32%</a:t>
                      </a:r>
                    </a:p>
                  </a:txBody>
                  <a:tcPr anchor="ctr">
                    <a:noFill/>
                  </a:tcPr>
                </a:tc>
                <a:tc>
                  <a:txBody>
                    <a:bodyPr/>
                    <a:lstStyle/>
                    <a:p>
                      <a:r>
                        <a:rPr lang="en-US" sz="1600" b="0" i="0" dirty="0">
                          <a:solidFill>
                            <a:schemeClr val="tx1"/>
                          </a:solidFill>
                          <a:latin typeface="RBC Text" panose="02000000000000000000" pitchFamily="2" charset="77"/>
                        </a:rPr>
                        <a:t>-0.32%</a:t>
                      </a:r>
                    </a:p>
                  </a:txBody>
                  <a:tcPr anchor="ctr">
                    <a:noFill/>
                  </a:tcPr>
                </a:tc>
                <a:extLst>
                  <a:ext uri="{0D108BD9-81ED-4DB2-BD59-A6C34878D82A}">
                    <a16:rowId xmlns:a16="http://schemas.microsoft.com/office/drawing/2014/main" val="10002"/>
                  </a:ext>
                </a:extLst>
              </a:tr>
              <a:tr h="517267">
                <a:tc>
                  <a:txBody>
                    <a:bodyPr/>
                    <a:lstStyle/>
                    <a:p>
                      <a:r>
                        <a:rPr lang="en-US" sz="1600" b="0" i="0" dirty="0">
                          <a:solidFill>
                            <a:schemeClr val="tx1"/>
                          </a:solidFill>
                          <a:latin typeface="RBC Text" panose="02000000000000000000" pitchFamily="2" charset="77"/>
                        </a:rPr>
                        <a:t>XRP</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Ripple</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1.231</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0.23%</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0.23%</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0.23%</a:t>
                      </a:r>
                    </a:p>
                  </a:txBody>
                  <a:tcPr anchor="ctr">
                    <a:solidFill>
                      <a:schemeClr val="tx1">
                        <a:alpha val="10000"/>
                      </a:schemeClr>
                    </a:solidFill>
                  </a:tcPr>
                </a:tc>
                <a:extLst>
                  <a:ext uri="{0D108BD9-81ED-4DB2-BD59-A6C34878D82A}">
                    <a16:rowId xmlns:a16="http://schemas.microsoft.com/office/drawing/2014/main" val="10003"/>
                  </a:ext>
                </a:extLst>
              </a:tr>
              <a:tr h="517267">
                <a:tc>
                  <a:txBody>
                    <a:bodyPr/>
                    <a:lstStyle/>
                    <a:p>
                      <a:r>
                        <a:rPr lang="en-US" sz="1600" b="0" i="0" dirty="0">
                          <a:solidFill>
                            <a:schemeClr val="tx1"/>
                          </a:solidFill>
                          <a:latin typeface="RBC Text" panose="02000000000000000000" pitchFamily="2" charset="77"/>
                        </a:rPr>
                        <a:t>LTC</a:t>
                      </a:r>
                    </a:p>
                  </a:txBody>
                  <a:tcPr anchor="ctr">
                    <a:noFill/>
                  </a:tcPr>
                </a:tc>
                <a:tc>
                  <a:txBody>
                    <a:bodyPr/>
                    <a:lstStyle/>
                    <a:p>
                      <a:r>
                        <a:rPr lang="en-US" sz="1600" b="0" i="0" dirty="0" err="1">
                          <a:solidFill>
                            <a:schemeClr val="tx1"/>
                          </a:solidFill>
                          <a:latin typeface="RBC Text" panose="02000000000000000000" pitchFamily="2" charset="77"/>
                        </a:rPr>
                        <a:t>Litecoin</a:t>
                      </a:r>
                      <a:endParaRPr lang="en-US" sz="1600" dirty="0">
                        <a:solidFill>
                          <a:schemeClr val="tx1"/>
                        </a:solidFill>
                      </a:endParaRPr>
                    </a:p>
                  </a:txBody>
                  <a:tcPr anchor="ctr">
                    <a:noFill/>
                  </a:tcPr>
                </a:tc>
                <a:tc>
                  <a:txBody>
                    <a:bodyPr/>
                    <a:lstStyle/>
                    <a:p>
                      <a:r>
                        <a:rPr lang="en-US" sz="1600" b="0" i="0" dirty="0">
                          <a:solidFill>
                            <a:schemeClr val="tx1"/>
                          </a:solidFill>
                          <a:latin typeface="RBC Text" panose="02000000000000000000" pitchFamily="2" charset="77"/>
                        </a:rPr>
                        <a:t>181.5</a:t>
                      </a:r>
                    </a:p>
                  </a:txBody>
                  <a:tcPr anchor="ctr">
                    <a:noFill/>
                  </a:tcPr>
                </a:tc>
                <a:tc>
                  <a:txBody>
                    <a:bodyPr/>
                    <a:lstStyle/>
                    <a:p>
                      <a:r>
                        <a:rPr lang="en-US" sz="1600" b="0" i="0" dirty="0">
                          <a:solidFill>
                            <a:schemeClr val="tx1"/>
                          </a:solidFill>
                          <a:latin typeface="RBC Text" panose="02000000000000000000" pitchFamily="2" charset="77"/>
                        </a:rPr>
                        <a:t>-0.1%</a:t>
                      </a:r>
                    </a:p>
                  </a:txBody>
                  <a:tcPr anchor="ctr">
                    <a:noFill/>
                  </a:tcPr>
                </a:tc>
                <a:tc>
                  <a:txBody>
                    <a:bodyPr/>
                    <a:lstStyle/>
                    <a:p>
                      <a:r>
                        <a:rPr lang="en-US" sz="1600" b="0" i="0" dirty="0">
                          <a:solidFill>
                            <a:schemeClr val="tx1"/>
                          </a:solidFill>
                          <a:latin typeface="RBC Text" panose="02000000000000000000" pitchFamily="2" charset="77"/>
                        </a:rPr>
                        <a:t>-0.1%</a:t>
                      </a:r>
                    </a:p>
                  </a:txBody>
                  <a:tcPr anchor="ctr">
                    <a:noFill/>
                  </a:tcPr>
                </a:tc>
                <a:tc>
                  <a:txBody>
                    <a:bodyPr/>
                    <a:lstStyle/>
                    <a:p>
                      <a:r>
                        <a:rPr lang="en-US" sz="1600" b="0" i="0" dirty="0">
                          <a:solidFill>
                            <a:schemeClr val="tx1"/>
                          </a:solidFill>
                          <a:latin typeface="RBC Text" panose="02000000000000000000" pitchFamily="2" charset="77"/>
                        </a:rPr>
                        <a:t>-0.1%</a:t>
                      </a:r>
                    </a:p>
                  </a:txBody>
                  <a:tcPr anchor="ctr">
                    <a:noFill/>
                  </a:tcPr>
                </a:tc>
                <a:extLst>
                  <a:ext uri="{0D108BD9-81ED-4DB2-BD59-A6C34878D82A}">
                    <a16:rowId xmlns:a16="http://schemas.microsoft.com/office/drawing/2014/main" val="10004"/>
                  </a:ext>
                </a:extLst>
              </a:tr>
              <a:tr h="517267">
                <a:tc>
                  <a:txBody>
                    <a:bodyPr/>
                    <a:lstStyle/>
                    <a:p>
                      <a:r>
                        <a:rPr lang="en-US" sz="1600" b="0" i="0" dirty="0">
                          <a:solidFill>
                            <a:schemeClr val="tx1"/>
                          </a:solidFill>
                          <a:latin typeface="RBC Text" panose="02000000000000000000" pitchFamily="2" charset="77"/>
                        </a:rPr>
                        <a:t>XMR</a:t>
                      </a:r>
                    </a:p>
                  </a:txBody>
                  <a:tcPr anchor="ctr">
                    <a:solidFill>
                      <a:schemeClr val="tx1">
                        <a:alpha val="10000"/>
                      </a:schemeClr>
                    </a:solidFill>
                  </a:tcPr>
                </a:tc>
                <a:tc>
                  <a:txBody>
                    <a:bodyPr/>
                    <a:lstStyle/>
                    <a:p>
                      <a:r>
                        <a:rPr lang="en-US" sz="1600" b="0" i="0" dirty="0" err="1">
                          <a:solidFill>
                            <a:schemeClr val="tx1"/>
                          </a:solidFill>
                          <a:latin typeface="RBC Text" panose="02000000000000000000" pitchFamily="2" charset="77"/>
                        </a:rPr>
                        <a:t>Monero</a:t>
                      </a:r>
                      <a:endParaRPr lang="en-US" sz="1600" dirty="0">
                        <a:solidFill>
                          <a:schemeClr val="tx1"/>
                        </a:solidFill>
                      </a:endParaRP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325.3</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0.3%</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0.3%</a:t>
                      </a:r>
                    </a:p>
                  </a:txBody>
                  <a:tcPr anchor="ctr">
                    <a:solidFill>
                      <a:schemeClr val="tx1">
                        <a:alpha val="10000"/>
                      </a:schemeClr>
                    </a:solidFill>
                  </a:tcPr>
                </a:tc>
                <a:tc>
                  <a:txBody>
                    <a:bodyPr/>
                    <a:lstStyle/>
                    <a:p>
                      <a:r>
                        <a:rPr lang="en-US" sz="1600" b="0" i="0" dirty="0">
                          <a:solidFill>
                            <a:schemeClr val="tx1"/>
                          </a:solidFill>
                          <a:latin typeface="RBC Text" panose="02000000000000000000" pitchFamily="2" charset="77"/>
                        </a:rPr>
                        <a:t>+0.3%</a:t>
                      </a:r>
                    </a:p>
                  </a:txBody>
                  <a:tcPr anchor="ctr">
                    <a:solidFill>
                      <a:schemeClr val="tx1">
                        <a:alpha val="10000"/>
                      </a:schemeClr>
                    </a:solidFill>
                  </a:tcPr>
                </a:tc>
                <a:extLst>
                  <a:ext uri="{0D108BD9-81ED-4DB2-BD59-A6C34878D82A}">
                    <a16:rowId xmlns:a16="http://schemas.microsoft.com/office/drawing/2014/main" val="10005"/>
                  </a:ext>
                </a:extLst>
              </a:tr>
            </a:tbl>
          </a:graphicData>
        </a:graphic>
      </p:graphicFrame>
      <p:sp>
        <p:nvSpPr>
          <p:cNvPr id="4" name="Text Placeholder 6">
            <a:extLst>
              <a:ext uri="{FF2B5EF4-FFF2-40B4-BE49-F238E27FC236}">
                <a16:creationId xmlns:a16="http://schemas.microsoft.com/office/drawing/2014/main" id="{3F9D358C-3287-E643-8C9D-22DB0DB6217F}"/>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5731717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erved</a:t>
            </a:r>
            <a:endParaRPr lang="en-US" dirty="0"/>
          </a:p>
        </p:txBody>
      </p:sp>
      <p:sp>
        <p:nvSpPr>
          <p:cNvPr id="3" name="Picture Placeholder 2"/>
          <p:cNvSpPr>
            <a:spLocks noGrp="1"/>
          </p:cNvSpPr>
          <p:nvPr>
            <p:ph type="pic" sz="quarter" idx="12"/>
          </p:nvPr>
        </p:nvSpPr>
        <p:spPr/>
        <p:txBody>
          <a:bodyPr/>
          <a:lstStyle/>
          <a:p>
            <a:endParaRPr lang="en-CA"/>
          </a:p>
        </p:txBody>
      </p:sp>
      <p:sp>
        <p:nvSpPr>
          <p:cNvPr id="6" name="Rectangle 5"/>
          <p:cNvSpPr/>
          <p:nvPr/>
        </p:nvSpPr>
        <p:spPr>
          <a:xfrm>
            <a:off x="6096000" y="3157095"/>
            <a:ext cx="5351362" cy="68290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7" name="Rectangle 6"/>
          <p:cNvSpPr/>
          <p:nvPr/>
        </p:nvSpPr>
        <p:spPr>
          <a:xfrm>
            <a:off x="6096000" y="3157094"/>
            <a:ext cx="3024851" cy="6829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8" name="TextBox 7"/>
          <p:cNvSpPr txBox="1"/>
          <p:nvPr/>
        </p:nvSpPr>
        <p:spPr>
          <a:xfrm>
            <a:off x="7408327" y="3256139"/>
            <a:ext cx="3172343" cy="461665"/>
          </a:xfrm>
          <a:prstGeom prst="rect">
            <a:avLst/>
          </a:prstGeom>
          <a:noFill/>
        </p:spPr>
        <p:txBody>
          <a:bodyPr wrap="none" lIns="0" rIns="0" rtlCol="0">
            <a:spAutoFit/>
          </a:bodyPr>
          <a:lstStyle/>
          <a:p>
            <a:r>
              <a:rPr lang="en-US" sz="2400" dirty="0">
                <a:solidFill>
                  <a:srgbClr val="FFFFFF"/>
                </a:solidFill>
                <a:latin typeface="RBC Text" panose="02000000000000000000" pitchFamily="2" charset="77"/>
              </a:rPr>
              <a:t>1 000 000  /  8 000 000</a:t>
            </a:r>
          </a:p>
        </p:txBody>
      </p:sp>
      <p:sp>
        <p:nvSpPr>
          <p:cNvPr id="9" name="TextBox 8"/>
          <p:cNvSpPr txBox="1"/>
          <p:nvPr/>
        </p:nvSpPr>
        <p:spPr>
          <a:xfrm>
            <a:off x="6096000" y="2675982"/>
            <a:ext cx="1053173" cy="276999"/>
          </a:xfrm>
          <a:prstGeom prst="rect">
            <a:avLst/>
          </a:prstGeom>
          <a:noFill/>
        </p:spPr>
        <p:txBody>
          <a:bodyPr wrap="none" lIns="0" rIns="0" rtlCol="0">
            <a:spAutoFit/>
          </a:bodyPr>
          <a:lstStyle/>
          <a:p>
            <a:r>
              <a:rPr lang="en-US" sz="1200" dirty="0">
                <a:latin typeface="RBC Display" panose="02000000000000000000" pitchFamily="2" charset="77"/>
              </a:rPr>
              <a:t>Token reserved</a:t>
            </a:r>
          </a:p>
        </p:txBody>
      </p:sp>
      <p:sp>
        <p:nvSpPr>
          <p:cNvPr id="10" name="TextBox 9"/>
          <p:cNvSpPr txBox="1"/>
          <p:nvPr/>
        </p:nvSpPr>
        <p:spPr>
          <a:xfrm>
            <a:off x="6096000" y="5441175"/>
            <a:ext cx="5351362" cy="963982"/>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a:t>
            </a:r>
          </a:p>
          <a:p>
            <a:pPr>
              <a:lnSpc>
                <a:spcPct val="120000"/>
              </a:lnSpc>
            </a:pPr>
            <a:r>
              <a:rPr lang="en-US" sz="1200" dirty="0">
                <a:solidFill>
                  <a:schemeClr val="tx1">
                    <a:alpha val="70000"/>
                  </a:schemeClr>
                </a:solidFill>
                <a:latin typeface="RBC Text" panose="02000000000000000000" pitchFamily="2" charset="77"/>
              </a:rPr>
              <a:t>It always does one good.</a:t>
            </a:r>
          </a:p>
        </p:txBody>
      </p:sp>
      <p:sp>
        <p:nvSpPr>
          <p:cNvPr id="11" name="TextBox 10"/>
          <p:cNvSpPr txBox="1"/>
          <p:nvPr/>
        </p:nvSpPr>
        <p:spPr>
          <a:xfrm>
            <a:off x="10169227" y="2675982"/>
            <a:ext cx="1279196" cy="276999"/>
          </a:xfrm>
          <a:prstGeom prst="rect">
            <a:avLst/>
          </a:prstGeom>
          <a:noFill/>
        </p:spPr>
        <p:txBody>
          <a:bodyPr wrap="none" lIns="0" rIns="0" rtlCol="0">
            <a:spAutoFit/>
          </a:bodyPr>
          <a:lstStyle/>
          <a:p>
            <a:pPr algn="r"/>
            <a:r>
              <a:rPr lang="en-US" sz="1200" dirty="0">
                <a:latin typeface="RBC Display" panose="02000000000000000000" pitchFamily="2" charset="77"/>
              </a:rPr>
              <a:t>Contributors: 3281</a:t>
            </a:r>
          </a:p>
        </p:txBody>
      </p:sp>
      <p:sp>
        <p:nvSpPr>
          <p:cNvPr id="12" name="TextBox 11"/>
          <p:cNvSpPr txBox="1"/>
          <p:nvPr/>
        </p:nvSpPr>
        <p:spPr>
          <a:xfrm>
            <a:off x="6096000" y="3977942"/>
            <a:ext cx="911019" cy="338554"/>
          </a:xfrm>
          <a:prstGeom prst="rect">
            <a:avLst/>
          </a:prstGeom>
          <a:noFill/>
        </p:spPr>
        <p:txBody>
          <a:bodyPr wrap="none" lIns="0" rIns="0" rtlCol="0">
            <a:spAutoFit/>
          </a:bodyPr>
          <a:lstStyle/>
          <a:p>
            <a:r>
              <a:rPr lang="en-US" sz="1600" dirty="0">
                <a:solidFill>
                  <a:schemeClr val="accent1"/>
                </a:solidFill>
                <a:latin typeface="RBC Display" panose="02000000000000000000" pitchFamily="2" charset="77"/>
              </a:rPr>
              <a:t>$1,421.000</a:t>
            </a:r>
          </a:p>
        </p:txBody>
      </p:sp>
      <p:sp>
        <p:nvSpPr>
          <p:cNvPr id="13" name="TextBox 12"/>
          <p:cNvSpPr txBox="1"/>
          <p:nvPr/>
        </p:nvSpPr>
        <p:spPr>
          <a:xfrm>
            <a:off x="11089828" y="3977942"/>
            <a:ext cx="357534" cy="338554"/>
          </a:xfrm>
          <a:prstGeom prst="rect">
            <a:avLst/>
          </a:prstGeom>
          <a:noFill/>
        </p:spPr>
        <p:txBody>
          <a:bodyPr wrap="none" lIns="0" rIns="0" rtlCol="0">
            <a:spAutoFit/>
          </a:bodyPr>
          <a:lstStyle/>
          <a:p>
            <a:pPr algn="r"/>
            <a:r>
              <a:rPr lang="en-US" sz="1600" dirty="0">
                <a:solidFill>
                  <a:schemeClr val="accent1"/>
                </a:solidFill>
                <a:latin typeface="RBC Display" panose="02000000000000000000" pitchFamily="2" charset="77"/>
              </a:rPr>
              <a:t>16%</a:t>
            </a:r>
          </a:p>
        </p:txBody>
      </p:sp>
      <p:grpSp>
        <p:nvGrpSpPr>
          <p:cNvPr id="15" name="Group 14"/>
          <p:cNvGrpSpPr/>
          <p:nvPr/>
        </p:nvGrpSpPr>
        <p:grpSpPr>
          <a:xfrm>
            <a:off x="909268" y="6295673"/>
            <a:ext cx="279465" cy="57600"/>
            <a:chOff x="909268" y="6459095"/>
            <a:chExt cx="279465" cy="57600"/>
          </a:xfrm>
        </p:grpSpPr>
        <p:sp>
          <p:nvSpPr>
            <p:cNvPr id="16" name="Oval 15"/>
            <p:cNvSpPr/>
            <p:nvPr/>
          </p:nvSpPr>
          <p:spPr>
            <a:xfrm>
              <a:off x="909268" y="6459095"/>
              <a:ext cx="57600" cy="57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7" name="Oval 16"/>
            <p:cNvSpPr/>
            <p:nvPr/>
          </p:nvSpPr>
          <p:spPr>
            <a:xfrm>
              <a:off x="1020201"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8" name="Oval 17"/>
            <p:cNvSpPr/>
            <p:nvPr/>
          </p:nvSpPr>
          <p:spPr>
            <a:xfrm>
              <a:off x="1131133"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grpSp>
      <p:sp>
        <p:nvSpPr>
          <p:cNvPr id="19" name="Text Placeholder 6">
            <a:extLst>
              <a:ext uri="{FF2B5EF4-FFF2-40B4-BE49-F238E27FC236}">
                <a16:creationId xmlns:a16="http://schemas.microsoft.com/office/drawing/2014/main" id="{69281810-4CDF-1F48-AF7D-E7328662847C}"/>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6909304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4"/>
          </p:nvPr>
        </p:nvSpPr>
        <p:spPr/>
        <p:txBody>
          <a:bodyPr/>
          <a:lstStyle/>
          <a:p>
            <a:endParaRPr lang="en-CA"/>
          </a:p>
        </p:txBody>
      </p:sp>
      <p:sp>
        <p:nvSpPr>
          <p:cNvPr id="3" name="Picture Placeholder 2"/>
          <p:cNvSpPr>
            <a:spLocks noGrp="1"/>
          </p:cNvSpPr>
          <p:nvPr>
            <p:ph type="pic" sz="quarter" idx="15"/>
          </p:nvPr>
        </p:nvSpPr>
        <p:spPr/>
        <p:txBody>
          <a:bodyPr/>
          <a:lstStyle/>
          <a:p>
            <a:endParaRPr lang="en-CA"/>
          </a:p>
        </p:txBody>
      </p:sp>
      <p:sp>
        <p:nvSpPr>
          <p:cNvPr id="4" name="Picture Placeholder 3"/>
          <p:cNvSpPr>
            <a:spLocks noGrp="1"/>
          </p:cNvSpPr>
          <p:nvPr>
            <p:ph type="pic" sz="quarter" idx="16"/>
          </p:nvPr>
        </p:nvSpPr>
        <p:spPr/>
        <p:txBody>
          <a:bodyPr/>
          <a:lstStyle/>
          <a:p>
            <a:endParaRPr lang="en-CA"/>
          </a:p>
        </p:txBody>
      </p:sp>
      <p:sp>
        <p:nvSpPr>
          <p:cNvPr id="6" name="Title 5"/>
          <p:cNvSpPr>
            <a:spLocks noGrp="1"/>
          </p:cNvSpPr>
          <p:nvPr>
            <p:ph type="title"/>
          </p:nvPr>
        </p:nvSpPr>
        <p:spPr/>
        <p:txBody>
          <a:bodyPr/>
          <a:lstStyle/>
          <a:p>
            <a:r>
              <a:rPr lang="en-US" dirty="0"/>
              <a:t>What we do?</a:t>
            </a:r>
          </a:p>
        </p:txBody>
      </p:sp>
      <p:sp>
        <p:nvSpPr>
          <p:cNvPr id="22" name="TextBox 21"/>
          <p:cNvSpPr txBox="1"/>
          <p:nvPr/>
        </p:nvSpPr>
        <p:spPr>
          <a:xfrm>
            <a:off x="6096000" y="1304075"/>
            <a:ext cx="5351362" cy="963982"/>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a:t>
            </a:r>
          </a:p>
          <a:p>
            <a:pPr>
              <a:lnSpc>
                <a:spcPct val="120000"/>
              </a:lnSpc>
            </a:pPr>
            <a:r>
              <a:rPr lang="en-US" sz="1200" dirty="0">
                <a:solidFill>
                  <a:schemeClr val="tx1">
                    <a:alpha val="70000"/>
                  </a:schemeClr>
                </a:solidFill>
                <a:latin typeface="RBC Text" panose="02000000000000000000" pitchFamily="2" charset="77"/>
              </a:rPr>
              <a:t>It always does one good.</a:t>
            </a:r>
          </a:p>
        </p:txBody>
      </p:sp>
      <p:sp>
        <p:nvSpPr>
          <p:cNvPr id="12" name="Rectangle 11"/>
          <p:cNvSpPr/>
          <p:nvPr/>
        </p:nvSpPr>
        <p:spPr>
          <a:xfrm>
            <a:off x="304800" y="2717207"/>
            <a:ext cx="12192000" cy="2731624"/>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RBC Text" panose="02000000000000000000" pitchFamily="2" charset="77"/>
            </a:endParaRPr>
          </a:p>
        </p:txBody>
      </p:sp>
      <p:sp>
        <p:nvSpPr>
          <p:cNvPr id="29" name="TextBox 28"/>
          <p:cNvSpPr txBox="1"/>
          <p:nvPr/>
        </p:nvSpPr>
        <p:spPr>
          <a:xfrm>
            <a:off x="945132" y="3605966"/>
            <a:ext cx="1799723" cy="338554"/>
          </a:xfrm>
          <a:prstGeom prst="rect">
            <a:avLst/>
          </a:prstGeom>
          <a:noFill/>
        </p:spPr>
        <p:txBody>
          <a:bodyPr wrap="none" lIns="0" rIns="0" rtlCol="0">
            <a:spAutoFit/>
          </a:bodyPr>
          <a:lstStyle/>
          <a:p>
            <a:pPr algn="ctr"/>
            <a:r>
              <a:rPr lang="en-US" sz="1600" dirty="0">
                <a:solidFill>
                  <a:schemeClr val="bg1"/>
                </a:solidFill>
                <a:latin typeface="RBC Display" panose="02000000000000000000" pitchFamily="2" charset="77"/>
              </a:rPr>
              <a:t>Give an application</a:t>
            </a:r>
          </a:p>
        </p:txBody>
      </p:sp>
      <p:sp>
        <p:nvSpPr>
          <p:cNvPr id="30" name="TextBox 29"/>
          <p:cNvSpPr txBox="1"/>
          <p:nvPr/>
        </p:nvSpPr>
        <p:spPr>
          <a:xfrm>
            <a:off x="849753" y="3944520"/>
            <a:ext cx="1990481" cy="276999"/>
          </a:xfrm>
          <a:prstGeom prst="rect">
            <a:avLst/>
          </a:prstGeom>
          <a:noFill/>
        </p:spPr>
        <p:txBody>
          <a:bodyPr wrap="none" lIns="0" rIns="0" rtlCol="0">
            <a:spAutoFit/>
          </a:bodyPr>
          <a:lstStyle/>
          <a:p>
            <a:pPr algn="ctr"/>
            <a:r>
              <a:rPr lang="en-US" sz="1200" dirty="0">
                <a:solidFill>
                  <a:schemeClr val="bg1">
                    <a:alpha val="70000"/>
                  </a:schemeClr>
                </a:solidFill>
                <a:latin typeface="RBC Text" panose="02000000000000000000" pitchFamily="2" charset="77"/>
              </a:rPr>
              <a:t>How to work with the fund?</a:t>
            </a:r>
          </a:p>
        </p:txBody>
      </p:sp>
      <p:sp>
        <p:nvSpPr>
          <p:cNvPr id="31" name="TextBox 30"/>
          <p:cNvSpPr txBox="1"/>
          <p:nvPr/>
        </p:nvSpPr>
        <p:spPr>
          <a:xfrm>
            <a:off x="5582669" y="3605966"/>
            <a:ext cx="1020472" cy="338554"/>
          </a:xfrm>
          <a:prstGeom prst="rect">
            <a:avLst/>
          </a:prstGeom>
          <a:noFill/>
        </p:spPr>
        <p:txBody>
          <a:bodyPr wrap="none" lIns="0" rIns="0" rtlCol="0">
            <a:spAutoFit/>
          </a:bodyPr>
          <a:lstStyle/>
          <a:p>
            <a:pPr algn="ctr"/>
            <a:r>
              <a:rPr lang="en-US" sz="1600" dirty="0" err="1">
                <a:solidFill>
                  <a:schemeClr val="bg1"/>
                </a:solidFill>
                <a:latin typeface="RBC Display" panose="02000000000000000000" pitchFamily="2" charset="77"/>
              </a:rPr>
              <a:t>Blockchain</a:t>
            </a:r>
            <a:endParaRPr lang="en-US" sz="1600" dirty="0">
              <a:solidFill>
                <a:schemeClr val="bg1"/>
              </a:solidFill>
              <a:latin typeface="RBC Display" panose="02000000000000000000" pitchFamily="2" charset="77"/>
            </a:endParaRPr>
          </a:p>
        </p:txBody>
      </p:sp>
      <p:sp>
        <p:nvSpPr>
          <p:cNvPr id="32" name="TextBox 31"/>
          <p:cNvSpPr txBox="1"/>
          <p:nvPr/>
        </p:nvSpPr>
        <p:spPr>
          <a:xfrm>
            <a:off x="5097662" y="3944520"/>
            <a:ext cx="1990481" cy="276999"/>
          </a:xfrm>
          <a:prstGeom prst="rect">
            <a:avLst/>
          </a:prstGeom>
          <a:noFill/>
        </p:spPr>
        <p:txBody>
          <a:bodyPr wrap="none" lIns="0" rIns="0" rtlCol="0">
            <a:spAutoFit/>
          </a:bodyPr>
          <a:lstStyle/>
          <a:p>
            <a:pPr algn="ctr"/>
            <a:r>
              <a:rPr lang="en-US" sz="1200" dirty="0">
                <a:solidFill>
                  <a:schemeClr val="bg1">
                    <a:alpha val="70000"/>
                  </a:schemeClr>
                </a:solidFill>
                <a:latin typeface="RBC Text" panose="02000000000000000000" pitchFamily="2" charset="77"/>
              </a:rPr>
              <a:t>How to work with the fund?</a:t>
            </a:r>
          </a:p>
        </p:txBody>
      </p:sp>
      <p:sp>
        <p:nvSpPr>
          <p:cNvPr id="33" name="TextBox 32"/>
          <p:cNvSpPr txBox="1"/>
          <p:nvPr/>
        </p:nvSpPr>
        <p:spPr>
          <a:xfrm>
            <a:off x="9836720" y="3605966"/>
            <a:ext cx="625108" cy="338554"/>
          </a:xfrm>
          <a:prstGeom prst="rect">
            <a:avLst/>
          </a:prstGeom>
          <a:noFill/>
        </p:spPr>
        <p:txBody>
          <a:bodyPr wrap="none" lIns="0" rIns="0" rtlCol="0">
            <a:spAutoFit/>
          </a:bodyPr>
          <a:lstStyle/>
          <a:p>
            <a:pPr algn="ctr"/>
            <a:r>
              <a:rPr lang="en-US" sz="1600" dirty="0">
                <a:solidFill>
                  <a:schemeClr val="bg1"/>
                </a:solidFill>
                <a:latin typeface="RBC Display" panose="02000000000000000000" pitchFamily="2" charset="77"/>
              </a:rPr>
              <a:t>Crypto</a:t>
            </a:r>
          </a:p>
        </p:txBody>
      </p:sp>
      <p:sp>
        <p:nvSpPr>
          <p:cNvPr id="34" name="TextBox 33"/>
          <p:cNvSpPr txBox="1"/>
          <p:nvPr/>
        </p:nvSpPr>
        <p:spPr>
          <a:xfrm>
            <a:off x="9154033" y="3944520"/>
            <a:ext cx="1990481" cy="276999"/>
          </a:xfrm>
          <a:prstGeom prst="rect">
            <a:avLst/>
          </a:prstGeom>
          <a:noFill/>
        </p:spPr>
        <p:txBody>
          <a:bodyPr wrap="none" lIns="0" rIns="0" rtlCol="0">
            <a:spAutoFit/>
          </a:bodyPr>
          <a:lstStyle/>
          <a:p>
            <a:pPr algn="ctr"/>
            <a:r>
              <a:rPr lang="en-US" sz="1200" dirty="0">
                <a:solidFill>
                  <a:schemeClr val="bg1">
                    <a:alpha val="70000"/>
                  </a:schemeClr>
                </a:solidFill>
                <a:latin typeface="RBC Text" panose="02000000000000000000" pitchFamily="2" charset="77"/>
              </a:rPr>
              <a:t>How to work with the fund?</a:t>
            </a:r>
          </a:p>
        </p:txBody>
      </p:sp>
      <p:sp>
        <p:nvSpPr>
          <p:cNvPr id="14" name="Text Placeholder 6">
            <a:extLst>
              <a:ext uri="{FF2B5EF4-FFF2-40B4-BE49-F238E27FC236}">
                <a16:creationId xmlns:a16="http://schemas.microsoft.com/office/drawing/2014/main" id="{C750229A-6715-C342-A16A-CC072F6B59CB}"/>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4900332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5"/>
          </p:nvPr>
        </p:nvSpPr>
        <p:spPr/>
        <p:txBody>
          <a:bodyPr/>
          <a:lstStyle/>
          <a:p>
            <a:endParaRPr lang="en-CA"/>
          </a:p>
        </p:txBody>
      </p:sp>
      <p:sp>
        <p:nvSpPr>
          <p:cNvPr id="3" name="Picture Placeholder 2"/>
          <p:cNvSpPr>
            <a:spLocks noGrp="1"/>
          </p:cNvSpPr>
          <p:nvPr>
            <p:ph type="pic" sz="quarter" idx="16"/>
          </p:nvPr>
        </p:nvSpPr>
        <p:spPr/>
        <p:txBody>
          <a:bodyPr/>
          <a:lstStyle/>
          <a:p>
            <a:endParaRPr lang="en-CA"/>
          </a:p>
        </p:txBody>
      </p:sp>
      <p:sp>
        <p:nvSpPr>
          <p:cNvPr id="4" name="Picture Placeholder 3"/>
          <p:cNvSpPr>
            <a:spLocks noGrp="1"/>
          </p:cNvSpPr>
          <p:nvPr>
            <p:ph type="pic" sz="quarter" idx="17"/>
          </p:nvPr>
        </p:nvSpPr>
        <p:spPr/>
        <p:txBody>
          <a:bodyPr/>
          <a:lstStyle/>
          <a:p>
            <a:endParaRPr lang="en-CA"/>
          </a:p>
        </p:txBody>
      </p:sp>
      <p:sp>
        <p:nvSpPr>
          <p:cNvPr id="6" name="Title 5"/>
          <p:cNvSpPr>
            <a:spLocks noGrp="1"/>
          </p:cNvSpPr>
          <p:nvPr>
            <p:ph type="title"/>
          </p:nvPr>
        </p:nvSpPr>
        <p:spPr/>
        <p:txBody>
          <a:bodyPr/>
          <a:lstStyle/>
          <a:p>
            <a:r>
              <a:rPr lang="en-US" dirty="0"/>
              <a:t>Picture</a:t>
            </a:r>
            <a:br>
              <a:rPr lang="en-US" dirty="0"/>
            </a:br>
            <a:r>
              <a:rPr lang="en-US" dirty="0"/>
              <a:t>Service</a:t>
            </a:r>
          </a:p>
        </p:txBody>
      </p:sp>
      <p:sp>
        <p:nvSpPr>
          <p:cNvPr id="17" name="TextBox 16"/>
          <p:cNvSpPr txBox="1"/>
          <p:nvPr/>
        </p:nvSpPr>
        <p:spPr>
          <a:xfrm>
            <a:off x="8822724" y="815021"/>
            <a:ext cx="2797776" cy="1448730"/>
          </a:xfrm>
          <a:prstGeom prst="rect">
            <a:avLst/>
          </a:prstGeom>
          <a:noFill/>
        </p:spPr>
        <p:txBody>
          <a:bodyPr wrap="square" lIns="0" rIns="0" rtlCol="0">
            <a:spAutoFit/>
          </a:bodyPr>
          <a:lstStyle/>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There are many variations of passages </a:t>
            </a:r>
          </a:p>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Lorem Ipsum available</a:t>
            </a:r>
          </a:p>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But the majority have suffered </a:t>
            </a:r>
          </a:p>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Alteration in some form</a:t>
            </a:r>
          </a:p>
        </p:txBody>
      </p:sp>
      <p:sp>
        <p:nvSpPr>
          <p:cNvPr id="18" name="TextBox 17"/>
          <p:cNvSpPr txBox="1"/>
          <p:nvPr/>
        </p:nvSpPr>
        <p:spPr>
          <a:xfrm>
            <a:off x="8822724" y="2930205"/>
            <a:ext cx="2797776" cy="1448730"/>
          </a:xfrm>
          <a:prstGeom prst="rect">
            <a:avLst/>
          </a:prstGeom>
          <a:noFill/>
        </p:spPr>
        <p:txBody>
          <a:bodyPr wrap="square" lIns="0" rIns="0" rtlCol="0">
            <a:spAutoFit/>
          </a:bodyPr>
          <a:lstStyle/>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There are many variations of passages </a:t>
            </a:r>
          </a:p>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Lorem Ipsum available</a:t>
            </a:r>
          </a:p>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But the majority have suffered </a:t>
            </a:r>
          </a:p>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Alteration in some form</a:t>
            </a:r>
          </a:p>
        </p:txBody>
      </p:sp>
      <p:sp>
        <p:nvSpPr>
          <p:cNvPr id="19" name="TextBox 18"/>
          <p:cNvSpPr txBox="1"/>
          <p:nvPr/>
        </p:nvSpPr>
        <p:spPr>
          <a:xfrm>
            <a:off x="8822724" y="5121470"/>
            <a:ext cx="2797776" cy="1448730"/>
          </a:xfrm>
          <a:prstGeom prst="rect">
            <a:avLst/>
          </a:prstGeom>
          <a:noFill/>
        </p:spPr>
        <p:txBody>
          <a:bodyPr wrap="square" lIns="0" rIns="0" rtlCol="0">
            <a:spAutoFit/>
          </a:bodyPr>
          <a:lstStyle/>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There are many variations of passages </a:t>
            </a:r>
          </a:p>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Lorem Ipsum available</a:t>
            </a:r>
          </a:p>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But the majority have suffered </a:t>
            </a:r>
          </a:p>
          <a:p>
            <a:pPr marL="171450" indent="-171450">
              <a:lnSpc>
                <a:spcPct val="150000"/>
              </a:lnSpc>
              <a:buClr>
                <a:schemeClr val="accent1"/>
              </a:buClr>
              <a:buFont typeface="Arial" charset="0"/>
              <a:buChar char="•"/>
            </a:pPr>
            <a:r>
              <a:rPr lang="en-US" sz="1200" dirty="0">
                <a:solidFill>
                  <a:srgbClr val="FFFFFF">
                    <a:alpha val="80000"/>
                  </a:srgbClr>
                </a:solidFill>
                <a:latin typeface="RBC Text" panose="02000000000000000000" pitchFamily="2" charset="77"/>
              </a:rPr>
              <a:t>Alteration in some form</a:t>
            </a:r>
          </a:p>
        </p:txBody>
      </p:sp>
      <p:sp>
        <p:nvSpPr>
          <p:cNvPr id="13" name="Rectangle 12"/>
          <p:cNvSpPr/>
          <p:nvPr/>
        </p:nvSpPr>
        <p:spPr>
          <a:xfrm>
            <a:off x="5041672" y="254001"/>
            <a:ext cx="3577088"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RBC Text" panose="02000000000000000000" pitchFamily="2" charset="77"/>
            </a:endParaRPr>
          </a:p>
        </p:txBody>
      </p:sp>
      <p:sp>
        <p:nvSpPr>
          <p:cNvPr id="26" name="TextBox 25"/>
          <p:cNvSpPr txBox="1"/>
          <p:nvPr/>
        </p:nvSpPr>
        <p:spPr>
          <a:xfrm>
            <a:off x="5822701" y="975712"/>
            <a:ext cx="1607107" cy="338554"/>
          </a:xfrm>
          <a:prstGeom prst="rect">
            <a:avLst/>
          </a:prstGeom>
          <a:noFill/>
        </p:spPr>
        <p:txBody>
          <a:bodyPr wrap="none" lIns="0" rIns="0" rtlCol="0">
            <a:spAutoFit/>
          </a:bodyPr>
          <a:lstStyle/>
          <a:p>
            <a:pPr algn="ctr"/>
            <a:r>
              <a:rPr lang="en-US" sz="1600" dirty="0">
                <a:solidFill>
                  <a:schemeClr val="bg1"/>
                </a:solidFill>
                <a:latin typeface="RBC Display" panose="02000000000000000000" pitchFamily="2" charset="77"/>
              </a:rPr>
              <a:t>Service Title here</a:t>
            </a:r>
          </a:p>
        </p:txBody>
      </p:sp>
      <p:sp>
        <p:nvSpPr>
          <p:cNvPr id="27" name="TextBox 26"/>
          <p:cNvSpPr txBox="1"/>
          <p:nvPr/>
        </p:nvSpPr>
        <p:spPr>
          <a:xfrm>
            <a:off x="5822701" y="3223211"/>
            <a:ext cx="1607107" cy="338554"/>
          </a:xfrm>
          <a:prstGeom prst="rect">
            <a:avLst/>
          </a:prstGeom>
          <a:noFill/>
        </p:spPr>
        <p:txBody>
          <a:bodyPr wrap="none" lIns="0" rIns="0" rtlCol="0">
            <a:spAutoFit/>
          </a:bodyPr>
          <a:lstStyle/>
          <a:p>
            <a:pPr algn="ctr"/>
            <a:r>
              <a:rPr lang="en-US" sz="1600" dirty="0">
                <a:solidFill>
                  <a:schemeClr val="bg1"/>
                </a:solidFill>
                <a:latin typeface="RBC Display" panose="02000000000000000000" pitchFamily="2" charset="77"/>
              </a:rPr>
              <a:t>Service Title here</a:t>
            </a:r>
          </a:p>
        </p:txBody>
      </p:sp>
      <p:sp>
        <p:nvSpPr>
          <p:cNvPr id="28" name="TextBox 27"/>
          <p:cNvSpPr txBox="1"/>
          <p:nvPr/>
        </p:nvSpPr>
        <p:spPr>
          <a:xfrm>
            <a:off x="5822701" y="5537770"/>
            <a:ext cx="1607107" cy="338554"/>
          </a:xfrm>
          <a:prstGeom prst="rect">
            <a:avLst/>
          </a:prstGeom>
          <a:noFill/>
        </p:spPr>
        <p:txBody>
          <a:bodyPr wrap="none" lIns="0" rIns="0" rtlCol="0">
            <a:spAutoFit/>
          </a:bodyPr>
          <a:lstStyle/>
          <a:p>
            <a:pPr algn="ctr"/>
            <a:r>
              <a:rPr lang="en-US" sz="1600" dirty="0">
                <a:solidFill>
                  <a:schemeClr val="bg1"/>
                </a:solidFill>
                <a:latin typeface="RBC Display" panose="02000000000000000000" pitchFamily="2" charset="77"/>
              </a:rPr>
              <a:t>Service Title here</a:t>
            </a:r>
          </a:p>
        </p:txBody>
      </p:sp>
      <p:sp>
        <p:nvSpPr>
          <p:cNvPr id="29" name="TextBox 28"/>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4" name="Text Placeholder 6">
            <a:extLst>
              <a:ext uri="{FF2B5EF4-FFF2-40B4-BE49-F238E27FC236}">
                <a16:creationId xmlns:a16="http://schemas.microsoft.com/office/drawing/2014/main" id="{B3A7A114-5619-374C-AD18-0AE09420DC72}"/>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2046863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DF98-A6EA-7344-A76C-CC231CF46707}"/>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A3E7E5FF-BDCA-C04E-9979-E2315AD6ACB0}"/>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505092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eatured</a:t>
            </a:r>
            <a:endParaRPr lang="en-US" dirty="0">
              <a:solidFill>
                <a:srgbClr val="FF0000"/>
              </a:solidFill>
            </a:endParaRPr>
          </a:p>
        </p:txBody>
      </p:sp>
      <p:sp>
        <p:nvSpPr>
          <p:cNvPr id="2" name="Picture Placeholder 1"/>
          <p:cNvSpPr>
            <a:spLocks noGrp="1"/>
          </p:cNvSpPr>
          <p:nvPr>
            <p:ph type="pic" sz="quarter" idx="12"/>
          </p:nvPr>
        </p:nvSpPr>
        <p:spPr/>
        <p:txBody>
          <a:bodyPr/>
          <a:lstStyle/>
          <a:p>
            <a:endParaRPr lang="en-CA"/>
          </a:p>
        </p:txBody>
      </p:sp>
      <p:sp>
        <p:nvSpPr>
          <p:cNvPr id="6" name="Oval 5"/>
          <p:cNvSpPr/>
          <p:nvPr/>
        </p:nvSpPr>
        <p:spPr>
          <a:xfrm>
            <a:off x="6096000" y="1574779"/>
            <a:ext cx="818319" cy="818319"/>
          </a:xfrm>
          <a:prstGeom prst="ellipse">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lstStyle/>
          <a:p>
            <a:pPr algn="ctr"/>
            <a:endParaRPr lang="en-US" sz="4400" dirty="0">
              <a:latin typeface="RBC Text" panose="02000000000000000000" pitchFamily="2" charset="77"/>
            </a:endParaRPr>
          </a:p>
        </p:txBody>
      </p:sp>
      <p:sp>
        <p:nvSpPr>
          <p:cNvPr id="9" name="Oval 8"/>
          <p:cNvSpPr/>
          <p:nvPr/>
        </p:nvSpPr>
        <p:spPr>
          <a:xfrm>
            <a:off x="6096000" y="2843449"/>
            <a:ext cx="818319" cy="818319"/>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lstStyle/>
          <a:p>
            <a:pPr algn="ctr"/>
            <a:endParaRPr lang="en-US" sz="4400" dirty="0">
              <a:latin typeface="RBC Text" panose="02000000000000000000" pitchFamily="2" charset="77"/>
            </a:endParaRPr>
          </a:p>
        </p:txBody>
      </p:sp>
      <p:sp>
        <p:nvSpPr>
          <p:cNvPr id="12" name="Oval 11"/>
          <p:cNvSpPr/>
          <p:nvPr/>
        </p:nvSpPr>
        <p:spPr>
          <a:xfrm>
            <a:off x="6096000" y="4112119"/>
            <a:ext cx="818319" cy="818319"/>
          </a:xfrm>
          <a:prstGeom prst="ellipse">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lstStyle/>
          <a:p>
            <a:pPr algn="ctr"/>
            <a:endParaRPr lang="en-US" sz="4400" dirty="0">
              <a:latin typeface="RBC Text" panose="02000000000000000000" pitchFamily="2" charset="77"/>
            </a:endParaRPr>
          </a:p>
        </p:txBody>
      </p:sp>
      <p:sp>
        <p:nvSpPr>
          <p:cNvPr id="15" name="Oval 14"/>
          <p:cNvSpPr/>
          <p:nvPr/>
        </p:nvSpPr>
        <p:spPr>
          <a:xfrm>
            <a:off x="6096000" y="5380789"/>
            <a:ext cx="818319" cy="818319"/>
          </a:xfrm>
          <a:prstGeom prst="ellipse">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lstStyle/>
          <a:p>
            <a:pPr algn="ctr"/>
            <a:endParaRPr lang="en-US" sz="4400" dirty="0">
              <a:latin typeface="RBC Text" panose="02000000000000000000" pitchFamily="2" charset="77"/>
            </a:endParaRPr>
          </a:p>
        </p:txBody>
      </p:sp>
      <p:sp>
        <p:nvSpPr>
          <p:cNvPr id="16" name="TextBox 15"/>
          <p:cNvSpPr txBox="1"/>
          <p:nvPr/>
        </p:nvSpPr>
        <p:spPr>
          <a:xfrm>
            <a:off x="7155231" y="1645889"/>
            <a:ext cx="3588617" cy="283154"/>
          </a:xfrm>
          <a:prstGeom prst="rect">
            <a:avLst/>
          </a:prstGeom>
          <a:noFill/>
        </p:spPr>
        <p:txBody>
          <a:bodyPr wrap="square" lIns="0" rIns="0" rtlCol="0">
            <a:spAutoFit/>
          </a:bodyPr>
          <a:lstStyle/>
          <a:p>
            <a:pPr>
              <a:lnSpc>
                <a:spcPct val="70000"/>
              </a:lnSpc>
            </a:pPr>
            <a:r>
              <a:rPr lang="en-US" sz="1600" dirty="0">
                <a:latin typeface="RBC Display" panose="02000000000000000000" pitchFamily="2" charset="77"/>
              </a:rPr>
              <a:t>ICO Campaigns</a:t>
            </a:r>
            <a:endParaRPr lang="en-US" sz="1600" dirty="0">
              <a:solidFill>
                <a:schemeClr val="accent1"/>
              </a:solidFill>
              <a:latin typeface="RBC Display" panose="02000000000000000000" pitchFamily="2" charset="77"/>
            </a:endParaRPr>
          </a:p>
        </p:txBody>
      </p:sp>
      <p:sp>
        <p:nvSpPr>
          <p:cNvPr id="17" name="TextBox 16"/>
          <p:cNvSpPr txBox="1"/>
          <p:nvPr/>
        </p:nvSpPr>
        <p:spPr>
          <a:xfrm>
            <a:off x="7155231" y="1912182"/>
            <a:ext cx="3588617" cy="526298"/>
          </a:xfrm>
          <a:prstGeom prst="rect">
            <a:avLst/>
          </a:prstGeom>
          <a:noFill/>
        </p:spPr>
        <p:txBody>
          <a:bodyPr wrap="square" lIns="0" rIns="0" rtlCol="0">
            <a:spAutoFit/>
          </a:bodyPr>
          <a:lstStyle/>
          <a:p>
            <a:pPr>
              <a:lnSpc>
                <a:spcPct val="120000"/>
              </a:lnSpc>
            </a:pPr>
            <a:r>
              <a:rPr lang="en-US" sz="1200" dirty="0">
                <a:solidFill>
                  <a:schemeClr val="tx1">
                    <a:alpha val="80000"/>
                  </a:schemeClr>
                </a:solidFill>
                <a:latin typeface="RBC Text" panose="02000000000000000000" pitchFamily="2" charset="77"/>
              </a:rPr>
              <a:t>There are many variations of passages of Lorem Ipsum available, but the majority have.</a:t>
            </a:r>
          </a:p>
        </p:txBody>
      </p:sp>
      <p:sp>
        <p:nvSpPr>
          <p:cNvPr id="18" name="TextBox 17"/>
          <p:cNvSpPr txBox="1"/>
          <p:nvPr/>
        </p:nvSpPr>
        <p:spPr>
          <a:xfrm>
            <a:off x="7155231" y="2908091"/>
            <a:ext cx="3588617" cy="283154"/>
          </a:xfrm>
          <a:prstGeom prst="rect">
            <a:avLst/>
          </a:prstGeom>
          <a:noFill/>
        </p:spPr>
        <p:txBody>
          <a:bodyPr wrap="square" lIns="0" rIns="0" rtlCol="0">
            <a:spAutoFit/>
          </a:bodyPr>
          <a:lstStyle/>
          <a:p>
            <a:pPr>
              <a:lnSpc>
                <a:spcPct val="70000"/>
              </a:lnSpc>
            </a:pPr>
            <a:r>
              <a:rPr lang="en-US" sz="1600" b="1" dirty="0">
                <a:solidFill>
                  <a:schemeClr val="accent1"/>
                </a:solidFill>
                <a:latin typeface="RBC Display" panose="02000000000000000000" pitchFamily="2" charset="77"/>
              </a:rPr>
              <a:t>Legal Compliance</a:t>
            </a:r>
          </a:p>
        </p:txBody>
      </p:sp>
      <p:sp>
        <p:nvSpPr>
          <p:cNvPr id="19" name="TextBox 18"/>
          <p:cNvSpPr txBox="1"/>
          <p:nvPr/>
        </p:nvSpPr>
        <p:spPr>
          <a:xfrm>
            <a:off x="7155231" y="3174384"/>
            <a:ext cx="3588617" cy="526298"/>
          </a:xfrm>
          <a:prstGeom prst="rect">
            <a:avLst/>
          </a:prstGeom>
          <a:noFill/>
        </p:spPr>
        <p:txBody>
          <a:bodyPr wrap="square" lIns="0" rIns="0" rtlCol="0">
            <a:spAutoFit/>
          </a:bodyPr>
          <a:lstStyle/>
          <a:p>
            <a:pPr>
              <a:lnSpc>
                <a:spcPct val="120000"/>
              </a:lnSpc>
            </a:pPr>
            <a:r>
              <a:rPr lang="en-US" sz="1200" dirty="0">
                <a:solidFill>
                  <a:schemeClr val="tx1">
                    <a:alpha val="80000"/>
                  </a:schemeClr>
                </a:solidFill>
                <a:latin typeface="RBC Text" panose="02000000000000000000" pitchFamily="2" charset="77"/>
              </a:rPr>
              <a:t>There are many variations of passages of Lorem Ipsum available, but the majority have.</a:t>
            </a:r>
          </a:p>
        </p:txBody>
      </p:sp>
      <p:sp>
        <p:nvSpPr>
          <p:cNvPr id="20" name="TextBox 19"/>
          <p:cNvSpPr txBox="1"/>
          <p:nvPr/>
        </p:nvSpPr>
        <p:spPr>
          <a:xfrm>
            <a:off x="7155231" y="4170293"/>
            <a:ext cx="3588617" cy="283154"/>
          </a:xfrm>
          <a:prstGeom prst="rect">
            <a:avLst/>
          </a:prstGeom>
          <a:noFill/>
        </p:spPr>
        <p:txBody>
          <a:bodyPr wrap="square" lIns="0" rIns="0" rtlCol="0">
            <a:spAutoFit/>
          </a:bodyPr>
          <a:lstStyle/>
          <a:p>
            <a:pPr>
              <a:lnSpc>
                <a:spcPct val="70000"/>
              </a:lnSpc>
            </a:pPr>
            <a:r>
              <a:rPr lang="en-US" sz="1600" dirty="0">
                <a:latin typeface="RBC Display" panose="02000000000000000000" pitchFamily="2" charset="77"/>
              </a:rPr>
              <a:t>Live Exchange Rates</a:t>
            </a:r>
            <a:endParaRPr lang="en-US" sz="1600" dirty="0">
              <a:solidFill>
                <a:schemeClr val="accent1"/>
              </a:solidFill>
              <a:latin typeface="RBC Display" panose="02000000000000000000" pitchFamily="2" charset="77"/>
            </a:endParaRPr>
          </a:p>
        </p:txBody>
      </p:sp>
      <p:sp>
        <p:nvSpPr>
          <p:cNvPr id="21" name="TextBox 20"/>
          <p:cNvSpPr txBox="1"/>
          <p:nvPr/>
        </p:nvSpPr>
        <p:spPr>
          <a:xfrm>
            <a:off x="7155231" y="4436586"/>
            <a:ext cx="3588617" cy="526298"/>
          </a:xfrm>
          <a:prstGeom prst="rect">
            <a:avLst/>
          </a:prstGeom>
          <a:noFill/>
        </p:spPr>
        <p:txBody>
          <a:bodyPr wrap="square" lIns="0" rIns="0" rtlCol="0">
            <a:spAutoFit/>
          </a:bodyPr>
          <a:lstStyle/>
          <a:p>
            <a:pPr>
              <a:lnSpc>
                <a:spcPct val="120000"/>
              </a:lnSpc>
            </a:pPr>
            <a:r>
              <a:rPr lang="en-US" sz="1200" dirty="0">
                <a:solidFill>
                  <a:schemeClr val="tx1">
                    <a:alpha val="80000"/>
                  </a:schemeClr>
                </a:solidFill>
                <a:latin typeface="RBC Text" panose="02000000000000000000" pitchFamily="2" charset="77"/>
              </a:rPr>
              <a:t>There are many variations of passages of Lorem Ipsum available, but the majority have.</a:t>
            </a:r>
          </a:p>
        </p:txBody>
      </p:sp>
      <p:sp>
        <p:nvSpPr>
          <p:cNvPr id="22" name="TextBox 21"/>
          <p:cNvSpPr txBox="1"/>
          <p:nvPr/>
        </p:nvSpPr>
        <p:spPr>
          <a:xfrm>
            <a:off x="7155231" y="5432496"/>
            <a:ext cx="3588617" cy="283154"/>
          </a:xfrm>
          <a:prstGeom prst="rect">
            <a:avLst/>
          </a:prstGeom>
          <a:noFill/>
        </p:spPr>
        <p:txBody>
          <a:bodyPr wrap="square" lIns="0" rIns="0" rtlCol="0">
            <a:spAutoFit/>
          </a:bodyPr>
          <a:lstStyle/>
          <a:p>
            <a:pPr>
              <a:lnSpc>
                <a:spcPct val="70000"/>
              </a:lnSpc>
            </a:pPr>
            <a:r>
              <a:rPr lang="en-US" sz="1600" dirty="0" err="1">
                <a:latin typeface="RBC Display" panose="02000000000000000000" pitchFamily="2" charset="77"/>
              </a:rPr>
              <a:t>Ethereum</a:t>
            </a:r>
            <a:r>
              <a:rPr lang="en-US" sz="1600" dirty="0">
                <a:latin typeface="RBC Display" panose="02000000000000000000" pitchFamily="2" charset="77"/>
              </a:rPr>
              <a:t> Platform</a:t>
            </a:r>
            <a:endParaRPr lang="en-US" sz="1600" dirty="0">
              <a:solidFill>
                <a:schemeClr val="accent1"/>
              </a:solidFill>
              <a:latin typeface="RBC Display" panose="02000000000000000000" pitchFamily="2" charset="77"/>
            </a:endParaRPr>
          </a:p>
        </p:txBody>
      </p:sp>
      <p:sp>
        <p:nvSpPr>
          <p:cNvPr id="23" name="TextBox 22"/>
          <p:cNvSpPr txBox="1"/>
          <p:nvPr/>
        </p:nvSpPr>
        <p:spPr>
          <a:xfrm>
            <a:off x="7155231" y="5698789"/>
            <a:ext cx="3588617" cy="526298"/>
          </a:xfrm>
          <a:prstGeom prst="rect">
            <a:avLst/>
          </a:prstGeom>
          <a:noFill/>
        </p:spPr>
        <p:txBody>
          <a:bodyPr wrap="square" lIns="0" rIns="0" rtlCol="0">
            <a:spAutoFit/>
          </a:bodyPr>
          <a:lstStyle/>
          <a:p>
            <a:pPr>
              <a:lnSpc>
                <a:spcPct val="120000"/>
              </a:lnSpc>
            </a:pPr>
            <a:r>
              <a:rPr lang="en-US" sz="1200" dirty="0">
                <a:solidFill>
                  <a:schemeClr val="tx1">
                    <a:alpha val="80000"/>
                  </a:schemeClr>
                </a:solidFill>
                <a:latin typeface="RBC Text" panose="02000000000000000000" pitchFamily="2" charset="77"/>
              </a:rPr>
              <a:t>There are many variations of passages of Lorem Ipsum available, but the majority have.</a:t>
            </a:r>
          </a:p>
        </p:txBody>
      </p:sp>
      <p:sp>
        <p:nvSpPr>
          <p:cNvPr id="24" name="Shape 3612"/>
          <p:cNvSpPr/>
          <p:nvPr/>
        </p:nvSpPr>
        <p:spPr>
          <a:xfrm>
            <a:off x="6364869" y="1888286"/>
            <a:ext cx="280580" cy="191304"/>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tx1"/>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sp>
        <p:nvSpPr>
          <p:cNvPr id="25" name="Shape 3612"/>
          <p:cNvSpPr/>
          <p:nvPr/>
        </p:nvSpPr>
        <p:spPr>
          <a:xfrm>
            <a:off x="6364869" y="3156956"/>
            <a:ext cx="280580" cy="191304"/>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sp>
        <p:nvSpPr>
          <p:cNvPr id="26" name="Shape 3612"/>
          <p:cNvSpPr/>
          <p:nvPr/>
        </p:nvSpPr>
        <p:spPr>
          <a:xfrm>
            <a:off x="6364869" y="4425626"/>
            <a:ext cx="280580" cy="191304"/>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tx1"/>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sp>
        <p:nvSpPr>
          <p:cNvPr id="27" name="Shape 3612"/>
          <p:cNvSpPr/>
          <p:nvPr/>
        </p:nvSpPr>
        <p:spPr>
          <a:xfrm>
            <a:off x="6364869" y="5694296"/>
            <a:ext cx="280580" cy="191304"/>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tx1"/>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grpSp>
        <p:nvGrpSpPr>
          <p:cNvPr id="30" name="Group 29"/>
          <p:cNvGrpSpPr/>
          <p:nvPr/>
        </p:nvGrpSpPr>
        <p:grpSpPr>
          <a:xfrm>
            <a:off x="909268" y="6295673"/>
            <a:ext cx="279465" cy="57600"/>
            <a:chOff x="909268" y="6459095"/>
            <a:chExt cx="279465" cy="57600"/>
          </a:xfrm>
        </p:grpSpPr>
        <p:sp>
          <p:nvSpPr>
            <p:cNvPr id="31" name="Oval 30"/>
            <p:cNvSpPr/>
            <p:nvPr/>
          </p:nvSpPr>
          <p:spPr>
            <a:xfrm>
              <a:off x="909268" y="6459095"/>
              <a:ext cx="57600" cy="57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32" name="Oval 31"/>
            <p:cNvSpPr/>
            <p:nvPr/>
          </p:nvSpPr>
          <p:spPr>
            <a:xfrm>
              <a:off x="1020201"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33" name="Oval 32"/>
            <p:cNvSpPr/>
            <p:nvPr/>
          </p:nvSpPr>
          <p:spPr>
            <a:xfrm>
              <a:off x="1131133"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grpSp>
      <p:sp>
        <p:nvSpPr>
          <p:cNvPr id="28" name="Text Placeholder 6">
            <a:extLst>
              <a:ext uri="{FF2B5EF4-FFF2-40B4-BE49-F238E27FC236}">
                <a16:creationId xmlns:a16="http://schemas.microsoft.com/office/drawing/2014/main" id="{ECC9890D-8F78-AB49-9416-BFED1384CC5C}"/>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4682088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a:t>Visual Service</a:t>
            </a:r>
          </a:p>
        </p:txBody>
      </p:sp>
      <p:sp>
        <p:nvSpPr>
          <p:cNvPr id="2" name="Picture Placeholder 1"/>
          <p:cNvSpPr>
            <a:spLocks noGrp="1"/>
          </p:cNvSpPr>
          <p:nvPr>
            <p:ph type="pic" sz="quarter" idx="12"/>
          </p:nvPr>
        </p:nvSpPr>
        <p:spPr/>
        <p:txBody>
          <a:bodyPr/>
          <a:lstStyle/>
          <a:p>
            <a:endParaRPr lang="en-CA"/>
          </a:p>
        </p:txBody>
      </p:sp>
      <p:sp>
        <p:nvSpPr>
          <p:cNvPr id="3" name="TextBox 2"/>
          <p:cNvSpPr txBox="1"/>
          <p:nvPr/>
        </p:nvSpPr>
        <p:spPr>
          <a:xfrm>
            <a:off x="6101961" y="2691357"/>
            <a:ext cx="2015596" cy="969496"/>
          </a:xfrm>
          <a:prstGeom prst="rect">
            <a:avLst/>
          </a:prstGeom>
          <a:noFill/>
        </p:spPr>
        <p:txBody>
          <a:bodyPr wrap="square" lIns="0" rIns="0" rtlCol="0">
            <a:spAutoFit/>
          </a:bodyPr>
          <a:lstStyle/>
          <a:p>
            <a:pPr>
              <a:lnSpc>
                <a:spcPct val="120000"/>
              </a:lnSpc>
            </a:pPr>
            <a:r>
              <a:rPr lang="en-US" sz="1200" b="1" dirty="0">
                <a:solidFill>
                  <a:schemeClr val="tx1">
                    <a:alpha val="70000"/>
                  </a:schemeClr>
                </a:solidFill>
                <a:latin typeface="RBC Text" panose="02000000000000000000" pitchFamily="2" charset="77"/>
                <a:ea typeface="Open Sans" charset="0"/>
                <a:cs typeface="Open Sans" charset="0"/>
              </a:rPr>
              <a:t>A peep at some distant orb has power to raise and purify our thoughts like a strain.</a:t>
            </a:r>
          </a:p>
        </p:txBody>
      </p:sp>
      <p:sp>
        <p:nvSpPr>
          <p:cNvPr id="4" name="Title 18"/>
          <p:cNvSpPr txBox="1">
            <a:spLocks/>
          </p:cNvSpPr>
          <p:nvPr/>
        </p:nvSpPr>
        <p:spPr>
          <a:xfrm>
            <a:off x="6101961" y="1643021"/>
            <a:ext cx="1172918" cy="596646"/>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sz="3200" b="0" i="0" kern="1200" spc="600">
                <a:solidFill>
                  <a:schemeClr val="tx1"/>
                </a:solidFill>
                <a:latin typeface="Cinzel" charset="0"/>
                <a:ea typeface="Cinzel" charset="0"/>
                <a:cs typeface="Cinzel" charset="0"/>
              </a:defRPr>
            </a:lvl1pPr>
          </a:lstStyle>
          <a:p>
            <a:r>
              <a:rPr lang="en-US" sz="4800" dirty="0">
                <a:latin typeface="RBC Display" panose="02000000000000000000" pitchFamily="2" charset="77"/>
              </a:rPr>
              <a:t>1.</a:t>
            </a:r>
          </a:p>
        </p:txBody>
      </p:sp>
      <p:sp>
        <p:nvSpPr>
          <p:cNvPr id="5" name="TextBox 4"/>
          <p:cNvSpPr txBox="1"/>
          <p:nvPr/>
        </p:nvSpPr>
        <p:spPr>
          <a:xfrm>
            <a:off x="6101961" y="2325244"/>
            <a:ext cx="1131913" cy="338554"/>
          </a:xfrm>
          <a:prstGeom prst="rect">
            <a:avLst/>
          </a:prstGeom>
          <a:noFill/>
        </p:spPr>
        <p:txBody>
          <a:bodyPr wrap="none" lIns="0" rIns="0" rtlCol="0">
            <a:spAutoFit/>
          </a:bodyPr>
          <a:lstStyle/>
          <a:p>
            <a:r>
              <a:rPr lang="en-US" sz="1600" b="1" dirty="0">
                <a:latin typeface="RBC Display" panose="02000000000000000000" pitchFamily="2" charset="77"/>
                <a:ea typeface="Open Sans" charset="0"/>
                <a:cs typeface="Open Sans" charset="0"/>
              </a:rPr>
              <a:t>Description</a:t>
            </a:r>
          </a:p>
        </p:txBody>
      </p:sp>
      <p:sp>
        <p:nvSpPr>
          <p:cNvPr id="6" name="TextBox 5"/>
          <p:cNvSpPr txBox="1"/>
          <p:nvPr/>
        </p:nvSpPr>
        <p:spPr>
          <a:xfrm>
            <a:off x="6101961" y="4933189"/>
            <a:ext cx="2015596" cy="969496"/>
          </a:xfrm>
          <a:prstGeom prst="rect">
            <a:avLst/>
          </a:prstGeom>
          <a:noFill/>
        </p:spPr>
        <p:txBody>
          <a:bodyPr wrap="square" lIns="0" rIns="0" rtlCol="0">
            <a:spAutoFit/>
          </a:bodyPr>
          <a:lstStyle/>
          <a:p>
            <a:pPr>
              <a:lnSpc>
                <a:spcPct val="120000"/>
              </a:lnSpc>
            </a:pPr>
            <a:r>
              <a:rPr lang="en-US" sz="1200" b="1" dirty="0">
                <a:solidFill>
                  <a:schemeClr val="tx1">
                    <a:alpha val="70000"/>
                  </a:schemeClr>
                </a:solidFill>
                <a:latin typeface="RBC Text" panose="02000000000000000000" pitchFamily="2" charset="77"/>
                <a:ea typeface="Open Sans" charset="0"/>
                <a:cs typeface="Open Sans" charset="0"/>
              </a:rPr>
              <a:t>A peep at some distant orb has power to raise and purify our thoughts like a strain.</a:t>
            </a:r>
          </a:p>
        </p:txBody>
      </p:sp>
      <p:sp>
        <p:nvSpPr>
          <p:cNvPr id="7" name="Title 18"/>
          <p:cNvSpPr txBox="1">
            <a:spLocks/>
          </p:cNvSpPr>
          <p:nvPr/>
        </p:nvSpPr>
        <p:spPr>
          <a:xfrm>
            <a:off x="6101961" y="3884853"/>
            <a:ext cx="1172918" cy="596646"/>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sz="3200" b="0" i="0" kern="1200" spc="600">
                <a:solidFill>
                  <a:schemeClr val="tx1"/>
                </a:solidFill>
                <a:latin typeface="Cinzel" charset="0"/>
                <a:ea typeface="Cinzel" charset="0"/>
                <a:cs typeface="Cinzel" charset="0"/>
              </a:defRPr>
            </a:lvl1pPr>
          </a:lstStyle>
          <a:p>
            <a:r>
              <a:rPr lang="en-US" sz="4800" dirty="0">
                <a:latin typeface="RBC Display" panose="02000000000000000000" pitchFamily="2" charset="77"/>
              </a:rPr>
              <a:t>4.</a:t>
            </a:r>
          </a:p>
        </p:txBody>
      </p:sp>
      <p:sp>
        <p:nvSpPr>
          <p:cNvPr id="8" name="TextBox 7"/>
          <p:cNvSpPr txBox="1"/>
          <p:nvPr/>
        </p:nvSpPr>
        <p:spPr>
          <a:xfrm>
            <a:off x="6101961" y="4567076"/>
            <a:ext cx="1131913" cy="338554"/>
          </a:xfrm>
          <a:prstGeom prst="rect">
            <a:avLst/>
          </a:prstGeom>
          <a:noFill/>
        </p:spPr>
        <p:txBody>
          <a:bodyPr wrap="none" lIns="0" rIns="0" rtlCol="0">
            <a:spAutoFit/>
          </a:bodyPr>
          <a:lstStyle/>
          <a:p>
            <a:r>
              <a:rPr lang="en-US" sz="1600" b="1" dirty="0">
                <a:latin typeface="RBC Display" panose="02000000000000000000" pitchFamily="2" charset="77"/>
                <a:ea typeface="Open Sans" charset="0"/>
                <a:cs typeface="Open Sans" charset="0"/>
              </a:rPr>
              <a:t>Description</a:t>
            </a:r>
          </a:p>
        </p:txBody>
      </p:sp>
      <p:sp>
        <p:nvSpPr>
          <p:cNvPr id="9" name="TextBox 8"/>
          <p:cNvSpPr txBox="1"/>
          <p:nvPr/>
        </p:nvSpPr>
        <p:spPr>
          <a:xfrm>
            <a:off x="9030573" y="2691357"/>
            <a:ext cx="2015596" cy="969496"/>
          </a:xfrm>
          <a:prstGeom prst="rect">
            <a:avLst/>
          </a:prstGeom>
          <a:noFill/>
        </p:spPr>
        <p:txBody>
          <a:bodyPr wrap="square" lIns="0" rIns="0" rtlCol="0">
            <a:spAutoFit/>
          </a:bodyPr>
          <a:lstStyle/>
          <a:p>
            <a:pPr>
              <a:lnSpc>
                <a:spcPct val="120000"/>
              </a:lnSpc>
            </a:pPr>
            <a:r>
              <a:rPr lang="en-US" sz="1200" b="1" dirty="0">
                <a:solidFill>
                  <a:schemeClr val="tx1">
                    <a:alpha val="70000"/>
                  </a:schemeClr>
                </a:solidFill>
                <a:latin typeface="RBC Text" panose="02000000000000000000" pitchFamily="2" charset="77"/>
                <a:ea typeface="Open Sans" charset="0"/>
                <a:cs typeface="Open Sans" charset="0"/>
              </a:rPr>
              <a:t>A peep at some distant orb has power to raise and purify our thoughts like a strain.</a:t>
            </a:r>
          </a:p>
        </p:txBody>
      </p:sp>
      <p:sp>
        <p:nvSpPr>
          <p:cNvPr id="10" name="Title 18"/>
          <p:cNvSpPr txBox="1">
            <a:spLocks/>
          </p:cNvSpPr>
          <p:nvPr/>
        </p:nvSpPr>
        <p:spPr>
          <a:xfrm>
            <a:off x="9030573" y="1643021"/>
            <a:ext cx="1172918" cy="596646"/>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sz="3200" b="0" i="0" kern="1200" spc="600">
                <a:solidFill>
                  <a:schemeClr val="tx1"/>
                </a:solidFill>
                <a:latin typeface="Cinzel" charset="0"/>
                <a:ea typeface="Cinzel" charset="0"/>
                <a:cs typeface="Cinzel" charset="0"/>
              </a:defRPr>
            </a:lvl1pPr>
          </a:lstStyle>
          <a:p>
            <a:r>
              <a:rPr lang="en-US" sz="4800" dirty="0">
                <a:latin typeface="RBC Display" panose="02000000000000000000" pitchFamily="2" charset="77"/>
              </a:rPr>
              <a:t>2.</a:t>
            </a:r>
          </a:p>
        </p:txBody>
      </p:sp>
      <p:sp>
        <p:nvSpPr>
          <p:cNvPr id="11" name="TextBox 10"/>
          <p:cNvSpPr txBox="1"/>
          <p:nvPr/>
        </p:nvSpPr>
        <p:spPr>
          <a:xfrm>
            <a:off x="9030573" y="2325244"/>
            <a:ext cx="1131913" cy="338554"/>
          </a:xfrm>
          <a:prstGeom prst="rect">
            <a:avLst/>
          </a:prstGeom>
          <a:noFill/>
        </p:spPr>
        <p:txBody>
          <a:bodyPr wrap="none" lIns="0" rIns="0" rtlCol="0">
            <a:spAutoFit/>
          </a:bodyPr>
          <a:lstStyle/>
          <a:p>
            <a:r>
              <a:rPr lang="en-US" sz="1600" b="1" dirty="0">
                <a:latin typeface="RBC Display" panose="02000000000000000000" pitchFamily="2" charset="77"/>
                <a:ea typeface="Open Sans" charset="0"/>
                <a:cs typeface="Open Sans" charset="0"/>
              </a:rPr>
              <a:t>Description</a:t>
            </a:r>
          </a:p>
        </p:txBody>
      </p:sp>
      <p:sp>
        <p:nvSpPr>
          <p:cNvPr id="12" name="TextBox 11"/>
          <p:cNvSpPr txBox="1"/>
          <p:nvPr/>
        </p:nvSpPr>
        <p:spPr>
          <a:xfrm>
            <a:off x="9030573" y="4933189"/>
            <a:ext cx="2015596" cy="969496"/>
          </a:xfrm>
          <a:prstGeom prst="rect">
            <a:avLst/>
          </a:prstGeom>
          <a:noFill/>
        </p:spPr>
        <p:txBody>
          <a:bodyPr wrap="square" lIns="0" rIns="0" rtlCol="0">
            <a:spAutoFit/>
          </a:bodyPr>
          <a:lstStyle/>
          <a:p>
            <a:pPr>
              <a:lnSpc>
                <a:spcPct val="120000"/>
              </a:lnSpc>
            </a:pPr>
            <a:r>
              <a:rPr lang="en-US" sz="1200" b="1" dirty="0">
                <a:solidFill>
                  <a:schemeClr val="tx1">
                    <a:alpha val="70000"/>
                  </a:schemeClr>
                </a:solidFill>
                <a:latin typeface="RBC Text" panose="02000000000000000000" pitchFamily="2" charset="77"/>
                <a:ea typeface="Open Sans" charset="0"/>
                <a:cs typeface="Open Sans" charset="0"/>
              </a:rPr>
              <a:t>A peep at some distant orb has power to raise and purify our thoughts like a strain.</a:t>
            </a:r>
          </a:p>
        </p:txBody>
      </p:sp>
      <p:sp>
        <p:nvSpPr>
          <p:cNvPr id="13" name="Title 18"/>
          <p:cNvSpPr txBox="1">
            <a:spLocks/>
          </p:cNvSpPr>
          <p:nvPr/>
        </p:nvSpPr>
        <p:spPr>
          <a:xfrm>
            <a:off x="9030573" y="3884853"/>
            <a:ext cx="1172918" cy="596646"/>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sz="3200" b="0" i="0" kern="1200" spc="600">
                <a:solidFill>
                  <a:schemeClr val="tx1"/>
                </a:solidFill>
                <a:latin typeface="Cinzel" charset="0"/>
                <a:ea typeface="Cinzel" charset="0"/>
                <a:cs typeface="Cinzel" charset="0"/>
              </a:defRPr>
            </a:lvl1pPr>
          </a:lstStyle>
          <a:p>
            <a:r>
              <a:rPr lang="en-US" sz="4800" dirty="0">
                <a:latin typeface="RBC Display" panose="02000000000000000000" pitchFamily="2" charset="77"/>
              </a:rPr>
              <a:t>5.</a:t>
            </a:r>
          </a:p>
        </p:txBody>
      </p:sp>
      <p:sp>
        <p:nvSpPr>
          <p:cNvPr id="14" name="TextBox 13"/>
          <p:cNvSpPr txBox="1"/>
          <p:nvPr/>
        </p:nvSpPr>
        <p:spPr>
          <a:xfrm>
            <a:off x="9030573" y="4567076"/>
            <a:ext cx="1131913" cy="338554"/>
          </a:xfrm>
          <a:prstGeom prst="rect">
            <a:avLst/>
          </a:prstGeom>
          <a:noFill/>
        </p:spPr>
        <p:txBody>
          <a:bodyPr wrap="none" lIns="0" rIns="0" rtlCol="0">
            <a:spAutoFit/>
          </a:bodyPr>
          <a:lstStyle/>
          <a:p>
            <a:r>
              <a:rPr lang="en-US" sz="1600" b="1" dirty="0">
                <a:latin typeface="RBC Display" panose="02000000000000000000" pitchFamily="2" charset="77"/>
                <a:ea typeface="Open Sans" charset="0"/>
                <a:cs typeface="Open Sans" charset="0"/>
              </a:rPr>
              <a:t>Description</a:t>
            </a:r>
          </a:p>
        </p:txBody>
      </p:sp>
      <p:grpSp>
        <p:nvGrpSpPr>
          <p:cNvPr id="18" name="Group 17"/>
          <p:cNvGrpSpPr/>
          <p:nvPr/>
        </p:nvGrpSpPr>
        <p:grpSpPr>
          <a:xfrm>
            <a:off x="909268" y="6295673"/>
            <a:ext cx="279465" cy="57600"/>
            <a:chOff x="909268" y="6459095"/>
            <a:chExt cx="279465" cy="57600"/>
          </a:xfrm>
        </p:grpSpPr>
        <p:sp>
          <p:nvSpPr>
            <p:cNvPr id="19" name="Oval 18"/>
            <p:cNvSpPr/>
            <p:nvPr/>
          </p:nvSpPr>
          <p:spPr>
            <a:xfrm>
              <a:off x="909268" y="6459095"/>
              <a:ext cx="57600" cy="57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0" name="Oval 19"/>
            <p:cNvSpPr/>
            <p:nvPr/>
          </p:nvSpPr>
          <p:spPr>
            <a:xfrm>
              <a:off x="1020201"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1" name="Oval 20"/>
            <p:cNvSpPr/>
            <p:nvPr/>
          </p:nvSpPr>
          <p:spPr>
            <a:xfrm>
              <a:off x="1131133"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grpSp>
      <p:sp>
        <p:nvSpPr>
          <p:cNvPr id="22" name="Text Placeholder 6">
            <a:extLst>
              <a:ext uri="{FF2B5EF4-FFF2-40B4-BE49-F238E27FC236}">
                <a16:creationId xmlns:a16="http://schemas.microsoft.com/office/drawing/2014/main" id="{07B73D73-9942-B54F-9569-B5E05E8484F2}"/>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1134731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icing.</a:t>
            </a:r>
          </a:p>
        </p:txBody>
      </p:sp>
      <p:sp>
        <p:nvSpPr>
          <p:cNvPr id="6" name="Rectangle 5"/>
          <p:cNvSpPr/>
          <p:nvPr/>
        </p:nvSpPr>
        <p:spPr>
          <a:xfrm>
            <a:off x="913016" y="2501375"/>
            <a:ext cx="3121366" cy="353432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RBC Text" panose="02000000000000000000" pitchFamily="2" charset="77"/>
            </a:endParaRPr>
          </a:p>
        </p:txBody>
      </p:sp>
      <p:sp>
        <p:nvSpPr>
          <p:cNvPr id="7" name="Rectangle 6"/>
          <p:cNvSpPr/>
          <p:nvPr/>
        </p:nvSpPr>
        <p:spPr>
          <a:xfrm>
            <a:off x="4267871" y="2501375"/>
            <a:ext cx="3121366" cy="3534325"/>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RBC Text" panose="02000000000000000000" pitchFamily="2" charset="77"/>
            </a:endParaRPr>
          </a:p>
        </p:txBody>
      </p:sp>
      <p:sp>
        <p:nvSpPr>
          <p:cNvPr id="8" name="Rectangle 7"/>
          <p:cNvSpPr/>
          <p:nvPr/>
        </p:nvSpPr>
        <p:spPr>
          <a:xfrm>
            <a:off x="7622726" y="2501375"/>
            <a:ext cx="3121366" cy="3534325"/>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RBC Text" panose="02000000000000000000" pitchFamily="2" charset="77"/>
            </a:endParaRPr>
          </a:p>
        </p:txBody>
      </p:sp>
      <p:sp>
        <p:nvSpPr>
          <p:cNvPr id="10" name="TextBox 9"/>
          <p:cNvSpPr txBox="1"/>
          <p:nvPr/>
        </p:nvSpPr>
        <p:spPr>
          <a:xfrm>
            <a:off x="1439476" y="2749020"/>
            <a:ext cx="2068446" cy="235449"/>
          </a:xfrm>
          <a:prstGeom prst="rect">
            <a:avLst/>
          </a:prstGeom>
          <a:noFill/>
        </p:spPr>
        <p:txBody>
          <a:bodyPr wrap="square" lIns="0" rIns="0" rtlCol="0">
            <a:spAutoFit/>
          </a:bodyPr>
          <a:lstStyle/>
          <a:p>
            <a:pPr algn="ctr">
              <a:lnSpc>
                <a:spcPct val="70000"/>
              </a:lnSpc>
            </a:pPr>
            <a:r>
              <a:rPr lang="en-US" sz="1200" spc="100" dirty="0">
                <a:latin typeface="RBC Display" panose="02000000000000000000" pitchFamily="2" charset="77"/>
              </a:rPr>
              <a:t>BASIC</a:t>
            </a:r>
            <a:endParaRPr lang="en-US" sz="1200" spc="100" dirty="0">
              <a:solidFill>
                <a:schemeClr val="accent1"/>
              </a:solidFill>
              <a:latin typeface="RBC Display" panose="02000000000000000000" pitchFamily="2" charset="77"/>
            </a:endParaRPr>
          </a:p>
        </p:txBody>
      </p:sp>
      <p:sp>
        <p:nvSpPr>
          <p:cNvPr id="11" name="TextBox 10"/>
          <p:cNvSpPr txBox="1"/>
          <p:nvPr/>
        </p:nvSpPr>
        <p:spPr>
          <a:xfrm>
            <a:off x="1438313" y="4108756"/>
            <a:ext cx="2070772" cy="1171154"/>
          </a:xfrm>
          <a:prstGeom prst="rect">
            <a:avLst/>
          </a:prstGeom>
          <a:noFill/>
        </p:spPr>
        <p:txBody>
          <a:bodyPr wrap="square" lIns="0" rIns="0" rtlCol="0">
            <a:spAutoFit/>
          </a:bodyPr>
          <a:lstStyle/>
          <a:p>
            <a:pPr algn="ctr">
              <a:lnSpc>
                <a:spcPct val="150000"/>
              </a:lnSpc>
            </a:pPr>
            <a:r>
              <a:rPr lang="en-US" sz="1200" dirty="0">
                <a:solidFill>
                  <a:schemeClr val="tx1">
                    <a:alpha val="80000"/>
                  </a:schemeClr>
                </a:solidFill>
                <a:latin typeface="RBC Text" panose="02000000000000000000" pitchFamily="2" charset="77"/>
              </a:rPr>
              <a:t>Daily 0.6% to 1.5% Profit Residual Income 5% Low transfer fees </a:t>
            </a:r>
          </a:p>
          <a:p>
            <a:pPr algn="ctr">
              <a:lnSpc>
                <a:spcPct val="150000"/>
              </a:lnSpc>
            </a:pPr>
            <a:r>
              <a:rPr lang="en-US" sz="1200" dirty="0">
                <a:solidFill>
                  <a:schemeClr val="tx1">
                    <a:alpha val="80000"/>
                  </a:schemeClr>
                </a:solidFill>
                <a:latin typeface="RBC Text" panose="02000000000000000000" pitchFamily="2" charset="77"/>
              </a:rPr>
              <a:t>High swap rates</a:t>
            </a:r>
          </a:p>
        </p:txBody>
      </p:sp>
      <p:sp>
        <p:nvSpPr>
          <p:cNvPr id="12" name="TextBox 11"/>
          <p:cNvSpPr txBox="1"/>
          <p:nvPr/>
        </p:nvSpPr>
        <p:spPr>
          <a:xfrm>
            <a:off x="1439476" y="3424982"/>
            <a:ext cx="2068446" cy="521681"/>
          </a:xfrm>
          <a:prstGeom prst="rect">
            <a:avLst/>
          </a:prstGeom>
          <a:noFill/>
        </p:spPr>
        <p:txBody>
          <a:bodyPr wrap="square" lIns="0" rIns="0" rtlCol="0">
            <a:spAutoFit/>
          </a:bodyPr>
          <a:lstStyle/>
          <a:p>
            <a:pPr algn="ctr">
              <a:lnSpc>
                <a:spcPct val="70000"/>
              </a:lnSpc>
            </a:pPr>
            <a:r>
              <a:rPr lang="en-US" sz="3600" dirty="0">
                <a:latin typeface="RBC Display" panose="02000000000000000000" pitchFamily="2" charset="77"/>
                <a:ea typeface="Montserrat" charset="0"/>
                <a:cs typeface="Montserrat" charset="0"/>
              </a:rPr>
              <a:t>$19</a:t>
            </a:r>
            <a:endParaRPr lang="en-US" sz="3600" dirty="0">
              <a:solidFill>
                <a:schemeClr val="accent1"/>
              </a:solidFill>
              <a:latin typeface="RBC Display" panose="02000000000000000000" pitchFamily="2" charset="77"/>
              <a:ea typeface="Montserrat" charset="0"/>
              <a:cs typeface="Montserrat" charset="0"/>
            </a:endParaRPr>
          </a:p>
        </p:txBody>
      </p:sp>
      <p:sp>
        <p:nvSpPr>
          <p:cNvPr id="13" name="Rectangle 12"/>
          <p:cNvSpPr/>
          <p:nvPr/>
        </p:nvSpPr>
        <p:spPr>
          <a:xfrm>
            <a:off x="913016" y="5544274"/>
            <a:ext cx="3121366" cy="4936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64008" rIns="0" rtlCol="0" anchor="ctr"/>
          <a:lstStyle/>
          <a:p>
            <a:pPr algn="ctr"/>
            <a:r>
              <a:rPr lang="en-US" sz="1200" dirty="0">
                <a:solidFill>
                  <a:srgbClr val="FFFFFF"/>
                </a:solidFill>
                <a:latin typeface="RBC Display" panose="02000000000000000000" pitchFamily="2" charset="77"/>
                <a:ea typeface="Montserrat" charset="0"/>
                <a:cs typeface="Montserrat" charset="0"/>
              </a:rPr>
              <a:t>Learn more</a:t>
            </a:r>
          </a:p>
        </p:txBody>
      </p:sp>
      <p:sp>
        <p:nvSpPr>
          <p:cNvPr id="15" name="TextBox 14"/>
          <p:cNvSpPr txBox="1"/>
          <p:nvPr/>
        </p:nvSpPr>
        <p:spPr>
          <a:xfrm>
            <a:off x="4794331" y="2749019"/>
            <a:ext cx="2068446" cy="235449"/>
          </a:xfrm>
          <a:prstGeom prst="rect">
            <a:avLst/>
          </a:prstGeom>
          <a:noFill/>
        </p:spPr>
        <p:txBody>
          <a:bodyPr wrap="square" lIns="0" rIns="0" rtlCol="0">
            <a:spAutoFit/>
          </a:bodyPr>
          <a:lstStyle/>
          <a:p>
            <a:pPr algn="ctr">
              <a:lnSpc>
                <a:spcPct val="70000"/>
              </a:lnSpc>
            </a:pPr>
            <a:r>
              <a:rPr lang="en-US" sz="1200" spc="100" dirty="0">
                <a:latin typeface="RBC Display" panose="02000000000000000000" pitchFamily="2" charset="77"/>
              </a:rPr>
              <a:t>BUSINESS</a:t>
            </a:r>
            <a:endParaRPr lang="en-US" sz="1200" spc="100" dirty="0">
              <a:solidFill>
                <a:schemeClr val="accent1"/>
              </a:solidFill>
              <a:latin typeface="RBC Display" panose="02000000000000000000" pitchFamily="2" charset="77"/>
            </a:endParaRPr>
          </a:p>
        </p:txBody>
      </p:sp>
      <p:sp>
        <p:nvSpPr>
          <p:cNvPr id="16" name="TextBox 15"/>
          <p:cNvSpPr txBox="1"/>
          <p:nvPr/>
        </p:nvSpPr>
        <p:spPr>
          <a:xfrm>
            <a:off x="4793168" y="4108755"/>
            <a:ext cx="2070772" cy="1171154"/>
          </a:xfrm>
          <a:prstGeom prst="rect">
            <a:avLst/>
          </a:prstGeom>
          <a:noFill/>
        </p:spPr>
        <p:txBody>
          <a:bodyPr wrap="square" lIns="0" rIns="0" rtlCol="0">
            <a:spAutoFit/>
          </a:bodyPr>
          <a:lstStyle/>
          <a:p>
            <a:pPr algn="ctr">
              <a:lnSpc>
                <a:spcPct val="150000"/>
              </a:lnSpc>
            </a:pPr>
            <a:r>
              <a:rPr lang="en-US" sz="1200" dirty="0">
                <a:solidFill>
                  <a:schemeClr val="tx1">
                    <a:alpha val="80000"/>
                  </a:schemeClr>
                </a:solidFill>
                <a:latin typeface="RBC Text" panose="02000000000000000000" pitchFamily="2" charset="77"/>
              </a:rPr>
              <a:t>Daily 0.6% to 1.5% Profit Residual Income 5% Low transfer fees </a:t>
            </a:r>
          </a:p>
          <a:p>
            <a:pPr algn="ctr">
              <a:lnSpc>
                <a:spcPct val="150000"/>
              </a:lnSpc>
            </a:pPr>
            <a:r>
              <a:rPr lang="en-US" sz="1200" dirty="0">
                <a:solidFill>
                  <a:schemeClr val="tx1">
                    <a:alpha val="80000"/>
                  </a:schemeClr>
                </a:solidFill>
                <a:latin typeface="RBC Text" panose="02000000000000000000" pitchFamily="2" charset="77"/>
              </a:rPr>
              <a:t>High swap rates</a:t>
            </a:r>
          </a:p>
        </p:txBody>
      </p:sp>
      <p:sp>
        <p:nvSpPr>
          <p:cNvPr id="17" name="TextBox 16"/>
          <p:cNvSpPr txBox="1"/>
          <p:nvPr/>
        </p:nvSpPr>
        <p:spPr>
          <a:xfrm>
            <a:off x="4794331" y="3424981"/>
            <a:ext cx="2068446" cy="521681"/>
          </a:xfrm>
          <a:prstGeom prst="rect">
            <a:avLst/>
          </a:prstGeom>
          <a:noFill/>
        </p:spPr>
        <p:txBody>
          <a:bodyPr wrap="square" lIns="0" rIns="0" rtlCol="0">
            <a:spAutoFit/>
          </a:bodyPr>
          <a:lstStyle/>
          <a:p>
            <a:pPr algn="ctr">
              <a:lnSpc>
                <a:spcPct val="70000"/>
              </a:lnSpc>
            </a:pPr>
            <a:r>
              <a:rPr lang="en-US" sz="3600" dirty="0">
                <a:latin typeface="RBC Display" panose="02000000000000000000" pitchFamily="2" charset="77"/>
                <a:ea typeface="Montserrat" charset="0"/>
                <a:cs typeface="Montserrat" charset="0"/>
              </a:rPr>
              <a:t>$29</a:t>
            </a:r>
            <a:endParaRPr lang="en-US" sz="3600" dirty="0">
              <a:solidFill>
                <a:schemeClr val="accent1"/>
              </a:solidFill>
              <a:latin typeface="RBC Display" panose="02000000000000000000" pitchFamily="2" charset="77"/>
              <a:ea typeface="Montserrat" charset="0"/>
              <a:cs typeface="Montserrat" charset="0"/>
            </a:endParaRPr>
          </a:p>
        </p:txBody>
      </p:sp>
      <p:sp>
        <p:nvSpPr>
          <p:cNvPr id="19" name="TextBox 18"/>
          <p:cNvSpPr txBox="1"/>
          <p:nvPr/>
        </p:nvSpPr>
        <p:spPr>
          <a:xfrm>
            <a:off x="8143046" y="2749019"/>
            <a:ext cx="2068446" cy="235449"/>
          </a:xfrm>
          <a:prstGeom prst="rect">
            <a:avLst/>
          </a:prstGeom>
          <a:noFill/>
        </p:spPr>
        <p:txBody>
          <a:bodyPr wrap="square" lIns="0" rIns="0" rtlCol="0">
            <a:spAutoFit/>
          </a:bodyPr>
          <a:lstStyle/>
          <a:p>
            <a:pPr algn="ctr">
              <a:lnSpc>
                <a:spcPct val="70000"/>
              </a:lnSpc>
            </a:pPr>
            <a:r>
              <a:rPr lang="en-US" sz="1200" spc="100" dirty="0">
                <a:latin typeface="RBC Display" panose="02000000000000000000" pitchFamily="2" charset="77"/>
              </a:rPr>
              <a:t>PRO</a:t>
            </a:r>
            <a:endParaRPr lang="en-US" sz="1200" spc="100" dirty="0">
              <a:solidFill>
                <a:schemeClr val="accent1"/>
              </a:solidFill>
              <a:latin typeface="RBC Display" panose="02000000000000000000" pitchFamily="2" charset="77"/>
            </a:endParaRPr>
          </a:p>
        </p:txBody>
      </p:sp>
      <p:sp>
        <p:nvSpPr>
          <p:cNvPr id="20" name="TextBox 19"/>
          <p:cNvSpPr txBox="1"/>
          <p:nvPr/>
        </p:nvSpPr>
        <p:spPr>
          <a:xfrm>
            <a:off x="8141883" y="4108755"/>
            <a:ext cx="2070772" cy="1171154"/>
          </a:xfrm>
          <a:prstGeom prst="rect">
            <a:avLst/>
          </a:prstGeom>
          <a:noFill/>
        </p:spPr>
        <p:txBody>
          <a:bodyPr wrap="square" lIns="0" rIns="0" rtlCol="0">
            <a:spAutoFit/>
          </a:bodyPr>
          <a:lstStyle/>
          <a:p>
            <a:pPr algn="ctr">
              <a:lnSpc>
                <a:spcPct val="150000"/>
              </a:lnSpc>
            </a:pPr>
            <a:r>
              <a:rPr lang="en-US" sz="1200" dirty="0">
                <a:solidFill>
                  <a:schemeClr val="tx1">
                    <a:alpha val="80000"/>
                  </a:schemeClr>
                </a:solidFill>
                <a:latin typeface="RBC Text" panose="02000000000000000000" pitchFamily="2" charset="77"/>
              </a:rPr>
              <a:t>Daily 0.6% to 1.5% Profit Residual Income 5% Low transfer fees </a:t>
            </a:r>
          </a:p>
          <a:p>
            <a:pPr algn="ctr">
              <a:lnSpc>
                <a:spcPct val="150000"/>
              </a:lnSpc>
            </a:pPr>
            <a:r>
              <a:rPr lang="en-US" sz="1200" dirty="0">
                <a:solidFill>
                  <a:schemeClr val="tx1">
                    <a:alpha val="80000"/>
                  </a:schemeClr>
                </a:solidFill>
                <a:latin typeface="RBC Text" panose="02000000000000000000" pitchFamily="2" charset="77"/>
              </a:rPr>
              <a:t>High swap rates</a:t>
            </a:r>
          </a:p>
        </p:txBody>
      </p:sp>
      <p:sp>
        <p:nvSpPr>
          <p:cNvPr id="21" name="TextBox 20"/>
          <p:cNvSpPr txBox="1"/>
          <p:nvPr/>
        </p:nvSpPr>
        <p:spPr>
          <a:xfrm>
            <a:off x="8143046" y="3424981"/>
            <a:ext cx="2068446" cy="521681"/>
          </a:xfrm>
          <a:prstGeom prst="rect">
            <a:avLst/>
          </a:prstGeom>
          <a:noFill/>
        </p:spPr>
        <p:txBody>
          <a:bodyPr wrap="square" lIns="0" rIns="0" rtlCol="0">
            <a:spAutoFit/>
          </a:bodyPr>
          <a:lstStyle/>
          <a:p>
            <a:pPr algn="ctr">
              <a:lnSpc>
                <a:spcPct val="70000"/>
              </a:lnSpc>
            </a:pPr>
            <a:r>
              <a:rPr lang="en-US" sz="3600" dirty="0">
                <a:latin typeface="RBC Display" panose="02000000000000000000" pitchFamily="2" charset="77"/>
                <a:ea typeface="Montserrat" charset="0"/>
                <a:cs typeface="Montserrat" charset="0"/>
              </a:rPr>
              <a:t>$39</a:t>
            </a:r>
            <a:endParaRPr lang="en-US" sz="3600" dirty="0">
              <a:solidFill>
                <a:schemeClr val="accent1"/>
              </a:solidFill>
              <a:latin typeface="RBC Display" panose="02000000000000000000" pitchFamily="2" charset="77"/>
              <a:ea typeface="Montserrat" charset="0"/>
              <a:cs typeface="Montserrat" charset="0"/>
            </a:endParaRPr>
          </a:p>
        </p:txBody>
      </p:sp>
      <p:sp>
        <p:nvSpPr>
          <p:cNvPr id="23" name="Rectangle 22"/>
          <p:cNvSpPr/>
          <p:nvPr/>
        </p:nvSpPr>
        <p:spPr>
          <a:xfrm>
            <a:off x="4267871" y="5544274"/>
            <a:ext cx="3121366" cy="493694"/>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64008" rIns="0" rtlCol="0" anchor="ctr"/>
          <a:lstStyle/>
          <a:p>
            <a:pPr algn="ctr"/>
            <a:r>
              <a:rPr lang="en-US" sz="1200" dirty="0">
                <a:solidFill>
                  <a:srgbClr val="FFFFFF"/>
                </a:solidFill>
                <a:latin typeface="RBC Display" panose="02000000000000000000" pitchFamily="2" charset="77"/>
                <a:ea typeface="Montserrat" charset="0"/>
                <a:cs typeface="Montserrat" charset="0"/>
              </a:rPr>
              <a:t>Learn more</a:t>
            </a:r>
          </a:p>
        </p:txBody>
      </p:sp>
      <p:sp>
        <p:nvSpPr>
          <p:cNvPr id="24" name="Rectangle 23"/>
          <p:cNvSpPr/>
          <p:nvPr/>
        </p:nvSpPr>
        <p:spPr>
          <a:xfrm>
            <a:off x="7628161" y="5544274"/>
            <a:ext cx="3121366" cy="493694"/>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64008" rIns="0" rtlCol="0" anchor="ctr"/>
          <a:lstStyle/>
          <a:p>
            <a:pPr algn="ctr"/>
            <a:r>
              <a:rPr lang="en-US" sz="1200" dirty="0">
                <a:solidFill>
                  <a:srgbClr val="FFFFFF"/>
                </a:solidFill>
                <a:latin typeface="RBC Display" panose="02000000000000000000" pitchFamily="2" charset="77"/>
                <a:ea typeface="Montserrat" charset="0"/>
                <a:cs typeface="Montserrat" charset="0"/>
              </a:rPr>
              <a:t>Learn more</a:t>
            </a:r>
          </a:p>
        </p:txBody>
      </p:sp>
      <p:sp>
        <p:nvSpPr>
          <p:cNvPr id="18" name="Text Placeholder 6">
            <a:extLst>
              <a:ext uri="{FF2B5EF4-FFF2-40B4-BE49-F238E27FC236}">
                <a16:creationId xmlns:a16="http://schemas.microsoft.com/office/drawing/2014/main" id="{92CFA83F-0905-E94C-AF29-7DBE50DF6C09}"/>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510729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dirty="0"/>
              <a:t>Pricing</a:t>
            </a:r>
            <a:br>
              <a:rPr lang="en-US" dirty="0"/>
            </a:br>
            <a:r>
              <a:rPr lang="en-US" dirty="0"/>
              <a:t>Table</a:t>
            </a:r>
          </a:p>
        </p:txBody>
      </p:sp>
      <p:sp>
        <p:nvSpPr>
          <p:cNvPr id="4" name="Rounded Rectangle 3"/>
          <p:cNvSpPr/>
          <p:nvPr/>
        </p:nvSpPr>
        <p:spPr>
          <a:xfrm>
            <a:off x="6784325" y="1392633"/>
            <a:ext cx="2099734" cy="4429645"/>
          </a:xfrm>
          <a:prstGeom prst="roundRect">
            <a:avLst>
              <a:gd name="adj" fmla="val 0"/>
            </a:avLst>
          </a:prstGeom>
          <a:solidFill>
            <a:schemeClr val="bg1"/>
          </a:solidFill>
          <a:ln w="6350" cmpd="sng">
            <a:solidFill>
              <a:schemeClr val="accent1"/>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3600">
              <a:solidFill>
                <a:schemeClr val="tx1"/>
              </a:solidFill>
              <a:latin typeface="SF UI Display Thin" charset="0"/>
              <a:ea typeface="SF UI Display Thin" charset="0"/>
              <a:cs typeface="SF UI Display Thin" charset="0"/>
            </a:endParaRPr>
          </a:p>
        </p:txBody>
      </p:sp>
      <p:sp>
        <p:nvSpPr>
          <p:cNvPr id="5" name="TextBox 4"/>
          <p:cNvSpPr txBox="1"/>
          <p:nvPr/>
        </p:nvSpPr>
        <p:spPr>
          <a:xfrm>
            <a:off x="6788536" y="1547245"/>
            <a:ext cx="2099734" cy="276999"/>
          </a:xfrm>
          <a:prstGeom prst="rect">
            <a:avLst/>
          </a:prstGeom>
          <a:noFill/>
        </p:spPr>
        <p:txBody>
          <a:bodyPr wrap="square" rtlCol="0">
            <a:spAutoFit/>
          </a:bodyPr>
          <a:lstStyle/>
          <a:p>
            <a:pPr lvl="0" algn="ctr"/>
            <a:r>
              <a:rPr lang="en-US" altLang="ko-KR" sz="1200" b="1" dirty="0">
                <a:latin typeface="RBC Display" panose="02000000000000000000" pitchFamily="2" charset="77"/>
                <a:ea typeface="Open Sans" charset="0"/>
                <a:cs typeface="Open Sans" charset="0"/>
              </a:rPr>
              <a:t>Business plan</a:t>
            </a:r>
            <a:endParaRPr lang="ko-KR" altLang="en-US" sz="1200" b="1" dirty="0">
              <a:latin typeface="RBC Display" panose="02000000000000000000" pitchFamily="2" charset="77"/>
              <a:ea typeface="Open Sans" charset="0"/>
              <a:cs typeface="Open Sans" charset="0"/>
            </a:endParaRPr>
          </a:p>
        </p:txBody>
      </p:sp>
      <p:sp>
        <p:nvSpPr>
          <p:cNvPr id="6" name="TextBox 5"/>
          <p:cNvSpPr txBox="1"/>
          <p:nvPr/>
        </p:nvSpPr>
        <p:spPr>
          <a:xfrm>
            <a:off x="6784325" y="3722800"/>
            <a:ext cx="2099734" cy="1171154"/>
          </a:xfrm>
          <a:prstGeom prst="rect">
            <a:avLst/>
          </a:prstGeom>
          <a:noFill/>
        </p:spPr>
        <p:txBody>
          <a:bodyPr wrap="square" rtlCol="0">
            <a:spAutoFit/>
          </a:bodyPr>
          <a:lstStyle/>
          <a:p>
            <a:pPr lvl="0" algn="ctr">
              <a:lnSpc>
                <a:spcPct val="150000"/>
              </a:lnSpc>
            </a:pPr>
            <a:r>
              <a:rPr lang="en-US" altLang="ko-KR" sz="1200" b="1" dirty="0">
                <a:latin typeface="RBC Text" panose="02000000000000000000" pitchFamily="2" charset="77"/>
                <a:ea typeface="Open Sans" charset="0"/>
                <a:cs typeface="Open Sans" charset="0"/>
              </a:rPr>
              <a:t>15 GB bandwidth</a:t>
            </a:r>
          </a:p>
          <a:p>
            <a:pPr lvl="0" algn="ctr">
              <a:lnSpc>
                <a:spcPct val="150000"/>
              </a:lnSpc>
            </a:pPr>
            <a:r>
              <a:rPr lang="en-US" altLang="ko-KR" sz="1200" b="1" dirty="0">
                <a:latin typeface="RBC Text" panose="02000000000000000000" pitchFamily="2" charset="77"/>
                <a:ea typeface="Open Sans" charset="0"/>
                <a:cs typeface="Open Sans" charset="0"/>
              </a:rPr>
              <a:t>5 GB Max File Size</a:t>
            </a:r>
          </a:p>
          <a:p>
            <a:pPr lvl="0" algn="ctr">
              <a:lnSpc>
                <a:spcPct val="150000"/>
              </a:lnSpc>
            </a:pPr>
            <a:r>
              <a:rPr lang="en-US" altLang="ko-KR" sz="1200" b="1" dirty="0">
                <a:latin typeface="RBC Text" panose="02000000000000000000" pitchFamily="2" charset="77"/>
                <a:ea typeface="Open Sans" charset="0"/>
                <a:cs typeface="Open Sans" charset="0"/>
              </a:rPr>
              <a:t>12 GHZ CPU</a:t>
            </a:r>
          </a:p>
          <a:p>
            <a:pPr lvl="0" algn="ctr">
              <a:lnSpc>
                <a:spcPct val="150000"/>
              </a:lnSpc>
            </a:pPr>
            <a:r>
              <a:rPr lang="en-US" altLang="ko-KR" sz="1200" b="1" dirty="0">
                <a:latin typeface="RBC Text" panose="02000000000000000000" pitchFamily="2" charset="77"/>
                <a:ea typeface="Open Sans" charset="0"/>
                <a:cs typeface="Open Sans" charset="0"/>
              </a:rPr>
              <a:t>1024 MB memory</a:t>
            </a:r>
            <a:endParaRPr lang="ko-KR" altLang="en-US" sz="1200" b="1" dirty="0">
              <a:latin typeface="RBC Text" panose="02000000000000000000" pitchFamily="2" charset="77"/>
              <a:ea typeface="Open Sans" charset="0"/>
              <a:cs typeface="Open Sans" charset="0"/>
            </a:endParaRPr>
          </a:p>
        </p:txBody>
      </p:sp>
      <p:grpSp>
        <p:nvGrpSpPr>
          <p:cNvPr id="7" name="Group 6"/>
          <p:cNvGrpSpPr/>
          <p:nvPr/>
        </p:nvGrpSpPr>
        <p:grpSpPr>
          <a:xfrm>
            <a:off x="6784325" y="2174446"/>
            <a:ext cx="2099734" cy="1076189"/>
            <a:chOff x="1066800" y="1831492"/>
            <a:chExt cx="1697400" cy="772913"/>
          </a:xfrm>
        </p:grpSpPr>
        <p:sp>
          <p:nvSpPr>
            <p:cNvPr id="8" name="TextBox 7"/>
            <p:cNvSpPr txBox="1"/>
            <p:nvPr/>
          </p:nvSpPr>
          <p:spPr>
            <a:xfrm>
              <a:off x="1066800" y="1831492"/>
              <a:ext cx="1697400" cy="729444"/>
            </a:xfrm>
            <a:prstGeom prst="rect">
              <a:avLst/>
            </a:prstGeom>
            <a:noFill/>
          </p:spPr>
          <p:txBody>
            <a:bodyPr wrap="square" rtlCol="0">
              <a:spAutoFit/>
            </a:bodyPr>
            <a:lstStyle/>
            <a:p>
              <a:pPr lvl="0" algn="ctr"/>
              <a:r>
                <a:rPr lang="en-US" altLang="ko-KR" sz="6000" dirty="0">
                  <a:latin typeface="RBC Display" panose="02000000000000000000" pitchFamily="2" charset="77"/>
                  <a:ea typeface="Cinzel" charset="0"/>
                  <a:cs typeface="Cinzel" charset="0"/>
                </a:rPr>
                <a:t>30</a:t>
              </a:r>
              <a:endParaRPr lang="ko-KR" altLang="en-US" sz="6000" dirty="0">
                <a:latin typeface="RBC Display" panose="02000000000000000000" pitchFamily="2" charset="77"/>
                <a:ea typeface="Cinzel" charset="0"/>
                <a:cs typeface="Cinzel" charset="0"/>
              </a:endParaRPr>
            </a:p>
          </p:txBody>
        </p:sp>
        <p:sp>
          <p:nvSpPr>
            <p:cNvPr id="9" name="TextBox 8"/>
            <p:cNvSpPr txBox="1"/>
            <p:nvPr/>
          </p:nvSpPr>
          <p:spPr>
            <a:xfrm>
              <a:off x="1240732" y="2081272"/>
              <a:ext cx="450850" cy="375774"/>
            </a:xfrm>
            <a:prstGeom prst="rect">
              <a:avLst/>
            </a:prstGeom>
            <a:noFill/>
          </p:spPr>
          <p:txBody>
            <a:bodyPr wrap="square" rtlCol="0">
              <a:spAutoFit/>
            </a:bodyPr>
            <a:lstStyle/>
            <a:p>
              <a:pPr lvl="0" algn="ctr"/>
              <a:r>
                <a:rPr lang="en-US" altLang="ko-KR" sz="2800" dirty="0">
                  <a:latin typeface="RBC Display" panose="02000000000000000000" pitchFamily="2" charset="77"/>
                  <a:ea typeface="Cinzel" charset="0"/>
                  <a:cs typeface="Cinzel" charset="0"/>
                </a:rPr>
                <a:t>$</a:t>
              </a:r>
              <a:endParaRPr lang="ko-KR" altLang="en-US" sz="2800" dirty="0">
                <a:latin typeface="RBC Display" panose="02000000000000000000" pitchFamily="2" charset="77"/>
                <a:ea typeface="Cinzel" charset="0"/>
                <a:cs typeface="Cinzel" charset="0"/>
              </a:endParaRPr>
            </a:p>
          </p:txBody>
        </p:sp>
        <p:sp>
          <p:nvSpPr>
            <p:cNvPr id="10" name="TextBox 9"/>
            <p:cNvSpPr txBox="1"/>
            <p:nvPr/>
          </p:nvSpPr>
          <p:spPr>
            <a:xfrm>
              <a:off x="1066800" y="2386125"/>
              <a:ext cx="1697400" cy="218280"/>
            </a:xfrm>
            <a:prstGeom prst="rect">
              <a:avLst/>
            </a:prstGeom>
            <a:noFill/>
          </p:spPr>
          <p:txBody>
            <a:bodyPr wrap="square" rtlCol="0" anchor="t">
              <a:spAutoFit/>
            </a:bodyPr>
            <a:lstStyle/>
            <a:p>
              <a:pPr lvl="0" algn="ctr">
                <a:lnSpc>
                  <a:spcPct val="150000"/>
                </a:lnSpc>
              </a:pPr>
              <a:r>
                <a:rPr lang="en-US" altLang="ko-KR" sz="1000" dirty="0">
                  <a:latin typeface="RBC Display" panose="02000000000000000000" pitchFamily="2" charset="77"/>
                  <a:ea typeface="Cinzel" charset="0"/>
                  <a:cs typeface="Cinzel" charset="0"/>
                </a:rPr>
                <a:t>Per month</a:t>
              </a:r>
              <a:endParaRPr lang="ko-KR" altLang="en-US" sz="1000" dirty="0">
                <a:latin typeface="RBC Display" panose="02000000000000000000" pitchFamily="2" charset="77"/>
                <a:ea typeface="Cinzel" charset="0"/>
                <a:cs typeface="Cinzel" charset="0"/>
              </a:endParaRPr>
            </a:p>
          </p:txBody>
        </p:sp>
      </p:grpSp>
      <p:cxnSp>
        <p:nvCxnSpPr>
          <p:cNvPr id="11" name="Straight Connector 10"/>
          <p:cNvCxnSpPr/>
          <p:nvPr/>
        </p:nvCxnSpPr>
        <p:spPr>
          <a:xfrm>
            <a:off x="6784325" y="3429670"/>
            <a:ext cx="2099734" cy="0"/>
          </a:xfrm>
          <a:prstGeom prst="line">
            <a:avLst/>
          </a:prstGeom>
          <a:ln w="3175" cmpd="sng">
            <a:solidFill>
              <a:schemeClr val="tx1"/>
            </a:solidFill>
            <a:prstDash val="solid"/>
          </a:ln>
        </p:spPr>
        <p:style>
          <a:lnRef idx="1">
            <a:schemeClr val="dk1"/>
          </a:lnRef>
          <a:fillRef idx="0">
            <a:schemeClr val="dk1"/>
          </a:fillRef>
          <a:effectRef idx="0">
            <a:schemeClr val="dk1"/>
          </a:effectRef>
          <a:fontRef idx="minor">
            <a:schemeClr val="tx1"/>
          </a:fontRef>
        </p:style>
      </p:cxnSp>
      <p:sp>
        <p:nvSpPr>
          <p:cNvPr id="12" name="TextBox 11"/>
          <p:cNvSpPr txBox="1"/>
          <p:nvPr/>
        </p:nvSpPr>
        <p:spPr>
          <a:xfrm>
            <a:off x="6784325" y="5366195"/>
            <a:ext cx="2099734" cy="307777"/>
          </a:xfrm>
          <a:prstGeom prst="rect">
            <a:avLst/>
          </a:prstGeom>
          <a:noFill/>
        </p:spPr>
        <p:txBody>
          <a:bodyPr wrap="square" rtlCol="0">
            <a:spAutoFit/>
          </a:bodyPr>
          <a:lstStyle/>
          <a:p>
            <a:pPr lvl="0" algn="ctr"/>
            <a:r>
              <a:rPr lang="en-US" altLang="ko-KR" sz="1400" b="1" dirty="0">
                <a:latin typeface="RBC Display" panose="02000000000000000000" pitchFamily="2" charset="77"/>
                <a:ea typeface="Open Sans" charset="0"/>
                <a:cs typeface="Open Sans" charset="0"/>
              </a:rPr>
              <a:t>Get Business Plan</a:t>
            </a:r>
            <a:endParaRPr lang="ko-KR" altLang="en-US" sz="1400" b="1" dirty="0">
              <a:latin typeface="RBC Display" panose="02000000000000000000" pitchFamily="2" charset="77"/>
              <a:ea typeface="Open Sans" charset="0"/>
              <a:cs typeface="Open Sans" charset="0"/>
            </a:endParaRPr>
          </a:p>
        </p:txBody>
      </p:sp>
      <p:sp>
        <p:nvSpPr>
          <p:cNvPr id="13" name="Rounded Rectangle 12"/>
          <p:cNvSpPr/>
          <p:nvPr/>
        </p:nvSpPr>
        <p:spPr>
          <a:xfrm>
            <a:off x="8952698" y="1634466"/>
            <a:ext cx="2099734" cy="3945980"/>
          </a:xfrm>
          <a:prstGeom prst="roundRect">
            <a:avLst>
              <a:gd name="adj" fmla="val 0"/>
            </a:avLst>
          </a:prstGeom>
          <a:noFill/>
          <a:ln w="6350" cmpd="sng">
            <a:solidFill>
              <a:schemeClr val="tx1">
                <a:alpha val="3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a:solidFill>
                <a:schemeClr val="tx1"/>
              </a:solidFill>
              <a:latin typeface="SF UI Display Thin" charset="0"/>
              <a:ea typeface="SF UI Display Thin" charset="0"/>
              <a:cs typeface="SF UI Display Thin" charset="0"/>
            </a:endParaRPr>
          </a:p>
        </p:txBody>
      </p:sp>
      <p:sp>
        <p:nvSpPr>
          <p:cNvPr id="14" name="TextBox 13"/>
          <p:cNvSpPr txBox="1"/>
          <p:nvPr/>
        </p:nvSpPr>
        <p:spPr>
          <a:xfrm>
            <a:off x="8956909" y="1776481"/>
            <a:ext cx="2099734" cy="276999"/>
          </a:xfrm>
          <a:prstGeom prst="rect">
            <a:avLst/>
          </a:prstGeom>
          <a:noFill/>
        </p:spPr>
        <p:txBody>
          <a:bodyPr wrap="square" rtlCol="0">
            <a:spAutoFit/>
          </a:bodyPr>
          <a:lstStyle/>
          <a:p>
            <a:pPr lvl="0" algn="ctr"/>
            <a:r>
              <a:rPr lang="en-US" altLang="ko-KR" sz="1200" b="1" dirty="0">
                <a:latin typeface="RBC Display" panose="02000000000000000000" pitchFamily="2" charset="77"/>
                <a:ea typeface="Open Sans" charset="0"/>
                <a:cs typeface="Open Sans" charset="0"/>
              </a:rPr>
              <a:t>Best plan</a:t>
            </a:r>
            <a:endParaRPr lang="ko-KR" altLang="en-US" sz="1200" b="1" dirty="0">
              <a:latin typeface="RBC Display" panose="02000000000000000000" pitchFamily="2" charset="77"/>
              <a:ea typeface="Open Sans" charset="0"/>
              <a:cs typeface="Open Sans" charset="0"/>
            </a:endParaRPr>
          </a:p>
        </p:txBody>
      </p:sp>
      <p:sp>
        <p:nvSpPr>
          <p:cNvPr id="15" name="TextBox 14"/>
          <p:cNvSpPr txBox="1"/>
          <p:nvPr/>
        </p:nvSpPr>
        <p:spPr>
          <a:xfrm>
            <a:off x="8952698" y="3605487"/>
            <a:ext cx="2099734" cy="1171154"/>
          </a:xfrm>
          <a:prstGeom prst="rect">
            <a:avLst/>
          </a:prstGeom>
          <a:noFill/>
        </p:spPr>
        <p:txBody>
          <a:bodyPr wrap="square" rtlCol="0">
            <a:spAutoFit/>
          </a:bodyPr>
          <a:lstStyle/>
          <a:p>
            <a:pPr lvl="0" algn="ctr">
              <a:lnSpc>
                <a:spcPct val="150000"/>
              </a:lnSpc>
            </a:pPr>
            <a:r>
              <a:rPr lang="en-US" altLang="ko-KR" sz="1200" b="1" dirty="0">
                <a:latin typeface="RBC Text" panose="02000000000000000000" pitchFamily="2" charset="77"/>
                <a:ea typeface="Open Sans" charset="0"/>
                <a:cs typeface="Open Sans" charset="0"/>
              </a:rPr>
              <a:t>20 GB bandwidth</a:t>
            </a:r>
          </a:p>
          <a:p>
            <a:pPr lvl="0" algn="ctr">
              <a:lnSpc>
                <a:spcPct val="150000"/>
              </a:lnSpc>
            </a:pPr>
            <a:r>
              <a:rPr lang="en-US" altLang="ko-KR" sz="1200" b="1" dirty="0">
                <a:latin typeface="RBC Text" panose="02000000000000000000" pitchFamily="2" charset="77"/>
                <a:ea typeface="Open Sans" charset="0"/>
                <a:cs typeface="Open Sans" charset="0"/>
              </a:rPr>
              <a:t>Unlimited Max File Size</a:t>
            </a:r>
          </a:p>
          <a:p>
            <a:pPr lvl="0" algn="ctr">
              <a:lnSpc>
                <a:spcPct val="150000"/>
              </a:lnSpc>
            </a:pPr>
            <a:r>
              <a:rPr lang="en-US" altLang="ko-KR" sz="1200" b="1" dirty="0">
                <a:latin typeface="RBC Text" panose="02000000000000000000" pitchFamily="2" charset="77"/>
                <a:ea typeface="Open Sans" charset="0"/>
                <a:cs typeface="Open Sans" charset="0"/>
              </a:rPr>
              <a:t>12 GHZ CPU</a:t>
            </a:r>
          </a:p>
          <a:p>
            <a:pPr lvl="0" algn="ctr">
              <a:lnSpc>
                <a:spcPct val="150000"/>
              </a:lnSpc>
            </a:pPr>
            <a:r>
              <a:rPr lang="en-US" altLang="ko-KR" sz="1200" b="1" dirty="0">
                <a:latin typeface="RBC Text" panose="02000000000000000000" pitchFamily="2" charset="77"/>
                <a:ea typeface="Open Sans" charset="0"/>
                <a:cs typeface="Open Sans" charset="0"/>
              </a:rPr>
              <a:t>1024 MB memory</a:t>
            </a:r>
            <a:endParaRPr lang="ko-KR" altLang="en-US" sz="1200" b="1" dirty="0">
              <a:latin typeface="RBC Text" panose="02000000000000000000" pitchFamily="2" charset="77"/>
              <a:ea typeface="Open Sans" charset="0"/>
              <a:cs typeface="Open Sans" charset="0"/>
            </a:endParaRPr>
          </a:p>
        </p:txBody>
      </p:sp>
      <p:grpSp>
        <p:nvGrpSpPr>
          <p:cNvPr id="16" name="Group 15"/>
          <p:cNvGrpSpPr/>
          <p:nvPr/>
        </p:nvGrpSpPr>
        <p:grpSpPr>
          <a:xfrm>
            <a:off x="8952698" y="2174446"/>
            <a:ext cx="2099734" cy="1076189"/>
            <a:chOff x="1066800" y="1831492"/>
            <a:chExt cx="1697400" cy="772913"/>
          </a:xfrm>
        </p:grpSpPr>
        <p:sp>
          <p:nvSpPr>
            <p:cNvPr id="17" name="TextBox 16"/>
            <p:cNvSpPr txBox="1"/>
            <p:nvPr/>
          </p:nvSpPr>
          <p:spPr>
            <a:xfrm>
              <a:off x="1066800" y="1831492"/>
              <a:ext cx="1697400" cy="729444"/>
            </a:xfrm>
            <a:prstGeom prst="rect">
              <a:avLst/>
            </a:prstGeom>
            <a:noFill/>
          </p:spPr>
          <p:txBody>
            <a:bodyPr wrap="square" rtlCol="0">
              <a:spAutoFit/>
            </a:bodyPr>
            <a:lstStyle/>
            <a:p>
              <a:pPr lvl="0" algn="ctr"/>
              <a:r>
                <a:rPr lang="en-US" altLang="ko-KR" sz="6000" dirty="0">
                  <a:latin typeface="RBC Display" panose="02000000000000000000" pitchFamily="2" charset="77"/>
                  <a:ea typeface="Cinzel" charset="0"/>
                  <a:cs typeface="Cinzel" charset="0"/>
                </a:rPr>
                <a:t>50</a:t>
              </a:r>
              <a:endParaRPr lang="ko-KR" altLang="en-US" sz="6000" dirty="0">
                <a:latin typeface="RBC Display" panose="02000000000000000000" pitchFamily="2" charset="77"/>
                <a:ea typeface="Cinzel" charset="0"/>
                <a:cs typeface="Cinzel" charset="0"/>
              </a:endParaRPr>
            </a:p>
          </p:txBody>
        </p:sp>
        <p:sp>
          <p:nvSpPr>
            <p:cNvPr id="18" name="TextBox 17"/>
            <p:cNvSpPr txBox="1"/>
            <p:nvPr/>
          </p:nvSpPr>
          <p:spPr>
            <a:xfrm>
              <a:off x="1240732" y="2081272"/>
              <a:ext cx="450850" cy="375774"/>
            </a:xfrm>
            <a:prstGeom prst="rect">
              <a:avLst/>
            </a:prstGeom>
            <a:noFill/>
          </p:spPr>
          <p:txBody>
            <a:bodyPr wrap="square" rtlCol="0">
              <a:spAutoFit/>
            </a:bodyPr>
            <a:lstStyle/>
            <a:p>
              <a:pPr lvl="0" algn="ctr"/>
              <a:r>
                <a:rPr lang="en-US" altLang="ko-KR" sz="2800" dirty="0">
                  <a:latin typeface="RBC Display" panose="02000000000000000000" pitchFamily="2" charset="77"/>
                  <a:ea typeface="Cinzel" charset="0"/>
                  <a:cs typeface="Cinzel" charset="0"/>
                </a:rPr>
                <a:t>$</a:t>
              </a:r>
              <a:endParaRPr lang="ko-KR" altLang="en-US" sz="2800" dirty="0">
                <a:latin typeface="RBC Display" panose="02000000000000000000" pitchFamily="2" charset="77"/>
                <a:ea typeface="Cinzel" charset="0"/>
                <a:cs typeface="Cinzel" charset="0"/>
              </a:endParaRPr>
            </a:p>
          </p:txBody>
        </p:sp>
        <p:sp>
          <p:nvSpPr>
            <p:cNvPr id="19" name="TextBox 18"/>
            <p:cNvSpPr txBox="1"/>
            <p:nvPr/>
          </p:nvSpPr>
          <p:spPr>
            <a:xfrm>
              <a:off x="1066800" y="2386125"/>
              <a:ext cx="1697400" cy="218280"/>
            </a:xfrm>
            <a:prstGeom prst="rect">
              <a:avLst/>
            </a:prstGeom>
            <a:noFill/>
          </p:spPr>
          <p:txBody>
            <a:bodyPr wrap="square" rtlCol="0" anchor="t">
              <a:spAutoFit/>
            </a:bodyPr>
            <a:lstStyle/>
            <a:p>
              <a:pPr lvl="0" algn="ctr">
                <a:lnSpc>
                  <a:spcPct val="150000"/>
                </a:lnSpc>
              </a:pPr>
              <a:r>
                <a:rPr lang="en-US" altLang="ko-KR" sz="1000" dirty="0">
                  <a:latin typeface="RBC Display" panose="02000000000000000000" pitchFamily="2" charset="77"/>
                  <a:ea typeface="Cinzel" charset="0"/>
                  <a:cs typeface="Cinzel" charset="0"/>
                </a:rPr>
                <a:t>Per month</a:t>
              </a:r>
              <a:endParaRPr lang="ko-KR" altLang="en-US" sz="1000" dirty="0">
                <a:latin typeface="RBC Display" panose="02000000000000000000" pitchFamily="2" charset="77"/>
                <a:ea typeface="Cinzel" charset="0"/>
                <a:cs typeface="Cinzel" charset="0"/>
              </a:endParaRPr>
            </a:p>
          </p:txBody>
        </p:sp>
      </p:grpSp>
      <p:cxnSp>
        <p:nvCxnSpPr>
          <p:cNvPr id="20" name="Straight Connector 19"/>
          <p:cNvCxnSpPr/>
          <p:nvPr/>
        </p:nvCxnSpPr>
        <p:spPr>
          <a:xfrm>
            <a:off x="8952698" y="3429670"/>
            <a:ext cx="2099734" cy="0"/>
          </a:xfrm>
          <a:prstGeom prst="line">
            <a:avLst/>
          </a:prstGeom>
          <a:ln w="3175" cmpd="sng">
            <a:solidFill>
              <a:schemeClr val="tx1"/>
            </a:solidFill>
            <a:prstDash val="solid"/>
          </a:ln>
        </p:spPr>
        <p:style>
          <a:lnRef idx="1">
            <a:schemeClr val="dk1"/>
          </a:lnRef>
          <a:fillRef idx="0">
            <a:schemeClr val="dk1"/>
          </a:fillRef>
          <a:effectRef idx="0">
            <a:schemeClr val="dk1"/>
          </a:effectRef>
          <a:fontRef idx="minor">
            <a:schemeClr val="tx1"/>
          </a:fontRef>
        </p:style>
      </p:cxnSp>
      <p:sp>
        <p:nvSpPr>
          <p:cNvPr id="21" name="TextBox 20"/>
          <p:cNvSpPr txBox="1"/>
          <p:nvPr/>
        </p:nvSpPr>
        <p:spPr>
          <a:xfrm>
            <a:off x="8952698" y="5093294"/>
            <a:ext cx="2099734" cy="307777"/>
          </a:xfrm>
          <a:prstGeom prst="rect">
            <a:avLst/>
          </a:prstGeom>
          <a:noFill/>
        </p:spPr>
        <p:txBody>
          <a:bodyPr wrap="square" rtlCol="0">
            <a:spAutoFit/>
          </a:bodyPr>
          <a:lstStyle/>
          <a:p>
            <a:pPr lvl="0" algn="ctr"/>
            <a:r>
              <a:rPr lang="en-US" altLang="ko-KR" sz="1400" b="1" dirty="0">
                <a:latin typeface="RBC Display" panose="02000000000000000000" pitchFamily="2" charset="77"/>
                <a:ea typeface="Open Sans" charset="0"/>
                <a:cs typeface="Open Sans" charset="0"/>
              </a:rPr>
              <a:t>Get Best Plan</a:t>
            </a:r>
            <a:endParaRPr lang="ko-KR" altLang="en-US" sz="1400" b="1" dirty="0">
              <a:latin typeface="RBC Display" panose="02000000000000000000" pitchFamily="2" charset="77"/>
              <a:ea typeface="Open Sans" charset="0"/>
              <a:cs typeface="Open Sans" charset="0"/>
            </a:endParaRPr>
          </a:p>
        </p:txBody>
      </p:sp>
      <p:sp>
        <p:nvSpPr>
          <p:cNvPr id="22" name="Rounded Rectangle 21"/>
          <p:cNvSpPr/>
          <p:nvPr/>
        </p:nvSpPr>
        <p:spPr>
          <a:xfrm>
            <a:off x="4595487" y="1634466"/>
            <a:ext cx="2099734" cy="3945980"/>
          </a:xfrm>
          <a:prstGeom prst="roundRect">
            <a:avLst>
              <a:gd name="adj" fmla="val 0"/>
            </a:avLst>
          </a:prstGeom>
          <a:noFill/>
          <a:ln w="6350" cmpd="sng">
            <a:solidFill>
              <a:schemeClr val="tx1">
                <a:alpha val="3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a:solidFill>
                <a:schemeClr val="tx1"/>
              </a:solidFill>
              <a:latin typeface="SF UI Display Thin" charset="0"/>
              <a:ea typeface="SF UI Display Thin" charset="0"/>
              <a:cs typeface="SF UI Display Thin" charset="0"/>
            </a:endParaRPr>
          </a:p>
        </p:txBody>
      </p:sp>
      <p:sp>
        <p:nvSpPr>
          <p:cNvPr id="23" name="TextBox 22"/>
          <p:cNvSpPr txBox="1"/>
          <p:nvPr/>
        </p:nvSpPr>
        <p:spPr>
          <a:xfrm>
            <a:off x="4599698" y="1776481"/>
            <a:ext cx="2099734" cy="276999"/>
          </a:xfrm>
          <a:prstGeom prst="rect">
            <a:avLst/>
          </a:prstGeom>
          <a:noFill/>
        </p:spPr>
        <p:txBody>
          <a:bodyPr wrap="square" rtlCol="0">
            <a:spAutoFit/>
          </a:bodyPr>
          <a:lstStyle/>
          <a:p>
            <a:pPr lvl="0" algn="ctr"/>
            <a:r>
              <a:rPr lang="en-US" altLang="ko-KR" sz="1200" b="1" dirty="0">
                <a:latin typeface="RBC Display" panose="02000000000000000000" pitchFamily="2" charset="77"/>
                <a:ea typeface="Open Sans" charset="0"/>
                <a:cs typeface="Open Sans" charset="0"/>
              </a:rPr>
              <a:t>Normal plan</a:t>
            </a:r>
            <a:endParaRPr lang="ko-KR" altLang="en-US" sz="1200" b="1" dirty="0">
              <a:latin typeface="RBC Display" panose="02000000000000000000" pitchFamily="2" charset="77"/>
              <a:ea typeface="Open Sans" charset="0"/>
              <a:cs typeface="Open Sans" charset="0"/>
            </a:endParaRPr>
          </a:p>
        </p:txBody>
      </p:sp>
      <p:sp>
        <p:nvSpPr>
          <p:cNvPr id="24" name="TextBox 23"/>
          <p:cNvSpPr txBox="1"/>
          <p:nvPr/>
        </p:nvSpPr>
        <p:spPr>
          <a:xfrm>
            <a:off x="4595487" y="3605487"/>
            <a:ext cx="2099734" cy="1171154"/>
          </a:xfrm>
          <a:prstGeom prst="rect">
            <a:avLst/>
          </a:prstGeom>
          <a:noFill/>
        </p:spPr>
        <p:txBody>
          <a:bodyPr wrap="square" rtlCol="0">
            <a:spAutoFit/>
          </a:bodyPr>
          <a:lstStyle/>
          <a:p>
            <a:pPr lvl="0" algn="ctr">
              <a:lnSpc>
                <a:spcPct val="150000"/>
              </a:lnSpc>
            </a:pPr>
            <a:r>
              <a:rPr lang="en-US" altLang="ko-KR" sz="1200" b="1" dirty="0">
                <a:latin typeface="RBC Text" panose="02000000000000000000" pitchFamily="2" charset="77"/>
                <a:ea typeface="Open Sans" charset="0"/>
                <a:cs typeface="Open Sans" charset="0"/>
              </a:rPr>
              <a:t>5 GB bandwidth</a:t>
            </a:r>
          </a:p>
          <a:p>
            <a:pPr lvl="0" algn="ctr">
              <a:lnSpc>
                <a:spcPct val="150000"/>
              </a:lnSpc>
            </a:pPr>
            <a:r>
              <a:rPr lang="en-US" altLang="ko-KR" sz="1200" b="1" dirty="0">
                <a:latin typeface="RBC Text" panose="02000000000000000000" pitchFamily="2" charset="77"/>
                <a:ea typeface="Open Sans" charset="0"/>
                <a:cs typeface="Open Sans" charset="0"/>
              </a:rPr>
              <a:t>2GB Max File Size</a:t>
            </a:r>
          </a:p>
          <a:p>
            <a:pPr lvl="0" algn="ctr">
              <a:lnSpc>
                <a:spcPct val="150000"/>
              </a:lnSpc>
            </a:pPr>
            <a:r>
              <a:rPr lang="en-US" altLang="ko-KR" sz="1200" b="1" dirty="0">
                <a:latin typeface="RBC Text" panose="02000000000000000000" pitchFamily="2" charset="77"/>
                <a:ea typeface="Open Sans" charset="0"/>
                <a:cs typeface="Open Sans" charset="0"/>
              </a:rPr>
              <a:t>12 GHZ CPU</a:t>
            </a:r>
          </a:p>
          <a:p>
            <a:pPr lvl="0" algn="ctr">
              <a:lnSpc>
                <a:spcPct val="150000"/>
              </a:lnSpc>
            </a:pPr>
            <a:r>
              <a:rPr lang="en-US" altLang="ko-KR" sz="1200" b="1" dirty="0">
                <a:latin typeface="RBC Text" panose="02000000000000000000" pitchFamily="2" charset="77"/>
                <a:ea typeface="Open Sans" charset="0"/>
                <a:cs typeface="Open Sans" charset="0"/>
              </a:rPr>
              <a:t>1024 MB memory</a:t>
            </a:r>
            <a:endParaRPr lang="ko-KR" altLang="en-US" sz="1200" b="1" dirty="0">
              <a:latin typeface="RBC Text" panose="02000000000000000000" pitchFamily="2" charset="77"/>
              <a:ea typeface="Open Sans" charset="0"/>
              <a:cs typeface="Open Sans" charset="0"/>
            </a:endParaRPr>
          </a:p>
        </p:txBody>
      </p:sp>
      <p:grpSp>
        <p:nvGrpSpPr>
          <p:cNvPr id="25" name="Group 24"/>
          <p:cNvGrpSpPr/>
          <p:nvPr/>
        </p:nvGrpSpPr>
        <p:grpSpPr>
          <a:xfrm>
            <a:off x="4595487" y="2174446"/>
            <a:ext cx="2099734" cy="1076189"/>
            <a:chOff x="1066800" y="1831492"/>
            <a:chExt cx="1697400" cy="772913"/>
          </a:xfrm>
        </p:grpSpPr>
        <p:sp>
          <p:nvSpPr>
            <p:cNvPr id="26" name="TextBox 25"/>
            <p:cNvSpPr txBox="1"/>
            <p:nvPr/>
          </p:nvSpPr>
          <p:spPr>
            <a:xfrm>
              <a:off x="1066800" y="1831492"/>
              <a:ext cx="1697400" cy="729444"/>
            </a:xfrm>
            <a:prstGeom prst="rect">
              <a:avLst/>
            </a:prstGeom>
            <a:noFill/>
          </p:spPr>
          <p:txBody>
            <a:bodyPr wrap="square" rtlCol="0">
              <a:spAutoFit/>
            </a:bodyPr>
            <a:lstStyle/>
            <a:p>
              <a:pPr lvl="0" algn="ctr"/>
              <a:r>
                <a:rPr lang="en-US" altLang="ko-KR" sz="6000" dirty="0">
                  <a:latin typeface="RBC Display" panose="02000000000000000000" pitchFamily="2" charset="77"/>
                  <a:ea typeface="Cinzel" charset="0"/>
                  <a:cs typeface="Cinzel" charset="0"/>
                </a:rPr>
                <a:t>20</a:t>
              </a:r>
              <a:endParaRPr lang="ko-KR" altLang="en-US" sz="6000" dirty="0">
                <a:latin typeface="RBC Display" panose="02000000000000000000" pitchFamily="2" charset="77"/>
                <a:ea typeface="Cinzel" charset="0"/>
                <a:cs typeface="Cinzel" charset="0"/>
              </a:endParaRPr>
            </a:p>
          </p:txBody>
        </p:sp>
        <p:sp>
          <p:nvSpPr>
            <p:cNvPr id="27" name="TextBox 26"/>
            <p:cNvSpPr txBox="1"/>
            <p:nvPr/>
          </p:nvSpPr>
          <p:spPr>
            <a:xfrm>
              <a:off x="1240732" y="2081272"/>
              <a:ext cx="450850" cy="375774"/>
            </a:xfrm>
            <a:prstGeom prst="rect">
              <a:avLst/>
            </a:prstGeom>
            <a:noFill/>
          </p:spPr>
          <p:txBody>
            <a:bodyPr wrap="square" rtlCol="0">
              <a:spAutoFit/>
            </a:bodyPr>
            <a:lstStyle/>
            <a:p>
              <a:pPr lvl="0" algn="ctr"/>
              <a:r>
                <a:rPr lang="en-US" altLang="ko-KR" sz="2800" dirty="0">
                  <a:latin typeface="RBC Display" panose="02000000000000000000" pitchFamily="2" charset="77"/>
                  <a:ea typeface="Cinzel" charset="0"/>
                  <a:cs typeface="Cinzel" charset="0"/>
                </a:rPr>
                <a:t>$</a:t>
              </a:r>
              <a:endParaRPr lang="ko-KR" altLang="en-US" sz="2800" dirty="0">
                <a:latin typeface="RBC Display" panose="02000000000000000000" pitchFamily="2" charset="77"/>
                <a:ea typeface="Cinzel" charset="0"/>
                <a:cs typeface="Cinzel" charset="0"/>
              </a:endParaRPr>
            </a:p>
          </p:txBody>
        </p:sp>
        <p:sp>
          <p:nvSpPr>
            <p:cNvPr id="28" name="TextBox 27"/>
            <p:cNvSpPr txBox="1"/>
            <p:nvPr/>
          </p:nvSpPr>
          <p:spPr>
            <a:xfrm>
              <a:off x="1066800" y="2386125"/>
              <a:ext cx="1697400" cy="218280"/>
            </a:xfrm>
            <a:prstGeom prst="rect">
              <a:avLst/>
            </a:prstGeom>
            <a:noFill/>
          </p:spPr>
          <p:txBody>
            <a:bodyPr wrap="square" rtlCol="0" anchor="t">
              <a:spAutoFit/>
            </a:bodyPr>
            <a:lstStyle/>
            <a:p>
              <a:pPr lvl="0" algn="ctr">
                <a:lnSpc>
                  <a:spcPct val="150000"/>
                </a:lnSpc>
              </a:pPr>
              <a:r>
                <a:rPr lang="en-US" altLang="ko-KR" sz="1000" dirty="0">
                  <a:latin typeface="RBC Display" panose="02000000000000000000" pitchFamily="2" charset="77"/>
                  <a:ea typeface="Cinzel" charset="0"/>
                  <a:cs typeface="Cinzel" charset="0"/>
                </a:rPr>
                <a:t>Per month</a:t>
              </a:r>
              <a:endParaRPr lang="ko-KR" altLang="en-US" sz="1000" dirty="0">
                <a:latin typeface="RBC Display" panose="02000000000000000000" pitchFamily="2" charset="77"/>
                <a:ea typeface="Cinzel" charset="0"/>
                <a:cs typeface="Cinzel" charset="0"/>
              </a:endParaRPr>
            </a:p>
          </p:txBody>
        </p:sp>
      </p:grpSp>
      <p:cxnSp>
        <p:nvCxnSpPr>
          <p:cNvPr id="29" name="Straight Connector 28"/>
          <p:cNvCxnSpPr/>
          <p:nvPr/>
        </p:nvCxnSpPr>
        <p:spPr>
          <a:xfrm>
            <a:off x="4595487" y="3429670"/>
            <a:ext cx="2099734" cy="0"/>
          </a:xfrm>
          <a:prstGeom prst="line">
            <a:avLst/>
          </a:prstGeom>
          <a:ln w="3175" cmpd="sng">
            <a:solidFill>
              <a:schemeClr val="tx1"/>
            </a:solidFill>
            <a:prstDash val="solid"/>
          </a:ln>
        </p:spPr>
        <p:style>
          <a:lnRef idx="1">
            <a:schemeClr val="dk1"/>
          </a:lnRef>
          <a:fillRef idx="0">
            <a:schemeClr val="dk1"/>
          </a:fillRef>
          <a:effectRef idx="0">
            <a:schemeClr val="dk1"/>
          </a:effectRef>
          <a:fontRef idx="minor">
            <a:schemeClr val="tx1"/>
          </a:fontRef>
        </p:style>
      </p:cxnSp>
      <p:sp>
        <p:nvSpPr>
          <p:cNvPr id="30" name="TextBox 29"/>
          <p:cNvSpPr txBox="1"/>
          <p:nvPr/>
        </p:nvSpPr>
        <p:spPr>
          <a:xfrm>
            <a:off x="4595487" y="5093294"/>
            <a:ext cx="2099734" cy="307777"/>
          </a:xfrm>
          <a:prstGeom prst="rect">
            <a:avLst/>
          </a:prstGeom>
          <a:noFill/>
        </p:spPr>
        <p:txBody>
          <a:bodyPr wrap="square" rtlCol="0">
            <a:spAutoFit/>
          </a:bodyPr>
          <a:lstStyle/>
          <a:p>
            <a:pPr lvl="0" algn="ctr"/>
            <a:r>
              <a:rPr lang="en-US" altLang="ko-KR" sz="1400" b="1" dirty="0">
                <a:latin typeface="RBC Display" panose="02000000000000000000" pitchFamily="2" charset="77"/>
                <a:ea typeface="Open Sans" charset="0"/>
                <a:cs typeface="Open Sans" charset="0"/>
              </a:rPr>
              <a:t>Get Normal Plan</a:t>
            </a:r>
            <a:endParaRPr lang="ko-KR" altLang="en-US" sz="1400" b="1" dirty="0">
              <a:latin typeface="RBC Display" panose="02000000000000000000" pitchFamily="2" charset="77"/>
              <a:ea typeface="Open Sans" charset="0"/>
              <a:cs typeface="Open Sans" charset="0"/>
            </a:endParaRPr>
          </a:p>
        </p:txBody>
      </p:sp>
      <p:sp>
        <p:nvSpPr>
          <p:cNvPr id="32" name="TextBox 31"/>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33" name="Text Placeholder 6">
            <a:extLst>
              <a:ext uri="{FF2B5EF4-FFF2-40B4-BE49-F238E27FC236}">
                <a16:creationId xmlns:a16="http://schemas.microsoft.com/office/drawing/2014/main" id="{91B90580-3303-3D4C-A47C-58524AE0D497}"/>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2795718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4041913" y="1374913"/>
            <a:ext cx="4108174" cy="4108174"/>
          </a:xfrm>
          <a:prstGeom prst="ellipse">
            <a:avLst/>
          </a:prstGeom>
          <a:noFill/>
          <a:ln w="6350">
            <a:solidFill>
              <a:schemeClr val="tx1">
                <a:alpha val="2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5" name="Oval 4"/>
          <p:cNvSpPr/>
          <p:nvPr/>
        </p:nvSpPr>
        <p:spPr>
          <a:xfrm>
            <a:off x="5743773" y="1045622"/>
            <a:ext cx="685086" cy="685086"/>
          </a:xfrm>
          <a:prstGeom prst="ellipse">
            <a:avLst/>
          </a:prstGeom>
          <a:solidFill>
            <a:schemeClr val="bg1"/>
          </a:solidFill>
          <a:ln w="635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latin typeface="RBC Display" panose="02000000000000000000" pitchFamily="2" charset="77"/>
                <a:ea typeface="Open Sans" charset="0"/>
                <a:cs typeface="Open Sans" charset="0"/>
              </a:rPr>
              <a:t>W</a:t>
            </a:r>
          </a:p>
        </p:txBody>
      </p:sp>
      <p:sp>
        <p:nvSpPr>
          <p:cNvPr id="6" name="Oval 5"/>
          <p:cNvSpPr/>
          <p:nvPr/>
        </p:nvSpPr>
        <p:spPr>
          <a:xfrm>
            <a:off x="5743773" y="5140544"/>
            <a:ext cx="685086" cy="685086"/>
          </a:xfrm>
          <a:prstGeom prst="ellipse">
            <a:avLst/>
          </a:prstGeom>
          <a:solidFill>
            <a:schemeClr val="bg1"/>
          </a:solidFill>
          <a:ln w="635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latin typeface="RBC Display" panose="02000000000000000000" pitchFamily="2" charset="77"/>
                <a:ea typeface="Open Sans" charset="0"/>
                <a:cs typeface="Open Sans" charset="0"/>
              </a:rPr>
              <a:t>T</a:t>
            </a:r>
          </a:p>
        </p:txBody>
      </p:sp>
      <p:sp>
        <p:nvSpPr>
          <p:cNvPr id="7" name="Oval 6"/>
          <p:cNvSpPr/>
          <p:nvPr/>
        </p:nvSpPr>
        <p:spPr>
          <a:xfrm>
            <a:off x="3734329" y="3086457"/>
            <a:ext cx="685086" cy="685086"/>
          </a:xfrm>
          <a:prstGeom prst="ellipse">
            <a:avLst/>
          </a:prstGeom>
          <a:solidFill>
            <a:schemeClr val="bg1"/>
          </a:solidFill>
          <a:ln w="635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latin typeface="RBC Display" panose="02000000000000000000" pitchFamily="2" charset="77"/>
                <a:ea typeface="Open Sans" charset="0"/>
                <a:cs typeface="Open Sans" charset="0"/>
              </a:rPr>
              <a:t>S</a:t>
            </a:r>
          </a:p>
        </p:txBody>
      </p:sp>
      <p:sp>
        <p:nvSpPr>
          <p:cNvPr id="8" name="Oval 7"/>
          <p:cNvSpPr/>
          <p:nvPr/>
        </p:nvSpPr>
        <p:spPr>
          <a:xfrm>
            <a:off x="7807544" y="3086457"/>
            <a:ext cx="685086" cy="685086"/>
          </a:xfrm>
          <a:prstGeom prst="ellipse">
            <a:avLst/>
          </a:prstGeom>
          <a:solidFill>
            <a:schemeClr val="bg1"/>
          </a:solidFill>
          <a:ln w="635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latin typeface="RBC Display" panose="02000000000000000000" pitchFamily="2" charset="77"/>
                <a:ea typeface="Open Sans" charset="0"/>
                <a:cs typeface="Open Sans" charset="0"/>
              </a:rPr>
              <a:t>O</a:t>
            </a:r>
          </a:p>
        </p:txBody>
      </p:sp>
      <p:sp>
        <p:nvSpPr>
          <p:cNvPr id="9" name="TextBox 8"/>
          <p:cNvSpPr txBox="1"/>
          <p:nvPr/>
        </p:nvSpPr>
        <p:spPr>
          <a:xfrm>
            <a:off x="6713839" y="1549199"/>
            <a:ext cx="2622218" cy="747897"/>
          </a:xfrm>
          <a:prstGeom prst="rect">
            <a:avLst/>
          </a:prstGeom>
          <a:noFill/>
        </p:spPr>
        <p:txBody>
          <a:bodyPr wrap="square" lIns="0" rIns="0" rtlCol="0">
            <a:spAutoFit/>
          </a:bodyPr>
          <a:lstStyle/>
          <a:p>
            <a:pPr>
              <a:lnSpc>
                <a:spcPct val="120000"/>
              </a:lnSpc>
            </a:pPr>
            <a:r>
              <a:rPr lang="en-US" sz="1200" b="1" dirty="0">
                <a:solidFill>
                  <a:schemeClr val="tx1">
                    <a:alpha val="70000"/>
                  </a:schemeClr>
                </a:solidFill>
                <a:latin typeface="RBC Text" panose="02000000000000000000" pitchFamily="2" charset="77"/>
                <a:ea typeface="Open Sans" charset="0"/>
                <a:cs typeface="Open Sans" charset="0"/>
              </a:rPr>
              <a:t>A peep at some distant orb has power to raise and purify our thoughts.</a:t>
            </a:r>
          </a:p>
        </p:txBody>
      </p:sp>
      <p:sp>
        <p:nvSpPr>
          <p:cNvPr id="10" name="TextBox 9"/>
          <p:cNvSpPr txBox="1"/>
          <p:nvPr/>
        </p:nvSpPr>
        <p:spPr>
          <a:xfrm>
            <a:off x="6713839" y="1150554"/>
            <a:ext cx="1203791" cy="338554"/>
          </a:xfrm>
          <a:prstGeom prst="rect">
            <a:avLst/>
          </a:prstGeom>
          <a:noFill/>
        </p:spPr>
        <p:txBody>
          <a:bodyPr wrap="none" lIns="0" rIns="0" rtlCol="0">
            <a:spAutoFit/>
          </a:bodyPr>
          <a:lstStyle/>
          <a:p>
            <a:r>
              <a:rPr lang="en-US" sz="1600" b="1" dirty="0">
                <a:latin typeface="RBC Display" panose="02000000000000000000" pitchFamily="2" charset="77"/>
                <a:ea typeface="Open Sans" charset="0"/>
                <a:cs typeface="Open Sans" charset="0"/>
              </a:rPr>
              <a:t>Weaknesses</a:t>
            </a:r>
          </a:p>
        </p:txBody>
      </p:sp>
      <p:sp>
        <p:nvSpPr>
          <p:cNvPr id="11" name="TextBox 10"/>
          <p:cNvSpPr txBox="1"/>
          <p:nvPr/>
        </p:nvSpPr>
        <p:spPr>
          <a:xfrm>
            <a:off x="8755036" y="3577309"/>
            <a:ext cx="2622218" cy="747897"/>
          </a:xfrm>
          <a:prstGeom prst="rect">
            <a:avLst/>
          </a:prstGeom>
          <a:noFill/>
        </p:spPr>
        <p:txBody>
          <a:bodyPr wrap="square" lIns="0" rIns="0" rtlCol="0">
            <a:spAutoFit/>
          </a:bodyPr>
          <a:lstStyle/>
          <a:p>
            <a:pPr>
              <a:lnSpc>
                <a:spcPct val="120000"/>
              </a:lnSpc>
            </a:pPr>
            <a:r>
              <a:rPr lang="en-US" sz="1200" b="1" dirty="0">
                <a:solidFill>
                  <a:schemeClr val="tx1">
                    <a:alpha val="70000"/>
                  </a:schemeClr>
                </a:solidFill>
                <a:latin typeface="RBC Text" panose="02000000000000000000" pitchFamily="2" charset="77"/>
                <a:ea typeface="Open Sans" charset="0"/>
                <a:cs typeface="Open Sans" charset="0"/>
              </a:rPr>
              <a:t>A peep at some distant orb has power to raise and purify our thoughts.</a:t>
            </a:r>
          </a:p>
        </p:txBody>
      </p:sp>
      <p:sp>
        <p:nvSpPr>
          <p:cNvPr id="12" name="TextBox 11"/>
          <p:cNvSpPr txBox="1"/>
          <p:nvPr/>
        </p:nvSpPr>
        <p:spPr>
          <a:xfrm>
            <a:off x="8755036" y="3178664"/>
            <a:ext cx="1351524" cy="338554"/>
          </a:xfrm>
          <a:prstGeom prst="rect">
            <a:avLst/>
          </a:prstGeom>
          <a:noFill/>
        </p:spPr>
        <p:txBody>
          <a:bodyPr wrap="none" lIns="0" rIns="0" rtlCol="0">
            <a:spAutoFit/>
          </a:bodyPr>
          <a:lstStyle/>
          <a:p>
            <a:r>
              <a:rPr lang="en-US" sz="1600" b="1" dirty="0">
                <a:latin typeface="RBC Display" panose="02000000000000000000" pitchFamily="2" charset="77"/>
                <a:ea typeface="Open Sans" charset="0"/>
                <a:cs typeface="Open Sans" charset="0"/>
              </a:rPr>
              <a:t>Opportunities</a:t>
            </a:r>
          </a:p>
        </p:txBody>
      </p:sp>
      <p:sp>
        <p:nvSpPr>
          <p:cNvPr id="13" name="TextBox 12"/>
          <p:cNvSpPr txBox="1"/>
          <p:nvPr/>
        </p:nvSpPr>
        <p:spPr>
          <a:xfrm>
            <a:off x="1562526" y="3577309"/>
            <a:ext cx="1987712" cy="741806"/>
          </a:xfrm>
          <a:prstGeom prst="rect">
            <a:avLst/>
          </a:prstGeom>
          <a:noFill/>
        </p:spPr>
        <p:txBody>
          <a:bodyPr wrap="square" lIns="0" rIns="0" rtlCol="0">
            <a:spAutoFit/>
          </a:bodyPr>
          <a:lstStyle/>
          <a:p>
            <a:pPr algn="r">
              <a:lnSpc>
                <a:spcPct val="120000"/>
              </a:lnSpc>
            </a:pPr>
            <a:r>
              <a:rPr lang="en-US" sz="1200" b="1" dirty="0">
                <a:solidFill>
                  <a:schemeClr val="tx1">
                    <a:alpha val="70000"/>
                  </a:schemeClr>
                </a:solidFill>
                <a:latin typeface="RBC Text" panose="02000000000000000000" pitchFamily="2" charset="77"/>
                <a:ea typeface="Open Sans" charset="0"/>
                <a:cs typeface="Open Sans" charset="0"/>
              </a:rPr>
              <a:t>A peep at some distant orb has power to raise and purify our thoughts.</a:t>
            </a:r>
          </a:p>
        </p:txBody>
      </p:sp>
      <p:sp>
        <p:nvSpPr>
          <p:cNvPr id="14" name="TextBox 13"/>
          <p:cNvSpPr txBox="1"/>
          <p:nvPr/>
        </p:nvSpPr>
        <p:spPr>
          <a:xfrm>
            <a:off x="2594720" y="3178664"/>
            <a:ext cx="955518" cy="338554"/>
          </a:xfrm>
          <a:prstGeom prst="rect">
            <a:avLst/>
          </a:prstGeom>
          <a:noFill/>
        </p:spPr>
        <p:txBody>
          <a:bodyPr wrap="none" lIns="0" rIns="0" rtlCol="0">
            <a:spAutoFit/>
          </a:bodyPr>
          <a:lstStyle/>
          <a:p>
            <a:pPr algn="r"/>
            <a:r>
              <a:rPr lang="en-US" sz="1600" b="1" dirty="0">
                <a:latin typeface="RBC Display" panose="02000000000000000000" pitchFamily="2" charset="77"/>
                <a:ea typeface="Open Sans" charset="0"/>
                <a:cs typeface="Open Sans" charset="0"/>
              </a:rPr>
              <a:t>Strengths</a:t>
            </a:r>
          </a:p>
        </p:txBody>
      </p:sp>
      <p:sp>
        <p:nvSpPr>
          <p:cNvPr id="15" name="TextBox 14"/>
          <p:cNvSpPr txBox="1"/>
          <p:nvPr/>
        </p:nvSpPr>
        <p:spPr>
          <a:xfrm>
            <a:off x="6713839" y="5671680"/>
            <a:ext cx="2622218" cy="747897"/>
          </a:xfrm>
          <a:prstGeom prst="rect">
            <a:avLst/>
          </a:prstGeom>
          <a:noFill/>
        </p:spPr>
        <p:txBody>
          <a:bodyPr wrap="square" lIns="0" rIns="0" rtlCol="0">
            <a:spAutoFit/>
          </a:bodyPr>
          <a:lstStyle/>
          <a:p>
            <a:pPr>
              <a:lnSpc>
                <a:spcPct val="120000"/>
              </a:lnSpc>
            </a:pPr>
            <a:r>
              <a:rPr lang="en-US" sz="1200" b="1" dirty="0">
                <a:solidFill>
                  <a:schemeClr val="tx1">
                    <a:alpha val="70000"/>
                  </a:schemeClr>
                </a:solidFill>
                <a:latin typeface="RBC Text" panose="02000000000000000000" pitchFamily="2" charset="77"/>
                <a:ea typeface="Open Sans" charset="0"/>
                <a:cs typeface="Open Sans" charset="0"/>
              </a:rPr>
              <a:t>A peep at some distant orb has power to raise and purify our thoughts.</a:t>
            </a:r>
          </a:p>
        </p:txBody>
      </p:sp>
      <p:sp>
        <p:nvSpPr>
          <p:cNvPr id="16" name="TextBox 15"/>
          <p:cNvSpPr txBox="1"/>
          <p:nvPr/>
        </p:nvSpPr>
        <p:spPr>
          <a:xfrm>
            <a:off x="6713839" y="5273035"/>
            <a:ext cx="747192" cy="338554"/>
          </a:xfrm>
          <a:prstGeom prst="rect">
            <a:avLst/>
          </a:prstGeom>
          <a:noFill/>
        </p:spPr>
        <p:txBody>
          <a:bodyPr wrap="none" lIns="0" rIns="0" rtlCol="0">
            <a:spAutoFit/>
          </a:bodyPr>
          <a:lstStyle/>
          <a:p>
            <a:r>
              <a:rPr lang="en-US" sz="1600" b="1" dirty="0">
                <a:latin typeface="RBC Display" panose="02000000000000000000" pitchFamily="2" charset="77"/>
                <a:ea typeface="Open Sans" charset="0"/>
                <a:cs typeface="Open Sans" charset="0"/>
              </a:rPr>
              <a:t>Threats</a:t>
            </a:r>
          </a:p>
        </p:txBody>
      </p:sp>
      <p:sp>
        <p:nvSpPr>
          <p:cNvPr id="2" name="Picture Placeholder 1"/>
          <p:cNvSpPr>
            <a:spLocks noGrp="1"/>
          </p:cNvSpPr>
          <p:nvPr>
            <p:ph type="pic" sz="quarter" idx="13"/>
          </p:nvPr>
        </p:nvSpPr>
        <p:spPr/>
        <p:txBody>
          <a:bodyPr/>
          <a:lstStyle/>
          <a:p>
            <a:endParaRPr lang="en-CA"/>
          </a:p>
        </p:txBody>
      </p:sp>
      <p:sp>
        <p:nvSpPr>
          <p:cNvPr id="17" name="Text Placeholder 6">
            <a:extLst>
              <a:ext uri="{FF2B5EF4-FFF2-40B4-BE49-F238E27FC236}">
                <a16:creationId xmlns:a16="http://schemas.microsoft.com/office/drawing/2014/main" id="{5D24CB3D-452E-D34C-91FA-6DD80F56E8D0}"/>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8287523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Connector 21"/>
          <p:cNvCxnSpPr/>
          <p:nvPr/>
        </p:nvCxnSpPr>
        <p:spPr>
          <a:xfrm>
            <a:off x="6260133" y="1651516"/>
            <a:ext cx="0" cy="3479498"/>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Better</a:t>
            </a:r>
            <a:br>
              <a:rPr lang="en-US" dirty="0"/>
            </a:br>
            <a:r>
              <a:rPr lang="en-US" dirty="0" err="1">
                <a:solidFill>
                  <a:schemeClr val="accent1"/>
                </a:solidFill>
              </a:rPr>
              <a:t>Bolckchain</a:t>
            </a:r>
            <a:br>
              <a:rPr lang="en-US" dirty="0"/>
            </a:br>
            <a:r>
              <a:rPr lang="en-US" dirty="0"/>
              <a:t>Technology</a:t>
            </a:r>
          </a:p>
        </p:txBody>
      </p:sp>
      <p:grpSp>
        <p:nvGrpSpPr>
          <p:cNvPr id="8" name="Group 7"/>
          <p:cNvGrpSpPr/>
          <p:nvPr/>
        </p:nvGrpSpPr>
        <p:grpSpPr>
          <a:xfrm>
            <a:off x="6052888" y="1435897"/>
            <a:ext cx="416560" cy="416560"/>
            <a:chOff x="5108410" y="1700592"/>
            <a:chExt cx="416560" cy="416560"/>
          </a:xfrm>
        </p:grpSpPr>
        <p:sp>
          <p:nvSpPr>
            <p:cNvPr id="7" name="Oval 6"/>
            <p:cNvSpPr/>
            <p:nvPr/>
          </p:nvSpPr>
          <p:spPr>
            <a:xfrm>
              <a:off x="5108410" y="1700592"/>
              <a:ext cx="416560" cy="4165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6" name="Shape 3612"/>
            <p:cNvSpPr/>
            <p:nvPr/>
          </p:nvSpPr>
          <p:spPr>
            <a:xfrm>
              <a:off x="5213922" y="1846848"/>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grpSp>
      <p:grpSp>
        <p:nvGrpSpPr>
          <p:cNvPr id="9" name="Group 8"/>
          <p:cNvGrpSpPr/>
          <p:nvPr/>
        </p:nvGrpSpPr>
        <p:grpSpPr>
          <a:xfrm>
            <a:off x="6052888" y="2897734"/>
            <a:ext cx="416560" cy="416560"/>
            <a:chOff x="5108410" y="1700592"/>
            <a:chExt cx="416560" cy="416560"/>
          </a:xfrm>
        </p:grpSpPr>
        <p:sp>
          <p:nvSpPr>
            <p:cNvPr id="10" name="Oval 9"/>
            <p:cNvSpPr/>
            <p:nvPr/>
          </p:nvSpPr>
          <p:spPr>
            <a:xfrm>
              <a:off x="5108410" y="1700592"/>
              <a:ext cx="416560" cy="4165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1" name="Shape 3612"/>
            <p:cNvSpPr/>
            <p:nvPr/>
          </p:nvSpPr>
          <p:spPr>
            <a:xfrm>
              <a:off x="5213922" y="1846848"/>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grpSp>
      <p:grpSp>
        <p:nvGrpSpPr>
          <p:cNvPr id="12" name="Group 11"/>
          <p:cNvGrpSpPr/>
          <p:nvPr/>
        </p:nvGrpSpPr>
        <p:grpSpPr>
          <a:xfrm>
            <a:off x="6052888" y="4931070"/>
            <a:ext cx="416560" cy="416560"/>
            <a:chOff x="5108410" y="1700592"/>
            <a:chExt cx="416560" cy="416560"/>
          </a:xfrm>
        </p:grpSpPr>
        <p:sp>
          <p:nvSpPr>
            <p:cNvPr id="13" name="Oval 12"/>
            <p:cNvSpPr/>
            <p:nvPr/>
          </p:nvSpPr>
          <p:spPr>
            <a:xfrm>
              <a:off x="5108410" y="1700592"/>
              <a:ext cx="416560" cy="4165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4" name="Shape 3612"/>
            <p:cNvSpPr/>
            <p:nvPr/>
          </p:nvSpPr>
          <p:spPr>
            <a:xfrm>
              <a:off x="5213922" y="1846848"/>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grpSp>
      <p:sp>
        <p:nvSpPr>
          <p:cNvPr id="15" name="TextBox 14"/>
          <p:cNvSpPr txBox="1"/>
          <p:nvPr/>
        </p:nvSpPr>
        <p:spPr>
          <a:xfrm>
            <a:off x="6751667" y="1386219"/>
            <a:ext cx="923330" cy="246221"/>
          </a:xfrm>
          <a:prstGeom prst="rect">
            <a:avLst/>
          </a:prstGeom>
          <a:noFill/>
        </p:spPr>
        <p:txBody>
          <a:bodyPr wrap="none" lIns="0" rIns="0" rtlCol="0">
            <a:spAutoFit/>
          </a:bodyPr>
          <a:lstStyle/>
          <a:p>
            <a:r>
              <a:rPr lang="en-US" sz="1000" dirty="0">
                <a:solidFill>
                  <a:schemeClr val="tx1">
                    <a:alpha val="70000"/>
                  </a:schemeClr>
                </a:solidFill>
                <a:latin typeface="RBC Text" panose="02000000000000000000" pitchFamily="2" charset="77"/>
              </a:rPr>
              <a:t>Bulleted List #1</a:t>
            </a:r>
          </a:p>
        </p:txBody>
      </p:sp>
      <p:sp>
        <p:nvSpPr>
          <p:cNvPr id="16" name="TextBox 15"/>
          <p:cNvSpPr txBox="1"/>
          <p:nvPr/>
        </p:nvSpPr>
        <p:spPr>
          <a:xfrm>
            <a:off x="6751667" y="1720879"/>
            <a:ext cx="3757307" cy="738664"/>
          </a:xfrm>
          <a:prstGeom prst="rect">
            <a:avLst/>
          </a:prstGeom>
          <a:noFill/>
        </p:spPr>
        <p:txBody>
          <a:bodyPr wrap="square" lIns="0" rIns="0" rtlCol="0">
            <a:spAutoFit/>
          </a:bodyPr>
          <a:lstStyle/>
          <a:p>
            <a:r>
              <a:rPr lang="en-US" sz="1400" b="1" dirty="0">
                <a:latin typeface="RBC Display" panose="02000000000000000000" pitchFamily="2" charset="77"/>
                <a:ea typeface="Open Sans" charset="0"/>
                <a:cs typeface="Open Sans" charset="0"/>
              </a:rPr>
              <a:t>A peep at some distant orb has power to raise and purify our thoughts like a strain of sacred music.</a:t>
            </a:r>
          </a:p>
        </p:txBody>
      </p:sp>
      <p:sp>
        <p:nvSpPr>
          <p:cNvPr id="17" name="TextBox 16"/>
          <p:cNvSpPr txBox="1"/>
          <p:nvPr/>
        </p:nvSpPr>
        <p:spPr>
          <a:xfrm>
            <a:off x="6751667" y="2870463"/>
            <a:ext cx="934551" cy="246221"/>
          </a:xfrm>
          <a:prstGeom prst="rect">
            <a:avLst/>
          </a:prstGeom>
          <a:noFill/>
        </p:spPr>
        <p:txBody>
          <a:bodyPr wrap="none" lIns="0" rIns="0" rtlCol="0">
            <a:spAutoFit/>
          </a:bodyPr>
          <a:lstStyle/>
          <a:p>
            <a:r>
              <a:rPr lang="en-US" sz="1000" dirty="0">
                <a:solidFill>
                  <a:schemeClr val="tx1">
                    <a:alpha val="70000"/>
                  </a:schemeClr>
                </a:solidFill>
                <a:latin typeface="RBC Text" panose="02000000000000000000" pitchFamily="2" charset="77"/>
              </a:rPr>
              <a:t>Bulleted List #2</a:t>
            </a:r>
          </a:p>
        </p:txBody>
      </p:sp>
      <p:sp>
        <p:nvSpPr>
          <p:cNvPr id="18" name="TextBox 17"/>
          <p:cNvSpPr txBox="1"/>
          <p:nvPr/>
        </p:nvSpPr>
        <p:spPr>
          <a:xfrm>
            <a:off x="6751667" y="3205123"/>
            <a:ext cx="3757307" cy="1384995"/>
          </a:xfrm>
          <a:prstGeom prst="rect">
            <a:avLst/>
          </a:prstGeom>
          <a:noFill/>
        </p:spPr>
        <p:txBody>
          <a:bodyPr wrap="square" lIns="0" rIns="0" rtlCol="0">
            <a:spAutoFit/>
          </a:bodyPr>
          <a:lstStyle/>
          <a:p>
            <a:r>
              <a:rPr lang="en-US" sz="1400" dirty="0">
                <a:solidFill>
                  <a:schemeClr val="tx1">
                    <a:alpha val="60000"/>
                  </a:schemeClr>
                </a:solidFill>
                <a:latin typeface="RBC Text" panose="02000000000000000000" pitchFamily="2" charset="77"/>
              </a:rPr>
              <a:t>Apparently we had reached a great height in the atmosphere, for the sky was a dead black, and the stars had ceased to twinkle. By the same illusion which lifts the horizon of the sea to the level of the spectator on a hillside, the sable cloud beneath.</a:t>
            </a:r>
            <a:endParaRPr lang="en-US" sz="1400" b="1" dirty="0">
              <a:solidFill>
                <a:schemeClr val="tx1">
                  <a:alpha val="60000"/>
                </a:schemeClr>
              </a:solidFill>
              <a:latin typeface="RBC Text" panose="02000000000000000000" pitchFamily="2" charset="77"/>
              <a:ea typeface="Open Sans" charset="0"/>
              <a:cs typeface="Open Sans" charset="0"/>
            </a:endParaRPr>
          </a:p>
        </p:txBody>
      </p:sp>
      <p:sp>
        <p:nvSpPr>
          <p:cNvPr id="19" name="TextBox 18"/>
          <p:cNvSpPr txBox="1"/>
          <p:nvPr/>
        </p:nvSpPr>
        <p:spPr>
          <a:xfrm>
            <a:off x="6751667" y="4884793"/>
            <a:ext cx="936154" cy="246221"/>
          </a:xfrm>
          <a:prstGeom prst="rect">
            <a:avLst/>
          </a:prstGeom>
          <a:noFill/>
        </p:spPr>
        <p:txBody>
          <a:bodyPr wrap="none" lIns="0" rIns="0" rtlCol="0">
            <a:spAutoFit/>
          </a:bodyPr>
          <a:lstStyle/>
          <a:p>
            <a:r>
              <a:rPr lang="en-US" sz="1000" dirty="0">
                <a:solidFill>
                  <a:schemeClr val="tx1">
                    <a:alpha val="70000"/>
                  </a:schemeClr>
                </a:solidFill>
                <a:latin typeface="RBC Text" panose="02000000000000000000" pitchFamily="2" charset="77"/>
              </a:rPr>
              <a:t>Bulleted List #3</a:t>
            </a:r>
          </a:p>
        </p:txBody>
      </p:sp>
      <p:sp>
        <p:nvSpPr>
          <p:cNvPr id="20" name="TextBox 19"/>
          <p:cNvSpPr txBox="1"/>
          <p:nvPr/>
        </p:nvSpPr>
        <p:spPr>
          <a:xfrm>
            <a:off x="6751667" y="5219453"/>
            <a:ext cx="3757307" cy="738664"/>
          </a:xfrm>
          <a:prstGeom prst="rect">
            <a:avLst/>
          </a:prstGeom>
          <a:noFill/>
        </p:spPr>
        <p:txBody>
          <a:bodyPr wrap="square" lIns="0" rIns="0" rtlCol="0">
            <a:spAutoFit/>
          </a:bodyPr>
          <a:lstStyle/>
          <a:p>
            <a:r>
              <a:rPr lang="en-US" sz="1400" b="1" dirty="0">
                <a:solidFill>
                  <a:schemeClr val="tx1">
                    <a:alpha val="60000"/>
                  </a:schemeClr>
                </a:solidFill>
                <a:latin typeface="RBC Text" panose="02000000000000000000" pitchFamily="2" charset="77"/>
                <a:ea typeface="Open Sans" charset="0"/>
                <a:cs typeface="Open Sans" charset="0"/>
              </a:rPr>
              <a:t>A peep at some distant orb has power to raise and purify our thoughts like a strain of sacred music.</a:t>
            </a:r>
          </a:p>
        </p:txBody>
      </p:sp>
      <p:sp>
        <p:nvSpPr>
          <p:cNvPr id="21" name="TextBox 20"/>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23" name="Text Placeholder 6">
            <a:extLst>
              <a:ext uri="{FF2B5EF4-FFF2-40B4-BE49-F238E27FC236}">
                <a16:creationId xmlns:a16="http://schemas.microsoft.com/office/drawing/2014/main" id="{EFD45087-2158-D847-8ED7-AD56AC25E152}"/>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7091322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p:cNvCxnSpPr/>
          <p:nvPr/>
        </p:nvCxnSpPr>
        <p:spPr>
          <a:xfrm>
            <a:off x="1264005" y="3265143"/>
            <a:ext cx="6403098"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Better </a:t>
            </a:r>
            <a:r>
              <a:rPr lang="en-US" dirty="0" err="1">
                <a:solidFill>
                  <a:schemeClr val="accent1"/>
                </a:solidFill>
              </a:rPr>
              <a:t>Bolckchain</a:t>
            </a:r>
            <a:r>
              <a:rPr lang="en-US" dirty="0"/>
              <a:t> Technology</a:t>
            </a:r>
          </a:p>
        </p:txBody>
      </p:sp>
      <p:sp>
        <p:nvSpPr>
          <p:cNvPr id="5" name="TextBox 4"/>
          <p:cNvSpPr txBox="1"/>
          <p:nvPr/>
        </p:nvSpPr>
        <p:spPr>
          <a:xfrm>
            <a:off x="913016" y="3722930"/>
            <a:ext cx="923330" cy="246221"/>
          </a:xfrm>
          <a:prstGeom prst="rect">
            <a:avLst/>
          </a:prstGeom>
          <a:noFill/>
        </p:spPr>
        <p:txBody>
          <a:bodyPr wrap="none" lIns="0" rIns="0" rtlCol="0">
            <a:spAutoFit/>
          </a:bodyPr>
          <a:lstStyle/>
          <a:p>
            <a:r>
              <a:rPr lang="en-US" sz="1000" dirty="0">
                <a:solidFill>
                  <a:schemeClr val="tx1">
                    <a:alpha val="70000"/>
                  </a:schemeClr>
                </a:solidFill>
                <a:latin typeface="RBC Text" panose="02000000000000000000" pitchFamily="2" charset="77"/>
              </a:rPr>
              <a:t>Bulleted List #1</a:t>
            </a:r>
          </a:p>
        </p:txBody>
      </p:sp>
      <p:sp>
        <p:nvSpPr>
          <p:cNvPr id="6" name="TextBox 5"/>
          <p:cNvSpPr txBox="1"/>
          <p:nvPr/>
        </p:nvSpPr>
        <p:spPr>
          <a:xfrm>
            <a:off x="913016" y="4057590"/>
            <a:ext cx="2403929" cy="954107"/>
          </a:xfrm>
          <a:prstGeom prst="rect">
            <a:avLst/>
          </a:prstGeom>
          <a:noFill/>
        </p:spPr>
        <p:txBody>
          <a:bodyPr wrap="square" lIns="0" rIns="0" rtlCol="0">
            <a:spAutoFit/>
          </a:bodyPr>
          <a:lstStyle/>
          <a:p>
            <a:r>
              <a:rPr lang="en-US" sz="1400" b="1" dirty="0">
                <a:latin typeface="RBC Display" panose="02000000000000000000" pitchFamily="2" charset="77"/>
                <a:ea typeface="Open Sans" charset="0"/>
                <a:cs typeface="Open Sans" charset="0"/>
              </a:rPr>
              <a:t>A peep at some distant orb has power to raise and purify our thoughts like a strain of sacred music.</a:t>
            </a:r>
          </a:p>
        </p:txBody>
      </p:sp>
      <p:sp>
        <p:nvSpPr>
          <p:cNvPr id="7" name="TextBox 6"/>
          <p:cNvSpPr txBox="1"/>
          <p:nvPr/>
        </p:nvSpPr>
        <p:spPr>
          <a:xfrm>
            <a:off x="4208658" y="3706583"/>
            <a:ext cx="934551" cy="246221"/>
          </a:xfrm>
          <a:prstGeom prst="rect">
            <a:avLst/>
          </a:prstGeom>
          <a:noFill/>
        </p:spPr>
        <p:txBody>
          <a:bodyPr wrap="none" lIns="0" rIns="0" rtlCol="0">
            <a:spAutoFit/>
          </a:bodyPr>
          <a:lstStyle/>
          <a:p>
            <a:r>
              <a:rPr lang="en-US" sz="1000" dirty="0">
                <a:solidFill>
                  <a:schemeClr val="tx1">
                    <a:alpha val="70000"/>
                  </a:schemeClr>
                </a:solidFill>
                <a:latin typeface="RBC Text" panose="02000000000000000000" pitchFamily="2" charset="77"/>
              </a:rPr>
              <a:t>Bulleted List #2</a:t>
            </a:r>
          </a:p>
        </p:txBody>
      </p:sp>
      <p:sp>
        <p:nvSpPr>
          <p:cNvPr id="8" name="TextBox 7"/>
          <p:cNvSpPr txBox="1"/>
          <p:nvPr/>
        </p:nvSpPr>
        <p:spPr>
          <a:xfrm>
            <a:off x="4208658" y="4041243"/>
            <a:ext cx="2359487" cy="1815882"/>
          </a:xfrm>
          <a:prstGeom prst="rect">
            <a:avLst/>
          </a:prstGeom>
          <a:noFill/>
        </p:spPr>
        <p:txBody>
          <a:bodyPr wrap="square" lIns="0" rIns="0" rtlCol="0">
            <a:spAutoFit/>
          </a:bodyPr>
          <a:lstStyle/>
          <a:p>
            <a:r>
              <a:rPr lang="en-US" sz="1400" dirty="0">
                <a:solidFill>
                  <a:schemeClr val="tx1">
                    <a:alpha val="60000"/>
                  </a:schemeClr>
                </a:solidFill>
                <a:latin typeface="RBC Text" panose="02000000000000000000" pitchFamily="2" charset="77"/>
              </a:rPr>
              <a:t>Apparently we had reached a great height in the atmosphere, for the sky was a dead black, and the stars had ceased to twinkle. By the same illusion which lifts the horizon.</a:t>
            </a:r>
            <a:endParaRPr lang="en-US" sz="1400" b="1" dirty="0">
              <a:solidFill>
                <a:schemeClr val="tx1">
                  <a:alpha val="60000"/>
                </a:schemeClr>
              </a:solidFill>
              <a:latin typeface="RBC Text" panose="02000000000000000000" pitchFamily="2" charset="77"/>
              <a:ea typeface="Open Sans" charset="0"/>
              <a:cs typeface="Open Sans" charset="0"/>
            </a:endParaRPr>
          </a:p>
        </p:txBody>
      </p:sp>
      <p:sp>
        <p:nvSpPr>
          <p:cNvPr id="9" name="TextBox 8"/>
          <p:cNvSpPr txBox="1"/>
          <p:nvPr/>
        </p:nvSpPr>
        <p:spPr>
          <a:xfrm>
            <a:off x="7459858" y="3706583"/>
            <a:ext cx="936154" cy="246221"/>
          </a:xfrm>
          <a:prstGeom prst="rect">
            <a:avLst/>
          </a:prstGeom>
          <a:noFill/>
        </p:spPr>
        <p:txBody>
          <a:bodyPr wrap="none" lIns="0" rIns="0" rtlCol="0">
            <a:spAutoFit/>
          </a:bodyPr>
          <a:lstStyle/>
          <a:p>
            <a:r>
              <a:rPr lang="en-US" sz="1000" dirty="0">
                <a:solidFill>
                  <a:schemeClr val="tx1">
                    <a:alpha val="70000"/>
                  </a:schemeClr>
                </a:solidFill>
                <a:latin typeface="RBC Text" panose="02000000000000000000" pitchFamily="2" charset="77"/>
              </a:rPr>
              <a:t>Bulleted List #3</a:t>
            </a:r>
          </a:p>
        </p:txBody>
      </p:sp>
      <p:sp>
        <p:nvSpPr>
          <p:cNvPr id="10" name="TextBox 9"/>
          <p:cNvSpPr txBox="1"/>
          <p:nvPr/>
        </p:nvSpPr>
        <p:spPr>
          <a:xfrm>
            <a:off x="7459859" y="4041243"/>
            <a:ext cx="2403928" cy="954107"/>
          </a:xfrm>
          <a:prstGeom prst="rect">
            <a:avLst/>
          </a:prstGeom>
          <a:noFill/>
        </p:spPr>
        <p:txBody>
          <a:bodyPr wrap="square" lIns="0" rIns="0" rtlCol="0">
            <a:spAutoFit/>
          </a:bodyPr>
          <a:lstStyle/>
          <a:p>
            <a:r>
              <a:rPr lang="en-US" sz="1400" b="1" dirty="0">
                <a:solidFill>
                  <a:schemeClr val="tx1">
                    <a:alpha val="60000"/>
                  </a:schemeClr>
                </a:solidFill>
                <a:latin typeface="RBC Text" panose="02000000000000000000" pitchFamily="2" charset="77"/>
                <a:ea typeface="Open Sans" charset="0"/>
                <a:cs typeface="Open Sans" charset="0"/>
              </a:rPr>
              <a:t>A peep at some distant orb has power to raise and purify our thoughts like a strain of sacred music.</a:t>
            </a:r>
          </a:p>
        </p:txBody>
      </p:sp>
      <p:sp>
        <p:nvSpPr>
          <p:cNvPr id="14" name="Oval 13"/>
          <p:cNvSpPr/>
          <p:nvPr/>
        </p:nvSpPr>
        <p:spPr>
          <a:xfrm>
            <a:off x="913016" y="3044377"/>
            <a:ext cx="416560" cy="41656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highlight>
                <a:srgbClr val="FFFF00"/>
              </a:highlight>
              <a:latin typeface="RBC Text" panose="02000000000000000000" pitchFamily="2" charset="77"/>
            </a:endParaRPr>
          </a:p>
        </p:txBody>
      </p:sp>
      <p:sp>
        <p:nvSpPr>
          <p:cNvPr id="15" name="Shape 3612"/>
          <p:cNvSpPr/>
          <p:nvPr/>
        </p:nvSpPr>
        <p:spPr>
          <a:xfrm>
            <a:off x="1018528" y="3190633"/>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grpSp>
        <p:nvGrpSpPr>
          <p:cNvPr id="16" name="Group 15"/>
          <p:cNvGrpSpPr/>
          <p:nvPr/>
        </p:nvGrpSpPr>
        <p:grpSpPr>
          <a:xfrm>
            <a:off x="4208658" y="3051716"/>
            <a:ext cx="416560" cy="416560"/>
            <a:chOff x="5108410" y="1700592"/>
            <a:chExt cx="416560" cy="416560"/>
          </a:xfrm>
        </p:grpSpPr>
        <p:sp>
          <p:nvSpPr>
            <p:cNvPr id="17" name="Oval 16"/>
            <p:cNvSpPr/>
            <p:nvPr/>
          </p:nvSpPr>
          <p:spPr>
            <a:xfrm>
              <a:off x="5108410" y="1700592"/>
              <a:ext cx="416560" cy="41656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8" name="Shape 3612"/>
            <p:cNvSpPr/>
            <p:nvPr/>
          </p:nvSpPr>
          <p:spPr>
            <a:xfrm>
              <a:off x="5213922" y="1846848"/>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grpSp>
      <p:grpSp>
        <p:nvGrpSpPr>
          <p:cNvPr id="19" name="Group 18"/>
          <p:cNvGrpSpPr/>
          <p:nvPr/>
        </p:nvGrpSpPr>
        <p:grpSpPr>
          <a:xfrm>
            <a:off x="7459858" y="3059055"/>
            <a:ext cx="416560" cy="416560"/>
            <a:chOff x="5108410" y="1700592"/>
            <a:chExt cx="416560" cy="416560"/>
          </a:xfrm>
        </p:grpSpPr>
        <p:sp>
          <p:nvSpPr>
            <p:cNvPr id="20" name="Oval 19"/>
            <p:cNvSpPr/>
            <p:nvPr/>
          </p:nvSpPr>
          <p:spPr>
            <a:xfrm>
              <a:off x="5108410" y="1700592"/>
              <a:ext cx="416560" cy="41656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1" name="Shape 3612"/>
            <p:cNvSpPr/>
            <p:nvPr/>
          </p:nvSpPr>
          <p:spPr>
            <a:xfrm>
              <a:off x="5213922" y="1846848"/>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grpSp>
      <p:sp>
        <p:nvSpPr>
          <p:cNvPr id="22" name="TextBox 21"/>
          <p:cNvSpPr txBox="1"/>
          <p:nvPr/>
        </p:nvSpPr>
        <p:spPr>
          <a:xfrm>
            <a:off x="913016" y="1836159"/>
            <a:ext cx="5033140" cy="318549"/>
          </a:xfrm>
          <a:prstGeom prst="rect">
            <a:avLst/>
          </a:prstGeom>
          <a:noFill/>
        </p:spPr>
        <p:txBody>
          <a:bodyPr wrap="square" lIns="0" rIns="0" rtlCol="0">
            <a:spAutoFit/>
          </a:bodyPr>
          <a:lstStyle/>
          <a:p>
            <a:pPr>
              <a:lnSpc>
                <a:spcPct val="130000"/>
              </a:lnSpc>
            </a:pPr>
            <a:r>
              <a:rPr lang="en-US" sz="1200" dirty="0">
                <a:solidFill>
                  <a:schemeClr val="tx1">
                    <a:alpha val="70000"/>
                  </a:schemeClr>
                </a:solidFill>
                <a:latin typeface="RBC Text" panose="02000000000000000000" pitchFamily="2" charset="77"/>
              </a:rPr>
              <a:t>Minimum purchase is 50 Coins tokens. Get a bonus from 5% to 25%</a:t>
            </a:r>
          </a:p>
        </p:txBody>
      </p:sp>
    </p:spTree>
    <p:extLst>
      <p:ext uri="{BB962C8B-B14F-4D97-AF65-F5344CB8AC3E}">
        <p14:creationId xmlns:p14="http://schemas.microsoft.com/office/powerpoint/2010/main" val="8652452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p:cNvCxnSpPr/>
          <p:nvPr/>
        </p:nvCxnSpPr>
        <p:spPr>
          <a:xfrm>
            <a:off x="6096000" y="4171918"/>
            <a:ext cx="0" cy="1363030"/>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778001" y="3932864"/>
            <a:ext cx="1496564" cy="369332"/>
          </a:xfrm>
          <a:prstGeom prst="rect">
            <a:avLst/>
          </a:prstGeom>
          <a:noFill/>
        </p:spPr>
        <p:txBody>
          <a:bodyPr wrap="none" lIns="0" rIns="0" rtlCol="0">
            <a:spAutoFit/>
          </a:bodyPr>
          <a:lstStyle/>
          <a:p>
            <a:r>
              <a:rPr lang="en-US" b="1" dirty="0">
                <a:latin typeface="RBC Display" panose="02000000000000000000" pitchFamily="2" charset="77"/>
                <a:ea typeface="Open Sans" charset="0"/>
                <a:cs typeface="Open Sans" charset="0"/>
              </a:rPr>
              <a:t>Digital Assets</a:t>
            </a:r>
          </a:p>
        </p:txBody>
      </p:sp>
      <p:sp>
        <p:nvSpPr>
          <p:cNvPr id="23" name="Freeform 1098">
            <a:extLst>
              <a:ext uri="{FF2B5EF4-FFF2-40B4-BE49-F238E27FC236}">
                <a16:creationId xmlns:a16="http://schemas.microsoft.com/office/drawing/2014/main" id="{86EE3BE9-8060-4E5B-9D73-6C0637F7E30F}"/>
              </a:ext>
            </a:extLst>
          </p:cNvPr>
          <p:cNvSpPr>
            <a:spLocks noEditPoints="1"/>
          </p:cNvSpPr>
          <p:nvPr/>
        </p:nvSpPr>
        <p:spPr bwMode="auto">
          <a:xfrm>
            <a:off x="863601" y="3986793"/>
            <a:ext cx="602457" cy="607695"/>
          </a:xfrm>
          <a:custGeom>
            <a:avLst/>
            <a:gdLst>
              <a:gd name="T0" fmla="*/ 48 w 160"/>
              <a:gd name="T1" fmla="*/ 78 h 160"/>
              <a:gd name="T2" fmla="*/ 38 w 160"/>
              <a:gd name="T3" fmla="*/ 74 h 160"/>
              <a:gd name="T4" fmla="*/ 156 w 160"/>
              <a:gd name="T5" fmla="*/ 77 h 160"/>
              <a:gd name="T6" fmla="*/ 150 w 160"/>
              <a:gd name="T7" fmla="*/ 73 h 160"/>
              <a:gd name="T8" fmla="*/ 141 w 160"/>
              <a:gd name="T9" fmla="*/ 72 h 160"/>
              <a:gd name="T10" fmla="*/ 50 w 160"/>
              <a:gd name="T11" fmla="*/ 33 h 160"/>
              <a:gd name="T12" fmla="*/ 16 w 160"/>
              <a:gd name="T13" fmla="*/ 40 h 160"/>
              <a:gd name="T14" fmla="*/ 16 w 160"/>
              <a:gd name="T15" fmla="*/ 80 h 160"/>
              <a:gd name="T16" fmla="*/ 13 w 160"/>
              <a:gd name="T17" fmla="*/ 122 h 160"/>
              <a:gd name="T18" fmla="*/ 21 w 160"/>
              <a:gd name="T19" fmla="*/ 155 h 160"/>
              <a:gd name="T20" fmla="*/ 54 w 160"/>
              <a:gd name="T21" fmla="*/ 154 h 160"/>
              <a:gd name="T22" fmla="*/ 112 w 160"/>
              <a:gd name="T23" fmla="*/ 160 h 160"/>
              <a:gd name="T24" fmla="*/ 135 w 160"/>
              <a:gd name="T25" fmla="*/ 136 h 160"/>
              <a:gd name="T26" fmla="*/ 143 w 160"/>
              <a:gd name="T27" fmla="*/ 90 h 160"/>
              <a:gd name="T28" fmla="*/ 136 w 160"/>
              <a:gd name="T29" fmla="*/ 83 h 160"/>
              <a:gd name="T30" fmla="*/ 138 w 160"/>
              <a:gd name="T31" fmla="*/ 79 h 160"/>
              <a:gd name="T32" fmla="*/ 139 w 160"/>
              <a:gd name="T33" fmla="*/ 78 h 160"/>
              <a:gd name="T34" fmla="*/ 149 w 160"/>
              <a:gd name="T35" fmla="*/ 84 h 160"/>
              <a:gd name="T36" fmla="*/ 110 w 160"/>
              <a:gd name="T37" fmla="*/ 43 h 160"/>
              <a:gd name="T38" fmla="*/ 101 w 160"/>
              <a:gd name="T39" fmla="*/ 51 h 160"/>
              <a:gd name="T40" fmla="*/ 90 w 160"/>
              <a:gd name="T41" fmla="*/ 49 h 160"/>
              <a:gd name="T42" fmla="*/ 81 w 160"/>
              <a:gd name="T43" fmla="*/ 49 h 160"/>
              <a:gd name="T44" fmla="*/ 70 w 160"/>
              <a:gd name="T45" fmla="*/ 52 h 160"/>
              <a:gd name="T46" fmla="*/ 63 w 160"/>
              <a:gd name="T47" fmla="*/ 52 h 160"/>
              <a:gd name="T48" fmla="*/ 57 w 160"/>
              <a:gd name="T49" fmla="*/ 42 h 160"/>
              <a:gd name="T50" fmla="*/ 48 w 160"/>
              <a:gd name="T51" fmla="*/ 155 h 160"/>
              <a:gd name="T52" fmla="*/ 27 w 160"/>
              <a:gd name="T53" fmla="*/ 140 h 160"/>
              <a:gd name="T54" fmla="*/ 128 w 160"/>
              <a:gd name="T55" fmla="*/ 155 h 160"/>
              <a:gd name="T56" fmla="*/ 131 w 160"/>
              <a:gd name="T57" fmla="*/ 140 h 160"/>
              <a:gd name="T58" fmla="*/ 128 w 160"/>
              <a:gd name="T59" fmla="*/ 136 h 160"/>
              <a:gd name="T60" fmla="*/ 120 w 160"/>
              <a:gd name="T61" fmla="*/ 142 h 160"/>
              <a:gd name="T62" fmla="*/ 110 w 160"/>
              <a:gd name="T63" fmla="*/ 147 h 160"/>
              <a:gd name="T64" fmla="*/ 82 w 160"/>
              <a:gd name="T65" fmla="*/ 153 h 160"/>
              <a:gd name="T66" fmla="*/ 19 w 160"/>
              <a:gd name="T67" fmla="*/ 117 h 160"/>
              <a:gd name="T68" fmla="*/ 13 w 160"/>
              <a:gd name="T69" fmla="*/ 85 h 160"/>
              <a:gd name="T70" fmla="*/ 32 w 160"/>
              <a:gd name="T71" fmla="*/ 59 h 160"/>
              <a:gd name="T72" fmla="*/ 44 w 160"/>
              <a:gd name="T73" fmla="*/ 48 h 160"/>
              <a:gd name="T74" fmla="*/ 55 w 160"/>
              <a:gd name="T75" fmla="*/ 50 h 160"/>
              <a:gd name="T76" fmla="*/ 60 w 160"/>
              <a:gd name="T77" fmla="*/ 56 h 160"/>
              <a:gd name="T78" fmla="*/ 57 w 160"/>
              <a:gd name="T79" fmla="*/ 65 h 160"/>
              <a:gd name="T80" fmla="*/ 69 w 160"/>
              <a:gd name="T81" fmla="*/ 58 h 160"/>
              <a:gd name="T82" fmla="*/ 76 w 160"/>
              <a:gd name="T83" fmla="*/ 56 h 160"/>
              <a:gd name="T84" fmla="*/ 100 w 160"/>
              <a:gd name="T85" fmla="*/ 57 h 160"/>
              <a:gd name="T86" fmla="*/ 116 w 160"/>
              <a:gd name="T87" fmla="*/ 65 h 160"/>
              <a:gd name="T88" fmla="*/ 111 w 160"/>
              <a:gd name="T89" fmla="*/ 53 h 160"/>
              <a:gd name="T90" fmla="*/ 113 w 160"/>
              <a:gd name="T91" fmla="*/ 49 h 160"/>
              <a:gd name="T92" fmla="*/ 132 w 160"/>
              <a:gd name="T93" fmla="*/ 79 h 160"/>
              <a:gd name="T94" fmla="*/ 130 w 160"/>
              <a:gd name="T95" fmla="*/ 84 h 160"/>
              <a:gd name="T96" fmla="*/ 132 w 160"/>
              <a:gd name="T97" fmla="*/ 89 h 160"/>
              <a:gd name="T98" fmla="*/ 134 w 160"/>
              <a:gd name="T99" fmla="*/ 93 h 160"/>
              <a:gd name="T100" fmla="*/ 138 w 160"/>
              <a:gd name="T101" fmla="*/ 95 h 160"/>
              <a:gd name="T102" fmla="*/ 141 w 160"/>
              <a:gd name="T103" fmla="*/ 104 h 160"/>
              <a:gd name="T104" fmla="*/ 154 w 160"/>
              <a:gd name="T105" fmla="*/ 86 h 160"/>
              <a:gd name="T106" fmla="*/ 72 w 160"/>
              <a:gd name="T107" fmla="*/ 50 h 160"/>
              <a:gd name="T108" fmla="*/ 84 w 160"/>
              <a:gd name="T109" fmla="*/ 15 h 160"/>
              <a:gd name="T110" fmla="*/ 99 w 160"/>
              <a:gd name="T111" fmla="*/ 49 h 160"/>
              <a:gd name="T112" fmla="*/ 70 w 160"/>
              <a:gd name="T113" fmla="*/ 50 h 160"/>
              <a:gd name="T114" fmla="*/ 50 w 160"/>
              <a:gd name="T115" fmla="*/ 141 h 160"/>
              <a:gd name="T116" fmla="*/ 85 w 160"/>
              <a:gd name="T117" fmla="*/ 14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60">
                <a:moveTo>
                  <a:pt x="38" y="69"/>
                </a:moveTo>
                <a:cubicBezTo>
                  <a:pt x="33" y="69"/>
                  <a:pt x="29" y="73"/>
                  <a:pt x="29" y="78"/>
                </a:cubicBezTo>
                <a:cubicBezTo>
                  <a:pt x="29" y="84"/>
                  <a:pt x="33" y="88"/>
                  <a:pt x="38" y="88"/>
                </a:cubicBezTo>
                <a:cubicBezTo>
                  <a:pt x="44" y="88"/>
                  <a:pt x="48" y="84"/>
                  <a:pt x="48" y="78"/>
                </a:cubicBezTo>
                <a:cubicBezTo>
                  <a:pt x="48" y="73"/>
                  <a:pt x="44" y="69"/>
                  <a:pt x="38" y="69"/>
                </a:cubicBezTo>
                <a:close/>
                <a:moveTo>
                  <a:pt x="38" y="82"/>
                </a:moveTo>
                <a:cubicBezTo>
                  <a:pt x="36" y="82"/>
                  <a:pt x="34" y="81"/>
                  <a:pt x="34" y="78"/>
                </a:cubicBezTo>
                <a:cubicBezTo>
                  <a:pt x="34" y="76"/>
                  <a:pt x="36" y="74"/>
                  <a:pt x="38" y="74"/>
                </a:cubicBezTo>
                <a:cubicBezTo>
                  <a:pt x="41" y="74"/>
                  <a:pt x="42" y="76"/>
                  <a:pt x="42" y="78"/>
                </a:cubicBezTo>
                <a:cubicBezTo>
                  <a:pt x="42" y="81"/>
                  <a:pt x="41" y="82"/>
                  <a:pt x="38" y="82"/>
                </a:cubicBezTo>
                <a:close/>
                <a:moveTo>
                  <a:pt x="160" y="88"/>
                </a:moveTo>
                <a:cubicBezTo>
                  <a:pt x="160" y="84"/>
                  <a:pt x="158" y="80"/>
                  <a:pt x="156" y="77"/>
                </a:cubicBezTo>
                <a:cubicBezTo>
                  <a:pt x="156" y="74"/>
                  <a:pt x="155" y="71"/>
                  <a:pt x="154" y="68"/>
                </a:cubicBezTo>
                <a:cubicBezTo>
                  <a:pt x="154" y="67"/>
                  <a:pt x="152" y="66"/>
                  <a:pt x="151" y="67"/>
                </a:cubicBezTo>
                <a:cubicBezTo>
                  <a:pt x="149" y="67"/>
                  <a:pt x="149" y="69"/>
                  <a:pt x="149" y="70"/>
                </a:cubicBezTo>
                <a:cubicBezTo>
                  <a:pt x="150" y="71"/>
                  <a:pt x="150" y="72"/>
                  <a:pt x="150" y="73"/>
                </a:cubicBezTo>
                <a:cubicBezTo>
                  <a:pt x="148" y="72"/>
                  <a:pt x="146" y="72"/>
                  <a:pt x="144" y="72"/>
                </a:cubicBezTo>
                <a:cubicBezTo>
                  <a:pt x="144" y="72"/>
                  <a:pt x="144" y="72"/>
                  <a:pt x="143" y="72"/>
                </a:cubicBezTo>
                <a:cubicBezTo>
                  <a:pt x="143" y="72"/>
                  <a:pt x="143" y="72"/>
                  <a:pt x="142" y="72"/>
                </a:cubicBezTo>
                <a:cubicBezTo>
                  <a:pt x="142" y="72"/>
                  <a:pt x="141" y="72"/>
                  <a:pt x="141" y="72"/>
                </a:cubicBezTo>
                <a:cubicBezTo>
                  <a:pt x="136" y="60"/>
                  <a:pt x="127" y="50"/>
                  <a:pt x="115" y="44"/>
                </a:cubicBezTo>
                <a:cubicBezTo>
                  <a:pt x="117" y="40"/>
                  <a:pt x="117" y="37"/>
                  <a:pt x="117" y="33"/>
                </a:cubicBezTo>
                <a:cubicBezTo>
                  <a:pt x="117" y="15"/>
                  <a:pt x="102" y="0"/>
                  <a:pt x="84" y="0"/>
                </a:cubicBezTo>
                <a:cubicBezTo>
                  <a:pt x="65" y="0"/>
                  <a:pt x="50" y="15"/>
                  <a:pt x="50" y="33"/>
                </a:cubicBezTo>
                <a:cubicBezTo>
                  <a:pt x="50" y="36"/>
                  <a:pt x="51" y="38"/>
                  <a:pt x="51" y="41"/>
                </a:cubicBezTo>
                <a:cubicBezTo>
                  <a:pt x="49" y="41"/>
                  <a:pt x="47" y="42"/>
                  <a:pt x="45" y="43"/>
                </a:cubicBezTo>
                <a:cubicBezTo>
                  <a:pt x="33" y="38"/>
                  <a:pt x="26" y="37"/>
                  <a:pt x="19" y="37"/>
                </a:cubicBezTo>
                <a:cubicBezTo>
                  <a:pt x="17" y="38"/>
                  <a:pt x="16" y="39"/>
                  <a:pt x="16" y="40"/>
                </a:cubicBezTo>
                <a:cubicBezTo>
                  <a:pt x="16" y="42"/>
                  <a:pt x="16" y="44"/>
                  <a:pt x="18" y="44"/>
                </a:cubicBezTo>
                <a:cubicBezTo>
                  <a:pt x="21" y="46"/>
                  <a:pt x="23" y="50"/>
                  <a:pt x="25" y="55"/>
                </a:cubicBezTo>
                <a:cubicBezTo>
                  <a:pt x="25" y="56"/>
                  <a:pt x="25" y="57"/>
                  <a:pt x="26" y="58"/>
                </a:cubicBezTo>
                <a:cubicBezTo>
                  <a:pt x="19" y="65"/>
                  <a:pt x="18" y="71"/>
                  <a:pt x="16" y="80"/>
                </a:cubicBezTo>
                <a:cubicBezTo>
                  <a:pt x="13" y="80"/>
                  <a:pt x="13" y="80"/>
                  <a:pt x="13" y="80"/>
                </a:cubicBezTo>
                <a:cubicBezTo>
                  <a:pt x="5" y="80"/>
                  <a:pt x="0" y="86"/>
                  <a:pt x="0" y="96"/>
                </a:cubicBezTo>
                <a:cubicBezTo>
                  <a:pt x="0" y="106"/>
                  <a:pt x="0" y="106"/>
                  <a:pt x="0" y="106"/>
                </a:cubicBezTo>
                <a:cubicBezTo>
                  <a:pt x="0" y="116"/>
                  <a:pt x="5" y="122"/>
                  <a:pt x="13" y="122"/>
                </a:cubicBezTo>
                <a:cubicBezTo>
                  <a:pt x="15" y="122"/>
                  <a:pt x="15" y="122"/>
                  <a:pt x="15" y="122"/>
                </a:cubicBezTo>
                <a:cubicBezTo>
                  <a:pt x="17" y="127"/>
                  <a:pt x="20" y="132"/>
                  <a:pt x="23" y="136"/>
                </a:cubicBezTo>
                <a:cubicBezTo>
                  <a:pt x="20" y="145"/>
                  <a:pt x="20" y="145"/>
                  <a:pt x="20" y="145"/>
                </a:cubicBezTo>
                <a:cubicBezTo>
                  <a:pt x="18" y="148"/>
                  <a:pt x="19" y="152"/>
                  <a:pt x="21" y="155"/>
                </a:cubicBezTo>
                <a:cubicBezTo>
                  <a:pt x="23" y="158"/>
                  <a:pt x="26" y="160"/>
                  <a:pt x="30" y="160"/>
                </a:cubicBezTo>
                <a:cubicBezTo>
                  <a:pt x="48" y="160"/>
                  <a:pt x="48" y="160"/>
                  <a:pt x="48" y="160"/>
                </a:cubicBezTo>
                <a:cubicBezTo>
                  <a:pt x="50" y="160"/>
                  <a:pt x="52" y="159"/>
                  <a:pt x="53" y="157"/>
                </a:cubicBezTo>
                <a:cubicBezTo>
                  <a:pt x="54" y="154"/>
                  <a:pt x="54" y="154"/>
                  <a:pt x="54" y="154"/>
                </a:cubicBezTo>
                <a:cubicBezTo>
                  <a:pt x="62" y="157"/>
                  <a:pt x="72" y="158"/>
                  <a:pt x="82" y="158"/>
                </a:cubicBezTo>
                <a:cubicBezTo>
                  <a:pt x="90" y="158"/>
                  <a:pt x="98" y="157"/>
                  <a:pt x="105" y="155"/>
                </a:cubicBezTo>
                <a:cubicBezTo>
                  <a:pt x="105" y="155"/>
                  <a:pt x="105" y="155"/>
                  <a:pt x="105" y="155"/>
                </a:cubicBezTo>
                <a:cubicBezTo>
                  <a:pt x="106" y="158"/>
                  <a:pt x="108" y="160"/>
                  <a:pt x="112" y="160"/>
                </a:cubicBezTo>
                <a:cubicBezTo>
                  <a:pt x="128" y="160"/>
                  <a:pt x="128" y="160"/>
                  <a:pt x="128" y="160"/>
                </a:cubicBezTo>
                <a:cubicBezTo>
                  <a:pt x="131" y="160"/>
                  <a:pt x="135" y="158"/>
                  <a:pt x="137" y="155"/>
                </a:cubicBezTo>
                <a:cubicBezTo>
                  <a:pt x="139" y="152"/>
                  <a:pt x="140" y="148"/>
                  <a:pt x="139" y="145"/>
                </a:cubicBezTo>
                <a:cubicBezTo>
                  <a:pt x="135" y="136"/>
                  <a:pt x="135" y="136"/>
                  <a:pt x="135" y="136"/>
                </a:cubicBezTo>
                <a:cubicBezTo>
                  <a:pt x="143" y="127"/>
                  <a:pt x="146" y="116"/>
                  <a:pt x="146" y="104"/>
                </a:cubicBezTo>
                <a:cubicBezTo>
                  <a:pt x="146" y="104"/>
                  <a:pt x="146" y="104"/>
                  <a:pt x="146" y="104"/>
                </a:cubicBezTo>
                <a:cubicBezTo>
                  <a:pt x="154" y="102"/>
                  <a:pt x="160" y="96"/>
                  <a:pt x="160" y="88"/>
                </a:cubicBezTo>
                <a:close/>
                <a:moveTo>
                  <a:pt x="143" y="90"/>
                </a:moveTo>
                <a:cubicBezTo>
                  <a:pt x="143" y="90"/>
                  <a:pt x="143" y="90"/>
                  <a:pt x="143" y="90"/>
                </a:cubicBezTo>
                <a:cubicBezTo>
                  <a:pt x="143" y="90"/>
                  <a:pt x="143" y="90"/>
                  <a:pt x="142" y="90"/>
                </a:cubicBezTo>
                <a:cubicBezTo>
                  <a:pt x="139" y="90"/>
                  <a:pt x="136" y="87"/>
                  <a:pt x="136" y="84"/>
                </a:cubicBezTo>
                <a:cubicBezTo>
                  <a:pt x="136" y="83"/>
                  <a:pt x="136" y="83"/>
                  <a:pt x="136" y="83"/>
                </a:cubicBezTo>
                <a:cubicBezTo>
                  <a:pt x="136" y="82"/>
                  <a:pt x="136" y="82"/>
                  <a:pt x="136" y="82"/>
                </a:cubicBezTo>
                <a:cubicBezTo>
                  <a:pt x="136" y="82"/>
                  <a:pt x="136" y="82"/>
                  <a:pt x="136" y="81"/>
                </a:cubicBezTo>
                <a:cubicBezTo>
                  <a:pt x="136" y="81"/>
                  <a:pt x="136" y="81"/>
                  <a:pt x="136" y="81"/>
                </a:cubicBezTo>
                <a:cubicBezTo>
                  <a:pt x="137" y="80"/>
                  <a:pt x="137" y="80"/>
                  <a:pt x="138" y="79"/>
                </a:cubicBezTo>
                <a:cubicBezTo>
                  <a:pt x="138" y="79"/>
                  <a:pt x="138" y="79"/>
                  <a:pt x="138" y="79"/>
                </a:cubicBezTo>
                <a:cubicBezTo>
                  <a:pt x="138" y="79"/>
                  <a:pt x="138" y="79"/>
                  <a:pt x="139" y="78"/>
                </a:cubicBezTo>
                <a:cubicBezTo>
                  <a:pt x="139" y="78"/>
                  <a:pt x="139" y="78"/>
                  <a:pt x="139" y="78"/>
                </a:cubicBezTo>
                <a:cubicBezTo>
                  <a:pt x="139" y="78"/>
                  <a:pt x="139" y="78"/>
                  <a:pt x="139" y="78"/>
                </a:cubicBezTo>
                <a:cubicBezTo>
                  <a:pt x="140" y="78"/>
                  <a:pt x="140" y="78"/>
                  <a:pt x="140" y="78"/>
                </a:cubicBezTo>
                <a:cubicBezTo>
                  <a:pt x="140" y="78"/>
                  <a:pt x="140" y="78"/>
                  <a:pt x="140" y="78"/>
                </a:cubicBezTo>
                <a:cubicBezTo>
                  <a:pt x="141" y="77"/>
                  <a:pt x="142" y="77"/>
                  <a:pt x="142" y="77"/>
                </a:cubicBezTo>
                <a:cubicBezTo>
                  <a:pt x="146" y="77"/>
                  <a:pt x="149" y="80"/>
                  <a:pt x="149" y="84"/>
                </a:cubicBezTo>
                <a:cubicBezTo>
                  <a:pt x="149" y="87"/>
                  <a:pt x="147" y="90"/>
                  <a:pt x="143" y="90"/>
                </a:cubicBezTo>
                <a:close/>
                <a:moveTo>
                  <a:pt x="84" y="5"/>
                </a:moveTo>
                <a:cubicBezTo>
                  <a:pt x="99" y="5"/>
                  <a:pt x="112" y="18"/>
                  <a:pt x="112" y="33"/>
                </a:cubicBezTo>
                <a:cubicBezTo>
                  <a:pt x="112" y="37"/>
                  <a:pt x="111" y="40"/>
                  <a:pt x="110" y="43"/>
                </a:cubicBezTo>
                <a:cubicBezTo>
                  <a:pt x="110" y="44"/>
                  <a:pt x="110" y="44"/>
                  <a:pt x="110" y="44"/>
                </a:cubicBezTo>
                <a:cubicBezTo>
                  <a:pt x="108" y="47"/>
                  <a:pt x="106" y="50"/>
                  <a:pt x="104" y="53"/>
                </a:cubicBezTo>
                <a:cubicBezTo>
                  <a:pt x="104" y="52"/>
                  <a:pt x="103" y="52"/>
                  <a:pt x="103" y="52"/>
                </a:cubicBezTo>
                <a:cubicBezTo>
                  <a:pt x="102" y="52"/>
                  <a:pt x="101" y="52"/>
                  <a:pt x="101" y="51"/>
                </a:cubicBezTo>
                <a:cubicBezTo>
                  <a:pt x="100" y="51"/>
                  <a:pt x="99" y="51"/>
                  <a:pt x="99" y="51"/>
                </a:cubicBezTo>
                <a:cubicBezTo>
                  <a:pt x="98" y="50"/>
                  <a:pt x="97" y="50"/>
                  <a:pt x="96" y="50"/>
                </a:cubicBezTo>
                <a:cubicBezTo>
                  <a:pt x="95" y="50"/>
                  <a:pt x="94" y="49"/>
                  <a:pt x="92" y="49"/>
                </a:cubicBezTo>
                <a:cubicBezTo>
                  <a:pt x="91" y="49"/>
                  <a:pt x="91" y="49"/>
                  <a:pt x="90" y="49"/>
                </a:cubicBezTo>
                <a:cubicBezTo>
                  <a:pt x="89" y="49"/>
                  <a:pt x="88" y="49"/>
                  <a:pt x="88" y="49"/>
                </a:cubicBezTo>
                <a:cubicBezTo>
                  <a:pt x="87" y="49"/>
                  <a:pt x="86" y="49"/>
                  <a:pt x="86" y="49"/>
                </a:cubicBezTo>
                <a:cubicBezTo>
                  <a:pt x="85" y="49"/>
                  <a:pt x="84" y="49"/>
                  <a:pt x="83" y="49"/>
                </a:cubicBezTo>
                <a:cubicBezTo>
                  <a:pt x="82" y="49"/>
                  <a:pt x="82" y="49"/>
                  <a:pt x="81" y="49"/>
                </a:cubicBezTo>
                <a:cubicBezTo>
                  <a:pt x="80" y="49"/>
                  <a:pt x="80" y="49"/>
                  <a:pt x="79" y="49"/>
                </a:cubicBezTo>
                <a:cubicBezTo>
                  <a:pt x="78" y="50"/>
                  <a:pt x="77" y="50"/>
                  <a:pt x="76" y="50"/>
                </a:cubicBezTo>
                <a:cubicBezTo>
                  <a:pt x="75" y="50"/>
                  <a:pt x="75" y="50"/>
                  <a:pt x="74" y="50"/>
                </a:cubicBezTo>
                <a:cubicBezTo>
                  <a:pt x="73" y="51"/>
                  <a:pt x="72" y="51"/>
                  <a:pt x="70" y="52"/>
                </a:cubicBezTo>
                <a:cubicBezTo>
                  <a:pt x="70" y="52"/>
                  <a:pt x="69" y="52"/>
                  <a:pt x="69" y="52"/>
                </a:cubicBezTo>
                <a:cubicBezTo>
                  <a:pt x="68" y="53"/>
                  <a:pt x="67" y="53"/>
                  <a:pt x="66" y="54"/>
                </a:cubicBezTo>
                <a:cubicBezTo>
                  <a:pt x="66" y="54"/>
                  <a:pt x="65" y="54"/>
                  <a:pt x="65" y="54"/>
                </a:cubicBezTo>
                <a:cubicBezTo>
                  <a:pt x="64" y="54"/>
                  <a:pt x="64" y="53"/>
                  <a:pt x="63" y="52"/>
                </a:cubicBezTo>
                <a:cubicBezTo>
                  <a:pt x="63" y="52"/>
                  <a:pt x="63" y="52"/>
                  <a:pt x="62" y="51"/>
                </a:cubicBezTo>
                <a:cubicBezTo>
                  <a:pt x="62" y="51"/>
                  <a:pt x="61" y="50"/>
                  <a:pt x="61" y="49"/>
                </a:cubicBezTo>
                <a:cubicBezTo>
                  <a:pt x="60" y="49"/>
                  <a:pt x="60" y="49"/>
                  <a:pt x="60" y="49"/>
                </a:cubicBezTo>
                <a:cubicBezTo>
                  <a:pt x="59" y="47"/>
                  <a:pt x="58" y="44"/>
                  <a:pt x="57" y="42"/>
                </a:cubicBezTo>
                <a:cubicBezTo>
                  <a:pt x="57" y="41"/>
                  <a:pt x="57" y="41"/>
                  <a:pt x="57" y="41"/>
                </a:cubicBezTo>
                <a:cubicBezTo>
                  <a:pt x="56" y="39"/>
                  <a:pt x="56" y="36"/>
                  <a:pt x="56" y="33"/>
                </a:cubicBezTo>
                <a:cubicBezTo>
                  <a:pt x="56" y="18"/>
                  <a:pt x="68" y="5"/>
                  <a:pt x="84" y="5"/>
                </a:cubicBezTo>
                <a:close/>
                <a:moveTo>
                  <a:pt x="48" y="155"/>
                </a:moveTo>
                <a:cubicBezTo>
                  <a:pt x="30" y="155"/>
                  <a:pt x="30" y="155"/>
                  <a:pt x="30" y="155"/>
                </a:cubicBezTo>
                <a:cubicBezTo>
                  <a:pt x="28" y="155"/>
                  <a:pt x="26" y="154"/>
                  <a:pt x="25" y="152"/>
                </a:cubicBezTo>
                <a:cubicBezTo>
                  <a:pt x="24" y="151"/>
                  <a:pt x="24" y="149"/>
                  <a:pt x="25" y="147"/>
                </a:cubicBezTo>
                <a:cubicBezTo>
                  <a:pt x="27" y="140"/>
                  <a:pt x="27" y="140"/>
                  <a:pt x="27" y="140"/>
                </a:cubicBezTo>
                <a:cubicBezTo>
                  <a:pt x="33" y="145"/>
                  <a:pt x="40" y="149"/>
                  <a:pt x="49" y="152"/>
                </a:cubicBezTo>
                <a:lnTo>
                  <a:pt x="48" y="155"/>
                </a:lnTo>
                <a:close/>
                <a:moveTo>
                  <a:pt x="133" y="152"/>
                </a:moveTo>
                <a:cubicBezTo>
                  <a:pt x="132" y="154"/>
                  <a:pt x="130" y="155"/>
                  <a:pt x="128" y="155"/>
                </a:cubicBezTo>
                <a:cubicBezTo>
                  <a:pt x="112" y="155"/>
                  <a:pt x="112" y="155"/>
                  <a:pt x="112" y="155"/>
                </a:cubicBezTo>
                <a:cubicBezTo>
                  <a:pt x="111" y="155"/>
                  <a:pt x="110" y="154"/>
                  <a:pt x="110" y="153"/>
                </a:cubicBezTo>
                <a:cubicBezTo>
                  <a:pt x="110" y="153"/>
                  <a:pt x="110" y="153"/>
                  <a:pt x="110" y="153"/>
                </a:cubicBezTo>
                <a:cubicBezTo>
                  <a:pt x="118" y="150"/>
                  <a:pt x="126" y="146"/>
                  <a:pt x="131" y="140"/>
                </a:cubicBezTo>
                <a:cubicBezTo>
                  <a:pt x="134" y="146"/>
                  <a:pt x="134" y="146"/>
                  <a:pt x="134" y="146"/>
                </a:cubicBezTo>
                <a:cubicBezTo>
                  <a:pt x="134" y="148"/>
                  <a:pt x="134" y="150"/>
                  <a:pt x="133" y="152"/>
                </a:cubicBezTo>
                <a:close/>
                <a:moveTo>
                  <a:pt x="128" y="135"/>
                </a:moveTo>
                <a:cubicBezTo>
                  <a:pt x="128" y="136"/>
                  <a:pt x="128" y="136"/>
                  <a:pt x="128" y="136"/>
                </a:cubicBezTo>
                <a:cubicBezTo>
                  <a:pt x="127" y="137"/>
                  <a:pt x="126" y="138"/>
                  <a:pt x="125" y="139"/>
                </a:cubicBezTo>
                <a:cubicBezTo>
                  <a:pt x="125" y="139"/>
                  <a:pt x="124" y="139"/>
                  <a:pt x="124" y="139"/>
                </a:cubicBezTo>
                <a:cubicBezTo>
                  <a:pt x="123" y="140"/>
                  <a:pt x="122" y="141"/>
                  <a:pt x="121" y="141"/>
                </a:cubicBezTo>
                <a:cubicBezTo>
                  <a:pt x="121" y="142"/>
                  <a:pt x="120" y="142"/>
                  <a:pt x="120" y="142"/>
                </a:cubicBezTo>
                <a:cubicBezTo>
                  <a:pt x="119" y="143"/>
                  <a:pt x="118" y="144"/>
                  <a:pt x="116" y="145"/>
                </a:cubicBezTo>
                <a:cubicBezTo>
                  <a:pt x="116" y="145"/>
                  <a:pt x="115" y="145"/>
                  <a:pt x="115" y="145"/>
                </a:cubicBezTo>
                <a:cubicBezTo>
                  <a:pt x="114" y="146"/>
                  <a:pt x="113" y="146"/>
                  <a:pt x="112" y="147"/>
                </a:cubicBezTo>
                <a:cubicBezTo>
                  <a:pt x="111" y="147"/>
                  <a:pt x="111" y="147"/>
                  <a:pt x="110" y="147"/>
                </a:cubicBezTo>
                <a:cubicBezTo>
                  <a:pt x="109" y="148"/>
                  <a:pt x="108" y="148"/>
                  <a:pt x="107" y="149"/>
                </a:cubicBezTo>
                <a:cubicBezTo>
                  <a:pt x="106" y="149"/>
                  <a:pt x="106" y="149"/>
                  <a:pt x="106" y="149"/>
                </a:cubicBezTo>
                <a:cubicBezTo>
                  <a:pt x="106" y="149"/>
                  <a:pt x="106" y="149"/>
                  <a:pt x="106" y="149"/>
                </a:cubicBezTo>
                <a:cubicBezTo>
                  <a:pt x="98" y="151"/>
                  <a:pt x="90" y="153"/>
                  <a:pt x="82" y="153"/>
                </a:cubicBezTo>
                <a:cubicBezTo>
                  <a:pt x="71" y="153"/>
                  <a:pt x="61" y="151"/>
                  <a:pt x="52" y="148"/>
                </a:cubicBezTo>
                <a:cubicBezTo>
                  <a:pt x="51" y="147"/>
                  <a:pt x="50" y="147"/>
                  <a:pt x="50" y="147"/>
                </a:cubicBezTo>
                <a:cubicBezTo>
                  <a:pt x="35" y="141"/>
                  <a:pt x="23" y="131"/>
                  <a:pt x="19" y="119"/>
                </a:cubicBezTo>
                <a:cubicBezTo>
                  <a:pt x="19" y="117"/>
                  <a:pt x="19" y="117"/>
                  <a:pt x="19" y="117"/>
                </a:cubicBezTo>
                <a:cubicBezTo>
                  <a:pt x="13" y="117"/>
                  <a:pt x="13" y="117"/>
                  <a:pt x="13" y="117"/>
                </a:cubicBezTo>
                <a:cubicBezTo>
                  <a:pt x="7" y="117"/>
                  <a:pt x="5" y="111"/>
                  <a:pt x="5" y="106"/>
                </a:cubicBezTo>
                <a:cubicBezTo>
                  <a:pt x="5" y="96"/>
                  <a:pt x="5" y="96"/>
                  <a:pt x="5" y="96"/>
                </a:cubicBezTo>
                <a:cubicBezTo>
                  <a:pt x="5" y="85"/>
                  <a:pt x="11" y="85"/>
                  <a:pt x="13" y="85"/>
                </a:cubicBezTo>
                <a:cubicBezTo>
                  <a:pt x="21" y="85"/>
                  <a:pt x="21" y="85"/>
                  <a:pt x="21" y="85"/>
                </a:cubicBezTo>
                <a:cubicBezTo>
                  <a:pt x="21" y="83"/>
                  <a:pt x="21" y="83"/>
                  <a:pt x="21" y="83"/>
                </a:cubicBezTo>
                <a:cubicBezTo>
                  <a:pt x="23" y="73"/>
                  <a:pt x="24" y="68"/>
                  <a:pt x="31" y="61"/>
                </a:cubicBezTo>
                <a:cubicBezTo>
                  <a:pt x="32" y="59"/>
                  <a:pt x="32" y="59"/>
                  <a:pt x="32" y="59"/>
                </a:cubicBezTo>
                <a:cubicBezTo>
                  <a:pt x="32" y="58"/>
                  <a:pt x="32" y="58"/>
                  <a:pt x="32" y="58"/>
                </a:cubicBezTo>
                <a:cubicBezTo>
                  <a:pt x="31" y="56"/>
                  <a:pt x="30" y="55"/>
                  <a:pt x="30" y="53"/>
                </a:cubicBezTo>
                <a:cubicBezTo>
                  <a:pt x="28" y="49"/>
                  <a:pt x="27" y="45"/>
                  <a:pt x="24" y="43"/>
                </a:cubicBezTo>
                <a:cubicBezTo>
                  <a:pt x="29" y="43"/>
                  <a:pt x="36" y="45"/>
                  <a:pt x="44" y="48"/>
                </a:cubicBezTo>
                <a:cubicBezTo>
                  <a:pt x="45" y="49"/>
                  <a:pt x="45" y="49"/>
                  <a:pt x="45" y="49"/>
                </a:cubicBezTo>
                <a:cubicBezTo>
                  <a:pt x="46" y="48"/>
                  <a:pt x="46" y="48"/>
                  <a:pt x="46" y="48"/>
                </a:cubicBezTo>
                <a:cubicBezTo>
                  <a:pt x="48" y="48"/>
                  <a:pt x="50" y="47"/>
                  <a:pt x="53" y="46"/>
                </a:cubicBezTo>
                <a:cubicBezTo>
                  <a:pt x="53" y="47"/>
                  <a:pt x="54" y="48"/>
                  <a:pt x="55" y="50"/>
                </a:cubicBezTo>
                <a:cubicBezTo>
                  <a:pt x="55" y="50"/>
                  <a:pt x="55" y="50"/>
                  <a:pt x="55" y="50"/>
                </a:cubicBezTo>
                <a:cubicBezTo>
                  <a:pt x="56" y="51"/>
                  <a:pt x="56" y="52"/>
                  <a:pt x="57" y="53"/>
                </a:cubicBezTo>
                <a:cubicBezTo>
                  <a:pt x="57" y="53"/>
                  <a:pt x="57" y="53"/>
                  <a:pt x="57" y="54"/>
                </a:cubicBezTo>
                <a:cubicBezTo>
                  <a:pt x="58" y="55"/>
                  <a:pt x="59" y="55"/>
                  <a:pt x="60" y="56"/>
                </a:cubicBezTo>
                <a:cubicBezTo>
                  <a:pt x="60" y="56"/>
                  <a:pt x="60" y="57"/>
                  <a:pt x="60" y="57"/>
                </a:cubicBezTo>
                <a:cubicBezTo>
                  <a:pt x="60" y="57"/>
                  <a:pt x="61" y="57"/>
                  <a:pt x="61" y="57"/>
                </a:cubicBezTo>
                <a:cubicBezTo>
                  <a:pt x="59" y="58"/>
                  <a:pt x="58" y="60"/>
                  <a:pt x="57" y="61"/>
                </a:cubicBezTo>
                <a:cubicBezTo>
                  <a:pt x="56" y="62"/>
                  <a:pt x="56" y="64"/>
                  <a:pt x="57" y="65"/>
                </a:cubicBezTo>
                <a:cubicBezTo>
                  <a:pt x="58" y="66"/>
                  <a:pt x="59" y="66"/>
                  <a:pt x="60" y="65"/>
                </a:cubicBezTo>
                <a:cubicBezTo>
                  <a:pt x="62" y="63"/>
                  <a:pt x="64" y="61"/>
                  <a:pt x="66" y="60"/>
                </a:cubicBezTo>
                <a:cubicBezTo>
                  <a:pt x="66" y="60"/>
                  <a:pt x="66" y="60"/>
                  <a:pt x="66" y="60"/>
                </a:cubicBezTo>
                <a:cubicBezTo>
                  <a:pt x="67" y="59"/>
                  <a:pt x="68" y="59"/>
                  <a:pt x="69" y="58"/>
                </a:cubicBezTo>
                <a:cubicBezTo>
                  <a:pt x="69" y="58"/>
                  <a:pt x="70" y="58"/>
                  <a:pt x="70" y="58"/>
                </a:cubicBezTo>
                <a:cubicBezTo>
                  <a:pt x="71" y="58"/>
                  <a:pt x="71" y="57"/>
                  <a:pt x="72" y="57"/>
                </a:cubicBezTo>
                <a:cubicBezTo>
                  <a:pt x="72" y="57"/>
                  <a:pt x="72" y="57"/>
                  <a:pt x="73" y="57"/>
                </a:cubicBezTo>
                <a:cubicBezTo>
                  <a:pt x="74" y="56"/>
                  <a:pt x="75" y="56"/>
                  <a:pt x="76" y="56"/>
                </a:cubicBezTo>
                <a:cubicBezTo>
                  <a:pt x="76" y="56"/>
                  <a:pt x="76" y="55"/>
                  <a:pt x="76" y="55"/>
                </a:cubicBezTo>
                <a:cubicBezTo>
                  <a:pt x="77" y="55"/>
                  <a:pt x="78" y="55"/>
                  <a:pt x="79" y="55"/>
                </a:cubicBezTo>
                <a:cubicBezTo>
                  <a:pt x="79" y="55"/>
                  <a:pt x="79" y="55"/>
                  <a:pt x="79" y="55"/>
                </a:cubicBezTo>
                <a:cubicBezTo>
                  <a:pt x="86" y="53"/>
                  <a:pt x="93" y="54"/>
                  <a:pt x="100" y="57"/>
                </a:cubicBezTo>
                <a:cubicBezTo>
                  <a:pt x="100" y="57"/>
                  <a:pt x="100" y="57"/>
                  <a:pt x="100" y="57"/>
                </a:cubicBezTo>
                <a:cubicBezTo>
                  <a:pt x="105" y="59"/>
                  <a:pt x="109" y="61"/>
                  <a:pt x="112" y="65"/>
                </a:cubicBezTo>
                <a:cubicBezTo>
                  <a:pt x="113" y="65"/>
                  <a:pt x="113" y="66"/>
                  <a:pt x="114" y="66"/>
                </a:cubicBezTo>
                <a:cubicBezTo>
                  <a:pt x="115" y="66"/>
                  <a:pt x="115" y="65"/>
                  <a:pt x="116" y="65"/>
                </a:cubicBezTo>
                <a:cubicBezTo>
                  <a:pt x="117" y="64"/>
                  <a:pt x="117" y="62"/>
                  <a:pt x="116" y="61"/>
                </a:cubicBezTo>
                <a:cubicBezTo>
                  <a:pt x="114" y="59"/>
                  <a:pt x="111" y="57"/>
                  <a:pt x="109" y="55"/>
                </a:cubicBezTo>
                <a:cubicBezTo>
                  <a:pt x="109" y="55"/>
                  <a:pt x="109" y="55"/>
                  <a:pt x="109" y="54"/>
                </a:cubicBezTo>
                <a:cubicBezTo>
                  <a:pt x="110" y="54"/>
                  <a:pt x="110" y="54"/>
                  <a:pt x="111" y="53"/>
                </a:cubicBezTo>
                <a:cubicBezTo>
                  <a:pt x="111" y="53"/>
                  <a:pt x="111" y="52"/>
                  <a:pt x="111" y="52"/>
                </a:cubicBezTo>
                <a:cubicBezTo>
                  <a:pt x="112" y="51"/>
                  <a:pt x="112" y="51"/>
                  <a:pt x="112" y="51"/>
                </a:cubicBezTo>
                <a:cubicBezTo>
                  <a:pt x="113" y="50"/>
                  <a:pt x="113" y="50"/>
                  <a:pt x="113" y="49"/>
                </a:cubicBezTo>
                <a:cubicBezTo>
                  <a:pt x="113" y="49"/>
                  <a:pt x="113" y="49"/>
                  <a:pt x="113" y="49"/>
                </a:cubicBezTo>
                <a:cubicBezTo>
                  <a:pt x="124" y="55"/>
                  <a:pt x="131" y="63"/>
                  <a:pt x="136" y="74"/>
                </a:cubicBezTo>
                <a:cubicBezTo>
                  <a:pt x="135" y="74"/>
                  <a:pt x="135" y="75"/>
                  <a:pt x="134" y="75"/>
                </a:cubicBezTo>
                <a:cubicBezTo>
                  <a:pt x="134" y="75"/>
                  <a:pt x="134" y="75"/>
                  <a:pt x="134" y="75"/>
                </a:cubicBezTo>
                <a:cubicBezTo>
                  <a:pt x="133" y="76"/>
                  <a:pt x="132" y="78"/>
                  <a:pt x="132" y="79"/>
                </a:cubicBezTo>
                <a:cubicBezTo>
                  <a:pt x="131" y="79"/>
                  <a:pt x="131" y="79"/>
                  <a:pt x="131" y="79"/>
                </a:cubicBezTo>
                <a:cubicBezTo>
                  <a:pt x="131" y="80"/>
                  <a:pt x="131" y="80"/>
                  <a:pt x="131" y="81"/>
                </a:cubicBezTo>
                <a:cubicBezTo>
                  <a:pt x="131" y="81"/>
                  <a:pt x="131" y="81"/>
                  <a:pt x="131" y="82"/>
                </a:cubicBezTo>
                <a:cubicBezTo>
                  <a:pt x="131" y="82"/>
                  <a:pt x="130" y="83"/>
                  <a:pt x="130" y="84"/>
                </a:cubicBezTo>
                <a:cubicBezTo>
                  <a:pt x="130" y="85"/>
                  <a:pt x="131" y="85"/>
                  <a:pt x="131" y="86"/>
                </a:cubicBezTo>
                <a:cubicBezTo>
                  <a:pt x="131" y="86"/>
                  <a:pt x="131" y="87"/>
                  <a:pt x="131" y="87"/>
                </a:cubicBezTo>
                <a:cubicBezTo>
                  <a:pt x="131" y="87"/>
                  <a:pt x="131" y="88"/>
                  <a:pt x="131" y="88"/>
                </a:cubicBezTo>
                <a:cubicBezTo>
                  <a:pt x="131" y="89"/>
                  <a:pt x="132" y="89"/>
                  <a:pt x="132" y="89"/>
                </a:cubicBezTo>
                <a:cubicBezTo>
                  <a:pt x="132" y="89"/>
                  <a:pt x="132" y="90"/>
                  <a:pt x="132" y="90"/>
                </a:cubicBezTo>
                <a:cubicBezTo>
                  <a:pt x="133" y="90"/>
                  <a:pt x="133" y="91"/>
                  <a:pt x="133" y="91"/>
                </a:cubicBezTo>
                <a:cubicBezTo>
                  <a:pt x="133" y="91"/>
                  <a:pt x="133" y="92"/>
                  <a:pt x="134" y="92"/>
                </a:cubicBezTo>
                <a:cubicBezTo>
                  <a:pt x="134" y="92"/>
                  <a:pt x="134" y="92"/>
                  <a:pt x="134" y="93"/>
                </a:cubicBezTo>
                <a:cubicBezTo>
                  <a:pt x="135" y="93"/>
                  <a:pt x="135" y="93"/>
                  <a:pt x="135" y="93"/>
                </a:cubicBezTo>
                <a:cubicBezTo>
                  <a:pt x="136" y="94"/>
                  <a:pt x="136" y="94"/>
                  <a:pt x="136" y="94"/>
                </a:cubicBezTo>
                <a:cubicBezTo>
                  <a:pt x="137" y="94"/>
                  <a:pt x="137" y="94"/>
                  <a:pt x="137" y="95"/>
                </a:cubicBezTo>
                <a:cubicBezTo>
                  <a:pt x="138" y="95"/>
                  <a:pt x="138" y="95"/>
                  <a:pt x="138" y="95"/>
                </a:cubicBezTo>
                <a:cubicBezTo>
                  <a:pt x="139" y="95"/>
                  <a:pt x="139" y="95"/>
                  <a:pt x="139" y="95"/>
                </a:cubicBezTo>
                <a:cubicBezTo>
                  <a:pt x="140" y="95"/>
                  <a:pt x="140" y="95"/>
                  <a:pt x="140" y="96"/>
                </a:cubicBezTo>
                <a:cubicBezTo>
                  <a:pt x="141" y="96"/>
                  <a:pt x="141" y="96"/>
                  <a:pt x="141" y="96"/>
                </a:cubicBezTo>
                <a:cubicBezTo>
                  <a:pt x="141" y="98"/>
                  <a:pt x="141" y="101"/>
                  <a:pt x="141" y="104"/>
                </a:cubicBezTo>
                <a:cubicBezTo>
                  <a:pt x="141" y="116"/>
                  <a:pt x="136" y="127"/>
                  <a:pt x="128" y="135"/>
                </a:cubicBezTo>
                <a:close/>
                <a:moveTo>
                  <a:pt x="146" y="98"/>
                </a:moveTo>
                <a:cubicBezTo>
                  <a:pt x="146" y="97"/>
                  <a:pt x="146" y="96"/>
                  <a:pt x="146" y="95"/>
                </a:cubicBezTo>
                <a:cubicBezTo>
                  <a:pt x="150" y="94"/>
                  <a:pt x="154" y="90"/>
                  <a:pt x="154" y="86"/>
                </a:cubicBezTo>
                <a:cubicBezTo>
                  <a:pt x="154" y="86"/>
                  <a:pt x="154" y="87"/>
                  <a:pt x="154" y="88"/>
                </a:cubicBezTo>
                <a:cubicBezTo>
                  <a:pt x="154" y="93"/>
                  <a:pt x="151" y="97"/>
                  <a:pt x="146" y="98"/>
                </a:cubicBezTo>
                <a:close/>
                <a:moveTo>
                  <a:pt x="70" y="50"/>
                </a:moveTo>
                <a:cubicBezTo>
                  <a:pt x="71" y="50"/>
                  <a:pt x="71" y="50"/>
                  <a:pt x="72" y="50"/>
                </a:cubicBezTo>
                <a:cubicBezTo>
                  <a:pt x="73" y="50"/>
                  <a:pt x="73" y="50"/>
                  <a:pt x="74" y="49"/>
                </a:cubicBezTo>
                <a:cubicBezTo>
                  <a:pt x="75" y="48"/>
                  <a:pt x="75" y="47"/>
                  <a:pt x="73" y="46"/>
                </a:cubicBezTo>
                <a:cubicBezTo>
                  <a:pt x="69" y="42"/>
                  <a:pt x="67" y="37"/>
                  <a:pt x="67" y="32"/>
                </a:cubicBezTo>
                <a:cubicBezTo>
                  <a:pt x="67" y="23"/>
                  <a:pt x="74" y="15"/>
                  <a:pt x="84" y="15"/>
                </a:cubicBezTo>
                <a:cubicBezTo>
                  <a:pt x="93" y="15"/>
                  <a:pt x="101" y="23"/>
                  <a:pt x="101" y="32"/>
                </a:cubicBezTo>
                <a:cubicBezTo>
                  <a:pt x="101" y="37"/>
                  <a:pt x="99" y="41"/>
                  <a:pt x="95" y="45"/>
                </a:cubicBezTo>
                <a:cubicBezTo>
                  <a:pt x="94" y="46"/>
                  <a:pt x="94" y="47"/>
                  <a:pt x="95" y="48"/>
                </a:cubicBezTo>
                <a:cubicBezTo>
                  <a:pt x="96" y="50"/>
                  <a:pt x="98" y="50"/>
                  <a:pt x="99" y="49"/>
                </a:cubicBezTo>
                <a:cubicBezTo>
                  <a:pt x="104" y="44"/>
                  <a:pt x="106" y="38"/>
                  <a:pt x="106" y="32"/>
                </a:cubicBezTo>
                <a:cubicBezTo>
                  <a:pt x="106" y="20"/>
                  <a:pt x="96" y="10"/>
                  <a:pt x="84" y="10"/>
                </a:cubicBezTo>
                <a:cubicBezTo>
                  <a:pt x="71" y="10"/>
                  <a:pt x="61" y="20"/>
                  <a:pt x="61" y="32"/>
                </a:cubicBezTo>
                <a:cubicBezTo>
                  <a:pt x="61" y="39"/>
                  <a:pt x="65" y="46"/>
                  <a:pt x="70" y="50"/>
                </a:cubicBezTo>
                <a:close/>
                <a:moveTo>
                  <a:pt x="85" y="141"/>
                </a:moveTo>
                <a:cubicBezTo>
                  <a:pt x="73" y="142"/>
                  <a:pt x="63" y="141"/>
                  <a:pt x="52" y="136"/>
                </a:cubicBezTo>
                <a:cubicBezTo>
                  <a:pt x="51" y="136"/>
                  <a:pt x="49" y="136"/>
                  <a:pt x="49" y="138"/>
                </a:cubicBezTo>
                <a:cubicBezTo>
                  <a:pt x="48" y="139"/>
                  <a:pt x="49" y="140"/>
                  <a:pt x="50" y="141"/>
                </a:cubicBezTo>
                <a:cubicBezTo>
                  <a:pt x="59" y="145"/>
                  <a:pt x="68" y="147"/>
                  <a:pt x="78" y="147"/>
                </a:cubicBezTo>
                <a:cubicBezTo>
                  <a:pt x="81" y="147"/>
                  <a:pt x="83" y="147"/>
                  <a:pt x="85" y="147"/>
                </a:cubicBezTo>
                <a:cubicBezTo>
                  <a:pt x="87" y="147"/>
                  <a:pt x="88" y="145"/>
                  <a:pt x="88" y="144"/>
                </a:cubicBezTo>
                <a:cubicBezTo>
                  <a:pt x="88" y="142"/>
                  <a:pt x="86" y="141"/>
                  <a:pt x="85" y="1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4" name="TextBox 23"/>
          <p:cNvSpPr txBox="1"/>
          <p:nvPr/>
        </p:nvSpPr>
        <p:spPr>
          <a:xfrm>
            <a:off x="1778001" y="4380786"/>
            <a:ext cx="3691191" cy="1634294"/>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It always does one good. Apparently we had reached a great height in the atmosphere, for the sky was a dead black, and the stars had ceased to twinkle. </a:t>
            </a:r>
          </a:p>
        </p:txBody>
      </p:sp>
      <p:sp>
        <p:nvSpPr>
          <p:cNvPr id="29" name="TextBox 28"/>
          <p:cNvSpPr txBox="1"/>
          <p:nvPr/>
        </p:nvSpPr>
        <p:spPr>
          <a:xfrm>
            <a:off x="7642336" y="3932864"/>
            <a:ext cx="1670073" cy="369332"/>
          </a:xfrm>
          <a:prstGeom prst="rect">
            <a:avLst/>
          </a:prstGeom>
          <a:noFill/>
        </p:spPr>
        <p:txBody>
          <a:bodyPr wrap="none" lIns="0" rIns="0" rtlCol="0">
            <a:spAutoFit/>
          </a:bodyPr>
          <a:lstStyle/>
          <a:p>
            <a:r>
              <a:rPr lang="en-US" b="1" dirty="0">
                <a:latin typeface="RBC Display" panose="02000000000000000000" pitchFamily="2" charset="77"/>
                <a:ea typeface="Open Sans" charset="0"/>
                <a:cs typeface="Open Sans" charset="0"/>
              </a:rPr>
              <a:t>Smart Contract</a:t>
            </a:r>
          </a:p>
        </p:txBody>
      </p:sp>
      <p:sp>
        <p:nvSpPr>
          <p:cNvPr id="31" name="TextBox 30"/>
          <p:cNvSpPr txBox="1"/>
          <p:nvPr/>
        </p:nvSpPr>
        <p:spPr>
          <a:xfrm>
            <a:off x="7642336" y="4380786"/>
            <a:ext cx="3673364" cy="1634294"/>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It always does one good. Apparently we had reached a great height in the atmosphere, for the sky was a dead black, and the stars had ceased to twinkle. </a:t>
            </a:r>
          </a:p>
        </p:txBody>
      </p:sp>
      <p:sp>
        <p:nvSpPr>
          <p:cNvPr id="32" name="Freeform 1137">
            <a:extLst>
              <a:ext uri="{FF2B5EF4-FFF2-40B4-BE49-F238E27FC236}">
                <a16:creationId xmlns:a16="http://schemas.microsoft.com/office/drawing/2014/main" id="{9B9DD969-9BCD-4E2A-84EA-65B9231048A0}"/>
              </a:ext>
            </a:extLst>
          </p:cNvPr>
          <p:cNvSpPr>
            <a:spLocks noEditPoints="1"/>
          </p:cNvSpPr>
          <p:nvPr/>
        </p:nvSpPr>
        <p:spPr bwMode="auto">
          <a:xfrm>
            <a:off x="6722809" y="4009494"/>
            <a:ext cx="602457" cy="584994"/>
          </a:xfrm>
          <a:custGeom>
            <a:avLst/>
            <a:gdLst>
              <a:gd name="T0" fmla="*/ 100 w 160"/>
              <a:gd name="T1" fmla="*/ 0 h 154"/>
              <a:gd name="T2" fmla="*/ 77 w 160"/>
              <a:gd name="T3" fmla="*/ 13 h 154"/>
              <a:gd name="T4" fmla="*/ 5 w 160"/>
              <a:gd name="T5" fmla="*/ 141 h 154"/>
              <a:gd name="T6" fmla="*/ 32 w 160"/>
              <a:gd name="T7" fmla="*/ 141 h 154"/>
              <a:gd name="T8" fmla="*/ 99 w 160"/>
              <a:gd name="T9" fmla="*/ 151 h 154"/>
              <a:gd name="T10" fmla="*/ 125 w 160"/>
              <a:gd name="T11" fmla="*/ 141 h 154"/>
              <a:gd name="T12" fmla="*/ 155 w 160"/>
              <a:gd name="T13" fmla="*/ 141 h 154"/>
              <a:gd name="T14" fmla="*/ 155 w 160"/>
              <a:gd name="T15" fmla="*/ 13 h 154"/>
              <a:gd name="T16" fmla="*/ 27 w 160"/>
              <a:gd name="T17" fmla="*/ 141 h 154"/>
              <a:gd name="T18" fmla="*/ 5 w 160"/>
              <a:gd name="T19" fmla="*/ 136 h 154"/>
              <a:gd name="T20" fmla="*/ 77 w 160"/>
              <a:gd name="T21" fmla="*/ 24 h 154"/>
              <a:gd name="T22" fmla="*/ 13 w 160"/>
              <a:gd name="T23" fmla="*/ 129 h 154"/>
              <a:gd name="T24" fmla="*/ 63 w 160"/>
              <a:gd name="T25" fmla="*/ 131 h 154"/>
              <a:gd name="T26" fmla="*/ 77 w 160"/>
              <a:gd name="T27" fmla="*/ 53 h 154"/>
              <a:gd name="T28" fmla="*/ 30 w 160"/>
              <a:gd name="T29" fmla="*/ 101 h 154"/>
              <a:gd name="T30" fmla="*/ 17 w 160"/>
              <a:gd name="T31" fmla="*/ 29 h 154"/>
              <a:gd name="T32" fmla="*/ 46 w 160"/>
              <a:gd name="T33" fmla="*/ 107 h 154"/>
              <a:gd name="T34" fmla="*/ 28 w 160"/>
              <a:gd name="T35" fmla="*/ 107 h 154"/>
              <a:gd name="T36" fmla="*/ 65 w 160"/>
              <a:gd name="T37" fmla="*/ 101 h 154"/>
              <a:gd name="T38" fmla="*/ 63 w 160"/>
              <a:gd name="T39" fmla="*/ 107 h 154"/>
              <a:gd name="T40" fmla="*/ 60 w 160"/>
              <a:gd name="T41" fmla="*/ 125 h 154"/>
              <a:gd name="T42" fmla="*/ 60 w 160"/>
              <a:gd name="T43" fmla="*/ 125 h 154"/>
              <a:gd name="T44" fmla="*/ 77 w 160"/>
              <a:gd name="T45" fmla="*/ 101 h 154"/>
              <a:gd name="T46" fmla="*/ 52 w 160"/>
              <a:gd name="T47" fmla="*/ 77 h 154"/>
              <a:gd name="T48" fmla="*/ 83 w 160"/>
              <a:gd name="T49" fmla="*/ 144 h 154"/>
              <a:gd name="T50" fmla="*/ 83 w 160"/>
              <a:gd name="T51" fmla="*/ 83 h 154"/>
              <a:gd name="T52" fmla="*/ 83 w 160"/>
              <a:gd name="T53" fmla="*/ 11 h 154"/>
              <a:gd name="T54" fmla="*/ 104 w 160"/>
              <a:gd name="T55" fmla="*/ 7 h 154"/>
              <a:gd name="T56" fmla="*/ 141 w 160"/>
              <a:gd name="T57" fmla="*/ 37 h 154"/>
              <a:gd name="T58" fmla="*/ 139 w 160"/>
              <a:gd name="T59" fmla="*/ 48 h 154"/>
              <a:gd name="T60" fmla="*/ 141 w 160"/>
              <a:gd name="T61" fmla="*/ 109 h 154"/>
              <a:gd name="T62" fmla="*/ 141 w 160"/>
              <a:gd name="T63" fmla="*/ 126 h 154"/>
              <a:gd name="T64" fmla="*/ 133 w 160"/>
              <a:gd name="T65" fmla="*/ 147 h 154"/>
              <a:gd name="T66" fmla="*/ 155 w 160"/>
              <a:gd name="T67" fmla="*/ 136 h 154"/>
              <a:gd name="T68" fmla="*/ 147 w 160"/>
              <a:gd name="T69" fmla="*/ 117 h 154"/>
              <a:gd name="T70" fmla="*/ 147 w 160"/>
              <a:gd name="T71" fmla="*/ 112 h 154"/>
              <a:gd name="T72" fmla="*/ 149 w 160"/>
              <a:gd name="T73" fmla="*/ 104 h 154"/>
              <a:gd name="T74" fmla="*/ 152 w 160"/>
              <a:gd name="T75" fmla="*/ 48 h 154"/>
              <a:gd name="T76" fmla="*/ 149 w 160"/>
              <a:gd name="T77" fmla="*/ 43 h 154"/>
              <a:gd name="T78" fmla="*/ 147 w 160"/>
              <a:gd name="T79" fmla="*/ 25 h 154"/>
              <a:gd name="T80" fmla="*/ 155 w 160"/>
              <a:gd name="T81" fmla="*/ 136 h 154"/>
              <a:gd name="T82" fmla="*/ 88 w 160"/>
              <a:gd name="T83" fmla="*/ 16 h 154"/>
              <a:gd name="T84" fmla="*/ 91 w 160"/>
              <a:gd name="T85" fmla="*/ 34 h 154"/>
              <a:gd name="T86" fmla="*/ 93 w 160"/>
              <a:gd name="T87" fmla="*/ 122 h 154"/>
              <a:gd name="T88" fmla="*/ 91 w 160"/>
              <a:gd name="T89" fmla="*/ 104 h 154"/>
              <a:gd name="T90" fmla="*/ 91 w 160"/>
              <a:gd name="T91" fmla="*/ 104 h 154"/>
              <a:gd name="T92" fmla="*/ 88 w 160"/>
              <a:gd name="T93" fmla="*/ 48 h 154"/>
              <a:gd name="T94" fmla="*/ 91 w 160"/>
              <a:gd name="T95" fmla="*/ 141 h 154"/>
              <a:gd name="T96" fmla="*/ 107 w 160"/>
              <a:gd name="T97" fmla="*/ 93 h 154"/>
              <a:gd name="T98" fmla="*/ 109 w 160"/>
              <a:gd name="T99" fmla="*/ 58 h 154"/>
              <a:gd name="T100" fmla="*/ 115 w 160"/>
              <a:gd name="T101" fmla="*/ 85 h 154"/>
              <a:gd name="T102" fmla="*/ 109 w 160"/>
              <a:gd name="T103" fmla="*/ 53 h 154"/>
              <a:gd name="T104" fmla="*/ 107 w 160"/>
              <a:gd name="T105" fmla="*/ 104 h 154"/>
              <a:gd name="T106" fmla="*/ 109 w 160"/>
              <a:gd name="T107" fmla="*/ 4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54">
                <a:moveTo>
                  <a:pt x="155" y="13"/>
                </a:moveTo>
                <a:cubicBezTo>
                  <a:pt x="126" y="13"/>
                  <a:pt x="126" y="13"/>
                  <a:pt x="126" y="13"/>
                </a:cubicBezTo>
                <a:cubicBezTo>
                  <a:pt x="103" y="0"/>
                  <a:pt x="103" y="0"/>
                  <a:pt x="103" y="0"/>
                </a:cubicBezTo>
                <a:cubicBezTo>
                  <a:pt x="102" y="0"/>
                  <a:pt x="101" y="0"/>
                  <a:pt x="100" y="0"/>
                </a:cubicBezTo>
                <a:cubicBezTo>
                  <a:pt x="99" y="1"/>
                  <a:pt x="99" y="2"/>
                  <a:pt x="99" y="3"/>
                </a:cubicBezTo>
                <a:cubicBezTo>
                  <a:pt x="99" y="5"/>
                  <a:pt x="99" y="5"/>
                  <a:pt x="99" y="5"/>
                </a:cubicBezTo>
                <a:cubicBezTo>
                  <a:pt x="77" y="5"/>
                  <a:pt x="77" y="5"/>
                  <a:pt x="77" y="5"/>
                </a:cubicBezTo>
                <a:cubicBezTo>
                  <a:pt x="77" y="13"/>
                  <a:pt x="77" y="13"/>
                  <a:pt x="77" y="13"/>
                </a:cubicBezTo>
                <a:cubicBezTo>
                  <a:pt x="5" y="13"/>
                  <a:pt x="5" y="13"/>
                  <a:pt x="5" y="13"/>
                </a:cubicBezTo>
                <a:cubicBezTo>
                  <a:pt x="2" y="13"/>
                  <a:pt x="0" y="16"/>
                  <a:pt x="0" y="19"/>
                </a:cubicBezTo>
                <a:cubicBezTo>
                  <a:pt x="0" y="136"/>
                  <a:pt x="0" y="136"/>
                  <a:pt x="0" y="136"/>
                </a:cubicBezTo>
                <a:cubicBezTo>
                  <a:pt x="0" y="139"/>
                  <a:pt x="2" y="141"/>
                  <a:pt x="5" y="141"/>
                </a:cubicBezTo>
                <a:cubicBezTo>
                  <a:pt x="5" y="141"/>
                  <a:pt x="5" y="141"/>
                  <a:pt x="5" y="141"/>
                </a:cubicBezTo>
                <a:cubicBezTo>
                  <a:pt x="5" y="152"/>
                  <a:pt x="5" y="152"/>
                  <a:pt x="5" y="152"/>
                </a:cubicBezTo>
                <a:cubicBezTo>
                  <a:pt x="32" y="152"/>
                  <a:pt x="32" y="152"/>
                  <a:pt x="32" y="152"/>
                </a:cubicBezTo>
                <a:cubicBezTo>
                  <a:pt x="32" y="141"/>
                  <a:pt x="32" y="141"/>
                  <a:pt x="32" y="141"/>
                </a:cubicBezTo>
                <a:cubicBezTo>
                  <a:pt x="77" y="141"/>
                  <a:pt x="77" y="141"/>
                  <a:pt x="77" y="141"/>
                </a:cubicBezTo>
                <a:cubicBezTo>
                  <a:pt x="77" y="149"/>
                  <a:pt x="77" y="149"/>
                  <a:pt x="77" y="149"/>
                </a:cubicBezTo>
                <a:cubicBezTo>
                  <a:pt x="99" y="149"/>
                  <a:pt x="99" y="149"/>
                  <a:pt x="99" y="149"/>
                </a:cubicBezTo>
                <a:cubicBezTo>
                  <a:pt x="99" y="151"/>
                  <a:pt x="99" y="151"/>
                  <a:pt x="99" y="151"/>
                </a:cubicBezTo>
                <a:cubicBezTo>
                  <a:pt x="99" y="152"/>
                  <a:pt x="99" y="153"/>
                  <a:pt x="100" y="154"/>
                </a:cubicBezTo>
                <a:cubicBezTo>
                  <a:pt x="101" y="154"/>
                  <a:pt x="101" y="154"/>
                  <a:pt x="102" y="154"/>
                </a:cubicBezTo>
                <a:cubicBezTo>
                  <a:pt x="102" y="154"/>
                  <a:pt x="103" y="154"/>
                  <a:pt x="103" y="154"/>
                </a:cubicBezTo>
                <a:cubicBezTo>
                  <a:pt x="125" y="141"/>
                  <a:pt x="125" y="141"/>
                  <a:pt x="125" y="141"/>
                </a:cubicBezTo>
                <a:cubicBezTo>
                  <a:pt x="128" y="141"/>
                  <a:pt x="128" y="141"/>
                  <a:pt x="128" y="141"/>
                </a:cubicBezTo>
                <a:cubicBezTo>
                  <a:pt x="128" y="152"/>
                  <a:pt x="128" y="152"/>
                  <a:pt x="128" y="152"/>
                </a:cubicBezTo>
                <a:cubicBezTo>
                  <a:pt x="155" y="152"/>
                  <a:pt x="155" y="152"/>
                  <a:pt x="155" y="152"/>
                </a:cubicBezTo>
                <a:cubicBezTo>
                  <a:pt x="155" y="141"/>
                  <a:pt x="155" y="141"/>
                  <a:pt x="155" y="141"/>
                </a:cubicBezTo>
                <a:cubicBezTo>
                  <a:pt x="155" y="141"/>
                  <a:pt x="155" y="141"/>
                  <a:pt x="155" y="141"/>
                </a:cubicBezTo>
                <a:cubicBezTo>
                  <a:pt x="158" y="141"/>
                  <a:pt x="160" y="139"/>
                  <a:pt x="160" y="136"/>
                </a:cubicBezTo>
                <a:cubicBezTo>
                  <a:pt x="160" y="19"/>
                  <a:pt x="160" y="19"/>
                  <a:pt x="160" y="19"/>
                </a:cubicBezTo>
                <a:cubicBezTo>
                  <a:pt x="160" y="16"/>
                  <a:pt x="158" y="13"/>
                  <a:pt x="155" y="13"/>
                </a:cubicBezTo>
                <a:close/>
                <a:moveTo>
                  <a:pt x="27" y="147"/>
                </a:moveTo>
                <a:cubicBezTo>
                  <a:pt x="11" y="147"/>
                  <a:pt x="11" y="147"/>
                  <a:pt x="11" y="147"/>
                </a:cubicBezTo>
                <a:cubicBezTo>
                  <a:pt x="11" y="141"/>
                  <a:pt x="11" y="141"/>
                  <a:pt x="11" y="141"/>
                </a:cubicBezTo>
                <a:cubicBezTo>
                  <a:pt x="27" y="141"/>
                  <a:pt x="27" y="141"/>
                  <a:pt x="27" y="141"/>
                </a:cubicBezTo>
                <a:lnTo>
                  <a:pt x="27" y="147"/>
                </a:lnTo>
                <a:close/>
                <a:moveTo>
                  <a:pt x="32" y="136"/>
                </a:moveTo>
                <a:cubicBezTo>
                  <a:pt x="32" y="136"/>
                  <a:pt x="32" y="136"/>
                  <a:pt x="32" y="136"/>
                </a:cubicBezTo>
                <a:cubicBezTo>
                  <a:pt x="5" y="136"/>
                  <a:pt x="5" y="136"/>
                  <a:pt x="5" y="136"/>
                </a:cubicBezTo>
                <a:cubicBezTo>
                  <a:pt x="5" y="136"/>
                  <a:pt x="5" y="136"/>
                  <a:pt x="5" y="136"/>
                </a:cubicBezTo>
                <a:cubicBezTo>
                  <a:pt x="5" y="19"/>
                  <a:pt x="5" y="19"/>
                  <a:pt x="5" y="19"/>
                </a:cubicBezTo>
                <a:cubicBezTo>
                  <a:pt x="77" y="19"/>
                  <a:pt x="77" y="19"/>
                  <a:pt x="77" y="19"/>
                </a:cubicBezTo>
                <a:cubicBezTo>
                  <a:pt x="77" y="24"/>
                  <a:pt x="77" y="24"/>
                  <a:pt x="77" y="24"/>
                </a:cubicBezTo>
                <a:cubicBezTo>
                  <a:pt x="17" y="24"/>
                  <a:pt x="17" y="24"/>
                  <a:pt x="17" y="24"/>
                </a:cubicBezTo>
                <a:cubicBezTo>
                  <a:pt x="13" y="24"/>
                  <a:pt x="11" y="27"/>
                  <a:pt x="11" y="30"/>
                </a:cubicBezTo>
                <a:cubicBezTo>
                  <a:pt x="11" y="124"/>
                  <a:pt x="11" y="124"/>
                  <a:pt x="11" y="124"/>
                </a:cubicBezTo>
                <a:cubicBezTo>
                  <a:pt x="11" y="126"/>
                  <a:pt x="11" y="128"/>
                  <a:pt x="13" y="129"/>
                </a:cubicBezTo>
                <a:cubicBezTo>
                  <a:pt x="12" y="131"/>
                  <a:pt x="12" y="131"/>
                  <a:pt x="12" y="131"/>
                </a:cubicBezTo>
                <a:cubicBezTo>
                  <a:pt x="17" y="131"/>
                  <a:pt x="17" y="131"/>
                  <a:pt x="17" y="131"/>
                </a:cubicBezTo>
                <a:cubicBezTo>
                  <a:pt x="52" y="131"/>
                  <a:pt x="52" y="131"/>
                  <a:pt x="52" y="131"/>
                </a:cubicBezTo>
                <a:cubicBezTo>
                  <a:pt x="63" y="131"/>
                  <a:pt x="63" y="131"/>
                  <a:pt x="63" y="131"/>
                </a:cubicBezTo>
                <a:cubicBezTo>
                  <a:pt x="77" y="131"/>
                  <a:pt x="77" y="131"/>
                  <a:pt x="77" y="131"/>
                </a:cubicBezTo>
                <a:cubicBezTo>
                  <a:pt x="77" y="136"/>
                  <a:pt x="77" y="136"/>
                  <a:pt x="77" y="136"/>
                </a:cubicBezTo>
                <a:lnTo>
                  <a:pt x="32" y="136"/>
                </a:lnTo>
                <a:close/>
                <a:moveTo>
                  <a:pt x="77" y="53"/>
                </a:moveTo>
                <a:cubicBezTo>
                  <a:pt x="57" y="53"/>
                  <a:pt x="57" y="53"/>
                  <a:pt x="57" y="53"/>
                </a:cubicBezTo>
                <a:cubicBezTo>
                  <a:pt x="46" y="77"/>
                  <a:pt x="46" y="77"/>
                  <a:pt x="46" y="77"/>
                </a:cubicBezTo>
                <a:cubicBezTo>
                  <a:pt x="41" y="77"/>
                  <a:pt x="41" y="77"/>
                  <a:pt x="41" y="77"/>
                </a:cubicBezTo>
                <a:cubicBezTo>
                  <a:pt x="30" y="101"/>
                  <a:pt x="30" y="101"/>
                  <a:pt x="30" y="101"/>
                </a:cubicBezTo>
                <a:cubicBezTo>
                  <a:pt x="25" y="101"/>
                  <a:pt x="25" y="101"/>
                  <a:pt x="25" y="101"/>
                </a:cubicBezTo>
                <a:cubicBezTo>
                  <a:pt x="16" y="121"/>
                  <a:pt x="16" y="121"/>
                  <a:pt x="16" y="121"/>
                </a:cubicBezTo>
                <a:cubicBezTo>
                  <a:pt x="16" y="30"/>
                  <a:pt x="16" y="30"/>
                  <a:pt x="16" y="30"/>
                </a:cubicBezTo>
                <a:cubicBezTo>
                  <a:pt x="16" y="30"/>
                  <a:pt x="16" y="29"/>
                  <a:pt x="17" y="29"/>
                </a:cubicBezTo>
                <a:cubicBezTo>
                  <a:pt x="77" y="29"/>
                  <a:pt x="77" y="29"/>
                  <a:pt x="77" y="29"/>
                </a:cubicBezTo>
                <a:lnTo>
                  <a:pt x="77" y="53"/>
                </a:lnTo>
                <a:close/>
                <a:moveTo>
                  <a:pt x="28" y="107"/>
                </a:moveTo>
                <a:cubicBezTo>
                  <a:pt x="46" y="107"/>
                  <a:pt x="46" y="107"/>
                  <a:pt x="46" y="107"/>
                </a:cubicBezTo>
                <a:cubicBezTo>
                  <a:pt x="54" y="125"/>
                  <a:pt x="54" y="125"/>
                  <a:pt x="54" y="125"/>
                </a:cubicBezTo>
                <a:cubicBezTo>
                  <a:pt x="54" y="125"/>
                  <a:pt x="54" y="125"/>
                  <a:pt x="54" y="125"/>
                </a:cubicBezTo>
                <a:cubicBezTo>
                  <a:pt x="20" y="125"/>
                  <a:pt x="20" y="125"/>
                  <a:pt x="20" y="125"/>
                </a:cubicBezTo>
                <a:lnTo>
                  <a:pt x="28" y="107"/>
                </a:lnTo>
                <a:close/>
                <a:moveTo>
                  <a:pt x="44" y="83"/>
                </a:moveTo>
                <a:cubicBezTo>
                  <a:pt x="62" y="83"/>
                  <a:pt x="62" y="83"/>
                  <a:pt x="62" y="83"/>
                </a:cubicBezTo>
                <a:cubicBezTo>
                  <a:pt x="71" y="101"/>
                  <a:pt x="71" y="101"/>
                  <a:pt x="71" y="101"/>
                </a:cubicBezTo>
                <a:cubicBezTo>
                  <a:pt x="65" y="101"/>
                  <a:pt x="65" y="101"/>
                  <a:pt x="65" y="101"/>
                </a:cubicBezTo>
                <a:cubicBezTo>
                  <a:pt x="50" y="101"/>
                  <a:pt x="50" y="101"/>
                  <a:pt x="50" y="101"/>
                </a:cubicBezTo>
                <a:cubicBezTo>
                  <a:pt x="36" y="101"/>
                  <a:pt x="36" y="101"/>
                  <a:pt x="36" y="101"/>
                </a:cubicBezTo>
                <a:lnTo>
                  <a:pt x="44" y="83"/>
                </a:lnTo>
                <a:close/>
                <a:moveTo>
                  <a:pt x="63" y="107"/>
                </a:moveTo>
                <a:cubicBezTo>
                  <a:pt x="57" y="118"/>
                  <a:pt x="57" y="118"/>
                  <a:pt x="57" y="118"/>
                </a:cubicBezTo>
                <a:cubicBezTo>
                  <a:pt x="52" y="107"/>
                  <a:pt x="52" y="107"/>
                  <a:pt x="52" y="107"/>
                </a:cubicBezTo>
                <a:cubicBezTo>
                  <a:pt x="63" y="107"/>
                  <a:pt x="63" y="107"/>
                  <a:pt x="63" y="107"/>
                </a:cubicBezTo>
                <a:close/>
                <a:moveTo>
                  <a:pt x="60" y="125"/>
                </a:moveTo>
                <a:cubicBezTo>
                  <a:pt x="68" y="107"/>
                  <a:pt x="68" y="107"/>
                  <a:pt x="68" y="107"/>
                </a:cubicBezTo>
                <a:cubicBezTo>
                  <a:pt x="77" y="107"/>
                  <a:pt x="77" y="107"/>
                  <a:pt x="77" y="107"/>
                </a:cubicBezTo>
                <a:cubicBezTo>
                  <a:pt x="77" y="125"/>
                  <a:pt x="77" y="125"/>
                  <a:pt x="77" y="125"/>
                </a:cubicBezTo>
                <a:cubicBezTo>
                  <a:pt x="60" y="125"/>
                  <a:pt x="60" y="125"/>
                  <a:pt x="60" y="125"/>
                </a:cubicBezTo>
                <a:close/>
                <a:moveTo>
                  <a:pt x="76" y="101"/>
                </a:moveTo>
                <a:cubicBezTo>
                  <a:pt x="68" y="83"/>
                  <a:pt x="68" y="83"/>
                  <a:pt x="68" y="83"/>
                </a:cubicBezTo>
                <a:cubicBezTo>
                  <a:pt x="77" y="83"/>
                  <a:pt x="77" y="83"/>
                  <a:pt x="77" y="83"/>
                </a:cubicBezTo>
                <a:cubicBezTo>
                  <a:pt x="77" y="101"/>
                  <a:pt x="77" y="101"/>
                  <a:pt x="77" y="101"/>
                </a:cubicBezTo>
                <a:lnTo>
                  <a:pt x="76" y="101"/>
                </a:lnTo>
                <a:close/>
                <a:moveTo>
                  <a:pt x="77" y="77"/>
                </a:moveTo>
                <a:cubicBezTo>
                  <a:pt x="66" y="77"/>
                  <a:pt x="66" y="77"/>
                  <a:pt x="66" y="77"/>
                </a:cubicBezTo>
                <a:cubicBezTo>
                  <a:pt x="52" y="77"/>
                  <a:pt x="52" y="77"/>
                  <a:pt x="52" y="77"/>
                </a:cubicBezTo>
                <a:cubicBezTo>
                  <a:pt x="60" y="59"/>
                  <a:pt x="60" y="59"/>
                  <a:pt x="60" y="59"/>
                </a:cubicBezTo>
                <a:cubicBezTo>
                  <a:pt x="77" y="59"/>
                  <a:pt x="77" y="59"/>
                  <a:pt x="77" y="59"/>
                </a:cubicBezTo>
                <a:lnTo>
                  <a:pt x="77" y="77"/>
                </a:lnTo>
                <a:close/>
                <a:moveTo>
                  <a:pt x="83" y="144"/>
                </a:moveTo>
                <a:cubicBezTo>
                  <a:pt x="83" y="141"/>
                  <a:pt x="83" y="141"/>
                  <a:pt x="83" y="141"/>
                </a:cubicBezTo>
                <a:cubicBezTo>
                  <a:pt x="83" y="131"/>
                  <a:pt x="83" y="131"/>
                  <a:pt x="83" y="131"/>
                </a:cubicBezTo>
                <a:cubicBezTo>
                  <a:pt x="83" y="101"/>
                  <a:pt x="83" y="101"/>
                  <a:pt x="83" y="101"/>
                </a:cubicBezTo>
                <a:cubicBezTo>
                  <a:pt x="83" y="83"/>
                  <a:pt x="83" y="83"/>
                  <a:pt x="83" y="83"/>
                </a:cubicBezTo>
                <a:cubicBezTo>
                  <a:pt x="83" y="53"/>
                  <a:pt x="83" y="53"/>
                  <a:pt x="83" y="53"/>
                </a:cubicBezTo>
                <a:cubicBezTo>
                  <a:pt x="83" y="24"/>
                  <a:pt x="83" y="24"/>
                  <a:pt x="83" y="24"/>
                </a:cubicBezTo>
                <a:cubicBezTo>
                  <a:pt x="83" y="13"/>
                  <a:pt x="83" y="13"/>
                  <a:pt x="83" y="13"/>
                </a:cubicBezTo>
                <a:cubicBezTo>
                  <a:pt x="83" y="11"/>
                  <a:pt x="83" y="11"/>
                  <a:pt x="83" y="11"/>
                </a:cubicBezTo>
                <a:cubicBezTo>
                  <a:pt x="99" y="11"/>
                  <a:pt x="99" y="11"/>
                  <a:pt x="99" y="11"/>
                </a:cubicBezTo>
                <a:cubicBezTo>
                  <a:pt x="99" y="144"/>
                  <a:pt x="99" y="144"/>
                  <a:pt x="99" y="144"/>
                </a:cubicBezTo>
                <a:lnTo>
                  <a:pt x="83" y="144"/>
                </a:lnTo>
                <a:close/>
                <a:moveTo>
                  <a:pt x="104" y="7"/>
                </a:moveTo>
                <a:cubicBezTo>
                  <a:pt x="115" y="13"/>
                  <a:pt x="115" y="13"/>
                  <a:pt x="115" y="13"/>
                </a:cubicBezTo>
                <a:cubicBezTo>
                  <a:pt x="115" y="13"/>
                  <a:pt x="115" y="13"/>
                  <a:pt x="115" y="13"/>
                </a:cubicBezTo>
                <a:cubicBezTo>
                  <a:pt x="141" y="28"/>
                  <a:pt x="141" y="28"/>
                  <a:pt x="141" y="28"/>
                </a:cubicBezTo>
                <a:cubicBezTo>
                  <a:pt x="141" y="37"/>
                  <a:pt x="141" y="37"/>
                  <a:pt x="141" y="37"/>
                </a:cubicBezTo>
                <a:cubicBezTo>
                  <a:pt x="140" y="37"/>
                  <a:pt x="139" y="39"/>
                  <a:pt x="139" y="40"/>
                </a:cubicBezTo>
                <a:cubicBezTo>
                  <a:pt x="139" y="41"/>
                  <a:pt x="140" y="43"/>
                  <a:pt x="141" y="43"/>
                </a:cubicBezTo>
                <a:cubicBezTo>
                  <a:pt x="141" y="45"/>
                  <a:pt x="141" y="45"/>
                  <a:pt x="141" y="45"/>
                </a:cubicBezTo>
                <a:cubicBezTo>
                  <a:pt x="140" y="45"/>
                  <a:pt x="139" y="47"/>
                  <a:pt x="139" y="48"/>
                </a:cubicBezTo>
                <a:cubicBezTo>
                  <a:pt x="139" y="49"/>
                  <a:pt x="140" y="51"/>
                  <a:pt x="141" y="51"/>
                </a:cubicBezTo>
                <a:cubicBezTo>
                  <a:pt x="141" y="104"/>
                  <a:pt x="141" y="104"/>
                  <a:pt x="141" y="104"/>
                </a:cubicBezTo>
                <a:cubicBezTo>
                  <a:pt x="140" y="104"/>
                  <a:pt x="139" y="105"/>
                  <a:pt x="139" y="107"/>
                </a:cubicBezTo>
                <a:cubicBezTo>
                  <a:pt x="139" y="108"/>
                  <a:pt x="140" y="109"/>
                  <a:pt x="141" y="109"/>
                </a:cubicBezTo>
                <a:cubicBezTo>
                  <a:pt x="141" y="112"/>
                  <a:pt x="141" y="112"/>
                  <a:pt x="141" y="112"/>
                </a:cubicBezTo>
                <a:cubicBezTo>
                  <a:pt x="140" y="112"/>
                  <a:pt x="139" y="113"/>
                  <a:pt x="139" y="115"/>
                </a:cubicBezTo>
                <a:cubicBezTo>
                  <a:pt x="139" y="116"/>
                  <a:pt x="140" y="117"/>
                  <a:pt x="141" y="117"/>
                </a:cubicBezTo>
                <a:cubicBezTo>
                  <a:pt x="141" y="126"/>
                  <a:pt x="141" y="126"/>
                  <a:pt x="141" y="126"/>
                </a:cubicBezTo>
                <a:cubicBezTo>
                  <a:pt x="104" y="147"/>
                  <a:pt x="104" y="147"/>
                  <a:pt x="104" y="147"/>
                </a:cubicBezTo>
                <a:lnTo>
                  <a:pt x="104" y="7"/>
                </a:lnTo>
                <a:close/>
                <a:moveTo>
                  <a:pt x="149" y="147"/>
                </a:moveTo>
                <a:cubicBezTo>
                  <a:pt x="133" y="147"/>
                  <a:pt x="133" y="147"/>
                  <a:pt x="133" y="147"/>
                </a:cubicBezTo>
                <a:cubicBezTo>
                  <a:pt x="133" y="141"/>
                  <a:pt x="133" y="141"/>
                  <a:pt x="133" y="141"/>
                </a:cubicBezTo>
                <a:cubicBezTo>
                  <a:pt x="149" y="141"/>
                  <a:pt x="149" y="141"/>
                  <a:pt x="149" y="141"/>
                </a:cubicBezTo>
                <a:lnTo>
                  <a:pt x="149" y="147"/>
                </a:lnTo>
                <a:close/>
                <a:moveTo>
                  <a:pt x="155" y="136"/>
                </a:moveTo>
                <a:cubicBezTo>
                  <a:pt x="135" y="136"/>
                  <a:pt x="135" y="136"/>
                  <a:pt x="135" y="136"/>
                </a:cubicBezTo>
                <a:cubicBezTo>
                  <a:pt x="147" y="130"/>
                  <a:pt x="147" y="130"/>
                  <a:pt x="147" y="130"/>
                </a:cubicBezTo>
                <a:cubicBezTo>
                  <a:pt x="147" y="129"/>
                  <a:pt x="147" y="129"/>
                  <a:pt x="147" y="129"/>
                </a:cubicBezTo>
                <a:cubicBezTo>
                  <a:pt x="147" y="117"/>
                  <a:pt x="147" y="117"/>
                  <a:pt x="147" y="117"/>
                </a:cubicBezTo>
                <a:cubicBezTo>
                  <a:pt x="149" y="117"/>
                  <a:pt x="149" y="117"/>
                  <a:pt x="149" y="117"/>
                </a:cubicBezTo>
                <a:cubicBezTo>
                  <a:pt x="151" y="117"/>
                  <a:pt x="152" y="116"/>
                  <a:pt x="152" y="115"/>
                </a:cubicBezTo>
                <a:cubicBezTo>
                  <a:pt x="152" y="113"/>
                  <a:pt x="151" y="112"/>
                  <a:pt x="149" y="112"/>
                </a:cubicBezTo>
                <a:cubicBezTo>
                  <a:pt x="147" y="112"/>
                  <a:pt x="147" y="112"/>
                  <a:pt x="147" y="112"/>
                </a:cubicBezTo>
                <a:cubicBezTo>
                  <a:pt x="147" y="109"/>
                  <a:pt x="147" y="109"/>
                  <a:pt x="147" y="109"/>
                </a:cubicBezTo>
                <a:cubicBezTo>
                  <a:pt x="149" y="109"/>
                  <a:pt x="149" y="109"/>
                  <a:pt x="149" y="109"/>
                </a:cubicBezTo>
                <a:cubicBezTo>
                  <a:pt x="151" y="109"/>
                  <a:pt x="152" y="108"/>
                  <a:pt x="152" y="107"/>
                </a:cubicBezTo>
                <a:cubicBezTo>
                  <a:pt x="152" y="105"/>
                  <a:pt x="151" y="104"/>
                  <a:pt x="149" y="104"/>
                </a:cubicBezTo>
                <a:cubicBezTo>
                  <a:pt x="147" y="104"/>
                  <a:pt x="147" y="104"/>
                  <a:pt x="147" y="104"/>
                </a:cubicBezTo>
                <a:cubicBezTo>
                  <a:pt x="147" y="51"/>
                  <a:pt x="147" y="51"/>
                  <a:pt x="147" y="51"/>
                </a:cubicBezTo>
                <a:cubicBezTo>
                  <a:pt x="149" y="51"/>
                  <a:pt x="149" y="51"/>
                  <a:pt x="149" y="51"/>
                </a:cubicBezTo>
                <a:cubicBezTo>
                  <a:pt x="151" y="51"/>
                  <a:pt x="152" y="49"/>
                  <a:pt x="152" y="48"/>
                </a:cubicBezTo>
                <a:cubicBezTo>
                  <a:pt x="152" y="47"/>
                  <a:pt x="151" y="45"/>
                  <a:pt x="149" y="45"/>
                </a:cubicBezTo>
                <a:cubicBezTo>
                  <a:pt x="147" y="45"/>
                  <a:pt x="147" y="45"/>
                  <a:pt x="147" y="45"/>
                </a:cubicBezTo>
                <a:cubicBezTo>
                  <a:pt x="147" y="43"/>
                  <a:pt x="147" y="43"/>
                  <a:pt x="147" y="43"/>
                </a:cubicBezTo>
                <a:cubicBezTo>
                  <a:pt x="149" y="43"/>
                  <a:pt x="149" y="43"/>
                  <a:pt x="149" y="43"/>
                </a:cubicBezTo>
                <a:cubicBezTo>
                  <a:pt x="151" y="43"/>
                  <a:pt x="152" y="41"/>
                  <a:pt x="152" y="40"/>
                </a:cubicBezTo>
                <a:cubicBezTo>
                  <a:pt x="152" y="39"/>
                  <a:pt x="151" y="37"/>
                  <a:pt x="149" y="37"/>
                </a:cubicBezTo>
                <a:cubicBezTo>
                  <a:pt x="147" y="37"/>
                  <a:pt x="147" y="37"/>
                  <a:pt x="147" y="37"/>
                </a:cubicBezTo>
                <a:cubicBezTo>
                  <a:pt x="147" y="25"/>
                  <a:pt x="147" y="25"/>
                  <a:pt x="147" y="25"/>
                </a:cubicBezTo>
                <a:cubicBezTo>
                  <a:pt x="147" y="25"/>
                  <a:pt x="147" y="25"/>
                  <a:pt x="147" y="25"/>
                </a:cubicBezTo>
                <a:cubicBezTo>
                  <a:pt x="136" y="19"/>
                  <a:pt x="136" y="19"/>
                  <a:pt x="136" y="19"/>
                </a:cubicBezTo>
                <a:cubicBezTo>
                  <a:pt x="155" y="19"/>
                  <a:pt x="155" y="19"/>
                  <a:pt x="155" y="19"/>
                </a:cubicBezTo>
                <a:cubicBezTo>
                  <a:pt x="155" y="136"/>
                  <a:pt x="155" y="136"/>
                  <a:pt x="155" y="136"/>
                </a:cubicBezTo>
                <a:close/>
                <a:moveTo>
                  <a:pt x="91" y="13"/>
                </a:moveTo>
                <a:cubicBezTo>
                  <a:pt x="92" y="13"/>
                  <a:pt x="93" y="14"/>
                  <a:pt x="93" y="16"/>
                </a:cubicBezTo>
                <a:cubicBezTo>
                  <a:pt x="93" y="17"/>
                  <a:pt x="92" y="18"/>
                  <a:pt x="91" y="18"/>
                </a:cubicBezTo>
                <a:cubicBezTo>
                  <a:pt x="89" y="18"/>
                  <a:pt x="88" y="17"/>
                  <a:pt x="88" y="16"/>
                </a:cubicBezTo>
                <a:cubicBezTo>
                  <a:pt x="88" y="14"/>
                  <a:pt x="89" y="13"/>
                  <a:pt x="91" y="13"/>
                </a:cubicBezTo>
                <a:close/>
                <a:moveTo>
                  <a:pt x="91" y="29"/>
                </a:moveTo>
                <a:cubicBezTo>
                  <a:pt x="92" y="29"/>
                  <a:pt x="93" y="30"/>
                  <a:pt x="93" y="32"/>
                </a:cubicBezTo>
                <a:cubicBezTo>
                  <a:pt x="93" y="33"/>
                  <a:pt x="92" y="34"/>
                  <a:pt x="91" y="34"/>
                </a:cubicBezTo>
                <a:cubicBezTo>
                  <a:pt x="89" y="34"/>
                  <a:pt x="88" y="33"/>
                  <a:pt x="88" y="32"/>
                </a:cubicBezTo>
                <a:cubicBezTo>
                  <a:pt x="88" y="30"/>
                  <a:pt x="89" y="29"/>
                  <a:pt x="91" y="29"/>
                </a:cubicBezTo>
                <a:close/>
                <a:moveTo>
                  <a:pt x="91" y="120"/>
                </a:moveTo>
                <a:cubicBezTo>
                  <a:pt x="92" y="120"/>
                  <a:pt x="93" y="121"/>
                  <a:pt x="93" y="122"/>
                </a:cubicBezTo>
                <a:cubicBezTo>
                  <a:pt x="93" y="124"/>
                  <a:pt x="92" y="125"/>
                  <a:pt x="91" y="125"/>
                </a:cubicBezTo>
                <a:cubicBezTo>
                  <a:pt x="89" y="125"/>
                  <a:pt x="88" y="124"/>
                  <a:pt x="88" y="122"/>
                </a:cubicBezTo>
                <a:cubicBezTo>
                  <a:pt x="88" y="121"/>
                  <a:pt x="89" y="120"/>
                  <a:pt x="91" y="120"/>
                </a:cubicBezTo>
                <a:close/>
                <a:moveTo>
                  <a:pt x="91" y="104"/>
                </a:moveTo>
                <a:cubicBezTo>
                  <a:pt x="92" y="104"/>
                  <a:pt x="93" y="105"/>
                  <a:pt x="93" y="106"/>
                </a:cubicBezTo>
                <a:cubicBezTo>
                  <a:pt x="93" y="108"/>
                  <a:pt x="92" y="109"/>
                  <a:pt x="91" y="109"/>
                </a:cubicBezTo>
                <a:cubicBezTo>
                  <a:pt x="89" y="109"/>
                  <a:pt x="88" y="108"/>
                  <a:pt x="88" y="106"/>
                </a:cubicBezTo>
                <a:cubicBezTo>
                  <a:pt x="88" y="105"/>
                  <a:pt x="89" y="104"/>
                  <a:pt x="91" y="104"/>
                </a:cubicBezTo>
                <a:close/>
                <a:moveTo>
                  <a:pt x="91" y="45"/>
                </a:moveTo>
                <a:cubicBezTo>
                  <a:pt x="92" y="45"/>
                  <a:pt x="93" y="46"/>
                  <a:pt x="93" y="48"/>
                </a:cubicBezTo>
                <a:cubicBezTo>
                  <a:pt x="93" y="49"/>
                  <a:pt x="92" y="50"/>
                  <a:pt x="91" y="50"/>
                </a:cubicBezTo>
                <a:cubicBezTo>
                  <a:pt x="89" y="50"/>
                  <a:pt x="88" y="49"/>
                  <a:pt x="88" y="48"/>
                </a:cubicBezTo>
                <a:cubicBezTo>
                  <a:pt x="88" y="46"/>
                  <a:pt x="89" y="45"/>
                  <a:pt x="91" y="45"/>
                </a:cubicBezTo>
                <a:close/>
                <a:moveTo>
                  <a:pt x="91" y="136"/>
                </a:moveTo>
                <a:cubicBezTo>
                  <a:pt x="92" y="136"/>
                  <a:pt x="93" y="137"/>
                  <a:pt x="93" y="138"/>
                </a:cubicBezTo>
                <a:cubicBezTo>
                  <a:pt x="93" y="140"/>
                  <a:pt x="92" y="141"/>
                  <a:pt x="91" y="141"/>
                </a:cubicBezTo>
                <a:cubicBezTo>
                  <a:pt x="89" y="141"/>
                  <a:pt x="88" y="140"/>
                  <a:pt x="88" y="138"/>
                </a:cubicBezTo>
                <a:cubicBezTo>
                  <a:pt x="88" y="137"/>
                  <a:pt x="89" y="136"/>
                  <a:pt x="91" y="136"/>
                </a:cubicBezTo>
                <a:close/>
                <a:moveTo>
                  <a:pt x="109" y="90"/>
                </a:moveTo>
                <a:cubicBezTo>
                  <a:pt x="108" y="90"/>
                  <a:pt x="107" y="92"/>
                  <a:pt x="107" y="93"/>
                </a:cubicBezTo>
                <a:cubicBezTo>
                  <a:pt x="107" y="95"/>
                  <a:pt x="108" y="96"/>
                  <a:pt x="109" y="96"/>
                </a:cubicBezTo>
                <a:cubicBezTo>
                  <a:pt x="115" y="96"/>
                  <a:pt x="120" y="91"/>
                  <a:pt x="120" y="85"/>
                </a:cubicBezTo>
                <a:cubicBezTo>
                  <a:pt x="120" y="69"/>
                  <a:pt x="120" y="69"/>
                  <a:pt x="120" y="69"/>
                </a:cubicBezTo>
                <a:cubicBezTo>
                  <a:pt x="120" y="63"/>
                  <a:pt x="115" y="58"/>
                  <a:pt x="109" y="58"/>
                </a:cubicBezTo>
                <a:cubicBezTo>
                  <a:pt x="108" y="58"/>
                  <a:pt x="107" y="60"/>
                  <a:pt x="107" y="61"/>
                </a:cubicBezTo>
                <a:cubicBezTo>
                  <a:pt x="107" y="63"/>
                  <a:pt x="108" y="64"/>
                  <a:pt x="109" y="64"/>
                </a:cubicBezTo>
                <a:cubicBezTo>
                  <a:pt x="112" y="64"/>
                  <a:pt x="115" y="66"/>
                  <a:pt x="115" y="69"/>
                </a:cubicBezTo>
                <a:cubicBezTo>
                  <a:pt x="115" y="85"/>
                  <a:pt x="115" y="85"/>
                  <a:pt x="115" y="85"/>
                </a:cubicBezTo>
                <a:cubicBezTo>
                  <a:pt x="115" y="88"/>
                  <a:pt x="112" y="90"/>
                  <a:pt x="109" y="90"/>
                </a:cubicBezTo>
                <a:close/>
                <a:moveTo>
                  <a:pt x="109" y="48"/>
                </a:moveTo>
                <a:cubicBezTo>
                  <a:pt x="108" y="48"/>
                  <a:pt x="107" y="49"/>
                  <a:pt x="107" y="50"/>
                </a:cubicBezTo>
                <a:cubicBezTo>
                  <a:pt x="107" y="52"/>
                  <a:pt x="108" y="53"/>
                  <a:pt x="109" y="53"/>
                </a:cubicBezTo>
                <a:cubicBezTo>
                  <a:pt x="118" y="53"/>
                  <a:pt x="125" y="60"/>
                  <a:pt x="125" y="69"/>
                </a:cubicBezTo>
                <a:cubicBezTo>
                  <a:pt x="125" y="85"/>
                  <a:pt x="125" y="85"/>
                  <a:pt x="125" y="85"/>
                </a:cubicBezTo>
                <a:cubicBezTo>
                  <a:pt x="125" y="94"/>
                  <a:pt x="118" y="101"/>
                  <a:pt x="109" y="101"/>
                </a:cubicBezTo>
                <a:cubicBezTo>
                  <a:pt x="108" y="101"/>
                  <a:pt x="107" y="102"/>
                  <a:pt x="107" y="104"/>
                </a:cubicBezTo>
                <a:cubicBezTo>
                  <a:pt x="107" y="105"/>
                  <a:pt x="108" y="106"/>
                  <a:pt x="109" y="106"/>
                </a:cubicBezTo>
                <a:cubicBezTo>
                  <a:pt x="121" y="106"/>
                  <a:pt x="131" y="97"/>
                  <a:pt x="131" y="85"/>
                </a:cubicBezTo>
                <a:cubicBezTo>
                  <a:pt x="131" y="69"/>
                  <a:pt x="131" y="69"/>
                  <a:pt x="131" y="69"/>
                </a:cubicBezTo>
                <a:cubicBezTo>
                  <a:pt x="131" y="57"/>
                  <a:pt x="121" y="48"/>
                  <a:pt x="109"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 name="Picture Placeholder 1"/>
          <p:cNvSpPr>
            <a:spLocks noGrp="1"/>
          </p:cNvSpPr>
          <p:nvPr>
            <p:ph type="pic" sz="quarter" idx="12"/>
          </p:nvPr>
        </p:nvSpPr>
        <p:spPr/>
        <p:txBody>
          <a:bodyPr/>
          <a:lstStyle/>
          <a:p>
            <a:endParaRPr lang="en-CA"/>
          </a:p>
        </p:txBody>
      </p:sp>
      <p:sp>
        <p:nvSpPr>
          <p:cNvPr id="3" name="Picture Placeholder 2"/>
          <p:cNvSpPr>
            <a:spLocks noGrp="1"/>
          </p:cNvSpPr>
          <p:nvPr>
            <p:ph type="pic" sz="quarter" idx="13"/>
          </p:nvPr>
        </p:nvSpPr>
        <p:spPr/>
        <p:txBody>
          <a:bodyPr/>
          <a:lstStyle/>
          <a:p>
            <a:endParaRPr lang="en-CA"/>
          </a:p>
        </p:txBody>
      </p:sp>
    </p:spTree>
    <p:extLst>
      <p:ext uri="{BB962C8B-B14F-4D97-AF65-F5344CB8AC3E}">
        <p14:creationId xmlns:p14="http://schemas.microsoft.com/office/powerpoint/2010/main" val="2069576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p:cNvCxnSpPr/>
          <p:nvPr/>
        </p:nvCxnSpPr>
        <p:spPr>
          <a:xfrm>
            <a:off x="6398189" y="3429000"/>
            <a:ext cx="5031811" cy="0"/>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600294" y="947926"/>
            <a:ext cx="1496564" cy="369332"/>
          </a:xfrm>
          <a:prstGeom prst="rect">
            <a:avLst/>
          </a:prstGeom>
          <a:noFill/>
        </p:spPr>
        <p:txBody>
          <a:bodyPr wrap="none" lIns="0" rIns="0" rtlCol="0">
            <a:spAutoFit/>
          </a:bodyPr>
          <a:lstStyle/>
          <a:p>
            <a:r>
              <a:rPr lang="en-US" b="1" dirty="0">
                <a:latin typeface="RBC Display" panose="02000000000000000000" pitchFamily="2" charset="77"/>
                <a:ea typeface="Open Sans" charset="0"/>
                <a:cs typeface="Open Sans" charset="0"/>
              </a:rPr>
              <a:t>Digital Assets</a:t>
            </a:r>
          </a:p>
        </p:txBody>
      </p:sp>
      <p:sp>
        <p:nvSpPr>
          <p:cNvPr id="15" name="TextBox 14"/>
          <p:cNvSpPr txBox="1"/>
          <p:nvPr/>
        </p:nvSpPr>
        <p:spPr>
          <a:xfrm>
            <a:off x="7600294" y="1395848"/>
            <a:ext cx="3613806" cy="1628779"/>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It always does one good. </a:t>
            </a:r>
            <a:r>
              <a:rPr lang="en-US" sz="1200" dirty="0" err="1">
                <a:solidFill>
                  <a:schemeClr val="tx1">
                    <a:alpha val="70000"/>
                  </a:schemeClr>
                </a:solidFill>
                <a:latin typeface="RBC Text" panose="02000000000000000000" pitchFamily="2" charset="77"/>
              </a:rPr>
              <a:t>pparently</a:t>
            </a:r>
            <a:r>
              <a:rPr lang="en-US" sz="1200" dirty="0">
                <a:solidFill>
                  <a:schemeClr val="tx1">
                    <a:alpha val="70000"/>
                  </a:schemeClr>
                </a:solidFill>
                <a:latin typeface="RBC Text" panose="02000000000000000000" pitchFamily="2" charset="77"/>
              </a:rPr>
              <a:t> we had reached a great height in the atmosphere, for the sky was a dead black, and the stars had ceased to twinkle. </a:t>
            </a:r>
          </a:p>
        </p:txBody>
      </p:sp>
      <p:sp>
        <p:nvSpPr>
          <p:cNvPr id="16" name="TextBox 15"/>
          <p:cNvSpPr txBox="1"/>
          <p:nvPr/>
        </p:nvSpPr>
        <p:spPr>
          <a:xfrm>
            <a:off x="7600294" y="4016945"/>
            <a:ext cx="1670073" cy="369332"/>
          </a:xfrm>
          <a:prstGeom prst="rect">
            <a:avLst/>
          </a:prstGeom>
          <a:noFill/>
        </p:spPr>
        <p:txBody>
          <a:bodyPr wrap="none" lIns="0" rIns="0" rtlCol="0">
            <a:spAutoFit/>
          </a:bodyPr>
          <a:lstStyle/>
          <a:p>
            <a:r>
              <a:rPr lang="en-US" b="1" dirty="0">
                <a:latin typeface="RBC Display" panose="02000000000000000000" pitchFamily="2" charset="77"/>
                <a:ea typeface="Open Sans" charset="0"/>
                <a:cs typeface="Open Sans" charset="0"/>
              </a:rPr>
              <a:t>Smart Contract</a:t>
            </a:r>
          </a:p>
        </p:txBody>
      </p:sp>
      <p:sp>
        <p:nvSpPr>
          <p:cNvPr id="17" name="Freeform 1098">
            <a:extLst>
              <a:ext uri="{FF2B5EF4-FFF2-40B4-BE49-F238E27FC236}">
                <a16:creationId xmlns:a16="http://schemas.microsoft.com/office/drawing/2014/main" id="{86EE3BE9-8060-4E5B-9D73-6C0637F7E30F}"/>
              </a:ext>
            </a:extLst>
          </p:cNvPr>
          <p:cNvSpPr>
            <a:spLocks noEditPoints="1"/>
          </p:cNvSpPr>
          <p:nvPr/>
        </p:nvSpPr>
        <p:spPr bwMode="auto">
          <a:xfrm>
            <a:off x="6685894" y="4070874"/>
            <a:ext cx="602457" cy="607695"/>
          </a:xfrm>
          <a:custGeom>
            <a:avLst/>
            <a:gdLst>
              <a:gd name="T0" fmla="*/ 48 w 160"/>
              <a:gd name="T1" fmla="*/ 78 h 160"/>
              <a:gd name="T2" fmla="*/ 38 w 160"/>
              <a:gd name="T3" fmla="*/ 74 h 160"/>
              <a:gd name="T4" fmla="*/ 156 w 160"/>
              <a:gd name="T5" fmla="*/ 77 h 160"/>
              <a:gd name="T6" fmla="*/ 150 w 160"/>
              <a:gd name="T7" fmla="*/ 73 h 160"/>
              <a:gd name="T8" fmla="*/ 141 w 160"/>
              <a:gd name="T9" fmla="*/ 72 h 160"/>
              <a:gd name="T10" fmla="*/ 50 w 160"/>
              <a:gd name="T11" fmla="*/ 33 h 160"/>
              <a:gd name="T12" fmla="*/ 16 w 160"/>
              <a:gd name="T13" fmla="*/ 40 h 160"/>
              <a:gd name="T14" fmla="*/ 16 w 160"/>
              <a:gd name="T15" fmla="*/ 80 h 160"/>
              <a:gd name="T16" fmla="*/ 13 w 160"/>
              <a:gd name="T17" fmla="*/ 122 h 160"/>
              <a:gd name="T18" fmla="*/ 21 w 160"/>
              <a:gd name="T19" fmla="*/ 155 h 160"/>
              <a:gd name="T20" fmla="*/ 54 w 160"/>
              <a:gd name="T21" fmla="*/ 154 h 160"/>
              <a:gd name="T22" fmla="*/ 112 w 160"/>
              <a:gd name="T23" fmla="*/ 160 h 160"/>
              <a:gd name="T24" fmla="*/ 135 w 160"/>
              <a:gd name="T25" fmla="*/ 136 h 160"/>
              <a:gd name="T26" fmla="*/ 143 w 160"/>
              <a:gd name="T27" fmla="*/ 90 h 160"/>
              <a:gd name="T28" fmla="*/ 136 w 160"/>
              <a:gd name="T29" fmla="*/ 83 h 160"/>
              <a:gd name="T30" fmla="*/ 138 w 160"/>
              <a:gd name="T31" fmla="*/ 79 h 160"/>
              <a:gd name="T32" fmla="*/ 139 w 160"/>
              <a:gd name="T33" fmla="*/ 78 h 160"/>
              <a:gd name="T34" fmla="*/ 149 w 160"/>
              <a:gd name="T35" fmla="*/ 84 h 160"/>
              <a:gd name="T36" fmla="*/ 110 w 160"/>
              <a:gd name="T37" fmla="*/ 43 h 160"/>
              <a:gd name="T38" fmla="*/ 101 w 160"/>
              <a:gd name="T39" fmla="*/ 51 h 160"/>
              <a:gd name="T40" fmla="*/ 90 w 160"/>
              <a:gd name="T41" fmla="*/ 49 h 160"/>
              <a:gd name="T42" fmla="*/ 81 w 160"/>
              <a:gd name="T43" fmla="*/ 49 h 160"/>
              <a:gd name="T44" fmla="*/ 70 w 160"/>
              <a:gd name="T45" fmla="*/ 52 h 160"/>
              <a:gd name="T46" fmla="*/ 63 w 160"/>
              <a:gd name="T47" fmla="*/ 52 h 160"/>
              <a:gd name="T48" fmla="*/ 57 w 160"/>
              <a:gd name="T49" fmla="*/ 42 h 160"/>
              <a:gd name="T50" fmla="*/ 48 w 160"/>
              <a:gd name="T51" fmla="*/ 155 h 160"/>
              <a:gd name="T52" fmla="*/ 27 w 160"/>
              <a:gd name="T53" fmla="*/ 140 h 160"/>
              <a:gd name="T54" fmla="*/ 128 w 160"/>
              <a:gd name="T55" fmla="*/ 155 h 160"/>
              <a:gd name="T56" fmla="*/ 131 w 160"/>
              <a:gd name="T57" fmla="*/ 140 h 160"/>
              <a:gd name="T58" fmla="*/ 128 w 160"/>
              <a:gd name="T59" fmla="*/ 136 h 160"/>
              <a:gd name="T60" fmla="*/ 120 w 160"/>
              <a:gd name="T61" fmla="*/ 142 h 160"/>
              <a:gd name="T62" fmla="*/ 110 w 160"/>
              <a:gd name="T63" fmla="*/ 147 h 160"/>
              <a:gd name="T64" fmla="*/ 82 w 160"/>
              <a:gd name="T65" fmla="*/ 153 h 160"/>
              <a:gd name="T66" fmla="*/ 19 w 160"/>
              <a:gd name="T67" fmla="*/ 117 h 160"/>
              <a:gd name="T68" fmla="*/ 13 w 160"/>
              <a:gd name="T69" fmla="*/ 85 h 160"/>
              <a:gd name="T70" fmla="*/ 32 w 160"/>
              <a:gd name="T71" fmla="*/ 59 h 160"/>
              <a:gd name="T72" fmla="*/ 44 w 160"/>
              <a:gd name="T73" fmla="*/ 48 h 160"/>
              <a:gd name="T74" fmla="*/ 55 w 160"/>
              <a:gd name="T75" fmla="*/ 50 h 160"/>
              <a:gd name="T76" fmla="*/ 60 w 160"/>
              <a:gd name="T77" fmla="*/ 56 h 160"/>
              <a:gd name="T78" fmla="*/ 57 w 160"/>
              <a:gd name="T79" fmla="*/ 65 h 160"/>
              <a:gd name="T80" fmla="*/ 69 w 160"/>
              <a:gd name="T81" fmla="*/ 58 h 160"/>
              <a:gd name="T82" fmla="*/ 76 w 160"/>
              <a:gd name="T83" fmla="*/ 56 h 160"/>
              <a:gd name="T84" fmla="*/ 100 w 160"/>
              <a:gd name="T85" fmla="*/ 57 h 160"/>
              <a:gd name="T86" fmla="*/ 116 w 160"/>
              <a:gd name="T87" fmla="*/ 65 h 160"/>
              <a:gd name="T88" fmla="*/ 111 w 160"/>
              <a:gd name="T89" fmla="*/ 53 h 160"/>
              <a:gd name="T90" fmla="*/ 113 w 160"/>
              <a:gd name="T91" fmla="*/ 49 h 160"/>
              <a:gd name="T92" fmla="*/ 132 w 160"/>
              <a:gd name="T93" fmla="*/ 79 h 160"/>
              <a:gd name="T94" fmla="*/ 130 w 160"/>
              <a:gd name="T95" fmla="*/ 84 h 160"/>
              <a:gd name="T96" fmla="*/ 132 w 160"/>
              <a:gd name="T97" fmla="*/ 89 h 160"/>
              <a:gd name="T98" fmla="*/ 134 w 160"/>
              <a:gd name="T99" fmla="*/ 93 h 160"/>
              <a:gd name="T100" fmla="*/ 138 w 160"/>
              <a:gd name="T101" fmla="*/ 95 h 160"/>
              <a:gd name="T102" fmla="*/ 141 w 160"/>
              <a:gd name="T103" fmla="*/ 104 h 160"/>
              <a:gd name="T104" fmla="*/ 154 w 160"/>
              <a:gd name="T105" fmla="*/ 86 h 160"/>
              <a:gd name="T106" fmla="*/ 72 w 160"/>
              <a:gd name="T107" fmla="*/ 50 h 160"/>
              <a:gd name="T108" fmla="*/ 84 w 160"/>
              <a:gd name="T109" fmla="*/ 15 h 160"/>
              <a:gd name="T110" fmla="*/ 99 w 160"/>
              <a:gd name="T111" fmla="*/ 49 h 160"/>
              <a:gd name="T112" fmla="*/ 70 w 160"/>
              <a:gd name="T113" fmla="*/ 50 h 160"/>
              <a:gd name="T114" fmla="*/ 50 w 160"/>
              <a:gd name="T115" fmla="*/ 141 h 160"/>
              <a:gd name="T116" fmla="*/ 85 w 160"/>
              <a:gd name="T117" fmla="*/ 14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60">
                <a:moveTo>
                  <a:pt x="38" y="69"/>
                </a:moveTo>
                <a:cubicBezTo>
                  <a:pt x="33" y="69"/>
                  <a:pt x="29" y="73"/>
                  <a:pt x="29" y="78"/>
                </a:cubicBezTo>
                <a:cubicBezTo>
                  <a:pt x="29" y="84"/>
                  <a:pt x="33" y="88"/>
                  <a:pt x="38" y="88"/>
                </a:cubicBezTo>
                <a:cubicBezTo>
                  <a:pt x="44" y="88"/>
                  <a:pt x="48" y="84"/>
                  <a:pt x="48" y="78"/>
                </a:cubicBezTo>
                <a:cubicBezTo>
                  <a:pt x="48" y="73"/>
                  <a:pt x="44" y="69"/>
                  <a:pt x="38" y="69"/>
                </a:cubicBezTo>
                <a:close/>
                <a:moveTo>
                  <a:pt x="38" y="82"/>
                </a:moveTo>
                <a:cubicBezTo>
                  <a:pt x="36" y="82"/>
                  <a:pt x="34" y="81"/>
                  <a:pt x="34" y="78"/>
                </a:cubicBezTo>
                <a:cubicBezTo>
                  <a:pt x="34" y="76"/>
                  <a:pt x="36" y="74"/>
                  <a:pt x="38" y="74"/>
                </a:cubicBezTo>
                <a:cubicBezTo>
                  <a:pt x="41" y="74"/>
                  <a:pt x="42" y="76"/>
                  <a:pt x="42" y="78"/>
                </a:cubicBezTo>
                <a:cubicBezTo>
                  <a:pt x="42" y="81"/>
                  <a:pt x="41" y="82"/>
                  <a:pt x="38" y="82"/>
                </a:cubicBezTo>
                <a:close/>
                <a:moveTo>
                  <a:pt x="160" y="88"/>
                </a:moveTo>
                <a:cubicBezTo>
                  <a:pt x="160" y="84"/>
                  <a:pt x="158" y="80"/>
                  <a:pt x="156" y="77"/>
                </a:cubicBezTo>
                <a:cubicBezTo>
                  <a:pt x="156" y="74"/>
                  <a:pt x="155" y="71"/>
                  <a:pt x="154" y="68"/>
                </a:cubicBezTo>
                <a:cubicBezTo>
                  <a:pt x="154" y="67"/>
                  <a:pt x="152" y="66"/>
                  <a:pt x="151" y="67"/>
                </a:cubicBezTo>
                <a:cubicBezTo>
                  <a:pt x="149" y="67"/>
                  <a:pt x="149" y="69"/>
                  <a:pt x="149" y="70"/>
                </a:cubicBezTo>
                <a:cubicBezTo>
                  <a:pt x="150" y="71"/>
                  <a:pt x="150" y="72"/>
                  <a:pt x="150" y="73"/>
                </a:cubicBezTo>
                <a:cubicBezTo>
                  <a:pt x="148" y="72"/>
                  <a:pt x="146" y="72"/>
                  <a:pt x="144" y="72"/>
                </a:cubicBezTo>
                <a:cubicBezTo>
                  <a:pt x="144" y="72"/>
                  <a:pt x="144" y="72"/>
                  <a:pt x="143" y="72"/>
                </a:cubicBezTo>
                <a:cubicBezTo>
                  <a:pt x="143" y="72"/>
                  <a:pt x="143" y="72"/>
                  <a:pt x="142" y="72"/>
                </a:cubicBezTo>
                <a:cubicBezTo>
                  <a:pt x="142" y="72"/>
                  <a:pt x="141" y="72"/>
                  <a:pt x="141" y="72"/>
                </a:cubicBezTo>
                <a:cubicBezTo>
                  <a:pt x="136" y="60"/>
                  <a:pt x="127" y="50"/>
                  <a:pt x="115" y="44"/>
                </a:cubicBezTo>
                <a:cubicBezTo>
                  <a:pt x="117" y="40"/>
                  <a:pt x="117" y="37"/>
                  <a:pt x="117" y="33"/>
                </a:cubicBezTo>
                <a:cubicBezTo>
                  <a:pt x="117" y="15"/>
                  <a:pt x="102" y="0"/>
                  <a:pt x="84" y="0"/>
                </a:cubicBezTo>
                <a:cubicBezTo>
                  <a:pt x="65" y="0"/>
                  <a:pt x="50" y="15"/>
                  <a:pt x="50" y="33"/>
                </a:cubicBezTo>
                <a:cubicBezTo>
                  <a:pt x="50" y="36"/>
                  <a:pt x="51" y="38"/>
                  <a:pt x="51" y="41"/>
                </a:cubicBezTo>
                <a:cubicBezTo>
                  <a:pt x="49" y="41"/>
                  <a:pt x="47" y="42"/>
                  <a:pt x="45" y="43"/>
                </a:cubicBezTo>
                <a:cubicBezTo>
                  <a:pt x="33" y="38"/>
                  <a:pt x="26" y="37"/>
                  <a:pt x="19" y="37"/>
                </a:cubicBezTo>
                <a:cubicBezTo>
                  <a:pt x="17" y="38"/>
                  <a:pt x="16" y="39"/>
                  <a:pt x="16" y="40"/>
                </a:cubicBezTo>
                <a:cubicBezTo>
                  <a:pt x="16" y="42"/>
                  <a:pt x="16" y="44"/>
                  <a:pt x="18" y="44"/>
                </a:cubicBezTo>
                <a:cubicBezTo>
                  <a:pt x="21" y="46"/>
                  <a:pt x="23" y="50"/>
                  <a:pt x="25" y="55"/>
                </a:cubicBezTo>
                <a:cubicBezTo>
                  <a:pt x="25" y="56"/>
                  <a:pt x="25" y="57"/>
                  <a:pt x="26" y="58"/>
                </a:cubicBezTo>
                <a:cubicBezTo>
                  <a:pt x="19" y="65"/>
                  <a:pt x="18" y="71"/>
                  <a:pt x="16" y="80"/>
                </a:cubicBezTo>
                <a:cubicBezTo>
                  <a:pt x="13" y="80"/>
                  <a:pt x="13" y="80"/>
                  <a:pt x="13" y="80"/>
                </a:cubicBezTo>
                <a:cubicBezTo>
                  <a:pt x="5" y="80"/>
                  <a:pt x="0" y="86"/>
                  <a:pt x="0" y="96"/>
                </a:cubicBezTo>
                <a:cubicBezTo>
                  <a:pt x="0" y="106"/>
                  <a:pt x="0" y="106"/>
                  <a:pt x="0" y="106"/>
                </a:cubicBezTo>
                <a:cubicBezTo>
                  <a:pt x="0" y="116"/>
                  <a:pt x="5" y="122"/>
                  <a:pt x="13" y="122"/>
                </a:cubicBezTo>
                <a:cubicBezTo>
                  <a:pt x="15" y="122"/>
                  <a:pt x="15" y="122"/>
                  <a:pt x="15" y="122"/>
                </a:cubicBezTo>
                <a:cubicBezTo>
                  <a:pt x="17" y="127"/>
                  <a:pt x="20" y="132"/>
                  <a:pt x="23" y="136"/>
                </a:cubicBezTo>
                <a:cubicBezTo>
                  <a:pt x="20" y="145"/>
                  <a:pt x="20" y="145"/>
                  <a:pt x="20" y="145"/>
                </a:cubicBezTo>
                <a:cubicBezTo>
                  <a:pt x="18" y="148"/>
                  <a:pt x="19" y="152"/>
                  <a:pt x="21" y="155"/>
                </a:cubicBezTo>
                <a:cubicBezTo>
                  <a:pt x="23" y="158"/>
                  <a:pt x="26" y="160"/>
                  <a:pt x="30" y="160"/>
                </a:cubicBezTo>
                <a:cubicBezTo>
                  <a:pt x="48" y="160"/>
                  <a:pt x="48" y="160"/>
                  <a:pt x="48" y="160"/>
                </a:cubicBezTo>
                <a:cubicBezTo>
                  <a:pt x="50" y="160"/>
                  <a:pt x="52" y="159"/>
                  <a:pt x="53" y="157"/>
                </a:cubicBezTo>
                <a:cubicBezTo>
                  <a:pt x="54" y="154"/>
                  <a:pt x="54" y="154"/>
                  <a:pt x="54" y="154"/>
                </a:cubicBezTo>
                <a:cubicBezTo>
                  <a:pt x="62" y="157"/>
                  <a:pt x="72" y="158"/>
                  <a:pt x="82" y="158"/>
                </a:cubicBezTo>
                <a:cubicBezTo>
                  <a:pt x="90" y="158"/>
                  <a:pt x="98" y="157"/>
                  <a:pt x="105" y="155"/>
                </a:cubicBezTo>
                <a:cubicBezTo>
                  <a:pt x="105" y="155"/>
                  <a:pt x="105" y="155"/>
                  <a:pt x="105" y="155"/>
                </a:cubicBezTo>
                <a:cubicBezTo>
                  <a:pt x="106" y="158"/>
                  <a:pt x="108" y="160"/>
                  <a:pt x="112" y="160"/>
                </a:cubicBezTo>
                <a:cubicBezTo>
                  <a:pt x="128" y="160"/>
                  <a:pt x="128" y="160"/>
                  <a:pt x="128" y="160"/>
                </a:cubicBezTo>
                <a:cubicBezTo>
                  <a:pt x="131" y="160"/>
                  <a:pt x="135" y="158"/>
                  <a:pt x="137" y="155"/>
                </a:cubicBezTo>
                <a:cubicBezTo>
                  <a:pt x="139" y="152"/>
                  <a:pt x="140" y="148"/>
                  <a:pt x="139" y="145"/>
                </a:cubicBezTo>
                <a:cubicBezTo>
                  <a:pt x="135" y="136"/>
                  <a:pt x="135" y="136"/>
                  <a:pt x="135" y="136"/>
                </a:cubicBezTo>
                <a:cubicBezTo>
                  <a:pt x="143" y="127"/>
                  <a:pt x="146" y="116"/>
                  <a:pt x="146" y="104"/>
                </a:cubicBezTo>
                <a:cubicBezTo>
                  <a:pt x="146" y="104"/>
                  <a:pt x="146" y="104"/>
                  <a:pt x="146" y="104"/>
                </a:cubicBezTo>
                <a:cubicBezTo>
                  <a:pt x="154" y="102"/>
                  <a:pt x="160" y="96"/>
                  <a:pt x="160" y="88"/>
                </a:cubicBezTo>
                <a:close/>
                <a:moveTo>
                  <a:pt x="143" y="90"/>
                </a:moveTo>
                <a:cubicBezTo>
                  <a:pt x="143" y="90"/>
                  <a:pt x="143" y="90"/>
                  <a:pt x="143" y="90"/>
                </a:cubicBezTo>
                <a:cubicBezTo>
                  <a:pt x="143" y="90"/>
                  <a:pt x="143" y="90"/>
                  <a:pt x="142" y="90"/>
                </a:cubicBezTo>
                <a:cubicBezTo>
                  <a:pt x="139" y="90"/>
                  <a:pt x="136" y="87"/>
                  <a:pt x="136" y="84"/>
                </a:cubicBezTo>
                <a:cubicBezTo>
                  <a:pt x="136" y="83"/>
                  <a:pt x="136" y="83"/>
                  <a:pt x="136" y="83"/>
                </a:cubicBezTo>
                <a:cubicBezTo>
                  <a:pt x="136" y="82"/>
                  <a:pt x="136" y="82"/>
                  <a:pt x="136" y="82"/>
                </a:cubicBezTo>
                <a:cubicBezTo>
                  <a:pt x="136" y="82"/>
                  <a:pt x="136" y="82"/>
                  <a:pt x="136" y="81"/>
                </a:cubicBezTo>
                <a:cubicBezTo>
                  <a:pt x="136" y="81"/>
                  <a:pt x="136" y="81"/>
                  <a:pt x="136" y="81"/>
                </a:cubicBezTo>
                <a:cubicBezTo>
                  <a:pt x="137" y="80"/>
                  <a:pt x="137" y="80"/>
                  <a:pt x="138" y="79"/>
                </a:cubicBezTo>
                <a:cubicBezTo>
                  <a:pt x="138" y="79"/>
                  <a:pt x="138" y="79"/>
                  <a:pt x="138" y="79"/>
                </a:cubicBezTo>
                <a:cubicBezTo>
                  <a:pt x="138" y="79"/>
                  <a:pt x="138" y="79"/>
                  <a:pt x="139" y="78"/>
                </a:cubicBezTo>
                <a:cubicBezTo>
                  <a:pt x="139" y="78"/>
                  <a:pt x="139" y="78"/>
                  <a:pt x="139" y="78"/>
                </a:cubicBezTo>
                <a:cubicBezTo>
                  <a:pt x="139" y="78"/>
                  <a:pt x="139" y="78"/>
                  <a:pt x="139" y="78"/>
                </a:cubicBezTo>
                <a:cubicBezTo>
                  <a:pt x="140" y="78"/>
                  <a:pt x="140" y="78"/>
                  <a:pt x="140" y="78"/>
                </a:cubicBezTo>
                <a:cubicBezTo>
                  <a:pt x="140" y="78"/>
                  <a:pt x="140" y="78"/>
                  <a:pt x="140" y="78"/>
                </a:cubicBezTo>
                <a:cubicBezTo>
                  <a:pt x="141" y="77"/>
                  <a:pt x="142" y="77"/>
                  <a:pt x="142" y="77"/>
                </a:cubicBezTo>
                <a:cubicBezTo>
                  <a:pt x="146" y="77"/>
                  <a:pt x="149" y="80"/>
                  <a:pt x="149" y="84"/>
                </a:cubicBezTo>
                <a:cubicBezTo>
                  <a:pt x="149" y="87"/>
                  <a:pt x="147" y="90"/>
                  <a:pt x="143" y="90"/>
                </a:cubicBezTo>
                <a:close/>
                <a:moveTo>
                  <a:pt x="84" y="5"/>
                </a:moveTo>
                <a:cubicBezTo>
                  <a:pt x="99" y="5"/>
                  <a:pt x="112" y="18"/>
                  <a:pt x="112" y="33"/>
                </a:cubicBezTo>
                <a:cubicBezTo>
                  <a:pt x="112" y="37"/>
                  <a:pt x="111" y="40"/>
                  <a:pt x="110" y="43"/>
                </a:cubicBezTo>
                <a:cubicBezTo>
                  <a:pt x="110" y="44"/>
                  <a:pt x="110" y="44"/>
                  <a:pt x="110" y="44"/>
                </a:cubicBezTo>
                <a:cubicBezTo>
                  <a:pt x="108" y="47"/>
                  <a:pt x="106" y="50"/>
                  <a:pt x="104" y="53"/>
                </a:cubicBezTo>
                <a:cubicBezTo>
                  <a:pt x="104" y="52"/>
                  <a:pt x="103" y="52"/>
                  <a:pt x="103" y="52"/>
                </a:cubicBezTo>
                <a:cubicBezTo>
                  <a:pt x="102" y="52"/>
                  <a:pt x="101" y="52"/>
                  <a:pt x="101" y="51"/>
                </a:cubicBezTo>
                <a:cubicBezTo>
                  <a:pt x="100" y="51"/>
                  <a:pt x="99" y="51"/>
                  <a:pt x="99" y="51"/>
                </a:cubicBezTo>
                <a:cubicBezTo>
                  <a:pt x="98" y="50"/>
                  <a:pt x="97" y="50"/>
                  <a:pt x="96" y="50"/>
                </a:cubicBezTo>
                <a:cubicBezTo>
                  <a:pt x="95" y="50"/>
                  <a:pt x="94" y="49"/>
                  <a:pt x="92" y="49"/>
                </a:cubicBezTo>
                <a:cubicBezTo>
                  <a:pt x="91" y="49"/>
                  <a:pt x="91" y="49"/>
                  <a:pt x="90" y="49"/>
                </a:cubicBezTo>
                <a:cubicBezTo>
                  <a:pt x="89" y="49"/>
                  <a:pt x="88" y="49"/>
                  <a:pt x="88" y="49"/>
                </a:cubicBezTo>
                <a:cubicBezTo>
                  <a:pt x="87" y="49"/>
                  <a:pt x="86" y="49"/>
                  <a:pt x="86" y="49"/>
                </a:cubicBezTo>
                <a:cubicBezTo>
                  <a:pt x="85" y="49"/>
                  <a:pt x="84" y="49"/>
                  <a:pt x="83" y="49"/>
                </a:cubicBezTo>
                <a:cubicBezTo>
                  <a:pt x="82" y="49"/>
                  <a:pt x="82" y="49"/>
                  <a:pt x="81" y="49"/>
                </a:cubicBezTo>
                <a:cubicBezTo>
                  <a:pt x="80" y="49"/>
                  <a:pt x="80" y="49"/>
                  <a:pt x="79" y="49"/>
                </a:cubicBezTo>
                <a:cubicBezTo>
                  <a:pt x="78" y="50"/>
                  <a:pt x="77" y="50"/>
                  <a:pt x="76" y="50"/>
                </a:cubicBezTo>
                <a:cubicBezTo>
                  <a:pt x="75" y="50"/>
                  <a:pt x="75" y="50"/>
                  <a:pt x="74" y="50"/>
                </a:cubicBezTo>
                <a:cubicBezTo>
                  <a:pt x="73" y="51"/>
                  <a:pt x="72" y="51"/>
                  <a:pt x="70" y="52"/>
                </a:cubicBezTo>
                <a:cubicBezTo>
                  <a:pt x="70" y="52"/>
                  <a:pt x="69" y="52"/>
                  <a:pt x="69" y="52"/>
                </a:cubicBezTo>
                <a:cubicBezTo>
                  <a:pt x="68" y="53"/>
                  <a:pt x="67" y="53"/>
                  <a:pt x="66" y="54"/>
                </a:cubicBezTo>
                <a:cubicBezTo>
                  <a:pt x="66" y="54"/>
                  <a:pt x="65" y="54"/>
                  <a:pt x="65" y="54"/>
                </a:cubicBezTo>
                <a:cubicBezTo>
                  <a:pt x="64" y="54"/>
                  <a:pt x="64" y="53"/>
                  <a:pt x="63" y="52"/>
                </a:cubicBezTo>
                <a:cubicBezTo>
                  <a:pt x="63" y="52"/>
                  <a:pt x="63" y="52"/>
                  <a:pt x="62" y="51"/>
                </a:cubicBezTo>
                <a:cubicBezTo>
                  <a:pt x="62" y="51"/>
                  <a:pt x="61" y="50"/>
                  <a:pt x="61" y="49"/>
                </a:cubicBezTo>
                <a:cubicBezTo>
                  <a:pt x="60" y="49"/>
                  <a:pt x="60" y="49"/>
                  <a:pt x="60" y="49"/>
                </a:cubicBezTo>
                <a:cubicBezTo>
                  <a:pt x="59" y="47"/>
                  <a:pt x="58" y="44"/>
                  <a:pt x="57" y="42"/>
                </a:cubicBezTo>
                <a:cubicBezTo>
                  <a:pt x="57" y="41"/>
                  <a:pt x="57" y="41"/>
                  <a:pt x="57" y="41"/>
                </a:cubicBezTo>
                <a:cubicBezTo>
                  <a:pt x="56" y="39"/>
                  <a:pt x="56" y="36"/>
                  <a:pt x="56" y="33"/>
                </a:cubicBezTo>
                <a:cubicBezTo>
                  <a:pt x="56" y="18"/>
                  <a:pt x="68" y="5"/>
                  <a:pt x="84" y="5"/>
                </a:cubicBezTo>
                <a:close/>
                <a:moveTo>
                  <a:pt x="48" y="155"/>
                </a:moveTo>
                <a:cubicBezTo>
                  <a:pt x="30" y="155"/>
                  <a:pt x="30" y="155"/>
                  <a:pt x="30" y="155"/>
                </a:cubicBezTo>
                <a:cubicBezTo>
                  <a:pt x="28" y="155"/>
                  <a:pt x="26" y="154"/>
                  <a:pt x="25" y="152"/>
                </a:cubicBezTo>
                <a:cubicBezTo>
                  <a:pt x="24" y="151"/>
                  <a:pt x="24" y="149"/>
                  <a:pt x="25" y="147"/>
                </a:cubicBezTo>
                <a:cubicBezTo>
                  <a:pt x="27" y="140"/>
                  <a:pt x="27" y="140"/>
                  <a:pt x="27" y="140"/>
                </a:cubicBezTo>
                <a:cubicBezTo>
                  <a:pt x="33" y="145"/>
                  <a:pt x="40" y="149"/>
                  <a:pt x="49" y="152"/>
                </a:cubicBezTo>
                <a:lnTo>
                  <a:pt x="48" y="155"/>
                </a:lnTo>
                <a:close/>
                <a:moveTo>
                  <a:pt x="133" y="152"/>
                </a:moveTo>
                <a:cubicBezTo>
                  <a:pt x="132" y="154"/>
                  <a:pt x="130" y="155"/>
                  <a:pt x="128" y="155"/>
                </a:cubicBezTo>
                <a:cubicBezTo>
                  <a:pt x="112" y="155"/>
                  <a:pt x="112" y="155"/>
                  <a:pt x="112" y="155"/>
                </a:cubicBezTo>
                <a:cubicBezTo>
                  <a:pt x="111" y="155"/>
                  <a:pt x="110" y="154"/>
                  <a:pt x="110" y="153"/>
                </a:cubicBezTo>
                <a:cubicBezTo>
                  <a:pt x="110" y="153"/>
                  <a:pt x="110" y="153"/>
                  <a:pt x="110" y="153"/>
                </a:cubicBezTo>
                <a:cubicBezTo>
                  <a:pt x="118" y="150"/>
                  <a:pt x="126" y="146"/>
                  <a:pt x="131" y="140"/>
                </a:cubicBezTo>
                <a:cubicBezTo>
                  <a:pt x="134" y="146"/>
                  <a:pt x="134" y="146"/>
                  <a:pt x="134" y="146"/>
                </a:cubicBezTo>
                <a:cubicBezTo>
                  <a:pt x="134" y="148"/>
                  <a:pt x="134" y="150"/>
                  <a:pt x="133" y="152"/>
                </a:cubicBezTo>
                <a:close/>
                <a:moveTo>
                  <a:pt x="128" y="135"/>
                </a:moveTo>
                <a:cubicBezTo>
                  <a:pt x="128" y="136"/>
                  <a:pt x="128" y="136"/>
                  <a:pt x="128" y="136"/>
                </a:cubicBezTo>
                <a:cubicBezTo>
                  <a:pt x="127" y="137"/>
                  <a:pt x="126" y="138"/>
                  <a:pt x="125" y="139"/>
                </a:cubicBezTo>
                <a:cubicBezTo>
                  <a:pt x="125" y="139"/>
                  <a:pt x="124" y="139"/>
                  <a:pt x="124" y="139"/>
                </a:cubicBezTo>
                <a:cubicBezTo>
                  <a:pt x="123" y="140"/>
                  <a:pt x="122" y="141"/>
                  <a:pt x="121" y="141"/>
                </a:cubicBezTo>
                <a:cubicBezTo>
                  <a:pt x="121" y="142"/>
                  <a:pt x="120" y="142"/>
                  <a:pt x="120" y="142"/>
                </a:cubicBezTo>
                <a:cubicBezTo>
                  <a:pt x="119" y="143"/>
                  <a:pt x="118" y="144"/>
                  <a:pt x="116" y="145"/>
                </a:cubicBezTo>
                <a:cubicBezTo>
                  <a:pt x="116" y="145"/>
                  <a:pt x="115" y="145"/>
                  <a:pt x="115" y="145"/>
                </a:cubicBezTo>
                <a:cubicBezTo>
                  <a:pt x="114" y="146"/>
                  <a:pt x="113" y="146"/>
                  <a:pt x="112" y="147"/>
                </a:cubicBezTo>
                <a:cubicBezTo>
                  <a:pt x="111" y="147"/>
                  <a:pt x="111" y="147"/>
                  <a:pt x="110" y="147"/>
                </a:cubicBezTo>
                <a:cubicBezTo>
                  <a:pt x="109" y="148"/>
                  <a:pt x="108" y="148"/>
                  <a:pt x="107" y="149"/>
                </a:cubicBezTo>
                <a:cubicBezTo>
                  <a:pt x="106" y="149"/>
                  <a:pt x="106" y="149"/>
                  <a:pt x="106" y="149"/>
                </a:cubicBezTo>
                <a:cubicBezTo>
                  <a:pt x="106" y="149"/>
                  <a:pt x="106" y="149"/>
                  <a:pt x="106" y="149"/>
                </a:cubicBezTo>
                <a:cubicBezTo>
                  <a:pt x="98" y="151"/>
                  <a:pt x="90" y="153"/>
                  <a:pt x="82" y="153"/>
                </a:cubicBezTo>
                <a:cubicBezTo>
                  <a:pt x="71" y="153"/>
                  <a:pt x="61" y="151"/>
                  <a:pt x="52" y="148"/>
                </a:cubicBezTo>
                <a:cubicBezTo>
                  <a:pt x="51" y="147"/>
                  <a:pt x="50" y="147"/>
                  <a:pt x="50" y="147"/>
                </a:cubicBezTo>
                <a:cubicBezTo>
                  <a:pt x="35" y="141"/>
                  <a:pt x="23" y="131"/>
                  <a:pt x="19" y="119"/>
                </a:cubicBezTo>
                <a:cubicBezTo>
                  <a:pt x="19" y="117"/>
                  <a:pt x="19" y="117"/>
                  <a:pt x="19" y="117"/>
                </a:cubicBezTo>
                <a:cubicBezTo>
                  <a:pt x="13" y="117"/>
                  <a:pt x="13" y="117"/>
                  <a:pt x="13" y="117"/>
                </a:cubicBezTo>
                <a:cubicBezTo>
                  <a:pt x="7" y="117"/>
                  <a:pt x="5" y="111"/>
                  <a:pt x="5" y="106"/>
                </a:cubicBezTo>
                <a:cubicBezTo>
                  <a:pt x="5" y="96"/>
                  <a:pt x="5" y="96"/>
                  <a:pt x="5" y="96"/>
                </a:cubicBezTo>
                <a:cubicBezTo>
                  <a:pt x="5" y="85"/>
                  <a:pt x="11" y="85"/>
                  <a:pt x="13" y="85"/>
                </a:cubicBezTo>
                <a:cubicBezTo>
                  <a:pt x="21" y="85"/>
                  <a:pt x="21" y="85"/>
                  <a:pt x="21" y="85"/>
                </a:cubicBezTo>
                <a:cubicBezTo>
                  <a:pt x="21" y="83"/>
                  <a:pt x="21" y="83"/>
                  <a:pt x="21" y="83"/>
                </a:cubicBezTo>
                <a:cubicBezTo>
                  <a:pt x="23" y="73"/>
                  <a:pt x="24" y="68"/>
                  <a:pt x="31" y="61"/>
                </a:cubicBezTo>
                <a:cubicBezTo>
                  <a:pt x="32" y="59"/>
                  <a:pt x="32" y="59"/>
                  <a:pt x="32" y="59"/>
                </a:cubicBezTo>
                <a:cubicBezTo>
                  <a:pt x="32" y="58"/>
                  <a:pt x="32" y="58"/>
                  <a:pt x="32" y="58"/>
                </a:cubicBezTo>
                <a:cubicBezTo>
                  <a:pt x="31" y="56"/>
                  <a:pt x="30" y="55"/>
                  <a:pt x="30" y="53"/>
                </a:cubicBezTo>
                <a:cubicBezTo>
                  <a:pt x="28" y="49"/>
                  <a:pt x="27" y="45"/>
                  <a:pt x="24" y="43"/>
                </a:cubicBezTo>
                <a:cubicBezTo>
                  <a:pt x="29" y="43"/>
                  <a:pt x="36" y="45"/>
                  <a:pt x="44" y="48"/>
                </a:cubicBezTo>
                <a:cubicBezTo>
                  <a:pt x="45" y="49"/>
                  <a:pt x="45" y="49"/>
                  <a:pt x="45" y="49"/>
                </a:cubicBezTo>
                <a:cubicBezTo>
                  <a:pt x="46" y="48"/>
                  <a:pt x="46" y="48"/>
                  <a:pt x="46" y="48"/>
                </a:cubicBezTo>
                <a:cubicBezTo>
                  <a:pt x="48" y="48"/>
                  <a:pt x="50" y="47"/>
                  <a:pt x="53" y="46"/>
                </a:cubicBezTo>
                <a:cubicBezTo>
                  <a:pt x="53" y="47"/>
                  <a:pt x="54" y="48"/>
                  <a:pt x="55" y="50"/>
                </a:cubicBezTo>
                <a:cubicBezTo>
                  <a:pt x="55" y="50"/>
                  <a:pt x="55" y="50"/>
                  <a:pt x="55" y="50"/>
                </a:cubicBezTo>
                <a:cubicBezTo>
                  <a:pt x="56" y="51"/>
                  <a:pt x="56" y="52"/>
                  <a:pt x="57" y="53"/>
                </a:cubicBezTo>
                <a:cubicBezTo>
                  <a:pt x="57" y="53"/>
                  <a:pt x="57" y="53"/>
                  <a:pt x="57" y="54"/>
                </a:cubicBezTo>
                <a:cubicBezTo>
                  <a:pt x="58" y="55"/>
                  <a:pt x="59" y="55"/>
                  <a:pt x="60" y="56"/>
                </a:cubicBezTo>
                <a:cubicBezTo>
                  <a:pt x="60" y="56"/>
                  <a:pt x="60" y="57"/>
                  <a:pt x="60" y="57"/>
                </a:cubicBezTo>
                <a:cubicBezTo>
                  <a:pt x="60" y="57"/>
                  <a:pt x="61" y="57"/>
                  <a:pt x="61" y="57"/>
                </a:cubicBezTo>
                <a:cubicBezTo>
                  <a:pt x="59" y="58"/>
                  <a:pt x="58" y="60"/>
                  <a:pt x="57" y="61"/>
                </a:cubicBezTo>
                <a:cubicBezTo>
                  <a:pt x="56" y="62"/>
                  <a:pt x="56" y="64"/>
                  <a:pt x="57" y="65"/>
                </a:cubicBezTo>
                <a:cubicBezTo>
                  <a:pt x="58" y="66"/>
                  <a:pt x="59" y="66"/>
                  <a:pt x="60" y="65"/>
                </a:cubicBezTo>
                <a:cubicBezTo>
                  <a:pt x="62" y="63"/>
                  <a:pt x="64" y="61"/>
                  <a:pt x="66" y="60"/>
                </a:cubicBezTo>
                <a:cubicBezTo>
                  <a:pt x="66" y="60"/>
                  <a:pt x="66" y="60"/>
                  <a:pt x="66" y="60"/>
                </a:cubicBezTo>
                <a:cubicBezTo>
                  <a:pt x="67" y="59"/>
                  <a:pt x="68" y="59"/>
                  <a:pt x="69" y="58"/>
                </a:cubicBezTo>
                <a:cubicBezTo>
                  <a:pt x="69" y="58"/>
                  <a:pt x="70" y="58"/>
                  <a:pt x="70" y="58"/>
                </a:cubicBezTo>
                <a:cubicBezTo>
                  <a:pt x="71" y="58"/>
                  <a:pt x="71" y="57"/>
                  <a:pt x="72" y="57"/>
                </a:cubicBezTo>
                <a:cubicBezTo>
                  <a:pt x="72" y="57"/>
                  <a:pt x="72" y="57"/>
                  <a:pt x="73" y="57"/>
                </a:cubicBezTo>
                <a:cubicBezTo>
                  <a:pt x="74" y="56"/>
                  <a:pt x="75" y="56"/>
                  <a:pt x="76" y="56"/>
                </a:cubicBezTo>
                <a:cubicBezTo>
                  <a:pt x="76" y="56"/>
                  <a:pt x="76" y="55"/>
                  <a:pt x="76" y="55"/>
                </a:cubicBezTo>
                <a:cubicBezTo>
                  <a:pt x="77" y="55"/>
                  <a:pt x="78" y="55"/>
                  <a:pt x="79" y="55"/>
                </a:cubicBezTo>
                <a:cubicBezTo>
                  <a:pt x="79" y="55"/>
                  <a:pt x="79" y="55"/>
                  <a:pt x="79" y="55"/>
                </a:cubicBezTo>
                <a:cubicBezTo>
                  <a:pt x="86" y="53"/>
                  <a:pt x="93" y="54"/>
                  <a:pt x="100" y="57"/>
                </a:cubicBezTo>
                <a:cubicBezTo>
                  <a:pt x="100" y="57"/>
                  <a:pt x="100" y="57"/>
                  <a:pt x="100" y="57"/>
                </a:cubicBezTo>
                <a:cubicBezTo>
                  <a:pt x="105" y="59"/>
                  <a:pt x="109" y="61"/>
                  <a:pt x="112" y="65"/>
                </a:cubicBezTo>
                <a:cubicBezTo>
                  <a:pt x="113" y="65"/>
                  <a:pt x="113" y="66"/>
                  <a:pt x="114" y="66"/>
                </a:cubicBezTo>
                <a:cubicBezTo>
                  <a:pt x="115" y="66"/>
                  <a:pt x="115" y="65"/>
                  <a:pt x="116" y="65"/>
                </a:cubicBezTo>
                <a:cubicBezTo>
                  <a:pt x="117" y="64"/>
                  <a:pt x="117" y="62"/>
                  <a:pt x="116" y="61"/>
                </a:cubicBezTo>
                <a:cubicBezTo>
                  <a:pt x="114" y="59"/>
                  <a:pt x="111" y="57"/>
                  <a:pt x="109" y="55"/>
                </a:cubicBezTo>
                <a:cubicBezTo>
                  <a:pt x="109" y="55"/>
                  <a:pt x="109" y="55"/>
                  <a:pt x="109" y="54"/>
                </a:cubicBezTo>
                <a:cubicBezTo>
                  <a:pt x="110" y="54"/>
                  <a:pt x="110" y="54"/>
                  <a:pt x="111" y="53"/>
                </a:cubicBezTo>
                <a:cubicBezTo>
                  <a:pt x="111" y="53"/>
                  <a:pt x="111" y="52"/>
                  <a:pt x="111" y="52"/>
                </a:cubicBezTo>
                <a:cubicBezTo>
                  <a:pt x="112" y="51"/>
                  <a:pt x="112" y="51"/>
                  <a:pt x="112" y="51"/>
                </a:cubicBezTo>
                <a:cubicBezTo>
                  <a:pt x="113" y="50"/>
                  <a:pt x="113" y="50"/>
                  <a:pt x="113" y="49"/>
                </a:cubicBezTo>
                <a:cubicBezTo>
                  <a:pt x="113" y="49"/>
                  <a:pt x="113" y="49"/>
                  <a:pt x="113" y="49"/>
                </a:cubicBezTo>
                <a:cubicBezTo>
                  <a:pt x="124" y="55"/>
                  <a:pt x="131" y="63"/>
                  <a:pt x="136" y="74"/>
                </a:cubicBezTo>
                <a:cubicBezTo>
                  <a:pt x="135" y="74"/>
                  <a:pt x="135" y="75"/>
                  <a:pt x="134" y="75"/>
                </a:cubicBezTo>
                <a:cubicBezTo>
                  <a:pt x="134" y="75"/>
                  <a:pt x="134" y="75"/>
                  <a:pt x="134" y="75"/>
                </a:cubicBezTo>
                <a:cubicBezTo>
                  <a:pt x="133" y="76"/>
                  <a:pt x="132" y="78"/>
                  <a:pt x="132" y="79"/>
                </a:cubicBezTo>
                <a:cubicBezTo>
                  <a:pt x="131" y="79"/>
                  <a:pt x="131" y="79"/>
                  <a:pt x="131" y="79"/>
                </a:cubicBezTo>
                <a:cubicBezTo>
                  <a:pt x="131" y="80"/>
                  <a:pt x="131" y="80"/>
                  <a:pt x="131" y="81"/>
                </a:cubicBezTo>
                <a:cubicBezTo>
                  <a:pt x="131" y="81"/>
                  <a:pt x="131" y="81"/>
                  <a:pt x="131" y="82"/>
                </a:cubicBezTo>
                <a:cubicBezTo>
                  <a:pt x="131" y="82"/>
                  <a:pt x="130" y="83"/>
                  <a:pt x="130" y="84"/>
                </a:cubicBezTo>
                <a:cubicBezTo>
                  <a:pt x="130" y="85"/>
                  <a:pt x="131" y="85"/>
                  <a:pt x="131" y="86"/>
                </a:cubicBezTo>
                <a:cubicBezTo>
                  <a:pt x="131" y="86"/>
                  <a:pt x="131" y="87"/>
                  <a:pt x="131" y="87"/>
                </a:cubicBezTo>
                <a:cubicBezTo>
                  <a:pt x="131" y="87"/>
                  <a:pt x="131" y="88"/>
                  <a:pt x="131" y="88"/>
                </a:cubicBezTo>
                <a:cubicBezTo>
                  <a:pt x="131" y="89"/>
                  <a:pt x="132" y="89"/>
                  <a:pt x="132" y="89"/>
                </a:cubicBezTo>
                <a:cubicBezTo>
                  <a:pt x="132" y="89"/>
                  <a:pt x="132" y="90"/>
                  <a:pt x="132" y="90"/>
                </a:cubicBezTo>
                <a:cubicBezTo>
                  <a:pt x="133" y="90"/>
                  <a:pt x="133" y="91"/>
                  <a:pt x="133" y="91"/>
                </a:cubicBezTo>
                <a:cubicBezTo>
                  <a:pt x="133" y="91"/>
                  <a:pt x="133" y="92"/>
                  <a:pt x="134" y="92"/>
                </a:cubicBezTo>
                <a:cubicBezTo>
                  <a:pt x="134" y="92"/>
                  <a:pt x="134" y="92"/>
                  <a:pt x="134" y="93"/>
                </a:cubicBezTo>
                <a:cubicBezTo>
                  <a:pt x="135" y="93"/>
                  <a:pt x="135" y="93"/>
                  <a:pt x="135" y="93"/>
                </a:cubicBezTo>
                <a:cubicBezTo>
                  <a:pt x="136" y="94"/>
                  <a:pt x="136" y="94"/>
                  <a:pt x="136" y="94"/>
                </a:cubicBezTo>
                <a:cubicBezTo>
                  <a:pt x="137" y="94"/>
                  <a:pt x="137" y="94"/>
                  <a:pt x="137" y="95"/>
                </a:cubicBezTo>
                <a:cubicBezTo>
                  <a:pt x="138" y="95"/>
                  <a:pt x="138" y="95"/>
                  <a:pt x="138" y="95"/>
                </a:cubicBezTo>
                <a:cubicBezTo>
                  <a:pt x="139" y="95"/>
                  <a:pt x="139" y="95"/>
                  <a:pt x="139" y="95"/>
                </a:cubicBezTo>
                <a:cubicBezTo>
                  <a:pt x="140" y="95"/>
                  <a:pt x="140" y="95"/>
                  <a:pt x="140" y="96"/>
                </a:cubicBezTo>
                <a:cubicBezTo>
                  <a:pt x="141" y="96"/>
                  <a:pt x="141" y="96"/>
                  <a:pt x="141" y="96"/>
                </a:cubicBezTo>
                <a:cubicBezTo>
                  <a:pt x="141" y="98"/>
                  <a:pt x="141" y="101"/>
                  <a:pt x="141" y="104"/>
                </a:cubicBezTo>
                <a:cubicBezTo>
                  <a:pt x="141" y="116"/>
                  <a:pt x="136" y="127"/>
                  <a:pt x="128" y="135"/>
                </a:cubicBezTo>
                <a:close/>
                <a:moveTo>
                  <a:pt x="146" y="98"/>
                </a:moveTo>
                <a:cubicBezTo>
                  <a:pt x="146" y="97"/>
                  <a:pt x="146" y="96"/>
                  <a:pt x="146" y="95"/>
                </a:cubicBezTo>
                <a:cubicBezTo>
                  <a:pt x="150" y="94"/>
                  <a:pt x="154" y="90"/>
                  <a:pt x="154" y="86"/>
                </a:cubicBezTo>
                <a:cubicBezTo>
                  <a:pt x="154" y="86"/>
                  <a:pt x="154" y="87"/>
                  <a:pt x="154" y="88"/>
                </a:cubicBezTo>
                <a:cubicBezTo>
                  <a:pt x="154" y="93"/>
                  <a:pt x="151" y="97"/>
                  <a:pt x="146" y="98"/>
                </a:cubicBezTo>
                <a:close/>
                <a:moveTo>
                  <a:pt x="70" y="50"/>
                </a:moveTo>
                <a:cubicBezTo>
                  <a:pt x="71" y="50"/>
                  <a:pt x="71" y="50"/>
                  <a:pt x="72" y="50"/>
                </a:cubicBezTo>
                <a:cubicBezTo>
                  <a:pt x="73" y="50"/>
                  <a:pt x="73" y="50"/>
                  <a:pt x="74" y="49"/>
                </a:cubicBezTo>
                <a:cubicBezTo>
                  <a:pt x="75" y="48"/>
                  <a:pt x="75" y="47"/>
                  <a:pt x="73" y="46"/>
                </a:cubicBezTo>
                <a:cubicBezTo>
                  <a:pt x="69" y="42"/>
                  <a:pt x="67" y="37"/>
                  <a:pt x="67" y="32"/>
                </a:cubicBezTo>
                <a:cubicBezTo>
                  <a:pt x="67" y="23"/>
                  <a:pt x="74" y="15"/>
                  <a:pt x="84" y="15"/>
                </a:cubicBezTo>
                <a:cubicBezTo>
                  <a:pt x="93" y="15"/>
                  <a:pt x="101" y="23"/>
                  <a:pt x="101" y="32"/>
                </a:cubicBezTo>
                <a:cubicBezTo>
                  <a:pt x="101" y="37"/>
                  <a:pt x="99" y="41"/>
                  <a:pt x="95" y="45"/>
                </a:cubicBezTo>
                <a:cubicBezTo>
                  <a:pt x="94" y="46"/>
                  <a:pt x="94" y="47"/>
                  <a:pt x="95" y="48"/>
                </a:cubicBezTo>
                <a:cubicBezTo>
                  <a:pt x="96" y="50"/>
                  <a:pt x="98" y="50"/>
                  <a:pt x="99" y="49"/>
                </a:cubicBezTo>
                <a:cubicBezTo>
                  <a:pt x="104" y="44"/>
                  <a:pt x="106" y="38"/>
                  <a:pt x="106" y="32"/>
                </a:cubicBezTo>
                <a:cubicBezTo>
                  <a:pt x="106" y="20"/>
                  <a:pt x="96" y="10"/>
                  <a:pt x="84" y="10"/>
                </a:cubicBezTo>
                <a:cubicBezTo>
                  <a:pt x="71" y="10"/>
                  <a:pt x="61" y="20"/>
                  <a:pt x="61" y="32"/>
                </a:cubicBezTo>
                <a:cubicBezTo>
                  <a:pt x="61" y="39"/>
                  <a:pt x="65" y="46"/>
                  <a:pt x="70" y="50"/>
                </a:cubicBezTo>
                <a:close/>
                <a:moveTo>
                  <a:pt x="85" y="141"/>
                </a:moveTo>
                <a:cubicBezTo>
                  <a:pt x="73" y="142"/>
                  <a:pt x="63" y="141"/>
                  <a:pt x="52" y="136"/>
                </a:cubicBezTo>
                <a:cubicBezTo>
                  <a:pt x="51" y="136"/>
                  <a:pt x="49" y="136"/>
                  <a:pt x="49" y="138"/>
                </a:cubicBezTo>
                <a:cubicBezTo>
                  <a:pt x="48" y="139"/>
                  <a:pt x="49" y="140"/>
                  <a:pt x="50" y="141"/>
                </a:cubicBezTo>
                <a:cubicBezTo>
                  <a:pt x="59" y="145"/>
                  <a:pt x="68" y="147"/>
                  <a:pt x="78" y="147"/>
                </a:cubicBezTo>
                <a:cubicBezTo>
                  <a:pt x="81" y="147"/>
                  <a:pt x="83" y="147"/>
                  <a:pt x="85" y="147"/>
                </a:cubicBezTo>
                <a:cubicBezTo>
                  <a:pt x="87" y="147"/>
                  <a:pt x="88" y="145"/>
                  <a:pt x="88" y="144"/>
                </a:cubicBezTo>
                <a:cubicBezTo>
                  <a:pt x="88" y="142"/>
                  <a:pt x="86" y="141"/>
                  <a:pt x="85" y="1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8" name="TextBox 17"/>
          <p:cNvSpPr txBox="1"/>
          <p:nvPr/>
        </p:nvSpPr>
        <p:spPr>
          <a:xfrm>
            <a:off x="7600294" y="4464867"/>
            <a:ext cx="3613806" cy="1634294"/>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It always does one good. Apparently we had reached a great height in the atmosphere, for the sky was a dead black, and the stars had ceased to twinkle. </a:t>
            </a:r>
          </a:p>
        </p:txBody>
      </p:sp>
      <p:sp>
        <p:nvSpPr>
          <p:cNvPr id="23" name="Freeform 1133">
            <a:extLst>
              <a:ext uri="{FF2B5EF4-FFF2-40B4-BE49-F238E27FC236}">
                <a16:creationId xmlns:a16="http://schemas.microsoft.com/office/drawing/2014/main" id="{48BCBC5B-0FAF-4A50-92CD-00E076DD48C2}"/>
              </a:ext>
            </a:extLst>
          </p:cNvPr>
          <p:cNvSpPr>
            <a:spLocks noEditPoints="1"/>
          </p:cNvSpPr>
          <p:nvPr/>
        </p:nvSpPr>
        <p:spPr bwMode="auto">
          <a:xfrm>
            <a:off x="6685894" y="1062390"/>
            <a:ext cx="604203" cy="607695"/>
          </a:xfrm>
          <a:custGeom>
            <a:avLst/>
            <a:gdLst>
              <a:gd name="T0" fmla="*/ 80 w 160"/>
              <a:gd name="T1" fmla="*/ 139 h 160"/>
              <a:gd name="T2" fmla="*/ 80 w 160"/>
              <a:gd name="T3" fmla="*/ 27 h 160"/>
              <a:gd name="T4" fmla="*/ 77 w 160"/>
              <a:gd name="T5" fmla="*/ 32 h 160"/>
              <a:gd name="T6" fmla="*/ 77 w 160"/>
              <a:gd name="T7" fmla="*/ 128 h 160"/>
              <a:gd name="T8" fmla="*/ 123 w 160"/>
              <a:gd name="T9" fmla="*/ 83 h 160"/>
              <a:gd name="T10" fmla="*/ 120 w 160"/>
              <a:gd name="T11" fmla="*/ 80 h 160"/>
              <a:gd name="T12" fmla="*/ 32 w 160"/>
              <a:gd name="T13" fmla="*/ 83 h 160"/>
              <a:gd name="T14" fmla="*/ 53 w 160"/>
              <a:gd name="T15" fmla="*/ 109 h 160"/>
              <a:gd name="T16" fmla="*/ 83 w 160"/>
              <a:gd name="T17" fmla="*/ 53 h 160"/>
              <a:gd name="T18" fmla="*/ 71 w 160"/>
              <a:gd name="T19" fmla="*/ 83 h 160"/>
              <a:gd name="T20" fmla="*/ 85 w 160"/>
              <a:gd name="T21" fmla="*/ 77 h 160"/>
              <a:gd name="T22" fmla="*/ 48 w 160"/>
              <a:gd name="T23" fmla="*/ 27 h 160"/>
              <a:gd name="T24" fmla="*/ 155 w 160"/>
              <a:gd name="T25" fmla="*/ 80 h 160"/>
              <a:gd name="T26" fmla="*/ 29 w 160"/>
              <a:gd name="T27" fmla="*/ 3 h 160"/>
              <a:gd name="T28" fmla="*/ 27 w 160"/>
              <a:gd name="T29" fmla="*/ 27 h 160"/>
              <a:gd name="T30" fmla="*/ 12 w 160"/>
              <a:gd name="T31" fmla="*/ 116 h 160"/>
              <a:gd name="T32" fmla="*/ 19 w 160"/>
              <a:gd name="T33" fmla="*/ 130 h 160"/>
              <a:gd name="T34" fmla="*/ 12 w 160"/>
              <a:gd name="T35" fmla="*/ 122 h 160"/>
              <a:gd name="T36" fmla="*/ 22 w 160"/>
              <a:gd name="T37" fmla="*/ 135 h 160"/>
              <a:gd name="T38" fmla="*/ 28 w 160"/>
              <a:gd name="T39" fmla="*/ 137 h 160"/>
              <a:gd name="T40" fmla="*/ 28 w 160"/>
              <a:gd name="T41" fmla="*/ 137 h 160"/>
              <a:gd name="T42" fmla="*/ 5 w 160"/>
              <a:gd name="T43" fmla="*/ 101 h 160"/>
              <a:gd name="T44" fmla="*/ 1 w 160"/>
              <a:gd name="T45" fmla="*/ 91 h 160"/>
              <a:gd name="T46" fmla="*/ 5 w 160"/>
              <a:gd name="T47" fmla="*/ 107 h 160"/>
              <a:gd name="T48" fmla="*/ 3 w 160"/>
              <a:gd name="T49" fmla="*/ 86 h 160"/>
              <a:gd name="T50" fmla="*/ 34 w 160"/>
              <a:gd name="T51" fmla="*/ 142 h 160"/>
              <a:gd name="T52" fmla="*/ 34 w 160"/>
              <a:gd name="T53" fmla="*/ 142 h 160"/>
              <a:gd name="T54" fmla="*/ 134 w 160"/>
              <a:gd name="T55" fmla="*/ 139 h 160"/>
              <a:gd name="T56" fmla="*/ 138 w 160"/>
              <a:gd name="T57" fmla="*/ 134 h 160"/>
              <a:gd name="T58" fmla="*/ 141 w 160"/>
              <a:gd name="T59" fmla="*/ 127 h 160"/>
              <a:gd name="T60" fmla="*/ 125 w 160"/>
              <a:gd name="T61" fmla="*/ 140 h 160"/>
              <a:gd name="T62" fmla="*/ 125 w 160"/>
              <a:gd name="T63" fmla="*/ 140 h 160"/>
              <a:gd name="T64" fmla="*/ 122 w 160"/>
              <a:gd name="T65" fmla="*/ 145 h 160"/>
              <a:gd name="T66" fmla="*/ 146 w 160"/>
              <a:gd name="T67" fmla="*/ 121 h 160"/>
              <a:gd name="T68" fmla="*/ 154 w 160"/>
              <a:gd name="T69" fmla="*/ 88 h 160"/>
              <a:gd name="T70" fmla="*/ 156 w 160"/>
              <a:gd name="T71" fmla="*/ 93 h 160"/>
              <a:gd name="T72" fmla="*/ 156 w 160"/>
              <a:gd name="T73" fmla="*/ 93 h 160"/>
              <a:gd name="T74" fmla="*/ 156 w 160"/>
              <a:gd name="T75" fmla="*/ 104 h 160"/>
              <a:gd name="T76" fmla="*/ 151 w 160"/>
              <a:gd name="T77" fmla="*/ 114 h 160"/>
              <a:gd name="T78" fmla="*/ 112 w 160"/>
              <a:gd name="T79" fmla="*/ 153 h 160"/>
              <a:gd name="T80" fmla="*/ 63 w 160"/>
              <a:gd name="T81" fmla="*/ 156 h 160"/>
              <a:gd name="T82" fmla="*/ 74 w 160"/>
              <a:gd name="T83" fmla="*/ 154 h 160"/>
              <a:gd name="T84" fmla="*/ 76 w 160"/>
              <a:gd name="T85" fmla="*/ 157 h 160"/>
              <a:gd name="T86" fmla="*/ 58 w 160"/>
              <a:gd name="T87" fmla="*/ 157 h 160"/>
              <a:gd name="T88" fmla="*/ 49 w 160"/>
              <a:gd name="T89" fmla="*/ 154 h 160"/>
              <a:gd name="T90" fmla="*/ 87 w 160"/>
              <a:gd name="T91" fmla="*/ 157 h 160"/>
              <a:gd name="T92" fmla="*/ 89 w 160"/>
              <a:gd name="T93" fmla="*/ 154 h 160"/>
              <a:gd name="T94" fmla="*/ 108 w 160"/>
              <a:gd name="T95" fmla="*/ 152 h 160"/>
              <a:gd name="T96" fmla="*/ 98 w 160"/>
              <a:gd name="T97" fmla="*/ 158 h 160"/>
              <a:gd name="T98" fmla="*/ 81 w 160"/>
              <a:gd name="T99" fmla="*/ 160 h 160"/>
              <a:gd name="T100" fmla="*/ 41 w 160"/>
              <a:gd name="T101" fmla="*/ 1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160">
                <a:moveTo>
                  <a:pt x="80" y="139"/>
                </a:moveTo>
                <a:cubicBezTo>
                  <a:pt x="112" y="139"/>
                  <a:pt x="139" y="112"/>
                  <a:pt x="139" y="80"/>
                </a:cubicBezTo>
                <a:cubicBezTo>
                  <a:pt x="139" y="48"/>
                  <a:pt x="112" y="21"/>
                  <a:pt x="80" y="21"/>
                </a:cubicBezTo>
                <a:cubicBezTo>
                  <a:pt x="48" y="21"/>
                  <a:pt x="21" y="48"/>
                  <a:pt x="21" y="80"/>
                </a:cubicBezTo>
                <a:cubicBezTo>
                  <a:pt x="21" y="112"/>
                  <a:pt x="48" y="139"/>
                  <a:pt x="80" y="139"/>
                </a:cubicBezTo>
                <a:close/>
                <a:moveTo>
                  <a:pt x="80" y="27"/>
                </a:moveTo>
                <a:cubicBezTo>
                  <a:pt x="109" y="27"/>
                  <a:pt x="133" y="51"/>
                  <a:pt x="133" y="80"/>
                </a:cubicBezTo>
                <a:cubicBezTo>
                  <a:pt x="133" y="109"/>
                  <a:pt x="109" y="133"/>
                  <a:pt x="80" y="133"/>
                </a:cubicBezTo>
                <a:cubicBezTo>
                  <a:pt x="51" y="133"/>
                  <a:pt x="27" y="109"/>
                  <a:pt x="27" y="80"/>
                </a:cubicBezTo>
                <a:cubicBezTo>
                  <a:pt x="27" y="51"/>
                  <a:pt x="51" y="27"/>
                  <a:pt x="80" y="27"/>
                </a:cubicBezTo>
                <a:close/>
                <a:moveTo>
                  <a:pt x="80" y="40"/>
                </a:moveTo>
                <a:cubicBezTo>
                  <a:pt x="81" y="40"/>
                  <a:pt x="83" y="39"/>
                  <a:pt x="83" y="37"/>
                </a:cubicBezTo>
                <a:cubicBezTo>
                  <a:pt x="83" y="32"/>
                  <a:pt x="83" y="32"/>
                  <a:pt x="83" y="32"/>
                </a:cubicBezTo>
                <a:cubicBezTo>
                  <a:pt x="83" y="31"/>
                  <a:pt x="81" y="29"/>
                  <a:pt x="80" y="29"/>
                </a:cubicBezTo>
                <a:cubicBezTo>
                  <a:pt x="78" y="29"/>
                  <a:pt x="77" y="31"/>
                  <a:pt x="77" y="32"/>
                </a:cubicBezTo>
                <a:cubicBezTo>
                  <a:pt x="77" y="37"/>
                  <a:pt x="77" y="37"/>
                  <a:pt x="77" y="37"/>
                </a:cubicBezTo>
                <a:cubicBezTo>
                  <a:pt x="77" y="39"/>
                  <a:pt x="78" y="40"/>
                  <a:pt x="80" y="40"/>
                </a:cubicBezTo>
                <a:close/>
                <a:moveTo>
                  <a:pt x="80" y="120"/>
                </a:moveTo>
                <a:cubicBezTo>
                  <a:pt x="78" y="120"/>
                  <a:pt x="77" y="121"/>
                  <a:pt x="77" y="123"/>
                </a:cubicBezTo>
                <a:cubicBezTo>
                  <a:pt x="77" y="128"/>
                  <a:pt x="77" y="128"/>
                  <a:pt x="77" y="128"/>
                </a:cubicBezTo>
                <a:cubicBezTo>
                  <a:pt x="77" y="129"/>
                  <a:pt x="78" y="131"/>
                  <a:pt x="80" y="131"/>
                </a:cubicBezTo>
                <a:cubicBezTo>
                  <a:pt x="81" y="131"/>
                  <a:pt x="83" y="129"/>
                  <a:pt x="83" y="128"/>
                </a:cubicBezTo>
                <a:cubicBezTo>
                  <a:pt x="83" y="123"/>
                  <a:pt x="83" y="123"/>
                  <a:pt x="83" y="123"/>
                </a:cubicBezTo>
                <a:cubicBezTo>
                  <a:pt x="83" y="121"/>
                  <a:pt x="81" y="120"/>
                  <a:pt x="80" y="120"/>
                </a:cubicBezTo>
                <a:close/>
                <a:moveTo>
                  <a:pt x="123" y="83"/>
                </a:moveTo>
                <a:cubicBezTo>
                  <a:pt x="128" y="83"/>
                  <a:pt x="128" y="83"/>
                  <a:pt x="128" y="83"/>
                </a:cubicBezTo>
                <a:cubicBezTo>
                  <a:pt x="129" y="83"/>
                  <a:pt x="131" y="81"/>
                  <a:pt x="131" y="80"/>
                </a:cubicBezTo>
                <a:cubicBezTo>
                  <a:pt x="131" y="79"/>
                  <a:pt x="129" y="77"/>
                  <a:pt x="128" y="77"/>
                </a:cubicBezTo>
                <a:cubicBezTo>
                  <a:pt x="123" y="77"/>
                  <a:pt x="123" y="77"/>
                  <a:pt x="123" y="77"/>
                </a:cubicBezTo>
                <a:cubicBezTo>
                  <a:pt x="121" y="77"/>
                  <a:pt x="120" y="79"/>
                  <a:pt x="120" y="80"/>
                </a:cubicBezTo>
                <a:cubicBezTo>
                  <a:pt x="120" y="81"/>
                  <a:pt x="121" y="83"/>
                  <a:pt x="123" y="83"/>
                </a:cubicBezTo>
                <a:close/>
                <a:moveTo>
                  <a:pt x="37" y="77"/>
                </a:moveTo>
                <a:cubicBezTo>
                  <a:pt x="32" y="77"/>
                  <a:pt x="32" y="77"/>
                  <a:pt x="32" y="77"/>
                </a:cubicBezTo>
                <a:cubicBezTo>
                  <a:pt x="30" y="77"/>
                  <a:pt x="29" y="79"/>
                  <a:pt x="29" y="80"/>
                </a:cubicBezTo>
                <a:cubicBezTo>
                  <a:pt x="29" y="81"/>
                  <a:pt x="30" y="83"/>
                  <a:pt x="32" y="83"/>
                </a:cubicBezTo>
                <a:cubicBezTo>
                  <a:pt x="37" y="83"/>
                  <a:pt x="37" y="83"/>
                  <a:pt x="37" y="83"/>
                </a:cubicBezTo>
                <a:cubicBezTo>
                  <a:pt x="39" y="83"/>
                  <a:pt x="40" y="81"/>
                  <a:pt x="40" y="80"/>
                </a:cubicBezTo>
                <a:cubicBezTo>
                  <a:pt x="40" y="79"/>
                  <a:pt x="39" y="77"/>
                  <a:pt x="37" y="77"/>
                </a:cubicBezTo>
                <a:close/>
                <a:moveTo>
                  <a:pt x="51" y="109"/>
                </a:moveTo>
                <a:cubicBezTo>
                  <a:pt x="51" y="109"/>
                  <a:pt x="52" y="109"/>
                  <a:pt x="53" y="109"/>
                </a:cubicBezTo>
                <a:cubicBezTo>
                  <a:pt x="75" y="87"/>
                  <a:pt x="75" y="87"/>
                  <a:pt x="75" y="87"/>
                </a:cubicBezTo>
                <a:cubicBezTo>
                  <a:pt x="76" y="87"/>
                  <a:pt x="78" y="88"/>
                  <a:pt x="80" y="88"/>
                </a:cubicBezTo>
                <a:cubicBezTo>
                  <a:pt x="86" y="88"/>
                  <a:pt x="91" y="83"/>
                  <a:pt x="91" y="77"/>
                </a:cubicBezTo>
                <a:cubicBezTo>
                  <a:pt x="91" y="72"/>
                  <a:pt x="87" y="68"/>
                  <a:pt x="83" y="67"/>
                </a:cubicBezTo>
                <a:cubicBezTo>
                  <a:pt x="83" y="53"/>
                  <a:pt x="83" y="53"/>
                  <a:pt x="83" y="53"/>
                </a:cubicBezTo>
                <a:cubicBezTo>
                  <a:pt x="83" y="52"/>
                  <a:pt x="81" y="51"/>
                  <a:pt x="80" y="51"/>
                </a:cubicBezTo>
                <a:cubicBezTo>
                  <a:pt x="78" y="51"/>
                  <a:pt x="77" y="52"/>
                  <a:pt x="77" y="53"/>
                </a:cubicBezTo>
                <a:cubicBezTo>
                  <a:pt x="77" y="67"/>
                  <a:pt x="77" y="67"/>
                  <a:pt x="77" y="67"/>
                </a:cubicBezTo>
                <a:cubicBezTo>
                  <a:pt x="73" y="68"/>
                  <a:pt x="69" y="72"/>
                  <a:pt x="69" y="77"/>
                </a:cubicBezTo>
                <a:cubicBezTo>
                  <a:pt x="69" y="79"/>
                  <a:pt x="70" y="81"/>
                  <a:pt x="71" y="83"/>
                </a:cubicBezTo>
                <a:cubicBezTo>
                  <a:pt x="49" y="105"/>
                  <a:pt x="49" y="105"/>
                  <a:pt x="49" y="105"/>
                </a:cubicBezTo>
                <a:cubicBezTo>
                  <a:pt x="48" y="106"/>
                  <a:pt x="48" y="108"/>
                  <a:pt x="49" y="109"/>
                </a:cubicBezTo>
                <a:cubicBezTo>
                  <a:pt x="49" y="109"/>
                  <a:pt x="50" y="109"/>
                  <a:pt x="51" y="109"/>
                </a:cubicBezTo>
                <a:close/>
                <a:moveTo>
                  <a:pt x="80" y="72"/>
                </a:moveTo>
                <a:cubicBezTo>
                  <a:pt x="83" y="72"/>
                  <a:pt x="85" y="74"/>
                  <a:pt x="85" y="77"/>
                </a:cubicBezTo>
                <a:cubicBezTo>
                  <a:pt x="85" y="80"/>
                  <a:pt x="83" y="83"/>
                  <a:pt x="80" y="83"/>
                </a:cubicBezTo>
                <a:cubicBezTo>
                  <a:pt x="77" y="83"/>
                  <a:pt x="75" y="80"/>
                  <a:pt x="75" y="77"/>
                </a:cubicBezTo>
                <a:cubicBezTo>
                  <a:pt x="75" y="74"/>
                  <a:pt x="77" y="72"/>
                  <a:pt x="80" y="72"/>
                </a:cubicBezTo>
                <a:close/>
                <a:moveTo>
                  <a:pt x="27" y="27"/>
                </a:moveTo>
                <a:cubicBezTo>
                  <a:pt x="48" y="27"/>
                  <a:pt x="48" y="27"/>
                  <a:pt x="48" y="27"/>
                </a:cubicBezTo>
                <a:cubicBezTo>
                  <a:pt x="49" y="27"/>
                  <a:pt x="51" y="25"/>
                  <a:pt x="51" y="24"/>
                </a:cubicBezTo>
                <a:cubicBezTo>
                  <a:pt x="51" y="23"/>
                  <a:pt x="49" y="21"/>
                  <a:pt x="48" y="21"/>
                </a:cubicBezTo>
                <a:cubicBezTo>
                  <a:pt x="34" y="21"/>
                  <a:pt x="34" y="21"/>
                  <a:pt x="34" y="21"/>
                </a:cubicBezTo>
                <a:cubicBezTo>
                  <a:pt x="47" y="11"/>
                  <a:pt x="63" y="5"/>
                  <a:pt x="80" y="5"/>
                </a:cubicBezTo>
                <a:cubicBezTo>
                  <a:pt x="121" y="5"/>
                  <a:pt x="155" y="39"/>
                  <a:pt x="155" y="80"/>
                </a:cubicBezTo>
                <a:cubicBezTo>
                  <a:pt x="155" y="81"/>
                  <a:pt x="156" y="83"/>
                  <a:pt x="157" y="83"/>
                </a:cubicBezTo>
                <a:cubicBezTo>
                  <a:pt x="159" y="83"/>
                  <a:pt x="160" y="81"/>
                  <a:pt x="160" y="80"/>
                </a:cubicBezTo>
                <a:cubicBezTo>
                  <a:pt x="160" y="36"/>
                  <a:pt x="124" y="0"/>
                  <a:pt x="80" y="0"/>
                </a:cubicBezTo>
                <a:cubicBezTo>
                  <a:pt x="61" y="0"/>
                  <a:pt x="44" y="6"/>
                  <a:pt x="29" y="18"/>
                </a:cubicBezTo>
                <a:cubicBezTo>
                  <a:pt x="29" y="3"/>
                  <a:pt x="29" y="3"/>
                  <a:pt x="29" y="3"/>
                </a:cubicBezTo>
                <a:cubicBezTo>
                  <a:pt x="29" y="1"/>
                  <a:pt x="28" y="0"/>
                  <a:pt x="27" y="0"/>
                </a:cubicBezTo>
                <a:cubicBezTo>
                  <a:pt x="25" y="0"/>
                  <a:pt x="24" y="1"/>
                  <a:pt x="24" y="3"/>
                </a:cubicBezTo>
                <a:cubicBezTo>
                  <a:pt x="24" y="27"/>
                  <a:pt x="24" y="27"/>
                  <a:pt x="24" y="27"/>
                </a:cubicBezTo>
                <a:cubicBezTo>
                  <a:pt x="26" y="27"/>
                  <a:pt x="26" y="27"/>
                  <a:pt x="26" y="27"/>
                </a:cubicBezTo>
                <a:cubicBezTo>
                  <a:pt x="27" y="27"/>
                  <a:pt x="27" y="27"/>
                  <a:pt x="27" y="27"/>
                </a:cubicBezTo>
                <a:close/>
                <a:moveTo>
                  <a:pt x="13" y="113"/>
                </a:moveTo>
                <a:cubicBezTo>
                  <a:pt x="12" y="111"/>
                  <a:pt x="11" y="111"/>
                  <a:pt x="9" y="111"/>
                </a:cubicBezTo>
                <a:cubicBezTo>
                  <a:pt x="8" y="112"/>
                  <a:pt x="7" y="114"/>
                  <a:pt x="8" y="115"/>
                </a:cubicBezTo>
                <a:cubicBezTo>
                  <a:pt x="8" y="116"/>
                  <a:pt x="9" y="116"/>
                  <a:pt x="10" y="116"/>
                </a:cubicBezTo>
                <a:cubicBezTo>
                  <a:pt x="11" y="116"/>
                  <a:pt x="11" y="116"/>
                  <a:pt x="12" y="116"/>
                </a:cubicBezTo>
                <a:cubicBezTo>
                  <a:pt x="13" y="116"/>
                  <a:pt x="13" y="114"/>
                  <a:pt x="13" y="113"/>
                </a:cubicBezTo>
                <a:close/>
                <a:moveTo>
                  <a:pt x="21" y="126"/>
                </a:moveTo>
                <a:cubicBezTo>
                  <a:pt x="20" y="125"/>
                  <a:pt x="18" y="124"/>
                  <a:pt x="17" y="125"/>
                </a:cubicBezTo>
                <a:cubicBezTo>
                  <a:pt x="16" y="126"/>
                  <a:pt x="16" y="128"/>
                  <a:pt x="17" y="129"/>
                </a:cubicBezTo>
                <a:cubicBezTo>
                  <a:pt x="17" y="130"/>
                  <a:pt x="18" y="130"/>
                  <a:pt x="19" y="130"/>
                </a:cubicBezTo>
                <a:cubicBezTo>
                  <a:pt x="19" y="130"/>
                  <a:pt x="20" y="130"/>
                  <a:pt x="20" y="129"/>
                </a:cubicBezTo>
                <a:cubicBezTo>
                  <a:pt x="22" y="129"/>
                  <a:pt x="22" y="127"/>
                  <a:pt x="21" y="126"/>
                </a:cubicBezTo>
                <a:close/>
                <a:moveTo>
                  <a:pt x="17" y="119"/>
                </a:moveTo>
                <a:cubicBezTo>
                  <a:pt x="16" y="118"/>
                  <a:pt x="14" y="118"/>
                  <a:pt x="13" y="119"/>
                </a:cubicBezTo>
                <a:cubicBezTo>
                  <a:pt x="12" y="119"/>
                  <a:pt x="11" y="121"/>
                  <a:pt x="12" y="122"/>
                </a:cubicBezTo>
                <a:cubicBezTo>
                  <a:pt x="13" y="123"/>
                  <a:pt x="13" y="123"/>
                  <a:pt x="14" y="123"/>
                </a:cubicBezTo>
                <a:cubicBezTo>
                  <a:pt x="15" y="123"/>
                  <a:pt x="15" y="123"/>
                  <a:pt x="16" y="123"/>
                </a:cubicBezTo>
                <a:cubicBezTo>
                  <a:pt x="17" y="122"/>
                  <a:pt x="17" y="121"/>
                  <a:pt x="17" y="119"/>
                </a:cubicBezTo>
                <a:close/>
                <a:moveTo>
                  <a:pt x="22" y="131"/>
                </a:moveTo>
                <a:cubicBezTo>
                  <a:pt x="21" y="133"/>
                  <a:pt x="21" y="134"/>
                  <a:pt x="22" y="135"/>
                </a:cubicBezTo>
                <a:cubicBezTo>
                  <a:pt x="23" y="136"/>
                  <a:pt x="23" y="136"/>
                  <a:pt x="24" y="136"/>
                </a:cubicBezTo>
                <a:cubicBezTo>
                  <a:pt x="25" y="136"/>
                  <a:pt x="25" y="136"/>
                  <a:pt x="26" y="135"/>
                </a:cubicBezTo>
                <a:cubicBezTo>
                  <a:pt x="27" y="134"/>
                  <a:pt x="27" y="133"/>
                  <a:pt x="26" y="132"/>
                </a:cubicBezTo>
                <a:cubicBezTo>
                  <a:pt x="25" y="131"/>
                  <a:pt x="23" y="130"/>
                  <a:pt x="22" y="131"/>
                </a:cubicBezTo>
                <a:close/>
                <a:moveTo>
                  <a:pt x="28" y="137"/>
                </a:moveTo>
                <a:cubicBezTo>
                  <a:pt x="27" y="138"/>
                  <a:pt x="27" y="140"/>
                  <a:pt x="28" y="141"/>
                </a:cubicBezTo>
                <a:cubicBezTo>
                  <a:pt x="29" y="141"/>
                  <a:pt x="29" y="142"/>
                  <a:pt x="30" y="142"/>
                </a:cubicBezTo>
                <a:cubicBezTo>
                  <a:pt x="31" y="142"/>
                  <a:pt x="31" y="141"/>
                  <a:pt x="32" y="141"/>
                </a:cubicBezTo>
                <a:cubicBezTo>
                  <a:pt x="33" y="140"/>
                  <a:pt x="33" y="138"/>
                  <a:pt x="32" y="137"/>
                </a:cubicBezTo>
                <a:cubicBezTo>
                  <a:pt x="30" y="136"/>
                  <a:pt x="29" y="136"/>
                  <a:pt x="28" y="137"/>
                </a:cubicBezTo>
                <a:close/>
                <a:moveTo>
                  <a:pt x="6" y="101"/>
                </a:moveTo>
                <a:cubicBezTo>
                  <a:pt x="7" y="101"/>
                  <a:pt x="8" y="100"/>
                  <a:pt x="8" y="98"/>
                </a:cubicBezTo>
                <a:cubicBezTo>
                  <a:pt x="7" y="97"/>
                  <a:pt x="6" y="96"/>
                  <a:pt x="4" y="96"/>
                </a:cubicBezTo>
                <a:cubicBezTo>
                  <a:pt x="3" y="97"/>
                  <a:pt x="2" y="98"/>
                  <a:pt x="2" y="99"/>
                </a:cubicBezTo>
                <a:cubicBezTo>
                  <a:pt x="3" y="101"/>
                  <a:pt x="4" y="101"/>
                  <a:pt x="5" y="101"/>
                </a:cubicBezTo>
                <a:cubicBezTo>
                  <a:pt x="5" y="101"/>
                  <a:pt x="5" y="101"/>
                  <a:pt x="6" y="101"/>
                </a:cubicBezTo>
                <a:close/>
                <a:moveTo>
                  <a:pt x="4" y="94"/>
                </a:moveTo>
                <a:cubicBezTo>
                  <a:pt x="5" y="93"/>
                  <a:pt x="6" y="92"/>
                  <a:pt x="6" y="91"/>
                </a:cubicBezTo>
                <a:cubicBezTo>
                  <a:pt x="6" y="89"/>
                  <a:pt x="4" y="88"/>
                  <a:pt x="3" y="88"/>
                </a:cubicBezTo>
                <a:cubicBezTo>
                  <a:pt x="2" y="89"/>
                  <a:pt x="1" y="90"/>
                  <a:pt x="1" y="91"/>
                </a:cubicBezTo>
                <a:cubicBezTo>
                  <a:pt x="1" y="93"/>
                  <a:pt x="2" y="94"/>
                  <a:pt x="3" y="94"/>
                </a:cubicBezTo>
                <a:cubicBezTo>
                  <a:pt x="4" y="94"/>
                  <a:pt x="4" y="94"/>
                  <a:pt x="4" y="94"/>
                </a:cubicBezTo>
                <a:close/>
                <a:moveTo>
                  <a:pt x="10" y="106"/>
                </a:moveTo>
                <a:cubicBezTo>
                  <a:pt x="9" y="104"/>
                  <a:pt x="8" y="103"/>
                  <a:pt x="6" y="104"/>
                </a:cubicBezTo>
                <a:cubicBezTo>
                  <a:pt x="5" y="104"/>
                  <a:pt x="4" y="106"/>
                  <a:pt x="5" y="107"/>
                </a:cubicBezTo>
                <a:cubicBezTo>
                  <a:pt x="5" y="108"/>
                  <a:pt x="6" y="109"/>
                  <a:pt x="7" y="109"/>
                </a:cubicBezTo>
                <a:cubicBezTo>
                  <a:pt x="8" y="109"/>
                  <a:pt x="8" y="109"/>
                  <a:pt x="8" y="109"/>
                </a:cubicBezTo>
                <a:cubicBezTo>
                  <a:pt x="10" y="108"/>
                  <a:pt x="10" y="107"/>
                  <a:pt x="10" y="106"/>
                </a:cubicBezTo>
                <a:close/>
                <a:moveTo>
                  <a:pt x="3" y="86"/>
                </a:moveTo>
                <a:cubicBezTo>
                  <a:pt x="3" y="86"/>
                  <a:pt x="3" y="86"/>
                  <a:pt x="3" y="86"/>
                </a:cubicBezTo>
                <a:cubicBezTo>
                  <a:pt x="4" y="86"/>
                  <a:pt x="5" y="84"/>
                  <a:pt x="5" y="83"/>
                </a:cubicBezTo>
                <a:cubicBezTo>
                  <a:pt x="5" y="81"/>
                  <a:pt x="4" y="80"/>
                  <a:pt x="3" y="80"/>
                </a:cubicBezTo>
                <a:cubicBezTo>
                  <a:pt x="1" y="80"/>
                  <a:pt x="0" y="82"/>
                  <a:pt x="0" y="83"/>
                </a:cubicBezTo>
                <a:cubicBezTo>
                  <a:pt x="0" y="85"/>
                  <a:pt x="1" y="86"/>
                  <a:pt x="3" y="86"/>
                </a:cubicBezTo>
                <a:close/>
                <a:moveTo>
                  <a:pt x="34" y="142"/>
                </a:moveTo>
                <a:cubicBezTo>
                  <a:pt x="33" y="143"/>
                  <a:pt x="34" y="145"/>
                  <a:pt x="35" y="146"/>
                </a:cubicBezTo>
                <a:cubicBezTo>
                  <a:pt x="35" y="146"/>
                  <a:pt x="36" y="146"/>
                  <a:pt x="36" y="146"/>
                </a:cubicBezTo>
                <a:cubicBezTo>
                  <a:pt x="37" y="146"/>
                  <a:pt x="38" y="146"/>
                  <a:pt x="38" y="145"/>
                </a:cubicBezTo>
                <a:cubicBezTo>
                  <a:pt x="39" y="144"/>
                  <a:pt x="39" y="142"/>
                  <a:pt x="38" y="142"/>
                </a:cubicBezTo>
                <a:cubicBezTo>
                  <a:pt x="37" y="141"/>
                  <a:pt x="35" y="141"/>
                  <a:pt x="34" y="142"/>
                </a:cubicBezTo>
                <a:close/>
                <a:moveTo>
                  <a:pt x="130" y="135"/>
                </a:moveTo>
                <a:cubicBezTo>
                  <a:pt x="130" y="135"/>
                  <a:pt x="130" y="135"/>
                  <a:pt x="130" y="135"/>
                </a:cubicBezTo>
                <a:cubicBezTo>
                  <a:pt x="129" y="136"/>
                  <a:pt x="129" y="138"/>
                  <a:pt x="130" y="139"/>
                </a:cubicBezTo>
                <a:cubicBezTo>
                  <a:pt x="131" y="139"/>
                  <a:pt x="132" y="140"/>
                  <a:pt x="132" y="140"/>
                </a:cubicBezTo>
                <a:cubicBezTo>
                  <a:pt x="133" y="140"/>
                  <a:pt x="134" y="139"/>
                  <a:pt x="134" y="139"/>
                </a:cubicBezTo>
                <a:cubicBezTo>
                  <a:pt x="135" y="138"/>
                  <a:pt x="135" y="136"/>
                  <a:pt x="134" y="135"/>
                </a:cubicBezTo>
                <a:cubicBezTo>
                  <a:pt x="133" y="134"/>
                  <a:pt x="132" y="134"/>
                  <a:pt x="130" y="135"/>
                </a:cubicBezTo>
                <a:close/>
                <a:moveTo>
                  <a:pt x="136" y="129"/>
                </a:moveTo>
                <a:cubicBezTo>
                  <a:pt x="135" y="131"/>
                  <a:pt x="135" y="132"/>
                  <a:pt x="136" y="133"/>
                </a:cubicBezTo>
                <a:cubicBezTo>
                  <a:pt x="137" y="134"/>
                  <a:pt x="137" y="134"/>
                  <a:pt x="138" y="134"/>
                </a:cubicBezTo>
                <a:cubicBezTo>
                  <a:pt x="139" y="134"/>
                  <a:pt x="139" y="134"/>
                  <a:pt x="140" y="133"/>
                </a:cubicBezTo>
                <a:cubicBezTo>
                  <a:pt x="141" y="132"/>
                  <a:pt x="141" y="130"/>
                  <a:pt x="140" y="129"/>
                </a:cubicBezTo>
                <a:cubicBezTo>
                  <a:pt x="139" y="128"/>
                  <a:pt x="137" y="128"/>
                  <a:pt x="136" y="129"/>
                </a:cubicBezTo>
                <a:close/>
                <a:moveTo>
                  <a:pt x="141" y="123"/>
                </a:moveTo>
                <a:cubicBezTo>
                  <a:pt x="140" y="125"/>
                  <a:pt x="140" y="126"/>
                  <a:pt x="141" y="127"/>
                </a:cubicBezTo>
                <a:cubicBezTo>
                  <a:pt x="142" y="127"/>
                  <a:pt x="142" y="128"/>
                  <a:pt x="143" y="128"/>
                </a:cubicBezTo>
                <a:cubicBezTo>
                  <a:pt x="144" y="128"/>
                  <a:pt x="145" y="127"/>
                  <a:pt x="145" y="127"/>
                </a:cubicBezTo>
                <a:cubicBezTo>
                  <a:pt x="146" y="125"/>
                  <a:pt x="146" y="124"/>
                  <a:pt x="144" y="123"/>
                </a:cubicBezTo>
                <a:cubicBezTo>
                  <a:pt x="143" y="122"/>
                  <a:pt x="142" y="122"/>
                  <a:pt x="141" y="123"/>
                </a:cubicBezTo>
                <a:close/>
                <a:moveTo>
                  <a:pt x="125" y="140"/>
                </a:moveTo>
                <a:cubicBezTo>
                  <a:pt x="123" y="141"/>
                  <a:pt x="123" y="142"/>
                  <a:pt x="124" y="144"/>
                </a:cubicBezTo>
                <a:cubicBezTo>
                  <a:pt x="125" y="144"/>
                  <a:pt x="125" y="145"/>
                  <a:pt x="126" y="145"/>
                </a:cubicBezTo>
                <a:cubicBezTo>
                  <a:pt x="127" y="145"/>
                  <a:pt x="127" y="145"/>
                  <a:pt x="128" y="144"/>
                </a:cubicBezTo>
                <a:cubicBezTo>
                  <a:pt x="129" y="143"/>
                  <a:pt x="129" y="142"/>
                  <a:pt x="128" y="140"/>
                </a:cubicBezTo>
                <a:cubicBezTo>
                  <a:pt x="127" y="139"/>
                  <a:pt x="126" y="139"/>
                  <a:pt x="125" y="140"/>
                </a:cubicBezTo>
                <a:close/>
                <a:moveTo>
                  <a:pt x="118" y="144"/>
                </a:moveTo>
                <a:cubicBezTo>
                  <a:pt x="117" y="145"/>
                  <a:pt x="116" y="147"/>
                  <a:pt x="117" y="148"/>
                </a:cubicBezTo>
                <a:cubicBezTo>
                  <a:pt x="118" y="149"/>
                  <a:pt x="119" y="149"/>
                  <a:pt x="119" y="149"/>
                </a:cubicBezTo>
                <a:cubicBezTo>
                  <a:pt x="120" y="149"/>
                  <a:pt x="120" y="149"/>
                  <a:pt x="121" y="149"/>
                </a:cubicBezTo>
                <a:cubicBezTo>
                  <a:pt x="122" y="148"/>
                  <a:pt x="123" y="146"/>
                  <a:pt x="122" y="145"/>
                </a:cubicBezTo>
                <a:cubicBezTo>
                  <a:pt x="121" y="144"/>
                  <a:pt x="119" y="143"/>
                  <a:pt x="118" y="144"/>
                </a:cubicBezTo>
                <a:close/>
                <a:moveTo>
                  <a:pt x="149" y="116"/>
                </a:moveTo>
                <a:cubicBezTo>
                  <a:pt x="147" y="115"/>
                  <a:pt x="146" y="116"/>
                  <a:pt x="145" y="117"/>
                </a:cubicBezTo>
                <a:cubicBezTo>
                  <a:pt x="145" y="117"/>
                  <a:pt x="145" y="117"/>
                  <a:pt x="145" y="117"/>
                </a:cubicBezTo>
                <a:cubicBezTo>
                  <a:pt x="144" y="118"/>
                  <a:pt x="145" y="120"/>
                  <a:pt x="146" y="121"/>
                </a:cubicBezTo>
                <a:cubicBezTo>
                  <a:pt x="146" y="121"/>
                  <a:pt x="147" y="121"/>
                  <a:pt x="147" y="121"/>
                </a:cubicBezTo>
                <a:cubicBezTo>
                  <a:pt x="148" y="121"/>
                  <a:pt x="149" y="120"/>
                  <a:pt x="149" y="120"/>
                </a:cubicBezTo>
                <a:cubicBezTo>
                  <a:pt x="150" y="118"/>
                  <a:pt x="150" y="117"/>
                  <a:pt x="149" y="116"/>
                </a:cubicBezTo>
                <a:close/>
                <a:moveTo>
                  <a:pt x="157" y="85"/>
                </a:moveTo>
                <a:cubicBezTo>
                  <a:pt x="156" y="85"/>
                  <a:pt x="154" y="86"/>
                  <a:pt x="154" y="88"/>
                </a:cubicBezTo>
                <a:cubicBezTo>
                  <a:pt x="154" y="89"/>
                  <a:pt x="155" y="90"/>
                  <a:pt x="157" y="91"/>
                </a:cubicBezTo>
                <a:cubicBezTo>
                  <a:pt x="157" y="91"/>
                  <a:pt x="157" y="91"/>
                  <a:pt x="157" y="91"/>
                </a:cubicBezTo>
                <a:cubicBezTo>
                  <a:pt x="158" y="91"/>
                  <a:pt x="159" y="90"/>
                  <a:pt x="160" y="88"/>
                </a:cubicBezTo>
                <a:cubicBezTo>
                  <a:pt x="160" y="87"/>
                  <a:pt x="159" y="85"/>
                  <a:pt x="157" y="85"/>
                </a:cubicBezTo>
                <a:close/>
                <a:moveTo>
                  <a:pt x="156" y="93"/>
                </a:moveTo>
                <a:cubicBezTo>
                  <a:pt x="155" y="93"/>
                  <a:pt x="153" y="94"/>
                  <a:pt x="153" y="95"/>
                </a:cubicBezTo>
                <a:cubicBezTo>
                  <a:pt x="153" y="97"/>
                  <a:pt x="154" y="98"/>
                  <a:pt x="155" y="98"/>
                </a:cubicBezTo>
                <a:cubicBezTo>
                  <a:pt x="155" y="99"/>
                  <a:pt x="155" y="99"/>
                  <a:pt x="156" y="99"/>
                </a:cubicBezTo>
                <a:cubicBezTo>
                  <a:pt x="157" y="99"/>
                  <a:pt x="158" y="98"/>
                  <a:pt x="158" y="96"/>
                </a:cubicBezTo>
                <a:cubicBezTo>
                  <a:pt x="159" y="95"/>
                  <a:pt x="158" y="94"/>
                  <a:pt x="156" y="93"/>
                </a:cubicBezTo>
                <a:close/>
                <a:moveTo>
                  <a:pt x="154" y="101"/>
                </a:moveTo>
                <a:cubicBezTo>
                  <a:pt x="153" y="101"/>
                  <a:pt x="152" y="101"/>
                  <a:pt x="151" y="103"/>
                </a:cubicBezTo>
                <a:cubicBezTo>
                  <a:pt x="151" y="104"/>
                  <a:pt x="151" y="106"/>
                  <a:pt x="153" y="106"/>
                </a:cubicBezTo>
                <a:cubicBezTo>
                  <a:pt x="153" y="106"/>
                  <a:pt x="153" y="106"/>
                  <a:pt x="154" y="106"/>
                </a:cubicBezTo>
                <a:cubicBezTo>
                  <a:pt x="155" y="106"/>
                  <a:pt x="156" y="106"/>
                  <a:pt x="156" y="104"/>
                </a:cubicBezTo>
                <a:cubicBezTo>
                  <a:pt x="157" y="103"/>
                  <a:pt x="156" y="102"/>
                  <a:pt x="154" y="101"/>
                </a:cubicBezTo>
                <a:close/>
                <a:moveTo>
                  <a:pt x="152" y="109"/>
                </a:moveTo>
                <a:cubicBezTo>
                  <a:pt x="151" y="108"/>
                  <a:pt x="149" y="109"/>
                  <a:pt x="148" y="110"/>
                </a:cubicBezTo>
                <a:cubicBezTo>
                  <a:pt x="148" y="111"/>
                  <a:pt x="148" y="113"/>
                  <a:pt x="150" y="114"/>
                </a:cubicBezTo>
                <a:cubicBezTo>
                  <a:pt x="150" y="114"/>
                  <a:pt x="150" y="114"/>
                  <a:pt x="151" y="114"/>
                </a:cubicBezTo>
                <a:cubicBezTo>
                  <a:pt x="152" y="114"/>
                  <a:pt x="153" y="113"/>
                  <a:pt x="153" y="112"/>
                </a:cubicBezTo>
                <a:cubicBezTo>
                  <a:pt x="154" y="111"/>
                  <a:pt x="153" y="109"/>
                  <a:pt x="152" y="109"/>
                </a:cubicBezTo>
                <a:close/>
                <a:moveTo>
                  <a:pt x="111" y="148"/>
                </a:moveTo>
                <a:cubicBezTo>
                  <a:pt x="110" y="148"/>
                  <a:pt x="109" y="150"/>
                  <a:pt x="110" y="151"/>
                </a:cubicBezTo>
                <a:cubicBezTo>
                  <a:pt x="110" y="152"/>
                  <a:pt x="111" y="153"/>
                  <a:pt x="112" y="153"/>
                </a:cubicBezTo>
                <a:cubicBezTo>
                  <a:pt x="113" y="153"/>
                  <a:pt x="113" y="153"/>
                  <a:pt x="114" y="153"/>
                </a:cubicBezTo>
                <a:cubicBezTo>
                  <a:pt x="115" y="152"/>
                  <a:pt x="115" y="150"/>
                  <a:pt x="115" y="149"/>
                </a:cubicBezTo>
                <a:cubicBezTo>
                  <a:pt x="114" y="148"/>
                  <a:pt x="113" y="147"/>
                  <a:pt x="111" y="148"/>
                </a:cubicBezTo>
                <a:close/>
                <a:moveTo>
                  <a:pt x="66" y="153"/>
                </a:moveTo>
                <a:cubicBezTo>
                  <a:pt x="65" y="153"/>
                  <a:pt x="63" y="154"/>
                  <a:pt x="63" y="156"/>
                </a:cubicBezTo>
                <a:cubicBezTo>
                  <a:pt x="63" y="157"/>
                  <a:pt x="64" y="158"/>
                  <a:pt x="65" y="159"/>
                </a:cubicBezTo>
                <a:cubicBezTo>
                  <a:pt x="65" y="159"/>
                  <a:pt x="65" y="159"/>
                  <a:pt x="66" y="159"/>
                </a:cubicBezTo>
                <a:cubicBezTo>
                  <a:pt x="67" y="159"/>
                  <a:pt x="68" y="158"/>
                  <a:pt x="68" y="157"/>
                </a:cubicBezTo>
                <a:cubicBezTo>
                  <a:pt x="68" y="155"/>
                  <a:pt x="67" y="154"/>
                  <a:pt x="66" y="153"/>
                </a:cubicBezTo>
                <a:close/>
                <a:moveTo>
                  <a:pt x="74" y="154"/>
                </a:moveTo>
                <a:cubicBezTo>
                  <a:pt x="72" y="154"/>
                  <a:pt x="71" y="155"/>
                  <a:pt x="71" y="157"/>
                </a:cubicBezTo>
                <a:cubicBezTo>
                  <a:pt x="71" y="158"/>
                  <a:pt x="72" y="160"/>
                  <a:pt x="73" y="160"/>
                </a:cubicBezTo>
                <a:cubicBezTo>
                  <a:pt x="73" y="160"/>
                  <a:pt x="73" y="160"/>
                  <a:pt x="73" y="160"/>
                </a:cubicBezTo>
                <a:cubicBezTo>
                  <a:pt x="73" y="160"/>
                  <a:pt x="73" y="160"/>
                  <a:pt x="73" y="160"/>
                </a:cubicBezTo>
                <a:cubicBezTo>
                  <a:pt x="75" y="160"/>
                  <a:pt x="76" y="159"/>
                  <a:pt x="76" y="157"/>
                </a:cubicBezTo>
                <a:cubicBezTo>
                  <a:pt x="76" y="156"/>
                  <a:pt x="75" y="155"/>
                  <a:pt x="74" y="154"/>
                </a:cubicBezTo>
                <a:close/>
                <a:moveTo>
                  <a:pt x="59" y="152"/>
                </a:moveTo>
                <a:cubicBezTo>
                  <a:pt x="57" y="151"/>
                  <a:pt x="56" y="152"/>
                  <a:pt x="55" y="153"/>
                </a:cubicBezTo>
                <a:cubicBezTo>
                  <a:pt x="55" y="155"/>
                  <a:pt x="56" y="156"/>
                  <a:pt x="57" y="157"/>
                </a:cubicBezTo>
                <a:cubicBezTo>
                  <a:pt x="57" y="157"/>
                  <a:pt x="58" y="157"/>
                  <a:pt x="58" y="157"/>
                </a:cubicBezTo>
                <a:cubicBezTo>
                  <a:pt x="59" y="157"/>
                  <a:pt x="60" y="156"/>
                  <a:pt x="60" y="155"/>
                </a:cubicBezTo>
                <a:cubicBezTo>
                  <a:pt x="61" y="153"/>
                  <a:pt x="60" y="152"/>
                  <a:pt x="59" y="152"/>
                </a:cubicBezTo>
                <a:close/>
                <a:moveTo>
                  <a:pt x="51" y="149"/>
                </a:moveTo>
                <a:cubicBezTo>
                  <a:pt x="50" y="148"/>
                  <a:pt x="48" y="149"/>
                  <a:pt x="48" y="150"/>
                </a:cubicBezTo>
                <a:cubicBezTo>
                  <a:pt x="47" y="152"/>
                  <a:pt x="48" y="153"/>
                  <a:pt x="49" y="154"/>
                </a:cubicBezTo>
                <a:cubicBezTo>
                  <a:pt x="50" y="154"/>
                  <a:pt x="50" y="154"/>
                  <a:pt x="50" y="154"/>
                </a:cubicBezTo>
                <a:cubicBezTo>
                  <a:pt x="51" y="154"/>
                  <a:pt x="52" y="153"/>
                  <a:pt x="53" y="152"/>
                </a:cubicBezTo>
                <a:cubicBezTo>
                  <a:pt x="53" y="151"/>
                  <a:pt x="53" y="150"/>
                  <a:pt x="51" y="149"/>
                </a:cubicBezTo>
                <a:close/>
                <a:moveTo>
                  <a:pt x="89" y="154"/>
                </a:moveTo>
                <a:cubicBezTo>
                  <a:pt x="88" y="154"/>
                  <a:pt x="87" y="156"/>
                  <a:pt x="87" y="157"/>
                </a:cubicBezTo>
                <a:cubicBezTo>
                  <a:pt x="87" y="158"/>
                  <a:pt x="88" y="159"/>
                  <a:pt x="89" y="159"/>
                </a:cubicBezTo>
                <a:cubicBezTo>
                  <a:pt x="90" y="159"/>
                  <a:pt x="90" y="159"/>
                  <a:pt x="90" y="159"/>
                </a:cubicBezTo>
                <a:cubicBezTo>
                  <a:pt x="90" y="159"/>
                  <a:pt x="90" y="159"/>
                  <a:pt x="90" y="159"/>
                </a:cubicBezTo>
                <a:cubicBezTo>
                  <a:pt x="91" y="159"/>
                  <a:pt x="92" y="158"/>
                  <a:pt x="92" y="156"/>
                </a:cubicBezTo>
                <a:cubicBezTo>
                  <a:pt x="92" y="155"/>
                  <a:pt x="91" y="154"/>
                  <a:pt x="89" y="154"/>
                </a:cubicBezTo>
                <a:close/>
                <a:moveTo>
                  <a:pt x="104" y="151"/>
                </a:moveTo>
                <a:cubicBezTo>
                  <a:pt x="103" y="151"/>
                  <a:pt x="102" y="153"/>
                  <a:pt x="102" y="154"/>
                </a:cubicBezTo>
                <a:cubicBezTo>
                  <a:pt x="103" y="155"/>
                  <a:pt x="104" y="156"/>
                  <a:pt x="105" y="156"/>
                </a:cubicBezTo>
                <a:cubicBezTo>
                  <a:pt x="105" y="156"/>
                  <a:pt x="106" y="156"/>
                  <a:pt x="106" y="156"/>
                </a:cubicBezTo>
                <a:cubicBezTo>
                  <a:pt x="107" y="155"/>
                  <a:pt x="108" y="154"/>
                  <a:pt x="108" y="152"/>
                </a:cubicBezTo>
                <a:cubicBezTo>
                  <a:pt x="107" y="151"/>
                  <a:pt x="106" y="150"/>
                  <a:pt x="104" y="151"/>
                </a:cubicBezTo>
                <a:close/>
                <a:moveTo>
                  <a:pt x="97" y="153"/>
                </a:moveTo>
                <a:cubicBezTo>
                  <a:pt x="95" y="153"/>
                  <a:pt x="94" y="155"/>
                  <a:pt x="95" y="156"/>
                </a:cubicBezTo>
                <a:cubicBezTo>
                  <a:pt x="95" y="157"/>
                  <a:pt x="96" y="158"/>
                  <a:pt x="97" y="158"/>
                </a:cubicBezTo>
                <a:cubicBezTo>
                  <a:pt x="98" y="158"/>
                  <a:pt x="98" y="158"/>
                  <a:pt x="98" y="158"/>
                </a:cubicBezTo>
                <a:cubicBezTo>
                  <a:pt x="99" y="158"/>
                  <a:pt x="100" y="156"/>
                  <a:pt x="100" y="155"/>
                </a:cubicBezTo>
                <a:cubicBezTo>
                  <a:pt x="100" y="153"/>
                  <a:pt x="98" y="152"/>
                  <a:pt x="97" y="153"/>
                </a:cubicBezTo>
                <a:close/>
                <a:moveTo>
                  <a:pt x="81" y="155"/>
                </a:moveTo>
                <a:cubicBezTo>
                  <a:pt x="80" y="155"/>
                  <a:pt x="79" y="156"/>
                  <a:pt x="79" y="157"/>
                </a:cubicBezTo>
                <a:cubicBezTo>
                  <a:pt x="79" y="159"/>
                  <a:pt x="80" y="160"/>
                  <a:pt x="81" y="160"/>
                </a:cubicBezTo>
                <a:cubicBezTo>
                  <a:pt x="81" y="160"/>
                  <a:pt x="81" y="160"/>
                  <a:pt x="82" y="160"/>
                </a:cubicBezTo>
                <a:cubicBezTo>
                  <a:pt x="83" y="160"/>
                  <a:pt x="84" y="159"/>
                  <a:pt x="84" y="157"/>
                </a:cubicBezTo>
                <a:cubicBezTo>
                  <a:pt x="84" y="156"/>
                  <a:pt x="83" y="155"/>
                  <a:pt x="81" y="155"/>
                </a:cubicBezTo>
                <a:close/>
                <a:moveTo>
                  <a:pt x="44" y="146"/>
                </a:moveTo>
                <a:cubicBezTo>
                  <a:pt x="43" y="145"/>
                  <a:pt x="41" y="145"/>
                  <a:pt x="41" y="147"/>
                </a:cubicBezTo>
                <a:cubicBezTo>
                  <a:pt x="40" y="148"/>
                  <a:pt x="40" y="150"/>
                  <a:pt x="42" y="150"/>
                </a:cubicBezTo>
                <a:cubicBezTo>
                  <a:pt x="42" y="151"/>
                  <a:pt x="43" y="151"/>
                  <a:pt x="43" y="151"/>
                </a:cubicBezTo>
                <a:cubicBezTo>
                  <a:pt x="44" y="151"/>
                  <a:pt x="45" y="150"/>
                  <a:pt x="45" y="149"/>
                </a:cubicBezTo>
                <a:cubicBezTo>
                  <a:pt x="46" y="148"/>
                  <a:pt x="46" y="146"/>
                  <a:pt x="44" y="1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 name="Picture Placeholder 1"/>
          <p:cNvSpPr>
            <a:spLocks noGrp="1"/>
          </p:cNvSpPr>
          <p:nvPr>
            <p:ph type="pic" sz="quarter" idx="12"/>
          </p:nvPr>
        </p:nvSpPr>
        <p:spPr/>
        <p:txBody>
          <a:bodyPr/>
          <a:lstStyle/>
          <a:p>
            <a:endParaRPr lang="en-CA"/>
          </a:p>
        </p:txBody>
      </p:sp>
      <p:sp>
        <p:nvSpPr>
          <p:cNvPr id="3" name="Picture Placeholder 2"/>
          <p:cNvSpPr>
            <a:spLocks noGrp="1"/>
          </p:cNvSpPr>
          <p:nvPr>
            <p:ph type="pic" sz="quarter" idx="13"/>
          </p:nvPr>
        </p:nvSpPr>
        <p:spPr/>
        <p:txBody>
          <a:bodyPr/>
          <a:lstStyle/>
          <a:p>
            <a:endParaRPr lang="en-CA"/>
          </a:p>
        </p:txBody>
      </p:sp>
    </p:spTree>
    <p:extLst>
      <p:ext uri="{BB962C8B-B14F-4D97-AF65-F5344CB8AC3E}">
        <p14:creationId xmlns:p14="http://schemas.microsoft.com/office/powerpoint/2010/main" val="452895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1841500" y="1446668"/>
            <a:ext cx="1496564" cy="369332"/>
          </a:xfrm>
          <a:prstGeom prst="rect">
            <a:avLst/>
          </a:prstGeom>
          <a:noFill/>
        </p:spPr>
        <p:txBody>
          <a:bodyPr wrap="none" lIns="0" rIns="0" rtlCol="0">
            <a:spAutoFit/>
          </a:bodyPr>
          <a:lstStyle/>
          <a:p>
            <a:r>
              <a:rPr lang="en-US" b="1" dirty="0">
                <a:latin typeface="RBC Display" panose="02000000000000000000" pitchFamily="2" charset="77"/>
                <a:ea typeface="Open Sans" charset="0"/>
                <a:cs typeface="Open Sans" charset="0"/>
              </a:rPr>
              <a:t>Digital Assets</a:t>
            </a:r>
          </a:p>
        </p:txBody>
      </p:sp>
      <p:sp>
        <p:nvSpPr>
          <p:cNvPr id="14" name="TextBox 13"/>
          <p:cNvSpPr txBox="1"/>
          <p:nvPr/>
        </p:nvSpPr>
        <p:spPr>
          <a:xfrm>
            <a:off x="1841500" y="1894590"/>
            <a:ext cx="3467100" cy="978729"/>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It always does one good.</a:t>
            </a:r>
          </a:p>
        </p:txBody>
      </p:sp>
      <p:sp>
        <p:nvSpPr>
          <p:cNvPr id="15" name="TextBox 14"/>
          <p:cNvSpPr txBox="1"/>
          <p:nvPr/>
        </p:nvSpPr>
        <p:spPr>
          <a:xfrm>
            <a:off x="1841500" y="4042345"/>
            <a:ext cx="1670073" cy="369332"/>
          </a:xfrm>
          <a:prstGeom prst="rect">
            <a:avLst/>
          </a:prstGeom>
          <a:noFill/>
        </p:spPr>
        <p:txBody>
          <a:bodyPr wrap="none" lIns="0" rIns="0" rtlCol="0">
            <a:spAutoFit/>
          </a:bodyPr>
          <a:lstStyle/>
          <a:p>
            <a:r>
              <a:rPr lang="en-US" b="1" dirty="0">
                <a:latin typeface="RBC Display" panose="02000000000000000000" pitchFamily="2" charset="77"/>
                <a:ea typeface="Open Sans" charset="0"/>
                <a:cs typeface="Open Sans" charset="0"/>
              </a:rPr>
              <a:t>Smart Contract</a:t>
            </a:r>
          </a:p>
        </p:txBody>
      </p:sp>
      <p:sp>
        <p:nvSpPr>
          <p:cNvPr id="16" name="Freeform 1098">
            <a:extLst>
              <a:ext uri="{FF2B5EF4-FFF2-40B4-BE49-F238E27FC236}">
                <a16:creationId xmlns:a16="http://schemas.microsoft.com/office/drawing/2014/main" id="{86EE3BE9-8060-4E5B-9D73-6C0637F7E30F}"/>
              </a:ext>
            </a:extLst>
          </p:cNvPr>
          <p:cNvSpPr>
            <a:spLocks noEditPoints="1"/>
          </p:cNvSpPr>
          <p:nvPr/>
        </p:nvSpPr>
        <p:spPr bwMode="auto">
          <a:xfrm>
            <a:off x="927100" y="4096274"/>
            <a:ext cx="602457" cy="607695"/>
          </a:xfrm>
          <a:custGeom>
            <a:avLst/>
            <a:gdLst>
              <a:gd name="T0" fmla="*/ 48 w 160"/>
              <a:gd name="T1" fmla="*/ 78 h 160"/>
              <a:gd name="T2" fmla="*/ 38 w 160"/>
              <a:gd name="T3" fmla="*/ 74 h 160"/>
              <a:gd name="T4" fmla="*/ 156 w 160"/>
              <a:gd name="T5" fmla="*/ 77 h 160"/>
              <a:gd name="T6" fmla="*/ 150 w 160"/>
              <a:gd name="T7" fmla="*/ 73 h 160"/>
              <a:gd name="T8" fmla="*/ 141 w 160"/>
              <a:gd name="T9" fmla="*/ 72 h 160"/>
              <a:gd name="T10" fmla="*/ 50 w 160"/>
              <a:gd name="T11" fmla="*/ 33 h 160"/>
              <a:gd name="T12" fmla="*/ 16 w 160"/>
              <a:gd name="T13" fmla="*/ 40 h 160"/>
              <a:gd name="T14" fmla="*/ 16 w 160"/>
              <a:gd name="T15" fmla="*/ 80 h 160"/>
              <a:gd name="T16" fmla="*/ 13 w 160"/>
              <a:gd name="T17" fmla="*/ 122 h 160"/>
              <a:gd name="T18" fmla="*/ 21 w 160"/>
              <a:gd name="T19" fmla="*/ 155 h 160"/>
              <a:gd name="T20" fmla="*/ 54 w 160"/>
              <a:gd name="T21" fmla="*/ 154 h 160"/>
              <a:gd name="T22" fmla="*/ 112 w 160"/>
              <a:gd name="T23" fmla="*/ 160 h 160"/>
              <a:gd name="T24" fmla="*/ 135 w 160"/>
              <a:gd name="T25" fmla="*/ 136 h 160"/>
              <a:gd name="T26" fmla="*/ 143 w 160"/>
              <a:gd name="T27" fmla="*/ 90 h 160"/>
              <a:gd name="T28" fmla="*/ 136 w 160"/>
              <a:gd name="T29" fmla="*/ 83 h 160"/>
              <a:gd name="T30" fmla="*/ 138 w 160"/>
              <a:gd name="T31" fmla="*/ 79 h 160"/>
              <a:gd name="T32" fmla="*/ 139 w 160"/>
              <a:gd name="T33" fmla="*/ 78 h 160"/>
              <a:gd name="T34" fmla="*/ 149 w 160"/>
              <a:gd name="T35" fmla="*/ 84 h 160"/>
              <a:gd name="T36" fmla="*/ 110 w 160"/>
              <a:gd name="T37" fmla="*/ 43 h 160"/>
              <a:gd name="T38" fmla="*/ 101 w 160"/>
              <a:gd name="T39" fmla="*/ 51 h 160"/>
              <a:gd name="T40" fmla="*/ 90 w 160"/>
              <a:gd name="T41" fmla="*/ 49 h 160"/>
              <a:gd name="T42" fmla="*/ 81 w 160"/>
              <a:gd name="T43" fmla="*/ 49 h 160"/>
              <a:gd name="T44" fmla="*/ 70 w 160"/>
              <a:gd name="T45" fmla="*/ 52 h 160"/>
              <a:gd name="T46" fmla="*/ 63 w 160"/>
              <a:gd name="T47" fmla="*/ 52 h 160"/>
              <a:gd name="T48" fmla="*/ 57 w 160"/>
              <a:gd name="T49" fmla="*/ 42 h 160"/>
              <a:gd name="T50" fmla="*/ 48 w 160"/>
              <a:gd name="T51" fmla="*/ 155 h 160"/>
              <a:gd name="T52" fmla="*/ 27 w 160"/>
              <a:gd name="T53" fmla="*/ 140 h 160"/>
              <a:gd name="T54" fmla="*/ 128 w 160"/>
              <a:gd name="T55" fmla="*/ 155 h 160"/>
              <a:gd name="T56" fmla="*/ 131 w 160"/>
              <a:gd name="T57" fmla="*/ 140 h 160"/>
              <a:gd name="T58" fmla="*/ 128 w 160"/>
              <a:gd name="T59" fmla="*/ 136 h 160"/>
              <a:gd name="T60" fmla="*/ 120 w 160"/>
              <a:gd name="T61" fmla="*/ 142 h 160"/>
              <a:gd name="T62" fmla="*/ 110 w 160"/>
              <a:gd name="T63" fmla="*/ 147 h 160"/>
              <a:gd name="T64" fmla="*/ 82 w 160"/>
              <a:gd name="T65" fmla="*/ 153 h 160"/>
              <a:gd name="T66" fmla="*/ 19 w 160"/>
              <a:gd name="T67" fmla="*/ 117 h 160"/>
              <a:gd name="T68" fmla="*/ 13 w 160"/>
              <a:gd name="T69" fmla="*/ 85 h 160"/>
              <a:gd name="T70" fmla="*/ 32 w 160"/>
              <a:gd name="T71" fmla="*/ 59 h 160"/>
              <a:gd name="T72" fmla="*/ 44 w 160"/>
              <a:gd name="T73" fmla="*/ 48 h 160"/>
              <a:gd name="T74" fmla="*/ 55 w 160"/>
              <a:gd name="T75" fmla="*/ 50 h 160"/>
              <a:gd name="T76" fmla="*/ 60 w 160"/>
              <a:gd name="T77" fmla="*/ 56 h 160"/>
              <a:gd name="T78" fmla="*/ 57 w 160"/>
              <a:gd name="T79" fmla="*/ 65 h 160"/>
              <a:gd name="T80" fmla="*/ 69 w 160"/>
              <a:gd name="T81" fmla="*/ 58 h 160"/>
              <a:gd name="T82" fmla="*/ 76 w 160"/>
              <a:gd name="T83" fmla="*/ 56 h 160"/>
              <a:gd name="T84" fmla="*/ 100 w 160"/>
              <a:gd name="T85" fmla="*/ 57 h 160"/>
              <a:gd name="T86" fmla="*/ 116 w 160"/>
              <a:gd name="T87" fmla="*/ 65 h 160"/>
              <a:gd name="T88" fmla="*/ 111 w 160"/>
              <a:gd name="T89" fmla="*/ 53 h 160"/>
              <a:gd name="T90" fmla="*/ 113 w 160"/>
              <a:gd name="T91" fmla="*/ 49 h 160"/>
              <a:gd name="T92" fmla="*/ 132 w 160"/>
              <a:gd name="T93" fmla="*/ 79 h 160"/>
              <a:gd name="T94" fmla="*/ 130 w 160"/>
              <a:gd name="T95" fmla="*/ 84 h 160"/>
              <a:gd name="T96" fmla="*/ 132 w 160"/>
              <a:gd name="T97" fmla="*/ 89 h 160"/>
              <a:gd name="T98" fmla="*/ 134 w 160"/>
              <a:gd name="T99" fmla="*/ 93 h 160"/>
              <a:gd name="T100" fmla="*/ 138 w 160"/>
              <a:gd name="T101" fmla="*/ 95 h 160"/>
              <a:gd name="T102" fmla="*/ 141 w 160"/>
              <a:gd name="T103" fmla="*/ 104 h 160"/>
              <a:gd name="T104" fmla="*/ 154 w 160"/>
              <a:gd name="T105" fmla="*/ 86 h 160"/>
              <a:gd name="T106" fmla="*/ 72 w 160"/>
              <a:gd name="T107" fmla="*/ 50 h 160"/>
              <a:gd name="T108" fmla="*/ 84 w 160"/>
              <a:gd name="T109" fmla="*/ 15 h 160"/>
              <a:gd name="T110" fmla="*/ 99 w 160"/>
              <a:gd name="T111" fmla="*/ 49 h 160"/>
              <a:gd name="T112" fmla="*/ 70 w 160"/>
              <a:gd name="T113" fmla="*/ 50 h 160"/>
              <a:gd name="T114" fmla="*/ 50 w 160"/>
              <a:gd name="T115" fmla="*/ 141 h 160"/>
              <a:gd name="T116" fmla="*/ 85 w 160"/>
              <a:gd name="T117" fmla="*/ 14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 h="160">
                <a:moveTo>
                  <a:pt x="38" y="69"/>
                </a:moveTo>
                <a:cubicBezTo>
                  <a:pt x="33" y="69"/>
                  <a:pt x="29" y="73"/>
                  <a:pt x="29" y="78"/>
                </a:cubicBezTo>
                <a:cubicBezTo>
                  <a:pt x="29" y="84"/>
                  <a:pt x="33" y="88"/>
                  <a:pt x="38" y="88"/>
                </a:cubicBezTo>
                <a:cubicBezTo>
                  <a:pt x="44" y="88"/>
                  <a:pt x="48" y="84"/>
                  <a:pt x="48" y="78"/>
                </a:cubicBezTo>
                <a:cubicBezTo>
                  <a:pt x="48" y="73"/>
                  <a:pt x="44" y="69"/>
                  <a:pt x="38" y="69"/>
                </a:cubicBezTo>
                <a:close/>
                <a:moveTo>
                  <a:pt x="38" y="82"/>
                </a:moveTo>
                <a:cubicBezTo>
                  <a:pt x="36" y="82"/>
                  <a:pt x="34" y="81"/>
                  <a:pt x="34" y="78"/>
                </a:cubicBezTo>
                <a:cubicBezTo>
                  <a:pt x="34" y="76"/>
                  <a:pt x="36" y="74"/>
                  <a:pt x="38" y="74"/>
                </a:cubicBezTo>
                <a:cubicBezTo>
                  <a:pt x="41" y="74"/>
                  <a:pt x="42" y="76"/>
                  <a:pt x="42" y="78"/>
                </a:cubicBezTo>
                <a:cubicBezTo>
                  <a:pt x="42" y="81"/>
                  <a:pt x="41" y="82"/>
                  <a:pt x="38" y="82"/>
                </a:cubicBezTo>
                <a:close/>
                <a:moveTo>
                  <a:pt x="160" y="88"/>
                </a:moveTo>
                <a:cubicBezTo>
                  <a:pt x="160" y="84"/>
                  <a:pt x="158" y="80"/>
                  <a:pt x="156" y="77"/>
                </a:cubicBezTo>
                <a:cubicBezTo>
                  <a:pt x="156" y="74"/>
                  <a:pt x="155" y="71"/>
                  <a:pt x="154" y="68"/>
                </a:cubicBezTo>
                <a:cubicBezTo>
                  <a:pt x="154" y="67"/>
                  <a:pt x="152" y="66"/>
                  <a:pt x="151" y="67"/>
                </a:cubicBezTo>
                <a:cubicBezTo>
                  <a:pt x="149" y="67"/>
                  <a:pt x="149" y="69"/>
                  <a:pt x="149" y="70"/>
                </a:cubicBezTo>
                <a:cubicBezTo>
                  <a:pt x="150" y="71"/>
                  <a:pt x="150" y="72"/>
                  <a:pt x="150" y="73"/>
                </a:cubicBezTo>
                <a:cubicBezTo>
                  <a:pt x="148" y="72"/>
                  <a:pt x="146" y="72"/>
                  <a:pt x="144" y="72"/>
                </a:cubicBezTo>
                <a:cubicBezTo>
                  <a:pt x="144" y="72"/>
                  <a:pt x="144" y="72"/>
                  <a:pt x="143" y="72"/>
                </a:cubicBezTo>
                <a:cubicBezTo>
                  <a:pt x="143" y="72"/>
                  <a:pt x="143" y="72"/>
                  <a:pt x="142" y="72"/>
                </a:cubicBezTo>
                <a:cubicBezTo>
                  <a:pt x="142" y="72"/>
                  <a:pt x="141" y="72"/>
                  <a:pt x="141" y="72"/>
                </a:cubicBezTo>
                <a:cubicBezTo>
                  <a:pt x="136" y="60"/>
                  <a:pt x="127" y="50"/>
                  <a:pt x="115" y="44"/>
                </a:cubicBezTo>
                <a:cubicBezTo>
                  <a:pt x="117" y="40"/>
                  <a:pt x="117" y="37"/>
                  <a:pt x="117" y="33"/>
                </a:cubicBezTo>
                <a:cubicBezTo>
                  <a:pt x="117" y="15"/>
                  <a:pt x="102" y="0"/>
                  <a:pt x="84" y="0"/>
                </a:cubicBezTo>
                <a:cubicBezTo>
                  <a:pt x="65" y="0"/>
                  <a:pt x="50" y="15"/>
                  <a:pt x="50" y="33"/>
                </a:cubicBezTo>
                <a:cubicBezTo>
                  <a:pt x="50" y="36"/>
                  <a:pt x="51" y="38"/>
                  <a:pt x="51" y="41"/>
                </a:cubicBezTo>
                <a:cubicBezTo>
                  <a:pt x="49" y="41"/>
                  <a:pt x="47" y="42"/>
                  <a:pt x="45" y="43"/>
                </a:cubicBezTo>
                <a:cubicBezTo>
                  <a:pt x="33" y="38"/>
                  <a:pt x="26" y="37"/>
                  <a:pt x="19" y="37"/>
                </a:cubicBezTo>
                <a:cubicBezTo>
                  <a:pt x="17" y="38"/>
                  <a:pt x="16" y="39"/>
                  <a:pt x="16" y="40"/>
                </a:cubicBezTo>
                <a:cubicBezTo>
                  <a:pt x="16" y="42"/>
                  <a:pt x="16" y="44"/>
                  <a:pt x="18" y="44"/>
                </a:cubicBezTo>
                <a:cubicBezTo>
                  <a:pt x="21" y="46"/>
                  <a:pt x="23" y="50"/>
                  <a:pt x="25" y="55"/>
                </a:cubicBezTo>
                <a:cubicBezTo>
                  <a:pt x="25" y="56"/>
                  <a:pt x="25" y="57"/>
                  <a:pt x="26" y="58"/>
                </a:cubicBezTo>
                <a:cubicBezTo>
                  <a:pt x="19" y="65"/>
                  <a:pt x="18" y="71"/>
                  <a:pt x="16" y="80"/>
                </a:cubicBezTo>
                <a:cubicBezTo>
                  <a:pt x="13" y="80"/>
                  <a:pt x="13" y="80"/>
                  <a:pt x="13" y="80"/>
                </a:cubicBezTo>
                <a:cubicBezTo>
                  <a:pt x="5" y="80"/>
                  <a:pt x="0" y="86"/>
                  <a:pt x="0" y="96"/>
                </a:cubicBezTo>
                <a:cubicBezTo>
                  <a:pt x="0" y="106"/>
                  <a:pt x="0" y="106"/>
                  <a:pt x="0" y="106"/>
                </a:cubicBezTo>
                <a:cubicBezTo>
                  <a:pt x="0" y="116"/>
                  <a:pt x="5" y="122"/>
                  <a:pt x="13" y="122"/>
                </a:cubicBezTo>
                <a:cubicBezTo>
                  <a:pt x="15" y="122"/>
                  <a:pt x="15" y="122"/>
                  <a:pt x="15" y="122"/>
                </a:cubicBezTo>
                <a:cubicBezTo>
                  <a:pt x="17" y="127"/>
                  <a:pt x="20" y="132"/>
                  <a:pt x="23" y="136"/>
                </a:cubicBezTo>
                <a:cubicBezTo>
                  <a:pt x="20" y="145"/>
                  <a:pt x="20" y="145"/>
                  <a:pt x="20" y="145"/>
                </a:cubicBezTo>
                <a:cubicBezTo>
                  <a:pt x="18" y="148"/>
                  <a:pt x="19" y="152"/>
                  <a:pt x="21" y="155"/>
                </a:cubicBezTo>
                <a:cubicBezTo>
                  <a:pt x="23" y="158"/>
                  <a:pt x="26" y="160"/>
                  <a:pt x="30" y="160"/>
                </a:cubicBezTo>
                <a:cubicBezTo>
                  <a:pt x="48" y="160"/>
                  <a:pt x="48" y="160"/>
                  <a:pt x="48" y="160"/>
                </a:cubicBezTo>
                <a:cubicBezTo>
                  <a:pt x="50" y="160"/>
                  <a:pt x="52" y="159"/>
                  <a:pt x="53" y="157"/>
                </a:cubicBezTo>
                <a:cubicBezTo>
                  <a:pt x="54" y="154"/>
                  <a:pt x="54" y="154"/>
                  <a:pt x="54" y="154"/>
                </a:cubicBezTo>
                <a:cubicBezTo>
                  <a:pt x="62" y="157"/>
                  <a:pt x="72" y="158"/>
                  <a:pt x="82" y="158"/>
                </a:cubicBezTo>
                <a:cubicBezTo>
                  <a:pt x="90" y="158"/>
                  <a:pt x="98" y="157"/>
                  <a:pt x="105" y="155"/>
                </a:cubicBezTo>
                <a:cubicBezTo>
                  <a:pt x="105" y="155"/>
                  <a:pt x="105" y="155"/>
                  <a:pt x="105" y="155"/>
                </a:cubicBezTo>
                <a:cubicBezTo>
                  <a:pt x="106" y="158"/>
                  <a:pt x="108" y="160"/>
                  <a:pt x="112" y="160"/>
                </a:cubicBezTo>
                <a:cubicBezTo>
                  <a:pt x="128" y="160"/>
                  <a:pt x="128" y="160"/>
                  <a:pt x="128" y="160"/>
                </a:cubicBezTo>
                <a:cubicBezTo>
                  <a:pt x="131" y="160"/>
                  <a:pt x="135" y="158"/>
                  <a:pt x="137" y="155"/>
                </a:cubicBezTo>
                <a:cubicBezTo>
                  <a:pt x="139" y="152"/>
                  <a:pt x="140" y="148"/>
                  <a:pt x="139" y="145"/>
                </a:cubicBezTo>
                <a:cubicBezTo>
                  <a:pt x="135" y="136"/>
                  <a:pt x="135" y="136"/>
                  <a:pt x="135" y="136"/>
                </a:cubicBezTo>
                <a:cubicBezTo>
                  <a:pt x="143" y="127"/>
                  <a:pt x="146" y="116"/>
                  <a:pt x="146" y="104"/>
                </a:cubicBezTo>
                <a:cubicBezTo>
                  <a:pt x="146" y="104"/>
                  <a:pt x="146" y="104"/>
                  <a:pt x="146" y="104"/>
                </a:cubicBezTo>
                <a:cubicBezTo>
                  <a:pt x="154" y="102"/>
                  <a:pt x="160" y="96"/>
                  <a:pt x="160" y="88"/>
                </a:cubicBezTo>
                <a:close/>
                <a:moveTo>
                  <a:pt x="143" y="90"/>
                </a:moveTo>
                <a:cubicBezTo>
                  <a:pt x="143" y="90"/>
                  <a:pt x="143" y="90"/>
                  <a:pt x="143" y="90"/>
                </a:cubicBezTo>
                <a:cubicBezTo>
                  <a:pt x="143" y="90"/>
                  <a:pt x="143" y="90"/>
                  <a:pt x="142" y="90"/>
                </a:cubicBezTo>
                <a:cubicBezTo>
                  <a:pt x="139" y="90"/>
                  <a:pt x="136" y="87"/>
                  <a:pt x="136" y="84"/>
                </a:cubicBezTo>
                <a:cubicBezTo>
                  <a:pt x="136" y="83"/>
                  <a:pt x="136" y="83"/>
                  <a:pt x="136" y="83"/>
                </a:cubicBezTo>
                <a:cubicBezTo>
                  <a:pt x="136" y="82"/>
                  <a:pt x="136" y="82"/>
                  <a:pt x="136" y="82"/>
                </a:cubicBezTo>
                <a:cubicBezTo>
                  <a:pt x="136" y="82"/>
                  <a:pt x="136" y="82"/>
                  <a:pt x="136" y="81"/>
                </a:cubicBezTo>
                <a:cubicBezTo>
                  <a:pt x="136" y="81"/>
                  <a:pt x="136" y="81"/>
                  <a:pt x="136" y="81"/>
                </a:cubicBezTo>
                <a:cubicBezTo>
                  <a:pt x="137" y="80"/>
                  <a:pt x="137" y="80"/>
                  <a:pt x="138" y="79"/>
                </a:cubicBezTo>
                <a:cubicBezTo>
                  <a:pt x="138" y="79"/>
                  <a:pt x="138" y="79"/>
                  <a:pt x="138" y="79"/>
                </a:cubicBezTo>
                <a:cubicBezTo>
                  <a:pt x="138" y="79"/>
                  <a:pt x="138" y="79"/>
                  <a:pt x="139" y="78"/>
                </a:cubicBezTo>
                <a:cubicBezTo>
                  <a:pt x="139" y="78"/>
                  <a:pt x="139" y="78"/>
                  <a:pt x="139" y="78"/>
                </a:cubicBezTo>
                <a:cubicBezTo>
                  <a:pt x="139" y="78"/>
                  <a:pt x="139" y="78"/>
                  <a:pt x="139" y="78"/>
                </a:cubicBezTo>
                <a:cubicBezTo>
                  <a:pt x="140" y="78"/>
                  <a:pt x="140" y="78"/>
                  <a:pt x="140" y="78"/>
                </a:cubicBezTo>
                <a:cubicBezTo>
                  <a:pt x="140" y="78"/>
                  <a:pt x="140" y="78"/>
                  <a:pt x="140" y="78"/>
                </a:cubicBezTo>
                <a:cubicBezTo>
                  <a:pt x="141" y="77"/>
                  <a:pt x="142" y="77"/>
                  <a:pt x="142" y="77"/>
                </a:cubicBezTo>
                <a:cubicBezTo>
                  <a:pt x="146" y="77"/>
                  <a:pt x="149" y="80"/>
                  <a:pt x="149" y="84"/>
                </a:cubicBezTo>
                <a:cubicBezTo>
                  <a:pt x="149" y="87"/>
                  <a:pt x="147" y="90"/>
                  <a:pt x="143" y="90"/>
                </a:cubicBezTo>
                <a:close/>
                <a:moveTo>
                  <a:pt x="84" y="5"/>
                </a:moveTo>
                <a:cubicBezTo>
                  <a:pt x="99" y="5"/>
                  <a:pt x="112" y="18"/>
                  <a:pt x="112" y="33"/>
                </a:cubicBezTo>
                <a:cubicBezTo>
                  <a:pt x="112" y="37"/>
                  <a:pt x="111" y="40"/>
                  <a:pt x="110" y="43"/>
                </a:cubicBezTo>
                <a:cubicBezTo>
                  <a:pt x="110" y="44"/>
                  <a:pt x="110" y="44"/>
                  <a:pt x="110" y="44"/>
                </a:cubicBezTo>
                <a:cubicBezTo>
                  <a:pt x="108" y="47"/>
                  <a:pt x="106" y="50"/>
                  <a:pt x="104" y="53"/>
                </a:cubicBezTo>
                <a:cubicBezTo>
                  <a:pt x="104" y="52"/>
                  <a:pt x="103" y="52"/>
                  <a:pt x="103" y="52"/>
                </a:cubicBezTo>
                <a:cubicBezTo>
                  <a:pt x="102" y="52"/>
                  <a:pt x="101" y="52"/>
                  <a:pt x="101" y="51"/>
                </a:cubicBezTo>
                <a:cubicBezTo>
                  <a:pt x="100" y="51"/>
                  <a:pt x="99" y="51"/>
                  <a:pt x="99" y="51"/>
                </a:cubicBezTo>
                <a:cubicBezTo>
                  <a:pt x="98" y="50"/>
                  <a:pt x="97" y="50"/>
                  <a:pt x="96" y="50"/>
                </a:cubicBezTo>
                <a:cubicBezTo>
                  <a:pt x="95" y="50"/>
                  <a:pt x="94" y="49"/>
                  <a:pt x="92" y="49"/>
                </a:cubicBezTo>
                <a:cubicBezTo>
                  <a:pt x="91" y="49"/>
                  <a:pt x="91" y="49"/>
                  <a:pt x="90" y="49"/>
                </a:cubicBezTo>
                <a:cubicBezTo>
                  <a:pt x="89" y="49"/>
                  <a:pt x="88" y="49"/>
                  <a:pt x="88" y="49"/>
                </a:cubicBezTo>
                <a:cubicBezTo>
                  <a:pt x="87" y="49"/>
                  <a:pt x="86" y="49"/>
                  <a:pt x="86" y="49"/>
                </a:cubicBezTo>
                <a:cubicBezTo>
                  <a:pt x="85" y="49"/>
                  <a:pt x="84" y="49"/>
                  <a:pt x="83" y="49"/>
                </a:cubicBezTo>
                <a:cubicBezTo>
                  <a:pt x="82" y="49"/>
                  <a:pt x="82" y="49"/>
                  <a:pt x="81" y="49"/>
                </a:cubicBezTo>
                <a:cubicBezTo>
                  <a:pt x="80" y="49"/>
                  <a:pt x="80" y="49"/>
                  <a:pt x="79" y="49"/>
                </a:cubicBezTo>
                <a:cubicBezTo>
                  <a:pt x="78" y="50"/>
                  <a:pt x="77" y="50"/>
                  <a:pt x="76" y="50"/>
                </a:cubicBezTo>
                <a:cubicBezTo>
                  <a:pt x="75" y="50"/>
                  <a:pt x="75" y="50"/>
                  <a:pt x="74" y="50"/>
                </a:cubicBezTo>
                <a:cubicBezTo>
                  <a:pt x="73" y="51"/>
                  <a:pt x="72" y="51"/>
                  <a:pt x="70" y="52"/>
                </a:cubicBezTo>
                <a:cubicBezTo>
                  <a:pt x="70" y="52"/>
                  <a:pt x="69" y="52"/>
                  <a:pt x="69" y="52"/>
                </a:cubicBezTo>
                <a:cubicBezTo>
                  <a:pt x="68" y="53"/>
                  <a:pt x="67" y="53"/>
                  <a:pt x="66" y="54"/>
                </a:cubicBezTo>
                <a:cubicBezTo>
                  <a:pt x="66" y="54"/>
                  <a:pt x="65" y="54"/>
                  <a:pt x="65" y="54"/>
                </a:cubicBezTo>
                <a:cubicBezTo>
                  <a:pt x="64" y="54"/>
                  <a:pt x="64" y="53"/>
                  <a:pt x="63" y="52"/>
                </a:cubicBezTo>
                <a:cubicBezTo>
                  <a:pt x="63" y="52"/>
                  <a:pt x="63" y="52"/>
                  <a:pt x="62" y="51"/>
                </a:cubicBezTo>
                <a:cubicBezTo>
                  <a:pt x="62" y="51"/>
                  <a:pt x="61" y="50"/>
                  <a:pt x="61" y="49"/>
                </a:cubicBezTo>
                <a:cubicBezTo>
                  <a:pt x="60" y="49"/>
                  <a:pt x="60" y="49"/>
                  <a:pt x="60" y="49"/>
                </a:cubicBezTo>
                <a:cubicBezTo>
                  <a:pt x="59" y="47"/>
                  <a:pt x="58" y="44"/>
                  <a:pt x="57" y="42"/>
                </a:cubicBezTo>
                <a:cubicBezTo>
                  <a:pt x="57" y="41"/>
                  <a:pt x="57" y="41"/>
                  <a:pt x="57" y="41"/>
                </a:cubicBezTo>
                <a:cubicBezTo>
                  <a:pt x="56" y="39"/>
                  <a:pt x="56" y="36"/>
                  <a:pt x="56" y="33"/>
                </a:cubicBezTo>
                <a:cubicBezTo>
                  <a:pt x="56" y="18"/>
                  <a:pt x="68" y="5"/>
                  <a:pt x="84" y="5"/>
                </a:cubicBezTo>
                <a:close/>
                <a:moveTo>
                  <a:pt x="48" y="155"/>
                </a:moveTo>
                <a:cubicBezTo>
                  <a:pt x="30" y="155"/>
                  <a:pt x="30" y="155"/>
                  <a:pt x="30" y="155"/>
                </a:cubicBezTo>
                <a:cubicBezTo>
                  <a:pt x="28" y="155"/>
                  <a:pt x="26" y="154"/>
                  <a:pt x="25" y="152"/>
                </a:cubicBezTo>
                <a:cubicBezTo>
                  <a:pt x="24" y="151"/>
                  <a:pt x="24" y="149"/>
                  <a:pt x="25" y="147"/>
                </a:cubicBezTo>
                <a:cubicBezTo>
                  <a:pt x="27" y="140"/>
                  <a:pt x="27" y="140"/>
                  <a:pt x="27" y="140"/>
                </a:cubicBezTo>
                <a:cubicBezTo>
                  <a:pt x="33" y="145"/>
                  <a:pt x="40" y="149"/>
                  <a:pt x="49" y="152"/>
                </a:cubicBezTo>
                <a:lnTo>
                  <a:pt x="48" y="155"/>
                </a:lnTo>
                <a:close/>
                <a:moveTo>
                  <a:pt x="133" y="152"/>
                </a:moveTo>
                <a:cubicBezTo>
                  <a:pt x="132" y="154"/>
                  <a:pt x="130" y="155"/>
                  <a:pt x="128" y="155"/>
                </a:cubicBezTo>
                <a:cubicBezTo>
                  <a:pt x="112" y="155"/>
                  <a:pt x="112" y="155"/>
                  <a:pt x="112" y="155"/>
                </a:cubicBezTo>
                <a:cubicBezTo>
                  <a:pt x="111" y="155"/>
                  <a:pt x="110" y="154"/>
                  <a:pt x="110" y="153"/>
                </a:cubicBezTo>
                <a:cubicBezTo>
                  <a:pt x="110" y="153"/>
                  <a:pt x="110" y="153"/>
                  <a:pt x="110" y="153"/>
                </a:cubicBezTo>
                <a:cubicBezTo>
                  <a:pt x="118" y="150"/>
                  <a:pt x="126" y="146"/>
                  <a:pt x="131" y="140"/>
                </a:cubicBezTo>
                <a:cubicBezTo>
                  <a:pt x="134" y="146"/>
                  <a:pt x="134" y="146"/>
                  <a:pt x="134" y="146"/>
                </a:cubicBezTo>
                <a:cubicBezTo>
                  <a:pt x="134" y="148"/>
                  <a:pt x="134" y="150"/>
                  <a:pt x="133" y="152"/>
                </a:cubicBezTo>
                <a:close/>
                <a:moveTo>
                  <a:pt x="128" y="135"/>
                </a:moveTo>
                <a:cubicBezTo>
                  <a:pt x="128" y="136"/>
                  <a:pt x="128" y="136"/>
                  <a:pt x="128" y="136"/>
                </a:cubicBezTo>
                <a:cubicBezTo>
                  <a:pt x="127" y="137"/>
                  <a:pt x="126" y="138"/>
                  <a:pt x="125" y="139"/>
                </a:cubicBezTo>
                <a:cubicBezTo>
                  <a:pt x="125" y="139"/>
                  <a:pt x="124" y="139"/>
                  <a:pt x="124" y="139"/>
                </a:cubicBezTo>
                <a:cubicBezTo>
                  <a:pt x="123" y="140"/>
                  <a:pt x="122" y="141"/>
                  <a:pt x="121" y="141"/>
                </a:cubicBezTo>
                <a:cubicBezTo>
                  <a:pt x="121" y="142"/>
                  <a:pt x="120" y="142"/>
                  <a:pt x="120" y="142"/>
                </a:cubicBezTo>
                <a:cubicBezTo>
                  <a:pt x="119" y="143"/>
                  <a:pt x="118" y="144"/>
                  <a:pt x="116" y="145"/>
                </a:cubicBezTo>
                <a:cubicBezTo>
                  <a:pt x="116" y="145"/>
                  <a:pt x="115" y="145"/>
                  <a:pt x="115" y="145"/>
                </a:cubicBezTo>
                <a:cubicBezTo>
                  <a:pt x="114" y="146"/>
                  <a:pt x="113" y="146"/>
                  <a:pt x="112" y="147"/>
                </a:cubicBezTo>
                <a:cubicBezTo>
                  <a:pt x="111" y="147"/>
                  <a:pt x="111" y="147"/>
                  <a:pt x="110" y="147"/>
                </a:cubicBezTo>
                <a:cubicBezTo>
                  <a:pt x="109" y="148"/>
                  <a:pt x="108" y="148"/>
                  <a:pt x="107" y="149"/>
                </a:cubicBezTo>
                <a:cubicBezTo>
                  <a:pt x="106" y="149"/>
                  <a:pt x="106" y="149"/>
                  <a:pt x="106" y="149"/>
                </a:cubicBezTo>
                <a:cubicBezTo>
                  <a:pt x="106" y="149"/>
                  <a:pt x="106" y="149"/>
                  <a:pt x="106" y="149"/>
                </a:cubicBezTo>
                <a:cubicBezTo>
                  <a:pt x="98" y="151"/>
                  <a:pt x="90" y="153"/>
                  <a:pt x="82" y="153"/>
                </a:cubicBezTo>
                <a:cubicBezTo>
                  <a:pt x="71" y="153"/>
                  <a:pt x="61" y="151"/>
                  <a:pt x="52" y="148"/>
                </a:cubicBezTo>
                <a:cubicBezTo>
                  <a:pt x="51" y="147"/>
                  <a:pt x="50" y="147"/>
                  <a:pt x="50" y="147"/>
                </a:cubicBezTo>
                <a:cubicBezTo>
                  <a:pt x="35" y="141"/>
                  <a:pt x="23" y="131"/>
                  <a:pt x="19" y="119"/>
                </a:cubicBezTo>
                <a:cubicBezTo>
                  <a:pt x="19" y="117"/>
                  <a:pt x="19" y="117"/>
                  <a:pt x="19" y="117"/>
                </a:cubicBezTo>
                <a:cubicBezTo>
                  <a:pt x="13" y="117"/>
                  <a:pt x="13" y="117"/>
                  <a:pt x="13" y="117"/>
                </a:cubicBezTo>
                <a:cubicBezTo>
                  <a:pt x="7" y="117"/>
                  <a:pt x="5" y="111"/>
                  <a:pt x="5" y="106"/>
                </a:cubicBezTo>
                <a:cubicBezTo>
                  <a:pt x="5" y="96"/>
                  <a:pt x="5" y="96"/>
                  <a:pt x="5" y="96"/>
                </a:cubicBezTo>
                <a:cubicBezTo>
                  <a:pt x="5" y="85"/>
                  <a:pt x="11" y="85"/>
                  <a:pt x="13" y="85"/>
                </a:cubicBezTo>
                <a:cubicBezTo>
                  <a:pt x="21" y="85"/>
                  <a:pt x="21" y="85"/>
                  <a:pt x="21" y="85"/>
                </a:cubicBezTo>
                <a:cubicBezTo>
                  <a:pt x="21" y="83"/>
                  <a:pt x="21" y="83"/>
                  <a:pt x="21" y="83"/>
                </a:cubicBezTo>
                <a:cubicBezTo>
                  <a:pt x="23" y="73"/>
                  <a:pt x="24" y="68"/>
                  <a:pt x="31" y="61"/>
                </a:cubicBezTo>
                <a:cubicBezTo>
                  <a:pt x="32" y="59"/>
                  <a:pt x="32" y="59"/>
                  <a:pt x="32" y="59"/>
                </a:cubicBezTo>
                <a:cubicBezTo>
                  <a:pt x="32" y="58"/>
                  <a:pt x="32" y="58"/>
                  <a:pt x="32" y="58"/>
                </a:cubicBezTo>
                <a:cubicBezTo>
                  <a:pt x="31" y="56"/>
                  <a:pt x="30" y="55"/>
                  <a:pt x="30" y="53"/>
                </a:cubicBezTo>
                <a:cubicBezTo>
                  <a:pt x="28" y="49"/>
                  <a:pt x="27" y="45"/>
                  <a:pt x="24" y="43"/>
                </a:cubicBezTo>
                <a:cubicBezTo>
                  <a:pt x="29" y="43"/>
                  <a:pt x="36" y="45"/>
                  <a:pt x="44" y="48"/>
                </a:cubicBezTo>
                <a:cubicBezTo>
                  <a:pt x="45" y="49"/>
                  <a:pt x="45" y="49"/>
                  <a:pt x="45" y="49"/>
                </a:cubicBezTo>
                <a:cubicBezTo>
                  <a:pt x="46" y="48"/>
                  <a:pt x="46" y="48"/>
                  <a:pt x="46" y="48"/>
                </a:cubicBezTo>
                <a:cubicBezTo>
                  <a:pt x="48" y="48"/>
                  <a:pt x="50" y="47"/>
                  <a:pt x="53" y="46"/>
                </a:cubicBezTo>
                <a:cubicBezTo>
                  <a:pt x="53" y="47"/>
                  <a:pt x="54" y="48"/>
                  <a:pt x="55" y="50"/>
                </a:cubicBezTo>
                <a:cubicBezTo>
                  <a:pt x="55" y="50"/>
                  <a:pt x="55" y="50"/>
                  <a:pt x="55" y="50"/>
                </a:cubicBezTo>
                <a:cubicBezTo>
                  <a:pt x="56" y="51"/>
                  <a:pt x="56" y="52"/>
                  <a:pt x="57" y="53"/>
                </a:cubicBezTo>
                <a:cubicBezTo>
                  <a:pt x="57" y="53"/>
                  <a:pt x="57" y="53"/>
                  <a:pt x="57" y="54"/>
                </a:cubicBezTo>
                <a:cubicBezTo>
                  <a:pt x="58" y="55"/>
                  <a:pt x="59" y="55"/>
                  <a:pt x="60" y="56"/>
                </a:cubicBezTo>
                <a:cubicBezTo>
                  <a:pt x="60" y="56"/>
                  <a:pt x="60" y="57"/>
                  <a:pt x="60" y="57"/>
                </a:cubicBezTo>
                <a:cubicBezTo>
                  <a:pt x="60" y="57"/>
                  <a:pt x="61" y="57"/>
                  <a:pt x="61" y="57"/>
                </a:cubicBezTo>
                <a:cubicBezTo>
                  <a:pt x="59" y="58"/>
                  <a:pt x="58" y="60"/>
                  <a:pt x="57" y="61"/>
                </a:cubicBezTo>
                <a:cubicBezTo>
                  <a:pt x="56" y="62"/>
                  <a:pt x="56" y="64"/>
                  <a:pt x="57" y="65"/>
                </a:cubicBezTo>
                <a:cubicBezTo>
                  <a:pt x="58" y="66"/>
                  <a:pt x="59" y="66"/>
                  <a:pt x="60" y="65"/>
                </a:cubicBezTo>
                <a:cubicBezTo>
                  <a:pt x="62" y="63"/>
                  <a:pt x="64" y="61"/>
                  <a:pt x="66" y="60"/>
                </a:cubicBezTo>
                <a:cubicBezTo>
                  <a:pt x="66" y="60"/>
                  <a:pt x="66" y="60"/>
                  <a:pt x="66" y="60"/>
                </a:cubicBezTo>
                <a:cubicBezTo>
                  <a:pt x="67" y="59"/>
                  <a:pt x="68" y="59"/>
                  <a:pt x="69" y="58"/>
                </a:cubicBezTo>
                <a:cubicBezTo>
                  <a:pt x="69" y="58"/>
                  <a:pt x="70" y="58"/>
                  <a:pt x="70" y="58"/>
                </a:cubicBezTo>
                <a:cubicBezTo>
                  <a:pt x="71" y="58"/>
                  <a:pt x="71" y="57"/>
                  <a:pt x="72" y="57"/>
                </a:cubicBezTo>
                <a:cubicBezTo>
                  <a:pt x="72" y="57"/>
                  <a:pt x="72" y="57"/>
                  <a:pt x="73" y="57"/>
                </a:cubicBezTo>
                <a:cubicBezTo>
                  <a:pt x="74" y="56"/>
                  <a:pt x="75" y="56"/>
                  <a:pt x="76" y="56"/>
                </a:cubicBezTo>
                <a:cubicBezTo>
                  <a:pt x="76" y="56"/>
                  <a:pt x="76" y="55"/>
                  <a:pt x="76" y="55"/>
                </a:cubicBezTo>
                <a:cubicBezTo>
                  <a:pt x="77" y="55"/>
                  <a:pt x="78" y="55"/>
                  <a:pt x="79" y="55"/>
                </a:cubicBezTo>
                <a:cubicBezTo>
                  <a:pt x="79" y="55"/>
                  <a:pt x="79" y="55"/>
                  <a:pt x="79" y="55"/>
                </a:cubicBezTo>
                <a:cubicBezTo>
                  <a:pt x="86" y="53"/>
                  <a:pt x="93" y="54"/>
                  <a:pt x="100" y="57"/>
                </a:cubicBezTo>
                <a:cubicBezTo>
                  <a:pt x="100" y="57"/>
                  <a:pt x="100" y="57"/>
                  <a:pt x="100" y="57"/>
                </a:cubicBezTo>
                <a:cubicBezTo>
                  <a:pt x="105" y="59"/>
                  <a:pt x="109" y="61"/>
                  <a:pt x="112" y="65"/>
                </a:cubicBezTo>
                <a:cubicBezTo>
                  <a:pt x="113" y="65"/>
                  <a:pt x="113" y="66"/>
                  <a:pt x="114" y="66"/>
                </a:cubicBezTo>
                <a:cubicBezTo>
                  <a:pt x="115" y="66"/>
                  <a:pt x="115" y="65"/>
                  <a:pt x="116" y="65"/>
                </a:cubicBezTo>
                <a:cubicBezTo>
                  <a:pt x="117" y="64"/>
                  <a:pt x="117" y="62"/>
                  <a:pt x="116" y="61"/>
                </a:cubicBezTo>
                <a:cubicBezTo>
                  <a:pt x="114" y="59"/>
                  <a:pt x="111" y="57"/>
                  <a:pt x="109" y="55"/>
                </a:cubicBezTo>
                <a:cubicBezTo>
                  <a:pt x="109" y="55"/>
                  <a:pt x="109" y="55"/>
                  <a:pt x="109" y="54"/>
                </a:cubicBezTo>
                <a:cubicBezTo>
                  <a:pt x="110" y="54"/>
                  <a:pt x="110" y="54"/>
                  <a:pt x="111" y="53"/>
                </a:cubicBezTo>
                <a:cubicBezTo>
                  <a:pt x="111" y="53"/>
                  <a:pt x="111" y="52"/>
                  <a:pt x="111" y="52"/>
                </a:cubicBezTo>
                <a:cubicBezTo>
                  <a:pt x="112" y="51"/>
                  <a:pt x="112" y="51"/>
                  <a:pt x="112" y="51"/>
                </a:cubicBezTo>
                <a:cubicBezTo>
                  <a:pt x="113" y="50"/>
                  <a:pt x="113" y="50"/>
                  <a:pt x="113" y="49"/>
                </a:cubicBezTo>
                <a:cubicBezTo>
                  <a:pt x="113" y="49"/>
                  <a:pt x="113" y="49"/>
                  <a:pt x="113" y="49"/>
                </a:cubicBezTo>
                <a:cubicBezTo>
                  <a:pt x="124" y="55"/>
                  <a:pt x="131" y="63"/>
                  <a:pt x="136" y="74"/>
                </a:cubicBezTo>
                <a:cubicBezTo>
                  <a:pt x="135" y="74"/>
                  <a:pt x="135" y="75"/>
                  <a:pt x="134" y="75"/>
                </a:cubicBezTo>
                <a:cubicBezTo>
                  <a:pt x="134" y="75"/>
                  <a:pt x="134" y="75"/>
                  <a:pt x="134" y="75"/>
                </a:cubicBezTo>
                <a:cubicBezTo>
                  <a:pt x="133" y="76"/>
                  <a:pt x="132" y="78"/>
                  <a:pt x="132" y="79"/>
                </a:cubicBezTo>
                <a:cubicBezTo>
                  <a:pt x="131" y="79"/>
                  <a:pt x="131" y="79"/>
                  <a:pt x="131" y="79"/>
                </a:cubicBezTo>
                <a:cubicBezTo>
                  <a:pt x="131" y="80"/>
                  <a:pt x="131" y="80"/>
                  <a:pt x="131" y="81"/>
                </a:cubicBezTo>
                <a:cubicBezTo>
                  <a:pt x="131" y="81"/>
                  <a:pt x="131" y="81"/>
                  <a:pt x="131" y="82"/>
                </a:cubicBezTo>
                <a:cubicBezTo>
                  <a:pt x="131" y="82"/>
                  <a:pt x="130" y="83"/>
                  <a:pt x="130" y="84"/>
                </a:cubicBezTo>
                <a:cubicBezTo>
                  <a:pt x="130" y="85"/>
                  <a:pt x="131" y="85"/>
                  <a:pt x="131" y="86"/>
                </a:cubicBezTo>
                <a:cubicBezTo>
                  <a:pt x="131" y="86"/>
                  <a:pt x="131" y="87"/>
                  <a:pt x="131" y="87"/>
                </a:cubicBezTo>
                <a:cubicBezTo>
                  <a:pt x="131" y="87"/>
                  <a:pt x="131" y="88"/>
                  <a:pt x="131" y="88"/>
                </a:cubicBezTo>
                <a:cubicBezTo>
                  <a:pt x="131" y="89"/>
                  <a:pt x="132" y="89"/>
                  <a:pt x="132" y="89"/>
                </a:cubicBezTo>
                <a:cubicBezTo>
                  <a:pt x="132" y="89"/>
                  <a:pt x="132" y="90"/>
                  <a:pt x="132" y="90"/>
                </a:cubicBezTo>
                <a:cubicBezTo>
                  <a:pt x="133" y="90"/>
                  <a:pt x="133" y="91"/>
                  <a:pt x="133" y="91"/>
                </a:cubicBezTo>
                <a:cubicBezTo>
                  <a:pt x="133" y="91"/>
                  <a:pt x="133" y="92"/>
                  <a:pt x="134" y="92"/>
                </a:cubicBezTo>
                <a:cubicBezTo>
                  <a:pt x="134" y="92"/>
                  <a:pt x="134" y="92"/>
                  <a:pt x="134" y="93"/>
                </a:cubicBezTo>
                <a:cubicBezTo>
                  <a:pt x="135" y="93"/>
                  <a:pt x="135" y="93"/>
                  <a:pt x="135" y="93"/>
                </a:cubicBezTo>
                <a:cubicBezTo>
                  <a:pt x="136" y="94"/>
                  <a:pt x="136" y="94"/>
                  <a:pt x="136" y="94"/>
                </a:cubicBezTo>
                <a:cubicBezTo>
                  <a:pt x="137" y="94"/>
                  <a:pt x="137" y="94"/>
                  <a:pt x="137" y="95"/>
                </a:cubicBezTo>
                <a:cubicBezTo>
                  <a:pt x="138" y="95"/>
                  <a:pt x="138" y="95"/>
                  <a:pt x="138" y="95"/>
                </a:cubicBezTo>
                <a:cubicBezTo>
                  <a:pt x="139" y="95"/>
                  <a:pt x="139" y="95"/>
                  <a:pt x="139" y="95"/>
                </a:cubicBezTo>
                <a:cubicBezTo>
                  <a:pt x="140" y="95"/>
                  <a:pt x="140" y="95"/>
                  <a:pt x="140" y="96"/>
                </a:cubicBezTo>
                <a:cubicBezTo>
                  <a:pt x="141" y="96"/>
                  <a:pt x="141" y="96"/>
                  <a:pt x="141" y="96"/>
                </a:cubicBezTo>
                <a:cubicBezTo>
                  <a:pt x="141" y="98"/>
                  <a:pt x="141" y="101"/>
                  <a:pt x="141" y="104"/>
                </a:cubicBezTo>
                <a:cubicBezTo>
                  <a:pt x="141" y="116"/>
                  <a:pt x="136" y="127"/>
                  <a:pt x="128" y="135"/>
                </a:cubicBezTo>
                <a:close/>
                <a:moveTo>
                  <a:pt x="146" y="98"/>
                </a:moveTo>
                <a:cubicBezTo>
                  <a:pt x="146" y="97"/>
                  <a:pt x="146" y="96"/>
                  <a:pt x="146" y="95"/>
                </a:cubicBezTo>
                <a:cubicBezTo>
                  <a:pt x="150" y="94"/>
                  <a:pt x="154" y="90"/>
                  <a:pt x="154" y="86"/>
                </a:cubicBezTo>
                <a:cubicBezTo>
                  <a:pt x="154" y="86"/>
                  <a:pt x="154" y="87"/>
                  <a:pt x="154" y="88"/>
                </a:cubicBezTo>
                <a:cubicBezTo>
                  <a:pt x="154" y="93"/>
                  <a:pt x="151" y="97"/>
                  <a:pt x="146" y="98"/>
                </a:cubicBezTo>
                <a:close/>
                <a:moveTo>
                  <a:pt x="70" y="50"/>
                </a:moveTo>
                <a:cubicBezTo>
                  <a:pt x="71" y="50"/>
                  <a:pt x="71" y="50"/>
                  <a:pt x="72" y="50"/>
                </a:cubicBezTo>
                <a:cubicBezTo>
                  <a:pt x="73" y="50"/>
                  <a:pt x="73" y="50"/>
                  <a:pt x="74" y="49"/>
                </a:cubicBezTo>
                <a:cubicBezTo>
                  <a:pt x="75" y="48"/>
                  <a:pt x="75" y="47"/>
                  <a:pt x="73" y="46"/>
                </a:cubicBezTo>
                <a:cubicBezTo>
                  <a:pt x="69" y="42"/>
                  <a:pt x="67" y="37"/>
                  <a:pt x="67" y="32"/>
                </a:cubicBezTo>
                <a:cubicBezTo>
                  <a:pt x="67" y="23"/>
                  <a:pt x="74" y="15"/>
                  <a:pt x="84" y="15"/>
                </a:cubicBezTo>
                <a:cubicBezTo>
                  <a:pt x="93" y="15"/>
                  <a:pt x="101" y="23"/>
                  <a:pt x="101" y="32"/>
                </a:cubicBezTo>
                <a:cubicBezTo>
                  <a:pt x="101" y="37"/>
                  <a:pt x="99" y="41"/>
                  <a:pt x="95" y="45"/>
                </a:cubicBezTo>
                <a:cubicBezTo>
                  <a:pt x="94" y="46"/>
                  <a:pt x="94" y="47"/>
                  <a:pt x="95" y="48"/>
                </a:cubicBezTo>
                <a:cubicBezTo>
                  <a:pt x="96" y="50"/>
                  <a:pt x="98" y="50"/>
                  <a:pt x="99" y="49"/>
                </a:cubicBezTo>
                <a:cubicBezTo>
                  <a:pt x="104" y="44"/>
                  <a:pt x="106" y="38"/>
                  <a:pt x="106" y="32"/>
                </a:cubicBezTo>
                <a:cubicBezTo>
                  <a:pt x="106" y="20"/>
                  <a:pt x="96" y="10"/>
                  <a:pt x="84" y="10"/>
                </a:cubicBezTo>
                <a:cubicBezTo>
                  <a:pt x="71" y="10"/>
                  <a:pt x="61" y="20"/>
                  <a:pt x="61" y="32"/>
                </a:cubicBezTo>
                <a:cubicBezTo>
                  <a:pt x="61" y="39"/>
                  <a:pt x="65" y="46"/>
                  <a:pt x="70" y="50"/>
                </a:cubicBezTo>
                <a:close/>
                <a:moveTo>
                  <a:pt x="85" y="141"/>
                </a:moveTo>
                <a:cubicBezTo>
                  <a:pt x="73" y="142"/>
                  <a:pt x="63" y="141"/>
                  <a:pt x="52" y="136"/>
                </a:cubicBezTo>
                <a:cubicBezTo>
                  <a:pt x="51" y="136"/>
                  <a:pt x="49" y="136"/>
                  <a:pt x="49" y="138"/>
                </a:cubicBezTo>
                <a:cubicBezTo>
                  <a:pt x="48" y="139"/>
                  <a:pt x="49" y="140"/>
                  <a:pt x="50" y="141"/>
                </a:cubicBezTo>
                <a:cubicBezTo>
                  <a:pt x="59" y="145"/>
                  <a:pt x="68" y="147"/>
                  <a:pt x="78" y="147"/>
                </a:cubicBezTo>
                <a:cubicBezTo>
                  <a:pt x="81" y="147"/>
                  <a:pt x="83" y="147"/>
                  <a:pt x="85" y="147"/>
                </a:cubicBezTo>
                <a:cubicBezTo>
                  <a:pt x="87" y="147"/>
                  <a:pt x="88" y="145"/>
                  <a:pt x="88" y="144"/>
                </a:cubicBezTo>
                <a:cubicBezTo>
                  <a:pt x="88" y="142"/>
                  <a:pt x="86" y="141"/>
                  <a:pt x="85" y="1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7" name="TextBox 16"/>
          <p:cNvSpPr txBox="1"/>
          <p:nvPr/>
        </p:nvSpPr>
        <p:spPr>
          <a:xfrm>
            <a:off x="1841500" y="4490267"/>
            <a:ext cx="3467100" cy="1628779"/>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It always does one good. Apparently we had reached a great height in the atmosphere, for the sky was a dead black, and the stars had ceased to twinkle. </a:t>
            </a:r>
          </a:p>
        </p:txBody>
      </p:sp>
      <p:sp>
        <p:nvSpPr>
          <p:cNvPr id="18" name="Freeform 1133">
            <a:extLst>
              <a:ext uri="{FF2B5EF4-FFF2-40B4-BE49-F238E27FC236}">
                <a16:creationId xmlns:a16="http://schemas.microsoft.com/office/drawing/2014/main" id="{48BCBC5B-0FAF-4A50-92CD-00E076DD48C2}"/>
              </a:ext>
            </a:extLst>
          </p:cNvPr>
          <p:cNvSpPr>
            <a:spLocks noEditPoints="1"/>
          </p:cNvSpPr>
          <p:nvPr/>
        </p:nvSpPr>
        <p:spPr bwMode="auto">
          <a:xfrm>
            <a:off x="927100" y="1561132"/>
            <a:ext cx="604203" cy="607695"/>
          </a:xfrm>
          <a:custGeom>
            <a:avLst/>
            <a:gdLst>
              <a:gd name="T0" fmla="*/ 80 w 160"/>
              <a:gd name="T1" fmla="*/ 139 h 160"/>
              <a:gd name="T2" fmla="*/ 80 w 160"/>
              <a:gd name="T3" fmla="*/ 27 h 160"/>
              <a:gd name="T4" fmla="*/ 77 w 160"/>
              <a:gd name="T5" fmla="*/ 32 h 160"/>
              <a:gd name="T6" fmla="*/ 77 w 160"/>
              <a:gd name="T7" fmla="*/ 128 h 160"/>
              <a:gd name="T8" fmla="*/ 123 w 160"/>
              <a:gd name="T9" fmla="*/ 83 h 160"/>
              <a:gd name="T10" fmla="*/ 120 w 160"/>
              <a:gd name="T11" fmla="*/ 80 h 160"/>
              <a:gd name="T12" fmla="*/ 32 w 160"/>
              <a:gd name="T13" fmla="*/ 83 h 160"/>
              <a:gd name="T14" fmla="*/ 53 w 160"/>
              <a:gd name="T15" fmla="*/ 109 h 160"/>
              <a:gd name="T16" fmla="*/ 83 w 160"/>
              <a:gd name="T17" fmla="*/ 53 h 160"/>
              <a:gd name="T18" fmla="*/ 71 w 160"/>
              <a:gd name="T19" fmla="*/ 83 h 160"/>
              <a:gd name="T20" fmla="*/ 85 w 160"/>
              <a:gd name="T21" fmla="*/ 77 h 160"/>
              <a:gd name="T22" fmla="*/ 48 w 160"/>
              <a:gd name="T23" fmla="*/ 27 h 160"/>
              <a:gd name="T24" fmla="*/ 155 w 160"/>
              <a:gd name="T25" fmla="*/ 80 h 160"/>
              <a:gd name="T26" fmla="*/ 29 w 160"/>
              <a:gd name="T27" fmla="*/ 3 h 160"/>
              <a:gd name="T28" fmla="*/ 27 w 160"/>
              <a:gd name="T29" fmla="*/ 27 h 160"/>
              <a:gd name="T30" fmla="*/ 12 w 160"/>
              <a:gd name="T31" fmla="*/ 116 h 160"/>
              <a:gd name="T32" fmla="*/ 19 w 160"/>
              <a:gd name="T33" fmla="*/ 130 h 160"/>
              <a:gd name="T34" fmla="*/ 12 w 160"/>
              <a:gd name="T35" fmla="*/ 122 h 160"/>
              <a:gd name="T36" fmla="*/ 22 w 160"/>
              <a:gd name="T37" fmla="*/ 135 h 160"/>
              <a:gd name="T38" fmla="*/ 28 w 160"/>
              <a:gd name="T39" fmla="*/ 137 h 160"/>
              <a:gd name="T40" fmla="*/ 28 w 160"/>
              <a:gd name="T41" fmla="*/ 137 h 160"/>
              <a:gd name="T42" fmla="*/ 5 w 160"/>
              <a:gd name="T43" fmla="*/ 101 h 160"/>
              <a:gd name="T44" fmla="*/ 1 w 160"/>
              <a:gd name="T45" fmla="*/ 91 h 160"/>
              <a:gd name="T46" fmla="*/ 5 w 160"/>
              <a:gd name="T47" fmla="*/ 107 h 160"/>
              <a:gd name="T48" fmla="*/ 3 w 160"/>
              <a:gd name="T49" fmla="*/ 86 h 160"/>
              <a:gd name="T50" fmla="*/ 34 w 160"/>
              <a:gd name="T51" fmla="*/ 142 h 160"/>
              <a:gd name="T52" fmla="*/ 34 w 160"/>
              <a:gd name="T53" fmla="*/ 142 h 160"/>
              <a:gd name="T54" fmla="*/ 134 w 160"/>
              <a:gd name="T55" fmla="*/ 139 h 160"/>
              <a:gd name="T56" fmla="*/ 138 w 160"/>
              <a:gd name="T57" fmla="*/ 134 h 160"/>
              <a:gd name="T58" fmla="*/ 141 w 160"/>
              <a:gd name="T59" fmla="*/ 127 h 160"/>
              <a:gd name="T60" fmla="*/ 125 w 160"/>
              <a:gd name="T61" fmla="*/ 140 h 160"/>
              <a:gd name="T62" fmla="*/ 125 w 160"/>
              <a:gd name="T63" fmla="*/ 140 h 160"/>
              <a:gd name="T64" fmla="*/ 122 w 160"/>
              <a:gd name="T65" fmla="*/ 145 h 160"/>
              <a:gd name="T66" fmla="*/ 146 w 160"/>
              <a:gd name="T67" fmla="*/ 121 h 160"/>
              <a:gd name="T68" fmla="*/ 154 w 160"/>
              <a:gd name="T69" fmla="*/ 88 h 160"/>
              <a:gd name="T70" fmla="*/ 156 w 160"/>
              <a:gd name="T71" fmla="*/ 93 h 160"/>
              <a:gd name="T72" fmla="*/ 156 w 160"/>
              <a:gd name="T73" fmla="*/ 93 h 160"/>
              <a:gd name="T74" fmla="*/ 156 w 160"/>
              <a:gd name="T75" fmla="*/ 104 h 160"/>
              <a:gd name="T76" fmla="*/ 151 w 160"/>
              <a:gd name="T77" fmla="*/ 114 h 160"/>
              <a:gd name="T78" fmla="*/ 112 w 160"/>
              <a:gd name="T79" fmla="*/ 153 h 160"/>
              <a:gd name="T80" fmla="*/ 63 w 160"/>
              <a:gd name="T81" fmla="*/ 156 h 160"/>
              <a:gd name="T82" fmla="*/ 74 w 160"/>
              <a:gd name="T83" fmla="*/ 154 h 160"/>
              <a:gd name="T84" fmla="*/ 76 w 160"/>
              <a:gd name="T85" fmla="*/ 157 h 160"/>
              <a:gd name="T86" fmla="*/ 58 w 160"/>
              <a:gd name="T87" fmla="*/ 157 h 160"/>
              <a:gd name="T88" fmla="*/ 49 w 160"/>
              <a:gd name="T89" fmla="*/ 154 h 160"/>
              <a:gd name="T90" fmla="*/ 87 w 160"/>
              <a:gd name="T91" fmla="*/ 157 h 160"/>
              <a:gd name="T92" fmla="*/ 89 w 160"/>
              <a:gd name="T93" fmla="*/ 154 h 160"/>
              <a:gd name="T94" fmla="*/ 108 w 160"/>
              <a:gd name="T95" fmla="*/ 152 h 160"/>
              <a:gd name="T96" fmla="*/ 98 w 160"/>
              <a:gd name="T97" fmla="*/ 158 h 160"/>
              <a:gd name="T98" fmla="*/ 81 w 160"/>
              <a:gd name="T99" fmla="*/ 160 h 160"/>
              <a:gd name="T100" fmla="*/ 41 w 160"/>
              <a:gd name="T101" fmla="*/ 1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160">
                <a:moveTo>
                  <a:pt x="80" y="139"/>
                </a:moveTo>
                <a:cubicBezTo>
                  <a:pt x="112" y="139"/>
                  <a:pt x="139" y="112"/>
                  <a:pt x="139" y="80"/>
                </a:cubicBezTo>
                <a:cubicBezTo>
                  <a:pt x="139" y="48"/>
                  <a:pt x="112" y="21"/>
                  <a:pt x="80" y="21"/>
                </a:cubicBezTo>
                <a:cubicBezTo>
                  <a:pt x="48" y="21"/>
                  <a:pt x="21" y="48"/>
                  <a:pt x="21" y="80"/>
                </a:cubicBezTo>
                <a:cubicBezTo>
                  <a:pt x="21" y="112"/>
                  <a:pt x="48" y="139"/>
                  <a:pt x="80" y="139"/>
                </a:cubicBezTo>
                <a:close/>
                <a:moveTo>
                  <a:pt x="80" y="27"/>
                </a:moveTo>
                <a:cubicBezTo>
                  <a:pt x="109" y="27"/>
                  <a:pt x="133" y="51"/>
                  <a:pt x="133" y="80"/>
                </a:cubicBezTo>
                <a:cubicBezTo>
                  <a:pt x="133" y="109"/>
                  <a:pt x="109" y="133"/>
                  <a:pt x="80" y="133"/>
                </a:cubicBezTo>
                <a:cubicBezTo>
                  <a:pt x="51" y="133"/>
                  <a:pt x="27" y="109"/>
                  <a:pt x="27" y="80"/>
                </a:cubicBezTo>
                <a:cubicBezTo>
                  <a:pt x="27" y="51"/>
                  <a:pt x="51" y="27"/>
                  <a:pt x="80" y="27"/>
                </a:cubicBezTo>
                <a:close/>
                <a:moveTo>
                  <a:pt x="80" y="40"/>
                </a:moveTo>
                <a:cubicBezTo>
                  <a:pt x="81" y="40"/>
                  <a:pt x="83" y="39"/>
                  <a:pt x="83" y="37"/>
                </a:cubicBezTo>
                <a:cubicBezTo>
                  <a:pt x="83" y="32"/>
                  <a:pt x="83" y="32"/>
                  <a:pt x="83" y="32"/>
                </a:cubicBezTo>
                <a:cubicBezTo>
                  <a:pt x="83" y="31"/>
                  <a:pt x="81" y="29"/>
                  <a:pt x="80" y="29"/>
                </a:cubicBezTo>
                <a:cubicBezTo>
                  <a:pt x="78" y="29"/>
                  <a:pt x="77" y="31"/>
                  <a:pt x="77" y="32"/>
                </a:cubicBezTo>
                <a:cubicBezTo>
                  <a:pt x="77" y="37"/>
                  <a:pt x="77" y="37"/>
                  <a:pt x="77" y="37"/>
                </a:cubicBezTo>
                <a:cubicBezTo>
                  <a:pt x="77" y="39"/>
                  <a:pt x="78" y="40"/>
                  <a:pt x="80" y="40"/>
                </a:cubicBezTo>
                <a:close/>
                <a:moveTo>
                  <a:pt x="80" y="120"/>
                </a:moveTo>
                <a:cubicBezTo>
                  <a:pt x="78" y="120"/>
                  <a:pt x="77" y="121"/>
                  <a:pt x="77" y="123"/>
                </a:cubicBezTo>
                <a:cubicBezTo>
                  <a:pt x="77" y="128"/>
                  <a:pt x="77" y="128"/>
                  <a:pt x="77" y="128"/>
                </a:cubicBezTo>
                <a:cubicBezTo>
                  <a:pt x="77" y="129"/>
                  <a:pt x="78" y="131"/>
                  <a:pt x="80" y="131"/>
                </a:cubicBezTo>
                <a:cubicBezTo>
                  <a:pt x="81" y="131"/>
                  <a:pt x="83" y="129"/>
                  <a:pt x="83" y="128"/>
                </a:cubicBezTo>
                <a:cubicBezTo>
                  <a:pt x="83" y="123"/>
                  <a:pt x="83" y="123"/>
                  <a:pt x="83" y="123"/>
                </a:cubicBezTo>
                <a:cubicBezTo>
                  <a:pt x="83" y="121"/>
                  <a:pt x="81" y="120"/>
                  <a:pt x="80" y="120"/>
                </a:cubicBezTo>
                <a:close/>
                <a:moveTo>
                  <a:pt x="123" y="83"/>
                </a:moveTo>
                <a:cubicBezTo>
                  <a:pt x="128" y="83"/>
                  <a:pt x="128" y="83"/>
                  <a:pt x="128" y="83"/>
                </a:cubicBezTo>
                <a:cubicBezTo>
                  <a:pt x="129" y="83"/>
                  <a:pt x="131" y="81"/>
                  <a:pt x="131" y="80"/>
                </a:cubicBezTo>
                <a:cubicBezTo>
                  <a:pt x="131" y="79"/>
                  <a:pt x="129" y="77"/>
                  <a:pt x="128" y="77"/>
                </a:cubicBezTo>
                <a:cubicBezTo>
                  <a:pt x="123" y="77"/>
                  <a:pt x="123" y="77"/>
                  <a:pt x="123" y="77"/>
                </a:cubicBezTo>
                <a:cubicBezTo>
                  <a:pt x="121" y="77"/>
                  <a:pt x="120" y="79"/>
                  <a:pt x="120" y="80"/>
                </a:cubicBezTo>
                <a:cubicBezTo>
                  <a:pt x="120" y="81"/>
                  <a:pt x="121" y="83"/>
                  <a:pt x="123" y="83"/>
                </a:cubicBezTo>
                <a:close/>
                <a:moveTo>
                  <a:pt x="37" y="77"/>
                </a:moveTo>
                <a:cubicBezTo>
                  <a:pt x="32" y="77"/>
                  <a:pt x="32" y="77"/>
                  <a:pt x="32" y="77"/>
                </a:cubicBezTo>
                <a:cubicBezTo>
                  <a:pt x="30" y="77"/>
                  <a:pt x="29" y="79"/>
                  <a:pt x="29" y="80"/>
                </a:cubicBezTo>
                <a:cubicBezTo>
                  <a:pt x="29" y="81"/>
                  <a:pt x="30" y="83"/>
                  <a:pt x="32" y="83"/>
                </a:cubicBezTo>
                <a:cubicBezTo>
                  <a:pt x="37" y="83"/>
                  <a:pt x="37" y="83"/>
                  <a:pt x="37" y="83"/>
                </a:cubicBezTo>
                <a:cubicBezTo>
                  <a:pt x="39" y="83"/>
                  <a:pt x="40" y="81"/>
                  <a:pt x="40" y="80"/>
                </a:cubicBezTo>
                <a:cubicBezTo>
                  <a:pt x="40" y="79"/>
                  <a:pt x="39" y="77"/>
                  <a:pt x="37" y="77"/>
                </a:cubicBezTo>
                <a:close/>
                <a:moveTo>
                  <a:pt x="51" y="109"/>
                </a:moveTo>
                <a:cubicBezTo>
                  <a:pt x="51" y="109"/>
                  <a:pt x="52" y="109"/>
                  <a:pt x="53" y="109"/>
                </a:cubicBezTo>
                <a:cubicBezTo>
                  <a:pt x="75" y="87"/>
                  <a:pt x="75" y="87"/>
                  <a:pt x="75" y="87"/>
                </a:cubicBezTo>
                <a:cubicBezTo>
                  <a:pt x="76" y="87"/>
                  <a:pt x="78" y="88"/>
                  <a:pt x="80" y="88"/>
                </a:cubicBezTo>
                <a:cubicBezTo>
                  <a:pt x="86" y="88"/>
                  <a:pt x="91" y="83"/>
                  <a:pt x="91" y="77"/>
                </a:cubicBezTo>
                <a:cubicBezTo>
                  <a:pt x="91" y="72"/>
                  <a:pt x="87" y="68"/>
                  <a:pt x="83" y="67"/>
                </a:cubicBezTo>
                <a:cubicBezTo>
                  <a:pt x="83" y="53"/>
                  <a:pt x="83" y="53"/>
                  <a:pt x="83" y="53"/>
                </a:cubicBezTo>
                <a:cubicBezTo>
                  <a:pt x="83" y="52"/>
                  <a:pt x="81" y="51"/>
                  <a:pt x="80" y="51"/>
                </a:cubicBezTo>
                <a:cubicBezTo>
                  <a:pt x="78" y="51"/>
                  <a:pt x="77" y="52"/>
                  <a:pt x="77" y="53"/>
                </a:cubicBezTo>
                <a:cubicBezTo>
                  <a:pt x="77" y="67"/>
                  <a:pt x="77" y="67"/>
                  <a:pt x="77" y="67"/>
                </a:cubicBezTo>
                <a:cubicBezTo>
                  <a:pt x="73" y="68"/>
                  <a:pt x="69" y="72"/>
                  <a:pt x="69" y="77"/>
                </a:cubicBezTo>
                <a:cubicBezTo>
                  <a:pt x="69" y="79"/>
                  <a:pt x="70" y="81"/>
                  <a:pt x="71" y="83"/>
                </a:cubicBezTo>
                <a:cubicBezTo>
                  <a:pt x="49" y="105"/>
                  <a:pt x="49" y="105"/>
                  <a:pt x="49" y="105"/>
                </a:cubicBezTo>
                <a:cubicBezTo>
                  <a:pt x="48" y="106"/>
                  <a:pt x="48" y="108"/>
                  <a:pt x="49" y="109"/>
                </a:cubicBezTo>
                <a:cubicBezTo>
                  <a:pt x="49" y="109"/>
                  <a:pt x="50" y="109"/>
                  <a:pt x="51" y="109"/>
                </a:cubicBezTo>
                <a:close/>
                <a:moveTo>
                  <a:pt x="80" y="72"/>
                </a:moveTo>
                <a:cubicBezTo>
                  <a:pt x="83" y="72"/>
                  <a:pt x="85" y="74"/>
                  <a:pt x="85" y="77"/>
                </a:cubicBezTo>
                <a:cubicBezTo>
                  <a:pt x="85" y="80"/>
                  <a:pt x="83" y="83"/>
                  <a:pt x="80" y="83"/>
                </a:cubicBezTo>
                <a:cubicBezTo>
                  <a:pt x="77" y="83"/>
                  <a:pt x="75" y="80"/>
                  <a:pt x="75" y="77"/>
                </a:cubicBezTo>
                <a:cubicBezTo>
                  <a:pt x="75" y="74"/>
                  <a:pt x="77" y="72"/>
                  <a:pt x="80" y="72"/>
                </a:cubicBezTo>
                <a:close/>
                <a:moveTo>
                  <a:pt x="27" y="27"/>
                </a:moveTo>
                <a:cubicBezTo>
                  <a:pt x="48" y="27"/>
                  <a:pt x="48" y="27"/>
                  <a:pt x="48" y="27"/>
                </a:cubicBezTo>
                <a:cubicBezTo>
                  <a:pt x="49" y="27"/>
                  <a:pt x="51" y="25"/>
                  <a:pt x="51" y="24"/>
                </a:cubicBezTo>
                <a:cubicBezTo>
                  <a:pt x="51" y="23"/>
                  <a:pt x="49" y="21"/>
                  <a:pt x="48" y="21"/>
                </a:cubicBezTo>
                <a:cubicBezTo>
                  <a:pt x="34" y="21"/>
                  <a:pt x="34" y="21"/>
                  <a:pt x="34" y="21"/>
                </a:cubicBezTo>
                <a:cubicBezTo>
                  <a:pt x="47" y="11"/>
                  <a:pt x="63" y="5"/>
                  <a:pt x="80" y="5"/>
                </a:cubicBezTo>
                <a:cubicBezTo>
                  <a:pt x="121" y="5"/>
                  <a:pt x="155" y="39"/>
                  <a:pt x="155" y="80"/>
                </a:cubicBezTo>
                <a:cubicBezTo>
                  <a:pt x="155" y="81"/>
                  <a:pt x="156" y="83"/>
                  <a:pt x="157" y="83"/>
                </a:cubicBezTo>
                <a:cubicBezTo>
                  <a:pt x="159" y="83"/>
                  <a:pt x="160" y="81"/>
                  <a:pt x="160" y="80"/>
                </a:cubicBezTo>
                <a:cubicBezTo>
                  <a:pt x="160" y="36"/>
                  <a:pt x="124" y="0"/>
                  <a:pt x="80" y="0"/>
                </a:cubicBezTo>
                <a:cubicBezTo>
                  <a:pt x="61" y="0"/>
                  <a:pt x="44" y="6"/>
                  <a:pt x="29" y="18"/>
                </a:cubicBezTo>
                <a:cubicBezTo>
                  <a:pt x="29" y="3"/>
                  <a:pt x="29" y="3"/>
                  <a:pt x="29" y="3"/>
                </a:cubicBezTo>
                <a:cubicBezTo>
                  <a:pt x="29" y="1"/>
                  <a:pt x="28" y="0"/>
                  <a:pt x="27" y="0"/>
                </a:cubicBezTo>
                <a:cubicBezTo>
                  <a:pt x="25" y="0"/>
                  <a:pt x="24" y="1"/>
                  <a:pt x="24" y="3"/>
                </a:cubicBezTo>
                <a:cubicBezTo>
                  <a:pt x="24" y="27"/>
                  <a:pt x="24" y="27"/>
                  <a:pt x="24" y="27"/>
                </a:cubicBezTo>
                <a:cubicBezTo>
                  <a:pt x="26" y="27"/>
                  <a:pt x="26" y="27"/>
                  <a:pt x="26" y="27"/>
                </a:cubicBezTo>
                <a:cubicBezTo>
                  <a:pt x="27" y="27"/>
                  <a:pt x="27" y="27"/>
                  <a:pt x="27" y="27"/>
                </a:cubicBezTo>
                <a:close/>
                <a:moveTo>
                  <a:pt x="13" y="113"/>
                </a:moveTo>
                <a:cubicBezTo>
                  <a:pt x="12" y="111"/>
                  <a:pt x="11" y="111"/>
                  <a:pt x="9" y="111"/>
                </a:cubicBezTo>
                <a:cubicBezTo>
                  <a:pt x="8" y="112"/>
                  <a:pt x="7" y="114"/>
                  <a:pt x="8" y="115"/>
                </a:cubicBezTo>
                <a:cubicBezTo>
                  <a:pt x="8" y="116"/>
                  <a:pt x="9" y="116"/>
                  <a:pt x="10" y="116"/>
                </a:cubicBezTo>
                <a:cubicBezTo>
                  <a:pt x="11" y="116"/>
                  <a:pt x="11" y="116"/>
                  <a:pt x="12" y="116"/>
                </a:cubicBezTo>
                <a:cubicBezTo>
                  <a:pt x="13" y="116"/>
                  <a:pt x="13" y="114"/>
                  <a:pt x="13" y="113"/>
                </a:cubicBezTo>
                <a:close/>
                <a:moveTo>
                  <a:pt x="21" y="126"/>
                </a:moveTo>
                <a:cubicBezTo>
                  <a:pt x="20" y="125"/>
                  <a:pt x="18" y="124"/>
                  <a:pt x="17" y="125"/>
                </a:cubicBezTo>
                <a:cubicBezTo>
                  <a:pt x="16" y="126"/>
                  <a:pt x="16" y="128"/>
                  <a:pt x="17" y="129"/>
                </a:cubicBezTo>
                <a:cubicBezTo>
                  <a:pt x="17" y="130"/>
                  <a:pt x="18" y="130"/>
                  <a:pt x="19" y="130"/>
                </a:cubicBezTo>
                <a:cubicBezTo>
                  <a:pt x="19" y="130"/>
                  <a:pt x="20" y="130"/>
                  <a:pt x="20" y="129"/>
                </a:cubicBezTo>
                <a:cubicBezTo>
                  <a:pt x="22" y="129"/>
                  <a:pt x="22" y="127"/>
                  <a:pt x="21" y="126"/>
                </a:cubicBezTo>
                <a:close/>
                <a:moveTo>
                  <a:pt x="17" y="119"/>
                </a:moveTo>
                <a:cubicBezTo>
                  <a:pt x="16" y="118"/>
                  <a:pt x="14" y="118"/>
                  <a:pt x="13" y="119"/>
                </a:cubicBezTo>
                <a:cubicBezTo>
                  <a:pt x="12" y="119"/>
                  <a:pt x="11" y="121"/>
                  <a:pt x="12" y="122"/>
                </a:cubicBezTo>
                <a:cubicBezTo>
                  <a:pt x="13" y="123"/>
                  <a:pt x="13" y="123"/>
                  <a:pt x="14" y="123"/>
                </a:cubicBezTo>
                <a:cubicBezTo>
                  <a:pt x="15" y="123"/>
                  <a:pt x="15" y="123"/>
                  <a:pt x="16" y="123"/>
                </a:cubicBezTo>
                <a:cubicBezTo>
                  <a:pt x="17" y="122"/>
                  <a:pt x="17" y="121"/>
                  <a:pt x="17" y="119"/>
                </a:cubicBezTo>
                <a:close/>
                <a:moveTo>
                  <a:pt x="22" y="131"/>
                </a:moveTo>
                <a:cubicBezTo>
                  <a:pt x="21" y="133"/>
                  <a:pt x="21" y="134"/>
                  <a:pt x="22" y="135"/>
                </a:cubicBezTo>
                <a:cubicBezTo>
                  <a:pt x="23" y="136"/>
                  <a:pt x="23" y="136"/>
                  <a:pt x="24" y="136"/>
                </a:cubicBezTo>
                <a:cubicBezTo>
                  <a:pt x="25" y="136"/>
                  <a:pt x="25" y="136"/>
                  <a:pt x="26" y="135"/>
                </a:cubicBezTo>
                <a:cubicBezTo>
                  <a:pt x="27" y="134"/>
                  <a:pt x="27" y="133"/>
                  <a:pt x="26" y="132"/>
                </a:cubicBezTo>
                <a:cubicBezTo>
                  <a:pt x="25" y="131"/>
                  <a:pt x="23" y="130"/>
                  <a:pt x="22" y="131"/>
                </a:cubicBezTo>
                <a:close/>
                <a:moveTo>
                  <a:pt x="28" y="137"/>
                </a:moveTo>
                <a:cubicBezTo>
                  <a:pt x="27" y="138"/>
                  <a:pt x="27" y="140"/>
                  <a:pt x="28" y="141"/>
                </a:cubicBezTo>
                <a:cubicBezTo>
                  <a:pt x="29" y="141"/>
                  <a:pt x="29" y="142"/>
                  <a:pt x="30" y="142"/>
                </a:cubicBezTo>
                <a:cubicBezTo>
                  <a:pt x="31" y="142"/>
                  <a:pt x="31" y="141"/>
                  <a:pt x="32" y="141"/>
                </a:cubicBezTo>
                <a:cubicBezTo>
                  <a:pt x="33" y="140"/>
                  <a:pt x="33" y="138"/>
                  <a:pt x="32" y="137"/>
                </a:cubicBezTo>
                <a:cubicBezTo>
                  <a:pt x="30" y="136"/>
                  <a:pt x="29" y="136"/>
                  <a:pt x="28" y="137"/>
                </a:cubicBezTo>
                <a:close/>
                <a:moveTo>
                  <a:pt x="6" y="101"/>
                </a:moveTo>
                <a:cubicBezTo>
                  <a:pt x="7" y="101"/>
                  <a:pt x="8" y="100"/>
                  <a:pt x="8" y="98"/>
                </a:cubicBezTo>
                <a:cubicBezTo>
                  <a:pt x="7" y="97"/>
                  <a:pt x="6" y="96"/>
                  <a:pt x="4" y="96"/>
                </a:cubicBezTo>
                <a:cubicBezTo>
                  <a:pt x="3" y="97"/>
                  <a:pt x="2" y="98"/>
                  <a:pt x="2" y="99"/>
                </a:cubicBezTo>
                <a:cubicBezTo>
                  <a:pt x="3" y="101"/>
                  <a:pt x="4" y="101"/>
                  <a:pt x="5" y="101"/>
                </a:cubicBezTo>
                <a:cubicBezTo>
                  <a:pt x="5" y="101"/>
                  <a:pt x="5" y="101"/>
                  <a:pt x="6" y="101"/>
                </a:cubicBezTo>
                <a:close/>
                <a:moveTo>
                  <a:pt x="4" y="94"/>
                </a:moveTo>
                <a:cubicBezTo>
                  <a:pt x="5" y="93"/>
                  <a:pt x="6" y="92"/>
                  <a:pt x="6" y="91"/>
                </a:cubicBezTo>
                <a:cubicBezTo>
                  <a:pt x="6" y="89"/>
                  <a:pt x="4" y="88"/>
                  <a:pt x="3" y="88"/>
                </a:cubicBezTo>
                <a:cubicBezTo>
                  <a:pt x="2" y="89"/>
                  <a:pt x="1" y="90"/>
                  <a:pt x="1" y="91"/>
                </a:cubicBezTo>
                <a:cubicBezTo>
                  <a:pt x="1" y="93"/>
                  <a:pt x="2" y="94"/>
                  <a:pt x="3" y="94"/>
                </a:cubicBezTo>
                <a:cubicBezTo>
                  <a:pt x="4" y="94"/>
                  <a:pt x="4" y="94"/>
                  <a:pt x="4" y="94"/>
                </a:cubicBezTo>
                <a:close/>
                <a:moveTo>
                  <a:pt x="10" y="106"/>
                </a:moveTo>
                <a:cubicBezTo>
                  <a:pt x="9" y="104"/>
                  <a:pt x="8" y="103"/>
                  <a:pt x="6" y="104"/>
                </a:cubicBezTo>
                <a:cubicBezTo>
                  <a:pt x="5" y="104"/>
                  <a:pt x="4" y="106"/>
                  <a:pt x="5" y="107"/>
                </a:cubicBezTo>
                <a:cubicBezTo>
                  <a:pt x="5" y="108"/>
                  <a:pt x="6" y="109"/>
                  <a:pt x="7" y="109"/>
                </a:cubicBezTo>
                <a:cubicBezTo>
                  <a:pt x="8" y="109"/>
                  <a:pt x="8" y="109"/>
                  <a:pt x="8" y="109"/>
                </a:cubicBezTo>
                <a:cubicBezTo>
                  <a:pt x="10" y="108"/>
                  <a:pt x="10" y="107"/>
                  <a:pt x="10" y="106"/>
                </a:cubicBezTo>
                <a:close/>
                <a:moveTo>
                  <a:pt x="3" y="86"/>
                </a:moveTo>
                <a:cubicBezTo>
                  <a:pt x="3" y="86"/>
                  <a:pt x="3" y="86"/>
                  <a:pt x="3" y="86"/>
                </a:cubicBezTo>
                <a:cubicBezTo>
                  <a:pt x="4" y="86"/>
                  <a:pt x="5" y="84"/>
                  <a:pt x="5" y="83"/>
                </a:cubicBezTo>
                <a:cubicBezTo>
                  <a:pt x="5" y="81"/>
                  <a:pt x="4" y="80"/>
                  <a:pt x="3" y="80"/>
                </a:cubicBezTo>
                <a:cubicBezTo>
                  <a:pt x="1" y="80"/>
                  <a:pt x="0" y="82"/>
                  <a:pt x="0" y="83"/>
                </a:cubicBezTo>
                <a:cubicBezTo>
                  <a:pt x="0" y="85"/>
                  <a:pt x="1" y="86"/>
                  <a:pt x="3" y="86"/>
                </a:cubicBezTo>
                <a:close/>
                <a:moveTo>
                  <a:pt x="34" y="142"/>
                </a:moveTo>
                <a:cubicBezTo>
                  <a:pt x="33" y="143"/>
                  <a:pt x="34" y="145"/>
                  <a:pt x="35" y="146"/>
                </a:cubicBezTo>
                <a:cubicBezTo>
                  <a:pt x="35" y="146"/>
                  <a:pt x="36" y="146"/>
                  <a:pt x="36" y="146"/>
                </a:cubicBezTo>
                <a:cubicBezTo>
                  <a:pt x="37" y="146"/>
                  <a:pt x="38" y="146"/>
                  <a:pt x="38" y="145"/>
                </a:cubicBezTo>
                <a:cubicBezTo>
                  <a:pt x="39" y="144"/>
                  <a:pt x="39" y="142"/>
                  <a:pt x="38" y="142"/>
                </a:cubicBezTo>
                <a:cubicBezTo>
                  <a:pt x="37" y="141"/>
                  <a:pt x="35" y="141"/>
                  <a:pt x="34" y="142"/>
                </a:cubicBezTo>
                <a:close/>
                <a:moveTo>
                  <a:pt x="130" y="135"/>
                </a:moveTo>
                <a:cubicBezTo>
                  <a:pt x="130" y="135"/>
                  <a:pt x="130" y="135"/>
                  <a:pt x="130" y="135"/>
                </a:cubicBezTo>
                <a:cubicBezTo>
                  <a:pt x="129" y="136"/>
                  <a:pt x="129" y="138"/>
                  <a:pt x="130" y="139"/>
                </a:cubicBezTo>
                <a:cubicBezTo>
                  <a:pt x="131" y="139"/>
                  <a:pt x="132" y="140"/>
                  <a:pt x="132" y="140"/>
                </a:cubicBezTo>
                <a:cubicBezTo>
                  <a:pt x="133" y="140"/>
                  <a:pt x="134" y="139"/>
                  <a:pt x="134" y="139"/>
                </a:cubicBezTo>
                <a:cubicBezTo>
                  <a:pt x="135" y="138"/>
                  <a:pt x="135" y="136"/>
                  <a:pt x="134" y="135"/>
                </a:cubicBezTo>
                <a:cubicBezTo>
                  <a:pt x="133" y="134"/>
                  <a:pt x="132" y="134"/>
                  <a:pt x="130" y="135"/>
                </a:cubicBezTo>
                <a:close/>
                <a:moveTo>
                  <a:pt x="136" y="129"/>
                </a:moveTo>
                <a:cubicBezTo>
                  <a:pt x="135" y="131"/>
                  <a:pt x="135" y="132"/>
                  <a:pt x="136" y="133"/>
                </a:cubicBezTo>
                <a:cubicBezTo>
                  <a:pt x="137" y="134"/>
                  <a:pt x="137" y="134"/>
                  <a:pt x="138" y="134"/>
                </a:cubicBezTo>
                <a:cubicBezTo>
                  <a:pt x="139" y="134"/>
                  <a:pt x="139" y="134"/>
                  <a:pt x="140" y="133"/>
                </a:cubicBezTo>
                <a:cubicBezTo>
                  <a:pt x="141" y="132"/>
                  <a:pt x="141" y="130"/>
                  <a:pt x="140" y="129"/>
                </a:cubicBezTo>
                <a:cubicBezTo>
                  <a:pt x="139" y="128"/>
                  <a:pt x="137" y="128"/>
                  <a:pt x="136" y="129"/>
                </a:cubicBezTo>
                <a:close/>
                <a:moveTo>
                  <a:pt x="141" y="123"/>
                </a:moveTo>
                <a:cubicBezTo>
                  <a:pt x="140" y="125"/>
                  <a:pt x="140" y="126"/>
                  <a:pt x="141" y="127"/>
                </a:cubicBezTo>
                <a:cubicBezTo>
                  <a:pt x="142" y="127"/>
                  <a:pt x="142" y="128"/>
                  <a:pt x="143" y="128"/>
                </a:cubicBezTo>
                <a:cubicBezTo>
                  <a:pt x="144" y="128"/>
                  <a:pt x="145" y="127"/>
                  <a:pt x="145" y="127"/>
                </a:cubicBezTo>
                <a:cubicBezTo>
                  <a:pt x="146" y="125"/>
                  <a:pt x="146" y="124"/>
                  <a:pt x="144" y="123"/>
                </a:cubicBezTo>
                <a:cubicBezTo>
                  <a:pt x="143" y="122"/>
                  <a:pt x="142" y="122"/>
                  <a:pt x="141" y="123"/>
                </a:cubicBezTo>
                <a:close/>
                <a:moveTo>
                  <a:pt x="125" y="140"/>
                </a:moveTo>
                <a:cubicBezTo>
                  <a:pt x="123" y="141"/>
                  <a:pt x="123" y="142"/>
                  <a:pt x="124" y="144"/>
                </a:cubicBezTo>
                <a:cubicBezTo>
                  <a:pt x="125" y="144"/>
                  <a:pt x="125" y="145"/>
                  <a:pt x="126" y="145"/>
                </a:cubicBezTo>
                <a:cubicBezTo>
                  <a:pt x="127" y="145"/>
                  <a:pt x="127" y="145"/>
                  <a:pt x="128" y="144"/>
                </a:cubicBezTo>
                <a:cubicBezTo>
                  <a:pt x="129" y="143"/>
                  <a:pt x="129" y="142"/>
                  <a:pt x="128" y="140"/>
                </a:cubicBezTo>
                <a:cubicBezTo>
                  <a:pt x="127" y="139"/>
                  <a:pt x="126" y="139"/>
                  <a:pt x="125" y="140"/>
                </a:cubicBezTo>
                <a:close/>
                <a:moveTo>
                  <a:pt x="118" y="144"/>
                </a:moveTo>
                <a:cubicBezTo>
                  <a:pt x="117" y="145"/>
                  <a:pt x="116" y="147"/>
                  <a:pt x="117" y="148"/>
                </a:cubicBezTo>
                <a:cubicBezTo>
                  <a:pt x="118" y="149"/>
                  <a:pt x="119" y="149"/>
                  <a:pt x="119" y="149"/>
                </a:cubicBezTo>
                <a:cubicBezTo>
                  <a:pt x="120" y="149"/>
                  <a:pt x="120" y="149"/>
                  <a:pt x="121" y="149"/>
                </a:cubicBezTo>
                <a:cubicBezTo>
                  <a:pt x="122" y="148"/>
                  <a:pt x="123" y="146"/>
                  <a:pt x="122" y="145"/>
                </a:cubicBezTo>
                <a:cubicBezTo>
                  <a:pt x="121" y="144"/>
                  <a:pt x="119" y="143"/>
                  <a:pt x="118" y="144"/>
                </a:cubicBezTo>
                <a:close/>
                <a:moveTo>
                  <a:pt x="149" y="116"/>
                </a:moveTo>
                <a:cubicBezTo>
                  <a:pt x="147" y="115"/>
                  <a:pt x="146" y="116"/>
                  <a:pt x="145" y="117"/>
                </a:cubicBezTo>
                <a:cubicBezTo>
                  <a:pt x="145" y="117"/>
                  <a:pt x="145" y="117"/>
                  <a:pt x="145" y="117"/>
                </a:cubicBezTo>
                <a:cubicBezTo>
                  <a:pt x="144" y="118"/>
                  <a:pt x="145" y="120"/>
                  <a:pt x="146" y="121"/>
                </a:cubicBezTo>
                <a:cubicBezTo>
                  <a:pt x="146" y="121"/>
                  <a:pt x="147" y="121"/>
                  <a:pt x="147" y="121"/>
                </a:cubicBezTo>
                <a:cubicBezTo>
                  <a:pt x="148" y="121"/>
                  <a:pt x="149" y="120"/>
                  <a:pt x="149" y="120"/>
                </a:cubicBezTo>
                <a:cubicBezTo>
                  <a:pt x="150" y="118"/>
                  <a:pt x="150" y="117"/>
                  <a:pt x="149" y="116"/>
                </a:cubicBezTo>
                <a:close/>
                <a:moveTo>
                  <a:pt x="157" y="85"/>
                </a:moveTo>
                <a:cubicBezTo>
                  <a:pt x="156" y="85"/>
                  <a:pt x="154" y="86"/>
                  <a:pt x="154" y="88"/>
                </a:cubicBezTo>
                <a:cubicBezTo>
                  <a:pt x="154" y="89"/>
                  <a:pt x="155" y="90"/>
                  <a:pt x="157" y="91"/>
                </a:cubicBezTo>
                <a:cubicBezTo>
                  <a:pt x="157" y="91"/>
                  <a:pt x="157" y="91"/>
                  <a:pt x="157" y="91"/>
                </a:cubicBezTo>
                <a:cubicBezTo>
                  <a:pt x="158" y="91"/>
                  <a:pt x="159" y="90"/>
                  <a:pt x="160" y="88"/>
                </a:cubicBezTo>
                <a:cubicBezTo>
                  <a:pt x="160" y="87"/>
                  <a:pt x="159" y="85"/>
                  <a:pt x="157" y="85"/>
                </a:cubicBezTo>
                <a:close/>
                <a:moveTo>
                  <a:pt x="156" y="93"/>
                </a:moveTo>
                <a:cubicBezTo>
                  <a:pt x="155" y="93"/>
                  <a:pt x="153" y="94"/>
                  <a:pt x="153" y="95"/>
                </a:cubicBezTo>
                <a:cubicBezTo>
                  <a:pt x="153" y="97"/>
                  <a:pt x="154" y="98"/>
                  <a:pt x="155" y="98"/>
                </a:cubicBezTo>
                <a:cubicBezTo>
                  <a:pt x="155" y="99"/>
                  <a:pt x="155" y="99"/>
                  <a:pt x="156" y="99"/>
                </a:cubicBezTo>
                <a:cubicBezTo>
                  <a:pt x="157" y="99"/>
                  <a:pt x="158" y="98"/>
                  <a:pt x="158" y="96"/>
                </a:cubicBezTo>
                <a:cubicBezTo>
                  <a:pt x="159" y="95"/>
                  <a:pt x="158" y="94"/>
                  <a:pt x="156" y="93"/>
                </a:cubicBezTo>
                <a:close/>
                <a:moveTo>
                  <a:pt x="154" y="101"/>
                </a:moveTo>
                <a:cubicBezTo>
                  <a:pt x="153" y="101"/>
                  <a:pt x="152" y="101"/>
                  <a:pt x="151" y="103"/>
                </a:cubicBezTo>
                <a:cubicBezTo>
                  <a:pt x="151" y="104"/>
                  <a:pt x="151" y="106"/>
                  <a:pt x="153" y="106"/>
                </a:cubicBezTo>
                <a:cubicBezTo>
                  <a:pt x="153" y="106"/>
                  <a:pt x="153" y="106"/>
                  <a:pt x="154" y="106"/>
                </a:cubicBezTo>
                <a:cubicBezTo>
                  <a:pt x="155" y="106"/>
                  <a:pt x="156" y="106"/>
                  <a:pt x="156" y="104"/>
                </a:cubicBezTo>
                <a:cubicBezTo>
                  <a:pt x="157" y="103"/>
                  <a:pt x="156" y="102"/>
                  <a:pt x="154" y="101"/>
                </a:cubicBezTo>
                <a:close/>
                <a:moveTo>
                  <a:pt x="152" y="109"/>
                </a:moveTo>
                <a:cubicBezTo>
                  <a:pt x="151" y="108"/>
                  <a:pt x="149" y="109"/>
                  <a:pt x="148" y="110"/>
                </a:cubicBezTo>
                <a:cubicBezTo>
                  <a:pt x="148" y="111"/>
                  <a:pt x="148" y="113"/>
                  <a:pt x="150" y="114"/>
                </a:cubicBezTo>
                <a:cubicBezTo>
                  <a:pt x="150" y="114"/>
                  <a:pt x="150" y="114"/>
                  <a:pt x="151" y="114"/>
                </a:cubicBezTo>
                <a:cubicBezTo>
                  <a:pt x="152" y="114"/>
                  <a:pt x="153" y="113"/>
                  <a:pt x="153" y="112"/>
                </a:cubicBezTo>
                <a:cubicBezTo>
                  <a:pt x="154" y="111"/>
                  <a:pt x="153" y="109"/>
                  <a:pt x="152" y="109"/>
                </a:cubicBezTo>
                <a:close/>
                <a:moveTo>
                  <a:pt x="111" y="148"/>
                </a:moveTo>
                <a:cubicBezTo>
                  <a:pt x="110" y="148"/>
                  <a:pt x="109" y="150"/>
                  <a:pt x="110" y="151"/>
                </a:cubicBezTo>
                <a:cubicBezTo>
                  <a:pt x="110" y="152"/>
                  <a:pt x="111" y="153"/>
                  <a:pt x="112" y="153"/>
                </a:cubicBezTo>
                <a:cubicBezTo>
                  <a:pt x="113" y="153"/>
                  <a:pt x="113" y="153"/>
                  <a:pt x="114" y="153"/>
                </a:cubicBezTo>
                <a:cubicBezTo>
                  <a:pt x="115" y="152"/>
                  <a:pt x="115" y="150"/>
                  <a:pt x="115" y="149"/>
                </a:cubicBezTo>
                <a:cubicBezTo>
                  <a:pt x="114" y="148"/>
                  <a:pt x="113" y="147"/>
                  <a:pt x="111" y="148"/>
                </a:cubicBezTo>
                <a:close/>
                <a:moveTo>
                  <a:pt x="66" y="153"/>
                </a:moveTo>
                <a:cubicBezTo>
                  <a:pt x="65" y="153"/>
                  <a:pt x="63" y="154"/>
                  <a:pt x="63" y="156"/>
                </a:cubicBezTo>
                <a:cubicBezTo>
                  <a:pt x="63" y="157"/>
                  <a:pt x="64" y="158"/>
                  <a:pt x="65" y="159"/>
                </a:cubicBezTo>
                <a:cubicBezTo>
                  <a:pt x="65" y="159"/>
                  <a:pt x="65" y="159"/>
                  <a:pt x="66" y="159"/>
                </a:cubicBezTo>
                <a:cubicBezTo>
                  <a:pt x="67" y="159"/>
                  <a:pt x="68" y="158"/>
                  <a:pt x="68" y="157"/>
                </a:cubicBezTo>
                <a:cubicBezTo>
                  <a:pt x="68" y="155"/>
                  <a:pt x="67" y="154"/>
                  <a:pt x="66" y="153"/>
                </a:cubicBezTo>
                <a:close/>
                <a:moveTo>
                  <a:pt x="74" y="154"/>
                </a:moveTo>
                <a:cubicBezTo>
                  <a:pt x="72" y="154"/>
                  <a:pt x="71" y="155"/>
                  <a:pt x="71" y="157"/>
                </a:cubicBezTo>
                <a:cubicBezTo>
                  <a:pt x="71" y="158"/>
                  <a:pt x="72" y="160"/>
                  <a:pt x="73" y="160"/>
                </a:cubicBezTo>
                <a:cubicBezTo>
                  <a:pt x="73" y="160"/>
                  <a:pt x="73" y="160"/>
                  <a:pt x="73" y="160"/>
                </a:cubicBezTo>
                <a:cubicBezTo>
                  <a:pt x="73" y="160"/>
                  <a:pt x="73" y="160"/>
                  <a:pt x="73" y="160"/>
                </a:cubicBezTo>
                <a:cubicBezTo>
                  <a:pt x="75" y="160"/>
                  <a:pt x="76" y="159"/>
                  <a:pt x="76" y="157"/>
                </a:cubicBezTo>
                <a:cubicBezTo>
                  <a:pt x="76" y="156"/>
                  <a:pt x="75" y="155"/>
                  <a:pt x="74" y="154"/>
                </a:cubicBezTo>
                <a:close/>
                <a:moveTo>
                  <a:pt x="59" y="152"/>
                </a:moveTo>
                <a:cubicBezTo>
                  <a:pt x="57" y="151"/>
                  <a:pt x="56" y="152"/>
                  <a:pt x="55" y="153"/>
                </a:cubicBezTo>
                <a:cubicBezTo>
                  <a:pt x="55" y="155"/>
                  <a:pt x="56" y="156"/>
                  <a:pt x="57" y="157"/>
                </a:cubicBezTo>
                <a:cubicBezTo>
                  <a:pt x="57" y="157"/>
                  <a:pt x="58" y="157"/>
                  <a:pt x="58" y="157"/>
                </a:cubicBezTo>
                <a:cubicBezTo>
                  <a:pt x="59" y="157"/>
                  <a:pt x="60" y="156"/>
                  <a:pt x="60" y="155"/>
                </a:cubicBezTo>
                <a:cubicBezTo>
                  <a:pt x="61" y="153"/>
                  <a:pt x="60" y="152"/>
                  <a:pt x="59" y="152"/>
                </a:cubicBezTo>
                <a:close/>
                <a:moveTo>
                  <a:pt x="51" y="149"/>
                </a:moveTo>
                <a:cubicBezTo>
                  <a:pt x="50" y="148"/>
                  <a:pt x="48" y="149"/>
                  <a:pt x="48" y="150"/>
                </a:cubicBezTo>
                <a:cubicBezTo>
                  <a:pt x="47" y="152"/>
                  <a:pt x="48" y="153"/>
                  <a:pt x="49" y="154"/>
                </a:cubicBezTo>
                <a:cubicBezTo>
                  <a:pt x="50" y="154"/>
                  <a:pt x="50" y="154"/>
                  <a:pt x="50" y="154"/>
                </a:cubicBezTo>
                <a:cubicBezTo>
                  <a:pt x="51" y="154"/>
                  <a:pt x="52" y="153"/>
                  <a:pt x="53" y="152"/>
                </a:cubicBezTo>
                <a:cubicBezTo>
                  <a:pt x="53" y="151"/>
                  <a:pt x="53" y="150"/>
                  <a:pt x="51" y="149"/>
                </a:cubicBezTo>
                <a:close/>
                <a:moveTo>
                  <a:pt x="89" y="154"/>
                </a:moveTo>
                <a:cubicBezTo>
                  <a:pt x="88" y="154"/>
                  <a:pt x="87" y="156"/>
                  <a:pt x="87" y="157"/>
                </a:cubicBezTo>
                <a:cubicBezTo>
                  <a:pt x="87" y="158"/>
                  <a:pt x="88" y="159"/>
                  <a:pt x="89" y="159"/>
                </a:cubicBezTo>
                <a:cubicBezTo>
                  <a:pt x="90" y="159"/>
                  <a:pt x="90" y="159"/>
                  <a:pt x="90" y="159"/>
                </a:cubicBezTo>
                <a:cubicBezTo>
                  <a:pt x="90" y="159"/>
                  <a:pt x="90" y="159"/>
                  <a:pt x="90" y="159"/>
                </a:cubicBezTo>
                <a:cubicBezTo>
                  <a:pt x="91" y="159"/>
                  <a:pt x="92" y="158"/>
                  <a:pt x="92" y="156"/>
                </a:cubicBezTo>
                <a:cubicBezTo>
                  <a:pt x="92" y="155"/>
                  <a:pt x="91" y="154"/>
                  <a:pt x="89" y="154"/>
                </a:cubicBezTo>
                <a:close/>
                <a:moveTo>
                  <a:pt x="104" y="151"/>
                </a:moveTo>
                <a:cubicBezTo>
                  <a:pt x="103" y="151"/>
                  <a:pt x="102" y="153"/>
                  <a:pt x="102" y="154"/>
                </a:cubicBezTo>
                <a:cubicBezTo>
                  <a:pt x="103" y="155"/>
                  <a:pt x="104" y="156"/>
                  <a:pt x="105" y="156"/>
                </a:cubicBezTo>
                <a:cubicBezTo>
                  <a:pt x="105" y="156"/>
                  <a:pt x="106" y="156"/>
                  <a:pt x="106" y="156"/>
                </a:cubicBezTo>
                <a:cubicBezTo>
                  <a:pt x="107" y="155"/>
                  <a:pt x="108" y="154"/>
                  <a:pt x="108" y="152"/>
                </a:cubicBezTo>
                <a:cubicBezTo>
                  <a:pt x="107" y="151"/>
                  <a:pt x="106" y="150"/>
                  <a:pt x="104" y="151"/>
                </a:cubicBezTo>
                <a:close/>
                <a:moveTo>
                  <a:pt x="97" y="153"/>
                </a:moveTo>
                <a:cubicBezTo>
                  <a:pt x="95" y="153"/>
                  <a:pt x="94" y="155"/>
                  <a:pt x="95" y="156"/>
                </a:cubicBezTo>
                <a:cubicBezTo>
                  <a:pt x="95" y="157"/>
                  <a:pt x="96" y="158"/>
                  <a:pt x="97" y="158"/>
                </a:cubicBezTo>
                <a:cubicBezTo>
                  <a:pt x="98" y="158"/>
                  <a:pt x="98" y="158"/>
                  <a:pt x="98" y="158"/>
                </a:cubicBezTo>
                <a:cubicBezTo>
                  <a:pt x="99" y="158"/>
                  <a:pt x="100" y="156"/>
                  <a:pt x="100" y="155"/>
                </a:cubicBezTo>
                <a:cubicBezTo>
                  <a:pt x="100" y="153"/>
                  <a:pt x="98" y="152"/>
                  <a:pt x="97" y="153"/>
                </a:cubicBezTo>
                <a:close/>
                <a:moveTo>
                  <a:pt x="81" y="155"/>
                </a:moveTo>
                <a:cubicBezTo>
                  <a:pt x="80" y="155"/>
                  <a:pt x="79" y="156"/>
                  <a:pt x="79" y="157"/>
                </a:cubicBezTo>
                <a:cubicBezTo>
                  <a:pt x="79" y="159"/>
                  <a:pt x="80" y="160"/>
                  <a:pt x="81" y="160"/>
                </a:cubicBezTo>
                <a:cubicBezTo>
                  <a:pt x="81" y="160"/>
                  <a:pt x="81" y="160"/>
                  <a:pt x="82" y="160"/>
                </a:cubicBezTo>
                <a:cubicBezTo>
                  <a:pt x="83" y="160"/>
                  <a:pt x="84" y="159"/>
                  <a:pt x="84" y="157"/>
                </a:cubicBezTo>
                <a:cubicBezTo>
                  <a:pt x="84" y="156"/>
                  <a:pt x="83" y="155"/>
                  <a:pt x="81" y="155"/>
                </a:cubicBezTo>
                <a:close/>
                <a:moveTo>
                  <a:pt x="44" y="146"/>
                </a:moveTo>
                <a:cubicBezTo>
                  <a:pt x="43" y="145"/>
                  <a:pt x="41" y="145"/>
                  <a:pt x="41" y="147"/>
                </a:cubicBezTo>
                <a:cubicBezTo>
                  <a:pt x="40" y="148"/>
                  <a:pt x="40" y="150"/>
                  <a:pt x="42" y="150"/>
                </a:cubicBezTo>
                <a:cubicBezTo>
                  <a:pt x="42" y="151"/>
                  <a:pt x="43" y="151"/>
                  <a:pt x="43" y="151"/>
                </a:cubicBezTo>
                <a:cubicBezTo>
                  <a:pt x="44" y="151"/>
                  <a:pt x="45" y="150"/>
                  <a:pt x="45" y="149"/>
                </a:cubicBezTo>
                <a:cubicBezTo>
                  <a:pt x="46" y="148"/>
                  <a:pt x="46" y="146"/>
                  <a:pt x="44" y="1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cxnSp>
        <p:nvCxnSpPr>
          <p:cNvPr id="19" name="Straight Connector 18"/>
          <p:cNvCxnSpPr/>
          <p:nvPr/>
        </p:nvCxnSpPr>
        <p:spPr>
          <a:xfrm>
            <a:off x="927100" y="3454400"/>
            <a:ext cx="3743337" cy="0"/>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 name="Picture Placeholder 1"/>
          <p:cNvSpPr>
            <a:spLocks noGrp="1"/>
          </p:cNvSpPr>
          <p:nvPr>
            <p:ph type="pic" sz="quarter" idx="12"/>
          </p:nvPr>
        </p:nvSpPr>
        <p:spPr/>
        <p:txBody>
          <a:bodyPr/>
          <a:lstStyle/>
          <a:p>
            <a:endParaRPr lang="en-CA"/>
          </a:p>
        </p:txBody>
      </p:sp>
      <p:sp>
        <p:nvSpPr>
          <p:cNvPr id="3" name="Picture Placeholder 2"/>
          <p:cNvSpPr>
            <a:spLocks noGrp="1"/>
          </p:cNvSpPr>
          <p:nvPr>
            <p:ph type="pic" sz="quarter" idx="13"/>
          </p:nvPr>
        </p:nvSpPr>
        <p:spPr/>
        <p:txBody>
          <a:bodyPr/>
          <a:lstStyle/>
          <a:p>
            <a:endParaRPr lang="en-CA"/>
          </a:p>
        </p:txBody>
      </p:sp>
    </p:spTree>
    <p:extLst>
      <p:ext uri="{BB962C8B-B14F-4D97-AF65-F5344CB8AC3E}">
        <p14:creationId xmlns:p14="http://schemas.microsoft.com/office/powerpoint/2010/main" val="16336220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AD9F53-891A-9244-9160-D96A16EB9C82}"/>
              </a:ext>
            </a:extLst>
          </p:cNvPr>
          <p:cNvSpPr>
            <a:spLocks noGrp="1"/>
          </p:cNvSpPr>
          <p:nvPr>
            <p:ph type="body" sz="quarter" idx="16"/>
          </p:nvPr>
        </p:nvSpPr>
        <p:spPr/>
        <p:txBody>
          <a:bodyPr/>
          <a:lstStyle/>
          <a:p>
            <a:endParaRPr lang="en-US" dirty="0"/>
          </a:p>
        </p:txBody>
      </p:sp>
      <p:sp>
        <p:nvSpPr>
          <p:cNvPr id="3" name="Text Placeholder 2">
            <a:extLst>
              <a:ext uri="{FF2B5EF4-FFF2-40B4-BE49-F238E27FC236}">
                <a16:creationId xmlns:a16="http://schemas.microsoft.com/office/drawing/2014/main" id="{035AC113-B741-F04A-A6DC-3F04161DCED4}"/>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0344600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909268" y="6295673"/>
            <a:ext cx="279465" cy="57600"/>
            <a:chOff x="909268" y="6459095"/>
            <a:chExt cx="279465" cy="57600"/>
          </a:xfrm>
        </p:grpSpPr>
        <p:sp>
          <p:nvSpPr>
            <p:cNvPr id="15" name="Oval 14"/>
            <p:cNvSpPr/>
            <p:nvPr/>
          </p:nvSpPr>
          <p:spPr>
            <a:xfrm>
              <a:off x="909268" y="6459095"/>
              <a:ext cx="57600" cy="57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6" name="Oval 15"/>
            <p:cNvSpPr/>
            <p:nvPr/>
          </p:nvSpPr>
          <p:spPr>
            <a:xfrm>
              <a:off x="1020201"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7" name="Oval 16"/>
            <p:cNvSpPr/>
            <p:nvPr/>
          </p:nvSpPr>
          <p:spPr>
            <a:xfrm>
              <a:off x="1131133" y="6459095"/>
              <a:ext cx="57600" cy="57600"/>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grpSp>
      <p:sp>
        <p:nvSpPr>
          <p:cNvPr id="28" name="Title 2"/>
          <p:cNvSpPr txBox="1">
            <a:spLocks/>
          </p:cNvSpPr>
          <p:nvPr/>
        </p:nvSpPr>
        <p:spPr>
          <a:xfrm>
            <a:off x="4973425" y="3655223"/>
            <a:ext cx="3079906" cy="616813"/>
          </a:xfrm>
          <a:prstGeom prst="rect">
            <a:avLst/>
          </a:prstGeom>
        </p:spPr>
        <p:txBody>
          <a:bodyPr lIns="0" rIns="0" anchor="t">
            <a:noAutofit/>
          </a:bodyPr>
          <a:lstStyle>
            <a:lvl1pPr algn="l" defTabSz="914400" rtl="0" eaLnBrk="1" latinLnBrk="0" hangingPunct="1">
              <a:lnSpc>
                <a:spcPct val="80000"/>
              </a:lnSpc>
              <a:spcBef>
                <a:spcPct val="0"/>
              </a:spcBef>
              <a:buNone/>
              <a:defRPr sz="5400" kern="1200">
                <a:solidFill>
                  <a:schemeClr val="tx1"/>
                </a:solidFill>
                <a:latin typeface="+mj-lt"/>
                <a:ea typeface="+mj-ea"/>
                <a:cs typeface="+mj-cs"/>
              </a:defRPr>
            </a:lvl1pPr>
          </a:lstStyle>
          <a:p>
            <a:r>
              <a:rPr lang="en-US" sz="3600" dirty="0">
                <a:latin typeface="RBC Display" panose="02000000000000000000" pitchFamily="2" charset="77"/>
              </a:rPr>
              <a:t>Our Team</a:t>
            </a:r>
          </a:p>
        </p:txBody>
      </p:sp>
      <p:sp>
        <p:nvSpPr>
          <p:cNvPr id="29" name="TextBox 28"/>
          <p:cNvSpPr txBox="1"/>
          <p:nvPr/>
        </p:nvSpPr>
        <p:spPr>
          <a:xfrm>
            <a:off x="4973425" y="4207769"/>
            <a:ext cx="2255426" cy="535531"/>
          </a:xfrm>
          <a:prstGeom prst="rect">
            <a:avLst/>
          </a:prstGeom>
          <a:noFill/>
        </p:spPr>
        <p:txBody>
          <a:bodyPr wrap="square" lIns="0" rIns="0" rtlCol="0">
            <a:spAutoFit/>
          </a:bodyPr>
          <a:lstStyle/>
          <a:p>
            <a:pPr>
              <a:lnSpc>
                <a:spcPct val="120000"/>
              </a:lnSpc>
            </a:pPr>
            <a:r>
              <a:rPr lang="en-US" sz="1200" dirty="0">
                <a:solidFill>
                  <a:schemeClr val="tx2">
                    <a:alpha val="70000"/>
                  </a:schemeClr>
                </a:solidFill>
                <a:latin typeface="RBC Text" panose="02000000000000000000" pitchFamily="2" charset="77"/>
              </a:rPr>
              <a:t>A peep at some distant orb has power to raise and purify.</a:t>
            </a:r>
          </a:p>
        </p:txBody>
      </p:sp>
      <p:grpSp>
        <p:nvGrpSpPr>
          <p:cNvPr id="34" name="Group 33"/>
          <p:cNvGrpSpPr/>
          <p:nvPr/>
        </p:nvGrpSpPr>
        <p:grpSpPr>
          <a:xfrm>
            <a:off x="10278738" y="3720028"/>
            <a:ext cx="914399" cy="914399"/>
            <a:chOff x="8490334" y="1902244"/>
            <a:chExt cx="914399" cy="914399"/>
          </a:xfrm>
        </p:grpSpPr>
        <p:cxnSp>
          <p:nvCxnSpPr>
            <p:cNvPr id="35" name="Straight Connector 34"/>
            <p:cNvCxnSpPr/>
            <p:nvPr/>
          </p:nvCxnSpPr>
          <p:spPr>
            <a:xfrm>
              <a:off x="8490334" y="1902244"/>
              <a:ext cx="914399" cy="914399"/>
            </a:xfrm>
            <a:prstGeom prst="line">
              <a:avLst/>
            </a:prstGeom>
            <a:ln>
              <a:solidFill>
                <a:srgbClr val="FFFFFF">
                  <a:alpha val="10000"/>
                </a:srgb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8490334" y="1902244"/>
              <a:ext cx="914399" cy="914399"/>
            </a:xfrm>
            <a:prstGeom prst="line">
              <a:avLst/>
            </a:prstGeom>
            <a:ln>
              <a:solidFill>
                <a:srgbClr val="FFFFFF">
                  <a:alpha val="10000"/>
                </a:srgbClr>
              </a:solidFill>
            </a:ln>
          </p:spPr>
          <p:style>
            <a:lnRef idx="1">
              <a:schemeClr val="accent1"/>
            </a:lnRef>
            <a:fillRef idx="0">
              <a:schemeClr val="accent1"/>
            </a:fillRef>
            <a:effectRef idx="0">
              <a:schemeClr val="accent1"/>
            </a:effectRef>
            <a:fontRef idx="minor">
              <a:schemeClr val="tx1"/>
            </a:fontRef>
          </p:style>
        </p:cxnSp>
      </p:grpSp>
      <p:sp>
        <p:nvSpPr>
          <p:cNvPr id="11" name="Picture Placeholder 10"/>
          <p:cNvSpPr>
            <a:spLocks noGrp="1"/>
          </p:cNvSpPr>
          <p:nvPr>
            <p:ph type="pic" sz="quarter" idx="12"/>
          </p:nvPr>
        </p:nvSpPr>
        <p:spPr/>
        <p:txBody>
          <a:bodyPr/>
          <a:lstStyle/>
          <a:p>
            <a:endParaRPr lang="en-CA"/>
          </a:p>
        </p:txBody>
      </p:sp>
      <p:sp>
        <p:nvSpPr>
          <p:cNvPr id="10" name="Picture Placeholder 9"/>
          <p:cNvSpPr>
            <a:spLocks noGrp="1"/>
          </p:cNvSpPr>
          <p:nvPr>
            <p:ph type="pic" sz="quarter" idx="13"/>
          </p:nvPr>
        </p:nvSpPr>
        <p:spPr/>
        <p:txBody>
          <a:bodyPr/>
          <a:lstStyle/>
          <a:p>
            <a:endParaRPr lang="en-CA"/>
          </a:p>
        </p:txBody>
      </p:sp>
      <p:sp>
        <p:nvSpPr>
          <p:cNvPr id="2" name="Picture Placeholder 1"/>
          <p:cNvSpPr>
            <a:spLocks noGrp="1"/>
          </p:cNvSpPr>
          <p:nvPr>
            <p:ph type="pic" sz="quarter" idx="14"/>
          </p:nvPr>
        </p:nvSpPr>
        <p:spPr/>
        <p:txBody>
          <a:bodyPr/>
          <a:lstStyle/>
          <a:p>
            <a:endParaRPr lang="en-CA"/>
          </a:p>
        </p:txBody>
      </p:sp>
      <p:sp>
        <p:nvSpPr>
          <p:cNvPr id="9" name="Picture Placeholder 8"/>
          <p:cNvSpPr>
            <a:spLocks noGrp="1"/>
          </p:cNvSpPr>
          <p:nvPr>
            <p:ph type="pic" sz="quarter" idx="15"/>
          </p:nvPr>
        </p:nvSpPr>
        <p:spPr/>
        <p:txBody>
          <a:bodyPr/>
          <a:lstStyle/>
          <a:p>
            <a:endParaRPr lang="en-CA"/>
          </a:p>
        </p:txBody>
      </p:sp>
      <p:sp>
        <p:nvSpPr>
          <p:cNvPr id="3" name="Picture Placeholder 2"/>
          <p:cNvSpPr>
            <a:spLocks noGrp="1"/>
          </p:cNvSpPr>
          <p:nvPr>
            <p:ph type="pic" sz="quarter" idx="16"/>
          </p:nvPr>
        </p:nvSpPr>
        <p:spPr/>
        <p:txBody>
          <a:bodyPr/>
          <a:lstStyle/>
          <a:p>
            <a:endParaRPr lang="en-CA"/>
          </a:p>
        </p:txBody>
      </p:sp>
      <p:sp>
        <p:nvSpPr>
          <p:cNvPr id="4" name="Picture Placeholder 3"/>
          <p:cNvSpPr>
            <a:spLocks noGrp="1"/>
          </p:cNvSpPr>
          <p:nvPr>
            <p:ph type="pic" sz="quarter" idx="17"/>
          </p:nvPr>
        </p:nvSpPr>
        <p:spPr/>
        <p:txBody>
          <a:bodyPr/>
          <a:lstStyle/>
          <a:p>
            <a:endParaRPr lang="en-CA"/>
          </a:p>
        </p:txBody>
      </p:sp>
      <p:sp>
        <p:nvSpPr>
          <p:cNvPr id="8" name="Picture Placeholder 7"/>
          <p:cNvSpPr>
            <a:spLocks noGrp="1"/>
          </p:cNvSpPr>
          <p:nvPr>
            <p:ph type="pic" sz="quarter" idx="18"/>
          </p:nvPr>
        </p:nvSpPr>
        <p:spPr/>
        <p:txBody>
          <a:bodyPr/>
          <a:lstStyle/>
          <a:p>
            <a:endParaRPr lang="en-CA"/>
          </a:p>
        </p:txBody>
      </p:sp>
      <p:sp>
        <p:nvSpPr>
          <p:cNvPr id="7" name="Picture Placeholder 6"/>
          <p:cNvSpPr>
            <a:spLocks noGrp="1"/>
          </p:cNvSpPr>
          <p:nvPr>
            <p:ph type="pic" sz="quarter" idx="19"/>
          </p:nvPr>
        </p:nvSpPr>
        <p:spPr/>
        <p:txBody>
          <a:bodyPr/>
          <a:lstStyle/>
          <a:p>
            <a:endParaRPr lang="en-CA"/>
          </a:p>
        </p:txBody>
      </p:sp>
      <p:sp>
        <p:nvSpPr>
          <p:cNvPr id="6" name="Picture Placeholder 5"/>
          <p:cNvSpPr>
            <a:spLocks noGrp="1"/>
          </p:cNvSpPr>
          <p:nvPr>
            <p:ph type="pic" sz="quarter" idx="20"/>
          </p:nvPr>
        </p:nvSpPr>
        <p:spPr/>
        <p:txBody>
          <a:bodyPr/>
          <a:lstStyle/>
          <a:p>
            <a:endParaRPr lang="en-CA"/>
          </a:p>
        </p:txBody>
      </p:sp>
      <p:sp>
        <p:nvSpPr>
          <p:cNvPr id="5" name="Picture Placeholder 4"/>
          <p:cNvSpPr>
            <a:spLocks noGrp="1"/>
          </p:cNvSpPr>
          <p:nvPr>
            <p:ph type="pic" sz="quarter" idx="21"/>
          </p:nvPr>
        </p:nvSpPr>
        <p:spPr/>
        <p:txBody>
          <a:bodyPr/>
          <a:lstStyle/>
          <a:p>
            <a:endParaRPr lang="en-CA"/>
          </a:p>
        </p:txBody>
      </p:sp>
      <p:sp>
        <p:nvSpPr>
          <p:cNvPr id="25" name="Text Placeholder 6">
            <a:extLst>
              <a:ext uri="{FF2B5EF4-FFF2-40B4-BE49-F238E27FC236}">
                <a16:creationId xmlns:a16="http://schemas.microsoft.com/office/drawing/2014/main" id="{E6175D39-C678-514C-A5A5-6A2906845813}"/>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664030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3" name="Picture Placeholder 2"/>
          <p:cNvSpPr>
            <a:spLocks noGrp="1"/>
          </p:cNvSpPr>
          <p:nvPr>
            <p:ph type="pic" sz="quarter" idx="13"/>
          </p:nvPr>
        </p:nvSpPr>
        <p:spPr/>
        <p:txBody>
          <a:bodyPr/>
          <a:lstStyle/>
          <a:p>
            <a:endParaRPr lang="en-CA"/>
          </a:p>
        </p:txBody>
      </p:sp>
      <p:sp>
        <p:nvSpPr>
          <p:cNvPr id="4" name="Picture Placeholder 3"/>
          <p:cNvSpPr>
            <a:spLocks noGrp="1"/>
          </p:cNvSpPr>
          <p:nvPr>
            <p:ph type="pic" sz="quarter" idx="14"/>
          </p:nvPr>
        </p:nvSpPr>
        <p:spPr/>
        <p:txBody>
          <a:bodyPr/>
          <a:lstStyle/>
          <a:p>
            <a:endParaRPr lang="en-CA"/>
          </a:p>
        </p:txBody>
      </p:sp>
      <p:sp>
        <p:nvSpPr>
          <p:cNvPr id="5" name="Picture Placeholder 4"/>
          <p:cNvSpPr>
            <a:spLocks noGrp="1"/>
          </p:cNvSpPr>
          <p:nvPr>
            <p:ph type="pic" sz="quarter" idx="15"/>
          </p:nvPr>
        </p:nvSpPr>
        <p:spPr/>
        <p:txBody>
          <a:bodyPr/>
          <a:lstStyle/>
          <a:p>
            <a:endParaRPr lang="en-CA"/>
          </a:p>
        </p:txBody>
      </p:sp>
      <p:sp>
        <p:nvSpPr>
          <p:cNvPr id="6" name="Picture Placeholder 5"/>
          <p:cNvSpPr>
            <a:spLocks noGrp="1"/>
          </p:cNvSpPr>
          <p:nvPr>
            <p:ph type="pic" sz="quarter" idx="16"/>
          </p:nvPr>
        </p:nvSpPr>
        <p:spPr/>
        <p:txBody>
          <a:bodyPr/>
          <a:lstStyle/>
          <a:p>
            <a:endParaRPr lang="en-CA"/>
          </a:p>
        </p:txBody>
      </p:sp>
      <p:sp>
        <p:nvSpPr>
          <p:cNvPr id="7" name="Picture Placeholder 6"/>
          <p:cNvSpPr>
            <a:spLocks noGrp="1"/>
          </p:cNvSpPr>
          <p:nvPr>
            <p:ph type="pic" sz="quarter" idx="17"/>
          </p:nvPr>
        </p:nvSpPr>
        <p:spPr/>
        <p:txBody>
          <a:bodyPr/>
          <a:lstStyle/>
          <a:p>
            <a:endParaRPr lang="en-CA"/>
          </a:p>
        </p:txBody>
      </p:sp>
      <p:sp>
        <p:nvSpPr>
          <p:cNvPr id="8" name="Title 7"/>
          <p:cNvSpPr>
            <a:spLocks noGrp="1"/>
          </p:cNvSpPr>
          <p:nvPr>
            <p:ph type="title"/>
          </p:nvPr>
        </p:nvSpPr>
        <p:spPr/>
        <p:txBody>
          <a:bodyPr/>
          <a:lstStyle/>
          <a:p>
            <a:r>
              <a:rPr lang="en-US" dirty="0"/>
              <a:t>Our team</a:t>
            </a:r>
          </a:p>
        </p:txBody>
      </p:sp>
      <p:sp>
        <p:nvSpPr>
          <p:cNvPr id="16" name="TextBox 15"/>
          <p:cNvSpPr txBox="1"/>
          <p:nvPr/>
        </p:nvSpPr>
        <p:spPr>
          <a:xfrm rot="16200000">
            <a:off x="5478860" y="1531750"/>
            <a:ext cx="2011769" cy="400110"/>
          </a:xfrm>
          <a:prstGeom prst="rect">
            <a:avLst/>
          </a:prstGeom>
          <a:noFill/>
        </p:spPr>
        <p:txBody>
          <a:bodyPr wrap="none" lIns="0" rIns="0" rtlCol="0">
            <a:spAutoFit/>
          </a:bodyPr>
          <a:lstStyle/>
          <a:p>
            <a:r>
              <a:rPr lang="en-US" sz="2000" dirty="0">
                <a:solidFill>
                  <a:srgbClr val="FFFFFF"/>
                </a:solidFill>
                <a:latin typeface="RBC Display" panose="02000000000000000000" pitchFamily="2" charset="77"/>
              </a:rPr>
              <a:t>BELLA ELIZABETH</a:t>
            </a:r>
          </a:p>
        </p:txBody>
      </p:sp>
      <p:sp>
        <p:nvSpPr>
          <p:cNvPr id="17" name="TextBox 16"/>
          <p:cNvSpPr txBox="1"/>
          <p:nvPr/>
        </p:nvSpPr>
        <p:spPr>
          <a:xfrm rot="16200000">
            <a:off x="5606128" y="1457628"/>
            <a:ext cx="2255426" cy="304699"/>
          </a:xfrm>
          <a:prstGeom prst="rect">
            <a:avLst/>
          </a:prstGeom>
          <a:noFill/>
        </p:spPr>
        <p:txBody>
          <a:bodyPr wrap="square" lIns="0" rIns="0" rtlCol="0">
            <a:spAutoFit/>
          </a:bodyPr>
          <a:lstStyle/>
          <a:p>
            <a:pPr>
              <a:lnSpc>
                <a:spcPct val="120000"/>
              </a:lnSpc>
            </a:pPr>
            <a:r>
              <a:rPr lang="en-US" sz="1200" dirty="0">
                <a:solidFill>
                  <a:srgbClr val="FFFFFF">
                    <a:alpha val="70000"/>
                  </a:srgbClr>
                </a:solidFill>
                <a:latin typeface="RBC Text" panose="02000000000000000000" pitchFamily="2" charset="77"/>
              </a:rPr>
              <a:t>Designer</a:t>
            </a:r>
          </a:p>
        </p:txBody>
      </p:sp>
      <p:sp>
        <p:nvSpPr>
          <p:cNvPr id="18" name="TextBox 17"/>
          <p:cNvSpPr txBox="1"/>
          <p:nvPr/>
        </p:nvSpPr>
        <p:spPr>
          <a:xfrm>
            <a:off x="913016" y="5604224"/>
            <a:ext cx="9938598" cy="535531"/>
          </a:xfrm>
          <a:prstGeom prst="rect">
            <a:avLst/>
          </a:prstGeom>
          <a:noFill/>
        </p:spPr>
        <p:txBody>
          <a:bodyPr wrap="square" lIns="0" rIns="0" rtlCol="0">
            <a:spAutoFit/>
          </a:bodyPr>
          <a:lstStyle/>
          <a:p>
            <a:pPr>
              <a:lnSpc>
                <a:spcPct val="120000"/>
              </a:lnSpc>
            </a:pPr>
            <a:r>
              <a:rPr lang="en-US" sz="1200" dirty="0">
                <a:solidFill>
                  <a:srgbClr val="FFFFFF">
                    <a:alpha val="70000"/>
                  </a:srgbClr>
                </a:solidFill>
                <a:latin typeface="RBC Text" panose="02000000000000000000" pitchFamily="2" charset="77"/>
              </a:rPr>
              <a:t>A peep at some distant orb has power to raise and purify our thoughts like a strain of sacred music, or a noble picture, or a passage Apparently we had reached a great height in the atmosphere, for the sky was a dead black, and the stars had ceased to twinkle. </a:t>
            </a:r>
          </a:p>
        </p:txBody>
      </p:sp>
    </p:spTree>
    <p:extLst>
      <p:ext uri="{BB962C8B-B14F-4D97-AF65-F5344CB8AC3E}">
        <p14:creationId xmlns:p14="http://schemas.microsoft.com/office/powerpoint/2010/main" val="19717368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p:txBody>
          <a:bodyPr/>
          <a:lstStyle/>
          <a:p>
            <a:endParaRPr lang="en-CA"/>
          </a:p>
        </p:txBody>
      </p:sp>
      <p:sp>
        <p:nvSpPr>
          <p:cNvPr id="3" name="Picture Placeholder 2"/>
          <p:cNvSpPr>
            <a:spLocks noGrp="1"/>
          </p:cNvSpPr>
          <p:nvPr>
            <p:ph type="pic" sz="quarter" idx="13"/>
          </p:nvPr>
        </p:nvSpPr>
        <p:spPr/>
        <p:txBody>
          <a:bodyPr/>
          <a:lstStyle/>
          <a:p>
            <a:endParaRPr lang="en-CA"/>
          </a:p>
        </p:txBody>
      </p:sp>
      <p:sp>
        <p:nvSpPr>
          <p:cNvPr id="2" name="Picture Placeholder 1"/>
          <p:cNvSpPr>
            <a:spLocks noGrp="1"/>
          </p:cNvSpPr>
          <p:nvPr>
            <p:ph type="pic" sz="quarter" idx="14"/>
          </p:nvPr>
        </p:nvSpPr>
        <p:spPr/>
        <p:txBody>
          <a:bodyPr/>
          <a:lstStyle/>
          <a:p>
            <a:endParaRPr lang="en-CA"/>
          </a:p>
        </p:txBody>
      </p:sp>
      <p:sp>
        <p:nvSpPr>
          <p:cNvPr id="5" name="Title 4"/>
          <p:cNvSpPr>
            <a:spLocks noGrp="1"/>
          </p:cNvSpPr>
          <p:nvPr>
            <p:ph type="title"/>
          </p:nvPr>
        </p:nvSpPr>
        <p:spPr/>
        <p:txBody>
          <a:bodyPr/>
          <a:lstStyle/>
          <a:p>
            <a:r>
              <a:rPr lang="en-US" dirty="0"/>
              <a:t>Elizabeth</a:t>
            </a:r>
          </a:p>
        </p:txBody>
      </p:sp>
      <p:sp>
        <p:nvSpPr>
          <p:cNvPr id="7" name="TextBox 6"/>
          <p:cNvSpPr txBox="1"/>
          <p:nvPr/>
        </p:nvSpPr>
        <p:spPr>
          <a:xfrm>
            <a:off x="913016" y="2271745"/>
            <a:ext cx="1440202" cy="276999"/>
          </a:xfrm>
          <a:prstGeom prst="rect">
            <a:avLst/>
          </a:prstGeom>
          <a:noFill/>
        </p:spPr>
        <p:txBody>
          <a:bodyPr wrap="none" lIns="0" rIns="0" rtlCol="0">
            <a:spAutoFit/>
          </a:bodyPr>
          <a:lstStyle/>
          <a:p>
            <a:r>
              <a:rPr lang="en-US" sz="1200" dirty="0">
                <a:solidFill>
                  <a:schemeClr val="tx1">
                    <a:alpha val="60000"/>
                  </a:schemeClr>
                </a:solidFill>
                <a:latin typeface="RBC Text" panose="02000000000000000000" pitchFamily="2" charset="77"/>
              </a:rPr>
              <a:t>Marketing Manager</a:t>
            </a:r>
          </a:p>
        </p:txBody>
      </p:sp>
      <p:sp>
        <p:nvSpPr>
          <p:cNvPr id="11" name="Rectangle 10"/>
          <p:cNvSpPr/>
          <p:nvPr/>
        </p:nvSpPr>
        <p:spPr>
          <a:xfrm>
            <a:off x="3591499" y="3371162"/>
            <a:ext cx="5188944" cy="8703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1999" tIns="45720" rIns="91440" bIns="45720" numCol="1" spcCol="0" rtlCol="0" fromWordArt="0" anchor="ctr" anchorCtr="0" forceAA="0" compatLnSpc="1">
            <a:prstTxWarp prst="textNoShape">
              <a:avLst/>
            </a:prstTxWarp>
            <a:noAutofit/>
          </a:bodyPr>
          <a:lstStyle/>
          <a:p>
            <a:r>
              <a:rPr lang="en-US" sz="1400" dirty="0" err="1">
                <a:latin typeface="RBC Text" panose="02000000000000000000" pitchFamily="2" charset="77"/>
              </a:rPr>
              <a:t>Powerpoint</a:t>
            </a:r>
            <a:endParaRPr lang="en-US" sz="1400" dirty="0">
              <a:latin typeface="RBC Text" panose="02000000000000000000" pitchFamily="2" charset="77"/>
            </a:endParaRPr>
          </a:p>
        </p:txBody>
      </p:sp>
      <p:sp>
        <p:nvSpPr>
          <p:cNvPr id="13" name="Rectangle 12"/>
          <p:cNvSpPr/>
          <p:nvPr/>
        </p:nvSpPr>
        <p:spPr>
          <a:xfrm>
            <a:off x="3591498" y="4241494"/>
            <a:ext cx="7282149" cy="8703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1999" tIns="45720" rIns="91440" bIns="45720" numCol="1" spcCol="0" rtlCol="0" fromWordArt="0" anchor="ctr" anchorCtr="0" forceAA="0" compatLnSpc="1">
            <a:prstTxWarp prst="textNoShape">
              <a:avLst/>
            </a:prstTxWarp>
            <a:noAutofit/>
          </a:bodyPr>
          <a:lstStyle/>
          <a:p>
            <a:r>
              <a:rPr lang="en-US" sz="1400" dirty="0">
                <a:latin typeface="RBC Text" panose="02000000000000000000" pitchFamily="2" charset="77"/>
              </a:rPr>
              <a:t>Photoshop</a:t>
            </a:r>
          </a:p>
        </p:txBody>
      </p:sp>
      <p:sp>
        <p:nvSpPr>
          <p:cNvPr id="14" name="TextBox 13"/>
          <p:cNvSpPr txBox="1"/>
          <p:nvPr/>
        </p:nvSpPr>
        <p:spPr>
          <a:xfrm>
            <a:off x="7978319" y="3606273"/>
            <a:ext cx="508152" cy="400110"/>
          </a:xfrm>
          <a:prstGeom prst="rect">
            <a:avLst/>
          </a:prstGeom>
          <a:noFill/>
        </p:spPr>
        <p:txBody>
          <a:bodyPr wrap="none" lIns="0" rIns="0" rtlCol="0">
            <a:spAutoFit/>
          </a:bodyPr>
          <a:lstStyle/>
          <a:p>
            <a:pPr algn="r"/>
            <a:r>
              <a:rPr lang="en-US" sz="2000" dirty="0">
                <a:solidFill>
                  <a:schemeClr val="bg1"/>
                </a:solidFill>
                <a:latin typeface="RBC Text" panose="02000000000000000000" pitchFamily="2" charset="77"/>
              </a:rPr>
              <a:t>70%</a:t>
            </a:r>
          </a:p>
        </p:txBody>
      </p:sp>
      <p:sp>
        <p:nvSpPr>
          <p:cNvPr id="15" name="TextBox 14"/>
          <p:cNvSpPr txBox="1"/>
          <p:nvPr/>
        </p:nvSpPr>
        <p:spPr>
          <a:xfrm>
            <a:off x="10008589" y="4470722"/>
            <a:ext cx="500137" cy="400110"/>
          </a:xfrm>
          <a:prstGeom prst="rect">
            <a:avLst/>
          </a:prstGeom>
          <a:noFill/>
        </p:spPr>
        <p:txBody>
          <a:bodyPr wrap="none" lIns="0" rIns="0" rtlCol="0">
            <a:spAutoFit/>
          </a:bodyPr>
          <a:lstStyle/>
          <a:p>
            <a:pPr algn="r"/>
            <a:r>
              <a:rPr lang="en-US" sz="2000" dirty="0">
                <a:solidFill>
                  <a:schemeClr val="bg1"/>
                </a:solidFill>
                <a:latin typeface="RBC Text" panose="02000000000000000000" pitchFamily="2" charset="77"/>
              </a:rPr>
              <a:t>85%</a:t>
            </a:r>
          </a:p>
        </p:txBody>
      </p:sp>
    </p:spTree>
    <p:extLst>
      <p:ext uri="{BB962C8B-B14F-4D97-AF65-F5344CB8AC3E}">
        <p14:creationId xmlns:p14="http://schemas.microsoft.com/office/powerpoint/2010/main" val="10453354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3" name="Title 2"/>
          <p:cNvSpPr>
            <a:spLocks noGrp="1"/>
          </p:cNvSpPr>
          <p:nvPr>
            <p:ph type="title"/>
          </p:nvPr>
        </p:nvSpPr>
        <p:spPr/>
        <p:txBody>
          <a:bodyPr/>
          <a:lstStyle/>
          <a:p>
            <a:r>
              <a:rPr lang="en-US" dirty="0"/>
              <a:t>Elizabeth</a:t>
            </a:r>
          </a:p>
        </p:txBody>
      </p:sp>
      <p:sp>
        <p:nvSpPr>
          <p:cNvPr id="5" name="TextBox 4"/>
          <p:cNvSpPr txBox="1"/>
          <p:nvPr/>
        </p:nvSpPr>
        <p:spPr>
          <a:xfrm>
            <a:off x="913016" y="2271745"/>
            <a:ext cx="1440202" cy="276999"/>
          </a:xfrm>
          <a:prstGeom prst="rect">
            <a:avLst/>
          </a:prstGeom>
          <a:noFill/>
        </p:spPr>
        <p:txBody>
          <a:bodyPr wrap="none" lIns="0" rIns="0" rtlCol="0">
            <a:spAutoFit/>
          </a:bodyPr>
          <a:lstStyle/>
          <a:p>
            <a:r>
              <a:rPr lang="en-US" sz="1200" dirty="0">
                <a:solidFill>
                  <a:schemeClr val="tx1">
                    <a:alpha val="60000"/>
                  </a:schemeClr>
                </a:solidFill>
                <a:latin typeface="RBC Text" panose="02000000000000000000" pitchFamily="2" charset="77"/>
              </a:rPr>
              <a:t>Marketing Manager</a:t>
            </a:r>
          </a:p>
        </p:txBody>
      </p:sp>
      <p:sp>
        <p:nvSpPr>
          <p:cNvPr id="7" name="TextBox 6"/>
          <p:cNvSpPr txBox="1"/>
          <p:nvPr/>
        </p:nvSpPr>
        <p:spPr>
          <a:xfrm>
            <a:off x="7003054" y="1581032"/>
            <a:ext cx="4531605" cy="747897"/>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grpSp>
        <p:nvGrpSpPr>
          <p:cNvPr id="14" name="Group 13"/>
          <p:cNvGrpSpPr/>
          <p:nvPr/>
        </p:nvGrpSpPr>
        <p:grpSpPr>
          <a:xfrm>
            <a:off x="913016" y="3680068"/>
            <a:ext cx="4364064" cy="334095"/>
            <a:chOff x="913016" y="3680068"/>
            <a:chExt cx="4364064" cy="334095"/>
          </a:xfrm>
        </p:grpSpPr>
        <p:sp>
          <p:nvSpPr>
            <p:cNvPr id="8" name="TextBox 7"/>
            <p:cNvSpPr txBox="1"/>
            <p:nvPr/>
          </p:nvSpPr>
          <p:spPr>
            <a:xfrm>
              <a:off x="913016" y="3680068"/>
              <a:ext cx="656013" cy="276999"/>
            </a:xfrm>
            <a:prstGeom prst="rect">
              <a:avLst/>
            </a:prstGeom>
            <a:noFill/>
          </p:spPr>
          <p:txBody>
            <a:bodyPr wrap="none" lIns="0" rIns="0" rtlCol="0">
              <a:spAutoFit/>
            </a:bodyPr>
            <a:lstStyle/>
            <a:p>
              <a:r>
                <a:rPr lang="en-US" sz="1200" dirty="0">
                  <a:latin typeface="RBC Text" panose="02000000000000000000" pitchFamily="2" charset="77"/>
                </a:rPr>
                <a:t>Manager</a:t>
              </a:r>
            </a:p>
          </p:txBody>
        </p:sp>
        <p:cxnSp>
          <p:nvCxnSpPr>
            <p:cNvPr id="10" name="Straight Connector 9"/>
            <p:cNvCxnSpPr/>
            <p:nvPr/>
          </p:nvCxnSpPr>
          <p:spPr>
            <a:xfrm>
              <a:off x="913016" y="4014163"/>
              <a:ext cx="4364064" cy="0"/>
            </a:xfrm>
            <a:prstGeom prst="line">
              <a:avLst/>
            </a:prstGeom>
            <a:ln w="381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913016" y="4014163"/>
              <a:ext cx="332847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4977318" y="3680068"/>
              <a:ext cx="299762" cy="276999"/>
            </a:xfrm>
            <a:prstGeom prst="rect">
              <a:avLst/>
            </a:prstGeom>
            <a:noFill/>
          </p:spPr>
          <p:txBody>
            <a:bodyPr wrap="none" lIns="0" rIns="0" rtlCol="0">
              <a:spAutoFit/>
            </a:bodyPr>
            <a:lstStyle/>
            <a:p>
              <a:pPr algn="r"/>
              <a:r>
                <a:rPr lang="en-US" sz="1200" dirty="0">
                  <a:latin typeface="RBC Display" panose="02000000000000000000" pitchFamily="2" charset="77"/>
                </a:rPr>
                <a:t>80%</a:t>
              </a:r>
            </a:p>
          </p:txBody>
        </p:sp>
      </p:grpSp>
      <p:grpSp>
        <p:nvGrpSpPr>
          <p:cNvPr id="15" name="Group 14"/>
          <p:cNvGrpSpPr/>
          <p:nvPr/>
        </p:nvGrpSpPr>
        <p:grpSpPr>
          <a:xfrm>
            <a:off x="913016" y="4270311"/>
            <a:ext cx="4364064" cy="334095"/>
            <a:chOff x="913016" y="3680068"/>
            <a:chExt cx="4364064" cy="334095"/>
          </a:xfrm>
        </p:grpSpPr>
        <p:sp>
          <p:nvSpPr>
            <p:cNvPr id="16" name="TextBox 15"/>
            <p:cNvSpPr txBox="1"/>
            <p:nvPr/>
          </p:nvSpPr>
          <p:spPr>
            <a:xfrm>
              <a:off x="913016" y="3680068"/>
              <a:ext cx="837152" cy="276999"/>
            </a:xfrm>
            <a:prstGeom prst="rect">
              <a:avLst/>
            </a:prstGeom>
            <a:noFill/>
          </p:spPr>
          <p:txBody>
            <a:bodyPr wrap="none" lIns="0" rIns="0" rtlCol="0">
              <a:spAutoFit/>
            </a:bodyPr>
            <a:lstStyle/>
            <a:p>
              <a:r>
                <a:rPr lang="en-US" sz="1200" dirty="0" err="1">
                  <a:latin typeface="RBC Text" panose="02000000000000000000" pitchFamily="2" charset="77"/>
                </a:rPr>
                <a:t>Powerpoint</a:t>
              </a:r>
              <a:endParaRPr lang="en-US" sz="1200" dirty="0">
                <a:latin typeface="RBC Text" panose="02000000000000000000" pitchFamily="2" charset="77"/>
              </a:endParaRPr>
            </a:p>
          </p:txBody>
        </p:sp>
        <p:cxnSp>
          <p:nvCxnSpPr>
            <p:cNvPr id="17" name="Straight Connector 16"/>
            <p:cNvCxnSpPr/>
            <p:nvPr/>
          </p:nvCxnSpPr>
          <p:spPr>
            <a:xfrm>
              <a:off x="913016" y="4014163"/>
              <a:ext cx="4364064" cy="0"/>
            </a:xfrm>
            <a:prstGeom prst="line">
              <a:avLst/>
            </a:prstGeom>
            <a:ln w="381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13016" y="4014163"/>
              <a:ext cx="389316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974112" y="3680068"/>
              <a:ext cx="302968" cy="276999"/>
            </a:xfrm>
            <a:prstGeom prst="rect">
              <a:avLst/>
            </a:prstGeom>
            <a:noFill/>
          </p:spPr>
          <p:txBody>
            <a:bodyPr wrap="none" lIns="0" rIns="0" rtlCol="0">
              <a:spAutoFit/>
            </a:bodyPr>
            <a:lstStyle/>
            <a:p>
              <a:pPr algn="r"/>
              <a:r>
                <a:rPr lang="en-US" sz="1200" dirty="0">
                  <a:latin typeface="RBC Display" panose="02000000000000000000" pitchFamily="2" charset="77"/>
                </a:rPr>
                <a:t>90%</a:t>
              </a:r>
            </a:p>
          </p:txBody>
        </p:sp>
      </p:grpSp>
      <p:grpSp>
        <p:nvGrpSpPr>
          <p:cNvPr id="20" name="Group 19"/>
          <p:cNvGrpSpPr/>
          <p:nvPr/>
        </p:nvGrpSpPr>
        <p:grpSpPr>
          <a:xfrm>
            <a:off x="913016" y="4860554"/>
            <a:ext cx="4364064" cy="334095"/>
            <a:chOff x="913016" y="3680068"/>
            <a:chExt cx="4364064" cy="334095"/>
          </a:xfrm>
        </p:grpSpPr>
        <p:sp>
          <p:nvSpPr>
            <p:cNvPr id="21" name="TextBox 20"/>
            <p:cNvSpPr txBox="1"/>
            <p:nvPr/>
          </p:nvSpPr>
          <p:spPr>
            <a:xfrm>
              <a:off x="913016" y="3680068"/>
              <a:ext cx="654410" cy="276999"/>
            </a:xfrm>
            <a:prstGeom prst="rect">
              <a:avLst/>
            </a:prstGeom>
            <a:noFill/>
          </p:spPr>
          <p:txBody>
            <a:bodyPr wrap="none" lIns="0" rIns="0" rtlCol="0">
              <a:spAutoFit/>
            </a:bodyPr>
            <a:lstStyle/>
            <a:p>
              <a:r>
                <a:rPr lang="en-US" sz="1200" dirty="0">
                  <a:latin typeface="RBC Text" panose="02000000000000000000" pitchFamily="2" charset="77"/>
                </a:rPr>
                <a:t>Designer</a:t>
              </a:r>
            </a:p>
          </p:txBody>
        </p:sp>
        <p:cxnSp>
          <p:nvCxnSpPr>
            <p:cNvPr id="22" name="Straight Connector 21"/>
            <p:cNvCxnSpPr/>
            <p:nvPr/>
          </p:nvCxnSpPr>
          <p:spPr>
            <a:xfrm>
              <a:off x="913016" y="4014163"/>
              <a:ext cx="4364064" cy="0"/>
            </a:xfrm>
            <a:prstGeom prst="line">
              <a:avLst/>
            </a:prstGeom>
            <a:ln w="381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913016" y="4014163"/>
              <a:ext cx="218203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978920" y="3680068"/>
              <a:ext cx="298160" cy="276999"/>
            </a:xfrm>
            <a:prstGeom prst="rect">
              <a:avLst/>
            </a:prstGeom>
            <a:noFill/>
          </p:spPr>
          <p:txBody>
            <a:bodyPr wrap="none" lIns="0" rIns="0" rtlCol="0">
              <a:spAutoFit/>
            </a:bodyPr>
            <a:lstStyle/>
            <a:p>
              <a:pPr algn="r"/>
              <a:r>
                <a:rPr lang="en-US" sz="1200" dirty="0">
                  <a:latin typeface="RBC Display" panose="02000000000000000000" pitchFamily="2" charset="77"/>
                </a:rPr>
                <a:t>50%</a:t>
              </a:r>
            </a:p>
          </p:txBody>
        </p:sp>
      </p:grpSp>
      <p:grpSp>
        <p:nvGrpSpPr>
          <p:cNvPr id="25" name="Group 24"/>
          <p:cNvGrpSpPr/>
          <p:nvPr/>
        </p:nvGrpSpPr>
        <p:grpSpPr>
          <a:xfrm>
            <a:off x="913016" y="5450797"/>
            <a:ext cx="4364064" cy="334095"/>
            <a:chOff x="913016" y="3680068"/>
            <a:chExt cx="4364064" cy="334095"/>
          </a:xfrm>
        </p:grpSpPr>
        <p:sp>
          <p:nvSpPr>
            <p:cNvPr id="26" name="TextBox 25"/>
            <p:cNvSpPr txBox="1"/>
            <p:nvPr/>
          </p:nvSpPr>
          <p:spPr>
            <a:xfrm>
              <a:off x="913016" y="3680068"/>
              <a:ext cx="942117" cy="276999"/>
            </a:xfrm>
            <a:prstGeom prst="rect">
              <a:avLst/>
            </a:prstGeom>
            <a:noFill/>
          </p:spPr>
          <p:txBody>
            <a:bodyPr wrap="none" lIns="0" rIns="0" rtlCol="0">
              <a:spAutoFit/>
            </a:bodyPr>
            <a:lstStyle/>
            <a:p>
              <a:r>
                <a:rPr lang="en-US" sz="1200" dirty="0">
                  <a:latin typeface="RBC Text" panose="02000000000000000000" pitchFamily="2" charset="77"/>
                </a:rPr>
                <a:t>Photography</a:t>
              </a:r>
            </a:p>
          </p:txBody>
        </p:sp>
        <p:cxnSp>
          <p:nvCxnSpPr>
            <p:cNvPr id="27" name="Straight Connector 26"/>
            <p:cNvCxnSpPr/>
            <p:nvPr/>
          </p:nvCxnSpPr>
          <p:spPr>
            <a:xfrm>
              <a:off x="913016" y="4014163"/>
              <a:ext cx="4364064" cy="0"/>
            </a:xfrm>
            <a:prstGeom prst="line">
              <a:avLst/>
            </a:prstGeom>
            <a:ln w="381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13016" y="4014163"/>
              <a:ext cx="1372984"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977318" y="3680068"/>
              <a:ext cx="299762" cy="276999"/>
            </a:xfrm>
            <a:prstGeom prst="rect">
              <a:avLst/>
            </a:prstGeom>
            <a:noFill/>
          </p:spPr>
          <p:txBody>
            <a:bodyPr wrap="none" lIns="0" rIns="0" rtlCol="0">
              <a:spAutoFit/>
            </a:bodyPr>
            <a:lstStyle/>
            <a:p>
              <a:pPr algn="r"/>
              <a:r>
                <a:rPr lang="en-US" sz="1200" dirty="0">
                  <a:latin typeface="RBC Display" panose="02000000000000000000" pitchFamily="2" charset="77"/>
                </a:rPr>
                <a:t>30%</a:t>
              </a:r>
            </a:p>
          </p:txBody>
        </p:sp>
      </p:grpSp>
      <p:sp>
        <p:nvSpPr>
          <p:cNvPr id="30" name="Text Placeholder 6">
            <a:extLst>
              <a:ext uri="{FF2B5EF4-FFF2-40B4-BE49-F238E27FC236}">
                <a16:creationId xmlns:a16="http://schemas.microsoft.com/office/drawing/2014/main" id="{F06CB287-6F91-904F-8329-9CDA6850D002}"/>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5761680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p:txBody>
          <a:bodyPr/>
          <a:lstStyle/>
          <a:p>
            <a:endParaRPr lang="en-CA"/>
          </a:p>
        </p:txBody>
      </p:sp>
      <p:sp>
        <p:nvSpPr>
          <p:cNvPr id="3" name="Title 2"/>
          <p:cNvSpPr>
            <a:spLocks noGrp="1"/>
          </p:cNvSpPr>
          <p:nvPr>
            <p:ph type="title"/>
          </p:nvPr>
        </p:nvSpPr>
        <p:spPr/>
        <p:txBody>
          <a:bodyPr/>
          <a:lstStyle/>
          <a:p>
            <a:r>
              <a:rPr lang="en-US" dirty="0"/>
              <a:t>Van </a:t>
            </a:r>
            <a:r>
              <a:rPr lang="en-US" dirty="0" err="1"/>
              <a:t>Hojdong</a:t>
            </a:r>
            <a:endParaRPr lang="en-US" dirty="0"/>
          </a:p>
        </p:txBody>
      </p:sp>
      <p:sp>
        <p:nvSpPr>
          <p:cNvPr id="6" name="Rectangle 5"/>
          <p:cNvSpPr/>
          <p:nvPr/>
        </p:nvSpPr>
        <p:spPr>
          <a:xfrm>
            <a:off x="215900" y="215900"/>
            <a:ext cx="12192000" cy="425976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7" name="TextBox 6"/>
          <p:cNvSpPr txBox="1"/>
          <p:nvPr/>
        </p:nvSpPr>
        <p:spPr>
          <a:xfrm>
            <a:off x="913016" y="3049528"/>
            <a:ext cx="1440202" cy="276999"/>
          </a:xfrm>
          <a:prstGeom prst="rect">
            <a:avLst/>
          </a:prstGeom>
          <a:noFill/>
        </p:spPr>
        <p:txBody>
          <a:bodyPr wrap="none" lIns="0" rIns="0" rtlCol="0">
            <a:spAutoFit/>
          </a:bodyPr>
          <a:lstStyle/>
          <a:p>
            <a:r>
              <a:rPr lang="en-US" sz="1200" dirty="0">
                <a:solidFill>
                  <a:srgbClr val="FFFFFF">
                    <a:alpha val="60000"/>
                  </a:srgbClr>
                </a:solidFill>
                <a:latin typeface="RBC Text" panose="02000000000000000000" pitchFamily="2" charset="77"/>
              </a:rPr>
              <a:t>Marketing Manager</a:t>
            </a:r>
          </a:p>
        </p:txBody>
      </p:sp>
      <p:sp>
        <p:nvSpPr>
          <p:cNvPr id="9" name="TextBox 8"/>
          <p:cNvSpPr txBox="1"/>
          <p:nvPr/>
        </p:nvSpPr>
        <p:spPr>
          <a:xfrm>
            <a:off x="913016" y="5103953"/>
            <a:ext cx="9938598" cy="535531"/>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Apparently we had reached a great height in the atmosphere, for the sky was a dead black, and the stars had ceased to twinkle. </a:t>
            </a:r>
          </a:p>
        </p:txBody>
      </p:sp>
      <p:sp>
        <p:nvSpPr>
          <p:cNvPr id="10" name="Text Placeholder 6">
            <a:extLst>
              <a:ext uri="{FF2B5EF4-FFF2-40B4-BE49-F238E27FC236}">
                <a16:creationId xmlns:a16="http://schemas.microsoft.com/office/drawing/2014/main" id="{906E72D9-9F71-A646-B413-16FEF0EA0E70}"/>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6433201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4"/>
          </p:nvPr>
        </p:nvSpPr>
        <p:spPr/>
        <p:txBody>
          <a:bodyPr/>
          <a:lstStyle/>
          <a:p>
            <a:endParaRPr lang="en-CA"/>
          </a:p>
        </p:txBody>
      </p:sp>
      <p:sp>
        <p:nvSpPr>
          <p:cNvPr id="3" name="Picture Placeholder 2"/>
          <p:cNvSpPr>
            <a:spLocks noGrp="1"/>
          </p:cNvSpPr>
          <p:nvPr>
            <p:ph type="pic" sz="quarter" idx="15"/>
          </p:nvPr>
        </p:nvSpPr>
        <p:spPr/>
        <p:txBody>
          <a:bodyPr/>
          <a:lstStyle/>
          <a:p>
            <a:endParaRPr lang="en-CA"/>
          </a:p>
        </p:txBody>
      </p:sp>
      <p:sp>
        <p:nvSpPr>
          <p:cNvPr id="4" name="Picture Placeholder 3"/>
          <p:cNvSpPr>
            <a:spLocks noGrp="1"/>
          </p:cNvSpPr>
          <p:nvPr>
            <p:ph type="pic" sz="quarter" idx="16"/>
          </p:nvPr>
        </p:nvSpPr>
        <p:spPr/>
        <p:txBody>
          <a:bodyPr/>
          <a:lstStyle/>
          <a:p>
            <a:endParaRPr lang="en-CA"/>
          </a:p>
        </p:txBody>
      </p:sp>
      <p:sp>
        <p:nvSpPr>
          <p:cNvPr id="6" name="Title 5"/>
          <p:cNvSpPr>
            <a:spLocks noGrp="1"/>
          </p:cNvSpPr>
          <p:nvPr>
            <p:ph type="title"/>
          </p:nvPr>
        </p:nvSpPr>
        <p:spPr/>
        <p:txBody>
          <a:bodyPr/>
          <a:lstStyle/>
          <a:p>
            <a:r>
              <a:rPr lang="en-US" dirty="0"/>
              <a:t>Meet team</a:t>
            </a:r>
          </a:p>
        </p:txBody>
      </p:sp>
      <p:sp>
        <p:nvSpPr>
          <p:cNvPr id="18" name="TextBox 17"/>
          <p:cNvSpPr txBox="1"/>
          <p:nvPr/>
        </p:nvSpPr>
        <p:spPr>
          <a:xfrm>
            <a:off x="6096000" y="1304075"/>
            <a:ext cx="5351362" cy="963982"/>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a:t>
            </a:r>
          </a:p>
          <a:p>
            <a:pPr>
              <a:lnSpc>
                <a:spcPct val="120000"/>
              </a:lnSpc>
            </a:pPr>
            <a:r>
              <a:rPr lang="en-US" sz="1200" dirty="0">
                <a:solidFill>
                  <a:schemeClr val="tx1">
                    <a:alpha val="70000"/>
                  </a:schemeClr>
                </a:solidFill>
                <a:latin typeface="RBC Text" panose="02000000000000000000" pitchFamily="2" charset="77"/>
              </a:rPr>
              <a:t>It always does one good.</a:t>
            </a:r>
          </a:p>
        </p:txBody>
      </p:sp>
      <p:grpSp>
        <p:nvGrpSpPr>
          <p:cNvPr id="20" name="Group 19"/>
          <p:cNvGrpSpPr/>
          <p:nvPr/>
        </p:nvGrpSpPr>
        <p:grpSpPr>
          <a:xfrm>
            <a:off x="913016" y="5453551"/>
            <a:ext cx="2153165" cy="445669"/>
            <a:chOff x="913016" y="5453551"/>
            <a:chExt cx="2153165" cy="445669"/>
          </a:xfrm>
        </p:grpSpPr>
        <p:sp>
          <p:nvSpPr>
            <p:cNvPr id="12" name="TextBox 11"/>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latin typeface="RBC Display" panose="02000000000000000000" pitchFamily="2" charset="77"/>
                </a:rPr>
                <a:t>JOHN DOE</a:t>
              </a:r>
              <a:endParaRPr lang="en-US" sz="1200" dirty="0">
                <a:solidFill>
                  <a:schemeClr val="accent1"/>
                </a:solidFill>
                <a:latin typeface="RBC Display" panose="02000000000000000000" pitchFamily="2" charset="77"/>
              </a:endParaRPr>
            </a:p>
          </p:txBody>
        </p:sp>
        <p:sp>
          <p:nvSpPr>
            <p:cNvPr id="19" name="TextBox 18"/>
            <p:cNvSpPr txBox="1"/>
            <p:nvPr/>
          </p:nvSpPr>
          <p:spPr>
            <a:xfrm>
              <a:off x="913016" y="5622221"/>
              <a:ext cx="1440202" cy="276999"/>
            </a:xfrm>
            <a:prstGeom prst="rect">
              <a:avLst/>
            </a:prstGeom>
            <a:noFill/>
          </p:spPr>
          <p:txBody>
            <a:bodyPr wrap="none" lIns="0" rIns="0" rtlCol="0">
              <a:spAutoFit/>
            </a:bodyPr>
            <a:lstStyle/>
            <a:p>
              <a:r>
                <a:rPr lang="en-US" sz="1200" dirty="0">
                  <a:solidFill>
                    <a:schemeClr val="tx1">
                      <a:alpha val="60000"/>
                    </a:schemeClr>
                  </a:solidFill>
                  <a:latin typeface="RBC Text" panose="02000000000000000000" pitchFamily="2" charset="77"/>
                </a:rPr>
                <a:t>Marketing Manager</a:t>
              </a:r>
            </a:p>
          </p:txBody>
        </p:sp>
      </p:grpSp>
      <p:grpSp>
        <p:nvGrpSpPr>
          <p:cNvPr id="21" name="Group 20"/>
          <p:cNvGrpSpPr/>
          <p:nvPr/>
        </p:nvGrpSpPr>
        <p:grpSpPr>
          <a:xfrm>
            <a:off x="4772673" y="5453551"/>
            <a:ext cx="2153165" cy="445669"/>
            <a:chOff x="913016" y="5453551"/>
            <a:chExt cx="2153165" cy="445669"/>
          </a:xfrm>
        </p:grpSpPr>
        <p:sp>
          <p:nvSpPr>
            <p:cNvPr id="22" name="TextBox 21"/>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latin typeface="RBC Display" panose="02000000000000000000" pitchFamily="2" charset="77"/>
                </a:rPr>
                <a:t>JOHN DOE</a:t>
              </a:r>
              <a:endParaRPr lang="en-US" sz="1200" dirty="0">
                <a:solidFill>
                  <a:schemeClr val="accent1"/>
                </a:solidFill>
                <a:latin typeface="RBC Display" panose="02000000000000000000" pitchFamily="2" charset="77"/>
              </a:endParaRPr>
            </a:p>
          </p:txBody>
        </p:sp>
        <p:sp>
          <p:nvSpPr>
            <p:cNvPr id="23" name="TextBox 22"/>
            <p:cNvSpPr txBox="1"/>
            <p:nvPr/>
          </p:nvSpPr>
          <p:spPr>
            <a:xfrm>
              <a:off x="913016" y="5622221"/>
              <a:ext cx="1440202" cy="276999"/>
            </a:xfrm>
            <a:prstGeom prst="rect">
              <a:avLst/>
            </a:prstGeom>
            <a:noFill/>
          </p:spPr>
          <p:txBody>
            <a:bodyPr wrap="none" lIns="0" rIns="0" rtlCol="0">
              <a:spAutoFit/>
            </a:bodyPr>
            <a:lstStyle/>
            <a:p>
              <a:r>
                <a:rPr lang="en-US" sz="1200" dirty="0">
                  <a:solidFill>
                    <a:schemeClr val="tx1">
                      <a:alpha val="60000"/>
                    </a:schemeClr>
                  </a:solidFill>
                  <a:latin typeface="RBC Text" panose="02000000000000000000" pitchFamily="2" charset="77"/>
                </a:rPr>
                <a:t>Marketing Manager</a:t>
              </a:r>
            </a:p>
          </p:txBody>
        </p:sp>
      </p:grpSp>
      <p:grpSp>
        <p:nvGrpSpPr>
          <p:cNvPr id="24" name="Group 23"/>
          <p:cNvGrpSpPr/>
          <p:nvPr/>
        </p:nvGrpSpPr>
        <p:grpSpPr>
          <a:xfrm>
            <a:off x="8687819" y="5453551"/>
            <a:ext cx="2153165" cy="445669"/>
            <a:chOff x="913016" y="5453551"/>
            <a:chExt cx="2153165" cy="445669"/>
          </a:xfrm>
        </p:grpSpPr>
        <p:sp>
          <p:nvSpPr>
            <p:cNvPr id="25" name="TextBox 24"/>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latin typeface="RBC Display" panose="02000000000000000000" pitchFamily="2" charset="77"/>
                </a:rPr>
                <a:t>JOHN DOE</a:t>
              </a:r>
              <a:endParaRPr lang="en-US" sz="1200" dirty="0">
                <a:solidFill>
                  <a:schemeClr val="accent1"/>
                </a:solidFill>
                <a:latin typeface="RBC Display" panose="02000000000000000000" pitchFamily="2" charset="77"/>
              </a:endParaRPr>
            </a:p>
          </p:txBody>
        </p:sp>
        <p:sp>
          <p:nvSpPr>
            <p:cNvPr id="26" name="TextBox 25"/>
            <p:cNvSpPr txBox="1"/>
            <p:nvPr/>
          </p:nvSpPr>
          <p:spPr>
            <a:xfrm>
              <a:off x="913016" y="5622221"/>
              <a:ext cx="1440202" cy="276999"/>
            </a:xfrm>
            <a:prstGeom prst="rect">
              <a:avLst/>
            </a:prstGeom>
            <a:noFill/>
          </p:spPr>
          <p:txBody>
            <a:bodyPr wrap="none" lIns="0" rIns="0" rtlCol="0">
              <a:spAutoFit/>
            </a:bodyPr>
            <a:lstStyle/>
            <a:p>
              <a:r>
                <a:rPr lang="en-US" sz="1200" dirty="0">
                  <a:solidFill>
                    <a:schemeClr val="tx1">
                      <a:alpha val="60000"/>
                    </a:schemeClr>
                  </a:solidFill>
                  <a:latin typeface="RBC Text" panose="02000000000000000000" pitchFamily="2" charset="77"/>
                </a:rPr>
                <a:t>Marketing Manager</a:t>
              </a:r>
            </a:p>
          </p:txBody>
        </p:sp>
      </p:grpSp>
      <p:sp>
        <p:nvSpPr>
          <p:cNvPr id="16" name="Text Placeholder 6">
            <a:extLst>
              <a:ext uri="{FF2B5EF4-FFF2-40B4-BE49-F238E27FC236}">
                <a16:creationId xmlns:a16="http://schemas.microsoft.com/office/drawing/2014/main" id="{F7ED00BB-8BE8-FA43-860A-ED0A4CD7FDBB}"/>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8061097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ur Team</a:t>
            </a:r>
          </a:p>
        </p:txBody>
      </p:sp>
      <p:sp>
        <p:nvSpPr>
          <p:cNvPr id="2" name="Picture Placeholder 1"/>
          <p:cNvSpPr>
            <a:spLocks noGrp="1"/>
          </p:cNvSpPr>
          <p:nvPr>
            <p:ph type="pic" sz="quarter" idx="16"/>
          </p:nvPr>
        </p:nvSpPr>
        <p:spPr/>
        <p:txBody>
          <a:bodyPr/>
          <a:lstStyle/>
          <a:p>
            <a:endParaRPr lang="en-CA"/>
          </a:p>
        </p:txBody>
      </p:sp>
      <p:sp>
        <p:nvSpPr>
          <p:cNvPr id="3" name="Picture Placeholder 2"/>
          <p:cNvSpPr>
            <a:spLocks noGrp="1"/>
          </p:cNvSpPr>
          <p:nvPr>
            <p:ph type="pic" sz="quarter" idx="17"/>
          </p:nvPr>
        </p:nvSpPr>
        <p:spPr/>
        <p:txBody>
          <a:bodyPr/>
          <a:lstStyle/>
          <a:p>
            <a:endParaRPr lang="en-CA"/>
          </a:p>
        </p:txBody>
      </p:sp>
      <p:sp>
        <p:nvSpPr>
          <p:cNvPr id="5" name="Picture Placeholder 4"/>
          <p:cNvSpPr>
            <a:spLocks noGrp="1"/>
          </p:cNvSpPr>
          <p:nvPr>
            <p:ph type="pic" sz="quarter" idx="18"/>
          </p:nvPr>
        </p:nvSpPr>
        <p:spPr/>
        <p:txBody>
          <a:bodyPr/>
          <a:lstStyle/>
          <a:p>
            <a:endParaRPr lang="en-CA"/>
          </a:p>
        </p:txBody>
      </p:sp>
      <p:sp>
        <p:nvSpPr>
          <p:cNvPr id="6" name="Picture Placeholder 5"/>
          <p:cNvSpPr>
            <a:spLocks noGrp="1"/>
          </p:cNvSpPr>
          <p:nvPr>
            <p:ph type="pic" sz="quarter" idx="19"/>
          </p:nvPr>
        </p:nvSpPr>
        <p:spPr/>
        <p:txBody>
          <a:bodyPr/>
          <a:lstStyle/>
          <a:p>
            <a:endParaRPr lang="en-CA"/>
          </a:p>
        </p:txBody>
      </p:sp>
      <p:grpSp>
        <p:nvGrpSpPr>
          <p:cNvPr id="18" name="Group 17"/>
          <p:cNvGrpSpPr/>
          <p:nvPr/>
        </p:nvGrpSpPr>
        <p:grpSpPr>
          <a:xfrm>
            <a:off x="912813" y="5692561"/>
            <a:ext cx="2153165" cy="445669"/>
            <a:chOff x="913016" y="5453551"/>
            <a:chExt cx="2153165" cy="445669"/>
          </a:xfrm>
        </p:grpSpPr>
        <p:sp>
          <p:nvSpPr>
            <p:cNvPr id="19" name="TextBox 18"/>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solidFill>
                    <a:srgbClr val="FFFFFF"/>
                  </a:solidFill>
                  <a:latin typeface="RBC Display" panose="02000000000000000000" pitchFamily="2" charset="77"/>
                </a:rPr>
                <a:t>John doe</a:t>
              </a:r>
            </a:p>
          </p:txBody>
        </p:sp>
        <p:sp>
          <p:nvSpPr>
            <p:cNvPr id="20" name="TextBox 19"/>
            <p:cNvSpPr txBox="1"/>
            <p:nvPr/>
          </p:nvSpPr>
          <p:spPr>
            <a:xfrm>
              <a:off x="913016" y="5622221"/>
              <a:ext cx="1440202" cy="276999"/>
            </a:xfrm>
            <a:prstGeom prst="rect">
              <a:avLst/>
            </a:prstGeom>
            <a:noFill/>
          </p:spPr>
          <p:txBody>
            <a:bodyPr wrap="none" lIns="0" rIns="0" rtlCol="0">
              <a:spAutoFit/>
            </a:bodyPr>
            <a:lstStyle/>
            <a:p>
              <a:r>
                <a:rPr lang="en-US" sz="1200" dirty="0">
                  <a:solidFill>
                    <a:srgbClr val="FFFFFF">
                      <a:alpha val="60000"/>
                    </a:srgbClr>
                  </a:solidFill>
                  <a:latin typeface="RBC Text" panose="02000000000000000000" pitchFamily="2" charset="77"/>
                </a:rPr>
                <a:t>Marketing Manager</a:t>
              </a:r>
            </a:p>
          </p:txBody>
        </p:sp>
      </p:grpSp>
      <p:sp>
        <p:nvSpPr>
          <p:cNvPr id="26" name="TextBox 25"/>
          <p:cNvSpPr txBox="1"/>
          <p:nvPr/>
        </p:nvSpPr>
        <p:spPr>
          <a:xfrm>
            <a:off x="6096000" y="1304075"/>
            <a:ext cx="5351362" cy="963982"/>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a:t>
            </a:r>
          </a:p>
          <a:p>
            <a:pPr>
              <a:lnSpc>
                <a:spcPct val="120000"/>
              </a:lnSpc>
            </a:pPr>
            <a:r>
              <a:rPr lang="en-US" sz="1200" dirty="0">
                <a:solidFill>
                  <a:schemeClr val="tx1">
                    <a:alpha val="70000"/>
                  </a:schemeClr>
                </a:solidFill>
                <a:latin typeface="RBC Text" panose="02000000000000000000" pitchFamily="2" charset="77"/>
              </a:rPr>
              <a:t>It always does one good.</a:t>
            </a:r>
          </a:p>
        </p:txBody>
      </p:sp>
      <p:grpSp>
        <p:nvGrpSpPr>
          <p:cNvPr id="32" name="Group 31"/>
          <p:cNvGrpSpPr/>
          <p:nvPr/>
        </p:nvGrpSpPr>
        <p:grpSpPr>
          <a:xfrm>
            <a:off x="3578003" y="5692561"/>
            <a:ext cx="2153165" cy="445669"/>
            <a:chOff x="913016" y="5453551"/>
            <a:chExt cx="2153165" cy="445669"/>
          </a:xfrm>
        </p:grpSpPr>
        <p:sp>
          <p:nvSpPr>
            <p:cNvPr id="33" name="TextBox 32"/>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solidFill>
                    <a:srgbClr val="FFFFFF"/>
                  </a:solidFill>
                  <a:latin typeface="RBC Display" panose="02000000000000000000" pitchFamily="2" charset="77"/>
                </a:rPr>
                <a:t>John doe</a:t>
              </a:r>
            </a:p>
          </p:txBody>
        </p:sp>
        <p:sp>
          <p:nvSpPr>
            <p:cNvPr id="34" name="TextBox 33"/>
            <p:cNvSpPr txBox="1"/>
            <p:nvPr/>
          </p:nvSpPr>
          <p:spPr>
            <a:xfrm>
              <a:off x="913016" y="5622221"/>
              <a:ext cx="1440202" cy="276999"/>
            </a:xfrm>
            <a:prstGeom prst="rect">
              <a:avLst/>
            </a:prstGeom>
            <a:noFill/>
          </p:spPr>
          <p:txBody>
            <a:bodyPr wrap="none" lIns="0" rIns="0" rtlCol="0">
              <a:spAutoFit/>
            </a:bodyPr>
            <a:lstStyle/>
            <a:p>
              <a:r>
                <a:rPr lang="en-US" sz="1200" dirty="0">
                  <a:solidFill>
                    <a:srgbClr val="FFFFFF">
                      <a:alpha val="60000"/>
                    </a:srgbClr>
                  </a:solidFill>
                  <a:latin typeface="RBC Text" panose="02000000000000000000" pitchFamily="2" charset="77"/>
                </a:rPr>
                <a:t>Marketing Manager</a:t>
              </a:r>
            </a:p>
          </p:txBody>
        </p:sp>
      </p:grpSp>
      <p:grpSp>
        <p:nvGrpSpPr>
          <p:cNvPr id="35" name="Group 34"/>
          <p:cNvGrpSpPr/>
          <p:nvPr/>
        </p:nvGrpSpPr>
        <p:grpSpPr>
          <a:xfrm>
            <a:off x="6242990" y="5692561"/>
            <a:ext cx="2153165" cy="445669"/>
            <a:chOff x="913016" y="5453551"/>
            <a:chExt cx="2153165" cy="445669"/>
          </a:xfrm>
        </p:grpSpPr>
        <p:sp>
          <p:nvSpPr>
            <p:cNvPr id="36" name="TextBox 35"/>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solidFill>
                    <a:srgbClr val="FFFFFF"/>
                  </a:solidFill>
                  <a:latin typeface="RBC Display" panose="02000000000000000000" pitchFamily="2" charset="77"/>
                </a:rPr>
                <a:t>John doe</a:t>
              </a:r>
            </a:p>
          </p:txBody>
        </p:sp>
        <p:sp>
          <p:nvSpPr>
            <p:cNvPr id="37" name="TextBox 36"/>
            <p:cNvSpPr txBox="1"/>
            <p:nvPr/>
          </p:nvSpPr>
          <p:spPr>
            <a:xfrm>
              <a:off x="913016" y="5622221"/>
              <a:ext cx="1440202" cy="276999"/>
            </a:xfrm>
            <a:prstGeom prst="rect">
              <a:avLst/>
            </a:prstGeom>
            <a:noFill/>
          </p:spPr>
          <p:txBody>
            <a:bodyPr wrap="none" lIns="0" rIns="0" rtlCol="0">
              <a:spAutoFit/>
            </a:bodyPr>
            <a:lstStyle/>
            <a:p>
              <a:r>
                <a:rPr lang="en-US" sz="1200" dirty="0">
                  <a:solidFill>
                    <a:srgbClr val="FFFFFF">
                      <a:alpha val="60000"/>
                    </a:srgbClr>
                  </a:solidFill>
                  <a:latin typeface="RBC Text" panose="02000000000000000000" pitchFamily="2" charset="77"/>
                </a:rPr>
                <a:t>Marketing Manager</a:t>
              </a:r>
            </a:p>
          </p:txBody>
        </p:sp>
      </p:grpSp>
      <p:grpSp>
        <p:nvGrpSpPr>
          <p:cNvPr id="38" name="Group 37"/>
          <p:cNvGrpSpPr/>
          <p:nvPr/>
        </p:nvGrpSpPr>
        <p:grpSpPr>
          <a:xfrm>
            <a:off x="8907977" y="5692561"/>
            <a:ext cx="2153165" cy="445669"/>
            <a:chOff x="913016" y="5453551"/>
            <a:chExt cx="2153165" cy="445669"/>
          </a:xfrm>
        </p:grpSpPr>
        <p:sp>
          <p:nvSpPr>
            <p:cNvPr id="39" name="TextBox 38"/>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solidFill>
                    <a:srgbClr val="FFFFFF"/>
                  </a:solidFill>
                  <a:latin typeface="RBC Display" panose="02000000000000000000" pitchFamily="2" charset="77"/>
                </a:rPr>
                <a:t>John doe</a:t>
              </a:r>
            </a:p>
          </p:txBody>
        </p:sp>
        <p:sp>
          <p:nvSpPr>
            <p:cNvPr id="40" name="TextBox 39"/>
            <p:cNvSpPr txBox="1"/>
            <p:nvPr/>
          </p:nvSpPr>
          <p:spPr>
            <a:xfrm>
              <a:off x="913016" y="5622221"/>
              <a:ext cx="1440202" cy="276999"/>
            </a:xfrm>
            <a:prstGeom prst="rect">
              <a:avLst/>
            </a:prstGeom>
            <a:noFill/>
          </p:spPr>
          <p:txBody>
            <a:bodyPr wrap="none" lIns="0" rIns="0" rtlCol="0">
              <a:spAutoFit/>
            </a:bodyPr>
            <a:lstStyle/>
            <a:p>
              <a:r>
                <a:rPr lang="en-US" sz="1200" dirty="0">
                  <a:solidFill>
                    <a:srgbClr val="FFFFFF">
                      <a:alpha val="60000"/>
                    </a:srgbClr>
                  </a:solidFill>
                  <a:latin typeface="RBC Text" panose="02000000000000000000" pitchFamily="2" charset="77"/>
                </a:rPr>
                <a:t>Marketing Manager</a:t>
              </a:r>
            </a:p>
          </p:txBody>
        </p:sp>
      </p:grpSp>
      <p:sp>
        <p:nvSpPr>
          <p:cNvPr id="24" name="Text Placeholder 6">
            <a:extLst>
              <a:ext uri="{FF2B5EF4-FFF2-40B4-BE49-F238E27FC236}">
                <a16:creationId xmlns:a16="http://schemas.microsoft.com/office/drawing/2014/main" id="{4225D4A1-D5D2-8D41-856E-76018A03C95C}"/>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4845409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8"/>
          </p:nvPr>
        </p:nvSpPr>
        <p:spPr/>
        <p:txBody>
          <a:bodyPr/>
          <a:lstStyle/>
          <a:p>
            <a:endParaRPr lang="en-CA"/>
          </a:p>
        </p:txBody>
      </p:sp>
      <p:sp>
        <p:nvSpPr>
          <p:cNvPr id="4" name="Picture Placeholder 3"/>
          <p:cNvSpPr>
            <a:spLocks noGrp="1"/>
          </p:cNvSpPr>
          <p:nvPr>
            <p:ph type="pic" sz="quarter" idx="19"/>
          </p:nvPr>
        </p:nvSpPr>
        <p:spPr/>
        <p:txBody>
          <a:bodyPr/>
          <a:lstStyle/>
          <a:p>
            <a:endParaRPr lang="en-CA"/>
          </a:p>
        </p:txBody>
      </p:sp>
      <p:sp>
        <p:nvSpPr>
          <p:cNvPr id="5" name="Picture Placeholder 4"/>
          <p:cNvSpPr>
            <a:spLocks noGrp="1"/>
          </p:cNvSpPr>
          <p:nvPr>
            <p:ph type="pic" sz="quarter" idx="20"/>
          </p:nvPr>
        </p:nvSpPr>
        <p:spPr/>
        <p:txBody>
          <a:bodyPr/>
          <a:lstStyle/>
          <a:p>
            <a:endParaRPr lang="en-CA"/>
          </a:p>
        </p:txBody>
      </p:sp>
      <p:sp>
        <p:nvSpPr>
          <p:cNvPr id="7" name="Picture Placeholder 6"/>
          <p:cNvSpPr>
            <a:spLocks noGrp="1"/>
          </p:cNvSpPr>
          <p:nvPr>
            <p:ph type="pic" sz="quarter" idx="22"/>
          </p:nvPr>
        </p:nvSpPr>
        <p:spPr/>
        <p:txBody>
          <a:bodyPr/>
          <a:lstStyle/>
          <a:p>
            <a:endParaRPr lang="en-CA"/>
          </a:p>
        </p:txBody>
      </p:sp>
      <p:sp>
        <p:nvSpPr>
          <p:cNvPr id="8" name="Picture Placeholder 7"/>
          <p:cNvSpPr>
            <a:spLocks noGrp="1"/>
          </p:cNvSpPr>
          <p:nvPr>
            <p:ph type="pic" sz="quarter" idx="23"/>
          </p:nvPr>
        </p:nvSpPr>
        <p:spPr/>
        <p:txBody>
          <a:bodyPr/>
          <a:lstStyle/>
          <a:p>
            <a:endParaRPr lang="en-CA"/>
          </a:p>
        </p:txBody>
      </p:sp>
      <p:sp>
        <p:nvSpPr>
          <p:cNvPr id="6" name="Picture Placeholder 5"/>
          <p:cNvSpPr>
            <a:spLocks noGrp="1"/>
          </p:cNvSpPr>
          <p:nvPr>
            <p:ph type="pic" sz="quarter" idx="24"/>
          </p:nvPr>
        </p:nvSpPr>
        <p:spPr/>
        <p:txBody>
          <a:bodyPr/>
          <a:lstStyle/>
          <a:p>
            <a:endParaRPr lang="en-CA"/>
          </a:p>
        </p:txBody>
      </p:sp>
      <p:sp>
        <p:nvSpPr>
          <p:cNvPr id="3" name="Title 2"/>
          <p:cNvSpPr>
            <a:spLocks noGrp="1"/>
          </p:cNvSpPr>
          <p:nvPr>
            <p:ph type="title"/>
          </p:nvPr>
        </p:nvSpPr>
        <p:spPr/>
        <p:txBody>
          <a:bodyPr/>
          <a:lstStyle/>
          <a:p>
            <a:r>
              <a:rPr lang="en-US" dirty="0"/>
              <a:t>Our Motivated Team</a:t>
            </a:r>
          </a:p>
        </p:txBody>
      </p:sp>
      <p:sp>
        <p:nvSpPr>
          <p:cNvPr id="22" name="TextBox 21"/>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0" name="Text Placeholder 6">
            <a:extLst>
              <a:ext uri="{FF2B5EF4-FFF2-40B4-BE49-F238E27FC236}">
                <a16:creationId xmlns:a16="http://schemas.microsoft.com/office/drawing/2014/main" id="{9A629D08-9B6F-924B-A3B1-9101D5F9C395}"/>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3108062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Motivated Team</a:t>
            </a:r>
          </a:p>
        </p:txBody>
      </p:sp>
      <p:sp>
        <p:nvSpPr>
          <p:cNvPr id="3" name="Picture Placeholder 2"/>
          <p:cNvSpPr>
            <a:spLocks noGrp="1"/>
          </p:cNvSpPr>
          <p:nvPr>
            <p:ph type="pic" sz="quarter" idx="23"/>
          </p:nvPr>
        </p:nvSpPr>
        <p:spPr/>
        <p:txBody>
          <a:bodyPr/>
          <a:lstStyle/>
          <a:p>
            <a:endParaRPr lang="en-CA"/>
          </a:p>
        </p:txBody>
      </p:sp>
      <p:sp>
        <p:nvSpPr>
          <p:cNvPr id="4" name="Picture Placeholder 3"/>
          <p:cNvSpPr>
            <a:spLocks noGrp="1"/>
          </p:cNvSpPr>
          <p:nvPr>
            <p:ph type="pic" sz="quarter" idx="24"/>
          </p:nvPr>
        </p:nvSpPr>
        <p:spPr/>
        <p:txBody>
          <a:bodyPr/>
          <a:lstStyle/>
          <a:p>
            <a:endParaRPr lang="en-CA"/>
          </a:p>
        </p:txBody>
      </p:sp>
      <p:sp>
        <p:nvSpPr>
          <p:cNvPr id="5" name="Picture Placeholder 4"/>
          <p:cNvSpPr>
            <a:spLocks noGrp="1"/>
          </p:cNvSpPr>
          <p:nvPr>
            <p:ph type="pic" sz="quarter" idx="25"/>
          </p:nvPr>
        </p:nvSpPr>
        <p:spPr/>
        <p:txBody>
          <a:bodyPr/>
          <a:lstStyle/>
          <a:p>
            <a:endParaRPr lang="en-CA"/>
          </a:p>
        </p:txBody>
      </p:sp>
      <p:sp>
        <p:nvSpPr>
          <p:cNvPr id="6" name="Picture Placeholder 5"/>
          <p:cNvSpPr>
            <a:spLocks noGrp="1"/>
          </p:cNvSpPr>
          <p:nvPr>
            <p:ph type="pic" sz="quarter" idx="26"/>
          </p:nvPr>
        </p:nvSpPr>
        <p:spPr/>
        <p:txBody>
          <a:bodyPr/>
          <a:lstStyle/>
          <a:p>
            <a:endParaRPr lang="en-CA"/>
          </a:p>
        </p:txBody>
      </p:sp>
      <p:sp>
        <p:nvSpPr>
          <p:cNvPr id="7" name="Picture Placeholder 6"/>
          <p:cNvSpPr>
            <a:spLocks noGrp="1"/>
          </p:cNvSpPr>
          <p:nvPr>
            <p:ph type="pic" sz="quarter" idx="27"/>
          </p:nvPr>
        </p:nvSpPr>
        <p:spPr/>
        <p:txBody>
          <a:bodyPr/>
          <a:lstStyle/>
          <a:p>
            <a:endParaRPr lang="en-CA"/>
          </a:p>
        </p:txBody>
      </p:sp>
      <p:grpSp>
        <p:nvGrpSpPr>
          <p:cNvPr id="26" name="Group 25"/>
          <p:cNvGrpSpPr/>
          <p:nvPr/>
        </p:nvGrpSpPr>
        <p:grpSpPr>
          <a:xfrm>
            <a:off x="912813" y="3562060"/>
            <a:ext cx="2153165" cy="445669"/>
            <a:chOff x="913016" y="5453551"/>
            <a:chExt cx="2153165" cy="445669"/>
          </a:xfrm>
        </p:grpSpPr>
        <p:sp>
          <p:nvSpPr>
            <p:cNvPr id="27" name="TextBox 26"/>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latin typeface="RBC Display" panose="02000000000000000000" pitchFamily="2" charset="77"/>
                </a:rPr>
                <a:t>Adam Smith</a:t>
              </a:r>
            </a:p>
          </p:txBody>
        </p:sp>
        <p:sp>
          <p:nvSpPr>
            <p:cNvPr id="28" name="TextBox 27"/>
            <p:cNvSpPr txBox="1"/>
            <p:nvPr/>
          </p:nvSpPr>
          <p:spPr>
            <a:xfrm>
              <a:off x="913016" y="5622221"/>
              <a:ext cx="968535" cy="276999"/>
            </a:xfrm>
            <a:prstGeom prst="rect">
              <a:avLst/>
            </a:prstGeom>
            <a:noFill/>
          </p:spPr>
          <p:txBody>
            <a:bodyPr wrap="none" lIns="0" rIns="0" rtlCol="0">
              <a:spAutoFit/>
            </a:bodyPr>
            <a:lstStyle/>
            <a:p>
              <a:r>
                <a:rPr lang="en-US" sz="1200" dirty="0" err="1">
                  <a:solidFill>
                    <a:schemeClr val="tx1">
                      <a:alpha val="60000"/>
                    </a:schemeClr>
                  </a:solidFill>
                  <a:latin typeface="RBC Text" panose="02000000000000000000" pitchFamily="2" charset="77"/>
                </a:rPr>
                <a:t>Crypterio</a:t>
              </a:r>
              <a:r>
                <a:rPr lang="en-US" sz="1200" dirty="0">
                  <a:solidFill>
                    <a:schemeClr val="tx1">
                      <a:alpha val="60000"/>
                    </a:schemeClr>
                  </a:solidFill>
                  <a:latin typeface="RBC Text" panose="02000000000000000000" pitchFamily="2" charset="77"/>
                </a:rPr>
                <a:t> WP</a:t>
              </a:r>
            </a:p>
          </p:txBody>
        </p:sp>
      </p:grpSp>
      <p:sp>
        <p:nvSpPr>
          <p:cNvPr id="35" name="TextBox 34"/>
          <p:cNvSpPr txBox="1"/>
          <p:nvPr/>
        </p:nvSpPr>
        <p:spPr>
          <a:xfrm>
            <a:off x="6096000" y="5097389"/>
            <a:ext cx="5351362" cy="963982"/>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a:t>
            </a:r>
          </a:p>
          <a:p>
            <a:pPr>
              <a:lnSpc>
                <a:spcPct val="120000"/>
              </a:lnSpc>
            </a:pPr>
            <a:r>
              <a:rPr lang="en-US" sz="1200" dirty="0">
                <a:solidFill>
                  <a:schemeClr val="tx1">
                    <a:alpha val="70000"/>
                  </a:schemeClr>
                </a:solidFill>
                <a:latin typeface="RBC Text" panose="02000000000000000000" pitchFamily="2" charset="77"/>
              </a:rPr>
              <a:t>It always does one good.</a:t>
            </a:r>
          </a:p>
        </p:txBody>
      </p:sp>
      <p:grpSp>
        <p:nvGrpSpPr>
          <p:cNvPr id="36" name="Group 35"/>
          <p:cNvGrpSpPr/>
          <p:nvPr/>
        </p:nvGrpSpPr>
        <p:grpSpPr>
          <a:xfrm>
            <a:off x="3179858" y="3562060"/>
            <a:ext cx="2153165" cy="445669"/>
            <a:chOff x="913016" y="5453551"/>
            <a:chExt cx="2153165" cy="445669"/>
          </a:xfrm>
        </p:grpSpPr>
        <p:sp>
          <p:nvSpPr>
            <p:cNvPr id="37" name="TextBox 36"/>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latin typeface="RBC Display" panose="02000000000000000000" pitchFamily="2" charset="77"/>
                </a:rPr>
                <a:t>Jason Garrison</a:t>
              </a:r>
            </a:p>
          </p:txBody>
        </p:sp>
        <p:sp>
          <p:nvSpPr>
            <p:cNvPr id="38" name="TextBox 37"/>
            <p:cNvSpPr txBox="1"/>
            <p:nvPr/>
          </p:nvSpPr>
          <p:spPr>
            <a:xfrm>
              <a:off x="913016" y="5622221"/>
              <a:ext cx="1440202" cy="276999"/>
            </a:xfrm>
            <a:prstGeom prst="rect">
              <a:avLst/>
            </a:prstGeom>
            <a:noFill/>
          </p:spPr>
          <p:txBody>
            <a:bodyPr wrap="none" lIns="0" rIns="0" rtlCol="0">
              <a:spAutoFit/>
            </a:bodyPr>
            <a:lstStyle/>
            <a:p>
              <a:r>
                <a:rPr lang="en-US" sz="1200" dirty="0">
                  <a:solidFill>
                    <a:schemeClr val="tx1">
                      <a:alpha val="60000"/>
                    </a:schemeClr>
                  </a:solidFill>
                  <a:latin typeface="RBC Text" panose="02000000000000000000" pitchFamily="2" charset="77"/>
                </a:rPr>
                <a:t>Marketing Manager</a:t>
              </a:r>
            </a:p>
          </p:txBody>
        </p:sp>
      </p:grpSp>
      <p:grpSp>
        <p:nvGrpSpPr>
          <p:cNvPr id="39" name="Group 38"/>
          <p:cNvGrpSpPr/>
          <p:nvPr/>
        </p:nvGrpSpPr>
        <p:grpSpPr>
          <a:xfrm>
            <a:off x="5459040" y="3562060"/>
            <a:ext cx="2153165" cy="445669"/>
            <a:chOff x="913016" y="5453551"/>
            <a:chExt cx="2153165" cy="445669"/>
          </a:xfrm>
        </p:grpSpPr>
        <p:sp>
          <p:nvSpPr>
            <p:cNvPr id="40" name="TextBox 39"/>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latin typeface="RBC Display" panose="02000000000000000000" pitchFamily="2" charset="77"/>
                </a:rPr>
                <a:t>John doe</a:t>
              </a:r>
            </a:p>
          </p:txBody>
        </p:sp>
        <p:sp>
          <p:nvSpPr>
            <p:cNvPr id="41" name="TextBox 40"/>
            <p:cNvSpPr txBox="1"/>
            <p:nvPr/>
          </p:nvSpPr>
          <p:spPr>
            <a:xfrm>
              <a:off x="913016" y="5622221"/>
              <a:ext cx="1440202" cy="276999"/>
            </a:xfrm>
            <a:prstGeom prst="rect">
              <a:avLst/>
            </a:prstGeom>
            <a:noFill/>
          </p:spPr>
          <p:txBody>
            <a:bodyPr wrap="none" lIns="0" rIns="0" rtlCol="0">
              <a:spAutoFit/>
            </a:bodyPr>
            <a:lstStyle/>
            <a:p>
              <a:r>
                <a:rPr lang="en-US" sz="1200" dirty="0">
                  <a:solidFill>
                    <a:schemeClr val="tx1">
                      <a:alpha val="60000"/>
                    </a:schemeClr>
                  </a:solidFill>
                  <a:latin typeface="RBC Text" panose="02000000000000000000" pitchFamily="2" charset="77"/>
                </a:rPr>
                <a:t>Marketing Manager</a:t>
              </a:r>
            </a:p>
          </p:txBody>
        </p:sp>
      </p:grpSp>
      <p:grpSp>
        <p:nvGrpSpPr>
          <p:cNvPr id="42" name="Group 41"/>
          <p:cNvGrpSpPr/>
          <p:nvPr/>
        </p:nvGrpSpPr>
        <p:grpSpPr>
          <a:xfrm>
            <a:off x="7732052" y="3562060"/>
            <a:ext cx="2153165" cy="445669"/>
            <a:chOff x="913016" y="5453551"/>
            <a:chExt cx="2153165" cy="445669"/>
          </a:xfrm>
        </p:grpSpPr>
        <p:sp>
          <p:nvSpPr>
            <p:cNvPr id="43" name="TextBox 42"/>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latin typeface="RBC Display" panose="02000000000000000000" pitchFamily="2" charset="77"/>
                </a:rPr>
                <a:t>Jason Garrison</a:t>
              </a:r>
            </a:p>
          </p:txBody>
        </p:sp>
        <p:sp>
          <p:nvSpPr>
            <p:cNvPr id="44" name="TextBox 43"/>
            <p:cNvSpPr txBox="1"/>
            <p:nvPr/>
          </p:nvSpPr>
          <p:spPr>
            <a:xfrm>
              <a:off x="913016" y="5622221"/>
              <a:ext cx="1440202" cy="276999"/>
            </a:xfrm>
            <a:prstGeom prst="rect">
              <a:avLst/>
            </a:prstGeom>
            <a:noFill/>
          </p:spPr>
          <p:txBody>
            <a:bodyPr wrap="none" lIns="0" rIns="0" rtlCol="0">
              <a:spAutoFit/>
            </a:bodyPr>
            <a:lstStyle/>
            <a:p>
              <a:r>
                <a:rPr lang="en-US" sz="1200" dirty="0">
                  <a:solidFill>
                    <a:schemeClr val="tx1">
                      <a:alpha val="60000"/>
                    </a:schemeClr>
                  </a:solidFill>
                  <a:latin typeface="RBC Text" panose="02000000000000000000" pitchFamily="2" charset="77"/>
                </a:rPr>
                <a:t>Marketing Manager</a:t>
              </a:r>
            </a:p>
          </p:txBody>
        </p:sp>
      </p:grpSp>
      <p:grpSp>
        <p:nvGrpSpPr>
          <p:cNvPr id="45" name="Group 44"/>
          <p:cNvGrpSpPr/>
          <p:nvPr/>
        </p:nvGrpSpPr>
        <p:grpSpPr>
          <a:xfrm>
            <a:off x="10005064" y="3562060"/>
            <a:ext cx="2153165" cy="445669"/>
            <a:chOff x="913016" y="5453551"/>
            <a:chExt cx="2153165" cy="445669"/>
          </a:xfrm>
        </p:grpSpPr>
        <p:sp>
          <p:nvSpPr>
            <p:cNvPr id="46" name="TextBox 45"/>
            <p:cNvSpPr txBox="1"/>
            <p:nvPr/>
          </p:nvSpPr>
          <p:spPr>
            <a:xfrm>
              <a:off x="913016" y="5453551"/>
              <a:ext cx="2153165" cy="235449"/>
            </a:xfrm>
            <a:prstGeom prst="rect">
              <a:avLst/>
            </a:prstGeom>
            <a:noFill/>
          </p:spPr>
          <p:txBody>
            <a:bodyPr wrap="square" lIns="0" rIns="0" rtlCol="0">
              <a:spAutoFit/>
            </a:bodyPr>
            <a:lstStyle/>
            <a:p>
              <a:pPr>
                <a:lnSpc>
                  <a:spcPct val="70000"/>
                </a:lnSpc>
              </a:pPr>
              <a:r>
                <a:rPr lang="en-US" sz="1200" dirty="0">
                  <a:latin typeface="RBC Display" panose="02000000000000000000" pitchFamily="2" charset="77"/>
                </a:rPr>
                <a:t>John doe</a:t>
              </a:r>
            </a:p>
          </p:txBody>
        </p:sp>
        <p:sp>
          <p:nvSpPr>
            <p:cNvPr id="47" name="TextBox 46"/>
            <p:cNvSpPr txBox="1"/>
            <p:nvPr/>
          </p:nvSpPr>
          <p:spPr>
            <a:xfrm>
              <a:off x="913016" y="5622221"/>
              <a:ext cx="1440202" cy="276999"/>
            </a:xfrm>
            <a:prstGeom prst="rect">
              <a:avLst/>
            </a:prstGeom>
            <a:noFill/>
          </p:spPr>
          <p:txBody>
            <a:bodyPr wrap="none" lIns="0" rIns="0" rtlCol="0">
              <a:spAutoFit/>
            </a:bodyPr>
            <a:lstStyle/>
            <a:p>
              <a:r>
                <a:rPr lang="en-US" sz="1200" dirty="0">
                  <a:solidFill>
                    <a:schemeClr val="tx1">
                      <a:alpha val="60000"/>
                    </a:schemeClr>
                  </a:solidFill>
                  <a:latin typeface="RBC Text" panose="02000000000000000000" pitchFamily="2" charset="77"/>
                </a:rPr>
                <a:t>Marketing Manager</a:t>
              </a:r>
            </a:p>
          </p:txBody>
        </p:sp>
      </p:grpSp>
      <p:sp>
        <p:nvSpPr>
          <p:cNvPr id="24" name="Text Placeholder 6">
            <a:extLst>
              <a:ext uri="{FF2B5EF4-FFF2-40B4-BE49-F238E27FC236}">
                <a16:creationId xmlns:a16="http://schemas.microsoft.com/office/drawing/2014/main" id="{6C406F75-C383-4B47-B2AE-44C26B43D0BA}"/>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7128538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5"/>
          </p:nvPr>
        </p:nvSpPr>
        <p:spPr/>
        <p:txBody>
          <a:bodyPr/>
          <a:lstStyle/>
          <a:p>
            <a:endParaRPr lang="en-CA"/>
          </a:p>
        </p:txBody>
      </p:sp>
      <p:sp>
        <p:nvSpPr>
          <p:cNvPr id="3" name="Picture Placeholder 2"/>
          <p:cNvSpPr>
            <a:spLocks noGrp="1"/>
          </p:cNvSpPr>
          <p:nvPr>
            <p:ph type="pic" sz="quarter" idx="16"/>
          </p:nvPr>
        </p:nvSpPr>
        <p:spPr/>
        <p:txBody>
          <a:bodyPr/>
          <a:lstStyle/>
          <a:p>
            <a:endParaRPr lang="en-CA"/>
          </a:p>
        </p:txBody>
      </p:sp>
      <p:sp>
        <p:nvSpPr>
          <p:cNvPr id="5" name="Picture Placeholder 4"/>
          <p:cNvSpPr>
            <a:spLocks noGrp="1"/>
          </p:cNvSpPr>
          <p:nvPr>
            <p:ph type="pic" sz="quarter" idx="14"/>
          </p:nvPr>
        </p:nvSpPr>
        <p:spPr/>
        <p:txBody>
          <a:bodyPr/>
          <a:lstStyle/>
          <a:p>
            <a:endParaRPr lang="en-CA"/>
          </a:p>
        </p:txBody>
      </p:sp>
      <p:sp>
        <p:nvSpPr>
          <p:cNvPr id="4" name="Title 3"/>
          <p:cNvSpPr>
            <a:spLocks noGrp="1"/>
          </p:cNvSpPr>
          <p:nvPr>
            <p:ph type="title"/>
          </p:nvPr>
        </p:nvSpPr>
        <p:spPr/>
        <p:txBody>
          <a:bodyPr/>
          <a:lstStyle/>
          <a:p>
            <a:r>
              <a:rPr lang="en-US"/>
              <a:t>Creative</a:t>
            </a:r>
            <a:br>
              <a:rPr lang="en-US"/>
            </a:br>
            <a:r>
              <a:rPr lang="en-US"/>
              <a:t>gallery</a:t>
            </a:r>
            <a:endParaRPr lang="en-US" dirty="0"/>
          </a:p>
        </p:txBody>
      </p:sp>
      <p:sp>
        <p:nvSpPr>
          <p:cNvPr id="16" name="Text Placeholder 2"/>
          <p:cNvSpPr txBox="1">
            <a:spLocks/>
          </p:cNvSpPr>
          <p:nvPr/>
        </p:nvSpPr>
        <p:spPr>
          <a:xfrm>
            <a:off x="4142997" y="1823104"/>
            <a:ext cx="2321791" cy="3996246"/>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a:buNone/>
              <a:defRPr sz="1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It always does one good. </a:t>
            </a:r>
          </a:p>
          <a:p>
            <a:r>
              <a:rPr lang="en-US" sz="1200" b="1" dirty="0">
                <a:solidFill>
                  <a:schemeClr val="tx1">
                    <a:alpha val="70000"/>
                  </a:schemeClr>
                </a:solidFill>
                <a:latin typeface="RBC Display" panose="02000000000000000000" pitchFamily="2" charset="77"/>
                <a:ea typeface="Open Sans" charset="0"/>
                <a:cs typeface="Open Sans" charset="0"/>
              </a:rPr>
              <a:t>Apparently we had reached a great height in the atmosphere, </a:t>
            </a:r>
            <a:r>
              <a:rPr lang="en-US" sz="1200" dirty="0">
                <a:solidFill>
                  <a:schemeClr val="tx1">
                    <a:alpha val="70000"/>
                  </a:schemeClr>
                </a:solidFill>
                <a:latin typeface="RBC Text" panose="02000000000000000000" pitchFamily="2" charset="77"/>
              </a:rPr>
              <a:t>for the sky was a dead black, and the stars had ceased to twinkle. By the same illusion which lifts the horizon of the sea to the level of the spectator on a hillside.</a:t>
            </a:r>
          </a:p>
        </p:txBody>
      </p:sp>
      <p:sp>
        <p:nvSpPr>
          <p:cNvPr id="7" name="Text Placeholder 6">
            <a:extLst>
              <a:ext uri="{FF2B5EF4-FFF2-40B4-BE49-F238E27FC236}">
                <a16:creationId xmlns:a16="http://schemas.microsoft.com/office/drawing/2014/main" id="{02940167-2636-AA4A-ABEC-38B156DFBEBF}"/>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7769318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C5ECC0-F06B-1F41-9302-5024D4A5B7BB}"/>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DC0B5ABE-ECA1-3C45-9CEE-12F87CE1897B}"/>
              </a:ext>
            </a:extLst>
          </p:cNvPr>
          <p:cNvSpPr>
            <a:spLocks noGrp="1"/>
          </p:cNvSpPr>
          <p:nvPr>
            <p:ph type="body" sz="quarter" idx="11"/>
          </p:nvPr>
        </p:nvSpPr>
        <p:spPr/>
        <p:txBody>
          <a:bodyPr/>
          <a:lstStyle/>
          <a:p>
            <a:endParaRPr lang="en-US" dirty="0"/>
          </a:p>
        </p:txBody>
      </p:sp>
      <p:sp>
        <p:nvSpPr>
          <p:cNvPr id="4" name="Text Placeholder 3">
            <a:extLst>
              <a:ext uri="{FF2B5EF4-FFF2-40B4-BE49-F238E27FC236}">
                <a16:creationId xmlns:a16="http://schemas.microsoft.com/office/drawing/2014/main" id="{1127066C-6975-8B4B-AE72-5D2FF3FE6C46}"/>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1F3150A7-12F0-1440-A9A8-1641DE21DB20}"/>
              </a:ext>
            </a:extLst>
          </p:cNvPr>
          <p:cNvSpPr>
            <a:spLocks noGrp="1"/>
          </p:cNvSpPr>
          <p:nvPr>
            <p:ph type="body" sz="quarter" idx="15"/>
          </p:nvPr>
        </p:nvSpPr>
        <p:spPr/>
        <p:txBody>
          <a:bodyPr/>
          <a:lstStyle/>
          <a:p>
            <a:endParaRPr lang="en-US" dirty="0"/>
          </a:p>
        </p:txBody>
      </p:sp>
      <p:sp>
        <p:nvSpPr>
          <p:cNvPr id="6" name="Text Placeholder 5">
            <a:extLst>
              <a:ext uri="{FF2B5EF4-FFF2-40B4-BE49-F238E27FC236}">
                <a16:creationId xmlns:a16="http://schemas.microsoft.com/office/drawing/2014/main" id="{B561A847-766E-5443-9293-F6D8BD8AE0E7}"/>
              </a:ext>
            </a:extLst>
          </p:cNvPr>
          <p:cNvSpPr>
            <a:spLocks noGrp="1"/>
          </p:cNvSpPr>
          <p:nvPr>
            <p:ph type="body" sz="quarter" idx="16"/>
          </p:nvPr>
        </p:nvSpPr>
        <p:spPr/>
        <p:txBody>
          <a:bodyPr/>
          <a:lstStyle/>
          <a:p>
            <a:endParaRPr lang="en-US"/>
          </a:p>
        </p:txBody>
      </p:sp>
      <p:sp>
        <p:nvSpPr>
          <p:cNvPr id="7" name="Text Placeholder 6">
            <a:extLst>
              <a:ext uri="{FF2B5EF4-FFF2-40B4-BE49-F238E27FC236}">
                <a16:creationId xmlns:a16="http://schemas.microsoft.com/office/drawing/2014/main" id="{724B7A5A-531E-D643-A5F3-552C508B55B8}"/>
              </a:ext>
            </a:extLst>
          </p:cNvPr>
          <p:cNvSpPr>
            <a:spLocks noGrp="1"/>
          </p:cNvSpPr>
          <p:nvPr>
            <p:ph type="body" sz="quarter" idx="17"/>
          </p:nvPr>
        </p:nvSpPr>
        <p:spPr/>
        <p:txBody>
          <a:bodyPr/>
          <a:lstStyle/>
          <a:p>
            <a:endParaRPr lang="en-US"/>
          </a:p>
        </p:txBody>
      </p:sp>
      <p:pic>
        <p:nvPicPr>
          <p:cNvPr id="8" name="Image" descr="Image">
            <a:extLst>
              <a:ext uri="{FF2B5EF4-FFF2-40B4-BE49-F238E27FC236}">
                <a16:creationId xmlns:a16="http://schemas.microsoft.com/office/drawing/2014/main" id="{CC9E963B-B2CD-AA4E-AB1A-B8E011D89F88}"/>
              </a:ext>
            </a:extLst>
          </p:cNvPr>
          <p:cNvPicPr>
            <a:picLocks noChangeAspect="1"/>
          </p:cNvPicPr>
          <p:nvPr/>
        </p:nvPicPr>
        <p:blipFill>
          <a:blip r:embed="rId2"/>
          <a:stretch>
            <a:fillRect/>
          </a:stretch>
        </p:blipFill>
        <p:spPr>
          <a:xfrm>
            <a:off x="6438453" y="2756754"/>
            <a:ext cx="1348430" cy="1348430"/>
          </a:xfrm>
          <a:prstGeom prst="rect">
            <a:avLst/>
          </a:prstGeom>
          <a:ln w="3175">
            <a:miter lim="400000"/>
          </a:ln>
        </p:spPr>
      </p:pic>
      <p:pic>
        <p:nvPicPr>
          <p:cNvPr id="9" name="Image" descr="Image">
            <a:extLst>
              <a:ext uri="{FF2B5EF4-FFF2-40B4-BE49-F238E27FC236}">
                <a16:creationId xmlns:a16="http://schemas.microsoft.com/office/drawing/2014/main" id="{22D6B5D5-C45E-0840-AF88-AB7592274F17}"/>
              </a:ext>
            </a:extLst>
          </p:cNvPr>
          <p:cNvPicPr>
            <a:picLocks noChangeAspect="1"/>
          </p:cNvPicPr>
          <p:nvPr/>
        </p:nvPicPr>
        <p:blipFill>
          <a:blip r:embed="rId3"/>
          <a:stretch>
            <a:fillRect/>
          </a:stretch>
        </p:blipFill>
        <p:spPr>
          <a:xfrm>
            <a:off x="675264" y="2826406"/>
            <a:ext cx="1348430" cy="1122377"/>
          </a:xfrm>
          <a:prstGeom prst="rect">
            <a:avLst/>
          </a:prstGeom>
          <a:ln w="3175">
            <a:miter lim="400000"/>
          </a:ln>
        </p:spPr>
      </p:pic>
    </p:spTree>
    <p:extLst>
      <p:ext uri="{BB962C8B-B14F-4D97-AF65-F5344CB8AC3E}">
        <p14:creationId xmlns:p14="http://schemas.microsoft.com/office/powerpoint/2010/main" val="15119662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943928" y="3635428"/>
            <a:ext cx="1411477" cy="215444"/>
          </a:xfrm>
          <a:prstGeom prst="rect">
            <a:avLst/>
          </a:prstGeom>
          <a:noFill/>
        </p:spPr>
        <p:txBody>
          <a:bodyPr wrap="none" lIns="0" tIns="0" rIns="0" bIns="0" rtlCol="0">
            <a:spAutoFit/>
          </a:bodyPr>
          <a:lstStyle/>
          <a:p>
            <a:r>
              <a:rPr lang="en-US" sz="1400" dirty="0">
                <a:latin typeface="RBC Display" panose="02000000000000000000" pitchFamily="2" charset="77"/>
              </a:rPr>
              <a:t>Clare Richardson</a:t>
            </a:r>
          </a:p>
        </p:txBody>
      </p:sp>
      <p:sp>
        <p:nvSpPr>
          <p:cNvPr id="7" name="Text Placeholder 4"/>
          <p:cNvSpPr txBox="1">
            <a:spLocks/>
          </p:cNvSpPr>
          <p:nvPr/>
        </p:nvSpPr>
        <p:spPr>
          <a:xfrm>
            <a:off x="3943928" y="3884124"/>
            <a:ext cx="2687782" cy="298141"/>
          </a:xfrm>
          <a:prstGeom prst="rect">
            <a:avLst/>
          </a:prstGeom>
        </p:spPr>
        <p:txBody>
          <a:bodyPr vert="horz" lIns="0" tIns="0" rIns="0" bIns="0" rtlCol="0">
            <a:normAutofit/>
          </a:bodyPr>
          <a:lstStyle>
            <a:lvl1pPr marL="0" indent="0" algn="l" defTabSz="914400" rtl="0" eaLnBrk="1" latinLnBrk="0" hangingPunct="1">
              <a:lnSpc>
                <a:spcPct val="120000"/>
              </a:lnSpc>
              <a:spcBef>
                <a:spcPts val="1000"/>
              </a:spcBef>
              <a:buFont typeface="Arial"/>
              <a:buNone/>
              <a:defRPr sz="1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alpha val="70000"/>
                  </a:schemeClr>
                </a:solidFill>
                <a:latin typeface="RBC Text" panose="02000000000000000000" pitchFamily="2" charset="77"/>
              </a:rPr>
              <a:t>Director, CPO, Designer</a:t>
            </a:r>
          </a:p>
        </p:txBody>
      </p:sp>
      <p:sp>
        <p:nvSpPr>
          <p:cNvPr id="8" name="TextBox 7"/>
          <p:cNvSpPr txBox="1"/>
          <p:nvPr/>
        </p:nvSpPr>
        <p:spPr>
          <a:xfrm>
            <a:off x="6751782" y="2240737"/>
            <a:ext cx="1024511" cy="215444"/>
          </a:xfrm>
          <a:prstGeom prst="rect">
            <a:avLst/>
          </a:prstGeom>
          <a:noFill/>
        </p:spPr>
        <p:txBody>
          <a:bodyPr wrap="none" lIns="0" tIns="0" rIns="0" bIns="0" rtlCol="0">
            <a:spAutoFit/>
          </a:bodyPr>
          <a:lstStyle/>
          <a:p>
            <a:r>
              <a:rPr lang="en-US" sz="1400" dirty="0">
                <a:latin typeface="RBC Display" panose="02000000000000000000" pitchFamily="2" charset="77"/>
              </a:rPr>
              <a:t>Neal </a:t>
            </a:r>
            <a:r>
              <a:rPr lang="en-US" sz="1400" dirty="0" err="1">
                <a:latin typeface="RBC Display" panose="02000000000000000000" pitchFamily="2" charset="77"/>
              </a:rPr>
              <a:t>Soltons</a:t>
            </a:r>
            <a:endParaRPr lang="en-US" sz="1400" dirty="0">
              <a:latin typeface="RBC Display" panose="02000000000000000000" pitchFamily="2" charset="77"/>
            </a:endParaRPr>
          </a:p>
        </p:txBody>
      </p:sp>
      <p:sp>
        <p:nvSpPr>
          <p:cNvPr id="9" name="Text Placeholder 4"/>
          <p:cNvSpPr txBox="1">
            <a:spLocks/>
          </p:cNvSpPr>
          <p:nvPr/>
        </p:nvSpPr>
        <p:spPr>
          <a:xfrm>
            <a:off x="6751782" y="2489433"/>
            <a:ext cx="2687782" cy="298141"/>
          </a:xfrm>
          <a:prstGeom prst="rect">
            <a:avLst/>
          </a:prstGeom>
        </p:spPr>
        <p:txBody>
          <a:bodyPr vert="horz" lIns="0" tIns="0" rIns="0" bIns="0" rtlCol="0">
            <a:normAutofit/>
          </a:bodyPr>
          <a:lstStyle>
            <a:lvl1pPr marL="0" indent="0" algn="l" defTabSz="914400" rtl="0" eaLnBrk="1" latinLnBrk="0" hangingPunct="1">
              <a:lnSpc>
                <a:spcPct val="120000"/>
              </a:lnSpc>
              <a:spcBef>
                <a:spcPts val="1000"/>
              </a:spcBef>
              <a:buFont typeface="Arial"/>
              <a:buNone/>
              <a:defRPr sz="1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alpha val="70000"/>
                  </a:schemeClr>
                </a:solidFill>
                <a:latin typeface="RBC Text" panose="02000000000000000000" pitchFamily="2" charset="77"/>
              </a:rPr>
              <a:t>Director, CPO, Designer</a:t>
            </a:r>
          </a:p>
        </p:txBody>
      </p:sp>
      <p:sp>
        <p:nvSpPr>
          <p:cNvPr id="2" name="Picture Placeholder 1"/>
          <p:cNvSpPr>
            <a:spLocks noGrp="1"/>
          </p:cNvSpPr>
          <p:nvPr>
            <p:ph type="pic" sz="quarter" idx="12"/>
          </p:nvPr>
        </p:nvSpPr>
        <p:spPr/>
        <p:txBody>
          <a:bodyPr/>
          <a:lstStyle/>
          <a:p>
            <a:endParaRPr lang="en-CA"/>
          </a:p>
        </p:txBody>
      </p:sp>
      <p:sp>
        <p:nvSpPr>
          <p:cNvPr id="3" name="Picture Placeholder 2"/>
          <p:cNvSpPr>
            <a:spLocks noGrp="1"/>
          </p:cNvSpPr>
          <p:nvPr>
            <p:ph type="pic" sz="quarter" idx="13"/>
          </p:nvPr>
        </p:nvSpPr>
        <p:spPr/>
        <p:txBody>
          <a:bodyPr/>
          <a:lstStyle/>
          <a:p>
            <a:endParaRPr lang="en-CA"/>
          </a:p>
        </p:txBody>
      </p:sp>
      <p:sp>
        <p:nvSpPr>
          <p:cNvPr id="4" name="Picture Placeholder 3"/>
          <p:cNvSpPr>
            <a:spLocks noGrp="1"/>
          </p:cNvSpPr>
          <p:nvPr>
            <p:ph type="pic" sz="quarter" idx="14"/>
          </p:nvPr>
        </p:nvSpPr>
        <p:spPr/>
        <p:txBody>
          <a:bodyPr/>
          <a:lstStyle/>
          <a:p>
            <a:endParaRPr lang="en-CA"/>
          </a:p>
        </p:txBody>
      </p:sp>
      <p:sp>
        <p:nvSpPr>
          <p:cNvPr id="10" name="Text Placeholder 6">
            <a:extLst>
              <a:ext uri="{FF2B5EF4-FFF2-40B4-BE49-F238E27FC236}">
                <a16:creationId xmlns:a16="http://schemas.microsoft.com/office/drawing/2014/main" id="{EDA994AC-D742-5649-9123-F20E3E548798}"/>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5270980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93763" y="3820155"/>
            <a:ext cx="1411477" cy="215444"/>
          </a:xfrm>
          <a:prstGeom prst="rect">
            <a:avLst/>
          </a:prstGeom>
          <a:noFill/>
        </p:spPr>
        <p:txBody>
          <a:bodyPr wrap="none" lIns="0" tIns="0" rIns="0" bIns="0" rtlCol="0">
            <a:spAutoFit/>
          </a:bodyPr>
          <a:lstStyle/>
          <a:p>
            <a:r>
              <a:rPr lang="en-US" sz="1400" dirty="0">
                <a:latin typeface="RBC Display" panose="02000000000000000000" pitchFamily="2" charset="77"/>
              </a:rPr>
              <a:t>Clare Richardson</a:t>
            </a:r>
          </a:p>
        </p:txBody>
      </p:sp>
      <p:sp>
        <p:nvSpPr>
          <p:cNvPr id="6" name="Text Placeholder 4"/>
          <p:cNvSpPr txBox="1">
            <a:spLocks/>
          </p:cNvSpPr>
          <p:nvPr/>
        </p:nvSpPr>
        <p:spPr>
          <a:xfrm>
            <a:off x="893763" y="4068851"/>
            <a:ext cx="2687782" cy="298141"/>
          </a:xfrm>
          <a:prstGeom prst="rect">
            <a:avLst/>
          </a:prstGeom>
        </p:spPr>
        <p:txBody>
          <a:bodyPr vert="horz" lIns="0" tIns="0" rIns="0" bIns="0" rtlCol="0">
            <a:normAutofit/>
          </a:bodyPr>
          <a:lstStyle>
            <a:lvl1pPr marL="0" indent="0" algn="l" defTabSz="914400" rtl="0" eaLnBrk="1" latinLnBrk="0" hangingPunct="1">
              <a:lnSpc>
                <a:spcPct val="120000"/>
              </a:lnSpc>
              <a:spcBef>
                <a:spcPts val="1000"/>
              </a:spcBef>
              <a:buFont typeface="Arial"/>
              <a:buNone/>
              <a:defRPr sz="1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alpha val="70000"/>
                  </a:schemeClr>
                </a:solidFill>
                <a:latin typeface="RBC Text" panose="02000000000000000000" pitchFamily="2" charset="77"/>
              </a:rPr>
              <a:t>Director, CPO, Designer</a:t>
            </a:r>
          </a:p>
        </p:txBody>
      </p:sp>
      <p:sp>
        <p:nvSpPr>
          <p:cNvPr id="7" name="Freeform 13">
            <a:extLst>
              <a:ext uri="{FF2B5EF4-FFF2-40B4-BE49-F238E27FC236}">
                <a16:creationId xmlns:a16="http://schemas.microsoft.com/office/drawing/2014/main" id="{45506306-FF73-4696-BAFB-A6A7AE49A7B5}"/>
              </a:ext>
            </a:extLst>
          </p:cNvPr>
          <p:cNvSpPr>
            <a:spLocks/>
          </p:cNvSpPr>
          <p:nvPr/>
        </p:nvSpPr>
        <p:spPr bwMode="auto">
          <a:xfrm flipH="1">
            <a:off x="893763" y="5604361"/>
            <a:ext cx="249237" cy="200694"/>
          </a:xfrm>
          <a:custGeom>
            <a:avLst/>
            <a:gdLst>
              <a:gd name="T0" fmla="*/ 160 w 160"/>
              <a:gd name="T1" fmla="*/ 64 h 128"/>
              <a:gd name="T2" fmla="*/ 158 w 160"/>
              <a:gd name="T3" fmla="*/ 66 h 128"/>
              <a:gd name="T4" fmla="*/ 8 w 160"/>
              <a:gd name="T5" fmla="*/ 66 h 128"/>
              <a:gd name="T6" fmla="*/ 66 w 160"/>
              <a:gd name="T7" fmla="*/ 124 h 128"/>
              <a:gd name="T8" fmla="*/ 66 w 160"/>
              <a:gd name="T9" fmla="*/ 127 h 128"/>
              <a:gd name="T10" fmla="*/ 64 w 160"/>
              <a:gd name="T11" fmla="*/ 128 h 128"/>
              <a:gd name="T12" fmla="*/ 62 w 160"/>
              <a:gd name="T13" fmla="*/ 127 h 128"/>
              <a:gd name="T14" fmla="*/ 1 w 160"/>
              <a:gd name="T15" fmla="*/ 66 h 128"/>
              <a:gd name="T16" fmla="*/ 0 w 160"/>
              <a:gd name="T17" fmla="*/ 65 h 128"/>
              <a:gd name="T18" fmla="*/ 0 w 160"/>
              <a:gd name="T19" fmla="*/ 64 h 128"/>
              <a:gd name="T20" fmla="*/ 0 w 160"/>
              <a:gd name="T21" fmla="*/ 64 h 128"/>
              <a:gd name="T22" fmla="*/ 0 w 160"/>
              <a:gd name="T23" fmla="*/ 64 h 128"/>
              <a:gd name="T24" fmla="*/ 0 w 160"/>
              <a:gd name="T25" fmla="*/ 64 h 128"/>
              <a:gd name="T26" fmla="*/ 1 w 160"/>
              <a:gd name="T27" fmla="*/ 62 h 128"/>
              <a:gd name="T28" fmla="*/ 62 w 160"/>
              <a:gd name="T29" fmla="*/ 1 h 128"/>
              <a:gd name="T30" fmla="*/ 66 w 160"/>
              <a:gd name="T31" fmla="*/ 1 h 128"/>
              <a:gd name="T32" fmla="*/ 66 w 160"/>
              <a:gd name="T33" fmla="*/ 4 h 128"/>
              <a:gd name="T34" fmla="*/ 8 w 160"/>
              <a:gd name="T35" fmla="*/ 61 h 128"/>
              <a:gd name="T36" fmla="*/ 158 w 160"/>
              <a:gd name="T37" fmla="*/ 61 h 128"/>
              <a:gd name="T38" fmla="*/ 160 w 160"/>
              <a:gd name="T3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28">
                <a:moveTo>
                  <a:pt x="160" y="64"/>
                </a:moveTo>
                <a:cubicBezTo>
                  <a:pt x="160" y="65"/>
                  <a:pt x="159" y="66"/>
                  <a:pt x="158" y="66"/>
                </a:cubicBezTo>
                <a:cubicBezTo>
                  <a:pt x="8" y="66"/>
                  <a:pt x="8" y="66"/>
                  <a:pt x="8" y="66"/>
                </a:cubicBezTo>
                <a:cubicBezTo>
                  <a:pt x="66" y="124"/>
                  <a:pt x="66" y="124"/>
                  <a:pt x="66" y="124"/>
                </a:cubicBezTo>
                <a:cubicBezTo>
                  <a:pt x="67" y="125"/>
                  <a:pt x="67" y="126"/>
                  <a:pt x="66" y="127"/>
                </a:cubicBezTo>
                <a:cubicBezTo>
                  <a:pt x="65" y="128"/>
                  <a:pt x="65" y="128"/>
                  <a:pt x="64" y="128"/>
                </a:cubicBezTo>
                <a:cubicBezTo>
                  <a:pt x="63" y="128"/>
                  <a:pt x="63" y="128"/>
                  <a:pt x="62" y="127"/>
                </a:cubicBezTo>
                <a:cubicBezTo>
                  <a:pt x="1" y="66"/>
                  <a:pt x="1" y="66"/>
                  <a:pt x="1" y="66"/>
                </a:cubicBezTo>
                <a:cubicBezTo>
                  <a:pt x="0" y="65"/>
                  <a:pt x="0" y="65"/>
                  <a:pt x="0" y="65"/>
                </a:cubicBezTo>
                <a:cubicBezTo>
                  <a:pt x="0" y="65"/>
                  <a:pt x="0" y="65"/>
                  <a:pt x="0" y="64"/>
                </a:cubicBezTo>
                <a:cubicBezTo>
                  <a:pt x="0" y="64"/>
                  <a:pt x="0" y="64"/>
                  <a:pt x="0" y="64"/>
                </a:cubicBezTo>
                <a:cubicBezTo>
                  <a:pt x="0" y="64"/>
                  <a:pt x="0" y="64"/>
                  <a:pt x="0" y="64"/>
                </a:cubicBezTo>
                <a:cubicBezTo>
                  <a:pt x="0" y="64"/>
                  <a:pt x="0" y="64"/>
                  <a:pt x="0" y="64"/>
                </a:cubicBezTo>
                <a:cubicBezTo>
                  <a:pt x="0" y="63"/>
                  <a:pt x="0" y="63"/>
                  <a:pt x="1" y="62"/>
                </a:cubicBezTo>
                <a:cubicBezTo>
                  <a:pt x="62" y="1"/>
                  <a:pt x="62" y="1"/>
                  <a:pt x="62" y="1"/>
                </a:cubicBezTo>
                <a:cubicBezTo>
                  <a:pt x="63" y="0"/>
                  <a:pt x="65" y="0"/>
                  <a:pt x="66" y="1"/>
                </a:cubicBezTo>
                <a:cubicBezTo>
                  <a:pt x="67" y="2"/>
                  <a:pt x="67" y="3"/>
                  <a:pt x="66" y="4"/>
                </a:cubicBezTo>
                <a:cubicBezTo>
                  <a:pt x="8" y="61"/>
                  <a:pt x="8" y="61"/>
                  <a:pt x="8" y="61"/>
                </a:cubicBezTo>
                <a:cubicBezTo>
                  <a:pt x="158" y="61"/>
                  <a:pt x="158" y="61"/>
                  <a:pt x="158" y="61"/>
                </a:cubicBezTo>
                <a:cubicBezTo>
                  <a:pt x="159" y="61"/>
                  <a:pt x="160" y="63"/>
                  <a:pt x="160" y="64"/>
                </a:cubicBezTo>
                <a:close/>
              </a:path>
            </a:pathLst>
          </a:custGeom>
          <a:solidFill>
            <a:srgbClr val="010101">
              <a:alpha val="20000"/>
            </a:srgb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 name="Freeform 13">
            <a:extLst>
              <a:ext uri="{FF2B5EF4-FFF2-40B4-BE49-F238E27FC236}">
                <a16:creationId xmlns:a16="http://schemas.microsoft.com/office/drawing/2014/main" id="{45506306-FF73-4696-BAFB-A6A7AE49A7B5}"/>
              </a:ext>
            </a:extLst>
          </p:cNvPr>
          <p:cNvSpPr>
            <a:spLocks/>
          </p:cNvSpPr>
          <p:nvPr/>
        </p:nvSpPr>
        <p:spPr bwMode="auto">
          <a:xfrm flipH="1">
            <a:off x="1282385" y="5604361"/>
            <a:ext cx="249237" cy="200694"/>
          </a:xfrm>
          <a:custGeom>
            <a:avLst/>
            <a:gdLst>
              <a:gd name="T0" fmla="*/ 160 w 160"/>
              <a:gd name="T1" fmla="*/ 64 h 128"/>
              <a:gd name="T2" fmla="*/ 158 w 160"/>
              <a:gd name="T3" fmla="*/ 66 h 128"/>
              <a:gd name="T4" fmla="*/ 8 w 160"/>
              <a:gd name="T5" fmla="*/ 66 h 128"/>
              <a:gd name="T6" fmla="*/ 66 w 160"/>
              <a:gd name="T7" fmla="*/ 124 h 128"/>
              <a:gd name="T8" fmla="*/ 66 w 160"/>
              <a:gd name="T9" fmla="*/ 127 h 128"/>
              <a:gd name="T10" fmla="*/ 64 w 160"/>
              <a:gd name="T11" fmla="*/ 128 h 128"/>
              <a:gd name="T12" fmla="*/ 62 w 160"/>
              <a:gd name="T13" fmla="*/ 127 h 128"/>
              <a:gd name="T14" fmla="*/ 1 w 160"/>
              <a:gd name="T15" fmla="*/ 66 h 128"/>
              <a:gd name="T16" fmla="*/ 0 w 160"/>
              <a:gd name="T17" fmla="*/ 65 h 128"/>
              <a:gd name="T18" fmla="*/ 0 w 160"/>
              <a:gd name="T19" fmla="*/ 64 h 128"/>
              <a:gd name="T20" fmla="*/ 0 w 160"/>
              <a:gd name="T21" fmla="*/ 64 h 128"/>
              <a:gd name="T22" fmla="*/ 0 w 160"/>
              <a:gd name="T23" fmla="*/ 64 h 128"/>
              <a:gd name="T24" fmla="*/ 0 w 160"/>
              <a:gd name="T25" fmla="*/ 64 h 128"/>
              <a:gd name="T26" fmla="*/ 1 w 160"/>
              <a:gd name="T27" fmla="*/ 62 h 128"/>
              <a:gd name="T28" fmla="*/ 62 w 160"/>
              <a:gd name="T29" fmla="*/ 1 h 128"/>
              <a:gd name="T30" fmla="*/ 66 w 160"/>
              <a:gd name="T31" fmla="*/ 1 h 128"/>
              <a:gd name="T32" fmla="*/ 66 w 160"/>
              <a:gd name="T33" fmla="*/ 4 h 128"/>
              <a:gd name="T34" fmla="*/ 8 w 160"/>
              <a:gd name="T35" fmla="*/ 61 h 128"/>
              <a:gd name="T36" fmla="*/ 158 w 160"/>
              <a:gd name="T37" fmla="*/ 61 h 128"/>
              <a:gd name="T38" fmla="*/ 160 w 160"/>
              <a:gd name="T3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28">
                <a:moveTo>
                  <a:pt x="160" y="64"/>
                </a:moveTo>
                <a:cubicBezTo>
                  <a:pt x="160" y="65"/>
                  <a:pt x="159" y="66"/>
                  <a:pt x="158" y="66"/>
                </a:cubicBezTo>
                <a:cubicBezTo>
                  <a:pt x="8" y="66"/>
                  <a:pt x="8" y="66"/>
                  <a:pt x="8" y="66"/>
                </a:cubicBezTo>
                <a:cubicBezTo>
                  <a:pt x="66" y="124"/>
                  <a:pt x="66" y="124"/>
                  <a:pt x="66" y="124"/>
                </a:cubicBezTo>
                <a:cubicBezTo>
                  <a:pt x="67" y="125"/>
                  <a:pt x="67" y="126"/>
                  <a:pt x="66" y="127"/>
                </a:cubicBezTo>
                <a:cubicBezTo>
                  <a:pt x="65" y="128"/>
                  <a:pt x="65" y="128"/>
                  <a:pt x="64" y="128"/>
                </a:cubicBezTo>
                <a:cubicBezTo>
                  <a:pt x="63" y="128"/>
                  <a:pt x="63" y="128"/>
                  <a:pt x="62" y="127"/>
                </a:cubicBezTo>
                <a:cubicBezTo>
                  <a:pt x="1" y="66"/>
                  <a:pt x="1" y="66"/>
                  <a:pt x="1" y="66"/>
                </a:cubicBezTo>
                <a:cubicBezTo>
                  <a:pt x="0" y="65"/>
                  <a:pt x="0" y="65"/>
                  <a:pt x="0" y="65"/>
                </a:cubicBezTo>
                <a:cubicBezTo>
                  <a:pt x="0" y="65"/>
                  <a:pt x="0" y="65"/>
                  <a:pt x="0" y="64"/>
                </a:cubicBezTo>
                <a:cubicBezTo>
                  <a:pt x="0" y="64"/>
                  <a:pt x="0" y="64"/>
                  <a:pt x="0" y="64"/>
                </a:cubicBezTo>
                <a:cubicBezTo>
                  <a:pt x="0" y="64"/>
                  <a:pt x="0" y="64"/>
                  <a:pt x="0" y="64"/>
                </a:cubicBezTo>
                <a:cubicBezTo>
                  <a:pt x="0" y="64"/>
                  <a:pt x="0" y="64"/>
                  <a:pt x="0" y="64"/>
                </a:cubicBezTo>
                <a:cubicBezTo>
                  <a:pt x="0" y="63"/>
                  <a:pt x="0" y="63"/>
                  <a:pt x="1" y="62"/>
                </a:cubicBezTo>
                <a:cubicBezTo>
                  <a:pt x="62" y="1"/>
                  <a:pt x="62" y="1"/>
                  <a:pt x="62" y="1"/>
                </a:cubicBezTo>
                <a:cubicBezTo>
                  <a:pt x="63" y="0"/>
                  <a:pt x="65" y="0"/>
                  <a:pt x="66" y="1"/>
                </a:cubicBezTo>
                <a:cubicBezTo>
                  <a:pt x="67" y="2"/>
                  <a:pt x="67" y="3"/>
                  <a:pt x="66" y="4"/>
                </a:cubicBezTo>
                <a:cubicBezTo>
                  <a:pt x="8" y="61"/>
                  <a:pt x="8" y="61"/>
                  <a:pt x="8" y="61"/>
                </a:cubicBezTo>
                <a:cubicBezTo>
                  <a:pt x="158" y="61"/>
                  <a:pt x="158" y="61"/>
                  <a:pt x="158" y="61"/>
                </a:cubicBezTo>
                <a:cubicBezTo>
                  <a:pt x="159" y="61"/>
                  <a:pt x="160" y="63"/>
                  <a:pt x="160" y="64"/>
                </a:cubicBezTo>
                <a:close/>
              </a:path>
            </a:pathLst>
          </a:custGeom>
          <a:solidFill>
            <a:srgbClr val="010101">
              <a:alpha val="20000"/>
            </a:srgb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9" name="Freeform 13">
            <a:extLst>
              <a:ext uri="{FF2B5EF4-FFF2-40B4-BE49-F238E27FC236}">
                <a16:creationId xmlns:a16="http://schemas.microsoft.com/office/drawing/2014/main" id="{45506306-FF73-4696-BAFB-A6A7AE49A7B5}"/>
              </a:ext>
            </a:extLst>
          </p:cNvPr>
          <p:cNvSpPr>
            <a:spLocks/>
          </p:cNvSpPr>
          <p:nvPr/>
        </p:nvSpPr>
        <p:spPr bwMode="auto">
          <a:xfrm flipH="1">
            <a:off x="1671007" y="5604361"/>
            <a:ext cx="249237" cy="200694"/>
          </a:xfrm>
          <a:custGeom>
            <a:avLst/>
            <a:gdLst>
              <a:gd name="T0" fmla="*/ 160 w 160"/>
              <a:gd name="T1" fmla="*/ 64 h 128"/>
              <a:gd name="T2" fmla="*/ 158 w 160"/>
              <a:gd name="T3" fmla="*/ 66 h 128"/>
              <a:gd name="T4" fmla="*/ 8 w 160"/>
              <a:gd name="T5" fmla="*/ 66 h 128"/>
              <a:gd name="T6" fmla="*/ 66 w 160"/>
              <a:gd name="T7" fmla="*/ 124 h 128"/>
              <a:gd name="T8" fmla="*/ 66 w 160"/>
              <a:gd name="T9" fmla="*/ 127 h 128"/>
              <a:gd name="T10" fmla="*/ 64 w 160"/>
              <a:gd name="T11" fmla="*/ 128 h 128"/>
              <a:gd name="T12" fmla="*/ 62 w 160"/>
              <a:gd name="T13" fmla="*/ 127 h 128"/>
              <a:gd name="T14" fmla="*/ 1 w 160"/>
              <a:gd name="T15" fmla="*/ 66 h 128"/>
              <a:gd name="T16" fmla="*/ 0 w 160"/>
              <a:gd name="T17" fmla="*/ 65 h 128"/>
              <a:gd name="T18" fmla="*/ 0 w 160"/>
              <a:gd name="T19" fmla="*/ 64 h 128"/>
              <a:gd name="T20" fmla="*/ 0 w 160"/>
              <a:gd name="T21" fmla="*/ 64 h 128"/>
              <a:gd name="T22" fmla="*/ 0 w 160"/>
              <a:gd name="T23" fmla="*/ 64 h 128"/>
              <a:gd name="T24" fmla="*/ 0 w 160"/>
              <a:gd name="T25" fmla="*/ 64 h 128"/>
              <a:gd name="T26" fmla="*/ 1 w 160"/>
              <a:gd name="T27" fmla="*/ 62 h 128"/>
              <a:gd name="T28" fmla="*/ 62 w 160"/>
              <a:gd name="T29" fmla="*/ 1 h 128"/>
              <a:gd name="T30" fmla="*/ 66 w 160"/>
              <a:gd name="T31" fmla="*/ 1 h 128"/>
              <a:gd name="T32" fmla="*/ 66 w 160"/>
              <a:gd name="T33" fmla="*/ 4 h 128"/>
              <a:gd name="T34" fmla="*/ 8 w 160"/>
              <a:gd name="T35" fmla="*/ 61 h 128"/>
              <a:gd name="T36" fmla="*/ 158 w 160"/>
              <a:gd name="T37" fmla="*/ 61 h 128"/>
              <a:gd name="T38" fmla="*/ 160 w 160"/>
              <a:gd name="T3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28">
                <a:moveTo>
                  <a:pt x="160" y="64"/>
                </a:moveTo>
                <a:cubicBezTo>
                  <a:pt x="160" y="65"/>
                  <a:pt x="159" y="66"/>
                  <a:pt x="158" y="66"/>
                </a:cubicBezTo>
                <a:cubicBezTo>
                  <a:pt x="8" y="66"/>
                  <a:pt x="8" y="66"/>
                  <a:pt x="8" y="66"/>
                </a:cubicBezTo>
                <a:cubicBezTo>
                  <a:pt x="66" y="124"/>
                  <a:pt x="66" y="124"/>
                  <a:pt x="66" y="124"/>
                </a:cubicBezTo>
                <a:cubicBezTo>
                  <a:pt x="67" y="125"/>
                  <a:pt x="67" y="126"/>
                  <a:pt x="66" y="127"/>
                </a:cubicBezTo>
                <a:cubicBezTo>
                  <a:pt x="65" y="128"/>
                  <a:pt x="65" y="128"/>
                  <a:pt x="64" y="128"/>
                </a:cubicBezTo>
                <a:cubicBezTo>
                  <a:pt x="63" y="128"/>
                  <a:pt x="63" y="128"/>
                  <a:pt x="62" y="127"/>
                </a:cubicBezTo>
                <a:cubicBezTo>
                  <a:pt x="1" y="66"/>
                  <a:pt x="1" y="66"/>
                  <a:pt x="1" y="66"/>
                </a:cubicBezTo>
                <a:cubicBezTo>
                  <a:pt x="0" y="65"/>
                  <a:pt x="0" y="65"/>
                  <a:pt x="0" y="65"/>
                </a:cubicBezTo>
                <a:cubicBezTo>
                  <a:pt x="0" y="65"/>
                  <a:pt x="0" y="65"/>
                  <a:pt x="0" y="64"/>
                </a:cubicBezTo>
                <a:cubicBezTo>
                  <a:pt x="0" y="64"/>
                  <a:pt x="0" y="64"/>
                  <a:pt x="0" y="64"/>
                </a:cubicBezTo>
                <a:cubicBezTo>
                  <a:pt x="0" y="64"/>
                  <a:pt x="0" y="64"/>
                  <a:pt x="0" y="64"/>
                </a:cubicBezTo>
                <a:cubicBezTo>
                  <a:pt x="0" y="64"/>
                  <a:pt x="0" y="64"/>
                  <a:pt x="0" y="64"/>
                </a:cubicBezTo>
                <a:cubicBezTo>
                  <a:pt x="0" y="63"/>
                  <a:pt x="0" y="63"/>
                  <a:pt x="1" y="62"/>
                </a:cubicBezTo>
                <a:cubicBezTo>
                  <a:pt x="62" y="1"/>
                  <a:pt x="62" y="1"/>
                  <a:pt x="62" y="1"/>
                </a:cubicBezTo>
                <a:cubicBezTo>
                  <a:pt x="63" y="0"/>
                  <a:pt x="65" y="0"/>
                  <a:pt x="66" y="1"/>
                </a:cubicBezTo>
                <a:cubicBezTo>
                  <a:pt x="67" y="2"/>
                  <a:pt x="67" y="3"/>
                  <a:pt x="66" y="4"/>
                </a:cubicBezTo>
                <a:cubicBezTo>
                  <a:pt x="8" y="61"/>
                  <a:pt x="8" y="61"/>
                  <a:pt x="8" y="61"/>
                </a:cubicBezTo>
                <a:cubicBezTo>
                  <a:pt x="158" y="61"/>
                  <a:pt x="158" y="61"/>
                  <a:pt x="158" y="61"/>
                </a:cubicBezTo>
                <a:cubicBezTo>
                  <a:pt x="159" y="61"/>
                  <a:pt x="160" y="63"/>
                  <a:pt x="160" y="64"/>
                </a:cubicBezTo>
                <a:close/>
              </a:path>
            </a:pathLst>
          </a:custGeom>
          <a:solidFill>
            <a:srgbClr val="010101">
              <a:alpha val="20000"/>
            </a:srgb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0" name="Freeform 13">
            <a:extLst>
              <a:ext uri="{FF2B5EF4-FFF2-40B4-BE49-F238E27FC236}">
                <a16:creationId xmlns:a16="http://schemas.microsoft.com/office/drawing/2014/main" id="{45506306-FF73-4696-BAFB-A6A7AE49A7B5}"/>
              </a:ext>
            </a:extLst>
          </p:cNvPr>
          <p:cNvSpPr>
            <a:spLocks/>
          </p:cNvSpPr>
          <p:nvPr/>
        </p:nvSpPr>
        <p:spPr bwMode="auto">
          <a:xfrm flipH="1">
            <a:off x="2059629" y="5604361"/>
            <a:ext cx="249237" cy="200694"/>
          </a:xfrm>
          <a:custGeom>
            <a:avLst/>
            <a:gdLst>
              <a:gd name="T0" fmla="*/ 160 w 160"/>
              <a:gd name="T1" fmla="*/ 64 h 128"/>
              <a:gd name="T2" fmla="*/ 158 w 160"/>
              <a:gd name="T3" fmla="*/ 66 h 128"/>
              <a:gd name="T4" fmla="*/ 8 w 160"/>
              <a:gd name="T5" fmla="*/ 66 h 128"/>
              <a:gd name="T6" fmla="*/ 66 w 160"/>
              <a:gd name="T7" fmla="*/ 124 h 128"/>
              <a:gd name="T8" fmla="*/ 66 w 160"/>
              <a:gd name="T9" fmla="*/ 127 h 128"/>
              <a:gd name="T10" fmla="*/ 64 w 160"/>
              <a:gd name="T11" fmla="*/ 128 h 128"/>
              <a:gd name="T12" fmla="*/ 62 w 160"/>
              <a:gd name="T13" fmla="*/ 127 h 128"/>
              <a:gd name="T14" fmla="*/ 1 w 160"/>
              <a:gd name="T15" fmla="*/ 66 h 128"/>
              <a:gd name="T16" fmla="*/ 0 w 160"/>
              <a:gd name="T17" fmla="*/ 65 h 128"/>
              <a:gd name="T18" fmla="*/ 0 w 160"/>
              <a:gd name="T19" fmla="*/ 64 h 128"/>
              <a:gd name="T20" fmla="*/ 0 w 160"/>
              <a:gd name="T21" fmla="*/ 64 h 128"/>
              <a:gd name="T22" fmla="*/ 0 w 160"/>
              <a:gd name="T23" fmla="*/ 64 h 128"/>
              <a:gd name="T24" fmla="*/ 0 w 160"/>
              <a:gd name="T25" fmla="*/ 64 h 128"/>
              <a:gd name="T26" fmla="*/ 1 w 160"/>
              <a:gd name="T27" fmla="*/ 62 h 128"/>
              <a:gd name="T28" fmla="*/ 62 w 160"/>
              <a:gd name="T29" fmla="*/ 1 h 128"/>
              <a:gd name="T30" fmla="*/ 66 w 160"/>
              <a:gd name="T31" fmla="*/ 1 h 128"/>
              <a:gd name="T32" fmla="*/ 66 w 160"/>
              <a:gd name="T33" fmla="*/ 4 h 128"/>
              <a:gd name="T34" fmla="*/ 8 w 160"/>
              <a:gd name="T35" fmla="*/ 61 h 128"/>
              <a:gd name="T36" fmla="*/ 158 w 160"/>
              <a:gd name="T37" fmla="*/ 61 h 128"/>
              <a:gd name="T38" fmla="*/ 160 w 160"/>
              <a:gd name="T3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28">
                <a:moveTo>
                  <a:pt x="160" y="64"/>
                </a:moveTo>
                <a:cubicBezTo>
                  <a:pt x="160" y="65"/>
                  <a:pt x="159" y="66"/>
                  <a:pt x="158" y="66"/>
                </a:cubicBezTo>
                <a:cubicBezTo>
                  <a:pt x="8" y="66"/>
                  <a:pt x="8" y="66"/>
                  <a:pt x="8" y="66"/>
                </a:cubicBezTo>
                <a:cubicBezTo>
                  <a:pt x="66" y="124"/>
                  <a:pt x="66" y="124"/>
                  <a:pt x="66" y="124"/>
                </a:cubicBezTo>
                <a:cubicBezTo>
                  <a:pt x="67" y="125"/>
                  <a:pt x="67" y="126"/>
                  <a:pt x="66" y="127"/>
                </a:cubicBezTo>
                <a:cubicBezTo>
                  <a:pt x="65" y="128"/>
                  <a:pt x="65" y="128"/>
                  <a:pt x="64" y="128"/>
                </a:cubicBezTo>
                <a:cubicBezTo>
                  <a:pt x="63" y="128"/>
                  <a:pt x="63" y="128"/>
                  <a:pt x="62" y="127"/>
                </a:cubicBezTo>
                <a:cubicBezTo>
                  <a:pt x="1" y="66"/>
                  <a:pt x="1" y="66"/>
                  <a:pt x="1" y="66"/>
                </a:cubicBezTo>
                <a:cubicBezTo>
                  <a:pt x="0" y="65"/>
                  <a:pt x="0" y="65"/>
                  <a:pt x="0" y="65"/>
                </a:cubicBezTo>
                <a:cubicBezTo>
                  <a:pt x="0" y="65"/>
                  <a:pt x="0" y="65"/>
                  <a:pt x="0" y="64"/>
                </a:cubicBezTo>
                <a:cubicBezTo>
                  <a:pt x="0" y="64"/>
                  <a:pt x="0" y="64"/>
                  <a:pt x="0" y="64"/>
                </a:cubicBezTo>
                <a:cubicBezTo>
                  <a:pt x="0" y="64"/>
                  <a:pt x="0" y="64"/>
                  <a:pt x="0" y="64"/>
                </a:cubicBezTo>
                <a:cubicBezTo>
                  <a:pt x="0" y="64"/>
                  <a:pt x="0" y="64"/>
                  <a:pt x="0" y="64"/>
                </a:cubicBezTo>
                <a:cubicBezTo>
                  <a:pt x="0" y="63"/>
                  <a:pt x="0" y="63"/>
                  <a:pt x="1" y="62"/>
                </a:cubicBezTo>
                <a:cubicBezTo>
                  <a:pt x="62" y="1"/>
                  <a:pt x="62" y="1"/>
                  <a:pt x="62" y="1"/>
                </a:cubicBezTo>
                <a:cubicBezTo>
                  <a:pt x="63" y="0"/>
                  <a:pt x="65" y="0"/>
                  <a:pt x="66" y="1"/>
                </a:cubicBezTo>
                <a:cubicBezTo>
                  <a:pt x="67" y="2"/>
                  <a:pt x="67" y="3"/>
                  <a:pt x="66" y="4"/>
                </a:cubicBezTo>
                <a:cubicBezTo>
                  <a:pt x="8" y="61"/>
                  <a:pt x="8" y="61"/>
                  <a:pt x="8" y="61"/>
                </a:cubicBezTo>
                <a:cubicBezTo>
                  <a:pt x="158" y="61"/>
                  <a:pt x="158" y="61"/>
                  <a:pt x="158" y="61"/>
                </a:cubicBezTo>
                <a:cubicBezTo>
                  <a:pt x="159" y="61"/>
                  <a:pt x="160" y="63"/>
                  <a:pt x="160" y="64"/>
                </a:cubicBezTo>
                <a:close/>
              </a:path>
            </a:pathLst>
          </a:custGeom>
          <a:solidFill>
            <a:srgbClr val="010101">
              <a:alpha val="20000"/>
            </a:srgb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1" name="Freeform 13">
            <a:extLst>
              <a:ext uri="{FF2B5EF4-FFF2-40B4-BE49-F238E27FC236}">
                <a16:creationId xmlns:a16="http://schemas.microsoft.com/office/drawing/2014/main" id="{45506306-FF73-4696-BAFB-A6A7AE49A7B5}"/>
              </a:ext>
            </a:extLst>
          </p:cNvPr>
          <p:cNvSpPr>
            <a:spLocks/>
          </p:cNvSpPr>
          <p:nvPr/>
        </p:nvSpPr>
        <p:spPr bwMode="auto">
          <a:xfrm flipH="1">
            <a:off x="2448251" y="5604361"/>
            <a:ext cx="249237" cy="200694"/>
          </a:xfrm>
          <a:custGeom>
            <a:avLst/>
            <a:gdLst>
              <a:gd name="T0" fmla="*/ 160 w 160"/>
              <a:gd name="T1" fmla="*/ 64 h 128"/>
              <a:gd name="T2" fmla="*/ 158 w 160"/>
              <a:gd name="T3" fmla="*/ 66 h 128"/>
              <a:gd name="T4" fmla="*/ 8 w 160"/>
              <a:gd name="T5" fmla="*/ 66 h 128"/>
              <a:gd name="T6" fmla="*/ 66 w 160"/>
              <a:gd name="T7" fmla="*/ 124 h 128"/>
              <a:gd name="T8" fmla="*/ 66 w 160"/>
              <a:gd name="T9" fmla="*/ 127 h 128"/>
              <a:gd name="T10" fmla="*/ 64 w 160"/>
              <a:gd name="T11" fmla="*/ 128 h 128"/>
              <a:gd name="T12" fmla="*/ 62 w 160"/>
              <a:gd name="T13" fmla="*/ 127 h 128"/>
              <a:gd name="T14" fmla="*/ 1 w 160"/>
              <a:gd name="T15" fmla="*/ 66 h 128"/>
              <a:gd name="T16" fmla="*/ 0 w 160"/>
              <a:gd name="T17" fmla="*/ 65 h 128"/>
              <a:gd name="T18" fmla="*/ 0 w 160"/>
              <a:gd name="T19" fmla="*/ 64 h 128"/>
              <a:gd name="T20" fmla="*/ 0 w 160"/>
              <a:gd name="T21" fmla="*/ 64 h 128"/>
              <a:gd name="T22" fmla="*/ 0 w 160"/>
              <a:gd name="T23" fmla="*/ 64 h 128"/>
              <a:gd name="T24" fmla="*/ 0 w 160"/>
              <a:gd name="T25" fmla="*/ 64 h 128"/>
              <a:gd name="T26" fmla="*/ 1 w 160"/>
              <a:gd name="T27" fmla="*/ 62 h 128"/>
              <a:gd name="T28" fmla="*/ 62 w 160"/>
              <a:gd name="T29" fmla="*/ 1 h 128"/>
              <a:gd name="T30" fmla="*/ 66 w 160"/>
              <a:gd name="T31" fmla="*/ 1 h 128"/>
              <a:gd name="T32" fmla="*/ 66 w 160"/>
              <a:gd name="T33" fmla="*/ 4 h 128"/>
              <a:gd name="T34" fmla="*/ 8 w 160"/>
              <a:gd name="T35" fmla="*/ 61 h 128"/>
              <a:gd name="T36" fmla="*/ 158 w 160"/>
              <a:gd name="T37" fmla="*/ 61 h 128"/>
              <a:gd name="T38" fmla="*/ 160 w 160"/>
              <a:gd name="T3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28">
                <a:moveTo>
                  <a:pt x="160" y="64"/>
                </a:moveTo>
                <a:cubicBezTo>
                  <a:pt x="160" y="65"/>
                  <a:pt x="159" y="66"/>
                  <a:pt x="158" y="66"/>
                </a:cubicBezTo>
                <a:cubicBezTo>
                  <a:pt x="8" y="66"/>
                  <a:pt x="8" y="66"/>
                  <a:pt x="8" y="66"/>
                </a:cubicBezTo>
                <a:cubicBezTo>
                  <a:pt x="66" y="124"/>
                  <a:pt x="66" y="124"/>
                  <a:pt x="66" y="124"/>
                </a:cubicBezTo>
                <a:cubicBezTo>
                  <a:pt x="67" y="125"/>
                  <a:pt x="67" y="126"/>
                  <a:pt x="66" y="127"/>
                </a:cubicBezTo>
                <a:cubicBezTo>
                  <a:pt x="65" y="128"/>
                  <a:pt x="65" y="128"/>
                  <a:pt x="64" y="128"/>
                </a:cubicBezTo>
                <a:cubicBezTo>
                  <a:pt x="63" y="128"/>
                  <a:pt x="63" y="128"/>
                  <a:pt x="62" y="127"/>
                </a:cubicBezTo>
                <a:cubicBezTo>
                  <a:pt x="1" y="66"/>
                  <a:pt x="1" y="66"/>
                  <a:pt x="1" y="66"/>
                </a:cubicBezTo>
                <a:cubicBezTo>
                  <a:pt x="0" y="65"/>
                  <a:pt x="0" y="65"/>
                  <a:pt x="0" y="65"/>
                </a:cubicBezTo>
                <a:cubicBezTo>
                  <a:pt x="0" y="65"/>
                  <a:pt x="0" y="65"/>
                  <a:pt x="0" y="64"/>
                </a:cubicBezTo>
                <a:cubicBezTo>
                  <a:pt x="0" y="64"/>
                  <a:pt x="0" y="64"/>
                  <a:pt x="0" y="64"/>
                </a:cubicBezTo>
                <a:cubicBezTo>
                  <a:pt x="0" y="64"/>
                  <a:pt x="0" y="64"/>
                  <a:pt x="0" y="64"/>
                </a:cubicBezTo>
                <a:cubicBezTo>
                  <a:pt x="0" y="64"/>
                  <a:pt x="0" y="64"/>
                  <a:pt x="0" y="64"/>
                </a:cubicBezTo>
                <a:cubicBezTo>
                  <a:pt x="0" y="63"/>
                  <a:pt x="0" y="63"/>
                  <a:pt x="1" y="62"/>
                </a:cubicBezTo>
                <a:cubicBezTo>
                  <a:pt x="62" y="1"/>
                  <a:pt x="62" y="1"/>
                  <a:pt x="62" y="1"/>
                </a:cubicBezTo>
                <a:cubicBezTo>
                  <a:pt x="63" y="0"/>
                  <a:pt x="65" y="0"/>
                  <a:pt x="66" y="1"/>
                </a:cubicBezTo>
                <a:cubicBezTo>
                  <a:pt x="67" y="2"/>
                  <a:pt x="67" y="3"/>
                  <a:pt x="66" y="4"/>
                </a:cubicBezTo>
                <a:cubicBezTo>
                  <a:pt x="8" y="61"/>
                  <a:pt x="8" y="61"/>
                  <a:pt x="8" y="61"/>
                </a:cubicBezTo>
                <a:cubicBezTo>
                  <a:pt x="158" y="61"/>
                  <a:pt x="158" y="61"/>
                  <a:pt x="158" y="61"/>
                </a:cubicBezTo>
                <a:cubicBezTo>
                  <a:pt x="159" y="61"/>
                  <a:pt x="160" y="63"/>
                  <a:pt x="160" y="64"/>
                </a:cubicBezTo>
                <a:close/>
              </a:path>
            </a:pathLst>
          </a:custGeom>
          <a:solidFill>
            <a:srgbClr val="010101">
              <a:alpha val="20000"/>
            </a:srgb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2" name="Freeform 13">
            <a:extLst>
              <a:ext uri="{FF2B5EF4-FFF2-40B4-BE49-F238E27FC236}">
                <a16:creationId xmlns:a16="http://schemas.microsoft.com/office/drawing/2014/main" id="{45506306-FF73-4696-BAFB-A6A7AE49A7B5}"/>
              </a:ext>
            </a:extLst>
          </p:cNvPr>
          <p:cNvSpPr>
            <a:spLocks/>
          </p:cNvSpPr>
          <p:nvPr/>
        </p:nvSpPr>
        <p:spPr bwMode="auto">
          <a:xfrm flipH="1">
            <a:off x="2836873" y="5604361"/>
            <a:ext cx="249237" cy="200694"/>
          </a:xfrm>
          <a:custGeom>
            <a:avLst/>
            <a:gdLst>
              <a:gd name="T0" fmla="*/ 160 w 160"/>
              <a:gd name="T1" fmla="*/ 64 h 128"/>
              <a:gd name="T2" fmla="*/ 158 w 160"/>
              <a:gd name="T3" fmla="*/ 66 h 128"/>
              <a:gd name="T4" fmla="*/ 8 w 160"/>
              <a:gd name="T5" fmla="*/ 66 h 128"/>
              <a:gd name="T6" fmla="*/ 66 w 160"/>
              <a:gd name="T7" fmla="*/ 124 h 128"/>
              <a:gd name="T8" fmla="*/ 66 w 160"/>
              <a:gd name="T9" fmla="*/ 127 h 128"/>
              <a:gd name="T10" fmla="*/ 64 w 160"/>
              <a:gd name="T11" fmla="*/ 128 h 128"/>
              <a:gd name="T12" fmla="*/ 62 w 160"/>
              <a:gd name="T13" fmla="*/ 127 h 128"/>
              <a:gd name="T14" fmla="*/ 1 w 160"/>
              <a:gd name="T15" fmla="*/ 66 h 128"/>
              <a:gd name="T16" fmla="*/ 0 w 160"/>
              <a:gd name="T17" fmla="*/ 65 h 128"/>
              <a:gd name="T18" fmla="*/ 0 w 160"/>
              <a:gd name="T19" fmla="*/ 64 h 128"/>
              <a:gd name="T20" fmla="*/ 0 w 160"/>
              <a:gd name="T21" fmla="*/ 64 h 128"/>
              <a:gd name="T22" fmla="*/ 0 w 160"/>
              <a:gd name="T23" fmla="*/ 64 h 128"/>
              <a:gd name="T24" fmla="*/ 0 w 160"/>
              <a:gd name="T25" fmla="*/ 64 h 128"/>
              <a:gd name="T26" fmla="*/ 1 w 160"/>
              <a:gd name="T27" fmla="*/ 62 h 128"/>
              <a:gd name="T28" fmla="*/ 62 w 160"/>
              <a:gd name="T29" fmla="*/ 1 h 128"/>
              <a:gd name="T30" fmla="*/ 66 w 160"/>
              <a:gd name="T31" fmla="*/ 1 h 128"/>
              <a:gd name="T32" fmla="*/ 66 w 160"/>
              <a:gd name="T33" fmla="*/ 4 h 128"/>
              <a:gd name="T34" fmla="*/ 8 w 160"/>
              <a:gd name="T35" fmla="*/ 61 h 128"/>
              <a:gd name="T36" fmla="*/ 158 w 160"/>
              <a:gd name="T37" fmla="*/ 61 h 128"/>
              <a:gd name="T38" fmla="*/ 160 w 160"/>
              <a:gd name="T3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28">
                <a:moveTo>
                  <a:pt x="160" y="64"/>
                </a:moveTo>
                <a:cubicBezTo>
                  <a:pt x="160" y="65"/>
                  <a:pt x="159" y="66"/>
                  <a:pt x="158" y="66"/>
                </a:cubicBezTo>
                <a:cubicBezTo>
                  <a:pt x="8" y="66"/>
                  <a:pt x="8" y="66"/>
                  <a:pt x="8" y="66"/>
                </a:cubicBezTo>
                <a:cubicBezTo>
                  <a:pt x="66" y="124"/>
                  <a:pt x="66" y="124"/>
                  <a:pt x="66" y="124"/>
                </a:cubicBezTo>
                <a:cubicBezTo>
                  <a:pt x="67" y="125"/>
                  <a:pt x="67" y="126"/>
                  <a:pt x="66" y="127"/>
                </a:cubicBezTo>
                <a:cubicBezTo>
                  <a:pt x="65" y="128"/>
                  <a:pt x="65" y="128"/>
                  <a:pt x="64" y="128"/>
                </a:cubicBezTo>
                <a:cubicBezTo>
                  <a:pt x="63" y="128"/>
                  <a:pt x="63" y="128"/>
                  <a:pt x="62" y="127"/>
                </a:cubicBezTo>
                <a:cubicBezTo>
                  <a:pt x="1" y="66"/>
                  <a:pt x="1" y="66"/>
                  <a:pt x="1" y="66"/>
                </a:cubicBezTo>
                <a:cubicBezTo>
                  <a:pt x="0" y="65"/>
                  <a:pt x="0" y="65"/>
                  <a:pt x="0" y="65"/>
                </a:cubicBezTo>
                <a:cubicBezTo>
                  <a:pt x="0" y="65"/>
                  <a:pt x="0" y="65"/>
                  <a:pt x="0" y="64"/>
                </a:cubicBezTo>
                <a:cubicBezTo>
                  <a:pt x="0" y="64"/>
                  <a:pt x="0" y="64"/>
                  <a:pt x="0" y="64"/>
                </a:cubicBezTo>
                <a:cubicBezTo>
                  <a:pt x="0" y="64"/>
                  <a:pt x="0" y="64"/>
                  <a:pt x="0" y="64"/>
                </a:cubicBezTo>
                <a:cubicBezTo>
                  <a:pt x="0" y="64"/>
                  <a:pt x="0" y="64"/>
                  <a:pt x="0" y="64"/>
                </a:cubicBezTo>
                <a:cubicBezTo>
                  <a:pt x="0" y="63"/>
                  <a:pt x="0" y="63"/>
                  <a:pt x="1" y="62"/>
                </a:cubicBezTo>
                <a:cubicBezTo>
                  <a:pt x="62" y="1"/>
                  <a:pt x="62" y="1"/>
                  <a:pt x="62" y="1"/>
                </a:cubicBezTo>
                <a:cubicBezTo>
                  <a:pt x="63" y="0"/>
                  <a:pt x="65" y="0"/>
                  <a:pt x="66" y="1"/>
                </a:cubicBezTo>
                <a:cubicBezTo>
                  <a:pt x="67" y="2"/>
                  <a:pt x="67" y="3"/>
                  <a:pt x="66" y="4"/>
                </a:cubicBezTo>
                <a:cubicBezTo>
                  <a:pt x="8" y="61"/>
                  <a:pt x="8" y="61"/>
                  <a:pt x="8" y="61"/>
                </a:cubicBezTo>
                <a:cubicBezTo>
                  <a:pt x="158" y="61"/>
                  <a:pt x="158" y="61"/>
                  <a:pt x="158" y="61"/>
                </a:cubicBezTo>
                <a:cubicBezTo>
                  <a:pt x="159" y="61"/>
                  <a:pt x="160" y="63"/>
                  <a:pt x="160" y="64"/>
                </a:cubicBezTo>
                <a:close/>
              </a:path>
            </a:pathLst>
          </a:custGeom>
          <a:solidFill>
            <a:srgbClr val="010101">
              <a:alpha val="20000"/>
            </a:srgb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3" name="Freeform 13">
            <a:extLst>
              <a:ext uri="{FF2B5EF4-FFF2-40B4-BE49-F238E27FC236}">
                <a16:creationId xmlns:a16="http://schemas.microsoft.com/office/drawing/2014/main" id="{45506306-FF73-4696-BAFB-A6A7AE49A7B5}"/>
              </a:ext>
            </a:extLst>
          </p:cNvPr>
          <p:cNvSpPr>
            <a:spLocks/>
          </p:cNvSpPr>
          <p:nvPr/>
        </p:nvSpPr>
        <p:spPr bwMode="auto">
          <a:xfrm flipH="1">
            <a:off x="3225495" y="5604361"/>
            <a:ext cx="249237" cy="200694"/>
          </a:xfrm>
          <a:custGeom>
            <a:avLst/>
            <a:gdLst>
              <a:gd name="T0" fmla="*/ 160 w 160"/>
              <a:gd name="T1" fmla="*/ 64 h 128"/>
              <a:gd name="T2" fmla="*/ 158 w 160"/>
              <a:gd name="T3" fmla="*/ 66 h 128"/>
              <a:gd name="T4" fmla="*/ 8 w 160"/>
              <a:gd name="T5" fmla="*/ 66 h 128"/>
              <a:gd name="T6" fmla="*/ 66 w 160"/>
              <a:gd name="T7" fmla="*/ 124 h 128"/>
              <a:gd name="T8" fmla="*/ 66 w 160"/>
              <a:gd name="T9" fmla="*/ 127 h 128"/>
              <a:gd name="T10" fmla="*/ 64 w 160"/>
              <a:gd name="T11" fmla="*/ 128 h 128"/>
              <a:gd name="T12" fmla="*/ 62 w 160"/>
              <a:gd name="T13" fmla="*/ 127 h 128"/>
              <a:gd name="T14" fmla="*/ 1 w 160"/>
              <a:gd name="T15" fmla="*/ 66 h 128"/>
              <a:gd name="T16" fmla="*/ 0 w 160"/>
              <a:gd name="T17" fmla="*/ 65 h 128"/>
              <a:gd name="T18" fmla="*/ 0 w 160"/>
              <a:gd name="T19" fmla="*/ 64 h 128"/>
              <a:gd name="T20" fmla="*/ 0 w 160"/>
              <a:gd name="T21" fmla="*/ 64 h 128"/>
              <a:gd name="T22" fmla="*/ 0 w 160"/>
              <a:gd name="T23" fmla="*/ 64 h 128"/>
              <a:gd name="T24" fmla="*/ 0 w 160"/>
              <a:gd name="T25" fmla="*/ 64 h 128"/>
              <a:gd name="T26" fmla="*/ 1 w 160"/>
              <a:gd name="T27" fmla="*/ 62 h 128"/>
              <a:gd name="T28" fmla="*/ 62 w 160"/>
              <a:gd name="T29" fmla="*/ 1 h 128"/>
              <a:gd name="T30" fmla="*/ 66 w 160"/>
              <a:gd name="T31" fmla="*/ 1 h 128"/>
              <a:gd name="T32" fmla="*/ 66 w 160"/>
              <a:gd name="T33" fmla="*/ 4 h 128"/>
              <a:gd name="T34" fmla="*/ 8 w 160"/>
              <a:gd name="T35" fmla="*/ 61 h 128"/>
              <a:gd name="T36" fmla="*/ 158 w 160"/>
              <a:gd name="T37" fmla="*/ 61 h 128"/>
              <a:gd name="T38" fmla="*/ 160 w 160"/>
              <a:gd name="T3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28">
                <a:moveTo>
                  <a:pt x="160" y="64"/>
                </a:moveTo>
                <a:cubicBezTo>
                  <a:pt x="160" y="65"/>
                  <a:pt x="159" y="66"/>
                  <a:pt x="158" y="66"/>
                </a:cubicBezTo>
                <a:cubicBezTo>
                  <a:pt x="8" y="66"/>
                  <a:pt x="8" y="66"/>
                  <a:pt x="8" y="66"/>
                </a:cubicBezTo>
                <a:cubicBezTo>
                  <a:pt x="66" y="124"/>
                  <a:pt x="66" y="124"/>
                  <a:pt x="66" y="124"/>
                </a:cubicBezTo>
                <a:cubicBezTo>
                  <a:pt x="67" y="125"/>
                  <a:pt x="67" y="126"/>
                  <a:pt x="66" y="127"/>
                </a:cubicBezTo>
                <a:cubicBezTo>
                  <a:pt x="65" y="128"/>
                  <a:pt x="65" y="128"/>
                  <a:pt x="64" y="128"/>
                </a:cubicBezTo>
                <a:cubicBezTo>
                  <a:pt x="63" y="128"/>
                  <a:pt x="63" y="128"/>
                  <a:pt x="62" y="127"/>
                </a:cubicBezTo>
                <a:cubicBezTo>
                  <a:pt x="1" y="66"/>
                  <a:pt x="1" y="66"/>
                  <a:pt x="1" y="66"/>
                </a:cubicBezTo>
                <a:cubicBezTo>
                  <a:pt x="0" y="65"/>
                  <a:pt x="0" y="65"/>
                  <a:pt x="0" y="65"/>
                </a:cubicBezTo>
                <a:cubicBezTo>
                  <a:pt x="0" y="65"/>
                  <a:pt x="0" y="65"/>
                  <a:pt x="0" y="64"/>
                </a:cubicBezTo>
                <a:cubicBezTo>
                  <a:pt x="0" y="64"/>
                  <a:pt x="0" y="64"/>
                  <a:pt x="0" y="64"/>
                </a:cubicBezTo>
                <a:cubicBezTo>
                  <a:pt x="0" y="64"/>
                  <a:pt x="0" y="64"/>
                  <a:pt x="0" y="64"/>
                </a:cubicBezTo>
                <a:cubicBezTo>
                  <a:pt x="0" y="64"/>
                  <a:pt x="0" y="64"/>
                  <a:pt x="0" y="64"/>
                </a:cubicBezTo>
                <a:cubicBezTo>
                  <a:pt x="0" y="63"/>
                  <a:pt x="0" y="63"/>
                  <a:pt x="1" y="62"/>
                </a:cubicBezTo>
                <a:cubicBezTo>
                  <a:pt x="62" y="1"/>
                  <a:pt x="62" y="1"/>
                  <a:pt x="62" y="1"/>
                </a:cubicBezTo>
                <a:cubicBezTo>
                  <a:pt x="63" y="0"/>
                  <a:pt x="65" y="0"/>
                  <a:pt x="66" y="1"/>
                </a:cubicBezTo>
                <a:cubicBezTo>
                  <a:pt x="67" y="2"/>
                  <a:pt x="67" y="3"/>
                  <a:pt x="66" y="4"/>
                </a:cubicBezTo>
                <a:cubicBezTo>
                  <a:pt x="8" y="61"/>
                  <a:pt x="8" y="61"/>
                  <a:pt x="8" y="61"/>
                </a:cubicBezTo>
                <a:cubicBezTo>
                  <a:pt x="158" y="61"/>
                  <a:pt x="158" y="61"/>
                  <a:pt x="158" y="61"/>
                </a:cubicBezTo>
                <a:cubicBezTo>
                  <a:pt x="159" y="61"/>
                  <a:pt x="160" y="63"/>
                  <a:pt x="160" y="64"/>
                </a:cubicBezTo>
                <a:close/>
              </a:path>
            </a:pathLst>
          </a:custGeom>
          <a:solidFill>
            <a:srgbClr val="010101">
              <a:alpha val="20000"/>
            </a:srgb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4" name="Freeform 13">
            <a:extLst>
              <a:ext uri="{FF2B5EF4-FFF2-40B4-BE49-F238E27FC236}">
                <a16:creationId xmlns:a16="http://schemas.microsoft.com/office/drawing/2014/main" id="{45506306-FF73-4696-BAFB-A6A7AE49A7B5}"/>
              </a:ext>
            </a:extLst>
          </p:cNvPr>
          <p:cNvSpPr>
            <a:spLocks/>
          </p:cNvSpPr>
          <p:nvPr/>
        </p:nvSpPr>
        <p:spPr bwMode="auto">
          <a:xfrm flipH="1">
            <a:off x="3614117" y="5604361"/>
            <a:ext cx="249237" cy="200694"/>
          </a:xfrm>
          <a:custGeom>
            <a:avLst/>
            <a:gdLst>
              <a:gd name="T0" fmla="*/ 160 w 160"/>
              <a:gd name="T1" fmla="*/ 64 h 128"/>
              <a:gd name="T2" fmla="*/ 158 w 160"/>
              <a:gd name="T3" fmla="*/ 66 h 128"/>
              <a:gd name="T4" fmla="*/ 8 w 160"/>
              <a:gd name="T5" fmla="*/ 66 h 128"/>
              <a:gd name="T6" fmla="*/ 66 w 160"/>
              <a:gd name="T7" fmla="*/ 124 h 128"/>
              <a:gd name="T8" fmla="*/ 66 w 160"/>
              <a:gd name="T9" fmla="*/ 127 h 128"/>
              <a:gd name="T10" fmla="*/ 64 w 160"/>
              <a:gd name="T11" fmla="*/ 128 h 128"/>
              <a:gd name="T12" fmla="*/ 62 w 160"/>
              <a:gd name="T13" fmla="*/ 127 h 128"/>
              <a:gd name="T14" fmla="*/ 1 w 160"/>
              <a:gd name="T15" fmla="*/ 66 h 128"/>
              <a:gd name="T16" fmla="*/ 0 w 160"/>
              <a:gd name="T17" fmla="*/ 65 h 128"/>
              <a:gd name="T18" fmla="*/ 0 w 160"/>
              <a:gd name="T19" fmla="*/ 64 h 128"/>
              <a:gd name="T20" fmla="*/ 0 w 160"/>
              <a:gd name="T21" fmla="*/ 64 h 128"/>
              <a:gd name="T22" fmla="*/ 0 w 160"/>
              <a:gd name="T23" fmla="*/ 64 h 128"/>
              <a:gd name="T24" fmla="*/ 0 w 160"/>
              <a:gd name="T25" fmla="*/ 64 h 128"/>
              <a:gd name="T26" fmla="*/ 1 w 160"/>
              <a:gd name="T27" fmla="*/ 62 h 128"/>
              <a:gd name="T28" fmla="*/ 62 w 160"/>
              <a:gd name="T29" fmla="*/ 1 h 128"/>
              <a:gd name="T30" fmla="*/ 66 w 160"/>
              <a:gd name="T31" fmla="*/ 1 h 128"/>
              <a:gd name="T32" fmla="*/ 66 w 160"/>
              <a:gd name="T33" fmla="*/ 4 h 128"/>
              <a:gd name="T34" fmla="*/ 8 w 160"/>
              <a:gd name="T35" fmla="*/ 61 h 128"/>
              <a:gd name="T36" fmla="*/ 158 w 160"/>
              <a:gd name="T37" fmla="*/ 61 h 128"/>
              <a:gd name="T38" fmla="*/ 160 w 160"/>
              <a:gd name="T3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28">
                <a:moveTo>
                  <a:pt x="160" y="64"/>
                </a:moveTo>
                <a:cubicBezTo>
                  <a:pt x="160" y="65"/>
                  <a:pt x="159" y="66"/>
                  <a:pt x="158" y="66"/>
                </a:cubicBezTo>
                <a:cubicBezTo>
                  <a:pt x="8" y="66"/>
                  <a:pt x="8" y="66"/>
                  <a:pt x="8" y="66"/>
                </a:cubicBezTo>
                <a:cubicBezTo>
                  <a:pt x="66" y="124"/>
                  <a:pt x="66" y="124"/>
                  <a:pt x="66" y="124"/>
                </a:cubicBezTo>
                <a:cubicBezTo>
                  <a:pt x="67" y="125"/>
                  <a:pt x="67" y="126"/>
                  <a:pt x="66" y="127"/>
                </a:cubicBezTo>
                <a:cubicBezTo>
                  <a:pt x="65" y="128"/>
                  <a:pt x="65" y="128"/>
                  <a:pt x="64" y="128"/>
                </a:cubicBezTo>
                <a:cubicBezTo>
                  <a:pt x="63" y="128"/>
                  <a:pt x="63" y="128"/>
                  <a:pt x="62" y="127"/>
                </a:cubicBezTo>
                <a:cubicBezTo>
                  <a:pt x="1" y="66"/>
                  <a:pt x="1" y="66"/>
                  <a:pt x="1" y="66"/>
                </a:cubicBezTo>
                <a:cubicBezTo>
                  <a:pt x="0" y="65"/>
                  <a:pt x="0" y="65"/>
                  <a:pt x="0" y="65"/>
                </a:cubicBezTo>
                <a:cubicBezTo>
                  <a:pt x="0" y="65"/>
                  <a:pt x="0" y="65"/>
                  <a:pt x="0" y="64"/>
                </a:cubicBezTo>
                <a:cubicBezTo>
                  <a:pt x="0" y="64"/>
                  <a:pt x="0" y="64"/>
                  <a:pt x="0" y="64"/>
                </a:cubicBezTo>
                <a:cubicBezTo>
                  <a:pt x="0" y="64"/>
                  <a:pt x="0" y="64"/>
                  <a:pt x="0" y="64"/>
                </a:cubicBezTo>
                <a:cubicBezTo>
                  <a:pt x="0" y="64"/>
                  <a:pt x="0" y="64"/>
                  <a:pt x="0" y="64"/>
                </a:cubicBezTo>
                <a:cubicBezTo>
                  <a:pt x="0" y="63"/>
                  <a:pt x="0" y="63"/>
                  <a:pt x="1" y="62"/>
                </a:cubicBezTo>
                <a:cubicBezTo>
                  <a:pt x="62" y="1"/>
                  <a:pt x="62" y="1"/>
                  <a:pt x="62" y="1"/>
                </a:cubicBezTo>
                <a:cubicBezTo>
                  <a:pt x="63" y="0"/>
                  <a:pt x="65" y="0"/>
                  <a:pt x="66" y="1"/>
                </a:cubicBezTo>
                <a:cubicBezTo>
                  <a:pt x="67" y="2"/>
                  <a:pt x="67" y="3"/>
                  <a:pt x="66" y="4"/>
                </a:cubicBezTo>
                <a:cubicBezTo>
                  <a:pt x="8" y="61"/>
                  <a:pt x="8" y="61"/>
                  <a:pt x="8" y="61"/>
                </a:cubicBezTo>
                <a:cubicBezTo>
                  <a:pt x="158" y="61"/>
                  <a:pt x="158" y="61"/>
                  <a:pt x="158" y="61"/>
                </a:cubicBezTo>
                <a:cubicBezTo>
                  <a:pt x="159" y="61"/>
                  <a:pt x="160" y="63"/>
                  <a:pt x="160" y="64"/>
                </a:cubicBezTo>
                <a:close/>
              </a:path>
            </a:pathLst>
          </a:custGeom>
          <a:solidFill>
            <a:srgbClr val="010101">
              <a:alpha val="20000"/>
            </a:srgb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5" name="Freeform 14">
            <a:extLst>
              <a:ext uri="{FF2B5EF4-FFF2-40B4-BE49-F238E27FC236}">
                <a16:creationId xmlns:a16="http://schemas.microsoft.com/office/drawing/2014/main" id="{45506306-FF73-4696-BAFB-A6A7AE49A7B5}"/>
              </a:ext>
            </a:extLst>
          </p:cNvPr>
          <p:cNvSpPr>
            <a:spLocks/>
          </p:cNvSpPr>
          <p:nvPr/>
        </p:nvSpPr>
        <p:spPr bwMode="auto">
          <a:xfrm flipH="1">
            <a:off x="4002737" y="5604361"/>
            <a:ext cx="249237" cy="200694"/>
          </a:xfrm>
          <a:custGeom>
            <a:avLst/>
            <a:gdLst>
              <a:gd name="T0" fmla="*/ 160 w 160"/>
              <a:gd name="T1" fmla="*/ 64 h 128"/>
              <a:gd name="T2" fmla="*/ 158 w 160"/>
              <a:gd name="T3" fmla="*/ 66 h 128"/>
              <a:gd name="T4" fmla="*/ 8 w 160"/>
              <a:gd name="T5" fmla="*/ 66 h 128"/>
              <a:gd name="T6" fmla="*/ 66 w 160"/>
              <a:gd name="T7" fmla="*/ 124 h 128"/>
              <a:gd name="T8" fmla="*/ 66 w 160"/>
              <a:gd name="T9" fmla="*/ 127 h 128"/>
              <a:gd name="T10" fmla="*/ 64 w 160"/>
              <a:gd name="T11" fmla="*/ 128 h 128"/>
              <a:gd name="T12" fmla="*/ 62 w 160"/>
              <a:gd name="T13" fmla="*/ 127 h 128"/>
              <a:gd name="T14" fmla="*/ 1 w 160"/>
              <a:gd name="T15" fmla="*/ 66 h 128"/>
              <a:gd name="T16" fmla="*/ 0 w 160"/>
              <a:gd name="T17" fmla="*/ 65 h 128"/>
              <a:gd name="T18" fmla="*/ 0 w 160"/>
              <a:gd name="T19" fmla="*/ 64 h 128"/>
              <a:gd name="T20" fmla="*/ 0 w 160"/>
              <a:gd name="T21" fmla="*/ 64 h 128"/>
              <a:gd name="T22" fmla="*/ 0 w 160"/>
              <a:gd name="T23" fmla="*/ 64 h 128"/>
              <a:gd name="T24" fmla="*/ 0 w 160"/>
              <a:gd name="T25" fmla="*/ 64 h 128"/>
              <a:gd name="T26" fmla="*/ 1 w 160"/>
              <a:gd name="T27" fmla="*/ 62 h 128"/>
              <a:gd name="T28" fmla="*/ 62 w 160"/>
              <a:gd name="T29" fmla="*/ 1 h 128"/>
              <a:gd name="T30" fmla="*/ 66 w 160"/>
              <a:gd name="T31" fmla="*/ 1 h 128"/>
              <a:gd name="T32" fmla="*/ 66 w 160"/>
              <a:gd name="T33" fmla="*/ 4 h 128"/>
              <a:gd name="T34" fmla="*/ 8 w 160"/>
              <a:gd name="T35" fmla="*/ 61 h 128"/>
              <a:gd name="T36" fmla="*/ 158 w 160"/>
              <a:gd name="T37" fmla="*/ 61 h 128"/>
              <a:gd name="T38" fmla="*/ 160 w 160"/>
              <a:gd name="T3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28">
                <a:moveTo>
                  <a:pt x="160" y="64"/>
                </a:moveTo>
                <a:cubicBezTo>
                  <a:pt x="160" y="65"/>
                  <a:pt x="159" y="66"/>
                  <a:pt x="158" y="66"/>
                </a:cubicBezTo>
                <a:cubicBezTo>
                  <a:pt x="8" y="66"/>
                  <a:pt x="8" y="66"/>
                  <a:pt x="8" y="66"/>
                </a:cubicBezTo>
                <a:cubicBezTo>
                  <a:pt x="66" y="124"/>
                  <a:pt x="66" y="124"/>
                  <a:pt x="66" y="124"/>
                </a:cubicBezTo>
                <a:cubicBezTo>
                  <a:pt x="67" y="125"/>
                  <a:pt x="67" y="126"/>
                  <a:pt x="66" y="127"/>
                </a:cubicBezTo>
                <a:cubicBezTo>
                  <a:pt x="65" y="128"/>
                  <a:pt x="65" y="128"/>
                  <a:pt x="64" y="128"/>
                </a:cubicBezTo>
                <a:cubicBezTo>
                  <a:pt x="63" y="128"/>
                  <a:pt x="63" y="128"/>
                  <a:pt x="62" y="127"/>
                </a:cubicBezTo>
                <a:cubicBezTo>
                  <a:pt x="1" y="66"/>
                  <a:pt x="1" y="66"/>
                  <a:pt x="1" y="66"/>
                </a:cubicBezTo>
                <a:cubicBezTo>
                  <a:pt x="0" y="65"/>
                  <a:pt x="0" y="65"/>
                  <a:pt x="0" y="65"/>
                </a:cubicBezTo>
                <a:cubicBezTo>
                  <a:pt x="0" y="65"/>
                  <a:pt x="0" y="65"/>
                  <a:pt x="0" y="64"/>
                </a:cubicBezTo>
                <a:cubicBezTo>
                  <a:pt x="0" y="64"/>
                  <a:pt x="0" y="64"/>
                  <a:pt x="0" y="64"/>
                </a:cubicBezTo>
                <a:cubicBezTo>
                  <a:pt x="0" y="64"/>
                  <a:pt x="0" y="64"/>
                  <a:pt x="0" y="64"/>
                </a:cubicBezTo>
                <a:cubicBezTo>
                  <a:pt x="0" y="64"/>
                  <a:pt x="0" y="64"/>
                  <a:pt x="0" y="64"/>
                </a:cubicBezTo>
                <a:cubicBezTo>
                  <a:pt x="0" y="63"/>
                  <a:pt x="0" y="63"/>
                  <a:pt x="1" y="62"/>
                </a:cubicBezTo>
                <a:cubicBezTo>
                  <a:pt x="62" y="1"/>
                  <a:pt x="62" y="1"/>
                  <a:pt x="62" y="1"/>
                </a:cubicBezTo>
                <a:cubicBezTo>
                  <a:pt x="63" y="0"/>
                  <a:pt x="65" y="0"/>
                  <a:pt x="66" y="1"/>
                </a:cubicBezTo>
                <a:cubicBezTo>
                  <a:pt x="67" y="2"/>
                  <a:pt x="67" y="3"/>
                  <a:pt x="66" y="4"/>
                </a:cubicBezTo>
                <a:cubicBezTo>
                  <a:pt x="8" y="61"/>
                  <a:pt x="8" y="61"/>
                  <a:pt x="8" y="61"/>
                </a:cubicBezTo>
                <a:cubicBezTo>
                  <a:pt x="158" y="61"/>
                  <a:pt x="158" y="61"/>
                  <a:pt x="158" y="61"/>
                </a:cubicBezTo>
                <a:cubicBezTo>
                  <a:pt x="159" y="61"/>
                  <a:pt x="160" y="63"/>
                  <a:pt x="160" y="64"/>
                </a:cubicBezTo>
                <a:close/>
              </a:path>
            </a:pathLst>
          </a:custGeom>
          <a:solidFill>
            <a:srgbClr val="010101">
              <a:alpha val="20000"/>
            </a:srgb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 name="Picture Placeholder 1"/>
          <p:cNvSpPr>
            <a:spLocks noGrp="1"/>
          </p:cNvSpPr>
          <p:nvPr>
            <p:ph type="pic" sz="quarter" idx="12"/>
          </p:nvPr>
        </p:nvSpPr>
        <p:spPr/>
        <p:txBody>
          <a:bodyPr/>
          <a:lstStyle/>
          <a:p>
            <a:endParaRPr lang="en-CA"/>
          </a:p>
        </p:txBody>
      </p:sp>
      <p:sp>
        <p:nvSpPr>
          <p:cNvPr id="3" name="Picture Placeholder 2"/>
          <p:cNvSpPr>
            <a:spLocks noGrp="1"/>
          </p:cNvSpPr>
          <p:nvPr>
            <p:ph type="pic" sz="quarter" idx="14"/>
          </p:nvPr>
        </p:nvSpPr>
        <p:spPr/>
        <p:txBody>
          <a:bodyPr/>
          <a:lstStyle/>
          <a:p>
            <a:endParaRPr lang="en-CA"/>
          </a:p>
        </p:txBody>
      </p:sp>
      <p:sp>
        <p:nvSpPr>
          <p:cNvPr id="16" name="Text Placeholder 6">
            <a:extLst>
              <a:ext uri="{FF2B5EF4-FFF2-40B4-BE49-F238E27FC236}">
                <a16:creationId xmlns:a16="http://schemas.microsoft.com/office/drawing/2014/main" id="{FD1BEA06-4762-DC4F-B738-3787B43C815E}"/>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652009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CO App</a:t>
            </a:r>
            <a:br>
              <a:rPr lang="en-US" dirty="0"/>
            </a:br>
            <a:r>
              <a:rPr lang="en-US" dirty="0"/>
              <a:t>Screen</a:t>
            </a:r>
          </a:p>
        </p:txBody>
      </p:sp>
      <p:sp>
        <p:nvSpPr>
          <p:cNvPr id="3" name="Picture Placeholder 2"/>
          <p:cNvSpPr>
            <a:spLocks noGrp="1"/>
          </p:cNvSpPr>
          <p:nvPr>
            <p:ph type="pic" sz="quarter" idx="18"/>
          </p:nvPr>
        </p:nvSpPr>
        <p:spPr/>
        <p:txBody>
          <a:bodyPr/>
          <a:lstStyle/>
          <a:p>
            <a:endParaRPr lang="en-CA"/>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6173" y="358815"/>
            <a:ext cx="3481842" cy="6140371"/>
          </a:xfrm>
          <a:prstGeom prst="rect">
            <a:avLst/>
          </a:prstGeom>
        </p:spPr>
      </p:pic>
      <p:sp>
        <p:nvSpPr>
          <p:cNvPr id="7" name="TextBox 6"/>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6" name="Text Placeholder 6">
            <a:extLst>
              <a:ext uri="{FF2B5EF4-FFF2-40B4-BE49-F238E27FC236}">
                <a16:creationId xmlns:a16="http://schemas.microsoft.com/office/drawing/2014/main" id="{010716FA-9D6A-1245-A412-A40E0A423DF9}"/>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0574010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CO App</a:t>
            </a:r>
            <a:br>
              <a:rPr lang="en-US" dirty="0"/>
            </a:br>
            <a:r>
              <a:rPr lang="en-US" dirty="0"/>
              <a:t>Two</a:t>
            </a:r>
            <a:br>
              <a:rPr lang="en-US" dirty="0"/>
            </a:br>
            <a:r>
              <a:rPr lang="en-US" dirty="0"/>
              <a:t>Screen</a:t>
            </a:r>
          </a:p>
        </p:txBody>
      </p:sp>
      <p:sp>
        <p:nvSpPr>
          <p:cNvPr id="4" name="Picture Placeholder 3"/>
          <p:cNvSpPr>
            <a:spLocks noGrp="1"/>
          </p:cNvSpPr>
          <p:nvPr>
            <p:ph type="pic" sz="quarter" idx="18"/>
          </p:nvPr>
        </p:nvSpPr>
        <p:spPr/>
        <p:txBody>
          <a:bodyPr/>
          <a:lstStyle/>
          <a:p>
            <a:endParaRPr lang="en-CA"/>
          </a:p>
        </p:txBody>
      </p:sp>
      <p:sp>
        <p:nvSpPr>
          <p:cNvPr id="3" name="Picture Placeholder 2"/>
          <p:cNvSpPr>
            <a:spLocks noGrp="1"/>
          </p:cNvSpPr>
          <p:nvPr>
            <p:ph type="pic" sz="quarter" idx="19"/>
          </p:nvPr>
        </p:nvSpPr>
        <p:spPr/>
        <p:txBody>
          <a:bodyPr/>
          <a:lstStyle/>
          <a:p>
            <a:endParaRPr lang="en-CA"/>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9873" y="358814"/>
            <a:ext cx="3481842" cy="6140371"/>
          </a:xfrm>
          <a:prstGeom prst="rect">
            <a:avLst/>
          </a:prstGeom>
        </p:spPr>
      </p:pic>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2373" y="358814"/>
            <a:ext cx="3481842" cy="6140371"/>
          </a:xfrm>
          <a:prstGeom prst="rect">
            <a:avLst/>
          </a:prstGeom>
        </p:spPr>
      </p:pic>
      <p:sp>
        <p:nvSpPr>
          <p:cNvPr id="9" name="TextBox 8"/>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0" name="Text Placeholder 6">
            <a:extLst>
              <a:ext uri="{FF2B5EF4-FFF2-40B4-BE49-F238E27FC236}">
                <a16:creationId xmlns:a16="http://schemas.microsoft.com/office/drawing/2014/main" id="{EF3FCE89-448F-A54D-9566-AFD75AC53BCA}"/>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8953628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p:cNvSpPr>
            <a:spLocks noGrp="1"/>
          </p:cNvSpPr>
          <p:nvPr>
            <p:ph type="pic" sz="quarter" idx="19"/>
          </p:nvPr>
        </p:nvSpPr>
        <p:spPr/>
        <p:txBody>
          <a:bodyPr/>
          <a:lstStyle/>
          <a:p>
            <a:endParaRPr lang="en-CA"/>
          </a:p>
        </p:txBody>
      </p:sp>
      <p:sp>
        <p:nvSpPr>
          <p:cNvPr id="3" name="Picture Placeholder 2"/>
          <p:cNvSpPr>
            <a:spLocks noGrp="1"/>
          </p:cNvSpPr>
          <p:nvPr>
            <p:ph type="pic" sz="quarter" idx="20"/>
          </p:nvPr>
        </p:nvSpPr>
        <p:spPr/>
        <p:txBody>
          <a:bodyPr/>
          <a:lstStyle/>
          <a:p>
            <a:endParaRPr lang="en-CA"/>
          </a:p>
        </p:txBody>
      </p:sp>
      <p:sp>
        <p:nvSpPr>
          <p:cNvPr id="2" name="Picture Placeholder 1"/>
          <p:cNvSpPr>
            <a:spLocks noGrp="1"/>
          </p:cNvSpPr>
          <p:nvPr>
            <p:ph type="pic" sz="quarter" idx="21"/>
          </p:nvPr>
        </p:nvSpPr>
        <p:spPr/>
        <p:txBody>
          <a:bodyPr/>
          <a:lstStyle/>
          <a:p>
            <a:endParaRPr lang="en-CA"/>
          </a:p>
        </p:txBody>
      </p:sp>
      <p:sp>
        <p:nvSpPr>
          <p:cNvPr id="5" name="Picture Placeholder 4"/>
          <p:cNvSpPr>
            <a:spLocks noGrp="1"/>
          </p:cNvSpPr>
          <p:nvPr>
            <p:ph type="pic" sz="quarter" idx="22"/>
          </p:nvPr>
        </p:nvSpPr>
        <p:spPr/>
        <p:txBody>
          <a:bodyPr/>
          <a:lstStyle/>
          <a:p>
            <a:endParaRPr lang="en-CA"/>
          </a:p>
        </p:txBody>
      </p:sp>
      <p:sp>
        <p:nvSpPr>
          <p:cNvPr id="6" name="Picture Placeholder 5"/>
          <p:cNvSpPr>
            <a:spLocks noGrp="1"/>
          </p:cNvSpPr>
          <p:nvPr>
            <p:ph type="pic" sz="quarter" idx="23"/>
          </p:nvPr>
        </p:nvSpPr>
        <p:spPr/>
        <p:txBody>
          <a:bodyPr/>
          <a:lstStyle/>
          <a:p>
            <a:endParaRPr lang="en-CA"/>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1601" y="849138"/>
            <a:ext cx="2669361" cy="5312124"/>
          </a:xfrm>
          <a:prstGeom prst="rect">
            <a:avLst/>
          </a:prstGeom>
        </p:spPr>
      </p:pic>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92857" y="849138"/>
            <a:ext cx="2669361" cy="5312124"/>
          </a:xfrm>
          <a:prstGeom prst="rect">
            <a:avLst/>
          </a:prstGeom>
        </p:spPr>
      </p:pic>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5887" y="849138"/>
            <a:ext cx="2669361" cy="5312124"/>
          </a:xfrm>
          <a:prstGeom prst="rect">
            <a:avLst/>
          </a:prstGeom>
        </p:spPr>
      </p:pic>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82989" y="849138"/>
            <a:ext cx="2669361" cy="5312124"/>
          </a:xfrm>
          <a:prstGeom prst="rect">
            <a:avLst/>
          </a:prstGeom>
        </p:spPr>
      </p:pic>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75389" y="849138"/>
            <a:ext cx="2669361" cy="5312124"/>
          </a:xfrm>
          <a:prstGeom prst="rect">
            <a:avLst/>
          </a:prstGeom>
        </p:spPr>
      </p:pic>
      <p:sp>
        <p:nvSpPr>
          <p:cNvPr id="12" name="Text Placeholder 6">
            <a:extLst>
              <a:ext uri="{FF2B5EF4-FFF2-40B4-BE49-F238E27FC236}">
                <a16:creationId xmlns:a16="http://schemas.microsoft.com/office/drawing/2014/main" id="{2C4A7FAA-2085-1947-A45D-23FE6C09B1C1}"/>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867083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p:cNvSpPr>
            <a:spLocks noGrp="1"/>
          </p:cNvSpPr>
          <p:nvPr>
            <p:ph type="pic" sz="quarter" idx="20"/>
          </p:nvPr>
        </p:nvSpPr>
        <p:spPr/>
        <p:txBody>
          <a:bodyPr/>
          <a:lstStyle/>
          <a:p>
            <a:endParaRPr lang="en-CA"/>
          </a:p>
        </p:txBody>
      </p:sp>
      <p:sp>
        <p:nvSpPr>
          <p:cNvPr id="2" name="Picture Placeholder 1"/>
          <p:cNvSpPr>
            <a:spLocks noGrp="1"/>
          </p:cNvSpPr>
          <p:nvPr>
            <p:ph type="pic" sz="quarter" idx="21"/>
          </p:nvPr>
        </p:nvSpPr>
        <p:spPr/>
        <p:txBody>
          <a:bodyPr/>
          <a:lstStyle/>
          <a:p>
            <a:endParaRPr lang="en-CA"/>
          </a:p>
        </p:txBody>
      </p:sp>
      <p:sp>
        <p:nvSpPr>
          <p:cNvPr id="4" name="Picture Placeholder 3"/>
          <p:cNvSpPr>
            <a:spLocks noGrp="1"/>
          </p:cNvSpPr>
          <p:nvPr>
            <p:ph type="pic" sz="quarter" idx="22"/>
          </p:nvPr>
        </p:nvSpPr>
        <p:spPr/>
        <p:txBody>
          <a:bodyPr/>
          <a:lstStyle/>
          <a:p>
            <a:endParaRPr lang="en-CA"/>
          </a:p>
        </p:txBody>
      </p:sp>
      <p:sp>
        <p:nvSpPr>
          <p:cNvPr id="3" name="Picture Placeholder 2"/>
          <p:cNvSpPr>
            <a:spLocks noGrp="1"/>
          </p:cNvSpPr>
          <p:nvPr>
            <p:ph type="pic" sz="quarter" idx="23"/>
          </p:nvPr>
        </p:nvSpPr>
        <p:spPr/>
        <p:txBody>
          <a:bodyPr/>
          <a:lstStyle/>
          <a:p>
            <a:endParaRPr lang="en-CA"/>
          </a:p>
        </p:txBody>
      </p:sp>
      <p:sp>
        <p:nvSpPr>
          <p:cNvPr id="6" name="Title 5"/>
          <p:cNvSpPr>
            <a:spLocks noGrp="1"/>
          </p:cNvSpPr>
          <p:nvPr>
            <p:ph type="title"/>
          </p:nvPr>
        </p:nvSpPr>
        <p:spPr/>
        <p:txBody>
          <a:bodyPr/>
          <a:lstStyle/>
          <a:p>
            <a:r>
              <a:rPr lang="en-US" dirty="0"/>
              <a:t>Devices</a:t>
            </a:r>
            <a:br>
              <a:rPr lang="en-US" dirty="0"/>
            </a:br>
            <a:r>
              <a:rPr lang="en-US" dirty="0"/>
              <a:t>Screen</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06557" y="2616200"/>
            <a:ext cx="3283847" cy="5791199"/>
          </a:xfrm>
          <a:prstGeom prst="rect">
            <a:avLst/>
          </a:prstGeom>
        </p:spPr>
      </p:pic>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06557" y="-2908300"/>
            <a:ext cx="3283847" cy="5791199"/>
          </a:xfrm>
          <a:prstGeom prst="rect">
            <a:avLst/>
          </a:prstGeom>
        </p:spPr>
      </p:pic>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1035" y="-1663700"/>
            <a:ext cx="3283847" cy="5791199"/>
          </a:xfrm>
          <a:prstGeom prst="rect">
            <a:avLst/>
          </a:prstGeom>
        </p:spPr>
      </p:pic>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1035" y="3869977"/>
            <a:ext cx="3283847" cy="5791199"/>
          </a:xfrm>
          <a:prstGeom prst="rect">
            <a:avLst/>
          </a:prstGeom>
        </p:spPr>
      </p:pic>
      <p:sp>
        <p:nvSpPr>
          <p:cNvPr id="15" name="TextBox 14"/>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6" name="Text Placeholder 6">
            <a:extLst>
              <a:ext uri="{FF2B5EF4-FFF2-40B4-BE49-F238E27FC236}">
                <a16:creationId xmlns:a16="http://schemas.microsoft.com/office/drawing/2014/main" id="{DBEEF038-F1AC-A449-85F1-DEE2E12CEAC0}"/>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16599531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4"/>
          </p:nvPr>
        </p:nvSpPr>
        <p:spPr/>
        <p:txBody>
          <a:bodyPr/>
          <a:lstStyle/>
          <a:p>
            <a:endParaRPr lang="en-CA"/>
          </a:p>
        </p:txBody>
      </p:sp>
      <p:sp>
        <p:nvSpPr>
          <p:cNvPr id="3" name="Title 2"/>
          <p:cNvSpPr>
            <a:spLocks noGrp="1"/>
          </p:cNvSpPr>
          <p:nvPr>
            <p:ph type="title"/>
          </p:nvPr>
        </p:nvSpPr>
        <p:spPr/>
        <p:txBody>
          <a:bodyPr/>
          <a:lstStyle/>
          <a:p>
            <a:r>
              <a:rPr lang="en-US" dirty="0"/>
              <a:t>App Screen</a:t>
            </a:r>
          </a:p>
        </p:txBody>
      </p:sp>
      <p:sp>
        <p:nvSpPr>
          <p:cNvPr id="4" name="Rectangle 3"/>
          <p:cNvSpPr/>
          <p:nvPr/>
        </p:nvSpPr>
        <p:spPr>
          <a:xfrm>
            <a:off x="1" y="3862600"/>
            <a:ext cx="12191999" cy="29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6" name="TextBox 5"/>
          <p:cNvSpPr txBox="1"/>
          <p:nvPr/>
        </p:nvSpPr>
        <p:spPr>
          <a:xfrm>
            <a:off x="5599316" y="2504080"/>
            <a:ext cx="5351362" cy="747897"/>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 from the grander poets. </a:t>
            </a:r>
          </a:p>
        </p:txBody>
      </p:sp>
      <p:sp>
        <p:nvSpPr>
          <p:cNvPr id="7" name="TextBox 6"/>
          <p:cNvSpPr txBox="1"/>
          <p:nvPr/>
        </p:nvSpPr>
        <p:spPr>
          <a:xfrm>
            <a:off x="1866899" y="4254262"/>
            <a:ext cx="1799723" cy="338554"/>
          </a:xfrm>
          <a:prstGeom prst="rect">
            <a:avLst/>
          </a:prstGeom>
          <a:noFill/>
        </p:spPr>
        <p:txBody>
          <a:bodyPr wrap="none" lIns="0" rIns="0" rtlCol="0">
            <a:spAutoFit/>
          </a:bodyPr>
          <a:lstStyle/>
          <a:p>
            <a:r>
              <a:rPr lang="en-US" sz="1600" dirty="0">
                <a:solidFill>
                  <a:schemeClr val="bg1"/>
                </a:solidFill>
                <a:latin typeface="RBC Display" panose="02000000000000000000" pitchFamily="2" charset="77"/>
              </a:rPr>
              <a:t>Give an application</a:t>
            </a:r>
          </a:p>
        </p:txBody>
      </p:sp>
      <p:sp>
        <p:nvSpPr>
          <p:cNvPr id="8" name="TextBox 7"/>
          <p:cNvSpPr txBox="1"/>
          <p:nvPr/>
        </p:nvSpPr>
        <p:spPr>
          <a:xfrm>
            <a:off x="1866899" y="4592816"/>
            <a:ext cx="1990481"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How to work with the fund?</a:t>
            </a:r>
          </a:p>
        </p:txBody>
      </p:sp>
      <p:sp>
        <p:nvSpPr>
          <p:cNvPr id="9" name="Freeform 39"/>
          <p:cNvSpPr>
            <a:spLocks noEditPoints="1"/>
          </p:cNvSpPr>
          <p:nvPr/>
        </p:nvSpPr>
        <p:spPr bwMode="auto">
          <a:xfrm>
            <a:off x="1020748" y="4329806"/>
            <a:ext cx="495930" cy="456570"/>
          </a:xfrm>
          <a:custGeom>
            <a:avLst/>
            <a:gdLst>
              <a:gd name="T0" fmla="*/ 137 w 160"/>
              <a:gd name="T1" fmla="*/ 140 h 146"/>
              <a:gd name="T2" fmla="*/ 86 w 160"/>
              <a:gd name="T3" fmla="*/ 140 h 146"/>
              <a:gd name="T4" fmla="*/ 34 w 160"/>
              <a:gd name="T5" fmla="*/ 140 h 146"/>
              <a:gd name="T6" fmla="*/ 9 w 160"/>
              <a:gd name="T7" fmla="*/ 23 h 146"/>
              <a:gd name="T8" fmla="*/ 146 w 160"/>
              <a:gd name="T9" fmla="*/ 14 h 146"/>
              <a:gd name="T10" fmla="*/ 26 w 160"/>
              <a:gd name="T11" fmla="*/ 6 h 146"/>
              <a:gd name="T12" fmla="*/ 131 w 160"/>
              <a:gd name="T13" fmla="*/ 66 h 146"/>
              <a:gd name="T14" fmla="*/ 143 w 160"/>
              <a:gd name="T15" fmla="*/ 71 h 146"/>
              <a:gd name="T16" fmla="*/ 149 w 160"/>
              <a:gd name="T17" fmla="*/ 60 h 146"/>
              <a:gd name="T18" fmla="*/ 131 w 160"/>
              <a:gd name="T19" fmla="*/ 77 h 146"/>
              <a:gd name="T20" fmla="*/ 137 w 160"/>
              <a:gd name="T21" fmla="*/ 89 h 146"/>
              <a:gd name="T22" fmla="*/ 149 w 160"/>
              <a:gd name="T23" fmla="*/ 83 h 146"/>
              <a:gd name="T24" fmla="*/ 134 w 160"/>
              <a:gd name="T25" fmla="*/ 114 h 146"/>
              <a:gd name="T26" fmla="*/ 140 w 160"/>
              <a:gd name="T27" fmla="*/ 120 h 146"/>
              <a:gd name="T28" fmla="*/ 149 w 160"/>
              <a:gd name="T29" fmla="*/ 111 h 146"/>
              <a:gd name="T30" fmla="*/ 77 w 160"/>
              <a:gd name="T31" fmla="*/ 46 h 146"/>
              <a:gd name="T32" fmla="*/ 89 w 160"/>
              <a:gd name="T33" fmla="*/ 57 h 146"/>
              <a:gd name="T34" fmla="*/ 100 w 160"/>
              <a:gd name="T35" fmla="*/ 46 h 146"/>
              <a:gd name="T36" fmla="*/ 97 w 160"/>
              <a:gd name="T37" fmla="*/ 60 h 146"/>
              <a:gd name="T38" fmla="*/ 114 w 160"/>
              <a:gd name="T39" fmla="*/ 60 h 146"/>
              <a:gd name="T40" fmla="*/ 120 w 160"/>
              <a:gd name="T41" fmla="*/ 54 h 146"/>
              <a:gd name="T42" fmla="*/ 123 w 160"/>
              <a:gd name="T43" fmla="*/ 74 h 146"/>
              <a:gd name="T44" fmla="*/ 83 w 160"/>
              <a:gd name="T45" fmla="*/ 97 h 146"/>
              <a:gd name="T46" fmla="*/ 89 w 160"/>
              <a:gd name="T47" fmla="*/ 103 h 146"/>
              <a:gd name="T48" fmla="*/ 97 w 160"/>
              <a:gd name="T49" fmla="*/ 77 h 146"/>
              <a:gd name="T50" fmla="*/ 94 w 160"/>
              <a:gd name="T51" fmla="*/ 97 h 146"/>
              <a:gd name="T52" fmla="*/ 106 w 160"/>
              <a:gd name="T53" fmla="*/ 91 h 146"/>
              <a:gd name="T54" fmla="*/ 109 w 160"/>
              <a:gd name="T55" fmla="*/ 106 h 146"/>
              <a:gd name="T56" fmla="*/ 80 w 160"/>
              <a:gd name="T57" fmla="*/ 111 h 146"/>
              <a:gd name="T58" fmla="*/ 80 w 160"/>
              <a:gd name="T59" fmla="*/ 129 h 146"/>
              <a:gd name="T60" fmla="*/ 94 w 160"/>
              <a:gd name="T61" fmla="*/ 114 h 146"/>
              <a:gd name="T62" fmla="*/ 97 w 160"/>
              <a:gd name="T63" fmla="*/ 134 h 146"/>
              <a:gd name="T64" fmla="*/ 109 w 160"/>
              <a:gd name="T65" fmla="*/ 123 h 146"/>
              <a:gd name="T66" fmla="*/ 63 w 160"/>
              <a:gd name="T67" fmla="*/ 43 h 146"/>
              <a:gd name="T68" fmla="*/ 63 w 160"/>
              <a:gd name="T69" fmla="*/ 60 h 146"/>
              <a:gd name="T70" fmla="*/ 69 w 160"/>
              <a:gd name="T71" fmla="*/ 71 h 146"/>
              <a:gd name="T72" fmla="*/ 63 w 160"/>
              <a:gd name="T73" fmla="*/ 100 h 146"/>
              <a:gd name="T74" fmla="*/ 74 w 160"/>
              <a:gd name="T75" fmla="*/ 106 h 146"/>
              <a:gd name="T76" fmla="*/ 63 w 160"/>
              <a:gd name="T77" fmla="*/ 129 h 146"/>
              <a:gd name="T78" fmla="*/ 71 w 160"/>
              <a:gd name="T79" fmla="*/ 120 h 146"/>
              <a:gd name="T80" fmla="*/ 9 w 160"/>
              <a:gd name="T81" fmla="*/ 63 h 146"/>
              <a:gd name="T82" fmla="*/ 20 w 160"/>
              <a:gd name="T83" fmla="*/ 74 h 146"/>
              <a:gd name="T84" fmla="*/ 49 w 160"/>
              <a:gd name="T85" fmla="*/ 46 h 146"/>
              <a:gd name="T86" fmla="*/ 46 w 160"/>
              <a:gd name="T87" fmla="*/ 60 h 146"/>
              <a:gd name="T88" fmla="*/ 37 w 160"/>
              <a:gd name="T89" fmla="*/ 51 h 146"/>
              <a:gd name="T90" fmla="*/ 34 w 160"/>
              <a:gd name="T91" fmla="*/ 71 h 146"/>
              <a:gd name="T92" fmla="*/ 11 w 160"/>
              <a:gd name="T93" fmla="*/ 83 h 146"/>
              <a:gd name="T94" fmla="*/ 23 w 160"/>
              <a:gd name="T95" fmla="*/ 89 h 146"/>
              <a:gd name="T96" fmla="*/ 29 w 160"/>
              <a:gd name="T97" fmla="*/ 77 h 146"/>
              <a:gd name="T98" fmla="*/ 46 w 160"/>
              <a:gd name="T99" fmla="*/ 77 h 146"/>
              <a:gd name="T100" fmla="*/ 43 w 160"/>
              <a:gd name="T101" fmla="*/ 97 h 146"/>
              <a:gd name="T102" fmla="*/ 54 w 160"/>
              <a:gd name="T103" fmla="*/ 91 h 146"/>
              <a:gd name="T104" fmla="*/ 57 w 160"/>
              <a:gd name="T105" fmla="*/ 106 h 146"/>
              <a:gd name="T106" fmla="*/ 11 w 160"/>
              <a:gd name="T107" fmla="*/ 129 h 146"/>
              <a:gd name="T108" fmla="*/ 20 w 160"/>
              <a:gd name="T109" fmla="*/ 120 h 146"/>
              <a:gd name="T110" fmla="*/ 43 w 160"/>
              <a:gd name="T111" fmla="*/ 114 h 146"/>
              <a:gd name="T112" fmla="*/ 46 w 160"/>
              <a:gd name="T113" fmla="*/ 134 h 146"/>
              <a:gd name="T114" fmla="*/ 57 w 160"/>
              <a:gd name="T115" fmla="*/ 12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46">
                <a:moveTo>
                  <a:pt x="0" y="34"/>
                </a:moveTo>
                <a:cubicBezTo>
                  <a:pt x="0" y="146"/>
                  <a:pt x="0" y="146"/>
                  <a:pt x="0" y="146"/>
                </a:cubicBezTo>
                <a:cubicBezTo>
                  <a:pt x="160" y="146"/>
                  <a:pt x="160" y="146"/>
                  <a:pt x="160" y="146"/>
                </a:cubicBezTo>
                <a:cubicBezTo>
                  <a:pt x="160" y="34"/>
                  <a:pt x="160" y="34"/>
                  <a:pt x="160" y="34"/>
                </a:cubicBezTo>
                <a:lnTo>
                  <a:pt x="0" y="34"/>
                </a:lnTo>
                <a:close/>
                <a:moveTo>
                  <a:pt x="154" y="140"/>
                </a:moveTo>
                <a:cubicBezTo>
                  <a:pt x="143" y="140"/>
                  <a:pt x="143" y="140"/>
                  <a:pt x="143" y="140"/>
                </a:cubicBezTo>
                <a:cubicBezTo>
                  <a:pt x="143" y="138"/>
                  <a:pt x="142" y="137"/>
                  <a:pt x="140" y="137"/>
                </a:cubicBezTo>
                <a:cubicBezTo>
                  <a:pt x="138" y="137"/>
                  <a:pt x="137" y="138"/>
                  <a:pt x="137" y="140"/>
                </a:cubicBezTo>
                <a:cubicBezTo>
                  <a:pt x="126" y="140"/>
                  <a:pt x="126" y="140"/>
                  <a:pt x="126" y="140"/>
                </a:cubicBezTo>
                <a:cubicBezTo>
                  <a:pt x="126" y="138"/>
                  <a:pt x="124" y="137"/>
                  <a:pt x="123" y="137"/>
                </a:cubicBezTo>
                <a:cubicBezTo>
                  <a:pt x="121" y="137"/>
                  <a:pt x="120" y="138"/>
                  <a:pt x="120" y="140"/>
                </a:cubicBezTo>
                <a:cubicBezTo>
                  <a:pt x="109" y="140"/>
                  <a:pt x="109" y="140"/>
                  <a:pt x="109" y="140"/>
                </a:cubicBezTo>
                <a:cubicBezTo>
                  <a:pt x="109" y="138"/>
                  <a:pt x="107" y="137"/>
                  <a:pt x="106" y="137"/>
                </a:cubicBezTo>
                <a:cubicBezTo>
                  <a:pt x="104" y="137"/>
                  <a:pt x="103" y="138"/>
                  <a:pt x="103" y="140"/>
                </a:cubicBezTo>
                <a:cubicBezTo>
                  <a:pt x="91" y="140"/>
                  <a:pt x="91" y="140"/>
                  <a:pt x="91" y="140"/>
                </a:cubicBezTo>
                <a:cubicBezTo>
                  <a:pt x="91" y="138"/>
                  <a:pt x="90" y="137"/>
                  <a:pt x="89" y="137"/>
                </a:cubicBezTo>
                <a:cubicBezTo>
                  <a:pt x="87" y="137"/>
                  <a:pt x="86" y="138"/>
                  <a:pt x="86" y="140"/>
                </a:cubicBezTo>
                <a:cubicBezTo>
                  <a:pt x="74" y="140"/>
                  <a:pt x="74" y="140"/>
                  <a:pt x="74" y="140"/>
                </a:cubicBezTo>
                <a:cubicBezTo>
                  <a:pt x="74" y="138"/>
                  <a:pt x="73" y="137"/>
                  <a:pt x="71" y="137"/>
                </a:cubicBezTo>
                <a:cubicBezTo>
                  <a:pt x="70" y="137"/>
                  <a:pt x="69" y="138"/>
                  <a:pt x="69" y="140"/>
                </a:cubicBezTo>
                <a:cubicBezTo>
                  <a:pt x="57" y="140"/>
                  <a:pt x="57" y="140"/>
                  <a:pt x="57" y="140"/>
                </a:cubicBezTo>
                <a:cubicBezTo>
                  <a:pt x="57" y="138"/>
                  <a:pt x="56" y="137"/>
                  <a:pt x="54" y="137"/>
                </a:cubicBezTo>
                <a:cubicBezTo>
                  <a:pt x="53" y="137"/>
                  <a:pt x="51" y="138"/>
                  <a:pt x="51" y="140"/>
                </a:cubicBezTo>
                <a:cubicBezTo>
                  <a:pt x="40" y="140"/>
                  <a:pt x="40" y="140"/>
                  <a:pt x="40" y="140"/>
                </a:cubicBezTo>
                <a:cubicBezTo>
                  <a:pt x="40" y="138"/>
                  <a:pt x="39" y="137"/>
                  <a:pt x="37" y="137"/>
                </a:cubicBezTo>
                <a:cubicBezTo>
                  <a:pt x="36" y="137"/>
                  <a:pt x="34" y="138"/>
                  <a:pt x="34" y="140"/>
                </a:cubicBezTo>
                <a:cubicBezTo>
                  <a:pt x="23" y="140"/>
                  <a:pt x="23" y="140"/>
                  <a:pt x="23" y="140"/>
                </a:cubicBezTo>
                <a:cubicBezTo>
                  <a:pt x="23" y="138"/>
                  <a:pt x="22" y="137"/>
                  <a:pt x="20" y="137"/>
                </a:cubicBezTo>
                <a:cubicBezTo>
                  <a:pt x="18" y="137"/>
                  <a:pt x="17" y="138"/>
                  <a:pt x="17" y="140"/>
                </a:cubicBezTo>
                <a:cubicBezTo>
                  <a:pt x="6" y="140"/>
                  <a:pt x="6" y="140"/>
                  <a:pt x="6" y="140"/>
                </a:cubicBezTo>
                <a:cubicBezTo>
                  <a:pt x="6" y="40"/>
                  <a:pt x="6" y="40"/>
                  <a:pt x="6" y="40"/>
                </a:cubicBezTo>
                <a:cubicBezTo>
                  <a:pt x="154" y="40"/>
                  <a:pt x="154" y="40"/>
                  <a:pt x="154" y="40"/>
                </a:cubicBezTo>
                <a:lnTo>
                  <a:pt x="154" y="140"/>
                </a:lnTo>
                <a:close/>
                <a:moveTo>
                  <a:pt x="6" y="26"/>
                </a:moveTo>
                <a:cubicBezTo>
                  <a:pt x="6" y="24"/>
                  <a:pt x="7" y="23"/>
                  <a:pt x="9" y="23"/>
                </a:cubicBezTo>
                <a:cubicBezTo>
                  <a:pt x="151" y="23"/>
                  <a:pt x="151" y="23"/>
                  <a:pt x="151" y="23"/>
                </a:cubicBezTo>
                <a:cubicBezTo>
                  <a:pt x="153" y="23"/>
                  <a:pt x="154" y="24"/>
                  <a:pt x="154" y="26"/>
                </a:cubicBezTo>
                <a:cubicBezTo>
                  <a:pt x="154" y="27"/>
                  <a:pt x="153" y="29"/>
                  <a:pt x="151" y="29"/>
                </a:cubicBezTo>
                <a:cubicBezTo>
                  <a:pt x="9" y="29"/>
                  <a:pt x="9" y="29"/>
                  <a:pt x="9" y="29"/>
                </a:cubicBezTo>
                <a:cubicBezTo>
                  <a:pt x="7" y="29"/>
                  <a:pt x="6" y="27"/>
                  <a:pt x="6" y="26"/>
                </a:cubicBezTo>
                <a:close/>
                <a:moveTo>
                  <a:pt x="14" y="14"/>
                </a:moveTo>
                <a:cubicBezTo>
                  <a:pt x="14" y="13"/>
                  <a:pt x="16" y="11"/>
                  <a:pt x="17" y="11"/>
                </a:cubicBezTo>
                <a:cubicBezTo>
                  <a:pt x="143" y="11"/>
                  <a:pt x="143" y="11"/>
                  <a:pt x="143" y="11"/>
                </a:cubicBezTo>
                <a:cubicBezTo>
                  <a:pt x="144" y="11"/>
                  <a:pt x="146" y="13"/>
                  <a:pt x="146" y="14"/>
                </a:cubicBezTo>
                <a:cubicBezTo>
                  <a:pt x="146" y="16"/>
                  <a:pt x="144" y="17"/>
                  <a:pt x="143" y="17"/>
                </a:cubicBezTo>
                <a:cubicBezTo>
                  <a:pt x="17" y="17"/>
                  <a:pt x="17" y="17"/>
                  <a:pt x="17" y="17"/>
                </a:cubicBezTo>
                <a:cubicBezTo>
                  <a:pt x="16" y="17"/>
                  <a:pt x="14" y="16"/>
                  <a:pt x="14" y="14"/>
                </a:cubicBezTo>
                <a:close/>
                <a:moveTo>
                  <a:pt x="23" y="3"/>
                </a:moveTo>
                <a:cubicBezTo>
                  <a:pt x="23" y="1"/>
                  <a:pt x="24" y="0"/>
                  <a:pt x="26" y="0"/>
                </a:cubicBezTo>
                <a:cubicBezTo>
                  <a:pt x="134" y="0"/>
                  <a:pt x="134" y="0"/>
                  <a:pt x="134" y="0"/>
                </a:cubicBezTo>
                <a:cubicBezTo>
                  <a:pt x="136" y="0"/>
                  <a:pt x="137" y="1"/>
                  <a:pt x="137" y="3"/>
                </a:cubicBezTo>
                <a:cubicBezTo>
                  <a:pt x="137" y="4"/>
                  <a:pt x="136" y="6"/>
                  <a:pt x="134" y="6"/>
                </a:cubicBezTo>
                <a:cubicBezTo>
                  <a:pt x="26" y="6"/>
                  <a:pt x="26" y="6"/>
                  <a:pt x="26" y="6"/>
                </a:cubicBezTo>
                <a:cubicBezTo>
                  <a:pt x="24" y="6"/>
                  <a:pt x="23" y="4"/>
                  <a:pt x="23" y="3"/>
                </a:cubicBezTo>
                <a:close/>
                <a:moveTo>
                  <a:pt x="131" y="43"/>
                </a:moveTo>
                <a:cubicBezTo>
                  <a:pt x="133" y="43"/>
                  <a:pt x="134" y="44"/>
                  <a:pt x="134" y="46"/>
                </a:cubicBezTo>
                <a:cubicBezTo>
                  <a:pt x="134" y="47"/>
                  <a:pt x="133" y="49"/>
                  <a:pt x="131" y="49"/>
                </a:cubicBezTo>
                <a:cubicBezTo>
                  <a:pt x="130" y="49"/>
                  <a:pt x="129" y="47"/>
                  <a:pt x="129" y="46"/>
                </a:cubicBezTo>
                <a:cubicBezTo>
                  <a:pt x="129" y="44"/>
                  <a:pt x="130" y="43"/>
                  <a:pt x="131" y="43"/>
                </a:cubicBezTo>
                <a:close/>
                <a:moveTo>
                  <a:pt x="131" y="60"/>
                </a:moveTo>
                <a:cubicBezTo>
                  <a:pt x="133" y="60"/>
                  <a:pt x="134" y="61"/>
                  <a:pt x="134" y="63"/>
                </a:cubicBezTo>
                <a:cubicBezTo>
                  <a:pt x="134" y="64"/>
                  <a:pt x="133" y="66"/>
                  <a:pt x="131" y="66"/>
                </a:cubicBezTo>
                <a:cubicBezTo>
                  <a:pt x="130" y="66"/>
                  <a:pt x="129" y="64"/>
                  <a:pt x="129" y="63"/>
                </a:cubicBezTo>
                <a:cubicBezTo>
                  <a:pt x="129" y="61"/>
                  <a:pt x="130" y="60"/>
                  <a:pt x="131" y="60"/>
                </a:cubicBezTo>
                <a:close/>
                <a:moveTo>
                  <a:pt x="140" y="51"/>
                </a:moveTo>
                <a:cubicBezTo>
                  <a:pt x="142" y="51"/>
                  <a:pt x="143" y="53"/>
                  <a:pt x="143" y="54"/>
                </a:cubicBezTo>
                <a:cubicBezTo>
                  <a:pt x="143" y="56"/>
                  <a:pt x="142" y="57"/>
                  <a:pt x="140" y="57"/>
                </a:cubicBezTo>
                <a:cubicBezTo>
                  <a:pt x="138" y="57"/>
                  <a:pt x="137" y="56"/>
                  <a:pt x="137" y="54"/>
                </a:cubicBezTo>
                <a:cubicBezTo>
                  <a:pt x="137" y="53"/>
                  <a:pt x="138" y="51"/>
                  <a:pt x="140" y="51"/>
                </a:cubicBezTo>
                <a:close/>
                <a:moveTo>
                  <a:pt x="140" y="69"/>
                </a:moveTo>
                <a:cubicBezTo>
                  <a:pt x="142" y="69"/>
                  <a:pt x="143" y="70"/>
                  <a:pt x="143" y="71"/>
                </a:cubicBezTo>
                <a:cubicBezTo>
                  <a:pt x="143" y="73"/>
                  <a:pt x="142" y="74"/>
                  <a:pt x="140" y="74"/>
                </a:cubicBezTo>
                <a:cubicBezTo>
                  <a:pt x="138" y="74"/>
                  <a:pt x="137" y="73"/>
                  <a:pt x="137" y="71"/>
                </a:cubicBezTo>
                <a:cubicBezTo>
                  <a:pt x="137" y="70"/>
                  <a:pt x="138" y="69"/>
                  <a:pt x="140" y="69"/>
                </a:cubicBezTo>
                <a:close/>
                <a:moveTo>
                  <a:pt x="149" y="43"/>
                </a:moveTo>
                <a:cubicBezTo>
                  <a:pt x="150" y="43"/>
                  <a:pt x="151" y="44"/>
                  <a:pt x="151" y="46"/>
                </a:cubicBezTo>
                <a:cubicBezTo>
                  <a:pt x="151" y="47"/>
                  <a:pt x="150" y="49"/>
                  <a:pt x="149" y="49"/>
                </a:cubicBezTo>
                <a:cubicBezTo>
                  <a:pt x="147" y="49"/>
                  <a:pt x="146" y="47"/>
                  <a:pt x="146" y="46"/>
                </a:cubicBezTo>
                <a:cubicBezTo>
                  <a:pt x="146" y="44"/>
                  <a:pt x="147" y="43"/>
                  <a:pt x="149" y="43"/>
                </a:cubicBezTo>
                <a:close/>
                <a:moveTo>
                  <a:pt x="149" y="60"/>
                </a:moveTo>
                <a:cubicBezTo>
                  <a:pt x="150" y="60"/>
                  <a:pt x="151" y="61"/>
                  <a:pt x="151" y="63"/>
                </a:cubicBezTo>
                <a:cubicBezTo>
                  <a:pt x="151" y="64"/>
                  <a:pt x="150" y="66"/>
                  <a:pt x="149" y="66"/>
                </a:cubicBezTo>
                <a:cubicBezTo>
                  <a:pt x="147" y="66"/>
                  <a:pt x="146" y="64"/>
                  <a:pt x="146" y="63"/>
                </a:cubicBezTo>
                <a:cubicBezTo>
                  <a:pt x="146" y="61"/>
                  <a:pt x="147" y="60"/>
                  <a:pt x="149" y="60"/>
                </a:cubicBezTo>
                <a:close/>
                <a:moveTo>
                  <a:pt x="131" y="77"/>
                </a:moveTo>
                <a:cubicBezTo>
                  <a:pt x="133" y="77"/>
                  <a:pt x="134" y="78"/>
                  <a:pt x="134" y="80"/>
                </a:cubicBezTo>
                <a:cubicBezTo>
                  <a:pt x="134" y="82"/>
                  <a:pt x="133" y="83"/>
                  <a:pt x="131" y="83"/>
                </a:cubicBezTo>
                <a:cubicBezTo>
                  <a:pt x="130" y="83"/>
                  <a:pt x="129" y="82"/>
                  <a:pt x="129" y="80"/>
                </a:cubicBezTo>
                <a:cubicBezTo>
                  <a:pt x="129" y="78"/>
                  <a:pt x="130" y="77"/>
                  <a:pt x="131" y="77"/>
                </a:cubicBezTo>
                <a:close/>
                <a:moveTo>
                  <a:pt x="131" y="94"/>
                </a:moveTo>
                <a:cubicBezTo>
                  <a:pt x="133" y="94"/>
                  <a:pt x="134" y="96"/>
                  <a:pt x="134" y="97"/>
                </a:cubicBezTo>
                <a:cubicBezTo>
                  <a:pt x="134" y="99"/>
                  <a:pt x="133" y="100"/>
                  <a:pt x="131" y="100"/>
                </a:cubicBezTo>
                <a:cubicBezTo>
                  <a:pt x="130" y="100"/>
                  <a:pt x="129" y="99"/>
                  <a:pt x="129" y="97"/>
                </a:cubicBezTo>
                <a:cubicBezTo>
                  <a:pt x="129" y="96"/>
                  <a:pt x="130" y="94"/>
                  <a:pt x="131" y="94"/>
                </a:cubicBezTo>
                <a:close/>
                <a:moveTo>
                  <a:pt x="140" y="86"/>
                </a:moveTo>
                <a:cubicBezTo>
                  <a:pt x="142" y="86"/>
                  <a:pt x="143" y="87"/>
                  <a:pt x="143" y="89"/>
                </a:cubicBezTo>
                <a:cubicBezTo>
                  <a:pt x="143" y="90"/>
                  <a:pt x="142" y="91"/>
                  <a:pt x="140" y="91"/>
                </a:cubicBezTo>
                <a:cubicBezTo>
                  <a:pt x="138" y="91"/>
                  <a:pt x="137" y="90"/>
                  <a:pt x="137" y="89"/>
                </a:cubicBezTo>
                <a:cubicBezTo>
                  <a:pt x="137" y="87"/>
                  <a:pt x="138" y="86"/>
                  <a:pt x="140" y="86"/>
                </a:cubicBezTo>
                <a:close/>
                <a:moveTo>
                  <a:pt x="140" y="103"/>
                </a:moveTo>
                <a:cubicBezTo>
                  <a:pt x="142" y="103"/>
                  <a:pt x="143" y="104"/>
                  <a:pt x="143" y="106"/>
                </a:cubicBezTo>
                <a:cubicBezTo>
                  <a:pt x="143" y="107"/>
                  <a:pt x="142" y="109"/>
                  <a:pt x="140" y="109"/>
                </a:cubicBezTo>
                <a:cubicBezTo>
                  <a:pt x="138" y="109"/>
                  <a:pt x="137" y="107"/>
                  <a:pt x="137" y="106"/>
                </a:cubicBezTo>
                <a:cubicBezTo>
                  <a:pt x="137" y="104"/>
                  <a:pt x="138" y="103"/>
                  <a:pt x="140" y="103"/>
                </a:cubicBezTo>
                <a:close/>
                <a:moveTo>
                  <a:pt x="149" y="77"/>
                </a:moveTo>
                <a:cubicBezTo>
                  <a:pt x="150" y="77"/>
                  <a:pt x="151" y="78"/>
                  <a:pt x="151" y="80"/>
                </a:cubicBezTo>
                <a:cubicBezTo>
                  <a:pt x="151" y="82"/>
                  <a:pt x="150" y="83"/>
                  <a:pt x="149" y="83"/>
                </a:cubicBezTo>
                <a:cubicBezTo>
                  <a:pt x="147" y="83"/>
                  <a:pt x="146" y="82"/>
                  <a:pt x="146" y="80"/>
                </a:cubicBezTo>
                <a:cubicBezTo>
                  <a:pt x="146" y="78"/>
                  <a:pt x="147" y="77"/>
                  <a:pt x="149" y="77"/>
                </a:cubicBezTo>
                <a:close/>
                <a:moveTo>
                  <a:pt x="149" y="94"/>
                </a:moveTo>
                <a:cubicBezTo>
                  <a:pt x="150" y="94"/>
                  <a:pt x="151" y="96"/>
                  <a:pt x="151" y="97"/>
                </a:cubicBezTo>
                <a:cubicBezTo>
                  <a:pt x="151" y="99"/>
                  <a:pt x="150" y="100"/>
                  <a:pt x="149" y="100"/>
                </a:cubicBezTo>
                <a:cubicBezTo>
                  <a:pt x="147" y="100"/>
                  <a:pt x="146" y="99"/>
                  <a:pt x="146" y="97"/>
                </a:cubicBezTo>
                <a:cubicBezTo>
                  <a:pt x="146" y="96"/>
                  <a:pt x="147" y="94"/>
                  <a:pt x="149" y="94"/>
                </a:cubicBezTo>
                <a:close/>
                <a:moveTo>
                  <a:pt x="131" y="111"/>
                </a:moveTo>
                <a:cubicBezTo>
                  <a:pt x="133" y="111"/>
                  <a:pt x="134" y="113"/>
                  <a:pt x="134" y="114"/>
                </a:cubicBezTo>
                <a:cubicBezTo>
                  <a:pt x="134" y="116"/>
                  <a:pt x="133" y="117"/>
                  <a:pt x="131" y="117"/>
                </a:cubicBezTo>
                <a:cubicBezTo>
                  <a:pt x="130" y="117"/>
                  <a:pt x="129" y="116"/>
                  <a:pt x="129" y="114"/>
                </a:cubicBezTo>
                <a:cubicBezTo>
                  <a:pt x="129" y="113"/>
                  <a:pt x="130" y="111"/>
                  <a:pt x="131" y="111"/>
                </a:cubicBezTo>
                <a:close/>
                <a:moveTo>
                  <a:pt x="131" y="129"/>
                </a:moveTo>
                <a:cubicBezTo>
                  <a:pt x="133" y="129"/>
                  <a:pt x="134" y="130"/>
                  <a:pt x="134" y="131"/>
                </a:cubicBezTo>
                <a:cubicBezTo>
                  <a:pt x="134" y="133"/>
                  <a:pt x="133" y="134"/>
                  <a:pt x="131" y="134"/>
                </a:cubicBezTo>
                <a:cubicBezTo>
                  <a:pt x="130" y="134"/>
                  <a:pt x="129" y="133"/>
                  <a:pt x="129" y="131"/>
                </a:cubicBezTo>
                <a:cubicBezTo>
                  <a:pt x="129" y="130"/>
                  <a:pt x="130" y="129"/>
                  <a:pt x="131" y="129"/>
                </a:cubicBezTo>
                <a:close/>
                <a:moveTo>
                  <a:pt x="140" y="120"/>
                </a:moveTo>
                <a:cubicBezTo>
                  <a:pt x="142" y="120"/>
                  <a:pt x="143" y="121"/>
                  <a:pt x="143" y="123"/>
                </a:cubicBezTo>
                <a:cubicBezTo>
                  <a:pt x="143" y="124"/>
                  <a:pt x="142" y="126"/>
                  <a:pt x="140" y="126"/>
                </a:cubicBezTo>
                <a:cubicBezTo>
                  <a:pt x="138" y="126"/>
                  <a:pt x="137" y="124"/>
                  <a:pt x="137" y="123"/>
                </a:cubicBezTo>
                <a:cubicBezTo>
                  <a:pt x="137" y="121"/>
                  <a:pt x="138" y="120"/>
                  <a:pt x="140" y="120"/>
                </a:cubicBezTo>
                <a:close/>
                <a:moveTo>
                  <a:pt x="149" y="111"/>
                </a:moveTo>
                <a:cubicBezTo>
                  <a:pt x="150" y="111"/>
                  <a:pt x="151" y="113"/>
                  <a:pt x="151" y="114"/>
                </a:cubicBezTo>
                <a:cubicBezTo>
                  <a:pt x="151" y="116"/>
                  <a:pt x="150" y="117"/>
                  <a:pt x="149" y="117"/>
                </a:cubicBezTo>
                <a:cubicBezTo>
                  <a:pt x="147" y="117"/>
                  <a:pt x="146" y="116"/>
                  <a:pt x="146" y="114"/>
                </a:cubicBezTo>
                <a:cubicBezTo>
                  <a:pt x="146" y="113"/>
                  <a:pt x="147" y="111"/>
                  <a:pt x="149" y="111"/>
                </a:cubicBezTo>
                <a:close/>
                <a:moveTo>
                  <a:pt x="149" y="129"/>
                </a:moveTo>
                <a:cubicBezTo>
                  <a:pt x="150" y="129"/>
                  <a:pt x="151" y="130"/>
                  <a:pt x="151" y="131"/>
                </a:cubicBezTo>
                <a:cubicBezTo>
                  <a:pt x="151" y="133"/>
                  <a:pt x="150" y="134"/>
                  <a:pt x="149" y="134"/>
                </a:cubicBezTo>
                <a:cubicBezTo>
                  <a:pt x="147" y="134"/>
                  <a:pt x="146" y="133"/>
                  <a:pt x="146" y="131"/>
                </a:cubicBezTo>
                <a:cubicBezTo>
                  <a:pt x="146" y="130"/>
                  <a:pt x="147" y="129"/>
                  <a:pt x="149" y="129"/>
                </a:cubicBezTo>
                <a:close/>
                <a:moveTo>
                  <a:pt x="80" y="43"/>
                </a:moveTo>
                <a:cubicBezTo>
                  <a:pt x="82" y="43"/>
                  <a:pt x="83" y="44"/>
                  <a:pt x="83" y="46"/>
                </a:cubicBezTo>
                <a:cubicBezTo>
                  <a:pt x="83" y="47"/>
                  <a:pt x="82" y="49"/>
                  <a:pt x="80" y="49"/>
                </a:cubicBezTo>
                <a:cubicBezTo>
                  <a:pt x="78" y="49"/>
                  <a:pt x="77" y="47"/>
                  <a:pt x="77" y="46"/>
                </a:cubicBezTo>
                <a:cubicBezTo>
                  <a:pt x="77" y="44"/>
                  <a:pt x="78" y="43"/>
                  <a:pt x="80" y="43"/>
                </a:cubicBezTo>
                <a:close/>
                <a:moveTo>
                  <a:pt x="80" y="60"/>
                </a:moveTo>
                <a:cubicBezTo>
                  <a:pt x="82" y="60"/>
                  <a:pt x="83" y="61"/>
                  <a:pt x="83" y="63"/>
                </a:cubicBezTo>
                <a:cubicBezTo>
                  <a:pt x="83" y="64"/>
                  <a:pt x="82" y="66"/>
                  <a:pt x="80" y="66"/>
                </a:cubicBezTo>
                <a:cubicBezTo>
                  <a:pt x="78" y="66"/>
                  <a:pt x="77" y="64"/>
                  <a:pt x="77" y="63"/>
                </a:cubicBezTo>
                <a:cubicBezTo>
                  <a:pt x="77" y="61"/>
                  <a:pt x="78" y="60"/>
                  <a:pt x="80" y="60"/>
                </a:cubicBezTo>
                <a:close/>
                <a:moveTo>
                  <a:pt x="89" y="51"/>
                </a:moveTo>
                <a:cubicBezTo>
                  <a:pt x="90" y="51"/>
                  <a:pt x="91" y="53"/>
                  <a:pt x="91" y="54"/>
                </a:cubicBezTo>
                <a:cubicBezTo>
                  <a:pt x="91" y="56"/>
                  <a:pt x="90" y="57"/>
                  <a:pt x="89" y="57"/>
                </a:cubicBezTo>
                <a:cubicBezTo>
                  <a:pt x="87" y="57"/>
                  <a:pt x="86" y="56"/>
                  <a:pt x="86" y="54"/>
                </a:cubicBezTo>
                <a:cubicBezTo>
                  <a:pt x="86" y="53"/>
                  <a:pt x="87" y="51"/>
                  <a:pt x="89" y="51"/>
                </a:cubicBezTo>
                <a:close/>
                <a:moveTo>
                  <a:pt x="89" y="69"/>
                </a:moveTo>
                <a:cubicBezTo>
                  <a:pt x="90" y="69"/>
                  <a:pt x="91" y="70"/>
                  <a:pt x="91" y="71"/>
                </a:cubicBezTo>
                <a:cubicBezTo>
                  <a:pt x="91" y="73"/>
                  <a:pt x="90" y="74"/>
                  <a:pt x="89" y="74"/>
                </a:cubicBezTo>
                <a:cubicBezTo>
                  <a:pt x="87" y="74"/>
                  <a:pt x="86" y="73"/>
                  <a:pt x="86" y="71"/>
                </a:cubicBezTo>
                <a:cubicBezTo>
                  <a:pt x="86" y="70"/>
                  <a:pt x="87" y="69"/>
                  <a:pt x="89" y="69"/>
                </a:cubicBezTo>
                <a:close/>
                <a:moveTo>
                  <a:pt x="97" y="43"/>
                </a:moveTo>
                <a:cubicBezTo>
                  <a:pt x="99" y="43"/>
                  <a:pt x="100" y="44"/>
                  <a:pt x="100" y="46"/>
                </a:cubicBezTo>
                <a:cubicBezTo>
                  <a:pt x="100" y="47"/>
                  <a:pt x="99" y="49"/>
                  <a:pt x="97" y="49"/>
                </a:cubicBezTo>
                <a:cubicBezTo>
                  <a:pt x="96" y="49"/>
                  <a:pt x="94" y="47"/>
                  <a:pt x="94" y="46"/>
                </a:cubicBezTo>
                <a:cubicBezTo>
                  <a:pt x="94" y="44"/>
                  <a:pt x="96" y="43"/>
                  <a:pt x="97" y="43"/>
                </a:cubicBezTo>
                <a:close/>
                <a:moveTo>
                  <a:pt x="114" y="43"/>
                </a:moveTo>
                <a:cubicBezTo>
                  <a:pt x="116" y="43"/>
                  <a:pt x="117" y="44"/>
                  <a:pt x="117" y="46"/>
                </a:cubicBezTo>
                <a:cubicBezTo>
                  <a:pt x="117" y="47"/>
                  <a:pt x="116" y="49"/>
                  <a:pt x="114" y="49"/>
                </a:cubicBezTo>
                <a:cubicBezTo>
                  <a:pt x="113" y="49"/>
                  <a:pt x="111" y="47"/>
                  <a:pt x="111" y="46"/>
                </a:cubicBezTo>
                <a:cubicBezTo>
                  <a:pt x="111" y="44"/>
                  <a:pt x="113" y="43"/>
                  <a:pt x="114" y="43"/>
                </a:cubicBezTo>
                <a:close/>
                <a:moveTo>
                  <a:pt x="97" y="60"/>
                </a:moveTo>
                <a:cubicBezTo>
                  <a:pt x="99" y="60"/>
                  <a:pt x="100" y="61"/>
                  <a:pt x="100" y="63"/>
                </a:cubicBezTo>
                <a:cubicBezTo>
                  <a:pt x="100" y="64"/>
                  <a:pt x="99" y="66"/>
                  <a:pt x="97" y="66"/>
                </a:cubicBezTo>
                <a:cubicBezTo>
                  <a:pt x="96" y="66"/>
                  <a:pt x="94" y="64"/>
                  <a:pt x="94" y="63"/>
                </a:cubicBezTo>
                <a:cubicBezTo>
                  <a:pt x="94" y="61"/>
                  <a:pt x="96" y="60"/>
                  <a:pt x="97" y="60"/>
                </a:cubicBezTo>
                <a:close/>
                <a:moveTo>
                  <a:pt x="114" y="60"/>
                </a:moveTo>
                <a:cubicBezTo>
                  <a:pt x="116" y="60"/>
                  <a:pt x="117" y="61"/>
                  <a:pt x="117" y="63"/>
                </a:cubicBezTo>
                <a:cubicBezTo>
                  <a:pt x="117" y="64"/>
                  <a:pt x="116" y="66"/>
                  <a:pt x="114" y="66"/>
                </a:cubicBezTo>
                <a:cubicBezTo>
                  <a:pt x="113" y="66"/>
                  <a:pt x="111" y="64"/>
                  <a:pt x="111" y="63"/>
                </a:cubicBezTo>
                <a:cubicBezTo>
                  <a:pt x="111" y="61"/>
                  <a:pt x="113" y="60"/>
                  <a:pt x="114" y="60"/>
                </a:cubicBezTo>
                <a:close/>
                <a:moveTo>
                  <a:pt x="106" y="51"/>
                </a:moveTo>
                <a:cubicBezTo>
                  <a:pt x="107" y="51"/>
                  <a:pt x="109" y="53"/>
                  <a:pt x="109" y="54"/>
                </a:cubicBezTo>
                <a:cubicBezTo>
                  <a:pt x="109" y="56"/>
                  <a:pt x="107" y="57"/>
                  <a:pt x="106" y="57"/>
                </a:cubicBezTo>
                <a:cubicBezTo>
                  <a:pt x="104" y="57"/>
                  <a:pt x="103" y="56"/>
                  <a:pt x="103" y="54"/>
                </a:cubicBezTo>
                <a:cubicBezTo>
                  <a:pt x="103" y="53"/>
                  <a:pt x="104" y="51"/>
                  <a:pt x="106" y="51"/>
                </a:cubicBezTo>
                <a:close/>
                <a:moveTo>
                  <a:pt x="123" y="51"/>
                </a:moveTo>
                <a:cubicBezTo>
                  <a:pt x="124" y="51"/>
                  <a:pt x="126" y="53"/>
                  <a:pt x="126" y="54"/>
                </a:cubicBezTo>
                <a:cubicBezTo>
                  <a:pt x="126" y="56"/>
                  <a:pt x="124" y="57"/>
                  <a:pt x="123" y="57"/>
                </a:cubicBezTo>
                <a:cubicBezTo>
                  <a:pt x="121" y="57"/>
                  <a:pt x="120" y="56"/>
                  <a:pt x="120" y="54"/>
                </a:cubicBezTo>
                <a:cubicBezTo>
                  <a:pt x="120" y="53"/>
                  <a:pt x="121" y="51"/>
                  <a:pt x="123" y="51"/>
                </a:cubicBezTo>
                <a:close/>
                <a:moveTo>
                  <a:pt x="106" y="69"/>
                </a:moveTo>
                <a:cubicBezTo>
                  <a:pt x="107" y="69"/>
                  <a:pt x="109" y="70"/>
                  <a:pt x="109" y="71"/>
                </a:cubicBezTo>
                <a:cubicBezTo>
                  <a:pt x="109" y="73"/>
                  <a:pt x="107" y="74"/>
                  <a:pt x="106" y="74"/>
                </a:cubicBezTo>
                <a:cubicBezTo>
                  <a:pt x="104" y="74"/>
                  <a:pt x="103" y="73"/>
                  <a:pt x="103" y="71"/>
                </a:cubicBezTo>
                <a:cubicBezTo>
                  <a:pt x="103" y="70"/>
                  <a:pt x="104" y="69"/>
                  <a:pt x="106" y="69"/>
                </a:cubicBezTo>
                <a:close/>
                <a:moveTo>
                  <a:pt x="123" y="69"/>
                </a:moveTo>
                <a:cubicBezTo>
                  <a:pt x="124" y="69"/>
                  <a:pt x="126" y="70"/>
                  <a:pt x="126" y="71"/>
                </a:cubicBezTo>
                <a:cubicBezTo>
                  <a:pt x="126" y="73"/>
                  <a:pt x="124" y="74"/>
                  <a:pt x="123" y="74"/>
                </a:cubicBezTo>
                <a:cubicBezTo>
                  <a:pt x="121" y="74"/>
                  <a:pt x="120" y="73"/>
                  <a:pt x="120" y="71"/>
                </a:cubicBezTo>
                <a:cubicBezTo>
                  <a:pt x="120" y="70"/>
                  <a:pt x="121" y="69"/>
                  <a:pt x="123" y="69"/>
                </a:cubicBezTo>
                <a:close/>
                <a:moveTo>
                  <a:pt x="80" y="77"/>
                </a:moveTo>
                <a:cubicBezTo>
                  <a:pt x="82" y="77"/>
                  <a:pt x="83" y="78"/>
                  <a:pt x="83" y="80"/>
                </a:cubicBezTo>
                <a:cubicBezTo>
                  <a:pt x="83" y="82"/>
                  <a:pt x="82" y="83"/>
                  <a:pt x="80" y="83"/>
                </a:cubicBezTo>
                <a:cubicBezTo>
                  <a:pt x="78" y="83"/>
                  <a:pt x="77" y="82"/>
                  <a:pt x="77" y="80"/>
                </a:cubicBezTo>
                <a:cubicBezTo>
                  <a:pt x="77" y="78"/>
                  <a:pt x="78" y="77"/>
                  <a:pt x="80" y="77"/>
                </a:cubicBezTo>
                <a:close/>
                <a:moveTo>
                  <a:pt x="80" y="94"/>
                </a:moveTo>
                <a:cubicBezTo>
                  <a:pt x="82" y="94"/>
                  <a:pt x="83" y="96"/>
                  <a:pt x="83" y="97"/>
                </a:cubicBezTo>
                <a:cubicBezTo>
                  <a:pt x="83" y="99"/>
                  <a:pt x="82" y="100"/>
                  <a:pt x="80" y="100"/>
                </a:cubicBezTo>
                <a:cubicBezTo>
                  <a:pt x="78" y="100"/>
                  <a:pt x="77" y="99"/>
                  <a:pt x="77" y="97"/>
                </a:cubicBezTo>
                <a:cubicBezTo>
                  <a:pt x="77" y="96"/>
                  <a:pt x="78" y="94"/>
                  <a:pt x="80" y="94"/>
                </a:cubicBezTo>
                <a:close/>
                <a:moveTo>
                  <a:pt x="89" y="86"/>
                </a:moveTo>
                <a:cubicBezTo>
                  <a:pt x="90" y="86"/>
                  <a:pt x="91" y="87"/>
                  <a:pt x="91" y="89"/>
                </a:cubicBezTo>
                <a:cubicBezTo>
                  <a:pt x="91" y="90"/>
                  <a:pt x="90" y="91"/>
                  <a:pt x="89" y="91"/>
                </a:cubicBezTo>
                <a:cubicBezTo>
                  <a:pt x="87" y="91"/>
                  <a:pt x="86" y="90"/>
                  <a:pt x="86" y="89"/>
                </a:cubicBezTo>
                <a:cubicBezTo>
                  <a:pt x="86" y="87"/>
                  <a:pt x="87" y="86"/>
                  <a:pt x="89" y="86"/>
                </a:cubicBezTo>
                <a:close/>
                <a:moveTo>
                  <a:pt x="89" y="103"/>
                </a:moveTo>
                <a:cubicBezTo>
                  <a:pt x="90" y="103"/>
                  <a:pt x="91" y="104"/>
                  <a:pt x="91" y="106"/>
                </a:cubicBezTo>
                <a:cubicBezTo>
                  <a:pt x="91" y="107"/>
                  <a:pt x="90" y="109"/>
                  <a:pt x="89" y="109"/>
                </a:cubicBezTo>
                <a:cubicBezTo>
                  <a:pt x="87" y="109"/>
                  <a:pt x="86" y="107"/>
                  <a:pt x="86" y="106"/>
                </a:cubicBezTo>
                <a:cubicBezTo>
                  <a:pt x="86" y="104"/>
                  <a:pt x="87" y="103"/>
                  <a:pt x="89" y="103"/>
                </a:cubicBezTo>
                <a:close/>
                <a:moveTo>
                  <a:pt x="97" y="77"/>
                </a:moveTo>
                <a:cubicBezTo>
                  <a:pt x="99" y="77"/>
                  <a:pt x="100" y="78"/>
                  <a:pt x="100" y="80"/>
                </a:cubicBezTo>
                <a:cubicBezTo>
                  <a:pt x="100" y="82"/>
                  <a:pt x="99" y="83"/>
                  <a:pt x="97" y="83"/>
                </a:cubicBezTo>
                <a:cubicBezTo>
                  <a:pt x="96" y="83"/>
                  <a:pt x="94" y="82"/>
                  <a:pt x="94" y="80"/>
                </a:cubicBezTo>
                <a:cubicBezTo>
                  <a:pt x="94" y="78"/>
                  <a:pt x="96" y="77"/>
                  <a:pt x="97" y="77"/>
                </a:cubicBezTo>
                <a:close/>
                <a:moveTo>
                  <a:pt x="114" y="77"/>
                </a:moveTo>
                <a:cubicBezTo>
                  <a:pt x="116" y="77"/>
                  <a:pt x="117" y="78"/>
                  <a:pt x="117" y="80"/>
                </a:cubicBezTo>
                <a:cubicBezTo>
                  <a:pt x="117" y="82"/>
                  <a:pt x="116" y="83"/>
                  <a:pt x="114" y="83"/>
                </a:cubicBezTo>
                <a:cubicBezTo>
                  <a:pt x="113" y="83"/>
                  <a:pt x="111" y="82"/>
                  <a:pt x="111" y="80"/>
                </a:cubicBezTo>
                <a:cubicBezTo>
                  <a:pt x="111" y="78"/>
                  <a:pt x="113" y="77"/>
                  <a:pt x="114" y="77"/>
                </a:cubicBezTo>
                <a:close/>
                <a:moveTo>
                  <a:pt x="97" y="94"/>
                </a:moveTo>
                <a:cubicBezTo>
                  <a:pt x="99" y="94"/>
                  <a:pt x="100" y="96"/>
                  <a:pt x="100" y="97"/>
                </a:cubicBezTo>
                <a:cubicBezTo>
                  <a:pt x="100" y="99"/>
                  <a:pt x="99" y="100"/>
                  <a:pt x="97" y="100"/>
                </a:cubicBezTo>
                <a:cubicBezTo>
                  <a:pt x="96" y="100"/>
                  <a:pt x="94" y="99"/>
                  <a:pt x="94" y="97"/>
                </a:cubicBezTo>
                <a:cubicBezTo>
                  <a:pt x="94" y="96"/>
                  <a:pt x="96" y="94"/>
                  <a:pt x="97" y="94"/>
                </a:cubicBezTo>
                <a:close/>
                <a:moveTo>
                  <a:pt x="114" y="94"/>
                </a:moveTo>
                <a:cubicBezTo>
                  <a:pt x="116" y="94"/>
                  <a:pt x="117" y="96"/>
                  <a:pt x="117" y="97"/>
                </a:cubicBezTo>
                <a:cubicBezTo>
                  <a:pt x="117" y="99"/>
                  <a:pt x="116" y="100"/>
                  <a:pt x="114" y="100"/>
                </a:cubicBezTo>
                <a:cubicBezTo>
                  <a:pt x="113" y="100"/>
                  <a:pt x="111" y="99"/>
                  <a:pt x="111" y="97"/>
                </a:cubicBezTo>
                <a:cubicBezTo>
                  <a:pt x="111" y="96"/>
                  <a:pt x="113" y="94"/>
                  <a:pt x="114" y="94"/>
                </a:cubicBezTo>
                <a:close/>
                <a:moveTo>
                  <a:pt x="106" y="86"/>
                </a:moveTo>
                <a:cubicBezTo>
                  <a:pt x="107" y="86"/>
                  <a:pt x="109" y="87"/>
                  <a:pt x="109" y="89"/>
                </a:cubicBezTo>
                <a:cubicBezTo>
                  <a:pt x="109" y="90"/>
                  <a:pt x="107" y="91"/>
                  <a:pt x="106" y="91"/>
                </a:cubicBezTo>
                <a:cubicBezTo>
                  <a:pt x="104" y="91"/>
                  <a:pt x="103" y="90"/>
                  <a:pt x="103" y="89"/>
                </a:cubicBezTo>
                <a:cubicBezTo>
                  <a:pt x="103" y="87"/>
                  <a:pt x="104" y="86"/>
                  <a:pt x="106" y="86"/>
                </a:cubicBezTo>
                <a:close/>
                <a:moveTo>
                  <a:pt x="123" y="86"/>
                </a:moveTo>
                <a:cubicBezTo>
                  <a:pt x="124" y="86"/>
                  <a:pt x="126" y="87"/>
                  <a:pt x="126" y="89"/>
                </a:cubicBezTo>
                <a:cubicBezTo>
                  <a:pt x="126" y="90"/>
                  <a:pt x="124" y="91"/>
                  <a:pt x="123" y="91"/>
                </a:cubicBezTo>
                <a:cubicBezTo>
                  <a:pt x="121" y="91"/>
                  <a:pt x="120" y="90"/>
                  <a:pt x="120" y="89"/>
                </a:cubicBezTo>
                <a:cubicBezTo>
                  <a:pt x="120" y="87"/>
                  <a:pt x="121" y="86"/>
                  <a:pt x="123" y="86"/>
                </a:cubicBezTo>
                <a:close/>
                <a:moveTo>
                  <a:pt x="106" y="103"/>
                </a:moveTo>
                <a:cubicBezTo>
                  <a:pt x="107" y="103"/>
                  <a:pt x="109" y="104"/>
                  <a:pt x="109" y="106"/>
                </a:cubicBezTo>
                <a:cubicBezTo>
                  <a:pt x="109" y="107"/>
                  <a:pt x="107" y="109"/>
                  <a:pt x="106" y="109"/>
                </a:cubicBezTo>
                <a:cubicBezTo>
                  <a:pt x="104" y="109"/>
                  <a:pt x="103" y="107"/>
                  <a:pt x="103" y="106"/>
                </a:cubicBezTo>
                <a:cubicBezTo>
                  <a:pt x="103" y="104"/>
                  <a:pt x="104" y="103"/>
                  <a:pt x="106" y="103"/>
                </a:cubicBezTo>
                <a:close/>
                <a:moveTo>
                  <a:pt x="123" y="103"/>
                </a:moveTo>
                <a:cubicBezTo>
                  <a:pt x="124" y="103"/>
                  <a:pt x="126" y="104"/>
                  <a:pt x="126" y="106"/>
                </a:cubicBezTo>
                <a:cubicBezTo>
                  <a:pt x="126" y="107"/>
                  <a:pt x="124" y="109"/>
                  <a:pt x="123" y="109"/>
                </a:cubicBezTo>
                <a:cubicBezTo>
                  <a:pt x="121" y="109"/>
                  <a:pt x="120" y="107"/>
                  <a:pt x="120" y="106"/>
                </a:cubicBezTo>
                <a:cubicBezTo>
                  <a:pt x="120" y="104"/>
                  <a:pt x="121" y="103"/>
                  <a:pt x="123" y="103"/>
                </a:cubicBezTo>
                <a:close/>
                <a:moveTo>
                  <a:pt x="80" y="111"/>
                </a:moveTo>
                <a:cubicBezTo>
                  <a:pt x="82" y="111"/>
                  <a:pt x="83" y="113"/>
                  <a:pt x="83" y="114"/>
                </a:cubicBezTo>
                <a:cubicBezTo>
                  <a:pt x="83" y="116"/>
                  <a:pt x="82" y="117"/>
                  <a:pt x="80" y="117"/>
                </a:cubicBezTo>
                <a:cubicBezTo>
                  <a:pt x="78" y="117"/>
                  <a:pt x="77" y="116"/>
                  <a:pt x="77" y="114"/>
                </a:cubicBezTo>
                <a:cubicBezTo>
                  <a:pt x="77" y="113"/>
                  <a:pt x="78" y="111"/>
                  <a:pt x="80" y="111"/>
                </a:cubicBezTo>
                <a:close/>
                <a:moveTo>
                  <a:pt x="80" y="129"/>
                </a:moveTo>
                <a:cubicBezTo>
                  <a:pt x="82" y="129"/>
                  <a:pt x="83" y="130"/>
                  <a:pt x="83" y="131"/>
                </a:cubicBezTo>
                <a:cubicBezTo>
                  <a:pt x="83" y="133"/>
                  <a:pt x="82" y="134"/>
                  <a:pt x="80" y="134"/>
                </a:cubicBezTo>
                <a:cubicBezTo>
                  <a:pt x="78" y="134"/>
                  <a:pt x="77" y="133"/>
                  <a:pt x="77" y="131"/>
                </a:cubicBezTo>
                <a:cubicBezTo>
                  <a:pt x="77" y="130"/>
                  <a:pt x="78" y="129"/>
                  <a:pt x="80" y="129"/>
                </a:cubicBezTo>
                <a:close/>
                <a:moveTo>
                  <a:pt x="89" y="120"/>
                </a:moveTo>
                <a:cubicBezTo>
                  <a:pt x="90" y="120"/>
                  <a:pt x="91" y="121"/>
                  <a:pt x="91" y="123"/>
                </a:cubicBezTo>
                <a:cubicBezTo>
                  <a:pt x="91" y="124"/>
                  <a:pt x="90" y="126"/>
                  <a:pt x="89" y="126"/>
                </a:cubicBezTo>
                <a:cubicBezTo>
                  <a:pt x="87" y="126"/>
                  <a:pt x="86" y="124"/>
                  <a:pt x="86" y="123"/>
                </a:cubicBezTo>
                <a:cubicBezTo>
                  <a:pt x="86" y="121"/>
                  <a:pt x="87" y="120"/>
                  <a:pt x="89" y="120"/>
                </a:cubicBezTo>
                <a:close/>
                <a:moveTo>
                  <a:pt x="97" y="111"/>
                </a:moveTo>
                <a:cubicBezTo>
                  <a:pt x="99" y="111"/>
                  <a:pt x="100" y="113"/>
                  <a:pt x="100" y="114"/>
                </a:cubicBezTo>
                <a:cubicBezTo>
                  <a:pt x="100" y="116"/>
                  <a:pt x="99" y="117"/>
                  <a:pt x="97" y="117"/>
                </a:cubicBezTo>
                <a:cubicBezTo>
                  <a:pt x="96" y="117"/>
                  <a:pt x="94" y="116"/>
                  <a:pt x="94" y="114"/>
                </a:cubicBezTo>
                <a:cubicBezTo>
                  <a:pt x="94" y="113"/>
                  <a:pt x="96" y="111"/>
                  <a:pt x="97" y="111"/>
                </a:cubicBezTo>
                <a:close/>
                <a:moveTo>
                  <a:pt x="114" y="111"/>
                </a:moveTo>
                <a:cubicBezTo>
                  <a:pt x="116" y="111"/>
                  <a:pt x="117" y="113"/>
                  <a:pt x="117" y="114"/>
                </a:cubicBezTo>
                <a:cubicBezTo>
                  <a:pt x="117" y="116"/>
                  <a:pt x="116" y="117"/>
                  <a:pt x="114" y="117"/>
                </a:cubicBezTo>
                <a:cubicBezTo>
                  <a:pt x="113" y="117"/>
                  <a:pt x="111" y="116"/>
                  <a:pt x="111" y="114"/>
                </a:cubicBezTo>
                <a:cubicBezTo>
                  <a:pt x="111" y="113"/>
                  <a:pt x="113" y="111"/>
                  <a:pt x="114" y="111"/>
                </a:cubicBezTo>
                <a:close/>
                <a:moveTo>
                  <a:pt x="97" y="129"/>
                </a:moveTo>
                <a:cubicBezTo>
                  <a:pt x="99" y="129"/>
                  <a:pt x="100" y="130"/>
                  <a:pt x="100" y="131"/>
                </a:cubicBezTo>
                <a:cubicBezTo>
                  <a:pt x="100" y="133"/>
                  <a:pt x="99" y="134"/>
                  <a:pt x="97" y="134"/>
                </a:cubicBezTo>
                <a:cubicBezTo>
                  <a:pt x="96" y="134"/>
                  <a:pt x="94" y="133"/>
                  <a:pt x="94" y="131"/>
                </a:cubicBezTo>
                <a:cubicBezTo>
                  <a:pt x="94" y="130"/>
                  <a:pt x="96" y="129"/>
                  <a:pt x="97" y="129"/>
                </a:cubicBezTo>
                <a:close/>
                <a:moveTo>
                  <a:pt x="114" y="129"/>
                </a:moveTo>
                <a:cubicBezTo>
                  <a:pt x="116" y="129"/>
                  <a:pt x="117" y="130"/>
                  <a:pt x="117" y="131"/>
                </a:cubicBezTo>
                <a:cubicBezTo>
                  <a:pt x="117" y="133"/>
                  <a:pt x="116" y="134"/>
                  <a:pt x="114" y="134"/>
                </a:cubicBezTo>
                <a:cubicBezTo>
                  <a:pt x="113" y="134"/>
                  <a:pt x="111" y="133"/>
                  <a:pt x="111" y="131"/>
                </a:cubicBezTo>
                <a:cubicBezTo>
                  <a:pt x="111" y="130"/>
                  <a:pt x="113" y="129"/>
                  <a:pt x="114" y="129"/>
                </a:cubicBezTo>
                <a:close/>
                <a:moveTo>
                  <a:pt x="106" y="120"/>
                </a:moveTo>
                <a:cubicBezTo>
                  <a:pt x="107" y="120"/>
                  <a:pt x="109" y="121"/>
                  <a:pt x="109" y="123"/>
                </a:cubicBezTo>
                <a:cubicBezTo>
                  <a:pt x="109" y="124"/>
                  <a:pt x="107" y="126"/>
                  <a:pt x="106" y="126"/>
                </a:cubicBezTo>
                <a:cubicBezTo>
                  <a:pt x="104" y="126"/>
                  <a:pt x="103" y="124"/>
                  <a:pt x="103" y="123"/>
                </a:cubicBezTo>
                <a:cubicBezTo>
                  <a:pt x="103" y="121"/>
                  <a:pt x="104" y="120"/>
                  <a:pt x="106" y="120"/>
                </a:cubicBezTo>
                <a:close/>
                <a:moveTo>
                  <a:pt x="123" y="120"/>
                </a:moveTo>
                <a:cubicBezTo>
                  <a:pt x="124" y="120"/>
                  <a:pt x="126" y="121"/>
                  <a:pt x="126" y="123"/>
                </a:cubicBezTo>
                <a:cubicBezTo>
                  <a:pt x="126" y="124"/>
                  <a:pt x="124" y="126"/>
                  <a:pt x="123" y="126"/>
                </a:cubicBezTo>
                <a:cubicBezTo>
                  <a:pt x="121" y="126"/>
                  <a:pt x="120" y="124"/>
                  <a:pt x="120" y="123"/>
                </a:cubicBezTo>
                <a:cubicBezTo>
                  <a:pt x="120" y="121"/>
                  <a:pt x="121" y="120"/>
                  <a:pt x="123" y="120"/>
                </a:cubicBezTo>
                <a:close/>
                <a:moveTo>
                  <a:pt x="63" y="43"/>
                </a:moveTo>
                <a:cubicBezTo>
                  <a:pt x="64" y="43"/>
                  <a:pt x="66" y="44"/>
                  <a:pt x="66" y="46"/>
                </a:cubicBezTo>
                <a:cubicBezTo>
                  <a:pt x="66" y="47"/>
                  <a:pt x="64" y="49"/>
                  <a:pt x="63" y="49"/>
                </a:cubicBezTo>
                <a:cubicBezTo>
                  <a:pt x="61" y="49"/>
                  <a:pt x="60" y="47"/>
                  <a:pt x="60" y="46"/>
                </a:cubicBezTo>
                <a:cubicBezTo>
                  <a:pt x="60" y="44"/>
                  <a:pt x="61" y="43"/>
                  <a:pt x="63" y="43"/>
                </a:cubicBezTo>
                <a:close/>
                <a:moveTo>
                  <a:pt x="63" y="60"/>
                </a:moveTo>
                <a:cubicBezTo>
                  <a:pt x="64" y="60"/>
                  <a:pt x="66" y="61"/>
                  <a:pt x="66" y="63"/>
                </a:cubicBezTo>
                <a:cubicBezTo>
                  <a:pt x="66" y="64"/>
                  <a:pt x="64" y="66"/>
                  <a:pt x="63" y="66"/>
                </a:cubicBezTo>
                <a:cubicBezTo>
                  <a:pt x="61" y="66"/>
                  <a:pt x="60" y="64"/>
                  <a:pt x="60" y="63"/>
                </a:cubicBezTo>
                <a:cubicBezTo>
                  <a:pt x="60" y="61"/>
                  <a:pt x="61" y="60"/>
                  <a:pt x="63" y="60"/>
                </a:cubicBezTo>
                <a:close/>
                <a:moveTo>
                  <a:pt x="71" y="51"/>
                </a:moveTo>
                <a:cubicBezTo>
                  <a:pt x="73" y="51"/>
                  <a:pt x="74" y="53"/>
                  <a:pt x="74" y="54"/>
                </a:cubicBezTo>
                <a:cubicBezTo>
                  <a:pt x="74" y="56"/>
                  <a:pt x="73" y="57"/>
                  <a:pt x="71" y="57"/>
                </a:cubicBezTo>
                <a:cubicBezTo>
                  <a:pt x="70" y="57"/>
                  <a:pt x="69" y="56"/>
                  <a:pt x="69" y="54"/>
                </a:cubicBezTo>
                <a:cubicBezTo>
                  <a:pt x="69" y="53"/>
                  <a:pt x="70" y="51"/>
                  <a:pt x="71" y="51"/>
                </a:cubicBezTo>
                <a:close/>
                <a:moveTo>
                  <a:pt x="71" y="69"/>
                </a:moveTo>
                <a:cubicBezTo>
                  <a:pt x="73" y="69"/>
                  <a:pt x="74" y="70"/>
                  <a:pt x="74" y="71"/>
                </a:cubicBezTo>
                <a:cubicBezTo>
                  <a:pt x="74" y="73"/>
                  <a:pt x="73" y="74"/>
                  <a:pt x="71" y="74"/>
                </a:cubicBezTo>
                <a:cubicBezTo>
                  <a:pt x="70" y="74"/>
                  <a:pt x="69" y="73"/>
                  <a:pt x="69" y="71"/>
                </a:cubicBezTo>
                <a:cubicBezTo>
                  <a:pt x="69" y="70"/>
                  <a:pt x="70" y="69"/>
                  <a:pt x="71" y="69"/>
                </a:cubicBezTo>
                <a:close/>
                <a:moveTo>
                  <a:pt x="63" y="77"/>
                </a:moveTo>
                <a:cubicBezTo>
                  <a:pt x="64" y="77"/>
                  <a:pt x="66" y="78"/>
                  <a:pt x="66" y="80"/>
                </a:cubicBezTo>
                <a:cubicBezTo>
                  <a:pt x="66" y="82"/>
                  <a:pt x="64" y="83"/>
                  <a:pt x="63" y="83"/>
                </a:cubicBezTo>
                <a:cubicBezTo>
                  <a:pt x="61" y="83"/>
                  <a:pt x="60" y="82"/>
                  <a:pt x="60" y="80"/>
                </a:cubicBezTo>
                <a:cubicBezTo>
                  <a:pt x="60" y="78"/>
                  <a:pt x="61" y="77"/>
                  <a:pt x="63" y="77"/>
                </a:cubicBezTo>
                <a:close/>
                <a:moveTo>
                  <a:pt x="63" y="94"/>
                </a:moveTo>
                <a:cubicBezTo>
                  <a:pt x="64" y="94"/>
                  <a:pt x="66" y="96"/>
                  <a:pt x="66" y="97"/>
                </a:cubicBezTo>
                <a:cubicBezTo>
                  <a:pt x="66" y="99"/>
                  <a:pt x="64" y="100"/>
                  <a:pt x="63" y="100"/>
                </a:cubicBezTo>
                <a:cubicBezTo>
                  <a:pt x="61" y="100"/>
                  <a:pt x="60" y="99"/>
                  <a:pt x="60" y="97"/>
                </a:cubicBezTo>
                <a:cubicBezTo>
                  <a:pt x="60" y="96"/>
                  <a:pt x="61" y="94"/>
                  <a:pt x="63" y="94"/>
                </a:cubicBezTo>
                <a:close/>
                <a:moveTo>
                  <a:pt x="71" y="86"/>
                </a:moveTo>
                <a:cubicBezTo>
                  <a:pt x="73" y="86"/>
                  <a:pt x="74" y="87"/>
                  <a:pt x="74" y="89"/>
                </a:cubicBezTo>
                <a:cubicBezTo>
                  <a:pt x="74" y="90"/>
                  <a:pt x="73" y="91"/>
                  <a:pt x="71" y="91"/>
                </a:cubicBezTo>
                <a:cubicBezTo>
                  <a:pt x="70" y="91"/>
                  <a:pt x="69" y="90"/>
                  <a:pt x="69" y="89"/>
                </a:cubicBezTo>
                <a:cubicBezTo>
                  <a:pt x="69" y="87"/>
                  <a:pt x="70" y="86"/>
                  <a:pt x="71" y="86"/>
                </a:cubicBezTo>
                <a:close/>
                <a:moveTo>
                  <a:pt x="71" y="103"/>
                </a:moveTo>
                <a:cubicBezTo>
                  <a:pt x="73" y="103"/>
                  <a:pt x="74" y="104"/>
                  <a:pt x="74" y="106"/>
                </a:cubicBezTo>
                <a:cubicBezTo>
                  <a:pt x="74" y="107"/>
                  <a:pt x="73" y="109"/>
                  <a:pt x="71" y="109"/>
                </a:cubicBezTo>
                <a:cubicBezTo>
                  <a:pt x="70" y="109"/>
                  <a:pt x="69" y="107"/>
                  <a:pt x="69" y="106"/>
                </a:cubicBezTo>
                <a:cubicBezTo>
                  <a:pt x="69" y="104"/>
                  <a:pt x="70" y="103"/>
                  <a:pt x="71" y="103"/>
                </a:cubicBezTo>
                <a:close/>
                <a:moveTo>
                  <a:pt x="63" y="111"/>
                </a:moveTo>
                <a:cubicBezTo>
                  <a:pt x="64" y="111"/>
                  <a:pt x="66" y="113"/>
                  <a:pt x="66" y="114"/>
                </a:cubicBezTo>
                <a:cubicBezTo>
                  <a:pt x="66" y="116"/>
                  <a:pt x="64" y="117"/>
                  <a:pt x="63" y="117"/>
                </a:cubicBezTo>
                <a:cubicBezTo>
                  <a:pt x="61" y="117"/>
                  <a:pt x="60" y="116"/>
                  <a:pt x="60" y="114"/>
                </a:cubicBezTo>
                <a:cubicBezTo>
                  <a:pt x="60" y="113"/>
                  <a:pt x="61" y="111"/>
                  <a:pt x="63" y="111"/>
                </a:cubicBezTo>
                <a:close/>
                <a:moveTo>
                  <a:pt x="63" y="129"/>
                </a:moveTo>
                <a:cubicBezTo>
                  <a:pt x="64" y="129"/>
                  <a:pt x="66" y="130"/>
                  <a:pt x="66" y="131"/>
                </a:cubicBezTo>
                <a:cubicBezTo>
                  <a:pt x="66" y="133"/>
                  <a:pt x="64" y="134"/>
                  <a:pt x="63" y="134"/>
                </a:cubicBezTo>
                <a:cubicBezTo>
                  <a:pt x="61" y="134"/>
                  <a:pt x="60" y="133"/>
                  <a:pt x="60" y="131"/>
                </a:cubicBezTo>
                <a:cubicBezTo>
                  <a:pt x="60" y="130"/>
                  <a:pt x="61" y="129"/>
                  <a:pt x="63" y="129"/>
                </a:cubicBezTo>
                <a:close/>
                <a:moveTo>
                  <a:pt x="71" y="120"/>
                </a:moveTo>
                <a:cubicBezTo>
                  <a:pt x="73" y="120"/>
                  <a:pt x="74" y="121"/>
                  <a:pt x="74" y="123"/>
                </a:cubicBezTo>
                <a:cubicBezTo>
                  <a:pt x="74" y="124"/>
                  <a:pt x="73" y="126"/>
                  <a:pt x="71" y="126"/>
                </a:cubicBezTo>
                <a:cubicBezTo>
                  <a:pt x="70" y="126"/>
                  <a:pt x="69" y="124"/>
                  <a:pt x="69" y="123"/>
                </a:cubicBezTo>
                <a:cubicBezTo>
                  <a:pt x="69" y="121"/>
                  <a:pt x="70" y="120"/>
                  <a:pt x="71" y="120"/>
                </a:cubicBezTo>
                <a:close/>
                <a:moveTo>
                  <a:pt x="11" y="43"/>
                </a:moveTo>
                <a:cubicBezTo>
                  <a:pt x="13" y="43"/>
                  <a:pt x="14" y="44"/>
                  <a:pt x="14" y="46"/>
                </a:cubicBezTo>
                <a:cubicBezTo>
                  <a:pt x="14" y="47"/>
                  <a:pt x="13" y="49"/>
                  <a:pt x="11" y="49"/>
                </a:cubicBezTo>
                <a:cubicBezTo>
                  <a:pt x="10" y="49"/>
                  <a:pt x="9" y="47"/>
                  <a:pt x="9" y="46"/>
                </a:cubicBezTo>
                <a:cubicBezTo>
                  <a:pt x="9" y="44"/>
                  <a:pt x="10" y="43"/>
                  <a:pt x="11" y="43"/>
                </a:cubicBezTo>
                <a:close/>
                <a:moveTo>
                  <a:pt x="11" y="60"/>
                </a:moveTo>
                <a:cubicBezTo>
                  <a:pt x="13" y="60"/>
                  <a:pt x="14" y="61"/>
                  <a:pt x="14" y="63"/>
                </a:cubicBezTo>
                <a:cubicBezTo>
                  <a:pt x="14" y="64"/>
                  <a:pt x="13" y="66"/>
                  <a:pt x="11" y="66"/>
                </a:cubicBezTo>
                <a:cubicBezTo>
                  <a:pt x="10" y="66"/>
                  <a:pt x="9" y="64"/>
                  <a:pt x="9" y="63"/>
                </a:cubicBezTo>
                <a:cubicBezTo>
                  <a:pt x="9" y="61"/>
                  <a:pt x="10" y="60"/>
                  <a:pt x="11" y="60"/>
                </a:cubicBezTo>
                <a:close/>
                <a:moveTo>
                  <a:pt x="20" y="51"/>
                </a:moveTo>
                <a:cubicBezTo>
                  <a:pt x="22" y="51"/>
                  <a:pt x="23" y="53"/>
                  <a:pt x="23" y="54"/>
                </a:cubicBezTo>
                <a:cubicBezTo>
                  <a:pt x="23" y="56"/>
                  <a:pt x="22" y="57"/>
                  <a:pt x="20" y="57"/>
                </a:cubicBezTo>
                <a:cubicBezTo>
                  <a:pt x="18" y="57"/>
                  <a:pt x="17" y="56"/>
                  <a:pt x="17" y="54"/>
                </a:cubicBezTo>
                <a:cubicBezTo>
                  <a:pt x="17" y="53"/>
                  <a:pt x="18" y="51"/>
                  <a:pt x="20" y="51"/>
                </a:cubicBezTo>
                <a:close/>
                <a:moveTo>
                  <a:pt x="20" y="69"/>
                </a:moveTo>
                <a:cubicBezTo>
                  <a:pt x="22" y="69"/>
                  <a:pt x="23" y="70"/>
                  <a:pt x="23" y="71"/>
                </a:cubicBezTo>
                <a:cubicBezTo>
                  <a:pt x="23" y="73"/>
                  <a:pt x="22" y="74"/>
                  <a:pt x="20" y="74"/>
                </a:cubicBezTo>
                <a:cubicBezTo>
                  <a:pt x="18" y="74"/>
                  <a:pt x="17" y="73"/>
                  <a:pt x="17" y="71"/>
                </a:cubicBezTo>
                <a:cubicBezTo>
                  <a:pt x="17" y="70"/>
                  <a:pt x="18" y="69"/>
                  <a:pt x="20" y="69"/>
                </a:cubicBezTo>
                <a:close/>
                <a:moveTo>
                  <a:pt x="29" y="43"/>
                </a:moveTo>
                <a:cubicBezTo>
                  <a:pt x="30" y="43"/>
                  <a:pt x="31" y="44"/>
                  <a:pt x="31" y="46"/>
                </a:cubicBezTo>
                <a:cubicBezTo>
                  <a:pt x="31" y="47"/>
                  <a:pt x="30" y="49"/>
                  <a:pt x="29" y="49"/>
                </a:cubicBezTo>
                <a:cubicBezTo>
                  <a:pt x="27" y="49"/>
                  <a:pt x="26" y="47"/>
                  <a:pt x="26" y="46"/>
                </a:cubicBezTo>
                <a:cubicBezTo>
                  <a:pt x="26" y="44"/>
                  <a:pt x="27" y="43"/>
                  <a:pt x="29" y="43"/>
                </a:cubicBezTo>
                <a:close/>
                <a:moveTo>
                  <a:pt x="46" y="43"/>
                </a:moveTo>
                <a:cubicBezTo>
                  <a:pt x="47" y="43"/>
                  <a:pt x="49" y="44"/>
                  <a:pt x="49" y="46"/>
                </a:cubicBezTo>
                <a:cubicBezTo>
                  <a:pt x="49" y="47"/>
                  <a:pt x="47" y="49"/>
                  <a:pt x="46" y="49"/>
                </a:cubicBezTo>
                <a:cubicBezTo>
                  <a:pt x="44" y="49"/>
                  <a:pt x="43" y="47"/>
                  <a:pt x="43" y="46"/>
                </a:cubicBezTo>
                <a:cubicBezTo>
                  <a:pt x="43" y="44"/>
                  <a:pt x="44" y="43"/>
                  <a:pt x="46" y="43"/>
                </a:cubicBezTo>
                <a:close/>
                <a:moveTo>
                  <a:pt x="29" y="60"/>
                </a:moveTo>
                <a:cubicBezTo>
                  <a:pt x="30" y="60"/>
                  <a:pt x="31" y="61"/>
                  <a:pt x="31" y="63"/>
                </a:cubicBezTo>
                <a:cubicBezTo>
                  <a:pt x="31" y="64"/>
                  <a:pt x="30" y="66"/>
                  <a:pt x="29" y="66"/>
                </a:cubicBezTo>
                <a:cubicBezTo>
                  <a:pt x="27" y="66"/>
                  <a:pt x="26" y="64"/>
                  <a:pt x="26" y="63"/>
                </a:cubicBezTo>
                <a:cubicBezTo>
                  <a:pt x="26" y="61"/>
                  <a:pt x="27" y="60"/>
                  <a:pt x="29" y="60"/>
                </a:cubicBezTo>
                <a:close/>
                <a:moveTo>
                  <a:pt x="46" y="60"/>
                </a:moveTo>
                <a:cubicBezTo>
                  <a:pt x="47" y="60"/>
                  <a:pt x="49" y="61"/>
                  <a:pt x="49" y="63"/>
                </a:cubicBezTo>
                <a:cubicBezTo>
                  <a:pt x="49" y="64"/>
                  <a:pt x="47" y="66"/>
                  <a:pt x="46" y="66"/>
                </a:cubicBezTo>
                <a:cubicBezTo>
                  <a:pt x="44" y="66"/>
                  <a:pt x="43" y="64"/>
                  <a:pt x="43" y="63"/>
                </a:cubicBezTo>
                <a:cubicBezTo>
                  <a:pt x="43" y="61"/>
                  <a:pt x="44" y="60"/>
                  <a:pt x="46" y="60"/>
                </a:cubicBezTo>
                <a:close/>
                <a:moveTo>
                  <a:pt x="37" y="51"/>
                </a:moveTo>
                <a:cubicBezTo>
                  <a:pt x="39" y="51"/>
                  <a:pt x="40" y="53"/>
                  <a:pt x="40" y="54"/>
                </a:cubicBezTo>
                <a:cubicBezTo>
                  <a:pt x="40" y="56"/>
                  <a:pt x="39" y="57"/>
                  <a:pt x="37" y="57"/>
                </a:cubicBezTo>
                <a:cubicBezTo>
                  <a:pt x="36" y="57"/>
                  <a:pt x="34" y="56"/>
                  <a:pt x="34" y="54"/>
                </a:cubicBezTo>
                <a:cubicBezTo>
                  <a:pt x="34" y="53"/>
                  <a:pt x="36" y="51"/>
                  <a:pt x="37" y="51"/>
                </a:cubicBezTo>
                <a:close/>
                <a:moveTo>
                  <a:pt x="54" y="51"/>
                </a:moveTo>
                <a:cubicBezTo>
                  <a:pt x="56" y="51"/>
                  <a:pt x="57" y="53"/>
                  <a:pt x="57" y="54"/>
                </a:cubicBezTo>
                <a:cubicBezTo>
                  <a:pt x="57" y="56"/>
                  <a:pt x="56" y="57"/>
                  <a:pt x="54" y="57"/>
                </a:cubicBezTo>
                <a:cubicBezTo>
                  <a:pt x="53" y="57"/>
                  <a:pt x="51" y="56"/>
                  <a:pt x="51" y="54"/>
                </a:cubicBezTo>
                <a:cubicBezTo>
                  <a:pt x="51" y="53"/>
                  <a:pt x="53" y="51"/>
                  <a:pt x="54" y="51"/>
                </a:cubicBezTo>
                <a:close/>
                <a:moveTo>
                  <a:pt x="37" y="69"/>
                </a:moveTo>
                <a:cubicBezTo>
                  <a:pt x="39" y="69"/>
                  <a:pt x="40" y="70"/>
                  <a:pt x="40" y="71"/>
                </a:cubicBezTo>
                <a:cubicBezTo>
                  <a:pt x="40" y="73"/>
                  <a:pt x="39" y="74"/>
                  <a:pt x="37" y="74"/>
                </a:cubicBezTo>
                <a:cubicBezTo>
                  <a:pt x="36" y="74"/>
                  <a:pt x="34" y="73"/>
                  <a:pt x="34" y="71"/>
                </a:cubicBezTo>
                <a:cubicBezTo>
                  <a:pt x="34" y="70"/>
                  <a:pt x="36" y="69"/>
                  <a:pt x="37" y="69"/>
                </a:cubicBezTo>
                <a:close/>
                <a:moveTo>
                  <a:pt x="54" y="69"/>
                </a:moveTo>
                <a:cubicBezTo>
                  <a:pt x="56" y="69"/>
                  <a:pt x="57" y="70"/>
                  <a:pt x="57" y="71"/>
                </a:cubicBezTo>
                <a:cubicBezTo>
                  <a:pt x="57" y="73"/>
                  <a:pt x="56" y="74"/>
                  <a:pt x="54" y="74"/>
                </a:cubicBezTo>
                <a:cubicBezTo>
                  <a:pt x="53" y="74"/>
                  <a:pt x="51" y="73"/>
                  <a:pt x="51" y="71"/>
                </a:cubicBezTo>
                <a:cubicBezTo>
                  <a:pt x="51" y="70"/>
                  <a:pt x="53" y="69"/>
                  <a:pt x="54" y="69"/>
                </a:cubicBezTo>
                <a:close/>
                <a:moveTo>
                  <a:pt x="11" y="77"/>
                </a:moveTo>
                <a:cubicBezTo>
                  <a:pt x="13" y="77"/>
                  <a:pt x="14" y="78"/>
                  <a:pt x="14" y="80"/>
                </a:cubicBezTo>
                <a:cubicBezTo>
                  <a:pt x="14" y="82"/>
                  <a:pt x="13" y="83"/>
                  <a:pt x="11" y="83"/>
                </a:cubicBezTo>
                <a:cubicBezTo>
                  <a:pt x="10" y="83"/>
                  <a:pt x="9" y="82"/>
                  <a:pt x="9" y="80"/>
                </a:cubicBezTo>
                <a:cubicBezTo>
                  <a:pt x="9" y="78"/>
                  <a:pt x="10" y="77"/>
                  <a:pt x="11" y="77"/>
                </a:cubicBezTo>
                <a:close/>
                <a:moveTo>
                  <a:pt x="11" y="94"/>
                </a:moveTo>
                <a:cubicBezTo>
                  <a:pt x="13" y="94"/>
                  <a:pt x="14" y="96"/>
                  <a:pt x="14" y="97"/>
                </a:cubicBezTo>
                <a:cubicBezTo>
                  <a:pt x="14" y="99"/>
                  <a:pt x="13" y="100"/>
                  <a:pt x="11" y="100"/>
                </a:cubicBezTo>
                <a:cubicBezTo>
                  <a:pt x="10" y="100"/>
                  <a:pt x="9" y="99"/>
                  <a:pt x="9" y="97"/>
                </a:cubicBezTo>
                <a:cubicBezTo>
                  <a:pt x="9" y="96"/>
                  <a:pt x="10" y="94"/>
                  <a:pt x="11" y="94"/>
                </a:cubicBezTo>
                <a:close/>
                <a:moveTo>
                  <a:pt x="20" y="86"/>
                </a:moveTo>
                <a:cubicBezTo>
                  <a:pt x="22" y="86"/>
                  <a:pt x="23" y="87"/>
                  <a:pt x="23" y="89"/>
                </a:cubicBezTo>
                <a:cubicBezTo>
                  <a:pt x="23" y="90"/>
                  <a:pt x="22" y="91"/>
                  <a:pt x="20" y="91"/>
                </a:cubicBezTo>
                <a:cubicBezTo>
                  <a:pt x="18" y="91"/>
                  <a:pt x="17" y="90"/>
                  <a:pt x="17" y="89"/>
                </a:cubicBezTo>
                <a:cubicBezTo>
                  <a:pt x="17" y="87"/>
                  <a:pt x="18" y="86"/>
                  <a:pt x="20" y="86"/>
                </a:cubicBezTo>
                <a:close/>
                <a:moveTo>
                  <a:pt x="20" y="103"/>
                </a:moveTo>
                <a:cubicBezTo>
                  <a:pt x="22" y="103"/>
                  <a:pt x="23" y="104"/>
                  <a:pt x="23" y="106"/>
                </a:cubicBezTo>
                <a:cubicBezTo>
                  <a:pt x="23" y="107"/>
                  <a:pt x="22" y="109"/>
                  <a:pt x="20" y="109"/>
                </a:cubicBezTo>
                <a:cubicBezTo>
                  <a:pt x="18" y="109"/>
                  <a:pt x="17" y="107"/>
                  <a:pt x="17" y="106"/>
                </a:cubicBezTo>
                <a:cubicBezTo>
                  <a:pt x="17" y="104"/>
                  <a:pt x="18" y="103"/>
                  <a:pt x="20" y="103"/>
                </a:cubicBezTo>
                <a:close/>
                <a:moveTo>
                  <a:pt x="29" y="77"/>
                </a:moveTo>
                <a:cubicBezTo>
                  <a:pt x="30" y="77"/>
                  <a:pt x="31" y="78"/>
                  <a:pt x="31" y="80"/>
                </a:cubicBezTo>
                <a:cubicBezTo>
                  <a:pt x="31" y="82"/>
                  <a:pt x="30" y="83"/>
                  <a:pt x="29" y="83"/>
                </a:cubicBezTo>
                <a:cubicBezTo>
                  <a:pt x="27" y="83"/>
                  <a:pt x="26" y="82"/>
                  <a:pt x="26" y="80"/>
                </a:cubicBezTo>
                <a:cubicBezTo>
                  <a:pt x="26" y="78"/>
                  <a:pt x="27" y="77"/>
                  <a:pt x="29" y="77"/>
                </a:cubicBezTo>
                <a:close/>
                <a:moveTo>
                  <a:pt x="46" y="77"/>
                </a:moveTo>
                <a:cubicBezTo>
                  <a:pt x="47" y="77"/>
                  <a:pt x="49" y="78"/>
                  <a:pt x="49" y="80"/>
                </a:cubicBezTo>
                <a:cubicBezTo>
                  <a:pt x="49" y="82"/>
                  <a:pt x="47" y="83"/>
                  <a:pt x="46" y="83"/>
                </a:cubicBezTo>
                <a:cubicBezTo>
                  <a:pt x="44" y="83"/>
                  <a:pt x="43" y="82"/>
                  <a:pt x="43" y="80"/>
                </a:cubicBezTo>
                <a:cubicBezTo>
                  <a:pt x="43" y="78"/>
                  <a:pt x="44" y="77"/>
                  <a:pt x="46" y="77"/>
                </a:cubicBezTo>
                <a:close/>
                <a:moveTo>
                  <a:pt x="29" y="94"/>
                </a:moveTo>
                <a:cubicBezTo>
                  <a:pt x="30" y="94"/>
                  <a:pt x="31" y="96"/>
                  <a:pt x="31" y="97"/>
                </a:cubicBezTo>
                <a:cubicBezTo>
                  <a:pt x="31" y="99"/>
                  <a:pt x="30" y="100"/>
                  <a:pt x="29" y="100"/>
                </a:cubicBezTo>
                <a:cubicBezTo>
                  <a:pt x="27" y="100"/>
                  <a:pt x="26" y="99"/>
                  <a:pt x="26" y="97"/>
                </a:cubicBezTo>
                <a:cubicBezTo>
                  <a:pt x="26" y="96"/>
                  <a:pt x="27" y="94"/>
                  <a:pt x="29" y="94"/>
                </a:cubicBezTo>
                <a:close/>
                <a:moveTo>
                  <a:pt x="46" y="94"/>
                </a:moveTo>
                <a:cubicBezTo>
                  <a:pt x="47" y="94"/>
                  <a:pt x="49" y="96"/>
                  <a:pt x="49" y="97"/>
                </a:cubicBezTo>
                <a:cubicBezTo>
                  <a:pt x="49" y="99"/>
                  <a:pt x="47" y="100"/>
                  <a:pt x="46" y="100"/>
                </a:cubicBezTo>
                <a:cubicBezTo>
                  <a:pt x="44" y="100"/>
                  <a:pt x="43" y="99"/>
                  <a:pt x="43" y="97"/>
                </a:cubicBezTo>
                <a:cubicBezTo>
                  <a:pt x="43" y="96"/>
                  <a:pt x="44" y="94"/>
                  <a:pt x="46" y="94"/>
                </a:cubicBezTo>
                <a:close/>
                <a:moveTo>
                  <a:pt x="37" y="86"/>
                </a:moveTo>
                <a:cubicBezTo>
                  <a:pt x="39" y="86"/>
                  <a:pt x="40" y="87"/>
                  <a:pt x="40" y="89"/>
                </a:cubicBezTo>
                <a:cubicBezTo>
                  <a:pt x="40" y="90"/>
                  <a:pt x="39" y="91"/>
                  <a:pt x="37" y="91"/>
                </a:cubicBezTo>
                <a:cubicBezTo>
                  <a:pt x="36" y="91"/>
                  <a:pt x="34" y="90"/>
                  <a:pt x="34" y="89"/>
                </a:cubicBezTo>
                <a:cubicBezTo>
                  <a:pt x="34" y="87"/>
                  <a:pt x="36" y="86"/>
                  <a:pt x="37" y="86"/>
                </a:cubicBezTo>
                <a:close/>
                <a:moveTo>
                  <a:pt x="54" y="86"/>
                </a:moveTo>
                <a:cubicBezTo>
                  <a:pt x="56" y="86"/>
                  <a:pt x="57" y="87"/>
                  <a:pt x="57" y="89"/>
                </a:cubicBezTo>
                <a:cubicBezTo>
                  <a:pt x="57" y="90"/>
                  <a:pt x="56" y="91"/>
                  <a:pt x="54" y="91"/>
                </a:cubicBezTo>
                <a:cubicBezTo>
                  <a:pt x="53" y="91"/>
                  <a:pt x="51" y="90"/>
                  <a:pt x="51" y="89"/>
                </a:cubicBezTo>
                <a:cubicBezTo>
                  <a:pt x="51" y="87"/>
                  <a:pt x="53" y="86"/>
                  <a:pt x="54" y="86"/>
                </a:cubicBezTo>
                <a:close/>
                <a:moveTo>
                  <a:pt x="37" y="103"/>
                </a:moveTo>
                <a:cubicBezTo>
                  <a:pt x="39" y="103"/>
                  <a:pt x="40" y="104"/>
                  <a:pt x="40" y="106"/>
                </a:cubicBezTo>
                <a:cubicBezTo>
                  <a:pt x="40" y="107"/>
                  <a:pt x="39" y="109"/>
                  <a:pt x="37" y="109"/>
                </a:cubicBezTo>
                <a:cubicBezTo>
                  <a:pt x="36" y="109"/>
                  <a:pt x="34" y="107"/>
                  <a:pt x="34" y="106"/>
                </a:cubicBezTo>
                <a:cubicBezTo>
                  <a:pt x="34" y="104"/>
                  <a:pt x="36" y="103"/>
                  <a:pt x="37" y="103"/>
                </a:cubicBezTo>
                <a:close/>
                <a:moveTo>
                  <a:pt x="54" y="103"/>
                </a:moveTo>
                <a:cubicBezTo>
                  <a:pt x="56" y="103"/>
                  <a:pt x="57" y="104"/>
                  <a:pt x="57" y="106"/>
                </a:cubicBezTo>
                <a:cubicBezTo>
                  <a:pt x="57" y="107"/>
                  <a:pt x="56" y="109"/>
                  <a:pt x="54" y="109"/>
                </a:cubicBezTo>
                <a:cubicBezTo>
                  <a:pt x="53" y="109"/>
                  <a:pt x="51" y="107"/>
                  <a:pt x="51" y="106"/>
                </a:cubicBezTo>
                <a:cubicBezTo>
                  <a:pt x="51" y="104"/>
                  <a:pt x="53" y="103"/>
                  <a:pt x="54" y="103"/>
                </a:cubicBezTo>
                <a:close/>
                <a:moveTo>
                  <a:pt x="11" y="111"/>
                </a:moveTo>
                <a:cubicBezTo>
                  <a:pt x="13" y="111"/>
                  <a:pt x="14" y="113"/>
                  <a:pt x="14" y="114"/>
                </a:cubicBezTo>
                <a:cubicBezTo>
                  <a:pt x="14" y="116"/>
                  <a:pt x="13" y="117"/>
                  <a:pt x="11" y="117"/>
                </a:cubicBezTo>
                <a:cubicBezTo>
                  <a:pt x="10" y="117"/>
                  <a:pt x="9" y="116"/>
                  <a:pt x="9" y="114"/>
                </a:cubicBezTo>
                <a:cubicBezTo>
                  <a:pt x="9" y="113"/>
                  <a:pt x="10" y="111"/>
                  <a:pt x="11" y="111"/>
                </a:cubicBezTo>
                <a:close/>
                <a:moveTo>
                  <a:pt x="11" y="129"/>
                </a:moveTo>
                <a:cubicBezTo>
                  <a:pt x="13" y="129"/>
                  <a:pt x="14" y="130"/>
                  <a:pt x="14" y="131"/>
                </a:cubicBezTo>
                <a:cubicBezTo>
                  <a:pt x="14" y="133"/>
                  <a:pt x="13" y="134"/>
                  <a:pt x="11" y="134"/>
                </a:cubicBezTo>
                <a:cubicBezTo>
                  <a:pt x="10" y="134"/>
                  <a:pt x="9" y="133"/>
                  <a:pt x="9" y="131"/>
                </a:cubicBezTo>
                <a:cubicBezTo>
                  <a:pt x="9" y="130"/>
                  <a:pt x="10" y="129"/>
                  <a:pt x="11" y="129"/>
                </a:cubicBezTo>
                <a:close/>
                <a:moveTo>
                  <a:pt x="20" y="120"/>
                </a:moveTo>
                <a:cubicBezTo>
                  <a:pt x="22" y="120"/>
                  <a:pt x="23" y="121"/>
                  <a:pt x="23" y="123"/>
                </a:cubicBezTo>
                <a:cubicBezTo>
                  <a:pt x="23" y="124"/>
                  <a:pt x="22" y="126"/>
                  <a:pt x="20" y="126"/>
                </a:cubicBezTo>
                <a:cubicBezTo>
                  <a:pt x="18" y="126"/>
                  <a:pt x="17" y="124"/>
                  <a:pt x="17" y="123"/>
                </a:cubicBezTo>
                <a:cubicBezTo>
                  <a:pt x="17" y="121"/>
                  <a:pt x="18" y="120"/>
                  <a:pt x="20" y="120"/>
                </a:cubicBezTo>
                <a:close/>
                <a:moveTo>
                  <a:pt x="29" y="111"/>
                </a:moveTo>
                <a:cubicBezTo>
                  <a:pt x="30" y="111"/>
                  <a:pt x="31" y="113"/>
                  <a:pt x="31" y="114"/>
                </a:cubicBezTo>
                <a:cubicBezTo>
                  <a:pt x="31" y="116"/>
                  <a:pt x="30" y="117"/>
                  <a:pt x="29" y="117"/>
                </a:cubicBezTo>
                <a:cubicBezTo>
                  <a:pt x="27" y="117"/>
                  <a:pt x="26" y="116"/>
                  <a:pt x="26" y="114"/>
                </a:cubicBezTo>
                <a:cubicBezTo>
                  <a:pt x="26" y="113"/>
                  <a:pt x="27" y="111"/>
                  <a:pt x="29" y="111"/>
                </a:cubicBezTo>
                <a:close/>
                <a:moveTo>
                  <a:pt x="46" y="111"/>
                </a:moveTo>
                <a:cubicBezTo>
                  <a:pt x="47" y="111"/>
                  <a:pt x="49" y="113"/>
                  <a:pt x="49" y="114"/>
                </a:cubicBezTo>
                <a:cubicBezTo>
                  <a:pt x="49" y="116"/>
                  <a:pt x="47" y="117"/>
                  <a:pt x="46" y="117"/>
                </a:cubicBezTo>
                <a:cubicBezTo>
                  <a:pt x="44" y="117"/>
                  <a:pt x="43" y="116"/>
                  <a:pt x="43" y="114"/>
                </a:cubicBezTo>
                <a:cubicBezTo>
                  <a:pt x="43" y="113"/>
                  <a:pt x="44" y="111"/>
                  <a:pt x="46" y="111"/>
                </a:cubicBezTo>
                <a:close/>
                <a:moveTo>
                  <a:pt x="29" y="129"/>
                </a:moveTo>
                <a:cubicBezTo>
                  <a:pt x="30" y="129"/>
                  <a:pt x="31" y="130"/>
                  <a:pt x="31" y="131"/>
                </a:cubicBezTo>
                <a:cubicBezTo>
                  <a:pt x="31" y="133"/>
                  <a:pt x="30" y="134"/>
                  <a:pt x="29" y="134"/>
                </a:cubicBezTo>
                <a:cubicBezTo>
                  <a:pt x="27" y="134"/>
                  <a:pt x="26" y="133"/>
                  <a:pt x="26" y="131"/>
                </a:cubicBezTo>
                <a:cubicBezTo>
                  <a:pt x="26" y="130"/>
                  <a:pt x="27" y="129"/>
                  <a:pt x="29" y="129"/>
                </a:cubicBezTo>
                <a:close/>
                <a:moveTo>
                  <a:pt x="46" y="129"/>
                </a:moveTo>
                <a:cubicBezTo>
                  <a:pt x="47" y="129"/>
                  <a:pt x="49" y="130"/>
                  <a:pt x="49" y="131"/>
                </a:cubicBezTo>
                <a:cubicBezTo>
                  <a:pt x="49" y="133"/>
                  <a:pt x="47" y="134"/>
                  <a:pt x="46" y="134"/>
                </a:cubicBezTo>
                <a:cubicBezTo>
                  <a:pt x="44" y="134"/>
                  <a:pt x="43" y="133"/>
                  <a:pt x="43" y="131"/>
                </a:cubicBezTo>
                <a:cubicBezTo>
                  <a:pt x="43" y="130"/>
                  <a:pt x="44" y="129"/>
                  <a:pt x="46" y="129"/>
                </a:cubicBezTo>
                <a:close/>
                <a:moveTo>
                  <a:pt x="37" y="120"/>
                </a:moveTo>
                <a:cubicBezTo>
                  <a:pt x="39" y="120"/>
                  <a:pt x="40" y="121"/>
                  <a:pt x="40" y="123"/>
                </a:cubicBezTo>
                <a:cubicBezTo>
                  <a:pt x="40" y="124"/>
                  <a:pt x="39" y="126"/>
                  <a:pt x="37" y="126"/>
                </a:cubicBezTo>
                <a:cubicBezTo>
                  <a:pt x="36" y="126"/>
                  <a:pt x="34" y="124"/>
                  <a:pt x="34" y="123"/>
                </a:cubicBezTo>
                <a:cubicBezTo>
                  <a:pt x="34" y="121"/>
                  <a:pt x="36" y="120"/>
                  <a:pt x="37" y="120"/>
                </a:cubicBezTo>
                <a:close/>
                <a:moveTo>
                  <a:pt x="54" y="120"/>
                </a:moveTo>
                <a:cubicBezTo>
                  <a:pt x="56" y="120"/>
                  <a:pt x="57" y="121"/>
                  <a:pt x="57" y="123"/>
                </a:cubicBezTo>
                <a:cubicBezTo>
                  <a:pt x="57" y="124"/>
                  <a:pt x="56" y="126"/>
                  <a:pt x="54" y="126"/>
                </a:cubicBezTo>
                <a:cubicBezTo>
                  <a:pt x="53" y="126"/>
                  <a:pt x="51" y="124"/>
                  <a:pt x="51" y="123"/>
                </a:cubicBezTo>
                <a:cubicBezTo>
                  <a:pt x="51" y="121"/>
                  <a:pt x="53" y="120"/>
                  <a:pt x="54"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0" name="TextBox 9"/>
          <p:cNvSpPr txBox="1"/>
          <p:nvPr/>
        </p:nvSpPr>
        <p:spPr>
          <a:xfrm>
            <a:off x="1866899" y="5255292"/>
            <a:ext cx="1799723" cy="338554"/>
          </a:xfrm>
          <a:prstGeom prst="rect">
            <a:avLst/>
          </a:prstGeom>
          <a:noFill/>
        </p:spPr>
        <p:txBody>
          <a:bodyPr wrap="none" lIns="0" rIns="0" rtlCol="0">
            <a:spAutoFit/>
          </a:bodyPr>
          <a:lstStyle/>
          <a:p>
            <a:r>
              <a:rPr lang="en-US" sz="1600" dirty="0">
                <a:solidFill>
                  <a:schemeClr val="bg1"/>
                </a:solidFill>
                <a:latin typeface="RBC Display" panose="02000000000000000000" pitchFamily="2" charset="77"/>
              </a:rPr>
              <a:t>Give an application</a:t>
            </a:r>
          </a:p>
        </p:txBody>
      </p:sp>
      <p:sp>
        <p:nvSpPr>
          <p:cNvPr id="11" name="TextBox 10"/>
          <p:cNvSpPr txBox="1"/>
          <p:nvPr/>
        </p:nvSpPr>
        <p:spPr>
          <a:xfrm>
            <a:off x="1866899" y="5593846"/>
            <a:ext cx="1990481"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How to work with the fund?</a:t>
            </a:r>
          </a:p>
        </p:txBody>
      </p:sp>
      <p:sp>
        <p:nvSpPr>
          <p:cNvPr id="13" name="TextBox 12"/>
          <p:cNvSpPr txBox="1"/>
          <p:nvPr/>
        </p:nvSpPr>
        <p:spPr>
          <a:xfrm>
            <a:off x="5490250" y="4254262"/>
            <a:ext cx="1799723" cy="338554"/>
          </a:xfrm>
          <a:prstGeom prst="rect">
            <a:avLst/>
          </a:prstGeom>
          <a:noFill/>
        </p:spPr>
        <p:txBody>
          <a:bodyPr wrap="none" lIns="0" rIns="0" rtlCol="0">
            <a:spAutoFit/>
          </a:bodyPr>
          <a:lstStyle/>
          <a:p>
            <a:r>
              <a:rPr lang="en-US" sz="1600" dirty="0">
                <a:solidFill>
                  <a:schemeClr val="bg1"/>
                </a:solidFill>
                <a:latin typeface="RBC Display" panose="02000000000000000000" pitchFamily="2" charset="77"/>
              </a:rPr>
              <a:t>Give an application</a:t>
            </a:r>
          </a:p>
        </p:txBody>
      </p:sp>
      <p:sp>
        <p:nvSpPr>
          <p:cNvPr id="14" name="TextBox 13"/>
          <p:cNvSpPr txBox="1"/>
          <p:nvPr/>
        </p:nvSpPr>
        <p:spPr>
          <a:xfrm>
            <a:off x="5490250" y="4592816"/>
            <a:ext cx="1990481"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How to work with the fund?</a:t>
            </a:r>
          </a:p>
        </p:txBody>
      </p:sp>
      <p:sp>
        <p:nvSpPr>
          <p:cNvPr id="16" name="TextBox 15"/>
          <p:cNvSpPr txBox="1"/>
          <p:nvPr/>
        </p:nvSpPr>
        <p:spPr>
          <a:xfrm>
            <a:off x="5490250" y="5255292"/>
            <a:ext cx="1799723" cy="338554"/>
          </a:xfrm>
          <a:prstGeom prst="rect">
            <a:avLst/>
          </a:prstGeom>
          <a:noFill/>
        </p:spPr>
        <p:txBody>
          <a:bodyPr wrap="none" lIns="0" rIns="0" rtlCol="0">
            <a:spAutoFit/>
          </a:bodyPr>
          <a:lstStyle/>
          <a:p>
            <a:r>
              <a:rPr lang="en-US" sz="1600" dirty="0">
                <a:solidFill>
                  <a:schemeClr val="bg1"/>
                </a:solidFill>
                <a:latin typeface="RBC Display" panose="02000000000000000000" pitchFamily="2" charset="77"/>
              </a:rPr>
              <a:t>Give an application</a:t>
            </a:r>
          </a:p>
        </p:txBody>
      </p:sp>
      <p:sp>
        <p:nvSpPr>
          <p:cNvPr id="17" name="TextBox 16"/>
          <p:cNvSpPr txBox="1"/>
          <p:nvPr/>
        </p:nvSpPr>
        <p:spPr>
          <a:xfrm>
            <a:off x="5490250" y="5593846"/>
            <a:ext cx="1990481"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How to work with the fund?</a:t>
            </a:r>
          </a:p>
        </p:txBody>
      </p:sp>
      <p:sp>
        <p:nvSpPr>
          <p:cNvPr id="18" name="Freeform 39"/>
          <p:cNvSpPr>
            <a:spLocks noEditPoints="1"/>
          </p:cNvSpPr>
          <p:nvPr/>
        </p:nvSpPr>
        <p:spPr bwMode="auto">
          <a:xfrm>
            <a:off x="4644099" y="5330836"/>
            <a:ext cx="495930" cy="456570"/>
          </a:xfrm>
          <a:custGeom>
            <a:avLst/>
            <a:gdLst>
              <a:gd name="T0" fmla="*/ 137 w 160"/>
              <a:gd name="T1" fmla="*/ 140 h 146"/>
              <a:gd name="T2" fmla="*/ 86 w 160"/>
              <a:gd name="T3" fmla="*/ 140 h 146"/>
              <a:gd name="T4" fmla="*/ 34 w 160"/>
              <a:gd name="T5" fmla="*/ 140 h 146"/>
              <a:gd name="T6" fmla="*/ 9 w 160"/>
              <a:gd name="T7" fmla="*/ 23 h 146"/>
              <a:gd name="T8" fmla="*/ 146 w 160"/>
              <a:gd name="T9" fmla="*/ 14 h 146"/>
              <a:gd name="T10" fmla="*/ 26 w 160"/>
              <a:gd name="T11" fmla="*/ 6 h 146"/>
              <a:gd name="T12" fmla="*/ 131 w 160"/>
              <a:gd name="T13" fmla="*/ 66 h 146"/>
              <a:gd name="T14" fmla="*/ 143 w 160"/>
              <a:gd name="T15" fmla="*/ 71 h 146"/>
              <a:gd name="T16" fmla="*/ 149 w 160"/>
              <a:gd name="T17" fmla="*/ 60 h 146"/>
              <a:gd name="T18" fmla="*/ 131 w 160"/>
              <a:gd name="T19" fmla="*/ 77 h 146"/>
              <a:gd name="T20" fmla="*/ 137 w 160"/>
              <a:gd name="T21" fmla="*/ 89 h 146"/>
              <a:gd name="T22" fmla="*/ 149 w 160"/>
              <a:gd name="T23" fmla="*/ 83 h 146"/>
              <a:gd name="T24" fmla="*/ 134 w 160"/>
              <a:gd name="T25" fmla="*/ 114 h 146"/>
              <a:gd name="T26" fmla="*/ 140 w 160"/>
              <a:gd name="T27" fmla="*/ 120 h 146"/>
              <a:gd name="T28" fmla="*/ 149 w 160"/>
              <a:gd name="T29" fmla="*/ 111 h 146"/>
              <a:gd name="T30" fmla="*/ 77 w 160"/>
              <a:gd name="T31" fmla="*/ 46 h 146"/>
              <a:gd name="T32" fmla="*/ 89 w 160"/>
              <a:gd name="T33" fmla="*/ 57 h 146"/>
              <a:gd name="T34" fmla="*/ 100 w 160"/>
              <a:gd name="T35" fmla="*/ 46 h 146"/>
              <a:gd name="T36" fmla="*/ 97 w 160"/>
              <a:gd name="T37" fmla="*/ 60 h 146"/>
              <a:gd name="T38" fmla="*/ 114 w 160"/>
              <a:gd name="T39" fmla="*/ 60 h 146"/>
              <a:gd name="T40" fmla="*/ 120 w 160"/>
              <a:gd name="T41" fmla="*/ 54 h 146"/>
              <a:gd name="T42" fmla="*/ 123 w 160"/>
              <a:gd name="T43" fmla="*/ 74 h 146"/>
              <a:gd name="T44" fmla="*/ 83 w 160"/>
              <a:gd name="T45" fmla="*/ 97 h 146"/>
              <a:gd name="T46" fmla="*/ 89 w 160"/>
              <a:gd name="T47" fmla="*/ 103 h 146"/>
              <a:gd name="T48" fmla="*/ 97 w 160"/>
              <a:gd name="T49" fmla="*/ 77 h 146"/>
              <a:gd name="T50" fmla="*/ 94 w 160"/>
              <a:gd name="T51" fmla="*/ 97 h 146"/>
              <a:gd name="T52" fmla="*/ 106 w 160"/>
              <a:gd name="T53" fmla="*/ 91 h 146"/>
              <a:gd name="T54" fmla="*/ 109 w 160"/>
              <a:gd name="T55" fmla="*/ 106 h 146"/>
              <a:gd name="T56" fmla="*/ 80 w 160"/>
              <a:gd name="T57" fmla="*/ 111 h 146"/>
              <a:gd name="T58" fmla="*/ 80 w 160"/>
              <a:gd name="T59" fmla="*/ 129 h 146"/>
              <a:gd name="T60" fmla="*/ 94 w 160"/>
              <a:gd name="T61" fmla="*/ 114 h 146"/>
              <a:gd name="T62" fmla="*/ 97 w 160"/>
              <a:gd name="T63" fmla="*/ 134 h 146"/>
              <a:gd name="T64" fmla="*/ 109 w 160"/>
              <a:gd name="T65" fmla="*/ 123 h 146"/>
              <a:gd name="T66" fmla="*/ 63 w 160"/>
              <a:gd name="T67" fmla="*/ 43 h 146"/>
              <a:gd name="T68" fmla="*/ 63 w 160"/>
              <a:gd name="T69" fmla="*/ 60 h 146"/>
              <a:gd name="T70" fmla="*/ 69 w 160"/>
              <a:gd name="T71" fmla="*/ 71 h 146"/>
              <a:gd name="T72" fmla="*/ 63 w 160"/>
              <a:gd name="T73" fmla="*/ 100 h 146"/>
              <a:gd name="T74" fmla="*/ 74 w 160"/>
              <a:gd name="T75" fmla="*/ 106 h 146"/>
              <a:gd name="T76" fmla="*/ 63 w 160"/>
              <a:gd name="T77" fmla="*/ 129 h 146"/>
              <a:gd name="T78" fmla="*/ 71 w 160"/>
              <a:gd name="T79" fmla="*/ 120 h 146"/>
              <a:gd name="T80" fmla="*/ 9 w 160"/>
              <a:gd name="T81" fmla="*/ 63 h 146"/>
              <a:gd name="T82" fmla="*/ 20 w 160"/>
              <a:gd name="T83" fmla="*/ 74 h 146"/>
              <a:gd name="T84" fmla="*/ 49 w 160"/>
              <a:gd name="T85" fmla="*/ 46 h 146"/>
              <a:gd name="T86" fmla="*/ 46 w 160"/>
              <a:gd name="T87" fmla="*/ 60 h 146"/>
              <a:gd name="T88" fmla="*/ 37 w 160"/>
              <a:gd name="T89" fmla="*/ 51 h 146"/>
              <a:gd name="T90" fmla="*/ 34 w 160"/>
              <a:gd name="T91" fmla="*/ 71 h 146"/>
              <a:gd name="T92" fmla="*/ 11 w 160"/>
              <a:gd name="T93" fmla="*/ 83 h 146"/>
              <a:gd name="T94" fmla="*/ 23 w 160"/>
              <a:gd name="T95" fmla="*/ 89 h 146"/>
              <a:gd name="T96" fmla="*/ 29 w 160"/>
              <a:gd name="T97" fmla="*/ 77 h 146"/>
              <a:gd name="T98" fmla="*/ 46 w 160"/>
              <a:gd name="T99" fmla="*/ 77 h 146"/>
              <a:gd name="T100" fmla="*/ 43 w 160"/>
              <a:gd name="T101" fmla="*/ 97 h 146"/>
              <a:gd name="T102" fmla="*/ 54 w 160"/>
              <a:gd name="T103" fmla="*/ 91 h 146"/>
              <a:gd name="T104" fmla="*/ 57 w 160"/>
              <a:gd name="T105" fmla="*/ 106 h 146"/>
              <a:gd name="T106" fmla="*/ 11 w 160"/>
              <a:gd name="T107" fmla="*/ 129 h 146"/>
              <a:gd name="T108" fmla="*/ 20 w 160"/>
              <a:gd name="T109" fmla="*/ 120 h 146"/>
              <a:gd name="T110" fmla="*/ 43 w 160"/>
              <a:gd name="T111" fmla="*/ 114 h 146"/>
              <a:gd name="T112" fmla="*/ 46 w 160"/>
              <a:gd name="T113" fmla="*/ 134 h 146"/>
              <a:gd name="T114" fmla="*/ 57 w 160"/>
              <a:gd name="T115" fmla="*/ 12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46">
                <a:moveTo>
                  <a:pt x="0" y="34"/>
                </a:moveTo>
                <a:cubicBezTo>
                  <a:pt x="0" y="146"/>
                  <a:pt x="0" y="146"/>
                  <a:pt x="0" y="146"/>
                </a:cubicBezTo>
                <a:cubicBezTo>
                  <a:pt x="160" y="146"/>
                  <a:pt x="160" y="146"/>
                  <a:pt x="160" y="146"/>
                </a:cubicBezTo>
                <a:cubicBezTo>
                  <a:pt x="160" y="34"/>
                  <a:pt x="160" y="34"/>
                  <a:pt x="160" y="34"/>
                </a:cubicBezTo>
                <a:lnTo>
                  <a:pt x="0" y="34"/>
                </a:lnTo>
                <a:close/>
                <a:moveTo>
                  <a:pt x="154" y="140"/>
                </a:moveTo>
                <a:cubicBezTo>
                  <a:pt x="143" y="140"/>
                  <a:pt x="143" y="140"/>
                  <a:pt x="143" y="140"/>
                </a:cubicBezTo>
                <a:cubicBezTo>
                  <a:pt x="143" y="138"/>
                  <a:pt x="142" y="137"/>
                  <a:pt x="140" y="137"/>
                </a:cubicBezTo>
                <a:cubicBezTo>
                  <a:pt x="138" y="137"/>
                  <a:pt x="137" y="138"/>
                  <a:pt x="137" y="140"/>
                </a:cubicBezTo>
                <a:cubicBezTo>
                  <a:pt x="126" y="140"/>
                  <a:pt x="126" y="140"/>
                  <a:pt x="126" y="140"/>
                </a:cubicBezTo>
                <a:cubicBezTo>
                  <a:pt x="126" y="138"/>
                  <a:pt x="124" y="137"/>
                  <a:pt x="123" y="137"/>
                </a:cubicBezTo>
                <a:cubicBezTo>
                  <a:pt x="121" y="137"/>
                  <a:pt x="120" y="138"/>
                  <a:pt x="120" y="140"/>
                </a:cubicBezTo>
                <a:cubicBezTo>
                  <a:pt x="109" y="140"/>
                  <a:pt x="109" y="140"/>
                  <a:pt x="109" y="140"/>
                </a:cubicBezTo>
                <a:cubicBezTo>
                  <a:pt x="109" y="138"/>
                  <a:pt x="107" y="137"/>
                  <a:pt x="106" y="137"/>
                </a:cubicBezTo>
                <a:cubicBezTo>
                  <a:pt x="104" y="137"/>
                  <a:pt x="103" y="138"/>
                  <a:pt x="103" y="140"/>
                </a:cubicBezTo>
                <a:cubicBezTo>
                  <a:pt x="91" y="140"/>
                  <a:pt x="91" y="140"/>
                  <a:pt x="91" y="140"/>
                </a:cubicBezTo>
                <a:cubicBezTo>
                  <a:pt x="91" y="138"/>
                  <a:pt x="90" y="137"/>
                  <a:pt x="89" y="137"/>
                </a:cubicBezTo>
                <a:cubicBezTo>
                  <a:pt x="87" y="137"/>
                  <a:pt x="86" y="138"/>
                  <a:pt x="86" y="140"/>
                </a:cubicBezTo>
                <a:cubicBezTo>
                  <a:pt x="74" y="140"/>
                  <a:pt x="74" y="140"/>
                  <a:pt x="74" y="140"/>
                </a:cubicBezTo>
                <a:cubicBezTo>
                  <a:pt x="74" y="138"/>
                  <a:pt x="73" y="137"/>
                  <a:pt x="71" y="137"/>
                </a:cubicBezTo>
                <a:cubicBezTo>
                  <a:pt x="70" y="137"/>
                  <a:pt x="69" y="138"/>
                  <a:pt x="69" y="140"/>
                </a:cubicBezTo>
                <a:cubicBezTo>
                  <a:pt x="57" y="140"/>
                  <a:pt x="57" y="140"/>
                  <a:pt x="57" y="140"/>
                </a:cubicBezTo>
                <a:cubicBezTo>
                  <a:pt x="57" y="138"/>
                  <a:pt x="56" y="137"/>
                  <a:pt x="54" y="137"/>
                </a:cubicBezTo>
                <a:cubicBezTo>
                  <a:pt x="53" y="137"/>
                  <a:pt x="51" y="138"/>
                  <a:pt x="51" y="140"/>
                </a:cubicBezTo>
                <a:cubicBezTo>
                  <a:pt x="40" y="140"/>
                  <a:pt x="40" y="140"/>
                  <a:pt x="40" y="140"/>
                </a:cubicBezTo>
                <a:cubicBezTo>
                  <a:pt x="40" y="138"/>
                  <a:pt x="39" y="137"/>
                  <a:pt x="37" y="137"/>
                </a:cubicBezTo>
                <a:cubicBezTo>
                  <a:pt x="36" y="137"/>
                  <a:pt x="34" y="138"/>
                  <a:pt x="34" y="140"/>
                </a:cubicBezTo>
                <a:cubicBezTo>
                  <a:pt x="23" y="140"/>
                  <a:pt x="23" y="140"/>
                  <a:pt x="23" y="140"/>
                </a:cubicBezTo>
                <a:cubicBezTo>
                  <a:pt x="23" y="138"/>
                  <a:pt x="22" y="137"/>
                  <a:pt x="20" y="137"/>
                </a:cubicBezTo>
                <a:cubicBezTo>
                  <a:pt x="18" y="137"/>
                  <a:pt x="17" y="138"/>
                  <a:pt x="17" y="140"/>
                </a:cubicBezTo>
                <a:cubicBezTo>
                  <a:pt x="6" y="140"/>
                  <a:pt x="6" y="140"/>
                  <a:pt x="6" y="140"/>
                </a:cubicBezTo>
                <a:cubicBezTo>
                  <a:pt x="6" y="40"/>
                  <a:pt x="6" y="40"/>
                  <a:pt x="6" y="40"/>
                </a:cubicBezTo>
                <a:cubicBezTo>
                  <a:pt x="154" y="40"/>
                  <a:pt x="154" y="40"/>
                  <a:pt x="154" y="40"/>
                </a:cubicBezTo>
                <a:lnTo>
                  <a:pt x="154" y="140"/>
                </a:lnTo>
                <a:close/>
                <a:moveTo>
                  <a:pt x="6" y="26"/>
                </a:moveTo>
                <a:cubicBezTo>
                  <a:pt x="6" y="24"/>
                  <a:pt x="7" y="23"/>
                  <a:pt x="9" y="23"/>
                </a:cubicBezTo>
                <a:cubicBezTo>
                  <a:pt x="151" y="23"/>
                  <a:pt x="151" y="23"/>
                  <a:pt x="151" y="23"/>
                </a:cubicBezTo>
                <a:cubicBezTo>
                  <a:pt x="153" y="23"/>
                  <a:pt x="154" y="24"/>
                  <a:pt x="154" y="26"/>
                </a:cubicBezTo>
                <a:cubicBezTo>
                  <a:pt x="154" y="27"/>
                  <a:pt x="153" y="29"/>
                  <a:pt x="151" y="29"/>
                </a:cubicBezTo>
                <a:cubicBezTo>
                  <a:pt x="9" y="29"/>
                  <a:pt x="9" y="29"/>
                  <a:pt x="9" y="29"/>
                </a:cubicBezTo>
                <a:cubicBezTo>
                  <a:pt x="7" y="29"/>
                  <a:pt x="6" y="27"/>
                  <a:pt x="6" y="26"/>
                </a:cubicBezTo>
                <a:close/>
                <a:moveTo>
                  <a:pt x="14" y="14"/>
                </a:moveTo>
                <a:cubicBezTo>
                  <a:pt x="14" y="13"/>
                  <a:pt x="16" y="11"/>
                  <a:pt x="17" y="11"/>
                </a:cubicBezTo>
                <a:cubicBezTo>
                  <a:pt x="143" y="11"/>
                  <a:pt x="143" y="11"/>
                  <a:pt x="143" y="11"/>
                </a:cubicBezTo>
                <a:cubicBezTo>
                  <a:pt x="144" y="11"/>
                  <a:pt x="146" y="13"/>
                  <a:pt x="146" y="14"/>
                </a:cubicBezTo>
                <a:cubicBezTo>
                  <a:pt x="146" y="16"/>
                  <a:pt x="144" y="17"/>
                  <a:pt x="143" y="17"/>
                </a:cubicBezTo>
                <a:cubicBezTo>
                  <a:pt x="17" y="17"/>
                  <a:pt x="17" y="17"/>
                  <a:pt x="17" y="17"/>
                </a:cubicBezTo>
                <a:cubicBezTo>
                  <a:pt x="16" y="17"/>
                  <a:pt x="14" y="16"/>
                  <a:pt x="14" y="14"/>
                </a:cubicBezTo>
                <a:close/>
                <a:moveTo>
                  <a:pt x="23" y="3"/>
                </a:moveTo>
                <a:cubicBezTo>
                  <a:pt x="23" y="1"/>
                  <a:pt x="24" y="0"/>
                  <a:pt x="26" y="0"/>
                </a:cubicBezTo>
                <a:cubicBezTo>
                  <a:pt x="134" y="0"/>
                  <a:pt x="134" y="0"/>
                  <a:pt x="134" y="0"/>
                </a:cubicBezTo>
                <a:cubicBezTo>
                  <a:pt x="136" y="0"/>
                  <a:pt x="137" y="1"/>
                  <a:pt x="137" y="3"/>
                </a:cubicBezTo>
                <a:cubicBezTo>
                  <a:pt x="137" y="4"/>
                  <a:pt x="136" y="6"/>
                  <a:pt x="134" y="6"/>
                </a:cubicBezTo>
                <a:cubicBezTo>
                  <a:pt x="26" y="6"/>
                  <a:pt x="26" y="6"/>
                  <a:pt x="26" y="6"/>
                </a:cubicBezTo>
                <a:cubicBezTo>
                  <a:pt x="24" y="6"/>
                  <a:pt x="23" y="4"/>
                  <a:pt x="23" y="3"/>
                </a:cubicBezTo>
                <a:close/>
                <a:moveTo>
                  <a:pt x="131" y="43"/>
                </a:moveTo>
                <a:cubicBezTo>
                  <a:pt x="133" y="43"/>
                  <a:pt x="134" y="44"/>
                  <a:pt x="134" y="46"/>
                </a:cubicBezTo>
                <a:cubicBezTo>
                  <a:pt x="134" y="47"/>
                  <a:pt x="133" y="49"/>
                  <a:pt x="131" y="49"/>
                </a:cubicBezTo>
                <a:cubicBezTo>
                  <a:pt x="130" y="49"/>
                  <a:pt x="129" y="47"/>
                  <a:pt x="129" y="46"/>
                </a:cubicBezTo>
                <a:cubicBezTo>
                  <a:pt x="129" y="44"/>
                  <a:pt x="130" y="43"/>
                  <a:pt x="131" y="43"/>
                </a:cubicBezTo>
                <a:close/>
                <a:moveTo>
                  <a:pt x="131" y="60"/>
                </a:moveTo>
                <a:cubicBezTo>
                  <a:pt x="133" y="60"/>
                  <a:pt x="134" y="61"/>
                  <a:pt x="134" y="63"/>
                </a:cubicBezTo>
                <a:cubicBezTo>
                  <a:pt x="134" y="64"/>
                  <a:pt x="133" y="66"/>
                  <a:pt x="131" y="66"/>
                </a:cubicBezTo>
                <a:cubicBezTo>
                  <a:pt x="130" y="66"/>
                  <a:pt x="129" y="64"/>
                  <a:pt x="129" y="63"/>
                </a:cubicBezTo>
                <a:cubicBezTo>
                  <a:pt x="129" y="61"/>
                  <a:pt x="130" y="60"/>
                  <a:pt x="131" y="60"/>
                </a:cubicBezTo>
                <a:close/>
                <a:moveTo>
                  <a:pt x="140" y="51"/>
                </a:moveTo>
                <a:cubicBezTo>
                  <a:pt x="142" y="51"/>
                  <a:pt x="143" y="53"/>
                  <a:pt x="143" y="54"/>
                </a:cubicBezTo>
                <a:cubicBezTo>
                  <a:pt x="143" y="56"/>
                  <a:pt x="142" y="57"/>
                  <a:pt x="140" y="57"/>
                </a:cubicBezTo>
                <a:cubicBezTo>
                  <a:pt x="138" y="57"/>
                  <a:pt x="137" y="56"/>
                  <a:pt x="137" y="54"/>
                </a:cubicBezTo>
                <a:cubicBezTo>
                  <a:pt x="137" y="53"/>
                  <a:pt x="138" y="51"/>
                  <a:pt x="140" y="51"/>
                </a:cubicBezTo>
                <a:close/>
                <a:moveTo>
                  <a:pt x="140" y="69"/>
                </a:moveTo>
                <a:cubicBezTo>
                  <a:pt x="142" y="69"/>
                  <a:pt x="143" y="70"/>
                  <a:pt x="143" y="71"/>
                </a:cubicBezTo>
                <a:cubicBezTo>
                  <a:pt x="143" y="73"/>
                  <a:pt x="142" y="74"/>
                  <a:pt x="140" y="74"/>
                </a:cubicBezTo>
                <a:cubicBezTo>
                  <a:pt x="138" y="74"/>
                  <a:pt x="137" y="73"/>
                  <a:pt x="137" y="71"/>
                </a:cubicBezTo>
                <a:cubicBezTo>
                  <a:pt x="137" y="70"/>
                  <a:pt x="138" y="69"/>
                  <a:pt x="140" y="69"/>
                </a:cubicBezTo>
                <a:close/>
                <a:moveTo>
                  <a:pt x="149" y="43"/>
                </a:moveTo>
                <a:cubicBezTo>
                  <a:pt x="150" y="43"/>
                  <a:pt x="151" y="44"/>
                  <a:pt x="151" y="46"/>
                </a:cubicBezTo>
                <a:cubicBezTo>
                  <a:pt x="151" y="47"/>
                  <a:pt x="150" y="49"/>
                  <a:pt x="149" y="49"/>
                </a:cubicBezTo>
                <a:cubicBezTo>
                  <a:pt x="147" y="49"/>
                  <a:pt x="146" y="47"/>
                  <a:pt x="146" y="46"/>
                </a:cubicBezTo>
                <a:cubicBezTo>
                  <a:pt x="146" y="44"/>
                  <a:pt x="147" y="43"/>
                  <a:pt x="149" y="43"/>
                </a:cubicBezTo>
                <a:close/>
                <a:moveTo>
                  <a:pt x="149" y="60"/>
                </a:moveTo>
                <a:cubicBezTo>
                  <a:pt x="150" y="60"/>
                  <a:pt x="151" y="61"/>
                  <a:pt x="151" y="63"/>
                </a:cubicBezTo>
                <a:cubicBezTo>
                  <a:pt x="151" y="64"/>
                  <a:pt x="150" y="66"/>
                  <a:pt x="149" y="66"/>
                </a:cubicBezTo>
                <a:cubicBezTo>
                  <a:pt x="147" y="66"/>
                  <a:pt x="146" y="64"/>
                  <a:pt x="146" y="63"/>
                </a:cubicBezTo>
                <a:cubicBezTo>
                  <a:pt x="146" y="61"/>
                  <a:pt x="147" y="60"/>
                  <a:pt x="149" y="60"/>
                </a:cubicBezTo>
                <a:close/>
                <a:moveTo>
                  <a:pt x="131" y="77"/>
                </a:moveTo>
                <a:cubicBezTo>
                  <a:pt x="133" y="77"/>
                  <a:pt x="134" y="78"/>
                  <a:pt x="134" y="80"/>
                </a:cubicBezTo>
                <a:cubicBezTo>
                  <a:pt x="134" y="82"/>
                  <a:pt x="133" y="83"/>
                  <a:pt x="131" y="83"/>
                </a:cubicBezTo>
                <a:cubicBezTo>
                  <a:pt x="130" y="83"/>
                  <a:pt x="129" y="82"/>
                  <a:pt x="129" y="80"/>
                </a:cubicBezTo>
                <a:cubicBezTo>
                  <a:pt x="129" y="78"/>
                  <a:pt x="130" y="77"/>
                  <a:pt x="131" y="77"/>
                </a:cubicBezTo>
                <a:close/>
                <a:moveTo>
                  <a:pt x="131" y="94"/>
                </a:moveTo>
                <a:cubicBezTo>
                  <a:pt x="133" y="94"/>
                  <a:pt x="134" y="96"/>
                  <a:pt x="134" y="97"/>
                </a:cubicBezTo>
                <a:cubicBezTo>
                  <a:pt x="134" y="99"/>
                  <a:pt x="133" y="100"/>
                  <a:pt x="131" y="100"/>
                </a:cubicBezTo>
                <a:cubicBezTo>
                  <a:pt x="130" y="100"/>
                  <a:pt x="129" y="99"/>
                  <a:pt x="129" y="97"/>
                </a:cubicBezTo>
                <a:cubicBezTo>
                  <a:pt x="129" y="96"/>
                  <a:pt x="130" y="94"/>
                  <a:pt x="131" y="94"/>
                </a:cubicBezTo>
                <a:close/>
                <a:moveTo>
                  <a:pt x="140" y="86"/>
                </a:moveTo>
                <a:cubicBezTo>
                  <a:pt x="142" y="86"/>
                  <a:pt x="143" y="87"/>
                  <a:pt x="143" y="89"/>
                </a:cubicBezTo>
                <a:cubicBezTo>
                  <a:pt x="143" y="90"/>
                  <a:pt x="142" y="91"/>
                  <a:pt x="140" y="91"/>
                </a:cubicBezTo>
                <a:cubicBezTo>
                  <a:pt x="138" y="91"/>
                  <a:pt x="137" y="90"/>
                  <a:pt x="137" y="89"/>
                </a:cubicBezTo>
                <a:cubicBezTo>
                  <a:pt x="137" y="87"/>
                  <a:pt x="138" y="86"/>
                  <a:pt x="140" y="86"/>
                </a:cubicBezTo>
                <a:close/>
                <a:moveTo>
                  <a:pt x="140" y="103"/>
                </a:moveTo>
                <a:cubicBezTo>
                  <a:pt x="142" y="103"/>
                  <a:pt x="143" y="104"/>
                  <a:pt x="143" y="106"/>
                </a:cubicBezTo>
                <a:cubicBezTo>
                  <a:pt x="143" y="107"/>
                  <a:pt x="142" y="109"/>
                  <a:pt x="140" y="109"/>
                </a:cubicBezTo>
                <a:cubicBezTo>
                  <a:pt x="138" y="109"/>
                  <a:pt x="137" y="107"/>
                  <a:pt x="137" y="106"/>
                </a:cubicBezTo>
                <a:cubicBezTo>
                  <a:pt x="137" y="104"/>
                  <a:pt x="138" y="103"/>
                  <a:pt x="140" y="103"/>
                </a:cubicBezTo>
                <a:close/>
                <a:moveTo>
                  <a:pt x="149" y="77"/>
                </a:moveTo>
                <a:cubicBezTo>
                  <a:pt x="150" y="77"/>
                  <a:pt x="151" y="78"/>
                  <a:pt x="151" y="80"/>
                </a:cubicBezTo>
                <a:cubicBezTo>
                  <a:pt x="151" y="82"/>
                  <a:pt x="150" y="83"/>
                  <a:pt x="149" y="83"/>
                </a:cubicBezTo>
                <a:cubicBezTo>
                  <a:pt x="147" y="83"/>
                  <a:pt x="146" y="82"/>
                  <a:pt x="146" y="80"/>
                </a:cubicBezTo>
                <a:cubicBezTo>
                  <a:pt x="146" y="78"/>
                  <a:pt x="147" y="77"/>
                  <a:pt x="149" y="77"/>
                </a:cubicBezTo>
                <a:close/>
                <a:moveTo>
                  <a:pt x="149" y="94"/>
                </a:moveTo>
                <a:cubicBezTo>
                  <a:pt x="150" y="94"/>
                  <a:pt x="151" y="96"/>
                  <a:pt x="151" y="97"/>
                </a:cubicBezTo>
                <a:cubicBezTo>
                  <a:pt x="151" y="99"/>
                  <a:pt x="150" y="100"/>
                  <a:pt x="149" y="100"/>
                </a:cubicBezTo>
                <a:cubicBezTo>
                  <a:pt x="147" y="100"/>
                  <a:pt x="146" y="99"/>
                  <a:pt x="146" y="97"/>
                </a:cubicBezTo>
                <a:cubicBezTo>
                  <a:pt x="146" y="96"/>
                  <a:pt x="147" y="94"/>
                  <a:pt x="149" y="94"/>
                </a:cubicBezTo>
                <a:close/>
                <a:moveTo>
                  <a:pt x="131" y="111"/>
                </a:moveTo>
                <a:cubicBezTo>
                  <a:pt x="133" y="111"/>
                  <a:pt x="134" y="113"/>
                  <a:pt x="134" y="114"/>
                </a:cubicBezTo>
                <a:cubicBezTo>
                  <a:pt x="134" y="116"/>
                  <a:pt x="133" y="117"/>
                  <a:pt x="131" y="117"/>
                </a:cubicBezTo>
                <a:cubicBezTo>
                  <a:pt x="130" y="117"/>
                  <a:pt x="129" y="116"/>
                  <a:pt x="129" y="114"/>
                </a:cubicBezTo>
                <a:cubicBezTo>
                  <a:pt x="129" y="113"/>
                  <a:pt x="130" y="111"/>
                  <a:pt x="131" y="111"/>
                </a:cubicBezTo>
                <a:close/>
                <a:moveTo>
                  <a:pt x="131" y="129"/>
                </a:moveTo>
                <a:cubicBezTo>
                  <a:pt x="133" y="129"/>
                  <a:pt x="134" y="130"/>
                  <a:pt x="134" y="131"/>
                </a:cubicBezTo>
                <a:cubicBezTo>
                  <a:pt x="134" y="133"/>
                  <a:pt x="133" y="134"/>
                  <a:pt x="131" y="134"/>
                </a:cubicBezTo>
                <a:cubicBezTo>
                  <a:pt x="130" y="134"/>
                  <a:pt x="129" y="133"/>
                  <a:pt x="129" y="131"/>
                </a:cubicBezTo>
                <a:cubicBezTo>
                  <a:pt x="129" y="130"/>
                  <a:pt x="130" y="129"/>
                  <a:pt x="131" y="129"/>
                </a:cubicBezTo>
                <a:close/>
                <a:moveTo>
                  <a:pt x="140" y="120"/>
                </a:moveTo>
                <a:cubicBezTo>
                  <a:pt x="142" y="120"/>
                  <a:pt x="143" y="121"/>
                  <a:pt x="143" y="123"/>
                </a:cubicBezTo>
                <a:cubicBezTo>
                  <a:pt x="143" y="124"/>
                  <a:pt x="142" y="126"/>
                  <a:pt x="140" y="126"/>
                </a:cubicBezTo>
                <a:cubicBezTo>
                  <a:pt x="138" y="126"/>
                  <a:pt x="137" y="124"/>
                  <a:pt x="137" y="123"/>
                </a:cubicBezTo>
                <a:cubicBezTo>
                  <a:pt x="137" y="121"/>
                  <a:pt x="138" y="120"/>
                  <a:pt x="140" y="120"/>
                </a:cubicBezTo>
                <a:close/>
                <a:moveTo>
                  <a:pt x="149" y="111"/>
                </a:moveTo>
                <a:cubicBezTo>
                  <a:pt x="150" y="111"/>
                  <a:pt x="151" y="113"/>
                  <a:pt x="151" y="114"/>
                </a:cubicBezTo>
                <a:cubicBezTo>
                  <a:pt x="151" y="116"/>
                  <a:pt x="150" y="117"/>
                  <a:pt x="149" y="117"/>
                </a:cubicBezTo>
                <a:cubicBezTo>
                  <a:pt x="147" y="117"/>
                  <a:pt x="146" y="116"/>
                  <a:pt x="146" y="114"/>
                </a:cubicBezTo>
                <a:cubicBezTo>
                  <a:pt x="146" y="113"/>
                  <a:pt x="147" y="111"/>
                  <a:pt x="149" y="111"/>
                </a:cubicBezTo>
                <a:close/>
                <a:moveTo>
                  <a:pt x="149" y="129"/>
                </a:moveTo>
                <a:cubicBezTo>
                  <a:pt x="150" y="129"/>
                  <a:pt x="151" y="130"/>
                  <a:pt x="151" y="131"/>
                </a:cubicBezTo>
                <a:cubicBezTo>
                  <a:pt x="151" y="133"/>
                  <a:pt x="150" y="134"/>
                  <a:pt x="149" y="134"/>
                </a:cubicBezTo>
                <a:cubicBezTo>
                  <a:pt x="147" y="134"/>
                  <a:pt x="146" y="133"/>
                  <a:pt x="146" y="131"/>
                </a:cubicBezTo>
                <a:cubicBezTo>
                  <a:pt x="146" y="130"/>
                  <a:pt x="147" y="129"/>
                  <a:pt x="149" y="129"/>
                </a:cubicBezTo>
                <a:close/>
                <a:moveTo>
                  <a:pt x="80" y="43"/>
                </a:moveTo>
                <a:cubicBezTo>
                  <a:pt x="82" y="43"/>
                  <a:pt x="83" y="44"/>
                  <a:pt x="83" y="46"/>
                </a:cubicBezTo>
                <a:cubicBezTo>
                  <a:pt x="83" y="47"/>
                  <a:pt x="82" y="49"/>
                  <a:pt x="80" y="49"/>
                </a:cubicBezTo>
                <a:cubicBezTo>
                  <a:pt x="78" y="49"/>
                  <a:pt x="77" y="47"/>
                  <a:pt x="77" y="46"/>
                </a:cubicBezTo>
                <a:cubicBezTo>
                  <a:pt x="77" y="44"/>
                  <a:pt x="78" y="43"/>
                  <a:pt x="80" y="43"/>
                </a:cubicBezTo>
                <a:close/>
                <a:moveTo>
                  <a:pt x="80" y="60"/>
                </a:moveTo>
                <a:cubicBezTo>
                  <a:pt x="82" y="60"/>
                  <a:pt x="83" y="61"/>
                  <a:pt x="83" y="63"/>
                </a:cubicBezTo>
                <a:cubicBezTo>
                  <a:pt x="83" y="64"/>
                  <a:pt x="82" y="66"/>
                  <a:pt x="80" y="66"/>
                </a:cubicBezTo>
                <a:cubicBezTo>
                  <a:pt x="78" y="66"/>
                  <a:pt x="77" y="64"/>
                  <a:pt x="77" y="63"/>
                </a:cubicBezTo>
                <a:cubicBezTo>
                  <a:pt x="77" y="61"/>
                  <a:pt x="78" y="60"/>
                  <a:pt x="80" y="60"/>
                </a:cubicBezTo>
                <a:close/>
                <a:moveTo>
                  <a:pt x="89" y="51"/>
                </a:moveTo>
                <a:cubicBezTo>
                  <a:pt x="90" y="51"/>
                  <a:pt x="91" y="53"/>
                  <a:pt x="91" y="54"/>
                </a:cubicBezTo>
                <a:cubicBezTo>
                  <a:pt x="91" y="56"/>
                  <a:pt x="90" y="57"/>
                  <a:pt x="89" y="57"/>
                </a:cubicBezTo>
                <a:cubicBezTo>
                  <a:pt x="87" y="57"/>
                  <a:pt x="86" y="56"/>
                  <a:pt x="86" y="54"/>
                </a:cubicBezTo>
                <a:cubicBezTo>
                  <a:pt x="86" y="53"/>
                  <a:pt x="87" y="51"/>
                  <a:pt x="89" y="51"/>
                </a:cubicBezTo>
                <a:close/>
                <a:moveTo>
                  <a:pt x="89" y="69"/>
                </a:moveTo>
                <a:cubicBezTo>
                  <a:pt x="90" y="69"/>
                  <a:pt x="91" y="70"/>
                  <a:pt x="91" y="71"/>
                </a:cubicBezTo>
                <a:cubicBezTo>
                  <a:pt x="91" y="73"/>
                  <a:pt x="90" y="74"/>
                  <a:pt x="89" y="74"/>
                </a:cubicBezTo>
                <a:cubicBezTo>
                  <a:pt x="87" y="74"/>
                  <a:pt x="86" y="73"/>
                  <a:pt x="86" y="71"/>
                </a:cubicBezTo>
                <a:cubicBezTo>
                  <a:pt x="86" y="70"/>
                  <a:pt x="87" y="69"/>
                  <a:pt x="89" y="69"/>
                </a:cubicBezTo>
                <a:close/>
                <a:moveTo>
                  <a:pt x="97" y="43"/>
                </a:moveTo>
                <a:cubicBezTo>
                  <a:pt x="99" y="43"/>
                  <a:pt x="100" y="44"/>
                  <a:pt x="100" y="46"/>
                </a:cubicBezTo>
                <a:cubicBezTo>
                  <a:pt x="100" y="47"/>
                  <a:pt x="99" y="49"/>
                  <a:pt x="97" y="49"/>
                </a:cubicBezTo>
                <a:cubicBezTo>
                  <a:pt x="96" y="49"/>
                  <a:pt x="94" y="47"/>
                  <a:pt x="94" y="46"/>
                </a:cubicBezTo>
                <a:cubicBezTo>
                  <a:pt x="94" y="44"/>
                  <a:pt x="96" y="43"/>
                  <a:pt x="97" y="43"/>
                </a:cubicBezTo>
                <a:close/>
                <a:moveTo>
                  <a:pt x="114" y="43"/>
                </a:moveTo>
                <a:cubicBezTo>
                  <a:pt x="116" y="43"/>
                  <a:pt x="117" y="44"/>
                  <a:pt x="117" y="46"/>
                </a:cubicBezTo>
                <a:cubicBezTo>
                  <a:pt x="117" y="47"/>
                  <a:pt x="116" y="49"/>
                  <a:pt x="114" y="49"/>
                </a:cubicBezTo>
                <a:cubicBezTo>
                  <a:pt x="113" y="49"/>
                  <a:pt x="111" y="47"/>
                  <a:pt x="111" y="46"/>
                </a:cubicBezTo>
                <a:cubicBezTo>
                  <a:pt x="111" y="44"/>
                  <a:pt x="113" y="43"/>
                  <a:pt x="114" y="43"/>
                </a:cubicBezTo>
                <a:close/>
                <a:moveTo>
                  <a:pt x="97" y="60"/>
                </a:moveTo>
                <a:cubicBezTo>
                  <a:pt x="99" y="60"/>
                  <a:pt x="100" y="61"/>
                  <a:pt x="100" y="63"/>
                </a:cubicBezTo>
                <a:cubicBezTo>
                  <a:pt x="100" y="64"/>
                  <a:pt x="99" y="66"/>
                  <a:pt x="97" y="66"/>
                </a:cubicBezTo>
                <a:cubicBezTo>
                  <a:pt x="96" y="66"/>
                  <a:pt x="94" y="64"/>
                  <a:pt x="94" y="63"/>
                </a:cubicBezTo>
                <a:cubicBezTo>
                  <a:pt x="94" y="61"/>
                  <a:pt x="96" y="60"/>
                  <a:pt x="97" y="60"/>
                </a:cubicBezTo>
                <a:close/>
                <a:moveTo>
                  <a:pt x="114" y="60"/>
                </a:moveTo>
                <a:cubicBezTo>
                  <a:pt x="116" y="60"/>
                  <a:pt x="117" y="61"/>
                  <a:pt x="117" y="63"/>
                </a:cubicBezTo>
                <a:cubicBezTo>
                  <a:pt x="117" y="64"/>
                  <a:pt x="116" y="66"/>
                  <a:pt x="114" y="66"/>
                </a:cubicBezTo>
                <a:cubicBezTo>
                  <a:pt x="113" y="66"/>
                  <a:pt x="111" y="64"/>
                  <a:pt x="111" y="63"/>
                </a:cubicBezTo>
                <a:cubicBezTo>
                  <a:pt x="111" y="61"/>
                  <a:pt x="113" y="60"/>
                  <a:pt x="114" y="60"/>
                </a:cubicBezTo>
                <a:close/>
                <a:moveTo>
                  <a:pt x="106" y="51"/>
                </a:moveTo>
                <a:cubicBezTo>
                  <a:pt x="107" y="51"/>
                  <a:pt x="109" y="53"/>
                  <a:pt x="109" y="54"/>
                </a:cubicBezTo>
                <a:cubicBezTo>
                  <a:pt x="109" y="56"/>
                  <a:pt x="107" y="57"/>
                  <a:pt x="106" y="57"/>
                </a:cubicBezTo>
                <a:cubicBezTo>
                  <a:pt x="104" y="57"/>
                  <a:pt x="103" y="56"/>
                  <a:pt x="103" y="54"/>
                </a:cubicBezTo>
                <a:cubicBezTo>
                  <a:pt x="103" y="53"/>
                  <a:pt x="104" y="51"/>
                  <a:pt x="106" y="51"/>
                </a:cubicBezTo>
                <a:close/>
                <a:moveTo>
                  <a:pt x="123" y="51"/>
                </a:moveTo>
                <a:cubicBezTo>
                  <a:pt x="124" y="51"/>
                  <a:pt x="126" y="53"/>
                  <a:pt x="126" y="54"/>
                </a:cubicBezTo>
                <a:cubicBezTo>
                  <a:pt x="126" y="56"/>
                  <a:pt x="124" y="57"/>
                  <a:pt x="123" y="57"/>
                </a:cubicBezTo>
                <a:cubicBezTo>
                  <a:pt x="121" y="57"/>
                  <a:pt x="120" y="56"/>
                  <a:pt x="120" y="54"/>
                </a:cubicBezTo>
                <a:cubicBezTo>
                  <a:pt x="120" y="53"/>
                  <a:pt x="121" y="51"/>
                  <a:pt x="123" y="51"/>
                </a:cubicBezTo>
                <a:close/>
                <a:moveTo>
                  <a:pt x="106" y="69"/>
                </a:moveTo>
                <a:cubicBezTo>
                  <a:pt x="107" y="69"/>
                  <a:pt x="109" y="70"/>
                  <a:pt x="109" y="71"/>
                </a:cubicBezTo>
                <a:cubicBezTo>
                  <a:pt x="109" y="73"/>
                  <a:pt x="107" y="74"/>
                  <a:pt x="106" y="74"/>
                </a:cubicBezTo>
                <a:cubicBezTo>
                  <a:pt x="104" y="74"/>
                  <a:pt x="103" y="73"/>
                  <a:pt x="103" y="71"/>
                </a:cubicBezTo>
                <a:cubicBezTo>
                  <a:pt x="103" y="70"/>
                  <a:pt x="104" y="69"/>
                  <a:pt x="106" y="69"/>
                </a:cubicBezTo>
                <a:close/>
                <a:moveTo>
                  <a:pt x="123" y="69"/>
                </a:moveTo>
                <a:cubicBezTo>
                  <a:pt x="124" y="69"/>
                  <a:pt x="126" y="70"/>
                  <a:pt x="126" y="71"/>
                </a:cubicBezTo>
                <a:cubicBezTo>
                  <a:pt x="126" y="73"/>
                  <a:pt x="124" y="74"/>
                  <a:pt x="123" y="74"/>
                </a:cubicBezTo>
                <a:cubicBezTo>
                  <a:pt x="121" y="74"/>
                  <a:pt x="120" y="73"/>
                  <a:pt x="120" y="71"/>
                </a:cubicBezTo>
                <a:cubicBezTo>
                  <a:pt x="120" y="70"/>
                  <a:pt x="121" y="69"/>
                  <a:pt x="123" y="69"/>
                </a:cubicBezTo>
                <a:close/>
                <a:moveTo>
                  <a:pt x="80" y="77"/>
                </a:moveTo>
                <a:cubicBezTo>
                  <a:pt x="82" y="77"/>
                  <a:pt x="83" y="78"/>
                  <a:pt x="83" y="80"/>
                </a:cubicBezTo>
                <a:cubicBezTo>
                  <a:pt x="83" y="82"/>
                  <a:pt x="82" y="83"/>
                  <a:pt x="80" y="83"/>
                </a:cubicBezTo>
                <a:cubicBezTo>
                  <a:pt x="78" y="83"/>
                  <a:pt x="77" y="82"/>
                  <a:pt x="77" y="80"/>
                </a:cubicBezTo>
                <a:cubicBezTo>
                  <a:pt x="77" y="78"/>
                  <a:pt x="78" y="77"/>
                  <a:pt x="80" y="77"/>
                </a:cubicBezTo>
                <a:close/>
                <a:moveTo>
                  <a:pt x="80" y="94"/>
                </a:moveTo>
                <a:cubicBezTo>
                  <a:pt x="82" y="94"/>
                  <a:pt x="83" y="96"/>
                  <a:pt x="83" y="97"/>
                </a:cubicBezTo>
                <a:cubicBezTo>
                  <a:pt x="83" y="99"/>
                  <a:pt x="82" y="100"/>
                  <a:pt x="80" y="100"/>
                </a:cubicBezTo>
                <a:cubicBezTo>
                  <a:pt x="78" y="100"/>
                  <a:pt x="77" y="99"/>
                  <a:pt x="77" y="97"/>
                </a:cubicBezTo>
                <a:cubicBezTo>
                  <a:pt x="77" y="96"/>
                  <a:pt x="78" y="94"/>
                  <a:pt x="80" y="94"/>
                </a:cubicBezTo>
                <a:close/>
                <a:moveTo>
                  <a:pt x="89" y="86"/>
                </a:moveTo>
                <a:cubicBezTo>
                  <a:pt x="90" y="86"/>
                  <a:pt x="91" y="87"/>
                  <a:pt x="91" y="89"/>
                </a:cubicBezTo>
                <a:cubicBezTo>
                  <a:pt x="91" y="90"/>
                  <a:pt x="90" y="91"/>
                  <a:pt x="89" y="91"/>
                </a:cubicBezTo>
                <a:cubicBezTo>
                  <a:pt x="87" y="91"/>
                  <a:pt x="86" y="90"/>
                  <a:pt x="86" y="89"/>
                </a:cubicBezTo>
                <a:cubicBezTo>
                  <a:pt x="86" y="87"/>
                  <a:pt x="87" y="86"/>
                  <a:pt x="89" y="86"/>
                </a:cubicBezTo>
                <a:close/>
                <a:moveTo>
                  <a:pt x="89" y="103"/>
                </a:moveTo>
                <a:cubicBezTo>
                  <a:pt x="90" y="103"/>
                  <a:pt x="91" y="104"/>
                  <a:pt x="91" y="106"/>
                </a:cubicBezTo>
                <a:cubicBezTo>
                  <a:pt x="91" y="107"/>
                  <a:pt x="90" y="109"/>
                  <a:pt x="89" y="109"/>
                </a:cubicBezTo>
                <a:cubicBezTo>
                  <a:pt x="87" y="109"/>
                  <a:pt x="86" y="107"/>
                  <a:pt x="86" y="106"/>
                </a:cubicBezTo>
                <a:cubicBezTo>
                  <a:pt x="86" y="104"/>
                  <a:pt x="87" y="103"/>
                  <a:pt x="89" y="103"/>
                </a:cubicBezTo>
                <a:close/>
                <a:moveTo>
                  <a:pt x="97" y="77"/>
                </a:moveTo>
                <a:cubicBezTo>
                  <a:pt x="99" y="77"/>
                  <a:pt x="100" y="78"/>
                  <a:pt x="100" y="80"/>
                </a:cubicBezTo>
                <a:cubicBezTo>
                  <a:pt x="100" y="82"/>
                  <a:pt x="99" y="83"/>
                  <a:pt x="97" y="83"/>
                </a:cubicBezTo>
                <a:cubicBezTo>
                  <a:pt x="96" y="83"/>
                  <a:pt x="94" y="82"/>
                  <a:pt x="94" y="80"/>
                </a:cubicBezTo>
                <a:cubicBezTo>
                  <a:pt x="94" y="78"/>
                  <a:pt x="96" y="77"/>
                  <a:pt x="97" y="77"/>
                </a:cubicBezTo>
                <a:close/>
                <a:moveTo>
                  <a:pt x="114" y="77"/>
                </a:moveTo>
                <a:cubicBezTo>
                  <a:pt x="116" y="77"/>
                  <a:pt x="117" y="78"/>
                  <a:pt x="117" y="80"/>
                </a:cubicBezTo>
                <a:cubicBezTo>
                  <a:pt x="117" y="82"/>
                  <a:pt x="116" y="83"/>
                  <a:pt x="114" y="83"/>
                </a:cubicBezTo>
                <a:cubicBezTo>
                  <a:pt x="113" y="83"/>
                  <a:pt x="111" y="82"/>
                  <a:pt x="111" y="80"/>
                </a:cubicBezTo>
                <a:cubicBezTo>
                  <a:pt x="111" y="78"/>
                  <a:pt x="113" y="77"/>
                  <a:pt x="114" y="77"/>
                </a:cubicBezTo>
                <a:close/>
                <a:moveTo>
                  <a:pt x="97" y="94"/>
                </a:moveTo>
                <a:cubicBezTo>
                  <a:pt x="99" y="94"/>
                  <a:pt x="100" y="96"/>
                  <a:pt x="100" y="97"/>
                </a:cubicBezTo>
                <a:cubicBezTo>
                  <a:pt x="100" y="99"/>
                  <a:pt x="99" y="100"/>
                  <a:pt x="97" y="100"/>
                </a:cubicBezTo>
                <a:cubicBezTo>
                  <a:pt x="96" y="100"/>
                  <a:pt x="94" y="99"/>
                  <a:pt x="94" y="97"/>
                </a:cubicBezTo>
                <a:cubicBezTo>
                  <a:pt x="94" y="96"/>
                  <a:pt x="96" y="94"/>
                  <a:pt x="97" y="94"/>
                </a:cubicBezTo>
                <a:close/>
                <a:moveTo>
                  <a:pt x="114" y="94"/>
                </a:moveTo>
                <a:cubicBezTo>
                  <a:pt x="116" y="94"/>
                  <a:pt x="117" y="96"/>
                  <a:pt x="117" y="97"/>
                </a:cubicBezTo>
                <a:cubicBezTo>
                  <a:pt x="117" y="99"/>
                  <a:pt x="116" y="100"/>
                  <a:pt x="114" y="100"/>
                </a:cubicBezTo>
                <a:cubicBezTo>
                  <a:pt x="113" y="100"/>
                  <a:pt x="111" y="99"/>
                  <a:pt x="111" y="97"/>
                </a:cubicBezTo>
                <a:cubicBezTo>
                  <a:pt x="111" y="96"/>
                  <a:pt x="113" y="94"/>
                  <a:pt x="114" y="94"/>
                </a:cubicBezTo>
                <a:close/>
                <a:moveTo>
                  <a:pt x="106" y="86"/>
                </a:moveTo>
                <a:cubicBezTo>
                  <a:pt x="107" y="86"/>
                  <a:pt x="109" y="87"/>
                  <a:pt x="109" y="89"/>
                </a:cubicBezTo>
                <a:cubicBezTo>
                  <a:pt x="109" y="90"/>
                  <a:pt x="107" y="91"/>
                  <a:pt x="106" y="91"/>
                </a:cubicBezTo>
                <a:cubicBezTo>
                  <a:pt x="104" y="91"/>
                  <a:pt x="103" y="90"/>
                  <a:pt x="103" y="89"/>
                </a:cubicBezTo>
                <a:cubicBezTo>
                  <a:pt x="103" y="87"/>
                  <a:pt x="104" y="86"/>
                  <a:pt x="106" y="86"/>
                </a:cubicBezTo>
                <a:close/>
                <a:moveTo>
                  <a:pt x="123" y="86"/>
                </a:moveTo>
                <a:cubicBezTo>
                  <a:pt x="124" y="86"/>
                  <a:pt x="126" y="87"/>
                  <a:pt x="126" y="89"/>
                </a:cubicBezTo>
                <a:cubicBezTo>
                  <a:pt x="126" y="90"/>
                  <a:pt x="124" y="91"/>
                  <a:pt x="123" y="91"/>
                </a:cubicBezTo>
                <a:cubicBezTo>
                  <a:pt x="121" y="91"/>
                  <a:pt x="120" y="90"/>
                  <a:pt x="120" y="89"/>
                </a:cubicBezTo>
                <a:cubicBezTo>
                  <a:pt x="120" y="87"/>
                  <a:pt x="121" y="86"/>
                  <a:pt x="123" y="86"/>
                </a:cubicBezTo>
                <a:close/>
                <a:moveTo>
                  <a:pt x="106" y="103"/>
                </a:moveTo>
                <a:cubicBezTo>
                  <a:pt x="107" y="103"/>
                  <a:pt x="109" y="104"/>
                  <a:pt x="109" y="106"/>
                </a:cubicBezTo>
                <a:cubicBezTo>
                  <a:pt x="109" y="107"/>
                  <a:pt x="107" y="109"/>
                  <a:pt x="106" y="109"/>
                </a:cubicBezTo>
                <a:cubicBezTo>
                  <a:pt x="104" y="109"/>
                  <a:pt x="103" y="107"/>
                  <a:pt x="103" y="106"/>
                </a:cubicBezTo>
                <a:cubicBezTo>
                  <a:pt x="103" y="104"/>
                  <a:pt x="104" y="103"/>
                  <a:pt x="106" y="103"/>
                </a:cubicBezTo>
                <a:close/>
                <a:moveTo>
                  <a:pt x="123" y="103"/>
                </a:moveTo>
                <a:cubicBezTo>
                  <a:pt x="124" y="103"/>
                  <a:pt x="126" y="104"/>
                  <a:pt x="126" y="106"/>
                </a:cubicBezTo>
                <a:cubicBezTo>
                  <a:pt x="126" y="107"/>
                  <a:pt x="124" y="109"/>
                  <a:pt x="123" y="109"/>
                </a:cubicBezTo>
                <a:cubicBezTo>
                  <a:pt x="121" y="109"/>
                  <a:pt x="120" y="107"/>
                  <a:pt x="120" y="106"/>
                </a:cubicBezTo>
                <a:cubicBezTo>
                  <a:pt x="120" y="104"/>
                  <a:pt x="121" y="103"/>
                  <a:pt x="123" y="103"/>
                </a:cubicBezTo>
                <a:close/>
                <a:moveTo>
                  <a:pt x="80" y="111"/>
                </a:moveTo>
                <a:cubicBezTo>
                  <a:pt x="82" y="111"/>
                  <a:pt x="83" y="113"/>
                  <a:pt x="83" y="114"/>
                </a:cubicBezTo>
                <a:cubicBezTo>
                  <a:pt x="83" y="116"/>
                  <a:pt x="82" y="117"/>
                  <a:pt x="80" y="117"/>
                </a:cubicBezTo>
                <a:cubicBezTo>
                  <a:pt x="78" y="117"/>
                  <a:pt x="77" y="116"/>
                  <a:pt x="77" y="114"/>
                </a:cubicBezTo>
                <a:cubicBezTo>
                  <a:pt x="77" y="113"/>
                  <a:pt x="78" y="111"/>
                  <a:pt x="80" y="111"/>
                </a:cubicBezTo>
                <a:close/>
                <a:moveTo>
                  <a:pt x="80" y="129"/>
                </a:moveTo>
                <a:cubicBezTo>
                  <a:pt x="82" y="129"/>
                  <a:pt x="83" y="130"/>
                  <a:pt x="83" y="131"/>
                </a:cubicBezTo>
                <a:cubicBezTo>
                  <a:pt x="83" y="133"/>
                  <a:pt x="82" y="134"/>
                  <a:pt x="80" y="134"/>
                </a:cubicBezTo>
                <a:cubicBezTo>
                  <a:pt x="78" y="134"/>
                  <a:pt x="77" y="133"/>
                  <a:pt x="77" y="131"/>
                </a:cubicBezTo>
                <a:cubicBezTo>
                  <a:pt x="77" y="130"/>
                  <a:pt x="78" y="129"/>
                  <a:pt x="80" y="129"/>
                </a:cubicBezTo>
                <a:close/>
                <a:moveTo>
                  <a:pt x="89" y="120"/>
                </a:moveTo>
                <a:cubicBezTo>
                  <a:pt x="90" y="120"/>
                  <a:pt x="91" y="121"/>
                  <a:pt x="91" y="123"/>
                </a:cubicBezTo>
                <a:cubicBezTo>
                  <a:pt x="91" y="124"/>
                  <a:pt x="90" y="126"/>
                  <a:pt x="89" y="126"/>
                </a:cubicBezTo>
                <a:cubicBezTo>
                  <a:pt x="87" y="126"/>
                  <a:pt x="86" y="124"/>
                  <a:pt x="86" y="123"/>
                </a:cubicBezTo>
                <a:cubicBezTo>
                  <a:pt x="86" y="121"/>
                  <a:pt x="87" y="120"/>
                  <a:pt x="89" y="120"/>
                </a:cubicBezTo>
                <a:close/>
                <a:moveTo>
                  <a:pt x="97" y="111"/>
                </a:moveTo>
                <a:cubicBezTo>
                  <a:pt x="99" y="111"/>
                  <a:pt x="100" y="113"/>
                  <a:pt x="100" y="114"/>
                </a:cubicBezTo>
                <a:cubicBezTo>
                  <a:pt x="100" y="116"/>
                  <a:pt x="99" y="117"/>
                  <a:pt x="97" y="117"/>
                </a:cubicBezTo>
                <a:cubicBezTo>
                  <a:pt x="96" y="117"/>
                  <a:pt x="94" y="116"/>
                  <a:pt x="94" y="114"/>
                </a:cubicBezTo>
                <a:cubicBezTo>
                  <a:pt x="94" y="113"/>
                  <a:pt x="96" y="111"/>
                  <a:pt x="97" y="111"/>
                </a:cubicBezTo>
                <a:close/>
                <a:moveTo>
                  <a:pt x="114" y="111"/>
                </a:moveTo>
                <a:cubicBezTo>
                  <a:pt x="116" y="111"/>
                  <a:pt x="117" y="113"/>
                  <a:pt x="117" y="114"/>
                </a:cubicBezTo>
                <a:cubicBezTo>
                  <a:pt x="117" y="116"/>
                  <a:pt x="116" y="117"/>
                  <a:pt x="114" y="117"/>
                </a:cubicBezTo>
                <a:cubicBezTo>
                  <a:pt x="113" y="117"/>
                  <a:pt x="111" y="116"/>
                  <a:pt x="111" y="114"/>
                </a:cubicBezTo>
                <a:cubicBezTo>
                  <a:pt x="111" y="113"/>
                  <a:pt x="113" y="111"/>
                  <a:pt x="114" y="111"/>
                </a:cubicBezTo>
                <a:close/>
                <a:moveTo>
                  <a:pt x="97" y="129"/>
                </a:moveTo>
                <a:cubicBezTo>
                  <a:pt x="99" y="129"/>
                  <a:pt x="100" y="130"/>
                  <a:pt x="100" y="131"/>
                </a:cubicBezTo>
                <a:cubicBezTo>
                  <a:pt x="100" y="133"/>
                  <a:pt x="99" y="134"/>
                  <a:pt x="97" y="134"/>
                </a:cubicBezTo>
                <a:cubicBezTo>
                  <a:pt x="96" y="134"/>
                  <a:pt x="94" y="133"/>
                  <a:pt x="94" y="131"/>
                </a:cubicBezTo>
                <a:cubicBezTo>
                  <a:pt x="94" y="130"/>
                  <a:pt x="96" y="129"/>
                  <a:pt x="97" y="129"/>
                </a:cubicBezTo>
                <a:close/>
                <a:moveTo>
                  <a:pt x="114" y="129"/>
                </a:moveTo>
                <a:cubicBezTo>
                  <a:pt x="116" y="129"/>
                  <a:pt x="117" y="130"/>
                  <a:pt x="117" y="131"/>
                </a:cubicBezTo>
                <a:cubicBezTo>
                  <a:pt x="117" y="133"/>
                  <a:pt x="116" y="134"/>
                  <a:pt x="114" y="134"/>
                </a:cubicBezTo>
                <a:cubicBezTo>
                  <a:pt x="113" y="134"/>
                  <a:pt x="111" y="133"/>
                  <a:pt x="111" y="131"/>
                </a:cubicBezTo>
                <a:cubicBezTo>
                  <a:pt x="111" y="130"/>
                  <a:pt x="113" y="129"/>
                  <a:pt x="114" y="129"/>
                </a:cubicBezTo>
                <a:close/>
                <a:moveTo>
                  <a:pt x="106" y="120"/>
                </a:moveTo>
                <a:cubicBezTo>
                  <a:pt x="107" y="120"/>
                  <a:pt x="109" y="121"/>
                  <a:pt x="109" y="123"/>
                </a:cubicBezTo>
                <a:cubicBezTo>
                  <a:pt x="109" y="124"/>
                  <a:pt x="107" y="126"/>
                  <a:pt x="106" y="126"/>
                </a:cubicBezTo>
                <a:cubicBezTo>
                  <a:pt x="104" y="126"/>
                  <a:pt x="103" y="124"/>
                  <a:pt x="103" y="123"/>
                </a:cubicBezTo>
                <a:cubicBezTo>
                  <a:pt x="103" y="121"/>
                  <a:pt x="104" y="120"/>
                  <a:pt x="106" y="120"/>
                </a:cubicBezTo>
                <a:close/>
                <a:moveTo>
                  <a:pt x="123" y="120"/>
                </a:moveTo>
                <a:cubicBezTo>
                  <a:pt x="124" y="120"/>
                  <a:pt x="126" y="121"/>
                  <a:pt x="126" y="123"/>
                </a:cubicBezTo>
                <a:cubicBezTo>
                  <a:pt x="126" y="124"/>
                  <a:pt x="124" y="126"/>
                  <a:pt x="123" y="126"/>
                </a:cubicBezTo>
                <a:cubicBezTo>
                  <a:pt x="121" y="126"/>
                  <a:pt x="120" y="124"/>
                  <a:pt x="120" y="123"/>
                </a:cubicBezTo>
                <a:cubicBezTo>
                  <a:pt x="120" y="121"/>
                  <a:pt x="121" y="120"/>
                  <a:pt x="123" y="120"/>
                </a:cubicBezTo>
                <a:close/>
                <a:moveTo>
                  <a:pt x="63" y="43"/>
                </a:moveTo>
                <a:cubicBezTo>
                  <a:pt x="64" y="43"/>
                  <a:pt x="66" y="44"/>
                  <a:pt x="66" y="46"/>
                </a:cubicBezTo>
                <a:cubicBezTo>
                  <a:pt x="66" y="47"/>
                  <a:pt x="64" y="49"/>
                  <a:pt x="63" y="49"/>
                </a:cubicBezTo>
                <a:cubicBezTo>
                  <a:pt x="61" y="49"/>
                  <a:pt x="60" y="47"/>
                  <a:pt x="60" y="46"/>
                </a:cubicBezTo>
                <a:cubicBezTo>
                  <a:pt x="60" y="44"/>
                  <a:pt x="61" y="43"/>
                  <a:pt x="63" y="43"/>
                </a:cubicBezTo>
                <a:close/>
                <a:moveTo>
                  <a:pt x="63" y="60"/>
                </a:moveTo>
                <a:cubicBezTo>
                  <a:pt x="64" y="60"/>
                  <a:pt x="66" y="61"/>
                  <a:pt x="66" y="63"/>
                </a:cubicBezTo>
                <a:cubicBezTo>
                  <a:pt x="66" y="64"/>
                  <a:pt x="64" y="66"/>
                  <a:pt x="63" y="66"/>
                </a:cubicBezTo>
                <a:cubicBezTo>
                  <a:pt x="61" y="66"/>
                  <a:pt x="60" y="64"/>
                  <a:pt x="60" y="63"/>
                </a:cubicBezTo>
                <a:cubicBezTo>
                  <a:pt x="60" y="61"/>
                  <a:pt x="61" y="60"/>
                  <a:pt x="63" y="60"/>
                </a:cubicBezTo>
                <a:close/>
                <a:moveTo>
                  <a:pt x="71" y="51"/>
                </a:moveTo>
                <a:cubicBezTo>
                  <a:pt x="73" y="51"/>
                  <a:pt x="74" y="53"/>
                  <a:pt x="74" y="54"/>
                </a:cubicBezTo>
                <a:cubicBezTo>
                  <a:pt x="74" y="56"/>
                  <a:pt x="73" y="57"/>
                  <a:pt x="71" y="57"/>
                </a:cubicBezTo>
                <a:cubicBezTo>
                  <a:pt x="70" y="57"/>
                  <a:pt x="69" y="56"/>
                  <a:pt x="69" y="54"/>
                </a:cubicBezTo>
                <a:cubicBezTo>
                  <a:pt x="69" y="53"/>
                  <a:pt x="70" y="51"/>
                  <a:pt x="71" y="51"/>
                </a:cubicBezTo>
                <a:close/>
                <a:moveTo>
                  <a:pt x="71" y="69"/>
                </a:moveTo>
                <a:cubicBezTo>
                  <a:pt x="73" y="69"/>
                  <a:pt x="74" y="70"/>
                  <a:pt x="74" y="71"/>
                </a:cubicBezTo>
                <a:cubicBezTo>
                  <a:pt x="74" y="73"/>
                  <a:pt x="73" y="74"/>
                  <a:pt x="71" y="74"/>
                </a:cubicBezTo>
                <a:cubicBezTo>
                  <a:pt x="70" y="74"/>
                  <a:pt x="69" y="73"/>
                  <a:pt x="69" y="71"/>
                </a:cubicBezTo>
                <a:cubicBezTo>
                  <a:pt x="69" y="70"/>
                  <a:pt x="70" y="69"/>
                  <a:pt x="71" y="69"/>
                </a:cubicBezTo>
                <a:close/>
                <a:moveTo>
                  <a:pt x="63" y="77"/>
                </a:moveTo>
                <a:cubicBezTo>
                  <a:pt x="64" y="77"/>
                  <a:pt x="66" y="78"/>
                  <a:pt x="66" y="80"/>
                </a:cubicBezTo>
                <a:cubicBezTo>
                  <a:pt x="66" y="82"/>
                  <a:pt x="64" y="83"/>
                  <a:pt x="63" y="83"/>
                </a:cubicBezTo>
                <a:cubicBezTo>
                  <a:pt x="61" y="83"/>
                  <a:pt x="60" y="82"/>
                  <a:pt x="60" y="80"/>
                </a:cubicBezTo>
                <a:cubicBezTo>
                  <a:pt x="60" y="78"/>
                  <a:pt x="61" y="77"/>
                  <a:pt x="63" y="77"/>
                </a:cubicBezTo>
                <a:close/>
                <a:moveTo>
                  <a:pt x="63" y="94"/>
                </a:moveTo>
                <a:cubicBezTo>
                  <a:pt x="64" y="94"/>
                  <a:pt x="66" y="96"/>
                  <a:pt x="66" y="97"/>
                </a:cubicBezTo>
                <a:cubicBezTo>
                  <a:pt x="66" y="99"/>
                  <a:pt x="64" y="100"/>
                  <a:pt x="63" y="100"/>
                </a:cubicBezTo>
                <a:cubicBezTo>
                  <a:pt x="61" y="100"/>
                  <a:pt x="60" y="99"/>
                  <a:pt x="60" y="97"/>
                </a:cubicBezTo>
                <a:cubicBezTo>
                  <a:pt x="60" y="96"/>
                  <a:pt x="61" y="94"/>
                  <a:pt x="63" y="94"/>
                </a:cubicBezTo>
                <a:close/>
                <a:moveTo>
                  <a:pt x="71" y="86"/>
                </a:moveTo>
                <a:cubicBezTo>
                  <a:pt x="73" y="86"/>
                  <a:pt x="74" y="87"/>
                  <a:pt x="74" y="89"/>
                </a:cubicBezTo>
                <a:cubicBezTo>
                  <a:pt x="74" y="90"/>
                  <a:pt x="73" y="91"/>
                  <a:pt x="71" y="91"/>
                </a:cubicBezTo>
                <a:cubicBezTo>
                  <a:pt x="70" y="91"/>
                  <a:pt x="69" y="90"/>
                  <a:pt x="69" y="89"/>
                </a:cubicBezTo>
                <a:cubicBezTo>
                  <a:pt x="69" y="87"/>
                  <a:pt x="70" y="86"/>
                  <a:pt x="71" y="86"/>
                </a:cubicBezTo>
                <a:close/>
                <a:moveTo>
                  <a:pt x="71" y="103"/>
                </a:moveTo>
                <a:cubicBezTo>
                  <a:pt x="73" y="103"/>
                  <a:pt x="74" y="104"/>
                  <a:pt x="74" y="106"/>
                </a:cubicBezTo>
                <a:cubicBezTo>
                  <a:pt x="74" y="107"/>
                  <a:pt x="73" y="109"/>
                  <a:pt x="71" y="109"/>
                </a:cubicBezTo>
                <a:cubicBezTo>
                  <a:pt x="70" y="109"/>
                  <a:pt x="69" y="107"/>
                  <a:pt x="69" y="106"/>
                </a:cubicBezTo>
                <a:cubicBezTo>
                  <a:pt x="69" y="104"/>
                  <a:pt x="70" y="103"/>
                  <a:pt x="71" y="103"/>
                </a:cubicBezTo>
                <a:close/>
                <a:moveTo>
                  <a:pt x="63" y="111"/>
                </a:moveTo>
                <a:cubicBezTo>
                  <a:pt x="64" y="111"/>
                  <a:pt x="66" y="113"/>
                  <a:pt x="66" y="114"/>
                </a:cubicBezTo>
                <a:cubicBezTo>
                  <a:pt x="66" y="116"/>
                  <a:pt x="64" y="117"/>
                  <a:pt x="63" y="117"/>
                </a:cubicBezTo>
                <a:cubicBezTo>
                  <a:pt x="61" y="117"/>
                  <a:pt x="60" y="116"/>
                  <a:pt x="60" y="114"/>
                </a:cubicBezTo>
                <a:cubicBezTo>
                  <a:pt x="60" y="113"/>
                  <a:pt x="61" y="111"/>
                  <a:pt x="63" y="111"/>
                </a:cubicBezTo>
                <a:close/>
                <a:moveTo>
                  <a:pt x="63" y="129"/>
                </a:moveTo>
                <a:cubicBezTo>
                  <a:pt x="64" y="129"/>
                  <a:pt x="66" y="130"/>
                  <a:pt x="66" y="131"/>
                </a:cubicBezTo>
                <a:cubicBezTo>
                  <a:pt x="66" y="133"/>
                  <a:pt x="64" y="134"/>
                  <a:pt x="63" y="134"/>
                </a:cubicBezTo>
                <a:cubicBezTo>
                  <a:pt x="61" y="134"/>
                  <a:pt x="60" y="133"/>
                  <a:pt x="60" y="131"/>
                </a:cubicBezTo>
                <a:cubicBezTo>
                  <a:pt x="60" y="130"/>
                  <a:pt x="61" y="129"/>
                  <a:pt x="63" y="129"/>
                </a:cubicBezTo>
                <a:close/>
                <a:moveTo>
                  <a:pt x="71" y="120"/>
                </a:moveTo>
                <a:cubicBezTo>
                  <a:pt x="73" y="120"/>
                  <a:pt x="74" y="121"/>
                  <a:pt x="74" y="123"/>
                </a:cubicBezTo>
                <a:cubicBezTo>
                  <a:pt x="74" y="124"/>
                  <a:pt x="73" y="126"/>
                  <a:pt x="71" y="126"/>
                </a:cubicBezTo>
                <a:cubicBezTo>
                  <a:pt x="70" y="126"/>
                  <a:pt x="69" y="124"/>
                  <a:pt x="69" y="123"/>
                </a:cubicBezTo>
                <a:cubicBezTo>
                  <a:pt x="69" y="121"/>
                  <a:pt x="70" y="120"/>
                  <a:pt x="71" y="120"/>
                </a:cubicBezTo>
                <a:close/>
                <a:moveTo>
                  <a:pt x="11" y="43"/>
                </a:moveTo>
                <a:cubicBezTo>
                  <a:pt x="13" y="43"/>
                  <a:pt x="14" y="44"/>
                  <a:pt x="14" y="46"/>
                </a:cubicBezTo>
                <a:cubicBezTo>
                  <a:pt x="14" y="47"/>
                  <a:pt x="13" y="49"/>
                  <a:pt x="11" y="49"/>
                </a:cubicBezTo>
                <a:cubicBezTo>
                  <a:pt x="10" y="49"/>
                  <a:pt x="9" y="47"/>
                  <a:pt x="9" y="46"/>
                </a:cubicBezTo>
                <a:cubicBezTo>
                  <a:pt x="9" y="44"/>
                  <a:pt x="10" y="43"/>
                  <a:pt x="11" y="43"/>
                </a:cubicBezTo>
                <a:close/>
                <a:moveTo>
                  <a:pt x="11" y="60"/>
                </a:moveTo>
                <a:cubicBezTo>
                  <a:pt x="13" y="60"/>
                  <a:pt x="14" y="61"/>
                  <a:pt x="14" y="63"/>
                </a:cubicBezTo>
                <a:cubicBezTo>
                  <a:pt x="14" y="64"/>
                  <a:pt x="13" y="66"/>
                  <a:pt x="11" y="66"/>
                </a:cubicBezTo>
                <a:cubicBezTo>
                  <a:pt x="10" y="66"/>
                  <a:pt x="9" y="64"/>
                  <a:pt x="9" y="63"/>
                </a:cubicBezTo>
                <a:cubicBezTo>
                  <a:pt x="9" y="61"/>
                  <a:pt x="10" y="60"/>
                  <a:pt x="11" y="60"/>
                </a:cubicBezTo>
                <a:close/>
                <a:moveTo>
                  <a:pt x="20" y="51"/>
                </a:moveTo>
                <a:cubicBezTo>
                  <a:pt x="22" y="51"/>
                  <a:pt x="23" y="53"/>
                  <a:pt x="23" y="54"/>
                </a:cubicBezTo>
                <a:cubicBezTo>
                  <a:pt x="23" y="56"/>
                  <a:pt x="22" y="57"/>
                  <a:pt x="20" y="57"/>
                </a:cubicBezTo>
                <a:cubicBezTo>
                  <a:pt x="18" y="57"/>
                  <a:pt x="17" y="56"/>
                  <a:pt x="17" y="54"/>
                </a:cubicBezTo>
                <a:cubicBezTo>
                  <a:pt x="17" y="53"/>
                  <a:pt x="18" y="51"/>
                  <a:pt x="20" y="51"/>
                </a:cubicBezTo>
                <a:close/>
                <a:moveTo>
                  <a:pt x="20" y="69"/>
                </a:moveTo>
                <a:cubicBezTo>
                  <a:pt x="22" y="69"/>
                  <a:pt x="23" y="70"/>
                  <a:pt x="23" y="71"/>
                </a:cubicBezTo>
                <a:cubicBezTo>
                  <a:pt x="23" y="73"/>
                  <a:pt x="22" y="74"/>
                  <a:pt x="20" y="74"/>
                </a:cubicBezTo>
                <a:cubicBezTo>
                  <a:pt x="18" y="74"/>
                  <a:pt x="17" y="73"/>
                  <a:pt x="17" y="71"/>
                </a:cubicBezTo>
                <a:cubicBezTo>
                  <a:pt x="17" y="70"/>
                  <a:pt x="18" y="69"/>
                  <a:pt x="20" y="69"/>
                </a:cubicBezTo>
                <a:close/>
                <a:moveTo>
                  <a:pt x="29" y="43"/>
                </a:moveTo>
                <a:cubicBezTo>
                  <a:pt x="30" y="43"/>
                  <a:pt x="31" y="44"/>
                  <a:pt x="31" y="46"/>
                </a:cubicBezTo>
                <a:cubicBezTo>
                  <a:pt x="31" y="47"/>
                  <a:pt x="30" y="49"/>
                  <a:pt x="29" y="49"/>
                </a:cubicBezTo>
                <a:cubicBezTo>
                  <a:pt x="27" y="49"/>
                  <a:pt x="26" y="47"/>
                  <a:pt x="26" y="46"/>
                </a:cubicBezTo>
                <a:cubicBezTo>
                  <a:pt x="26" y="44"/>
                  <a:pt x="27" y="43"/>
                  <a:pt x="29" y="43"/>
                </a:cubicBezTo>
                <a:close/>
                <a:moveTo>
                  <a:pt x="46" y="43"/>
                </a:moveTo>
                <a:cubicBezTo>
                  <a:pt x="47" y="43"/>
                  <a:pt x="49" y="44"/>
                  <a:pt x="49" y="46"/>
                </a:cubicBezTo>
                <a:cubicBezTo>
                  <a:pt x="49" y="47"/>
                  <a:pt x="47" y="49"/>
                  <a:pt x="46" y="49"/>
                </a:cubicBezTo>
                <a:cubicBezTo>
                  <a:pt x="44" y="49"/>
                  <a:pt x="43" y="47"/>
                  <a:pt x="43" y="46"/>
                </a:cubicBezTo>
                <a:cubicBezTo>
                  <a:pt x="43" y="44"/>
                  <a:pt x="44" y="43"/>
                  <a:pt x="46" y="43"/>
                </a:cubicBezTo>
                <a:close/>
                <a:moveTo>
                  <a:pt x="29" y="60"/>
                </a:moveTo>
                <a:cubicBezTo>
                  <a:pt x="30" y="60"/>
                  <a:pt x="31" y="61"/>
                  <a:pt x="31" y="63"/>
                </a:cubicBezTo>
                <a:cubicBezTo>
                  <a:pt x="31" y="64"/>
                  <a:pt x="30" y="66"/>
                  <a:pt x="29" y="66"/>
                </a:cubicBezTo>
                <a:cubicBezTo>
                  <a:pt x="27" y="66"/>
                  <a:pt x="26" y="64"/>
                  <a:pt x="26" y="63"/>
                </a:cubicBezTo>
                <a:cubicBezTo>
                  <a:pt x="26" y="61"/>
                  <a:pt x="27" y="60"/>
                  <a:pt x="29" y="60"/>
                </a:cubicBezTo>
                <a:close/>
                <a:moveTo>
                  <a:pt x="46" y="60"/>
                </a:moveTo>
                <a:cubicBezTo>
                  <a:pt x="47" y="60"/>
                  <a:pt x="49" y="61"/>
                  <a:pt x="49" y="63"/>
                </a:cubicBezTo>
                <a:cubicBezTo>
                  <a:pt x="49" y="64"/>
                  <a:pt x="47" y="66"/>
                  <a:pt x="46" y="66"/>
                </a:cubicBezTo>
                <a:cubicBezTo>
                  <a:pt x="44" y="66"/>
                  <a:pt x="43" y="64"/>
                  <a:pt x="43" y="63"/>
                </a:cubicBezTo>
                <a:cubicBezTo>
                  <a:pt x="43" y="61"/>
                  <a:pt x="44" y="60"/>
                  <a:pt x="46" y="60"/>
                </a:cubicBezTo>
                <a:close/>
                <a:moveTo>
                  <a:pt x="37" y="51"/>
                </a:moveTo>
                <a:cubicBezTo>
                  <a:pt x="39" y="51"/>
                  <a:pt x="40" y="53"/>
                  <a:pt x="40" y="54"/>
                </a:cubicBezTo>
                <a:cubicBezTo>
                  <a:pt x="40" y="56"/>
                  <a:pt x="39" y="57"/>
                  <a:pt x="37" y="57"/>
                </a:cubicBezTo>
                <a:cubicBezTo>
                  <a:pt x="36" y="57"/>
                  <a:pt x="34" y="56"/>
                  <a:pt x="34" y="54"/>
                </a:cubicBezTo>
                <a:cubicBezTo>
                  <a:pt x="34" y="53"/>
                  <a:pt x="36" y="51"/>
                  <a:pt x="37" y="51"/>
                </a:cubicBezTo>
                <a:close/>
                <a:moveTo>
                  <a:pt x="54" y="51"/>
                </a:moveTo>
                <a:cubicBezTo>
                  <a:pt x="56" y="51"/>
                  <a:pt x="57" y="53"/>
                  <a:pt x="57" y="54"/>
                </a:cubicBezTo>
                <a:cubicBezTo>
                  <a:pt x="57" y="56"/>
                  <a:pt x="56" y="57"/>
                  <a:pt x="54" y="57"/>
                </a:cubicBezTo>
                <a:cubicBezTo>
                  <a:pt x="53" y="57"/>
                  <a:pt x="51" y="56"/>
                  <a:pt x="51" y="54"/>
                </a:cubicBezTo>
                <a:cubicBezTo>
                  <a:pt x="51" y="53"/>
                  <a:pt x="53" y="51"/>
                  <a:pt x="54" y="51"/>
                </a:cubicBezTo>
                <a:close/>
                <a:moveTo>
                  <a:pt x="37" y="69"/>
                </a:moveTo>
                <a:cubicBezTo>
                  <a:pt x="39" y="69"/>
                  <a:pt x="40" y="70"/>
                  <a:pt x="40" y="71"/>
                </a:cubicBezTo>
                <a:cubicBezTo>
                  <a:pt x="40" y="73"/>
                  <a:pt x="39" y="74"/>
                  <a:pt x="37" y="74"/>
                </a:cubicBezTo>
                <a:cubicBezTo>
                  <a:pt x="36" y="74"/>
                  <a:pt x="34" y="73"/>
                  <a:pt x="34" y="71"/>
                </a:cubicBezTo>
                <a:cubicBezTo>
                  <a:pt x="34" y="70"/>
                  <a:pt x="36" y="69"/>
                  <a:pt x="37" y="69"/>
                </a:cubicBezTo>
                <a:close/>
                <a:moveTo>
                  <a:pt x="54" y="69"/>
                </a:moveTo>
                <a:cubicBezTo>
                  <a:pt x="56" y="69"/>
                  <a:pt x="57" y="70"/>
                  <a:pt x="57" y="71"/>
                </a:cubicBezTo>
                <a:cubicBezTo>
                  <a:pt x="57" y="73"/>
                  <a:pt x="56" y="74"/>
                  <a:pt x="54" y="74"/>
                </a:cubicBezTo>
                <a:cubicBezTo>
                  <a:pt x="53" y="74"/>
                  <a:pt x="51" y="73"/>
                  <a:pt x="51" y="71"/>
                </a:cubicBezTo>
                <a:cubicBezTo>
                  <a:pt x="51" y="70"/>
                  <a:pt x="53" y="69"/>
                  <a:pt x="54" y="69"/>
                </a:cubicBezTo>
                <a:close/>
                <a:moveTo>
                  <a:pt x="11" y="77"/>
                </a:moveTo>
                <a:cubicBezTo>
                  <a:pt x="13" y="77"/>
                  <a:pt x="14" y="78"/>
                  <a:pt x="14" y="80"/>
                </a:cubicBezTo>
                <a:cubicBezTo>
                  <a:pt x="14" y="82"/>
                  <a:pt x="13" y="83"/>
                  <a:pt x="11" y="83"/>
                </a:cubicBezTo>
                <a:cubicBezTo>
                  <a:pt x="10" y="83"/>
                  <a:pt x="9" y="82"/>
                  <a:pt x="9" y="80"/>
                </a:cubicBezTo>
                <a:cubicBezTo>
                  <a:pt x="9" y="78"/>
                  <a:pt x="10" y="77"/>
                  <a:pt x="11" y="77"/>
                </a:cubicBezTo>
                <a:close/>
                <a:moveTo>
                  <a:pt x="11" y="94"/>
                </a:moveTo>
                <a:cubicBezTo>
                  <a:pt x="13" y="94"/>
                  <a:pt x="14" y="96"/>
                  <a:pt x="14" y="97"/>
                </a:cubicBezTo>
                <a:cubicBezTo>
                  <a:pt x="14" y="99"/>
                  <a:pt x="13" y="100"/>
                  <a:pt x="11" y="100"/>
                </a:cubicBezTo>
                <a:cubicBezTo>
                  <a:pt x="10" y="100"/>
                  <a:pt x="9" y="99"/>
                  <a:pt x="9" y="97"/>
                </a:cubicBezTo>
                <a:cubicBezTo>
                  <a:pt x="9" y="96"/>
                  <a:pt x="10" y="94"/>
                  <a:pt x="11" y="94"/>
                </a:cubicBezTo>
                <a:close/>
                <a:moveTo>
                  <a:pt x="20" y="86"/>
                </a:moveTo>
                <a:cubicBezTo>
                  <a:pt x="22" y="86"/>
                  <a:pt x="23" y="87"/>
                  <a:pt x="23" y="89"/>
                </a:cubicBezTo>
                <a:cubicBezTo>
                  <a:pt x="23" y="90"/>
                  <a:pt x="22" y="91"/>
                  <a:pt x="20" y="91"/>
                </a:cubicBezTo>
                <a:cubicBezTo>
                  <a:pt x="18" y="91"/>
                  <a:pt x="17" y="90"/>
                  <a:pt x="17" y="89"/>
                </a:cubicBezTo>
                <a:cubicBezTo>
                  <a:pt x="17" y="87"/>
                  <a:pt x="18" y="86"/>
                  <a:pt x="20" y="86"/>
                </a:cubicBezTo>
                <a:close/>
                <a:moveTo>
                  <a:pt x="20" y="103"/>
                </a:moveTo>
                <a:cubicBezTo>
                  <a:pt x="22" y="103"/>
                  <a:pt x="23" y="104"/>
                  <a:pt x="23" y="106"/>
                </a:cubicBezTo>
                <a:cubicBezTo>
                  <a:pt x="23" y="107"/>
                  <a:pt x="22" y="109"/>
                  <a:pt x="20" y="109"/>
                </a:cubicBezTo>
                <a:cubicBezTo>
                  <a:pt x="18" y="109"/>
                  <a:pt x="17" y="107"/>
                  <a:pt x="17" y="106"/>
                </a:cubicBezTo>
                <a:cubicBezTo>
                  <a:pt x="17" y="104"/>
                  <a:pt x="18" y="103"/>
                  <a:pt x="20" y="103"/>
                </a:cubicBezTo>
                <a:close/>
                <a:moveTo>
                  <a:pt x="29" y="77"/>
                </a:moveTo>
                <a:cubicBezTo>
                  <a:pt x="30" y="77"/>
                  <a:pt x="31" y="78"/>
                  <a:pt x="31" y="80"/>
                </a:cubicBezTo>
                <a:cubicBezTo>
                  <a:pt x="31" y="82"/>
                  <a:pt x="30" y="83"/>
                  <a:pt x="29" y="83"/>
                </a:cubicBezTo>
                <a:cubicBezTo>
                  <a:pt x="27" y="83"/>
                  <a:pt x="26" y="82"/>
                  <a:pt x="26" y="80"/>
                </a:cubicBezTo>
                <a:cubicBezTo>
                  <a:pt x="26" y="78"/>
                  <a:pt x="27" y="77"/>
                  <a:pt x="29" y="77"/>
                </a:cubicBezTo>
                <a:close/>
                <a:moveTo>
                  <a:pt x="46" y="77"/>
                </a:moveTo>
                <a:cubicBezTo>
                  <a:pt x="47" y="77"/>
                  <a:pt x="49" y="78"/>
                  <a:pt x="49" y="80"/>
                </a:cubicBezTo>
                <a:cubicBezTo>
                  <a:pt x="49" y="82"/>
                  <a:pt x="47" y="83"/>
                  <a:pt x="46" y="83"/>
                </a:cubicBezTo>
                <a:cubicBezTo>
                  <a:pt x="44" y="83"/>
                  <a:pt x="43" y="82"/>
                  <a:pt x="43" y="80"/>
                </a:cubicBezTo>
                <a:cubicBezTo>
                  <a:pt x="43" y="78"/>
                  <a:pt x="44" y="77"/>
                  <a:pt x="46" y="77"/>
                </a:cubicBezTo>
                <a:close/>
                <a:moveTo>
                  <a:pt x="29" y="94"/>
                </a:moveTo>
                <a:cubicBezTo>
                  <a:pt x="30" y="94"/>
                  <a:pt x="31" y="96"/>
                  <a:pt x="31" y="97"/>
                </a:cubicBezTo>
                <a:cubicBezTo>
                  <a:pt x="31" y="99"/>
                  <a:pt x="30" y="100"/>
                  <a:pt x="29" y="100"/>
                </a:cubicBezTo>
                <a:cubicBezTo>
                  <a:pt x="27" y="100"/>
                  <a:pt x="26" y="99"/>
                  <a:pt x="26" y="97"/>
                </a:cubicBezTo>
                <a:cubicBezTo>
                  <a:pt x="26" y="96"/>
                  <a:pt x="27" y="94"/>
                  <a:pt x="29" y="94"/>
                </a:cubicBezTo>
                <a:close/>
                <a:moveTo>
                  <a:pt x="46" y="94"/>
                </a:moveTo>
                <a:cubicBezTo>
                  <a:pt x="47" y="94"/>
                  <a:pt x="49" y="96"/>
                  <a:pt x="49" y="97"/>
                </a:cubicBezTo>
                <a:cubicBezTo>
                  <a:pt x="49" y="99"/>
                  <a:pt x="47" y="100"/>
                  <a:pt x="46" y="100"/>
                </a:cubicBezTo>
                <a:cubicBezTo>
                  <a:pt x="44" y="100"/>
                  <a:pt x="43" y="99"/>
                  <a:pt x="43" y="97"/>
                </a:cubicBezTo>
                <a:cubicBezTo>
                  <a:pt x="43" y="96"/>
                  <a:pt x="44" y="94"/>
                  <a:pt x="46" y="94"/>
                </a:cubicBezTo>
                <a:close/>
                <a:moveTo>
                  <a:pt x="37" y="86"/>
                </a:moveTo>
                <a:cubicBezTo>
                  <a:pt x="39" y="86"/>
                  <a:pt x="40" y="87"/>
                  <a:pt x="40" y="89"/>
                </a:cubicBezTo>
                <a:cubicBezTo>
                  <a:pt x="40" y="90"/>
                  <a:pt x="39" y="91"/>
                  <a:pt x="37" y="91"/>
                </a:cubicBezTo>
                <a:cubicBezTo>
                  <a:pt x="36" y="91"/>
                  <a:pt x="34" y="90"/>
                  <a:pt x="34" y="89"/>
                </a:cubicBezTo>
                <a:cubicBezTo>
                  <a:pt x="34" y="87"/>
                  <a:pt x="36" y="86"/>
                  <a:pt x="37" y="86"/>
                </a:cubicBezTo>
                <a:close/>
                <a:moveTo>
                  <a:pt x="54" y="86"/>
                </a:moveTo>
                <a:cubicBezTo>
                  <a:pt x="56" y="86"/>
                  <a:pt x="57" y="87"/>
                  <a:pt x="57" y="89"/>
                </a:cubicBezTo>
                <a:cubicBezTo>
                  <a:pt x="57" y="90"/>
                  <a:pt x="56" y="91"/>
                  <a:pt x="54" y="91"/>
                </a:cubicBezTo>
                <a:cubicBezTo>
                  <a:pt x="53" y="91"/>
                  <a:pt x="51" y="90"/>
                  <a:pt x="51" y="89"/>
                </a:cubicBezTo>
                <a:cubicBezTo>
                  <a:pt x="51" y="87"/>
                  <a:pt x="53" y="86"/>
                  <a:pt x="54" y="86"/>
                </a:cubicBezTo>
                <a:close/>
                <a:moveTo>
                  <a:pt x="37" y="103"/>
                </a:moveTo>
                <a:cubicBezTo>
                  <a:pt x="39" y="103"/>
                  <a:pt x="40" y="104"/>
                  <a:pt x="40" y="106"/>
                </a:cubicBezTo>
                <a:cubicBezTo>
                  <a:pt x="40" y="107"/>
                  <a:pt x="39" y="109"/>
                  <a:pt x="37" y="109"/>
                </a:cubicBezTo>
                <a:cubicBezTo>
                  <a:pt x="36" y="109"/>
                  <a:pt x="34" y="107"/>
                  <a:pt x="34" y="106"/>
                </a:cubicBezTo>
                <a:cubicBezTo>
                  <a:pt x="34" y="104"/>
                  <a:pt x="36" y="103"/>
                  <a:pt x="37" y="103"/>
                </a:cubicBezTo>
                <a:close/>
                <a:moveTo>
                  <a:pt x="54" y="103"/>
                </a:moveTo>
                <a:cubicBezTo>
                  <a:pt x="56" y="103"/>
                  <a:pt x="57" y="104"/>
                  <a:pt x="57" y="106"/>
                </a:cubicBezTo>
                <a:cubicBezTo>
                  <a:pt x="57" y="107"/>
                  <a:pt x="56" y="109"/>
                  <a:pt x="54" y="109"/>
                </a:cubicBezTo>
                <a:cubicBezTo>
                  <a:pt x="53" y="109"/>
                  <a:pt x="51" y="107"/>
                  <a:pt x="51" y="106"/>
                </a:cubicBezTo>
                <a:cubicBezTo>
                  <a:pt x="51" y="104"/>
                  <a:pt x="53" y="103"/>
                  <a:pt x="54" y="103"/>
                </a:cubicBezTo>
                <a:close/>
                <a:moveTo>
                  <a:pt x="11" y="111"/>
                </a:moveTo>
                <a:cubicBezTo>
                  <a:pt x="13" y="111"/>
                  <a:pt x="14" y="113"/>
                  <a:pt x="14" y="114"/>
                </a:cubicBezTo>
                <a:cubicBezTo>
                  <a:pt x="14" y="116"/>
                  <a:pt x="13" y="117"/>
                  <a:pt x="11" y="117"/>
                </a:cubicBezTo>
                <a:cubicBezTo>
                  <a:pt x="10" y="117"/>
                  <a:pt x="9" y="116"/>
                  <a:pt x="9" y="114"/>
                </a:cubicBezTo>
                <a:cubicBezTo>
                  <a:pt x="9" y="113"/>
                  <a:pt x="10" y="111"/>
                  <a:pt x="11" y="111"/>
                </a:cubicBezTo>
                <a:close/>
                <a:moveTo>
                  <a:pt x="11" y="129"/>
                </a:moveTo>
                <a:cubicBezTo>
                  <a:pt x="13" y="129"/>
                  <a:pt x="14" y="130"/>
                  <a:pt x="14" y="131"/>
                </a:cubicBezTo>
                <a:cubicBezTo>
                  <a:pt x="14" y="133"/>
                  <a:pt x="13" y="134"/>
                  <a:pt x="11" y="134"/>
                </a:cubicBezTo>
                <a:cubicBezTo>
                  <a:pt x="10" y="134"/>
                  <a:pt x="9" y="133"/>
                  <a:pt x="9" y="131"/>
                </a:cubicBezTo>
                <a:cubicBezTo>
                  <a:pt x="9" y="130"/>
                  <a:pt x="10" y="129"/>
                  <a:pt x="11" y="129"/>
                </a:cubicBezTo>
                <a:close/>
                <a:moveTo>
                  <a:pt x="20" y="120"/>
                </a:moveTo>
                <a:cubicBezTo>
                  <a:pt x="22" y="120"/>
                  <a:pt x="23" y="121"/>
                  <a:pt x="23" y="123"/>
                </a:cubicBezTo>
                <a:cubicBezTo>
                  <a:pt x="23" y="124"/>
                  <a:pt x="22" y="126"/>
                  <a:pt x="20" y="126"/>
                </a:cubicBezTo>
                <a:cubicBezTo>
                  <a:pt x="18" y="126"/>
                  <a:pt x="17" y="124"/>
                  <a:pt x="17" y="123"/>
                </a:cubicBezTo>
                <a:cubicBezTo>
                  <a:pt x="17" y="121"/>
                  <a:pt x="18" y="120"/>
                  <a:pt x="20" y="120"/>
                </a:cubicBezTo>
                <a:close/>
                <a:moveTo>
                  <a:pt x="29" y="111"/>
                </a:moveTo>
                <a:cubicBezTo>
                  <a:pt x="30" y="111"/>
                  <a:pt x="31" y="113"/>
                  <a:pt x="31" y="114"/>
                </a:cubicBezTo>
                <a:cubicBezTo>
                  <a:pt x="31" y="116"/>
                  <a:pt x="30" y="117"/>
                  <a:pt x="29" y="117"/>
                </a:cubicBezTo>
                <a:cubicBezTo>
                  <a:pt x="27" y="117"/>
                  <a:pt x="26" y="116"/>
                  <a:pt x="26" y="114"/>
                </a:cubicBezTo>
                <a:cubicBezTo>
                  <a:pt x="26" y="113"/>
                  <a:pt x="27" y="111"/>
                  <a:pt x="29" y="111"/>
                </a:cubicBezTo>
                <a:close/>
                <a:moveTo>
                  <a:pt x="46" y="111"/>
                </a:moveTo>
                <a:cubicBezTo>
                  <a:pt x="47" y="111"/>
                  <a:pt x="49" y="113"/>
                  <a:pt x="49" y="114"/>
                </a:cubicBezTo>
                <a:cubicBezTo>
                  <a:pt x="49" y="116"/>
                  <a:pt x="47" y="117"/>
                  <a:pt x="46" y="117"/>
                </a:cubicBezTo>
                <a:cubicBezTo>
                  <a:pt x="44" y="117"/>
                  <a:pt x="43" y="116"/>
                  <a:pt x="43" y="114"/>
                </a:cubicBezTo>
                <a:cubicBezTo>
                  <a:pt x="43" y="113"/>
                  <a:pt x="44" y="111"/>
                  <a:pt x="46" y="111"/>
                </a:cubicBezTo>
                <a:close/>
                <a:moveTo>
                  <a:pt x="29" y="129"/>
                </a:moveTo>
                <a:cubicBezTo>
                  <a:pt x="30" y="129"/>
                  <a:pt x="31" y="130"/>
                  <a:pt x="31" y="131"/>
                </a:cubicBezTo>
                <a:cubicBezTo>
                  <a:pt x="31" y="133"/>
                  <a:pt x="30" y="134"/>
                  <a:pt x="29" y="134"/>
                </a:cubicBezTo>
                <a:cubicBezTo>
                  <a:pt x="27" y="134"/>
                  <a:pt x="26" y="133"/>
                  <a:pt x="26" y="131"/>
                </a:cubicBezTo>
                <a:cubicBezTo>
                  <a:pt x="26" y="130"/>
                  <a:pt x="27" y="129"/>
                  <a:pt x="29" y="129"/>
                </a:cubicBezTo>
                <a:close/>
                <a:moveTo>
                  <a:pt x="46" y="129"/>
                </a:moveTo>
                <a:cubicBezTo>
                  <a:pt x="47" y="129"/>
                  <a:pt x="49" y="130"/>
                  <a:pt x="49" y="131"/>
                </a:cubicBezTo>
                <a:cubicBezTo>
                  <a:pt x="49" y="133"/>
                  <a:pt x="47" y="134"/>
                  <a:pt x="46" y="134"/>
                </a:cubicBezTo>
                <a:cubicBezTo>
                  <a:pt x="44" y="134"/>
                  <a:pt x="43" y="133"/>
                  <a:pt x="43" y="131"/>
                </a:cubicBezTo>
                <a:cubicBezTo>
                  <a:pt x="43" y="130"/>
                  <a:pt x="44" y="129"/>
                  <a:pt x="46" y="129"/>
                </a:cubicBezTo>
                <a:close/>
                <a:moveTo>
                  <a:pt x="37" y="120"/>
                </a:moveTo>
                <a:cubicBezTo>
                  <a:pt x="39" y="120"/>
                  <a:pt x="40" y="121"/>
                  <a:pt x="40" y="123"/>
                </a:cubicBezTo>
                <a:cubicBezTo>
                  <a:pt x="40" y="124"/>
                  <a:pt x="39" y="126"/>
                  <a:pt x="37" y="126"/>
                </a:cubicBezTo>
                <a:cubicBezTo>
                  <a:pt x="36" y="126"/>
                  <a:pt x="34" y="124"/>
                  <a:pt x="34" y="123"/>
                </a:cubicBezTo>
                <a:cubicBezTo>
                  <a:pt x="34" y="121"/>
                  <a:pt x="36" y="120"/>
                  <a:pt x="37" y="120"/>
                </a:cubicBezTo>
                <a:close/>
                <a:moveTo>
                  <a:pt x="54" y="120"/>
                </a:moveTo>
                <a:cubicBezTo>
                  <a:pt x="56" y="120"/>
                  <a:pt x="57" y="121"/>
                  <a:pt x="57" y="123"/>
                </a:cubicBezTo>
                <a:cubicBezTo>
                  <a:pt x="57" y="124"/>
                  <a:pt x="56" y="126"/>
                  <a:pt x="54" y="126"/>
                </a:cubicBezTo>
                <a:cubicBezTo>
                  <a:pt x="53" y="126"/>
                  <a:pt x="51" y="124"/>
                  <a:pt x="51" y="123"/>
                </a:cubicBezTo>
                <a:cubicBezTo>
                  <a:pt x="51" y="121"/>
                  <a:pt x="53" y="120"/>
                  <a:pt x="54"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9" name="TextBox 18"/>
          <p:cNvSpPr txBox="1"/>
          <p:nvPr/>
        </p:nvSpPr>
        <p:spPr>
          <a:xfrm>
            <a:off x="9085388" y="4254262"/>
            <a:ext cx="1799723" cy="338554"/>
          </a:xfrm>
          <a:prstGeom prst="rect">
            <a:avLst/>
          </a:prstGeom>
          <a:noFill/>
        </p:spPr>
        <p:txBody>
          <a:bodyPr wrap="none" lIns="0" rIns="0" rtlCol="0">
            <a:spAutoFit/>
          </a:bodyPr>
          <a:lstStyle/>
          <a:p>
            <a:r>
              <a:rPr lang="en-US" sz="1600" dirty="0">
                <a:solidFill>
                  <a:schemeClr val="bg1"/>
                </a:solidFill>
                <a:latin typeface="RBC Display" panose="02000000000000000000" pitchFamily="2" charset="77"/>
              </a:rPr>
              <a:t>Give an application</a:t>
            </a:r>
          </a:p>
        </p:txBody>
      </p:sp>
      <p:sp>
        <p:nvSpPr>
          <p:cNvPr id="20" name="TextBox 19"/>
          <p:cNvSpPr txBox="1"/>
          <p:nvPr/>
        </p:nvSpPr>
        <p:spPr>
          <a:xfrm>
            <a:off x="9085388" y="4592816"/>
            <a:ext cx="1990481"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How to work with the fund?</a:t>
            </a:r>
          </a:p>
        </p:txBody>
      </p:sp>
      <p:sp>
        <p:nvSpPr>
          <p:cNvPr id="22" name="TextBox 21"/>
          <p:cNvSpPr txBox="1"/>
          <p:nvPr/>
        </p:nvSpPr>
        <p:spPr>
          <a:xfrm>
            <a:off x="9085388" y="5255292"/>
            <a:ext cx="1799723" cy="338554"/>
          </a:xfrm>
          <a:prstGeom prst="rect">
            <a:avLst/>
          </a:prstGeom>
          <a:noFill/>
        </p:spPr>
        <p:txBody>
          <a:bodyPr wrap="none" lIns="0" rIns="0" rtlCol="0">
            <a:spAutoFit/>
          </a:bodyPr>
          <a:lstStyle/>
          <a:p>
            <a:r>
              <a:rPr lang="en-US" sz="1600" dirty="0">
                <a:solidFill>
                  <a:schemeClr val="bg1"/>
                </a:solidFill>
                <a:latin typeface="RBC Display" panose="02000000000000000000" pitchFamily="2" charset="77"/>
              </a:rPr>
              <a:t>Give an application</a:t>
            </a:r>
          </a:p>
        </p:txBody>
      </p:sp>
      <p:sp>
        <p:nvSpPr>
          <p:cNvPr id="23" name="TextBox 22"/>
          <p:cNvSpPr txBox="1"/>
          <p:nvPr/>
        </p:nvSpPr>
        <p:spPr>
          <a:xfrm>
            <a:off x="9085388" y="5593846"/>
            <a:ext cx="1990481" cy="276999"/>
          </a:xfrm>
          <a:prstGeom prst="rect">
            <a:avLst/>
          </a:prstGeom>
          <a:noFill/>
        </p:spPr>
        <p:txBody>
          <a:bodyPr wrap="none" lIns="0" rIns="0" rtlCol="0">
            <a:spAutoFit/>
          </a:bodyPr>
          <a:lstStyle/>
          <a:p>
            <a:r>
              <a:rPr lang="en-US" sz="1200" dirty="0">
                <a:solidFill>
                  <a:schemeClr val="bg1">
                    <a:alpha val="70000"/>
                  </a:schemeClr>
                </a:solidFill>
                <a:latin typeface="RBC Text" panose="02000000000000000000" pitchFamily="2" charset="77"/>
              </a:rPr>
              <a:t>How to work with the fund?</a:t>
            </a:r>
          </a:p>
        </p:txBody>
      </p:sp>
      <p:sp>
        <p:nvSpPr>
          <p:cNvPr id="25" name="Freeform 61"/>
          <p:cNvSpPr>
            <a:spLocks noEditPoints="1"/>
          </p:cNvSpPr>
          <p:nvPr/>
        </p:nvSpPr>
        <p:spPr bwMode="auto">
          <a:xfrm>
            <a:off x="4643443" y="4329806"/>
            <a:ext cx="497242" cy="460506"/>
          </a:xfrm>
          <a:custGeom>
            <a:avLst/>
            <a:gdLst>
              <a:gd name="T0" fmla="*/ 117 w 160"/>
              <a:gd name="T1" fmla="*/ 95 h 147"/>
              <a:gd name="T2" fmla="*/ 127 w 160"/>
              <a:gd name="T3" fmla="*/ 68 h 147"/>
              <a:gd name="T4" fmla="*/ 131 w 160"/>
              <a:gd name="T5" fmla="*/ 41 h 147"/>
              <a:gd name="T6" fmla="*/ 99 w 160"/>
              <a:gd name="T7" fmla="*/ 0 h 147"/>
              <a:gd name="T8" fmla="*/ 51 w 160"/>
              <a:gd name="T9" fmla="*/ 19 h 147"/>
              <a:gd name="T10" fmla="*/ 19 w 160"/>
              <a:gd name="T11" fmla="*/ 61 h 147"/>
              <a:gd name="T12" fmla="*/ 32 w 160"/>
              <a:gd name="T13" fmla="*/ 94 h 147"/>
              <a:gd name="T14" fmla="*/ 11 w 160"/>
              <a:gd name="T15" fmla="*/ 118 h 147"/>
              <a:gd name="T16" fmla="*/ 37 w 160"/>
              <a:gd name="T17" fmla="*/ 147 h 147"/>
              <a:gd name="T18" fmla="*/ 160 w 160"/>
              <a:gd name="T19" fmla="*/ 136 h 147"/>
              <a:gd name="T20" fmla="*/ 37 w 160"/>
              <a:gd name="T21" fmla="*/ 141 h 147"/>
              <a:gd name="T22" fmla="*/ 14 w 160"/>
              <a:gd name="T23" fmla="*/ 123 h 147"/>
              <a:gd name="T24" fmla="*/ 37 w 160"/>
              <a:gd name="T25" fmla="*/ 92 h 147"/>
              <a:gd name="T26" fmla="*/ 27 w 160"/>
              <a:gd name="T27" fmla="*/ 74 h 147"/>
              <a:gd name="T28" fmla="*/ 24 w 160"/>
              <a:gd name="T29" fmla="*/ 61 h 147"/>
              <a:gd name="T30" fmla="*/ 27 w 160"/>
              <a:gd name="T31" fmla="*/ 43 h 147"/>
              <a:gd name="T32" fmla="*/ 67 w 160"/>
              <a:gd name="T33" fmla="*/ 41 h 147"/>
              <a:gd name="T34" fmla="*/ 64 w 160"/>
              <a:gd name="T35" fmla="*/ 61 h 147"/>
              <a:gd name="T36" fmla="*/ 65 w 160"/>
              <a:gd name="T37" fmla="*/ 63 h 147"/>
              <a:gd name="T38" fmla="*/ 69 w 160"/>
              <a:gd name="T39" fmla="*/ 69 h 147"/>
              <a:gd name="T40" fmla="*/ 69 w 160"/>
              <a:gd name="T41" fmla="*/ 71 h 147"/>
              <a:gd name="T42" fmla="*/ 71 w 160"/>
              <a:gd name="T43" fmla="*/ 75 h 147"/>
              <a:gd name="T44" fmla="*/ 71 w 160"/>
              <a:gd name="T45" fmla="*/ 76 h 147"/>
              <a:gd name="T46" fmla="*/ 73 w 160"/>
              <a:gd name="T47" fmla="*/ 79 h 147"/>
              <a:gd name="T48" fmla="*/ 75 w 160"/>
              <a:gd name="T49" fmla="*/ 83 h 147"/>
              <a:gd name="T50" fmla="*/ 77 w 160"/>
              <a:gd name="T51" fmla="*/ 86 h 147"/>
              <a:gd name="T52" fmla="*/ 74 w 160"/>
              <a:gd name="T53" fmla="*/ 101 h 147"/>
              <a:gd name="T54" fmla="*/ 65 w 160"/>
              <a:gd name="T55" fmla="*/ 106 h 147"/>
              <a:gd name="T56" fmla="*/ 155 w 160"/>
              <a:gd name="T57" fmla="*/ 141 h 147"/>
              <a:gd name="T58" fmla="*/ 52 w 160"/>
              <a:gd name="T59" fmla="*/ 119 h 147"/>
              <a:gd name="T60" fmla="*/ 83 w 160"/>
              <a:gd name="T61" fmla="*/ 84 h 147"/>
              <a:gd name="T62" fmla="*/ 82 w 160"/>
              <a:gd name="T63" fmla="*/ 84 h 147"/>
              <a:gd name="T64" fmla="*/ 81 w 160"/>
              <a:gd name="T65" fmla="*/ 82 h 147"/>
              <a:gd name="T66" fmla="*/ 80 w 160"/>
              <a:gd name="T67" fmla="*/ 80 h 147"/>
              <a:gd name="T68" fmla="*/ 77 w 160"/>
              <a:gd name="T69" fmla="*/ 75 h 147"/>
              <a:gd name="T70" fmla="*/ 76 w 160"/>
              <a:gd name="T71" fmla="*/ 73 h 147"/>
              <a:gd name="T72" fmla="*/ 75 w 160"/>
              <a:gd name="T73" fmla="*/ 72 h 147"/>
              <a:gd name="T74" fmla="*/ 74 w 160"/>
              <a:gd name="T75" fmla="*/ 68 h 147"/>
              <a:gd name="T76" fmla="*/ 73 w 160"/>
              <a:gd name="T77" fmla="*/ 65 h 147"/>
              <a:gd name="T78" fmla="*/ 69 w 160"/>
              <a:gd name="T79" fmla="*/ 59 h 147"/>
              <a:gd name="T80" fmla="*/ 72 w 160"/>
              <a:gd name="T81" fmla="*/ 43 h 147"/>
              <a:gd name="T82" fmla="*/ 72 w 160"/>
              <a:gd name="T83" fmla="*/ 26 h 147"/>
              <a:gd name="T84" fmla="*/ 121 w 160"/>
              <a:gd name="T85" fmla="*/ 13 h 147"/>
              <a:gd name="T86" fmla="*/ 126 w 160"/>
              <a:gd name="T87" fmla="*/ 44 h 147"/>
              <a:gd name="T88" fmla="*/ 124 w 160"/>
              <a:gd name="T89" fmla="*/ 64 h 147"/>
              <a:gd name="T90" fmla="*/ 115 w 160"/>
              <a:gd name="T91" fmla="*/ 81 h 147"/>
              <a:gd name="T92" fmla="*/ 112 w 160"/>
              <a:gd name="T93" fmla="*/ 95 h 147"/>
              <a:gd name="T94" fmla="*/ 155 w 160"/>
              <a:gd name="T95" fmla="*/ 1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147">
                <a:moveTo>
                  <a:pt x="147" y="114"/>
                </a:moveTo>
                <a:cubicBezTo>
                  <a:pt x="121" y="102"/>
                  <a:pt x="121" y="102"/>
                  <a:pt x="121" y="102"/>
                </a:cubicBezTo>
                <a:cubicBezTo>
                  <a:pt x="119" y="100"/>
                  <a:pt x="117" y="98"/>
                  <a:pt x="117" y="95"/>
                </a:cubicBezTo>
                <a:cubicBezTo>
                  <a:pt x="117" y="86"/>
                  <a:pt x="117" y="86"/>
                  <a:pt x="117" y="86"/>
                </a:cubicBezTo>
                <a:cubicBezTo>
                  <a:pt x="118" y="86"/>
                  <a:pt x="119" y="85"/>
                  <a:pt x="119" y="84"/>
                </a:cubicBezTo>
                <a:cubicBezTo>
                  <a:pt x="123" y="79"/>
                  <a:pt x="125" y="74"/>
                  <a:pt x="127" y="68"/>
                </a:cubicBezTo>
                <a:cubicBezTo>
                  <a:pt x="131" y="67"/>
                  <a:pt x="133" y="63"/>
                  <a:pt x="133" y="59"/>
                </a:cubicBezTo>
                <a:cubicBezTo>
                  <a:pt x="133" y="48"/>
                  <a:pt x="133" y="48"/>
                  <a:pt x="133" y="48"/>
                </a:cubicBezTo>
                <a:cubicBezTo>
                  <a:pt x="133" y="45"/>
                  <a:pt x="132" y="43"/>
                  <a:pt x="131" y="41"/>
                </a:cubicBezTo>
                <a:cubicBezTo>
                  <a:pt x="131" y="27"/>
                  <a:pt x="131" y="27"/>
                  <a:pt x="131" y="27"/>
                </a:cubicBezTo>
                <a:cubicBezTo>
                  <a:pt x="131" y="25"/>
                  <a:pt x="131" y="17"/>
                  <a:pt x="125" y="9"/>
                </a:cubicBezTo>
                <a:cubicBezTo>
                  <a:pt x="120" y="3"/>
                  <a:pt x="111" y="0"/>
                  <a:pt x="99" y="0"/>
                </a:cubicBezTo>
                <a:cubicBezTo>
                  <a:pt x="87" y="0"/>
                  <a:pt x="78" y="3"/>
                  <a:pt x="72" y="9"/>
                </a:cubicBezTo>
                <a:cubicBezTo>
                  <a:pt x="68" y="14"/>
                  <a:pt x="67" y="19"/>
                  <a:pt x="67" y="22"/>
                </a:cubicBezTo>
                <a:cubicBezTo>
                  <a:pt x="62" y="20"/>
                  <a:pt x="57" y="19"/>
                  <a:pt x="51" y="19"/>
                </a:cubicBezTo>
                <a:cubicBezTo>
                  <a:pt x="23" y="19"/>
                  <a:pt x="21" y="42"/>
                  <a:pt x="21" y="43"/>
                </a:cubicBezTo>
                <a:cubicBezTo>
                  <a:pt x="21" y="55"/>
                  <a:pt x="21" y="55"/>
                  <a:pt x="21" y="55"/>
                </a:cubicBezTo>
                <a:cubicBezTo>
                  <a:pt x="20" y="57"/>
                  <a:pt x="19" y="59"/>
                  <a:pt x="19" y="61"/>
                </a:cubicBezTo>
                <a:cubicBezTo>
                  <a:pt x="19" y="70"/>
                  <a:pt x="19" y="70"/>
                  <a:pt x="19" y="70"/>
                </a:cubicBezTo>
                <a:cubicBezTo>
                  <a:pt x="19" y="73"/>
                  <a:pt x="20" y="76"/>
                  <a:pt x="22" y="78"/>
                </a:cubicBezTo>
                <a:cubicBezTo>
                  <a:pt x="24" y="86"/>
                  <a:pt x="30" y="92"/>
                  <a:pt x="32" y="94"/>
                </a:cubicBezTo>
                <a:cubicBezTo>
                  <a:pt x="32" y="102"/>
                  <a:pt x="32" y="102"/>
                  <a:pt x="32" y="102"/>
                </a:cubicBezTo>
                <a:cubicBezTo>
                  <a:pt x="32" y="104"/>
                  <a:pt x="31" y="106"/>
                  <a:pt x="29" y="107"/>
                </a:cubicBezTo>
                <a:cubicBezTo>
                  <a:pt x="11" y="118"/>
                  <a:pt x="11" y="118"/>
                  <a:pt x="11" y="118"/>
                </a:cubicBezTo>
                <a:cubicBezTo>
                  <a:pt x="4" y="122"/>
                  <a:pt x="0" y="129"/>
                  <a:pt x="0" y="137"/>
                </a:cubicBezTo>
                <a:cubicBezTo>
                  <a:pt x="0" y="147"/>
                  <a:pt x="0" y="147"/>
                  <a:pt x="0" y="147"/>
                </a:cubicBezTo>
                <a:cubicBezTo>
                  <a:pt x="37" y="147"/>
                  <a:pt x="37" y="147"/>
                  <a:pt x="37" y="147"/>
                </a:cubicBezTo>
                <a:cubicBezTo>
                  <a:pt x="43" y="147"/>
                  <a:pt x="43" y="147"/>
                  <a:pt x="43" y="147"/>
                </a:cubicBezTo>
                <a:cubicBezTo>
                  <a:pt x="160" y="147"/>
                  <a:pt x="160" y="147"/>
                  <a:pt x="160" y="147"/>
                </a:cubicBezTo>
                <a:cubicBezTo>
                  <a:pt x="160" y="136"/>
                  <a:pt x="160" y="136"/>
                  <a:pt x="160" y="136"/>
                </a:cubicBezTo>
                <a:cubicBezTo>
                  <a:pt x="160" y="127"/>
                  <a:pt x="155" y="118"/>
                  <a:pt x="147" y="114"/>
                </a:cubicBezTo>
                <a:close/>
                <a:moveTo>
                  <a:pt x="37" y="135"/>
                </a:moveTo>
                <a:cubicBezTo>
                  <a:pt x="37" y="141"/>
                  <a:pt x="37" y="141"/>
                  <a:pt x="37" y="141"/>
                </a:cubicBezTo>
                <a:cubicBezTo>
                  <a:pt x="5" y="141"/>
                  <a:pt x="5" y="141"/>
                  <a:pt x="5" y="141"/>
                </a:cubicBezTo>
                <a:cubicBezTo>
                  <a:pt x="5" y="137"/>
                  <a:pt x="5" y="137"/>
                  <a:pt x="5" y="137"/>
                </a:cubicBezTo>
                <a:cubicBezTo>
                  <a:pt x="5" y="131"/>
                  <a:pt x="8" y="125"/>
                  <a:pt x="14" y="123"/>
                </a:cubicBezTo>
                <a:cubicBezTo>
                  <a:pt x="31" y="111"/>
                  <a:pt x="31" y="111"/>
                  <a:pt x="31" y="111"/>
                </a:cubicBezTo>
                <a:cubicBezTo>
                  <a:pt x="35" y="110"/>
                  <a:pt x="37" y="106"/>
                  <a:pt x="37" y="102"/>
                </a:cubicBezTo>
                <a:cubicBezTo>
                  <a:pt x="37" y="92"/>
                  <a:pt x="37" y="92"/>
                  <a:pt x="37" y="92"/>
                </a:cubicBezTo>
                <a:cubicBezTo>
                  <a:pt x="36" y="91"/>
                  <a:pt x="36" y="91"/>
                  <a:pt x="36" y="91"/>
                </a:cubicBezTo>
                <a:cubicBezTo>
                  <a:pt x="36" y="91"/>
                  <a:pt x="29" y="85"/>
                  <a:pt x="27" y="76"/>
                </a:cubicBezTo>
                <a:cubicBezTo>
                  <a:pt x="27" y="74"/>
                  <a:pt x="27" y="74"/>
                  <a:pt x="27" y="74"/>
                </a:cubicBezTo>
                <a:cubicBezTo>
                  <a:pt x="26" y="74"/>
                  <a:pt x="26" y="74"/>
                  <a:pt x="26" y="74"/>
                </a:cubicBezTo>
                <a:cubicBezTo>
                  <a:pt x="25" y="73"/>
                  <a:pt x="24" y="72"/>
                  <a:pt x="24" y="70"/>
                </a:cubicBezTo>
                <a:cubicBezTo>
                  <a:pt x="24" y="61"/>
                  <a:pt x="24" y="61"/>
                  <a:pt x="24" y="61"/>
                </a:cubicBezTo>
                <a:cubicBezTo>
                  <a:pt x="24" y="60"/>
                  <a:pt x="25" y="59"/>
                  <a:pt x="26" y="58"/>
                </a:cubicBezTo>
                <a:cubicBezTo>
                  <a:pt x="27" y="57"/>
                  <a:pt x="27" y="57"/>
                  <a:pt x="27" y="57"/>
                </a:cubicBezTo>
                <a:cubicBezTo>
                  <a:pt x="27" y="43"/>
                  <a:pt x="27" y="43"/>
                  <a:pt x="27" y="43"/>
                </a:cubicBezTo>
                <a:cubicBezTo>
                  <a:pt x="27" y="42"/>
                  <a:pt x="28" y="24"/>
                  <a:pt x="51" y="24"/>
                </a:cubicBezTo>
                <a:cubicBezTo>
                  <a:pt x="57" y="24"/>
                  <a:pt x="62" y="25"/>
                  <a:pt x="67" y="28"/>
                </a:cubicBezTo>
                <a:cubicBezTo>
                  <a:pt x="67" y="41"/>
                  <a:pt x="67" y="41"/>
                  <a:pt x="67" y="41"/>
                </a:cubicBezTo>
                <a:cubicBezTo>
                  <a:pt x="65" y="43"/>
                  <a:pt x="64" y="45"/>
                  <a:pt x="64" y="48"/>
                </a:cubicBezTo>
                <a:cubicBezTo>
                  <a:pt x="64" y="59"/>
                  <a:pt x="64" y="59"/>
                  <a:pt x="64" y="59"/>
                </a:cubicBezTo>
                <a:cubicBezTo>
                  <a:pt x="64" y="59"/>
                  <a:pt x="64" y="60"/>
                  <a:pt x="64" y="61"/>
                </a:cubicBezTo>
                <a:cubicBezTo>
                  <a:pt x="64" y="61"/>
                  <a:pt x="64" y="62"/>
                  <a:pt x="65" y="62"/>
                </a:cubicBezTo>
                <a:cubicBezTo>
                  <a:pt x="65" y="62"/>
                  <a:pt x="65" y="63"/>
                  <a:pt x="65" y="63"/>
                </a:cubicBezTo>
                <a:cubicBezTo>
                  <a:pt x="65" y="63"/>
                  <a:pt x="65" y="63"/>
                  <a:pt x="65" y="63"/>
                </a:cubicBezTo>
                <a:cubicBezTo>
                  <a:pt x="66" y="65"/>
                  <a:pt x="67" y="66"/>
                  <a:pt x="68" y="67"/>
                </a:cubicBezTo>
                <a:cubicBezTo>
                  <a:pt x="68" y="67"/>
                  <a:pt x="68" y="67"/>
                  <a:pt x="68" y="67"/>
                </a:cubicBezTo>
                <a:cubicBezTo>
                  <a:pt x="68" y="68"/>
                  <a:pt x="68" y="68"/>
                  <a:pt x="69" y="69"/>
                </a:cubicBezTo>
                <a:cubicBezTo>
                  <a:pt x="69" y="70"/>
                  <a:pt x="69" y="70"/>
                  <a:pt x="69" y="70"/>
                </a:cubicBezTo>
                <a:cubicBezTo>
                  <a:pt x="69" y="70"/>
                  <a:pt x="69" y="70"/>
                  <a:pt x="69" y="70"/>
                </a:cubicBezTo>
                <a:cubicBezTo>
                  <a:pt x="69" y="70"/>
                  <a:pt x="69" y="71"/>
                  <a:pt x="69" y="71"/>
                </a:cubicBezTo>
                <a:cubicBezTo>
                  <a:pt x="69" y="71"/>
                  <a:pt x="69" y="72"/>
                  <a:pt x="70" y="72"/>
                </a:cubicBezTo>
                <a:cubicBezTo>
                  <a:pt x="70" y="73"/>
                  <a:pt x="70" y="73"/>
                  <a:pt x="70" y="73"/>
                </a:cubicBezTo>
                <a:cubicBezTo>
                  <a:pt x="70" y="74"/>
                  <a:pt x="70" y="74"/>
                  <a:pt x="71" y="75"/>
                </a:cubicBezTo>
                <a:cubicBezTo>
                  <a:pt x="71" y="75"/>
                  <a:pt x="71" y="75"/>
                  <a:pt x="71" y="75"/>
                </a:cubicBezTo>
                <a:cubicBezTo>
                  <a:pt x="71" y="75"/>
                  <a:pt x="71" y="75"/>
                  <a:pt x="71" y="75"/>
                </a:cubicBezTo>
                <a:cubicBezTo>
                  <a:pt x="71" y="75"/>
                  <a:pt x="71" y="76"/>
                  <a:pt x="71" y="76"/>
                </a:cubicBezTo>
                <a:cubicBezTo>
                  <a:pt x="71" y="76"/>
                  <a:pt x="72" y="77"/>
                  <a:pt x="72" y="77"/>
                </a:cubicBezTo>
                <a:cubicBezTo>
                  <a:pt x="72" y="77"/>
                  <a:pt x="72" y="78"/>
                  <a:pt x="72" y="78"/>
                </a:cubicBezTo>
                <a:cubicBezTo>
                  <a:pt x="72" y="78"/>
                  <a:pt x="72" y="78"/>
                  <a:pt x="73" y="79"/>
                </a:cubicBezTo>
                <a:cubicBezTo>
                  <a:pt x="73" y="79"/>
                  <a:pt x="73" y="80"/>
                  <a:pt x="73" y="80"/>
                </a:cubicBezTo>
                <a:cubicBezTo>
                  <a:pt x="74" y="80"/>
                  <a:pt x="74" y="81"/>
                  <a:pt x="74" y="81"/>
                </a:cubicBezTo>
                <a:cubicBezTo>
                  <a:pt x="74" y="82"/>
                  <a:pt x="75" y="82"/>
                  <a:pt x="75" y="83"/>
                </a:cubicBezTo>
                <a:cubicBezTo>
                  <a:pt x="75" y="83"/>
                  <a:pt x="75" y="83"/>
                  <a:pt x="75" y="83"/>
                </a:cubicBezTo>
                <a:cubicBezTo>
                  <a:pt x="76" y="84"/>
                  <a:pt x="76" y="85"/>
                  <a:pt x="77" y="86"/>
                </a:cubicBezTo>
                <a:cubicBezTo>
                  <a:pt x="77" y="86"/>
                  <a:pt x="77" y="86"/>
                  <a:pt x="77" y="86"/>
                </a:cubicBezTo>
                <a:cubicBezTo>
                  <a:pt x="77" y="86"/>
                  <a:pt x="77" y="86"/>
                  <a:pt x="77" y="86"/>
                </a:cubicBezTo>
                <a:cubicBezTo>
                  <a:pt x="77" y="95"/>
                  <a:pt x="77" y="95"/>
                  <a:pt x="77" y="95"/>
                </a:cubicBezTo>
                <a:cubicBezTo>
                  <a:pt x="77" y="98"/>
                  <a:pt x="76" y="100"/>
                  <a:pt x="74" y="101"/>
                </a:cubicBezTo>
                <a:cubicBezTo>
                  <a:pt x="67" y="105"/>
                  <a:pt x="67" y="105"/>
                  <a:pt x="67" y="105"/>
                </a:cubicBezTo>
                <a:cubicBezTo>
                  <a:pt x="65" y="105"/>
                  <a:pt x="65" y="105"/>
                  <a:pt x="65" y="105"/>
                </a:cubicBezTo>
                <a:cubicBezTo>
                  <a:pt x="65" y="106"/>
                  <a:pt x="65" y="106"/>
                  <a:pt x="65" y="106"/>
                </a:cubicBezTo>
                <a:cubicBezTo>
                  <a:pt x="50" y="114"/>
                  <a:pt x="50" y="114"/>
                  <a:pt x="50" y="114"/>
                </a:cubicBezTo>
                <a:cubicBezTo>
                  <a:pt x="42" y="118"/>
                  <a:pt x="37" y="127"/>
                  <a:pt x="37" y="135"/>
                </a:cubicBezTo>
                <a:close/>
                <a:moveTo>
                  <a:pt x="155" y="141"/>
                </a:moveTo>
                <a:cubicBezTo>
                  <a:pt x="43" y="141"/>
                  <a:pt x="43" y="141"/>
                  <a:pt x="43" y="141"/>
                </a:cubicBezTo>
                <a:cubicBezTo>
                  <a:pt x="43" y="135"/>
                  <a:pt x="43" y="135"/>
                  <a:pt x="43" y="135"/>
                </a:cubicBezTo>
                <a:cubicBezTo>
                  <a:pt x="43" y="129"/>
                  <a:pt x="46" y="122"/>
                  <a:pt x="52" y="119"/>
                </a:cubicBezTo>
                <a:cubicBezTo>
                  <a:pt x="76" y="106"/>
                  <a:pt x="76" y="106"/>
                  <a:pt x="76" y="106"/>
                </a:cubicBezTo>
                <a:cubicBezTo>
                  <a:pt x="80" y="104"/>
                  <a:pt x="83" y="100"/>
                  <a:pt x="83" y="95"/>
                </a:cubicBezTo>
                <a:cubicBezTo>
                  <a:pt x="83" y="84"/>
                  <a:pt x="83" y="84"/>
                  <a:pt x="83" y="84"/>
                </a:cubicBezTo>
                <a:cubicBezTo>
                  <a:pt x="83" y="84"/>
                  <a:pt x="83" y="84"/>
                  <a:pt x="83" y="84"/>
                </a:cubicBezTo>
                <a:cubicBezTo>
                  <a:pt x="82" y="84"/>
                  <a:pt x="82" y="84"/>
                  <a:pt x="82" y="84"/>
                </a:cubicBezTo>
                <a:cubicBezTo>
                  <a:pt x="82" y="84"/>
                  <a:pt x="82" y="84"/>
                  <a:pt x="82" y="84"/>
                </a:cubicBezTo>
                <a:cubicBezTo>
                  <a:pt x="82" y="84"/>
                  <a:pt x="82" y="83"/>
                  <a:pt x="82" y="83"/>
                </a:cubicBezTo>
                <a:cubicBezTo>
                  <a:pt x="82" y="83"/>
                  <a:pt x="82" y="83"/>
                  <a:pt x="82" y="83"/>
                </a:cubicBezTo>
                <a:cubicBezTo>
                  <a:pt x="81" y="83"/>
                  <a:pt x="81" y="83"/>
                  <a:pt x="81" y="82"/>
                </a:cubicBezTo>
                <a:cubicBezTo>
                  <a:pt x="81" y="82"/>
                  <a:pt x="81" y="82"/>
                  <a:pt x="81" y="82"/>
                </a:cubicBezTo>
                <a:cubicBezTo>
                  <a:pt x="81" y="82"/>
                  <a:pt x="80" y="81"/>
                  <a:pt x="80" y="80"/>
                </a:cubicBezTo>
                <a:cubicBezTo>
                  <a:pt x="80" y="80"/>
                  <a:pt x="80" y="80"/>
                  <a:pt x="80" y="80"/>
                </a:cubicBezTo>
                <a:cubicBezTo>
                  <a:pt x="79" y="80"/>
                  <a:pt x="79" y="79"/>
                  <a:pt x="79" y="79"/>
                </a:cubicBezTo>
                <a:cubicBezTo>
                  <a:pt x="79" y="79"/>
                  <a:pt x="79" y="79"/>
                  <a:pt x="79" y="79"/>
                </a:cubicBezTo>
                <a:cubicBezTo>
                  <a:pt x="78" y="78"/>
                  <a:pt x="77" y="77"/>
                  <a:pt x="77" y="75"/>
                </a:cubicBezTo>
                <a:cubicBezTo>
                  <a:pt x="77" y="75"/>
                  <a:pt x="77" y="75"/>
                  <a:pt x="77" y="75"/>
                </a:cubicBezTo>
                <a:cubicBezTo>
                  <a:pt x="76" y="75"/>
                  <a:pt x="76" y="74"/>
                  <a:pt x="76" y="73"/>
                </a:cubicBezTo>
                <a:cubicBezTo>
                  <a:pt x="76" y="73"/>
                  <a:pt x="76" y="73"/>
                  <a:pt x="76" y="73"/>
                </a:cubicBezTo>
                <a:cubicBezTo>
                  <a:pt x="76" y="73"/>
                  <a:pt x="76" y="73"/>
                  <a:pt x="76" y="73"/>
                </a:cubicBezTo>
                <a:cubicBezTo>
                  <a:pt x="76" y="73"/>
                  <a:pt x="76" y="73"/>
                  <a:pt x="76" y="73"/>
                </a:cubicBezTo>
                <a:cubicBezTo>
                  <a:pt x="76" y="72"/>
                  <a:pt x="75" y="72"/>
                  <a:pt x="75" y="72"/>
                </a:cubicBezTo>
                <a:cubicBezTo>
                  <a:pt x="75" y="72"/>
                  <a:pt x="75" y="72"/>
                  <a:pt x="75" y="71"/>
                </a:cubicBezTo>
                <a:cubicBezTo>
                  <a:pt x="75" y="71"/>
                  <a:pt x="75" y="71"/>
                  <a:pt x="75" y="70"/>
                </a:cubicBezTo>
                <a:cubicBezTo>
                  <a:pt x="74" y="70"/>
                  <a:pt x="74" y="69"/>
                  <a:pt x="74" y="68"/>
                </a:cubicBezTo>
                <a:cubicBezTo>
                  <a:pt x="74" y="68"/>
                  <a:pt x="74" y="68"/>
                  <a:pt x="74" y="68"/>
                </a:cubicBezTo>
                <a:cubicBezTo>
                  <a:pt x="74" y="67"/>
                  <a:pt x="74" y="67"/>
                  <a:pt x="74" y="67"/>
                </a:cubicBezTo>
                <a:cubicBezTo>
                  <a:pt x="73" y="67"/>
                  <a:pt x="73" y="66"/>
                  <a:pt x="73" y="65"/>
                </a:cubicBezTo>
                <a:cubicBezTo>
                  <a:pt x="73" y="64"/>
                  <a:pt x="73" y="64"/>
                  <a:pt x="73" y="64"/>
                </a:cubicBezTo>
                <a:cubicBezTo>
                  <a:pt x="72" y="63"/>
                  <a:pt x="72" y="63"/>
                  <a:pt x="72" y="63"/>
                </a:cubicBezTo>
                <a:cubicBezTo>
                  <a:pt x="70" y="62"/>
                  <a:pt x="69" y="60"/>
                  <a:pt x="69" y="59"/>
                </a:cubicBezTo>
                <a:cubicBezTo>
                  <a:pt x="69" y="48"/>
                  <a:pt x="69" y="48"/>
                  <a:pt x="69" y="48"/>
                </a:cubicBezTo>
                <a:cubicBezTo>
                  <a:pt x="69" y="47"/>
                  <a:pt x="70" y="45"/>
                  <a:pt x="71" y="44"/>
                </a:cubicBezTo>
                <a:cubicBezTo>
                  <a:pt x="72" y="43"/>
                  <a:pt x="72" y="43"/>
                  <a:pt x="72" y="43"/>
                </a:cubicBezTo>
                <a:cubicBezTo>
                  <a:pt x="72" y="27"/>
                  <a:pt x="72" y="27"/>
                  <a:pt x="72" y="27"/>
                </a:cubicBezTo>
                <a:cubicBezTo>
                  <a:pt x="72" y="26"/>
                  <a:pt x="72" y="26"/>
                  <a:pt x="72" y="26"/>
                </a:cubicBezTo>
                <a:cubicBezTo>
                  <a:pt x="72" y="26"/>
                  <a:pt x="72" y="26"/>
                  <a:pt x="72" y="26"/>
                </a:cubicBezTo>
                <a:cubicBezTo>
                  <a:pt x="72" y="24"/>
                  <a:pt x="72" y="18"/>
                  <a:pt x="76" y="13"/>
                </a:cubicBezTo>
                <a:cubicBezTo>
                  <a:pt x="81" y="8"/>
                  <a:pt x="88" y="5"/>
                  <a:pt x="99" y="5"/>
                </a:cubicBezTo>
                <a:cubicBezTo>
                  <a:pt x="109" y="5"/>
                  <a:pt x="117" y="8"/>
                  <a:pt x="121" y="13"/>
                </a:cubicBezTo>
                <a:cubicBezTo>
                  <a:pt x="126" y="19"/>
                  <a:pt x="125" y="26"/>
                  <a:pt x="125" y="26"/>
                </a:cubicBezTo>
                <a:cubicBezTo>
                  <a:pt x="125" y="43"/>
                  <a:pt x="125" y="43"/>
                  <a:pt x="125" y="43"/>
                </a:cubicBezTo>
                <a:cubicBezTo>
                  <a:pt x="126" y="44"/>
                  <a:pt x="126" y="44"/>
                  <a:pt x="126" y="44"/>
                </a:cubicBezTo>
                <a:cubicBezTo>
                  <a:pt x="127" y="45"/>
                  <a:pt x="128" y="47"/>
                  <a:pt x="128" y="48"/>
                </a:cubicBezTo>
                <a:cubicBezTo>
                  <a:pt x="128" y="59"/>
                  <a:pt x="128" y="59"/>
                  <a:pt x="128" y="59"/>
                </a:cubicBezTo>
                <a:cubicBezTo>
                  <a:pt x="128" y="61"/>
                  <a:pt x="126" y="63"/>
                  <a:pt x="124" y="64"/>
                </a:cubicBezTo>
                <a:cubicBezTo>
                  <a:pt x="123" y="64"/>
                  <a:pt x="123" y="64"/>
                  <a:pt x="123" y="64"/>
                </a:cubicBezTo>
                <a:cubicBezTo>
                  <a:pt x="122" y="65"/>
                  <a:pt x="122" y="65"/>
                  <a:pt x="122" y="65"/>
                </a:cubicBezTo>
                <a:cubicBezTo>
                  <a:pt x="121" y="71"/>
                  <a:pt x="118" y="76"/>
                  <a:pt x="115" y="81"/>
                </a:cubicBezTo>
                <a:cubicBezTo>
                  <a:pt x="114" y="82"/>
                  <a:pt x="113" y="83"/>
                  <a:pt x="113" y="84"/>
                </a:cubicBezTo>
                <a:cubicBezTo>
                  <a:pt x="112" y="84"/>
                  <a:pt x="112" y="84"/>
                  <a:pt x="112" y="84"/>
                </a:cubicBezTo>
                <a:cubicBezTo>
                  <a:pt x="112" y="95"/>
                  <a:pt x="112" y="95"/>
                  <a:pt x="112" y="95"/>
                </a:cubicBezTo>
                <a:cubicBezTo>
                  <a:pt x="112" y="100"/>
                  <a:pt x="115" y="104"/>
                  <a:pt x="119" y="106"/>
                </a:cubicBezTo>
                <a:cubicBezTo>
                  <a:pt x="144" y="119"/>
                  <a:pt x="144" y="119"/>
                  <a:pt x="144" y="119"/>
                </a:cubicBezTo>
                <a:cubicBezTo>
                  <a:pt x="151" y="122"/>
                  <a:pt x="155" y="129"/>
                  <a:pt x="155" y="136"/>
                </a:cubicBezTo>
                <a:lnTo>
                  <a:pt x="155" y="1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6" name="Freeform 1381"/>
          <p:cNvSpPr>
            <a:spLocks noEditPoints="1"/>
          </p:cNvSpPr>
          <p:nvPr/>
        </p:nvSpPr>
        <p:spPr bwMode="auto">
          <a:xfrm>
            <a:off x="1060750" y="5282102"/>
            <a:ext cx="415925" cy="554038"/>
          </a:xfrm>
          <a:custGeom>
            <a:avLst/>
            <a:gdLst>
              <a:gd name="T0" fmla="*/ 78 w 122"/>
              <a:gd name="T1" fmla="*/ 153 h 161"/>
              <a:gd name="T2" fmla="*/ 78 w 122"/>
              <a:gd name="T3" fmla="*/ 148 h 161"/>
              <a:gd name="T4" fmla="*/ 82 w 122"/>
              <a:gd name="T5" fmla="*/ 144 h 161"/>
              <a:gd name="T6" fmla="*/ 101 w 122"/>
              <a:gd name="T7" fmla="*/ 89 h 161"/>
              <a:gd name="T8" fmla="*/ 90 w 122"/>
              <a:gd name="T9" fmla="*/ 100 h 161"/>
              <a:gd name="T10" fmla="*/ 90 w 122"/>
              <a:gd name="T11" fmla="*/ 94 h 161"/>
              <a:gd name="T12" fmla="*/ 24 w 122"/>
              <a:gd name="T13" fmla="*/ 32 h 161"/>
              <a:gd name="T14" fmla="*/ 33 w 122"/>
              <a:gd name="T15" fmla="*/ 23 h 161"/>
              <a:gd name="T16" fmla="*/ 26 w 122"/>
              <a:gd name="T17" fmla="*/ 33 h 161"/>
              <a:gd name="T18" fmla="*/ 119 w 122"/>
              <a:gd name="T19" fmla="*/ 74 h 161"/>
              <a:gd name="T20" fmla="*/ 110 w 122"/>
              <a:gd name="T21" fmla="*/ 52 h 161"/>
              <a:gd name="T22" fmla="*/ 97 w 122"/>
              <a:gd name="T23" fmla="*/ 38 h 161"/>
              <a:gd name="T24" fmla="*/ 83 w 122"/>
              <a:gd name="T25" fmla="*/ 25 h 161"/>
              <a:gd name="T26" fmla="*/ 70 w 122"/>
              <a:gd name="T27" fmla="*/ 12 h 161"/>
              <a:gd name="T28" fmla="*/ 49 w 122"/>
              <a:gd name="T29" fmla="*/ 4 h 161"/>
              <a:gd name="T30" fmla="*/ 4 w 122"/>
              <a:gd name="T31" fmla="*/ 49 h 161"/>
              <a:gd name="T32" fmla="*/ 21 w 122"/>
              <a:gd name="T33" fmla="*/ 82 h 161"/>
              <a:gd name="T34" fmla="*/ 55 w 122"/>
              <a:gd name="T35" fmla="*/ 122 h 161"/>
              <a:gd name="T36" fmla="*/ 50 w 122"/>
              <a:gd name="T37" fmla="*/ 161 h 161"/>
              <a:gd name="T38" fmla="*/ 119 w 122"/>
              <a:gd name="T39" fmla="*/ 126 h 161"/>
              <a:gd name="T40" fmla="*/ 122 w 122"/>
              <a:gd name="T41" fmla="*/ 101 h 161"/>
              <a:gd name="T42" fmla="*/ 122 w 122"/>
              <a:gd name="T43" fmla="*/ 80 h 161"/>
              <a:gd name="T44" fmla="*/ 105 w 122"/>
              <a:gd name="T45" fmla="*/ 60 h 161"/>
              <a:gd name="T46" fmla="*/ 103 w 122"/>
              <a:gd name="T47" fmla="*/ 50 h 161"/>
              <a:gd name="T48" fmla="*/ 97 w 122"/>
              <a:gd name="T49" fmla="*/ 44 h 161"/>
              <a:gd name="T50" fmla="*/ 87 w 122"/>
              <a:gd name="T51" fmla="*/ 42 h 161"/>
              <a:gd name="T52" fmla="*/ 90 w 122"/>
              <a:gd name="T53" fmla="*/ 37 h 161"/>
              <a:gd name="T54" fmla="*/ 74 w 122"/>
              <a:gd name="T55" fmla="*/ 29 h 161"/>
              <a:gd name="T56" fmla="*/ 7 w 122"/>
              <a:gd name="T57" fmla="*/ 45 h 161"/>
              <a:gd name="T58" fmla="*/ 41 w 122"/>
              <a:gd name="T59" fmla="*/ 7 h 161"/>
              <a:gd name="T60" fmla="*/ 44 w 122"/>
              <a:gd name="T61" fmla="*/ 7 h 161"/>
              <a:gd name="T62" fmla="*/ 14 w 122"/>
              <a:gd name="T63" fmla="*/ 51 h 161"/>
              <a:gd name="T64" fmla="*/ 58 w 122"/>
              <a:gd name="T65" fmla="*/ 21 h 161"/>
              <a:gd name="T66" fmla="*/ 85 w 122"/>
              <a:gd name="T67" fmla="*/ 47 h 161"/>
              <a:gd name="T68" fmla="*/ 100 w 122"/>
              <a:gd name="T69" fmla="*/ 62 h 161"/>
              <a:gd name="T70" fmla="*/ 116 w 122"/>
              <a:gd name="T71" fmla="*/ 83 h 161"/>
              <a:gd name="T72" fmla="*/ 83 w 122"/>
              <a:gd name="T73" fmla="*/ 116 h 161"/>
              <a:gd name="T74" fmla="*/ 59 w 122"/>
              <a:gd name="T75" fmla="*/ 94 h 161"/>
              <a:gd name="T76" fmla="*/ 33 w 122"/>
              <a:gd name="T77" fmla="*/ 70 h 161"/>
              <a:gd name="T78" fmla="*/ 31 w 122"/>
              <a:gd name="T79" fmla="*/ 76 h 161"/>
              <a:gd name="T80" fmla="*/ 59 w 122"/>
              <a:gd name="T81" fmla="*/ 76 h 161"/>
              <a:gd name="T82" fmla="*/ 51 w 122"/>
              <a:gd name="T83" fmla="*/ 89 h 161"/>
              <a:gd name="T84" fmla="*/ 26 w 122"/>
              <a:gd name="T85" fmla="*/ 82 h 161"/>
              <a:gd name="T86" fmla="*/ 55 w 122"/>
              <a:gd name="T87" fmla="*/ 132 h 161"/>
              <a:gd name="T88" fmla="*/ 93 w 122"/>
              <a:gd name="T89" fmla="*/ 156 h 161"/>
              <a:gd name="T90" fmla="*/ 98 w 122"/>
              <a:gd name="T91" fmla="*/ 156 h 161"/>
              <a:gd name="T92" fmla="*/ 114 w 122"/>
              <a:gd name="T93" fmla="*/ 132 h 161"/>
              <a:gd name="T94" fmla="*/ 117 w 122"/>
              <a:gd name="T95" fmla="*/ 101 h 161"/>
              <a:gd name="T96" fmla="*/ 109 w 122"/>
              <a:gd name="T97" fmla="*/ 126 h 161"/>
              <a:gd name="T98" fmla="*/ 61 w 122"/>
              <a:gd name="T99" fmla="*/ 119 h 161"/>
              <a:gd name="T100" fmla="*/ 36 w 122"/>
              <a:gd name="T101" fmla="*/ 94 h 161"/>
              <a:gd name="T102" fmla="*/ 80 w 122"/>
              <a:gd name="T103" fmla="*/ 1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 h="161">
                <a:moveTo>
                  <a:pt x="78" y="134"/>
                </a:moveTo>
                <a:cubicBezTo>
                  <a:pt x="73" y="134"/>
                  <a:pt x="69" y="139"/>
                  <a:pt x="69" y="144"/>
                </a:cubicBezTo>
                <a:cubicBezTo>
                  <a:pt x="69" y="149"/>
                  <a:pt x="73" y="153"/>
                  <a:pt x="78" y="153"/>
                </a:cubicBezTo>
                <a:cubicBezTo>
                  <a:pt x="83" y="153"/>
                  <a:pt x="87" y="149"/>
                  <a:pt x="87" y="144"/>
                </a:cubicBezTo>
                <a:cubicBezTo>
                  <a:pt x="87" y="139"/>
                  <a:pt x="83" y="134"/>
                  <a:pt x="78" y="134"/>
                </a:cubicBezTo>
                <a:close/>
                <a:moveTo>
                  <a:pt x="78" y="148"/>
                </a:moveTo>
                <a:cubicBezTo>
                  <a:pt x="76" y="148"/>
                  <a:pt x="74" y="146"/>
                  <a:pt x="74" y="144"/>
                </a:cubicBezTo>
                <a:cubicBezTo>
                  <a:pt x="74" y="141"/>
                  <a:pt x="76" y="140"/>
                  <a:pt x="78" y="140"/>
                </a:cubicBezTo>
                <a:cubicBezTo>
                  <a:pt x="80" y="140"/>
                  <a:pt x="82" y="141"/>
                  <a:pt x="82" y="144"/>
                </a:cubicBezTo>
                <a:cubicBezTo>
                  <a:pt x="82" y="146"/>
                  <a:pt x="80" y="148"/>
                  <a:pt x="78" y="148"/>
                </a:cubicBezTo>
                <a:close/>
                <a:moveTo>
                  <a:pt x="90" y="100"/>
                </a:moveTo>
                <a:cubicBezTo>
                  <a:pt x="96" y="100"/>
                  <a:pt x="101" y="95"/>
                  <a:pt x="101" y="89"/>
                </a:cubicBezTo>
                <a:cubicBezTo>
                  <a:pt x="101" y="83"/>
                  <a:pt x="96" y="78"/>
                  <a:pt x="90" y="78"/>
                </a:cubicBezTo>
                <a:cubicBezTo>
                  <a:pt x="84" y="78"/>
                  <a:pt x="79" y="83"/>
                  <a:pt x="79" y="89"/>
                </a:cubicBezTo>
                <a:cubicBezTo>
                  <a:pt x="79" y="95"/>
                  <a:pt x="84" y="100"/>
                  <a:pt x="90" y="100"/>
                </a:cubicBezTo>
                <a:close/>
                <a:moveTo>
                  <a:pt x="90" y="84"/>
                </a:moveTo>
                <a:cubicBezTo>
                  <a:pt x="93" y="84"/>
                  <a:pt x="95" y="86"/>
                  <a:pt x="95" y="89"/>
                </a:cubicBezTo>
                <a:cubicBezTo>
                  <a:pt x="95" y="92"/>
                  <a:pt x="93" y="94"/>
                  <a:pt x="90" y="94"/>
                </a:cubicBezTo>
                <a:cubicBezTo>
                  <a:pt x="87" y="94"/>
                  <a:pt x="85" y="92"/>
                  <a:pt x="85" y="89"/>
                </a:cubicBezTo>
                <a:cubicBezTo>
                  <a:pt x="85" y="86"/>
                  <a:pt x="87" y="84"/>
                  <a:pt x="90" y="84"/>
                </a:cubicBezTo>
                <a:close/>
                <a:moveTo>
                  <a:pt x="24" y="32"/>
                </a:moveTo>
                <a:cubicBezTo>
                  <a:pt x="23" y="31"/>
                  <a:pt x="23" y="29"/>
                  <a:pt x="24" y="28"/>
                </a:cubicBezTo>
                <a:cubicBezTo>
                  <a:pt x="29" y="23"/>
                  <a:pt x="29" y="23"/>
                  <a:pt x="29" y="23"/>
                </a:cubicBezTo>
                <a:cubicBezTo>
                  <a:pt x="30" y="22"/>
                  <a:pt x="32" y="22"/>
                  <a:pt x="33" y="23"/>
                </a:cubicBezTo>
                <a:cubicBezTo>
                  <a:pt x="34" y="24"/>
                  <a:pt x="34" y="26"/>
                  <a:pt x="33" y="27"/>
                </a:cubicBezTo>
                <a:cubicBezTo>
                  <a:pt x="28" y="32"/>
                  <a:pt x="28" y="32"/>
                  <a:pt x="28" y="32"/>
                </a:cubicBezTo>
                <a:cubicBezTo>
                  <a:pt x="27" y="33"/>
                  <a:pt x="27" y="33"/>
                  <a:pt x="26" y="33"/>
                </a:cubicBezTo>
                <a:cubicBezTo>
                  <a:pt x="25" y="33"/>
                  <a:pt x="25" y="33"/>
                  <a:pt x="24" y="32"/>
                </a:cubicBezTo>
                <a:close/>
                <a:moveTo>
                  <a:pt x="122" y="80"/>
                </a:moveTo>
                <a:cubicBezTo>
                  <a:pt x="122" y="78"/>
                  <a:pt x="121" y="76"/>
                  <a:pt x="119" y="74"/>
                </a:cubicBezTo>
                <a:cubicBezTo>
                  <a:pt x="118" y="73"/>
                  <a:pt x="118" y="73"/>
                  <a:pt x="118" y="73"/>
                </a:cubicBezTo>
                <a:cubicBezTo>
                  <a:pt x="120" y="70"/>
                  <a:pt x="122" y="67"/>
                  <a:pt x="122" y="64"/>
                </a:cubicBezTo>
                <a:cubicBezTo>
                  <a:pt x="122" y="57"/>
                  <a:pt x="117" y="52"/>
                  <a:pt x="110" y="52"/>
                </a:cubicBezTo>
                <a:cubicBezTo>
                  <a:pt x="109" y="52"/>
                  <a:pt x="109" y="52"/>
                  <a:pt x="108" y="52"/>
                </a:cubicBezTo>
                <a:cubicBezTo>
                  <a:pt x="109" y="51"/>
                  <a:pt x="109" y="51"/>
                  <a:pt x="109" y="50"/>
                </a:cubicBezTo>
                <a:cubicBezTo>
                  <a:pt x="109" y="44"/>
                  <a:pt x="103" y="38"/>
                  <a:pt x="97" y="38"/>
                </a:cubicBezTo>
                <a:cubicBezTo>
                  <a:pt x="96" y="38"/>
                  <a:pt x="96" y="38"/>
                  <a:pt x="95" y="38"/>
                </a:cubicBezTo>
                <a:cubicBezTo>
                  <a:pt x="95" y="38"/>
                  <a:pt x="95" y="37"/>
                  <a:pt x="95" y="37"/>
                </a:cubicBezTo>
                <a:cubicBezTo>
                  <a:pt x="95" y="30"/>
                  <a:pt x="90" y="25"/>
                  <a:pt x="83" y="25"/>
                </a:cubicBezTo>
                <a:cubicBezTo>
                  <a:pt x="83" y="25"/>
                  <a:pt x="82" y="25"/>
                  <a:pt x="82" y="25"/>
                </a:cubicBezTo>
                <a:cubicBezTo>
                  <a:pt x="82" y="25"/>
                  <a:pt x="82" y="24"/>
                  <a:pt x="82" y="24"/>
                </a:cubicBezTo>
                <a:cubicBezTo>
                  <a:pt x="82" y="17"/>
                  <a:pt x="77" y="12"/>
                  <a:pt x="70" y="12"/>
                </a:cubicBezTo>
                <a:cubicBezTo>
                  <a:pt x="66" y="12"/>
                  <a:pt x="63" y="13"/>
                  <a:pt x="61" y="16"/>
                </a:cubicBezTo>
                <a:cubicBezTo>
                  <a:pt x="59" y="14"/>
                  <a:pt x="59" y="14"/>
                  <a:pt x="59" y="14"/>
                </a:cubicBezTo>
                <a:cubicBezTo>
                  <a:pt x="49" y="4"/>
                  <a:pt x="49" y="4"/>
                  <a:pt x="49" y="4"/>
                </a:cubicBezTo>
                <a:cubicBezTo>
                  <a:pt x="45" y="0"/>
                  <a:pt x="40" y="0"/>
                  <a:pt x="36" y="4"/>
                </a:cubicBezTo>
                <a:cubicBezTo>
                  <a:pt x="4" y="36"/>
                  <a:pt x="4" y="36"/>
                  <a:pt x="4" y="36"/>
                </a:cubicBezTo>
                <a:cubicBezTo>
                  <a:pt x="0" y="40"/>
                  <a:pt x="0" y="45"/>
                  <a:pt x="4" y="49"/>
                </a:cubicBezTo>
                <a:cubicBezTo>
                  <a:pt x="14" y="59"/>
                  <a:pt x="14" y="59"/>
                  <a:pt x="14" y="59"/>
                </a:cubicBezTo>
                <a:cubicBezTo>
                  <a:pt x="27" y="72"/>
                  <a:pt x="27" y="72"/>
                  <a:pt x="27" y="72"/>
                </a:cubicBezTo>
                <a:cubicBezTo>
                  <a:pt x="23" y="74"/>
                  <a:pt x="21" y="78"/>
                  <a:pt x="21" y="82"/>
                </a:cubicBezTo>
                <a:cubicBezTo>
                  <a:pt x="21" y="87"/>
                  <a:pt x="23" y="90"/>
                  <a:pt x="26" y="92"/>
                </a:cubicBezTo>
                <a:cubicBezTo>
                  <a:pt x="26" y="93"/>
                  <a:pt x="26" y="93"/>
                  <a:pt x="27" y="93"/>
                </a:cubicBezTo>
                <a:cubicBezTo>
                  <a:pt x="55" y="122"/>
                  <a:pt x="55" y="122"/>
                  <a:pt x="55" y="122"/>
                </a:cubicBezTo>
                <a:cubicBezTo>
                  <a:pt x="55" y="126"/>
                  <a:pt x="55" y="126"/>
                  <a:pt x="55" y="126"/>
                </a:cubicBezTo>
                <a:cubicBezTo>
                  <a:pt x="50" y="126"/>
                  <a:pt x="50" y="126"/>
                  <a:pt x="50" y="126"/>
                </a:cubicBezTo>
                <a:cubicBezTo>
                  <a:pt x="50" y="161"/>
                  <a:pt x="50" y="161"/>
                  <a:pt x="50" y="161"/>
                </a:cubicBezTo>
                <a:cubicBezTo>
                  <a:pt x="98" y="161"/>
                  <a:pt x="98" y="161"/>
                  <a:pt x="98" y="161"/>
                </a:cubicBezTo>
                <a:cubicBezTo>
                  <a:pt x="119" y="161"/>
                  <a:pt x="119" y="161"/>
                  <a:pt x="119" y="161"/>
                </a:cubicBezTo>
                <a:cubicBezTo>
                  <a:pt x="119" y="126"/>
                  <a:pt x="119" y="126"/>
                  <a:pt x="119" y="126"/>
                </a:cubicBezTo>
                <a:cubicBezTo>
                  <a:pt x="114" y="126"/>
                  <a:pt x="114" y="126"/>
                  <a:pt x="114" y="126"/>
                </a:cubicBezTo>
                <a:cubicBezTo>
                  <a:pt x="114" y="118"/>
                  <a:pt x="114" y="118"/>
                  <a:pt x="114" y="118"/>
                </a:cubicBezTo>
                <a:cubicBezTo>
                  <a:pt x="119" y="114"/>
                  <a:pt x="122" y="108"/>
                  <a:pt x="122" y="101"/>
                </a:cubicBezTo>
                <a:cubicBezTo>
                  <a:pt x="122" y="96"/>
                  <a:pt x="120" y="92"/>
                  <a:pt x="118" y="88"/>
                </a:cubicBezTo>
                <a:cubicBezTo>
                  <a:pt x="119" y="87"/>
                  <a:pt x="119" y="87"/>
                  <a:pt x="119" y="87"/>
                </a:cubicBezTo>
                <a:cubicBezTo>
                  <a:pt x="121" y="85"/>
                  <a:pt x="122" y="83"/>
                  <a:pt x="122" y="80"/>
                </a:cubicBezTo>
                <a:close/>
                <a:moveTo>
                  <a:pt x="117" y="64"/>
                </a:moveTo>
                <a:cubicBezTo>
                  <a:pt x="117" y="66"/>
                  <a:pt x="116" y="68"/>
                  <a:pt x="114" y="69"/>
                </a:cubicBezTo>
                <a:cubicBezTo>
                  <a:pt x="105" y="60"/>
                  <a:pt x="105" y="60"/>
                  <a:pt x="105" y="60"/>
                </a:cubicBezTo>
                <a:cubicBezTo>
                  <a:pt x="106" y="58"/>
                  <a:pt x="108" y="57"/>
                  <a:pt x="110" y="57"/>
                </a:cubicBezTo>
                <a:cubicBezTo>
                  <a:pt x="114" y="57"/>
                  <a:pt x="117" y="60"/>
                  <a:pt x="117" y="64"/>
                </a:cubicBezTo>
                <a:close/>
                <a:moveTo>
                  <a:pt x="103" y="50"/>
                </a:moveTo>
                <a:cubicBezTo>
                  <a:pt x="103" y="52"/>
                  <a:pt x="102" y="54"/>
                  <a:pt x="101" y="56"/>
                </a:cubicBezTo>
                <a:cubicBezTo>
                  <a:pt x="91" y="46"/>
                  <a:pt x="91" y="46"/>
                  <a:pt x="91" y="46"/>
                </a:cubicBezTo>
                <a:cubicBezTo>
                  <a:pt x="93" y="45"/>
                  <a:pt x="95" y="44"/>
                  <a:pt x="97" y="44"/>
                </a:cubicBezTo>
                <a:cubicBezTo>
                  <a:pt x="100" y="44"/>
                  <a:pt x="103" y="47"/>
                  <a:pt x="103" y="50"/>
                </a:cubicBezTo>
                <a:close/>
                <a:moveTo>
                  <a:pt x="90" y="37"/>
                </a:moveTo>
                <a:cubicBezTo>
                  <a:pt x="90" y="39"/>
                  <a:pt x="89" y="41"/>
                  <a:pt x="87" y="42"/>
                </a:cubicBezTo>
                <a:cubicBezTo>
                  <a:pt x="78" y="33"/>
                  <a:pt x="78" y="33"/>
                  <a:pt x="78" y="33"/>
                </a:cubicBezTo>
                <a:cubicBezTo>
                  <a:pt x="79" y="31"/>
                  <a:pt x="81" y="30"/>
                  <a:pt x="83" y="30"/>
                </a:cubicBezTo>
                <a:cubicBezTo>
                  <a:pt x="87" y="30"/>
                  <a:pt x="90" y="33"/>
                  <a:pt x="90" y="37"/>
                </a:cubicBezTo>
                <a:close/>
                <a:moveTo>
                  <a:pt x="70" y="17"/>
                </a:moveTo>
                <a:cubicBezTo>
                  <a:pt x="74" y="17"/>
                  <a:pt x="77" y="20"/>
                  <a:pt x="77" y="24"/>
                </a:cubicBezTo>
                <a:cubicBezTo>
                  <a:pt x="77" y="26"/>
                  <a:pt x="76" y="28"/>
                  <a:pt x="74" y="29"/>
                </a:cubicBezTo>
                <a:cubicBezTo>
                  <a:pt x="65" y="19"/>
                  <a:pt x="65" y="19"/>
                  <a:pt x="65" y="19"/>
                </a:cubicBezTo>
                <a:cubicBezTo>
                  <a:pt x="66" y="18"/>
                  <a:pt x="68" y="17"/>
                  <a:pt x="70" y="17"/>
                </a:cubicBezTo>
                <a:close/>
                <a:moveTo>
                  <a:pt x="7" y="45"/>
                </a:moveTo>
                <a:cubicBezTo>
                  <a:pt x="6" y="44"/>
                  <a:pt x="6" y="42"/>
                  <a:pt x="7" y="40"/>
                </a:cubicBezTo>
                <a:cubicBezTo>
                  <a:pt x="40" y="7"/>
                  <a:pt x="40" y="7"/>
                  <a:pt x="40" y="7"/>
                </a:cubicBezTo>
                <a:cubicBezTo>
                  <a:pt x="41" y="7"/>
                  <a:pt x="41" y="7"/>
                  <a:pt x="41" y="7"/>
                </a:cubicBezTo>
                <a:cubicBezTo>
                  <a:pt x="41" y="7"/>
                  <a:pt x="42" y="7"/>
                  <a:pt x="42" y="6"/>
                </a:cubicBezTo>
                <a:cubicBezTo>
                  <a:pt x="42" y="6"/>
                  <a:pt x="43" y="6"/>
                  <a:pt x="43" y="6"/>
                </a:cubicBezTo>
                <a:cubicBezTo>
                  <a:pt x="44" y="7"/>
                  <a:pt x="44" y="7"/>
                  <a:pt x="44" y="7"/>
                </a:cubicBezTo>
                <a:cubicBezTo>
                  <a:pt x="44" y="7"/>
                  <a:pt x="45" y="7"/>
                  <a:pt x="45" y="7"/>
                </a:cubicBezTo>
                <a:cubicBezTo>
                  <a:pt x="51" y="14"/>
                  <a:pt x="51" y="14"/>
                  <a:pt x="51" y="14"/>
                </a:cubicBezTo>
                <a:cubicBezTo>
                  <a:pt x="14" y="51"/>
                  <a:pt x="14" y="51"/>
                  <a:pt x="14" y="51"/>
                </a:cubicBezTo>
                <a:lnTo>
                  <a:pt x="7" y="45"/>
                </a:lnTo>
                <a:close/>
                <a:moveTo>
                  <a:pt x="55" y="17"/>
                </a:moveTo>
                <a:cubicBezTo>
                  <a:pt x="58" y="21"/>
                  <a:pt x="58" y="21"/>
                  <a:pt x="58" y="21"/>
                </a:cubicBezTo>
                <a:cubicBezTo>
                  <a:pt x="72" y="34"/>
                  <a:pt x="72" y="34"/>
                  <a:pt x="72" y="34"/>
                </a:cubicBezTo>
                <a:cubicBezTo>
                  <a:pt x="73" y="35"/>
                  <a:pt x="73" y="35"/>
                  <a:pt x="73" y="35"/>
                </a:cubicBezTo>
                <a:cubicBezTo>
                  <a:pt x="85" y="47"/>
                  <a:pt x="85" y="47"/>
                  <a:pt x="85" y="47"/>
                </a:cubicBezTo>
                <a:cubicBezTo>
                  <a:pt x="86" y="49"/>
                  <a:pt x="86" y="49"/>
                  <a:pt x="86" y="49"/>
                </a:cubicBezTo>
                <a:cubicBezTo>
                  <a:pt x="98" y="61"/>
                  <a:pt x="98" y="61"/>
                  <a:pt x="98" y="61"/>
                </a:cubicBezTo>
                <a:cubicBezTo>
                  <a:pt x="100" y="62"/>
                  <a:pt x="100" y="62"/>
                  <a:pt x="100" y="62"/>
                </a:cubicBezTo>
                <a:cubicBezTo>
                  <a:pt x="113" y="75"/>
                  <a:pt x="113" y="75"/>
                  <a:pt x="113" y="75"/>
                </a:cubicBezTo>
                <a:cubicBezTo>
                  <a:pt x="116" y="78"/>
                  <a:pt x="116" y="78"/>
                  <a:pt x="116" y="78"/>
                </a:cubicBezTo>
                <a:cubicBezTo>
                  <a:pt x="117" y="79"/>
                  <a:pt x="117" y="81"/>
                  <a:pt x="116" y="83"/>
                </a:cubicBezTo>
                <a:cubicBezTo>
                  <a:pt x="114" y="84"/>
                  <a:pt x="114" y="84"/>
                  <a:pt x="114" y="84"/>
                </a:cubicBezTo>
                <a:cubicBezTo>
                  <a:pt x="114" y="84"/>
                  <a:pt x="114" y="84"/>
                  <a:pt x="114" y="84"/>
                </a:cubicBezTo>
                <a:cubicBezTo>
                  <a:pt x="83" y="116"/>
                  <a:pt x="83" y="116"/>
                  <a:pt x="83" y="116"/>
                </a:cubicBezTo>
                <a:cubicBezTo>
                  <a:pt x="81" y="117"/>
                  <a:pt x="79" y="117"/>
                  <a:pt x="78" y="116"/>
                </a:cubicBezTo>
                <a:cubicBezTo>
                  <a:pt x="57" y="94"/>
                  <a:pt x="57" y="94"/>
                  <a:pt x="57" y="94"/>
                </a:cubicBezTo>
                <a:cubicBezTo>
                  <a:pt x="59" y="94"/>
                  <a:pt x="59" y="94"/>
                  <a:pt x="59" y="94"/>
                </a:cubicBezTo>
                <a:cubicBezTo>
                  <a:pt x="66" y="94"/>
                  <a:pt x="71" y="89"/>
                  <a:pt x="71" y="82"/>
                </a:cubicBezTo>
                <a:cubicBezTo>
                  <a:pt x="71" y="76"/>
                  <a:pt x="66" y="70"/>
                  <a:pt x="59" y="70"/>
                </a:cubicBezTo>
                <a:cubicBezTo>
                  <a:pt x="33" y="70"/>
                  <a:pt x="33" y="70"/>
                  <a:pt x="33" y="70"/>
                </a:cubicBezTo>
                <a:cubicBezTo>
                  <a:pt x="17" y="55"/>
                  <a:pt x="17" y="55"/>
                  <a:pt x="17" y="55"/>
                </a:cubicBezTo>
                <a:lnTo>
                  <a:pt x="55" y="17"/>
                </a:lnTo>
                <a:close/>
                <a:moveTo>
                  <a:pt x="31" y="76"/>
                </a:moveTo>
                <a:cubicBezTo>
                  <a:pt x="32" y="76"/>
                  <a:pt x="32" y="76"/>
                  <a:pt x="32" y="76"/>
                </a:cubicBezTo>
                <a:cubicBezTo>
                  <a:pt x="32" y="76"/>
                  <a:pt x="32" y="76"/>
                  <a:pt x="33" y="76"/>
                </a:cubicBezTo>
                <a:cubicBezTo>
                  <a:pt x="59" y="76"/>
                  <a:pt x="59" y="76"/>
                  <a:pt x="59" y="76"/>
                </a:cubicBezTo>
                <a:cubicBezTo>
                  <a:pt x="63" y="76"/>
                  <a:pt x="66" y="79"/>
                  <a:pt x="66" y="82"/>
                </a:cubicBezTo>
                <a:cubicBezTo>
                  <a:pt x="66" y="86"/>
                  <a:pt x="63" y="89"/>
                  <a:pt x="59" y="89"/>
                </a:cubicBezTo>
                <a:cubicBezTo>
                  <a:pt x="51" y="89"/>
                  <a:pt x="51" y="89"/>
                  <a:pt x="51" y="89"/>
                </a:cubicBezTo>
                <a:cubicBezTo>
                  <a:pt x="44" y="89"/>
                  <a:pt x="44" y="89"/>
                  <a:pt x="44" y="89"/>
                </a:cubicBezTo>
                <a:cubicBezTo>
                  <a:pt x="33" y="89"/>
                  <a:pt x="33" y="89"/>
                  <a:pt x="33" y="89"/>
                </a:cubicBezTo>
                <a:cubicBezTo>
                  <a:pt x="29" y="89"/>
                  <a:pt x="26" y="86"/>
                  <a:pt x="26" y="82"/>
                </a:cubicBezTo>
                <a:cubicBezTo>
                  <a:pt x="26" y="79"/>
                  <a:pt x="28" y="76"/>
                  <a:pt x="31" y="76"/>
                </a:cubicBezTo>
                <a:close/>
                <a:moveTo>
                  <a:pt x="55" y="156"/>
                </a:moveTo>
                <a:cubicBezTo>
                  <a:pt x="55" y="132"/>
                  <a:pt x="55" y="132"/>
                  <a:pt x="55" y="132"/>
                </a:cubicBezTo>
                <a:cubicBezTo>
                  <a:pt x="78" y="132"/>
                  <a:pt x="78" y="132"/>
                  <a:pt x="78" y="132"/>
                </a:cubicBezTo>
                <a:cubicBezTo>
                  <a:pt x="86" y="132"/>
                  <a:pt x="93" y="138"/>
                  <a:pt x="93" y="147"/>
                </a:cubicBezTo>
                <a:cubicBezTo>
                  <a:pt x="93" y="156"/>
                  <a:pt x="93" y="156"/>
                  <a:pt x="93" y="156"/>
                </a:cubicBezTo>
                <a:lnTo>
                  <a:pt x="55" y="156"/>
                </a:lnTo>
                <a:close/>
                <a:moveTo>
                  <a:pt x="114" y="156"/>
                </a:moveTo>
                <a:cubicBezTo>
                  <a:pt x="98" y="156"/>
                  <a:pt x="98" y="156"/>
                  <a:pt x="98" y="156"/>
                </a:cubicBezTo>
                <a:cubicBezTo>
                  <a:pt x="98" y="147"/>
                  <a:pt x="98" y="147"/>
                  <a:pt x="98" y="147"/>
                </a:cubicBezTo>
                <a:cubicBezTo>
                  <a:pt x="98" y="141"/>
                  <a:pt x="95" y="135"/>
                  <a:pt x="91" y="132"/>
                </a:cubicBezTo>
                <a:cubicBezTo>
                  <a:pt x="114" y="132"/>
                  <a:pt x="114" y="132"/>
                  <a:pt x="114" y="132"/>
                </a:cubicBezTo>
                <a:lnTo>
                  <a:pt x="114" y="156"/>
                </a:lnTo>
                <a:close/>
                <a:moveTo>
                  <a:pt x="114" y="92"/>
                </a:moveTo>
                <a:cubicBezTo>
                  <a:pt x="116" y="95"/>
                  <a:pt x="117" y="98"/>
                  <a:pt x="117" y="101"/>
                </a:cubicBezTo>
                <a:cubicBezTo>
                  <a:pt x="117" y="106"/>
                  <a:pt x="114" y="112"/>
                  <a:pt x="110" y="115"/>
                </a:cubicBezTo>
                <a:cubicBezTo>
                  <a:pt x="109" y="116"/>
                  <a:pt x="109" y="116"/>
                  <a:pt x="109" y="116"/>
                </a:cubicBezTo>
                <a:cubicBezTo>
                  <a:pt x="109" y="126"/>
                  <a:pt x="109" y="126"/>
                  <a:pt x="109" y="126"/>
                </a:cubicBezTo>
                <a:cubicBezTo>
                  <a:pt x="78" y="126"/>
                  <a:pt x="78" y="126"/>
                  <a:pt x="78" y="126"/>
                </a:cubicBezTo>
                <a:cubicBezTo>
                  <a:pt x="61" y="126"/>
                  <a:pt x="61" y="126"/>
                  <a:pt x="61" y="126"/>
                </a:cubicBezTo>
                <a:cubicBezTo>
                  <a:pt x="61" y="119"/>
                  <a:pt x="61" y="119"/>
                  <a:pt x="61" y="119"/>
                </a:cubicBezTo>
                <a:cubicBezTo>
                  <a:pt x="60" y="118"/>
                  <a:pt x="60" y="118"/>
                  <a:pt x="60" y="118"/>
                </a:cubicBezTo>
                <a:cubicBezTo>
                  <a:pt x="60" y="118"/>
                  <a:pt x="59" y="118"/>
                  <a:pt x="59" y="118"/>
                </a:cubicBezTo>
                <a:cubicBezTo>
                  <a:pt x="36" y="94"/>
                  <a:pt x="36" y="94"/>
                  <a:pt x="36" y="94"/>
                </a:cubicBezTo>
                <a:cubicBezTo>
                  <a:pt x="49" y="94"/>
                  <a:pt x="49" y="94"/>
                  <a:pt x="49" y="94"/>
                </a:cubicBezTo>
                <a:cubicBezTo>
                  <a:pt x="74" y="119"/>
                  <a:pt x="74" y="119"/>
                  <a:pt x="74" y="119"/>
                </a:cubicBezTo>
                <a:cubicBezTo>
                  <a:pt x="76" y="121"/>
                  <a:pt x="78" y="122"/>
                  <a:pt x="80" y="122"/>
                </a:cubicBezTo>
                <a:cubicBezTo>
                  <a:pt x="83" y="122"/>
                  <a:pt x="85" y="121"/>
                  <a:pt x="87" y="119"/>
                </a:cubicBezTo>
                <a:lnTo>
                  <a:pt x="114" y="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7" name="Freeform 1381"/>
          <p:cNvSpPr>
            <a:spLocks noEditPoints="1"/>
          </p:cNvSpPr>
          <p:nvPr/>
        </p:nvSpPr>
        <p:spPr bwMode="auto">
          <a:xfrm>
            <a:off x="8221426" y="4279662"/>
            <a:ext cx="415925" cy="554038"/>
          </a:xfrm>
          <a:custGeom>
            <a:avLst/>
            <a:gdLst>
              <a:gd name="T0" fmla="*/ 78 w 122"/>
              <a:gd name="T1" fmla="*/ 153 h 161"/>
              <a:gd name="T2" fmla="*/ 78 w 122"/>
              <a:gd name="T3" fmla="*/ 148 h 161"/>
              <a:gd name="T4" fmla="*/ 82 w 122"/>
              <a:gd name="T5" fmla="*/ 144 h 161"/>
              <a:gd name="T6" fmla="*/ 101 w 122"/>
              <a:gd name="T7" fmla="*/ 89 h 161"/>
              <a:gd name="T8" fmla="*/ 90 w 122"/>
              <a:gd name="T9" fmla="*/ 100 h 161"/>
              <a:gd name="T10" fmla="*/ 90 w 122"/>
              <a:gd name="T11" fmla="*/ 94 h 161"/>
              <a:gd name="T12" fmla="*/ 24 w 122"/>
              <a:gd name="T13" fmla="*/ 32 h 161"/>
              <a:gd name="T14" fmla="*/ 33 w 122"/>
              <a:gd name="T15" fmla="*/ 23 h 161"/>
              <a:gd name="T16" fmla="*/ 26 w 122"/>
              <a:gd name="T17" fmla="*/ 33 h 161"/>
              <a:gd name="T18" fmla="*/ 119 w 122"/>
              <a:gd name="T19" fmla="*/ 74 h 161"/>
              <a:gd name="T20" fmla="*/ 110 w 122"/>
              <a:gd name="T21" fmla="*/ 52 h 161"/>
              <a:gd name="T22" fmla="*/ 97 w 122"/>
              <a:gd name="T23" fmla="*/ 38 h 161"/>
              <a:gd name="T24" fmla="*/ 83 w 122"/>
              <a:gd name="T25" fmla="*/ 25 h 161"/>
              <a:gd name="T26" fmla="*/ 70 w 122"/>
              <a:gd name="T27" fmla="*/ 12 h 161"/>
              <a:gd name="T28" fmla="*/ 49 w 122"/>
              <a:gd name="T29" fmla="*/ 4 h 161"/>
              <a:gd name="T30" fmla="*/ 4 w 122"/>
              <a:gd name="T31" fmla="*/ 49 h 161"/>
              <a:gd name="T32" fmla="*/ 21 w 122"/>
              <a:gd name="T33" fmla="*/ 82 h 161"/>
              <a:gd name="T34" fmla="*/ 55 w 122"/>
              <a:gd name="T35" fmla="*/ 122 h 161"/>
              <a:gd name="T36" fmla="*/ 50 w 122"/>
              <a:gd name="T37" fmla="*/ 161 h 161"/>
              <a:gd name="T38" fmla="*/ 119 w 122"/>
              <a:gd name="T39" fmla="*/ 126 h 161"/>
              <a:gd name="T40" fmla="*/ 122 w 122"/>
              <a:gd name="T41" fmla="*/ 101 h 161"/>
              <a:gd name="T42" fmla="*/ 122 w 122"/>
              <a:gd name="T43" fmla="*/ 80 h 161"/>
              <a:gd name="T44" fmla="*/ 105 w 122"/>
              <a:gd name="T45" fmla="*/ 60 h 161"/>
              <a:gd name="T46" fmla="*/ 103 w 122"/>
              <a:gd name="T47" fmla="*/ 50 h 161"/>
              <a:gd name="T48" fmla="*/ 97 w 122"/>
              <a:gd name="T49" fmla="*/ 44 h 161"/>
              <a:gd name="T50" fmla="*/ 87 w 122"/>
              <a:gd name="T51" fmla="*/ 42 h 161"/>
              <a:gd name="T52" fmla="*/ 90 w 122"/>
              <a:gd name="T53" fmla="*/ 37 h 161"/>
              <a:gd name="T54" fmla="*/ 74 w 122"/>
              <a:gd name="T55" fmla="*/ 29 h 161"/>
              <a:gd name="T56" fmla="*/ 7 w 122"/>
              <a:gd name="T57" fmla="*/ 45 h 161"/>
              <a:gd name="T58" fmla="*/ 41 w 122"/>
              <a:gd name="T59" fmla="*/ 7 h 161"/>
              <a:gd name="T60" fmla="*/ 44 w 122"/>
              <a:gd name="T61" fmla="*/ 7 h 161"/>
              <a:gd name="T62" fmla="*/ 14 w 122"/>
              <a:gd name="T63" fmla="*/ 51 h 161"/>
              <a:gd name="T64" fmla="*/ 58 w 122"/>
              <a:gd name="T65" fmla="*/ 21 h 161"/>
              <a:gd name="T66" fmla="*/ 85 w 122"/>
              <a:gd name="T67" fmla="*/ 47 h 161"/>
              <a:gd name="T68" fmla="*/ 100 w 122"/>
              <a:gd name="T69" fmla="*/ 62 h 161"/>
              <a:gd name="T70" fmla="*/ 116 w 122"/>
              <a:gd name="T71" fmla="*/ 83 h 161"/>
              <a:gd name="T72" fmla="*/ 83 w 122"/>
              <a:gd name="T73" fmla="*/ 116 h 161"/>
              <a:gd name="T74" fmla="*/ 59 w 122"/>
              <a:gd name="T75" fmla="*/ 94 h 161"/>
              <a:gd name="T76" fmla="*/ 33 w 122"/>
              <a:gd name="T77" fmla="*/ 70 h 161"/>
              <a:gd name="T78" fmla="*/ 31 w 122"/>
              <a:gd name="T79" fmla="*/ 76 h 161"/>
              <a:gd name="T80" fmla="*/ 59 w 122"/>
              <a:gd name="T81" fmla="*/ 76 h 161"/>
              <a:gd name="T82" fmla="*/ 51 w 122"/>
              <a:gd name="T83" fmla="*/ 89 h 161"/>
              <a:gd name="T84" fmla="*/ 26 w 122"/>
              <a:gd name="T85" fmla="*/ 82 h 161"/>
              <a:gd name="T86" fmla="*/ 55 w 122"/>
              <a:gd name="T87" fmla="*/ 132 h 161"/>
              <a:gd name="T88" fmla="*/ 93 w 122"/>
              <a:gd name="T89" fmla="*/ 156 h 161"/>
              <a:gd name="T90" fmla="*/ 98 w 122"/>
              <a:gd name="T91" fmla="*/ 156 h 161"/>
              <a:gd name="T92" fmla="*/ 114 w 122"/>
              <a:gd name="T93" fmla="*/ 132 h 161"/>
              <a:gd name="T94" fmla="*/ 117 w 122"/>
              <a:gd name="T95" fmla="*/ 101 h 161"/>
              <a:gd name="T96" fmla="*/ 109 w 122"/>
              <a:gd name="T97" fmla="*/ 126 h 161"/>
              <a:gd name="T98" fmla="*/ 61 w 122"/>
              <a:gd name="T99" fmla="*/ 119 h 161"/>
              <a:gd name="T100" fmla="*/ 36 w 122"/>
              <a:gd name="T101" fmla="*/ 94 h 161"/>
              <a:gd name="T102" fmla="*/ 80 w 122"/>
              <a:gd name="T103" fmla="*/ 1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 h="161">
                <a:moveTo>
                  <a:pt x="78" y="134"/>
                </a:moveTo>
                <a:cubicBezTo>
                  <a:pt x="73" y="134"/>
                  <a:pt x="69" y="139"/>
                  <a:pt x="69" y="144"/>
                </a:cubicBezTo>
                <a:cubicBezTo>
                  <a:pt x="69" y="149"/>
                  <a:pt x="73" y="153"/>
                  <a:pt x="78" y="153"/>
                </a:cubicBezTo>
                <a:cubicBezTo>
                  <a:pt x="83" y="153"/>
                  <a:pt x="87" y="149"/>
                  <a:pt x="87" y="144"/>
                </a:cubicBezTo>
                <a:cubicBezTo>
                  <a:pt x="87" y="139"/>
                  <a:pt x="83" y="134"/>
                  <a:pt x="78" y="134"/>
                </a:cubicBezTo>
                <a:close/>
                <a:moveTo>
                  <a:pt x="78" y="148"/>
                </a:moveTo>
                <a:cubicBezTo>
                  <a:pt x="76" y="148"/>
                  <a:pt x="74" y="146"/>
                  <a:pt x="74" y="144"/>
                </a:cubicBezTo>
                <a:cubicBezTo>
                  <a:pt x="74" y="141"/>
                  <a:pt x="76" y="140"/>
                  <a:pt x="78" y="140"/>
                </a:cubicBezTo>
                <a:cubicBezTo>
                  <a:pt x="80" y="140"/>
                  <a:pt x="82" y="141"/>
                  <a:pt x="82" y="144"/>
                </a:cubicBezTo>
                <a:cubicBezTo>
                  <a:pt x="82" y="146"/>
                  <a:pt x="80" y="148"/>
                  <a:pt x="78" y="148"/>
                </a:cubicBezTo>
                <a:close/>
                <a:moveTo>
                  <a:pt x="90" y="100"/>
                </a:moveTo>
                <a:cubicBezTo>
                  <a:pt x="96" y="100"/>
                  <a:pt x="101" y="95"/>
                  <a:pt x="101" y="89"/>
                </a:cubicBezTo>
                <a:cubicBezTo>
                  <a:pt x="101" y="83"/>
                  <a:pt x="96" y="78"/>
                  <a:pt x="90" y="78"/>
                </a:cubicBezTo>
                <a:cubicBezTo>
                  <a:pt x="84" y="78"/>
                  <a:pt x="79" y="83"/>
                  <a:pt x="79" y="89"/>
                </a:cubicBezTo>
                <a:cubicBezTo>
                  <a:pt x="79" y="95"/>
                  <a:pt x="84" y="100"/>
                  <a:pt x="90" y="100"/>
                </a:cubicBezTo>
                <a:close/>
                <a:moveTo>
                  <a:pt x="90" y="84"/>
                </a:moveTo>
                <a:cubicBezTo>
                  <a:pt x="93" y="84"/>
                  <a:pt x="95" y="86"/>
                  <a:pt x="95" y="89"/>
                </a:cubicBezTo>
                <a:cubicBezTo>
                  <a:pt x="95" y="92"/>
                  <a:pt x="93" y="94"/>
                  <a:pt x="90" y="94"/>
                </a:cubicBezTo>
                <a:cubicBezTo>
                  <a:pt x="87" y="94"/>
                  <a:pt x="85" y="92"/>
                  <a:pt x="85" y="89"/>
                </a:cubicBezTo>
                <a:cubicBezTo>
                  <a:pt x="85" y="86"/>
                  <a:pt x="87" y="84"/>
                  <a:pt x="90" y="84"/>
                </a:cubicBezTo>
                <a:close/>
                <a:moveTo>
                  <a:pt x="24" y="32"/>
                </a:moveTo>
                <a:cubicBezTo>
                  <a:pt x="23" y="31"/>
                  <a:pt x="23" y="29"/>
                  <a:pt x="24" y="28"/>
                </a:cubicBezTo>
                <a:cubicBezTo>
                  <a:pt x="29" y="23"/>
                  <a:pt x="29" y="23"/>
                  <a:pt x="29" y="23"/>
                </a:cubicBezTo>
                <a:cubicBezTo>
                  <a:pt x="30" y="22"/>
                  <a:pt x="32" y="22"/>
                  <a:pt x="33" y="23"/>
                </a:cubicBezTo>
                <a:cubicBezTo>
                  <a:pt x="34" y="24"/>
                  <a:pt x="34" y="26"/>
                  <a:pt x="33" y="27"/>
                </a:cubicBezTo>
                <a:cubicBezTo>
                  <a:pt x="28" y="32"/>
                  <a:pt x="28" y="32"/>
                  <a:pt x="28" y="32"/>
                </a:cubicBezTo>
                <a:cubicBezTo>
                  <a:pt x="27" y="33"/>
                  <a:pt x="27" y="33"/>
                  <a:pt x="26" y="33"/>
                </a:cubicBezTo>
                <a:cubicBezTo>
                  <a:pt x="25" y="33"/>
                  <a:pt x="25" y="33"/>
                  <a:pt x="24" y="32"/>
                </a:cubicBezTo>
                <a:close/>
                <a:moveTo>
                  <a:pt x="122" y="80"/>
                </a:moveTo>
                <a:cubicBezTo>
                  <a:pt x="122" y="78"/>
                  <a:pt x="121" y="76"/>
                  <a:pt x="119" y="74"/>
                </a:cubicBezTo>
                <a:cubicBezTo>
                  <a:pt x="118" y="73"/>
                  <a:pt x="118" y="73"/>
                  <a:pt x="118" y="73"/>
                </a:cubicBezTo>
                <a:cubicBezTo>
                  <a:pt x="120" y="70"/>
                  <a:pt x="122" y="67"/>
                  <a:pt x="122" y="64"/>
                </a:cubicBezTo>
                <a:cubicBezTo>
                  <a:pt x="122" y="57"/>
                  <a:pt x="117" y="52"/>
                  <a:pt x="110" y="52"/>
                </a:cubicBezTo>
                <a:cubicBezTo>
                  <a:pt x="109" y="52"/>
                  <a:pt x="109" y="52"/>
                  <a:pt x="108" y="52"/>
                </a:cubicBezTo>
                <a:cubicBezTo>
                  <a:pt x="109" y="51"/>
                  <a:pt x="109" y="51"/>
                  <a:pt x="109" y="50"/>
                </a:cubicBezTo>
                <a:cubicBezTo>
                  <a:pt x="109" y="44"/>
                  <a:pt x="103" y="38"/>
                  <a:pt x="97" y="38"/>
                </a:cubicBezTo>
                <a:cubicBezTo>
                  <a:pt x="96" y="38"/>
                  <a:pt x="96" y="38"/>
                  <a:pt x="95" y="38"/>
                </a:cubicBezTo>
                <a:cubicBezTo>
                  <a:pt x="95" y="38"/>
                  <a:pt x="95" y="37"/>
                  <a:pt x="95" y="37"/>
                </a:cubicBezTo>
                <a:cubicBezTo>
                  <a:pt x="95" y="30"/>
                  <a:pt x="90" y="25"/>
                  <a:pt x="83" y="25"/>
                </a:cubicBezTo>
                <a:cubicBezTo>
                  <a:pt x="83" y="25"/>
                  <a:pt x="82" y="25"/>
                  <a:pt x="82" y="25"/>
                </a:cubicBezTo>
                <a:cubicBezTo>
                  <a:pt x="82" y="25"/>
                  <a:pt x="82" y="24"/>
                  <a:pt x="82" y="24"/>
                </a:cubicBezTo>
                <a:cubicBezTo>
                  <a:pt x="82" y="17"/>
                  <a:pt x="77" y="12"/>
                  <a:pt x="70" y="12"/>
                </a:cubicBezTo>
                <a:cubicBezTo>
                  <a:pt x="66" y="12"/>
                  <a:pt x="63" y="13"/>
                  <a:pt x="61" y="16"/>
                </a:cubicBezTo>
                <a:cubicBezTo>
                  <a:pt x="59" y="14"/>
                  <a:pt x="59" y="14"/>
                  <a:pt x="59" y="14"/>
                </a:cubicBezTo>
                <a:cubicBezTo>
                  <a:pt x="49" y="4"/>
                  <a:pt x="49" y="4"/>
                  <a:pt x="49" y="4"/>
                </a:cubicBezTo>
                <a:cubicBezTo>
                  <a:pt x="45" y="0"/>
                  <a:pt x="40" y="0"/>
                  <a:pt x="36" y="4"/>
                </a:cubicBezTo>
                <a:cubicBezTo>
                  <a:pt x="4" y="36"/>
                  <a:pt x="4" y="36"/>
                  <a:pt x="4" y="36"/>
                </a:cubicBezTo>
                <a:cubicBezTo>
                  <a:pt x="0" y="40"/>
                  <a:pt x="0" y="45"/>
                  <a:pt x="4" y="49"/>
                </a:cubicBezTo>
                <a:cubicBezTo>
                  <a:pt x="14" y="59"/>
                  <a:pt x="14" y="59"/>
                  <a:pt x="14" y="59"/>
                </a:cubicBezTo>
                <a:cubicBezTo>
                  <a:pt x="27" y="72"/>
                  <a:pt x="27" y="72"/>
                  <a:pt x="27" y="72"/>
                </a:cubicBezTo>
                <a:cubicBezTo>
                  <a:pt x="23" y="74"/>
                  <a:pt x="21" y="78"/>
                  <a:pt x="21" y="82"/>
                </a:cubicBezTo>
                <a:cubicBezTo>
                  <a:pt x="21" y="87"/>
                  <a:pt x="23" y="90"/>
                  <a:pt x="26" y="92"/>
                </a:cubicBezTo>
                <a:cubicBezTo>
                  <a:pt x="26" y="93"/>
                  <a:pt x="26" y="93"/>
                  <a:pt x="27" y="93"/>
                </a:cubicBezTo>
                <a:cubicBezTo>
                  <a:pt x="55" y="122"/>
                  <a:pt x="55" y="122"/>
                  <a:pt x="55" y="122"/>
                </a:cubicBezTo>
                <a:cubicBezTo>
                  <a:pt x="55" y="126"/>
                  <a:pt x="55" y="126"/>
                  <a:pt x="55" y="126"/>
                </a:cubicBezTo>
                <a:cubicBezTo>
                  <a:pt x="50" y="126"/>
                  <a:pt x="50" y="126"/>
                  <a:pt x="50" y="126"/>
                </a:cubicBezTo>
                <a:cubicBezTo>
                  <a:pt x="50" y="161"/>
                  <a:pt x="50" y="161"/>
                  <a:pt x="50" y="161"/>
                </a:cubicBezTo>
                <a:cubicBezTo>
                  <a:pt x="98" y="161"/>
                  <a:pt x="98" y="161"/>
                  <a:pt x="98" y="161"/>
                </a:cubicBezTo>
                <a:cubicBezTo>
                  <a:pt x="119" y="161"/>
                  <a:pt x="119" y="161"/>
                  <a:pt x="119" y="161"/>
                </a:cubicBezTo>
                <a:cubicBezTo>
                  <a:pt x="119" y="126"/>
                  <a:pt x="119" y="126"/>
                  <a:pt x="119" y="126"/>
                </a:cubicBezTo>
                <a:cubicBezTo>
                  <a:pt x="114" y="126"/>
                  <a:pt x="114" y="126"/>
                  <a:pt x="114" y="126"/>
                </a:cubicBezTo>
                <a:cubicBezTo>
                  <a:pt x="114" y="118"/>
                  <a:pt x="114" y="118"/>
                  <a:pt x="114" y="118"/>
                </a:cubicBezTo>
                <a:cubicBezTo>
                  <a:pt x="119" y="114"/>
                  <a:pt x="122" y="108"/>
                  <a:pt x="122" y="101"/>
                </a:cubicBezTo>
                <a:cubicBezTo>
                  <a:pt x="122" y="96"/>
                  <a:pt x="120" y="92"/>
                  <a:pt x="118" y="88"/>
                </a:cubicBezTo>
                <a:cubicBezTo>
                  <a:pt x="119" y="87"/>
                  <a:pt x="119" y="87"/>
                  <a:pt x="119" y="87"/>
                </a:cubicBezTo>
                <a:cubicBezTo>
                  <a:pt x="121" y="85"/>
                  <a:pt x="122" y="83"/>
                  <a:pt x="122" y="80"/>
                </a:cubicBezTo>
                <a:close/>
                <a:moveTo>
                  <a:pt x="117" y="64"/>
                </a:moveTo>
                <a:cubicBezTo>
                  <a:pt x="117" y="66"/>
                  <a:pt x="116" y="68"/>
                  <a:pt x="114" y="69"/>
                </a:cubicBezTo>
                <a:cubicBezTo>
                  <a:pt x="105" y="60"/>
                  <a:pt x="105" y="60"/>
                  <a:pt x="105" y="60"/>
                </a:cubicBezTo>
                <a:cubicBezTo>
                  <a:pt x="106" y="58"/>
                  <a:pt x="108" y="57"/>
                  <a:pt x="110" y="57"/>
                </a:cubicBezTo>
                <a:cubicBezTo>
                  <a:pt x="114" y="57"/>
                  <a:pt x="117" y="60"/>
                  <a:pt x="117" y="64"/>
                </a:cubicBezTo>
                <a:close/>
                <a:moveTo>
                  <a:pt x="103" y="50"/>
                </a:moveTo>
                <a:cubicBezTo>
                  <a:pt x="103" y="52"/>
                  <a:pt x="102" y="54"/>
                  <a:pt x="101" y="56"/>
                </a:cubicBezTo>
                <a:cubicBezTo>
                  <a:pt x="91" y="46"/>
                  <a:pt x="91" y="46"/>
                  <a:pt x="91" y="46"/>
                </a:cubicBezTo>
                <a:cubicBezTo>
                  <a:pt x="93" y="45"/>
                  <a:pt x="95" y="44"/>
                  <a:pt x="97" y="44"/>
                </a:cubicBezTo>
                <a:cubicBezTo>
                  <a:pt x="100" y="44"/>
                  <a:pt x="103" y="47"/>
                  <a:pt x="103" y="50"/>
                </a:cubicBezTo>
                <a:close/>
                <a:moveTo>
                  <a:pt x="90" y="37"/>
                </a:moveTo>
                <a:cubicBezTo>
                  <a:pt x="90" y="39"/>
                  <a:pt x="89" y="41"/>
                  <a:pt x="87" y="42"/>
                </a:cubicBezTo>
                <a:cubicBezTo>
                  <a:pt x="78" y="33"/>
                  <a:pt x="78" y="33"/>
                  <a:pt x="78" y="33"/>
                </a:cubicBezTo>
                <a:cubicBezTo>
                  <a:pt x="79" y="31"/>
                  <a:pt x="81" y="30"/>
                  <a:pt x="83" y="30"/>
                </a:cubicBezTo>
                <a:cubicBezTo>
                  <a:pt x="87" y="30"/>
                  <a:pt x="90" y="33"/>
                  <a:pt x="90" y="37"/>
                </a:cubicBezTo>
                <a:close/>
                <a:moveTo>
                  <a:pt x="70" y="17"/>
                </a:moveTo>
                <a:cubicBezTo>
                  <a:pt x="74" y="17"/>
                  <a:pt x="77" y="20"/>
                  <a:pt x="77" y="24"/>
                </a:cubicBezTo>
                <a:cubicBezTo>
                  <a:pt x="77" y="26"/>
                  <a:pt x="76" y="28"/>
                  <a:pt x="74" y="29"/>
                </a:cubicBezTo>
                <a:cubicBezTo>
                  <a:pt x="65" y="19"/>
                  <a:pt x="65" y="19"/>
                  <a:pt x="65" y="19"/>
                </a:cubicBezTo>
                <a:cubicBezTo>
                  <a:pt x="66" y="18"/>
                  <a:pt x="68" y="17"/>
                  <a:pt x="70" y="17"/>
                </a:cubicBezTo>
                <a:close/>
                <a:moveTo>
                  <a:pt x="7" y="45"/>
                </a:moveTo>
                <a:cubicBezTo>
                  <a:pt x="6" y="44"/>
                  <a:pt x="6" y="42"/>
                  <a:pt x="7" y="40"/>
                </a:cubicBezTo>
                <a:cubicBezTo>
                  <a:pt x="40" y="7"/>
                  <a:pt x="40" y="7"/>
                  <a:pt x="40" y="7"/>
                </a:cubicBezTo>
                <a:cubicBezTo>
                  <a:pt x="41" y="7"/>
                  <a:pt x="41" y="7"/>
                  <a:pt x="41" y="7"/>
                </a:cubicBezTo>
                <a:cubicBezTo>
                  <a:pt x="41" y="7"/>
                  <a:pt x="42" y="7"/>
                  <a:pt x="42" y="6"/>
                </a:cubicBezTo>
                <a:cubicBezTo>
                  <a:pt x="42" y="6"/>
                  <a:pt x="43" y="6"/>
                  <a:pt x="43" y="6"/>
                </a:cubicBezTo>
                <a:cubicBezTo>
                  <a:pt x="44" y="7"/>
                  <a:pt x="44" y="7"/>
                  <a:pt x="44" y="7"/>
                </a:cubicBezTo>
                <a:cubicBezTo>
                  <a:pt x="44" y="7"/>
                  <a:pt x="45" y="7"/>
                  <a:pt x="45" y="7"/>
                </a:cubicBezTo>
                <a:cubicBezTo>
                  <a:pt x="51" y="14"/>
                  <a:pt x="51" y="14"/>
                  <a:pt x="51" y="14"/>
                </a:cubicBezTo>
                <a:cubicBezTo>
                  <a:pt x="14" y="51"/>
                  <a:pt x="14" y="51"/>
                  <a:pt x="14" y="51"/>
                </a:cubicBezTo>
                <a:lnTo>
                  <a:pt x="7" y="45"/>
                </a:lnTo>
                <a:close/>
                <a:moveTo>
                  <a:pt x="55" y="17"/>
                </a:moveTo>
                <a:cubicBezTo>
                  <a:pt x="58" y="21"/>
                  <a:pt x="58" y="21"/>
                  <a:pt x="58" y="21"/>
                </a:cubicBezTo>
                <a:cubicBezTo>
                  <a:pt x="72" y="34"/>
                  <a:pt x="72" y="34"/>
                  <a:pt x="72" y="34"/>
                </a:cubicBezTo>
                <a:cubicBezTo>
                  <a:pt x="73" y="35"/>
                  <a:pt x="73" y="35"/>
                  <a:pt x="73" y="35"/>
                </a:cubicBezTo>
                <a:cubicBezTo>
                  <a:pt x="85" y="47"/>
                  <a:pt x="85" y="47"/>
                  <a:pt x="85" y="47"/>
                </a:cubicBezTo>
                <a:cubicBezTo>
                  <a:pt x="86" y="49"/>
                  <a:pt x="86" y="49"/>
                  <a:pt x="86" y="49"/>
                </a:cubicBezTo>
                <a:cubicBezTo>
                  <a:pt x="98" y="61"/>
                  <a:pt x="98" y="61"/>
                  <a:pt x="98" y="61"/>
                </a:cubicBezTo>
                <a:cubicBezTo>
                  <a:pt x="100" y="62"/>
                  <a:pt x="100" y="62"/>
                  <a:pt x="100" y="62"/>
                </a:cubicBezTo>
                <a:cubicBezTo>
                  <a:pt x="113" y="75"/>
                  <a:pt x="113" y="75"/>
                  <a:pt x="113" y="75"/>
                </a:cubicBezTo>
                <a:cubicBezTo>
                  <a:pt x="116" y="78"/>
                  <a:pt x="116" y="78"/>
                  <a:pt x="116" y="78"/>
                </a:cubicBezTo>
                <a:cubicBezTo>
                  <a:pt x="117" y="79"/>
                  <a:pt x="117" y="81"/>
                  <a:pt x="116" y="83"/>
                </a:cubicBezTo>
                <a:cubicBezTo>
                  <a:pt x="114" y="84"/>
                  <a:pt x="114" y="84"/>
                  <a:pt x="114" y="84"/>
                </a:cubicBezTo>
                <a:cubicBezTo>
                  <a:pt x="114" y="84"/>
                  <a:pt x="114" y="84"/>
                  <a:pt x="114" y="84"/>
                </a:cubicBezTo>
                <a:cubicBezTo>
                  <a:pt x="83" y="116"/>
                  <a:pt x="83" y="116"/>
                  <a:pt x="83" y="116"/>
                </a:cubicBezTo>
                <a:cubicBezTo>
                  <a:pt x="81" y="117"/>
                  <a:pt x="79" y="117"/>
                  <a:pt x="78" y="116"/>
                </a:cubicBezTo>
                <a:cubicBezTo>
                  <a:pt x="57" y="94"/>
                  <a:pt x="57" y="94"/>
                  <a:pt x="57" y="94"/>
                </a:cubicBezTo>
                <a:cubicBezTo>
                  <a:pt x="59" y="94"/>
                  <a:pt x="59" y="94"/>
                  <a:pt x="59" y="94"/>
                </a:cubicBezTo>
                <a:cubicBezTo>
                  <a:pt x="66" y="94"/>
                  <a:pt x="71" y="89"/>
                  <a:pt x="71" y="82"/>
                </a:cubicBezTo>
                <a:cubicBezTo>
                  <a:pt x="71" y="76"/>
                  <a:pt x="66" y="70"/>
                  <a:pt x="59" y="70"/>
                </a:cubicBezTo>
                <a:cubicBezTo>
                  <a:pt x="33" y="70"/>
                  <a:pt x="33" y="70"/>
                  <a:pt x="33" y="70"/>
                </a:cubicBezTo>
                <a:cubicBezTo>
                  <a:pt x="17" y="55"/>
                  <a:pt x="17" y="55"/>
                  <a:pt x="17" y="55"/>
                </a:cubicBezTo>
                <a:lnTo>
                  <a:pt x="55" y="17"/>
                </a:lnTo>
                <a:close/>
                <a:moveTo>
                  <a:pt x="31" y="76"/>
                </a:moveTo>
                <a:cubicBezTo>
                  <a:pt x="32" y="76"/>
                  <a:pt x="32" y="76"/>
                  <a:pt x="32" y="76"/>
                </a:cubicBezTo>
                <a:cubicBezTo>
                  <a:pt x="32" y="76"/>
                  <a:pt x="32" y="76"/>
                  <a:pt x="33" y="76"/>
                </a:cubicBezTo>
                <a:cubicBezTo>
                  <a:pt x="59" y="76"/>
                  <a:pt x="59" y="76"/>
                  <a:pt x="59" y="76"/>
                </a:cubicBezTo>
                <a:cubicBezTo>
                  <a:pt x="63" y="76"/>
                  <a:pt x="66" y="79"/>
                  <a:pt x="66" y="82"/>
                </a:cubicBezTo>
                <a:cubicBezTo>
                  <a:pt x="66" y="86"/>
                  <a:pt x="63" y="89"/>
                  <a:pt x="59" y="89"/>
                </a:cubicBezTo>
                <a:cubicBezTo>
                  <a:pt x="51" y="89"/>
                  <a:pt x="51" y="89"/>
                  <a:pt x="51" y="89"/>
                </a:cubicBezTo>
                <a:cubicBezTo>
                  <a:pt x="44" y="89"/>
                  <a:pt x="44" y="89"/>
                  <a:pt x="44" y="89"/>
                </a:cubicBezTo>
                <a:cubicBezTo>
                  <a:pt x="33" y="89"/>
                  <a:pt x="33" y="89"/>
                  <a:pt x="33" y="89"/>
                </a:cubicBezTo>
                <a:cubicBezTo>
                  <a:pt x="29" y="89"/>
                  <a:pt x="26" y="86"/>
                  <a:pt x="26" y="82"/>
                </a:cubicBezTo>
                <a:cubicBezTo>
                  <a:pt x="26" y="79"/>
                  <a:pt x="28" y="76"/>
                  <a:pt x="31" y="76"/>
                </a:cubicBezTo>
                <a:close/>
                <a:moveTo>
                  <a:pt x="55" y="156"/>
                </a:moveTo>
                <a:cubicBezTo>
                  <a:pt x="55" y="132"/>
                  <a:pt x="55" y="132"/>
                  <a:pt x="55" y="132"/>
                </a:cubicBezTo>
                <a:cubicBezTo>
                  <a:pt x="78" y="132"/>
                  <a:pt x="78" y="132"/>
                  <a:pt x="78" y="132"/>
                </a:cubicBezTo>
                <a:cubicBezTo>
                  <a:pt x="86" y="132"/>
                  <a:pt x="93" y="138"/>
                  <a:pt x="93" y="147"/>
                </a:cubicBezTo>
                <a:cubicBezTo>
                  <a:pt x="93" y="156"/>
                  <a:pt x="93" y="156"/>
                  <a:pt x="93" y="156"/>
                </a:cubicBezTo>
                <a:lnTo>
                  <a:pt x="55" y="156"/>
                </a:lnTo>
                <a:close/>
                <a:moveTo>
                  <a:pt x="114" y="156"/>
                </a:moveTo>
                <a:cubicBezTo>
                  <a:pt x="98" y="156"/>
                  <a:pt x="98" y="156"/>
                  <a:pt x="98" y="156"/>
                </a:cubicBezTo>
                <a:cubicBezTo>
                  <a:pt x="98" y="147"/>
                  <a:pt x="98" y="147"/>
                  <a:pt x="98" y="147"/>
                </a:cubicBezTo>
                <a:cubicBezTo>
                  <a:pt x="98" y="141"/>
                  <a:pt x="95" y="135"/>
                  <a:pt x="91" y="132"/>
                </a:cubicBezTo>
                <a:cubicBezTo>
                  <a:pt x="114" y="132"/>
                  <a:pt x="114" y="132"/>
                  <a:pt x="114" y="132"/>
                </a:cubicBezTo>
                <a:lnTo>
                  <a:pt x="114" y="156"/>
                </a:lnTo>
                <a:close/>
                <a:moveTo>
                  <a:pt x="114" y="92"/>
                </a:moveTo>
                <a:cubicBezTo>
                  <a:pt x="116" y="95"/>
                  <a:pt x="117" y="98"/>
                  <a:pt x="117" y="101"/>
                </a:cubicBezTo>
                <a:cubicBezTo>
                  <a:pt x="117" y="106"/>
                  <a:pt x="114" y="112"/>
                  <a:pt x="110" y="115"/>
                </a:cubicBezTo>
                <a:cubicBezTo>
                  <a:pt x="109" y="116"/>
                  <a:pt x="109" y="116"/>
                  <a:pt x="109" y="116"/>
                </a:cubicBezTo>
                <a:cubicBezTo>
                  <a:pt x="109" y="126"/>
                  <a:pt x="109" y="126"/>
                  <a:pt x="109" y="126"/>
                </a:cubicBezTo>
                <a:cubicBezTo>
                  <a:pt x="78" y="126"/>
                  <a:pt x="78" y="126"/>
                  <a:pt x="78" y="126"/>
                </a:cubicBezTo>
                <a:cubicBezTo>
                  <a:pt x="61" y="126"/>
                  <a:pt x="61" y="126"/>
                  <a:pt x="61" y="126"/>
                </a:cubicBezTo>
                <a:cubicBezTo>
                  <a:pt x="61" y="119"/>
                  <a:pt x="61" y="119"/>
                  <a:pt x="61" y="119"/>
                </a:cubicBezTo>
                <a:cubicBezTo>
                  <a:pt x="60" y="118"/>
                  <a:pt x="60" y="118"/>
                  <a:pt x="60" y="118"/>
                </a:cubicBezTo>
                <a:cubicBezTo>
                  <a:pt x="60" y="118"/>
                  <a:pt x="59" y="118"/>
                  <a:pt x="59" y="118"/>
                </a:cubicBezTo>
                <a:cubicBezTo>
                  <a:pt x="36" y="94"/>
                  <a:pt x="36" y="94"/>
                  <a:pt x="36" y="94"/>
                </a:cubicBezTo>
                <a:cubicBezTo>
                  <a:pt x="49" y="94"/>
                  <a:pt x="49" y="94"/>
                  <a:pt x="49" y="94"/>
                </a:cubicBezTo>
                <a:cubicBezTo>
                  <a:pt x="74" y="119"/>
                  <a:pt x="74" y="119"/>
                  <a:pt x="74" y="119"/>
                </a:cubicBezTo>
                <a:cubicBezTo>
                  <a:pt x="76" y="121"/>
                  <a:pt x="78" y="122"/>
                  <a:pt x="80" y="122"/>
                </a:cubicBezTo>
                <a:cubicBezTo>
                  <a:pt x="83" y="122"/>
                  <a:pt x="85" y="121"/>
                  <a:pt x="87" y="119"/>
                </a:cubicBezTo>
                <a:lnTo>
                  <a:pt x="114" y="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9" name="Freeform 61"/>
          <p:cNvSpPr>
            <a:spLocks noEditPoints="1"/>
          </p:cNvSpPr>
          <p:nvPr/>
        </p:nvSpPr>
        <p:spPr bwMode="auto">
          <a:xfrm>
            <a:off x="8207698" y="5330836"/>
            <a:ext cx="497242" cy="460506"/>
          </a:xfrm>
          <a:custGeom>
            <a:avLst/>
            <a:gdLst>
              <a:gd name="T0" fmla="*/ 117 w 160"/>
              <a:gd name="T1" fmla="*/ 95 h 147"/>
              <a:gd name="T2" fmla="*/ 127 w 160"/>
              <a:gd name="T3" fmla="*/ 68 h 147"/>
              <a:gd name="T4" fmla="*/ 131 w 160"/>
              <a:gd name="T5" fmla="*/ 41 h 147"/>
              <a:gd name="T6" fmla="*/ 99 w 160"/>
              <a:gd name="T7" fmla="*/ 0 h 147"/>
              <a:gd name="T8" fmla="*/ 51 w 160"/>
              <a:gd name="T9" fmla="*/ 19 h 147"/>
              <a:gd name="T10" fmla="*/ 19 w 160"/>
              <a:gd name="T11" fmla="*/ 61 h 147"/>
              <a:gd name="T12" fmla="*/ 32 w 160"/>
              <a:gd name="T13" fmla="*/ 94 h 147"/>
              <a:gd name="T14" fmla="*/ 11 w 160"/>
              <a:gd name="T15" fmla="*/ 118 h 147"/>
              <a:gd name="T16" fmla="*/ 37 w 160"/>
              <a:gd name="T17" fmla="*/ 147 h 147"/>
              <a:gd name="T18" fmla="*/ 160 w 160"/>
              <a:gd name="T19" fmla="*/ 136 h 147"/>
              <a:gd name="T20" fmla="*/ 37 w 160"/>
              <a:gd name="T21" fmla="*/ 141 h 147"/>
              <a:gd name="T22" fmla="*/ 14 w 160"/>
              <a:gd name="T23" fmla="*/ 123 h 147"/>
              <a:gd name="T24" fmla="*/ 37 w 160"/>
              <a:gd name="T25" fmla="*/ 92 h 147"/>
              <a:gd name="T26" fmla="*/ 27 w 160"/>
              <a:gd name="T27" fmla="*/ 74 h 147"/>
              <a:gd name="T28" fmla="*/ 24 w 160"/>
              <a:gd name="T29" fmla="*/ 61 h 147"/>
              <a:gd name="T30" fmla="*/ 27 w 160"/>
              <a:gd name="T31" fmla="*/ 43 h 147"/>
              <a:gd name="T32" fmla="*/ 67 w 160"/>
              <a:gd name="T33" fmla="*/ 41 h 147"/>
              <a:gd name="T34" fmla="*/ 64 w 160"/>
              <a:gd name="T35" fmla="*/ 61 h 147"/>
              <a:gd name="T36" fmla="*/ 65 w 160"/>
              <a:gd name="T37" fmla="*/ 63 h 147"/>
              <a:gd name="T38" fmla="*/ 69 w 160"/>
              <a:gd name="T39" fmla="*/ 69 h 147"/>
              <a:gd name="T40" fmla="*/ 69 w 160"/>
              <a:gd name="T41" fmla="*/ 71 h 147"/>
              <a:gd name="T42" fmla="*/ 71 w 160"/>
              <a:gd name="T43" fmla="*/ 75 h 147"/>
              <a:gd name="T44" fmla="*/ 71 w 160"/>
              <a:gd name="T45" fmla="*/ 76 h 147"/>
              <a:gd name="T46" fmla="*/ 73 w 160"/>
              <a:gd name="T47" fmla="*/ 79 h 147"/>
              <a:gd name="T48" fmla="*/ 75 w 160"/>
              <a:gd name="T49" fmla="*/ 83 h 147"/>
              <a:gd name="T50" fmla="*/ 77 w 160"/>
              <a:gd name="T51" fmla="*/ 86 h 147"/>
              <a:gd name="T52" fmla="*/ 74 w 160"/>
              <a:gd name="T53" fmla="*/ 101 h 147"/>
              <a:gd name="T54" fmla="*/ 65 w 160"/>
              <a:gd name="T55" fmla="*/ 106 h 147"/>
              <a:gd name="T56" fmla="*/ 155 w 160"/>
              <a:gd name="T57" fmla="*/ 141 h 147"/>
              <a:gd name="T58" fmla="*/ 52 w 160"/>
              <a:gd name="T59" fmla="*/ 119 h 147"/>
              <a:gd name="T60" fmla="*/ 83 w 160"/>
              <a:gd name="T61" fmla="*/ 84 h 147"/>
              <a:gd name="T62" fmla="*/ 82 w 160"/>
              <a:gd name="T63" fmla="*/ 84 h 147"/>
              <a:gd name="T64" fmla="*/ 81 w 160"/>
              <a:gd name="T65" fmla="*/ 82 h 147"/>
              <a:gd name="T66" fmla="*/ 80 w 160"/>
              <a:gd name="T67" fmla="*/ 80 h 147"/>
              <a:gd name="T68" fmla="*/ 77 w 160"/>
              <a:gd name="T69" fmla="*/ 75 h 147"/>
              <a:gd name="T70" fmla="*/ 76 w 160"/>
              <a:gd name="T71" fmla="*/ 73 h 147"/>
              <a:gd name="T72" fmla="*/ 75 w 160"/>
              <a:gd name="T73" fmla="*/ 72 h 147"/>
              <a:gd name="T74" fmla="*/ 74 w 160"/>
              <a:gd name="T75" fmla="*/ 68 h 147"/>
              <a:gd name="T76" fmla="*/ 73 w 160"/>
              <a:gd name="T77" fmla="*/ 65 h 147"/>
              <a:gd name="T78" fmla="*/ 69 w 160"/>
              <a:gd name="T79" fmla="*/ 59 h 147"/>
              <a:gd name="T80" fmla="*/ 72 w 160"/>
              <a:gd name="T81" fmla="*/ 43 h 147"/>
              <a:gd name="T82" fmla="*/ 72 w 160"/>
              <a:gd name="T83" fmla="*/ 26 h 147"/>
              <a:gd name="T84" fmla="*/ 121 w 160"/>
              <a:gd name="T85" fmla="*/ 13 h 147"/>
              <a:gd name="T86" fmla="*/ 126 w 160"/>
              <a:gd name="T87" fmla="*/ 44 h 147"/>
              <a:gd name="T88" fmla="*/ 124 w 160"/>
              <a:gd name="T89" fmla="*/ 64 h 147"/>
              <a:gd name="T90" fmla="*/ 115 w 160"/>
              <a:gd name="T91" fmla="*/ 81 h 147"/>
              <a:gd name="T92" fmla="*/ 112 w 160"/>
              <a:gd name="T93" fmla="*/ 95 h 147"/>
              <a:gd name="T94" fmla="*/ 155 w 160"/>
              <a:gd name="T95" fmla="*/ 1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147">
                <a:moveTo>
                  <a:pt x="147" y="114"/>
                </a:moveTo>
                <a:cubicBezTo>
                  <a:pt x="121" y="102"/>
                  <a:pt x="121" y="102"/>
                  <a:pt x="121" y="102"/>
                </a:cubicBezTo>
                <a:cubicBezTo>
                  <a:pt x="119" y="100"/>
                  <a:pt x="117" y="98"/>
                  <a:pt x="117" y="95"/>
                </a:cubicBezTo>
                <a:cubicBezTo>
                  <a:pt x="117" y="86"/>
                  <a:pt x="117" y="86"/>
                  <a:pt x="117" y="86"/>
                </a:cubicBezTo>
                <a:cubicBezTo>
                  <a:pt x="118" y="86"/>
                  <a:pt x="119" y="85"/>
                  <a:pt x="119" y="84"/>
                </a:cubicBezTo>
                <a:cubicBezTo>
                  <a:pt x="123" y="79"/>
                  <a:pt x="125" y="74"/>
                  <a:pt x="127" y="68"/>
                </a:cubicBezTo>
                <a:cubicBezTo>
                  <a:pt x="131" y="67"/>
                  <a:pt x="133" y="63"/>
                  <a:pt x="133" y="59"/>
                </a:cubicBezTo>
                <a:cubicBezTo>
                  <a:pt x="133" y="48"/>
                  <a:pt x="133" y="48"/>
                  <a:pt x="133" y="48"/>
                </a:cubicBezTo>
                <a:cubicBezTo>
                  <a:pt x="133" y="45"/>
                  <a:pt x="132" y="43"/>
                  <a:pt x="131" y="41"/>
                </a:cubicBezTo>
                <a:cubicBezTo>
                  <a:pt x="131" y="27"/>
                  <a:pt x="131" y="27"/>
                  <a:pt x="131" y="27"/>
                </a:cubicBezTo>
                <a:cubicBezTo>
                  <a:pt x="131" y="25"/>
                  <a:pt x="131" y="17"/>
                  <a:pt x="125" y="9"/>
                </a:cubicBezTo>
                <a:cubicBezTo>
                  <a:pt x="120" y="3"/>
                  <a:pt x="111" y="0"/>
                  <a:pt x="99" y="0"/>
                </a:cubicBezTo>
                <a:cubicBezTo>
                  <a:pt x="87" y="0"/>
                  <a:pt x="78" y="3"/>
                  <a:pt x="72" y="9"/>
                </a:cubicBezTo>
                <a:cubicBezTo>
                  <a:pt x="68" y="14"/>
                  <a:pt x="67" y="19"/>
                  <a:pt x="67" y="22"/>
                </a:cubicBezTo>
                <a:cubicBezTo>
                  <a:pt x="62" y="20"/>
                  <a:pt x="57" y="19"/>
                  <a:pt x="51" y="19"/>
                </a:cubicBezTo>
                <a:cubicBezTo>
                  <a:pt x="23" y="19"/>
                  <a:pt x="21" y="42"/>
                  <a:pt x="21" y="43"/>
                </a:cubicBezTo>
                <a:cubicBezTo>
                  <a:pt x="21" y="55"/>
                  <a:pt x="21" y="55"/>
                  <a:pt x="21" y="55"/>
                </a:cubicBezTo>
                <a:cubicBezTo>
                  <a:pt x="20" y="57"/>
                  <a:pt x="19" y="59"/>
                  <a:pt x="19" y="61"/>
                </a:cubicBezTo>
                <a:cubicBezTo>
                  <a:pt x="19" y="70"/>
                  <a:pt x="19" y="70"/>
                  <a:pt x="19" y="70"/>
                </a:cubicBezTo>
                <a:cubicBezTo>
                  <a:pt x="19" y="73"/>
                  <a:pt x="20" y="76"/>
                  <a:pt x="22" y="78"/>
                </a:cubicBezTo>
                <a:cubicBezTo>
                  <a:pt x="24" y="86"/>
                  <a:pt x="30" y="92"/>
                  <a:pt x="32" y="94"/>
                </a:cubicBezTo>
                <a:cubicBezTo>
                  <a:pt x="32" y="102"/>
                  <a:pt x="32" y="102"/>
                  <a:pt x="32" y="102"/>
                </a:cubicBezTo>
                <a:cubicBezTo>
                  <a:pt x="32" y="104"/>
                  <a:pt x="31" y="106"/>
                  <a:pt x="29" y="107"/>
                </a:cubicBezTo>
                <a:cubicBezTo>
                  <a:pt x="11" y="118"/>
                  <a:pt x="11" y="118"/>
                  <a:pt x="11" y="118"/>
                </a:cubicBezTo>
                <a:cubicBezTo>
                  <a:pt x="4" y="122"/>
                  <a:pt x="0" y="129"/>
                  <a:pt x="0" y="137"/>
                </a:cubicBezTo>
                <a:cubicBezTo>
                  <a:pt x="0" y="147"/>
                  <a:pt x="0" y="147"/>
                  <a:pt x="0" y="147"/>
                </a:cubicBezTo>
                <a:cubicBezTo>
                  <a:pt x="37" y="147"/>
                  <a:pt x="37" y="147"/>
                  <a:pt x="37" y="147"/>
                </a:cubicBezTo>
                <a:cubicBezTo>
                  <a:pt x="43" y="147"/>
                  <a:pt x="43" y="147"/>
                  <a:pt x="43" y="147"/>
                </a:cubicBezTo>
                <a:cubicBezTo>
                  <a:pt x="160" y="147"/>
                  <a:pt x="160" y="147"/>
                  <a:pt x="160" y="147"/>
                </a:cubicBezTo>
                <a:cubicBezTo>
                  <a:pt x="160" y="136"/>
                  <a:pt x="160" y="136"/>
                  <a:pt x="160" y="136"/>
                </a:cubicBezTo>
                <a:cubicBezTo>
                  <a:pt x="160" y="127"/>
                  <a:pt x="155" y="118"/>
                  <a:pt x="147" y="114"/>
                </a:cubicBezTo>
                <a:close/>
                <a:moveTo>
                  <a:pt x="37" y="135"/>
                </a:moveTo>
                <a:cubicBezTo>
                  <a:pt x="37" y="141"/>
                  <a:pt x="37" y="141"/>
                  <a:pt x="37" y="141"/>
                </a:cubicBezTo>
                <a:cubicBezTo>
                  <a:pt x="5" y="141"/>
                  <a:pt x="5" y="141"/>
                  <a:pt x="5" y="141"/>
                </a:cubicBezTo>
                <a:cubicBezTo>
                  <a:pt x="5" y="137"/>
                  <a:pt x="5" y="137"/>
                  <a:pt x="5" y="137"/>
                </a:cubicBezTo>
                <a:cubicBezTo>
                  <a:pt x="5" y="131"/>
                  <a:pt x="8" y="125"/>
                  <a:pt x="14" y="123"/>
                </a:cubicBezTo>
                <a:cubicBezTo>
                  <a:pt x="31" y="111"/>
                  <a:pt x="31" y="111"/>
                  <a:pt x="31" y="111"/>
                </a:cubicBezTo>
                <a:cubicBezTo>
                  <a:pt x="35" y="110"/>
                  <a:pt x="37" y="106"/>
                  <a:pt x="37" y="102"/>
                </a:cubicBezTo>
                <a:cubicBezTo>
                  <a:pt x="37" y="92"/>
                  <a:pt x="37" y="92"/>
                  <a:pt x="37" y="92"/>
                </a:cubicBezTo>
                <a:cubicBezTo>
                  <a:pt x="36" y="91"/>
                  <a:pt x="36" y="91"/>
                  <a:pt x="36" y="91"/>
                </a:cubicBezTo>
                <a:cubicBezTo>
                  <a:pt x="36" y="91"/>
                  <a:pt x="29" y="85"/>
                  <a:pt x="27" y="76"/>
                </a:cubicBezTo>
                <a:cubicBezTo>
                  <a:pt x="27" y="74"/>
                  <a:pt x="27" y="74"/>
                  <a:pt x="27" y="74"/>
                </a:cubicBezTo>
                <a:cubicBezTo>
                  <a:pt x="26" y="74"/>
                  <a:pt x="26" y="74"/>
                  <a:pt x="26" y="74"/>
                </a:cubicBezTo>
                <a:cubicBezTo>
                  <a:pt x="25" y="73"/>
                  <a:pt x="24" y="72"/>
                  <a:pt x="24" y="70"/>
                </a:cubicBezTo>
                <a:cubicBezTo>
                  <a:pt x="24" y="61"/>
                  <a:pt x="24" y="61"/>
                  <a:pt x="24" y="61"/>
                </a:cubicBezTo>
                <a:cubicBezTo>
                  <a:pt x="24" y="60"/>
                  <a:pt x="25" y="59"/>
                  <a:pt x="26" y="58"/>
                </a:cubicBezTo>
                <a:cubicBezTo>
                  <a:pt x="27" y="57"/>
                  <a:pt x="27" y="57"/>
                  <a:pt x="27" y="57"/>
                </a:cubicBezTo>
                <a:cubicBezTo>
                  <a:pt x="27" y="43"/>
                  <a:pt x="27" y="43"/>
                  <a:pt x="27" y="43"/>
                </a:cubicBezTo>
                <a:cubicBezTo>
                  <a:pt x="27" y="42"/>
                  <a:pt x="28" y="24"/>
                  <a:pt x="51" y="24"/>
                </a:cubicBezTo>
                <a:cubicBezTo>
                  <a:pt x="57" y="24"/>
                  <a:pt x="62" y="25"/>
                  <a:pt x="67" y="28"/>
                </a:cubicBezTo>
                <a:cubicBezTo>
                  <a:pt x="67" y="41"/>
                  <a:pt x="67" y="41"/>
                  <a:pt x="67" y="41"/>
                </a:cubicBezTo>
                <a:cubicBezTo>
                  <a:pt x="65" y="43"/>
                  <a:pt x="64" y="45"/>
                  <a:pt x="64" y="48"/>
                </a:cubicBezTo>
                <a:cubicBezTo>
                  <a:pt x="64" y="59"/>
                  <a:pt x="64" y="59"/>
                  <a:pt x="64" y="59"/>
                </a:cubicBezTo>
                <a:cubicBezTo>
                  <a:pt x="64" y="59"/>
                  <a:pt x="64" y="60"/>
                  <a:pt x="64" y="61"/>
                </a:cubicBezTo>
                <a:cubicBezTo>
                  <a:pt x="64" y="61"/>
                  <a:pt x="64" y="62"/>
                  <a:pt x="65" y="62"/>
                </a:cubicBezTo>
                <a:cubicBezTo>
                  <a:pt x="65" y="62"/>
                  <a:pt x="65" y="63"/>
                  <a:pt x="65" y="63"/>
                </a:cubicBezTo>
                <a:cubicBezTo>
                  <a:pt x="65" y="63"/>
                  <a:pt x="65" y="63"/>
                  <a:pt x="65" y="63"/>
                </a:cubicBezTo>
                <a:cubicBezTo>
                  <a:pt x="66" y="65"/>
                  <a:pt x="67" y="66"/>
                  <a:pt x="68" y="67"/>
                </a:cubicBezTo>
                <a:cubicBezTo>
                  <a:pt x="68" y="67"/>
                  <a:pt x="68" y="67"/>
                  <a:pt x="68" y="67"/>
                </a:cubicBezTo>
                <a:cubicBezTo>
                  <a:pt x="68" y="68"/>
                  <a:pt x="68" y="68"/>
                  <a:pt x="69" y="69"/>
                </a:cubicBezTo>
                <a:cubicBezTo>
                  <a:pt x="69" y="70"/>
                  <a:pt x="69" y="70"/>
                  <a:pt x="69" y="70"/>
                </a:cubicBezTo>
                <a:cubicBezTo>
                  <a:pt x="69" y="70"/>
                  <a:pt x="69" y="70"/>
                  <a:pt x="69" y="70"/>
                </a:cubicBezTo>
                <a:cubicBezTo>
                  <a:pt x="69" y="70"/>
                  <a:pt x="69" y="71"/>
                  <a:pt x="69" y="71"/>
                </a:cubicBezTo>
                <a:cubicBezTo>
                  <a:pt x="69" y="71"/>
                  <a:pt x="69" y="72"/>
                  <a:pt x="70" y="72"/>
                </a:cubicBezTo>
                <a:cubicBezTo>
                  <a:pt x="70" y="73"/>
                  <a:pt x="70" y="73"/>
                  <a:pt x="70" y="73"/>
                </a:cubicBezTo>
                <a:cubicBezTo>
                  <a:pt x="70" y="74"/>
                  <a:pt x="70" y="74"/>
                  <a:pt x="71" y="75"/>
                </a:cubicBezTo>
                <a:cubicBezTo>
                  <a:pt x="71" y="75"/>
                  <a:pt x="71" y="75"/>
                  <a:pt x="71" y="75"/>
                </a:cubicBezTo>
                <a:cubicBezTo>
                  <a:pt x="71" y="75"/>
                  <a:pt x="71" y="75"/>
                  <a:pt x="71" y="75"/>
                </a:cubicBezTo>
                <a:cubicBezTo>
                  <a:pt x="71" y="75"/>
                  <a:pt x="71" y="76"/>
                  <a:pt x="71" y="76"/>
                </a:cubicBezTo>
                <a:cubicBezTo>
                  <a:pt x="71" y="76"/>
                  <a:pt x="72" y="77"/>
                  <a:pt x="72" y="77"/>
                </a:cubicBezTo>
                <a:cubicBezTo>
                  <a:pt x="72" y="77"/>
                  <a:pt x="72" y="78"/>
                  <a:pt x="72" y="78"/>
                </a:cubicBezTo>
                <a:cubicBezTo>
                  <a:pt x="72" y="78"/>
                  <a:pt x="72" y="78"/>
                  <a:pt x="73" y="79"/>
                </a:cubicBezTo>
                <a:cubicBezTo>
                  <a:pt x="73" y="79"/>
                  <a:pt x="73" y="80"/>
                  <a:pt x="73" y="80"/>
                </a:cubicBezTo>
                <a:cubicBezTo>
                  <a:pt x="74" y="80"/>
                  <a:pt x="74" y="81"/>
                  <a:pt x="74" y="81"/>
                </a:cubicBezTo>
                <a:cubicBezTo>
                  <a:pt x="74" y="82"/>
                  <a:pt x="75" y="82"/>
                  <a:pt x="75" y="83"/>
                </a:cubicBezTo>
                <a:cubicBezTo>
                  <a:pt x="75" y="83"/>
                  <a:pt x="75" y="83"/>
                  <a:pt x="75" y="83"/>
                </a:cubicBezTo>
                <a:cubicBezTo>
                  <a:pt x="76" y="84"/>
                  <a:pt x="76" y="85"/>
                  <a:pt x="77" y="86"/>
                </a:cubicBezTo>
                <a:cubicBezTo>
                  <a:pt x="77" y="86"/>
                  <a:pt x="77" y="86"/>
                  <a:pt x="77" y="86"/>
                </a:cubicBezTo>
                <a:cubicBezTo>
                  <a:pt x="77" y="86"/>
                  <a:pt x="77" y="86"/>
                  <a:pt x="77" y="86"/>
                </a:cubicBezTo>
                <a:cubicBezTo>
                  <a:pt x="77" y="95"/>
                  <a:pt x="77" y="95"/>
                  <a:pt x="77" y="95"/>
                </a:cubicBezTo>
                <a:cubicBezTo>
                  <a:pt x="77" y="98"/>
                  <a:pt x="76" y="100"/>
                  <a:pt x="74" y="101"/>
                </a:cubicBezTo>
                <a:cubicBezTo>
                  <a:pt x="67" y="105"/>
                  <a:pt x="67" y="105"/>
                  <a:pt x="67" y="105"/>
                </a:cubicBezTo>
                <a:cubicBezTo>
                  <a:pt x="65" y="105"/>
                  <a:pt x="65" y="105"/>
                  <a:pt x="65" y="105"/>
                </a:cubicBezTo>
                <a:cubicBezTo>
                  <a:pt x="65" y="106"/>
                  <a:pt x="65" y="106"/>
                  <a:pt x="65" y="106"/>
                </a:cubicBezTo>
                <a:cubicBezTo>
                  <a:pt x="50" y="114"/>
                  <a:pt x="50" y="114"/>
                  <a:pt x="50" y="114"/>
                </a:cubicBezTo>
                <a:cubicBezTo>
                  <a:pt x="42" y="118"/>
                  <a:pt x="37" y="127"/>
                  <a:pt x="37" y="135"/>
                </a:cubicBezTo>
                <a:close/>
                <a:moveTo>
                  <a:pt x="155" y="141"/>
                </a:moveTo>
                <a:cubicBezTo>
                  <a:pt x="43" y="141"/>
                  <a:pt x="43" y="141"/>
                  <a:pt x="43" y="141"/>
                </a:cubicBezTo>
                <a:cubicBezTo>
                  <a:pt x="43" y="135"/>
                  <a:pt x="43" y="135"/>
                  <a:pt x="43" y="135"/>
                </a:cubicBezTo>
                <a:cubicBezTo>
                  <a:pt x="43" y="129"/>
                  <a:pt x="46" y="122"/>
                  <a:pt x="52" y="119"/>
                </a:cubicBezTo>
                <a:cubicBezTo>
                  <a:pt x="76" y="106"/>
                  <a:pt x="76" y="106"/>
                  <a:pt x="76" y="106"/>
                </a:cubicBezTo>
                <a:cubicBezTo>
                  <a:pt x="80" y="104"/>
                  <a:pt x="83" y="100"/>
                  <a:pt x="83" y="95"/>
                </a:cubicBezTo>
                <a:cubicBezTo>
                  <a:pt x="83" y="84"/>
                  <a:pt x="83" y="84"/>
                  <a:pt x="83" y="84"/>
                </a:cubicBezTo>
                <a:cubicBezTo>
                  <a:pt x="83" y="84"/>
                  <a:pt x="83" y="84"/>
                  <a:pt x="83" y="84"/>
                </a:cubicBezTo>
                <a:cubicBezTo>
                  <a:pt x="82" y="84"/>
                  <a:pt x="82" y="84"/>
                  <a:pt x="82" y="84"/>
                </a:cubicBezTo>
                <a:cubicBezTo>
                  <a:pt x="82" y="84"/>
                  <a:pt x="82" y="84"/>
                  <a:pt x="82" y="84"/>
                </a:cubicBezTo>
                <a:cubicBezTo>
                  <a:pt x="82" y="84"/>
                  <a:pt x="82" y="83"/>
                  <a:pt x="82" y="83"/>
                </a:cubicBezTo>
                <a:cubicBezTo>
                  <a:pt x="82" y="83"/>
                  <a:pt x="82" y="83"/>
                  <a:pt x="82" y="83"/>
                </a:cubicBezTo>
                <a:cubicBezTo>
                  <a:pt x="81" y="83"/>
                  <a:pt x="81" y="83"/>
                  <a:pt x="81" y="82"/>
                </a:cubicBezTo>
                <a:cubicBezTo>
                  <a:pt x="81" y="82"/>
                  <a:pt x="81" y="82"/>
                  <a:pt x="81" y="82"/>
                </a:cubicBezTo>
                <a:cubicBezTo>
                  <a:pt x="81" y="82"/>
                  <a:pt x="80" y="81"/>
                  <a:pt x="80" y="80"/>
                </a:cubicBezTo>
                <a:cubicBezTo>
                  <a:pt x="80" y="80"/>
                  <a:pt x="80" y="80"/>
                  <a:pt x="80" y="80"/>
                </a:cubicBezTo>
                <a:cubicBezTo>
                  <a:pt x="79" y="80"/>
                  <a:pt x="79" y="79"/>
                  <a:pt x="79" y="79"/>
                </a:cubicBezTo>
                <a:cubicBezTo>
                  <a:pt x="79" y="79"/>
                  <a:pt x="79" y="79"/>
                  <a:pt x="79" y="79"/>
                </a:cubicBezTo>
                <a:cubicBezTo>
                  <a:pt x="78" y="78"/>
                  <a:pt x="77" y="77"/>
                  <a:pt x="77" y="75"/>
                </a:cubicBezTo>
                <a:cubicBezTo>
                  <a:pt x="77" y="75"/>
                  <a:pt x="77" y="75"/>
                  <a:pt x="77" y="75"/>
                </a:cubicBezTo>
                <a:cubicBezTo>
                  <a:pt x="76" y="75"/>
                  <a:pt x="76" y="74"/>
                  <a:pt x="76" y="73"/>
                </a:cubicBezTo>
                <a:cubicBezTo>
                  <a:pt x="76" y="73"/>
                  <a:pt x="76" y="73"/>
                  <a:pt x="76" y="73"/>
                </a:cubicBezTo>
                <a:cubicBezTo>
                  <a:pt x="76" y="73"/>
                  <a:pt x="76" y="73"/>
                  <a:pt x="76" y="73"/>
                </a:cubicBezTo>
                <a:cubicBezTo>
                  <a:pt x="76" y="73"/>
                  <a:pt x="76" y="73"/>
                  <a:pt x="76" y="73"/>
                </a:cubicBezTo>
                <a:cubicBezTo>
                  <a:pt x="76" y="72"/>
                  <a:pt x="75" y="72"/>
                  <a:pt x="75" y="72"/>
                </a:cubicBezTo>
                <a:cubicBezTo>
                  <a:pt x="75" y="72"/>
                  <a:pt x="75" y="72"/>
                  <a:pt x="75" y="71"/>
                </a:cubicBezTo>
                <a:cubicBezTo>
                  <a:pt x="75" y="71"/>
                  <a:pt x="75" y="71"/>
                  <a:pt x="75" y="70"/>
                </a:cubicBezTo>
                <a:cubicBezTo>
                  <a:pt x="74" y="70"/>
                  <a:pt x="74" y="69"/>
                  <a:pt x="74" y="68"/>
                </a:cubicBezTo>
                <a:cubicBezTo>
                  <a:pt x="74" y="68"/>
                  <a:pt x="74" y="68"/>
                  <a:pt x="74" y="68"/>
                </a:cubicBezTo>
                <a:cubicBezTo>
                  <a:pt x="74" y="67"/>
                  <a:pt x="74" y="67"/>
                  <a:pt x="74" y="67"/>
                </a:cubicBezTo>
                <a:cubicBezTo>
                  <a:pt x="73" y="67"/>
                  <a:pt x="73" y="66"/>
                  <a:pt x="73" y="65"/>
                </a:cubicBezTo>
                <a:cubicBezTo>
                  <a:pt x="73" y="64"/>
                  <a:pt x="73" y="64"/>
                  <a:pt x="73" y="64"/>
                </a:cubicBezTo>
                <a:cubicBezTo>
                  <a:pt x="72" y="63"/>
                  <a:pt x="72" y="63"/>
                  <a:pt x="72" y="63"/>
                </a:cubicBezTo>
                <a:cubicBezTo>
                  <a:pt x="70" y="62"/>
                  <a:pt x="69" y="60"/>
                  <a:pt x="69" y="59"/>
                </a:cubicBezTo>
                <a:cubicBezTo>
                  <a:pt x="69" y="48"/>
                  <a:pt x="69" y="48"/>
                  <a:pt x="69" y="48"/>
                </a:cubicBezTo>
                <a:cubicBezTo>
                  <a:pt x="69" y="47"/>
                  <a:pt x="70" y="45"/>
                  <a:pt x="71" y="44"/>
                </a:cubicBezTo>
                <a:cubicBezTo>
                  <a:pt x="72" y="43"/>
                  <a:pt x="72" y="43"/>
                  <a:pt x="72" y="43"/>
                </a:cubicBezTo>
                <a:cubicBezTo>
                  <a:pt x="72" y="27"/>
                  <a:pt x="72" y="27"/>
                  <a:pt x="72" y="27"/>
                </a:cubicBezTo>
                <a:cubicBezTo>
                  <a:pt x="72" y="26"/>
                  <a:pt x="72" y="26"/>
                  <a:pt x="72" y="26"/>
                </a:cubicBezTo>
                <a:cubicBezTo>
                  <a:pt x="72" y="26"/>
                  <a:pt x="72" y="26"/>
                  <a:pt x="72" y="26"/>
                </a:cubicBezTo>
                <a:cubicBezTo>
                  <a:pt x="72" y="24"/>
                  <a:pt x="72" y="18"/>
                  <a:pt x="76" y="13"/>
                </a:cubicBezTo>
                <a:cubicBezTo>
                  <a:pt x="81" y="8"/>
                  <a:pt x="88" y="5"/>
                  <a:pt x="99" y="5"/>
                </a:cubicBezTo>
                <a:cubicBezTo>
                  <a:pt x="109" y="5"/>
                  <a:pt x="117" y="8"/>
                  <a:pt x="121" y="13"/>
                </a:cubicBezTo>
                <a:cubicBezTo>
                  <a:pt x="126" y="19"/>
                  <a:pt x="125" y="26"/>
                  <a:pt x="125" y="26"/>
                </a:cubicBezTo>
                <a:cubicBezTo>
                  <a:pt x="125" y="43"/>
                  <a:pt x="125" y="43"/>
                  <a:pt x="125" y="43"/>
                </a:cubicBezTo>
                <a:cubicBezTo>
                  <a:pt x="126" y="44"/>
                  <a:pt x="126" y="44"/>
                  <a:pt x="126" y="44"/>
                </a:cubicBezTo>
                <a:cubicBezTo>
                  <a:pt x="127" y="45"/>
                  <a:pt x="128" y="47"/>
                  <a:pt x="128" y="48"/>
                </a:cubicBezTo>
                <a:cubicBezTo>
                  <a:pt x="128" y="59"/>
                  <a:pt x="128" y="59"/>
                  <a:pt x="128" y="59"/>
                </a:cubicBezTo>
                <a:cubicBezTo>
                  <a:pt x="128" y="61"/>
                  <a:pt x="126" y="63"/>
                  <a:pt x="124" y="64"/>
                </a:cubicBezTo>
                <a:cubicBezTo>
                  <a:pt x="123" y="64"/>
                  <a:pt x="123" y="64"/>
                  <a:pt x="123" y="64"/>
                </a:cubicBezTo>
                <a:cubicBezTo>
                  <a:pt x="122" y="65"/>
                  <a:pt x="122" y="65"/>
                  <a:pt x="122" y="65"/>
                </a:cubicBezTo>
                <a:cubicBezTo>
                  <a:pt x="121" y="71"/>
                  <a:pt x="118" y="76"/>
                  <a:pt x="115" y="81"/>
                </a:cubicBezTo>
                <a:cubicBezTo>
                  <a:pt x="114" y="82"/>
                  <a:pt x="113" y="83"/>
                  <a:pt x="113" y="84"/>
                </a:cubicBezTo>
                <a:cubicBezTo>
                  <a:pt x="112" y="84"/>
                  <a:pt x="112" y="84"/>
                  <a:pt x="112" y="84"/>
                </a:cubicBezTo>
                <a:cubicBezTo>
                  <a:pt x="112" y="95"/>
                  <a:pt x="112" y="95"/>
                  <a:pt x="112" y="95"/>
                </a:cubicBezTo>
                <a:cubicBezTo>
                  <a:pt x="112" y="100"/>
                  <a:pt x="115" y="104"/>
                  <a:pt x="119" y="106"/>
                </a:cubicBezTo>
                <a:cubicBezTo>
                  <a:pt x="144" y="119"/>
                  <a:pt x="144" y="119"/>
                  <a:pt x="144" y="119"/>
                </a:cubicBezTo>
                <a:cubicBezTo>
                  <a:pt x="151" y="122"/>
                  <a:pt x="155" y="129"/>
                  <a:pt x="155" y="136"/>
                </a:cubicBezTo>
                <a:lnTo>
                  <a:pt x="155" y="1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4" name="Text Placeholder 6">
            <a:extLst>
              <a:ext uri="{FF2B5EF4-FFF2-40B4-BE49-F238E27FC236}">
                <a16:creationId xmlns:a16="http://schemas.microsoft.com/office/drawing/2014/main" id="{ABC06CA4-9CB9-2E42-ACCB-D9C3C67F2F14}"/>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44337244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p:cNvSpPr>
            <a:spLocks noGrp="1"/>
          </p:cNvSpPr>
          <p:nvPr>
            <p:ph type="pic" sz="quarter" idx="14"/>
          </p:nvPr>
        </p:nvSpPr>
        <p:spPr/>
        <p:txBody>
          <a:bodyPr/>
          <a:lstStyle/>
          <a:p>
            <a:endParaRPr lang="en-CA"/>
          </a:p>
        </p:txBody>
      </p:sp>
      <p:sp>
        <p:nvSpPr>
          <p:cNvPr id="2" name="Title 1"/>
          <p:cNvSpPr>
            <a:spLocks noGrp="1"/>
          </p:cNvSpPr>
          <p:nvPr>
            <p:ph type="title"/>
          </p:nvPr>
        </p:nvSpPr>
        <p:spPr/>
        <p:txBody>
          <a:bodyPr/>
          <a:lstStyle/>
          <a:p>
            <a:r>
              <a:rPr lang="en-US"/>
              <a:t>Phone</a:t>
            </a:r>
            <a:br>
              <a:rPr lang="en-US"/>
            </a:br>
            <a:r>
              <a:rPr lang="en-US"/>
              <a:t>Device</a:t>
            </a:r>
            <a:br>
              <a:rPr lang="en-US"/>
            </a:br>
            <a:r>
              <a:rPr lang="en-US"/>
              <a:t>Slide</a:t>
            </a:r>
            <a:endParaRPr lang="en-US" dirty="0"/>
          </a:p>
        </p:txBody>
      </p:sp>
      <p:sp>
        <p:nvSpPr>
          <p:cNvPr id="21" name="TextBox 20"/>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23" name="Oval 22"/>
          <p:cNvSpPr/>
          <p:nvPr/>
        </p:nvSpPr>
        <p:spPr>
          <a:xfrm>
            <a:off x="7277100" y="1841479"/>
            <a:ext cx="818319" cy="818319"/>
          </a:xfrm>
          <a:prstGeom prst="ellipse">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lstStyle/>
          <a:p>
            <a:pPr algn="ctr"/>
            <a:endParaRPr lang="en-US" sz="4400" dirty="0">
              <a:latin typeface="RBC Text" panose="02000000000000000000" pitchFamily="2" charset="77"/>
            </a:endParaRPr>
          </a:p>
        </p:txBody>
      </p:sp>
      <p:sp>
        <p:nvSpPr>
          <p:cNvPr id="27" name="Oval 26"/>
          <p:cNvSpPr/>
          <p:nvPr/>
        </p:nvSpPr>
        <p:spPr>
          <a:xfrm>
            <a:off x="7277100" y="3110149"/>
            <a:ext cx="818319" cy="818319"/>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lstStyle/>
          <a:p>
            <a:pPr algn="ctr"/>
            <a:endParaRPr lang="en-US" sz="4400" dirty="0">
              <a:latin typeface="RBC Text" panose="02000000000000000000" pitchFamily="2" charset="77"/>
            </a:endParaRPr>
          </a:p>
        </p:txBody>
      </p:sp>
      <p:sp>
        <p:nvSpPr>
          <p:cNvPr id="30" name="Oval 29"/>
          <p:cNvSpPr/>
          <p:nvPr/>
        </p:nvSpPr>
        <p:spPr>
          <a:xfrm>
            <a:off x="7277100" y="4378819"/>
            <a:ext cx="818319" cy="818319"/>
          </a:xfrm>
          <a:prstGeom prst="ellipse">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lstStyle/>
          <a:p>
            <a:pPr algn="ctr"/>
            <a:endParaRPr lang="en-US" sz="4400" dirty="0">
              <a:latin typeface="RBC Text" panose="02000000000000000000" pitchFamily="2" charset="77"/>
            </a:endParaRPr>
          </a:p>
        </p:txBody>
      </p:sp>
      <p:sp>
        <p:nvSpPr>
          <p:cNvPr id="31" name="TextBox 30"/>
          <p:cNvSpPr txBox="1"/>
          <p:nvPr/>
        </p:nvSpPr>
        <p:spPr>
          <a:xfrm>
            <a:off x="8336331" y="1912589"/>
            <a:ext cx="3588617" cy="283154"/>
          </a:xfrm>
          <a:prstGeom prst="rect">
            <a:avLst/>
          </a:prstGeom>
          <a:noFill/>
        </p:spPr>
        <p:txBody>
          <a:bodyPr wrap="square" lIns="0" rIns="0" rtlCol="0">
            <a:spAutoFit/>
          </a:bodyPr>
          <a:lstStyle/>
          <a:p>
            <a:pPr>
              <a:lnSpc>
                <a:spcPct val="70000"/>
              </a:lnSpc>
            </a:pPr>
            <a:r>
              <a:rPr lang="en-US" sz="1600" dirty="0">
                <a:latin typeface="RBC Display" panose="02000000000000000000" pitchFamily="2" charset="77"/>
              </a:rPr>
              <a:t>ICO Campaigns</a:t>
            </a:r>
            <a:endParaRPr lang="en-US" sz="1600" dirty="0">
              <a:solidFill>
                <a:schemeClr val="accent1"/>
              </a:solidFill>
              <a:latin typeface="RBC Display" panose="02000000000000000000" pitchFamily="2" charset="77"/>
            </a:endParaRPr>
          </a:p>
        </p:txBody>
      </p:sp>
      <p:sp>
        <p:nvSpPr>
          <p:cNvPr id="32" name="TextBox 31"/>
          <p:cNvSpPr txBox="1"/>
          <p:nvPr/>
        </p:nvSpPr>
        <p:spPr>
          <a:xfrm>
            <a:off x="8336331" y="2178882"/>
            <a:ext cx="2661869" cy="747897"/>
          </a:xfrm>
          <a:prstGeom prst="rect">
            <a:avLst/>
          </a:prstGeom>
          <a:noFill/>
        </p:spPr>
        <p:txBody>
          <a:bodyPr wrap="square" lIns="0" rIns="0" rtlCol="0">
            <a:spAutoFit/>
          </a:bodyPr>
          <a:lstStyle/>
          <a:p>
            <a:pPr>
              <a:lnSpc>
                <a:spcPct val="120000"/>
              </a:lnSpc>
            </a:pPr>
            <a:r>
              <a:rPr lang="en-US" sz="1200" dirty="0">
                <a:solidFill>
                  <a:schemeClr val="tx1">
                    <a:alpha val="80000"/>
                  </a:schemeClr>
                </a:solidFill>
                <a:latin typeface="RBC Text" panose="02000000000000000000" pitchFamily="2" charset="77"/>
              </a:rPr>
              <a:t>There are many variations of passages of Lorem Ipsum available, but the</a:t>
            </a:r>
          </a:p>
        </p:txBody>
      </p:sp>
      <p:sp>
        <p:nvSpPr>
          <p:cNvPr id="33" name="TextBox 32"/>
          <p:cNvSpPr txBox="1"/>
          <p:nvPr/>
        </p:nvSpPr>
        <p:spPr>
          <a:xfrm>
            <a:off x="8336331" y="3174791"/>
            <a:ext cx="3588617" cy="283154"/>
          </a:xfrm>
          <a:prstGeom prst="rect">
            <a:avLst/>
          </a:prstGeom>
          <a:noFill/>
        </p:spPr>
        <p:txBody>
          <a:bodyPr wrap="square" lIns="0" rIns="0" rtlCol="0">
            <a:spAutoFit/>
          </a:bodyPr>
          <a:lstStyle/>
          <a:p>
            <a:pPr>
              <a:lnSpc>
                <a:spcPct val="70000"/>
              </a:lnSpc>
            </a:pPr>
            <a:r>
              <a:rPr lang="en-US" sz="1600" b="1" dirty="0">
                <a:solidFill>
                  <a:schemeClr val="accent1"/>
                </a:solidFill>
                <a:latin typeface="RBC Display" panose="02000000000000000000" pitchFamily="2" charset="77"/>
              </a:rPr>
              <a:t>Legal Compliance</a:t>
            </a:r>
          </a:p>
        </p:txBody>
      </p:sp>
      <p:sp>
        <p:nvSpPr>
          <p:cNvPr id="34" name="TextBox 33"/>
          <p:cNvSpPr txBox="1"/>
          <p:nvPr/>
        </p:nvSpPr>
        <p:spPr>
          <a:xfrm>
            <a:off x="8336331" y="3441084"/>
            <a:ext cx="2661869" cy="747897"/>
          </a:xfrm>
          <a:prstGeom prst="rect">
            <a:avLst/>
          </a:prstGeom>
          <a:noFill/>
        </p:spPr>
        <p:txBody>
          <a:bodyPr wrap="square" lIns="0" rIns="0" rtlCol="0">
            <a:spAutoFit/>
          </a:bodyPr>
          <a:lstStyle/>
          <a:p>
            <a:pPr>
              <a:lnSpc>
                <a:spcPct val="120000"/>
              </a:lnSpc>
            </a:pPr>
            <a:r>
              <a:rPr lang="en-US" sz="1200" dirty="0">
                <a:solidFill>
                  <a:schemeClr val="tx1">
                    <a:alpha val="80000"/>
                  </a:schemeClr>
                </a:solidFill>
                <a:latin typeface="RBC Text" panose="02000000000000000000" pitchFamily="2" charset="77"/>
              </a:rPr>
              <a:t>There are many variations of passages of Lorem Ipsum available, but the</a:t>
            </a:r>
          </a:p>
        </p:txBody>
      </p:sp>
      <p:sp>
        <p:nvSpPr>
          <p:cNvPr id="35" name="TextBox 34"/>
          <p:cNvSpPr txBox="1"/>
          <p:nvPr/>
        </p:nvSpPr>
        <p:spPr>
          <a:xfrm>
            <a:off x="8336331" y="4436993"/>
            <a:ext cx="3588617" cy="283154"/>
          </a:xfrm>
          <a:prstGeom prst="rect">
            <a:avLst/>
          </a:prstGeom>
          <a:noFill/>
        </p:spPr>
        <p:txBody>
          <a:bodyPr wrap="square" lIns="0" rIns="0" rtlCol="0">
            <a:spAutoFit/>
          </a:bodyPr>
          <a:lstStyle/>
          <a:p>
            <a:pPr>
              <a:lnSpc>
                <a:spcPct val="70000"/>
              </a:lnSpc>
            </a:pPr>
            <a:r>
              <a:rPr lang="en-US" sz="1600" dirty="0">
                <a:latin typeface="RBC Display" panose="02000000000000000000" pitchFamily="2" charset="77"/>
              </a:rPr>
              <a:t>Live Exchange Rates</a:t>
            </a:r>
            <a:endParaRPr lang="en-US" sz="1600" dirty="0">
              <a:solidFill>
                <a:schemeClr val="accent1"/>
              </a:solidFill>
              <a:latin typeface="RBC Display" panose="02000000000000000000" pitchFamily="2" charset="77"/>
            </a:endParaRPr>
          </a:p>
        </p:txBody>
      </p:sp>
      <p:sp>
        <p:nvSpPr>
          <p:cNvPr id="36" name="TextBox 35"/>
          <p:cNvSpPr txBox="1"/>
          <p:nvPr/>
        </p:nvSpPr>
        <p:spPr>
          <a:xfrm>
            <a:off x="8336331" y="4703286"/>
            <a:ext cx="2661869" cy="535531"/>
          </a:xfrm>
          <a:prstGeom prst="rect">
            <a:avLst/>
          </a:prstGeom>
          <a:noFill/>
        </p:spPr>
        <p:txBody>
          <a:bodyPr wrap="square" lIns="0" rIns="0" rtlCol="0">
            <a:spAutoFit/>
          </a:bodyPr>
          <a:lstStyle/>
          <a:p>
            <a:pPr>
              <a:lnSpc>
                <a:spcPct val="120000"/>
              </a:lnSpc>
            </a:pPr>
            <a:r>
              <a:rPr lang="en-US" sz="1200" dirty="0">
                <a:solidFill>
                  <a:schemeClr val="tx1">
                    <a:alpha val="80000"/>
                  </a:schemeClr>
                </a:solidFill>
                <a:latin typeface="RBC Text" panose="02000000000000000000" pitchFamily="2" charset="77"/>
              </a:rPr>
              <a:t>There are many variations of passages of Lorem Ipsum available</a:t>
            </a:r>
          </a:p>
        </p:txBody>
      </p:sp>
      <p:sp>
        <p:nvSpPr>
          <p:cNvPr id="37" name="Shape 3612"/>
          <p:cNvSpPr/>
          <p:nvPr/>
        </p:nvSpPr>
        <p:spPr>
          <a:xfrm>
            <a:off x="7545969" y="2154986"/>
            <a:ext cx="280580" cy="191304"/>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tx1"/>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sp>
        <p:nvSpPr>
          <p:cNvPr id="38" name="Shape 3612"/>
          <p:cNvSpPr/>
          <p:nvPr/>
        </p:nvSpPr>
        <p:spPr>
          <a:xfrm>
            <a:off x="7545969" y="3423656"/>
            <a:ext cx="280580" cy="191304"/>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sp>
        <p:nvSpPr>
          <p:cNvPr id="39" name="Shape 3612"/>
          <p:cNvSpPr/>
          <p:nvPr/>
        </p:nvSpPr>
        <p:spPr>
          <a:xfrm>
            <a:off x="7545969" y="4692326"/>
            <a:ext cx="280580" cy="191304"/>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tx1"/>
          </a:solidFill>
          <a:ln w="12700">
            <a:miter lim="400000"/>
          </a:ln>
        </p:spPr>
        <p:txBody>
          <a:bodyPr lIns="38100" tIns="38100" rIns="38100" bIns="38100" anchor="ctr"/>
          <a:lstStyle/>
          <a:p>
            <a:endParaRPr dirty="0">
              <a:solidFill>
                <a:prstClr val="black"/>
              </a:solidFill>
              <a:latin typeface="RBC Text" panose="02000000000000000000" pitchFamily="2" charset="77"/>
            </a:endParaRPr>
          </a:p>
        </p:txBody>
      </p:sp>
      <p:sp>
        <p:nvSpPr>
          <p:cNvPr id="17" name="Text Placeholder 6">
            <a:extLst>
              <a:ext uri="{FF2B5EF4-FFF2-40B4-BE49-F238E27FC236}">
                <a16:creationId xmlns:a16="http://schemas.microsoft.com/office/drawing/2014/main" id="{2DA18F07-97BF-5A45-9128-D563AA2C0A16}"/>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3554364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p:cNvSpPr>
            <a:spLocks noGrp="1"/>
          </p:cNvSpPr>
          <p:nvPr>
            <p:ph type="pic" sz="quarter" idx="14"/>
          </p:nvPr>
        </p:nvSpPr>
        <p:spPr/>
        <p:txBody>
          <a:bodyPr/>
          <a:lstStyle/>
          <a:p>
            <a:endParaRPr lang="en-CA"/>
          </a:p>
        </p:txBody>
      </p:sp>
      <p:sp>
        <p:nvSpPr>
          <p:cNvPr id="2" name="Title 1"/>
          <p:cNvSpPr>
            <a:spLocks noGrp="1"/>
          </p:cNvSpPr>
          <p:nvPr>
            <p:ph type="title"/>
          </p:nvPr>
        </p:nvSpPr>
        <p:spPr/>
        <p:txBody>
          <a:bodyPr/>
          <a:lstStyle/>
          <a:p>
            <a:r>
              <a:rPr lang="en-US"/>
              <a:t>Watch</a:t>
            </a:r>
            <a:br>
              <a:rPr lang="en-US"/>
            </a:br>
            <a:r>
              <a:rPr lang="en-US"/>
              <a:t>Device</a:t>
            </a:r>
            <a:br>
              <a:rPr lang="en-US"/>
            </a:br>
            <a:r>
              <a:rPr lang="en-US"/>
              <a:t>Slide</a:t>
            </a:r>
            <a:endParaRPr lang="en-US" dirty="0"/>
          </a:p>
        </p:txBody>
      </p:sp>
      <p:sp>
        <p:nvSpPr>
          <p:cNvPr id="22" name="TextBox 21"/>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24" name="TextBox 23"/>
          <p:cNvSpPr txBox="1"/>
          <p:nvPr/>
        </p:nvSpPr>
        <p:spPr>
          <a:xfrm>
            <a:off x="8264923" y="2076258"/>
            <a:ext cx="2379113" cy="338554"/>
          </a:xfrm>
          <a:prstGeom prst="rect">
            <a:avLst/>
          </a:prstGeom>
          <a:noFill/>
        </p:spPr>
        <p:txBody>
          <a:bodyPr wrap="none" lIns="0" rIns="0" rtlCol="0">
            <a:spAutoFit/>
          </a:bodyPr>
          <a:lstStyle/>
          <a:p>
            <a:r>
              <a:rPr lang="en-US" sz="1600" dirty="0">
                <a:latin typeface="RBC Display" panose="02000000000000000000" pitchFamily="2" charset="77"/>
              </a:rPr>
              <a:t>Selection and </a:t>
            </a:r>
            <a:r>
              <a:rPr lang="en-US" sz="1600" dirty="0" err="1">
                <a:latin typeface="RBC Display" panose="02000000000000000000" pitchFamily="2" charset="77"/>
              </a:rPr>
              <a:t>evaltuation</a:t>
            </a:r>
            <a:endParaRPr lang="en-US" sz="1600" dirty="0">
              <a:latin typeface="RBC Display" panose="02000000000000000000" pitchFamily="2" charset="77"/>
            </a:endParaRPr>
          </a:p>
        </p:txBody>
      </p:sp>
      <p:sp>
        <p:nvSpPr>
          <p:cNvPr id="30" name="TextBox 29"/>
          <p:cNvSpPr txBox="1"/>
          <p:nvPr/>
        </p:nvSpPr>
        <p:spPr>
          <a:xfrm>
            <a:off x="8264923" y="2414812"/>
            <a:ext cx="1990481" cy="276999"/>
          </a:xfrm>
          <a:prstGeom prst="rect">
            <a:avLst/>
          </a:prstGeom>
          <a:noFill/>
        </p:spPr>
        <p:txBody>
          <a:bodyPr wrap="none" lIns="0" rIns="0" rtlCol="0">
            <a:spAutoFit/>
          </a:bodyPr>
          <a:lstStyle/>
          <a:p>
            <a:r>
              <a:rPr lang="en-US" sz="1200" dirty="0">
                <a:solidFill>
                  <a:schemeClr val="tx1">
                    <a:alpha val="70000"/>
                  </a:schemeClr>
                </a:solidFill>
                <a:latin typeface="RBC Text" panose="02000000000000000000" pitchFamily="2" charset="77"/>
              </a:rPr>
              <a:t>How to work with the fund?</a:t>
            </a:r>
          </a:p>
        </p:txBody>
      </p:sp>
      <p:sp>
        <p:nvSpPr>
          <p:cNvPr id="31" name="TextBox 30"/>
          <p:cNvSpPr txBox="1"/>
          <p:nvPr/>
        </p:nvSpPr>
        <p:spPr>
          <a:xfrm>
            <a:off x="8264923" y="3222212"/>
            <a:ext cx="1343638" cy="338554"/>
          </a:xfrm>
          <a:prstGeom prst="rect">
            <a:avLst/>
          </a:prstGeom>
          <a:noFill/>
        </p:spPr>
        <p:txBody>
          <a:bodyPr wrap="none" lIns="0" rIns="0" rtlCol="0">
            <a:spAutoFit/>
          </a:bodyPr>
          <a:lstStyle/>
          <a:p>
            <a:r>
              <a:rPr lang="en-US" sz="1600" dirty="0">
                <a:latin typeface="RBC Display" panose="02000000000000000000" pitchFamily="2" charset="77"/>
              </a:rPr>
              <a:t>Prepare to ICO</a:t>
            </a:r>
          </a:p>
        </p:txBody>
      </p:sp>
      <p:sp>
        <p:nvSpPr>
          <p:cNvPr id="32" name="TextBox 31"/>
          <p:cNvSpPr txBox="1"/>
          <p:nvPr/>
        </p:nvSpPr>
        <p:spPr>
          <a:xfrm>
            <a:off x="8264923" y="3560766"/>
            <a:ext cx="2822177" cy="461665"/>
          </a:xfrm>
          <a:prstGeom prst="rect">
            <a:avLst/>
          </a:prstGeom>
          <a:noFill/>
        </p:spPr>
        <p:txBody>
          <a:bodyPr wrap="square" lIns="0" rIns="0" rtlCol="0">
            <a:spAutoFit/>
          </a:bodyPr>
          <a:lstStyle/>
          <a:p>
            <a:r>
              <a:rPr lang="en-US" sz="1200" dirty="0">
                <a:solidFill>
                  <a:schemeClr val="tx1">
                    <a:alpha val="70000"/>
                  </a:schemeClr>
                </a:solidFill>
                <a:latin typeface="RBC Text" panose="02000000000000000000" pitchFamily="2" charset="77"/>
              </a:rPr>
              <a:t>A peep at some distant orb has power to raise.</a:t>
            </a:r>
          </a:p>
        </p:txBody>
      </p:sp>
      <p:sp>
        <p:nvSpPr>
          <p:cNvPr id="33" name="TextBox 32"/>
          <p:cNvSpPr txBox="1"/>
          <p:nvPr/>
        </p:nvSpPr>
        <p:spPr>
          <a:xfrm>
            <a:off x="8264923" y="4368166"/>
            <a:ext cx="1054071" cy="338554"/>
          </a:xfrm>
          <a:prstGeom prst="rect">
            <a:avLst/>
          </a:prstGeom>
          <a:noFill/>
        </p:spPr>
        <p:txBody>
          <a:bodyPr wrap="none" lIns="0" rIns="0" rtlCol="0">
            <a:spAutoFit/>
          </a:bodyPr>
          <a:lstStyle/>
          <a:p>
            <a:r>
              <a:rPr lang="en-US" sz="1600" dirty="0">
                <a:latin typeface="RBC Display" panose="02000000000000000000" pitchFamily="2" charset="77"/>
              </a:rPr>
              <a:t>Launch ICO</a:t>
            </a:r>
          </a:p>
        </p:txBody>
      </p:sp>
      <p:sp>
        <p:nvSpPr>
          <p:cNvPr id="34" name="TextBox 33"/>
          <p:cNvSpPr txBox="1"/>
          <p:nvPr/>
        </p:nvSpPr>
        <p:spPr>
          <a:xfrm>
            <a:off x="8264924" y="4706720"/>
            <a:ext cx="2822176" cy="646331"/>
          </a:xfrm>
          <a:prstGeom prst="rect">
            <a:avLst/>
          </a:prstGeom>
          <a:noFill/>
        </p:spPr>
        <p:txBody>
          <a:bodyPr wrap="square" lIns="0" rIns="0" rtlCol="0">
            <a:spAutoFit/>
          </a:bodyPr>
          <a:lstStyle/>
          <a:p>
            <a:r>
              <a:rPr lang="en-US" sz="1200" dirty="0">
                <a:solidFill>
                  <a:schemeClr val="tx1">
                    <a:alpha val="70000"/>
                  </a:schemeClr>
                </a:solidFill>
                <a:latin typeface="RBC Text" panose="02000000000000000000" pitchFamily="2" charset="77"/>
              </a:rPr>
              <a:t>A peep at some distant orb has power to raise and purify our thoughts like a strain of sacred music.</a:t>
            </a:r>
          </a:p>
        </p:txBody>
      </p:sp>
      <p:sp>
        <p:nvSpPr>
          <p:cNvPr id="35" name="Freeform 2113"/>
          <p:cNvSpPr>
            <a:spLocks noEditPoints="1"/>
          </p:cNvSpPr>
          <p:nvPr/>
        </p:nvSpPr>
        <p:spPr bwMode="auto">
          <a:xfrm>
            <a:off x="7409573" y="3271454"/>
            <a:ext cx="454025" cy="549275"/>
          </a:xfrm>
          <a:custGeom>
            <a:avLst/>
            <a:gdLst>
              <a:gd name="T0" fmla="*/ 67 w 133"/>
              <a:gd name="T1" fmla="*/ 72 h 160"/>
              <a:gd name="T2" fmla="*/ 72 w 133"/>
              <a:gd name="T3" fmla="*/ 64 h 160"/>
              <a:gd name="T4" fmla="*/ 75 w 133"/>
              <a:gd name="T5" fmla="*/ 61 h 160"/>
              <a:gd name="T6" fmla="*/ 59 w 133"/>
              <a:gd name="T7" fmla="*/ 67 h 160"/>
              <a:gd name="T8" fmla="*/ 56 w 133"/>
              <a:gd name="T9" fmla="*/ 64 h 160"/>
              <a:gd name="T10" fmla="*/ 53 w 133"/>
              <a:gd name="T11" fmla="*/ 59 h 160"/>
              <a:gd name="T12" fmla="*/ 80 w 133"/>
              <a:gd name="T13" fmla="*/ 59 h 160"/>
              <a:gd name="T14" fmla="*/ 83 w 133"/>
              <a:gd name="T15" fmla="*/ 56 h 160"/>
              <a:gd name="T16" fmla="*/ 91 w 133"/>
              <a:gd name="T17" fmla="*/ 56 h 160"/>
              <a:gd name="T18" fmla="*/ 88 w 133"/>
              <a:gd name="T19" fmla="*/ 53 h 160"/>
              <a:gd name="T20" fmla="*/ 45 w 133"/>
              <a:gd name="T21" fmla="*/ 53 h 160"/>
              <a:gd name="T22" fmla="*/ 64 w 133"/>
              <a:gd name="T23" fmla="*/ 59 h 160"/>
              <a:gd name="T24" fmla="*/ 67 w 133"/>
              <a:gd name="T25" fmla="*/ 56 h 160"/>
              <a:gd name="T26" fmla="*/ 67 w 133"/>
              <a:gd name="T27" fmla="*/ 93 h 160"/>
              <a:gd name="T28" fmla="*/ 64 w 133"/>
              <a:gd name="T29" fmla="*/ 91 h 160"/>
              <a:gd name="T30" fmla="*/ 69 w 133"/>
              <a:gd name="T31" fmla="*/ 99 h 160"/>
              <a:gd name="T32" fmla="*/ 64 w 133"/>
              <a:gd name="T33" fmla="*/ 107 h 160"/>
              <a:gd name="T34" fmla="*/ 67 w 133"/>
              <a:gd name="T35" fmla="*/ 104 h 160"/>
              <a:gd name="T36" fmla="*/ 67 w 133"/>
              <a:gd name="T37" fmla="*/ 117 h 160"/>
              <a:gd name="T38" fmla="*/ 64 w 133"/>
              <a:gd name="T39" fmla="*/ 115 h 160"/>
              <a:gd name="T40" fmla="*/ 69 w 133"/>
              <a:gd name="T41" fmla="*/ 123 h 160"/>
              <a:gd name="T42" fmla="*/ 64 w 133"/>
              <a:gd name="T43" fmla="*/ 131 h 160"/>
              <a:gd name="T44" fmla="*/ 67 w 133"/>
              <a:gd name="T45" fmla="*/ 128 h 160"/>
              <a:gd name="T46" fmla="*/ 131 w 133"/>
              <a:gd name="T47" fmla="*/ 160 h 160"/>
              <a:gd name="T48" fmla="*/ 13 w 133"/>
              <a:gd name="T49" fmla="*/ 160 h 160"/>
              <a:gd name="T50" fmla="*/ 0 w 133"/>
              <a:gd name="T51" fmla="*/ 157 h 160"/>
              <a:gd name="T52" fmla="*/ 11 w 133"/>
              <a:gd name="T53" fmla="*/ 144 h 160"/>
              <a:gd name="T54" fmla="*/ 34 w 133"/>
              <a:gd name="T55" fmla="*/ 99 h 160"/>
              <a:gd name="T56" fmla="*/ 24 w 133"/>
              <a:gd name="T57" fmla="*/ 43 h 160"/>
              <a:gd name="T58" fmla="*/ 11 w 133"/>
              <a:gd name="T59" fmla="*/ 5 h 160"/>
              <a:gd name="T60" fmla="*/ 3 w 133"/>
              <a:gd name="T61" fmla="*/ 0 h 160"/>
              <a:gd name="T62" fmla="*/ 120 w 133"/>
              <a:gd name="T63" fmla="*/ 0 h 160"/>
              <a:gd name="T64" fmla="*/ 133 w 133"/>
              <a:gd name="T65" fmla="*/ 3 h 160"/>
              <a:gd name="T66" fmla="*/ 123 w 133"/>
              <a:gd name="T67" fmla="*/ 16 h 160"/>
              <a:gd name="T68" fmla="*/ 100 w 133"/>
              <a:gd name="T69" fmla="*/ 61 h 160"/>
              <a:gd name="T70" fmla="*/ 109 w 133"/>
              <a:gd name="T71" fmla="*/ 117 h 160"/>
              <a:gd name="T72" fmla="*/ 123 w 133"/>
              <a:gd name="T73" fmla="*/ 155 h 160"/>
              <a:gd name="T74" fmla="*/ 24 w 133"/>
              <a:gd name="T75" fmla="*/ 11 h 160"/>
              <a:gd name="T76" fmla="*/ 117 w 133"/>
              <a:gd name="T77" fmla="*/ 5 h 160"/>
              <a:gd name="T78" fmla="*/ 24 w 133"/>
              <a:gd name="T79" fmla="*/ 11 h 160"/>
              <a:gd name="T80" fmla="*/ 104 w 133"/>
              <a:gd name="T81" fmla="*/ 43 h 160"/>
              <a:gd name="T82" fmla="*/ 29 w 133"/>
              <a:gd name="T83" fmla="*/ 43 h 160"/>
              <a:gd name="T84" fmla="*/ 29 w 133"/>
              <a:gd name="T85" fmla="*/ 144 h 160"/>
              <a:gd name="T86" fmla="*/ 97 w 133"/>
              <a:gd name="T87" fmla="*/ 103 h 160"/>
              <a:gd name="T88" fmla="*/ 29 w 133"/>
              <a:gd name="T89" fmla="*/ 117 h 160"/>
              <a:gd name="T90" fmla="*/ 117 w 133"/>
              <a:gd name="T91" fmla="*/ 155 h 160"/>
              <a:gd name="T92" fmla="*/ 24 w 133"/>
              <a:gd name="T93"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3" h="160">
                <a:moveTo>
                  <a:pt x="67" y="67"/>
                </a:moveTo>
                <a:cubicBezTo>
                  <a:pt x="68" y="67"/>
                  <a:pt x="69" y="68"/>
                  <a:pt x="69" y="69"/>
                </a:cubicBezTo>
                <a:cubicBezTo>
                  <a:pt x="69" y="71"/>
                  <a:pt x="68" y="72"/>
                  <a:pt x="67" y="72"/>
                </a:cubicBezTo>
                <a:cubicBezTo>
                  <a:pt x="65" y="72"/>
                  <a:pt x="64" y="71"/>
                  <a:pt x="64" y="69"/>
                </a:cubicBezTo>
                <a:cubicBezTo>
                  <a:pt x="64" y="68"/>
                  <a:pt x="65" y="67"/>
                  <a:pt x="67" y="67"/>
                </a:cubicBezTo>
                <a:close/>
                <a:moveTo>
                  <a:pt x="72" y="64"/>
                </a:moveTo>
                <a:cubicBezTo>
                  <a:pt x="72" y="65"/>
                  <a:pt x="73" y="67"/>
                  <a:pt x="75" y="67"/>
                </a:cubicBezTo>
                <a:cubicBezTo>
                  <a:pt x="76" y="67"/>
                  <a:pt x="77" y="65"/>
                  <a:pt x="77" y="64"/>
                </a:cubicBezTo>
                <a:cubicBezTo>
                  <a:pt x="77" y="63"/>
                  <a:pt x="76" y="61"/>
                  <a:pt x="75" y="61"/>
                </a:cubicBezTo>
                <a:cubicBezTo>
                  <a:pt x="73" y="61"/>
                  <a:pt x="72" y="63"/>
                  <a:pt x="72" y="64"/>
                </a:cubicBezTo>
                <a:close/>
                <a:moveTo>
                  <a:pt x="56" y="64"/>
                </a:moveTo>
                <a:cubicBezTo>
                  <a:pt x="56" y="65"/>
                  <a:pt x="57" y="67"/>
                  <a:pt x="59" y="67"/>
                </a:cubicBezTo>
                <a:cubicBezTo>
                  <a:pt x="60" y="67"/>
                  <a:pt x="61" y="65"/>
                  <a:pt x="61" y="64"/>
                </a:cubicBezTo>
                <a:cubicBezTo>
                  <a:pt x="61" y="63"/>
                  <a:pt x="60" y="61"/>
                  <a:pt x="59" y="61"/>
                </a:cubicBezTo>
                <a:cubicBezTo>
                  <a:pt x="57" y="61"/>
                  <a:pt x="56" y="63"/>
                  <a:pt x="56" y="64"/>
                </a:cubicBezTo>
                <a:close/>
                <a:moveTo>
                  <a:pt x="48" y="59"/>
                </a:moveTo>
                <a:cubicBezTo>
                  <a:pt x="48" y="60"/>
                  <a:pt x="49" y="61"/>
                  <a:pt x="51" y="61"/>
                </a:cubicBezTo>
                <a:cubicBezTo>
                  <a:pt x="52" y="61"/>
                  <a:pt x="53" y="60"/>
                  <a:pt x="53" y="59"/>
                </a:cubicBezTo>
                <a:cubicBezTo>
                  <a:pt x="53" y="57"/>
                  <a:pt x="52" y="56"/>
                  <a:pt x="51" y="56"/>
                </a:cubicBezTo>
                <a:cubicBezTo>
                  <a:pt x="49" y="56"/>
                  <a:pt x="48" y="57"/>
                  <a:pt x="48" y="59"/>
                </a:cubicBezTo>
                <a:close/>
                <a:moveTo>
                  <a:pt x="80" y="59"/>
                </a:moveTo>
                <a:cubicBezTo>
                  <a:pt x="80" y="60"/>
                  <a:pt x="81" y="61"/>
                  <a:pt x="83" y="61"/>
                </a:cubicBezTo>
                <a:cubicBezTo>
                  <a:pt x="84" y="61"/>
                  <a:pt x="85" y="60"/>
                  <a:pt x="85" y="59"/>
                </a:cubicBezTo>
                <a:cubicBezTo>
                  <a:pt x="85" y="57"/>
                  <a:pt x="84" y="56"/>
                  <a:pt x="83" y="56"/>
                </a:cubicBezTo>
                <a:cubicBezTo>
                  <a:pt x="81" y="56"/>
                  <a:pt x="80" y="57"/>
                  <a:pt x="80" y="59"/>
                </a:cubicBezTo>
                <a:close/>
                <a:moveTo>
                  <a:pt x="88" y="53"/>
                </a:moveTo>
                <a:cubicBezTo>
                  <a:pt x="88" y="55"/>
                  <a:pt x="89" y="56"/>
                  <a:pt x="91" y="56"/>
                </a:cubicBezTo>
                <a:cubicBezTo>
                  <a:pt x="92" y="56"/>
                  <a:pt x="93" y="55"/>
                  <a:pt x="93" y="53"/>
                </a:cubicBezTo>
                <a:cubicBezTo>
                  <a:pt x="93" y="52"/>
                  <a:pt x="92" y="51"/>
                  <a:pt x="91" y="51"/>
                </a:cubicBezTo>
                <a:cubicBezTo>
                  <a:pt x="89" y="51"/>
                  <a:pt x="88" y="52"/>
                  <a:pt x="88" y="53"/>
                </a:cubicBezTo>
                <a:close/>
                <a:moveTo>
                  <a:pt x="40" y="53"/>
                </a:moveTo>
                <a:cubicBezTo>
                  <a:pt x="40" y="55"/>
                  <a:pt x="41" y="56"/>
                  <a:pt x="43" y="56"/>
                </a:cubicBezTo>
                <a:cubicBezTo>
                  <a:pt x="44" y="56"/>
                  <a:pt x="45" y="55"/>
                  <a:pt x="45" y="53"/>
                </a:cubicBezTo>
                <a:cubicBezTo>
                  <a:pt x="45" y="52"/>
                  <a:pt x="44" y="51"/>
                  <a:pt x="43" y="51"/>
                </a:cubicBezTo>
                <a:cubicBezTo>
                  <a:pt x="41" y="51"/>
                  <a:pt x="40" y="52"/>
                  <a:pt x="40" y="53"/>
                </a:cubicBezTo>
                <a:close/>
                <a:moveTo>
                  <a:pt x="64" y="59"/>
                </a:moveTo>
                <a:cubicBezTo>
                  <a:pt x="64" y="60"/>
                  <a:pt x="65" y="61"/>
                  <a:pt x="67" y="61"/>
                </a:cubicBezTo>
                <a:cubicBezTo>
                  <a:pt x="68" y="61"/>
                  <a:pt x="69" y="60"/>
                  <a:pt x="69" y="59"/>
                </a:cubicBezTo>
                <a:cubicBezTo>
                  <a:pt x="69" y="57"/>
                  <a:pt x="68" y="56"/>
                  <a:pt x="67" y="56"/>
                </a:cubicBezTo>
                <a:cubicBezTo>
                  <a:pt x="65" y="56"/>
                  <a:pt x="64" y="57"/>
                  <a:pt x="64" y="59"/>
                </a:cubicBezTo>
                <a:close/>
                <a:moveTo>
                  <a:pt x="64" y="91"/>
                </a:moveTo>
                <a:cubicBezTo>
                  <a:pt x="64" y="92"/>
                  <a:pt x="65" y="93"/>
                  <a:pt x="67" y="93"/>
                </a:cubicBezTo>
                <a:cubicBezTo>
                  <a:pt x="68" y="93"/>
                  <a:pt x="69" y="92"/>
                  <a:pt x="69" y="91"/>
                </a:cubicBezTo>
                <a:cubicBezTo>
                  <a:pt x="69" y="89"/>
                  <a:pt x="68" y="88"/>
                  <a:pt x="67" y="88"/>
                </a:cubicBezTo>
                <a:cubicBezTo>
                  <a:pt x="65" y="88"/>
                  <a:pt x="64" y="89"/>
                  <a:pt x="64" y="91"/>
                </a:cubicBezTo>
                <a:close/>
                <a:moveTo>
                  <a:pt x="64" y="99"/>
                </a:moveTo>
                <a:cubicBezTo>
                  <a:pt x="64" y="100"/>
                  <a:pt x="65" y="101"/>
                  <a:pt x="67" y="101"/>
                </a:cubicBezTo>
                <a:cubicBezTo>
                  <a:pt x="68" y="101"/>
                  <a:pt x="69" y="100"/>
                  <a:pt x="69" y="99"/>
                </a:cubicBezTo>
                <a:cubicBezTo>
                  <a:pt x="69" y="97"/>
                  <a:pt x="68" y="96"/>
                  <a:pt x="67" y="96"/>
                </a:cubicBezTo>
                <a:cubicBezTo>
                  <a:pt x="65" y="96"/>
                  <a:pt x="64" y="97"/>
                  <a:pt x="64" y="99"/>
                </a:cubicBezTo>
                <a:close/>
                <a:moveTo>
                  <a:pt x="64" y="107"/>
                </a:moveTo>
                <a:cubicBezTo>
                  <a:pt x="64" y="108"/>
                  <a:pt x="65" y="109"/>
                  <a:pt x="67" y="109"/>
                </a:cubicBezTo>
                <a:cubicBezTo>
                  <a:pt x="68" y="109"/>
                  <a:pt x="69" y="108"/>
                  <a:pt x="69" y="107"/>
                </a:cubicBezTo>
                <a:cubicBezTo>
                  <a:pt x="69" y="105"/>
                  <a:pt x="68" y="104"/>
                  <a:pt x="67" y="104"/>
                </a:cubicBezTo>
                <a:cubicBezTo>
                  <a:pt x="65" y="104"/>
                  <a:pt x="64" y="105"/>
                  <a:pt x="64" y="107"/>
                </a:cubicBezTo>
                <a:close/>
                <a:moveTo>
                  <a:pt x="64" y="115"/>
                </a:moveTo>
                <a:cubicBezTo>
                  <a:pt x="64" y="116"/>
                  <a:pt x="65" y="117"/>
                  <a:pt x="67" y="117"/>
                </a:cubicBezTo>
                <a:cubicBezTo>
                  <a:pt x="68" y="117"/>
                  <a:pt x="69" y="116"/>
                  <a:pt x="69" y="115"/>
                </a:cubicBezTo>
                <a:cubicBezTo>
                  <a:pt x="69" y="113"/>
                  <a:pt x="68" y="112"/>
                  <a:pt x="67" y="112"/>
                </a:cubicBezTo>
                <a:cubicBezTo>
                  <a:pt x="65" y="112"/>
                  <a:pt x="64" y="113"/>
                  <a:pt x="64" y="115"/>
                </a:cubicBezTo>
                <a:close/>
                <a:moveTo>
                  <a:pt x="64" y="123"/>
                </a:moveTo>
                <a:cubicBezTo>
                  <a:pt x="64" y="124"/>
                  <a:pt x="65" y="125"/>
                  <a:pt x="67" y="125"/>
                </a:cubicBezTo>
                <a:cubicBezTo>
                  <a:pt x="68" y="125"/>
                  <a:pt x="69" y="124"/>
                  <a:pt x="69" y="123"/>
                </a:cubicBezTo>
                <a:cubicBezTo>
                  <a:pt x="69" y="121"/>
                  <a:pt x="68" y="120"/>
                  <a:pt x="67" y="120"/>
                </a:cubicBezTo>
                <a:cubicBezTo>
                  <a:pt x="65" y="120"/>
                  <a:pt x="64" y="121"/>
                  <a:pt x="64" y="123"/>
                </a:cubicBezTo>
                <a:close/>
                <a:moveTo>
                  <a:pt x="64" y="131"/>
                </a:moveTo>
                <a:cubicBezTo>
                  <a:pt x="64" y="132"/>
                  <a:pt x="65" y="133"/>
                  <a:pt x="67" y="133"/>
                </a:cubicBezTo>
                <a:cubicBezTo>
                  <a:pt x="68" y="133"/>
                  <a:pt x="69" y="132"/>
                  <a:pt x="69" y="131"/>
                </a:cubicBezTo>
                <a:cubicBezTo>
                  <a:pt x="69" y="129"/>
                  <a:pt x="68" y="128"/>
                  <a:pt x="67" y="128"/>
                </a:cubicBezTo>
                <a:cubicBezTo>
                  <a:pt x="65" y="128"/>
                  <a:pt x="64" y="129"/>
                  <a:pt x="64" y="131"/>
                </a:cubicBezTo>
                <a:close/>
                <a:moveTo>
                  <a:pt x="133" y="157"/>
                </a:moveTo>
                <a:cubicBezTo>
                  <a:pt x="133" y="159"/>
                  <a:pt x="132" y="160"/>
                  <a:pt x="131" y="160"/>
                </a:cubicBezTo>
                <a:cubicBezTo>
                  <a:pt x="123" y="160"/>
                  <a:pt x="123" y="160"/>
                  <a:pt x="123" y="160"/>
                </a:cubicBezTo>
                <a:cubicBezTo>
                  <a:pt x="120" y="160"/>
                  <a:pt x="120" y="160"/>
                  <a:pt x="120" y="160"/>
                </a:cubicBezTo>
                <a:cubicBezTo>
                  <a:pt x="13" y="160"/>
                  <a:pt x="13" y="160"/>
                  <a:pt x="13" y="160"/>
                </a:cubicBezTo>
                <a:cubicBezTo>
                  <a:pt x="11" y="160"/>
                  <a:pt x="11" y="160"/>
                  <a:pt x="11" y="160"/>
                </a:cubicBezTo>
                <a:cubicBezTo>
                  <a:pt x="3" y="160"/>
                  <a:pt x="3" y="160"/>
                  <a:pt x="3" y="160"/>
                </a:cubicBezTo>
                <a:cubicBezTo>
                  <a:pt x="1" y="160"/>
                  <a:pt x="0" y="159"/>
                  <a:pt x="0" y="157"/>
                </a:cubicBezTo>
                <a:cubicBezTo>
                  <a:pt x="0" y="156"/>
                  <a:pt x="1" y="155"/>
                  <a:pt x="3" y="155"/>
                </a:cubicBezTo>
                <a:cubicBezTo>
                  <a:pt x="11" y="155"/>
                  <a:pt x="11" y="155"/>
                  <a:pt x="11" y="155"/>
                </a:cubicBezTo>
                <a:cubicBezTo>
                  <a:pt x="11" y="144"/>
                  <a:pt x="11" y="144"/>
                  <a:pt x="11" y="144"/>
                </a:cubicBezTo>
                <a:cubicBezTo>
                  <a:pt x="24" y="144"/>
                  <a:pt x="24" y="144"/>
                  <a:pt x="24" y="144"/>
                </a:cubicBezTo>
                <a:cubicBezTo>
                  <a:pt x="24" y="117"/>
                  <a:pt x="24" y="117"/>
                  <a:pt x="24" y="117"/>
                </a:cubicBezTo>
                <a:cubicBezTo>
                  <a:pt x="24" y="110"/>
                  <a:pt x="28" y="103"/>
                  <a:pt x="34" y="99"/>
                </a:cubicBezTo>
                <a:cubicBezTo>
                  <a:pt x="62" y="80"/>
                  <a:pt x="62" y="80"/>
                  <a:pt x="62" y="80"/>
                </a:cubicBezTo>
                <a:cubicBezTo>
                  <a:pt x="34" y="61"/>
                  <a:pt x="34" y="61"/>
                  <a:pt x="34" y="61"/>
                </a:cubicBezTo>
                <a:cubicBezTo>
                  <a:pt x="28" y="57"/>
                  <a:pt x="24" y="50"/>
                  <a:pt x="24" y="43"/>
                </a:cubicBezTo>
                <a:cubicBezTo>
                  <a:pt x="24" y="16"/>
                  <a:pt x="24" y="16"/>
                  <a:pt x="24" y="16"/>
                </a:cubicBezTo>
                <a:cubicBezTo>
                  <a:pt x="11" y="16"/>
                  <a:pt x="11" y="16"/>
                  <a:pt x="11" y="16"/>
                </a:cubicBezTo>
                <a:cubicBezTo>
                  <a:pt x="11" y="5"/>
                  <a:pt x="11" y="5"/>
                  <a:pt x="11" y="5"/>
                </a:cubicBezTo>
                <a:cubicBezTo>
                  <a:pt x="3" y="5"/>
                  <a:pt x="3" y="5"/>
                  <a:pt x="3" y="5"/>
                </a:cubicBezTo>
                <a:cubicBezTo>
                  <a:pt x="1" y="5"/>
                  <a:pt x="0" y="4"/>
                  <a:pt x="0" y="3"/>
                </a:cubicBezTo>
                <a:cubicBezTo>
                  <a:pt x="0" y="1"/>
                  <a:pt x="1" y="0"/>
                  <a:pt x="3" y="0"/>
                </a:cubicBezTo>
                <a:cubicBezTo>
                  <a:pt x="11" y="0"/>
                  <a:pt x="11" y="0"/>
                  <a:pt x="11" y="0"/>
                </a:cubicBezTo>
                <a:cubicBezTo>
                  <a:pt x="13" y="0"/>
                  <a:pt x="13" y="0"/>
                  <a:pt x="13" y="0"/>
                </a:cubicBezTo>
                <a:cubicBezTo>
                  <a:pt x="120" y="0"/>
                  <a:pt x="120" y="0"/>
                  <a:pt x="120" y="0"/>
                </a:cubicBezTo>
                <a:cubicBezTo>
                  <a:pt x="123" y="0"/>
                  <a:pt x="123" y="0"/>
                  <a:pt x="123" y="0"/>
                </a:cubicBezTo>
                <a:cubicBezTo>
                  <a:pt x="131" y="0"/>
                  <a:pt x="131" y="0"/>
                  <a:pt x="131" y="0"/>
                </a:cubicBezTo>
                <a:cubicBezTo>
                  <a:pt x="132" y="0"/>
                  <a:pt x="133" y="1"/>
                  <a:pt x="133" y="3"/>
                </a:cubicBezTo>
                <a:cubicBezTo>
                  <a:pt x="133" y="4"/>
                  <a:pt x="132" y="5"/>
                  <a:pt x="131" y="5"/>
                </a:cubicBezTo>
                <a:cubicBezTo>
                  <a:pt x="123" y="5"/>
                  <a:pt x="123" y="5"/>
                  <a:pt x="123" y="5"/>
                </a:cubicBezTo>
                <a:cubicBezTo>
                  <a:pt x="123" y="16"/>
                  <a:pt x="123" y="16"/>
                  <a:pt x="123" y="16"/>
                </a:cubicBezTo>
                <a:cubicBezTo>
                  <a:pt x="109" y="16"/>
                  <a:pt x="109" y="16"/>
                  <a:pt x="109" y="16"/>
                </a:cubicBezTo>
                <a:cubicBezTo>
                  <a:pt x="109" y="43"/>
                  <a:pt x="109" y="43"/>
                  <a:pt x="109" y="43"/>
                </a:cubicBezTo>
                <a:cubicBezTo>
                  <a:pt x="109" y="50"/>
                  <a:pt x="106" y="57"/>
                  <a:pt x="100" y="61"/>
                </a:cubicBezTo>
                <a:cubicBezTo>
                  <a:pt x="71" y="80"/>
                  <a:pt x="71" y="80"/>
                  <a:pt x="71" y="80"/>
                </a:cubicBezTo>
                <a:cubicBezTo>
                  <a:pt x="100" y="99"/>
                  <a:pt x="100" y="99"/>
                  <a:pt x="100" y="99"/>
                </a:cubicBezTo>
                <a:cubicBezTo>
                  <a:pt x="106" y="103"/>
                  <a:pt x="109" y="110"/>
                  <a:pt x="109" y="117"/>
                </a:cubicBezTo>
                <a:cubicBezTo>
                  <a:pt x="109" y="144"/>
                  <a:pt x="109" y="144"/>
                  <a:pt x="109" y="144"/>
                </a:cubicBezTo>
                <a:cubicBezTo>
                  <a:pt x="123" y="144"/>
                  <a:pt x="123" y="144"/>
                  <a:pt x="123" y="144"/>
                </a:cubicBezTo>
                <a:cubicBezTo>
                  <a:pt x="123" y="155"/>
                  <a:pt x="123" y="155"/>
                  <a:pt x="123" y="155"/>
                </a:cubicBezTo>
                <a:cubicBezTo>
                  <a:pt x="131" y="155"/>
                  <a:pt x="131" y="155"/>
                  <a:pt x="131" y="155"/>
                </a:cubicBezTo>
                <a:cubicBezTo>
                  <a:pt x="132" y="155"/>
                  <a:pt x="133" y="156"/>
                  <a:pt x="133" y="157"/>
                </a:cubicBezTo>
                <a:close/>
                <a:moveTo>
                  <a:pt x="24" y="11"/>
                </a:moveTo>
                <a:cubicBezTo>
                  <a:pt x="109" y="11"/>
                  <a:pt x="109" y="11"/>
                  <a:pt x="109" y="11"/>
                </a:cubicBezTo>
                <a:cubicBezTo>
                  <a:pt x="117" y="11"/>
                  <a:pt x="117" y="11"/>
                  <a:pt x="117" y="11"/>
                </a:cubicBezTo>
                <a:cubicBezTo>
                  <a:pt x="117" y="5"/>
                  <a:pt x="117" y="5"/>
                  <a:pt x="117" y="5"/>
                </a:cubicBezTo>
                <a:cubicBezTo>
                  <a:pt x="16" y="5"/>
                  <a:pt x="16" y="5"/>
                  <a:pt x="16" y="5"/>
                </a:cubicBezTo>
                <a:cubicBezTo>
                  <a:pt x="16" y="11"/>
                  <a:pt x="16" y="11"/>
                  <a:pt x="16" y="11"/>
                </a:cubicBezTo>
                <a:lnTo>
                  <a:pt x="24" y="11"/>
                </a:lnTo>
                <a:close/>
                <a:moveTo>
                  <a:pt x="67" y="77"/>
                </a:moveTo>
                <a:cubicBezTo>
                  <a:pt x="97" y="57"/>
                  <a:pt x="97" y="57"/>
                  <a:pt x="97" y="57"/>
                </a:cubicBezTo>
                <a:cubicBezTo>
                  <a:pt x="101" y="54"/>
                  <a:pt x="104" y="49"/>
                  <a:pt x="104" y="43"/>
                </a:cubicBezTo>
                <a:cubicBezTo>
                  <a:pt x="104" y="16"/>
                  <a:pt x="104" y="16"/>
                  <a:pt x="104" y="16"/>
                </a:cubicBezTo>
                <a:cubicBezTo>
                  <a:pt x="29" y="16"/>
                  <a:pt x="29" y="16"/>
                  <a:pt x="29" y="16"/>
                </a:cubicBezTo>
                <a:cubicBezTo>
                  <a:pt x="29" y="43"/>
                  <a:pt x="29" y="43"/>
                  <a:pt x="29" y="43"/>
                </a:cubicBezTo>
                <a:cubicBezTo>
                  <a:pt x="29" y="49"/>
                  <a:pt x="32" y="54"/>
                  <a:pt x="37" y="57"/>
                </a:cubicBezTo>
                <a:lnTo>
                  <a:pt x="67" y="77"/>
                </a:lnTo>
                <a:close/>
                <a:moveTo>
                  <a:pt x="29" y="144"/>
                </a:moveTo>
                <a:cubicBezTo>
                  <a:pt x="104" y="144"/>
                  <a:pt x="104" y="144"/>
                  <a:pt x="104" y="144"/>
                </a:cubicBezTo>
                <a:cubicBezTo>
                  <a:pt x="104" y="117"/>
                  <a:pt x="104" y="117"/>
                  <a:pt x="104" y="117"/>
                </a:cubicBezTo>
                <a:cubicBezTo>
                  <a:pt x="104" y="111"/>
                  <a:pt x="101" y="106"/>
                  <a:pt x="97" y="103"/>
                </a:cubicBezTo>
                <a:cubicBezTo>
                  <a:pt x="67" y="83"/>
                  <a:pt x="67" y="83"/>
                  <a:pt x="67" y="83"/>
                </a:cubicBezTo>
                <a:cubicBezTo>
                  <a:pt x="37" y="103"/>
                  <a:pt x="37" y="103"/>
                  <a:pt x="37" y="103"/>
                </a:cubicBezTo>
                <a:cubicBezTo>
                  <a:pt x="32" y="106"/>
                  <a:pt x="29" y="111"/>
                  <a:pt x="29" y="117"/>
                </a:cubicBezTo>
                <a:lnTo>
                  <a:pt x="29" y="144"/>
                </a:lnTo>
                <a:close/>
                <a:moveTo>
                  <a:pt x="16" y="155"/>
                </a:moveTo>
                <a:cubicBezTo>
                  <a:pt x="117" y="155"/>
                  <a:pt x="117" y="155"/>
                  <a:pt x="117" y="155"/>
                </a:cubicBezTo>
                <a:cubicBezTo>
                  <a:pt x="117" y="149"/>
                  <a:pt x="117" y="149"/>
                  <a:pt x="117" y="149"/>
                </a:cubicBezTo>
                <a:cubicBezTo>
                  <a:pt x="109" y="149"/>
                  <a:pt x="109" y="149"/>
                  <a:pt x="109" y="149"/>
                </a:cubicBezTo>
                <a:cubicBezTo>
                  <a:pt x="24" y="149"/>
                  <a:pt x="24" y="149"/>
                  <a:pt x="24" y="149"/>
                </a:cubicBezTo>
                <a:cubicBezTo>
                  <a:pt x="16" y="149"/>
                  <a:pt x="16" y="149"/>
                  <a:pt x="16" y="149"/>
                </a:cubicBezTo>
                <a:lnTo>
                  <a:pt x="16" y="1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6" name="Freeform 2156"/>
          <p:cNvSpPr>
            <a:spLocks noEditPoints="1"/>
          </p:cNvSpPr>
          <p:nvPr/>
        </p:nvSpPr>
        <p:spPr bwMode="auto">
          <a:xfrm>
            <a:off x="7384316" y="4586886"/>
            <a:ext cx="546100" cy="368300"/>
          </a:xfrm>
          <a:custGeom>
            <a:avLst/>
            <a:gdLst>
              <a:gd name="T0" fmla="*/ 101 w 160"/>
              <a:gd name="T1" fmla="*/ 14 h 107"/>
              <a:gd name="T2" fmla="*/ 0 w 160"/>
              <a:gd name="T3" fmla="*/ 41 h 107"/>
              <a:gd name="T4" fmla="*/ 19 w 160"/>
              <a:gd name="T5" fmla="*/ 67 h 107"/>
              <a:gd name="T6" fmla="*/ 28 w 160"/>
              <a:gd name="T7" fmla="*/ 83 h 107"/>
              <a:gd name="T8" fmla="*/ 61 w 160"/>
              <a:gd name="T9" fmla="*/ 93 h 107"/>
              <a:gd name="T10" fmla="*/ 101 w 160"/>
              <a:gd name="T11" fmla="*/ 93 h 107"/>
              <a:gd name="T12" fmla="*/ 123 w 160"/>
              <a:gd name="T13" fmla="*/ 96 h 107"/>
              <a:gd name="T14" fmla="*/ 65 w 160"/>
              <a:gd name="T15" fmla="*/ 85 h 107"/>
              <a:gd name="T16" fmla="*/ 27 w 160"/>
              <a:gd name="T17" fmla="*/ 73 h 107"/>
              <a:gd name="T18" fmla="*/ 65 w 160"/>
              <a:gd name="T19" fmla="*/ 85 h 107"/>
              <a:gd name="T20" fmla="*/ 5 w 160"/>
              <a:gd name="T21" fmla="*/ 65 h 107"/>
              <a:gd name="T22" fmla="*/ 13 w 160"/>
              <a:gd name="T23" fmla="*/ 41 h 107"/>
              <a:gd name="T24" fmla="*/ 19 w 160"/>
              <a:gd name="T25" fmla="*/ 61 h 107"/>
              <a:gd name="T26" fmla="*/ 101 w 160"/>
              <a:gd name="T27" fmla="*/ 87 h 107"/>
              <a:gd name="T28" fmla="*/ 112 w 160"/>
              <a:gd name="T29" fmla="*/ 101 h 107"/>
              <a:gd name="T30" fmla="*/ 107 w 160"/>
              <a:gd name="T31" fmla="*/ 12 h 107"/>
              <a:gd name="T32" fmla="*/ 117 w 160"/>
              <a:gd name="T33" fmla="*/ 11 h 107"/>
              <a:gd name="T34" fmla="*/ 147 w 160"/>
              <a:gd name="T35" fmla="*/ 56 h 107"/>
              <a:gd name="T36" fmla="*/ 144 w 160"/>
              <a:gd name="T37" fmla="*/ 51 h 107"/>
              <a:gd name="T38" fmla="*/ 131 w 160"/>
              <a:gd name="T39" fmla="*/ 53 h 107"/>
              <a:gd name="T40" fmla="*/ 139 w 160"/>
              <a:gd name="T41" fmla="*/ 53 h 107"/>
              <a:gd name="T42" fmla="*/ 131 w 160"/>
              <a:gd name="T43" fmla="*/ 53 h 107"/>
              <a:gd name="T44" fmla="*/ 155 w 160"/>
              <a:gd name="T45" fmla="*/ 56 h 107"/>
              <a:gd name="T46" fmla="*/ 157 w 160"/>
              <a:gd name="T47" fmla="*/ 51 h 107"/>
              <a:gd name="T48" fmla="*/ 139 w 160"/>
              <a:gd name="T49" fmla="*/ 13 h 107"/>
              <a:gd name="T50" fmla="*/ 145 w 160"/>
              <a:gd name="T51" fmla="*/ 15 h 107"/>
              <a:gd name="T52" fmla="*/ 139 w 160"/>
              <a:gd name="T53" fmla="*/ 17 h 107"/>
              <a:gd name="T54" fmla="*/ 148 w 160"/>
              <a:gd name="T55" fmla="*/ 3 h 107"/>
              <a:gd name="T56" fmla="*/ 150 w 160"/>
              <a:gd name="T57" fmla="*/ 9 h 107"/>
              <a:gd name="T58" fmla="*/ 131 w 160"/>
              <a:gd name="T59" fmla="*/ 24 h 107"/>
              <a:gd name="T60" fmla="*/ 137 w 160"/>
              <a:gd name="T61" fmla="*/ 19 h 107"/>
              <a:gd name="T62" fmla="*/ 133 w 160"/>
              <a:gd name="T63" fmla="*/ 25 h 107"/>
              <a:gd name="T64" fmla="*/ 137 w 160"/>
              <a:gd name="T65" fmla="*/ 40 h 107"/>
              <a:gd name="T66" fmla="*/ 131 w 160"/>
              <a:gd name="T67" fmla="*/ 39 h 107"/>
              <a:gd name="T68" fmla="*/ 138 w 160"/>
              <a:gd name="T69" fmla="*/ 37 h 107"/>
              <a:gd name="T70" fmla="*/ 145 w 160"/>
              <a:gd name="T71" fmla="*/ 32 h 107"/>
              <a:gd name="T72" fmla="*/ 144 w 160"/>
              <a:gd name="T73" fmla="*/ 37 h 107"/>
              <a:gd name="T74" fmla="*/ 153 w 160"/>
              <a:gd name="T75" fmla="*/ 29 h 107"/>
              <a:gd name="T76" fmla="*/ 157 w 160"/>
              <a:gd name="T77" fmla="*/ 33 h 107"/>
              <a:gd name="T78" fmla="*/ 151 w 160"/>
              <a:gd name="T79" fmla="*/ 32 h 107"/>
              <a:gd name="T80" fmla="*/ 152 w 160"/>
              <a:gd name="T81" fmla="*/ 103 h 107"/>
              <a:gd name="T82" fmla="*/ 147 w 160"/>
              <a:gd name="T83" fmla="*/ 101 h 107"/>
              <a:gd name="T84" fmla="*/ 152 w 160"/>
              <a:gd name="T85" fmla="*/ 99 h 107"/>
              <a:gd name="T86" fmla="*/ 143 w 160"/>
              <a:gd name="T87" fmla="*/ 96 h 107"/>
              <a:gd name="T88" fmla="*/ 139 w 160"/>
              <a:gd name="T89" fmla="*/ 90 h 107"/>
              <a:gd name="T90" fmla="*/ 137 w 160"/>
              <a:gd name="T91" fmla="*/ 84 h 107"/>
              <a:gd name="T92" fmla="*/ 133 w 160"/>
              <a:gd name="T93" fmla="*/ 88 h 107"/>
              <a:gd name="T94" fmla="*/ 135 w 160"/>
              <a:gd name="T95" fmla="*/ 82 h 107"/>
              <a:gd name="T96" fmla="*/ 144 w 160"/>
              <a:gd name="T97" fmla="*/ 69 h 107"/>
              <a:gd name="T98" fmla="*/ 146 w 160"/>
              <a:gd name="T99" fmla="*/ 75 h 107"/>
              <a:gd name="T100" fmla="*/ 141 w 160"/>
              <a:gd name="T101" fmla="*/ 71 h 107"/>
              <a:gd name="T102" fmla="*/ 135 w 160"/>
              <a:gd name="T103" fmla="*/ 72 h 107"/>
              <a:gd name="T104" fmla="*/ 134 w 160"/>
              <a:gd name="T105" fmla="*/ 66 h 107"/>
              <a:gd name="T106" fmla="*/ 159 w 160"/>
              <a:gd name="T107" fmla="*/ 77 h 107"/>
              <a:gd name="T108" fmla="*/ 153 w 160"/>
              <a:gd name="T109" fmla="*/ 78 h 107"/>
              <a:gd name="T110" fmla="*/ 157 w 160"/>
              <a:gd name="T111" fmla="*/ 7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07">
                <a:moveTo>
                  <a:pt x="112" y="0"/>
                </a:moveTo>
                <a:cubicBezTo>
                  <a:pt x="106" y="0"/>
                  <a:pt x="101" y="5"/>
                  <a:pt x="101" y="11"/>
                </a:cubicBezTo>
                <a:cubicBezTo>
                  <a:pt x="101" y="14"/>
                  <a:pt x="101" y="14"/>
                  <a:pt x="101" y="14"/>
                </a:cubicBezTo>
                <a:cubicBezTo>
                  <a:pt x="19" y="40"/>
                  <a:pt x="19" y="40"/>
                  <a:pt x="19" y="40"/>
                </a:cubicBezTo>
                <a:cubicBezTo>
                  <a:pt x="18" y="36"/>
                  <a:pt x="14" y="32"/>
                  <a:pt x="9" y="32"/>
                </a:cubicBezTo>
                <a:cubicBezTo>
                  <a:pt x="4" y="32"/>
                  <a:pt x="0" y="36"/>
                  <a:pt x="0" y="41"/>
                </a:cubicBezTo>
                <a:cubicBezTo>
                  <a:pt x="0" y="65"/>
                  <a:pt x="0" y="65"/>
                  <a:pt x="0" y="65"/>
                </a:cubicBezTo>
                <a:cubicBezTo>
                  <a:pt x="0" y="70"/>
                  <a:pt x="4" y="75"/>
                  <a:pt x="9" y="75"/>
                </a:cubicBezTo>
                <a:cubicBezTo>
                  <a:pt x="14" y="75"/>
                  <a:pt x="18" y="71"/>
                  <a:pt x="19" y="67"/>
                </a:cubicBezTo>
                <a:cubicBezTo>
                  <a:pt x="24" y="68"/>
                  <a:pt x="24" y="68"/>
                  <a:pt x="24" y="68"/>
                </a:cubicBezTo>
                <a:cubicBezTo>
                  <a:pt x="23" y="69"/>
                  <a:pt x="23" y="70"/>
                  <a:pt x="22" y="72"/>
                </a:cubicBezTo>
                <a:cubicBezTo>
                  <a:pt x="21" y="76"/>
                  <a:pt x="23" y="81"/>
                  <a:pt x="28" y="83"/>
                </a:cubicBezTo>
                <a:cubicBezTo>
                  <a:pt x="59" y="93"/>
                  <a:pt x="59" y="93"/>
                  <a:pt x="59" y="93"/>
                </a:cubicBezTo>
                <a:cubicBezTo>
                  <a:pt x="59" y="93"/>
                  <a:pt x="59" y="93"/>
                  <a:pt x="59" y="93"/>
                </a:cubicBezTo>
                <a:cubicBezTo>
                  <a:pt x="60" y="93"/>
                  <a:pt x="60" y="93"/>
                  <a:pt x="61" y="93"/>
                </a:cubicBezTo>
                <a:cubicBezTo>
                  <a:pt x="65" y="93"/>
                  <a:pt x="69" y="91"/>
                  <a:pt x="70" y="87"/>
                </a:cubicBezTo>
                <a:cubicBezTo>
                  <a:pt x="70" y="86"/>
                  <a:pt x="71" y="84"/>
                  <a:pt x="70" y="83"/>
                </a:cubicBezTo>
                <a:cubicBezTo>
                  <a:pt x="101" y="93"/>
                  <a:pt x="101" y="93"/>
                  <a:pt x="101" y="93"/>
                </a:cubicBezTo>
                <a:cubicBezTo>
                  <a:pt x="101" y="96"/>
                  <a:pt x="101" y="96"/>
                  <a:pt x="101" y="96"/>
                </a:cubicBezTo>
                <a:cubicBezTo>
                  <a:pt x="101" y="102"/>
                  <a:pt x="106" y="107"/>
                  <a:pt x="112" y="107"/>
                </a:cubicBezTo>
                <a:cubicBezTo>
                  <a:pt x="118" y="107"/>
                  <a:pt x="123" y="102"/>
                  <a:pt x="123" y="96"/>
                </a:cubicBezTo>
                <a:cubicBezTo>
                  <a:pt x="123" y="11"/>
                  <a:pt x="123" y="11"/>
                  <a:pt x="123" y="11"/>
                </a:cubicBezTo>
                <a:cubicBezTo>
                  <a:pt x="123" y="5"/>
                  <a:pt x="118" y="0"/>
                  <a:pt x="112" y="0"/>
                </a:cubicBezTo>
                <a:close/>
                <a:moveTo>
                  <a:pt x="65" y="85"/>
                </a:moveTo>
                <a:cubicBezTo>
                  <a:pt x="64" y="87"/>
                  <a:pt x="62" y="88"/>
                  <a:pt x="60" y="88"/>
                </a:cubicBezTo>
                <a:cubicBezTo>
                  <a:pt x="30" y="78"/>
                  <a:pt x="30" y="78"/>
                  <a:pt x="30" y="78"/>
                </a:cubicBezTo>
                <a:cubicBezTo>
                  <a:pt x="28" y="77"/>
                  <a:pt x="27" y="75"/>
                  <a:pt x="27" y="73"/>
                </a:cubicBezTo>
                <a:cubicBezTo>
                  <a:pt x="28" y="71"/>
                  <a:pt x="30" y="70"/>
                  <a:pt x="32" y="71"/>
                </a:cubicBezTo>
                <a:cubicBezTo>
                  <a:pt x="63" y="81"/>
                  <a:pt x="63" y="81"/>
                  <a:pt x="63" y="81"/>
                </a:cubicBezTo>
                <a:cubicBezTo>
                  <a:pt x="64" y="81"/>
                  <a:pt x="66" y="83"/>
                  <a:pt x="65" y="85"/>
                </a:cubicBezTo>
                <a:close/>
                <a:moveTo>
                  <a:pt x="13" y="65"/>
                </a:moveTo>
                <a:cubicBezTo>
                  <a:pt x="13" y="68"/>
                  <a:pt x="12" y="69"/>
                  <a:pt x="9" y="69"/>
                </a:cubicBezTo>
                <a:cubicBezTo>
                  <a:pt x="7" y="69"/>
                  <a:pt x="5" y="68"/>
                  <a:pt x="5" y="65"/>
                </a:cubicBezTo>
                <a:cubicBezTo>
                  <a:pt x="5" y="41"/>
                  <a:pt x="5" y="41"/>
                  <a:pt x="5" y="41"/>
                </a:cubicBezTo>
                <a:cubicBezTo>
                  <a:pt x="5" y="39"/>
                  <a:pt x="7" y="37"/>
                  <a:pt x="9" y="37"/>
                </a:cubicBezTo>
                <a:cubicBezTo>
                  <a:pt x="12" y="37"/>
                  <a:pt x="13" y="39"/>
                  <a:pt x="13" y="41"/>
                </a:cubicBezTo>
                <a:cubicBezTo>
                  <a:pt x="13" y="42"/>
                  <a:pt x="13" y="42"/>
                  <a:pt x="13" y="42"/>
                </a:cubicBezTo>
                <a:cubicBezTo>
                  <a:pt x="13" y="65"/>
                  <a:pt x="13" y="65"/>
                  <a:pt x="13" y="65"/>
                </a:cubicBezTo>
                <a:close/>
                <a:moveTo>
                  <a:pt x="19" y="61"/>
                </a:moveTo>
                <a:cubicBezTo>
                  <a:pt x="19" y="46"/>
                  <a:pt x="19" y="46"/>
                  <a:pt x="19" y="46"/>
                </a:cubicBezTo>
                <a:cubicBezTo>
                  <a:pt x="101" y="20"/>
                  <a:pt x="101" y="20"/>
                  <a:pt x="101" y="20"/>
                </a:cubicBezTo>
                <a:cubicBezTo>
                  <a:pt x="101" y="87"/>
                  <a:pt x="101" y="87"/>
                  <a:pt x="101" y="87"/>
                </a:cubicBezTo>
                <a:lnTo>
                  <a:pt x="19" y="61"/>
                </a:lnTo>
                <a:close/>
                <a:moveTo>
                  <a:pt x="117" y="96"/>
                </a:moveTo>
                <a:cubicBezTo>
                  <a:pt x="117" y="99"/>
                  <a:pt x="115" y="101"/>
                  <a:pt x="112" y="101"/>
                </a:cubicBezTo>
                <a:cubicBezTo>
                  <a:pt x="109" y="101"/>
                  <a:pt x="107" y="99"/>
                  <a:pt x="107" y="96"/>
                </a:cubicBezTo>
                <a:cubicBezTo>
                  <a:pt x="107" y="94"/>
                  <a:pt x="107" y="94"/>
                  <a:pt x="107" y="94"/>
                </a:cubicBezTo>
                <a:cubicBezTo>
                  <a:pt x="107" y="12"/>
                  <a:pt x="107" y="12"/>
                  <a:pt x="107" y="12"/>
                </a:cubicBezTo>
                <a:cubicBezTo>
                  <a:pt x="107" y="11"/>
                  <a:pt x="107" y="11"/>
                  <a:pt x="107" y="11"/>
                </a:cubicBezTo>
                <a:cubicBezTo>
                  <a:pt x="107" y="8"/>
                  <a:pt x="109" y="5"/>
                  <a:pt x="112" y="5"/>
                </a:cubicBezTo>
                <a:cubicBezTo>
                  <a:pt x="115" y="5"/>
                  <a:pt x="117" y="8"/>
                  <a:pt x="117" y="11"/>
                </a:cubicBezTo>
                <a:lnTo>
                  <a:pt x="117" y="96"/>
                </a:lnTo>
                <a:close/>
                <a:moveTo>
                  <a:pt x="149" y="53"/>
                </a:moveTo>
                <a:cubicBezTo>
                  <a:pt x="149" y="55"/>
                  <a:pt x="148" y="56"/>
                  <a:pt x="147" y="56"/>
                </a:cubicBezTo>
                <a:cubicBezTo>
                  <a:pt x="144" y="56"/>
                  <a:pt x="144" y="56"/>
                  <a:pt x="144" y="56"/>
                </a:cubicBezTo>
                <a:cubicBezTo>
                  <a:pt x="143" y="56"/>
                  <a:pt x="141" y="55"/>
                  <a:pt x="141" y="53"/>
                </a:cubicBezTo>
                <a:cubicBezTo>
                  <a:pt x="141" y="52"/>
                  <a:pt x="143" y="51"/>
                  <a:pt x="144" y="51"/>
                </a:cubicBezTo>
                <a:cubicBezTo>
                  <a:pt x="147" y="51"/>
                  <a:pt x="147" y="51"/>
                  <a:pt x="147" y="51"/>
                </a:cubicBezTo>
                <a:cubicBezTo>
                  <a:pt x="148" y="51"/>
                  <a:pt x="149" y="52"/>
                  <a:pt x="149" y="53"/>
                </a:cubicBezTo>
                <a:close/>
                <a:moveTo>
                  <a:pt x="131" y="53"/>
                </a:moveTo>
                <a:cubicBezTo>
                  <a:pt x="131" y="52"/>
                  <a:pt x="132" y="51"/>
                  <a:pt x="133" y="51"/>
                </a:cubicBezTo>
                <a:cubicBezTo>
                  <a:pt x="136" y="51"/>
                  <a:pt x="136" y="51"/>
                  <a:pt x="136" y="51"/>
                </a:cubicBezTo>
                <a:cubicBezTo>
                  <a:pt x="137" y="51"/>
                  <a:pt x="139" y="52"/>
                  <a:pt x="139" y="53"/>
                </a:cubicBezTo>
                <a:cubicBezTo>
                  <a:pt x="139" y="55"/>
                  <a:pt x="137" y="56"/>
                  <a:pt x="136" y="56"/>
                </a:cubicBezTo>
                <a:cubicBezTo>
                  <a:pt x="133" y="56"/>
                  <a:pt x="133" y="56"/>
                  <a:pt x="133" y="56"/>
                </a:cubicBezTo>
                <a:cubicBezTo>
                  <a:pt x="132" y="56"/>
                  <a:pt x="131" y="55"/>
                  <a:pt x="131" y="53"/>
                </a:cubicBezTo>
                <a:close/>
                <a:moveTo>
                  <a:pt x="160" y="53"/>
                </a:moveTo>
                <a:cubicBezTo>
                  <a:pt x="160" y="55"/>
                  <a:pt x="159" y="56"/>
                  <a:pt x="157" y="56"/>
                </a:cubicBezTo>
                <a:cubicBezTo>
                  <a:pt x="155" y="56"/>
                  <a:pt x="155" y="56"/>
                  <a:pt x="155" y="56"/>
                </a:cubicBezTo>
                <a:cubicBezTo>
                  <a:pt x="153" y="56"/>
                  <a:pt x="152" y="55"/>
                  <a:pt x="152" y="53"/>
                </a:cubicBezTo>
                <a:cubicBezTo>
                  <a:pt x="152" y="52"/>
                  <a:pt x="153" y="51"/>
                  <a:pt x="155" y="51"/>
                </a:cubicBezTo>
                <a:cubicBezTo>
                  <a:pt x="157" y="51"/>
                  <a:pt x="157" y="51"/>
                  <a:pt x="157" y="51"/>
                </a:cubicBezTo>
                <a:cubicBezTo>
                  <a:pt x="159" y="51"/>
                  <a:pt x="160" y="52"/>
                  <a:pt x="160" y="53"/>
                </a:cubicBezTo>
                <a:close/>
                <a:moveTo>
                  <a:pt x="139" y="17"/>
                </a:moveTo>
                <a:cubicBezTo>
                  <a:pt x="138" y="16"/>
                  <a:pt x="138" y="14"/>
                  <a:pt x="139" y="13"/>
                </a:cubicBezTo>
                <a:cubicBezTo>
                  <a:pt x="141" y="11"/>
                  <a:pt x="141" y="11"/>
                  <a:pt x="141" y="11"/>
                </a:cubicBezTo>
                <a:cubicBezTo>
                  <a:pt x="142" y="10"/>
                  <a:pt x="144" y="10"/>
                  <a:pt x="145" y="11"/>
                </a:cubicBezTo>
                <a:cubicBezTo>
                  <a:pt x="146" y="12"/>
                  <a:pt x="146" y="14"/>
                  <a:pt x="145" y="15"/>
                </a:cubicBezTo>
                <a:cubicBezTo>
                  <a:pt x="143" y="17"/>
                  <a:pt x="143" y="17"/>
                  <a:pt x="143" y="17"/>
                </a:cubicBezTo>
                <a:cubicBezTo>
                  <a:pt x="142" y="17"/>
                  <a:pt x="142" y="17"/>
                  <a:pt x="141" y="17"/>
                </a:cubicBezTo>
                <a:cubicBezTo>
                  <a:pt x="140" y="17"/>
                  <a:pt x="140" y="17"/>
                  <a:pt x="139" y="17"/>
                </a:cubicBezTo>
                <a:close/>
                <a:moveTo>
                  <a:pt x="147" y="9"/>
                </a:moveTo>
                <a:cubicBezTo>
                  <a:pt x="145" y="8"/>
                  <a:pt x="145" y="6"/>
                  <a:pt x="147" y="5"/>
                </a:cubicBezTo>
                <a:cubicBezTo>
                  <a:pt x="148" y="3"/>
                  <a:pt x="148" y="3"/>
                  <a:pt x="148" y="3"/>
                </a:cubicBezTo>
                <a:cubicBezTo>
                  <a:pt x="149" y="2"/>
                  <a:pt x="151" y="2"/>
                  <a:pt x="152" y="3"/>
                </a:cubicBezTo>
                <a:cubicBezTo>
                  <a:pt x="153" y="4"/>
                  <a:pt x="153" y="6"/>
                  <a:pt x="152" y="7"/>
                </a:cubicBezTo>
                <a:cubicBezTo>
                  <a:pt x="150" y="9"/>
                  <a:pt x="150" y="9"/>
                  <a:pt x="150" y="9"/>
                </a:cubicBezTo>
                <a:cubicBezTo>
                  <a:pt x="150" y="10"/>
                  <a:pt x="149" y="10"/>
                  <a:pt x="148" y="10"/>
                </a:cubicBezTo>
                <a:cubicBezTo>
                  <a:pt x="148" y="10"/>
                  <a:pt x="147" y="10"/>
                  <a:pt x="147" y="9"/>
                </a:cubicBezTo>
                <a:close/>
                <a:moveTo>
                  <a:pt x="131" y="24"/>
                </a:moveTo>
                <a:cubicBezTo>
                  <a:pt x="130" y="23"/>
                  <a:pt x="130" y="21"/>
                  <a:pt x="131" y="20"/>
                </a:cubicBezTo>
                <a:cubicBezTo>
                  <a:pt x="133" y="19"/>
                  <a:pt x="133" y="19"/>
                  <a:pt x="133" y="19"/>
                </a:cubicBezTo>
                <a:cubicBezTo>
                  <a:pt x="134" y="17"/>
                  <a:pt x="136" y="17"/>
                  <a:pt x="137" y="19"/>
                </a:cubicBezTo>
                <a:cubicBezTo>
                  <a:pt x="138" y="20"/>
                  <a:pt x="138" y="21"/>
                  <a:pt x="137" y="22"/>
                </a:cubicBezTo>
                <a:cubicBezTo>
                  <a:pt x="135" y="24"/>
                  <a:pt x="135" y="24"/>
                  <a:pt x="135" y="24"/>
                </a:cubicBezTo>
                <a:cubicBezTo>
                  <a:pt x="135" y="25"/>
                  <a:pt x="134" y="25"/>
                  <a:pt x="133" y="25"/>
                </a:cubicBezTo>
                <a:cubicBezTo>
                  <a:pt x="133" y="25"/>
                  <a:pt x="132" y="25"/>
                  <a:pt x="131" y="24"/>
                </a:cubicBezTo>
                <a:close/>
                <a:moveTo>
                  <a:pt x="138" y="37"/>
                </a:moveTo>
                <a:cubicBezTo>
                  <a:pt x="139" y="38"/>
                  <a:pt x="138" y="40"/>
                  <a:pt x="137" y="40"/>
                </a:cubicBezTo>
                <a:cubicBezTo>
                  <a:pt x="134" y="41"/>
                  <a:pt x="134" y="41"/>
                  <a:pt x="134" y="41"/>
                </a:cubicBezTo>
                <a:cubicBezTo>
                  <a:pt x="134" y="41"/>
                  <a:pt x="134" y="41"/>
                  <a:pt x="133" y="41"/>
                </a:cubicBezTo>
                <a:cubicBezTo>
                  <a:pt x="132" y="41"/>
                  <a:pt x="131" y="40"/>
                  <a:pt x="131" y="39"/>
                </a:cubicBezTo>
                <a:cubicBezTo>
                  <a:pt x="130" y="38"/>
                  <a:pt x="131" y="36"/>
                  <a:pt x="132" y="36"/>
                </a:cubicBezTo>
                <a:cubicBezTo>
                  <a:pt x="135" y="35"/>
                  <a:pt x="135" y="35"/>
                  <a:pt x="135" y="35"/>
                </a:cubicBezTo>
                <a:cubicBezTo>
                  <a:pt x="136" y="34"/>
                  <a:pt x="138" y="35"/>
                  <a:pt x="138" y="37"/>
                </a:cubicBezTo>
                <a:close/>
                <a:moveTo>
                  <a:pt x="141" y="36"/>
                </a:moveTo>
                <a:cubicBezTo>
                  <a:pt x="140" y="34"/>
                  <a:pt x="141" y="33"/>
                  <a:pt x="143" y="32"/>
                </a:cubicBezTo>
                <a:cubicBezTo>
                  <a:pt x="145" y="32"/>
                  <a:pt x="145" y="32"/>
                  <a:pt x="145" y="32"/>
                </a:cubicBezTo>
                <a:cubicBezTo>
                  <a:pt x="147" y="31"/>
                  <a:pt x="148" y="32"/>
                  <a:pt x="149" y="33"/>
                </a:cubicBezTo>
                <a:cubicBezTo>
                  <a:pt x="149" y="35"/>
                  <a:pt x="148" y="36"/>
                  <a:pt x="147" y="37"/>
                </a:cubicBezTo>
                <a:cubicBezTo>
                  <a:pt x="144" y="37"/>
                  <a:pt x="144" y="37"/>
                  <a:pt x="144" y="37"/>
                </a:cubicBezTo>
                <a:cubicBezTo>
                  <a:pt x="144" y="38"/>
                  <a:pt x="144" y="38"/>
                  <a:pt x="143" y="38"/>
                </a:cubicBezTo>
                <a:cubicBezTo>
                  <a:pt x="142" y="38"/>
                  <a:pt x="141" y="37"/>
                  <a:pt x="141" y="36"/>
                </a:cubicBezTo>
                <a:close/>
                <a:moveTo>
                  <a:pt x="153" y="29"/>
                </a:moveTo>
                <a:cubicBezTo>
                  <a:pt x="155" y="28"/>
                  <a:pt x="155" y="28"/>
                  <a:pt x="155" y="28"/>
                </a:cubicBezTo>
                <a:cubicBezTo>
                  <a:pt x="157" y="28"/>
                  <a:pt x="158" y="28"/>
                  <a:pt x="159" y="30"/>
                </a:cubicBezTo>
                <a:cubicBezTo>
                  <a:pt x="159" y="31"/>
                  <a:pt x="158" y="33"/>
                  <a:pt x="157" y="33"/>
                </a:cubicBezTo>
                <a:cubicBezTo>
                  <a:pt x="154" y="34"/>
                  <a:pt x="154" y="34"/>
                  <a:pt x="154" y="34"/>
                </a:cubicBezTo>
                <a:cubicBezTo>
                  <a:pt x="154" y="34"/>
                  <a:pt x="154" y="34"/>
                  <a:pt x="154" y="34"/>
                </a:cubicBezTo>
                <a:cubicBezTo>
                  <a:pt x="152" y="34"/>
                  <a:pt x="151" y="34"/>
                  <a:pt x="151" y="32"/>
                </a:cubicBezTo>
                <a:cubicBezTo>
                  <a:pt x="151" y="31"/>
                  <a:pt x="151" y="29"/>
                  <a:pt x="153" y="29"/>
                </a:cubicBezTo>
                <a:close/>
                <a:moveTo>
                  <a:pt x="152" y="99"/>
                </a:moveTo>
                <a:cubicBezTo>
                  <a:pt x="153" y="100"/>
                  <a:pt x="153" y="102"/>
                  <a:pt x="152" y="103"/>
                </a:cubicBezTo>
                <a:cubicBezTo>
                  <a:pt x="152" y="104"/>
                  <a:pt x="151" y="104"/>
                  <a:pt x="150" y="104"/>
                </a:cubicBezTo>
                <a:cubicBezTo>
                  <a:pt x="150" y="104"/>
                  <a:pt x="149" y="104"/>
                  <a:pt x="148" y="103"/>
                </a:cubicBezTo>
                <a:cubicBezTo>
                  <a:pt x="147" y="101"/>
                  <a:pt x="147" y="101"/>
                  <a:pt x="147" y="101"/>
                </a:cubicBezTo>
                <a:cubicBezTo>
                  <a:pt x="145" y="100"/>
                  <a:pt x="145" y="99"/>
                  <a:pt x="147" y="98"/>
                </a:cubicBezTo>
                <a:cubicBezTo>
                  <a:pt x="148" y="97"/>
                  <a:pt x="149" y="97"/>
                  <a:pt x="150" y="98"/>
                </a:cubicBezTo>
                <a:lnTo>
                  <a:pt x="152" y="99"/>
                </a:lnTo>
                <a:close/>
                <a:moveTo>
                  <a:pt x="145" y="92"/>
                </a:moveTo>
                <a:cubicBezTo>
                  <a:pt x="146" y="93"/>
                  <a:pt x="146" y="95"/>
                  <a:pt x="145" y="96"/>
                </a:cubicBezTo>
                <a:cubicBezTo>
                  <a:pt x="144" y="96"/>
                  <a:pt x="143" y="96"/>
                  <a:pt x="143" y="96"/>
                </a:cubicBezTo>
                <a:cubicBezTo>
                  <a:pt x="142" y="96"/>
                  <a:pt x="141" y="96"/>
                  <a:pt x="141" y="96"/>
                </a:cubicBezTo>
                <a:cubicBezTo>
                  <a:pt x="139" y="94"/>
                  <a:pt x="139" y="94"/>
                  <a:pt x="139" y="94"/>
                </a:cubicBezTo>
                <a:cubicBezTo>
                  <a:pt x="138" y="93"/>
                  <a:pt x="138" y="91"/>
                  <a:pt x="139" y="90"/>
                </a:cubicBezTo>
                <a:cubicBezTo>
                  <a:pt x="140" y="89"/>
                  <a:pt x="142" y="89"/>
                  <a:pt x="143" y="90"/>
                </a:cubicBezTo>
                <a:lnTo>
                  <a:pt x="145" y="92"/>
                </a:lnTo>
                <a:close/>
                <a:moveTo>
                  <a:pt x="137" y="84"/>
                </a:moveTo>
                <a:cubicBezTo>
                  <a:pt x="138" y="85"/>
                  <a:pt x="138" y="87"/>
                  <a:pt x="137" y="88"/>
                </a:cubicBezTo>
                <a:cubicBezTo>
                  <a:pt x="137" y="89"/>
                  <a:pt x="136" y="89"/>
                  <a:pt x="135" y="89"/>
                </a:cubicBezTo>
                <a:cubicBezTo>
                  <a:pt x="135" y="89"/>
                  <a:pt x="134" y="89"/>
                  <a:pt x="133" y="88"/>
                </a:cubicBezTo>
                <a:cubicBezTo>
                  <a:pt x="131" y="86"/>
                  <a:pt x="131" y="86"/>
                  <a:pt x="131" y="86"/>
                </a:cubicBezTo>
                <a:cubicBezTo>
                  <a:pt x="130" y="85"/>
                  <a:pt x="130" y="84"/>
                  <a:pt x="131" y="82"/>
                </a:cubicBezTo>
                <a:cubicBezTo>
                  <a:pt x="132" y="81"/>
                  <a:pt x="134" y="81"/>
                  <a:pt x="135" y="82"/>
                </a:cubicBezTo>
                <a:lnTo>
                  <a:pt x="137" y="84"/>
                </a:lnTo>
                <a:close/>
                <a:moveTo>
                  <a:pt x="141" y="71"/>
                </a:moveTo>
                <a:cubicBezTo>
                  <a:pt x="141" y="69"/>
                  <a:pt x="143" y="69"/>
                  <a:pt x="144" y="69"/>
                </a:cubicBezTo>
                <a:cubicBezTo>
                  <a:pt x="147" y="70"/>
                  <a:pt x="147" y="70"/>
                  <a:pt x="147" y="70"/>
                </a:cubicBezTo>
                <a:cubicBezTo>
                  <a:pt x="148" y="71"/>
                  <a:pt x="149" y="72"/>
                  <a:pt x="149" y="73"/>
                </a:cubicBezTo>
                <a:cubicBezTo>
                  <a:pt x="148" y="75"/>
                  <a:pt x="147" y="75"/>
                  <a:pt x="146" y="75"/>
                </a:cubicBezTo>
                <a:cubicBezTo>
                  <a:pt x="146" y="75"/>
                  <a:pt x="145" y="75"/>
                  <a:pt x="145" y="75"/>
                </a:cubicBezTo>
                <a:cubicBezTo>
                  <a:pt x="143" y="74"/>
                  <a:pt x="143" y="74"/>
                  <a:pt x="143" y="74"/>
                </a:cubicBezTo>
                <a:cubicBezTo>
                  <a:pt x="141" y="74"/>
                  <a:pt x="140" y="72"/>
                  <a:pt x="141" y="71"/>
                </a:cubicBezTo>
                <a:close/>
                <a:moveTo>
                  <a:pt x="138" y="70"/>
                </a:moveTo>
                <a:cubicBezTo>
                  <a:pt x="138" y="71"/>
                  <a:pt x="137" y="72"/>
                  <a:pt x="136" y="72"/>
                </a:cubicBezTo>
                <a:cubicBezTo>
                  <a:pt x="136" y="72"/>
                  <a:pt x="135" y="72"/>
                  <a:pt x="135" y="72"/>
                </a:cubicBezTo>
                <a:cubicBezTo>
                  <a:pt x="132" y="71"/>
                  <a:pt x="132" y="71"/>
                  <a:pt x="132" y="71"/>
                </a:cubicBezTo>
                <a:cubicBezTo>
                  <a:pt x="131" y="70"/>
                  <a:pt x="130" y="69"/>
                  <a:pt x="131" y="68"/>
                </a:cubicBezTo>
                <a:cubicBezTo>
                  <a:pt x="131" y="66"/>
                  <a:pt x="133" y="65"/>
                  <a:pt x="134" y="66"/>
                </a:cubicBezTo>
                <a:cubicBezTo>
                  <a:pt x="137" y="67"/>
                  <a:pt x="137" y="67"/>
                  <a:pt x="137" y="67"/>
                </a:cubicBezTo>
                <a:cubicBezTo>
                  <a:pt x="138" y="67"/>
                  <a:pt x="139" y="69"/>
                  <a:pt x="138" y="70"/>
                </a:cubicBezTo>
                <a:close/>
                <a:moveTo>
                  <a:pt x="159" y="77"/>
                </a:moveTo>
                <a:cubicBezTo>
                  <a:pt x="158" y="78"/>
                  <a:pt x="157" y="79"/>
                  <a:pt x="156" y="79"/>
                </a:cubicBezTo>
                <a:cubicBezTo>
                  <a:pt x="156" y="79"/>
                  <a:pt x="156" y="79"/>
                  <a:pt x="155" y="78"/>
                </a:cubicBezTo>
                <a:cubicBezTo>
                  <a:pt x="153" y="78"/>
                  <a:pt x="153" y="78"/>
                  <a:pt x="153" y="78"/>
                </a:cubicBezTo>
                <a:cubicBezTo>
                  <a:pt x="151" y="77"/>
                  <a:pt x="151" y="76"/>
                  <a:pt x="151" y="74"/>
                </a:cubicBezTo>
                <a:cubicBezTo>
                  <a:pt x="152" y="73"/>
                  <a:pt x="153" y="72"/>
                  <a:pt x="154" y="73"/>
                </a:cubicBezTo>
                <a:cubicBezTo>
                  <a:pt x="157" y="73"/>
                  <a:pt x="157" y="73"/>
                  <a:pt x="157" y="73"/>
                </a:cubicBezTo>
                <a:cubicBezTo>
                  <a:pt x="158" y="74"/>
                  <a:pt x="159" y="75"/>
                  <a:pt x="159" y="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7" name="Freeform 1337"/>
          <p:cNvSpPr>
            <a:spLocks noEditPoints="1"/>
          </p:cNvSpPr>
          <p:nvPr/>
        </p:nvSpPr>
        <p:spPr bwMode="auto">
          <a:xfrm>
            <a:off x="7409139" y="2112872"/>
            <a:ext cx="496455" cy="500785"/>
          </a:xfrm>
          <a:custGeom>
            <a:avLst/>
            <a:gdLst>
              <a:gd name="T0" fmla="*/ 160 w 160"/>
              <a:gd name="T1" fmla="*/ 64 h 160"/>
              <a:gd name="T2" fmla="*/ 158 w 160"/>
              <a:gd name="T3" fmla="*/ 62 h 160"/>
              <a:gd name="T4" fmla="*/ 103 w 160"/>
              <a:gd name="T5" fmla="*/ 63 h 160"/>
              <a:gd name="T6" fmla="*/ 58 w 160"/>
              <a:gd name="T7" fmla="*/ 25 h 160"/>
              <a:gd name="T8" fmla="*/ 51 w 160"/>
              <a:gd name="T9" fmla="*/ 1 h 160"/>
              <a:gd name="T10" fmla="*/ 49 w 160"/>
              <a:gd name="T11" fmla="*/ 0 h 160"/>
              <a:gd name="T12" fmla="*/ 47 w 160"/>
              <a:gd name="T13" fmla="*/ 1 h 160"/>
              <a:gd name="T14" fmla="*/ 1 w 160"/>
              <a:gd name="T15" fmla="*/ 47 h 160"/>
              <a:gd name="T16" fmla="*/ 0 w 160"/>
              <a:gd name="T17" fmla="*/ 49 h 160"/>
              <a:gd name="T18" fmla="*/ 1 w 160"/>
              <a:gd name="T19" fmla="*/ 51 h 160"/>
              <a:gd name="T20" fmla="*/ 24 w 160"/>
              <a:gd name="T21" fmla="*/ 58 h 160"/>
              <a:gd name="T22" fmla="*/ 63 w 160"/>
              <a:gd name="T23" fmla="*/ 103 h 160"/>
              <a:gd name="T24" fmla="*/ 62 w 160"/>
              <a:gd name="T25" fmla="*/ 158 h 160"/>
              <a:gd name="T26" fmla="*/ 64 w 160"/>
              <a:gd name="T27" fmla="*/ 160 h 160"/>
              <a:gd name="T28" fmla="*/ 65 w 160"/>
              <a:gd name="T29" fmla="*/ 160 h 160"/>
              <a:gd name="T30" fmla="*/ 67 w 160"/>
              <a:gd name="T31" fmla="*/ 159 h 160"/>
              <a:gd name="T32" fmla="*/ 111 w 160"/>
              <a:gd name="T33" fmla="*/ 115 h 160"/>
              <a:gd name="T34" fmla="*/ 152 w 160"/>
              <a:gd name="T35" fmla="*/ 156 h 160"/>
              <a:gd name="T36" fmla="*/ 154 w 160"/>
              <a:gd name="T37" fmla="*/ 157 h 160"/>
              <a:gd name="T38" fmla="*/ 156 w 160"/>
              <a:gd name="T39" fmla="*/ 156 h 160"/>
              <a:gd name="T40" fmla="*/ 156 w 160"/>
              <a:gd name="T41" fmla="*/ 152 h 160"/>
              <a:gd name="T42" fmla="*/ 115 w 160"/>
              <a:gd name="T43" fmla="*/ 111 h 160"/>
              <a:gd name="T44" fmla="*/ 159 w 160"/>
              <a:gd name="T45" fmla="*/ 67 h 160"/>
              <a:gd name="T46" fmla="*/ 160 w 160"/>
              <a:gd name="T47" fmla="*/ 64 h 160"/>
              <a:gd name="T48" fmla="*/ 107 w 160"/>
              <a:gd name="T49" fmla="*/ 111 h 160"/>
              <a:gd name="T50" fmla="*/ 66 w 160"/>
              <a:gd name="T51" fmla="*/ 151 h 160"/>
              <a:gd name="T52" fmla="*/ 69 w 160"/>
              <a:gd name="T53" fmla="*/ 103 h 160"/>
              <a:gd name="T54" fmla="*/ 69 w 160"/>
              <a:gd name="T55" fmla="*/ 100 h 160"/>
              <a:gd name="T56" fmla="*/ 28 w 160"/>
              <a:gd name="T57" fmla="*/ 52 h 160"/>
              <a:gd name="T58" fmla="*/ 26 w 160"/>
              <a:gd name="T59" fmla="*/ 51 h 160"/>
              <a:gd name="T60" fmla="*/ 25 w 160"/>
              <a:gd name="T61" fmla="*/ 51 h 160"/>
              <a:gd name="T62" fmla="*/ 8 w 160"/>
              <a:gd name="T63" fmla="*/ 49 h 160"/>
              <a:gd name="T64" fmla="*/ 49 w 160"/>
              <a:gd name="T65" fmla="*/ 8 h 160"/>
              <a:gd name="T66" fmla="*/ 51 w 160"/>
              <a:gd name="T67" fmla="*/ 25 h 160"/>
              <a:gd name="T68" fmla="*/ 52 w 160"/>
              <a:gd name="T69" fmla="*/ 28 h 160"/>
              <a:gd name="T70" fmla="*/ 100 w 160"/>
              <a:gd name="T71" fmla="*/ 69 h 160"/>
              <a:gd name="T72" fmla="*/ 103 w 160"/>
              <a:gd name="T73" fmla="*/ 69 h 160"/>
              <a:gd name="T74" fmla="*/ 151 w 160"/>
              <a:gd name="T75" fmla="*/ 66 h 160"/>
              <a:gd name="T76" fmla="*/ 107 w 160"/>
              <a:gd name="T77" fmla="*/ 11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60">
                <a:moveTo>
                  <a:pt x="160" y="64"/>
                </a:moveTo>
                <a:cubicBezTo>
                  <a:pt x="160" y="63"/>
                  <a:pt x="159" y="62"/>
                  <a:pt x="158" y="62"/>
                </a:cubicBezTo>
                <a:cubicBezTo>
                  <a:pt x="132" y="52"/>
                  <a:pt x="109" y="60"/>
                  <a:pt x="103" y="63"/>
                </a:cubicBezTo>
                <a:cubicBezTo>
                  <a:pt x="58" y="25"/>
                  <a:pt x="58" y="25"/>
                  <a:pt x="58" y="25"/>
                </a:cubicBezTo>
                <a:cubicBezTo>
                  <a:pt x="59" y="11"/>
                  <a:pt x="52" y="2"/>
                  <a:pt x="51" y="1"/>
                </a:cubicBezTo>
                <a:cubicBezTo>
                  <a:pt x="51" y="0"/>
                  <a:pt x="50" y="0"/>
                  <a:pt x="49" y="0"/>
                </a:cubicBezTo>
                <a:cubicBezTo>
                  <a:pt x="48" y="0"/>
                  <a:pt x="48" y="0"/>
                  <a:pt x="47" y="1"/>
                </a:cubicBezTo>
                <a:cubicBezTo>
                  <a:pt x="1" y="47"/>
                  <a:pt x="1" y="47"/>
                  <a:pt x="1" y="47"/>
                </a:cubicBezTo>
                <a:cubicBezTo>
                  <a:pt x="0" y="48"/>
                  <a:pt x="0" y="48"/>
                  <a:pt x="0" y="49"/>
                </a:cubicBezTo>
                <a:cubicBezTo>
                  <a:pt x="0" y="50"/>
                  <a:pt x="0" y="51"/>
                  <a:pt x="1" y="51"/>
                </a:cubicBezTo>
                <a:cubicBezTo>
                  <a:pt x="10" y="58"/>
                  <a:pt x="20" y="58"/>
                  <a:pt x="24" y="58"/>
                </a:cubicBezTo>
                <a:cubicBezTo>
                  <a:pt x="63" y="103"/>
                  <a:pt x="63" y="103"/>
                  <a:pt x="63" y="103"/>
                </a:cubicBezTo>
                <a:cubicBezTo>
                  <a:pt x="60" y="109"/>
                  <a:pt x="52" y="134"/>
                  <a:pt x="62" y="158"/>
                </a:cubicBezTo>
                <a:cubicBezTo>
                  <a:pt x="62" y="159"/>
                  <a:pt x="63" y="160"/>
                  <a:pt x="64" y="160"/>
                </a:cubicBezTo>
                <a:cubicBezTo>
                  <a:pt x="64" y="160"/>
                  <a:pt x="65" y="160"/>
                  <a:pt x="65" y="160"/>
                </a:cubicBezTo>
                <a:cubicBezTo>
                  <a:pt x="66" y="160"/>
                  <a:pt x="66" y="160"/>
                  <a:pt x="67" y="159"/>
                </a:cubicBezTo>
                <a:cubicBezTo>
                  <a:pt x="111" y="115"/>
                  <a:pt x="111" y="115"/>
                  <a:pt x="111" y="115"/>
                </a:cubicBezTo>
                <a:cubicBezTo>
                  <a:pt x="152" y="156"/>
                  <a:pt x="152" y="156"/>
                  <a:pt x="152" y="156"/>
                </a:cubicBezTo>
                <a:cubicBezTo>
                  <a:pt x="152" y="157"/>
                  <a:pt x="153" y="157"/>
                  <a:pt x="154" y="157"/>
                </a:cubicBezTo>
                <a:cubicBezTo>
                  <a:pt x="155" y="157"/>
                  <a:pt x="155" y="157"/>
                  <a:pt x="156" y="156"/>
                </a:cubicBezTo>
                <a:cubicBezTo>
                  <a:pt x="157" y="155"/>
                  <a:pt x="157" y="153"/>
                  <a:pt x="156" y="152"/>
                </a:cubicBezTo>
                <a:cubicBezTo>
                  <a:pt x="115" y="111"/>
                  <a:pt x="115" y="111"/>
                  <a:pt x="115" y="111"/>
                </a:cubicBezTo>
                <a:cubicBezTo>
                  <a:pt x="159" y="67"/>
                  <a:pt x="159" y="67"/>
                  <a:pt x="159" y="67"/>
                </a:cubicBezTo>
                <a:cubicBezTo>
                  <a:pt x="160" y="66"/>
                  <a:pt x="160" y="65"/>
                  <a:pt x="160" y="64"/>
                </a:cubicBezTo>
                <a:close/>
                <a:moveTo>
                  <a:pt x="107" y="111"/>
                </a:moveTo>
                <a:cubicBezTo>
                  <a:pt x="66" y="151"/>
                  <a:pt x="66" y="151"/>
                  <a:pt x="66" y="151"/>
                </a:cubicBezTo>
                <a:cubicBezTo>
                  <a:pt x="59" y="127"/>
                  <a:pt x="69" y="104"/>
                  <a:pt x="69" y="103"/>
                </a:cubicBezTo>
                <a:cubicBezTo>
                  <a:pt x="70" y="102"/>
                  <a:pt x="69" y="101"/>
                  <a:pt x="69" y="100"/>
                </a:cubicBezTo>
                <a:cubicBezTo>
                  <a:pt x="28" y="52"/>
                  <a:pt x="28" y="52"/>
                  <a:pt x="28" y="52"/>
                </a:cubicBezTo>
                <a:cubicBezTo>
                  <a:pt x="27" y="52"/>
                  <a:pt x="27" y="51"/>
                  <a:pt x="26" y="51"/>
                </a:cubicBezTo>
                <a:cubicBezTo>
                  <a:pt x="26" y="51"/>
                  <a:pt x="25" y="51"/>
                  <a:pt x="25" y="51"/>
                </a:cubicBezTo>
                <a:cubicBezTo>
                  <a:pt x="25" y="51"/>
                  <a:pt x="16" y="53"/>
                  <a:pt x="8" y="49"/>
                </a:cubicBezTo>
                <a:cubicBezTo>
                  <a:pt x="49" y="8"/>
                  <a:pt x="49" y="8"/>
                  <a:pt x="49" y="8"/>
                </a:cubicBezTo>
                <a:cubicBezTo>
                  <a:pt x="50" y="11"/>
                  <a:pt x="53" y="18"/>
                  <a:pt x="51" y="25"/>
                </a:cubicBezTo>
                <a:cubicBezTo>
                  <a:pt x="51" y="27"/>
                  <a:pt x="52" y="28"/>
                  <a:pt x="52" y="28"/>
                </a:cubicBezTo>
                <a:cubicBezTo>
                  <a:pt x="100" y="69"/>
                  <a:pt x="100" y="69"/>
                  <a:pt x="100" y="69"/>
                </a:cubicBezTo>
                <a:cubicBezTo>
                  <a:pt x="101" y="70"/>
                  <a:pt x="102" y="70"/>
                  <a:pt x="103" y="69"/>
                </a:cubicBezTo>
                <a:cubicBezTo>
                  <a:pt x="104" y="69"/>
                  <a:pt x="126" y="58"/>
                  <a:pt x="151" y="66"/>
                </a:cubicBezTo>
                <a:lnTo>
                  <a:pt x="107" y="1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4" name="Text Placeholder 6">
            <a:extLst>
              <a:ext uri="{FF2B5EF4-FFF2-40B4-BE49-F238E27FC236}">
                <a16:creationId xmlns:a16="http://schemas.microsoft.com/office/drawing/2014/main" id="{D7634A7D-AD40-CA46-882A-74DE33E77B86}"/>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792691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p:txBody>
          <a:bodyPr/>
          <a:lstStyle/>
          <a:p>
            <a:endParaRPr lang="en-CA"/>
          </a:p>
        </p:txBody>
      </p:sp>
      <p:sp>
        <p:nvSpPr>
          <p:cNvPr id="3" name="Title 2"/>
          <p:cNvSpPr>
            <a:spLocks noGrp="1"/>
          </p:cNvSpPr>
          <p:nvPr>
            <p:ph type="title"/>
          </p:nvPr>
        </p:nvSpPr>
        <p:spPr/>
        <p:txBody>
          <a:bodyPr/>
          <a:lstStyle/>
          <a:p>
            <a:r>
              <a:rPr lang="en-US"/>
              <a:t>Monitor</a:t>
            </a:r>
            <a:br>
              <a:rPr lang="en-US"/>
            </a:br>
            <a:r>
              <a:rPr lang="en-US"/>
              <a:t>Device</a:t>
            </a:r>
            <a:br>
              <a:rPr lang="en-US"/>
            </a:br>
            <a:r>
              <a:rPr lang="en-US"/>
              <a:t>Slide</a:t>
            </a:r>
            <a:endParaRPr lang="en-US" dirty="0"/>
          </a:p>
        </p:txBody>
      </p:sp>
      <p:sp>
        <p:nvSpPr>
          <p:cNvPr id="9" name="TextBox 8"/>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B74F32C5-3382-7B4A-B62D-5FEB5F95D2F4}"/>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4009439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54264B-B05D-D54F-BF52-591AE52DD29C}"/>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74636367-DF05-F74A-9176-C980C7979A48}"/>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2E94FC22-DC4A-1C41-B725-A98F780E2477}"/>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6164802D-FB56-134C-BBE5-C517DC10E094}"/>
              </a:ext>
            </a:extLst>
          </p:cNvPr>
          <p:cNvSpPr>
            <a:spLocks noGrp="1"/>
          </p:cNvSpPr>
          <p:nvPr>
            <p:ph type="body" sz="quarter" idx="14"/>
          </p:nvPr>
        </p:nvSpPr>
        <p:spPr/>
        <p:txBody>
          <a:bodyPr/>
          <a:lstStyle/>
          <a:p>
            <a:endParaRPr lang="en-US"/>
          </a:p>
        </p:txBody>
      </p:sp>
      <p:sp>
        <p:nvSpPr>
          <p:cNvPr id="6" name="Text Placeholder 5">
            <a:extLst>
              <a:ext uri="{FF2B5EF4-FFF2-40B4-BE49-F238E27FC236}">
                <a16:creationId xmlns:a16="http://schemas.microsoft.com/office/drawing/2014/main" id="{5223A332-F24A-6C44-805D-069C4CED16A0}"/>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61642FA0-B2E4-BB40-9F89-697403D8D1B3}"/>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EB5DADC1-77B7-164F-AD59-833F9F6A294A}"/>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4A298D2B-782E-7740-9195-C1A6C6020E92}"/>
              </a:ext>
            </a:extLst>
          </p:cNvPr>
          <p:cNvSpPr>
            <a:spLocks noGrp="1"/>
          </p:cNvSpPr>
          <p:nvPr>
            <p:ph type="body" sz="quarter" idx="18"/>
          </p:nvPr>
        </p:nvSpPr>
        <p:spPr/>
        <p:txBody>
          <a:bodyPr/>
          <a:lstStyle/>
          <a:p>
            <a:endParaRPr lang="en-US"/>
          </a:p>
        </p:txBody>
      </p:sp>
      <p:pic>
        <p:nvPicPr>
          <p:cNvPr id="11" name="Image" descr="Image">
            <a:extLst>
              <a:ext uri="{FF2B5EF4-FFF2-40B4-BE49-F238E27FC236}">
                <a16:creationId xmlns:a16="http://schemas.microsoft.com/office/drawing/2014/main" id="{A6488C76-C73E-384F-BAA4-3EE87D352187}"/>
              </a:ext>
            </a:extLst>
          </p:cNvPr>
          <p:cNvPicPr>
            <a:picLocks noChangeAspect="1"/>
          </p:cNvPicPr>
          <p:nvPr/>
        </p:nvPicPr>
        <p:blipFill>
          <a:blip r:embed="rId2"/>
          <a:stretch>
            <a:fillRect/>
          </a:stretch>
        </p:blipFill>
        <p:spPr>
          <a:xfrm>
            <a:off x="675264" y="2374932"/>
            <a:ext cx="831278" cy="691921"/>
          </a:xfrm>
          <a:prstGeom prst="rect">
            <a:avLst/>
          </a:prstGeom>
          <a:ln w="3175">
            <a:miter lim="400000"/>
          </a:ln>
        </p:spPr>
      </p:pic>
      <p:pic>
        <p:nvPicPr>
          <p:cNvPr id="12" name="Image" descr="Image">
            <a:extLst>
              <a:ext uri="{FF2B5EF4-FFF2-40B4-BE49-F238E27FC236}">
                <a16:creationId xmlns:a16="http://schemas.microsoft.com/office/drawing/2014/main" id="{EEFAFB6A-AF60-9547-9A15-95356BEAFC91}"/>
              </a:ext>
            </a:extLst>
          </p:cNvPr>
          <p:cNvPicPr>
            <a:picLocks noChangeAspect="1"/>
          </p:cNvPicPr>
          <p:nvPr/>
        </p:nvPicPr>
        <p:blipFill>
          <a:blip r:embed="rId3"/>
          <a:stretch>
            <a:fillRect/>
          </a:stretch>
        </p:blipFill>
        <p:spPr>
          <a:xfrm>
            <a:off x="8329932" y="2332075"/>
            <a:ext cx="831278" cy="794381"/>
          </a:xfrm>
          <a:prstGeom prst="rect">
            <a:avLst/>
          </a:prstGeom>
          <a:ln w="3175">
            <a:miter lim="400000"/>
          </a:ln>
        </p:spPr>
      </p:pic>
      <p:pic>
        <p:nvPicPr>
          <p:cNvPr id="13" name="Image" descr="Image">
            <a:extLst>
              <a:ext uri="{FF2B5EF4-FFF2-40B4-BE49-F238E27FC236}">
                <a16:creationId xmlns:a16="http://schemas.microsoft.com/office/drawing/2014/main" id="{2708EFED-AFAE-5D4D-BB87-E8AA80DF14C2}"/>
              </a:ext>
            </a:extLst>
          </p:cNvPr>
          <p:cNvPicPr>
            <a:picLocks noChangeAspect="1"/>
          </p:cNvPicPr>
          <p:nvPr/>
        </p:nvPicPr>
        <p:blipFill>
          <a:blip r:embed="rId4"/>
          <a:stretch>
            <a:fillRect/>
          </a:stretch>
        </p:blipFill>
        <p:spPr>
          <a:xfrm>
            <a:off x="4510723" y="2333804"/>
            <a:ext cx="831278" cy="798804"/>
          </a:xfrm>
          <a:prstGeom prst="rect">
            <a:avLst/>
          </a:prstGeom>
          <a:ln w="3175">
            <a:miter lim="400000"/>
          </a:ln>
        </p:spPr>
      </p:pic>
    </p:spTree>
    <p:extLst>
      <p:ext uri="{BB962C8B-B14F-4D97-AF65-F5344CB8AC3E}">
        <p14:creationId xmlns:p14="http://schemas.microsoft.com/office/powerpoint/2010/main" val="35776338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p:txBody>
          <a:bodyPr/>
          <a:lstStyle/>
          <a:p>
            <a:endParaRPr lang="en-CA"/>
          </a:p>
        </p:txBody>
      </p:sp>
      <p:sp>
        <p:nvSpPr>
          <p:cNvPr id="3" name="Title 2"/>
          <p:cNvSpPr>
            <a:spLocks noGrp="1"/>
          </p:cNvSpPr>
          <p:nvPr>
            <p:ph type="title"/>
          </p:nvPr>
        </p:nvSpPr>
        <p:spPr/>
        <p:txBody>
          <a:bodyPr/>
          <a:lstStyle/>
          <a:p>
            <a:r>
              <a:rPr lang="en-US"/>
              <a:t>Laptop</a:t>
            </a:r>
            <a:br>
              <a:rPr lang="en-US"/>
            </a:br>
            <a:r>
              <a:rPr lang="en-US"/>
              <a:t>Device</a:t>
            </a:r>
            <a:br>
              <a:rPr lang="en-US"/>
            </a:br>
            <a:r>
              <a:rPr lang="en-US"/>
              <a:t>Slide</a:t>
            </a:r>
            <a:endParaRPr lang="en-US" dirty="0"/>
          </a:p>
        </p:txBody>
      </p:sp>
      <p:sp>
        <p:nvSpPr>
          <p:cNvPr id="9" name="TextBox 8"/>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9F856709-81DC-A844-B5F8-61CC26E99163}"/>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0970531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p:txBody>
          <a:bodyPr/>
          <a:lstStyle/>
          <a:p>
            <a:endParaRPr lang="en-CA"/>
          </a:p>
        </p:txBody>
      </p:sp>
      <p:sp>
        <p:nvSpPr>
          <p:cNvPr id="3" name="Title 2"/>
          <p:cNvSpPr>
            <a:spLocks noGrp="1"/>
          </p:cNvSpPr>
          <p:nvPr>
            <p:ph type="title"/>
          </p:nvPr>
        </p:nvSpPr>
        <p:spPr/>
        <p:txBody>
          <a:bodyPr/>
          <a:lstStyle/>
          <a:p>
            <a:r>
              <a:rPr lang="en-US"/>
              <a:t>Tablet</a:t>
            </a:r>
            <a:br>
              <a:rPr lang="en-US"/>
            </a:br>
            <a:r>
              <a:rPr lang="en-US"/>
              <a:t>Device</a:t>
            </a:r>
            <a:br>
              <a:rPr lang="en-US"/>
            </a:br>
            <a:r>
              <a:rPr lang="en-US"/>
              <a:t>Slide</a:t>
            </a:r>
            <a:endParaRPr lang="en-US" dirty="0"/>
          </a:p>
        </p:txBody>
      </p:sp>
      <p:sp>
        <p:nvSpPr>
          <p:cNvPr id="9" name="TextBox 8"/>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AC95998D-9214-DA47-9BFC-D7CE4CB6DB1E}"/>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3013070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p:txBody>
          <a:bodyPr/>
          <a:lstStyle/>
          <a:p>
            <a:endParaRPr lang="en-CA"/>
          </a:p>
        </p:txBody>
      </p:sp>
      <p:sp>
        <p:nvSpPr>
          <p:cNvPr id="5" name="Picture Placeholder 4"/>
          <p:cNvSpPr>
            <a:spLocks noGrp="1"/>
          </p:cNvSpPr>
          <p:nvPr>
            <p:ph type="pic" sz="quarter" idx="16"/>
          </p:nvPr>
        </p:nvSpPr>
        <p:spPr/>
        <p:txBody>
          <a:bodyPr/>
          <a:lstStyle/>
          <a:p>
            <a:endParaRPr lang="en-CA"/>
          </a:p>
        </p:txBody>
      </p:sp>
      <p:sp>
        <p:nvSpPr>
          <p:cNvPr id="4" name="Picture Placeholder 3"/>
          <p:cNvSpPr>
            <a:spLocks noGrp="1"/>
          </p:cNvSpPr>
          <p:nvPr>
            <p:ph type="pic" sz="quarter" idx="17"/>
          </p:nvPr>
        </p:nvSpPr>
        <p:spPr/>
        <p:txBody>
          <a:bodyPr/>
          <a:lstStyle/>
          <a:p>
            <a:endParaRPr lang="en-CA"/>
          </a:p>
        </p:txBody>
      </p:sp>
      <p:sp>
        <p:nvSpPr>
          <p:cNvPr id="3" name="Picture Placeholder 2"/>
          <p:cNvSpPr>
            <a:spLocks noGrp="1"/>
          </p:cNvSpPr>
          <p:nvPr>
            <p:ph type="pic" sz="quarter" idx="18"/>
          </p:nvPr>
        </p:nvSpPr>
        <p:spPr/>
        <p:txBody>
          <a:bodyPr/>
          <a:lstStyle/>
          <a:p>
            <a:endParaRPr lang="en-CA"/>
          </a:p>
        </p:txBody>
      </p:sp>
      <p:sp>
        <p:nvSpPr>
          <p:cNvPr id="8" name="Picture Placeholder 7"/>
          <p:cNvSpPr>
            <a:spLocks noGrp="1"/>
          </p:cNvSpPr>
          <p:nvPr>
            <p:ph type="pic" sz="quarter" idx="19"/>
          </p:nvPr>
        </p:nvSpPr>
        <p:spPr/>
        <p:txBody>
          <a:bodyPr/>
          <a:lstStyle/>
          <a:p>
            <a:endParaRPr lang="en-CA"/>
          </a:p>
        </p:txBody>
      </p:sp>
      <p:sp>
        <p:nvSpPr>
          <p:cNvPr id="2" name="Picture Placeholder 1"/>
          <p:cNvSpPr>
            <a:spLocks noGrp="1"/>
          </p:cNvSpPr>
          <p:nvPr>
            <p:ph type="pic" sz="quarter" idx="20"/>
          </p:nvPr>
        </p:nvSpPr>
        <p:spPr/>
        <p:txBody>
          <a:bodyPr/>
          <a:lstStyle/>
          <a:p>
            <a:endParaRPr lang="en-CA"/>
          </a:p>
        </p:txBody>
      </p:sp>
      <p:sp>
        <p:nvSpPr>
          <p:cNvPr id="9" name="Title 8"/>
          <p:cNvSpPr>
            <a:spLocks noGrp="1"/>
          </p:cNvSpPr>
          <p:nvPr>
            <p:ph type="title"/>
          </p:nvPr>
        </p:nvSpPr>
        <p:spPr/>
        <p:txBody>
          <a:bodyPr/>
          <a:lstStyle/>
          <a:p>
            <a:r>
              <a:rPr lang="en-US"/>
              <a:t>3D</a:t>
            </a:r>
            <a:br>
              <a:rPr lang="en-US"/>
            </a:br>
            <a:r>
              <a:rPr lang="en-US"/>
              <a:t>Screen</a:t>
            </a:r>
            <a:br>
              <a:rPr lang="en-US"/>
            </a:br>
            <a:r>
              <a:rPr lang="en-US"/>
              <a:t>Mockup</a:t>
            </a:r>
            <a:endParaRPr lang="en-US" dirty="0"/>
          </a:p>
        </p:txBody>
      </p:sp>
      <p:sp>
        <p:nvSpPr>
          <p:cNvPr id="21" name="TextBox 20"/>
          <p:cNvSpPr txBox="1"/>
          <p:nvPr/>
        </p:nvSpPr>
        <p:spPr>
          <a:xfrm>
            <a:off x="1112076" y="4852008"/>
            <a:ext cx="998030" cy="276999"/>
          </a:xfrm>
          <a:prstGeom prst="rect">
            <a:avLst/>
          </a:prstGeom>
          <a:noFill/>
        </p:spPr>
        <p:txBody>
          <a:bodyPr wrap="none" lIns="0" rIns="0" rtlCol="0">
            <a:spAutoFit/>
          </a:bodyPr>
          <a:lstStyle/>
          <a:p>
            <a:r>
              <a:rPr lang="en-US" sz="1200" b="1" dirty="0">
                <a:solidFill>
                  <a:schemeClr val="tx1">
                    <a:alpha val="60000"/>
                  </a:schemeClr>
                </a:solidFill>
                <a:latin typeface="RBC Display" panose="02000000000000000000" pitchFamily="2" charset="77"/>
                <a:ea typeface="Open Sans" charset="0"/>
                <a:cs typeface="Open Sans" charset="0"/>
              </a:rPr>
              <a:t>Phone Screen</a:t>
            </a:r>
          </a:p>
        </p:txBody>
      </p:sp>
      <p:sp>
        <p:nvSpPr>
          <p:cNvPr id="22" name="TextBox 21"/>
          <p:cNvSpPr txBox="1"/>
          <p:nvPr/>
        </p:nvSpPr>
        <p:spPr>
          <a:xfrm>
            <a:off x="913016" y="5234728"/>
            <a:ext cx="2677473" cy="461665"/>
          </a:xfrm>
          <a:prstGeom prst="rect">
            <a:avLst/>
          </a:prstGeom>
          <a:noFill/>
        </p:spPr>
        <p:txBody>
          <a:bodyPr wrap="square" lIns="0" rIns="0" rtlCol="0">
            <a:spAutoFit/>
          </a:bodyPr>
          <a:lstStyle/>
          <a:p>
            <a:pPr>
              <a:lnSpc>
                <a:spcPct val="120000"/>
              </a:lnSpc>
            </a:pPr>
            <a:r>
              <a:rPr lang="en-US" sz="1000" dirty="0">
                <a:solidFill>
                  <a:schemeClr val="tx1">
                    <a:alpha val="70000"/>
                  </a:schemeClr>
                </a:solidFill>
                <a:latin typeface="RBC Text" panose="02000000000000000000" pitchFamily="2" charset="77"/>
              </a:rPr>
              <a:t>A peep at some distant orb has power to raise and purify our thoughts.</a:t>
            </a:r>
          </a:p>
        </p:txBody>
      </p:sp>
      <p:sp>
        <p:nvSpPr>
          <p:cNvPr id="23" name="TextBox 22"/>
          <p:cNvSpPr txBox="1"/>
          <p:nvPr/>
        </p:nvSpPr>
        <p:spPr>
          <a:xfrm>
            <a:off x="905078" y="4444442"/>
            <a:ext cx="956993" cy="461665"/>
          </a:xfrm>
          <a:prstGeom prst="rect">
            <a:avLst/>
          </a:prstGeom>
          <a:noFill/>
        </p:spPr>
        <p:txBody>
          <a:bodyPr wrap="none" lIns="0" rIns="0" rtlCol="0">
            <a:spAutoFit/>
          </a:bodyPr>
          <a:lstStyle/>
          <a:p>
            <a:r>
              <a:rPr lang="en-US" sz="2400" b="1" dirty="0">
                <a:latin typeface="RBC Text" panose="02000000000000000000" pitchFamily="2" charset="77"/>
                <a:ea typeface="Open Sans" charset="0"/>
                <a:cs typeface="Open Sans" charset="0"/>
              </a:rPr>
              <a:t>$500B</a:t>
            </a:r>
          </a:p>
        </p:txBody>
      </p:sp>
      <p:sp>
        <p:nvSpPr>
          <p:cNvPr id="24" name="Oval 23"/>
          <p:cNvSpPr/>
          <p:nvPr/>
        </p:nvSpPr>
        <p:spPr>
          <a:xfrm>
            <a:off x="919756" y="4919359"/>
            <a:ext cx="130546" cy="130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3" name="Text Placeholder 6">
            <a:extLst>
              <a:ext uri="{FF2B5EF4-FFF2-40B4-BE49-F238E27FC236}">
                <a16:creationId xmlns:a16="http://schemas.microsoft.com/office/drawing/2014/main" id="{E3DF573D-15B0-9140-BC3D-32BCDDCB40AF}"/>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21254546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4"/>
          </p:nvPr>
        </p:nvSpPr>
        <p:spPr/>
        <p:txBody>
          <a:bodyPr/>
          <a:lstStyle/>
          <a:p>
            <a:endParaRPr lang="en-CA"/>
          </a:p>
        </p:txBody>
      </p:sp>
      <p:pic>
        <p:nvPicPr>
          <p:cNvPr id="32" name="Picture Placeholder 31"/>
          <p:cNvPicPr>
            <a:picLocks noGrp="1" noChangeAspect="1"/>
          </p:cNvPicPr>
          <p:nvPr>
            <p:ph type="pic" sz="quarter" idx="15"/>
          </p:nvPr>
        </p:nvPicPr>
        <p:blipFill>
          <a:blip r:embed="rId2">
            <a:alphaModFix amt="20000"/>
            <a:extLst>
              <a:ext uri="{28A0092B-C50C-407E-A947-70E740481C1C}">
                <a14:useLocalDpi xmlns:a14="http://schemas.microsoft.com/office/drawing/2010/main" val="0"/>
              </a:ext>
            </a:extLst>
          </a:blip>
          <a:srcRect t="366" b="366"/>
          <a:stretch>
            <a:fillRect/>
          </a:stretch>
        </p:blipFill>
        <p:spPr>
          <a:noFill/>
        </p:spPr>
      </p:pic>
      <p:pic>
        <p:nvPicPr>
          <p:cNvPr id="30" name="Picture Placeholder 29"/>
          <p:cNvPicPr>
            <a:picLocks noGrp="1" noChangeAspect="1"/>
          </p:cNvPicPr>
          <p:nvPr>
            <p:ph type="pic" sz="quarter" idx="18"/>
          </p:nvPr>
        </p:nvPicPr>
        <p:blipFill>
          <a:blip r:embed="rId3">
            <a:alphaModFix amt="20000"/>
            <a:extLst>
              <a:ext uri="{28A0092B-C50C-407E-A947-70E740481C1C}">
                <a14:useLocalDpi xmlns:a14="http://schemas.microsoft.com/office/drawing/2010/main" val="0"/>
              </a:ext>
            </a:extLst>
          </a:blip>
          <a:srcRect t="366" b="366"/>
          <a:stretch>
            <a:fillRect/>
          </a:stretch>
        </p:blipFill>
        <p:spPr>
          <a:noFill/>
        </p:spPr>
      </p:pic>
      <p:sp>
        <p:nvSpPr>
          <p:cNvPr id="7" name="Oval 6"/>
          <p:cNvSpPr/>
          <p:nvPr/>
        </p:nvSpPr>
        <p:spPr>
          <a:xfrm>
            <a:off x="8496956" y="3552192"/>
            <a:ext cx="2044043" cy="204404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RBC Display" panose="02000000000000000000" pitchFamily="2" charset="77"/>
                <a:ea typeface="Open Sans" charset="0"/>
                <a:cs typeface="Open Sans" charset="0"/>
              </a:rPr>
              <a:t>Clean Perfect</a:t>
            </a:r>
          </a:p>
          <a:p>
            <a:pPr algn="ctr"/>
            <a:r>
              <a:rPr lang="en-US" sz="1600" b="1" dirty="0">
                <a:solidFill>
                  <a:schemeClr val="bg1"/>
                </a:solidFill>
                <a:latin typeface="RBC Display" panose="02000000000000000000" pitchFamily="2" charset="77"/>
                <a:ea typeface="Open Sans" charset="0"/>
                <a:cs typeface="Open Sans" charset="0"/>
              </a:rPr>
              <a:t>Design</a:t>
            </a:r>
          </a:p>
        </p:txBody>
      </p:sp>
      <p:sp>
        <p:nvSpPr>
          <p:cNvPr id="10" name="Oval 9"/>
          <p:cNvSpPr/>
          <p:nvPr/>
        </p:nvSpPr>
        <p:spPr>
          <a:xfrm>
            <a:off x="1575456" y="1270328"/>
            <a:ext cx="2044043" cy="204404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rgbClr val="FFFFFF"/>
                </a:solidFill>
                <a:latin typeface="RBC Display" panose="02000000000000000000" pitchFamily="2" charset="77"/>
                <a:ea typeface="Open Sans" charset="0"/>
                <a:cs typeface="Open Sans" charset="0"/>
              </a:rPr>
              <a:t>Clean Perfect</a:t>
            </a:r>
          </a:p>
          <a:p>
            <a:pPr algn="ctr"/>
            <a:r>
              <a:rPr lang="en-US" sz="1600" b="1" dirty="0">
                <a:solidFill>
                  <a:srgbClr val="FFFFFF"/>
                </a:solidFill>
                <a:latin typeface="RBC Display" panose="02000000000000000000" pitchFamily="2" charset="77"/>
                <a:ea typeface="Open Sans" charset="0"/>
                <a:cs typeface="Open Sans" charset="0"/>
              </a:rPr>
              <a:t>Design</a:t>
            </a:r>
          </a:p>
        </p:txBody>
      </p:sp>
      <p:cxnSp>
        <p:nvCxnSpPr>
          <p:cNvPr id="18" name="Straight Connector 17"/>
          <p:cNvCxnSpPr>
            <a:stCxn id="10" idx="6"/>
          </p:cNvCxnSpPr>
          <p:nvPr/>
        </p:nvCxnSpPr>
        <p:spPr>
          <a:xfrm>
            <a:off x="3619499" y="2292350"/>
            <a:ext cx="1524001"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6972955" y="4574214"/>
            <a:ext cx="1524001"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6C4AAD50-B381-3E4B-AEE9-6D341A601AD5}"/>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2728337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graphics</a:t>
            </a:r>
          </a:p>
        </p:txBody>
      </p:sp>
      <p:sp>
        <p:nvSpPr>
          <p:cNvPr id="3" name="Picture Placeholder 2"/>
          <p:cNvSpPr>
            <a:spLocks noGrp="1"/>
          </p:cNvSpPr>
          <p:nvPr>
            <p:ph type="pic" sz="quarter" idx="13"/>
          </p:nvPr>
        </p:nvSpPr>
        <p:spPr/>
        <p:txBody>
          <a:bodyPr/>
          <a:lstStyle/>
          <a:p>
            <a:endParaRPr lang="en-CA"/>
          </a:p>
        </p:txBody>
      </p:sp>
      <p:sp>
        <p:nvSpPr>
          <p:cNvPr id="4" name="TextBox 3"/>
          <p:cNvSpPr txBox="1"/>
          <p:nvPr/>
        </p:nvSpPr>
        <p:spPr>
          <a:xfrm>
            <a:off x="913017" y="220228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5" name="Text Placeholder 6">
            <a:extLst>
              <a:ext uri="{FF2B5EF4-FFF2-40B4-BE49-F238E27FC236}">
                <a16:creationId xmlns:a16="http://schemas.microsoft.com/office/drawing/2014/main" id="{10DD844E-6CA2-4F4B-A1C8-C407E2F8AE5A}"/>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6032739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ircle chart</a:t>
            </a:r>
          </a:p>
        </p:txBody>
      </p:sp>
      <p:sp>
        <p:nvSpPr>
          <p:cNvPr id="4" name="Donut 3"/>
          <p:cNvSpPr/>
          <p:nvPr/>
        </p:nvSpPr>
        <p:spPr>
          <a:xfrm>
            <a:off x="919198" y="2532042"/>
            <a:ext cx="1795978" cy="1795979"/>
          </a:xfrm>
          <a:prstGeom prst="donut">
            <a:avLst>
              <a:gd name="adj" fmla="val 2147"/>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RBC Display" panose="02000000000000000000" pitchFamily="2" charset="77"/>
                <a:ea typeface="Titillium" charset="0"/>
                <a:cs typeface="Titillium" charset="0"/>
              </a:rPr>
              <a:t>75%</a:t>
            </a:r>
          </a:p>
        </p:txBody>
      </p:sp>
      <p:sp>
        <p:nvSpPr>
          <p:cNvPr id="5" name="Block Arc 4"/>
          <p:cNvSpPr/>
          <p:nvPr/>
        </p:nvSpPr>
        <p:spPr>
          <a:xfrm>
            <a:off x="913016" y="2528951"/>
            <a:ext cx="1802159" cy="1802160"/>
          </a:xfrm>
          <a:prstGeom prst="blockArc">
            <a:avLst>
              <a:gd name="adj1" fmla="val 118446"/>
              <a:gd name="adj2" fmla="val 16130534"/>
              <a:gd name="adj3" fmla="val 256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Display" panose="02000000000000000000" pitchFamily="2" charset="77"/>
              <a:ea typeface="Titillium" charset="0"/>
              <a:cs typeface="Titillium" charset="0"/>
            </a:endParaRPr>
          </a:p>
        </p:txBody>
      </p:sp>
      <p:sp>
        <p:nvSpPr>
          <p:cNvPr id="9" name="TextBox 8"/>
          <p:cNvSpPr txBox="1"/>
          <p:nvPr/>
        </p:nvSpPr>
        <p:spPr>
          <a:xfrm>
            <a:off x="913017" y="4534749"/>
            <a:ext cx="1517980" cy="369332"/>
          </a:xfrm>
          <a:prstGeom prst="rect">
            <a:avLst/>
          </a:prstGeom>
          <a:noFill/>
        </p:spPr>
        <p:txBody>
          <a:bodyPr wrap="none" lIns="0" rIns="0" rtlCol="0">
            <a:spAutoFit/>
          </a:bodyPr>
          <a:lstStyle/>
          <a:p>
            <a:r>
              <a:rPr lang="en-US" b="1" dirty="0">
                <a:latin typeface="RBC Display" panose="02000000000000000000" pitchFamily="2" charset="77"/>
                <a:ea typeface="Open Sans" charset="0"/>
                <a:cs typeface="Open Sans" charset="0"/>
              </a:rPr>
              <a:t>Crowdfunding</a:t>
            </a:r>
          </a:p>
        </p:txBody>
      </p:sp>
      <p:sp>
        <p:nvSpPr>
          <p:cNvPr id="10" name="TextBox 9"/>
          <p:cNvSpPr txBox="1"/>
          <p:nvPr/>
        </p:nvSpPr>
        <p:spPr>
          <a:xfrm>
            <a:off x="913016" y="4939641"/>
            <a:ext cx="2226807" cy="1033232"/>
          </a:xfrm>
          <a:prstGeom prst="rect">
            <a:avLst/>
          </a:prstGeom>
          <a:noFill/>
        </p:spPr>
        <p:txBody>
          <a:bodyPr wrap="square" lIns="0" rIns="0" rtlCol="0">
            <a:spAutoFit/>
          </a:bodyPr>
          <a:lstStyle/>
          <a:p>
            <a:pPr>
              <a:lnSpc>
                <a:spcPct val="130000"/>
              </a:lnSpc>
            </a:pPr>
            <a:r>
              <a:rPr lang="en-US" sz="1200" dirty="0" err="1">
                <a:solidFill>
                  <a:schemeClr val="tx1">
                    <a:alpha val="70000"/>
                  </a:schemeClr>
                </a:solidFill>
                <a:latin typeface="RBC Text" panose="02000000000000000000" pitchFamily="2" charset="77"/>
              </a:rPr>
              <a:t>Sed</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t</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perspiciat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nd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omn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ist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natus</a:t>
            </a:r>
            <a:r>
              <a:rPr lang="en-US" sz="1200" dirty="0">
                <a:solidFill>
                  <a:schemeClr val="tx1">
                    <a:alpha val="70000"/>
                  </a:schemeClr>
                </a:solidFill>
                <a:latin typeface="RBC Text" panose="02000000000000000000" pitchFamily="2" charset="77"/>
              </a:rPr>
              <a:t> error sit </a:t>
            </a:r>
            <a:r>
              <a:rPr lang="en-US" sz="1200" dirty="0" err="1">
                <a:solidFill>
                  <a:schemeClr val="tx1">
                    <a:alpha val="70000"/>
                  </a:schemeClr>
                </a:solidFill>
                <a:latin typeface="RBC Text" panose="02000000000000000000" pitchFamily="2" charset="77"/>
              </a:rPr>
              <a:t>voluptate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accusantium</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laudantium</a:t>
            </a:r>
            <a:r>
              <a:rPr lang="en-US" sz="1200" dirty="0">
                <a:solidFill>
                  <a:schemeClr val="tx1">
                    <a:alpha val="70000"/>
                  </a:schemeClr>
                </a:solidFill>
                <a:latin typeface="RBC Text" panose="02000000000000000000" pitchFamily="2" charset="77"/>
              </a:rPr>
              <a:t>.</a:t>
            </a:r>
          </a:p>
        </p:txBody>
      </p:sp>
      <p:sp>
        <p:nvSpPr>
          <p:cNvPr id="11" name="Donut 10"/>
          <p:cNvSpPr/>
          <p:nvPr/>
        </p:nvSpPr>
        <p:spPr>
          <a:xfrm>
            <a:off x="4140490" y="2532042"/>
            <a:ext cx="1795978" cy="1795979"/>
          </a:xfrm>
          <a:prstGeom prst="donut">
            <a:avLst>
              <a:gd name="adj" fmla="val 2147"/>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RBC Display" panose="02000000000000000000" pitchFamily="2" charset="77"/>
                <a:ea typeface="Titillium" charset="0"/>
                <a:cs typeface="Titillium" charset="0"/>
              </a:rPr>
              <a:t>50%</a:t>
            </a:r>
          </a:p>
        </p:txBody>
      </p:sp>
      <p:sp>
        <p:nvSpPr>
          <p:cNvPr id="12" name="Block Arc 11"/>
          <p:cNvSpPr/>
          <p:nvPr/>
        </p:nvSpPr>
        <p:spPr>
          <a:xfrm>
            <a:off x="4134308" y="2528951"/>
            <a:ext cx="1802159" cy="1802160"/>
          </a:xfrm>
          <a:prstGeom prst="blockArc">
            <a:avLst>
              <a:gd name="adj1" fmla="val 5451536"/>
              <a:gd name="adj2" fmla="val 16130534"/>
              <a:gd name="adj3" fmla="val 256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Display" panose="02000000000000000000" pitchFamily="2" charset="77"/>
              <a:ea typeface="Titillium" charset="0"/>
              <a:cs typeface="Titillium" charset="0"/>
            </a:endParaRPr>
          </a:p>
        </p:txBody>
      </p:sp>
      <p:sp>
        <p:nvSpPr>
          <p:cNvPr id="13" name="TextBox 12"/>
          <p:cNvSpPr txBox="1"/>
          <p:nvPr/>
        </p:nvSpPr>
        <p:spPr>
          <a:xfrm>
            <a:off x="4134309" y="4534749"/>
            <a:ext cx="739498" cy="369332"/>
          </a:xfrm>
          <a:prstGeom prst="rect">
            <a:avLst/>
          </a:prstGeom>
          <a:noFill/>
        </p:spPr>
        <p:txBody>
          <a:bodyPr wrap="none" lIns="0" rIns="0" rtlCol="0">
            <a:spAutoFit/>
          </a:bodyPr>
          <a:lstStyle/>
          <a:p>
            <a:r>
              <a:rPr lang="en-US" b="1" dirty="0">
                <a:latin typeface="RBC Display" panose="02000000000000000000" pitchFamily="2" charset="77"/>
                <a:ea typeface="Open Sans" charset="0"/>
                <a:cs typeface="Open Sans" charset="0"/>
              </a:rPr>
              <a:t>Crypto</a:t>
            </a:r>
          </a:p>
        </p:txBody>
      </p:sp>
      <p:sp>
        <p:nvSpPr>
          <p:cNvPr id="14" name="TextBox 13"/>
          <p:cNvSpPr txBox="1"/>
          <p:nvPr/>
        </p:nvSpPr>
        <p:spPr>
          <a:xfrm>
            <a:off x="4134308" y="4939641"/>
            <a:ext cx="2226807" cy="558614"/>
          </a:xfrm>
          <a:prstGeom prst="rect">
            <a:avLst/>
          </a:prstGeom>
          <a:noFill/>
        </p:spPr>
        <p:txBody>
          <a:bodyPr wrap="square" lIns="0" rIns="0" rtlCol="0">
            <a:spAutoFit/>
          </a:bodyPr>
          <a:lstStyle/>
          <a:p>
            <a:pPr>
              <a:lnSpc>
                <a:spcPct val="130000"/>
              </a:lnSpc>
            </a:pPr>
            <a:r>
              <a:rPr lang="en-US" sz="1200" dirty="0" err="1">
                <a:solidFill>
                  <a:schemeClr val="tx1">
                    <a:alpha val="70000"/>
                  </a:schemeClr>
                </a:solidFill>
                <a:latin typeface="RBC Text" panose="02000000000000000000" pitchFamily="2" charset="77"/>
              </a:rPr>
              <a:t>Sed</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t</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perspiciat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nd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omn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ist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natus</a:t>
            </a:r>
            <a:r>
              <a:rPr lang="en-US" sz="1200" dirty="0">
                <a:solidFill>
                  <a:schemeClr val="tx1">
                    <a:alpha val="70000"/>
                  </a:schemeClr>
                </a:solidFill>
                <a:latin typeface="RBC Text" panose="02000000000000000000" pitchFamily="2" charset="77"/>
              </a:rPr>
              <a:t> error sit</a:t>
            </a:r>
          </a:p>
        </p:txBody>
      </p:sp>
      <p:sp>
        <p:nvSpPr>
          <p:cNvPr id="15" name="Donut 14"/>
          <p:cNvSpPr/>
          <p:nvPr/>
        </p:nvSpPr>
        <p:spPr>
          <a:xfrm>
            <a:off x="7393275" y="2532042"/>
            <a:ext cx="1795978" cy="1795979"/>
          </a:xfrm>
          <a:prstGeom prst="donut">
            <a:avLst>
              <a:gd name="adj" fmla="val 2147"/>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RBC Display" panose="02000000000000000000" pitchFamily="2" charset="77"/>
                <a:ea typeface="Titillium" charset="0"/>
                <a:cs typeface="Titillium" charset="0"/>
              </a:rPr>
              <a:t>25%</a:t>
            </a:r>
          </a:p>
        </p:txBody>
      </p:sp>
      <p:sp>
        <p:nvSpPr>
          <p:cNvPr id="16" name="Block Arc 15"/>
          <p:cNvSpPr/>
          <p:nvPr/>
        </p:nvSpPr>
        <p:spPr>
          <a:xfrm>
            <a:off x="7387093" y="2528951"/>
            <a:ext cx="1802159" cy="1802160"/>
          </a:xfrm>
          <a:prstGeom prst="blockArc">
            <a:avLst>
              <a:gd name="adj1" fmla="val 10716816"/>
              <a:gd name="adj2" fmla="val 16130534"/>
              <a:gd name="adj3" fmla="val 256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Display" panose="02000000000000000000" pitchFamily="2" charset="77"/>
              <a:ea typeface="Titillium" charset="0"/>
              <a:cs typeface="Titillium" charset="0"/>
            </a:endParaRPr>
          </a:p>
        </p:txBody>
      </p:sp>
      <p:sp>
        <p:nvSpPr>
          <p:cNvPr id="17" name="TextBox 16"/>
          <p:cNvSpPr txBox="1"/>
          <p:nvPr/>
        </p:nvSpPr>
        <p:spPr>
          <a:xfrm>
            <a:off x="7387094" y="4534749"/>
            <a:ext cx="1206099" cy="369332"/>
          </a:xfrm>
          <a:prstGeom prst="rect">
            <a:avLst/>
          </a:prstGeom>
          <a:noFill/>
        </p:spPr>
        <p:txBody>
          <a:bodyPr wrap="none" lIns="0" rIns="0" rtlCol="0">
            <a:spAutoFit/>
          </a:bodyPr>
          <a:lstStyle/>
          <a:p>
            <a:r>
              <a:rPr lang="en-US" b="1" dirty="0" err="1">
                <a:latin typeface="RBC Display" panose="02000000000000000000" pitchFamily="2" charset="77"/>
                <a:ea typeface="Open Sans" charset="0"/>
                <a:cs typeface="Open Sans" charset="0"/>
              </a:rPr>
              <a:t>Blockchain</a:t>
            </a:r>
            <a:endParaRPr lang="en-US" b="1" dirty="0">
              <a:latin typeface="RBC Display" panose="02000000000000000000" pitchFamily="2" charset="77"/>
              <a:ea typeface="Open Sans" charset="0"/>
              <a:cs typeface="Open Sans" charset="0"/>
            </a:endParaRPr>
          </a:p>
        </p:txBody>
      </p:sp>
      <p:sp>
        <p:nvSpPr>
          <p:cNvPr id="18" name="TextBox 17"/>
          <p:cNvSpPr txBox="1"/>
          <p:nvPr/>
        </p:nvSpPr>
        <p:spPr>
          <a:xfrm>
            <a:off x="7387093" y="4939641"/>
            <a:ext cx="2226807" cy="558614"/>
          </a:xfrm>
          <a:prstGeom prst="rect">
            <a:avLst/>
          </a:prstGeom>
          <a:noFill/>
        </p:spPr>
        <p:txBody>
          <a:bodyPr wrap="square" lIns="0" rIns="0" rtlCol="0">
            <a:spAutoFit/>
          </a:bodyPr>
          <a:lstStyle/>
          <a:p>
            <a:pPr>
              <a:lnSpc>
                <a:spcPct val="130000"/>
              </a:lnSpc>
            </a:pPr>
            <a:r>
              <a:rPr lang="en-US" sz="1200" dirty="0" err="1">
                <a:solidFill>
                  <a:schemeClr val="tx1">
                    <a:alpha val="70000"/>
                  </a:schemeClr>
                </a:solidFill>
                <a:latin typeface="RBC Text" panose="02000000000000000000" pitchFamily="2" charset="77"/>
              </a:rPr>
              <a:t>Sed</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t</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perspiciat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und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omnis</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iste</a:t>
            </a:r>
            <a:r>
              <a:rPr lang="en-US" sz="1200" dirty="0">
                <a:solidFill>
                  <a:schemeClr val="tx1">
                    <a:alpha val="70000"/>
                  </a:schemeClr>
                </a:solidFill>
                <a:latin typeface="RBC Text" panose="02000000000000000000" pitchFamily="2" charset="77"/>
              </a:rPr>
              <a:t> </a:t>
            </a:r>
            <a:r>
              <a:rPr lang="en-US" sz="1200" dirty="0" err="1">
                <a:solidFill>
                  <a:schemeClr val="tx1">
                    <a:alpha val="70000"/>
                  </a:schemeClr>
                </a:solidFill>
                <a:latin typeface="RBC Text" panose="02000000000000000000" pitchFamily="2" charset="77"/>
              </a:rPr>
              <a:t>natus</a:t>
            </a:r>
            <a:r>
              <a:rPr lang="en-US" sz="1200" dirty="0">
                <a:solidFill>
                  <a:schemeClr val="tx1">
                    <a:alpha val="70000"/>
                  </a:schemeClr>
                </a:solidFill>
                <a:latin typeface="RBC Text" panose="02000000000000000000" pitchFamily="2" charset="77"/>
              </a:rPr>
              <a:t> error sit</a:t>
            </a:r>
          </a:p>
        </p:txBody>
      </p:sp>
      <p:sp>
        <p:nvSpPr>
          <p:cNvPr id="19" name="Text Placeholder 6">
            <a:extLst>
              <a:ext uri="{FF2B5EF4-FFF2-40B4-BE49-F238E27FC236}">
                <a16:creationId xmlns:a16="http://schemas.microsoft.com/office/drawing/2014/main" id="{AD2551F1-3A2C-594B-9A9A-235D33648A28}"/>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86512818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ypto TimeLine</a:t>
            </a:r>
          </a:p>
        </p:txBody>
      </p:sp>
      <p:cxnSp>
        <p:nvCxnSpPr>
          <p:cNvPr id="3" name="Straight Connector 2"/>
          <p:cNvCxnSpPr/>
          <p:nvPr/>
        </p:nvCxnSpPr>
        <p:spPr>
          <a:xfrm>
            <a:off x="3025676" y="4254060"/>
            <a:ext cx="1903257" cy="0"/>
          </a:xfrm>
          <a:prstGeom prst="line">
            <a:avLst/>
          </a:prstGeom>
          <a:ln w="38100" cap="flat">
            <a:solidFill>
              <a:schemeClr val="accent2"/>
            </a:solidFill>
            <a:miter lim="800000"/>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927102" y="5042592"/>
            <a:ext cx="1903256" cy="572464"/>
          </a:xfrm>
          <a:prstGeom prst="rect">
            <a:avLst/>
          </a:prstGeom>
          <a:noFill/>
        </p:spPr>
        <p:txBody>
          <a:bodyPr wrap="square" lIns="0" rIns="0" rtlCol="0">
            <a:spAutoFit/>
          </a:bodyPr>
          <a:lstStyle/>
          <a:p>
            <a:pPr>
              <a:lnSpc>
                <a:spcPct val="130000"/>
              </a:lnSpc>
            </a:pPr>
            <a:r>
              <a:rPr lang="en-US" sz="1200" dirty="0" err="1">
                <a:solidFill>
                  <a:schemeClr val="tx1">
                    <a:alpha val="70000"/>
                  </a:schemeClr>
                </a:solidFill>
                <a:latin typeface="RBC Text" panose="02000000000000000000" pitchFamily="2" charset="77"/>
              </a:rPr>
              <a:t>Kik</a:t>
            </a:r>
            <a:r>
              <a:rPr lang="en-US" sz="1200" dirty="0">
                <a:solidFill>
                  <a:schemeClr val="tx1">
                    <a:alpha val="70000"/>
                  </a:schemeClr>
                </a:solidFill>
                <a:latin typeface="RBC Text" panose="02000000000000000000" pitchFamily="2" charset="77"/>
              </a:rPr>
              <a:t> announces cryptocurrency as a first</a:t>
            </a:r>
          </a:p>
        </p:txBody>
      </p:sp>
      <p:sp>
        <p:nvSpPr>
          <p:cNvPr id="6" name="TextBox 5"/>
          <p:cNvSpPr txBox="1"/>
          <p:nvPr/>
        </p:nvSpPr>
        <p:spPr>
          <a:xfrm>
            <a:off x="927101" y="4321597"/>
            <a:ext cx="1311256" cy="369332"/>
          </a:xfrm>
          <a:prstGeom prst="rect">
            <a:avLst/>
          </a:prstGeom>
          <a:noFill/>
        </p:spPr>
        <p:txBody>
          <a:bodyPr wrap="none" lIns="0" rIns="0" rtlCol="0">
            <a:spAutoFit/>
          </a:bodyPr>
          <a:lstStyle/>
          <a:p>
            <a:r>
              <a:rPr lang="en-US" dirty="0">
                <a:solidFill>
                  <a:schemeClr val="accent1"/>
                </a:solidFill>
                <a:latin typeface="RBC Display" panose="02000000000000000000" pitchFamily="2" charset="77"/>
                <a:ea typeface="Source Sans Pro" charset="0"/>
                <a:cs typeface="Source Sans Pro" charset="0"/>
              </a:rPr>
              <a:t>May 25, 2017</a:t>
            </a:r>
          </a:p>
        </p:txBody>
      </p:sp>
      <p:cxnSp>
        <p:nvCxnSpPr>
          <p:cNvPr id="7" name="Straight Connector 6"/>
          <p:cNvCxnSpPr/>
          <p:nvPr/>
        </p:nvCxnSpPr>
        <p:spPr>
          <a:xfrm>
            <a:off x="927102" y="4774874"/>
            <a:ext cx="1903257" cy="0"/>
          </a:xfrm>
          <a:prstGeom prst="line">
            <a:avLst/>
          </a:prstGeom>
          <a:ln w="381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927101" y="4795933"/>
            <a:ext cx="1903257" cy="120516"/>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cxnSp>
        <p:nvCxnSpPr>
          <p:cNvPr id="9" name="Straight Connector 8"/>
          <p:cNvCxnSpPr/>
          <p:nvPr/>
        </p:nvCxnSpPr>
        <p:spPr>
          <a:xfrm flipH="1">
            <a:off x="2830359" y="4252044"/>
            <a:ext cx="198916" cy="522830"/>
          </a:xfrm>
          <a:prstGeom prst="line">
            <a:avLst/>
          </a:prstGeom>
          <a:ln w="38100" cap="rnd">
            <a:gradFill>
              <a:gsLst>
                <a:gs pos="0">
                  <a:schemeClr val="accent2"/>
                </a:gs>
                <a:gs pos="99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126605" y="3731230"/>
            <a:ext cx="1903257" cy="0"/>
          </a:xfrm>
          <a:prstGeom prst="line">
            <a:avLst/>
          </a:prstGeom>
          <a:ln w="38100" cap="flat">
            <a:solidFill>
              <a:schemeClr val="accent3"/>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4931288" y="3729214"/>
            <a:ext cx="198916" cy="522830"/>
          </a:xfrm>
          <a:prstGeom prst="line">
            <a:avLst/>
          </a:prstGeom>
          <a:ln w="38100" cap="rnd">
            <a:gradFill>
              <a:gsLst>
                <a:gs pos="0">
                  <a:schemeClr val="accent3"/>
                </a:gs>
                <a:gs pos="98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225178" y="3208400"/>
            <a:ext cx="1903257" cy="0"/>
          </a:xfrm>
          <a:prstGeom prst="line">
            <a:avLst/>
          </a:prstGeom>
          <a:ln w="38100" cap="flat">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7029861" y="3206384"/>
            <a:ext cx="198916" cy="522830"/>
          </a:xfrm>
          <a:prstGeom prst="line">
            <a:avLst/>
          </a:prstGeom>
          <a:ln w="38100" cap="rnd">
            <a:gradFill>
              <a:gsLst>
                <a:gs pos="0">
                  <a:schemeClr val="accent4"/>
                </a:gs>
                <a:gs pos="99000">
                  <a:schemeClr val="accent3"/>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9323751" y="2685570"/>
            <a:ext cx="2868249" cy="0"/>
          </a:xfrm>
          <a:prstGeom prst="line">
            <a:avLst/>
          </a:prstGeom>
          <a:ln w="38100"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sp>
        <p:nvSpPr>
          <p:cNvPr id="17" name="Rectangle 67"/>
          <p:cNvSpPr/>
          <p:nvPr/>
        </p:nvSpPr>
        <p:spPr>
          <a:xfrm>
            <a:off x="9280550" y="2706628"/>
            <a:ext cx="2911450" cy="130455"/>
          </a:xfrm>
          <a:custGeom>
            <a:avLst/>
            <a:gdLst>
              <a:gd name="connsiteX0" fmla="*/ 0 w 1903257"/>
              <a:gd name="connsiteY0" fmla="*/ 0 h 120516"/>
              <a:gd name="connsiteX1" fmla="*/ 1903257 w 1903257"/>
              <a:gd name="connsiteY1" fmla="*/ 0 h 120516"/>
              <a:gd name="connsiteX2" fmla="*/ 1903257 w 1903257"/>
              <a:gd name="connsiteY2" fmla="*/ 120516 h 120516"/>
              <a:gd name="connsiteX3" fmla="*/ 0 w 1903257"/>
              <a:gd name="connsiteY3" fmla="*/ 120516 h 120516"/>
              <a:gd name="connsiteX4" fmla="*/ 0 w 1903257"/>
              <a:gd name="connsiteY4" fmla="*/ 0 h 120516"/>
              <a:gd name="connsiteX0" fmla="*/ 43200 w 1946457"/>
              <a:gd name="connsiteY0" fmla="*/ 0 h 120516"/>
              <a:gd name="connsiteX1" fmla="*/ 1946457 w 1946457"/>
              <a:gd name="connsiteY1" fmla="*/ 0 h 120516"/>
              <a:gd name="connsiteX2" fmla="*/ 1946457 w 1946457"/>
              <a:gd name="connsiteY2" fmla="*/ 120516 h 120516"/>
              <a:gd name="connsiteX3" fmla="*/ 0 w 1946457"/>
              <a:gd name="connsiteY3" fmla="*/ 120516 h 120516"/>
              <a:gd name="connsiteX4" fmla="*/ 43200 w 1946457"/>
              <a:gd name="connsiteY4" fmla="*/ 0 h 120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457" h="120516">
                <a:moveTo>
                  <a:pt x="43200" y="0"/>
                </a:moveTo>
                <a:lnTo>
                  <a:pt x="1946457" y="0"/>
                </a:lnTo>
                <a:lnTo>
                  <a:pt x="1946457" y="120516"/>
                </a:lnTo>
                <a:lnTo>
                  <a:pt x="0" y="120516"/>
                </a:lnTo>
                <a:lnTo>
                  <a:pt x="43200" y="0"/>
                </a:lnTo>
                <a:close/>
              </a:path>
            </a:pathLst>
          </a:custGeom>
          <a:pattFill prst="wdUpDiag">
            <a:fgClr>
              <a:schemeClr val="accent5"/>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cxnSp>
        <p:nvCxnSpPr>
          <p:cNvPr id="18" name="Straight Connector 17"/>
          <p:cNvCxnSpPr/>
          <p:nvPr/>
        </p:nvCxnSpPr>
        <p:spPr>
          <a:xfrm flipH="1">
            <a:off x="9128434" y="2683554"/>
            <a:ext cx="198916" cy="522830"/>
          </a:xfrm>
          <a:prstGeom prst="line">
            <a:avLst/>
          </a:prstGeom>
          <a:ln w="38100" cap="rnd">
            <a:gradFill>
              <a:gsLst>
                <a:gs pos="0">
                  <a:schemeClr val="accent5"/>
                </a:gs>
                <a:gs pos="98000">
                  <a:schemeClr val="accent4"/>
                </a:gs>
              </a:gsLst>
              <a:lin ang="5400000" scaled="1"/>
            </a:gra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025677" y="4517081"/>
            <a:ext cx="1903256" cy="1032655"/>
          </a:xfrm>
          <a:prstGeom prst="rect">
            <a:avLst/>
          </a:prstGeom>
          <a:noFill/>
        </p:spPr>
        <p:txBody>
          <a:bodyPr wrap="square" lIns="0" rIns="0" rtlCol="0">
            <a:spAutoFit/>
          </a:bodyPr>
          <a:lstStyle/>
          <a:p>
            <a:pPr>
              <a:lnSpc>
                <a:spcPct val="130000"/>
              </a:lnSpc>
            </a:pPr>
            <a:r>
              <a:rPr lang="en-US" sz="1200" dirty="0">
                <a:solidFill>
                  <a:schemeClr val="tx1">
                    <a:alpha val="70000"/>
                  </a:schemeClr>
                </a:solidFill>
                <a:latin typeface="RBC Text" panose="02000000000000000000" pitchFamily="2" charset="77"/>
              </a:rPr>
              <a:t>Token sale concludes, raising nearly $100M from 10,026 individuals across 117 countries</a:t>
            </a:r>
          </a:p>
        </p:txBody>
      </p:sp>
      <p:sp>
        <p:nvSpPr>
          <p:cNvPr id="20" name="TextBox 19"/>
          <p:cNvSpPr txBox="1"/>
          <p:nvPr/>
        </p:nvSpPr>
        <p:spPr>
          <a:xfrm>
            <a:off x="3025676" y="3796086"/>
            <a:ext cx="812723" cy="369332"/>
          </a:xfrm>
          <a:prstGeom prst="rect">
            <a:avLst/>
          </a:prstGeom>
          <a:noFill/>
        </p:spPr>
        <p:txBody>
          <a:bodyPr wrap="none" lIns="0" rIns="0" rtlCol="0">
            <a:spAutoFit/>
          </a:bodyPr>
          <a:lstStyle/>
          <a:p>
            <a:r>
              <a:rPr lang="de-DE" dirty="0">
                <a:latin typeface="RBC Display" panose="02000000000000000000" pitchFamily="2" charset="77"/>
                <a:ea typeface="Source Sans Pro" charset="0"/>
                <a:cs typeface="Source Sans Pro" charset="0"/>
              </a:rPr>
              <a:t>Q4 2017</a:t>
            </a:r>
            <a:endParaRPr lang="en-US" dirty="0">
              <a:latin typeface="RBC Display" panose="02000000000000000000" pitchFamily="2" charset="77"/>
              <a:ea typeface="Source Sans Pro" charset="0"/>
              <a:cs typeface="Source Sans Pro" charset="0"/>
            </a:endParaRPr>
          </a:p>
        </p:txBody>
      </p:sp>
      <p:sp>
        <p:nvSpPr>
          <p:cNvPr id="21" name="TextBox 20"/>
          <p:cNvSpPr txBox="1"/>
          <p:nvPr/>
        </p:nvSpPr>
        <p:spPr>
          <a:xfrm>
            <a:off x="5126606" y="3975514"/>
            <a:ext cx="1903256" cy="1038746"/>
          </a:xfrm>
          <a:prstGeom prst="rect">
            <a:avLst/>
          </a:prstGeom>
          <a:noFill/>
        </p:spPr>
        <p:txBody>
          <a:bodyPr wrap="square" lIns="0" rIns="0" rtlCol="0">
            <a:spAutoFit/>
          </a:bodyPr>
          <a:lstStyle/>
          <a:p>
            <a:pPr>
              <a:lnSpc>
                <a:spcPct val="130000"/>
              </a:lnSpc>
            </a:pPr>
            <a:r>
              <a:rPr lang="en-US" sz="1200" dirty="0">
                <a:solidFill>
                  <a:schemeClr val="tx1">
                    <a:alpha val="70000"/>
                  </a:schemeClr>
                </a:solidFill>
                <a:latin typeface="RBC Text" panose="02000000000000000000" pitchFamily="2" charset="77"/>
              </a:rPr>
              <a:t>A peep at some distant orb has power to raise and purify our thoughts like a strain.</a:t>
            </a:r>
          </a:p>
        </p:txBody>
      </p:sp>
      <p:sp>
        <p:nvSpPr>
          <p:cNvPr id="22" name="TextBox 21"/>
          <p:cNvSpPr txBox="1"/>
          <p:nvPr/>
        </p:nvSpPr>
        <p:spPr>
          <a:xfrm>
            <a:off x="5126605" y="3254519"/>
            <a:ext cx="751809" cy="369332"/>
          </a:xfrm>
          <a:prstGeom prst="rect">
            <a:avLst/>
          </a:prstGeom>
          <a:noFill/>
        </p:spPr>
        <p:txBody>
          <a:bodyPr wrap="none" lIns="0" rIns="0" rtlCol="0">
            <a:spAutoFit/>
          </a:bodyPr>
          <a:lstStyle/>
          <a:p>
            <a:r>
              <a:rPr lang="cs-CZ" dirty="0">
                <a:latin typeface="RBC Display" panose="02000000000000000000" pitchFamily="2" charset="77"/>
                <a:ea typeface="Source Sans Pro" charset="0"/>
                <a:cs typeface="Source Sans Pro" charset="0"/>
              </a:rPr>
              <a:t>Q1 2018</a:t>
            </a:r>
            <a:endParaRPr lang="en-US" dirty="0">
              <a:latin typeface="RBC Display" panose="02000000000000000000" pitchFamily="2" charset="77"/>
              <a:ea typeface="Source Sans Pro" charset="0"/>
              <a:cs typeface="Source Sans Pro" charset="0"/>
            </a:endParaRPr>
          </a:p>
        </p:txBody>
      </p:sp>
      <p:sp>
        <p:nvSpPr>
          <p:cNvPr id="23" name="TextBox 22"/>
          <p:cNvSpPr txBox="1"/>
          <p:nvPr/>
        </p:nvSpPr>
        <p:spPr>
          <a:xfrm>
            <a:off x="7225179" y="3469114"/>
            <a:ext cx="1903256" cy="1038746"/>
          </a:xfrm>
          <a:prstGeom prst="rect">
            <a:avLst/>
          </a:prstGeom>
          <a:noFill/>
        </p:spPr>
        <p:txBody>
          <a:bodyPr wrap="square" lIns="0" rIns="0" rtlCol="0">
            <a:spAutoFit/>
          </a:bodyPr>
          <a:lstStyle/>
          <a:p>
            <a:pPr>
              <a:lnSpc>
                <a:spcPct val="130000"/>
              </a:lnSpc>
            </a:pPr>
            <a:r>
              <a:rPr lang="en-US" sz="1200" dirty="0">
                <a:solidFill>
                  <a:schemeClr val="tx1">
                    <a:alpha val="70000"/>
                  </a:schemeClr>
                </a:solidFill>
                <a:latin typeface="RBC Text" panose="02000000000000000000" pitchFamily="2" charset="77"/>
              </a:rPr>
              <a:t>A peep at some distant orb has power to raise and purify our thoughts like a strain.</a:t>
            </a:r>
          </a:p>
        </p:txBody>
      </p:sp>
      <p:sp>
        <p:nvSpPr>
          <p:cNvPr id="24" name="TextBox 23"/>
          <p:cNvSpPr txBox="1"/>
          <p:nvPr/>
        </p:nvSpPr>
        <p:spPr>
          <a:xfrm>
            <a:off x="7225178" y="2748119"/>
            <a:ext cx="812723" cy="369332"/>
          </a:xfrm>
          <a:prstGeom prst="rect">
            <a:avLst/>
          </a:prstGeom>
          <a:noFill/>
        </p:spPr>
        <p:txBody>
          <a:bodyPr wrap="none" lIns="0" rIns="0" rtlCol="0">
            <a:spAutoFit/>
          </a:bodyPr>
          <a:lstStyle/>
          <a:p>
            <a:r>
              <a:rPr lang="cs-CZ" dirty="0">
                <a:latin typeface="RBC Display" panose="02000000000000000000" pitchFamily="2" charset="77"/>
                <a:ea typeface="Source Sans Pro" charset="0"/>
                <a:cs typeface="Source Sans Pro" charset="0"/>
              </a:rPr>
              <a:t>Q2 2018</a:t>
            </a:r>
            <a:endParaRPr lang="en-US" dirty="0">
              <a:latin typeface="RBC Display" panose="02000000000000000000" pitchFamily="2" charset="77"/>
              <a:ea typeface="Source Sans Pro" charset="0"/>
              <a:cs typeface="Source Sans Pro" charset="0"/>
            </a:endParaRPr>
          </a:p>
        </p:txBody>
      </p:sp>
      <p:sp>
        <p:nvSpPr>
          <p:cNvPr id="25" name="TextBox 24"/>
          <p:cNvSpPr txBox="1"/>
          <p:nvPr/>
        </p:nvSpPr>
        <p:spPr>
          <a:xfrm>
            <a:off x="9323752" y="2940848"/>
            <a:ext cx="1903256" cy="1038746"/>
          </a:xfrm>
          <a:prstGeom prst="rect">
            <a:avLst/>
          </a:prstGeom>
          <a:noFill/>
        </p:spPr>
        <p:txBody>
          <a:bodyPr wrap="square" lIns="0" rIns="0" rtlCol="0">
            <a:spAutoFit/>
          </a:bodyPr>
          <a:lstStyle/>
          <a:p>
            <a:pPr>
              <a:lnSpc>
                <a:spcPct val="130000"/>
              </a:lnSpc>
            </a:pPr>
            <a:r>
              <a:rPr lang="en-US" sz="1200" dirty="0">
                <a:solidFill>
                  <a:schemeClr val="tx1">
                    <a:alpha val="70000"/>
                  </a:schemeClr>
                </a:solidFill>
                <a:latin typeface="RBC Text" panose="02000000000000000000" pitchFamily="2" charset="77"/>
              </a:rPr>
              <a:t>A peep at some distant orb has power to raise and purify our thoughts like a strain.</a:t>
            </a:r>
          </a:p>
        </p:txBody>
      </p:sp>
      <p:sp>
        <p:nvSpPr>
          <p:cNvPr id="26" name="TextBox 25"/>
          <p:cNvSpPr txBox="1"/>
          <p:nvPr/>
        </p:nvSpPr>
        <p:spPr>
          <a:xfrm>
            <a:off x="9323751" y="2219853"/>
            <a:ext cx="812723" cy="369332"/>
          </a:xfrm>
          <a:prstGeom prst="rect">
            <a:avLst/>
          </a:prstGeom>
          <a:noFill/>
        </p:spPr>
        <p:txBody>
          <a:bodyPr wrap="none" lIns="0" rIns="0" rtlCol="0">
            <a:spAutoFit/>
          </a:bodyPr>
          <a:lstStyle/>
          <a:p>
            <a:r>
              <a:rPr lang="cs-CZ" dirty="0">
                <a:solidFill>
                  <a:schemeClr val="accent5"/>
                </a:solidFill>
                <a:latin typeface="RBC Display" panose="02000000000000000000" pitchFamily="2" charset="77"/>
                <a:ea typeface="Source Sans Pro" charset="0"/>
                <a:cs typeface="Source Sans Pro" charset="0"/>
              </a:rPr>
              <a:t>Q3 2018</a:t>
            </a:r>
            <a:endParaRPr lang="en-US" dirty="0">
              <a:solidFill>
                <a:schemeClr val="accent5"/>
              </a:solidFill>
              <a:latin typeface="RBC Display" panose="02000000000000000000" pitchFamily="2" charset="77"/>
              <a:ea typeface="Source Sans Pro" charset="0"/>
              <a:cs typeface="Source Sans Pro" charset="0"/>
            </a:endParaRPr>
          </a:p>
        </p:txBody>
      </p:sp>
      <p:sp>
        <p:nvSpPr>
          <p:cNvPr id="27" name="TextBox 26"/>
          <p:cNvSpPr txBox="1"/>
          <p:nvPr/>
        </p:nvSpPr>
        <p:spPr>
          <a:xfrm>
            <a:off x="927101" y="1864744"/>
            <a:ext cx="5148754" cy="318549"/>
          </a:xfrm>
          <a:prstGeom prst="rect">
            <a:avLst/>
          </a:prstGeom>
          <a:noFill/>
        </p:spPr>
        <p:txBody>
          <a:bodyPr wrap="square" lIns="0" rIns="0" rtlCol="0">
            <a:spAutoFit/>
          </a:bodyPr>
          <a:lstStyle/>
          <a:p>
            <a:pPr>
              <a:lnSpc>
                <a:spcPct val="130000"/>
              </a:lnSpc>
            </a:pPr>
            <a:r>
              <a:rPr lang="en-US" sz="1200" dirty="0">
                <a:solidFill>
                  <a:schemeClr val="tx1">
                    <a:alpha val="70000"/>
                  </a:schemeClr>
                </a:solidFill>
                <a:latin typeface="RBC Text" panose="02000000000000000000" pitchFamily="2" charset="77"/>
              </a:rPr>
              <a:t>Minimum purchase is 50 Coins tokens. Get a bonus from 5% to 25%</a:t>
            </a:r>
          </a:p>
        </p:txBody>
      </p:sp>
      <p:sp>
        <p:nvSpPr>
          <p:cNvPr id="28" name="Text Placeholder 6">
            <a:extLst>
              <a:ext uri="{FF2B5EF4-FFF2-40B4-BE49-F238E27FC236}">
                <a16:creationId xmlns:a16="http://schemas.microsoft.com/office/drawing/2014/main" id="{F1D3FB13-BA73-D347-89C0-CFED0854CDAC}"/>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25526716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4463759" y="2451813"/>
            <a:ext cx="3249980" cy="3249980"/>
          </a:xfrm>
          <a:prstGeom prst="ellipse">
            <a:avLst/>
          </a:prstGeom>
          <a:noFill/>
          <a:ln w="25400">
            <a:gradFill flip="none" rotWithShape="1">
              <a:gsLst>
                <a:gs pos="0">
                  <a:schemeClr val="accent1"/>
                </a:gs>
                <a:gs pos="26000">
                  <a:schemeClr val="accent2"/>
                </a:gs>
                <a:gs pos="49000">
                  <a:schemeClr val="accent3"/>
                </a:gs>
                <a:gs pos="100000">
                  <a:schemeClr val="accent5"/>
                </a:gs>
                <a:gs pos="74000">
                  <a:schemeClr val="accent4"/>
                </a:gs>
              </a:gsLst>
              <a:path path="circle">
                <a:fillToRect l="100000" t="100000"/>
              </a:path>
              <a:tileRect r="-100000" b="-10000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RBC Text" panose="02000000000000000000" pitchFamily="2" charset="77"/>
              </a:rPr>
              <a:t>What is CRYPTO Token?</a:t>
            </a:r>
          </a:p>
        </p:txBody>
      </p:sp>
      <p:sp>
        <p:nvSpPr>
          <p:cNvPr id="5" name="Oval 4"/>
          <p:cNvSpPr/>
          <p:nvPr/>
        </p:nvSpPr>
        <p:spPr>
          <a:xfrm>
            <a:off x="5581262" y="1987885"/>
            <a:ext cx="1014974" cy="101497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1400" dirty="0">
                <a:solidFill>
                  <a:srgbClr val="FFFFFF"/>
                </a:solidFill>
                <a:latin typeface="RBC Text" panose="02000000000000000000" pitchFamily="2" charset="77"/>
              </a:rPr>
              <a:t>Core value</a:t>
            </a:r>
          </a:p>
        </p:txBody>
      </p:sp>
      <p:sp>
        <p:nvSpPr>
          <p:cNvPr id="6" name="Oval 5"/>
          <p:cNvSpPr/>
          <p:nvPr/>
        </p:nvSpPr>
        <p:spPr>
          <a:xfrm>
            <a:off x="7194368" y="3187962"/>
            <a:ext cx="1014974" cy="101497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1400" dirty="0">
                <a:solidFill>
                  <a:srgbClr val="FFFFFF"/>
                </a:solidFill>
                <a:latin typeface="RBC Text" panose="02000000000000000000" pitchFamily="2" charset="77"/>
              </a:rPr>
              <a:t>Core value</a:t>
            </a:r>
          </a:p>
        </p:txBody>
      </p:sp>
      <p:sp>
        <p:nvSpPr>
          <p:cNvPr id="7" name="Oval 6"/>
          <p:cNvSpPr/>
          <p:nvPr/>
        </p:nvSpPr>
        <p:spPr>
          <a:xfrm>
            <a:off x="6595514" y="4880921"/>
            <a:ext cx="1014974" cy="101497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1400" dirty="0">
                <a:solidFill>
                  <a:srgbClr val="FFFFFF"/>
                </a:solidFill>
                <a:latin typeface="RBC Text" panose="02000000000000000000" pitchFamily="2" charset="77"/>
              </a:rPr>
              <a:t>Core value</a:t>
            </a:r>
          </a:p>
        </p:txBody>
      </p:sp>
      <p:sp>
        <p:nvSpPr>
          <p:cNvPr id="8" name="Oval 7"/>
          <p:cNvSpPr/>
          <p:nvPr/>
        </p:nvSpPr>
        <p:spPr>
          <a:xfrm>
            <a:off x="4566288" y="4880921"/>
            <a:ext cx="1014974" cy="1014974"/>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1400" dirty="0">
                <a:solidFill>
                  <a:srgbClr val="FFFFFF"/>
                </a:solidFill>
                <a:latin typeface="RBC Text" panose="02000000000000000000" pitchFamily="2" charset="77"/>
              </a:rPr>
              <a:t>Core value</a:t>
            </a:r>
          </a:p>
        </p:txBody>
      </p:sp>
      <p:sp>
        <p:nvSpPr>
          <p:cNvPr id="9" name="Oval 8"/>
          <p:cNvSpPr/>
          <p:nvPr/>
        </p:nvSpPr>
        <p:spPr>
          <a:xfrm>
            <a:off x="3968156" y="3187451"/>
            <a:ext cx="1014974" cy="1014974"/>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1400" dirty="0">
                <a:solidFill>
                  <a:srgbClr val="FFFFFF"/>
                </a:solidFill>
                <a:latin typeface="RBC Text" panose="02000000000000000000" pitchFamily="2" charset="77"/>
              </a:rPr>
              <a:t>Core value</a:t>
            </a:r>
          </a:p>
        </p:txBody>
      </p:sp>
      <p:sp>
        <p:nvSpPr>
          <p:cNvPr id="10" name="Oval 9"/>
          <p:cNvSpPr/>
          <p:nvPr/>
        </p:nvSpPr>
        <p:spPr>
          <a:xfrm>
            <a:off x="6222399" y="1935983"/>
            <a:ext cx="302671" cy="30267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11" name="Oval 10"/>
          <p:cNvSpPr/>
          <p:nvPr/>
        </p:nvSpPr>
        <p:spPr>
          <a:xfrm>
            <a:off x="7896117" y="3164515"/>
            <a:ext cx="302671" cy="30267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12" name="Oval 11"/>
          <p:cNvSpPr/>
          <p:nvPr/>
        </p:nvSpPr>
        <p:spPr>
          <a:xfrm>
            <a:off x="7280658" y="4828563"/>
            <a:ext cx="302671" cy="30267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13" name="Oval 12"/>
          <p:cNvSpPr/>
          <p:nvPr/>
        </p:nvSpPr>
        <p:spPr>
          <a:xfrm>
            <a:off x="4620313" y="3164515"/>
            <a:ext cx="302671" cy="30267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14" name="Oval 13"/>
          <p:cNvSpPr/>
          <p:nvPr/>
        </p:nvSpPr>
        <p:spPr>
          <a:xfrm>
            <a:off x="5247579" y="4828563"/>
            <a:ext cx="302671" cy="302671"/>
          </a:xfrm>
          <a:prstGeom prst="ellips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5</a:t>
            </a:r>
          </a:p>
        </p:txBody>
      </p:sp>
      <p:sp>
        <p:nvSpPr>
          <p:cNvPr id="15" name="TextBox 14"/>
          <p:cNvSpPr txBox="1"/>
          <p:nvPr/>
        </p:nvSpPr>
        <p:spPr>
          <a:xfrm>
            <a:off x="8495386" y="3273157"/>
            <a:ext cx="1903256" cy="1157240"/>
          </a:xfrm>
          <a:prstGeom prst="rect">
            <a:avLst/>
          </a:prstGeom>
          <a:noFill/>
        </p:spPr>
        <p:txBody>
          <a:bodyPr wrap="square" lIns="0" rIns="0" rtlCol="0">
            <a:spAutoFit/>
          </a:bodyPr>
          <a:lstStyle/>
          <a:p>
            <a:pPr>
              <a:lnSpc>
                <a:spcPct val="120000"/>
              </a:lnSpc>
              <a:spcBef>
                <a:spcPts val="600"/>
              </a:spcBef>
            </a:pPr>
            <a:r>
              <a:rPr lang="en-US"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16" name="TextBox 15"/>
          <p:cNvSpPr txBox="1"/>
          <p:nvPr/>
        </p:nvSpPr>
        <p:spPr>
          <a:xfrm>
            <a:off x="7886973" y="4939085"/>
            <a:ext cx="1903256" cy="1157240"/>
          </a:xfrm>
          <a:prstGeom prst="rect">
            <a:avLst/>
          </a:prstGeom>
          <a:noFill/>
        </p:spPr>
        <p:txBody>
          <a:bodyPr wrap="square" lIns="0" rIns="0" rtlCol="0">
            <a:spAutoFit/>
          </a:bodyPr>
          <a:lstStyle/>
          <a:p>
            <a:pPr>
              <a:lnSpc>
                <a:spcPct val="120000"/>
              </a:lnSpc>
              <a:spcBef>
                <a:spcPts val="600"/>
              </a:spcBef>
            </a:pPr>
            <a:r>
              <a:rPr lang="en-US"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17" name="TextBox 16"/>
          <p:cNvSpPr txBox="1"/>
          <p:nvPr/>
        </p:nvSpPr>
        <p:spPr>
          <a:xfrm>
            <a:off x="2407236" y="4939085"/>
            <a:ext cx="1903256" cy="1157240"/>
          </a:xfrm>
          <a:prstGeom prst="rect">
            <a:avLst/>
          </a:prstGeom>
          <a:noFill/>
        </p:spPr>
        <p:txBody>
          <a:bodyPr wrap="square" lIns="0" rIns="0" rtlCol="0">
            <a:spAutoFit/>
          </a:bodyPr>
          <a:lstStyle/>
          <a:p>
            <a:pPr algn="r">
              <a:lnSpc>
                <a:spcPct val="120000"/>
              </a:lnSpc>
              <a:spcBef>
                <a:spcPts val="600"/>
              </a:spcBef>
            </a:pPr>
            <a:r>
              <a:rPr lang="en-US" dirty="0">
                <a:latin typeface="RBC Text" panose="02000000000000000000" pitchFamily="2" charset="77"/>
              </a:rPr>
              <a:t>Write title here</a:t>
            </a:r>
          </a:p>
          <a:p>
            <a:pPr algn="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18" name="TextBox 17"/>
          <p:cNvSpPr txBox="1"/>
          <p:nvPr/>
        </p:nvSpPr>
        <p:spPr>
          <a:xfrm>
            <a:off x="1802183" y="3273157"/>
            <a:ext cx="1903256" cy="1157240"/>
          </a:xfrm>
          <a:prstGeom prst="rect">
            <a:avLst/>
          </a:prstGeom>
          <a:noFill/>
        </p:spPr>
        <p:txBody>
          <a:bodyPr wrap="square" lIns="0" rIns="0" rtlCol="0">
            <a:spAutoFit/>
          </a:bodyPr>
          <a:lstStyle/>
          <a:p>
            <a:pPr algn="r">
              <a:lnSpc>
                <a:spcPct val="120000"/>
              </a:lnSpc>
              <a:spcBef>
                <a:spcPts val="600"/>
              </a:spcBef>
            </a:pPr>
            <a:r>
              <a:rPr lang="en-US" dirty="0">
                <a:latin typeface="RBC Text" panose="02000000000000000000" pitchFamily="2" charset="77"/>
              </a:rPr>
              <a:t>Write title here</a:t>
            </a:r>
          </a:p>
          <a:p>
            <a:pPr algn="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19" name="TextBox 18"/>
          <p:cNvSpPr txBox="1"/>
          <p:nvPr/>
        </p:nvSpPr>
        <p:spPr>
          <a:xfrm>
            <a:off x="4967942" y="945551"/>
            <a:ext cx="2212504" cy="935641"/>
          </a:xfrm>
          <a:prstGeom prst="rect">
            <a:avLst/>
          </a:prstGeom>
          <a:noFill/>
        </p:spPr>
        <p:txBody>
          <a:bodyPr wrap="square" lIns="0" rIns="0" rtlCol="0">
            <a:spAutoFit/>
          </a:bodyPr>
          <a:lstStyle/>
          <a:p>
            <a:pPr algn="ctr">
              <a:lnSpc>
                <a:spcPct val="120000"/>
              </a:lnSpc>
              <a:spcBef>
                <a:spcPts val="600"/>
              </a:spcBef>
            </a:pPr>
            <a:r>
              <a:rPr lang="en-US" dirty="0">
                <a:latin typeface="RBC Text" panose="02000000000000000000" pitchFamily="2" charset="77"/>
              </a:rPr>
              <a:t>Write title here</a:t>
            </a:r>
          </a:p>
          <a:p>
            <a:pPr algn="ct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20" name="Text Placeholder 6">
            <a:extLst>
              <a:ext uri="{FF2B5EF4-FFF2-40B4-BE49-F238E27FC236}">
                <a16:creationId xmlns:a16="http://schemas.microsoft.com/office/drawing/2014/main" id="{73313482-7172-5D41-8196-FF21DB3609A3}"/>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20164743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a:t>
            </a:r>
            <a:r>
              <a:rPr lang="en-US" dirty="0" err="1"/>
              <a:t>GameCredits</a:t>
            </a:r>
            <a:endParaRPr lang="en-US" dirty="0"/>
          </a:p>
        </p:txBody>
      </p:sp>
      <p:sp>
        <p:nvSpPr>
          <p:cNvPr id="4" name="Left-Right Arrow 3"/>
          <p:cNvSpPr/>
          <p:nvPr/>
        </p:nvSpPr>
        <p:spPr>
          <a:xfrm flipH="1">
            <a:off x="1489966" y="2413446"/>
            <a:ext cx="9212068" cy="2969756"/>
          </a:xfrm>
          <a:prstGeom prst="leftRightArrow">
            <a:avLst/>
          </a:prstGeom>
          <a:gradFill>
            <a:gsLst>
              <a:gs pos="35000">
                <a:schemeClr val="accent1"/>
              </a:gs>
              <a:gs pos="63000">
                <a:schemeClr val="accent3"/>
              </a:gs>
            </a:gsLst>
            <a:lin ang="10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5" name="TextBox 4"/>
          <p:cNvSpPr txBox="1"/>
          <p:nvPr/>
        </p:nvSpPr>
        <p:spPr>
          <a:xfrm>
            <a:off x="3982546" y="5340178"/>
            <a:ext cx="1903256"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Arrow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cxnSp>
        <p:nvCxnSpPr>
          <p:cNvPr id="6" name="Straight Connector 5"/>
          <p:cNvCxnSpPr/>
          <p:nvPr/>
        </p:nvCxnSpPr>
        <p:spPr>
          <a:xfrm>
            <a:off x="6096000" y="2413446"/>
            <a:ext cx="0" cy="3102344"/>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966910" y="3499932"/>
            <a:ext cx="1903256" cy="797141"/>
          </a:xfrm>
          <a:prstGeom prst="rect">
            <a:avLst/>
          </a:prstGeom>
          <a:noFill/>
        </p:spPr>
        <p:txBody>
          <a:bodyPr wrap="square" lIns="0" rIns="0" rtlCol="0">
            <a:spAutoFit/>
          </a:bodyPr>
          <a:lstStyle/>
          <a:p>
            <a:pPr>
              <a:lnSpc>
                <a:spcPct val="120000"/>
              </a:lnSpc>
              <a:spcBef>
                <a:spcPts val="600"/>
              </a:spcBef>
            </a:pPr>
            <a:r>
              <a:rPr lang="en-US" sz="1400" dirty="0">
                <a:solidFill>
                  <a:srgbClr val="FFFFFF"/>
                </a:solidFill>
                <a:latin typeface="RBC Display" panose="02000000000000000000" pitchFamily="2" charset="77"/>
              </a:rPr>
              <a:t>Game over for cheaters</a:t>
            </a:r>
          </a:p>
          <a:p>
            <a:pPr>
              <a:lnSpc>
                <a:spcPct val="120000"/>
              </a:lnSpc>
              <a:spcBef>
                <a:spcPts val="600"/>
              </a:spcBef>
            </a:pPr>
            <a:r>
              <a:rPr lang="en-US" sz="1000" dirty="0">
                <a:solidFill>
                  <a:srgbClr val="FFFFFF"/>
                </a:solidFill>
                <a:latin typeface="RBC Text" panose="02000000000000000000" pitchFamily="2" charset="77"/>
              </a:rPr>
              <a:t>A peep at some distant orb has power to raise and purify.</a:t>
            </a:r>
          </a:p>
        </p:txBody>
      </p:sp>
      <p:sp>
        <p:nvSpPr>
          <p:cNvPr id="8" name="TextBox 7"/>
          <p:cNvSpPr txBox="1"/>
          <p:nvPr/>
        </p:nvSpPr>
        <p:spPr>
          <a:xfrm>
            <a:off x="7330979" y="3499932"/>
            <a:ext cx="1903256" cy="797141"/>
          </a:xfrm>
          <a:prstGeom prst="rect">
            <a:avLst/>
          </a:prstGeom>
          <a:noFill/>
        </p:spPr>
        <p:txBody>
          <a:bodyPr wrap="square" lIns="0" rIns="0" rtlCol="0">
            <a:spAutoFit/>
          </a:bodyPr>
          <a:lstStyle/>
          <a:p>
            <a:pPr algn="r">
              <a:lnSpc>
                <a:spcPct val="120000"/>
              </a:lnSpc>
              <a:spcBef>
                <a:spcPts val="600"/>
              </a:spcBef>
            </a:pPr>
            <a:r>
              <a:rPr lang="en-US" sz="1400" dirty="0">
                <a:solidFill>
                  <a:srgbClr val="FFFFFF"/>
                </a:solidFill>
                <a:latin typeface="RBC Display" panose="02000000000000000000" pitchFamily="2" charset="77"/>
              </a:rPr>
              <a:t>Lets you be invisible</a:t>
            </a:r>
          </a:p>
          <a:p>
            <a:pPr algn="r">
              <a:lnSpc>
                <a:spcPct val="120000"/>
              </a:lnSpc>
              <a:spcBef>
                <a:spcPts val="600"/>
              </a:spcBef>
            </a:pPr>
            <a:r>
              <a:rPr lang="en-US" sz="1000" dirty="0">
                <a:solidFill>
                  <a:srgbClr val="FFFFFF"/>
                </a:solidFill>
                <a:latin typeface="RBC Text" panose="02000000000000000000" pitchFamily="2" charset="77"/>
              </a:rPr>
              <a:t>A peep at some distant orb has power to raise and purify.</a:t>
            </a:r>
          </a:p>
        </p:txBody>
      </p:sp>
      <p:sp>
        <p:nvSpPr>
          <p:cNvPr id="9" name="Text Placeholder 6">
            <a:extLst>
              <a:ext uri="{FF2B5EF4-FFF2-40B4-BE49-F238E27FC236}">
                <a16:creationId xmlns:a16="http://schemas.microsoft.com/office/drawing/2014/main" id="{38FFBE11-15A7-074C-81C8-9CBAF83BD6E8}"/>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41953975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61"/>
          <p:cNvSpPr>
            <a:spLocks noChangeAspect="1" noChangeArrowheads="1" noTextEdit="1"/>
          </p:cNvSpPr>
          <p:nvPr/>
        </p:nvSpPr>
        <p:spPr bwMode="auto">
          <a:xfrm rot="766448">
            <a:off x="4544526" y="1868482"/>
            <a:ext cx="3379651" cy="337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4" name="Freeform 63"/>
          <p:cNvSpPr>
            <a:spLocks/>
          </p:cNvSpPr>
          <p:nvPr/>
        </p:nvSpPr>
        <p:spPr bwMode="auto">
          <a:xfrm rot="766448">
            <a:off x="5158747" y="2014112"/>
            <a:ext cx="1897942" cy="973865"/>
          </a:xfrm>
          <a:custGeom>
            <a:avLst/>
            <a:gdLst>
              <a:gd name="T0" fmla="*/ 743 w 1198"/>
              <a:gd name="T1" fmla="*/ 506 h 615"/>
              <a:gd name="T2" fmla="*/ 789 w 1198"/>
              <a:gd name="T3" fmla="*/ 491 h 615"/>
              <a:gd name="T4" fmla="*/ 748 w 1198"/>
              <a:gd name="T5" fmla="*/ 443 h 615"/>
              <a:gd name="T6" fmla="*/ 711 w 1198"/>
              <a:gd name="T7" fmla="*/ 386 h 615"/>
              <a:gd name="T8" fmla="*/ 640 w 1198"/>
              <a:gd name="T9" fmla="*/ 259 h 615"/>
              <a:gd name="T10" fmla="*/ 572 w 1198"/>
              <a:gd name="T11" fmla="*/ 127 h 615"/>
              <a:gd name="T12" fmla="*/ 873 w 1198"/>
              <a:gd name="T13" fmla="*/ 108 h 615"/>
              <a:gd name="T14" fmla="*/ 1158 w 1198"/>
              <a:gd name="T15" fmla="*/ 172 h 615"/>
              <a:gd name="T16" fmla="*/ 1159 w 1198"/>
              <a:gd name="T17" fmla="*/ 170 h 615"/>
              <a:gd name="T18" fmla="*/ 1162 w 1198"/>
              <a:gd name="T19" fmla="*/ 172 h 615"/>
              <a:gd name="T20" fmla="*/ 1198 w 1198"/>
              <a:gd name="T21" fmla="*/ 78 h 615"/>
              <a:gd name="T22" fmla="*/ 914 w 1198"/>
              <a:gd name="T23" fmla="*/ 11 h 615"/>
              <a:gd name="T24" fmla="*/ 612 w 1198"/>
              <a:gd name="T25" fmla="*/ 18 h 615"/>
              <a:gd name="T26" fmla="*/ 345 w 1198"/>
              <a:gd name="T27" fmla="*/ 99 h 615"/>
              <a:gd name="T28" fmla="*/ 118 w 1198"/>
              <a:gd name="T29" fmla="*/ 239 h 615"/>
              <a:gd name="T30" fmla="*/ 0 w 1198"/>
              <a:gd name="T31" fmla="*/ 342 h 615"/>
              <a:gd name="T32" fmla="*/ 69 w 1198"/>
              <a:gd name="T33" fmla="*/ 410 h 615"/>
              <a:gd name="T34" fmla="*/ 71 w 1198"/>
              <a:gd name="T35" fmla="*/ 412 h 615"/>
              <a:gd name="T36" fmla="*/ 165 w 1198"/>
              <a:gd name="T37" fmla="*/ 329 h 615"/>
              <a:gd name="T38" fmla="*/ 271 w 1198"/>
              <a:gd name="T39" fmla="*/ 253 h 615"/>
              <a:gd name="T40" fmla="*/ 352 w 1198"/>
              <a:gd name="T41" fmla="*/ 206 h 615"/>
              <a:gd name="T42" fmla="*/ 506 w 1198"/>
              <a:gd name="T43" fmla="*/ 448 h 615"/>
              <a:gd name="T44" fmla="*/ 578 w 1198"/>
              <a:gd name="T45" fmla="*/ 551 h 615"/>
              <a:gd name="T46" fmla="*/ 578 w 1198"/>
              <a:gd name="T47" fmla="*/ 551 h 615"/>
              <a:gd name="T48" fmla="*/ 639 w 1198"/>
              <a:gd name="T49" fmla="*/ 615 h 615"/>
              <a:gd name="T50" fmla="*/ 743 w 1198"/>
              <a:gd name="T51" fmla="*/ 506 h 615"/>
              <a:gd name="T52" fmla="*/ 743 w 1198"/>
              <a:gd name="T53" fmla="*/ 506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8" h="615">
                <a:moveTo>
                  <a:pt x="743" y="506"/>
                </a:moveTo>
                <a:cubicBezTo>
                  <a:pt x="762" y="495"/>
                  <a:pt x="777" y="491"/>
                  <a:pt x="789" y="491"/>
                </a:cubicBezTo>
                <a:cubicBezTo>
                  <a:pt x="775" y="476"/>
                  <a:pt x="760" y="460"/>
                  <a:pt x="748" y="443"/>
                </a:cubicBezTo>
                <a:cubicBezTo>
                  <a:pt x="735" y="425"/>
                  <a:pt x="723" y="405"/>
                  <a:pt x="711" y="386"/>
                </a:cubicBezTo>
                <a:cubicBezTo>
                  <a:pt x="686" y="344"/>
                  <a:pt x="663" y="302"/>
                  <a:pt x="640" y="259"/>
                </a:cubicBezTo>
                <a:cubicBezTo>
                  <a:pt x="617" y="215"/>
                  <a:pt x="594" y="171"/>
                  <a:pt x="572" y="127"/>
                </a:cubicBezTo>
                <a:cubicBezTo>
                  <a:pt x="670" y="105"/>
                  <a:pt x="772" y="99"/>
                  <a:pt x="873" y="108"/>
                </a:cubicBezTo>
                <a:cubicBezTo>
                  <a:pt x="970" y="116"/>
                  <a:pt x="1067" y="137"/>
                  <a:pt x="1158" y="172"/>
                </a:cubicBezTo>
                <a:cubicBezTo>
                  <a:pt x="1159" y="170"/>
                  <a:pt x="1159" y="170"/>
                  <a:pt x="1159" y="170"/>
                </a:cubicBezTo>
                <a:cubicBezTo>
                  <a:pt x="1160" y="171"/>
                  <a:pt x="1161" y="171"/>
                  <a:pt x="1162" y="172"/>
                </a:cubicBezTo>
                <a:cubicBezTo>
                  <a:pt x="1198" y="78"/>
                  <a:pt x="1198" y="78"/>
                  <a:pt x="1198" y="78"/>
                </a:cubicBezTo>
                <a:cubicBezTo>
                  <a:pt x="1107" y="43"/>
                  <a:pt x="1011" y="22"/>
                  <a:pt x="914" y="11"/>
                </a:cubicBezTo>
                <a:cubicBezTo>
                  <a:pt x="814" y="0"/>
                  <a:pt x="712" y="2"/>
                  <a:pt x="612" y="18"/>
                </a:cubicBezTo>
                <a:cubicBezTo>
                  <a:pt x="520" y="33"/>
                  <a:pt x="430" y="60"/>
                  <a:pt x="345" y="99"/>
                </a:cubicBezTo>
                <a:cubicBezTo>
                  <a:pt x="264" y="136"/>
                  <a:pt x="188" y="184"/>
                  <a:pt x="118" y="239"/>
                </a:cubicBezTo>
                <a:cubicBezTo>
                  <a:pt x="77" y="271"/>
                  <a:pt x="36" y="305"/>
                  <a:pt x="0" y="342"/>
                </a:cubicBezTo>
                <a:cubicBezTo>
                  <a:pt x="69" y="410"/>
                  <a:pt x="69" y="410"/>
                  <a:pt x="69" y="410"/>
                </a:cubicBezTo>
                <a:cubicBezTo>
                  <a:pt x="71" y="412"/>
                  <a:pt x="71" y="412"/>
                  <a:pt x="71" y="412"/>
                </a:cubicBezTo>
                <a:cubicBezTo>
                  <a:pt x="100" y="382"/>
                  <a:pt x="133" y="355"/>
                  <a:pt x="165" y="329"/>
                </a:cubicBezTo>
                <a:cubicBezTo>
                  <a:pt x="199" y="302"/>
                  <a:pt x="234" y="276"/>
                  <a:pt x="271" y="253"/>
                </a:cubicBezTo>
                <a:cubicBezTo>
                  <a:pt x="297" y="236"/>
                  <a:pt x="324" y="220"/>
                  <a:pt x="352" y="206"/>
                </a:cubicBezTo>
                <a:cubicBezTo>
                  <a:pt x="402" y="288"/>
                  <a:pt x="453" y="369"/>
                  <a:pt x="506" y="448"/>
                </a:cubicBezTo>
                <a:cubicBezTo>
                  <a:pt x="529" y="483"/>
                  <a:pt x="551" y="518"/>
                  <a:pt x="578" y="551"/>
                </a:cubicBezTo>
                <a:cubicBezTo>
                  <a:pt x="578" y="551"/>
                  <a:pt x="578" y="551"/>
                  <a:pt x="578" y="551"/>
                </a:cubicBezTo>
                <a:cubicBezTo>
                  <a:pt x="596" y="574"/>
                  <a:pt x="618" y="595"/>
                  <a:pt x="639" y="615"/>
                </a:cubicBezTo>
                <a:cubicBezTo>
                  <a:pt x="658" y="555"/>
                  <a:pt x="715" y="521"/>
                  <a:pt x="743" y="506"/>
                </a:cubicBezTo>
                <a:cubicBezTo>
                  <a:pt x="762" y="495"/>
                  <a:pt x="715" y="521"/>
                  <a:pt x="743" y="506"/>
                </a:cubicBezTo>
                <a:close/>
              </a:path>
            </a:pathLst>
          </a:custGeom>
          <a:solidFill>
            <a:schemeClr val="bg1"/>
          </a:solidFill>
          <a:ln w="25400">
            <a:solidFill>
              <a:schemeClr val="accent1"/>
            </a:solidFill>
            <a:miter lim="800000"/>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5" name="Freeform 64"/>
          <p:cNvSpPr>
            <a:spLocks/>
          </p:cNvSpPr>
          <p:nvPr/>
        </p:nvSpPr>
        <p:spPr bwMode="auto">
          <a:xfrm rot="766448">
            <a:off x="6306611" y="3356374"/>
            <a:ext cx="800601" cy="776702"/>
          </a:xfrm>
          <a:custGeom>
            <a:avLst/>
            <a:gdLst>
              <a:gd name="T0" fmla="*/ 144 w 505"/>
              <a:gd name="T1" fmla="*/ 37 h 490"/>
              <a:gd name="T2" fmla="*/ 74 w 505"/>
              <a:gd name="T3" fmla="*/ 68 h 490"/>
              <a:gd name="T4" fmla="*/ 30 w 505"/>
              <a:gd name="T5" fmla="*/ 87 h 490"/>
              <a:gd name="T6" fmla="*/ 0 w 505"/>
              <a:gd name="T7" fmla="*/ 100 h 490"/>
              <a:gd name="T8" fmla="*/ 103 w 505"/>
              <a:gd name="T9" fmla="*/ 191 h 490"/>
              <a:gd name="T10" fmla="*/ 129 w 505"/>
              <a:gd name="T11" fmla="*/ 336 h 490"/>
              <a:gd name="T12" fmla="*/ 149 w 505"/>
              <a:gd name="T13" fmla="*/ 355 h 490"/>
              <a:gd name="T14" fmla="*/ 188 w 505"/>
              <a:gd name="T15" fmla="*/ 391 h 490"/>
              <a:gd name="T16" fmla="*/ 223 w 505"/>
              <a:gd name="T17" fmla="*/ 423 h 490"/>
              <a:gd name="T18" fmla="*/ 279 w 505"/>
              <a:gd name="T19" fmla="*/ 475 h 490"/>
              <a:gd name="T20" fmla="*/ 336 w 505"/>
              <a:gd name="T21" fmla="*/ 482 h 490"/>
              <a:gd name="T22" fmla="*/ 352 w 505"/>
              <a:gd name="T23" fmla="*/ 465 h 490"/>
              <a:gd name="T24" fmla="*/ 354 w 505"/>
              <a:gd name="T25" fmla="*/ 441 h 490"/>
              <a:gd name="T26" fmla="*/ 361 w 505"/>
              <a:gd name="T27" fmla="*/ 429 h 490"/>
              <a:gd name="T28" fmla="*/ 383 w 505"/>
              <a:gd name="T29" fmla="*/ 422 h 490"/>
              <a:gd name="T30" fmla="*/ 403 w 505"/>
              <a:gd name="T31" fmla="*/ 404 h 490"/>
              <a:gd name="T32" fmla="*/ 404 w 505"/>
              <a:gd name="T33" fmla="*/ 379 h 490"/>
              <a:gd name="T34" fmla="*/ 442 w 505"/>
              <a:gd name="T35" fmla="*/ 357 h 490"/>
              <a:gd name="T36" fmla="*/ 456 w 505"/>
              <a:gd name="T37" fmla="*/ 339 h 490"/>
              <a:gd name="T38" fmla="*/ 457 w 505"/>
              <a:gd name="T39" fmla="*/ 315 h 490"/>
              <a:gd name="T40" fmla="*/ 462 w 505"/>
              <a:gd name="T41" fmla="*/ 300 h 490"/>
              <a:gd name="T42" fmla="*/ 480 w 505"/>
              <a:gd name="T43" fmla="*/ 295 h 490"/>
              <a:gd name="T44" fmla="*/ 500 w 505"/>
              <a:gd name="T45" fmla="*/ 249 h 490"/>
              <a:gd name="T46" fmla="*/ 484 w 505"/>
              <a:gd name="T47" fmla="*/ 221 h 490"/>
              <a:gd name="T48" fmla="*/ 448 w 505"/>
              <a:gd name="T49" fmla="*/ 187 h 490"/>
              <a:gd name="T50" fmla="*/ 458 w 505"/>
              <a:gd name="T51" fmla="*/ 152 h 490"/>
              <a:gd name="T52" fmla="*/ 428 w 505"/>
              <a:gd name="T53" fmla="*/ 110 h 490"/>
              <a:gd name="T54" fmla="*/ 333 w 505"/>
              <a:gd name="T55" fmla="*/ 52 h 490"/>
              <a:gd name="T56" fmla="*/ 303 w 505"/>
              <a:gd name="T57" fmla="*/ 46 h 490"/>
              <a:gd name="T58" fmla="*/ 303 w 505"/>
              <a:gd name="T59" fmla="*/ 45 h 490"/>
              <a:gd name="T60" fmla="*/ 237 w 505"/>
              <a:gd name="T61" fmla="*/ 56 h 490"/>
              <a:gd name="T62" fmla="*/ 225 w 505"/>
              <a:gd name="T63" fmla="*/ 46 h 490"/>
              <a:gd name="T64" fmla="*/ 225 w 505"/>
              <a:gd name="T65" fmla="*/ 46 h 490"/>
              <a:gd name="T66" fmla="*/ 172 w 505"/>
              <a:gd name="T67" fmla="*/ 0 h 490"/>
              <a:gd name="T68" fmla="*/ 144 w 505"/>
              <a:gd name="T69" fmla="*/ 3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5" h="490">
                <a:moveTo>
                  <a:pt x="144" y="37"/>
                </a:moveTo>
                <a:cubicBezTo>
                  <a:pt x="74" y="68"/>
                  <a:pt x="74" y="68"/>
                  <a:pt x="74" y="68"/>
                </a:cubicBezTo>
                <a:cubicBezTo>
                  <a:pt x="30" y="87"/>
                  <a:pt x="30" y="87"/>
                  <a:pt x="30" y="87"/>
                </a:cubicBezTo>
                <a:cubicBezTo>
                  <a:pt x="0" y="100"/>
                  <a:pt x="0" y="100"/>
                  <a:pt x="0" y="100"/>
                </a:cubicBezTo>
                <a:cubicBezTo>
                  <a:pt x="34" y="131"/>
                  <a:pt x="69" y="161"/>
                  <a:pt x="103" y="191"/>
                </a:cubicBezTo>
                <a:cubicBezTo>
                  <a:pt x="81" y="238"/>
                  <a:pt x="88" y="299"/>
                  <a:pt x="129" y="336"/>
                </a:cubicBezTo>
                <a:cubicBezTo>
                  <a:pt x="149" y="355"/>
                  <a:pt x="149" y="355"/>
                  <a:pt x="149" y="355"/>
                </a:cubicBezTo>
                <a:cubicBezTo>
                  <a:pt x="188" y="391"/>
                  <a:pt x="188" y="391"/>
                  <a:pt x="188" y="391"/>
                </a:cubicBezTo>
                <a:cubicBezTo>
                  <a:pt x="223" y="423"/>
                  <a:pt x="223" y="423"/>
                  <a:pt x="223" y="423"/>
                </a:cubicBezTo>
                <a:cubicBezTo>
                  <a:pt x="279" y="475"/>
                  <a:pt x="279" y="475"/>
                  <a:pt x="279" y="475"/>
                </a:cubicBezTo>
                <a:cubicBezTo>
                  <a:pt x="294" y="489"/>
                  <a:pt x="319" y="490"/>
                  <a:pt x="336" y="482"/>
                </a:cubicBezTo>
                <a:cubicBezTo>
                  <a:pt x="344" y="478"/>
                  <a:pt x="350" y="473"/>
                  <a:pt x="352" y="465"/>
                </a:cubicBezTo>
                <a:cubicBezTo>
                  <a:pt x="354" y="457"/>
                  <a:pt x="353" y="449"/>
                  <a:pt x="354" y="441"/>
                </a:cubicBezTo>
                <a:cubicBezTo>
                  <a:pt x="354" y="435"/>
                  <a:pt x="355" y="431"/>
                  <a:pt x="361" y="429"/>
                </a:cubicBezTo>
                <a:cubicBezTo>
                  <a:pt x="368" y="426"/>
                  <a:pt x="375" y="425"/>
                  <a:pt x="383" y="422"/>
                </a:cubicBezTo>
                <a:cubicBezTo>
                  <a:pt x="391" y="419"/>
                  <a:pt x="400" y="413"/>
                  <a:pt x="403" y="404"/>
                </a:cubicBezTo>
                <a:cubicBezTo>
                  <a:pt x="406" y="396"/>
                  <a:pt x="404" y="387"/>
                  <a:pt x="404" y="379"/>
                </a:cubicBezTo>
                <a:cubicBezTo>
                  <a:pt x="406" y="359"/>
                  <a:pt x="428" y="363"/>
                  <a:pt x="442" y="357"/>
                </a:cubicBezTo>
                <a:cubicBezTo>
                  <a:pt x="450" y="353"/>
                  <a:pt x="454" y="347"/>
                  <a:pt x="456" y="339"/>
                </a:cubicBezTo>
                <a:cubicBezTo>
                  <a:pt x="458" y="331"/>
                  <a:pt x="457" y="323"/>
                  <a:pt x="457" y="315"/>
                </a:cubicBezTo>
                <a:cubicBezTo>
                  <a:pt x="458" y="310"/>
                  <a:pt x="457" y="303"/>
                  <a:pt x="462" y="300"/>
                </a:cubicBezTo>
                <a:cubicBezTo>
                  <a:pt x="467" y="296"/>
                  <a:pt x="474" y="297"/>
                  <a:pt x="480" y="295"/>
                </a:cubicBezTo>
                <a:cubicBezTo>
                  <a:pt x="498" y="287"/>
                  <a:pt x="505" y="268"/>
                  <a:pt x="500" y="249"/>
                </a:cubicBezTo>
                <a:cubicBezTo>
                  <a:pt x="498" y="239"/>
                  <a:pt x="492" y="228"/>
                  <a:pt x="484" y="221"/>
                </a:cubicBezTo>
                <a:cubicBezTo>
                  <a:pt x="448" y="187"/>
                  <a:pt x="448" y="187"/>
                  <a:pt x="448" y="187"/>
                </a:cubicBezTo>
                <a:cubicBezTo>
                  <a:pt x="466" y="185"/>
                  <a:pt x="463" y="164"/>
                  <a:pt x="458" y="152"/>
                </a:cubicBezTo>
                <a:cubicBezTo>
                  <a:pt x="451" y="136"/>
                  <a:pt x="440" y="122"/>
                  <a:pt x="428" y="110"/>
                </a:cubicBezTo>
                <a:cubicBezTo>
                  <a:pt x="402" y="82"/>
                  <a:pt x="369" y="62"/>
                  <a:pt x="333" y="52"/>
                </a:cubicBezTo>
                <a:cubicBezTo>
                  <a:pt x="323" y="49"/>
                  <a:pt x="313" y="47"/>
                  <a:pt x="303" y="46"/>
                </a:cubicBezTo>
                <a:cubicBezTo>
                  <a:pt x="303" y="46"/>
                  <a:pt x="303" y="45"/>
                  <a:pt x="303" y="45"/>
                </a:cubicBezTo>
                <a:cubicBezTo>
                  <a:pt x="282" y="44"/>
                  <a:pt x="259" y="47"/>
                  <a:pt x="237" y="56"/>
                </a:cubicBezTo>
                <a:cubicBezTo>
                  <a:pt x="237" y="56"/>
                  <a:pt x="232" y="53"/>
                  <a:pt x="225" y="46"/>
                </a:cubicBezTo>
                <a:cubicBezTo>
                  <a:pt x="225" y="46"/>
                  <a:pt x="225" y="46"/>
                  <a:pt x="225" y="46"/>
                </a:cubicBezTo>
                <a:cubicBezTo>
                  <a:pt x="213" y="36"/>
                  <a:pt x="195" y="20"/>
                  <a:pt x="172" y="0"/>
                </a:cubicBezTo>
                <a:cubicBezTo>
                  <a:pt x="168" y="16"/>
                  <a:pt x="158" y="31"/>
                  <a:pt x="144" y="37"/>
                </a:cubicBezTo>
                <a:close/>
              </a:path>
            </a:pathLst>
          </a:custGeom>
          <a:solidFill>
            <a:schemeClr val="bg1"/>
          </a:solidFill>
          <a:ln w="25400">
            <a:solidFill>
              <a:schemeClr val="accent1"/>
            </a:solidFill>
            <a:miter lim="800000"/>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6" name="Freeform 65"/>
          <p:cNvSpPr>
            <a:spLocks/>
          </p:cNvSpPr>
          <p:nvPr/>
        </p:nvSpPr>
        <p:spPr bwMode="auto">
          <a:xfrm rot="766448">
            <a:off x="4486512" y="2447078"/>
            <a:ext cx="926068" cy="1876034"/>
          </a:xfrm>
          <a:custGeom>
            <a:avLst/>
            <a:gdLst>
              <a:gd name="T0" fmla="*/ 531 w 585"/>
              <a:gd name="T1" fmla="*/ 460 h 1183"/>
              <a:gd name="T2" fmla="*/ 533 w 585"/>
              <a:gd name="T3" fmla="*/ 404 h 1183"/>
              <a:gd name="T4" fmla="*/ 426 w 585"/>
              <a:gd name="T5" fmla="*/ 439 h 1183"/>
              <a:gd name="T6" fmla="*/ 316 w 585"/>
              <a:gd name="T7" fmla="*/ 454 h 1183"/>
              <a:gd name="T8" fmla="*/ 121 w 585"/>
              <a:gd name="T9" fmla="*/ 470 h 1183"/>
              <a:gd name="T10" fmla="*/ 212 w 585"/>
              <a:gd name="T11" fmla="*/ 203 h 1183"/>
              <a:gd name="T12" fmla="*/ 303 w 585"/>
              <a:gd name="T13" fmla="*/ 60 h 1183"/>
              <a:gd name="T14" fmla="*/ 224 w 585"/>
              <a:gd name="T15" fmla="*/ 0 h 1183"/>
              <a:gd name="T16" fmla="*/ 86 w 585"/>
              <a:gd name="T17" fmla="*/ 239 h 1183"/>
              <a:gd name="T18" fmla="*/ 12 w 585"/>
              <a:gd name="T19" fmla="*/ 519 h 1183"/>
              <a:gd name="T20" fmla="*/ 20 w 585"/>
              <a:gd name="T21" fmla="*/ 828 h 1183"/>
              <a:gd name="T22" fmla="*/ 106 w 585"/>
              <a:gd name="T23" fmla="*/ 1102 h 1183"/>
              <a:gd name="T24" fmla="*/ 149 w 585"/>
              <a:gd name="T25" fmla="*/ 1183 h 1183"/>
              <a:gd name="T26" fmla="*/ 235 w 585"/>
              <a:gd name="T27" fmla="*/ 1132 h 1183"/>
              <a:gd name="T28" fmla="*/ 130 w 585"/>
              <a:gd name="T29" fmla="*/ 867 h 1183"/>
              <a:gd name="T30" fmla="*/ 106 w 585"/>
              <a:gd name="T31" fmla="*/ 699 h 1183"/>
              <a:gd name="T32" fmla="*/ 381 w 585"/>
              <a:gd name="T33" fmla="*/ 655 h 1183"/>
              <a:gd name="T34" fmla="*/ 471 w 585"/>
              <a:gd name="T35" fmla="*/ 634 h 1183"/>
              <a:gd name="T36" fmla="*/ 582 w 585"/>
              <a:gd name="T37" fmla="*/ 592 h 1183"/>
              <a:gd name="T38" fmla="*/ 585 w 585"/>
              <a:gd name="T39" fmla="*/ 591 h 1183"/>
              <a:gd name="T40" fmla="*/ 531 w 585"/>
              <a:gd name="T41" fmla="*/ 460 h 1183"/>
              <a:gd name="T42" fmla="*/ 531 w 585"/>
              <a:gd name="T43" fmla="*/ 46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5" h="1183">
                <a:moveTo>
                  <a:pt x="531" y="460"/>
                </a:moveTo>
                <a:cubicBezTo>
                  <a:pt x="528" y="434"/>
                  <a:pt x="529" y="416"/>
                  <a:pt x="533" y="404"/>
                </a:cubicBezTo>
                <a:cubicBezTo>
                  <a:pt x="498" y="418"/>
                  <a:pt x="463" y="432"/>
                  <a:pt x="426" y="439"/>
                </a:cubicBezTo>
                <a:cubicBezTo>
                  <a:pt x="389" y="446"/>
                  <a:pt x="353" y="450"/>
                  <a:pt x="316" y="454"/>
                </a:cubicBezTo>
                <a:cubicBezTo>
                  <a:pt x="251" y="461"/>
                  <a:pt x="186" y="466"/>
                  <a:pt x="121" y="470"/>
                </a:cubicBezTo>
                <a:cubicBezTo>
                  <a:pt x="138" y="377"/>
                  <a:pt x="169" y="287"/>
                  <a:pt x="212" y="203"/>
                </a:cubicBezTo>
                <a:cubicBezTo>
                  <a:pt x="238" y="153"/>
                  <a:pt x="269" y="105"/>
                  <a:pt x="303" y="60"/>
                </a:cubicBezTo>
                <a:cubicBezTo>
                  <a:pt x="224" y="0"/>
                  <a:pt x="224" y="0"/>
                  <a:pt x="224" y="0"/>
                </a:cubicBezTo>
                <a:cubicBezTo>
                  <a:pt x="168" y="73"/>
                  <a:pt x="121" y="153"/>
                  <a:pt x="86" y="239"/>
                </a:cubicBezTo>
                <a:cubicBezTo>
                  <a:pt x="49" y="328"/>
                  <a:pt x="24" y="423"/>
                  <a:pt x="12" y="519"/>
                </a:cubicBezTo>
                <a:cubicBezTo>
                  <a:pt x="0" y="622"/>
                  <a:pt x="3" y="726"/>
                  <a:pt x="20" y="828"/>
                </a:cubicBezTo>
                <a:cubicBezTo>
                  <a:pt x="36" y="923"/>
                  <a:pt x="65" y="1015"/>
                  <a:pt x="106" y="1102"/>
                </a:cubicBezTo>
                <a:cubicBezTo>
                  <a:pt x="119" y="1130"/>
                  <a:pt x="134" y="1156"/>
                  <a:pt x="149" y="1183"/>
                </a:cubicBezTo>
                <a:cubicBezTo>
                  <a:pt x="235" y="1132"/>
                  <a:pt x="235" y="1132"/>
                  <a:pt x="235" y="1132"/>
                </a:cubicBezTo>
                <a:cubicBezTo>
                  <a:pt x="187" y="1050"/>
                  <a:pt x="152" y="960"/>
                  <a:pt x="130" y="867"/>
                </a:cubicBezTo>
                <a:cubicBezTo>
                  <a:pt x="117" y="812"/>
                  <a:pt x="109" y="756"/>
                  <a:pt x="106" y="699"/>
                </a:cubicBezTo>
                <a:cubicBezTo>
                  <a:pt x="198" y="686"/>
                  <a:pt x="290" y="672"/>
                  <a:pt x="381" y="655"/>
                </a:cubicBezTo>
                <a:cubicBezTo>
                  <a:pt x="411" y="649"/>
                  <a:pt x="442" y="643"/>
                  <a:pt x="471" y="634"/>
                </a:cubicBezTo>
                <a:cubicBezTo>
                  <a:pt x="509" y="624"/>
                  <a:pt x="546" y="607"/>
                  <a:pt x="582" y="592"/>
                </a:cubicBezTo>
                <a:cubicBezTo>
                  <a:pt x="583" y="592"/>
                  <a:pt x="584" y="591"/>
                  <a:pt x="585" y="591"/>
                </a:cubicBezTo>
                <a:cubicBezTo>
                  <a:pt x="548" y="565"/>
                  <a:pt x="540" y="532"/>
                  <a:pt x="531" y="460"/>
                </a:cubicBezTo>
                <a:cubicBezTo>
                  <a:pt x="528" y="434"/>
                  <a:pt x="540" y="532"/>
                  <a:pt x="531" y="460"/>
                </a:cubicBezTo>
                <a:close/>
              </a:path>
            </a:pathLst>
          </a:custGeom>
          <a:solidFill>
            <a:schemeClr val="bg1"/>
          </a:solidFill>
          <a:ln w="25400">
            <a:solidFill>
              <a:schemeClr val="accent5"/>
            </a:solidFill>
            <a:miter lim="800000"/>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7" name="Freeform 66"/>
          <p:cNvSpPr>
            <a:spLocks/>
          </p:cNvSpPr>
          <p:nvPr/>
        </p:nvSpPr>
        <p:spPr bwMode="auto">
          <a:xfrm rot="766448">
            <a:off x="5955028" y="2850121"/>
            <a:ext cx="746829" cy="633311"/>
          </a:xfrm>
          <a:custGeom>
            <a:avLst/>
            <a:gdLst>
              <a:gd name="T0" fmla="*/ 20 w 471"/>
              <a:gd name="T1" fmla="*/ 294 h 400"/>
              <a:gd name="T2" fmla="*/ 23 w 471"/>
              <a:gd name="T3" fmla="*/ 341 h 400"/>
              <a:gd name="T4" fmla="*/ 26 w 471"/>
              <a:gd name="T5" fmla="*/ 384 h 400"/>
              <a:gd name="T6" fmla="*/ 111 w 471"/>
              <a:gd name="T7" fmla="*/ 344 h 400"/>
              <a:gd name="T8" fmla="*/ 254 w 471"/>
              <a:gd name="T9" fmla="*/ 378 h 400"/>
              <a:gd name="T10" fmla="*/ 297 w 471"/>
              <a:gd name="T11" fmla="*/ 358 h 400"/>
              <a:gd name="T12" fmla="*/ 327 w 471"/>
              <a:gd name="T13" fmla="*/ 345 h 400"/>
              <a:gd name="T14" fmla="*/ 371 w 471"/>
              <a:gd name="T15" fmla="*/ 326 h 400"/>
              <a:gd name="T16" fmla="*/ 441 w 471"/>
              <a:gd name="T17" fmla="*/ 295 h 400"/>
              <a:gd name="T18" fmla="*/ 470 w 471"/>
              <a:gd name="T19" fmla="*/ 244 h 400"/>
              <a:gd name="T20" fmla="*/ 459 w 471"/>
              <a:gd name="T21" fmla="*/ 223 h 400"/>
              <a:gd name="T22" fmla="*/ 439 w 471"/>
              <a:gd name="T23" fmla="*/ 213 h 400"/>
              <a:gd name="T24" fmla="*/ 431 w 471"/>
              <a:gd name="T25" fmla="*/ 201 h 400"/>
              <a:gd name="T26" fmla="*/ 434 w 471"/>
              <a:gd name="T27" fmla="*/ 172 h 400"/>
              <a:gd name="T28" fmla="*/ 421 w 471"/>
              <a:gd name="T29" fmla="*/ 150 h 400"/>
              <a:gd name="T30" fmla="*/ 401 w 471"/>
              <a:gd name="T31" fmla="*/ 141 h 400"/>
              <a:gd name="T32" fmla="*/ 397 w 471"/>
              <a:gd name="T33" fmla="*/ 96 h 400"/>
              <a:gd name="T34" fmla="*/ 364 w 471"/>
              <a:gd name="T35" fmla="*/ 67 h 400"/>
              <a:gd name="T36" fmla="*/ 353 w 471"/>
              <a:gd name="T37" fmla="*/ 57 h 400"/>
              <a:gd name="T38" fmla="*/ 355 w 471"/>
              <a:gd name="T39" fmla="*/ 40 h 400"/>
              <a:gd name="T40" fmla="*/ 328 w 471"/>
              <a:gd name="T41" fmla="*/ 4 h 400"/>
              <a:gd name="T42" fmla="*/ 289 w 471"/>
              <a:gd name="T43" fmla="*/ 5 h 400"/>
              <a:gd name="T44" fmla="*/ 229 w 471"/>
              <a:gd name="T45" fmla="*/ 32 h 400"/>
              <a:gd name="T46" fmla="*/ 207 w 471"/>
              <a:gd name="T47" fmla="*/ 5 h 400"/>
              <a:gd name="T48" fmla="*/ 150 w 471"/>
              <a:gd name="T49" fmla="*/ 19 h 400"/>
              <a:gd name="T50" fmla="*/ 78 w 471"/>
              <a:gd name="T51" fmla="*/ 74 h 400"/>
              <a:gd name="T52" fmla="*/ 40 w 471"/>
              <a:gd name="T53" fmla="*/ 167 h 400"/>
              <a:gd name="T54" fmla="*/ 0 w 471"/>
              <a:gd name="T55" fmla="*/ 187 h 400"/>
              <a:gd name="T56" fmla="*/ 15 w 471"/>
              <a:gd name="T57" fmla="*/ 218 h 400"/>
              <a:gd name="T58" fmla="*/ 20 w 471"/>
              <a:gd name="T59" fmla="*/ 29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1" h="400">
                <a:moveTo>
                  <a:pt x="20" y="294"/>
                </a:moveTo>
                <a:cubicBezTo>
                  <a:pt x="23" y="341"/>
                  <a:pt x="23" y="341"/>
                  <a:pt x="23" y="341"/>
                </a:cubicBezTo>
                <a:cubicBezTo>
                  <a:pt x="26" y="384"/>
                  <a:pt x="26" y="384"/>
                  <a:pt x="26" y="384"/>
                </a:cubicBezTo>
                <a:cubicBezTo>
                  <a:pt x="77" y="360"/>
                  <a:pt x="111" y="344"/>
                  <a:pt x="111" y="344"/>
                </a:cubicBezTo>
                <a:cubicBezTo>
                  <a:pt x="145" y="382"/>
                  <a:pt x="203" y="400"/>
                  <a:pt x="254" y="378"/>
                </a:cubicBezTo>
                <a:cubicBezTo>
                  <a:pt x="297" y="358"/>
                  <a:pt x="297" y="358"/>
                  <a:pt x="297" y="358"/>
                </a:cubicBezTo>
                <a:cubicBezTo>
                  <a:pt x="327" y="345"/>
                  <a:pt x="327" y="345"/>
                  <a:pt x="327" y="345"/>
                </a:cubicBezTo>
                <a:cubicBezTo>
                  <a:pt x="371" y="326"/>
                  <a:pt x="371" y="326"/>
                  <a:pt x="371" y="326"/>
                </a:cubicBezTo>
                <a:cubicBezTo>
                  <a:pt x="441" y="295"/>
                  <a:pt x="441" y="295"/>
                  <a:pt x="441" y="295"/>
                </a:cubicBezTo>
                <a:cubicBezTo>
                  <a:pt x="460" y="287"/>
                  <a:pt x="471" y="264"/>
                  <a:pt x="470" y="244"/>
                </a:cubicBezTo>
                <a:cubicBezTo>
                  <a:pt x="470" y="235"/>
                  <a:pt x="467" y="228"/>
                  <a:pt x="459" y="223"/>
                </a:cubicBezTo>
                <a:cubicBezTo>
                  <a:pt x="453" y="219"/>
                  <a:pt x="446" y="216"/>
                  <a:pt x="439" y="213"/>
                </a:cubicBezTo>
                <a:cubicBezTo>
                  <a:pt x="434" y="210"/>
                  <a:pt x="431" y="208"/>
                  <a:pt x="431" y="201"/>
                </a:cubicBezTo>
                <a:cubicBezTo>
                  <a:pt x="432" y="191"/>
                  <a:pt x="435" y="182"/>
                  <a:pt x="434" y="172"/>
                </a:cubicBezTo>
                <a:cubicBezTo>
                  <a:pt x="433" y="163"/>
                  <a:pt x="429" y="155"/>
                  <a:pt x="421" y="150"/>
                </a:cubicBezTo>
                <a:cubicBezTo>
                  <a:pt x="414" y="146"/>
                  <a:pt x="407" y="144"/>
                  <a:pt x="401" y="141"/>
                </a:cubicBezTo>
                <a:cubicBezTo>
                  <a:pt x="385" y="131"/>
                  <a:pt x="399" y="110"/>
                  <a:pt x="397" y="96"/>
                </a:cubicBezTo>
                <a:cubicBezTo>
                  <a:pt x="395" y="79"/>
                  <a:pt x="378" y="74"/>
                  <a:pt x="364" y="67"/>
                </a:cubicBezTo>
                <a:cubicBezTo>
                  <a:pt x="360" y="65"/>
                  <a:pt x="354" y="63"/>
                  <a:pt x="353" y="57"/>
                </a:cubicBezTo>
                <a:cubicBezTo>
                  <a:pt x="352" y="52"/>
                  <a:pt x="355" y="46"/>
                  <a:pt x="355" y="40"/>
                </a:cubicBezTo>
                <a:cubicBezTo>
                  <a:pt x="356" y="22"/>
                  <a:pt x="344" y="8"/>
                  <a:pt x="328" y="4"/>
                </a:cubicBezTo>
                <a:cubicBezTo>
                  <a:pt x="316" y="0"/>
                  <a:pt x="301" y="0"/>
                  <a:pt x="289" y="5"/>
                </a:cubicBezTo>
                <a:cubicBezTo>
                  <a:pt x="229" y="32"/>
                  <a:pt x="229" y="32"/>
                  <a:pt x="229" y="32"/>
                </a:cubicBezTo>
                <a:cubicBezTo>
                  <a:pt x="233" y="18"/>
                  <a:pt x="219" y="7"/>
                  <a:pt x="207" y="5"/>
                </a:cubicBezTo>
                <a:cubicBezTo>
                  <a:pt x="187" y="1"/>
                  <a:pt x="167" y="10"/>
                  <a:pt x="150" y="19"/>
                </a:cubicBezTo>
                <a:cubicBezTo>
                  <a:pt x="124" y="34"/>
                  <a:pt x="98" y="51"/>
                  <a:pt x="78" y="74"/>
                </a:cubicBezTo>
                <a:cubicBezTo>
                  <a:pt x="55" y="100"/>
                  <a:pt x="41" y="133"/>
                  <a:pt x="40" y="167"/>
                </a:cubicBezTo>
                <a:cubicBezTo>
                  <a:pt x="40" y="167"/>
                  <a:pt x="25" y="175"/>
                  <a:pt x="0" y="187"/>
                </a:cubicBezTo>
                <a:cubicBezTo>
                  <a:pt x="8" y="195"/>
                  <a:pt x="14" y="207"/>
                  <a:pt x="15" y="218"/>
                </a:cubicBezTo>
                <a:lnTo>
                  <a:pt x="20" y="294"/>
                </a:lnTo>
                <a:close/>
              </a:path>
            </a:pathLst>
          </a:custGeom>
          <a:solidFill>
            <a:schemeClr val="bg1"/>
          </a:solidFill>
          <a:ln w="25400">
            <a:solidFill>
              <a:schemeClr val="accent5"/>
            </a:solidFill>
            <a:miter lim="800000"/>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8" name="Freeform 68"/>
          <p:cNvSpPr>
            <a:spLocks/>
          </p:cNvSpPr>
          <p:nvPr/>
        </p:nvSpPr>
        <p:spPr bwMode="auto">
          <a:xfrm rot="766448">
            <a:off x="5335363" y="2971588"/>
            <a:ext cx="599455" cy="868313"/>
          </a:xfrm>
          <a:custGeom>
            <a:avLst/>
            <a:gdLst>
              <a:gd name="T0" fmla="*/ 150 w 379"/>
              <a:gd name="T1" fmla="*/ 525 h 548"/>
              <a:gd name="T2" fmla="*/ 226 w 379"/>
              <a:gd name="T3" fmla="*/ 536 h 548"/>
              <a:gd name="T4" fmla="*/ 273 w 379"/>
              <a:gd name="T5" fmla="*/ 543 h 548"/>
              <a:gd name="T6" fmla="*/ 309 w 379"/>
              <a:gd name="T7" fmla="*/ 548 h 548"/>
              <a:gd name="T8" fmla="*/ 294 w 379"/>
              <a:gd name="T9" fmla="*/ 374 h 548"/>
              <a:gd name="T10" fmla="*/ 375 w 379"/>
              <a:gd name="T11" fmla="*/ 252 h 548"/>
              <a:gd name="T12" fmla="*/ 373 w 379"/>
              <a:gd name="T13" fmla="*/ 214 h 548"/>
              <a:gd name="T14" fmla="*/ 370 w 379"/>
              <a:gd name="T15" fmla="*/ 171 h 548"/>
              <a:gd name="T16" fmla="*/ 367 w 379"/>
              <a:gd name="T17" fmla="*/ 124 h 548"/>
              <a:gd name="T18" fmla="*/ 362 w 379"/>
              <a:gd name="T19" fmla="*/ 48 h 548"/>
              <a:gd name="T20" fmla="*/ 322 w 379"/>
              <a:gd name="T21" fmla="*/ 2 h 548"/>
              <a:gd name="T22" fmla="*/ 299 w 379"/>
              <a:gd name="T23" fmla="*/ 7 h 548"/>
              <a:gd name="T24" fmla="*/ 282 w 379"/>
              <a:gd name="T25" fmla="*/ 23 h 548"/>
              <a:gd name="T26" fmla="*/ 268 w 379"/>
              <a:gd name="T27" fmla="*/ 23 h 548"/>
              <a:gd name="T28" fmla="*/ 247 w 379"/>
              <a:gd name="T29" fmla="*/ 13 h 548"/>
              <a:gd name="T30" fmla="*/ 222 w 379"/>
              <a:gd name="T31" fmla="*/ 14 h 548"/>
              <a:gd name="T32" fmla="*/ 206 w 379"/>
              <a:gd name="T33" fmla="*/ 30 h 548"/>
              <a:gd name="T34" fmla="*/ 188 w 379"/>
              <a:gd name="T35" fmla="*/ 35 h 548"/>
              <a:gd name="T36" fmla="*/ 170 w 379"/>
              <a:gd name="T37" fmla="*/ 24 h 548"/>
              <a:gd name="T38" fmla="*/ 146 w 379"/>
              <a:gd name="T39" fmla="*/ 20 h 548"/>
              <a:gd name="T40" fmla="*/ 128 w 379"/>
              <a:gd name="T41" fmla="*/ 35 h 548"/>
              <a:gd name="T42" fmla="*/ 112 w 379"/>
              <a:gd name="T43" fmla="*/ 48 h 548"/>
              <a:gd name="T44" fmla="*/ 100 w 379"/>
              <a:gd name="T45" fmla="*/ 44 h 548"/>
              <a:gd name="T46" fmla="*/ 56 w 379"/>
              <a:gd name="T47" fmla="*/ 46 h 548"/>
              <a:gd name="T48" fmla="*/ 38 w 379"/>
              <a:gd name="T49" fmla="*/ 90 h 548"/>
              <a:gd name="T50" fmla="*/ 42 w 379"/>
              <a:gd name="T51" fmla="*/ 148 h 548"/>
              <a:gd name="T52" fmla="*/ 20 w 379"/>
              <a:gd name="T53" fmla="*/ 149 h 548"/>
              <a:gd name="T54" fmla="*/ 1 w 379"/>
              <a:gd name="T55" fmla="*/ 189 h 548"/>
              <a:gd name="T56" fmla="*/ 7 w 379"/>
              <a:gd name="T57" fmla="*/ 254 h 548"/>
              <a:gd name="T58" fmla="*/ 18 w 379"/>
              <a:gd name="T59" fmla="*/ 304 h 548"/>
              <a:gd name="T60" fmla="*/ 43 w 379"/>
              <a:gd name="T61" fmla="*/ 345 h 548"/>
              <a:gd name="T62" fmla="*/ 104 w 379"/>
              <a:gd name="T63" fmla="*/ 380 h 548"/>
              <a:gd name="T64" fmla="*/ 118 w 379"/>
              <a:gd name="T65" fmla="*/ 532 h 548"/>
              <a:gd name="T66" fmla="*/ 150 w 379"/>
              <a:gd name="T67" fmla="*/ 525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9" h="548">
                <a:moveTo>
                  <a:pt x="150" y="525"/>
                </a:moveTo>
                <a:cubicBezTo>
                  <a:pt x="226" y="536"/>
                  <a:pt x="226" y="536"/>
                  <a:pt x="226" y="536"/>
                </a:cubicBezTo>
                <a:cubicBezTo>
                  <a:pt x="273" y="543"/>
                  <a:pt x="273" y="543"/>
                  <a:pt x="273" y="543"/>
                </a:cubicBezTo>
                <a:cubicBezTo>
                  <a:pt x="309" y="548"/>
                  <a:pt x="309" y="548"/>
                  <a:pt x="309" y="548"/>
                </a:cubicBezTo>
                <a:cubicBezTo>
                  <a:pt x="301" y="451"/>
                  <a:pt x="294" y="374"/>
                  <a:pt x="294" y="374"/>
                </a:cubicBezTo>
                <a:cubicBezTo>
                  <a:pt x="342" y="355"/>
                  <a:pt x="379" y="307"/>
                  <a:pt x="375" y="252"/>
                </a:cubicBezTo>
                <a:cubicBezTo>
                  <a:pt x="373" y="214"/>
                  <a:pt x="373" y="214"/>
                  <a:pt x="373" y="214"/>
                </a:cubicBezTo>
                <a:cubicBezTo>
                  <a:pt x="370" y="171"/>
                  <a:pt x="370" y="171"/>
                  <a:pt x="370" y="171"/>
                </a:cubicBezTo>
                <a:cubicBezTo>
                  <a:pt x="367" y="124"/>
                  <a:pt x="367" y="124"/>
                  <a:pt x="367" y="124"/>
                </a:cubicBezTo>
                <a:cubicBezTo>
                  <a:pt x="362" y="48"/>
                  <a:pt x="362" y="48"/>
                  <a:pt x="362" y="48"/>
                </a:cubicBezTo>
                <a:cubicBezTo>
                  <a:pt x="361" y="26"/>
                  <a:pt x="342" y="7"/>
                  <a:pt x="322" y="2"/>
                </a:cubicBezTo>
                <a:cubicBezTo>
                  <a:pt x="313" y="0"/>
                  <a:pt x="306" y="1"/>
                  <a:pt x="299" y="7"/>
                </a:cubicBezTo>
                <a:cubicBezTo>
                  <a:pt x="293" y="12"/>
                  <a:pt x="288" y="18"/>
                  <a:pt x="282" y="23"/>
                </a:cubicBezTo>
                <a:cubicBezTo>
                  <a:pt x="277" y="27"/>
                  <a:pt x="274" y="26"/>
                  <a:pt x="268" y="23"/>
                </a:cubicBezTo>
                <a:cubicBezTo>
                  <a:pt x="261" y="19"/>
                  <a:pt x="254" y="15"/>
                  <a:pt x="247" y="13"/>
                </a:cubicBezTo>
                <a:cubicBezTo>
                  <a:pt x="238" y="10"/>
                  <a:pt x="229" y="10"/>
                  <a:pt x="222" y="14"/>
                </a:cubicBezTo>
                <a:cubicBezTo>
                  <a:pt x="215" y="19"/>
                  <a:pt x="211" y="25"/>
                  <a:pt x="206" y="30"/>
                </a:cubicBezTo>
                <a:cubicBezTo>
                  <a:pt x="201" y="35"/>
                  <a:pt x="195" y="37"/>
                  <a:pt x="188" y="35"/>
                </a:cubicBezTo>
                <a:cubicBezTo>
                  <a:pt x="181" y="33"/>
                  <a:pt x="176" y="28"/>
                  <a:pt x="170" y="24"/>
                </a:cubicBezTo>
                <a:cubicBezTo>
                  <a:pt x="163" y="20"/>
                  <a:pt x="154" y="18"/>
                  <a:pt x="146" y="20"/>
                </a:cubicBezTo>
                <a:cubicBezTo>
                  <a:pt x="139" y="23"/>
                  <a:pt x="133" y="30"/>
                  <a:pt x="128" y="35"/>
                </a:cubicBezTo>
                <a:cubicBezTo>
                  <a:pt x="123" y="39"/>
                  <a:pt x="118" y="46"/>
                  <a:pt x="112" y="48"/>
                </a:cubicBezTo>
                <a:cubicBezTo>
                  <a:pt x="108" y="50"/>
                  <a:pt x="103" y="46"/>
                  <a:pt x="100" y="44"/>
                </a:cubicBezTo>
                <a:cubicBezTo>
                  <a:pt x="86" y="35"/>
                  <a:pt x="69" y="35"/>
                  <a:pt x="56" y="46"/>
                </a:cubicBezTo>
                <a:cubicBezTo>
                  <a:pt x="45" y="56"/>
                  <a:pt x="37" y="74"/>
                  <a:pt x="38" y="90"/>
                </a:cubicBezTo>
                <a:cubicBezTo>
                  <a:pt x="42" y="148"/>
                  <a:pt x="42" y="148"/>
                  <a:pt x="42" y="148"/>
                </a:cubicBezTo>
                <a:cubicBezTo>
                  <a:pt x="35" y="146"/>
                  <a:pt x="27" y="146"/>
                  <a:pt x="20" y="149"/>
                </a:cubicBezTo>
                <a:cubicBezTo>
                  <a:pt x="6" y="156"/>
                  <a:pt x="2" y="174"/>
                  <a:pt x="1" y="189"/>
                </a:cubicBezTo>
                <a:cubicBezTo>
                  <a:pt x="0" y="210"/>
                  <a:pt x="3" y="232"/>
                  <a:pt x="7" y="254"/>
                </a:cubicBezTo>
                <a:cubicBezTo>
                  <a:pt x="9" y="271"/>
                  <a:pt x="12" y="288"/>
                  <a:pt x="18" y="304"/>
                </a:cubicBezTo>
                <a:cubicBezTo>
                  <a:pt x="23" y="319"/>
                  <a:pt x="31" y="334"/>
                  <a:pt x="43" y="345"/>
                </a:cubicBezTo>
                <a:cubicBezTo>
                  <a:pt x="60" y="361"/>
                  <a:pt x="83" y="371"/>
                  <a:pt x="104" y="380"/>
                </a:cubicBezTo>
                <a:cubicBezTo>
                  <a:pt x="104" y="380"/>
                  <a:pt x="111" y="446"/>
                  <a:pt x="118" y="532"/>
                </a:cubicBezTo>
                <a:cubicBezTo>
                  <a:pt x="128" y="526"/>
                  <a:pt x="140" y="523"/>
                  <a:pt x="150" y="525"/>
                </a:cubicBezTo>
                <a:close/>
              </a:path>
            </a:pathLst>
          </a:custGeom>
          <a:solidFill>
            <a:schemeClr val="bg1"/>
          </a:solidFill>
          <a:ln w="25400">
            <a:solidFill>
              <a:schemeClr val="accent4"/>
            </a:solidFill>
            <a:miter lim="800000"/>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9" name="Freeform 69"/>
          <p:cNvSpPr>
            <a:spLocks/>
          </p:cNvSpPr>
          <p:nvPr/>
        </p:nvSpPr>
        <p:spPr bwMode="auto">
          <a:xfrm rot="766448">
            <a:off x="4487064" y="4337590"/>
            <a:ext cx="1726669" cy="953949"/>
          </a:xfrm>
          <a:custGeom>
            <a:avLst/>
            <a:gdLst>
              <a:gd name="T0" fmla="*/ 582 w 1090"/>
              <a:gd name="T1" fmla="*/ 33 h 601"/>
              <a:gd name="T2" fmla="*/ 467 w 1090"/>
              <a:gd name="T3" fmla="*/ 0 h 601"/>
              <a:gd name="T4" fmla="*/ 452 w 1090"/>
              <a:gd name="T5" fmla="*/ 89 h 601"/>
              <a:gd name="T6" fmla="*/ 419 w 1090"/>
              <a:gd name="T7" fmla="*/ 218 h 601"/>
              <a:gd name="T8" fmla="*/ 378 w 1090"/>
              <a:gd name="T9" fmla="*/ 360 h 601"/>
              <a:gd name="T10" fmla="*/ 82 w 1090"/>
              <a:gd name="T11" fmla="*/ 82 h 601"/>
              <a:gd name="T12" fmla="*/ 80 w 1090"/>
              <a:gd name="T13" fmla="*/ 84 h 601"/>
              <a:gd name="T14" fmla="*/ 0 w 1090"/>
              <a:gd name="T15" fmla="*/ 139 h 601"/>
              <a:gd name="T16" fmla="*/ 163 w 1090"/>
              <a:gd name="T17" fmla="*/ 324 h 601"/>
              <a:gd name="T18" fmla="*/ 359 w 1090"/>
              <a:gd name="T19" fmla="*/ 464 h 601"/>
              <a:gd name="T20" fmla="*/ 581 w 1090"/>
              <a:gd name="T21" fmla="*/ 556 h 601"/>
              <a:gd name="T22" fmla="*/ 818 w 1090"/>
              <a:gd name="T23" fmla="*/ 597 h 601"/>
              <a:gd name="T24" fmla="*/ 1090 w 1090"/>
              <a:gd name="T25" fmla="*/ 576 h 601"/>
              <a:gd name="T26" fmla="*/ 1070 w 1090"/>
              <a:gd name="T27" fmla="*/ 478 h 601"/>
              <a:gd name="T28" fmla="*/ 1066 w 1090"/>
              <a:gd name="T29" fmla="*/ 479 h 601"/>
              <a:gd name="T30" fmla="*/ 1066 w 1090"/>
              <a:gd name="T31" fmla="*/ 478 h 601"/>
              <a:gd name="T32" fmla="*/ 758 w 1090"/>
              <a:gd name="T33" fmla="*/ 491 h 601"/>
              <a:gd name="T34" fmla="*/ 591 w 1090"/>
              <a:gd name="T35" fmla="*/ 455 h 601"/>
              <a:gd name="T36" fmla="*/ 644 w 1090"/>
              <a:gd name="T37" fmla="*/ 187 h 601"/>
              <a:gd name="T38" fmla="*/ 664 w 1090"/>
              <a:gd name="T39" fmla="*/ 28 h 601"/>
              <a:gd name="T40" fmla="*/ 582 w 1090"/>
              <a:gd name="T41" fmla="*/ 33 h 601"/>
              <a:gd name="T42" fmla="*/ 582 w 1090"/>
              <a:gd name="T43" fmla="*/ 33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0" h="601">
                <a:moveTo>
                  <a:pt x="582" y="33"/>
                </a:moveTo>
                <a:cubicBezTo>
                  <a:pt x="506" y="28"/>
                  <a:pt x="476" y="14"/>
                  <a:pt x="467" y="0"/>
                </a:cubicBezTo>
                <a:cubicBezTo>
                  <a:pt x="466" y="30"/>
                  <a:pt x="459" y="60"/>
                  <a:pt x="452" y="89"/>
                </a:cubicBezTo>
                <a:cubicBezTo>
                  <a:pt x="442" y="133"/>
                  <a:pt x="431" y="176"/>
                  <a:pt x="419" y="218"/>
                </a:cubicBezTo>
                <a:cubicBezTo>
                  <a:pt x="406" y="266"/>
                  <a:pt x="392" y="313"/>
                  <a:pt x="378" y="360"/>
                </a:cubicBezTo>
                <a:cubicBezTo>
                  <a:pt x="263" y="291"/>
                  <a:pt x="162" y="197"/>
                  <a:pt x="82" y="82"/>
                </a:cubicBezTo>
                <a:cubicBezTo>
                  <a:pt x="80" y="84"/>
                  <a:pt x="80" y="84"/>
                  <a:pt x="80" y="84"/>
                </a:cubicBezTo>
                <a:cubicBezTo>
                  <a:pt x="0" y="139"/>
                  <a:pt x="0" y="139"/>
                  <a:pt x="0" y="139"/>
                </a:cubicBezTo>
                <a:cubicBezTo>
                  <a:pt x="47" y="207"/>
                  <a:pt x="102" y="269"/>
                  <a:pt x="163" y="324"/>
                </a:cubicBezTo>
                <a:cubicBezTo>
                  <a:pt x="223" y="378"/>
                  <a:pt x="289" y="425"/>
                  <a:pt x="359" y="464"/>
                </a:cubicBezTo>
                <a:cubicBezTo>
                  <a:pt x="429" y="503"/>
                  <a:pt x="504" y="534"/>
                  <a:pt x="581" y="556"/>
                </a:cubicBezTo>
                <a:cubicBezTo>
                  <a:pt x="658" y="579"/>
                  <a:pt x="738" y="592"/>
                  <a:pt x="818" y="597"/>
                </a:cubicBezTo>
                <a:cubicBezTo>
                  <a:pt x="909" y="601"/>
                  <a:pt x="1001" y="595"/>
                  <a:pt x="1090" y="576"/>
                </a:cubicBezTo>
                <a:cubicBezTo>
                  <a:pt x="1070" y="478"/>
                  <a:pt x="1070" y="478"/>
                  <a:pt x="1070" y="478"/>
                </a:cubicBezTo>
                <a:cubicBezTo>
                  <a:pt x="1069" y="479"/>
                  <a:pt x="1067" y="479"/>
                  <a:pt x="1066" y="479"/>
                </a:cubicBezTo>
                <a:cubicBezTo>
                  <a:pt x="1066" y="478"/>
                  <a:pt x="1066" y="478"/>
                  <a:pt x="1066" y="478"/>
                </a:cubicBezTo>
                <a:cubicBezTo>
                  <a:pt x="965" y="499"/>
                  <a:pt x="860" y="503"/>
                  <a:pt x="758" y="491"/>
                </a:cubicBezTo>
                <a:cubicBezTo>
                  <a:pt x="701" y="484"/>
                  <a:pt x="645" y="472"/>
                  <a:pt x="591" y="455"/>
                </a:cubicBezTo>
                <a:cubicBezTo>
                  <a:pt x="610" y="366"/>
                  <a:pt x="628" y="277"/>
                  <a:pt x="644" y="187"/>
                </a:cubicBezTo>
                <a:cubicBezTo>
                  <a:pt x="653" y="135"/>
                  <a:pt x="663" y="81"/>
                  <a:pt x="664" y="28"/>
                </a:cubicBezTo>
                <a:cubicBezTo>
                  <a:pt x="632" y="35"/>
                  <a:pt x="601" y="34"/>
                  <a:pt x="582" y="33"/>
                </a:cubicBezTo>
                <a:cubicBezTo>
                  <a:pt x="506" y="28"/>
                  <a:pt x="601" y="34"/>
                  <a:pt x="582" y="33"/>
                </a:cubicBezTo>
                <a:close/>
              </a:path>
            </a:pathLst>
          </a:custGeom>
          <a:solidFill>
            <a:schemeClr val="bg1"/>
          </a:solidFill>
          <a:ln w="25400">
            <a:solidFill>
              <a:schemeClr val="accent4"/>
            </a:solidFill>
            <a:miter lim="800000"/>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0" name="Freeform 70"/>
          <p:cNvSpPr>
            <a:spLocks/>
          </p:cNvSpPr>
          <p:nvPr/>
        </p:nvSpPr>
        <p:spPr bwMode="auto">
          <a:xfrm rot="766448">
            <a:off x="5293477" y="3831719"/>
            <a:ext cx="804584" cy="621362"/>
          </a:xfrm>
          <a:custGeom>
            <a:avLst/>
            <a:gdLst>
              <a:gd name="T0" fmla="*/ 462 w 507"/>
              <a:gd name="T1" fmla="*/ 244 h 393"/>
              <a:gd name="T2" fmla="*/ 483 w 507"/>
              <a:gd name="T3" fmla="*/ 202 h 393"/>
              <a:gd name="T4" fmla="*/ 507 w 507"/>
              <a:gd name="T5" fmla="*/ 154 h 393"/>
              <a:gd name="T6" fmla="*/ 379 w 507"/>
              <a:gd name="T7" fmla="*/ 138 h 393"/>
              <a:gd name="T8" fmla="*/ 276 w 507"/>
              <a:gd name="T9" fmla="*/ 33 h 393"/>
              <a:gd name="T10" fmla="*/ 233 w 507"/>
              <a:gd name="T11" fmla="*/ 26 h 393"/>
              <a:gd name="T12" fmla="*/ 197 w 507"/>
              <a:gd name="T13" fmla="*/ 21 h 393"/>
              <a:gd name="T14" fmla="*/ 150 w 507"/>
              <a:gd name="T15" fmla="*/ 14 h 393"/>
              <a:gd name="T16" fmla="*/ 74 w 507"/>
              <a:gd name="T17" fmla="*/ 3 h 393"/>
              <a:gd name="T18" fmla="*/ 21 w 507"/>
              <a:gd name="T19" fmla="*/ 32 h 393"/>
              <a:gd name="T20" fmla="*/ 21 w 507"/>
              <a:gd name="T21" fmla="*/ 56 h 393"/>
              <a:gd name="T22" fmla="*/ 33 w 507"/>
              <a:gd name="T23" fmla="*/ 76 h 393"/>
              <a:gd name="T24" fmla="*/ 31 w 507"/>
              <a:gd name="T25" fmla="*/ 89 h 393"/>
              <a:gd name="T26" fmla="*/ 17 w 507"/>
              <a:gd name="T27" fmla="*/ 106 h 393"/>
              <a:gd name="T28" fmla="*/ 12 w 507"/>
              <a:gd name="T29" fmla="*/ 131 h 393"/>
              <a:gd name="T30" fmla="*/ 24 w 507"/>
              <a:gd name="T31" fmla="*/ 152 h 393"/>
              <a:gd name="T32" fmla="*/ 25 w 507"/>
              <a:gd name="T33" fmla="*/ 171 h 393"/>
              <a:gd name="T34" fmla="*/ 11 w 507"/>
              <a:gd name="T35" fmla="*/ 186 h 393"/>
              <a:gd name="T36" fmla="*/ 2 w 507"/>
              <a:gd name="T37" fmla="*/ 207 h 393"/>
              <a:gd name="T38" fmla="*/ 12 w 507"/>
              <a:gd name="T39" fmla="*/ 229 h 393"/>
              <a:gd name="T40" fmla="*/ 22 w 507"/>
              <a:gd name="T41" fmla="*/ 246 h 393"/>
              <a:gd name="T42" fmla="*/ 16 w 507"/>
              <a:gd name="T43" fmla="*/ 258 h 393"/>
              <a:gd name="T44" fmla="*/ 9 w 507"/>
              <a:gd name="T45" fmla="*/ 302 h 393"/>
              <a:gd name="T46" fmla="*/ 48 w 507"/>
              <a:gd name="T47" fmla="*/ 329 h 393"/>
              <a:gd name="T48" fmla="*/ 58 w 507"/>
              <a:gd name="T49" fmla="*/ 330 h 393"/>
              <a:gd name="T50" fmla="*/ 63 w 507"/>
              <a:gd name="T51" fmla="*/ 331 h 393"/>
              <a:gd name="T52" fmla="*/ 58 w 507"/>
              <a:gd name="T53" fmla="*/ 358 h 393"/>
              <a:gd name="T54" fmla="*/ 64 w 507"/>
              <a:gd name="T55" fmla="*/ 365 h 393"/>
              <a:gd name="T56" fmla="*/ 92 w 507"/>
              <a:gd name="T57" fmla="*/ 379 h 393"/>
              <a:gd name="T58" fmla="*/ 143 w 507"/>
              <a:gd name="T59" fmla="*/ 389 h 393"/>
              <a:gd name="T60" fmla="*/ 207 w 507"/>
              <a:gd name="T61" fmla="*/ 392 h 393"/>
              <a:gd name="T62" fmla="*/ 286 w 507"/>
              <a:gd name="T63" fmla="*/ 375 h 393"/>
              <a:gd name="T64" fmla="*/ 345 w 507"/>
              <a:gd name="T65" fmla="*/ 324 h 393"/>
              <a:gd name="T66" fmla="*/ 424 w 507"/>
              <a:gd name="T67" fmla="*/ 334 h 393"/>
              <a:gd name="T68" fmla="*/ 428 w 507"/>
              <a:gd name="T69" fmla="*/ 313 h 393"/>
              <a:gd name="T70" fmla="*/ 462 w 507"/>
              <a:gd name="T71" fmla="*/ 24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7" h="393">
                <a:moveTo>
                  <a:pt x="462" y="244"/>
                </a:moveTo>
                <a:cubicBezTo>
                  <a:pt x="483" y="202"/>
                  <a:pt x="483" y="202"/>
                  <a:pt x="483" y="202"/>
                </a:cubicBezTo>
                <a:cubicBezTo>
                  <a:pt x="507" y="154"/>
                  <a:pt x="507" y="154"/>
                  <a:pt x="507" y="154"/>
                </a:cubicBezTo>
                <a:cubicBezTo>
                  <a:pt x="433" y="144"/>
                  <a:pt x="379" y="138"/>
                  <a:pt x="379" y="138"/>
                </a:cubicBezTo>
                <a:cubicBezTo>
                  <a:pt x="371" y="87"/>
                  <a:pt x="331" y="41"/>
                  <a:pt x="276" y="33"/>
                </a:cubicBezTo>
                <a:cubicBezTo>
                  <a:pt x="233" y="26"/>
                  <a:pt x="233" y="26"/>
                  <a:pt x="233" y="26"/>
                </a:cubicBezTo>
                <a:cubicBezTo>
                  <a:pt x="197" y="21"/>
                  <a:pt x="197" y="21"/>
                  <a:pt x="197" y="21"/>
                </a:cubicBezTo>
                <a:cubicBezTo>
                  <a:pt x="150" y="14"/>
                  <a:pt x="150" y="14"/>
                  <a:pt x="150" y="14"/>
                </a:cubicBezTo>
                <a:cubicBezTo>
                  <a:pt x="74" y="3"/>
                  <a:pt x="74" y="3"/>
                  <a:pt x="74" y="3"/>
                </a:cubicBezTo>
                <a:cubicBezTo>
                  <a:pt x="53" y="0"/>
                  <a:pt x="30" y="14"/>
                  <a:pt x="21" y="32"/>
                </a:cubicBezTo>
                <a:cubicBezTo>
                  <a:pt x="17" y="40"/>
                  <a:pt x="17" y="47"/>
                  <a:pt x="21" y="56"/>
                </a:cubicBezTo>
                <a:cubicBezTo>
                  <a:pt x="24" y="63"/>
                  <a:pt x="30" y="69"/>
                  <a:pt x="33" y="76"/>
                </a:cubicBezTo>
                <a:cubicBezTo>
                  <a:pt x="36" y="81"/>
                  <a:pt x="35" y="84"/>
                  <a:pt x="31" y="89"/>
                </a:cubicBezTo>
                <a:cubicBezTo>
                  <a:pt x="26" y="95"/>
                  <a:pt x="21" y="100"/>
                  <a:pt x="17" y="106"/>
                </a:cubicBezTo>
                <a:cubicBezTo>
                  <a:pt x="13" y="114"/>
                  <a:pt x="9" y="123"/>
                  <a:pt x="12" y="131"/>
                </a:cubicBezTo>
                <a:cubicBezTo>
                  <a:pt x="14" y="139"/>
                  <a:pt x="20" y="145"/>
                  <a:pt x="24" y="152"/>
                </a:cubicBezTo>
                <a:cubicBezTo>
                  <a:pt x="28" y="158"/>
                  <a:pt x="29" y="164"/>
                  <a:pt x="25" y="171"/>
                </a:cubicBezTo>
                <a:cubicBezTo>
                  <a:pt x="22" y="176"/>
                  <a:pt x="16" y="181"/>
                  <a:pt x="11" y="186"/>
                </a:cubicBezTo>
                <a:cubicBezTo>
                  <a:pt x="6" y="192"/>
                  <a:pt x="2" y="199"/>
                  <a:pt x="2" y="207"/>
                </a:cubicBezTo>
                <a:cubicBezTo>
                  <a:pt x="3" y="215"/>
                  <a:pt x="8" y="222"/>
                  <a:pt x="12" y="229"/>
                </a:cubicBezTo>
                <a:cubicBezTo>
                  <a:pt x="16" y="234"/>
                  <a:pt x="21" y="240"/>
                  <a:pt x="22" y="246"/>
                </a:cubicBezTo>
                <a:cubicBezTo>
                  <a:pt x="23" y="251"/>
                  <a:pt x="19" y="255"/>
                  <a:pt x="16" y="258"/>
                </a:cubicBezTo>
                <a:cubicBezTo>
                  <a:pt x="4" y="270"/>
                  <a:pt x="0" y="287"/>
                  <a:pt x="9" y="302"/>
                </a:cubicBezTo>
                <a:cubicBezTo>
                  <a:pt x="16" y="315"/>
                  <a:pt x="32" y="326"/>
                  <a:pt x="48" y="329"/>
                </a:cubicBezTo>
                <a:cubicBezTo>
                  <a:pt x="58" y="330"/>
                  <a:pt x="58" y="330"/>
                  <a:pt x="58" y="330"/>
                </a:cubicBezTo>
                <a:cubicBezTo>
                  <a:pt x="63" y="331"/>
                  <a:pt x="63" y="331"/>
                  <a:pt x="63" y="331"/>
                </a:cubicBezTo>
                <a:cubicBezTo>
                  <a:pt x="55" y="338"/>
                  <a:pt x="52" y="349"/>
                  <a:pt x="58" y="358"/>
                </a:cubicBezTo>
                <a:cubicBezTo>
                  <a:pt x="59" y="361"/>
                  <a:pt x="62" y="363"/>
                  <a:pt x="64" y="365"/>
                </a:cubicBezTo>
                <a:cubicBezTo>
                  <a:pt x="72" y="372"/>
                  <a:pt x="82" y="376"/>
                  <a:pt x="92" y="379"/>
                </a:cubicBezTo>
                <a:cubicBezTo>
                  <a:pt x="108" y="384"/>
                  <a:pt x="126" y="387"/>
                  <a:pt x="143" y="389"/>
                </a:cubicBezTo>
                <a:cubicBezTo>
                  <a:pt x="164" y="391"/>
                  <a:pt x="186" y="393"/>
                  <a:pt x="207" y="392"/>
                </a:cubicBezTo>
                <a:cubicBezTo>
                  <a:pt x="234" y="391"/>
                  <a:pt x="261" y="386"/>
                  <a:pt x="286" y="375"/>
                </a:cubicBezTo>
                <a:cubicBezTo>
                  <a:pt x="310" y="364"/>
                  <a:pt x="330" y="346"/>
                  <a:pt x="345" y="324"/>
                </a:cubicBezTo>
                <a:cubicBezTo>
                  <a:pt x="345" y="324"/>
                  <a:pt x="377" y="328"/>
                  <a:pt x="424" y="334"/>
                </a:cubicBezTo>
                <a:cubicBezTo>
                  <a:pt x="424" y="326"/>
                  <a:pt x="425" y="319"/>
                  <a:pt x="428" y="313"/>
                </a:cubicBezTo>
                <a:lnTo>
                  <a:pt x="462" y="244"/>
                </a:lnTo>
                <a:close/>
              </a:path>
            </a:pathLst>
          </a:custGeom>
          <a:solidFill>
            <a:schemeClr val="bg1"/>
          </a:solidFill>
          <a:ln w="25400">
            <a:solidFill>
              <a:schemeClr val="accent3"/>
            </a:solidFill>
            <a:miter lim="800000"/>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1" name="Freeform 71"/>
          <p:cNvSpPr>
            <a:spLocks/>
          </p:cNvSpPr>
          <p:nvPr/>
        </p:nvSpPr>
        <p:spPr bwMode="auto">
          <a:xfrm rot="766448">
            <a:off x="6913283" y="2521164"/>
            <a:ext cx="1041578" cy="1463785"/>
          </a:xfrm>
          <a:custGeom>
            <a:avLst/>
            <a:gdLst>
              <a:gd name="T0" fmla="*/ 114 w 657"/>
              <a:gd name="T1" fmla="*/ 720 h 923"/>
              <a:gd name="T2" fmla="*/ 158 w 657"/>
              <a:gd name="T3" fmla="*/ 783 h 923"/>
              <a:gd name="T4" fmla="*/ 186 w 657"/>
              <a:gd name="T5" fmla="*/ 742 h 923"/>
              <a:gd name="T6" fmla="*/ 216 w 657"/>
              <a:gd name="T7" fmla="*/ 707 h 923"/>
              <a:gd name="T8" fmla="*/ 302 w 657"/>
              <a:gd name="T9" fmla="*/ 617 h 923"/>
              <a:gd name="T10" fmla="*/ 440 w 657"/>
              <a:gd name="T11" fmla="*/ 484 h 923"/>
              <a:gd name="T12" fmla="*/ 539 w 657"/>
              <a:gd name="T13" fmla="*/ 755 h 923"/>
              <a:gd name="T14" fmla="*/ 557 w 657"/>
              <a:gd name="T15" fmla="*/ 923 h 923"/>
              <a:gd name="T16" fmla="*/ 657 w 657"/>
              <a:gd name="T17" fmla="*/ 920 h 923"/>
              <a:gd name="T18" fmla="*/ 608 w 657"/>
              <a:gd name="T19" fmla="*/ 622 h 923"/>
              <a:gd name="T20" fmla="*/ 486 w 657"/>
              <a:gd name="T21" fmla="*/ 364 h 923"/>
              <a:gd name="T22" fmla="*/ 301 w 657"/>
              <a:gd name="T23" fmla="*/ 149 h 923"/>
              <a:gd name="T24" fmla="*/ 84 w 657"/>
              <a:gd name="T25" fmla="*/ 0 h 923"/>
              <a:gd name="T26" fmla="*/ 38 w 657"/>
              <a:gd name="T27" fmla="*/ 88 h 923"/>
              <a:gd name="T28" fmla="*/ 304 w 657"/>
              <a:gd name="T29" fmla="*/ 293 h 923"/>
              <a:gd name="T30" fmla="*/ 127 w 657"/>
              <a:gd name="T31" fmla="*/ 494 h 923"/>
              <a:gd name="T32" fmla="*/ 10 w 657"/>
              <a:gd name="T33" fmla="*/ 649 h 923"/>
              <a:gd name="T34" fmla="*/ 0 w 657"/>
              <a:gd name="T35" fmla="*/ 667 h 923"/>
              <a:gd name="T36" fmla="*/ 114 w 657"/>
              <a:gd name="T37" fmla="*/ 720 h 923"/>
              <a:gd name="T38" fmla="*/ 114 w 657"/>
              <a:gd name="T39" fmla="*/ 720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7" h="923">
                <a:moveTo>
                  <a:pt x="114" y="720"/>
                </a:moveTo>
                <a:cubicBezTo>
                  <a:pt x="143" y="747"/>
                  <a:pt x="155" y="768"/>
                  <a:pt x="158" y="783"/>
                </a:cubicBezTo>
                <a:cubicBezTo>
                  <a:pt x="167" y="769"/>
                  <a:pt x="176" y="755"/>
                  <a:pt x="186" y="742"/>
                </a:cubicBezTo>
                <a:cubicBezTo>
                  <a:pt x="195" y="730"/>
                  <a:pt x="205" y="719"/>
                  <a:pt x="216" y="707"/>
                </a:cubicBezTo>
                <a:cubicBezTo>
                  <a:pt x="243" y="677"/>
                  <a:pt x="273" y="647"/>
                  <a:pt x="302" y="617"/>
                </a:cubicBezTo>
                <a:cubicBezTo>
                  <a:pt x="347" y="572"/>
                  <a:pt x="394" y="528"/>
                  <a:pt x="440" y="484"/>
                </a:cubicBezTo>
                <a:cubicBezTo>
                  <a:pt x="486" y="568"/>
                  <a:pt x="520" y="660"/>
                  <a:pt x="539" y="755"/>
                </a:cubicBezTo>
                <a:cubicBezTo>
                  <a:pt x="550" y="810"/>
                  <a:pt x="556" y="866"/>
                  <a:pt x="557" y="923"/>
                </a:cubicBezTo>
                <a:cubicBezTo>
                  <a:pt x="657" y="920"/>
                  <a:pt x="657" y="920"/>
                  <a:pt x="657" y="920"/>
                </a:cubicBezTo>
                <a:cubicBezTo>
                  <a:pt x="655" y="819"/>
                  <a:pt x="638" y="719"/>
                  <a:pt x="608" y="622"/>
                </a:cubicBezTo>
                <a:cubicBezTo>
                  <a:pt x="579" y="531"/>
                  <a:pt x="538" y="444"/>
                  <a:pt x="486" y="364"/>
                </a:cubicBezTo>
                <a:cubicBezTo>
                  <a:pt x="434" y="285"/>
                  <a:pt x="372" y="212"/>
                  <a:pt x="301" y="149"/>
                </a:cubicBezTo>
                <a:cubicBezTo>
                  <a:pt x="235" y="91"/>
                  <a:pt x="162" y="40"/>
                  <a:pt x="84" y="0"/>
                </a:cubicBezTo>
                <a:cubicBezTo>
                  <a:pt x="38" y="88"/>
                  <a:pt x="38" y="88"/>
                  <a:pt x="38" y="88"/>
                </a:cubicBezTo>
                <a:cubicBezTo>
                  <a:pt x="139" y="141"/>
                  <a:pt x="229" y="211"/>
                  <a:pt x="304" y="293"/>
                </a:cubicBezTo>
                <a:cubicBezTo>
                  <a:pt x="245" y="359"/>
                  <a:pt x="185" y="426"/>
                  <a:pt x="127" y="494"/>
                </a:cubicBezTo>
                <a:cubicBezTo>
                  <a:pt x="85" y="543"/>
                  <a:pt x="42" y="593"/>
                  <a:pt x="10" y="649"/>
                </a:cubicBezTo>
                <a:cubicBezTo>
                  <a:pt x="6" y="655"/>
                  <a:pt x="3" y="661"/>
                  <a:pt x="0" y="667"/>
                </a:cubicBezTo>
                <a:cubicBezTo>
                  <a:pt x="51" y="671"/>
                  <a:pt x="94" y="701"/>
                  <a:pt x="114" y="720"/>
                </a:cubicBezTo>
                <a:cubicBezTo>
                  <a:pt x="143" y="747"/>
                  <a:pt x="94" y="701"/>
                  <a:pt x="114" y="720"/>
                </a:cubicBezTo>
                <a:close/>
              </a:path>
            </a:pathLst>
          </a:custGeom>
          <a:solidFill>
            <a:schemeClr val="bg1"/>
          </a:solidFill>
          <a:ln w="25400">
            <a:solidFill>
              <a:schemeClr val="accent2"/>
            </a:solidFill>
            <a:miter lim="800000"/>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2" name="Freeform 72"/>
          <p:cNvSpPr>
            <a:spLocks/>
          </p:cNvSpPr>
          <p:nvPr/>
        </p:nvSpPr>
        <p:spPr bwMode="auto">
          <a:xfrm rot="766448">
            <a:off x="5943397" y="3842539"/>
            <a:ext cx="706998" cy="872296"/>
          </a:xfrm>
          <a:custGeom>
            <a:avLst/>
            <a:gdLst>
              <a:gd name="T0" fmla="*/ 409 w 446"/>
              <a:gd name="T1" fmla="*/ 418 h 551"/>
              <a:gd name="T2" fmla="*/ 427 w 446"/>
              <a:gd name="T3" fmla="*/ 333 h 551"/>
              <a:gd name="T4" fmla="*/ 399 w 446"/>
              <a:gd name="T5" fmla="*/ 233 h 551"/>
              <a:gd name="T6" fmla="*/ 446 w 446"/>
              <a:gd name="T7" fmla="*/ 130 h 551"/>
              <a:gd name="T8" fmla="*/ 428 w 446"/>
              <a:gd name="T9" fmla="*/ 120 h 551"/>
              <a:gd name="T10" fmla="*/ 372 w 446"/>
              <a:gd name="T11" fmla="*/ 68 h 551"/>
              <a:gd name="T12" fmla="*/ 337 w 446"/>
              <a:gd name="T13" fmla="*/ 36 h 551"/>
              <a:gd name="T14" fmla="*/ 298 w 446"/>
              <a:gd name="T15" fmla="*/ 0 h 551"/>
              <a:gd name="T16" fmla="*/ 232 w 446"/>
              <a:gd name="T17" fmla="*/ 143 h 551"/>
              <a:gd name="T18" fmla="*/ 100 w 446"/>
              <a:gd name="T19" fmla="*/ 208 h 551"/>
              <a:gd name="T20" fmla="*/ 88 w 446"/>
              <a:gd name="T21" fmla="*/ 233 h 551"/>
              <a:gd name="T22" fmla="*/ 64 w 446"/>
              <a:gd name="T23" fmla="*/ 281 h 551"/>
              <a:gd name="T24" fmla="*/ 43 w 446"/>
              <a:gd name="T25" fmla="*/ 323 h 551"/>
              <a:gd name="T26" fmla="*/ 9 w 446"/>
              <a:gd name="T27" fmla="*/ 392 h 551"/>
              <a:gd name="T28" fmla="*/ 19 w 446"/>
              <a:gd name="T29" fmla="*/ 449 h 551"/>
              <a:gd name="T30" fmla="*/ 40 w 446"/>
              <a:gd name="T31" fmla="*/ 459 h 551"/>
              <a:gd name="T32" fmla="*/ 64 w 446"/>
              <a:gd name="T33" fmla="*/ 454 h 551"/>
              <a:gd name="T34" fmla="*/ 77 w 446"/>
              <a:gd name="T35" fmla="*/ 457 h 551"/>
              <a:gd name="T36" fmla="*/ 88 w 446"/>
              <a:gd name="T37" fmla="*/ 475 h 551"/>
              <a:gd name="T38" fmla="*/ 109 w 446"/>
              <a:gd name="T39" fmla="*/ 490 h 551"/>
              <a:gd name="T40" fmla="*/ 134 w 446"/>
              <a:gd name="T41" fmla="*/ 486 h 551"/>
              <a:gd name="T42" fmla="*/ 154 w 446"/>
              <a:gd name="T43" fmla="*/ 490 h 551"/>
              <a:gd name="T44" fmla="*/ 165 w 446"/>
              <a:gd name="T45" fmla="*/ 509 h 551"/>
              <a:gd name="T46" fmla="*/ 183 w 446"/>
              <a:gd name="T47" fmla="*/ 523 h 551"/>
              <a:gd name="T48" fmla="*/ 207 w 446"/>
              <a:gd name="T49" fmla="*/ 520 h 551"/>
              <a:gd name="T50" fmla="*/ 226 w 446"/>
              <a:gd name="T51" fmla="*/ 516 h 551"/>
              <a:gd name="T52" fmla="*/ 235 w 446"/>
              <a:gd name="T53" fmla="*/ 528 h 551"/>
              <a:gd name="T54" fmla="*/ 281 w 446"/>
              <a:gd name="T55" fmla="*/ 544 h 551"/>
              <a:gd name="T56" fmla="*/ 311 w 446"/>
              <a:gd name="T57" fmla="*/ 517 h 551"/>
              <a:gd name="T58" fmla="*/ 338 w 446"/>
              <a:gd name="T59" fmla="*/ 463 h 551"/>
              <a:gd name="T60" fmla="*/ 358 w 446"/>
              <a:gd name="T61" fmla="*/ 474 h 551"/>
              <a:gd name="T62" fmla="*/ 384 w 446"/>
              <a:gd name="T63" fmla="*/ 465 h 551"/>
              <a:gd name="T64" fmla="*/ 409 w 446"/>
              <a:gd name="T65" fmla="*/ 418 h 551"/>
              <a:gd name="T66" fmla="*/ 409 w 446"/>
              <a:gd name="T67" fmla="*/ 41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6" h="551">
                <a:moveTo>
                  <a:pt x="409" y="418"/>
                </a:moveTo>
                <a:cubicBezTo>
                  <a:pt x="416" y="390"/>
                  <a:pt x="425" y="362"/>
                  <a:pt x="427" y="333"/>
                </a:cubicBezTo>
                <a:cubicBezTo>
                  <a:pt x="430" y="297"/>
                  <a:pt x="421" y="262"/>
                  <a:pt x="399" y="233"/>
                </a:cubicBezTo>
                <a:cubicBezTo>
                  <a:pt x="399" y="233"/>
                  <a:pt x="418" y="190"/>
                  <a:pt x="446" y="130"/>
                </a:cubicBezTo>
                <a:cubicBezTo>
                  <a:pt x="439" y="128"/>
                  <a:pt x="433" y="125"/>
                  <a:pt x="428" y="120"/>
                </a:cubicBezTo>
                <a:cubicBezTo>
                  <a:pt x="372" y="68"/>
                  <a:pt x="372" y="68"/>
                  <a:pt x="372" y="68"/>
                </a:cubicBezTo>
                <a:cubicBezTo>
                  <a:pt x="337" y="36"/>
                  <a:pt x="337" y="36"/>
                  <a:pt x="337" y="36"/>
                </a:cubicBezTo>
                <a:cubicBezTo>
                  <a:pt x="298" y="0"/>
                  <a:pt x="298" y="0"/>
                  <a:pt x="298" y="0"/>
                </a:cubicBezTo>
                <a:cubicBezTo>
                  <a:pt x="260" y="81"/>
                  <a:pt x="232" y="143"/>
                  <a:pt x="232" y="143"/>
                </a:cubicBezTo>
                <a:cubicBezTo>
                  <a:pt x="181" y="135"/>
                  <a:pt x="125" y="159"/>
                  <a:pt x="100" y="208"/>
                </a:cubicBezTo>
                <a:cubicBezTo>
                  <a:pt x="88" y="233"/>
                  <a:pt x="88" y="233"/>
                  <a:pt x="88" y="233"/>
                </a:cubicBezTo>
                <a:cubicBezTo>
                  <a:pt x="64" y="281"/>
                  <a:pt x="64" y="281"/>
                  <a:pt x="64" y="281"/>
                </a:cubicBezTo>
                <a:cubicBezTo>
                  <a:pt x="43" y="323"/>
                  <a:pt x="43" y="323"/>
                  <a:pt x="43" y="323"/>
                </a:cubicBezTo>
                <a:cubicBezTo>
                  <a:pt x="9" y="392"/>
                  <a:pt x="9" y="392"/>
                  <a:pt x="9" y="392"/>
                </a:cubicBezTo>
                <a:cubicBezTo>
                  <a:pt x="0" y="410"/>
                  <a:pt x="6" y="435"/>
                  <a:pt x="19" y="449"/>
                </a:cubicBezTo>
                <a:cubicBezTo>
                  <a:pt x="25" y="455"/>
                  <a:pt x="32" y="460"/>
                  <a:pt x="40" y="459"/>
                </a:cubicBezTo>
                <a:cubicBezTo>
                  <a:pt x="48" y="459"/>
                  <a:pt x="56" y="455"/>
                  <a:pt x="64" y="454"/>
                </a:cubicBezTo>
                <a:cubicBezTo>
                  <a:pt x="69" y="452"/>
                  <a:pt x="73" y="452"/>
                  <a:pt x="77" y="457"/>
                </a:cubicBezTo>
                <a:cubicBezTo>
                  <a:pt x="81" y="463"/>
                  <a:pt x="84" y="469"/>
                  <a:pt x="88" y="475"/>
                </a:cubicBezTo>
                <a:cubicBezTo>
                  <a:pt x="93" y="482"/>
                  <a:pt x="100" y="489"/>
                  <a:pt x="109" y="490"/>
                </a:cubicBezTo>
                <a:cubicBezTo>
                  <a:pt x="118" y="492"/>
                  <a:pt x="126" y="488"/>
                  <a:pt x="134" y="486"/>
                </a:cubicBezTo>
                <a:cubicBezTo>
                  <a:pt x="142" y="484"/>
                  <a:pt x="149" y="484"/>
                  <a:pt x="154" y="490"/>
                </a:cubicBezTo>
                <a:cubicBezTo>
                  <a:pt x="159" y="496"/>
                  <a:pt x="161" y="503"/>
                  <a:pt x="165" y="509"/>
                </a:cubicBezTo>
                <a:cubicBezTo>
                  <a:pt x="169" y="516"/>
                  <a:pt x="175" y="522"/>
                  <a:pt x="183" y="523"/>
                </a:cubicBezTo>
                <a:cubicBezTo>
                  <a:pt x="191" y="524"/>
                  <a:pt x="199" y="522"/>
                  <a:pt x="207" y="520"/>
                </a:cubicBezTo>
                <a:cubicBezTo>
                  <a:pt x="213" y="518"/>
                  <a:pt x="220" y="515"/>
                  <a:pt x="226" y="516"/>
                </a:cubicBezTo>
                <a:cubicBezTo>
                  <a:pt x="231" y="518"/>
                  <a:pt x="233" y="524"/>
                  <a:pt x="235" y="528"/>
                </a:cubicBezTo>
                <a:cubicBezTo>
                  <a:pt x="245" y="545"/>
                  <a:pt x="264" y="551"/>
                  <a:pt x="281" y="544"/>
                </a:cubicBezTo>
                <a:cubicBezTo>
                  <a:pt x="293" y="539"/>
                  <a:pt x="305" y="529"/>
                  <a:pt x="311" y="517"/>
                </a:cubicBezTo>
                <a:cubicBezTo>
                  <a:pt x="338" y="463"/>
                  <a:pt x="338" y="463"/>
                  <a:pt x="338" y="463"/>
                </a:cubicBezTo>
                <a:cubicBezTo>
                  <a:pt x="341" y="470"/>
                  <a:pt x="351" y="474"/>
                  <a:pt x="358" y="474"/>
                </a:cubicBezTo>
                <a:cubicBezTo>
                  <a:pt x="368" y="474"/>
                  <a:pt x="377" y="470"/>
                  <a:pt x="384" y="465"/>
                </a:cubicBezTo>
                <a:cubicBezTo>
                  <a:pt x="398" y="453"/>
                  <a:pt x="405" y="435"/>
                  <a:pt x="409" y="418"/>
                </a:cubicBezTo>
                <a:cubicBezTo>
                  <a:pt x="416" y="389"/>
                  <a:pt x="402" y="447"/>
                  <a:pt x="409" y="418"/>
                </a:cubicBezTo>
                <a:close/>
              </a:path>
            </a:pathLst>
          </a:custGeom>
          <a:solidFill>
            <a:schemeClr val="bg1"/>
          </a:solidFill>
          <a:ln w="25400">
            <a:solidFill>
              <a:schemeClr val="accent2"/>
            </a:solidFill>
            <a:miter lim="800000"/>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3" name="Freeform 73"/>
          <p:cNvSpPr>
            <a:spLocks/>
          </p:cNvSpPr>
          <p:nvPr/>
        </p:nvSpPr>
        <p:spPr bwMode="auto">
          <a:xfrm rot="766448">
            <a:off x="6323994" y="4027196"/>
            <a:ext cx="1282555" cy="1551413"/>
          </a:xfrm>
          <a:custGeom>
            <a:avLst/>
            <a:gdLst>
              <a:gd name="T0" fmla="*/ 710 w 810"/>
              <a:gd name="T1" fmla="*/ 0 h 980"/>
              <a:gd name="T2" fmla="*/ 710 w 810"/>
              <a:gd name="T3" fmla="*/ 0 h 980"/>
              <a:gd name="T4" fmla="*/ 706 w 810"/>
              <a:gd name="T5" fmla="*/ 0 h 980"/>
              <a:gd name="T6" fmla="*/ 572 w 810"/>
              <a:gd name="T7" fmla="*/ 432 h 980"/>
              <a:gd name="T8" fmla="*/ 318 w 810"/>
              <a:gd name="T9" fmla="*/ 324 h 980"/>
              <a:gd name="T10" fmla="*/ 226 w 810"/>
              <a:gd name="T11" fmla="*/ 289 h 980"/>
              <a:gd name="T12" fmla="*/ 120 w 810"/>
              <a:gd name="T13" fmla="*/ 266 h 980"/>
              <a:gd name="T14" fmla="*/ 113 w 810"/>
              <a:gd name="T15" fmla="*/ 380 h 980"/>
              <a:gd name="T16" fmla="*/ 74 w 810"/>
              <a:gd name="T17" fmla="*/ 454 h 980"/>
              <a:gd name="T18" fmla="*/ 131 w 810"/>
              <a:gd name="T19" fmla="*/ 469 h 980"/>
              <a:gd name="T20" fmla="*/ 171 w 810"/>
              <a:gd name="T21" fmla="*/ 485 h 980"/>
              <a:gd name="T22" fmla="*/ 282 w 810"/>
              <a:gd name="T23" fmla="*/ 538 h 980"/>
              <a:gd name="T24" fmla="*/ 431 w 810"/>
              <a:gd name="T25" fmla="*/ 616 h 980"/>
              <a:gd name="T26" fmla="*/ 0 w 810"/>
              <a:gd name="T27" fmla="*/ 884 h 980"/>
              <a:gd name="T28" fmla="*/ 30 w 810"/>
              <a:gd name="T29" fmla="*/ 980 h 980"/>
              <a:gd name="T30" fmla="*/ 33 w 810"/>
              <a:gd name="T31" fmla="*/ 979 h 980"/>
              <a:gd name="T32" fmla="*/ 34 w 810"/>
              <a:gd name="T33" fmla="*/ 980 h 980"/>
              <a:gd name="T34" fmla="*/ 276 w 810"/>
              <a:gd name="T35" fmla="*/ 871 h 980"/>
              <a:gd name="T36" fmla="*/ 482 w 810"/>
              <a:gd name="T37" fmla="*/ 712 h 980"/>
              <a:gd name="T38" fmla="*/ 659 w 810"/>
              <a:gd name="T39" fmla="*/ 490 h 980"/>
              <a:gd name="T40" fmla="*/ 772 w 810"/>
              <a:gd name="T41" fmla="*/ 230 h 980"/>
              <a:gd name="T42" fmla="*/ 810 w 810"/>
              <a:gd name="T43" fmla="*/ 5 h 980"/>
              <a:gd name="T44" fmla="*/ 710 w 810"/>
              <a:gd name="T45" fmla="*/ 0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0" h="980">
                <a:moveTo>
                  <a:pt x="710" y="0"/>
                </a:moveTo>
                <a:cubicBezTo>
                  <a:pt x="710" y="0"/>
                  <a:pt x="710" y="0"/>
                  <a:pt x="710" y="0"/>
                </a:cubicBezTo>
                <a:cubicBezTo>
                  <a:pt x="706" y="0"/>
                  <a:pt x="706" y="0"/>
                  <a:pt x="706" y="0"/>
                </a:cubicBezTo>
                <a:cubicBezTo>
                  <a:pt x="699" y="149"/>
                  <a:pt x="652" y="298"/>
                  <a:pt x="572" y="432"/>
                </a:cubicBezTo>
                <a:cubicBezTo>
                  <a:pt x="488" y="395"/>
                  <a:pt x="403" y="358"/>
                  <a:pt x="318" y="324"/>
                </a:cubicBezTo>
                <a:cubicBezTo>
                  <a:pt x="288" y="311"/>
                  <a:pt x="257" y="299"/>
                  <a:pt x="226" y="289"/>
                </a:cubicBezTo>
                <a:cubicBezTo>
                  <a:pt x="191" y="278"/>
                  <a:pt x="155" y="272"/>
                  <a:pt x="120" y="266"/>
                </a:cubicBezTo>
                <a:cubicBezTo>
                  <a:pt x="130" y="304"/>
                  <a:pt x="123" y="343"/>
                  <a:pt x="113" y="380"/>
                </a:cubicBezTo>
                <a:cubicBezTo>
                  <a:pt x="105" y="406"/>
                  <a:pt x="100" y="440"/>
                  <a:pt x="74" y="454"/>
                </a:cubicBezTo>
                <a:cubicBezTo>
                  <a:pt x="93" y="458"/>
                  <a:pt x="112" y="463"/>
                  <a:pt x="131" y="469"/>
                </a:cubicBezTo>
                <a:cubicBezTo>
                  <a:pt x="145" y="474"/>
                  <a:pt x="158" y="479"/>
                  <a:pt x="171" y="485"/>
                </a:cubicBezTo>
                <a:cubicBezTo>
                  <a:pt x="209" y="501"/>
                  <a:pt x="246" y="519"/>
                  <a:pt x="282" y="538"/>
                </a:cubicBezTo>
                <a:cubicBezTo>
                  <a:pt x="332" y="563"/>
                  <a:pt x="382" y="590"/>
                  <a:pt x="431" y="616"/>
                </a:cubicBezTo>
                <a:cubicBezTo>
                  <a:pt x="312" y="741"/>
                  <a:pt x="161" y="834"/>
                  <a:pt x="0" y="884"/>
                </a:cubicBezTo>
                <a:cubicBezTo>
                  <a:pt x="30" y="980"/>
                  <a:pt x="30" y="980"/>
                  <a:pt x="30" y="980"/>
                </a:cubicBezTo>
                <a:cubicBezTo>
                  <a:pt x="31" y="980"/>
                  <a:pt x="32" y="979"/>
                  <a:pt x="33" y="979"/>
                </a:cubicBezTo>
                <a:cubicBezTo>
                  <a:pt x="34" y="980"/>
                  <a:pt x="34" y="980"/>
                  <a:pt x="34" y="980"/>
                </a:cubicBezTo>
                <a:cubicBezTo>
                  <a:pt x="118" y="954"/>
                  <a:pt x="200" y="917"/>
                  <a:pt x="276" y="871"/>
                </a:cubicBezTo>
                <a:cubicBezTo>
                  <a:pt x="350" y="826"/>
                  <a:pt x="420" y="773"/>
                  <a:pt x="482" y="712"/>
                </a:cubicBezTo>
                <a:cubicBezTo>
                  <a:pt x="550" y="646"/>
                  <a:pt x="609" y="571"/>
                  <a:pt x="659" y="490"/>
                </a:cubicBezTo>
                <a:cubicBezTo>
                  <a:pt x="708" y="409"/>
                  <a:pt x="746" y="321"/>
                  <a:pt x="772" y="230"/>
                </a:cubicBezTo>
                <a:cubicBezTo>
                  <a:pt x="793" y="157"/>
                  <a:pt x="806" y="81"/>
                  <a:pt x="810" y="5"/>
                </a:cubicBezTo>
                <a:lnTo>
                  <a:pt x="710" y="0"/>
                </a:lnTo>
                <a:close/>
              </a:path>
            </a:pathLst>
          </a:custGeom>
          <a:solidFill>
            <a:schemeClr val="bg1"/>
          </a:solidFill>
          <a:ln w="25400">
            <a:solidFill>
              <a:schemeClr val="accent3"/>
            </a:solidFill>
            <a:miter lim="800000"/>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4" name="AutoShape 61"/>
          <p:cNvSpPr>
            <a:spLocks noChangeAspect="1" noChangeArrowheads="1" noTextEdit="1"/>
          </p:cNvSpPr>
          <p:nvPr/>
        </p:nvSpPr>
        <p:spPr bwMode="auto">
          <a:xfrm rot="766448">
            <a:off x="4544526" y="1877626"/>
            <a:ext cx="3379651" cy="337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5" name="TextBox 14"/>
          <p:cNvSpPr txBox="1"/>
          <p:nvPr/>
        </p:nvSpPr>
        <p:spPr>
          <a:xfrm>
            <a:off x="8070531" y="2753909"/>
            <a:ext cx="1903256"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16" name="TextBox 15"/>
          <p:cNvSpPr txBox="1"/>
          <p:nvPr/>
        </p:nvSpPr>
        <p:spPr>
          <a:xfrm>
            <a:off x="7616999" y="5019153"/>
            <a:ext cx="1903256"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17" name="TextBox 16"/>
          <p:cNvSpPr txBox="1"/>
          <p:nvPr/>
        </p:nvSpPr>
        <p:spPr>
          <a:xfrm>
            <a:off x="5156090" y="1095707"/>
            <a:ext cx="1903256" cy="760208"/>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18" name="TextBox 17"/>
          <p:cNvSpPr txBox="1"/>
          <p:nvPr/>
        </p:nvSpPr>
        <p:spPr>
          <a:xfrm>
            <a:off x="2800729" y="5019153"/>
            <a:ext cx="1903256"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19" name="TextBox 18"/>
          <p:cNvSpPr txBox="1"/>
          <p:nvPr/>
        </p:nvSpPr>
        <p:spPr>
          <a:xfrm>
            <a:off x="2239433" y="2756548"/>
            <a:ext cx="1903256"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20" name="Oval 19"/>
          <p:cNvSpPr/>
          <p:nvPr/>
        </p:nvSpPr>
        <p:spPr>
          <a:xfrm>
            <a:off x="7523225" y="2883080"/>
            <a:ext cx="302671" cy="30267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21" name="Oval 20"/>
          <p:cNvSpPr/>
          <p:nvPr/>
        </p:nvSpPr>
        <p:spPr>
          <a:xfrm>
            <a:off x="5872918" y="1893920"/>
            <a:ext cx="302671" cy="30267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22" name="Oval 21"/>
          <p:cNvSpPr/>
          <p:nvPr/>
        </p:nvSpPr>
        <p:spPr>
          <a:xfrm>
            <a:off x="4361535" y="3010636"/>
            <a:ext cx="302671" cy="30267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5</a:t>
            </a:r>
          </a:p>
        </p:txBody>
      </p:sp>
      <p:sp>
        <p:nvSpPr>
          <p:cNvPr id="23" name="Oval 22"/>
          <p:cNvSpPr/>
          <p:nvPr/>
        </p:nvSpPr>
        <p:spPr>
          <a:xfrm>
            <a:off x="4926689" y="4921703"/>
            <a:ext cx="302671" cy="302671"/>
          </a:xfrm>
          <a:prstGeom prst="ellips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24" name="Oval 23"/>
          <p:cNvSpPr/>
          <p:nvPr/>
        </p:nvSpPr>
        <p:spPr>
          <a:xfrm>
            <a:off x="7115011" y="4867817"/>
            <a:ext cx="302671" cy="30267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30" name="Text Placeholder 6">
            <a:extLst>
              <a:ext uri="{FF2B5EF4-FFF2-40B4-BE49-F238E27FC236}">
                <a16:creationId xmlns:a16="http://schemas.microsoft.com/office/drawing/2014/main" id="{F13CC537-84C8-484E-A320-C6190FA4356D}"/>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20371147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06FE7253-4B96-E444-9FB8-AE4015D683CF}"/>
              </a:ext>
            </a:extLst>
          </p:cNvPr>
          <p:cNvSpPr>
            <a:spLocks noGrp="1"/>
          </p:cNvSpPr>
          <p:nvPr>
            <p:ph type="body" sz="quarter" idx="10"/>
          </p:nvPr>
        </p:nvSpPr>
        <p:spPr/>
        <p:txBody>
          <a:bodyPr/>
          <a:lstStyle/>
          <a:p>
            <a:endParaRPr lang="en-US"/>
          </a:p>
        </p:txBody>
      </p:sp>
      <p:sp>
        <p:nvSpPr>
          <p:cNvPr id="17" name="Text Placeholder 16">
            <a:extLst>
              <a:ext uri="{FF2B5EF4-FFF2-40B4-BE49-F238E27FC236}">
                <a16:creationId xmlns:a16="http://schemas.microsoft.com/office/drawing/2014/main" id="{DD3744C0-835B-4E4D-A914-31AE7EAB9956}"/>
              </a:ext>
            </a:extLst>
          </p:cNvPr>
          <p:cNvSpPr>
            <a:spLocks noGrp="1"/>
          </p:cNvSpPr>
          <p:nvPr>
            <p:ph type="body" sz="quarter" idx="11"/>
          </p:nvPr>
        </p:nvSpPr>
        <p:spPr/>
        <p:txBody>
          <a:bodyPr/>
          <a:lstStyle/>
          <a:p>
            <a:endParaRPr lang="en-US"/>
          </a:p>
        </p:txBody>
      </p:sp>
      <p:sp>
        <p:nvSpPr>
          <p:cNvPr id="18" name="Text Placeholder 17">
            <a:extLst>
              <a:ext uri="{FF2B5EF4-FFF2-40B4-BE49-F238E27FC236}">
                <a16:creationId xmlns:a16="http://schemas.microsoft.com/office/drawing/2014/main" id="{6D7BBF97-A1D8-0747-821B-3F61DD0F488A}"/>
              </a:ext>
            </a:extLst>
          </p:cNvPr>
          <p:cNvSpPr>
            <a:spLocks noGrp="1"/>
          </p:cNvSpPr>
          <p:nvPr>
            <p:ph type="body" sz="quarter" idx="13"/>
          </p:nvPr>
        </p:nvSpPr>
        <p:spPr/>
        <p:txBody>
          <a:bodyPr/>
          <a:lstStyle/>
          <a:p>
            <a:endParaRPr lang="en-US"/>
          </a:p>
        </p:txBody>
      </p:sp>
      <p:sp>
        <p:nvSpPr>
          <p:cNvPr id="19" name="Text Placeholder 18">
            <a:extLst>
              <a:ext uri="{FF2B5EF4-FFF2-40B4-BE49-F238E27FC236}">
                <a16:creationId xmlns:a16="http://schemas.microsoft.com/office/drawing/2014/main" id="{0D6C373B-D7C5-1545-A155-7AF5F3544E34}"/>
              </a:ext>
            </a:extLst>
          </p:cNvPr>
          <p:cNvSpPr>
            <a:spLocks noGrp="1"/>
          </p:cNvSpPr>
          <p:nvPr>
            <p:ph type="body" sz="quarter" idx="14"/>
          </p:nvPr>
        </p:nvSpPr>
        <p:spPr/>
        <p:txBody>
          <a:bodyPr/>
          <a:lstStyle/>
          <a:p>
            <a:endParaRPr lang="en-US" dirty="0"/>
          </a:p>
        </p:txBody>
      </p:sp>
      <p:sp>
        <p:nvSpPr>
          <p:cNvPr id="20" name="Text Placeholder 19">
            <a:extLst>
              <a:ext uri="{FF2B5EF4-FFF2-40B4-BE49-F238E27FC236}">
                <a16:creationId xmlns:a16="http://schemas.microsoft.com/office/drawing/2014/main" id="{F5253E32-598F-DC40-BBCC-B84F67AEB920}"/>
              </a:ext>
            </a:extLst>
          </p:cNvPr>
          <p:cNvSpPr>
            <a:spLocks noGrp="1"/>
          </p:cNvSpPr>
          <p:nvPr>
            <p:ph type="body" sz="quarter" idx="15"/>
          </p:nvPr>
        </p:nvSpPr>
        <p:spPr/>
        <p:txBody>
          <a:bodyPr/>
          <a:lstStyle/>
          <a:p>
            <a:endParaRPr lang="en-US"/>
          </a:p>
        </p:txBody>
      </p:sp>
      <p:sp>
        <p:nvSpPr>
          <p:cNvPr id="21" name="Text Placeholder 20">
            <a:extLst>
              <a:ext uri="{FF2B5EF4-FFF2-40B4-BE49-F238E27FC236}">
                <a16:creationId xmlns:a16="http://schemas.microsoft.com/office/drawing/2014/main" id="{E2FCF526-3E53-5341-B7FF-A645BCE5FA41}"/>
              </a:ext>
            </a:extLst>
          </p:cNvPr>
          <p:cNvSpPr>
            <a:spLocks noGrp="1"/>
          </p:cNvSpPr>
          <p:nvPr>
            <p:ph type="body" sz="quarter" idx="16"/>
          </p:nvPr>
        </p:nvSpPr>
        <p:spPr/>
        <p:txBody>
          <a:bodyPr/>
          <a:lstStyle/>
          <a:p>
            <a:endParaRPr lang="en-US"/>
          </a:p>
        </p:txBody>
      </p:sp>
      <p:sp>
        <p:nvSpPr>
          <p:cNvPr id="22" name="Text Placeholder 21">
            <a:extLst>
              <a:ext uri="{FF2B5EF4-FFF2-40B4-BE49-F238E27FC236}">
                <a16:creationId xmlns:a16="http://schemas.microsoft.com/office/drawing/2014/main" id="{AB2BBC7C-B706-D648-9203-D51C76E5F6AD}"/>
              </a:ext>
            </a:extLst>
          </p:cNvPr>
          <p:cNvSpPr>
            <a:spLocks noGrp="1"/>
          </p:cNvSpPr>
          <p:nvPr>
            <p:ph type="body" sz="quarter" idx="17"/>
          </p:nvPr>
        </p:nvSpPr>
        <p:spPr/>
        <p:txBody>
          <a:bodyPr/>
          <a:lstStyle/>
          <a:p>
            <a:endParaRPr lang="en-US"/>
          </a:p>
        </p:txBody>
      </p:sp>
      <p:sp>
        <p:nvSpPr>
          <p:cNvPr id="23" name="Text Placeholder 22">
            <a:extLst>
              <a:ext uri="{FF2B5EF4-FFF2-40B4-BE49-F238E27FC236}">
                <a16:creationId xmlns:a16="http://schemas.microsoft.com/office/drawing/2014/main" id="{F1531B0E-FA50-D64D-BEAC-5395365C31A0}"/>
              </a:ext>
            </a:extLst>
          </p:cNvPr>
          <p:cNvSpPr>
            <a:spLocks noGrp="1"/>
          </p:cNvSpPr>
          <p:nvPr>
            <p:ph type="body" sz="quarter" idx="18"/>
          </p:nvPr>
        </p:nvSpPr>
        <p:spPr/>
        <p:txBody>
          <a:bodyPr/>
          <a:lstStyle/>
          <a:p>
            <a:endParaRPr lang="en-US"/>
          </a:p>
        </p:txBody>
      </p:sp>
      <p:sp>
        <p:nvSpPr>
          <p:cNvPr id="24" name="Text Placeholder 23">
            <a:extLst>
              <a:ext uri="{FF2B5EF4-FFF2-40B4-BE49-F238E27FC236}">
                <a16:creationId xmlns:a16="http://schemas.microsoft.com/office/drawing/2014/main" id="{DBC40A95-FCF7-4E48-8A6A-5220497D62F2}"/>
              </a:ext>
            </a:extLst>
          </p:cNvPr>
          <p:cNvSpPr>
            <a:spLocks noGrp="1"/>
          </p:cNvSpPr>
          <p:nvPr>
            <p:ph type="body" sz="quarter" idx="19"/>
          </p:nvPr>
        </p:nvSpPr>
        <p:spPr/>
        <p:txBody>
          <a:bodyPr/>
          <a:lstStyle/>
          <a:p>
            <a:endParaRPr lang="en-US"/>
          </a:p>
        </p:txBody>
      </p:sp>
      <p:sp>
        <p:nvSpPr>
          <p:cNvPr id="25" name="Text Placeholder 24">
            <a:extLst>
              <a:ext uri="{FF2B5EF4-FFF2-40B4-BE49-F238E27FC236}">
                <a16:creationId xmlns:a16="http://schemas.microsoft.com/office/drawing/2014/main" id="{8F02DD3F-FD48-9147-852C-41D0ECD39C01}"/>
              </a:ext>
            </a:extLst>
          </p:cNvPr>
          <p:cNvSpPr>
            <a:spLocks noGrp="1"/>
          </p:cNvSpPr>
          <p:nvPr>
            <p:ph type="body" sz="quarter" idx="20"/>
          </p:nvPr>
        </p:nvSpPr>
        <p:spPr/>
        <p:txBody>
          <a:bodyPr/>
          <a:lstStyle/>
          <a:p>
            <a:endParaRPr lang="en-US"/>
          </a:p>
        </p:txBody>
      </p:sp>
      <p:pic>
        <p:nvPicPr>
          <p:cNvPr id="26" name="Image" descr="Image">
            <a:extLst>
              <a:ext uri="{FF2B5EF4-FFF2-40B4-BE49-F238E27FC236}">
                <a16:creationId xmlns:a16="http://schemas.microsoft.com/office/drawing/2014/main" id="{B12ACB13-AAE5-3E42-A4A3-65066ECBC253}"/>
              </a:ext>
            </a:extLst>
          </p:cNvPr>
          <p:cNvPicPr>
            <a:picLocks noChangeAspect="1"/>
          </p:cNvPicPr>
          <p:nvPr/>
        </p:nvPicPr>
        <p:blipFill>
          <a:blip r:embed="rId2"/>
          <a:stretch>
            <a:fillRect/>
          </a:stretch>
        </p:blipFill>
        <p:spPr>
          <a:xfrm>
            <a:off x="6438453" y="2256512"/>
            <a:ext cx="831278" cy="831278"/>
          </a:xfrm>
          <a:prstGeom prst="rect">
            <a:avLst/>
          </a:prstGeom>
          <a:ln w="3175">
            <a:miter lim="400000"/>
          </a:ln>
        </p:spPr>
      </p:pic>
      <p:pic>
        <p:nvPicPr>
          <p:cNvPr id="27" name="Image" descr="Image">
            <a:extLst>
              <a:ext uri="{FF2B5EF4-FFF2-40B4-BE49-F238E27FC236}">
                <a16:creationId xmlns:a16="http://schemas.microsoft.com/office/drawing/2014/main" id="{8EA550DE-01DC-FD49-A0DC-A7AD5E66A72F}"/>
              </a:ext>
            </a:extLst>
          </p:cNvPr>
          <p:cNvPicPr>
            <a:picLocks noChangeAspect="1"/>
          </p:cNvPicPr>
          <p:nvPr/>
        </p:nvPicPr>
        <p:blipFill>
          <a:blip r:embed="rId3"/>
          <a:stretch>
            <a:fillRect/>
          </a:stretch>
        </p:blipFill>
        <p:spPr>
          <a:xfrm>
            <a:off x="675264" y="2326164"/>
            <a:ext cx="831278" cy="691921"/>
          </a:xfrm>
          <a:prstGeom prst="rect">
            <a:avLst/>
          </a:prstGeom>
          <a:ln w="3175">
            <a:miter lim="400000"/>
          </a:ln>
        </p:spPr>
      </p:pic>
      <p:pic>
        <p:nvPicPr>
          <p:cNvPr id="28" name="Image" descr="Image">
            <a:extLst>
              <a:ext uri="{FF2B5EF4-FFF2-40B4-BE49-F238E27FC236}">
                <a16:creationId xmlns:a16="http://schemas.microsoft.com/office/drawing/2014/main" id="{AEE9573A-52F9-3C47-9D47-AA5F7B23CFF9}"/>
              </a:ext>
            </a:extLst>
          </p:cNvPr>
          <p:cNvPicPr>
            <a:picLocks noChangeAspect="1"/>
          </p:cNvPicPr>
          <p:nvPr/>
        </p:nvPicPr>
        <p:blipFill>
          <a:blip r:embed="rId4"/>
          <a:stretch>
            <a:fillRect/>
          </a:stretch>
        </p:blipFill>
        <p:spPr>
          <a:xfrm>
            <a:off x="9316332" y="2283307"/>
            <a:ext cx="831278" cy="794381"/>
          </a:xfrm>
          <a:prstGeom prst="rect">
            <a:avLst/>
          </a:prstGeom>
          <a:ln w="3175">
            <a:miter lim="400000"/>
          </a:ln>
        </p:spPr>
      </p:pic>
      <p:pic>
        <p:nvPicPr>
          <p:cNvPr id="29" name="Image" descr="Image">
            <a:extLst>
              <a:ext uri="{FF2B5EF4-FFF2-40B4-BE49-F238E27FC236}">
                <a16:creationId xmlns:a16="http://schemas.microsoft.com/office/drawing/2014/main" id="{2102D416-3A58-F149-8EF4-684D3A274790}"/>
              </a:ext>
            </a:extLst>
          </p:cNvPr>
          <p:cNvPicPr>
            <a:picLocks noChangeAspect="1"/>
          </p:cNvPicPr>
          <p:nvPr/>
        </p:nvPicPr>
        <p:blipFill>
          <a:blip r:embed="rId5"/>
          <a:stretch>
            <a:fillRect/>
          </a:stretch>
        </p:blipFill>
        <p:spPr>
          <a:xfrm>
            <a:off x="3515785" y="2285036"/>
            <a:ext cx="831278" cy="798804"/>
          </a:xfrm>
          <a:prstGeom prst="rect">
            <a:avLst/>
          </a:prstGeom>
          <a:ln w="3175">
            <a:miter lim="400000"/>
          </a:ln>
        </p:spPr>
      </p:pic>
    </p:spTree>
    <p:extLst>
      <p:ext uri="{BB962C8B-B14F-4D97-AF65-F5344CB8AC3E}">
        <p14:creationId xmlns:p14="http://schemas.microsoft.com/office/powerpoint/2010/main" val="375069486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al</a:t>
            </a:r>
            <a:br>
              <a:rPr lang="en-US" dirty="0"/>
            </a:br>
            <a:r>
              <a:rPr lang="en-US" dirty="0"/>
              <a:t>infographic</a:t>
            </a:r>
          </a:p>
        </p:txBody>
      </p:sp>
      <p:sp>
        <p:nvSpPr>
          <p:cNvPr id="4" name="AutoShape 52"/>
          <p:cNvSpPr>
            <a:spLocks noChangeAspect="1" noChangeArrowheads="1" noTextEdit="1"/>
          </p:cNvSpPr>
          <p:nvPr/>
        </p:nvSpPr>
        <p:spPr bwMode="auto">
          <a:xfrm>
            <a:off x="5000343" y="689486"/>
            <a:ext cx="5629681" cy="5493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latin typeface="Roboto Light" charset="0"/>
            </a:endParaRPr>
          </a:p>
        </p:txBody>
      </p:sp>
      <p:sp>
        <p:nvSpPr>
          <p:cNvPr id="5" name="Freeform 54"/>
          <p:cNvSpPr>
            <a:spLocks/>
          </p:cNvSpPr>
          <p:nvPr/>
        </p:nvSpPr>
        <p:spPr bwMode="auto">
          <a:xfrm>
            <a:off x="5949499" y="689486"/>
            <a:ext cx="3725436" cy="1925006"/>
          </a:xfrm>
          <a:custGeom>
            <a:avLst/>
            <a:gdLst>
              <a:gd name="T0" fmla="*/ 702 w 1403"/>
              <a:gd name="T1" fmla="*/ 725 h 725"/>
              <a:gd name="T2" fmla="*/ 1061 w 1403"/>
              <a:gd name="T3" fmla="*/ 631 h 725"/>
              <a:gd name="T4" fmla="*/ 1403 w 1403"/>
              <a:gd name="T5" fmla="*/ 715 h 725"/>
              <a:gd name="T6" fmla="*/ 1403 w 1403"/>
              <a:gd name="T7" fmla="*/ 702 h 725"/>
              <a:gd name="T8" fmla="*/ 702 w 1403"/>
              <a:gd name="T9" fmla="*/ 0 h 725"/>
              <a:gd name="T10" fmla="*/ 0 w 1403"/>
              <a:gd name="T11" fmla="*/ 702 h 725"/>
              <a:gd name="T12" fmla="*/ 0 w 1403"/>
              <a:gd name="T13" fmla="*/ 715 h 725"/>
              <a:gd name="T14" fmla="*/ 342 w 1403"/>
              <a:gd name="T15" fmla="*/ 631 h 725"/>
              <a:gd name="T16" fmla="*/ 702 w 1403"/>
              <a:gd name="T17" fmla="*/ 725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3" h="725">
                <a:moveTo>
                  <a:pt x="702" y="725"/>
                </a:moveTo>
                <a:cubicBezTo>
                  <a:pt x="808" y="665"/>
                  <a:pt x="931" y="631"/>
                  <a:pt x="1061" y="631"/>
                </a:cubicBezTo>
                <a:cubicBezTo>
                  <a:pt x="1185" y="631"/>
                  <a:pt x="1301" y="661"/>
                  <a:pt x="1403" y="715"/>
                </a:cubicBezTo>
                <a:cubicBezTo>
                  <a:pt x="1403" y="711"/>
                  <a:pt x="1403" y="706"/>
                  <a:pt x="1403" y="702"/>
                </a:cubicBezTo>
                <a:cubicBezTo>
                  <a:pt x="1403" y="315"/>
                  <a:pt x="1089" y="0"/>
                  <a:pt x="702" y="0"/>
                </a:cubicBezTo>
                <a:cubicBezTo>
                  <a:pt x="315" y="0"/>
                  <a:pt x="0" y="315"/>
                  <a:pt x="0" y="702"/>
                </a:cubicBezTo>
                <a:cubicBezTo>
                  <a:pt x="0" y="706"/>
                  <a:pt x="0" y="711"/>
                  <a:pt x="0" y="715"/>
                </a:cubicBezTo>
                <a:cubicBezTo>
                  <a:pt x="103" y="661"/>
                  <a:pt x="219" y="631"/>
                  <a:pt x="342" y="631"/>
                </a:cubicBezTo>
                <a:cubicBezTo>
                  <a:pt x="473" y="631"/>
                  <a:pt x="595" y="665"/>
                  <a:pt x="702" y="725"/>
                </a:cubicBezTo>
                <a:close/>
              </a:path>
            </a:pathLst>
          </a:custGeom>
          <a:solidFill>
            <a:schemeClr val="bg1"/>
          </a:solidFill>
          <a:ln w="12700">
            <a:solidFill>
              <a:schemeClr val="accent1"/>
            </a:solidFill>
          </a:ln>
        </p:spPr>
        <p:txBody>
          <a:bodyPr vert="horz" wrap="square" lIns="91440" tIns="45720" rIns="91440" bIns="45720" numCol="1" anchor="ctr" anchorCtr="0" compatLnSpc="1">
            <a:prstTxWarp prst="textNoShape">
              <a:avLst/>
            </a:prstTxWarp>
          </a:bodyPr>
          <a:lstStyle/>
          <a:p>
            <a:pPr algn="ctr"/>
            <a:r>
              <a:rPr lang="en-US" sz="5400" dirty="0">
                <a:solidFill>
                  <a:srgbClr val="FFFFFF"/>
                </a:solidFill>
                <a:latin typeface="linea-weather-10" charset="0"/>
                <a:ea typeface="linea-weather-10" charset="0"/>
                <a:cs typeface="linea-weather-10" charset="0"/>
              </a:rPr>
              <a:t></a:t>
            </a:r>
            <a:endParaRPr lang="en-US" sz="5400" dirty="0">
              <a:solidFill>
                <a:srgbClr val="FFFFFF"/>
              </a:solidFill>
              <a:latin typeface="Roboto Light" charset="0"/>
            </a:endParaRPr>
          </a:p>
        </p:txBody>
      </p:sp>
      <p:sp>
        <p:nvSpPr>
          <p:cNvPr id="6" name="Freeform 55"/>
          <p:cNvSpPr>
            <a:spLocks/>
          </p:cNvSpPr>
          <p:nvPr/>
        </p:nvSpPr>
        <p:spPr bwMode="auto">
          <a:xfrm>
            <a:off x="7904166" y="2742036"/>
            <a:ext cx="2725857" cy="3437724"/>
          </a:xfrm>
          <a:custGeom>
            <a:avLst/>
            <a:gdLst>
              <a:gd name="T0" fmla="*/ 342 w 1027"/>
              <a:gd name="T1" fmla="*/ 562 h 1296"/>
              <a:gd name="T2" fmla="*/ 343 w 1027"/>
              <a:gd name="T3" fmla="*/ 594 h 1296"/>
              <a:gd name="T4" fmla="*/ 0 w 1027"/>
              <a:gd name="T5" fmla="*/ 1216 h 1296"/>
              <a:gd name="T6" fmla="*/ 325 w 1027"/>
              <a:gd name="T7" fmla="*/ 1296 h 1296"/>
              <a:gd name="T8" fmla="*/ 1027 w 1027"/>
              <a:gd name="T9" fmla="*/ 594 h 1296"/>
              <a:gd name="T10" fmla="*/ 698 w 1027"/>
              <a:gd name="T11" fmla="*/ 0 h 1296"/>
              <a:gd name="T12" fmla="*/ 342 w 1027"/>
              <a:gd name="T13" fmla="*/ 562 h 1296"/>
            </a:gdLst>
            <a:ahLst/>
            <a:cxnLst>
              <a:cxn ang="0">
                <a:pos x="T0" y="T1"/>
              </a:cxn>
              <a:cxn ang="0">
                <a:pos x="T2" y="T3"/>
              </a:cxn>
              <a:cxn ang="0">
                <a:pos x="T4" y="T5"/>
              </a:cxn>
              <a:cxn ang="0">
                <a:pos x="T6" y="T7"/>
              </a:cxn>
              <a:cxn ang="0">
                <a:pos x="T8" y="T9"/>
              </a:cxn>
              <a:cxn ang="0">
                <a:pos x="T10" y="T11"/>
              </a:cxn>
              <a:cxn ang="0">
                <a:pos x="T12" y="T13"/>
              </a:cxn>
            </a:cxnLst>
            <a:rect l="0" t="0" r="r" b="b"/>
            <a:pathLst>
              <a:path w="1027" h="1296">
                <a:moveTo>
                  <a:pt x="342" y="562"/>
                </a:moveTo>
                <a:cubicBezTo>
                  <a:pt x="342" y="572"/>
                  <a:pt x="343" y="583"/>
                  <a:pt x="343" y="594"/>
                </a:cubicBezTo>
                <a:cubicBezTo>
                  <a:pt x="343" y="855"/>
                  <a:pt x="206" y="1085"/>
                  <a:pt x="0" y="1216"/>
                </a:cubicBezTo>
                <a:cubicBezTo>
                  <a:pt x="97" y="1267"/>
                  <a:pt x="208" y="1296"/>
                  <a:pt x="325" y="1296"/>
                </a:cubicBezTo>
                <a:cubicBezTo>
                  <a:pt x="712" y="1296"/>
                  <a:pt x="1027" y="981"/>
                  <a:pt x="1027" y="594"/>
                </a:cubicBezTo>
                <a:cubicBezTo>
                  <a:pt x="1027" y="344"/>
                  <a:pt x="896" y="124"/>
                  <a:pt x="698" y="0"/>
                </a:cubicBezTo>
                <a:cubicBezTo>
                  <a:pt x="676" y="239"/>
                  <a:pt x="538" y="445"/>
                  <a:pt x="342" y="562"/>
                </a:cubicBezTo>
                <a:close/>
              </a:path>
            </a:pathLst>
          </a:custGeom>
          <a:solidFill>
            <a:schemeClr val="bg1"/>
          </a:solidFill>
          <a:ln w="12700">
            <a:solidFill>
              <a:schemeClr val="accent2"/>
            </a:solidFill>
          </a:ln>
        </p:spPr>
        <p:txBody>
          <a:bodyPr vert="horz" wrap="square" lIns="365760" tIns="548640" rIns="0" bIns="45720" numCol="1" anchor="ctr" anchorCtr="0" compatLnSpc="1">
            <a:prstTxWarp prst="textNoShape">
              <a:avLst/>
            </a:prstTxWarp>
          </a:bodyPr>
          <a:lstStyle/>
          <a:p>
            <a:pPr algn="ctr"/>
            <a:r>
              <a:rPr lang="en-US" sz="5400" dirty="0">
                <a:solidFill>
                  <a:srgbClr val="FEFFFF"/>
                </a:solidFill>
                <a:latin typeface="linea-weather-10" charset="0"/>
                <a:ea typeface="linea-weather-10" charset="0"/>
                <a:cs typeface="linea-weather-10" charset="0"/>
              </a:rPr>
              <a:t></a:t>
            </a:r>
            <a:endParaRPr lang="en-US" sz="5400" dirty="0">
              <a:solidFill>
                <a:srgbClr val="FEFFFF"/>
              </a:solidFill>
              <a:latin typeface="Roboto Light" charset="0"/>
            </a:endParaRPr>
          </a:p>
        </p:txBody>
      </p:sp>
      <p:sp>
        <p:nvSpPr>
          <p:cNvPr id="7" name="Freeform 56"/>
          <p:cNvSpPr>
            <a:spLocks/>
          </p:cNvSpPr>
          <p:nvPr/>
        </p:nvSpPr>
        <p:spPr bwMode="auto">
          <a:xfrm>
            <a:off x="7904166" y="2454323"/>
            <a:ext cx="1767803" cy="1675853"/>
          </a:xfrm>
          <a:custGeom>
            <a:avLst/>
            <a:gdLst>
              <a:gd name="T0" fmla="*/ 0 w 666"/>
              <a:gd name="T1" fmla="*/ 80 h 631"/>
              <a:gd name="T2" fmla="*/ 339 w 666"/>
              <a:gd name="T3" fmla="*/ 631 h 631"/>
              <a:gd name="T4" fmla="*/ 666 w 666"/>
              <a:gd name="T5" fmla="*/ 89 h 631"/>
              <a:gd name="T6" fmla="*/ 325 w 666"/>
              <a:gd name="T7" fmla="*/ 0 h 631"/>
              <a:gd name="T8" fmla="*/ 0 w 666"/>
              <a:gd name="T9" fmla="*/ 80 h 631"/>
            </a:gdLst>
            <a:ahLst/>
            <a:cxnLst>
              <a:cxn ang="0">
                <a:pos x="T0" y="T1"/>
              </a:cxn>
              <a:cxn ang="0">
                <a:pos x="T2" y="T3"/>
              </a:cxn>
              <a:cxn ang="0">
                <a:pos x="T4" y="T5"/>
              </a:cxn>
              <a:cxn ang="0">
                <a:pos x="T6" y="T7"/>
              </a:cxn>
              <a:cxn ang="0">
                <a:pos x="T8" y="T9"/>
              </a:cxn>
            </a:cxnLst>
            <a:rect l="0" t="0" r="r" b="b"/>
            <a:pathLst>
              <a:path w="666" h="631">
                <a:moveTo>
                  <a:pt x="0" y="80"/>
                </a:moveTo>
                <a:cubicBezTo>
                  <a:pt x="187" y="199"/>
                  <a:pt x="317" y="399"/>
                  <a:pt x="339" y="631"/>
                </a:cubicBezTo>
                <a:cubicBezTo>
                  <a:pt x="522" y="515"/>
                  <a:pt x="649" y="317"/>
                  <a:pt x="666" y="89"/>
                </a:cubicBezTo>
                <a:cubicBezTo>
                  <a:pt x="565" y="32"/>
                  <a:pt x="449" y="0"/>
                  <a:pt x="325" y="0"/>
                </a:cubicBezTo>
                <a:cubicBezTo>
                  <a:pt x="208" y="0"/>
                  <a:pt x="97" y="29"/>
                  <a:pt x="0" y="80"/>
                </a:cubicBezTo>
                <a:close/>
              </a:path>
            </a:pathLst>
          </a:custGeom>
          <a:gradFill>
            <a:gsLst>
              <a:gs pos="0">
                <a:schemeClr val="accent1">
                  <a:alpha val="10000"/>
                </a:schemeClr>
              </a:gs>
              <a:gs pos="100000">
                <a:schemeClr val="accent2">
                  <a:alpha val="10000"/>
                </a:schemeClr>
              </a:gs>
            </a:gsLst>
            <a:lin ang="4200000" scaled="0"/>
          </a:gradFill>
          <a:ln w="12700">
            <a:gradFill>
              <a:gsLst>
                <a:gs pos="0">
                  <a:schemeClr val="accent1"/>
                </a:gs>
                <a:gs pos="100000">
                  <a:schemeClr val="accent2"/>
                </a:gs>
              </a:gsLst>
              <a:lin ang="4200000" scaled="0"/>
            </a:gradFill>
          </a:ln>
        </p:spPr>
        <p:txBody>
          <a:bodyPr vert="horz" wrap="square" lIns="274320" tIns="0" rIns="0" bIns="274320" numCol="1" anchor="ctr" anchorCtr="0" compatLnSpc="1">
            <a:prstTxWarp prst="textNoShape">
              <a:avLst/>
            </a:prstTxWarp>
          </a:bodyPr>
          <a:lstStyle/>
          <a:p>
            <a:pPr algn="ctr"/>
            <a:r>
              <a:rPr lang="en-US" dirty="0">
                <a:latin typeface="RBC Text" panose="02000000000000000000" pitchFamily="2" charset="77"/>
                <a:ea typeface="Roboto Light" charset="0"/>
                <a:cs typeface="Roboto Light" charset="0"/>
              </a:rPr>
              <a:t>02</a:t>
            </a:r>
          </a:p>
        </p:txBody>
      </p:sp>
      <p:sp>
        <p:nvSpPr>
          <p:cNvPr id="8" name="Freeform 57"/>
          <p:cNvSpPr>
            <a:spLocks/>
          </p:cNvSpPr>
          <p:nvPr/>
        </p:nvSpPr>
        <p:spPr bwMode="auto">
          <a:xfrm>
            <a:off x="4997377" y="2742036"/>
            <a:ext cx="2722891" cy="3437724"/>
          </a:xfrm>
          <a:custGeom>
            <a:avLst/>
            <a:gdLst>
              <a:gd name="T0" fmla="*/ 684 w 1026"/>
              <a:gd name="T1" fmla="*/ 594 h 1296"/>
              <a:gd name="T2" fmla="*/ 685 w 1026"/>
              <a:gd name="T3" fmla="*/ 562 h 1296"/>
              <a:gd name="T4" fmla="*/ 328 w 1026"/>
              <a:gd name="T5" fmla="*/ 0 h 1296"/>
              <a:gd name="T6" fmla="*/ 0 w 1026"/>
              <a:gd name="T7" fmla="*/ 594 h 1296"/>
              <a:gd name="T8" fmla="*/ 701 w 1026"/>
              <a:gd name="T9" fmla="*/ 1296 h 1296"/>
              <a:gd name="T10" fmla="*/ 1026 w 1026"/>
              <a:gd name="T11" fmla="*/ 1216 h 1296"/>
              <a:gd name="T12" fmla="*/ 684 w 1026"/>
              <a:gd name="T13" fmla="*/ 594 h 1296"/>
            </a:gdLst>
            <a:ahLst/>
            <a:cxnLst>
              <a:cxn ang="0">
                <a:pos x="T0" y="T1"/>
              </a:cxn>
              <a:cxn ang="0">
                <a:pos x="T2" y="T3"/>
              </a:cxn>
              <a:cxn ang="0">
                <a:pos x="T4" y="T5"/>
              </a:cxn>
              <a:cxn ang="0">
                <a:pos x="T6" y="T7"/>
              </a:cxn>
              <a:cxn ang="0">
                <a:pos x="T8" y="T9"/>
              </a:cxn>
              <a:cxn ang="0">
                <a:pos x="T10" y="T11"/>
              </a:cxn>
              <a:cxn ang="0">
                <a:pos x="T12" y="T13"/>
              </a:cxn>
            </a:cxnLst>
            <a:rect l="0" t="0" r="r" b="b"/>
            <a:pathLst>
              <a:path w="1026" h="1296">
                <a:moveTo>
                  <a:pt x="684" y="594"/>
                </a:moveTo>
                <a:cubicBezTo>
                  <a:pt x="684" y="583"/>
                  <a:pt x="684" y="572"/>
                  <a:pt x="685" y="562"/>
                </a:cubicBezTo>
                <a:cubicBezTo>
                  <a:pt x="489" y="445"/>
                  <a:pt x="351" y="239"/>
                  <a:pt x="328" y="0"/>
                </a:cubicBezTo>
                <a:cubicBezTo>
                  <a:pt x="131" y="124"/>
                  <a:pt x="0" y="344"/>
                  <a:pt x="0" y="594"/>
                </a:cubicBezTo>
                <a:cubicBezTo>
                  <a:pt x="0" y="981"/>
                  <a:pt x="315" y="1296"/>
                  <a:pt x="701" y="1296"/>
                </a:cubicBezTo>
                <a:cubicBezTo>
                  <a:pt x="819" y="1296"/>
                  <a:pt x="929" y="1267"/>
                  <a:pt x="1026" y="1216"/>
                </a:cubicBezTo>
                <a:cubicBezTo>
                  <a:pt x="821" y="1085"/>
                  <a:pt x="684" y="855"/>
                  <a:pt x="684" y="594"/>
                </a:cubicBezTo>
                <a:close/>
              </a:path>
            </a:pathLst>
          </a:custGeom>
          <a:solidFill>
            <a:schemeClr val="bg1"/>
          </a:solidFill>
          <a:ln w="12700">
            <a:solidFill>
              <a:schemeClr val="accent4"/>
            </a:solidFill>
          </a:ln>
        </p:spPr>
        <p:txBody>
          <a:bodyPr vert="horz" wrap="square" lIns="91440" tIns="548640" rIns="365760" bIns="45720" numCol="1" anchor="ctr" anchorCtr="0" compatLnSpc="1">
            <a:prstTxWarp prst="textNoShape">
              <a:avLst/>
            </a:prstTxWarp>
          </a:bodyPr>
          <a:lstStyle/>
          <a:p>
            <a:pPr algn="ctr"/>
            <a:r>
              <a:rPr lang="en-US" sz="5400" dirty="0">
                <a:solidFill>
                  <a:srgbClr val="FFFFFF"/>
                </a:solidFill>
                <a:latin typeface="linea-weather-10" charset="0"/>
                <a:ea typeface="linea-weather-10" charset="0"/>
                <a:cs typeface="linea-weather-10" charset="0"/>
              </a:rPr>
              <a:t></a:t>
            </a:r>
            <a:endParaRPr lang="en-US" sz="5400" dirty="0">
              <a:solidFill>
                <a:srgbClr val="FFFFFF"/>
              </a:solidFill>
              <a:latin typeface="Roboto Light" charset="0"/>
            </a:endParaRPr>
          </a:p>
        </p:txBody>
      </p:sp>
      <p:sp>
        <p:nvSpPr>
          <p:cNvPr id="9" name="Freeform 58"/>
          <p:cNvSpPr>
            <a:spLocks/>
          </p:cNvSpPr>
          <p:nvPr/>
        </p:nvSpPr>
        <p:spPr bwMode="auto">
          <a:xfrm>
            <a:off x="5955431" y="2454323"/>
            <a:ext cx="1764837" cy="1675853"/>
          </a:xfrm>
          <a:custGeom>
            <a:avLst/>
            <a:gdLst>
              <a:gd name="T0" fmla="*/ 327 w 665"/>
              <a:gd name="T1" fmla="*/ 631 h 631"/>
              <a:gd name="T2" fmla="*/ 665 w 665"/>
              <a:gd name="T3" fmla="*/ 80 h 631"/>
              <a:gd name="T4" fmla="*/ 340 w 665"/>
              <a:gd name="T5" fmla="*/ 0 h 631"/>
              <a:gd name="T6" fmla="*/ 0 w 665"/>
              <a:gd name="T7" fmla="*/ 89 h 631"/>
              <a:gd name="T8" fmla="*/ 327 w 665"/>
              <a:gd name="T9" fmla="*/ 631 h 631"/>
            </a:gdLst>
            <a:ahLst/>
            <a:cxnLst>
              <a:cxn ang="0">
                <a:pos x="T0" y="T1"/>
              </a:cxn>
              <a:cxn ang="0">
                <a:pos x="T2" y="T3"/>
              </a:cxn>
              <a:cxn ang="0">
                <a:pos x="T4" y="T5"/>
              </a:cxn>
              <a:cxn ang="0">
                <a:pos x="T6" y="T7"/>
              </a:cxn>
              <a:cxn ang="0">
                <a:pos x="T8" y="T9"/>
              </a:cxn>
            </a:cxnLst>
            <a:rect l="0" t="0" r="r" b="b"/>
            <a:pathLst>
              <a:path w="665" h="631">
                <a:moveTo>
                  <a:pt x="327" y="631"/>
                </a:moveTo>
                <a:cubicBezTo>
                  <a:pt x="349" y="399"/>
                  <a:pt x="479" y="199"/>
                  <a:pt x="665" y="80"/>
                </a:cubicBezTo>
                <a:cubicBezTo>
                  <a:pt x="568" y="29"/>
                  <a:pt x="458" y="0"/>
                  <a:pt x="340" y="0"/>
                </a:cubicBezTo>
                <a:cubicBezTo>
                  <a:pt x="217" y="0"/>
                  <a:pt x="101" y="32"/>
                  <a:pt x="0" y="89"/>
                </a:cubicBezTo>
                <a:cubicBezTo>
                  <a:pt x="17" y="317"/>
                  <a:pt x="143" y="515"/>
                  <a:pt x="327" y="631"/>
                </a:cubicBezTo>
                <a:close/>
              </a:path>
            </a:pathLst>
          </a:custGeom>
          <a:gradFill>
            <a:gsLst>
              <a:gs pos="0">
                <a:schemeClr val="accent4">
                  <a:alpha val="10000"/>
                </a:schemeClr>
              </a:gs>
              <a:gs pos="98000">
                <a:schemeClr val="accent1">
                  <a:alpha val="10000"/>
                </a:schemeClr>
              </a:gs>
            </a:gsLst>
            <a:lin ang="17400000" scaled="0"/>
          </a:gradFill>
          <a:ln w="12700">
            <a:gradFill>
              <a:gsLst>
                <a:gs pos="0">
                  <a:schemeClr val="accent4"/>
                </a:gs>
                <a:gs pos="99000">
                  <a:schemeClr val="accent1"/>
                </a:gs>
              </a:gsLst>
              <a:lin ang="17400000" scaled="0"/>
            </a:gradFill>
          </a:ln>
        </p:spPr>
        <p:txBody>
          <a:bodyPr vert="horz" wrap="square" lIns="91440" tIns="0" rIns="274320" bIns="274320" numCol="1" anchor="ctr" anchorCtr="0" compatLnSpc="1">
            <a:prstTxWarp prst="textNoShape">
              <a:avLst/>
            </a:prstTxWarp>
          </a:bodyPr>
          <a:lstStyle/>
          <a:p>
            <a:pPr algn="ctr"/>
            <a:r>
              <a:rPr lang="en-US" dirty="0">
                <a:latin typeface="RBC Text" panose="02000000000000000000" pitchFamily="2" charset="77"/>
                <a:ea typeface="Roboto Light" charset="0"/>
                <a:cs typeface="Roboto Light" charset="0"/>
              </a:rPr>
              <a:t>01</a:t>
            </a:r>
          </a:p>
        </p:txBody>
      </p:sp>
      <p:sp>
        <p:nvSpPr>
          <p:cNvPr id="10" name="Freeform 59"/>
          <p:cNvSpPr>
            <a:spLocks/>
          </p:cNvSpPr>
          <p:nvPr/>
        </p:nvSpPr>
        <p:spPr bwMode="auto">
          <a:xfrm>
            <a:off x="6907553" y="4281448"/>
            <a:ext cx="1815260" cy="1634328"/>
          </a:xfrm>
          <a:custGeom>
            <a:avLst/>
            <a:gdLst>
              <a:gd name="T0" fmla="*/ 684 w 684"/>
              <a:gd name="T1" fmla="*/ 13 h 615"/>
              <a:gd name="T2" fmla="*/ 684 w 684"/>
              <a:gd name="T3" fmla="*/ 0 h 615"/>
              <a:gd name="T4" fmla="*/ 342 w 684"/>
              <a:gd name="T5" fmla="*/ 84 h 615"/>
              <a:gd name="T6" fmla="*/ 0 w 684"/>
              <a:gd name="T7" fmla="*/ 0 h 615"/>
              <a:gd name="T8" fmla="*/ 0 w 684"/>
              <a:gd name="T9" fmla="*/ 13 h 615"/>
              <a:gd name="T10" fmla="*/ 342 w 684"/>
              <a:gd name="T11" fmla="*/ 615 h 615"/>
              <a:gd name="T12" fmla="*/ 684 w 684"/>
              <a:gd name="T13" fmla="*/ 13 h 615"/>
            </a:gdLst>
            <a:ahLst/>
            <a:cxnLst>
              <a:cxn ang="0">
                <a:pos x="T0" y="T1"/>
              </a:cxn>
              <a:cxn ang="0">
                <a:pos x="T2" y="T3"/>
              </a:cxn>
              <a:cxn ang="0">
                <a:pos x="T4" y="T5"/>
              </a:cxn>
              <a:cxn ang="0">
                <a:pos x="T6" y="T7"/>
              </a:cxn>
              <a:cxn ang="0">
                <a:pos x="T8" y="T9"/>
              </a:cxn>
              <a:cxn ang="0">
                <a:pos x="T10" y="T11"/>
              </a:cxn>
              <a:cxn ang="0">
                <a:pos x="T12" y="T13"/>
              </a:cxn>
            </a:cxnLst>
            <a:rect l="0" t="0" r="r" b="b"/>
            <a:pathLst>
              <a:path w="684" h="615">
                <a:moveTo>
                  <a:pt x="684" y="13"/>
                </a:moveTo>
                <a:cubicBezTo>
                  <a:pt x="684" y="9"/>
                  <a:pt x="684" y="4"/>
                  <a:pt x="684" y="0"/>
                </a:cubicBezTo>
                <a:cubicBezTo>
                  <a:pt x="582" y="54"/>
                  <a:pt x="465" y="84"/>
                  <a:pt x="342" y="84"/>
                </a:cubicBezTo>
                <a:cubicBezTo>
                  <a:pt x="218" y="84"/>
                  <a:pt x="102" y="54"/>
                  <a:pt x="0" y="0"/>
                </a:cubicBezTo>
                <a:cubicBezTo>
                  <a:pt x="0" y="4"/>
                  <a:pt x="0" y="9"/>
                  <a:pt x="0" y="13"/>
                </a:cubicBezTo>
                <a:cubicBezTo>
                  <a:pt x="0" y="269"/>
                  <a:pt x="137" y="493"/>
                  <a:pt x="342" y="615"/>
                </a:cubicBezTo>
                <a:cubicBezTo>
                  <a:pt x="547" y="493"/>
                  <a:pt x="684" y="269"/>
                  <a:pt x="684" y="13"/>
                </a:cubicBezTo>
                <a:close/>
              </a:path>
            </a:pathLst>
          </a:custGeom>
          <a:gradFill>
            <a:gsLst>
              <a:gs pos="0">
                <a:schemeClr val="accent2">
                  <a:alpha val="10000"/>
                </a:schemeClr>
              </a:gs>
              <a:gs pos="98000">
                <a:schemeClr val="accent4">
                  <a:alpha val="10000"/>
                </a:schemeClr>
              </a:gs>
            </a:gsLst>
            <a:lin ang="10800000" scaled="0"/>
          </a:gradFill>
          <a:ln w="12700">
            <a:gradFill>
              <a:gsLst>
                <a:gs pos="0">
                  <a:schemeClr val="accent2"/>
                </a:gs>
                <a:gs pos="99000">
                  <a:schemeClr val="accent4"/>
                </a:gs>
              </a:gsLst>
              <a:lin ang="10800000" scaled="0"/>
            </a:gradFill>
          </a:ln>
        </p:spPr>
        <p:txBody>
          <a:bodyPr vert="horz" wrap="square" lIns="91440" tIns="45720" rIns="91440" bIns="45720" numCol="1" anchor="ctr" anchorCtr="0" compatLnSpc="1">
            <a:prstTxWarp prst="textNoShape">
              <a:avLst/>
            </a:prstTxWarp>
          </a:bodyPr>
          <a:lstStyle/>
          <a:p>
            <a:pPr algn="ctr"/>
            <a:r>
              <a:rPr lang="en-US" dirty="0">
                <a:latin typeface="RBC Text" panose="02000000000000000000" pitchFamily="2" charset="77"/>
                <a:ea typeface="Roboto Light" charset="0"/>
                <a:cs typeface="Roboto Light" charset="0"/>
              </a:rPr>
              <a:t>03</a:t>
            </a:r>
          </a:p>
        </p:txBody>
      </p:sp>
      <p:sp>
        <p:nvSpPr>
          <p:cNvPr id="11" name="TextBox 10"/>
          <p:cNvSpPr txBox="1"/>
          <p:nvPr/>
        </p:nvSpPr>
        <p:spPr>
          <a:xfrm>
            <a:off x="6860589" y="1284417"/>
            <a:ext cx="1903256" cy="760208"/>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12" name="TextBox 11"/>
          <p:cNvSpPr txBox="1"/>
          <p:nvPr/>
        </p:nvSpPr>
        <p:spPr>
          <a:xfrm>
            <a:off x="5512927" y="4266864"/>
            <a:ext cx="1305128" cy="1121846"/>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13" name="TextBox 12"/>
          <p:cNvSpPr txBox="1"/>
          <p:nvPr/>
        </p:nvSpPr>
        <p:spPr>
          <a:xfrm>
            <a:off x="8880919" y="4266864"/>
            <a:ext cx="1305128" cy="1121846"/>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15" name="TextBox 14"/>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Tree>
    <p:extLst>
      <p:ext uri="{BB962C8B-B14F-4D97-AF65-F5344CB8AC3E}">
        <p14:creationId xmlns:p14="http://schemas.microsoft.com/office/powerpoint/2010/main" val="5954570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a:spLocks/>
          </p:cNvSpPr>
          <p:nvPr/>
        </p:nvSpPr>
        <p:spPr>
          <a:xfrm>
            <a:off x="4150894" y="1697320"/>
            <a:ext cx="1905000" cy="1905000"/>
          </a:xfrm>
          <a:custGeom>
            <a:avLst/>
            <a:gdLst>
              <a:gd name="connsiteX0" fmla="*/ 1905000 w 1905000"/>
              <a:gd name="connsiteY0" fmla="*/ 0 h 1905000"/>
              <a:gd name="connsiteX1" fmla="*/ 1905000 w 1905000"/>
              <a:gd name="connsiteY1" fmla="*/ 1905000 h 1905000"/>
              <a:gd name="connsiteX2" fmla="*/ 0 w 1905000"/>
              <a:gd name="connsiteY2" fmla="*/ 1905000 h 1905000"/>
              <a:gd name="connsiteX3" fmla="*/ 1905000 w 1905000"/>
              <a:gd name="connsiteY3" fmla="*/ 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1905000" y="1905000"/>
                </a:lnTo>
                <a:lnTo>
                  <a:pt x="0" y="1905000"/>
                </a:lnTo>
                <a:cubicBezTo>
                  <a:pt x="0" y="852898"/>
                  <a:pt x="852898" y="0"/>
                  <a:pt x="1905000" y="0"/>
                </a:cubicBezTo>
                <a:close/>
              </a:path>
            </a:pathLst>
          </a:custGeom>
          <a:solidFill>
            <a:schemeClr val="accent1"/>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Ins="254000" bIns="381000" rtlCol="0" anchor="b"/>
          <a:lstStyle/>
          <a:p>
            <a:pPr algn="r"/>
            <a:r>
              <a:rPr lang="en-US" sz="1400" dirty="0">
                <a:solidFill>
                  <a:srgbClr val="FFFFFF"/>
                </a:solidFill>
                <a:latin typeface="RBC Text" panose="02000000000000000000" pitchFamily="2" charset="77"/>
                <a:ea typeface="Roboto Light" charset="0"/>
                <a:cs typeface="Roboto Light" charset="0"/>
              </a:rPr>
              <a:t>Circle title here</a:t>
            </a:r>
          </a:p>
        </p:txBody>
      </p:sp>
      <p:sp>
        <p:nvSpPr>
          <p:cNvPr id="7" name="Freeform 6"/>
          <p:cNvSpPr/>
          <p:nvPr/>
        </p:nvSpPr>
        <p:spPr>
          <a:xfrm>
            <a:off x="6138394" y="1697320"/>
            <a:ext cx="1905000" cy="1905000"/>
          </a:xfrm>
          <a:custGeom>
            <a:avLst/>
            <a:gdLst>
              <a:gd name="connsiteX0" fmla="*/ 0 w 1905000"/>
              <a:gd name="connsiteY0" fmla="*/ 0 h 1905000"/>
              <a:gd name="connsiteX1" fmla="*/ 1905000 w 1905000"/>
              <a:gd name="connsiteY1" fmla="*/ 1905000 h 1905000"/>
              <a:gd name="connsiteX2" fmla="*/ 0 w 1905000"/>
              <a:gd name="connsiteY2" fmla="*/ 1905000 h 1905000"/>
            </a:gdLst>
            <a:ahLst/>
            <a:cxnLst>
              <a:cxn ang="0">
                <a:pos x="connsiteX0" y="connsiteY0"/>
              </a:cxn>
              <a:cxn ang="0">
                <a:pos x="connsiteX1" y="connsiteY1"/>
              </a:cxn>
              <a:cxn ang="0">
                <a:pos x="connsiteX2" y="connsiteY2"/>
              </a:cxn>
            </a:cxnLst>
            <a:rect l="l" t="t" r="r" b="b"/>
            <a:pathLst>
              <a:path w="1905000" h="1905000">
                <a:moveTo>
                  <a:pt x="0" y="0"/>
                </a:moveTo>
                <a:cubicBezTo>
                  <a:pt x="1052102" y="0"/>
                  <a:pt x="1905000" y="852898"/>
                  <a:pt x="1905000" y="1905000"/>
                </a:cubicBezTo>
                <a:lnTo>
                  <a:pt x="0" y="1905000"/>
                </a:lnTo>
                <a:close/>
              </a:path>
            </a:pathLst>
          </a:custGeom>
          <a:solidFill>
            <a:schemeClr val="tx1"/>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lIns="254000" bIns="381000" rtlCol="0" anchor="b"/>
          <a:lstStyle/>
          <a:p>
            <a:r>
              <a:rPr lang="en-US" sz="1400" dirty="0">
                <a:solidFill>
                  <a:srgbClr val="FFFFFF"/>
                </a:solidFill>
                <a:latin typeface="RBC Text" panose="02000000000000000000" pitchFamily="2" charset="77"/>
                <a:ea typeface="Roboto Light" charset="0"/>
                <a:cs typeface="Roboto Light" charset="0"/>
              </a:rPr>
              <a:t>Circle title here</a:t>
            </a:r>
          </a:p>
        </p:txBody>
      </p:sp>
      <p:sp>
        <p:nvSpPr>
          <p:cNvPr id="8" name="Freeform 7"/>
          <p:cNvSpPr/>
          <p:nvPr/>
        </p:nvSpPr>
        <p:spPr>
          <a:xfrm>
            <a:off x="4150894" y="3684820"/>
            <a:ext cx="1905000" cy="19050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cubicBezTo>
                  <a:pt x="852898" y="1905000"/>
                  <a:pt x="0" y="1052102"/>
                  <a:pt x="0" y="0"/>
                </a:cubicBezTo>
                <a:close/>
              </a:path>
            </a:pathLst>
          </a:custGeom>
          <a:solidFill>
            <a:schemeClr val="accent4"/>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tIns="381000" rIns="254000" rtlCol="0" anchor="t"/>
          <a:lstStyle/>
          <a:p>
            <a:pPr algn="r"/>
            <a:r>
              <a:rPr lang="en-US" sz="1400" dirty="0">
                <a:solidFill>
                  <a:srgbClr val="FFFFFF"/>
                </a:solidFill>
                <a:latin typeface="RBC Text" panose="02000000000000000000" pitchFamily="2" charset="77"/>
                <a:ea typeface="Roboto Light" charset="0"/>
                <a:cs typeface="Roboto Light" charset="0"/>
              </a:rPr>
              <a:t>Circle title here</a:t>
            </a:r>
          </a:p>
        </p:txBody>
      </p:sp>
      <p:sp>
        <p:nvSpPr>
          <p:cNvPr id="9" name="Freeform 8"/>
          <p:cNvSpPr/>
          <p:nvPr/>
        </p:nvSpPr>
        <p:spPr>
          <a:xfrm>
            <a:off x="6138394" y="3684820"/>
            <a:ext cx="1905000" cy="1905000"/>
          </a:xfrm>
          <a:custGeom>
            <a:avLst/>
            <a:gdLst>
              <a:gd name="connsiteX0" fmla="*/ 0 w 1905000"/>
              <a:gd name="connsiteY0" fmla="*/ 0 h 1905000"/>
              <a:gd name="connsiteX1" fmla="*/ 1905000 w 1905000"/>
              <a:gd name="connsiteY1" fmla="*/ 0 h 1905000"/>
              <a:gd name="connsiteX2" fmla="*/ 0 w 1905000"/>
              <a:gd name="connsiteY2" fmla="*/ 1905000 h 1905000"/>
            </a:gdLst>
            <a:ahLst/>
            <a:cxnLst>
              <a:cxn ang="0">
                <a:pos x="connsiteX0" y="connsiteY0"/>
              </a:cxn>
              <a:cxn ang="0">
                <a:pos x="connsiteX1" y="connsiteY1"/>
              </a:cxn>
              <a:cxn ang="0">
                <a:pos x="connsiteX2" y="connsiteY2"/>
              </a:cxn>
            </a:cxnLst>
            <a:rect l="l" t="t" r="r" b="b"/>
            <a:pathLst>
              <a:path w="1905000" h="1905000">
                <a:moveTo>
                  <a:pt x="0" y="0"/>
                </a:moveTo>
                <a:lnTo>
                  <a:pt x="1905000" y="0"/>
                </a:lnTo>
                <a:cubicBezTo>
                  <a:pt x="1905000" y="1052102"/>
                  <a:pt x="1052102" y="1905000"/>
                  <a:pt x="0" y="1905000"/>
                </a:cubicBezTo>
                <a:close/>
              </a:path>
            </a:pathLst>
          </a:custGeom>
          <a:solidFill>
            <a:schemeClr val="accent3"/>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lIns="254000" tIns="381000" bIns="381000" rtlCol="0" anchor="t"/>
          <a:lstStyle/>
          <a:p>
            <a:r>
              <a:rPr lang="en-US" sz="1400" dirty="0">
                <a:solidFill>
                  <a:srgbClr val="FFFFFF"/>
                </a:solidFill>
                <a:latin typeface="RBC Text" panose="02000000000000000000" pitchFamily="2" charset="77"/>
                <a:ea typeface="Roboto Light" charset="0"/>
                <a:cs typeface="Roboto Light" charset="0"/>
              </a:rPr>
              <a:t>Circle title here</a:t>
            </a:r>
          </a:p>
        </p:txBody>
      </p:sp>
      <p:sp>
        <p:nvSpPr>
          <p:cNvPr id="14" name="Freeform 851"/>
          <p:cNvSpPr>
            <a:spLocks noEditPoints="1"/>
          </p:cNvSpPr>
          <p:nvPr/>
        </p:nvSpPr>
        <p:spPr bwMode="auto">
          <a:xfrm>
            <a:off x="5212433" y="4494981"/>
            <a:ext cx="397532" cy="455259"/>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5" name="Freeform 1137"/>
          <p:cNvSpPr>
            <a:spLocks noEditPoints="1"/>
          </p:cNvSpPr>
          <p:nvPr/>
        </p:nvSpPr>
        <p:spPr bwMode="auto">
          <a:xfrm>
            <a:off x="6520875" y="2328659"/>
            <a:ext cx="451325" cy="409339"/>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6" name="Freeform 1147"/>
          <p:cNvSpPr>
            <a:spLocks noEditPoints="1"/>
          </p:cNvSpPr>
          <p:nvPr/>
        </p:nvSpPr>
        <p:spPr bwMode="auto">
          <a:xfrm>
            <a:off x="5180947" y="2332690"/>
            <a:ext cx="460506" cy="463131"/>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7" name="Freeform 2123"/>
          <p:cNvSpPr>
            <a:spLocks noEditPoints="1"/>
          </p:cNvSpPr>
          <p:nvPr/>
        </p:nvSpPr>
        <p:spPr bwMode="auto">
          <a:xfrm>
            <a:off x="6537931" y="4495095"/>
            <a:ext cx="417211" cy="453946"/>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8" name="Oval 17"/>
          <p:cNvSpPr/>
          <p:nvPr/>
        </p:nvSpPr>
        <p:spPr>
          <a:xfrm>
            <a:off x="8061583" y="1929857"/>
            <a:ext cx="343116" cy="343114"/>
          </a:xfrm>
          <a:prstGeom prst="ellipse">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19" name="TextBox 18"/>
          <p:cNvSpPr txBox="1"/>
          <p:nvPr/>
        </p:nvSpPr>
        <p:spPr>
          <a:xfrm>
            <a:off x="8599888" y="1827183"/>
            <a:ext cx="2379062" cy="1129540"/>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or a noble picture, or a passage from the grander poets. It always does one good.</a:t>
            </a:r>
          </a:p>
        </p:txBody>
      </p:sp>
      <p:sp>
        <p:nvSpPr>
          <p:cNvPr id="20" name="Oval 19"/>
          <p:cNvSpPr/>
          <p:nvPr/>
        </p:nvSpPr>
        <p:spPr>
          <a:xfrm>
            <a:off x="8061583" y="4799622"/>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21" name="TextBox 20"/>
          <p:cNvSpPr txBox="1"/>
          <p:nvPr/>
        </p:nvSpPr>
        <p:spPr>
          <a:xfrm>
            <a:off x="8599888" y="4696948"/>
            <a:ext cx="2379062" cy="1129540"/>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or a noble picture, or a passage from the grander poets. It always does one good.</a:t>
            </a:r>
          </a:p>
        </p:txBody>
      </p:sp>
      <p:sp>
        <p:nvSpPr>
          <p:cNvPr id="22" name="Oval 21"/>
          <p:cNvSpPr/>
          <p:nvPr/>
        </p:nvSpPr>
        <p:spPr>
          <a:xfrm>
            <a:off x="3789589" y="1929857"/>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23" name="Oval 22"/>
          <p:cNvSpPr/>
          <p:nvPr/>
        </p:nvSpPr>
        <p:spPr>
          <a:xfrm>
            <a:off x="3789589" y="4799622"/>
            <a:ext cx="343116" cy="343114"/>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24" name="TextBox 23"/>
          <p:cNvSpPr txBox="1"/>
          <p:nvPr/>
        </p:nvSpPr>
        <p:spPr>
          <a:xfrm>
            <a:off x="1210759" y="1827183"/>
            <a:ext cx="2379062" cy="1129540"/>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or a noble picture, or a passage from the grander poets. It always does one good.</a:t>
            </a:r>
          </a:p>
        </p:txBody>
      </p:sp>
      <p:sp>
        <p:nvSpPr>
          <p:cNvPr id="25" name="TextBox 24"/>
          <p:cNvSpPr txBox="1"/>
          <p:nvPr/>
        </p:nvSpPr>
        <p:spPr>
          <a:xfrm>
            <a:off x="1210759" y="4696948"/>
            <a:ext cx="2379062" cy="1129540"/>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or a noble picture, or a passage from the grander poets. It always does one good.</a:t>
            </a:r>
          </a:p>
        </p:txBody>
      </p:sp>
      <p:sp>
        <p:nvSpPr>
          <p:cNvPr id="26" name="Text Placeholder 6">
            <a:extLst>
              <a:ext uri="{FF2B5EF4-FFF2-40B4-BE49-F238E27FC236}">
                <a16:creationId xmlns:a16="http://schemas.microsoft.com/office/drawing/2014/main" id="{5B9361CD-5664-7148-9CA8-BF40E67C09E0}"/>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7989804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724419" y="1436913"/>
            <a:ext cx="2379062" cy="1129540"/>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or a noble picture, or a passage from the grander poets. It always does one good.</a:t>
            </a:r>
          </a:p>
        </p:txBody>
      </p:sp>
      <p:sp>
        <p:nvSpPr>
          <p:cNvPr id="14" name="TextBox 13"/>
          <p:cNvSpPr txBox="1"/>
          <p:nvPr/>
        </p:nvSpPr>
        <p:spPr>
          <a:xfrm>
            <a:off x="8634302" y="4612841"/>
            <a:ext cx="2379062" cy="1129540"/>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or a noble picture, or a passage from the grander poets. It always does one good.</a:t>
            </a:r>
          </a:p>
        </p:txBody>
      </p:sp>
      <p:sp>
        <p:nvSpPr>
          <p:cNvPr id="16" name="TextBox 15"/>
          <p:cNvSpPr txBox="1"/>
          <p:nvPr/>
        </p:nvSpPr>
        <p:spPr>
          <a:xfrm>
            <a:off x="1287009" y="4612841"/>
            <a:ext cx="2379062" cy="1129540"/>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or a noble picture, or a passage from the grander poets. It always does one good.</a:t>
            </a:r>
          </a:p>
        </p:txBody>
      </p:sp>
      <p:sp>
        <p:nvSpPr>
          <p:cNvPr id="26" name="Oval 25"/>
          <p:cNvSpPr/>
          <p:nvPr/>
        </p:nvSpPr>
        <p:spPr>
          <a:xfrm>
            <a:off x="3803841" y="2869374"/>
            <a:ext cx="2580253" cy="2580251"/>
          </a:xfrm>
          <a:prstGeom prst="ellipse">
            <a:avLst/>
          </a:prstGeom>
          <a:solidFill>
            <a:schemeClr val="accent3">
              <a:alpha val="80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RBC Display" panose="02000000000000000000" pitchFamily="2" charset="77"/>
              </a:rPr>
              <a:t>Thing C</a:t>
            </a:r>
          </a:p>
        </p:txBody>
      </p:sp>
      <p:sp>
        <p:nvSpPr>
          <p:cNvPr id="27" name="Oval 26"/>
          <p:cNvSpPr/>
          <p:nvPr/>
        </p:nvSpPr>
        <p:spPr>
          <a:xfrm>
            <a:off x="4803757" y="1276327"/>
            <a:ext cx="2580253" cy="2580251"/>
          </a:xfrm>
          <a:prstGeom prst="ellipse">
            <a:avLst/>
          </a:prstGeom>
          <a:solidFill>
            <a:schemeClr val="accent1">
              <a:alpha val="80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RBC Display" panose="02000000000000000000" pitchFamily="2" charset="77"/>
              </a:rPr>
              <a:t>Thing A</a:t>
            </a:r>
          </a:p>
        </p:txBody>
      </p:sp>
      <p:sp>
        <p:nvSpPr>
          <p:cNvPr id="28" name="Oval 27"/>
          <p:cNvSpPr/>
          <p:nvPr/>
        </p:nvSpPr>
        <p:spPr>
          <a:xfrm>
            <a:off x="5798305" y="2869374"/>
            <a:ext cx="2580253" cy="2580251"/>
          </a:xfrm>
          <a:prstGeom prst="ellipse">
            <a:avLst/>
          </a:prstGeom>
          <a:solidFill>
            <a:schemeClr val="accent2">
              <a:alpha val="80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RBC Display" panose="02000000000000000000" pitchFamily="2" charset="77"/>
              </a:rPr>
              <a:t>Thing B</a:t>
            </a:r>
          </a:p>
        </p:txBody>
      </p:sp>
      <p:sp>
        <p:nvSpPr>
          <p:cNvPr id="29" name="Oval 28"/>
          <p:cNvSpPr/>
          <p:nvPr/>
        </p:nvSpPr>
        <p:spPr>
          <a:xfrm>
            <a:off x="6962892" y="1577210"/>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1</a:t>
            </a:r>
          </a:p>
        </p:txBody>
      </p:sp>
      <p:sp>
        <p:nvSpPr>
          <p:cNvPr id="30" name="Oval 29"/>
          <p:cNvSpPr/>
          <p:nvPr/>
        </p:nvSpPr>
        <p:spPr>
          <a:xfrm>
            <a:off x="7890326" y="4753138"/>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2</a:t>
            </a:r>
          </a:p>
        </p:txBody>
      </p:sp>
      <p:sp>
        <p:nvSpPr>
          <p:cNvPr id="31" name="Oval 30"/>
          <p:cNvSpPr/>
          <p:nvPr/>
        </p:nvSpPr>
        <p:spPr>
          <a:xfrm>
            <a:off x="3892757" y="4753138"/>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3</a:t>
            </a:r>
          </a:p>
        </p:txBody>
      </p:sp>
      <p:sp>
        <p:nvSpPr>
          <p:cNvPr id="11" name="Text Placeholder 6">
            <a:extLst>
              <a:ext uri="{FF2B5EF4-FFF2-40B4-BE49-F238E27FC236}">
                <a16:creationId xmlns:a16="http://schemas.microsoft.com/office/drawing/2014/main" id="{1088604A-3DE6-C348-9212-35140F3808B1}"/>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92842313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irectional </a:t>
            </a:r>
            <a:br>
              <a:rPr lang="en-US"/>
            </a:br>
            <a:r>
              <a:rPr lang="en-US"/>
              <a:t>infographic</a:t>
            </a:r>
            <a:br>
              <a:rPr lang="en-US"/>
            </a:br>
            <a:r>
              <a:rPr lang="en-US"/>
              <a:t>slide</a:t>
            </a:r>
            <a:endParaRPr lang="en-US" dirty="0"/>
          </a:p>
        </p:txBody>
      </p:sp>
      <p:sp>
        <p:nvSpPr>
          <p:cNvPr id="6" name="Pentagon 5"/>
          <p:cNvSpPr/>
          <p:nvPr/>
        </p:nvSpPr>
        <p:spPr>
          <a:xfrm flipH="1">
            <a:off x="5507737" y="2288461"/>
            <a:ext cx="2499683" cy="953669"/>
          </a:xfrm>
          <a:prstGeom prst="homePlat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rIns="288000" rtlCol="0" anchor="ctr"/>
          <a:lstStyle/>
          <a:p>
            <a:pPr algn="r">
              <a:lnSpc>
                <a:spcPct val="120000"/>
              </a:lnSpc>
              <a:spcBef>
                <a:spcPts val="600"/>
              </a:spcBef>
            </a:pPr>
            <a:r>
              <a:rPr lang="en-US" sz="1200" dirty="0">
                <a:solidFill>
                  <a:schemeClr val="tx1"/>
                </a:solidFill>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a:t>
            </a:r>
          </a:p>
        </p:txBody>
      </p:sp>
      <p:sp>
        <p:nvSpPr>
          <p:cNvPr id="7" name="Pentagon 6"/>
          <p:cNvSpPr/>
          <p:nvPr/>
        </p:nvSpPr>
        <p:spPr>
          <a:xfrm flipH="1">
            <a:off x="4867657" y="3687030"/>
            <a:ext cx="3139763" cy="953669"/>
          </a:xfrm>
          <a:prstGeom prst="homePlat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rIns="288000" rtlCol="0" anchor="ctr"/>
          <a:lstStyle/>
          <a:p>
            <a:pPr algn="r">
              <a:lnSpc>
                <a:spcPct val="120000"/>
              </a:lnSpc>
              <a:spcBef>
                <a:spcPts val="600"/>
              </a:spcBef>
            </a:pPr>
            <a:r>
              <a:rPr lang="en-US" sz="1200" dirty="0">
                <a:solidFill>
                  <a:schemeClr val="tx1"/>
                </a:solidFill>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8" name="Pentagon 7"/>
          <p:cNvSpPr/>
          <p:nvPr/>
        </p:nvSpPr>
        <p:spPr>
          <a:xfrm>
            <a:off x="8161379" y="2885966"/>
            <a:ext cx="2887622" cy="953669"/>
          </a:xfrm>
          <a:prstGeom prst="homePlat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pPr>
              <a:lnSpc>
                <a:spcPct val="120000"/>
              </a:lnSpc>
              <a:spcBef>
                <a:spcPts val="600"/>
              </a:spcBef>
            </a:pPr>
            <a:r>
              <a:rPr lang="en-US" sz="1200" dirty="0">
                <a:solidFill>
                  <a:schemeClr val="tx1"/>
                </a:solidFill>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a:t>
            </a:r>
          </a:p>
        </p:txBody>
      </p:sp>
      <p:sp>
        <p:nvSpPr>
          <p:cNvPr id="9" name="Freeform 51"/>
          <p:cNvSpPr>
            <a:spLocks/>
          </p:cNvSpPr>
          <p:nvPr/>
        </p:nvSpPr>
        <p:spPr bwMode="auto">
          <a:xfrm>
            <a:off x="6808175" y="2403604"/>
            <a:ext cx="1036897" cy="603673"/>
          </a:xfrm>
          <a:custGeom>
            <a:avLst/>
            <a:gdLst>
              <a:gd name="T0" fmla="*/ 730 w 730"/>
              <a:gd name="T1" fmla="*/ 0 h 425"/>
              <a:gd name="T2" fmla="*/ 0 w 730"/>
              <a:gd name="T3" fmla="*/ 425 h 425"/>
              <a:gd name="T4" fmla="*/ 730 w 730"/>
              <a:gd name="T5" fmla="*/ 425 h 425"/>
              <a:gd name="T6" fmla="*/ 730 w 730"/>
              <a:gd name="T7" fmla="*/ 0 h 425"/>
            </a:gdLst>
            <a:ahLst/>
            <a:cxnLst>
              <a:cxn ang="0">
                <a:pos x="T0" y="T1"/>
              </a:cxn>
              <a:cxn ang="0">
                <a:pos x="T2" y="T3"/>
              </a:cxn>
              <a:cxn ang="0">
                <a:pos x="T4" y="T5"/>
              </a:cxn>
              <a:cxn ang="0">
                <a:pos x="T6" y="T7"/>
              </a:cxn>
            </a:cxnLst>
            <a:rect l="0" t="0" r="r" b="b"/>
            <a:pathLst>
              <a:path w="730" h="425">
                <a:moveTo>
                  <a:pt x="730" y="0"/>
                </a:moveTo>
                <a:lnTo>
                  <a:pt x="0" y="425"/>
                </a:lnTo>
                <a:lnTo>
                  <a:pt x="730" y="425"/>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0" name="Freeform 55"/>
          <p:cNvSpPr>
            <a:spLocks/>
          </p:cNvSpPr>
          <p:nvPr/>
        </p:nvSpPr>
        <p:spPr bwMode="auto">
          <a:xfrm>
            <a:off x="8181708" y="3549873"/>
            <a:ext cx="1099395" cy="82384"/>
          </a:xfrm>
          <a:custGeom>
            <a:avLst/>
            <a:gdLst>
              <a:gd name="T0" fmla="*/ 689 w 774"/>
              <a:gd name="T1" fmla="*/ 0 h 58"/>
              <a:gd name="T2" fmla="*/ 100 w 774"/>
              <a:gd name="T3" fmla="*/ 0 h 58"/>
              <a:gd name="T4" fmla="*/ 100 w 774"/>
              <a:gd name="T5" fmla="*/ 58 h 58"/>
              <a:gd name="T6" fmla="*/ 0 w 774"/>
              <a:gd name="T7" fmla="*/ 58 h 58"/>
              <a:gd name="T8" fmla="*/ 0 w 774"/>
              <a:gd name="T9" fmla="*/ 58 h 58"/>
              <a:gd name="T10" fmla="*/ 774 w 774"/>
              <a:gd name="T11" fmla="*/ 58 h 58"/>
              <a:gd name="T12" fmla="*/ 689 w 774"/>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774" h="58">
                <a:moveTo>
                  <a:pt x="689" y="0"/>
                </a:moveTo>
                <a:lnTo>
                  <a:pt x="100" y="0"/>
                </a:lnTo>
                <a:lnTo>
                  <a:pt x="100" y="58"/>
                </a:lnTo>
                <a:lnTo>
                  <a:pt x="0" y="58"/>
                </a:lnTo>
                <a:lnTo>
                  <a:pt x="0" y="58"/>
                </a:lnTo>
                <a:lnTo>
                  <a:pt x="774" y="58"/>
                </a:lnTo>
                <a:lnTo>
                  <a:pt x="6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1" name="Freeform 63"/>
          <p:cNvSpPr>
            <a:spLocks/>
          </p:cNvSpPr>
          <p:nvPr/>
        </p:nvSpPr>
        <p:spPr bwMode="auto">
          <a:xfrm>
            <a:off x="7156175" y="3643619"/>
            <a:ext cx="666171" cy="392032"/>
          </a:xfrm>
          <a:custGeom>
            <a:avLst/>
            <a:gdLst>
              <a:gd name="T0" fmla="*/ 469 w 469"/>
              <a:gd name="T1" fmla="*/ 0 h 276"/>
              <a:gd name="T2" fmla="*/ 0 w 469"/>
              <a:gd name="T3" fmla="*/ 276 h 276"/>
              <a:gd name="T4" fmla="*/ 469 w 469"/>
              <a:gd name="T5" fmla="*/ 276 h 276"/>
              <a:gd name="T6" fmla="*/ 469 w 469"/>
              <a:gd name="T7" fmla="*/ 0 h 276"/>
            </a:gdLst>
            <a:ahLst/>
            <a:cxnLst>
              <a:cxn ang="0">
                <a:pos x="T0" y="T1"/>
              </a:cxn>
              <a:cxn ang="0">
                <a:pos x="T2" y="T3"/>
              </a:cxn>
              <a:cxn ang="0">
                <a:pos x="T4" y="T5"/>
              </a:cxn>
              <a:cxn ang="0">
                <a:pos x="T6" y="T7"/>
              </a:cxn>
            </a:cxnLst>
            <a:rect l="0" t="0" r="r" b="b"/>
            <a:pathLst>
              <a:path w="469" h="276">
                <a:moveTo>
                  <a:pt x="469" y="0"/>
                </a:moveTo>
                <a:lnTo>
                  <a:pt x="0" y="276"/>
                </a:lnTo>
                <a:lnTo>
                  <a:pt x="469" y="276"/>
                </a:lnTo>
                <a:lnTo>
                  <a:pt x="46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2" name="Rectangle 11"/>
          <p:cNvSpPr/>
          <p:nvPr/>
        </p:nvSpPr>
        <p:spPr>
          <a:xfrm>
            <a:off x="7967649" y="1957597"/>
            <a:ext cx="214058" cy="3709673"/>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13" name="Freeform 92"/>
          <p:cNvSpPr>
            <a:spLocks/>
          </p:cNvSpPr>
          <p:nvPr/>
        </p:nvSpPr>
        <p:spPr bwMode="auto">
          <a:xfrm>
            <a:off x="7767589" y="5578214"/>
            <a:ext cx="629355" cy="1294485"/>
          </a:xfrm>
          <a:custGeom>
            <a:avLst/>
            <a:gdLst>
              <a:gd name="T0" fmla="*/ 250 w 304"/>
              <a:gd name="T1" fmla="*/ 0 h 525"/>
              <a:gd name="T2" fmla="*/ 304 w 304"/>
              <a:gd name="T3" fmla="*/ 506 h 525"/>
              <a:gd name="T4" fmla="*/ 155 w 304"/>
              <a:gd name="T5" fmla="*/ 525 h 525"/>
              <a:gd name="T6" fmla="*/ 0 w 304"/>
              <a:gd name="T7" fmla="*/ 506 h 525"/>
              <a:gd name="T8" fmla="*/ 56 w 304"/>
              <a:gd name="T9" fmla="*/ 0 h 525"/>
              <a:gd name="T10" fmla="*/ 250 w 304"/>
              <a:gd name="T11" fmla="*/ 0 h 525"/>
              <a:gd name="connsiteX0" fmla="*/ 10446 w 12222"/>
              <a:gd name="connsiteY0" fmla="*/ 0 h 17359"/>
              <a:gd name="connsiteX1" fmla="*/ 12222 w 12222"/>
              <a:gd name="connsiteY1" fmla="*/ 9638 h 17359"/>
              <a:gd name="connsiteX2" fmla="*/ 7321 w 12222"/>
              <a:gd name="connsiteY2" fmla="*/ 10000 h 17359"/>
              <a:gd name="connsiteX3" fmla="*/ 0 w 12222"/>
              <a:gd name="connsiteY3" fmla="*/ 17359 h 17359"/>
              <a:gd name="connsiteX4" fmla="*/ 4064 w 12222"/>
              <a:gd name="connsiteY4" fmla="*/ 0 h 17359"/>
              <a:gd name="connsiteX5" fmla="*/ 10446 w 12222"/>
              <a:gd name="connsiteY5" fmla="*/ 0 h 17359"/>
              <a:gd name="connsiteX0" fmla="*/ 10446 w 14575"/>
              <a:gd name="connsiteY0" fmla="*/ 0 h 17359"/>
              <a:gd name="connsiteX1" fmla="*/ 14575 w 14575"/>
              <a:gd name="connsiteY1" fmla="*/ 17131 h 17359"/>
              <a:gd name="connsiteX2" fmla="*/ 7321 w 14575"/>
              <a:gd name="connsiteY2" fmla="*/ 10000 h 17359"/>
              <a:gd name="connsiteX3" fmla="*/ 0 w 14575"/>
              <a:gd name="connsiteY3" fmla="*/ 17359 h 17359"/>
              <a:gd name="connsiteX4" fmla="*/ 4064 w 14575"/>
              <a:gd name="connsiteY4" fmla="*/ 0 h 17359"/>
              <a:gd name="connsiteX5" fmla="*/ 10446 w 14575"/>
              <a:gd name="connsiteY5" fmla="*/ 0 h 17359"/>
              <a:gd name="connsiteX0" fmla="*/ 10446 w 14575"/>
              <a:gd name="connsiteY0" fmla="*/ 0 h 17359"/>
              <a:gd name="connsiteX1" fmla="*/ 14575 w 14575"/>
              <a:gd name="connsiteY1" fmla="*/ 17131 h 17359"/>
              <a:gd name="connsiteX2" fmla="*/ 0 w 14575"/>
              <a:gd name="connsiteY2" fmla="*/ 17359 h 17359"/>
              <a:gd name="connsiteX3" fmla="*/ 4064 w 14575"/>
              <a:gd name="connsiteY3" fmla="*/ 0 h 17359"/>
              <a:gd name="connsiteX4" fmla="*/ 10446 w 14575"/>
              <a:gd name="connsiteY4" fmla="*/ 0 h 17359"/>
              <a:gd name="connsiteX0" fmla="*/ 10446 w 14575"/>
              <a:gd name="connsiteY0" fmla="*/ 0 h 17359"/>
              <a:gd name="connsiteX1" fmla="*/ 14575 w 14575"/>
              <a:gd name="connsiteY1" fmla="*/ 17358 h 17359"/>
              <a:gd name="connsiteX2" fmla="*/ 0 w 14575"/>
              <a:gd name="connsiteY2" fmla="*/ 17359 h 17359"/>
              <a:gd name="connsiteX3" fmla="*/ 4064 w 14575"/>
              <a:gd name="connsiteY3" fmla="*/ 0 h 17359"/>
              <a:gd name="connsiteX4" fmla="*/ 10446 w 14575"/>
              <a:gd name="connsiteY4" fmla="*/ 0 h 17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75" h="17359">
                <a:moveTo>
                  <a:pt x="10446" y="0"/>
                </a:moveTo>
                <a:lnTo>
                  <a:pt x="14575" y="17358"/>
                </a:lnTo>
                <a:lnTo>
                  <a:pt x="0" y="17359"/>
                </a:lnTo>
                <a:lnTo>
                  <a:pt x="4064" y="0"/>
                </a:lnTo>
                <a:lnTo>
                  <a:pt x="10446" y="0"/>
                </a:lnTo>
                <a:close/>
              </a:path>
            </a:pathLst>
          </a:custGeom>
          <a:solidFill>
            <a:schemeClr val="bg1"/>
          </a:solidFill>
          <a:ln w="25400">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4" name="Freeform 93"/>
          <p:cNvSpPr>
            <a:spLocks/>
          </p:cNvSpPr>
          <p:nvPr/>
        </p:nvSpPr>
        <p:spPr bwMode="auto">
          <a:xfrm>
            <a:off x="7863537" y="5578214"/>
            <a:ext cx="431804" cy="745714"/>
          </a:xfrm>
          <a:custGeom>
            <a:avLst/>
            <a:gdLst>
              <a:gd name="T0" fmla="*/ 250 w 304"/>
              <a:gd name="T1" fmla="*/ 0 h 525"/>
              <a:gd name="T2" fmla="*/ 304 w 304"/>
              <a:gd name="T3" fmla="*/ 506 h 525"/>
              <a:gd name="T4" fmla="*/ 155 w 304"/>
              <a:gd name="T5" fmla="*/ 525 h 525"/>
              <a:gd name="T6" fmla="*/ 0 w 304"/>
              <a:gd name="T7" fmla="*/ 506 h 525"/>
              <a:gd name="T8" fmla="*/ 56 w 304"/>
              <a:gd name="T9" fmla="*/ 0 h 525"/>
            </a:gdLst>
            <a:ahLst/>
            <a:cxnLst>
              <a:cxn ang="0">
                <a:pos x="T0" y="T1"/>
              </a:cxn>
              <a:cxn ang="0">
                <a:pos x="T2" y="T3"/>
              </a:cxn>
              <a:cxn ang="0">
                <a:pos x="T4" y="T5"/>
              </a:cxn>
              <a:cxn ang="0">
                <a:pos x="T6" y="T7"/>
              </a:cxn>
              <a:cxn ang="0">
                <a:pos x="T8" y="T9"/>
              </a:cxn>
            </a:cxnLst>
            <a:rect l="0" t="0" r="r" b="b"/>
            <a:pathLst>
              <a:path w="304" h="525">
                <a:moveTo>
                  <a:pt x="250" y="0"/>
                </a:moveTo>
                <a:lnTo>
                  <a:pt x="304" y="506"/>
                </a:lnTo>
                <a:lnTo>
                  <a:pt x="155" y="525"/>
                </a:lnTo>
                <a:lnTo>
                  <a:pt x="0" y="506"/>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6" name="Oval 99"/>
          <p:cNvSpPr>
            <a:spLocks noChangeArrowheads="1"/>
          </p:cNvSpPr>
          <p:nvPr/>
        </p:nvSpPr>
        <p:spPr bwMode="auto">
          <a:xfrm>
            <a:off x="7917513" y="1738854"/>
            <a:ext cx="325273" cy="32385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Roboto Light" charset="0"/>
            </a:endParaRPr>
          </a:p>
        </p:txBody>
      </p:sp>
      <p:sp>
        <p:nvSpPr>
          <p:cNvPr id="15" name="TextBox 14"/>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7" name="Text Placeholder 6">
            <a:extLst>
              <a:ext uri="{FF2B5EF4-FFF2-40B4-BE49-F238E27FC236}">
                <a16:creationId xmlns:a16="http://schemas.microsoft.com/office/drawing/2014/main" id="{473E6E47-F26E-9E4D-AAE0-645D5C5DAD49}"/>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18449664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35"/>
          <p:cNvSpPr>
            <a:spLocks noEditPoints="1"/>
          </p:cNvSpPr>
          <p:nvPr/>
        </p:nvSpPr>
        <p:spPr bwMode="auto">
          <a:xfrm rot="20950732">
            <a:off x="9155749" y="1992376"/>
            <a:ext cx="866775" cy="866775"/>
          </a:xfrm>
          <a:custGeom>
            <a:avLst/>
            <a:gdLst>
              <a:gd name="T0" fmla="*/ 1556 w 2147"/>
              <a:gd name="T1" fmla="*/ 2043 h 2146"/>
              <a:gd name="T2" fmla="*/ 1677 w 2147"/>
              <a:gd name="T3" fmla="*/ 1743 h 2146"/>
              <a:gd name="T4" fmla="*/ 1989 w 2147"/>
              <a:gd name="T5" fmla="*/ 1654 h 2146"/>
              <a:gd name="T6" fmla="*/ 2112 w 2147"/>
              <a:gd name="T7" fmla="*/ 1444 h 2146"/>
              <a:gd name="T8" fmla="*/ 1959 w 2147"/>
              <a:gd name="T9" fmla="*/ 1239 h 2146"/>
              <a:gd name="T10" fmla="*/ 1973 w 2147"/>
              <a:gd name="T11" fmla="*/ 1018 h 2146"/>
              <a:gd name="T12" fmla="*/ 2131 w 2147"/>
              <a:gd name="T13" fmla="*/ 836 h 2146"/>
              <a:gd name="T14" fmla="*/ 2089 w 2147"/>
              <a:gd name="T15" fmla="*/ 626 h 2146"/>
              <a:gd name="T16" fmla="*/ 1781 w 2147"/>
              <a:gd name="T17" fmla="*/ 516 h 2146"/>
              <a:gd name="T18" fmla="*/ 1650 w 2147"/>
              <a:gd name="T19" fmla="*/ 250 h 2146"/>
              <a:gd name="T20" fmla="*/ 1475 w 2147"/>
              <a:gd name="T21" fmla="*/ 39 h 2146"/>
              <a:gd name="T22" fmla="*/ 1287 w 2147"/>
              <a:gd name="T23" fmla="*/ 172 h 2146"/>
              <a:gd name="T24" fmla="*/ 1060 w 2147"/>
              <a:gd name="T25" fmla="*/ 172 h 2146"/>
              <a:gd name="T26" fmla="*/ 899 w 2147"/>
              <a:gd name="T27" fmla="*/ 83 h 2146"/>
              <a:gd name="T28" fmla="*/ 703 w 2147"/>
              <a:gd name="T29" fmla="*/ 27 h 2146"/>
              <a:gd name="T30" fmla="*/ 565 w 2147"/>
              <a:gd name="T31" fmla="*/ 329 h 2146"/>
              <a:gd name="T32" fmla="*/ 340 w 2147"/>
              <a:gd name="T33" fmla="*/ 508 h 2146"/>
              <a:gd name="T34" fmla="*/ 49 w 2147"/>
              <a:gd name="T35" fmla="*/ 647 h 2146"/>
              <a:gd name="T36" fmla="*/ 151 w 2147"/>
              <a:gd name="T37" fmla="*/ 841 h 2146"/>
              <a:gd name="T38" fmla="*/ 173 w 2147"/>
              <a:gd name="T39" fmla="*/ 1026 h 2146"/>
              <a:gd name="T40" fmla="*/ 132 w 2147"/>
              <a:gd name="T41" fmla="*/ 1209 h 2146"/>
              <a:gd name="T42" fmla="*/ 11 w 2147"/>
              <a:gd name="T43" fmla="*/ 1390 h 2146"/>
              <a:gd name="T44" fmla="*/ 285 w 2147"/>
              <a:gd name="T45" fmla="*/ 1559 h 2146"/>
              <a:gd name="T46" fmla="*/ 490 w 2147"/>
              <a:gd name="T47" fmla="*/ 1760 h 2146"/>
              <a:gd name="T48" fmla="*/ 596 w 2147"/>
              <a:gd name="T49" fmla="*/ 2075 h 2146"/>
              <a:gd name="T50" fmla="*/ 797 w 2147"/>
              <a:gd name="T51" fmla="*/ 2039 h 2146"/>
              <a:gd name="T52" fmla="*/ 967 w 2147"/>
              <a:gd name="T53" fmla="*/ 1967 h 2146"/>
              <a:gd name="T54" fmla="*/ 1192 w 2147"/>
              <a:gd name="T55" fmla="*/ 1992 h 2146"/>
              <a:gd name="T56" fmla="*/ 1366 w 2147"/>
              <a:gd name="T57" fmla="*/ 2143 h 2146"/>
              <a:gd name="T58" fmla="*/ 964 w 2147"/>
              <a:gd name="T59" fmla="*/ 1694 h 2146"/>
              <a:gd name="T60" fmla="*/ 802 w 2147"/>
              <a:gd name="T61" fmla="*/ 1643 h 2146"/>
              <a:gd name="T62" fmla="*/ 660 w 2147"/>
              <a:gd name="T63" fmla="*/ 1550 h 2146"/>
              <a:gd name="T64" fmla="*/ 575 w 2147"/>
              <a:gd name="T65" fmla="*/ 1460 h 2146"/>
              <a:gd name="T66" fmla="*/ 495 w 2147"/>
              <a:gd name="T67" fmla="*/ 1327 h 2146"/>
              <a:gd name="T68" fmla="*/ 447 w 2147"/>
              <a:gd name="T69" fmla="*/ 1155 h 2146"/>
              <a:gd name="T70" fmla="*/ 443 w 2147"/>
              <a:gd name="T71" fmla="*/ 1040 h 2146"/>
              <a:gd name="T72" fmla="*/ 459 w 2147"/>
              <a:gd name="T73" fmla="*/ 926 h 2146"/>
              <a:gd name="T74" fmla="*/ 525 w 2147"/>
              <a:gd name="T75" fmla="*/ 760 h 2146"/>
              <a:gd name="T76" fmla="*/ 618 w 2147"/>
              <a:gd name="T77" fmla="*/ 636 h 2146"/>
              <a:gd name="T78" fmla="*/ 712 w 2147"/>
              <a:gd name="T79" fmla="*/ 556 h 2146"/>
              <a:gd name="T80" fmla="*/ 862 w 2147"/>
              <a:gd name="T81" fmla="*/ 478 h 2146"/>
              <a:gd name="T82" fmla="*/ 1029 w 2147"/>
              <a:gd name="T83" fmla="*/ 444 h 2146"/>
              <a:gd name="T84" fmla="*/ 1127 w 2147"/>
              <a:gd name="T85" fmla="*/ 445 h 2146"/>
              <a:gd name="T86" fmla="*/ 1260 w 2147"/>
              <a:gd name="T87" fmla="*/ 470 h 2146"/>
              <a:gd name="T88" fmla="*/ 1396 w 2147"/>
              <a:gd name="T89" fmla="*/ 530 h 2146"/>
              <a:gd name="T90" fmla="*/ 1527 w 2147"/>
              <a:gd name="T91" fmla="*/ 635 h 2146"/>
              <a:gd name="T92" fmla="*/ 1631 w 2147"/>
              <a:gd name="T93" fmla="*/ 779 h 2146"/>
              <a:gd name="T94" fmla="*/ 1682 w 2147"/>
              <a:gd name="T95" fmla="*/ 906 h 2146"/>
              <a:gd name="T96" fmla="*/ 1704 w 2147"/>
              <a:gd name="T97" fmla="*/ 1045 h 2146"/>
              <a:gd name="T98" fmla="*/ 1699 w 2147"/>
              <a:gd name="T99" fmla="*/ 1151 h 2146"/>
              <a:gd name="T100" fmla="*/ 1670 w 2147"/>
              <a:gd name="T101" fmla="*/ 1281 h 2146"/>
              <a:gd name="T102" fmla="*/ 1610 w 2147"/>
              <a:gd name="T103" fmla="*/ 1405 h 2146"/>
              <a:gd name="T104" fmla="*/ 1496 w 2147"/>
              <a:gd name="T105" fmla="*/ 1542 h 2146"/>
              <a:gd name="T106" fmla="*/ 1348 w 2147"/>
              <a:gd name="T107" fmla="*/ 1641 h 2146"/>
              <a:gd name="T108" fmla="*/ 1219 w 2147"/>
              <a:gd name="T109" fmla="*/ 1688 h 2146"/>
              <a:gd name="T110" fmla="*/ 1086 w 2147"/>
              <a:gd name="T111" fmla="*/ 1704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47" h="2146">
                <a:moveTo>
                  <a:pt x="1366" y="2143"/>
                </a:moveTo>
                <a:cubicBezTo>
                  <a:pt x="1366" y="2143"/>
                  <a:pt x="1376" y="2140"/>
                  <a:pt x="1391" y="2135"/>
                </a:cubicBezTo>
                <a:cubicBezTo>
                  <a:pt x="1405" y="2131"/>
                  <a:pt x="1425" y="2126"/>
                  <a:pt x="1444" y="2119"/>
                </a:cubicBezTo>
                <a:cubicBezTo>
                  <a:pt x="1482" y="2104"/>
                  <a:pt x="1520" y="2088"/>
                  <a:pt x="1520" y="2088"/>
                </a:cubicBezTo>
                <a:cubicBezTo>
                  <a:pt x="1541" y="2080"/>
                  <a:pt x="1554" y="2061"/>
                  <a:pt x="1556" y="2043"/>
                </a:cubicBezTo>
                <a:cubicBezTo>
                  <a:pt x="1556" y="2043"/>
                  <a:pt x="1561" y="1997"/>
                  <a:pt x="1562" y="1951"/>
                </a:cubicBezTo>
                <a:cubicBezTo>
                  <a:pt x="1563" y="1907"/>
                  <a:pt x="1560" y="1861"/>
                  <a:pt x="1560" y="1861"/>
                </a:cubicBezTo>
                <a:cubicBezTo>
                  <a:pt x="1558" y="1844"/>
                  <a:pt x="1567" y="1826"/>
                  <a:pt x="1582" y="1816"/>
                </a:cubicBezTo>
                <a:cubicBezTo>
                  <a:pt x="1582" y="1816"/>
                  <a:pt x="1608" y="1801"/>
                  <a:pt x="1630" y="1781"/>
                </a:cubicBezTo>
                <a:cubicBezTo>
                  <a:pt x="1654" y="1762"/>
                  <a:pt x="1677" y="1743"/>
                  <a:pt x="1677" y="1743"/>
                </a:cubicBezTo>
                <a:cubicBezTo>
                  <a:pt x="1677" y="1743"/>
                  <a:pt x="1698" y="1722"/>
                  <a:pt x="1720" y="1700"/>
                </a:cubicBezTo>
                <a:cubicBezTo>
                  <a:pt x="1742" y="1680"/>
                  <a:pt x="1760" y="1656"/>
                  <a:pt x="1760" y="1656"/>
                </a:cubicBezTo>
                <a:cubicBezTo>
                  <a:pt x="1772" y="1642"/>
                  <a:pt x="1790" y="1635"/>
                  <a:pt x="1807" y="1638"/>
                </a:cubicBezTo>
                <a:cubicBezTo>
                  <a:pt x="1807" y="1638"/>
                  <a:pt x="1852" y="1647"/>
                  <a:pt x="1897" y="1650"/>
                </a:cubicBezTo>
                <a:cubicBezTo>
                  <a:pt x="1942" y="1653"/>
                  <a:pt x="1989" y="1654"/>
                  <a:pt x="1989" y="1654"/>
                </a:cubicBezTo>
                <a:cubicBezTo>
                  <a:pt x="2006" y="1654"/>
                  <a:pt x="2027" y="1642"/>
                  <a:pt x="2037" y="1622"/>
                </a:cubicBezTo>
                <a:cubicBezTo>
                  <a:pt x="2037" y="1622"/>
                  <a:pt x="2056" y="1586"/>
                  <a:pt x="2075" y="1550"/>
                </a:cubicBezTo>
                <a:cubicBezTo>
                  <a:pt x="2084" y="1532"/>
                  <a:pt x="2091" y="1513"/>
                  <a:pt x="2097" y="1499"/>
                </a:cubicBezTo>
                <a:cubicBezTo>
                  <a:pt x="2103" y="1484"/>
                  <a:pt x="2107" y="1475"/>
                  <a:pt x="2107" y="1475"/>
                </a:cubicBezTo>
                <a:cubicBezTo>
                  <a:pt x="2111" y="1465"/>
                  <a:pt x="2113" y="1454"/>
                  <a:pt x="2112" y="1444"/>
                </a:cubicBezTo>
                <a:cubicBezTo>
                  <a:pt x="2111" y="1434"/>
                  <a:pt x="2107" y="1425"/>
                  <a:pt x="2101" y="1418"/>
                </a:cubicBezTo>
                <a:cubicBezTo>
                  <a:pt x="2101" y="1418"/>
                  <a:pt x="2071" y="1381"/>
                  <a:pt x="2040" y="1349"/>
                </a:cubicBezTo>
                <a:cubicBezTo>
                  <a:pt x="2024" y="1332"/>
                  <a:pt x="2008" y="1317"/>
                  <a:pt x="1996" y="1305"/>
                </a:cubicBezTo>
                <a:cubicBezTo>
                  <a:pt x="1984" y="1294"/>
                  <a:pt x="1975" y="1286"/>
                  <a:pt x="1975" y="1286"/>
                </a:cubicBezTo>
                <a:cubicBezTo>
                  <a:pt x="1961" y="1275"/>
                  <a:pt x="1955" y="1257"/>
                  <a:pt x="1959" y="1239"/>
                </a:cubicBezTo>
                <a:cubicBezTo>
                  <a:pt x="1959" y="1239"/>
                  <a:pt x="1960" y="1232"/>
                  <a:pt x="1962" y="1220"/>
                </a:cubicBezTo>
                <a:cubicBezTo>
                  <a:pt x="1965" y="1209"/>
                  <a:pt x="1966" y="1195"/>
                  <a:pt x="1968" y="1180"/>
                </a:cubicBezTo>
                <a:cubicBezTo>
                  <a:pt x="1971" y="1150"/>
                  <a:pt x="1974" y="1120"/>
                  <a:pt x="1974" y="1120"/>
                </a:cubicBezTo>
                <a:cubicBezTo>
                  <a:pt x="1974" y="1120"/>
                  <a:pt x="1974" y="1090"/>
                  <a:pt x="1974" y="1060"/>
                </a:cubicBezTo>
                <a:cubicBezTo>
                  <a:pt x="1974" y="1045"/>
                  <a:pt x="1974" y="1029"/>
                  <a:pt x="1973" y="1018"/>
                </a:cubicBezTo>
                <a:cubicBezTo>
                  <a:pt x="1972" y="1007"/>
                  <a:pt x="1971" y="1000"/>
                  <a:pt x="1971" y="1000"/>
                </a:cubicBezTo>
                <a:cubicBezTo>
                  <a:pt x="1969" y="982"/>
                  <a:pt x="1978" y="964"/>
                  <a:pt x="1992" y="954"/>
                </a:cubicBezTo>
                <a:cubicBezTo>
                  <a:pt x="1992" y="954"/>
                  <a:pt x="2002" y="947"/>
                  <a:pt x="2015" y="937"/>
                </a:cubicBezTo>
                <a:cubicBezTo>
                  <a:pt x="2028" y="927"/>
                  <a:pt x="2046" y="913"/>
                  <a:pt x="2063" y="899"/>
                </a:cubicBezTo>
                <a:cubicBezTo>
                  <a:pt x="2098" y="869"/>
                  <a:pt x="2131" y="836"/>
                  <a:pt x="2131" y="836"/>
                </a:cubicBezTo>
                <a:cubicBezTo>
                  <a:pt x="2138" y="830"/>
                  <a:pt x="2143" y="821"/>
                  <a:pt x="2145" y="812"/>
                </a:cubicBezTo>
                <a:cubicBezTo>
                  <a:pt x="2147" y="802"/>
                  <a:pt x="2146" y="791"/>
                  <a:pt x="2143" y="780"/>
                </a:cubicBezTo>
                <a:cubicBezTo>
                  <a:pt x="2143" y="780"/>
                  <a:pt x="2140" y="770"/>
                  <a:pt x="2136" y="756"/>
                </a:cubicBezTo>
                <a:cubicBezTo>
                  <a:pt x="2131" y="741"/>
                  <a:pt x="2126" y="721"/>
                  <a:pt x="2119" y="702"/>
                </a:cubicBezTo>
                <a:cubicBezTo>
                  <a:pt x="2104" y="664"/>
                  <a:pt x="2089" y="626"/>
                  <a:pt x="2089" y="626"/>
                </a:cubicBezTo>
                <a:cubicBezTo>
                  <a:pt x="2081" y="605"/>
                  <a:pt x="2062" y="592"/>
                  <a:pt x="2044" y="590"/>
                </a:cubicBezTo>
                <a:cubicBezTo>
                  <a:pt x="2044" y="590"/>
                  <a:pt x="1997" y="586"/>
                  <a:pt x="1952" y="585"/>
                </a:cubicBezTo>
                <a:cubicBezTo>
                  <a:pt x="1907" y="583"/>
                  <a:pt x="1861" y="587"/>
                  <a:pt x="1861" y="587"/>
                </a:cubicBezTo>
                <a:cubicBezTo>
                  <a:pt x="1844" y="588"/>
                  <a:pt x="1827" y="579"/>
                  <a:pt x="1817" y="564"/>
                </a:cubicBezTo>
                <a:cubicBezTo>
                  <a:pt x="1817" y="564"/>
                  <a:pt x="1801" y="538"/>
                  <a:pt x="1781" y="516"/>
                </a:cubicBezTo>
                <a:cubicBezTo>
                  <a:pt x="1762" y="493"/>
                  <a:pt x="1743" y="469"/>
                  <a:pt x="1743" y="469"/>
                </a:cubicBezTo>
                <a:cubicBezTo>
                  <a:pt x="1743" y="469"/>
                  <a:pt x="1722" y="448"/>
                  <a:pt x="1701" y="427"/>
                </a:cubicBezTo>
                <a:cubicBezTo>
                  <a:pt x="1680" y="405"/>
                  <a:pt x="1656" y="386"/>
                  <a:pt x="1656" y="386"/>
                </a:cubicBezTo>
                <a:cubicBezTo>
                  <a:pt x="1642" y="375"/>
                  <a:pt x="1636" y="357"/>
                  <a:pt x="1639" y="339"/>
                </a:cubicBezTo>
                <a:cubicBezTo>
                  <a:pt x="1639" y="339"/>
                  <a:pt x="1647" y="294"/>
                  <a:pt x="1650" y="250"/>
                </a:cubicBezTo>
                <a:cubicBezTo>
                  <a:pt x="1654" y="205"/>
                  <a:pt x="1654" y="158"/>
                  <a:pt x="1654" y="158"/>
                </a:cubicBezTo>
                <a:cubicBezTo>
                  <a:pt x="1654" y="140"/>
                  <a:pt x="1643" y="119"/>
                  <a:pt x="1623" y="109"/>
                </a:cubicBezTo>
                <a:cubicBezTo>
                  <a:pt x="1623" y="109"/>
                  <a:pt x="1587" y="90"/>
                  <a:pt x="1550" y="71"/>
                </a:cubicBezTo>
                <a:cubicBezTo>
                  <a:pt x="1532" y="62"/>
                  <a:pt x="1513" y="55"/>
                  <a:pt x="1499" y="49"/>
                </a:cubicBezTo>
                <a:cubicBezTo>
                  <a:pt x="1485" y="43"/>
                  <a:pt x="1475" y="39"/>
                  <a:pt x="1475" y="39"/>
                </a:cubicBezTo>
                <a:cubicBezTo>
                  <a:pt x="1465" y="35"/>
                  <a:pt x="1454" y="34"/>
                  <a:pt x="1444" y="34"/>
                </a:cubicBezTo>
                <a:cubicBezTo>
                  <a:pt x="1434" y="35"/>
                  <a:pt x="1425" y="39"/>
                  <a:pt x="1418" y="45"/>
                </a:cubicBezTo>
                <a:cubicBezTo>
                  <a:pt x="1418" y="45"/>
                  <a:pt x="1382" y="75"/>
                  <a:pt x="1349" y="107"/>
                </a:cubicBezTo>
                <a:cubicBezTo>
                  <a:pt x="1333" y="122"/>
                  <a:pt x="1317" y="138"/>
                  <a:pt x="1306" y="150"/>
                </a:cubicBezTo>
                <a:cubicBezTo>
                  <a:pt x="1294" y="163"/>
                  <a:pt x="1287" y="172"/>
                  <a:pt x="1287" y="172"/>
                </a:cubicBezTo>
                <a:cubicBezTo>
                  <a:pt x="1275" y="185"/>
                  <a:pt x="1257" y="191"/>
                  <a:pt x="1239" y="188"/>
                </a:cubicBezTo>
                <a:cubicBezTo>
                  <a:pt x="1239" y="188"/>
                  <a:pt x="1232" y="186"/>
                  <a:pt x="1221" y="184"/>
                </a:cubicBezTo>
                <a:cubicBezTo>
                  <a:pt x="1210" y="181"/>
                  <a:pt x="1195" y="180"/>
                  <a:pt x="1180" y="178"/>
                </a:cubicBezTo>
                <a:cubicBezTo>
                  <a:pt x="1150" y="175"/>
                  <a:pt x="1120" y="172"/>
                  <a:pt x="1120" y="172"/>
                </a:cubicBezTo>
                <a:cubicBezTo>
                  <a:pt x="1120" y="172"/>
                  <a:pt x="1090" y="172"/>
                  <a:pt x="1060" y="172"/>
                </a:cubicBezTo>
                <a:cubicBezTo>
                  <a:pt x="1045" y="172"/>
                  <a:pt x="1030" y="172"/>
                  <a:pt x="1019" y="173"/>
                </a:cubicBezTo>
                <a:cubicBezTo>
                  <a:pt x="1007" y="174"/>
                  <a:pt x="1000" y="175"/>
                  <a:pt x="1000" y="175"/>
                </a:cubicBezTo>
                <a:cubicBezTo>
                  <a:pt x="982" y="177"/>
                  <a:pt x="964" y="169"/>
                  <a:pt x="954" y="154"/>
                </a:cubicBezTo>
                <a:cubicBezTo>
                  <a:pt x="954" y="154"/>
                  <a:pt x="948" y="145"/>
                  <a:pt x="938" y="131"/>
                </a:cubicBezTo>
                <a:cubicBezTo>
                  <a:pt x="928" y="118"/>
                  <a:pt x="914" y="101"/>
                  <a:pt x="899" y="83"/>
                </a:cubicBezTo>
                <a:cubicBezTo>
                  <a:pt x="870" y="49"/>
                  <a:pt x="837" y="15"/>
                  <a:pt x="837" y="15"/>
                </a:cubicBezTo>
                <a:cubicBezTo>
                  <a:pt x="830" y="8"/>
                  <a:pt x="822" y="3"/>
                  <a:pt x="812" y="1"/>
                </a:cubicBezTo>
                <a:cubicBezTo>
                  <a:pt x="802" y="0"/>
                  <a:pt x="791" y="0"/>
                  <a:pt x="781" y="3"/>
                </a:cubicBezTo>
                <a:cubicBezTo>
                  <a:pt x="781" y="3"/>
                  <a:pt x="771" y="6"/>
                  <a:pt x="756" y="10"/>
                </a:cubicBezTo>
                <a:cubicBezTo>
                  <a:pt x="741" y="15"/>
                  <a:pt x="722" y="20"/>
                  <a:pt x="703" y="27"/>
                </a:cubicBezTo>
                <a:cubicBezTo>
                  <a:pt x="665" y="42"/>
                  <a:pt x="627" y="58"/>
                  <a:pt x="627" y="58"/>
                </a:cubicBezTo>
                <a:cubicBezTo>
                  <a:pt x="606" y="65"/>
                  <a:pt x="592" y="85"/>
                  <a:pt x="590" y="102"/>
                </a:cubicBezTo>
                <a:cubicBezTo>
                  <a:pt x="590" y="102"/>
                  <a:pt x="586" y="149"/>
                  <a:pt x="585" y="194"/>
                </a:cubicBezTo>
                <a:cubicBezTo>
                  <a:pt x="583" y="239"/>
                  <a:pt x="587" y="285"/>
                  <a:pt x="587" y="285"/>
                </a:cubicBezTo>
                <a:cubicBezTo>
                  <a:pt x="588" y="302"/>
                  <a:pt x="580" y="320"/>
                  <a:pt x="565" y="329"/>
                </a:cubicBezTo>
                <a:cubicBezTo>
                  <a:pt x="565" y="329"/>
                  <a:pt x="539" y="345"/>
                  <a:pt x="516" y="365"/>
                </a:cubicBezTo>
                <a:cubicBezTo>
                  <a:pt x="493" y="384"/>
                  <a:pt x="470" y="403"/>
                  <a:pt x="470" y="403"/>
                </a:cubicBezTo>
                <a:cubicBezTo>
                  <a:pt x="470" y="403"/>
                  <a:pt x="448" y="424"/>
                  <a:pt x="427" y="446"/>
                </a:cubicBezTo>
                <a:cubicBezTo>
                  <a:pt x="405" y="466"/>
                  <a:pt x="387" y="490"/>
                  <a:pt x="387" y="490"/>
                </a:cubicBezTo>
                <a:cubicBezTo>
                  <a:pt x="375" y="504"/>
                  <a:pt x="357" y="511"/>
                  <a:pt x="340" y="508"/>
                </a:cubicBezTo>
                <a:cubicBezTo>
                  <a:pt x="340" y="508"/>
                  <a:pt x="295" y="499"/>
                  <a:pt x="250" y="496"/>
                </a:cubicBezTo>
                <a:cubicBezTo>
                  <a:pt x="205" y="492"/>
                  <a:pt x="158" y="492"/>
                  <a:pt x="158" y="492"/>
                </a:cubicBezTo>
                <a:cubicBezTo>
                  <a:pt x="140" y="492"/>
                  <a:pt x="120" y="503"/>
                  <a:pt x="110" y="524"/>
                </a:cubicBezTo>
                <a:cubicBezTo>
                  <a:pt x="110" y="524"/>
                  <a:pt x="91" y="560"/>
                  <a:pt x="72" y="596"/>
                </a:cubicBezTo>
                <a:cubicBezTo>
                  <a:pt x="63" y="614"/>
                  <a:pt x="55" y="633"/>
                  <a:pt x="49" y="647"/>
                </a:cubicBezTo>
                <a:cubicBezTo>
                  <a:pt x="44" y="661"/>
                  <a:pt x="40" y="671"/>
                  <a:pt x="40" y="671"/>
                </a:cubicBezTo>
                <a:cubicBezTo>
                  <a:pt x="36" y="681"/>
                  <a:pt x="34" y="692"/>
                  <a:pt x="35" y="702"/>
                </a:cubicBezTo>
                <a:cubicBezTo>
                  <a:pt x="36" y="712"/>
                  <a:pt x="40" y="721"/>
                  <a:pt x="45" y="728"/>
                </a:cubicBezTo>
                <a:cubicBezTo>
                  <a:pt x="45" y="728"/>
                  <a:pt x="76" y="764"/>
                  <a:pt x="107" y="797"/>
                </a:cubicBezTo>
                <a:cubicBezTo>
                  <a:pt x="123" y="813"/>
                  <a:pt x="139" y="829"/>
                  <a:pt x="151" y="841"/>
                </a:cubicBezTo>
                <a:cubicBezTo>
                  <a:pt x="163" y="852"/>
                  <a:pt x="172" y="859"/>
                  <a:pt x="172" y="859"/>
                </a:cubicBezTo>
                <a:cubicBezTo>
                  <a:pt x="185" y="871"/>
                  <a:pt x="191" y="889"/>
                  <a:pt x="188" y="907"/>
                </a:cubicBezTo>
                <a:cubicBezTo>
                  <a:pt x="188" y="907"/>
                  <a:pt x="186" y="914"/>
                  <a:pt x="184" y="925"/>
                </a:cubicBezTo>
                <a:cubicBezTo>
                  <a:pt x="182" y="936"/>
                  <a:pt x="180" y="951"/>
                  <a:pt x="179" y="966"/>
                </a:cubicBezTo>
                <a:cubicBezTo>
                  <a:pt x="176" y="996"/>
                  <a:pt x="173" y="1026"/>
                  <a:pt x="173" y="1026"/>
                </a:cubicBezTo>
                <a:cubicBezTo>
                  <a:pt x="173" y="1026"/>
                  <a:pt x="173" y="1056"/>
                  <a:pt x="173" y="1086"/>
                </a:cubicBezTo>
                <a:cubicBezTo>
                  <a:pt x="172" y="1101"/>
                  <a:pt x="172" y="1116"/>
                  <a:pt x="174" y="1128"/>
                </a:cubicBezTo>
                <a:cubicBezTo>
                  <a:pt x="175" y="1139"/>
                  <a:pt x="176" y="1146"/>
                  <a:pt x="176" y="1146"/>
                </a:cubicBezTo>
                <a:cubicBezTo>
                  <a:pt x="177" y="1164"/>
                  <a:pt x="169" y="1182"/>
                  <a:pt x="155" y="1192"/>
                </a:cubicBezTo>
                <a:cubicBezTo>
                  <a:pt x="155" y="1192"/>
                  <a:pt x="145" y="1198"/>
                  <a:pt x="132" y="1209"/>
                </a:cubicBezTo>
                <a:cubicBezTo>
                  <a:pt x="119" y="1219"/>
                  <a:pt x="101" y="1233"/>
                  <a:pt x="84" y="1247"/>
                </a:cubicBezTo>
                <a:cubicBezTo>
                  <a:pt x="49" y="1276"/>
                  <a:pt x="15" y="1309"/>
                  <a:pt x="15" y="1309"/>
                </a:cubicBezTo>
                <a:cubicBezTo>
                  <a:pt x="9" y="1316"/>
                  <a:pt x="4" y="1325"/>
                  <a:pt x="2" y="1334"/>
                </a:cubicBezTo>
                <a:cubicBezTo>
                  <a:pt x="0" y="1344"/>
                  <a:pt x="1" y="1355"/>
                  <a:pt x="4" y="1366"/>
                </a:cubicBezTo>
                <a:cubicBezTo>
                  <a:pt x="4" y="1366"/>
                  <a:pt x="7" y="1375"/>
                  <a:pt x="11" y="1390"/>
                </a:cubicBezTo>
                <a:cubicBezTo>
                  <a:pt x="15" y="1405"/>
                  <a:pt x="20" y="1425"/>
                  <a:pt x="28" y="1444"/>
                </a:cubicBezTo>
                <a:cubicBezTo>
                  <a:pt x="43" y="1482"/>
                  <a:pt x="58" y="1519"/>
                  <a:pt x="58" y="1519"/>
                </a:cubicBezTo>
                <a:cubicBezTo>
                  <a:pt x="66" y="1541"/>
                  <a:pt x="85" y="1554"/>
                  <a:pt x="103" y="1556"/>
                </a:cubicBezTo>
                <a:cubicBezTo>
                  <a:pt x="103" y="1556"/>
                  <a:pt x="150" y="1560"/>
                  <a:pt x="195" y="1561"/>
                </a:cubicBezTo>
                <a:cubicBezTo>
                  <a:pt x="239" y="1563"/>
                  <a:pt x="285" y="1559"/>
                  <a:pt x="285" y="1559"/>
                </a:cubicBezTo>
                <a:cubicBezTo>
                  <a:pt x="303" y="1558"/>
                  <a:pt x="320" y="1567"/>
                  <a:pt x="330" y="1582"/>
                </a:cubicBezTo>
                <a:cubicBezTo>
                  <a:pt x="330" y="1582"/>
                  <a:pt x="346" y="1607"/>
                  <a:pt x="366" y="1630"/>
                </a:cubicBezTo>
                <a:cubicBezTo>
                  <a:pt x="385" y="1653"/>
                  <a:pt x="404" y="1677"/>
                  <a:pt x="404" y="1677"/>
                </a:cubicBezTo>
                <a:cubicBezTo>
                  <a:pt x="404" y="1677"/>
                  <a:pt x="425" y="1698"/>
                  <a:pt x="446" y="1719"/>
                </a:cubicBezTo>
                <a:cubicBezTo>
                  <a:pt x="466" y="1741"/>
                  <a:pt x="490" y="1760"/>
                  <a:pt x="490" y="1760"/>
                </a:cubicBezTo>
                <a:cubicBezTo>
                  <a:pt x="504" y="1771"/>
                  <a:pt x="511" y="1789"/>
                  <a:pt x="508" y="1806"/>
                </a:cubicBezTo>
                <a:cubicBezTo>
                  <a:pt x="508" y="1806"/>
                  <a:pt x="500" y="1852"/>
                  <a:pt x="497" y="1896"/>
                </a:cubicBezTo>
                <a:cubicBezTo>
                  <a:pt x="493" y="1941"/>
                  <a:pt x="493" y="1988"/>
                  <a:pt x="493" y="1988"/>
                </a:cubicBezTo>
                <a:cubicBezTo>
                  <a:pt x="492" y="2006"/>
                  <a:pt x="504" y="2027"/>
                  <a:pt x="524" y="2037"/>
                </a:cubicBezTo>
                <a:cubicBezTo>
                  <a:pt x="524" y="2037"/>
                  <a:pt x="560" y="2056"/>
                  <a:pt x="596" y="2075"/>
                </a:cubicBezTo>
                <a:cubicBezTo>
                  <a:pt x="614" y="2084"/>
                  <a:pt x="634" y="2091"/>
                  <a:pt x="648" y="2097"/>
                </a:cubicBezTo>
                <a:cubicBezTo>
                  <a:pt x="662" y="2103"/>
                  <a:pt x="671" y="2106"/>
                  <a:pt x="671" y="2106"/>
                </a:cubicBezTo>
                <a:cubicBezTo>
                  <a:pt x="682" y="2111"/>
                  <a:pt x="692" y="2112"/>
                  <a:pt x="702" y="2112"/>
                </a:cubicBezTo>
                <a:cubicBezTo>
                  <a:pt x="712" y="2111"/>
                  <a:pt x="722" y="2107"/>
                  <a:pt x="728" y="2101"/>
                </a:cubicBezTo>
                <a:cubicBezTo>
                  <a:pt x="728" y="2101"/>
                  <a:pt x="765" y="2071"/>
                  <a:pt x="797" y="2039"/>
                </a:cubicBezTo>
                <a:cubicBezTo>
                  <a:pt x="814" y="2023"/>
                  <a:pt x="830" y="2007"/>
                  <a:pt x="841" y="1995"/>
                </a:cubicBezTo>
                <a:cubicBezTo>
                  <a:pt x="852" y="1983"/>
                  <a:pt x="860" y="1974"/>
                  <a:pt x="860" y="1974"/>
                </a:cubicBezTo>
                <a:cubicBezTo>
                  <a:pt x="871" y="1961"/>
                  <a:pt x="890" y="1955"/>
                  <a:pt x="907" y="1958"/>
                </a:cubicBezTo>
                <a:cubicBezTo>
                  <a:pt x="907" y="1958"/>
                  <a:pt x="915" y="1960"/>
                  <a:pt x="926" y="1962"/>
                </a:cubicBezTo>
                <a:cubicBezTo>
                  <a:pt x="937" y="1965"/>
                  <a:pt x="952" y="1966"/>
                  <a:pt x="967" y="1967"/>
                </a:cubicBezTo>
                <a:cubicBezTo>
                  <a:pt x="997" y="1970"/>
                  <a:pt x="1027" y="1973"/>
                  <a:pt x="1027" y="1973"/>
                </a:cubicBezTo>
                <a:cubicBezTo>
                  <a:pt x="1027" y="1973"/>
                  <a:pt x="1057" y="1974"/>
                  <a:pt x="1087" y="1974"/>
                </a:cubicBezTo>
                <a:cubicBezTo>
                  <a:pt x="1102" y="1974"/>
                  <a:pt x="1117" y="1974"/>
                  <a:pt x="1128" y="1972"/>
                </a:cubicBezTo>
                <a:cubicBezTo>
                  <a:pt x="1139" y="1971"/>
                  <a:pt x="1147" y="1971"/>
                  <a:pt x="1147" y="1971"/>
                </a:cubicBezTo>
                <a:cubicBezTo>
                  <a:pt x="1165" y="1969"/>
                  <a:pt x="1182" y="1977"/>
                  <a:pt x="1192" y="1992"/>
                </a:cubicBezTo>
                <a:cubicBezTo>
                  <a:pt x="1192" y="1992"/>
                  <a:pt x="1199" y="2001"/>
                  <a:pt x="1209" y="2015"/>
                </a:cubicBezTo>
                <a:cubicBezTo>
                  <a:pt x="1219" y="2028"/>
                  <a:pt x="1233" y="2045"/>
                  <a:pt x="1248" y="2063"/>
                </a:cubicBezTo>
                <a:cubicBezTo>
                  <a:pt x="1277" y="2097"/>
                  <a:pt x="1310" y="2131"/>
                  <a:pt x="1310" y="2131"/>
                </a:cubicBezTo>
                <a:cubicBezTo>
                  <a:pt x="1316" y="2137"/>
                  <a:pt x="1325" y="2142"/>
                  <a:pt x="1335" y="2144"/>
                </a:cubicBezTo>
                <a:cubicBezTo>
                  <a:pt x="1344" y="2146"/>
                  <a:pt x="1355" y="2146"/>
                  <a:pt x="1366" y="2143"/>
                </a:cubicBezTo>
                <a:close/>
                <a:moveTo>
                  <a:pt x="1041" y="1704"/>
                </a:moveTo>
                <a:cubicBezTo>
                  <a:pt x="1041" y="1704"/>
                  <a:pt x="1033" y="1703"/>
                  <a:pt x="1019" y="1701"/>
                </a:cubicBezTo>
                <a:cubicBezTo>
                  <a:pt x="1013" y="1701"/>
                  <a:pt x="1004" y="1700"/>
                  <a:pt x="995" y="1699"/>
                </a:cubicBezTo>
                <a:cubicBezTo>
                  <a:pt x="990" y="1699"/>
                  <a:pt x="985" y="1698"/>
                  <a:pt x="980" y="1698"/>
                </a:cubicBezTo>
                <a:cubicBezTo>
                  <a:pt x="975" y="1697"/>
                  <a:pt x="969" y="1695"/>
                  <a:pt x="964" y="1694"/>
                </a:cubicBezTo>
                <a:cubicBezTo>
                  <a:pt x="952" y="1692"/>
                  <a:pt x="940" y="1690"/>
                  <a:pt x="927" y="1687"/>
                </a:cubicBezTo>
                <a:cubicBezTo>
                  <a:pt x="914" y="1685"/>
                  <a:pt x="900" y="1679"/>
                  <a:pt x="886" y="1675"/>
                </a:cubicBezTo>
                <a:cubicBezTo>
                  <a:pt x="879" y="1673"/>
                  <a:pt x="872" y="1671"/>
                  <a:pt x="865" y="1669"/>
                </a:cubicBezTo>
                <a:cubicBezTo>
                  <a:pt x="858" y="1667"/>
                  <a:pt x="851" y="1664"/>
                  <a:pt x="844" y="1661"/>
                </a:cubicBezTo>
                <a:cubicBezTo>
                  <a:pt x="830" y="1655"/>
                  <a:pt x="816" y="1650"/>
                  <a:pt x="802" y="1643"/>
                </a:cubicBezTo>
                <a:cubicBezTo>
                  <a:pt x="788" y="1636"/>
                  <a:pt x="774" y="1628"/>
                  <a:pt x="761" y="1621"/>
                </a:cubicBezTo>
                <a:cubicBezTo>
                  <a:pt x="751" y="1616"/>
                  <a:pt x="751" y="1616"/>
                  <a:pt x="751" y="1616"/>
                </a:cubicBezTo>
                <a:cubicBezTo>
                  <a:pt x="741" y="1610"/>
                  <a:pt x="741" y="1610"/>
                  <a:pt x="741" y="1610"/>
                </a:cubicBezTo>
                <a:cubicBezTo>
                  <a:pt x="735" y="1606"/>
                  <a:pt x="729" y="1602"/>
                  <a:pt x="723" y="1598"/>
                </a:cubicBezTo>
                <a:cubicBezTo>
                  <a:pt x="698" y="1583"/>
                  <a:pt x="678" y="1564"/>
                  <a:pt x="660" y="1550"/>
                </a:cubicBezTo>
                <a:cubicBezTo>
                  <a:pt x="651" y="1543"/>
                  <a:pt x="643" y="1535"/>
                  <a:pt x="637" y="1528"/>
                </a:cubicBezTo>
                <a:cubicBezTo>
                  <a:pt x="630" y="1521"/>
                  <a:pt x="624" y="1516"/>
                  <a:pt x="619" y="1511"/>
                </a:cubicBezTo>
                <a:cubicBezTo>
                  <a:pt x="610" y="1501"/>
                  <a:pt x="604" y="1496"/>
                  <a:pt x="604" y="1496"/>
                </a:cubicBezTo>
                <a:cubicBezTo>
                  <a:pt x="604" y="1496"/>
                  <a:pt x="599" y="1490"/>
                  <a:pt x="591" y="1479"/>
                </a:cubicBezTo>
                <a:cubicBezTo>
                  <a:pt x="587" y="1474"/>
                  <a:pt x="581" y="1467"/>
                  <a:pt x="575" y="1460"/>
                </a:cubicBezTo>
                <a:cubicBezTo>
                  <a:pt x="569" y="1453"/>
                  <a:pt x="562" y="1445"/>
                  <a:pt x="556" y="1435"/>
                </a:cubicBezTo>
                <a:cubicBezTo>
                  <a:pt x="544" y="1415"/>
                  <a:pt x="527" y="1393"/>
                  <a:pt x="515" y="1367"/>
                </a:cubicBezTo>
                <a:cubicBezTo>
                  <a:pt x="512" y="1360"/>
                  <a:pt x="508" y="1354"/>
                  <a:pt x="505" y="1347"/>
                </a:cubicBezTo>
                <a:cubicBezTo>
                  <a:pt x="500" y="1337"/>
                  <a:pt x="500" y="1337"/>
                  <a:pt x="500" y="1337"/>
                </a:cubicBezTo>
                <a:cubicBezTo>
                  <a:pt x="495" y="1327"/>
                  <a:pt x="495" y="1327"/>
                  <a:pt x="495" y="1327"/>
                </a:cubicBezTo>
                <a:cubicBezTo>
                  <a:pt x="490" y="1313"/>
                  <a:pt x="484" y="1298"/>
                  <a:pt x="478" y="1284"/>
                </a:cubicBezTo>
                <a:cubicBezTo>
                  <a:pt x="473" y="1270"/>
                  <a:pt x="470" y="1254"/>
                  <a:pt x="465" y="1240"/>
                </a:cubicBezTo>
                <a:cubicBezTo>
                  <a:pt x="463" y="1233"/>
                  <a:pt x="460" y="1225"/>
                  <a:pt x="459" y="1218"/>
                </a:cubicBezTo>
                <a:cubicBezTo>
                  <a:pt x="457" y="1211"/>
                  <a:pt x="456" y="1204"/>
                  <a:pt x="455" y="1196"/>
                </a:cubicBezTo>
                <a:cubicBezTo>
                  <a:pt x="452" y="1182"/>
                  <a:pt x="448" y="1168"/>
                  <a:pt x="447" y="1155"/>
                </a:cubicBezTo>
                <a:cubicBezTo>
                  <a:pt x="446" y="1142"/>
                  <a:pt x="445" y="1129"/>
                  <a:pt x="444" y="1118"/>
                </a:cubicBezTo>
                <a:cubicBezTo>
                  <a:pt x="443" y="1112"/>
                  <a:pt x="443" y="1106"/>
                  <a:pt x="442" y="1101"/>
                </a:cubicBezTo>
                <a:cubicBezTo>
                  <a:pt x="442" y="1096"/>
                  <a:pt x="442" y="1091"/>
                  <a:pt x="443" y="1086"/>
                </a:cubicBezTo>
                <a:cubicBezTo>
                  <a:pt x="443" y="1077"/>
                  <a:pt x="443" y="1068"/>
                  <a:pt x="443" y="1062"/>
                </a:cubicBezTo>
                <a:cubicBezTo>
                  <a:pt x="443" y="1048"/>
                  <a:pt x="443" y="1040"/>
                  <a:pt x="443" y="1040"/>
                </a:cubicBezTo>
                <a:cubicBezTo>
                  <a:pt x="443" y="1040"/>
                  <a:pt x="443" y="1032"/>
                  <a:pt x="445" y="1019"/>
                </a:cubicBezTo>
                <a:cubicBezTo>
                  <a:pt x="446" y="1012"/>
                  <a:pt x="446" y="1004"/>
                  <a:pt x="447" y="995"/>
                </a:cubicBezTo>
                <a:cubicBezTo>
                  <a:pt x="448" y="990"/>
                  <a:pt x="448" y="985"/>
                  <a:pt x="449" y="980"/>
                </a:cubicBezTo>
                <a:cubicBezTo>
                  <a:pt x="450" y="974"/>
                  <a:pt x="451" y="969"/>
                  <a:pt x="452" y="963"/>
                </a:cubicBezTo>
                <a:cubicBezTo>
                  <a:pt x="454" y="952"/>
                  <a:pt x="457" y="939"/>
                  <a:pt x="459" y="926"/>
                </a:cubicBezTo>
                <a:cubicBezTo>
                  <a:pt x="462" y="913"/>
                  <a:pt x="467" y="900"/>
                  <a:pt x="471" y="886"/>
                </a:cubicBezTo>
                <a:cubicBezTo>
                  <a:pt x="473" y="879"/>
                  <a:pt x="475" y="872"/>
                  <a:pt x="477" y="865"/>
                </a:cubicBezTo>
                <a:cubicBezTo>
                  <a:pt x="479" y="858"/>
                  <a:pt x="483" y="851"/>
                  <a:pt x="485" y="844"/>
                </a:cubicBezTo>
                <a:cubicBezTo>
                  <a:pt x="492" y="830"/>
                  <a:pt x="497" y="815"/>
                  <a:pt x="503" y="801"/>
                </a:cubicBezTo>
                <a:cubicBezTo>
                  <a:pt x="511" y="788"/>
                  <a:pt x="518" y="774"/>
                  <a:pt x="525" y="760"/>
                </a:cubicBezTo>
                <a:cubicBezTo>
                  <a:pt x="530" y="750"/>
                  <a:pt x="530" y="750"/>
                  <a:pt x="530" y="750"/>
                </a:cubicBezTo>
                <a:cubicBezTo>
                  <a:pt x="536" y="741"/>
                  <a:pt x="536" y="741"/>
                  <a:pt x="536" y="741"/>
                </a:cubicBezTo>
                <a:cubicBezTo>
                  <a:pt x="541" y="735"/>
                  <a:pt x="545" y="729"/>
                  <a:pt x="549" y="723"/>
                </a:cubicBezTo>
                <a:cubicBezTo>
                  <a:pt x="563" y="698"/>
                  <a:pt x="582" y="678"/>
                  <a:pt x="596" y="660"/>
                </a:cubicBezTo>
                <a:cubicBezTo>
                  <a:pt x="603" y="650"/>
                  <a:pt x="611" y="643"/>
                  <a:pt x="618" y="636"/>
                </a:cubicBezTo>
                <a:cubicBezTo>
                  <a:pt x="625" y="630"/>
                  <a:pt x="631" y="624"/>
                  <a:pt x="635" y="619"/>
                </a:cubicBezTo>
                <a:cubicBezTo>
                  <a:pt x="645" y="609"/>
                  <a:pt x="650" y="604"/>
                  <a:pt x="650" y="604"/>
                </a:cubicBezTo>
                <a:cubicBezTo>
                  <a:pt x="650" y="604"/>
                  <a:pt x="657" y="599"/>
                  <a:pt x="667" y="590"/>
                </a:cubicBezTo>
                <a:cubicBezTo>
                  <a:pt x="673" y="586"/>
                  <a:pt x="679" y="581"/>
                  <a:pt x="686" y="575"/>
                </a:cubicBezTo>
                <a:cubicBezTo>
                  <a:pt x="694" y="569"/>
                  <a:pt x="702" y="562"/>
                  <a:pt x="712" y="556"/>
                </a:cubicBezTo>
                <a:cubicBezTo>
                  <a:pt x="731" y="544"/>
                  <a:pt x="753" y="527"/>
                  <a:pt x="779" y="515"/>
                </a:cubicBezTo>
                <a:cubicBezTo>
                  <a:pt x="786" y="511"/>
                  <a:pt x="792" y="508"/>
                  <a:pt x="799" y="504"/>
                </a:cubicBezTo>
                <a:cubicBezTo>
                  <a:pt x="809" y="499"/>
                  <a:pt x="809" y="499"/>
                  <a:pt x="809" y="499"/>
                </a:cubicBezTo>
                <a:cubicBezTo>
                  <a:pt x="819" y="495"/>
                  <a:pt x="819" y="495"/>
                  <a:pt x="819" y="495"/>
                </a:cubicBezTo>
                <a:cubicBezTo>
                  <a:pt x="834" y="490"/>
                  <a:pt x="848" y="484"/>
                  <a:pt x="862" y="478"/>
                </a:cubicBezTo>
                <a:cubicBezTo>
                  <a:pt x="877" y="473"/>
                  <a:pt x="892" y="469"/>
                  <a:pt x="906" y="464"/>
                </a:cubicBezTo>
                <a:cubicBezTo>
                  <a:pt x="914" y="462"/>
                  <a:pt x="921" y="460"/>
                  <a:pt x="928" y="458"/>
                </a:cubicBezTo>
                <a:cubicBezTo>
                  <a:pt x="935" y="457"/>
                  <a:pt x="943" y="456"/>
                  <a:pt x="950" y="454"/>
                </a:cubicBezTo>
                <a:cubicBezTo>
                  <a:pt x="964" y="452"/>
                  <a:pt x="978" y="448"/>
                  <a:pt x="991" y="447"/>
                </a:cubicBezTo>
                <a:cubicBezTo>
                  <a:pt x="1004" y="446"/>
                  <a:pt x="1017" y="445"/>
                  <a:pt x="1029" y="444"/>
                </a:cubicBezTo>
                <a:cubicBezTo>
                  <a:pt x="1034" y="443"/>
                  <a:pt x="1040" y="442"/>
                  <a:pt x="1045" y="442"/>
                </a:cubicBezTo>
                <a:cubicBezTo>
                  <a:pt x="1050" y="442"/>
                  <a:pt x="1055" y="442"/>
                  <a:pt x="1060" y="442"/>
                </a:cubicBezTo>
                <a:cubicBezTo>
                  <a:pt x="1070" y="442"/>
                  <a:pt x="1078" y="442"/>
                  <a:pt x="1085" y="442"/>
                </a:cubicBezTo>
                <a:cubicBezTo>
                  <a:pt x="1098" y="442"/>
                  <a:pt x="1106" y="442"/>
                  <a:pt x="1106" y="442"/>
                </a:cubicBezTo>
                <a:cubicBezTo>
                  <a:pt x="1106" y="442"/>
                  <a:pt x="1114" y="443"/>
                  <a:pt x="1127" y="445"/>
                </a:cubicBezTo>
                <a:cubicBezTo>
                  <a:pt x="1134" y="445"/>
                  <a:pt x="1142" y="446"/>
                  <a:pt x="1152" y="447"/>
                </a:cubicBezTo>
                <a:cubicBezTo>
                  <a:pt x="1156" y="447"/>
                  <a:pt x="1161" y="448"/>
                  <a:pt x="1167" y="448"/>
                </a:cubicBezTo>
                <a:cubicBezTo>
                  <a:pt x="1172" y="449"/>
                  <a:pt x="1177" y="450"/>
                  <a:pt x="1183" y="452"/>
                </a:cubicBezTo>
                <a:cubicBezTo>
                  <a:pt x="1194" y="454"/>
                  <a:pt x="1207" y="456"/>
                  <a:pt x="1220" y="459"/>
                </a:cubicBezTo>
                <a:cubicBezTo>
                  <a:pt x="1233" y="461"/>
                  <a:pt x="1246" y="467"/>
                  <a:pt x="1260" y="470"/>
                </a:cubicBezTo>
                <a:cubicBezTo>
                  <a:pt x="1267" y="472"/>
                  <a:pt x="1274" y="475"/>
                  <a:pt x="1281" y="477"/>
                </a:cubicBezTo>
                <a:cubicBezTo>
                  <a:pt x="1289" y="479"/>
                  <a:pt x="1295" y="482"/>
                  <a:pt x="1302" y="485"/>
                </a:cubicBezTo>
                <a:cubicBezTo>
                  <a:pt x="1316" y="491"/>
                  <a:pt x="1331" y="496"/>
                  <a:pt x="1345" y="503"/>
                </a:cubicBezTo>
                <a:cubicBezTo>
                  <a:pt x="1359" y="510"/>
                  <a:pt x="1372" y="517"/>
                  <a:pt x="1386" y="524"/>
                </a:cubicBezTo>
                <a:cubicBezTo>
                  <a:pt x="1396" y="530"/>
                  <a:pt x="1396" y="530"/>
                  <a:pt x="1396" y="530"/>
                </a:cubicBezTo>
                <a:cubicBezTo>
                  <a:pt x="1405" y="536"/>
                  <a:pt x="1405" y="536"/>
                  <a:pt x="1405" y="536"/>
                </a:cubicBezTo>
                <a:cubicBezTo>
                  <a:pt x="1411" y="540"/>
                  <a:pt x="1417" y="544"/>
                  <a:pt x="1423" y="548"/>
                </a:cubicBezTo>
                <a:cubicBezTo>
                  <a:pt x="1449" y="563"/>
                  <a:pt x="1468" y="582"/>
                  <a:pt x="1487" y="596"/>
                </a:cubicBezTo>
                <a:cubicBezTo>
                  <a:pt x="1496" y="603"/>
                  <a:pt x="1503" y="611"/>
                  <a:pt x="1510" y="618"/>
                </a:cubicBezTo>
                <a:cubicBezTo>
                  <a:pt x="1517" y="624"/>
                  <a:pt x="1522" y="630"/>
                  <a:pt x="1527" y="635"/>
                </a:cubicBezTo>
                <a:cubicBezTo>
                  <a:pt x="1537" y="645"/>
                  <a:pt x="1543" y="650"/>
                  <a:pt x="1543" y="650"/>
                </a:cubicBezTo>
                <a:cubicBezTo>
                  <a:pt x="1543" y="650"/>
                  <a:pt x="1547" y="656"/>
                  <a:pt x="1556" y="667"/>
                </a:cubicBezTo>
                <a:cubicBezTo>
                  <a:pt x="1560" y="672"/>
                  <a:pt x="1565" y="679"/>
                  <a:pt x="1571" y="686"/>
                </a:cubicBezTo>
                <a:cubicBezTo>
                  <a:pt x="1577" y="693"/>
                  <a:pt x="1585" y="701"/>
                  <a:pt x="1590" y="711"/>
                </a:cubicBezTo>
                <a:cubicBezTo>
                  <a:pt x="1603" y="731"/>
                  <a:pt x="1619" y="752"/>
                  <a:pt x="1631" y="779"/>
                </a:cubicBezTo>
                <a:cubicBezTo>
                  <a:pt x="1635" y="785"/>
                  <a:pt x="1638" y="792"/>
                  <a:pt x="1642" y="799"/>
                </a:cubicBezTo>
                <a:cubicBezTo>
                  <a:pt x="1647" y="808"/>
                  <a:pt x="1647" y="808"/>
                  <a:pt x="1647" y="808"/>
                </a:cubicBezTo>
                <a:cubicBezTo>
                  <a:pt x="1651" y="819"/>
                  <a:pt x="1651" y="819"/>
                  <a:pt x="1651" y="819"/>
                </a:cubicBezTo>
                <a:cubicBezTo>
                  <a:pt x="1657" y="833"/>
                  <a:pt x="1663" y="847"/>
                  <a:pt x="1669" y="862"/>
                </a:cubicBezTo>
                <a:cubicBezTo>
                  <a:pt x="1674" y="876"/>
                  <a:pt x="1677" y="891"/>
                  <a:pt x="1682" y="906"/>
                </a:cubicBezTo>
                <a:cubicBezTo>
                  <a:pt x="1684" y="913"/>
                  <a:pt x="1687" y="920"/>
                  <a:pt x="1688" y="928"/>
                </a:cubicBezTo>
                <a:cubicBezTo>
                  <a:pt x="1689" y="935"/>
                  <a:pt x="1691" y="942"/>
                  <a:pt x="1692" y="949"/>
                </a:cubicBezTo>
                <a:cubicBezTo>
                  <a:pt x="1694" y="964"/>
                  <a:pt x="1698" y="977"/>
                  <a:pt x="1699" y="991"/>
                </a:cubicBezTo>
                <a:cubicBezTo>
                  <a:pt x="1700" y="1004"/>
                  <a:pt x="1702" y="1017"/>
                  <a:pt x="1703" y="1028"/>
                </a:cubicBezTo>
                <a:cubicBezTo>
                  <a:pt x="1703" y="1034"/>
                  <a:pt x="1704" y="1039"/>
                  <a:pt x="1704" y="1045"/>
                </a:cubicBezTo>
                <a:cubicBezTo>
                  <a:pt x="1704" y="1050"/>
                  <a:pt x="1704" y="1055"/>
                  <a:pt x="1704" y="1060"/>
                </a:cubicBezTo>
                <a:cubicBezTo>
                  <a:pt x="1704" y="1069"/>
                  <a:pt x="1704" y="1078"/>
                  <a:pt x="1704" y="1084"/>
                </a:cubicBezTo>
                <a:cubicBezTo>
                  <a:pt x="1704" y="1098"/>
                  <a:pt x="1704" y="1106"/>
                  <a:pt x="1704" y="1106"/>
                </a:cubicBezTo>
                <a:cubicBezTo>
                  <a:pt x="1704" y="1106"/>
                  <a:pt x="1703" y="1113"/>
                  <a:pt x="1702" y="1127"/>
                </a:cubicBezTo>
                <a:cubicBezTo>
                  <a:pt x="1701" y="1134"/>
                  <a:pt x="1700" y="1142"/>
                  <a:pt x="1699" y="1151"/>
                </a:cubicBezTo>
                <a:cubicBezTo>
                  <a:pt x="1699" y="1156"/>
                  <a:pt x="1698" y="1161"/>
                  <a:pt x="1698" y="1166"/>
                </a:cubicBezTo>
                <a:cubicBezTo>
                  <a:pt x="1697" y="1172"/>
                  <a:pt x="1696" y="1177"/>
                  <a:pt x="1695" y="1183"/>
                </a:cubicBezTo>
                <a:cubicBezTo>
                  <a:pt x="1692" y="1194"/>
                  <a:pt x="1690" y="1206"/>
                  <a:pt x="1687" y="1220"/>
                </a:cubicBezTo>
                <a:cubicBezTo>
                  <a:pt x="1685" y="1233"/>
                  <a:pt x="1680" y="1246"/>
                  <a:pt x="1676" y="1260"/>
                </a:cubicBezTo>
                <a:cubicBezTo>
                  <a:pt x="1674" y="1267"/>
                  <a:pt x="1672" y="1274"/>
                  <a:pt x="1670" y="1281"/>
                </a:cubicBezTo>
                <a:cubicBezTo>
                  <a:pt x="1667" y="1288"/>
                  <a:pt x="1664" y="1295"/>
                  <a:pt x="1661" y="1302"/>
                </a:cubicBezTo>
                <a:cubicBezTo>
                  <a:pt x="1655" y="1316"/>
                  <a:pt x="1650" y="1331"/>
                  <a:pt x="1643" y="1345"/>
                </a:cubicBezTo>
                <a:cubicBezTo>
                  <a:pt x="1636" y="1358"/>
                  <a:pt x="1629" y="1372"/>
                  <a:pt x="1622" y="1385"/>
                </a:cubicBezTo>
                <a:cubicBezTo>
                  <a:pt x="1617" y="1395"/>
                  <a:pt x="1617" y="1395"/>
                  <a:pt x="1617" y="1395"/>
                </a:cubicBezTo>
                <a:cubicBezTo>
                  <a:pt x="1610" y="1405"/>
                  <a:pt x="1610" y="1405"/>
                  <a:pt x="1610" y="1405"/>
                </a:cubicBezTo>
                <a:cubicBezTo>
                  <a:pt x="1606" y="1411"/>
                  <a:pt x="1602" y="1417"/>
                  <a:pt x="1598" y="1423"/>
                </a:cubicBezTo>
                <a:cubicBezTo>
                  <a:pt x="1583" y="1448"/>
                  <a:pt x="1564" y="1468"/>
                  <a:pt x="1550" y="1486"/>
                </a:cubicBezTo>
                <a:cubicBezTo>
                  <a:pt x="1543" y="1496"/>
                  <a:pt x="1535" y="1503"/>
                  <a:pt x="1529" y="1509"/>
                </a:cubicBezTo>
                <a:cubicBezTo>
                  <a:pt x="1522" y="1516"/>
                  <a:pt x="1516" y="1522"/>
                  <a:pt x="1511" y="1527"/>
                </a:cubicBezTo>
                <a:cubicBezTo>
                  <a:pt x="1502" y="1537"/>
                  <a:pt x="1496" y="1542"/>
                  <a:pt x="1496" y="1542"/>
                </a:cubicBezTo>
                <a:cubicBezTo>
                  <a:pt x="1496" y="1542"/>
                  <a:pt x="1490" y="1547"/>
                  <a:pt x="1479" y="1555"/>
                </a:cubicBezTo>
                <a:cubicBezTo>
                  <a:pt x="1474" y="1560"/>
                  <a:pt x="1468" y="1565"/>
                  <a:pt x="1460" y="1571"/>
                </a:cubicBezTo>
                <a:cubicBezTo>
                  <a:pt x="1453" y="1577"/>
                  <a:pt x="1445" y="1584"/>
                  <a:pt x="1435" y="1590"/>
                </a:cubicBezTo>
                <a:cubicBezTo>
                  <a:pt x="1415" y="1602"/>
                  <a:pt x="1394" y="1619"/>
                  <a:pt x="1367" y="1631"/>
                </a:cubicBezTo>
                <a:cubicBezTo>
                  <a:pt x="1361" y="1634"/>
                  <a:pt x="1354" y="1638"/>
                  <a:pt x="1348" y="1641"/>
                </a:cubicBezTo>
                <a:cubicBezTo>
                  <a:pt x="1338" y="1647"/>
                  <a:pt x="1338" y="1647"/>
                  <a:pt x="1338" y="1647"/>
                </a:cubicBezTo>
                <a:cubicBezTo>
                  <a:pt x="1327" y="1651"/>
                  <a:pt x="1327" y="1651"/>
                  <a:pt x="1327" y="1651"/>
                </a:cubicBezTo>
                <a:cubicBezTo>
                  <a:pt x="1313" y="1656"/>
                  <a:pt x="1299" y="1662"/>
                  <a:pt x="1285" y="1668"/>
                </a:cubicBezTo>
                <a:cubicBezTo>
                  <a:pt x="1270" y="1673"/>
                  <a:pt x="1255" y="1677"/>
                  <a:pt x="1240" y="1681"/>
                </a:cubicBezTo>
                <a:cubicBezTo>
                  <a:pt x="1233" y="1683"/>
                  <a:pt x="1226" y="1686"/>
                  <a:pt x="1219" y="1688"/>
                </a:cubicBezTo>
                <a:cubicBezTo>
                  <a:pt x="1211" y="1689"/>
                  <a:pt x="1204" y="1690"/>
                  <a:pt x="1197" y="1692"/>
                </a:cubicBezTo>
                <a:cubicBezTo>
                  <a:pt x="1182" y="1694"/>
                  <a:pt x="1169" y="1698"/>
                  <a:pt x="1156" y="1699"/>
                </a:cubicBezTo>
                <a:cubicBezTo>
                  <a:pt x="1142" y="1700"/>
                  <a:pt x="1130" y="1701"/>
                  <a:pt x="1118" y="1702"/>
                </a:cubicBezTo>
                <a:cubicBezTo>
                  <a:pt x="1112" y="1703"/>
                  <a:pt x="1107" y="1703"/>
                  <a:pt x="1102" y="1704"/>
                </a:cubicBezTo>
                <a:cubicBezTo>
                  <a:pt x="1096" y="1704"/>
                  <a:pt x="1091" y="1704"/>
                  <a:pt x="1086" y="1704"/>
                </a:cubicBezTo>
                <a:cubicBezTo>
                  <a:pt x="1077" y="1704"/>
                  <a:pt x="1069" y="1704"/>
                  <a:pt x="1062" y="1704"/>
                </a:cubicBezTo>
                <a:cubicBezTo>
                  <a:pt x="1048" y="1704"/>
                  <a:pt x="1041" y="1704"/>
                  <a:pt x="1041" y="1704"/>
                </a:cubicBezTo>
                <a:close/>
              </a:path>
            </a:pathLst>
          </a:custGeom>
          <a:solidFill>
            <a:schemeClr val="bg1"/>
          </a:solidFill>
          <a:ln w="25400">
            <a:solidFill>
              <a:schemeClr val="accent5"/>
            </a:solidFill>
          </a:ln>
          <a:effectLst/>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7" name="Freeform 40"/>
          <p:cNvSpPr>
            <a:spLocks noEditPoints="1"/>
          </p:cNvSpPr>
          <p:nvPr/>
        </p:nvSpPr>
        <p:spPr bwMode="auto">
          <a:xfrm>
            <a:off x="7519988" y="4677802"/>
            <a:ext cx="1128713" cy="1127125"/>
          </a:xfrm>
          <a:custGeom>
            <a:avLst/>
            <a:gdLst>
              <a:gd name="T0" fmla="*/ 1747 w 2789"/>
              <a:gd name="T1" fmla="*/ 2719 h 2787"/>
              <a:gd name="T2" fmla="*/ 1819 w 2789"/>
              <a:gd name="T3" fmla="*/ 2487 h 2787"/>
              <a:gd name="T4" fmla="*/ 2024 w 2789"/>
              <a:gd name="T5" fmla="*/ 2383 h 2787"/>
              <a:gd name="T6" fmla="*/ 2243 w 2789"/>
              <a:gd name="T7" fmla="*/ 2437 h 2787"/>
              <a:gd name="T8" fmla="*/ 2428 w 2789"/>
              <a:gd name="T9" fmla="*/ 2336 h 2787"/>
              <a:gd name="T10" fmla="*/ 2381 w 2789"/>
              <a:gd name="T11" fmla="*/ 2029 h 2787"/>
              <a:gd name="T12" fmla="*/ 2469 w 2789"/>
              <a:gd name="T13" fmla="*/ 1863 h 2787"/>
              <a:gd name="T14" fmla="*/ 2628 w 2789"/>
              <a:gd name="T15" fmla="*/ 1754 h 2787"/>
              <a:gd name="T16" fmla="*/ 2777 w 2789"/>
              <a:gd name="T17" fmla="*/ 1605 h 2787"/>
              <a:gd name="T18" fmla="*/ 2594 w 2789"/>
              <a:gd name="T19" fmla="*/ 1372 h 2787"/>
              <a:gd name="T20" fmla="*/ 2552 w 2789"/>
              <a:gd name="T21" fmla="*/ 1204 h 2787"/>
              <a:gd name="T22" fmla="*/ 2538 w 2789"/>
              <a:gd name="T23" fmla="*/ 1031 h 2787"/>
              <a:gd name="T24" fmla="*/ 2662 w 2789"/>
              <a:gd name="T25" fmla="*/ 802 h 2787"/>
              <a:gd name="T26" fmla="*/ 2516 w 2789"/>
              <a:gd name="T27" fmla="*/ 651 h 2787"/>
              <a:gd name="T28" fmla="*/ 2263 w 2789"/>
              <a:gd name="T29" fmla="*/ 605 h 2787"/>
              <a:gd name="T30" fmla="*/ 2141 w 2789"/>
              <a:gd name="T31" fmla="*/ 489 h 2787"/>
              <a:gd name="T32" fmla="*/ 2095 w 2789"/>
              <a:gd name="T33" fmla="*/ 183 h 2787"/>
              <a:gd name="T34" fmla="*/ 1889 w 2789"/>
              <a:gd name="T35" fmla="*/ 115 h 2787"/>
              <a:gd name="T36" fmla="*/ 1694 w 2789"/>
              <a:gd name="T37" fmla="*/ 260 h 2787"/>
              <a:gd name="T38" fmla="*/ 1552 w 2789"/>
              <a:gd name="T39" fmla="*/ 232 h 2787"/>
              <a:gd name="T40" fmla="*/ 1304 w 2789"/>
              <a:gd name="T41" fmla="*/ 25 h 2787"/>
              <a:gd name="T42" fmla="*/ 1087 w 2789"/>
              <a:gd name="T43" fmla="*/ 29 h 2787"/>
              <a:gd name="T44" fmla="*/ 1003 w 2789"/>
              <a:gd name="T45" fmla="*/ 259 h 2787"/>
              <a:gd name="T46" fmla="*/ 802 w 2789"/>
              <a:gd name="T47" fmla="*/ 382 h 2787"/>
              <a:gd name="T48" fmla="*/ 609 w 2789"/>
              <a:gd name="T49" fmla="*/ 376 h 2787"/>
              <a:gd name="T50" fmla="*/ 400 w 2789"/>
              <a:gd name="T51" fmla="*/ 410 h 2787"/>
              <a:gd name="T52" fmla="*/ 412 w 2789"/>
              <a:gd name="T53" fmla="*/ 706 h 2787"/>
              <a:gd name="T54" fmla="*/ 338 w 2789"/>
              <a:gd name="T55" fmla="*/ 885 h 2787"/>
              <a:gd name="T56" fmla="*/ 227 w 2789"/>
              <a:gd name="T57" fmla="*/ 1020 h 2787"/>
              <a:gd name="T58" fmla="*/ 22 w 2789"/>
              <a:gd name="T59" fmla="*/ 1127 h 2787"/>
              <a:gd name="T60" fmla="*/ 109 w 2789"/>
              <a:gd name="T61" fmla="*/ 1370 h 2787"/>
              <a:gd name="T62" fmla="*/ 235 w 2789"/>
              <a:gd name="T63" fmla="*/ 1564 h 2787"/>
              <a:gd name="T64" fmla="*/ 264 w 2789"/>
              <a:gd name="T65" fmla="*/ 1706 h 2787"/>
              <a:gd name="T66" fmla="*/ 117 w 2789"/>
              <a:gd name="T67" fmla="*/ 1961 h 2787"/>
              <a:gd name="T68" fmla="*/ 243 w 2789"/>
              <a:gd name="T69" fmla="*/ 2137 h 2787"/>
              <a:gd name="T70" fmla="*/ 499 w 2789"/>
              <a:gd name="T71" fmla="*/ 2150 h 2787"/>
              <a:gd name="T72" fmla="*/ 616 w 2789"/>
              <a:gd name="T73" fmla="*/ 2270 h 2787"/>
              <a:gd name="T74" fmla="*/ 664 w 2789"/>
              <a:gd name="T75" fmla="*/ 2554 h 2787"/>
              <a:gd name="T76" fmla="*/ 842 w 2789"/>
              <a:gd name="T77" fmla="*/ 2678 h 2787"/>
              <a:gd name="T78" fmla="*/ 1045 w 2789"/>
              <a:gd name="T79" fmla="*/ 2541 h 2787"/>
              <a:gd name="T80" fmla="*/ 1218 w 2789"/>
              <a:gd name="T81" fmla="*/ 2553 h 2787"/>
              <a:gd name="T82" fmla="*/ 1433 w 2789"/>
              <a:gd name="T83" fmla="*/ 2679 h 2787"/>
              <a:gd name="T84" fmla="*/ 1313 w 2789"/>
              <a:gd name="T85" fmla="*/ 2269 h 2787"/>
              <a:gd name="T86" fmla="*/ 1178 w 2789"/>
              <a:gd name="T87" fmla="*/ 2245 h 2787"/>
              <a:gd name="T88" fmla="*/ 777 w 2789"/>
              <a:gd name="T89" fmla="*/ 2019 h 2787"/>
              <a:gd name="T90" fmla="*/ 545 w 2789"/>
              <a:gd name="T91" fmla="*/ 1620 h 2787"/>
              <a:gd name="T92" fmla="*/ 520 w 2789"/>
              <a:gd name="T93" fmla="*/ 1485 h 2787"/>
              <a:gd name="T94" fmla="*/ 599 w 2789"/>
              <a:gd name="T95" fmla="*/ 1020 h 2787"/>
              <a:gd name="T96" fmla="*/ 770 w 2789"/>
              <a:gd name="T97" fmla="*/ 775 h 2787"/>
              <a:gd name="T98" fmla="*/ 1070 w 2789"/>
              <a:gd name="T99" fmla="*/ 576 h 2787"/>
              <a:gd name="T100" fmla="*/ 1527 w 2789"/>
              <a:gd name="T101" fmla="*/ 524 h 2787"/>
              <a:gd name="T102" fmla="*/ 1949 w 2789"/>
              <a:gd name="T103" fmla="*/ 711 h 2787"/>
              <a:gd name="T104" fmla="*/ 2048 w 2789"/>
              <a:gd name="T105" fmla="*/ 805 h 2787"/>
              <a:gd name="T106" fmla="*/ 2258 w 2789"/>
              <a:gd name="T107" fmla="*/ 1228 h 2787"/>
              <a:gd name="T108" fmla="*/ 2264 w 2789"/>
              <a:gd name="T109" fmla="*/ 1526 h 2787"/>
              <a:gd name="T110" fmla="*/ 2169 w 2789"/>
              <a:gd name="T111" fmla="*/ 1810 h 2787"/>
              <a:gd name="T112" fmla="*/ 1819 w 2789"/>
              <a:gd name="T113" fmla="*/ 2163 h 2787"/>
              <a:gd name="T114" fmla="*/ 1348 w 2789"/>
              <a:gd name="T115" fmla="*/ 2271 h 2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89" h="2787">
                <a:moveTo>
                  <a:pt x="1565" y="2782"/>
                </a:moveTo>
                <a:cubicBezTo>
                  <a:pt x="1581" y="2780"/>
                  <a:pt x="1601" y="2777"/>
                  <a:pt x="1621" y="2774"/>
                </a:cubicBezTo>
                <a:cubicBezTo>
                  <a:pt x="1642" y="2771"/>
                  <a:pt x="1662" y="2766"/>
                  <a:pt x="1677" y="2763"/>
                </a:cubicBezTo>
                <a:cubicBezTo>
                  <a:pt x="1692" y="2760"/>
                  <a:pt x="1702" y="2758"/>
                  <a:pt x="1702" y="2758"/>
                </a:cubicBezTo>
                <a:cubicBezTo>
                  <a:pt x="1724" y="2753"/>
                  <a:pt x="1742" y="2737"/>
                  <a:pt x="1747" y="2719"/>
                </a:cubicBezTo>
                <a:cubicBezTo>
                  <a:pt x="1747" y="2719"/>
                  <a:pt x="1750" y="2707"/>
                  <a:pt x="1755" y="2689"/>
                </a:cubicBezTo>
                <a:cubicBezTo>
                  <a:pt x="1759" y="2671"/>
                  <a:pt x="1765" y="2647"/>
                  <a:pt x="1770" y="2623"/>
                </a:cubicBezTo>
                <a:cubicBezTo>
                  <a:pt x="1775" y="2599"/>
                  <a:pt x="1779" y="2575"/>
                  <a:pt x="1782" y="2558"/>
                </a:cubicBezTo>
                <a:cubicBezTo>
                  <a:pt x="1785" y="2540"/>
                  <a:pt x="1786" y="2528"/>
                  <a:pt x="1786" y="2528"/>
                </a:cubicBezTo>
                <a:cubicBezTo>
                  <a:pt x="1789" y="2509"/>
                  <a:pt x="1801" y="2493"/>
                  <a:pt x="1819" y="2487"/>
                </a:cubicBezTo>
                <a:cubicBezTo>
                  <a:pt x="1819" y="2487"/>
                  <a:pt x="1826" y="2484"/>
                  <a:pt x="1837" y="2479"/>
                </a:cubicBezTo>
                <a:cubicBezTo>
                  <a:pt x="1848" y="2475"/>
                  <a:pt x="1862" y="2469"/>
                  <a:pt x="1877" y="2463"/>
                </a:cubicBezTo>
                <a:cubicBezTo>
                  <a:pt x="1905" y="2449"/>
                  <a:pt x="1933" y="2435"/>
                  <a:pt x="1933" y="2435"/>
                </a:cubicBezTo>
                <a:cubicBezTo>
                  <a:pt x="1933" y="2435"/>
                  <a:pt x="1960" y="2420"/>
                  <a:pt x="1988" y="2405"/>
                </a:cubicBezTo>
                <a:cubicBezTo>
                  <a:pt x="2001" y="2397"/>
                  <a:pt x="2014" y="2389"/>
                  <a:pt x="2024" y="2383"/>
                </a:cubicBezTo>
                <a:cubicBezTo>
                  <a:pt x="2035" y="2377"/>
                  <a:pt x="2041" y="2372"/>
                  <a:pt x="2041" y="2372"/>
                </a:cubicBezTo>
                <a:cubicBezTo>
                  <a:pt x="2056" y="2361"/>
                  <a:pt x="2077" y="2360"/>
                  <a:pt x="2093" y="2369"/>
                </a:cubicBezTo>
                <a:cubicBezTo>
                  <a:pt x="2093" y="2369"/>
                  <a:pt x="2104" y="2375"/>
                  <a:pt x="2120" y="2383"/>
                </a:cubicBezTo>
                <a:cubicBezTo>
                  <a:pt x="2136" y="2391"/>
                  <a:pt x="2158" y="2401"/>
                  <a:pt x="2181" y="2411"/>
                </a:cubicBezTo>
                <a:cubicBezTo>
                  <a:pt x="2203" y="2421"/>
                  <a:pt x="2226" y="2430"/>
                  <a:pt x="2243" y="2437"/>
                </a:cubicBezTo>
                <a:cubicBezTo>
                  <a:pt x="2261" y="2443"/>
                  <a:pt x="2272" y="2448"/>
                  <a:pt x="2272" y="2448"/>
                </a:cubicBezTo>
                <a:cubicBezTo>
                  <a:pt x="2290" y="2454"/>
                  <a:pt x="2313" y="2449"/>
                  <a:pt x="2330" y="2434"/>
                </a:cubicBezTo>
                <a:cubicBezTo>
                  <a:pt x="2330" y="2434"/>
                  <a:pt x="2337" y="2427"/>
                  <a:pt x="2349" y="2416"/>
                </a:cubicBezTo>
                <a:cubicBezTo>
                  <a:pt x="2360" y="2406"/>
                  <a:pt x="2375" y="2392"/>
                  <a:pt x="2389" y="2377"/>
                </a:cubicBezTo>
                <a:cubicBezTo>
                  <a:pt x="2404" y="2362"/>
                  <a:pt x="2418" y="2348"/>
                  <a:pt x="2428" y="2336"/>
                </a:cubicBezTo>
                <a:cubicBezTo>
                  <a:pt x="2439" y="2324"/>
                  <a:pt x="2445" y="2317"/>
                  <a:pt x="2445" y="2317"/>
                </a:cubicBezTo>
                <a:cubicBezTo>
                  <a:pt x="2460" y="2300"/>
                  <a:pt x="2466" y="2277"/>
                  <a:pt x="2459" y="2259"/>
                </a:cubicBezTo>
                <a:cubicBezTo>
                  <a:pt x="2459" y="2259"/>
                  <a:pt x="2441" y="2212"/>
                  <a:pt x="2421" y="2168"/>
                </a:cubicBezTo>
                <a:cubicBezTo>
                  <a:pt x="2401" y="2123"/>
                  <a:pt x="2378" y="2081"/>
                  <a:pt x="2378" y="2081"/>
                </a:cubicBezTo>
                <a:cubicBezTo>
                  <a:pt x="2370" y="2065"/>
                  <a:pt x="2370" y="2045"/>
                  <a:pt x="2381" y="2029"/>
                </a:cubicBezTo>
                <a:cubicBezTo>
                  <a:pt x="2381" y="2029"/>
                  <a:pt x="2398" y="2003"/>
                  <a:pt x="2413" y="1975"/>
                </a:cubicBezTo>
                <a:cubicBezTo>
                  <a:pt x="2421" y="1962"/>
                  <a:pt x="2428" y="1948"/>
                  <a:pt x="2434" y="1937"/>
                </a:cubicBezTo>
                <a:cubicBezTo>
                  <a:pt x="2439" y="1927"/>
                  <a:pt x="2443" y="1920"/>
                  <a:pt x="2443" y="1920"/>
                </a:cubicBezTo>
                <a:cubicBezTo>
                  <a:pt x="2443" y="1920"/>
                  <a:pt x="2446" y="1913"/>
                  <a:pt x="2451" y="1903"/>
                </a:cubicBezTo>
                <a:cubicBezTo>
                  <a:pt x="2456" y="1892"/>
                  <a:pt x="2463" y="1878"/>
                  <a:pt x="2469" y="1863"/>
                </a:cubicBezTo>
                <a:cubicBezTo>
                  <a:pt x="2476" y="1849"/>
                  <a:pt x="2481" y="1834"/>
                  <a:pt x="2486" y="1824"/>
                </a:cubicBezTo>
                <a:cubicBezTo>
                  <a:pt x="2490" y="1813"/>
                  <a:pt x="2493" y="1805"/>
                  <a:pt x="2493" y="1805"/>
                </a:cubicBezTo>
                <a:cubicBezTo>
                  <a:pt x="2499" y="1788"/>
                  <a:pt x="2515" y="1775"/>
                  <a:pt x="2533" y="1772"/>
                </a:cubicBezTo>
                <a:cubicBezTo>
                  <a:pt x="2533" y="1772"/>
                  <a:pt x="2545" y="1770"/>
                  <a:pt x="2563" y="1767"/>
                </a:cubicBezTo>
                <a:cubicBezTo>
                  <a:pt x="2581" y="1764"/>
                  <a:pt x="2605" y="1760"/>
                  <a:pt x="2628" y="1754"/>
                </a:cubicBezTo>
                <a:cubicBezTo>
                  <a:pt x="2652" y="1749"/>
                  <a:pt x="2676" y="1743"/>
                  <a:pt x="2694" y="1739"/>
                </a:cubicBezTo>
                <a:cubicBezTo>
                  <a:pt x="2712" y="1734"/>
                  <a:pt x="2724" y="1730"/>
                  <a:pt x="2724" y="1730"/>
                </a:cubicBezTo>
                <a:cubicBezTo>
                  <a:pt x="2742" y="1725"/>
                  <a:pt x="2758" y="1708"/>
                  <a:pt x="2763" y="1686"/>
                </a:cubicBezTo>
                <a:cubicBezTo>
                  <a:pt x="2763" y="1686"/>
                  <a:pt x="2765" y="1675"/>
                  <a:pt x="2767" y="1660"/>
                </a:cubicBezTo>
                <a:cubicBezTo>
                  <a:pt x="2770" y="1645"/>
                  <a:pt x="2775" y="1625"/>
                  <a:pt x="2777" y="1605"/>
                </a:cubicBezTo>
                <a:cubicBezTo>
                  <a:pt x="2780" y="1584"/>
                  <a:pt x="2783" y="1564"/>
                  <a:pt x="2785" y="1549"/>
                </a:cubicBezTo>
                <a:cubicBezTo>
                  <a:pt x="2786" y="1533"/>
                  <a:pt x="2787" y="1523"/>
                  <a:pt x="2787" y="1523"/>
                </a:cubicBezTo>
                <a:cubicBezTo>
                  <a:pt x="2789" y="1501"/>
                  <a:pt x="2781" y="1480"/>
                  <a:pt x="2764" y="1469"/>
                </a:cubicBezTo>
                <a:cubicBezTo>
                  <a:pt x="2764" y="1469"/>
                  <a:pt x="2723" y="1441"/>
                  <a:pt x="2680" y="1417"/>
                </a:cubicBezTo>
                <a:cubicBezTo>
                  <a:pt x="2638" y="1393"/>
                  <a:pt x="2594" y="1372"/>
                  <a:pt x="2594" y="1372"/>
                </a:cubicBezTo>
                <a:cubicBezTo>
                  <a:pt x="2578" y="1364"/>
                  <a:pt x="2567" y="1347"/>
                  <a:pt x="2566" y="1328"/>
                </a:cubicBezTo>
                <a:cubicBezTo>
                  <a:pt x="2566" y="1328"/>
                  <a:pt x="2565" y="1320"/>
                  <a:pt x="2565" y="1308"/>
                </a:cubicBezTo>
                <a:cubicBezTo>
                  <a:pt x="2564" y="1297"/>
                  <a:pt x="2562" y="1281"/>
                  <a:pt x="2561" y="1266"/>
                </a:cubicBezTo>
                <a:cubicBezTo>
                  <a:pt x="2559" y="1250"/>
                  <a:pt x="2557" y="1235"/>
                  <a:pt x="2555" y="1223"/>
                </a:cubicBezTo>
                <a:cubicBezTo>
                  <a:pt x="2553" y="1211"/>
                  <a:pt x="2552" y="1204"/>
                  <a:pt x="2552" y="1204"/>
                </a:cubicBezTo>
                <a:cubicBezTo>
                  <a:pt x="2552" y="1204"/>
                  <a:pt x="2551" y="1196"/>
                  <a:pt x="2549" y="1184"/>
                </a:cubicBezTo>
                <a:cubicBezTo>
                  <a:pt x="2547" y="1173"/>
                  <a:pt x="2543" y="1157"/>
                  <a:pt x="2540" y="1142"/>
                </a:cubicBezTo>
                <a:cubicBezTo>
                  <a:pt x="2537" y="1127"/>
                  <a:pt x="2533" y="1112"/>
                  <a:pt x="2530" y="1100"/>
                </a:cubicBezTo>
                <a:cubicBezTo>
                  <a:pt x="2527" y="1089"/>
                  <a:pt x="2525" y="1081"/>
                  <a:pt x="2525" y="1081"/>
                </a:cubicBezTo>
                <a:cubicBezTo>
                  <a:pt x="2520" y="1063"/>
                  <a:pt x="2525" y="1044"/>
                  <a:pt x="2538" y="1031"/>
                </a:cubicBezTo>
                <a:cubicBezTo>
                  <a:pt x="2538" y="1031"/>
                  <a:pt x="2573" y="997"/>
                  <a:pt x="2605" y="960"/>
                </a:cubicBezTo>
                <a:cubicBezTo>
                  <a:pt x="2621" y="942"/>
                  <a:pt x="2637" y="923"/>
                  <a:pt x="2649" y="909"/>
                </a:cubicBezTo>
                <a:cubicBezTo>
                  <a:pt x="2661" y="894"/>
                  <a:pt x="2668" y="884"/>
                  <a:pt x="2668" y="884"/>
                </a:cubicBezTo>
                <a:cubicBezTo>
                  <a:pt x="2680" y="869"/>
                  <a:pt x="2682" y="846"/>
                  <a:pt x="2673" y="826"/>
                </a:cubicBezTo>
                <a:cubicBezTo>
                  <a:pt x="2673" y="826"/>
                  <a:pt x="2669" y="816"/>
                  <a:pt x="2662" y="802"/>
                </a:cubicBezTo>
                <a:cubicBezTo>
                  <a:pt x="2655" y="789"/>
                  <a:pt x="2646" y="770"/>
                  <a:pt x="2637" y="752"/>
                </a:cubicBezTo>
                <a:cubicBezTo>
                  <a:pt x="2628" y="734"/>
                  <a:pt x="2618" y="716"/>
                  <a:pt x="2610" y="702"/>
                </a:cubicBezTo>
                <a:cubicBezTo>
                  <a:pt x="2603" y="689"/>
                  <a:pt x="2598" y="680"/>
                  <a:pt x="2598" y="680"/>
                </a:cubicBezTo>
                <a:cubicBezTo>
                  <a:pt x="2586" y="661"/>
                  <a:pt x="2566" y="649"/>
                  <a:pt x="2547" y="650"/>
                </a:cubicBezTo>
                <a:cubicBezTo>
                  <a:pt x="2547" y="650"/>
                  <a:pt x="2535" y="650"/>
                  <a:pt x="2516" y="651"/>
                </a:cubicBezTo>
                <a:cubicBezTo>
                  <a:pt x="2497" y="653"/>
                  <a:pt x="2473" y="655"/>
                  <a:pt x="2449" y="657"/>
                </a:cubicBezTo>
                <a:cubicBezTo>
                  <a:pt x="2400" y="662"/>
                  <a:pt x="2353" y="671"/>
                  <a:pt x="2353" y="671"/>
                </a:cubicBezTo>
                <a:cubicBezTo>
                  <a:pt x="2334" y="674"/>
                  <a:pt x="2316" y="667"/>
                  <a:pt x="2304" y="652"/>
                </a:cubicBezTo>
                <a:cubicBezTo>
                  <a:pt x="2304" y="652"/>
                  <a:pt x="2299" y="646"/>
                  <a:pt x="2291" y="637"/>
                </a:cubicBezTo>
                <a:cubicBezTo>
                  <a:pt x="2283" y="629"/>
                  <a:pt x="2274" y="616"/>
                  <a:pt x="2263" y="605"/>
                </a:cubicBezTo>
                <a:cubicBezTo>
                  <a:pt x="2252" y="593"/>
                  <a:pt x="2241" y="582"/>
                  <a:pt x="2233" y="573"/>
                </a:cubicBezTo>
                <a:cubicBezTo>
                  <a:pt x="2225" y="565"/>
                  <a:pt x="2219" y="560"/>
                  <a:pt x="2219" y="560"/>
                </a:cubicBezTo>
                <a:cubicBezTo>
                  <a:pt x="2219" y="560"/>
                  <a:pt x="2214" y="554"/>
                  <a:pt x="2205" y="546"/>
                </a:cubicBezTo>
                <a:cubicBezTo>
                  <a:pt x="2197" y="538"/>
                  <a:pt x="2186" y="527"/>
                  <a:pt x="2174" y="517"/>
                </a:cubicBezTo>
                <a:cubicBezTo>
                  <a:pt x="2162" y="507"/>
                  <a:pt x="2150" y="496"/>
                  <a:pt x="2141" y="489"/>
                </a:cubicBezTo>
                <a:cubicBezTo>
                  <a:pt x="2132" y="481"/>
                  <a:pt x="2126" y="477"/>
                  <a:pt x="2126" y="477"/>
                </a:cubicBezTo>
                <a:cubicBezTo>
                  <a:pt x="2111" y="465"/>
                  <a:pt x="2104" y="446"/>
                  <a:pt x="2107" y="428"/>
                </a:cubicBezTo>
                <a:cubicBezTo>
                  <a:pt x="2107" y="428"/>
                  <a:pt x="2115" y="380"/>
                  <a:pt x="2119" y="331"/>
                </a:cubicBezTo>
                <a:cubicBezTo>
                  <a:pt x="2124" y="283"/>
                  <a:pt x="2126" y="233"/>
                  <a:pt x="2126" y="233"/>
                </a:cubicBezTo>
                <a:cubicBezTo>
                  <a:pt x="2127" y="214"/>
                  <a:pt x="2114" y="194"/>
                  <a:pt x="2095" y="183"/>
                </a:cubicBezTo>
                <a:cubicBezTo>
                  <a:pt x="2095" y="183"/>
                  <a:pt x="2086" y="178"/>
                  <a:pt x="2073" y="170"/>
                </a:cubicBezTo>
                <a:cubicBezTo>
                  <a:pt x="2059" y="163"/>
                  <a:pt x="2041" y="153"/>
                  <a:pt x="2023" y="144"/>
                </a:cubicBezTo>
                <a:cubicBezTo>
                  <a:pt x="2004" y="134"/>
                  <a:pt x="1986" y="126"/>
                  <a:pt x="1972" y="120"/>
                </a:cubicBezTo>
                <a:cubicBezTo>
                  <a:pt x="1958" y="113"/>
                  <a:pt x="1948" y="109"/>
                  <a:pt x="1948" y="109"/>
                </a:cubicBezTo>
                <a:cubicBezTo>
                  <a:pt x="1927" y="100"/>
                  <a:pt x="1904" y="103"/>
                  <a:pt x="1889" y="115"/>
                </a:cubicBezTo>
                <a:cubicBezTo>
                  <a:pt x="1889" y="115"/>
                  <a:pt x="1880" y="122"/>
                  <a:pt x="1866" y="134"/>
                </a:cubicBezTo>
                <a:cubicBezTo>
                  <a:pt x="1851" y="146"/>
                  <a:pt x="1833" y="162"/>
                  <a:pt x="1814" y="179"/>
                </a:cubicBezTo>
                <a:cubicBezTo>
                  <a:pt x="1796" y="195"/>
                  <a:pt x="1779" y="212"/>
                  <a:pt x="1766" y="224"/>
                </a:cubicBezTo>
                <a:cubicBezTo>
                  <a:pt x="1753" y="237"/>
                  <a:pt x="1745" y="246"/>
                  <a:pt x="1745" y="246"/>
                </a:cubicBezTo>
                <a:cubicBezTo>
                  <a:pt x="1732" y="260"/>
                  <a:pt x="1712" y="265"/>
                  <a:pt x="1694" y="260"/>
                </a:cubicBezTo>
                <a:cubicBezTo>
                  <a:pt x="1694" y="260"/>
                  <a:pt x="1687" y="258"/>
                  <a:pt x="1675" y="255"/>
                </a:cubicBezTo>
                <a:cubicBezTo>
                  <a:pt x="1664" y="253"/>
                  <a:pt x="1649" y="248"/>
                  <a:pt x="1633" y="245"/>
                </a:cubicBezTo>
                <a:cubicBezTo>
                  <a:pt x="1618" y="243"/>
                  <a:pt x="1603" y="240"/>
                  <a:pt x="1591" y="237"/>
                </a:cubicBezTo>
                <a:cubicBezTo>
                  <a:pt x="1580" y="235"/>
                  <a:pt x="1572" y="234"/>
                  <a:pt x="1572" y="234"/>
                </a:cubicBezTo>
                <a:cubicBezTo>
                  <a:pt x="1572" y="234"/>
                  <a:pt x="1564" y="233"/>
                  <a:pt x="1552" y="232"/>
                </a:cubicBezTo>
                <a:cubicBezTo>
                  <a:pt x="1541" y="230"/>
                  <a:pt x="1525" y="228"/>
                  <a:pt x="1510" y="227"/>
                </a:cubicBezTo>
                <a:cubicBezTo>
                  <a:pt x="1479" y="223"/>
                  <a:pt x="1447" y="222"/>
                  <a:pt x="1447" y="222"/>
                </a:cubicBezTo>
                <a:cubicBezTo>
                  <a:pt x="1429" y="221"/>
                  <a:pt x="1412" y="210"/>
                  <a:pt x="1403" y="194"/>
                </a:cubicBezTo>
                <a:cubicBezTo>
                  <a:pt x="1403" y="194"/>
                  <a:pt x="1382" y="151"/>
                  <a:pt x="1357" y="108"/>
                </a:cubicBezTo>
                <a:cubicBezTo>
                  <a:pt x="1332" y="66"/>
                  <a:pt x="1304" y="25"/>
                  <a:pt x="1304" y="25"/>
                </a:cubicBezTo>
                <a:cubicBezTo>
                  <a:pt x="1294" y="9"/>
                  <a:pt x="1272" y="0"/>
                  <a:pt x="1250" y="3"/>
                </a:cubicBezTo>
                <a:cubicBezTo>
                  <a:pt x="1250" y="3"/>
                  <a:pt x="1240" y="4"/>
                  <a:pt x="1224" y="5"/>
                </a:cubicBezTo>
                <a:cubicBezTo>
                  <a:pt x="1209" y="7"/>
                  <a:pt x="1189" y="10"/>
                  <a:pt x="1168" y="13"/>
                </a:cubicBezTo>
                <a:cubicBezTo>
                  <a:pt x="1148" y="16"/>
                  <a:pt x="1128" y="21"/>
                  <a:pt x="1113" y="24"/>
                </a:cubicBezTo>
                <a:cubicBezTo>
                  <a:pt x="1098" y="27"/>
                  <a:pt x="1087" y="29"/>
                  <a:pt x="1087" y="29"/>
                </a:cubicBezTo>
                <a:cubicBezTo>
                  <a:pt x="1065" y="34"/>
                  <a:pt x="1048" y="50"/>
                  <a:pt x="1043" y="68"/>
                </a:cubicBezTo>
                <a:cubicBezTo>
                  <a:pt x="1043" y="68"/>
                  <a:pt x="1040" y="80"/>
                  <a:pt x="1035" y="98"/>
                </a:cubicBezTo>
                <a:cubicBezTo>
                  <a:pt x="1030" y="116"/>
                  <a:pt x="1025" y="140"/>
                  <a:pt x="1020" y="164"/>
                </a:cubicBezTo>
                <a:cubicBezTo>
                  <a:pt x="1015" y="188"/>
                  <a:pt x="1011" y="212"/>
                  <a:pt x="1008" y="229"/>
                </a:cubicBezTo>
                <a:cubicBezTo>
                  <a:pt x="1005" y="247"/>
                  <a:pt x="1003" y="259"/>
                  <a:pt x="1003" y="259"/>
                </a:cubicBezTo>
                <a:cubicBezTo>
                  <a:pt x="1001" y="278"/>
                  <a:pt x="988" y="294"/>
                  <a:pt x="971" y="300"/>
                </a:cubicBezTo>
                <a:cubicBezTo>
                  <a:pt x="971" y="300"/>
                  <a:pt x="963" y="303"/>
                  <a:pt x="953" y="308"/>
                </a:cubicBezTo>
                <a:cubicBezTo>
                  <a:pt x="942" y="312"/>
                  <a:pt x="927" y="318"/>
                  <a:pt x="913" y="324"/>
                </a:cubicBezTo>
                <a:cubicBezTo>
                  <a:pt x="885" y="338"/>
                  <a:pt x="857" y="352"/>
                  <a:pt x="857" y="352"/>
                </a:cubicBezTo>
                <a:cubicBezTo>
                  <a:pt x="857" y="352"/>
                  <a:pt x="829" y="367"/>
                  <a:pt x="802" y="382"/>
                </a:cubicBezTo>
                <a:cubicBezTo>
                  <a:pt x="789" y="390"/>
                  <a:pt x="775" y="398"/>
                  <a:pt x="765" y="404"/>
                </a:cubicBezTo>
                <a:cubicBezTo>
                  <a:pt x="755" y="410"/>
                  <a:pt x="749" y="415"/>
                  <a:pt x="749" y="415"/>
                </a:cubicBezTo>
                <a:cubicBezTo>
                  <a:pt x="733" y="426"/>
                  <a:pt x="713" y="427"/>
                  <a:pt x="696" y="418"/>
                </a:cubicBezTo>
                <a:cubicBezTo>
                  <a:pt x="696" y="418"/>
                  <a:pt x="686" y="412"/>
                  <a:pt x="669" y="404"/>
                </a:cubicBezTo>
                <a:cubicBezTo>
                  <a:pt x="653" y="396"/>
                  <a:pt x="631" y="386"/>
                  <a:pt x="609" y="376"/>
                </a:cubicBezTo>
                <a:cubicBezTo>
                  <a:pt x="587" y="366"/>
                  <a:pt x="564" y="357"/>
                  <a:pt x="546" y="350"/>
                </a:cubicBezTo>
                <a:cubicBezTo>
                  <a:pt x="529" y="344"/>
                  <a:pt x="517" y="340"/>
                  <a:pt x="517" y="340"/>
                </a:cubicBezTo>
                <a:cubicBezTo>
                  <a:pt x="500" y="333"/>
                  <a:pt x="477" y="338"/>
                  <a:pt x="460" y="353"/>
                </a:cubicBezTo>
                <a:cubicBezTo>
                  <a:pt x="460" y="353"/>
                  <a:pt x="452" y="360"/>
                  <a:pt x="441" y="371"/>
                </a:cubicBezTo>
                <a:cubicBezTo>
                  <a:pt x="430" y="381"/>
                  <a:pt x="414" y="395"/>
                  <a:pt x="400" y="410"/>
                </a:cubicBezTo>
                <a:cubicBezTo>
                  <a:pt x="386" y="425"/>
                  <a:pt x="372" y="440"/>
                  <a:pt x="361" y="451"/>
                </a:cubicBezTo>
                <a:cubicBezTo>
                  <a:pt x="351" y="463"/>
                  <a:pt x="344" y="470"/>
                  <a:pt x="344" y="470"/>
                </a:cubicBezTo>
                <a:cubicBezTo>
                  <a:pt x="329" y="487"/>
                  <a:pt x="324" y="510"/>
                  <a:pt x="331" y="528"/>
                </a:cubicBezTo>
                <a:cubicBezTo>
                  <a:pt x="331" y="528"/>
                  <a:pt x="349" y="575"/>
                  <a:pt x="369" y="619"/>
                </a:cubicBezTo>
                <a:cubicBezTo>
                  <a:pt x="389" y="664"/>
                  <a:pt x="412" y="706"/>
                  <a:pt x="412" y="706"/>
                </a:cubicBezTo>
                <a:cubicBezTo>
                  <a:pt x="420" y="722"/>
                  <a:pt x="419" y="742"/>
                  <a:pt x="409" y="758"/>
                </a:cubicBezTo>
                <a:cubicBezTo>
                  <a:pt x="409" y="758"/>
                  <a:pt x="392" y="785"/>
                  <a:pt x="377" y="812"/>
                </a:cubicBezTo>
                <a:cubicBezTo>
                  <a:pt x="369" y="825"/>
                  <a:pt x="361" y="839"/>
                  <a:pt x="356" y="850"/>
                </a:cubicBezTo>
                <a:cubicBezTo>
                  <a:pt x="351" y="860"/>
                  <a:pt x="347" y="867"/>
                  <a:pt x="347" y="867"/>
                </a:cubicBezTo>
                <a:cubicBezTo>
                  <a:pt x="347" y="867"/>
                  <a:pt x="343" y="874"/>
                  <a:pt x="338" y="885"/>
                </a:cubicBezTo>
                <a:cubicBezTo>
                  <a:pt x="334" y="895"/>
                  <a:pt x="327" y="909"/>
                  <a:pt x="321" y="924"/>
                </a:cubicBezTo>
                <a:cubicBezTo>
                  <a:pt x="314" y="938"/>
                  <a:pt x="309" y="953"/>
                  <a:pt x="304" y="963"/>
                </a:cubicBezTo>
                <a:cubicBezTo>
                  <a:pt x="300" y="974"/>
                  <a:pt x="297" y="982"/>
                  <a:pt x="297" y="982"/>
                </a:cubicBezTo>
                <a:cubicBezTo>
                  <a:pt x="291" y="999"/>
                  <a:pt x="275" y="1012"/>
                  <a:pt x="257" y="1015"/>
                </a:cubicBezTo>
                <a:cubicBezTo>
                  <a:pt x="257" y="1015"/>
                  <a:pt x="245" y="1017"/>
                  <a:pt x="227" y="1020"/>
                </a:cubicBezTo>
                <a:cubicBezTo>
                  <a:pt x="209" y="1023"/>
                  <a:pt x="185" y="1027"/>
                  <a:pt x="161" y="1033"/>
                </a:cubicBezTo>
                <a:cubicBezTo>
                  <a:pt x="137" y="1038"/>
                  <a:pt x="113" y="1044"/>
                  <a:pt x="95" y="1048"/>
                </a:cubicBezTo>
                <a:cubicBezTo>
                  <a:pt x="77" y="1053"/>
                  <a:pt x="66" y="1057"/>
                  <a:pt x="66" y="1057"/>
                </a:cubicBezTo>
                <a:cubicBezTo>
                  <a:pt x="47" y="1062"/>
                  <a:pt x="32" y="1079"/>
                  <a:pt x="27" y="1101"/>
                </a:cubicBezTo>
                <a:cubicBezTo>
                  <a:pt x="27" y="1101"/>
                  <a:pt x="25" y="1112"/>
                  <a:pt x="22" y="1127"/>
                </a:cubicBezTo>
                <a:cubicBezTo>
                  <a:pt x="20" y="1142"/>
                  <a:pt x="15" y="1162"/>
                  <a:pt x="13" y="1182"/>
                </a:cubicBezTo>
                <a:cubicBezTo>
                  <a:pt x="10" y="1203"/>
                  <a:pt x="6" y="1223"/>
                  <a:pt x="5" y="1238"/>
                </a:cubicBezTo>
                <a:cubicBezTo>
                  <a:pt x="3" y="1254"/>
                  <a:pt x="2" y="1264"/>
                  <a:pt x="2" y="1264"/>
                </a:cubicBezTo>
                <a:cubicBezTo>
                  <a:pt x="0" y="1286"/>
                  <a:pt x="9" y="1308"/>
                  <a:pt x="26" y="1318"/>
                </a:cubicBezTo>
                <a:cubicBezTo>
                  <a:pt x="26" y="1318"/>
                  <a:pt x="67" y="1346"/>
                  <a:pt x="109" y="1370"/>
                </a:cubicBezTo>
                <a:cubicBezTo>
                  <a:pt x="152" y="1394"/>
                  <a:pt x="195" y="1415"/>
                  <a:pt x="195" y="1415"/>
                </a:cubicBezTo>
                <a:cubicBezTo>
                  <a:pt x="212" y="1423"/>
                  <a:pt x="223" y="1440"/>
                  <a:pt x="224" y="1459"/>
                </a:cubicBezTo>
                <a:cubicBezTo>
                  <a:pt x="224" y="1459"/>
                  <a:pt x="224" y="1467"/>
                  <a:pt x="225" y="1479"/>
                </a:cubicBezTo>
                <a:cubicBezTo>
                  <a:pt x="226" y="1490"/>
                  <a:pt x="228" y="1506"/>
                  <a:pt x="229" y="1521"/>
                </a:cubicBezTo>
                <a:cubicBezTo>
                  <a:pt x="230" y="1537"/>
                  <a:pt x="233" y="1553"/>
                  <a:pt x="235" y="1564"/>
                </a:cubicBezTo>
                <a:cubicBezTo>
                  <a:pt x="236" y="1576"/>
                  <a:pt x="238" y="1583"/>
                  <a:pt x="238" y="1583"/>
                </a:cubicBezTo>
                <a:cubicBezTo>
                  <a:pt x="238" y="1583"/>
                  <a:pt x="239" y="1591"/>
                  <a:pt x="241" y="1603"/>
                </a:cubicBezTo>
                <a:cubicBezTo>
                  <a:pt x="243" y="1614"/>
                  <a:pt x="246" y="1630"/>
                  <a:pt x="249" y="1645"/>
                </a:cubicBezTo>
                <a:cubicBezTo>
                  <a:pt x="252" y="1660"/>
                  <a:pt x="257" y="1675"/>
                  <a:pt x="259" y="1687"/>
                </a:cubicBezTo>
                <a:cubicBezTo>
                  <a:pt x="262" y="1698"/>
                  <a:pt x="264" y="1706"/>
                  <a:pt x="264" y="1706"/>
                </a:cubicBezTo>
                <a:cubicBezTo>
                  <a:pt x="269" y="1724"/>
                  <a:pt x="265" y="1743"/>
                  <a:pt x="251" y="1756"/>
                </a:cubicBezTo>
                <a:cubicBezTo>
                  <a:pt x="251" y="1756"/>
                  <a:pt x="217" y="1790"/>
                  <a:pt x="185" y="1827"/>
                </a:cubicBezTo>
                <a:cubicBezTo>
                  <a:pt x="168" y="1845"/>
                  <a:pt x="153" y="1864"/>
                  <a:pt x="141" y="1878"/>
                </a:cubicBezTo>
                <a:cubicBezTo>
                  <a:pt x="129" y="1893"/>
                  <a:pt x="121" y="1903"/>
                  <a:pt x="121" y="1903"/>
                </a:cubicBezTo>
                <a:cubicBezTo>
                  <a:pt x="110" y="1918"/>
                  <a:pt x="108" y="1941"/>
                  <a:pt x="117" y="1961"/>
                </a:cubicBezTo>
                <a:cubicBezTo>
                  <a:pt x="117" y="1961"/>
                  <a:pt x="121" y="1971"/>
                  <a:pt x="128" y="1985"/>
                </a:cubicBezTo>
                <a:cubicBezTo>
                  <a:pt x="134" y="1999"/>
                  <a:pt x="143" y="2017"/>
                  <a:pt x="152" y="2035"/>
                </a:cubicBezTo>
                <a:cubicBezTo>
                  <a:pt x="162" y="2053"/>
                  <a:pt x="172" y="2071"/>
                  <a:pt x="179" y="2085"/>
                </a:cubicBezTo>
                <a:cubicBezTo>
                  <a:pt x="187" y="2098"/>
                  <a:pt x="192" y="2107"/>
                  <a:pt x="192" y="2107"/>
                </a:cubicBezTo>
                <a:cubicBezTo>
                  <a:pt x="204" y="2126"/>
                  <a:pt x="224" y="2138"/>
                  <a:pt x="243" y="2137"/>
                </a:cubicBezTo>
                <a:cubicBezTo>
                  <a:pt x="243" y="2137"/>
                  <a:pt x="255" y="2137"/>
                  <a:pt x="274" y="2136"/>
                </a:cubicBezTo>
                <a:cubicBezTo>
                  <a:pt x="292" y="2134"/>
                  <a:pt x="317" y="2132"/>
                  <a:pt x="341" y="2130"/>
                </a:cubicBezTo>
                <a:cubicBezTo>
                  <a:pt x="389" y="2125"/>
                  <a:pt x="437" y="2116"/>
                  <a:pt x="437" y="2116"/>
                </a:cubicBezTo>
                <a:cubicBezTo>
                  <a:pt x="456" y="2113"/>
                  <a:pt x="474" y="2120"/>
                  <a:pt x="486" y="2135"/>
                </a:cubicBezTo>
                <a:cubicBezTo>
                  <a:pt x="486" y="2135"/>
                  <a:pt x="491" y="2141"/>
                  <a:pt x="499" y="2150"/>
                </a:cubicBezTo>
                <a:cubicBezTo>
                  <a:pt x="506" y="2159"/>
                  <a:pt x="516" y="2171"/>
                  <a:pt x="527" y="2182"/>
                </a:cubicBezTo>
                <a:cubicBezTo>
                  <a:pt x="538" y="2194"/>
                  <a:pt x="548" y="2205"/>
                  <a:pt x="556" y="2214"/>
                </a:cubicBezTo>
                <a:cubicBezTo>
                  <a:pt x="564" y="2222"/>
                  <a:pt x="570" y="2227"/>
                  <a:pt x="570" y="2227"/>
                </a:cubicBezTo>
                <a:cubicBezTo>
                  <a:pt x="570" y="2227"/>
                  <a:pt x="576" y="2233"/>
                  <a:pt x="584" y="2241"/>
                </a:cubicBezTo>
                <a:cubicBezTo>
                  <a:pt x="593" y="2249"/>
                  <a:pt x="604" y="2260"/>
                  <a:pt x="616" y="2270"/>
                </a:cubicBezTo>
                <a:cubicBezTo>
                  <a:pt x="628" y="2280"/>
                  <a:pt x="639" y="2291"/>
                  <a:pt x="648" y="2298"/>
                </a:cubicBezTo>
                <a:cubicBezTo>
                  <a:pt x="658" y="2306"/>
                  <a:pt x="664" y="2310"/>
                  <a:pt x="664" y="2310"/>
                </a:cubicBezTo>
                <a:cubicBezTo>
                  <a:pt x="679" y="2322"/>
                  <a:pt x="686" y="2341"/>
                  <a:pt x="683" y="2359"/>
                </a:cubicBezTo>
                <a:cubicBezTo>
                  <a:pt x="683" y="2359"/>
                  <a:pt x="675" y="2407"/>
                  <a:pt x="670" y="2456"/>
                </a:cubicBezTo>
                <a:cubicBezTo>
                  <a:pt x="666" y="2504"/>
                  <a:pt x="664" y="2554"/>
                  <a:pt x="664" y="2554"/>
                </a:cubicBezTo>
                <a:cubicBezTo>
                  <a:pt x="663" y="2573"/>
                  <a:pt x="675" y="2593"/>
                  <a:pt x="695" y="2604"/>
                </a:cubicBezTo>
                <a:cubicBezTo>
                  <a:pt x="695" y="2604"/>
                  <a:pt x="704" y="2609"/>
                  <a:pt x="717" y="2617"/>
                </a:cubicBezTo>
                <a:cubicBezTo>
                  <a:pt x="730" y="2625"/>
                  <a:pt x="749" y="2634"/>
                  <a:pt x="767" y="2643"/>
                </a:cubicBezTo>
                <a:cubicBezTo>
                  <a:pt x="785" y="2653"/>
                  <a:pt x="804" y="2661"/>
                  <a:pt x="818" y="2667"/>
                </a:cubicBezTo>
                <a:cubicBezTo>
                  <a:pt x="832" y="2674"/>
                  <a:pt x="842" y="2678"/>
                  <a:pt x="842" y="2678"/>
                </a:cubicBezTo>
                <a:cubicBezTo>
                  <a:pt x="862" y="2687"/>
                  <a:pt x="885" y="2684"/>
                  <a:pt x="900" y="2672"/>
                </a:cubicBezTo>
                <a:cubicBezTo>
                  <a:pt x="900" y="2672"/>
                  <a:pt x="910" y="2665"/>
                  <a:pt x="924" y="2653"/>
                </a:cubicBezTo>
                <a:cubicBezTo>
                  <a:pt x="938" y="2641"/>
                  <a:pt x="957" y="2625"/>
                  <a:pt x="975" y="2608"/>
                </a:cubicBezTo>
                <a:cubicBezTo>
                  <a:pt x="993" y="2592"/>
                  <a:pt x="1011" y="2575"/>
                  <a:pt x="1024" y="2563"/>
                </a:cubicBezTo>
                <a:cubicBezTo>
                  <a:pt x="1036" y="2550"/>
                  <a:pt x="1045" y="2541"/>
                  <a:pt x="1045" y="2541"/>
                </a:cubicBezTo>
                <a:cubicBezTo>
                  <a:pt x="1058" y="2527"/>
                  <a:pt x="1077" y="2522"/>
                  <a:pt x="1095" y="2527"/>
                </a:cubicBezTo>
                <a:cubicBezTo>
                  <a:pt x="1095" y="2527"/>
                  <a:pt x="1103" y="2529"/>
                  <a:pt x="1114" y="2532"/>
                </a:cubicBezTo>
                <a:cubicBezTo>
                  <a:pt x="1126" y="2534"/>
                  <a:pt x="1141" y="2539"/>
                  <a:pt x="1156" y="2542"/>
                </a:cubicBezTo>
                <a:cubicBezTo>
                  <a:pt x="1172" y="2545"/>
                  <a:pt x="1187" y="2547"/>
                  <a:pt x="1199" y="2550"/>
                </a:cubicBezTo>
                <a:cubicBezTo>
                  <a:pt x="1210" y="2552"/>
                  <a:pt x="1218" y="2553"/>
                  <a:pt x="1218" y="2553"/>
                </a:cubicBezTo>
                <a:cubicBezTo>
                  <a:pt x="1218" y="2553"/>
                  <a:pt x="1226" y="2554"/>
                  <a:pt x="1237" y="2555"/>
                </a:cubicBezTo>
                <a:cubicBezTo>
                  <a:pt x="1249" y="2557"/>
                  <a:pt x="1264" y="2559"/>
                  <a:pt x="1280" y="2560"/>
                </a:cubicBezTo>
                <a:cubicBezTo>
                  <a:pt x="1311" y="2564"/>
                  <a:pt x="1342" y="2565"/>
                  <a:pt x="1342" y="2565"/>
                </a:cubicBezTo>
                <a:cubicBezTo>
                  <a:pt x="1361" y="2566"/>
                  <a:pt x="1378" y="2577"/>
                  <a:pt x="1387" y="2593"/>
                </a:cubicBezTo>
                <a:cubicBezTo>
                  <a:pt x="1387" y="2593"/>
                  <a:pt x="1408" y="2636"/>
                  <a:pt x="1433" y="2679"/>
                </a:cubicBezTo>
                <a:cubicBezTo>
                  <a:pt x="1457" y="2721"/>
                  <a:pt x="1485" y="2762"/>
                  <a:pt x="1485" y="2762"/>
                </a:cubicBezTo>
                <a:cubicBezTo>
                  <a:pt x="1496" y="2778"/>
                  <a:pt x="1517" y="2787"/>
                  <a:pt x="1540" y="2785"/>
                </a:cubicBezTo>
                <a:cubicBezTo>
                  <a:pt x="1540" y="2785"/>
                  <a:pt x="1550" y="2783"/>
                  <a:pt x="1565" y="2782"/>
                </a:cubicBezTo>
                <a:close/>
                <a:moveTo>
                  <a:pt x="1348" y="2271"/>
                </a:moveTo>
                <a:cubicBezTo>
                  <a:pt x="1335" y="2271"/>
                  <a:pt x="1323" y="2270"/>
                  <a:pt x="1313" y="2269"/>
                </a:cubicBezTo>
                <a:cubicBezTo>
                  <a:pt x="1303" y="2268"/>
                  <a:pt x="1293" y="2267"/>
                  <a:pt x="1286" y="2266"/>
                </a:cubicBezTo>
                <a:cubicBezTo>
                  <a:pt x="1271" y="2264"/>
                  <a:pt x="1262" y="2263"/>
                  <a:pt x="1262" y="2263"/>
                </a:cubicBezTo>
                <a:cubicBezTo>
                  <a:pt x="1262" y="2263"/>
                  <a:pt x="1254" y="2262"/>
                  <a:pt x="1239" y="2259"/>
                </a:cubicBezTo>
                <a:cubicBezTo>
                  <a:pt x="1232" y="2257"/>
                  <a:pt x="1223" y="2256"/>
                  <a:pt x="1212" y="2254"/>
                </a:cubicBezTo>
                <a:cubicBezTo>
                  <a:pt x="1202" y="2251"/>
                  <a:pt x="1190" y="2248"/>
                  <a:pt x="1178" y="2245"/>
                </a:cubicBezTo>
                <a:cubicBezTo>
                  <a:pt x="1128" y="2233"/>
                  <a:pt x="1061" y="2211"/>
                  <a:pt x="1000" y="2179"/>
                </a:cubicBezTo>
                <a:cubicBezTo>
                  <a:pt x="938" y="2148"/>
                  <a:pt x="881" y="2109"/>
                  <a:pt x="841" y="2076"/>
                </a:cubicBezTo>
                <a:cubicBezTo>
                  <a:pt x="830" y="2069"/>
                  <a:pt x="822" y="2060"/>
                  <a:pt x="814" y="2053"/>
                </a:cubicBezTo>
                <a:cubicBezTo>
                  <a:pt x="806" y="2047"/>
                  <a:pt x="799" y="2041"/>
                  <a:pt x="794" y="2035"/>
                </a:cubicBezTo>
                <a:cubicBezTo>
                  <a:pt x="783" y="2025"/>
                  <a:pt x="777" y="2019"/>
                  <a:pt x="777" y="2019"/>
                </a:cubicBezTo>
                <a:cubicBezTo>
                  <a:pt x="777" y="2019"/>
                  <a:pt x="770" y="2013"/>
                  <a:pt x="760" y="2002"/>
                </a:cubicBezTo>
                <a:cubicBezTo>
                  <a:pt x="755" y="1996"/>
                  <a:pt x="749" y="1990"/>
                  <a:pt x="741" y="1982"/>
                </a:cubicBezTo>
                <a:cubicBezTo>
                  <a:pt x="734" y="1974"/>
                  <a:pt x="727" y="1965"/>
                  <a:pt x="718" y="1955"/>
                </a:cubicBezTo>
                <a:cubicBezTo>
                  <a:pt x="685" y="1916"/>
                  <a:pt x="646" y="1859"/>
                  <a:pt x="614" y="1797"/>
                </a:cubicBezTo>
                <a:cubicBezTo>
                  <a:pt x="582" y="1735"/>
                  <a:pt x="558" y="1670"/>
                  <a:pt x="545" y="1620"/>
                </a:cubicBezTo>
                <a:cubicBezTo>
                  <a:pt x="542" y="1607"/>
                  <a:pt x="539" y="1596"/>
                  <a:pt x="537" y="1586"/>
                </a:cubicBezTo>
                <a:cubicBezTo>
                  <a:pt x="535" y="1576"/>
                  <a:pt x="533" y="1567"/>
                  <a:pt x="531" y="1559"/>
                </a:cubicBezTo>
                <a:cubicBezTo>
                  <a:pt x="528" y="1544"/>
                  <a:pt x="527" y="1536"/>
                  <a:pt x="527" y="1536"/>
                </a:cubicBezTo>
                <a:cubicBezTo>
                  <a:pt x="527" y="1536"/>
                  <a:pt x="526" y="1527"/>
                  <a:pt x="524" y="1512"/>
                </a:cubicBezTo>
                <a:cubicBezTo>
                  <a:pt x="522" y="1505"/>
                  <a:pt x="521" y="1496"/>
                  <a:pt x="520" y="1485"/>
                </a:cubicBezTo>
                <a:cubicBezTo>
                  <a:pt x="520" y="1475"/>
                  <a:pt x="518" y="1463"/>
                  <a:pt x="517" y="1450"/>
                </a:cubicBezTo>
                <a:cubicBezTo>
                  <a:pt x="514" y="1399"/>
                  <a:pt x="515" y="1329"/>
                  <a:pt x="526" y="1261"/>
                </a:cubicBezTo>
                <a:cubicBezTo>
                  <a:pt x="536" y="1193"/>
                  <a:pt x="556" y="1126"/>
                  <a:pt x="574" y="1078"/>
                </a:cubicBezTo>
                <a:cubicBezTo>
                  <a:pt x="579" y="1066"/>
                  <a:pt x="584" y="1055"/>
                  <a:pt x="588" y="1045"/>
                </a:cubicBezTo>
                <a:cubicBezTo>
                  <a:pt x="592" y="1035"/>
                  <a:pt x="596" y="1027"/>
                  <a:pt x="599" y="1020"/>
                </a:cubicBezTo>
                <a:cubicBezTo>
                  <a:pt x="605" y="1006"/>
                  <a:pt x="609" y="999"/>
                  <a:pt x="609" y="999"/>
                </a:cubicBezTo>
                <a:cubicBezTo>
                  <a:pt x="609" y="999"/>
                  <a:pt x="613" y="991"/>
                  <a:pt x="620" y="977"/>
                </a:cubicBezTo>
                <a:cubicBezTo>
                  <a:pt x="624" y="971"/>
                  <a:pt x="628" y="963"/>
                  <a:pt x="634" y="954"/>
                </a:cubicBezTo>
                <a:cubicBezTo>
                  <a:pt x="639" y="945"/>
                  <a:pt x="645" y="934"/>
                  <a:pt x="652" y="923"/>
                </a:cubicBezTo>
                <a:cubicBezTo>
                  <a:pt x="679" y="879"/>
                  <a:pt x="721" y="824"/>
                  <a:pt x="770" y="775"/>
                </a:cubicBezTo>
                <a:cubicBezTo>
                  <a:pt x="818" y="726"/>
                  <a:pt x="873" y="684"/>
                  <a:pt x="916" y="656"/>
                </a:cubicBezTo>
                <a:cubicBezTo>
                  <a:pt x="938" y="642"/>
                  <a:pt x="957" y="631"/>
                  <a:pt x="970" y="624"/>
                </a:cubicBezTo>
                <a:cubicBezTo>
                  <a:pt x="984" y="616"/>
                  <a:pt x="991" y="612"/>
                  <a:pt x="991" y="612"/>
                </a:cubicBezTo>
                <a:cubicBezTo>
                  <a:pt x="991" y="612"/>
                  <a:pt x="999" y="609"/>
                  <a:pt x="1013" y="602"/>
                </a:cubicBezTo>
                <a:cubicBezTo>
                  <a:pt x="1026" y="595"/>
                  <a:pt x="1046" y="587"/>
                  <a:pt x="1070" y="576"/>
                </a:cubicBezTo>
                <a:cubicBezTo>
                  <a:pt x="1118" y="557"/>
                  <a:pt x="1184" y="536"/>
                  <a:pt x="1252" y="526"/>
                </a:cubicBezTo>
                <a:cubicBezTo>
                  <a:pt x="1321" y="515"/>
                  <a:pt x="1390" y="512"/>
                  <a:pt x="1441" y="516"/>
                </a:cubicBezTo>
                <a:cubicBezTo>
                  <a:pt x="1454" y="516"/>
                  <a:pt x="1466" y="517"/>
                  <a:pt x="1477" y="518"/>
                </a:cubicBezTo>
                <a:cubicBezTo>
                  <a:pt x="1487" y="519"/>
                  <a:pt x="1496" y="520"/>
                  <a:pt x="1504" y="521"/>
                </a:cubicBezTo>
                <a:cubicBezTo>
                  <a:pt x="1519" y="523"/>
                  <a:pt x="1527" y="524"/>
                  <a:pt x="1527" y="524"/>
                </a:cubicBezTo>
                <a:cubicBezTo>
                  <a:pt x="1527" y="524"/>
                  <a:pt x="1536" y="525"/>
                  <a:pt x="1551" y="528"/>
                </a:cubicBezTo>
                <a:cubicBezTo>
                  <a:pt x="1558" y="530"/>
                  <a:pt x="1567" y="531"/>
                  <a:pt x="1578" y="533"/>
                </a:cubicBezTo>
                <a:cubicBezTo>
                  <a:pt x="1588" y="536"/>
                  <a:pt x="1599" y="539"/>
                  <a:pt x="1612" y="542"/>
                </a:cubicBezTo>
                <a:cubicBezTo>
                  <a:pt x="1662" y="554"/>
                  <a:pt x="1728" y="576"/>
                  <a:pt x="1790" y="608"/>
                </a:cubicBezTo>
                <a:cubicBezTo>
                  <a:pt x="1852" y="639"/>
                  <a:pt x="1909" y="678"/>
                  <a:pt x="1949" y="711"/>
                </a:cubicBezTo>
                <a:cubicBezTo>
                  <a:pt x="1959" y="718"/>
                  <a:pt x="1968" y="727"/>
                  <a:pt x="1976" y="734"/>
                </a:cubicBezTo>
                <a:cubicBezTo>
                  <a:pt x="1984" y="741"/>
                  <a:pt x="1991" y="746"/>
                  <a:pt x="1996" y="752"/>
                </a:cubicBezTo>
                <a:cubicBezTo>
                  <a:pt x="2007" y="762"/>
                  <a:pt x="2013" y="768"/>
                  <a:pt x="2013" y="768"/>
                </a:cubicBezTo>
                <a:cubicBezTo>
                  <a:pt x="2013" y="768"/>
                  <a:pt x="2020" y="774"/>
                  <a:pt x="2030" y="785"/>
                </a:cubicBezTo>
                <a:cubicBezTo>
                  <a:pt x="2035" y="791"/>
                  <a:pt x="2041" y="797"/>
                  <a:pt x="2048" y="805"/>
                </a:cubicBezTo>
                <a:cubicBezTo>
                  <a:pt x="2055" y="813"/>
                  <a:pt x="2063" y="822"/>
                  <a:pt x="2071" y="832"/>
                </a:cubicBezTo>
                <a:cubicBezTo>
                  <a:pt x="2104" y="871"/>
                  <a:pt x="2144" y="928"/>
                  <a:pt x="2176" y="990"/>
                </a:cubicBezTo>
                <a:cubicBezTo>
                  <a:pt x="2208" y="1052"/>
                  <a:pt x="2231" y="1117"/>
                  <a:pt x="2244" y="1167"/>
                </a:cubicBezTo>
                <a:cubicBezTo>
                  <a:pt x="2248" y="1180"/>
                  <a:pt x="2251" y="1191"/>
                  <a:pt x="2253" y="1201"/>
                </a:cubicBezTo>
                <a:cubicBezTo>
                  <a:pt x="2255" y="1212"/>
                  <a:pt x="2257" y="1220"/>
                  <a:pt x="2258" y="1228"/>
                </a:cubicBezTo>
                <a:cubicBezTo>
                  <a:pt x="2262" y="1243"/>
                  <a:pt x="2263" y="1251"/>
                  <a:pt x="2263" y="1251"/>
                </a:cubicBezTo>
                <a:cubicBezTo>
                  <a:pt x="2263" y="1251"/>
                  <a:pt x="2264" y="1260"/>
                  <a:pt x="2266" y="1275"/>
                </a:cubicBezTo>
                <a:cubicBezTo>
                  <a:pt x="2268" y="1282"/>
                  <a:pt x="2268" y="1291"/>
                  <a:pt x="2269" y="1302"/>
                </a:cubicBezTo>
                <a:cubicBezTo>
                  <a:pt x="2270" y="1312"/>
                  <a:pt x="2272" y="1324"/>
                  <a:pt x="2272" y="1337"/>
                </a:cubicBezTo>
                <a:cubicBezTo>
                  <a:pt x="2276" y="1388"/>
                  <a:pt x="2274" y="1458"/>
                  <a:pt x="2264" y="1526"/>
                </a:cubicBezTo>
                <a:cubicBezTo>
                  <a:pt x="2254" y="1595"/>
                  <a:pt x="2234" y="1661"/>
                  <a:pt x="2215" y="1709"/>
                </a:cubicBezTo>
                <a:cubicBezTo>
                  <a:pt x="2210" y="1721"/>
                  <a:pt x="2206" y="1733"/>
                  <a:pt x="2202" y="1742"/>
                </a:cubicBezTo>
                <a:cubicBezTo>
                  <a:pt x="2198" y="1752"/>
                  <a:pt x="2194" y="1760"/>
                  <a:pt x="2191" y="1767"/>
                </a:cubicBezTo>
                <a:cubicBezTo>
                  <a:pt x="2185" y="1781"/>
                  <a:pt x="2180" y="1788"/>
                  <a:pt x="2180" y="1788"/>
                </a:cubicBezTo>
                <a:cubicBezTo>
                  <a:pt x="2180" y="1788"/>
                  <a:pt x="2176" y="1796"/>
                  <a:pt x="2169" y="1810"/>
                </a:cubicBezTo>
                <a:cubicBezTo>
                  <a:pt x="2166" y="1816"/>
                  <a:pt x="2161" y="1824"/>
                  <a:pt x="2156" y="1833"/>
                </a:cubicBezTo>
                <a:cubicBezTo>
                  <a:pt x="2151" y="1842"/>
                  <a:pt x="2145" y="1853"/>
                  <a:pt x="2138" y="1864"/>
                </a:cubicBezTo>
                <a:cubicBezTo>
                  <a:pt x="2110" y="1908"/>
                  <a:pt x="2069" y="1963"/>
                  <a:pt x="2020" y="2012"/>
                </a:cubicBezTo>
                <a:cubicBezTo>
                  <a:pt x="1972" y="2061"/>
                  <a:pt x="1917" y="2103"/>
                  <a:pt x="1873" y="2131"/>
                </a:cubicBezTo>
                <a:cubicBezTo>
                  <a:pt x="1851" y="2145"/>
                  <a:pt x="1833" y="2156"/>
                  <a:pt x="1819" y="2163"/>
                </a:cubicBezTo>
                <a:cubicBezTo>
                  <a:pt x="1806" y="2171"/>
                  <a:pt x="1798" y="2175"/>
                  <a:pt x="1798" y="2175"/>
                </a:cubicBezTo>
                <a:cubicBezTo>
                  <a:pt x="1798" y="2175"/>
                  <a:pt x="1791" y="2179"/>
                  <a:pt x="1777" y="2185"/>
                </a:cubicBezTo>
                <a:cubicBezTo>
                  <a:pt x="1763" y="2192"/>
                  <a:pt x="1743" y="2201"/>
                  <a:pt x="1720" y="2211"/>
                </a:cubicBezTo>
                <a:cubicBezTo>
                  <a:pt x="1671" y="2230"/>
                  <a:pt x="1605" y="2251"/>
                  <a:pt x="1537" y="2261"/>
                </a:cubicBezTo>
                <a:cubicBezTo>
                  <a:pt x="1469" y="2273"/>
                  <a:pt x="1400" y="2275"/>
                  <a:pt x="1348" y="2271"/>
                </a:cubicBezTo>
                <a:close/>
              </a:path>
            </a:pathLst>
          </a:custGeom>
          <a:solidFill>
            <a:schemeClr val="bg1"/>
          </a:solidFill>
          <a:ln w="25400">
            <a:solidFill>
              <a:schemeClr val="accent4"/>
            </a:solidFill>
          </a:ln>
          <a:effectLst/>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8" name="Line 41"/>
          <p:cNvSpPr>
            <a:spLocks noChangeShapeType="1"/>
          </p:cNvSpPr>
          <p:nvPr/>
        </p:nvSpPr>
        <p:spPr bwMode="auto">
          <a:xfrm>
            <a:off x="7601977" y="5475771"/>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9" name="Line 42"/>
          <p:cNvSpPr>
            <a:spLocks noChangeShapeType="1"/>
          </p:cNvSpPr>
          <p:nvPr/>
        </p:nvSpPr>
        <p:spPr bwMode="auto">
          <a:xfrm>
            <a:off x="7601977" y="5475771"/>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0" name="Line 43"/>
          <p:cNvSpPr>
            <a:spLocks noChangeShapeType="1"/>
          </p:cNvSpPr>
          <p:nvPr/>
        </p:nvSpPr>
        <p:spPr bwMode="auto">
          <a:xfrm>
            <a:off x="7567052" y="5240821"/>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1" name="Line 44"/>
          <p:cNvSpPr>
            <a:spLocks noChangeShapeType="1"/>
          </p:cNvSpPr>
          <p:nvPr/>
        </p:nvSpPr>
        <p:spPr bwMode="auto">
          <a:xfrm>
            <a:off x="7567052" y="5240821"/>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2" name="Freeform 45"/>
          <p:cNvSpPr>
            <a:spLocks noEditPoints="1"/>
          </p:cNvSpPr>
          <p:nvPr/>
        </p:nvSpPr>
        <p:spPr bwMode="auto">
          <a:xfrm>
            <a:off x="7345608" y="1448770"/>
            <a:ext cx="1736482" cy="1737518"/>
          </a:xfrm>
          <a:custGeom>
            <a:avLst/>
            <a:gdLst>
              <a:gd name="T0" fmla="*/ 3810 w 6583"/>
              <a:gd name="T1" fmla="*/ 6539 h 6583"/>
              <a:gd name="T2" fmla="*/ 4191 w 6583"/>
              <a:gd name="T3" fmla="*/ 6511 h 6583"/>
              <a:gd name="T4" fmla="*/ 4447 w 6583"/>
              <a:gd name="T5" fmla="*/ 5938 h 6583"/>
              <a:gd name="T6" fmla="*/ 4863 w 6583"/>
              <a:gd name="T7" fmla="*/ 5714 h 6583"/>
              <a:gd name="T8" fmla="*/ 5479 w 6583"/>
              <a:gd name="T9" fmla="*/ 5820 h 6583"/>
              <a:gd name="T10" fmla="*/ 5716 w 6583"/>
              <a:gd name="T11" fmla="*/ 5594 h 6583"/>
              <a:gd name="T12" fmla="*/ 5604 w 6583"/>
              <a:gd name="T13" fmla="*/ 5113 h 6583"/>
              <a:gd name="T14" fmla="*/ 5759 w 6583"/>
              <a:gd name="T15" fmla="*/ 4793 h 6583"/>
              <a:gd name="T16" fmla="*/ 6363 w 6583"/>
              <a:gd name="T17" fmla="*/ 4466 h 6583"/>
              <a:gd name="T18" fmla="*/ 6360 w 6583"/>
              <a:gd name="T19" fmla="*/ 3831 h 6583"/>
              <a:gd name="T20" fmla="*/ 6180 w 6583"/>
              <a:gd name="T21" fmla="*/ 3318 h 6583"/>
              <a:gd name="T22" fmla="*/ 6272 w 6583"/>
              <a:gd name="T23" fmla="*/ 2971 h 6583"/>
              <a:gd name="T24" fmla="*/ 6573 w 6583"/>
              <a:gd name="T25" fmla="*/ 2647 h 6583"/>
              <a:gd name="T26" fmla="*/ 6414 w 6583"/>
              <a:gd name="T27" fmla="*/ 2259 h 6583"/>
              <a:gd name="T28" fmla="*/ 5885 w 6583"/>
              <a:gd name="T29" fmla="*/ 2019 h 6583"/>
              <a:gd name="T30" fmla="*/ 5685 w 6583"/>
              <a:gd name="T31" fmla="*/ 1579 h 6583"/>
              <a:gd name="T32" fmla="*/ 5710 w 6583"/>
              <a:gd name="T33" fmla="*/ 982 h 6583"/>
              <a:gd name="T34" fmla="*/ 5421 w 6583"/>
              <a:gd name="T35" fmla="*/ 855 h 6583"/>
              <a:gd name="T36" fmla="*/ 4974 w 6583"/>
              <a:gd name="T37" fmla="*/ 943 h 6583"/>
              <a:gd name="T38" fmla="*/ 4568 w 6583"/>
              <a:gd name="T39" fmla="*/ 700 h 6583"/>
              <a:gd name="T40" fmla="*/ 4231 w 6583"/>
              <a:gd name="T41" fmla="*/ 83 h 6583"/>
              <a:gd name="T42" fmla="*/ 3614 w 6583"/>
              <a:gd name="T43" fmla="*/ 421 h 6583"/>
              <a:gd name="T44" fmla="*/ 3141 w 6583"/>
              <a:gd name="T45" fmla="*/ 406 h 6583"/>
              <a:gd name="T46" fmla="*/ 2812 w 6583"/>
              <a:gd name="T47" fmla="*/ 91 h 6583"/>
              <a:gd name="T48" fmla="*/ 2501 w 6583"/>
              <a:gd name="T49" fmla="*/ 42 h 6583"/>
              <a:gd name="T50" fmla="*/ 2200 w 6583"/>
              <a:gd name="T51" fmla="*/ 558 h 6583"/>
              <a:gd name="T52" fmla="*/ 1794 w 6583"/>
              <a:gd name="T53" fmla="*/ 821 h 6583"/>
              <a:gd name="T54" fmla="*/ 1220 w 6583"/>
              <a:gd name="T55" fmla="*/ 738 h 6583"/>
              <a:gd name="T56" fmla="*/ 876 w 6583"/>
              <a:gd name="T57" fmla="*/ 978 h 6583"/>
              <a:gd name="T58" fmla="*/ 954 w 6583"/>
              <a:gd name="T59" fmla="*/ 1414 h 6583"/>
              <a:gd name="T60" fmla="*/ 845 w 6583"/>
              <a:gd name="T61" fmla="*/ 1755 h 6583"/>
              <a:gd name="T62" fmla="*/ 417 w 6583"/>
              <a:gd name="T63" fmla="*/ 2090 h 6583"/>
              <a:gd name="T64" fmla="*/ 72 w 6583"/>
              <a:gd name="T65" fmla="*/ 2623 h 6583"/>
              <a:gd name="T66" fmla="*/ 404 w 6583"/>
              <a:gd name="T67" fmla="*/ 3224 h 6583"/>
              <a:gd name="T68" fmla="*/ 362 w 6583"/>
              <a:gd name="T69" fmla="*/ 3577 h 6583"/>
              <a:gd name="T70" fmla="*/ 8 w 6583"/>
              <a:gd name="T71" fmla="*/ 3922 h 6583"/>
              <a:gd name="T72" fmla="*/ 86 w 6583"/>
              <a:gd name="T73" fmla="*/ 4240 h 6583"/>
              <a:gd name="T74" fmla="*/ 661 w 6583"/>
              <a:gd name="T75" fmla="*/ 4483 h 6583"/>
              <a:gd name="T76" fmla="*/ 891 w 6583"/>
              <a:gd name="T77" fmla="*/ 4897 h 6583"/>
              <a:gd name="T78" fmla="*/ 797 w 6583"/>
              <a:gd name="T79" fmla="*/ 5517 h 6583"/>
              <a:gd name="T80" fmla="*/ 1103 w 6583"/>
              <a:gd name="T81" fmla="*/ 5746 h 6583"/>
              <a:gd name="T82" fmla="*/ 1576 w 6583"/>
              <a:gd name="T83" fmla="*/ 5616 h 6583"/>
              <a:gd name="T84" fmla="*/ 1901 w 6583"/>
              <a:gd name="T85" fmla="*/ 5823 h 6583"/>
              <a:gd name="T86" fmla="*/ 2196 w 6583"/>
              <a:gd name="T87" fmla="*/ 6450 h 6583"/>
              <a:gd name="T88" fmla="*/ 2870 w 6583"/>
              <a:gd name="T89" fmla="*/ 6204 h 6583"/>
              <a:gd name="T90" fmla="*/ 3353 w 6583"/>
              <a:gd name="T91" fmla="*/ 6179 h 6583"/>
              <a:gd name="T92" fmla="*/ 3187 w 6583"/>
              <a:gd name="T93" fmla="*/ 5587 h 6583"/>
              <a:gd name="T94" fmla="*/ 2096 w 6583"/>
              <a:gd name="T95" fmla="*/ 5254 h 6583"/>
              <a:gd name="T96" fmla="*/ 1331 w 6583"/>
              <a:gd name="T97" fmla="*/ 4490 h 6583"/>
              <a:gd name="T98" fmla="*/ 1192 w 6583"/>
              <a:gd name="T99" fmla="*/ 4225 h 6583"/>
              <a:gd name="T100" fmla="*/ 995 w 6583"/>
              <a:gd name="T101" fmla="*/ 3187 h 6583"/>
              <a:gd name="T102" fmla="*/ 1329 w 6583"/>
              <a:gd name="T103" fmla="*/ 2096 h 6583"/>
              <a:gd name="T104" fmla="*/ 2092 w 6583"/>
              <a:gd name="T105" fmla="*/ 1331 h 6583"/>
              <a:gd name="T106" fmla="*/ 2358 w 6583"/>
              <a:gd name="T107" fmla="*/ 1192 h 6583"/>
              <a:gd name="T108" fmla="*/ 3396 w 6583"/>
              <a:gd name="T109" fmla="*/ 995 h 6583"/>
              <a:gd name="T110" fmla="*/ 4486 w 6583"/>
              <a:gd name="T111" fmla="*/ 1329 h 6583"/>
              <a:gd name="T112" fmla="*/ 5252 w 6583"/>
              <a:gd name="T113" fmla="*/ 2092 h 6583"/>
              <a:gd name="T114" fmla="*/ 5391 w 6583"/>
              <a:gd name="T115" fmla="*/ 2358 h 6583"/>
              <a:gd name="T116" fmla="*/ 5587 w 6583"/>
              <a:gd name="T117" fmla="*/ 3395 h 6583"/>
              <a:gd name="T118" fmla="*/ 5254 w 6583"/>
              <a:gd name="T119" fmla="*/ 4486 h 6583"/>
              <a:gd name="T120" fmla="*/ 4491 w 6583"/>
              <a:gd name="T121" fmla="*/ 5251 h 6583"/>
              <a:gd name="T122" fmla="*/ 4225 w 6583"/>
              <a:gd name="T123" fmla="*/ 5390 h 6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83" h="6583">
                <a:moveTo>
                  <a:pt x="3578" y="6221"/>
                </a:moveTo>
                <a:cubicBezTo>
                  <a:pt x="3578" y="6221"/>
                  <a:pt x="3591" y="6241"/>
                  <a:pt x="3611" y="6272"/>
                </a:cubicBezTo>
                <a:cubicBezTo>
                  <a:pt x="3632" y="6302"/>
                  <a:pt x="3659" y="6342"/>
                  <a:pt x="3688" y="6382"/>
                </a:cubicBezTo>
                <a:cubicBezTo>
                  <a:pt x="3717" y="6422"/>
                  <a:pt x="3748" y="6461"/>
                  <a:pt x="3771" y="6491"/>
                </a:cubicBezTo>
                <a:cubicBezTo>
                  <a:pt x="3794" y="6520"/>
                  <a:pt x="3810" y="6539"/>
                  <a:pt x="3810" y="6539"/>
                </a:cubicBezTo>
                <a:cubicBezTo>
                  <a:pt x="3834" y="6569"/>
                  <a:pt x="3878" y="6583"/>
                  <a:pt x="3922" y="6575"/>
                </a:cubicBezTo>
                <a:cubicBezTo>
                  <a:pt x="3922" y="6575"/>
                  <a:pt x="3927" y="6574"/>
                  <a:pt x="3936" y="6572"/>
                </a:cubicBezTo>
                <a:cubicBezTo>
                  <a:pt x="3945" y="6571"/>
                  <a:pt x="3957" y="6568"/>
                  <a:pt x="3972" y="6565"/>
                </a:cubicBezTo>
                <a:cubicBezTo>
                  <a:pt x="4002" y="6558"/>
                  <a:pt x="4042" y="6549"/>
                  <a:pt x="4082" y="6540"/>
                </a:cubicBezTo>
                <a:cubicBezTo>
                  <a:pt x="4122" y="6531"/>
                  <a:pt x="4161" y="6519"/>
                  <a:pt x="4191" y="6511"/>
                </a:cubicBezTo>
                <a:cubicBezTo>
                  <a:pt x="4221" y="6503"/>
                  <a:pt x="4241" y="6497"/>
                  <a:pt x="4241" y="6497"/>
                </a:cubicBezTo>
                <a:cubicBezTo>
                  <a:pt x="4284" y="6486"/>
                  <a:pt x="4316" y="6451"/>
                  <a:pt x="4324" y="6413"/>
                </a:cubicBezTo>
                <a:cubicBezTo>
                  <a:pt x="4324" y="6413"/>
                  <a:pt x="4344" y="6316"/>
                  <a:pt x="4359" y="6219"/>
                </a:cubicBezTo>
                <a:cubicBezTo>
                  <a:pt x="4374" y="6120"/>
                  <a:pt x="4383" y="6024"/>
                  <a:pt x="4383" y="6024"/>
                </a:cubicBezTo>
                <a:cubicBezTo>
                  <a:pt x="4387" y="5986"/>
                  <a:pt x="4412" y="5955"/>
                  <a:pt x="4447" y="5938"/>
                </a:cubicBezTo>
                <a:cubicBezTo>
                  <a:pt x="4447" y="5938"/>
                  <a:pt x="4461" y="5931"/>
                  <a:pt x="4483" y="5922"/>
                </a:cubicBezTo>
                <a:cubicBezTo>
                  <a:pt x="4505" y="5911"/>
                  <a:pt x="4535" y="5899"/>
                  <a:pt x="4563" y="5884"/>
                </a:cubicBezTo>
                <a:cubicBezTo>
                  <a:pt x="4620" y="5855"/>
                  <a:pt x="4678" y="5825"/>
                  <a:pt x="4678" y="5825"/>
                </a:cubicBezTo>
                <a:cubicBezTo>
                  <a:pt x="4678" y="5825"/>
                  <a:pt x="4733" y="5793"/>
                  <a:pt x="4789" y="5761"/>
                </a:cubicBezTo>
                <a:cubicBezTo>
                  <a:pt x="4817" y="5745"/>
                  <a:pt x="4843" y="5727"/>
                  <a:pt x="4863" y="5714"/>
                </a:cubicBezTo>
                <a:cubicBezTo>
                  <a:pt x="4883" y="5701"/>
                  <a:pt x="4897" y="5692"/>
                  <a:pt x="4897" y="5692"/>
                </a:cubicBezTo>
                <a:cubicBezTo>
                  <a:pt x="4930" y="5671"/>
                  <a:pt x="4970" y="5667"/>
                  <a:pt x="5003" y="5684"/>
                </a:cubicBezTo>
                <a:cubicBezTo>
                  <a:pt x="5003" y="5684"/>
                  <a:pt x="5090" y="5729"/>
                  <a:pt x="5181" y="5770"/>
                </a:cubicBezTo>
                <a:cubicBezTo>
                  <a:pt x="5270" y="5809"/>
                  <a:pt x="5363" y="5845"/>
                  <a:pt x="5363" y="5845"/>
                </a:cubicBezTo>
                <a:cubicBezTo>
                  <a:pt x="5399" y="5858"/>
                  <a:pt x="5446" y="5850"/>
                  <a:pt x="5479" y="5820"/>
                </a:cubicBezTo>
                <a:cubicBezTo>
                  <a:pt x="5479" y="5820"/>
                  <a:pt x="5494" y="5806"/>
                  <a:pt x="5517" y="5786"/>
                </a:cubicBezTo>
                <a:cubicBezTo>
                  <a:pt x="5540" y="5765"/>
                  <a:pt x="5571" y="5739"/>
                  <a:pt x="5600" y="5710"/>
                </a:cubicBezTo>
                <a:cubicBezTo>
                  <a:pt x="5629" y="5681"/>
                  <a:pt x="5659" y="5652"/>
                  <a:pt x="5681" y="5630"/>
                </a:cubicBezTo>
                <a:cubicBezTo>
                  <a:pt x="5692" y="5620"/>
                  <a:pt x="5700" y="5611"/>
                  <a:pt x="5706" y="5604"/>
                </a:cubicBezTo>
                <a:cubicBezTo>
                  <a:pt x="5713" y="5597"/>
                  <a:pt x="5716" y="5594"/>
                  <a:pt x="5716" y="5594"/>
                </a:cubicBezTo>
                <a:cubicBezTo>
                  <a:pt x="5747" y="5561"/>
                  <a:pt x="5759" y="5516"/>
                  <a:pt x="5747" y="5480"/>
                </a:cubicBezTo>
                <a:cubicBezTo>
                  <a:pt x="5747" y="5480"/>
                  <a:pt x="5739" y="5456"/>
                  <a:pt x="5727" y="5421"/>
                </a:cubicBezTo>
                <a:cubicBezTo>
                  <a:pt x="5715" y="5385"/>
                  <a:pt x="5697" y="5339"/>
                  <a:pt x="5679" y="5293"/>
                </a:cubicBezTo>
                <a:cubicBezTo>
                  <a:pt x="5662" y="5247"/>
                  <a:pt x="5643" y="5202"/>
                  <a:pt x="5629" y="5168"/>
                </a:cubicBezTo>
                <a:cubicBezTo>
                  <a:pt x="5614" y="5135"/>
                  <a:pt x="5604" y="5113"/>
                  <a:pt x="5604" y="5113"/>
                </a:cubicBezTo>
                <a:cubicBezTo>
                  <a:pt x="5588" y="5078"/>
                  <a:pt x="5593" y="5037"/>
                  <a:pt x="5616" y="5006"/>
                </a:cubicBezTo>
                <a:cubicBezTo>
                  <a:pt x="5616" y="5006"/>
                  <a:pt x="5626" y="4993"/>
                  <a:pt x="5640" y="4974"/>
                </a:cubicBezTo>
                <a:cubicBezTo>
                  <a:pt x="5654" y="4954"/>
                  <a:pt x="5672" y="4928"/>
                  <a:pt x="5690" y="4901"/>
                </a:cubicBezTo>
                <a:cubicBezTo>
                  <a:pt x="5708" y="4875"/>
                  <a:pt x="5726" y="4848"/>
                  <a:pt x="5738" y="4827"/>
                </a:cubicBezTo>
                <a:cubicBezTo>
                  <a:pt x="5750" y="4806"/>
                  <a:pt x="5759" y="4793"/>
                  <a:pt x="5759" y="4793"/>
                </a:cubicBezTo>
                <a:cubicBezTo>
                  <a:pt x="5759" y="4793"/>
                  <a:pt x="5793" y="4738"/>
                  <a:pt x="5823" y="4681"/>
                </a:cubicBezTo>
                <a:cubicBezTo>
                  <a:pt x="5855" y="4626"/>
                  <a:pt x="5882" y="4567"/>
                  <a:pt x="5882" y="4567"/>
                </a:cubicBezTo>
                <a:cubicBezTo>
                  <a:pt x="5899" y="4533"/>
                  <a:pt x="5934" y="4510"/>
                  <a:pt x="5971" y="4508"/>
                </a:cubicBezTo>
                <a:cubicBezTo>
                  <a:pt x="5971" y="4508"/>
                  <a:pt x="6068" y="4503"/>
                  <a:pt x="6166" y="4492"/>
                </a:cubicBezTo>
                <a:cubicBezTo>
                  <a:pt x="6265" y="4482"/>
                  <a:pt x="6363" y="4466"/>
                  <a:pt x="6363" y="4466"/>
                </a:cubicBezTo>
                <a:cubicBezTo>
                  <a:pt x="6400" y="4460"/>
                  <a:pt x="6435" y="4429"/>
                  <a:pt x="6450" y="4387"/>
                </a:cubicBezTo>
                <a:cubicBezTo>
                  <a:pt x="6450" y="4387"/>
                  <a:pt x="6475" y="4309"/>
                  <a:pt x="6500" y="4231"/>
                </a:cubicBezTo>
                <a:cubicBezTo>
                  <a:pt x="6521" y="4152"/>
                  <a:pt x="6542" y="4073"/>
                  <a:pt x="6542" y="4073"/>
                </a:cubicBezTo>
                <a:cubicBezTo>
                  <a:pt x="6552" y="4029"/>
                  <a:pt x="6540" y="3984"/>
                  <a:pt x="6511" y="3959"/>
                </a:cubicBezTo>
                <a:cubicBezTo>
                  <a:pt x="6511" y="3959"/>
                  <a:pt x="6438" y="3892"/>
                  <a:pt x="6360" y="3831"/>
                </a:cubicBezTo>
                <a:cubicBezTo>
                  <a:pt x="6283" y="3769"/>
                  <a:pt x="6204" y="3712"/>
                  <a:pt x="6204" y="3712"/>
                </a:cubicBezTo>
                <a:cubicBezTo>
                  <a:pt x="6174" y="3690"/>
                  <a:pt x="6157" y="3652"/>
                  <a:pt x="6161" y="3614"/>
                </a:cubicBezTo>
                <a:cubicBezTo>
                  <a:pt x="6161" y="3614"/>
                  <a:pt x="6170" y="3550"/>
                  <a:pt x="6173" y="3486"/>
                </a:cubicBezTo>
                <a:cubicBezTo>
                  <a:pt x="6179" y="3422"/>
                  <a:pt x="6179" y="3358"/>
                  <a:pt x="6179" y="3358"/>
                </a:cubicBezTo>
                <a:cubicBezTo>
                  <a:pt x="6179" y="3358"/>
                  <a:pt x="6179" y="3342"/>
                  <a:pt x="6180" y="3318"/>
                </a:cubicBezTo>
                <a:cubicBezTo>
                  <a:pt x="6181" y="3294"/>
                  <a:pt x="6180" y="3261"/>
                  <a:pt x="6179" y="3229"/>
                </a:cubicBezTo>
                <a:cubicBezTo>
                  <a:pt x="6178" y="3197"/>
                  <a:pt x="6178" y="3165"/>
                  <a:pt x="6177" y="3141"/>
                </a:cubicBezTo>
                <a:cubicBezTo>
                  <a:pt x="6175" y="3117"/>
                  <a:pt x="6174" y="3101"/>
                  <a:pt x="6174" y="3101"/>
                </a:cubicBezTo>
                <a:cubicBezTo>
                  <a:pt x="6171" y="3062"/>
                  <a:pt x="6189" y="3025"/>
                  <a:pt x="6221" y="3005"/>
                </a:cubicBezTo>
                <a:cubicBezTo>
                  <a:pt x="6221" y="3005"/>
                  <a:pt x="6242" y="2992"/>
                  <a:pt x="6272" y="2971"/>
                </a:cubicBezTo>
                <a:cubicBezTo>
                  <a:pt x="6302" y="2951"/>
                  <a:pt x="6342" y="2923"/>
                  <a:pt x="6382" y="2894"/>
                </a:cubicBezTo>
                <a:cubicBezTo>
                  <a:pt x="6422" y="2865"/>
                  <a:pt x="6462" y="2835"/>
                  <a:pt x="6491" y="2812"/>
                </a:cubicBezTo>
                <a:cubicBezTo>
                  <a:pt x="6520" y="2789"/>
                  <a:pt x="6539" y="2773"/>
                  <a:pt x="6539" y="2773"/>
                </a:cubicBezTo>
                <a:cubicBezTo>
                  <a:pt x="6569" y="2749"/>
                  <a:pt x="6583" y="2705"/>
                  <a:pt x="6575" y="2660"/>
                </a:cubicBezTo>
                <a:cubicBezTo>
                  <a:pt x="6575" y="2660"/>
                  <a:pt x="6574" y="2655"/>
                  <a:pt x="6573" y="2647"/>
                </a:cubicBezTo>
                <a:cubicBezTo>
                  <a:pt x="6571" y="2638"/>
                  <a:pt x="6569" y="2625"/>
                  <a:pt x="6565" y="2610"/>
                </a:cubicBezTo>
                <a:cubicBezTo>
                  <a:pt x="6558" y="2580"/>
                  <a:pt x="6549" y="2540"/>
                  <a:pt x="6540" y="2500"/>
                </a:cubicBezTo>
                <a:cubicBezTo>
                  <a:pt x="6532" y="2460"/>
                  <a:pt x="6519" y="2421"/>
                  <a:pt x="6511" y="2391"/>
                </a:cubicBezTo>
                <a:cubicBezTo>
                  <a:pt x="6503" y="2362"/>
                  <a:pt x="6497" y="2342"/>
                  <a:pt x="6497" y="2342"/>
                </a:cubicBezTo>
                <a:cubicBezTo>
                  <a:pt x="6486" y="2299"/>
                  <a:pt x="6451" y="2267"/>
                  <a:pt x="6414" y="2259"/>
                </a:cubicBezTo>
                <a:cubicBezTo>
                  <a:pt x="6414" y="2259"/>
                  <a:pt x="6316" y="2238"/>
                  <a:pt x="6219" y="2223"/>
                </a:cubicBezTo>
                <a:cubicBezTo>
                  <a:pt x="6121" y="2209"/>
                  <a:pt x="6024" y="2199"/>
                  <a:pt x="6024" y="2199"/>
                </a:cubicBezTo>
                <a:cubicBezTo>
                  <a:pt x="5987" y="2196"/>
                  <a:pt x="5955" y="2171"/>
                  <a:pt x="5938" y="2136"/>
                </a:cubicBezTo>
                <a:cubicBezTo>
                  <a:pt x="5938" y="2136"/>
                  <a:pt x="5932" y="2121"/>
                  <a:pt x="5922" y="2099"/>
                </a:cubicBezTo>
                <a:cubicBezTo>
                  <a:pt x="5912" y="2077"/>
                  <a:pt x="5900" y="2048"/>
                  <a:pt x="5885" y="2019"/>
                </a:cubicBezTo>
                <a:cubicBezTo>
                  <a:pt x="5855" y="1962"/>
                  <a:pt x="5826" y="1905"/>
                  <a:pt x="5826" y="1905"/>
                </a:cubicBezTo>
                <a:cubicBezTo>
                  <a:pt x="5826" y="1905"/>
                  <a:pt x="5794" y="1849"/>
                  <a:pt x="5761" y="1794"/>
                </a:cubicBezTo>
                <a:cubicBezTo>
                  <a:pt x="5746" y="1766"/>
                  <a:pt x="5727" y="1740"/>
                  <a:pt x="5714" y="1719"/>
                </a:cubicBezTo>
                <a:cubicBezTo>
                  <a:pt x="5701" y="1699"/>
                  <a:pt x="5692" y="1686"/>
                  <a:pt x="5692" y="1686"/>
                </a:cubicBezTo>
                <a:cubicBezTo>
                  <a:pt x="5672" y="1653"/>
                  <a:pt x="5668" y="1613"/>
                  <a:pt x="5685" y="1579"/>
                </a:cubicBezTo>
                <a:cubicBezTo>
                  <a:pt x="5685" y="1579"/>
                  <a:pt x="5729" y="1493"/>
                  <a:pt x="5770" y="1402"/>
                </a:cubicBezTo>
                <a:cubicBezTo>
                  <a:pt x="5810" y="1313"/>
                  <a:pt x="5845" y="1219"/>
                  <a:pt x="5845" y="1219"/>
                </a:cubicBezTo>
                <a:cubicBezTo>
                  <a:pt x="5858" y="1184"/>
                  <a:pt x="5851" y="1137"/>
                  <a:pt x="5820" y="1104"/>
                </a:cubicBezTo>
                <a:cubicBezTo>
                  <a:pt x="5820" y="1104"/>
                  <a:pt x="5806" y="1088"/>
                  <a:pt x="5786" y="1065"/>
                </a:cubicBezTo>
                <a:cubicBezTo>
                  <a:pt x="5765" y="1043"/>
                  <a:pt x="5739" y="1011"/>
                  <a:pt x="5710" y="982"/>
                </a:cubicBezTo>
                <a:cubicBezTo>
                  <a:pt x="5681" y="953"/>
                  <a:pt x="5652" y="924"/>
                  <a:pt x="5631" y="902"/>
                </a:cubicBezTo>
                <a:cubicBezTo>
                  <a:pt x="5620" y="891"/>
                  <a:pt x="5611" y="882"/>
                  <a:pt x="5604" y="876"/>
                </a:cubicBezTo>
                <a:cubicBezTo>
                  <a:pt x="5598" y="870"/>
                  <a:pt x="5594" y="867"/>
                  <a:pt x="5594" y="867"/>
                </a:cubicBezTo>
                <a:cubicBezTo>
                  <a:pt x="5561" y="836"/>
                  <a:pt x="5516" y="824"/>
                  <a:pt x="5480" y="836"/>
                </a:cubicBezTo>
                <a:cubicBezTo>
                  <a:pt x="5480" y="836"/>
                  <a:pt x="5456" y="844"/>
                  <a:pt x="5421" y="855"/>
                </a:cubicBezTo>
                <a:cubicBezTo>
                  <a:pt x="5386" y="868"/>
                  <a:pt x="5339" y="885"/>
                  <a:pt x="5293" y="903"/>
                </a:cubicBezTo>
                <a:cubicBezTo>
                  <a:pt x="5247" y="921"/>
                  <a:pt x="5202" y="940"/>
                  <a:pt x="5169" y="954"/>
                </a:cubicBezTo>
                <a:cubicBezTo>
                  <a:pt x="5135" y="969"/>
                  <a:pt x="5113" y="979"/>
                  <a:pt x="5113" y="979"/>
                </a:cubicBezTo>
                <a:cubicBezTo>
                  <a:pt x="5078" y="994"/>
                  <a:pt x="5037" y="990"/>
                  <a:pt x="5006" y="967"/>
                </a:cubicBezTo>
                <a:cubicBezTo>
                  <a:pt x="5006" y="967"/>
                  <a:pt x="4994" y="957"/>
                  <a:pt x="4974" y="943"/>
                </a:cubicBezTo>
                <a:cubicBezTo>
                  <a:pt x="4954" y="929"/>
                  <a:pt x="4928" y="911"/>
                  <a:pt x="4901" y="893"/>
                </a:cubicBezTo>
                <a:cubicBezTo>
                  <a:pt x="4875" y="874"/>
                  <a:pt x="4848" y="857"/>
                  <a:pt x="4827" y="845"/>
                </a:cubicBezTo>
                <a:cubicBezTo>
                  <a:pt x="4807" y="832"/>
                  <a:pt x="4793" y="824"/>
                  <a:pt x="4793" y="824"/>
                </a:cubicBezTo>
                <a:cubicBezTo>
                  <a:pt x="4793" y="824"/>
                  <a:pt x="4739" y="789"/>
                  <a:pt x="4682" y="760"/>
                </a:cubicBezTo>
                <a:cubicBezTo>
                  <a:pt x="4626" y="728"/>
                  <a:pt x="4568" y="700"/>
                  <a:pt x="4568" y="700"/>
                </a:cubicBezTo>
                <a:cubicBezTo>
                  <a:pt x="4533" y="684"/>
                  <a:pt x="4510" y="648"/>
                  <a:pt x="4508" y="611"/>
                </a:cubicBezTo>
                <a:cubicBezTo>
                  <a:pt x="4508" y="611"/>
                  <a:pt x="4503" y="515"/>
                  <a:pt x="4493" y="416"/>
                </a:cubicBezTo>
                <a:cubicBezTo>
                  <a:pt x="4483" y="317"/>
                  <a:pt x="4466" y="220"/>
                  <a:pt x="4466" y="220"/>
                </a:cubicBezTo>
                <a:cubicBezTo>
                  <a:pt x="4460" y="182"/>
                  <a:pt x="4429" y="148"/>
                  <a:pt x="4387" y="132"/>
                </a:cubicBezTo>
                <a:cubicBezTo>
                  <a:pt x="4387" y="132"/>
                  <a:pt x="4309" y="107"/>
                  <a:pt x="4231" y="83"/>
                </a:cubicBezTo>
                <a:cubicBezTo>
                  <a:pt x="4152" y="61"/>
                  <a:pt x="4073" y="40"/>
                  <a:pt x="4073" y="40"/>
                </a:cubicBezTo>
                <a:cubicBezTo>
                  <a:pt x="4029" y="31"/>
                  <a:pt x="3985" y="43"/>
                  <a:pt x="3959" y="71"/>
                </a:cubicBezTo>
                <a:cubicBezTo>
                  <a:pt x="3959" y="71"/>
                  <a:pt x="3893" y="145"/>
                  <a:pt x="3831" y="223"/>
                </a:cubicBezTo>
                <a:cubicBezTo>
                  <a:pt x="3769" y="300"/>
                  <a:pt x="3713" y="378"/>
                  <a:pt x="3713" y="378"/>
                </a:cubicBezTo>
                <a:cubicBezTo>
                  <a:pt x="3691" y="408"/>
                  <a:pt x="3653" y="426"/>
                  <a:pt x="3614" y="421"/>
                </a:cubicBezTo>
                <a:cubicBezTo>
                  <a:pt x="3614" y="421"/>
                  <a:pt x="3551" y="413"/>
                  <a:pt x="3487" y="409"/>
                </a:cubicBezTo>
                <a:cubicBezTo>
                  <a:pt x="3422" y="404"/>
                  <a:pt x="3358" y="404"/>
                  <a:pt x="3358" y="404"/>
                </a:cubicBezTo>
                <a:cubicBezTo>
                  <a:pt x="3358" y="404"/>
                  <a:pt x="3342" y="403"/>
                  <a:pt x="3318" y="403"/>
                </a:cubicBezTo>
                <a:cubicBezTo>
                  <a:pt x="3294" y="402"/>
                  <a:pt x="3262" y="402"/>
                  <a:pt x="3230" y="403"/>
                </a:cubicBezTo>
                <a:cubicBezTo>
                  <a:pt x="3198" y="404"/>
                  <a:pt x="3165" y="405"/>
                  <a:pt x="3141" y="406"/>
                </a:cubicBezTo>
                <a:cubicBezTo>
                  <a:pt x="3117" y="407"/>
                  <a:pt x="3101" y="409"/>
                  <a:pt x="3101" y="409"/>
                </a:cubicBezTo>
                <a:cubicBezTo>
                  <a:pt x="3063" y="412"/>
                  <a:pt x="3026" y="393"/>
                  <a:pt x="3005" y="361"/>
                </a:cubicBezTo>
                <a:cubicBezTo>
                  <a:pt x="3005" y="361"/>
                  <a:pt x="2992" y="341"/>
                  <a:pt x="2972" y="311"/>
                </a:cubicBezTo>
                <a:cubicBezTo>
                  <a:pt x="2951" y="281"/>
                  <a:pt x="2923" y="240"/>
                  <a:pt x="2894" y="201"/>
                </a:cubicBezTo>
                <a:cubicBezTo>
                  <a:pt x="2865" y="161"/>
                  <a:pt x="2835" y="121"/>
                  <a:pt x="2812" y="91"/>
                </a:cubicBezTo>
                <a:cubicBezTo>
                  <a:pt x="2789" y="62"/>
                  <a:pt x="2773" y="43"/>
                  <a:pt x="2773" y="43"/>
                </a:cubicBezTo>
                <a:cubicBezTo>
                  <a:pt x="2749" y="13"/>
                  <a:pt x="2705" y="0"/>
                  <a:pt x="2661" y="8"/>
                </a:cubicBezTo>
                <a:cubicBezTo>
                  <a:pt x="2661" y="8"/>
                  <a:pt x="2656" y="8"/>
                  <a:pt x="2647" y="10"/>
                </a:cubicBezTo>
                <a:cubicBezTo>
                  <a:pt x="2638" y="11"/>
                  <a:pt x="2626" y="14"/>
                  <a:pt x="2611" y="17"/>
                </a:cubicBezTo>
                <a:cubicBezTo>
                  <a:pt x="2581" y="24"/>
                  <a:pt x="2541" y="33"/>
                  <a:pt x="2501" y="42"/>
                </a:cubicBezTo>
                <a:cubicBezTo>
                  <a:pt x="2460" y="51"/>
                  <a:pt x="2421" y="64"/>
                  <a:pt x="2392" y="71"/>
                </a:cubicBezTo>
                <a:cubicBezTo>
                  <a:pt x="2362" y="80"/>
                  <a:pt x="2342" y="85"/>
                  <a:pt x="2342" y="85"/>
                </a:cubicBezTo>
                <a:cubicBezTo>
                  <a:pt x="2299" y="97"/>
                  <a:pt x="2267" y="132"/>
                  <a:pt x="2259" y="169"/>
                </a:cubicBezTo>
                <a:cubicBezTo>
                  <a:pt x="2259" y="169"/>
                  <a:pt x="2238" y="267"/>
                  <a:pt x="2224" y="363"/>
                </a:cubicBezTo>
                <a:cubicBezTo>
                  <a:pt x="2209" y="462"/>
                  <a:pt x="2200" y="558"/>
                  <a:pt x="2200" y="558"/>
                </a:cubicBezTo>
                <a:cubicBezTo>
                  <a:pt x="2196" y="596"/>
                  <a:pt x="2171" y="627"/>
                  <a:pt x="2136" y="644"/>
                </a:cubicBezTo>
                <a:cubicBezTo>
                  <a:pt x="2136" y="644"/>
                  <a:pt x="2121" y="651"/>
                  <a:pt x="2100" y="661"/>
                </a:cubicBezTo>
                <a:cubicBezTo>
                  <a:pt x="2078" y="671"/>
                  <a:pt x="2048" y="683"/>
                  <a:pt x="2020" y="698"/>
                </a:cubicBezTo>
                <a:cubicBezTo>
                  <a:pt x="1962" y="727"/>
                  <a:pt x="1905" y="757"/>
                  <a:pt x="1905" y="757"/>
                </a:cubicBezTo>
                <a:cubicBezTo>
                  <a:pt x="1905" y="757"/>
                  <a:pt x="1850" y="789"/>
                  <a:pt x="1794" y="821"/>
                </a:cubicBezTo>
                <a:cubicBezTo>
                  <a:pt x="1766" y="837"/>
                  <a:pt x="1740" y="856"/>
                  <a:pt x="1720" y="868"/>
                </a:cubicBezTo>
                <a:cubicBezTo>
                  <a:pt x="1699" y="882"/>
                  <a:pt x="1686" y="890"/>
                  <a:pt x="1686" y="890"/>
                </a:cubicBezTo>
                <a:cubicBezTo>
                  <a:pt x="1653" y="911"/>
                  <a:pt x="1613" y="915"/>
                  <a:pt x="1579" y="898"/>
                </a:cubicBezTo>
                <a:cubicBezTo>
                  <a:pt x="1579" y="898"/>
                  <a:pt x="1493" y="853"/>
                  <a:pt x="1402" y="813"/>
                </a:cubicBezTo>
                <a:cubicBezTo>
                  <a:pt x="1313" y="773"/>
                  <a:pt x="1220" y="738"/>
                  <a:pt x="1220" y="738"/>
                </a:cubicBezTo>
                <a:cubicBezTo>
                  <a:pt x="1184" y="724"/>
                  <a:pt x="1137" y="732"/>
                  <a:pt x="1104" y="763"/>
                </a:cubicBezTo>
                <a:cubicBezTo>
                  <a:pt x="1104" y="763"/>
                  <a:pt x="1089" y="776"/>
                  <a:pt x="1066" y="797"/>
                </a:cubicBezTo>
                <a:cubicBezTo>
                  <a:pt x="1043" y="817"/>
                  <a:pt x="1011" y="843"/>
                  <a:pt x="983" y="873"/>
                </a:cubicBezTo>
                <a:cubicBezTo>
                  <a:pt x="953" y="901"/>
                  <a:pt x="924" y="930"/>
                  <a:pt x="902" y="952"/>
                </a:cubicBezTo>
                <a:cubicBezTo>
                  <a:pt x="891" y="962"/>
                  <a:pt x="882" y="972"/>
                  <a:pt x="876" y="978"/>
                </a:cubicBezTo>
                <a:cubicBezTo>
                  <a:pt x="870" y="985"/>
                  <a:pt x="867" y="989"/>
                  <a:pt x="867" y="989"/>
                </a:cubicBezTo>
                <a:cubicBezTo>
                  <a:pt x="836" y="1022"/>
                  <a:pt x="824" y="1066"/>
                  <a:pt x="836" y="1103"/>
                </a:cubicBezTo>
                <a:cubicBezTo>
                  <a:pt x="836" y="1103"/>
                  <a:pt x="844" y="1126"/>
                  <a:pt x="856" y="1161"/>
                </a:cubicBezTo>
                <a:cubicBezTo>
                  <a:pt x="868" y="1197"/>
                  <a:pt x="885" y="1244"/>
                  <a:pt x="903" y="1290"/>
                </a:cubicBezTo>
                <a:cubicBezTo>
                  <a:pt x="921" y="1336"/>
                  <a:pt x="940" y="1381"/>
                  <a:pt x="954" y="1414"/>
                </a:cubicBezTo>
                <a:cubicBezTo>
                  <a:pt x="969" y="1447"/>
                  <a:pt x="979" y="1470"/>
                  <a:pt x="979" y="1470"/>
                </a:cubicBezTo>
                <a:cubicBezTo>
                  <a:pt x="995" y="1504"/>
                  <a:pt x="990" y="1545"/>
                  <a:pt x="967" y="1576"/>
                </a:cubicBezTo>
                <a:cubicBezTo>
                  <a:pt x="967" y="1576"/>
                  <a:pt x="957" y="1589"/>
                  <a:pt x="943" y="1608"/>
                </a:cubicBezTo>
                <a:cubicBezTo>
                  <a:pt x="929" y="1628"/>
                  <a:pt x="911" y="1655"/>
                  <a:pt x="893" y="1681"/>
                </a:cubicBezTo>
                <a:cubicBezTo>
                  <a:pt x="875" y="1708"/>
                  <a:pt x="857" y="1734"/>
                  <a:pt x="845" y="1755"/>
                </a:cubicBezTo>
                <a:cubicBezTo>
                  <a:pt x="832" y="1776"/>
                  <a:pt x="824" y="1790"/>
                  <a:pt x="824" y="1790"/>
                </a:cubicBezTo>
                <a:cubicBezTo>
                  <a:pt x="824" y="1790"/>
                  <a:pt x="790" y="1844"/>
                  <a:pt x="760" y="1901"/>
                </a:cubicBezTo>
                <a:cubicBezTo>
                  <a:pt x="728" y="1957"/>
                  <a:pt x="701" y="2015"/>
                  <a:pt x="701" y="2015"/>
                </a:cubicBezTo>
                <a:cubicBezTo>
                  <a:pt x="684" y="2050"/>
                  <a:pt x="649" y="2072"/>
                  <a:pt x="612" y="2074"/>
                </a:cubicBezTo>
                <a:cubicBezTo>
                  <a:pt x="612" y="2074"/>
                  <a:pt x="515" y="2079"/>
                  <a:pt x="417" y="2090"/>
                </a:cubicBezTo>
                <a:cubicBezTo>
                  <a:pt x="318" y="2100"/>
                  <a:pt x="220" y="2116"/>
                  <a:pt x="220" y="2116"/>
                </a:cubicBezTo>
                <a:cubicBezTo>
                  <a:pt x="182" y="2122"/>
                  <a:pt x="148" y="2153"/>
                  <a:pt x="133" y="2196"/>
                </a:cubicBezTo>
                <a:cubicBezTo>
                  <a:pt x="133" y="2196"/>
                  <a:pt x="108" y="2273"/>
                  <a:pt x="83" y="2351"/>
                </a:cubicBezTo>
                <a:cubicBezTo>
                  <a:pt x="62" y="2430"/>
                  <a:pt x="41" y="2509"/>
                  <a:pt x="41" y="2509"/>
                </a:cubicBezTo>
                <a:cubicBezTo>
                  <a:pt x="31" y="2553"/>
                  <a:pt x="43" y="2598"/>
                  <a:pt x="72" y="2623"/>
                </a:cubicBezTo>
                <a:cubicBezTo>
                  <a:pt x="72" y="2623"/>
                  <a:pt x="145" y="2690"/>
                  <a:pt x="223" y="2752"/>
                </a:cubicBezTo>
                <a:cubicBezTo>
                  <a:pt x="300" y="2814"/>
                  <a:pt x="379" y="2870"/>
                  <a:pt x="379" y="2870"/>
                </a:cubicBezTo>
                <a:cubicBezTo>
                  <a:pt x="409" y="2892"/>
                  <a:pt x="426" y="2930"/>
                  <a:pt x="421" y="2968"/>
                </a:cubicBezTo>
                <a:cubicBezTo>
                  <a:pt x="421" y="2968"/>
                  <a:pt x="413" y="3032"/>
                  <a:pt x="410" y="3096"/>
                </a:cubicBezTo>
                <a:cubicBezTo>
                  <a:pt x="404" y="3160"/>
                  <a:pt x="404" y="3224"/>
                  <a:pt x="404" y="3224"/>
                </a:cubicBezTo>
                <a:cubicBezTo>
                  <a:pt x="404" y="3224"/>
                  <a:pt x="404" y="3240"/>
                  <a:pt x="403" y="3265"/>
                </a:cubicBezTo>
                <a:cubicBezTo>
                  <a:pt x="402" y="3289"/>
                  <a:pt x="402" y="3321"/>
                  <a:pt x="404" y="3353"/>
                </a:cubicBezTo>
                <a:cubicBezTo>
                  <a:pt x="404" y="3385"/>
                  <a:pt x="405" y="3417"/>
                  <a:pt x="406" y="3441"/>
                </a:cubicBezTo>
                <a:cubicBezTo>
                  <a:pt x="408" y="3465"/>
                  <a:pt x="409" y="3481"/>
                  <a:pt x="409" y="3481"/>
                </a:cubicBezTo>
                <a:cubicBezTo>
                  <a:pt x="412" y="3520"/>
                  <a:pt x="394" y="3557"/>
                  <a:pt x="362" y="3577"/>
                </a:cubicBezTo>
                <a:cubicBezTo>
                  <a:pt x="362" y="3577"/>
                  <a:pt x="341" y="3591"/>
                  <a:pt x="311" y="3611"/>
                </a:cubicBezTo>
                <a:cubicBezTo>
                  <a:pt x="281" y="3631"/>
                  <a:pt x="241" y="3659"/>
                  <a:pt x="201" y="3688"/>
                </a:cubicBezTo>
                <a:cubicBezTo>
                  <a:pt x="161" y="3717"/>
                  <a:pt x="121" y="3747"/>
                  <a:pt x="92" y="3770"/>
                </a:cubicBezTo>
                <a:cubicBezTo>
                  <a:pt x="63" y="3794"/>
                  <a:pt x="43" y="3809"/>
                  <a:pt x="43" y="3809"/>
                </a:cubicBezTo>
                <a:cubicBezTo>
                  <a:pt x="14" y="3833"/>
                  <a:pt x="0" y="3877"/>
                  <a:pt x="8" y="3922"/>
                </a:cubicBezTo>
                <a:cubicBezTo>
                  <a:pt x="8" y="3922"/>
                  <a:pt x="9" y="3927"/>
                  <a:pt x="10" y="3936"/>
                </a:cubicBezTo>
                <a:cubicBezTo>
                  <a:pt x="12" y="3944"/>
                  <a:pt x="14" y="3957"/>
                  <a:pt x="18" y="3972"/>
                </a:cubicBezTo>
                <a:cubicBezTo>
                  <a:pt x="25" y="4002"/>
                  <a:pt x="34" y="4042"/>
                  <a:pt x="43" y="4082"/>
                </a:cubicBezTo>
                <a:cubicBezTo>
                  <a:pt x="51" y="4122"/>
                  <a:pt x="64" y="4161"/>
                  <a:pt x="72" y="4191"/>
                </a:cubicBezTo>
                <a:cubicBezTo>
                  <a:pt x="80" y="4220"/>
                  <a:pt x="86" y="4240"/>
                  <a:pt x="86" y="4240"/>
                </a:cubicBezTo>
                <a:cubicBezTo>
                  <a:pt x="97" y="4284"/>
                  <a:pt x="132" y="4316"/>
                  <a:pt x="169" y="4323"/>
                </a:cubicBezTo>
                <a:cubicBezTo>
                  <a:pt x="169" y="4323"/>
                  <a:pt x="267" y="4344"/>
                  <a:pt x="364" y="4359"/>
                </a:cubicBezTo>
                <a:cubicBezTo>
                  <a:pt x="462" y="4374"/>
                  <a:pt x="559" y="4383"/>
                  <a:pt x="559" y="4383"/>
                </a:cubicBezTo>
                <a:cubicBezTo>
                  <a:pt x="596" y="4386"/>
                  <a:pt x="628" y="4411"/>
                  <a:pt x="644" y="4446"/>
                </a:cubicBezTo>
                <a:cubicBezTo>
                  <a:pt x="644" y="4446"/>
                  <a:pt x="651" y="4461"/>
                  <a:pt x="661" y="4483"/>
                </a:cubicBezTo>
                <a:cubicBezTo>
                  <a:pt x="671" y="4505"/>
                  <a:pt x="683" y="4535"/>
                  <a:pt x="698" y="4563"/>
                </a:cubicBezTo>
                <a:cubicBezTo>
                  <a:pt x="728" y="4620"/>
                  <a:pt x="757" y="4677"/>
                  <a:pt x="757" y="4677"/>
                </a:cubicBezTo>
                <a:cubicBezTo>
                  <a:pt x="757" y="4677"/>
                  <a:pt x="789" y="4733"/>
                  <a:pt x="822" y="4788"/>
                </a:cubicBezTo>
                <a:cubicBezTo>
                  <a:pt x="837" y="4816"/>
                  <a:pt x="856" y="4843"/>
                  <a:pt x="869" y="4863"/>
                </a:cubicBezTo>
                <a:cubicBezTo>
                  <a:pt x="882" y="4883"/>
                  <a:pt x="891" y="4897"/>
                  <a:pt x="891" y="4897"/>
                </a:cubicBezTo>
                <a:cubicBezTo>
                  <a:pt x="911" y="4929"/>
                  <a:pt x="915" y="4970"/>
                  <a:pt x="898" y="5003"/>
                </a:cubicBezTo>
                <a:cubicBezTo>
                  <a:pt x="898" y="5003"/>
                  <a:pt x="854" y="5089"/>
                  <a:pt x="813" y="5180"/>
                </a:cubicBezTo>
                <a:cubicBezTo>
                  <a:pt x="773" y="5270"/>
                  <a:pt x="738" y="5363"/>
                  <a:pt x="738" y="5363"/>
                </a:cubicBezTo>
                <a:cubicBezTo>
                  <a:pt x="724" y="5399"/>
                  <a:pt x="732" y="5445"/>
                  <a:pt x="763" y="5478"/>
                </a:cubicBezTo>
                <a:cubicBezTo>
                  <a:pt x="763" y="5478"/>
                  <a:pt x="776" y="5494"/>
                  <a:pt x="797" y="5517"/>
                </a:cubicBezTo>
                <a:cubicBezTo>
                  <a:pt x="818" y="5539"/>
                  <a:pt x="844" y="5571"/>
                  <a:pt x="873" y="5600"/>
                </a:cubicBezTo>
                <a:cubicBezTo>
                  <a:pt x="902" y="5629"/>
                  <a:pt x="931" y="5658"/>
                  <a:pt x="952" y="5680"/>
                </a:cubicBezTo>
                <a:cubicBezTo>
                  <a:pt x="963" y="5691"/>
                  <a:pt x="972" y="5700"/>
                  <a:pt x="979" y="5706"/>
                </a:cubicBezTo>
                <a:cubicBezTo>
                  <a:pt x="985" y="5712"/>
                  <a:pt x="989" y="5716"/>
                  <a:pt x="989" y="5716"/>
                </a:cubicBezTo>
                <a:cubicBezTo>
                  <a:pt x="1022" y="5746"/>
                  <a:pt x="1067" y="5758"/>
                  <a:pt x="1103" y="5746"/>
                </a:cubicBezTo>
                <a:cubicBezTo>
                  <a:pt x="1103" y="5746"/>
                  <a:pt x="1126" y="5739"/>
                  <a:pt x="1162" y="5727"/>
                </a:cubicBezTo>
                <a:cubicBezTo>
                  <a:pt x="1197" y="5714"/>
                  <a:pt x="1244" y="5697"/>
                  <a:pt x="1290" y="5679"/>
                </a:cubicBezTo>
                <a:cubicBezTo>
                  <a:pt x="1336" y="5661"/>
                  <a:pt x="1381" y="5643"/>
                  <a:pt x="1414" y="5628"/>
                </a:cubicBezTo>
                <a:cubicBezTo>
                  <a:pt x="1448" y="5613"/>
                  <a:pt x="1470" y="5604"/>
                  <a:pt x="1470" y="5604"/>
                </a:cubicBezTo>
                <a:cubicBezTo>
                  <a:pt x="1504" y="5588"/>
                  <a:pt x="1546" y="5592"/>
                  <a:pt x="1576" y="5616"/>
                </a:cubicBezTo>
                <a:cubicBezTo>
                  <a:pt x="1576" y="5616"/>
                  <a:pt x="1589" y="5625"/>
                  <a:pt x="1609" y="5640"/>
                </a:cubicBezTo>
                <a:cubicBezTo>
                  <a:pt x="1628" y="5653"/>
                  <a:pt x="1655" y="5671"/>
                  <a:pt x="1682" y="5689"/>
                </a:cubicBezTo>
                <a:cubicBezTo>
                  <a:pt x="1708" y="5708"/>
                  <a:pt x="1735" y="5725"/>
                  <a:pt x="1756" y="5737"/>
                </a:cubicBezTo>
                <a:cubicBezTo>
                  <a:pt x="1776" y="5750"/>
                  <a:pt x="1790" y="5758"/>
                  <a:pt x="1790" y="5758"/>
                </a:cubicBezTo>
                <a:cubicBezTo>
                  <a:pt x="1790" y="5758"/>
                  <a:pt x="1844" y="5793"/>
                  <a:pt x="1901" y="5823"/>
                </a:cubicBezTo>
                <a:cubicBezTo>
                  <a:pt x="1957" y="5855"/>
                  <a:pt x="2015" y="5882"/>
                  <a:pt x="2015" y="5882"/>
                </a:cubicBezTo>
                <a:cubicBezTo>
                  <a:pt x="2050" y="5899"/>
                  <a:pt x="2072" y="5934"/>
                  <a:pt x="2075" y="5971"/>
                </a:cubicBezTo>
                <a:cubicBezTo>
                  <a:pt x="2075" y="5971"/>
                  <a:pt x="2080" y="6067"/>
                  <a:pt x="2090" y="6166"/>
                </a:cubicBezTo>
                <a:cubicBezTo>
                  <a:pt x="2100" y="6265"/>
                  <a:pt x="2117" y="6362"/>
                  <a:pt x="2117" y="6362"/>
                </a:cubicBezTo>
                <a:cubicBezTo>
                  <a:pt x="2123" y="6400"/>
                  <a:pt x="2154" y="6434"/>
                  <a:pt x="2196" y="6450"/>
                </a:cubicBezTo>
                <a:cubicBezTo>
                  <a:pt x="2196" y="6450"/>
                  <a:pt x="2274" y="6475"/>
                  <a:pt x="2352" y="6500"/>
                </a:cubicBezTo>
                <a:cubicBezTo>
                  <a:pt x="2431" y="6521"/>
                  <a:pt x="2510" y="6542"/>
                  <a:pt x="2510" y="6542"/>
                </a:cubicBezTo>
                <a:cubicBezTo>
                  <a:pt x="2554" y="6551"/>
                  <a:pt x="2598" y="6539"/>
                  <a:pt x="2624" y="6511"/>
                </a:cubicBezTo>
                <a:cubicBezTo>
                  <a:pt x="2624" y="6511"/>
                  <a:pt x="2690" y="6438"/>
                  <a:pt x="2752" y="6359"/>
                </a:cubicBezTo>
                <a:cubicBezTo>
                  <a:pt x="2814" y="6282"/>
                  <a:pt x="2870" y="6204"/>
                  <a:pt x="2870" y="6204"/>
                </a:cubicBezTo>
                <a:cubicBezTo>
                  <a:pt x="2892" y="6174"/>
                  <a:pt x="2930" y="6156"/>
                  <a:pt x="2968" y="6161"/>
                </a:cubicBezTo>
                <a:cubicBezTo>
                  <a:pt x="2968" y="6161"/>
                  <a:pt x="3032" y="6169"/>
                  <a:pt x="3096" y="6173"/>
                </a:cubicBezTo>
                <a:cubicBezTo>
                  <a:pt x="3160" y="6178"/>
                  <a:pt x="3225" y="6179"/>
                  <a:pt x="3225" y="6179"/>
                </a:cubicBezTo>
                <a:cubicBezTo>
                  <a:pt x="3225" y="6179"/>
                  <a:pt x="3241" y="6179"/>
                  <a:pt x="3265" y="6180"/>
                </a:cubicBezTo>
                <a:cubicBezTo>
                  <a:pt x="3289" y="6181"/>
                  <a:pt x="3321" y="6180"/>
                  <a:pt x="3353" y="6179"/>
                </a:cubicBezTo>
                <a:cubicBezTo>
                  <a:pt x="3385" y="6178"/>
                  <a:pt x="3417" y="6177"/>
                  <a:pt x="3441" y="6177"/>
                </a:cubicBezTo>
                <a:cubicBezTo>
                  <a:pt x="3466" y="6175"/>
                  <a:pt x="3482" y="6174"/>
                  <a:pt x="3482" y="6174"/>
                </a:cubicBezTo>
                <a:cubicBezTo>
                  <a:pt x="3520" y="6171"/>
                  <a:pt x="3557" y="6189"/>
                  <a:pt x="3578" y="6221"/>
                </a:cubicBezTo>
                <a:close/>
                <a:moveTo>
                  <a:pt x="3239" y="5588"/>
                </a:moveTo>
                <a:cubicBezTo>
                  <a:pt x="3239" y="5588"/>
                  <a:pt x="3220" y="5588"/>
                  <a:pt x="3187" y="5587"/>
                </a:cubicBezTo>
                <a:cubicBezTo>
                  <a:pt x="3154" y="5584"/>
                  <a:pt x="3107" y="5583"/>
                  <a:pt x="3051" y="5576"/>
                </a:cubicBezTo>
                <a:cubicBezTo>
                  <a:pt x="2939" y="5565"/>
                  <a:pt x="2790" y="5539"/>
                  <a:pt x="2646" y="5496"/>
                </a:cubicBezTo>
                <a:cubicBezTo>
                  <a:pt x="2501" y="5454"/>
                  <a:pt x="2361" y="5396"/>
                  <a:pt x="2261" y="5345"/>
                </a:cubicBezTo>
                <a:cubicBezTo>
                  <a:pt x="2210" y="5320"/>
                  <a:pt x="2170" y="5296"/>
                  <a:pt x="2141" y="5281"/>
                </a:cubicBezTo>
                <a:cubicBezTo>
                  <a:pt x="2113" y="5263"/>
                  <a:pt x="2096" y="5254"/>
                  <a:pt x="2096" y="5254"/>
                </a:cubicBezTo>
                <a:cubicBezTo>
                  <a:pt x="2096" y="5254"/>
                  <a:pt x="2080" y="5244"/>
                  <a:pt x="2052" y="5227"/>
                </a:cubicBezTo>
                <a:cubicBezTo>
                  <a:pt x="2025" y="5209"/>
                  <a:pt x="1986" y="5183"/>
                  <a:pt x="1940" y="5150"/>
                </a:cubicBezTo>
                <a:cubicBezTo>
                  <a:pt x="1848" y="5085"/>
                  <a:pt x="1733" y="4987"/>
                  <a:pt x="1629" y="4878"/>
                </a:cubicBezTo>
                <a:cubicBezTo>
                  <a:pt x="1525" y="4770"/>
                  <a:pt x="1435" y="4650"/>
                  <a:pt x="1373" y="4555"/>
                </a:cubicBezTo>
                <a:cubicBezTo>
                  <a:pt x="1358" y="4531"/>
                  <a:pt x="1343" y="4510"/>
                  <a:pt x="1331" y="4490"/>
                </a:cubicBezTo>
                <a:cubicBezTo>
                  <a:pt x="1320" y="4470"/>
                  <a:pt x="1310" y="4453"/>
                  <a:pt x="1301" y="4439"/>
                </a:cubicBezTo>
                <a:cubicBezTo>
                  <a:pt x="1285" y="4410"/>
                  <a:pt x="1275" y="4394"/>
                  <a:pt x="1275" y="4394"/>
                </a:cubicBezTo>
                <a:cubicBezTo>
                  <a:pt x="1275" y="4394"/>
                  <a:pt x="1267" y="4377"/>
                  <a:pt x="1252" y="4348"/>
                </a:cubicBezTo>
                <a:cubicBezTo>
                  <a:pt x="1244" y="4333"/>
                  <a:pt x="1235" y="4315"/>
                  <a:pt x="1224" y="4295"/>
                </a:cubicBezTo>
                <a:cubicBezTo>
                  <a:pt x="1214" y="4274"/>
                  <a:pt x="1204" y="4250"/>
                  <a:pt x="1192" y="4225"/>
                </a:cubicBezTo>
                <a:cubicBezTo>
                  <a:pt x="1146" y="4122"/>
                  <a:pt x="1093" y="3980"/>
                  <a:pt x="1058" y="3834"/>
                </a:cubicBezTo>
                <a:cubicBezTo>
                  <a:pt x="1023" y="3688"/>
                  <a:pt x="1003" y="3539"/>
                  <a:pt x="997" y="3426"/>
                </a:cubicBezTo>
                <a:cubicBezTo>
                  <a:pt x="994" y="3370"/>
                  <a:pt x="993" y="3323"/>
                  <a:pt x="993" y="3290"/>
                </a:cubicBezTo>
                <a:cubicBezTo>
                  <a:pt x="994" y="3257"/>
                  <a:pt x="994" y="3239"/>
                  <a:pt x="994" y="3239"/>
                </a:cubicBezTo>
                <a:cubicBezTo>
                  <a:pt x="994" y="3239"/>
                  <a:pt x="995" y="3220"/>
                  <a:pt x="995" y="3187"/>
                </a:cubicBezTo>
                <a:cubicBezTo>
                  <a:pt x="999" y="3154"/>
                  <a:pt x="1000" y="3107"/>
                  <a:pt x="1006" y="3051"/>
                </a:cubicBezTo>
                <a:cubicBezTo>
                  <a:pt x="1017" y="2939"/>
                  <a:pt x="1043" y="2790"/>
                  <a:pt x="1086" y="2645"/>
                </a:cubicBezTo>
                <a:cubicBezTo>
                  <a:pt x="1128" y="2500"/>
                  <a:pt x="1186" y="2361"/>
                  <a:pt x="1238" y="2261"/>
                </a:cubicBezTo>
                <a:cubicBezTo>
                  <a:pt x="1262" y="2210"/>
                  <a:pt x="1287" y="2170"/>
                  <a:pt x="1302" y="2140"/>
                </a:cubicBezTo>
                <a:cubicBezTo>
                  <a:pt x="1319" y="2112"/>
                  <a:pt x="1329" y="2096"/>
                  <a:pt x="1329" y="2096"/>
                </a:cubicBezTo>
                <a:cubicBezTo>
                  <a:pt x="1329" y="2096"/>
                  <a:pt x="1339" y="2080"/>
                  <a:pt x="1356" y="2052"/>
                </a:cubicBezTo>
                <a:cubicBezTo>
                  <a:pt x="1374" y="2024"/>
                  <a:pt x="1400" y="1985"/>
                  <a:pt x="1433" y="1940"/>
                </a:cubicBezTo>
                <a:cubicBezTo>
                  <a:pt x="1498" y="1848"/>
                  <a:pt x="1595" y="1733"/>
                  <a:pt x="1704" y="1629"/>
                </a:cubicBezTo>
                <a:cubicBezTo>
                  <a:pt x="1812" y="1525"/>
                  <a:pt x="1933" y="1434"/>
                  <a:pt x="2028" y="1373"/>
                </a:cubicBezTo>
                <a:cubicBezTo>
                  <a:pt x="2051" y="1358"/>
                  <a:pt x="2073" y="1343"/>
                  <a:pt x="2092" y="1331"/>
                </a:cubicBezTo>
                <a:cubicBezTo>
                  <a:pt x="2112" y="1319"/>
                  <a:pt x="2130" y="1309"/>
                  <a:pt x="2144" y="1301"/>
                </a:cubicBezTo>
                <a:cubicBezTo>
                  <a:pt x="2172" y="1284"/>
                  <a:pt x="2189" y="1275"/>
                  <a:pt x="2189" y="1275"/>
                </a:cubicBezTo>
                <a:cubicBezTo>
                  <a:pt x="2189" y="1275"/>
                  <a:pt x="2206" y="1266"/>
                  <a:pt x="2235" y="1251"/>
                </a:cubicBezTo>
                <a:cubicBezTo>
                  <a:pt x="2250" y="1244"/>
                  <a:pt x="2267" y="1235"/>
                  <a:pt x="2288" y="1224"/>
                </a:cubicBezTo>
                <a:cubicBezTo>
                  <a:pt x="2308" y="1214"/>
                  <a:pt x="2332" y="1204"/>
                  <a:pt x="2358" y="1192"/>
                </a:cubicBezTo>
                <a:cubicBezTo>
                  <a:pt x="2461" y="1146"/>
                  <a:pt x="2602" y="1093"/>
                  <a:pt x="2748" y="1058"/>
                </a:cubicBezTo>
                <a:cubicBezTo>
                  <a:pt x="2894" y="1022"/>
                  <a:pt x="3044" y="1002"/>
                  <a:pt x="3156" y="997"/>
                </a:cubicBezTo>
                <a:cubicBezTo>
                  <a:pt x="3212" y="994"/>
                  <a:pt x="3259" y="993"/>
                  <a:pt x="3292" y="993"/>
                </a:cubicBezTo>
                <a:cubicBezTo>
                  <a:pt x="3325" y="994"/>
                  <a:pt x="3344" y="994"/>
                  <a:pt x="3344" y="994"/>
                </a:cubicBezTo>
                <a:cubicBezTo>
                  <a:pt x="3344" y="994"/>
                  <a:pt x="3363" y="994"/>
                  <a:pt x="3396" y="995"/>
                </a:cubicBezTo>
                <a:cubicBezTo>
                  <a:pt x="3428" y="998"/>
                  <a:pt x="3476" y="999"/>
                  <a:pt x="3532" y="1006"/>
                </a:cubicBezTo>
                <a:cubicBezTo>
                  <a:pt x="3644" y="1017"/>
                  <a:pt x="3793" y="1043"/>
                  <a:pt x="3937" y="1086"/>
                </a:cubicBezTo>
                <a:cubicBezTo>
                  <a:pt x="4082" y="1128"/>
                  <a:pt x="4222" y="1186"/>
                  <a:pt x="4322" y="1238"/>
                </a:cubicBezTo>
                <a:cubicBezTo>
                  <a:pt x="4373" y="1262"/>
                  <a:pt x="4413" y="1287"/>
                  <a:pt x="4442" y="1302"/>
                </a:cubicBezTo>
                <a:cubicBezTo>
                  <a:pt x="4470" y="1319"/>
                  <a:pt x="4486" y="1329"/>
                  <a:pt x="4486" y="1329"/>
                </a:cubicBezTo>
                <a:cubicBezTo>
                  <a:pt x="4486" y="1329"/>
                  <a:pt x="4502" y="1338"/>
                  <a:pt x="4531" y="1355"/>
                </a:cubicBezTo>
                <a:cubicBezTo>
                  <a:pt x="4558" y="1373"/>
                  <a:pt x="4597" y="1400"/>
                  <a:pt x="4643" y="1432"/>
                </a:cubicBezTo>
                <a:cubicBezTo>
                  <a:pt x="4735" y="1498"/>
                  <a:pt x="4850" y="1595"/>
                  <a:pt x="4953" y="1704"/>
                </a:cubicBezTo>
                <a:cubicBezTo>
                  <a:pt x="5057" y="1812"/>
                  <a:pt x="5148" y="1933"/>
                  <a:pt x="5210" y="2027"/>
                </a:cubicBezTo>
                <a:cubicBezTo>
                  <a:pt x="5225" y="2051"/>
                  <a:pt x="5240" y="2072"/>
                  <a:pt x="5252" y="2092"/>
                </a:cubicBezTo>
                <a:cubicBezTo>
                  <a:pt x="5263" y="2112"/>
                  <a:pt x="5273" y="2129"/>
                  <a:pt x="5281" y="2144"/>
                </a:cubicBezTo>
                <a:cubicBezTo>
                  <a:pt x="5298" y="2172"/>
                  <a:pt x="5308" y="2188"/>
                  <a:pt x="5308" y="2188"/>
                </a:cubicBezTo>
                <a:cubicBezTo>
                  <a:pt x="5308" y="2188"/>
                  <a:pt x="5316" y="2205"/>
                  <a:pt x="5331" y="2235"/>
                </a:cubicBezTo>
                <a:cubicBezTo>
                  <a:pt x="5339" y="2249"/>
                  <a:pt x="5348" y="2267"/>
                  <a:pt x="5359" y="2287"/>
                </a:cubicBezTo>
                <a:cubicBezTo>
                  <a:pt x="5369" y="2308"/>
                  <a:pt x="5379" y="2332"/>
                  <a:pt x="5391" y="2358"/>
                </a:cubicBezTo>
                <a:cubicBezTo>
                  <a:pt x="5437" y="2461"/>
                  <a:pt x="5490" y="2602"/>
                  <a:pt x="5525" y="2748"/>
                </a:cubicBezTo>
                <a:cubicBezTo>
                  <a:pt x="5560" y="2894"/>
                  <a:pt x="5580" y="3043"/>
                  <a:pt x="5586" y="3156"/>
                </a:cubicBezTo>
                <a:cubicBezTo>
                  <a:pt x="5588" y="3212"/>
                  <a:pt x="5589" y="3259"/>
                  <a:pt x="5590" y="3292"/>
                </a:cubicBezTo>
                <a:cubicBezTo>
                  <a:pt x="5589" y="3325"/>
                  <a:pt x="5589" y="3344"/>
                  <a:pt x="5589" y="3344"/>
                </a:cubicBezTo>
                <a:cubicBezTo>
                  <a:pt x="5589" y="3344"/>
                  <a:pt x="5588" y="3362"/>
                  <a:pt x="5587" y="3395"/>
                </a:cubicBezTo>
                <a:cubicBezTo>
                  <a:pt x="5584" y="3428"/>
                  <a:pt x="5583" y="3475"/>
                  <a:pt x="5577" y="3531"/>
                </a:cubicBezTo>
                <a:cubicBezTo>
                  <a:pt x="5566" y="3644"/>
                  <a:pt x="5540" y="3792"/>
                  <a:pt x="5497" y="3937"/>
                </a:cubicBezTo>
                <a:cubicBezTo>
                  <a:pt x="5455" y="4082"/>
                  <a:pt x="5397" y="4221"/>
                  <a:pt x="5345" y="4322"/>
                </a:cubicBezTo>
                <a:cubicBezTo>
                  <a:pt x="5320" y="4372"/>
                  <a:pt x="5296" y="4413"/>
                  <a:pt x="5281" y="4442"/>
                </a:cubicBezTo>
                <a:cubicBezTo>
                  <a:pt x="5264" y="4470"/>
                  <a:pt x="5254" y="4486"/>
                  <a:pt x="5254" y="4486"/>
                </a:cubicBezTo>
                <a:cubicBezTo>
                  <a:pt x="5254" y="4486"/>
                  <a:pt x="5244" y="4502"/>
                  <a:pt x="5227" y="4530"/>
                </a:cubicBezTo>
                <a:cubicBezTo>
                  <a:pt x="5209" y="4558"/>
                  <a:pt x="5183" y="4597"/>
                  <a:pt x="5150" y="4643"/>
                </a:cubicBezTo>
                <a:cubicBezTo>
                  <a:pt x="5085" y="4734"/>
                  <a:pt x="4988" y="4850"/>
                  <a:pt x="4879" y="4953"/>
                </a:cubicBezTo>
                <a:cubicBezTo>
                  <a:pt x="4770" y="5057"/>
                  <a:pt x="4650" y="5148"/>
                  <a:pt x="4555" y="5209"/>
                </a:cubicBezTo>
                <a:cubicBezTo>
                  <a:pt x="4532" y="5225"/>
                  <a:pt x="4510" y="5239"/>
                  <a:pt x="4491" y="5251"/>
                </a:cubicBezTo>
                <a:cubicBezTo>
                  <a:pt x="4471" y="5263"/>
                  <a:pt x="4453" y="5273"/>
                  <a:pt x="4439" y="5281"/>
                </a:cubicBezTo>
                <a:cubicBezTo>
                  <a:pt x="4410" y="5298"/>
                  <a:pt x="4394" y="5307"/>
                  <a:pt x="4394" y="5307"/>
                </a:cubicBezTo>
                <a:cubicBezTo>
                  <a:pt x="4394" y="5307"/>
                  <a:pt x="4377" y="5316"/>
                  <a:pt x="4348" y="5331"/>
                </a:cubicBezTo>
                <a:cubicBezTo>
                  <a:pt x="4333" y="5338"/>
                  <a:pt x="4315" y="5348"/>
                  <a:pt x="4295" y="5358"/>
                </a:cubicBezTo>
                <a:cubicBezTo>
                  <a:pt x="4274" y="5368"/>
                  <a:pt x="4251" y="5378"/>
                  <a:pt x="4225" y="5390"/>
                </a:cubicBezTo>
                <a:cubicBezTo>
                  <a:pt x="4122" y="5437"/>
                  <a:pt x="3981" y="5489"/>
                  <a:pt x="3834" y="5524"/>
                </a:cubicBezTo>
                <a:cubicBezTo>
                  <a:pt x="3689" y="5560"/>
                  <a:pt x="3539" y="5580"/>
                  <a:pt x="3427" y="5585"/>
                </a:cubicBezTo>
                <a:cubicBezTo>
                  <a:pt x="3370" y="5588"/>
                  <a:pt x="3323" y="5589"/>
                  <a:pt x="3291" y="5589"/>
                </a:cubicBezTo>
                <a:cubicBezTo>
                  <a:pt x="3258" y="5589"/>
                  <a:pt x="3239" y="5588"/>
                  <a:pt x="3239" y="5588"/>
                </a:cubicBezTo>
                <a:close/>
              </a:path>
            </a:pathLst>
          </a:custGeom>
          <a:solidFill>
            <a:schemeClr val="bg1"/>
          </a:solidFill>
          <a:ln w="25400">
            <a:solidFill>
              <a:schemeClr val="accent1"/>
            </a:solidFill>
          </a:ln>
          <a:effectLst/>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3" name="Freeform 47"/>
          <p:cNvSpPr>
            <a:spLocks noEditPoints="1"/>
          </p:cNvSpPr>
          <p:nvPr/>
        </p:nvSpPr>
        <p:spPr bwMode="auto">
          <a:xfrm>
            <a:off x="8243993" y="2897651"/>
            <a:ext cx="2220913" cy="2233613"/>
          </a:xfrm>
          <a:custGeom>
            <a:avLst/>
            <a:gdLst>
              <a:gd name="T0" fmla="*/ 2955 w 5493"/>
              <a:gd name="T1" fmla="*/ 5175 h 5527"/>
              <a:gd name="T2" fmla="*/ 3328 w 5493"/>
              <a:gd name="T3" fmla="*/ 5160 h 5527"/>
              <a:gd name="T4" fmla="*/ 3744 w 5493"/>
              <a:gd name="T5" fmla="*/ 5357 h 5527"/>
              <a:gd name="T6" fmla="*/ 3968 w 5493"/>
              <a:gd name="T7" fmla="*/ 4864 h 5527"/>
              <a:gd name="T8" fmla="*/ 4295 w 5493"/>
              <a:gd name="T9" fmla="*/ 4639 h 5527"/>
              <a:gd name="T10" fmla="*/ 4836 w 5493"/>
              <a:gd name="T11" fmla="*/ 4607 h 5527"/>
              <a:gd name="T12" fmla="*/ 4803 w 5493"/>
              <a:gd name="T13" fmla="*/ 4149 h 5527"/>
              <a:gd name="T14" fmla="*/ 4951 w 5493"/>
              <a:gd name="T15" fmla="*/ 3806 h 5527"/>
              <a:gd name="T16" fmla="*/ 5422 w 5493"/>
              <a:gd name="T17" fmla="*/ 3556 h 5527"/>
              <a:gd name="T18" fmla="*/ 5336 w 5493"/>
              <a:gd name="T19" fmla="*/ 3133 h 5527"/>
              <a:gd name="T20" fmla="*/ 5187 w 5493"/>
              <a:gd name="T21" fmla="*/ 2741 h 5527"/>
              <a:gd name="T22" fmla="*/ 5459 w 5493"/>
              <a:gd name="T23" fmla="*/ 2319 h 5527"/>
              <a:gd name="T24" fmla="*/ 5427 w 5493"/>
              <a:gd name="T25" fmla="*/ 1989 h 5527"/>
              <a:gd name="T26" fmla="*/ 4957 w 5493"/>
              <a:gd name="T27" fmla="*/ 1737 h 5527"/>
              <a:gd name="T28" fmla="*/ 4811 w 5493"/>
              <a:gd name="T29" fmla="*/ 1393 h 5527"/>
              <a:gd name="T30" fmla="*/ 4847 w 5493"/>
              <a:gd name="T31" fmla="*/ 936 h 5527"/>
              <a:gd name="T32" fmla="*/ 4389 w 5493"/>
              <a:gd name="T33" fmla="*/ 913 h 5527"/>
              <a:gd name="T34" fmla="*/ 3981 w 5493"/>
              <a:gd name="T35" fmla="*/ 672 h 5527"/>
              <a:gd name="T36" fmla="*/ 3838 w 5493"/>
              <a:gd name="T37" fmla="*/ 211 h 5527"/>
              <a:gd name="T38" fmla="*/ 3517 w 5493"/>
              <a:gd name="T39" fmla="*/ 186 h 5527"/>
              <a:gd name="T40" fmla="*/ 3099 w 5493"/>
              <a:gd name="T41" fmla="*/ 370 h 5527"/>
              <a:gd name="T42" fmla="*/ 2779 w 5493"/>
              <a:gd name="T43" fmla="*/ 264 h 5527"/>
              <a:gd name="T44" fmla="*/ 2359 w 5493"/>
              <a:gd name="T45" fmla="*/ 26 h 5527"/>
              <a:gd name="T46" fmla="*/ 2107 w 5493"/>
              <a:gd name="T47" fmla="*/ 440 h 5527"/>
              <a:gd name="T48" fmla="*/ 1736 w 5493"/>
              <a:gd name="T49" fmla="*/ 579 h 5527"/>
              <a:gd name="T50" fmla="*/ 1102 w 5493"/>
              <a:gd name="T51" fmla="*/ 555 h 5527"/>
              <a:gd name="T52" fmla="*/ 964 w 5493"/>
              <a:gd name="T53" fmla="*/ 1156 h 5527"/>
              <a:gd name="T54" fmla="*/ 613 w 5493"/>
              <a:gd name="T55" fmla="*/ 1325 h 5527"/>
              <a:gd name="T56" fmla="*/ 283 w 5493"/>
              <a:gd name="T57" fmla="*/ 1548 h 5527"/>
              <a:gd name="T58" fmla="*/ 479 w 5493"/>
              <a:gd name="T59" fmla="*/ 1989 h 5527"/>
              <a:gd name="T60" fmla="*/ 389 w 5493"/>
              <a:gd name="T61" fmla="*/ 2343 h 5527"/>
              <a:gd name="T62" fmla="*/ 4 w 5493"/>
              <a:gd name="T63" fmla="*/ 2631 h 5527"/>
              <a:gd name="T64" fmla="*/ 50 w 5493"/>
              <a:gd name="T65" fmla="*/ 2959 h 5527"/>
              <a:gd name="T66" fmla="*/ 420 w 5493"/>
              <a:gd name="T67" fmla="*/ 3336 h 5527"/>
              <a:gd name="T68" fmla="*/ 293 w 5493"/>
              <a:gd name="T69" fmla="*/ 3804 h 5527"/>
              <a:gd name="T70" fmla="*/ 375 w 5493"/>
              <a:gd name="T71" fmla="*/ 4154 h 5527"/>
              <a:gd name="T72" fmla="*/ 848 w 5493"/>
              <a:gd name="T73" fmla="*/ 4233 h 5527"/>
              <a:gd name="T74" fmla="*/ 1115 w 5493"/>
              <a:gd name="T75" fmla="*/ 4585 h 5527"/>
              <a:gd name="T76" fmla="*/ 1190 w 5493"/>
              <a:gd name="T77" fmla="*/ 5039 h 5527"/>
              <a:gd name="T78" fmla="*/ 1640 w 5493"/>
              <a:gd name="T79" fmla="*/ 4951 h 5527"/>
              <a:gd name="T80" fmla="*/ 1999 w 5493"/>
              <a:gd name="T81" fmla="*/ 5056 h 5527"/>
              <a:gd name="T82" fmla="*/ 2304 w 5493"/>
              <a:gd name="T83" fmla="*/ 5493 h 5527"/>
              <a:gd name="T84" fmla="*/ 2527 w 5493"/>
              <a:gd name="T85" fmla="*/ 4711 h 5527"/>
              <a:gd name="T86" fmla="*/ 1987 w 5493"/>
              <a:gd name="T87" fmla="*/ 4563 h 5527"/>
              <a:gd name="T88" fmla="*/ 1298 w 5493"/>
              <a:gd name="T89" fmla="*/ 4061 h 5527"/>
              <a:gd name="T90" fmla="*/ 873 w 5493"/>
              <a:gd name="T91" fmla="*/ 3268 h 5527"/>
              <a:gd name="T92" fmla="*/ 836 w 5493"/>
              <a:gd name="T93" fmla="*/ 2435 h 5527"/>
              <a:gd name="T94" fmla="*/ 908 w 5493"/>
              <a:gd name="T95" fmla="*/ 2147 h 5527"/>
              <a:gd name="T96" fmla="*/ 1305 w 5493"/>
              <a:gd name="T97" fmla="*/ 1460 h 5527"/>
              <a:gd name="T98" fmla="*/ 2079 w 5493"/>
              <a:gd name="T99" fmla="*/ 928 h 5527"/>
              <a:gd name="T100" fmla="*/ 2864 w 5493"/>
              <a:gd name="T101" fmla="*/ 806 h 5527"/>
              <a:gd name="T102" fmla="*/ 3158 w 5493"/>
              <a:gd name="T103" fmla="*/ 843 h 5527"/>
              <a:gd name="T104" fmla="*/ 3922 w 5493"/>
              <a:gd name="T105" fmla="*/ 1177 h 5527"/>
              <a:gd name="T106" fmla="*/ 4509 w 5493"/>
              <a:gd name="T107" fmla="*/ 1859 h 5527"/>
              <a:gd name="T108" fmla="*/ 4729 w 5493"/>
              <a:gd name="T109" fmla="*/ 2683 h 5527"/>
              <a:gd name="T110" fmla="*/ 4672 w 5493"/>
              <a:gd name="T111" fmla="*/ 3240 h 5527"/>
              <a:gd name="T112" fmla="*/ 4429 w 5493"/>
              <a:gd name="T113" fmla="*/ 3810 h 5527"/>
              <a:gd name="T114" fmla="*/ 3879 w 5493"/>
              <a:gd name="T115" fmla="*/ 4383 h 5527"/>
              <a:gd name="T116" fmla="*/ 3146 w 5493"/>
              <a:gd name="T117" fmla="*/ 4690 h 5527"/>
              <a:gd name="T118" fmla="*/ 2527 w 5493"/>
              <a:gd name="T119" fmla="*/ 4711 h 5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3" h="5527">
                <a:moveTo>
                  <a:pt x="2634" y="5488"/>
                </a:moveTo>
                <a:cubicBezTo>
                  <a:pt x="2634" y="5488"/>
                  <a:pt x="2644" y="5472"/>
                  <a:pt x="2660" y="5448"/>
                </a:cubicBezTo>
                <a:cubicBezTo>
                  <a:pt x="2675" y="5423"/>
                  <a:pt x="2695" y="5390"/>
                  <a:pt x="2714" y="5357"/>
                </a:cubicBezTo>
                <a:cubicBezTo>
                  <a:pt x="2752" y="5291"/>
                  <a:pt x="2785" y="5225"/>
                  <a:pt x="2785" y="5225"/>
                </a:cubicBezTo>
                <a:cubicBezTo>
                  <a:pt x="2799" y="5199"/>
                  <a:pt x="2826" y="5181"/>
                  <a:pt x="2856" y="5181"/>
                </a:cubicBezTo>
                <a:cubicBezTo>
                  <a:pt x="2856" y="5181"/>
                  <a:pt x="2905" y="5180"/>
                  <a:pt x="2955" y="5175"/>
                </a:cubicBezTo>
                <a:cubicBezTo>
                  <a:pt x="2979" y="5173"/>
                  <a:pt x="3004" y="5171"/>
                  <a:pt x="3023" y="5170"/>
                </a:cubicBezTo>
                <a:cubicBezTo>
                  <a:pt x="3041" y="5167"/>
                  <a:pt x="3053" y="5166"/>
                  <a:pt x="3053" y="5166"/>
                </a:cubicBezTo>
                <a:cubicBezTo>
                  <a:pt x="3053" y="5166"/>
                  <a:pt x="3066" y="5164"/>
                  <a:pt x="3084" y="5162"/>
                </a:cubicBezTo>
                <a:cubicBezTo>
                  <a:pt x="3103" y="5159"/>
                  <a:pt x="3127" y="5157"/>
                  <a:pt x="3152" y="5152"/>
                </a:cubicBezTo>
                <a:cubicBezTo>
                  <a:pt x="3201" y="5144"/>
                  <a:pt x="3250" y="5135"/>
                  <a:pt x="3250" y="5135"/>
                </a:cubicBezTo>
                <a:cubicBezTo>
                  <a:pt x="3279" y="5129"/>
                  <a:pt x="3309" y="5138"/>
                  <a:pt x="3328" y="5160"/>
                </a:cubicBezTo>
                <a:cubicBezTo>
                  <a:pt x="3328" y="5160"/>
                  <a:pt x="3340" y="5175"/>
                  <a:pt x="3359" y="5196"/>
                </a:cubicBezTo>
                <a:cubicBezTo>
                  <a:pt x="3377" y="5217"/>
                  <a:pt x="3403" y="5246"/>
                  <a:pt x="3429" y="5273"/>
                </a:cubicBezTo>
                <a:cubicBezTo>
                  <a:pt x="3481" y="5328"/>
                  <a:pt x="3536" y="5381"/>
                  <a:pt x="3536" y="5381"/>
                </a:cubicBezTo>
                <a:cubicBezTo>
                  <a:pt x="3558" y="5402"/>
                  <a:pt x="3593" y="5409"/>
                  <a:pt x="3625" y="5398"/>
                </a:cubicBezTo>
                <a:cubicBezTo>
                  <a:pt x="3625" y="5398"/>
                  <a:pt x="3640" y="5393"/>
                  <a:pt x="3662" y="5385"/>
                </a:cubicBezTo>
                <a:cubicBezTo>
                  <a:pt x="3685" y="5378"/>
                  <a:pt x="3715" y="5368"/>
                  <a:pt x="3744" y="5357"/>
                </a:cubicBezTo>
                <a:cubicBezTo>
                  <a:pt x="3773" y="5345"/>
                  <a:pt x="3802" y="5334"/>
                  <a:pt x="3824" y="5325"/>
                </a:cubicBezTo>
                <a:cubicBezTo>
                  <a:pt x="3846" y="5317"/>
                  <a:pt x="3860" y="5310"/>
                  <a:pt x="3860" y="5310"/>
                </a:cubicBezTo>
                <a:cubicBezTo>
                  <a:pt x="3891" y="5296"/>
                  <a:pt x="3913" y="5268"/>
                  <a:pt x="3916" y="5238"/>
                </a:cubicBezTo>
                <a:cubicBezTo>
                  <a:pt x="3916" y="5238"/>
                  <a:pt x="3923" y="5163"/>
                  <a:pt x="3925" y="5086"/>
                </a:cubicBezTo>
                <a:cubicBezTo>
                  <a:pt x="3928" y="5010"/>
                  <a:pt x="3927" y="4935"/>
                  <a:pt x="3927" y="4935"/>
                </a:cubicBezTo>
                <a:cubicBezTo>
                  <a:pt x="3927" y="4907"/>
                  <a:pt x="3942" y="4879"/>
                  <a:pt x="3968" y="4864"/>
                </a:cubicBezTo>
                <a:cubicBezTo>
                  <a:pt x="3968" y="4864"/>
                  <a:pt x="3979" y="4857"/>
                  <a:pt x="3995" y="4848"/>
                </a:cubicBezTo>
                <a:cubicBezTo>
                  <a:pt x="4011" y="4839"/>
                  <a:pt x="4033" y="4827"/>
                  <a:pt x="4053" y="4813"/>
                </a:cubicBezTo>
                <a:cubicBezTo>
                  <a:pt x="4095" y="4786"/>
                  <a:pt x="4137" y="4759"/>
                  <a:pt x="4137" y="4759"/>
                </a:cubicBezTo>
                <a:cubicBezTo>
                  <a:pt x="4137" y="4759"/>
                  <a:pt x="4177" y="4730"/>
                  <a:pt x="4217" y="4701"/>
                </a:cubicBezTo>
                <a:cubicBezTo>
                  <a:pt x="4238" y="4686"/>
                  <a:pt x="4256" y="4670"/>
                  <a:pt x="4271" y="4659"/>
                </a:cubicBezTo>
                <a:cubicBezTo>
                  <a:pt x="4286" y="4647"/>
                  <a:pt x="4295" y="4639"/>
                  <a:pt x="4295" y="4639"/>
                </a:cubicBezTo>
                <a:cubicBezTo>
                  <a:pt x="4319" y="4621"/>
                  <a:pt x="4350" y="4616"/>
                  <a:pt x="4377" y="4626"/>
                </a:cubicBezTo>
                <a:cubicBezTo>
                  <a:pt x="4377" y="4626"/>
                  <a:pt x="4446" y="4654"/>
                  <a:pt x="4518" y="4679"/>
                </a:cubicBezTo>
                <a:cubicBezTo>
                  <a:pt x="4591" y="4705"/>
                  <a:pt x="4664" y="4725"/>
                  <a:pt x="4664" y="4725"/>
                </a:cubicBezTo>
                <a:cubicBezTo>
                  <a:pt x="4692" y="4733"/>
                  <a:pt x="4726" y="4723"/>
                  <a:pt x="4751" y="4699"/>
                </a:cubicBezTo>
                <a:cubicBezTo>
                  <a:pt x="4751" y="4699"/>
                  <a:pt x="4762" y="4688"/>
                  <a:pt x="4778" y="4671"/>
                </a:cubicBezTo>
                <a:cubicBezTo>
                  <a:pt x="4794" y="4653"/>
                  <a:pt x="4815" y="4630"/>
                  <a:pt x="4836" y="4607"/>
                </a:cubicBezTo>
                <a:cubicBezTo>
                  <a:pt x="4858" y="4585"/>
                  <a:pt x="4877" y="4560"/>
                  <a:pt x="4892" y="4542"/>
                </a:cubicBezTo>
                <a:cubicBezTo>
                  <a:pt x="4907" y="4524"/>
                  <a:pt x="4917" y="4512"/>
                  <a:pt x="4917" y="4512"/>
                </a:cubicBezTo>
                <a:cubicBezTo>
                  <a:pt x="4940" y="4486"/>
                  <a:pt x="4946" y="4451"/>
                  <a:pt x="4934" y="4423"/>
                </a:cubicBezTo>
                <a:cubicBezTo>
                  <a:pt x="4934" y="4423"/>
                  <a:pt x="4904" y="4352"/>
                  <a:pt x="4872" y="4284"/>
                </a:cubicBezTo>
                <a:cubicBezTo>
                  <a:pt x="4856" y="4250"/>
                  <a:pt x="4838" y="4215"/>
                  <a:pt x="4825" y="4190"/>
                </a:cubicBezTo>
                <a:cubicBezTo>
                  <a:pt x="4812" y="4165"/>
                  <a:pt x="4803" y="4149"/>
                  <a:pt x="4803" y="4149"/>
                </a:cubicBezTo>
                <a:cubicBezTo>
                  <a:pt x="4789" y="4123"/>
                  <a:pt x="4791" y="4092"/>
                  <a:pt x="4807" y="4067"/>
                </a:cubicBezTo>
                <a:cubicBezTo>
                  <a:pt x="4807" y="4067"/>
                  <a:pt x="4833" y="4024"/>
                  <a:pt x="4859" y="3982"/>
                </a:cubicBezTo>
                <a:cubicBezTo>
                  <a:pt x="4872" y="3961"/>
                  <a:pt x="4883" y="3938"/>
                  <a:pt x="4892" y="3922"/>
                </a:cubicBezTo>
                <a:cubicBezTo>
                  <a:pt x="4901" y="3906"/>
                  <a:pt x="4907" y="3895"/>
                  <a:pt x="4907" y="3895"/>
                </a:cubicBezTo>
                <a:cubicBezTo>
                  <a:pt x="4907" y="3895"/>
                  <a:pt x="4912" y="3884"/>
                  <a:pt x="4921" y="3867"/>
                </a:cubicBezTo>
                <a:cubicBezTo>
                  <a:pt x="4929" y="3851"/>
                  <a:pt x="4940" y="3828"/>
                  <a:pt x="4951" y="3806"/>
                </a:cubicBezTo>
                <a:cubicBezTo>
                  <a:pt x="4973" y="3762"/>
                  <a:pt x="4992" y="3716"/>
                  <a:pt x="4992" y="3716"/>
                </a:cubicBezTo>
                <a:cubicBezTo>
                  <a:pt x="5003" y="3688"/>
                  <a:pt x="5029" y="3669"/>
                  <a:pt x="5058" y="3666"/>
                </a:cubicBezTo>
                <a:cubicBezTo>
                  <a:pt x="5058" y="3666"/>
                  <a:pt x="5132" y="3658"/>
                  <a:pt x="5207" y="3647"/>
                </a:cubicBezTo>
                <a:cubicBezTo>
                  <a:pt x="5245" y="3641"/>
                  <a:pt x="5283" y="3634"/>
                  <a:pt x="5311" y="3629"/>
                </a:cubicBezTo>
                <a:cubicBezTo>
                  <a:pt x="5339" y="3623"/>
                  <a:pt x="5358" y="3620"/>
                  <a:pt x="5358" y="3620"/>
                </a:cubicBezTo>
                <a:cubicBezTo>
                  <a:pt x="5387" y="3614"/>
                  <a:pt x="5412" y="3589"/>
                  <a:pt x="5422" y="3556"/>
                </a:cubicBezTo>
                <a:cubicBezTo>
                  <a:pt x="5422" y="3556"/>
                  <a:pt x="5427" y="3541"/>
                  <a:pt x="5433" y="3518"/>
                </a:cubicBezTo>
                <a:cubicBezTo>
                  <a:pt x="5439" y="3496"/>
                  <a:pt x="5447" y="3466"/>
                  <a:pt x="5455" y="3435"/>
                </a:cubicBezTo>
                <a:cubicBezTo>
                  <a:pt x="5463" y="3405"/>
                  <a:pt x="5470" y="3374"/>
                  <a:pt x="5474" y="3351"/>
                </a:cubicBezTo>
                <a:cubicBezTo>
                  <a:pt x="5479" y="3329"/>
                  <a:pt x="5483" y="3313"/>
                  <a:pt x="5483" y="3313"/>
                </a:cubicBezTo>
                <a:cubicBezTo>
                  <a:pt x="5490" y="3280"/>
                  <a:pt x="5479" y="3246"/>
                  <a:pt x="5456" y="3227"/>
                </a:cubicBezTo>
                <a:cubicBezTo>
                  <a:pt x="5456" y="3227"/>
                  <a:pt x="5396" y="3178"/>
                  <a:pt x="5336" y="3133"/>
                </a:cubicBezTo>
                <a:cubicBezTo>
                  <a:pt x="5306" y="3110"/>
                  <a:pt x="5275" y="3088"/>
                  <a:pt x="5251" y="3072"/>
                </a:cubicBezTo>
                <a:cubicBezTo>
                  <a:pt x="5228" y="3056"/>
                  <a:pt x="5212" y="3045"/>
                  <a:pt x="5212" y="3045"/>
                </a:cubicBezTo>
                <a:cubicBezTo>
                  <a:pt x="5188" y="3029"/>
                  <a:pt x="5175" y="3000"/>
                  <a:pt x="5178" y="2970"/>
                </a:cubicBezTo>
                <a:cubicBezTo>
                  <a:pt x="5178" y="2970"/>
                  <a:pt x="5181" y="2921"/>
                  <a:pt x="5185" y="2871"/>
                </a:cubicBezTo>
                <a:cubicBezTo>
                  <a:pt x="5186" y="2822"/>
                  <a:pt x="5187" y="2772"/>
                  <a:pt x="5187" y="2772"/>
                </a:cubicBezTo>
                <a:cubicBezTo>
                  <a:pt x="5187" y="2772"/>
                  <a:pt x="5187" y="2760"/>
                  <a:pt x="5187" y="2741"/>
                </a:cubicBezTo>
                <a:cubicBezTo>
                  <a:pt x="5186" y="2722"/>
                  <a:pt x="5186" y="2698"/>
                  <a:pt x="5185" y="2673"/>
                </a:cubicBezTo>
                <a:cubicBezTo>
                  <a:pt x="5184" y="2648"/>
                  <a:pt x="5183" y="2623"/>
                  <a:pt x="5182" y="2605"/>
                </a:cubicBezTo>
                <a:cubicBezTo>
                  <a:pt x="5180" y="2586"/>
                  <a:pt x="5179" y="2574"/>
                  <a:pt x="5179" y="2574"/>
                </a:cubicBezTo>
                <a:cubicBezTo>
                  <a:pt x="5177" y="2544"/>
                  <a:pt x="5191" y="2515"/>
                  <a:pt x="5215" y="2499"/>
                </a:cubicBezTo>
                <a:cubicBezTo>
                  <a:pt x="5215" y="2499"/>
                  <a:pt x="5277" y="2458"/>
                  <a:pt x="5338" y="2413"/>
                </a:cubicBezTo>
                <a:cubicBezTo>
                  <a:pt x="5400" y="2368"/>
                  <a:pt x="5459" y="2319"/>
                  <a:pt x="5459" y="2319"/>
                </a:cubicBezTo>
                <a:cubicBezTo>
                  <a:pt x="5482" y="2300"/>
                  <a:pt x="5493" y="2267"/>
                  <a:pt x="5487" y="2233"/>
                </a:cubicBezTo>
                <a:cubicBezTo>
                  <a:pt x="5487" y="2233"/>
                  <a:pt x="5486" y="2229"/>
                  <a:pt x="5485" y="2222"/>
                </a:cubicBezTo>
                <a:cubicBezTo>
                  <a:pt x="5484" y="2215"/>
                  <a:pt x="5482" y="2206"/>
                  <a:pt x="5479" y="2194"/>
                </a:cubicBezTo>
                <a:cubicBezTo>
                  <a:pt x="5474" y="2171"/>
                  <a:pt x="5467" y="2141"/>
                  <a:pt x="5460" y="2110"/>
                </a:cubicBezTo>
                <a:cubicBezTo>
                  <a:pt x="5453" y="2080"/>
                  <a:pt x="5444" y="2050"/>
                  <a:pt x="5438" y="2027"/>
                </a:cubicBezTo>
                <a:cubicBezTo>
                  <a:pt x="5431" y="2004"/>
                  <a:pt x="5427" y="1989"/>
                  <a:pt x="5427" y="1989"/>
                </a:cubicBezTo>
                <a:cubicBezTo>
                  <a:pt x="5418" y="1956"/>
                  <a:pt x="5393" y="1931"/>
                  <a:pt x="5363" y="1925"/>
                </a:cubicBezTo>
                <a:cubicBezTo>
                  <a:pt x="5363" y="1925"/>
                  <a:pt x="5288" y="1909"/>
                  <a:pt x="5213" y="1897"/>
                </a:cubicBezTo>
                <a:cubicBezTo>
                  <a:pt x="5176" y="1891"/>
                  <a:pt x="5138" y="1886"/>
                  <a:pt x="5110" y="1883"/>
                </a:cubicBezTo>
                <a:cubicBezTo>
                  <a:pt x="5082" y="1880"/>
                  <a:pt x="5063" y="1877"/>
                  <a:pt x="5063" y="1877"/>
                </a:cubicBezTo>
                <a:cubicBezTo>
                  <a:pt x="5034" y="1874"/>
                  <a:pt x="5009" y="1855"/>
                  <a:pt x="4998" y="1827"/>
                </a:cubicBezTo>
                <a:cubicBezTo>
                  <a:pt x="4998" y="1827"/>
                  <a:pt x="4978" y="1782"/>
                  <a:pt x="4957" y="1737"/>
                </a:cubicBezTo>
                <a:cubicBezTo>
                  <a:pt x="4948" y="1714"/>
                  <a:pt x="4935" y="1692"/>
                  <a:pt x="4927" y="1675"/>
                </a:cubicBezTo>
                <a:cubicBezTo>
                  <a:pt x="4919" y="1659"/>
                  <a:pt x="4913" y="1648"/>
                  <a:pt x="4913" y="1648"/>
                </a:cubicBezTo>
                <a:cubicBezTo>
                  <a:pt x="4913" y="1648"/>
                  <a:pt x="4891" y="1603"/>
                  <a:pt x="4865" y="1561"/>
                </a:cubicBezTo>
                <a:cubicBezTo>
                  <a:pt x="4853" y="1539"/>
                  <a:pt x="4840" y="1518"/>
                  <a:pt x="4831" y="1502"/>
                </a:cubicBezTo>
                <a:cubicBezTo>
                  <a:pt x="4821" y="1486"/>
                  <a:pt x="4814" y="1476"/>
                  <a:pt x="4814" y="1476"/>
                </a:cubicBezTo>
                <a:cubicBezTo>
                  <a:pt x="4798" y="1451"/>
                  <a:pt x="4797" y="1419"/>
                  <a:pt x="4811" y="1393"/>
                </a:cubicBezTo>
                <a:cubicBezTo>
                  <a:pt x="4811" y="1393"/>
                  <a:pt x="4820" y="1377"/>
                  <a:pt x="4833" y="1352"/>
                </a:cubicBezTo>
                <a:cubicBezTo>
                  <a:pt x="4847" y="1327"/>
                  <a:pt x="4863" y="1294"/>
                  <a:pt x="4880" y="1259"/>
                </a:cubicBezTo>
                <a:cubicBezTo>
                  <a:pt x="4913" y="1191"/>
                  <a:pt x="4944" y="1120"/>
                  <a:pt x="4944" y="1120"/>
                </a:cubicBezTo>
                <a:cubicBezTo>
                  <a:pt x="4956" y="1092"/>
                  <a:pt x="4949" y="1058"/>
                  <a:pt x="4928" y="1032"/>
                </a:cubicBezTo>
                <a:cubicBezTo>
                  <a:pt x="4928" y="1032"/>
                  <a:pt x="4918" y="1019"/>
                  <a:pt x="4903" y="1001"/>
                </a:cubicBezTo>
                <a:cubicBezTo>
                  <a:pt x="4889" y="983"/>
                  <a:pt x="4868" y="959"/>
                  <a:pt x="4847" y="936"/>
                </a:cubicBezTo>
                <a:cubicBezTo>
                  <a:pt x="4826" y="912"/>
                  <a:pt x="4805" y="889"/>
                  <a:pt x="4790" y="872"/>
                </a:cubicBezTo>
                <a:cubicBezTo>
                  <a:pt x="4773" y="855"/>
                  <a:pt x="4763" y="843"/>
                  <a:pt x="4763" y="843"/>
                </a:cubicBezTo>
                <a:cubicBezTo>
                  <a:pt x="4738" y="819"/>
                  <a:pt x="4705" y="808"/>
                  <a:pt x="4676" y="816"/>
                </a:cubicBezTo>
                <a:cubicBezTo>
                  <a:pt x="4676" y="816"/>
                  <a:pt x="4658" y="821"/>
                  <a:pt x="4631" y="829"/>
                </a:cubicBezTo>
                <a:cubicBezTo>
                  <a:pt x="4603" y="838"/>
                  <a:pt x="4566" y="849"/>
                  <a:pt x="4530" y="861"/>
                </a:cubicBezTo>
                <a:cubicBezTo>
                  <a:pt x="4458" y="886"/>
                  <a:pt x="4389" y="913"/>
                  <a:pt x="4389" y="913"/>
                </a:cubicBezTo>
                <a:cubicBezTo>
                  <a:pt x="4362" y="923"/>
                  <a:pt x="4330" y="918"/>
                  <a:pt x="4307" y="899"/>
                </a:cubicBezTo>
                <a:cubicBezTo>
                  <a:pt x="4307" y="899"/>
                  <a:pt x="4269" y="867"/>
                  <a:pt x="4229" y="838"/>
                </a:cubicBezTo>
                <a:cubicBezTo>
                  <a:pt x="4209" y="823"/>
                  <a:pt x="4189" y="808"/>
                  <a:pt x="4174" y="797"/>
                </a:cubicBezTo>
                <a:cubicBezTo>
                  <a:pt x="4159" y="786"/>
                  <a:pt x="4149" y="779"/>
                  <a:pt x="4149" y="779"/>
                </a:cubicBezTo>
                <a:cubicBezTo>
                  <a:pt x="4149" y="779"/>
                  <a:pt x="4108" y="751"/>
                  <a:pt x="4066" y="724"/>
                </a:cubicBezTo>
                <a:cubicBezTo>
                  <a:pt x="4024" y="698"/>
                  <a:pt x="3981" y="672"/>
                  <a:pt x="3981" y="672"/>
                </a:cubicBezTo>
                <a:cubicBezTo>
                  <a:pt x="3955" y="657"/>
                  <a:pt x="3939" y="631"/>
                  <a:pt x="3940" y="602"/>
                </a:cubicBezTo>
                <a:cubicBezTo>
                  <a:pt x="3940" y="602"/>
                  <a:pt x="3940" y="583"/>
                  <a:pt x="3940" y="554"/>
                </a:cubicBezTo>
                <a:cubicBezTo>
                  <a:pt x="3940" y="526"/>
                  <a:pt x="3940" y="487"/>
                  <a:pt x="3939" y="450"/>
                </a:cubicBezTo>
                <a:cubicBezTo>
                  <a:pt x="3936" y="375"/>
                  <a:pt x="3930" y="298"/>
                  <a:pt x="3930" y="298"/>
                </a:cubicBezTo>
                <a:cubicBezTo>
                  <a:pt x="3928" y="268"/>
                  <a:pt x="3906" y="239"/>
                  <a:pt x="3874" y="226"/>
                </a:cubicBezTo>
                <a:cubicBezTo>
                  <a:pt x="3874" y="226"/>
                  <a:pt x="3860" y="220"/>
                  <a:pt x="3838" y="211"/>
                </a:cubicBezTo>
                <a:cubicBezTo>
                  <a:pt x="3817" y="202"/>
                  <a:pt x="3788" y="189"/>
                  <a:pt x="3758" y="179"/>
                </a:cubicBezTo>
                <a:cubicBezTo>
                  <a:pt x="3729" y="168"/>
                  <a:pt x="3700" y="158"/>
                  <a:pt x="3678" y="150"/>
                </a:cubicBezTo>
                <a:cubicBezTo>
                  <a:pt x="3667" y="145"/>
                  <a:pt x="3657" y="142"/>
                  <a:pt x="3651" y="140"/>
                </a:cubicBezTo>
                <a:cubicBezTo>
                  <a:pt x="3644" y="138"/>
                  <a:pt x="3641" y="137"/>
                  <a:pt x="3641" y="137"/>
                </a:cubicBezTo>
                <a:cubicBezTo>
                  <a:pt x="3608" y="127"/>
                  <a:pt x="3573" y="133"/>
                  <a:pt x="3552" y="153"/>
                </a:cubicBezTo>
                <a:cubicBezTo>
                  <a:pt x="3552" y="153"/>
                  <a:pt x="3538" y="167"/>
                  <a:pt x="3517" y="186"/>
                </a:cubicBezTo>
                <a:cubicBezTo>
                  <a:pt x="3497" y="206"/>
                  <a:pt x="3470" y="234"/>
                  <a:pt x="3444" y="261"/>
                </a:cubicBezTo>
                <a:cubicBezTo>
                  <a:pt x="3391" y="317"/>
                  <a:pt x="3342" y="373"/>
                  <a:pt x="3342" y="373"/>
                </a:cubicBezTo>
                <a:cubicBezTo>
                  <a:pt x="3323" y="394"/>
                  <a:pt x="3293" y="405"/>
                  <a:pt x="3264" y="399"/>
                </a:cubicBezTo>
                <a:cubicBezTo>
                  <a:pt x="3264" y="399"/>
                  <a:pt x="3251" y="396"/>
                  <a:pt x="3233" y="392"/>
                </a:cubicBezTo>
                <a:cubicBezTo>
                  <a:pt x="3215" y="388"/>
                  <a:pt x="3191" y="385"/>
                  <a:pt x="3166" y="381"/>
                </a:cubicBezTo>
                <a:cubicBezTo>
                  <a:pt x="3142" y="377"/>
                  <a:pt x="3117" y="373"/>
                  <a:pt x="3099" y="370"/>
                </a:cubicBezTo>
                <a:cubicBezTo>
                  <a:pt x="3080" y="368"/>
                  <a:pt x="3068" y="366"/>
                  <a:pt x="3068" y="366"/>
                </a:cubicBezTo>
                <a:cubicBezTo>
                  <a:pt x="3068" y="366"/>
                  <a:pt x="3056" y="365"/>
                  <a:pt x="3037" y="363"/>
                </a:cubicBezTo>
                <a:cubicBezTo>
                  <a:pt x="3019" y="361"/>
                  <a:pt x="2994" y="357"/>
                  <a:pt x="2969" y="356"/>
                </a:cubicBezTo>
                <a:cubicBezTo>
                  <a:pt x="2920" y="352"/>
                  <a:pt x="2870" y="349"/>
                  <a:pt x="2870" y="349"/>
                </a:cubicBezTo>
                <a:cubicBezTo>
                  <a:pt x="2840" y="348"/>
                  <a:pt x="2813" y="332"/>
                  <a:pt x="2800" y="306"/>
                </a:cubicBezTo>
                <a:cubicBezTo>
                  <a:pt x="2800" y="306"/>
                  <a:pt x="2792" y="289"/>
                  <a:pt x="2779" y="264"/>
                </a:cubicBezTo>
                <a:cubicBezTo>
                  <a:pt x="2766" y="238"/>
                  <a:pt x="2748" y="205"/>
                  <a:pt x="2729" y="172"/>
                </a:cubicBezTo>
                <a:cubicBezTo>
                  <a:pt x="2692" y="106"/>
                  <a:pt x="2651" y="41"/>
                  <a:pt x="2651" y="41"/>
                </a:cubicBezTo>
                <a:cubicBezTo>
                  <a:pt x="2635" y="15"/>
                  <a:pt x="2603" y="0"/>
                  <a:pt x="2569" y="4"/>
                </a:cubicBezTo>
                <a:cubicBezTo>
                  <a:pt x="2569" y="4"/>
                  <a:pt x="2553" y="5"/>
                  <a:pt x="2530" y="7"/>
                </a:cubicBezTo>
                <a:cubicBezTo>
                  <a:pt x="2506" y="9"/>
                  <a:pt x="2475" y="11"/>
                  <a:pt x="2444" y="15"/>
                </a:cubicBezTo>
                <a:cubicBezTo>
                  <a:pt x="2413" y="19"/>
                  <a:pt x="2382" y="23"/>
                  <a:pt x="2359" y="26"/>
                </a:cubicBezTo>
                <a:cubicBezTo>
                  <a:pt x="2335" y="30"/>
                  <a:pt x="2320" y="33"/>
                  <a:pt x="2320" y="33"/>
                </a:cubicBezTo>
                <a:cubicBezTo>
                  <a:pt x="2286" y="39"/>
                  <a:pt x="2258" y="60"/>
                  <a:pt x="2249" y="88"/>
                </a:cubicBezTo>
                <a:cubicBezTo>
                  <a:pt x="2249" y="88"/>
                  <a:pt x="2243" y="106"/>
                  <a:pt x="2233" y="133"/>
                </a:cubicBezTo>
                <a:cubicBezTo>
                  <a:pt x="2225" y="161"/>
                  <a:pt x="2213" y="198"/>
                  <a:pt x="2203" y="234"/>
                </a:cubicBezTo>
                <a:cubicBezTo>
                  <a:pt x="2182" y="308"/>
                  <a:pt x="2165" y="380"/>
                  <a:pt x="2165" y="380"/>
                </a:cubicBezTo>
                <a:cubicBezTo>
                  <a:pt x="2158" y="408"/>
                  <a:pt x="2136" y="432"/>
                  <a:pt x="2107" y="440"/>
                </a:cubicBezTo>
                <a:cubicBezTo>
                  <a:pt x="2107" y="440"/>
                  <a:pt x="2095" y="443"/>
                  <a:pt x="2077" y="448"/>
                </a:cubicBezTo>
                <a:cubicBezTo>
                  <a:pt x="2059" y="453"/>
                  <a:pt x="2036" y="461"/>
                  <a:pt x="2012" y="469"/>
                </a:cubicBezTo>
                <a:cubicBezTo>
                  <a:pt x="1989" y="477"/>
                  <a:pt x="1965" y="485"/>
                  <a:pt x="1948" y="491"/>
                </a:cubicBezTo>
                <a:cubicBezTo>
                  <a:pt x="1930" y="497"/>
                  <a:pt x="1919" y="502"/>
                  <a:pt x="1919" y="502"/>
                </a:cubicBezTo>
                <a:cubicBezTo>
                  <a:pt x="1919" y="502"/>
                  <a:pt x="1873" y="520"/>
                  <a:pt x="1826" y="538"/>
                </a:cubicBezTo>
                <a:cubicBezTo>
                  <a:pt x="1781" y="559"/>
                  <a:pt x="1736" y="579"/>
                  <a:pt x="1736" y="579"/>
                </a:cubicBezTo>
                <a:cubicBezTo>
                  <a:pt x="1709" y="591"/>
                  <a:pt x="1678" y="590"/>
                  <a:pt x="1654" y="573"/>
                </a:cubicBezTo>
                <a:cubicBezTo>
                  <a:pt x="1654" y="573"/>
                  <a:pt x="1593" y="529"/>
                  <a:pt x="1529" y="488"/>
                </a:cubicBezTo>
                <a:cubicBezTo>
                  <a:pt x="1465" y="447"/>
                  <a:pt x="1398" y="409"/>
                  <a:pt x="1398" y="409"/>
                </a:cubicBezTo>
                <a:cubicBezTo>
                  <a:pt x="1373" y="394"/>
                  <a:pt x="1337" y="395"/>
                  <a:pt x="1308" y="413"/>
                </a:cubicBezTo>
                <a:cubicBezTo>
                  <a:pt x="1308" y="413"/>
                  <a:pt x="1256" y="447"/>
                  <a:pt x="1203" y="482"/>
                </a:cubicBezTo>
                <a:cubicBezTo>
                  <a:pt x="1153" y="518"/>
                  <a:pt x="1102" y="555"/>
                  <a:pt x="1102" y="555"/>
                </a:cubicBezTo>
                <a:cubicBezTo>
                  <a:pt x="1074" y="575"/>
                  <a:pt x="1061" y="608"/>
                  <a:pt x="1065" y="637"/>
                </a:cubicBezTo>
                <a:cubicBezTo>
                  <a:pt x="1065" y="637"/>
                  <a:pt x="1077" y="713"/>
                  <a:pt x="1092" y="787"/>
                </a:cubicBezTo>
                <a:cubicBezTo>
                  <a:pt x="1107" y="862"/>
                  <a:pt x="1126" y="935"/>
                  <a:pt x="1126" y="935"/>
                </a:cubicBezTo>
                <a:cubicBezTo>
                  <a:pt x="1134" y="963"/>
                  <a:pt x="1124" y="992"/>
                  <a:pt x="1102" y="1014"/>
                </a:cubicBezTo>
                <a:cubicBezTo>
                  <a:pt x="1102" y="1014"/>
                  <a:pt x="1067" y="1048"/>
                  <a:pt x="1032" y="1083"/>
                </a:cubicBezTo>
                <a:cubicBezTo>
                  <a:pt x="998" y="1120"/>
                  <a:pt x="964" y="1156"/>
                  <a:pt x="964" y="1156"/>
                </a:cubicBezTo>
                <a:cubicBezTo>
                  <a:pt x="964" y="1156"/>
                  <a:pt x="956" y="1165"/>
                  <a:pt x="944" y="1179"/>
                </a:cubicBezTo>
                <a:cubicBezTo>
                  <a:pt x="932" y="1193"/>
                  <a:pt x="916" y="1213"/>
                  <a:pt x="900" y="1232"/>
                </a:cubicBezTo>
                <a:cubicBezTo>
                  <a:pt x="884" y="1251"/>
                  <a:pt x="868" y="1270"/>
                  <a:pt x="857" y="1285"/>
                </a:cubicBezTo>
                <a:cubicBezTo>
                  <a:pt x="846" y="1300"/>
                  <a:pt x="839" y="1310"/>
                  <a:pt x="839" y="1310"/>
                </a:cubicBezTo>
                <a:cubicBezTo>
                  <a:pt x="821" y="1334"/>
                  <a:pt x="791" y="1346"/>
                  <a:pt x="762" y="1342"/>
                </a:cubicBezTo>
                <a:cubicBezTo>
                  <a:pt x="762" y="1342"/>
                  <a:pt x="689" y="1332"/>
                  <a:pt x="613" y="1325"/>
                </a:cubicBezTo>
                <a:cubicBezTo>
                  <a:pt x="575" y="1322"/>
                  <a:pt x="536" y="1319"/>
                  <a:pt x="507" y="1317"/>
                </a:cubicBezTo>
                <a:cubicBezTo>
                  <a:pt x="479" y="1316"/>
                  <a:pt x="460" y="1315"/>
                  <a:pt x="460" y="1315"/>
                </a:cubicBezTo>
                <a:cubicBezTo>
                  <a:pt x="430" y="1314"/>
                  <a:pt x="400" y="1332"/>
                  <a:pt x="382" y="1362"/>
                </a:cubicBezTo>
                <a:cubicBezTo>
                  <a:pt x="382" y="1362"/>
                  <a:pt x="374" y="1375"/>
                  <a:pt x="363" y="1395"/>
                </a:cubicBezTo>
                <a:cubicBezTo>
                  <a:pt x="351" y="1416"/>
                  <a:pt x="336" y="1444"/>
                  <a:pt x="322" y="1471"/>
                </a:cubicBezTo>
                <a:cubicBezTo>
                  <a:pt x="306" y="1498"/>
                  <a:pt x="293" y="1527"/>
                  <a:pt x="283" y="1548"/>
                </a:cubicBezTo>
                <a:cubicBezTo>
                  <a:pt x="272" y="1569"/>
                  <a:pt x="266" y="1583"/>
                  <a:pt x="266" y="1583"/>
                </a:cubicBezTo>
                <a:cubicBezTo>
                  <a:pt x="250" y="1614"/>
                  <a:pt x="253" y="1649"/>
                  <a:pt x="271" y="1673"/>
                </a:cubicBezTo>
                <a:cubicBezTo>
                  <a:pt x="271" y="1673"/>
                  <a:pt x="317" y="1735"/>
                  <a:pt x="365" y="1794"/>
                </a:cubicBezTo>
                <a:cubicBezTo>
                  <a:pt x="388" y="1823"/>
                  <a:pt x="414" y="1852"/>
                  <a:pt x="433" y="1873"/>
                </a:cubicBezTo>
                <a:cubicBezTo>
                  <a:pt x="451" y="1894"/>
                  <a:pt x="464" y="1908"/>
                  <a:pt x="464" y="1908"/>
                </a:cubicBezTo>
                <a:cubicBezTo>
                  <a:pt x="484" y="1930"/>
                  <a:pt x="489" y="1961"/>
                  <a:pt x="479" y="1989"/>
                </a:cubicBezTo>
                <a:cubicBezTo>
                  <a:pt x="479" y="1989"/>
                  <a:pt x="465" y="2036"/>
                  <a:pt x="450" y="2083"/>
                </a:cubicBezTo>
                <a:cubicBezTo>
                  <a:pt x="442" y="2107"/>
                  <a:pt x="437" y="2131"/>
                  <a:pt x="432" y="2149"/>
                </a:cubicBezTo>
                <a:cubicBezTo>
                  <a:pt x="427" y="2167"/>
                  <a:pt x="424" y="2179"/>
                  <a:pt x="424" y="2179"/>
                </a:cubicBezTo>
                <a:cubicBezTo>
                  <a:pt x="424" y="2179"/>
                  <a:pt x="421" y="2191"/>
                  <a:pt x="416" y="2209"/>
                </a:cubicBezTo>
                <a:cubicBezTo>
                  <a:pt x="412" y="2228"/>
                  <a:pt x="407" y="2252"/>
                  <a:pt x="402" y="2276"/>
                </a:cubicBezTo>
                <a:cubicBezTo>
                  <a:pt x="397" y="2300"/>
                  <a:pt x="392" y="2325"/>
                  <a:pt x="389" y="2343"/>
                </a:cubicBezTo>
                <a:cubicBezTo>
                  <a:pt x="386" y="2361"/>
                  <a:pt x="384" y="2374"/>
                  <a:pt x="384" y="2374"/>
                </a:cubicBezTo>
                <a:cubicBezTo>
                  <a:pt x="379" y="2403"/>
                  <a:pt x="358" y="2428"/>
                  <a:pt x="331" y="2438"/>
                </a:cubicBezTo>
                <a:cubicBezTo>
                  <a:pt x="331" y="2438"/>
                  <a:pt x="261" y="2463"/>
                  <a:pt x="191" y="2492"/>
                </a:cubicBezTo>
                <a:cubicBezTo>
                  <a:pt x="156" y="2507"/>
                  <a:pt x="120" y="2522"/>
                  <a:pt x="94" y="2534"/>
                </a:cubicBezTo>
                <a:cubicBezTo>
                  <a:pt x="68" y="2546"/>
                  <a:pt x="51" y="2554"/>
                  <a:pt x="51" y="2554"/>
                </a:cubicBezTo>
                <a:cubicBezTo>
                  <a:pt x="25" y="2567"/>
                  <a:pt x="6" y="2597"/>
                  <a:pt x="4" y="2631"/>
                </a:cubicBezTo>
                <a:cubicBezTo>
                  <a:pt x="4" y="2631"/>
                  <a:pt x="4" y="2635"/>
                  <a:pt x="3" y="2642"/>
                </a:cubicBezTo>
                <a:cubicBezTo>
                  <a:pt x="3" y="2649"/>
                  <a:pt x="2" y="2658"/>
                  <a:pt x="2" y="2670"/>
                </a:cubicBezTo>
                <a:cubicBezTo>
                  <a:pt x="2" y="2694"/>
                  <a:pt x="1" y="2725"/>
                  <a:pt x="1" y="2756"/>
                </a:cubicBezTo>
                <a:cubicBezTo>
                  <a:pt x="0" y="2787"/>
                  <a:pt x="1" y="2819"/>
                  <a:pt x="2" y="2842"/>
                </a:cubicBezTo>
                <a:cubicBezTo>
                  <a:pt x="3" y="2866"/>
                  <a:pt x="3" y="2881"/>
                  <a:pt x="3" y="2881"/>
                </a:cubicBezTo>
                <a:cubicBezTo>
                  <a:pt x="4" y="2916"/>
                  <a:pt x="23" y="2946"/>
                  <a:pt x="50" y="2959"/>
                </a:cubicBezTo>
                <a:cubicBezTo>
                  <a:pt x="50" y="2959"/>
                  <a:pt x="119" y="2992"/>
                  <a:pt x="189" y="3022"/>
                </a:cubicBezTo>
                <a:cubicBezTo>
                  <a:pt x="223" y="3037"/>
                  <a:pt x="259" y="3051"/>
                  <a:pt x="285" y="3061"/>
                </a:cubicBezTo>
                <a:cubicBezTo>
                  <a:pt x="312" y="3071"/>
                  <a:pt x="330" y="3077"/>
                  <a:pt x="330" y="3077"/>
                </a:cubicBezTo>
                <a:cubicBezTo>
                  <a:pt x="357" y="3087"/>
                  <a:pt x="376" y="3112"/>
                  <a:pt x="381" y="3142"/>
                </a:cubicBezTo>
                <a:cubicBezTo>
                  <a:pt x="381" y="3142"/>
                  <a:pt x="390" y="3191"/>
                  <a:pt x="398" y="3240"/>
                </a:cubicBezTo>
                <a:cubicBezTo>
                  <a:pt x="408" y="3288"/>
                  <a:pt x="420" y="3336"/>
                  <a:pt x="420" y="3336"/>
                </a:cubicBezTo>
                <a:cubicBezTo>
                  <a:pt x="420" y="3336"/>
                  <a:pt x="423" y="3348"/>
                  <a:pt x="427" y="3367"/>
                </a:cubicBezTo>
                <a:cubicBezTo>
                  <a:pt x="432" y="3385"/>
                  <a:pt x="439" y="3408"/>
                  <a:pt x="446" y="3432"/>
                </a:cubicBezTo>
                <a:cubicBezTo>
                  <a:pt x="458" y="3480"/>
                  <a:pt x="475" y="3527"/>
                  <a:pt x="475" y="3527"/>
                </a:cubicBezTo>
                <a:cubicBezTo>
                  <a:pt x="485" y="3555"/>
                  <a:pt x="478" y="3587"/>
                  <a:pt x="458" y="3608"/>
                </a:cubicBezTo>
                <a:cubicBezTo>
                  <a:pt x="458" y="3608"/>
                  <a:pt x="408" y="3663"/>
                  <a:pt x="359" y="3722"/>
                </a:cubicBezTo>
                <a:cubicBezTo>
                  <a:pt x="335" y="3751"/>
                  <a:pt x="311" y="3781"/>
                  <a:pt x="293" y="3804"/>
                </a:cubicBezTo>
                <a:cubicBezTo>
                  <a:pt x="276" y="3827"/>
                  <a:pt x="264" y="3842"/>
                  <a:pt x="264" y="3842"/>
                </a:cubicBezTo>
                <a:cubicBezTo>
                  <a:pt x="247" y="3866"/>
                  <a:pt x="245" y="3901"/>
                  <a:pt x="259" y="3932"/>
                </a:cubicBezTo>
                <a:cubicBezTo>
                  <a:pt x="259" y="3932"/>
                  <a:pt x="265" y="3946"/>
                  <a:pt x="275" y="3968"/>
                </a:cubicBezTo>
                <a:cubicBezTo>
                  <a:pt x="286" y="3989"/>
                  <a:pt x="300" y="4016"/>
                  <a:pt x="314" y="4044"/>
                </a:cubicBezTo>
                <a:cubicBezTo>
                  <a:pt x="329" y="4072"/>
                  <a:pt x="343" y="4100"/>
                  <a:pt x="355" y="4120"/>
                </a:cubicBezTo>
                <a:cubicBezTo>
                  <a:pt x="367" y="4140"/>
                  <a:pt x="375" y="4154"/>
                  <a:pt x="375" y="4154"/>
                </a:cubicBezTo>
                <a:cubicBezTo>
                  <a:pt x="392" y="4183"/>
                  <a:pt x="421" y="4202"/>
                  <a:pt x="452" y="4201"/>
                </a:cubicBezTo>
                <a:cubicBezTo>
                  <a:pt x="452" y="4201"/>
                  <a:pt x="529" y="4198"/>
                  <a:pt x="605" y="4191"/>
                </a:cubicBezTo>
                <a:cubicBezTo>
                  <a:pt x="642" y="4188"/>
                  <a:pt x="680" y="4185"/>
                  <a:pt x="708" y="4181"/>
                </a:cubicBezTo>
                <a:cubicBezTo>
                  <a:pt x="736" y="4178"/>
                  <a:pt x="755" y="4175"/>
                  <a:pt x="755" y="4175"/>
                </a:cubicBezTo>
                <a:cubicBezTo>
                  <a:pt x="783" y="4171"/>
                  <a:pt x="813" y="4184"/>
                  <a:pt x="830" y="4208"/>
                </a:cubicBezTo>
                <a:cubicBezTo>
                  <a:pt x="830" y="4208"/>
                  <a:pt x="838" y="4218"/>
                  <a:pt x="848" y="4233"/>
                </a:cubicBezTo>
                <a:cubicBezTo>
                  <a:pt x="860" y="4248"/>
                  <a:pt x="876" y="4267"/>
                  <a:pt x="891" y="4286"/>
                </a:cubicBezTo>
                <a:cubicBezTo>
                  <a:pt x="922" y="4326"/>
                  <a:pt x="955" y="4362"/>
                  <a:pt x="955" y="4362"/>
                </a:cubicBezTo>
                <a:cubicBezTo>
                  <a:pt x="955" y="4362"/>
                  <a:pt x="963" y="4372"/>
                  <a:pt x="976" y="4385"/>
                </a:cubicBezTo>
                <a:cubicBezTo>
                  <a:pt x="988" y="4399"/>
                  <a:pt x="1004" y="4418"/>
                  <a:pt x="1022" y="4436"/>
                </a:cubicBezTo>
                <a:cubicBezTo>
                  <a:pt x="1057" y="4471"/>
                  <a:pt x="1092" y="4506"/>
                  <a:pt x="1092" y="4506"/>
                </a:cubicBezTo>
                <a:cubicBezTo>
                  <a:pt x="1114" y="4527"/>
                  <a:pt x="1123" y="4557"/>
                  <a:pt x="1115" y="4585"/>
                </a:cubicBezTo>
                <a:cubicBezTo>
                  <a:pt x="1115" y="4585"/>
                  <a:pt x="1110" y="4603"/>
                  <a:pt x="1103" y="4631"/>
                </a:cubicBezTo>
                <a:cubicBezTo>
                  <a:pt x="1096" y="4658"/>
                  <a:pt x="1087" y="4696"/>
                  <a:pt x="1080" y="4732"/>
                </a:cubicBezTo>
                <a:cubicBezTo>
                  <a:pt x="1064" y="4806"/>
                  <a:pt x="1052" y="4882"/>
                  <a:pt x="1052" y="4882"/>
                </a:cubicBezTo>
                <a:cubicBezTo>
                  <a:pt x="1047" y="4912"/>
                  <a:pt x="1061" y="4945"/>
                  <a:pt x="1088" y="4965"/>
                </a:cubicBezTo>
                <a:cubicBezTo>
                  <a:pt x="1088" y="4965"/>
                  <a:pt x="1101" y="4974"/>
                  <a:pt x="1120" y="4988"/>
                </a:cubicBezTo>
                <a:cubicBezTo>
                  <a:pt x="1139" y="5002"/>
                  <a:pt x="1163" y="5022"/>
                  <a:pt x="1190" y="5039"/>
                </a:cubicBezTo>
                <a:cubicBezTo>
                  <a:pt x="1216" y="5056"/>
                  <a:pt x="1242" y="5074"/>
                  <a:pt x="1261" y="5087"/>
                </a:cubicBezTo>
                <a:cubicBezTo>
                  <a:pt x="1271" y="5094"/>
                  <a:pt x="1279" y="5099"/>
                  <a:pt x="1285" y="5102"/>
                </a:cubicBezTo>
                <a:cubicBezTo>
                  <a:pt x="1291" y="5106"/>
                  <a:pt x="1294" y="5108"/>
                  <a:pt x="1294" y="5108"/>
                </a:cubicBezTo>
                <a:cubicBezTo>
                  <a:pt x="1323" y="5126"/>
                  <a:pt x="1359" y="5128"/>
                  <a:pt x="1384" y="5114"/>
                </a:cubicBezTo>
                <a:cubicBezTo>
                  <a:pt x="1384" y="5114"/>
                  <a:pt x="1451" y="5076"/>
                  <a:pt x="1515" y="5035"/>
                </a:cubicBezTo>
                <a:cubicBezTo>
                  <a:pt x="1580" y="4994"/>
                  <a:pt x="1640" y="4951"/>
                  <a:pt x="1640" y="4951"/>
                </a:cubicBezTo>
                <a:cubicBezTo>
                  <a:pt x="1664" y="4934"/>
                  <a:pt x="1696" y="4931"/>
                  <a:pt x="1723" y="4944"/>
                </a:cubicBezTo>
                <a:cubicBezTo>
                  <a:pt x="1723" y="4944"/>
                  <a:pt x="1734" y="4949"/>
                  <a:pt x="1751" y="4958"/>
                </a:cubicBezTo>
                <a:cubicBezTo>
                  <a:pt x="1768" y="4966"/>
                  <a:pt x="1790" y="4976"/>
                  <a:pt x="1813" y="4985"/>
                </a:cubicBezTo>
                <a:cubicBezTo>
                  <a:pt x="1836" y="4995"/>
                  <a:pt x="1859" y="5004"/>
                  <a:pt x="1876" y="5012"/>
                </a:cubicBezTo>
                <a:cubicBezTo>
                  <a:pt x="1894" y="5018"/>
                  <a:pt x="1905" y="5023"/>
                  <a:pt x="1905" y="5023"/>
                </a:cubicBezTo>
                <a:cubicBezTo>
                  <a:pt x="1905" y="5023"/>
                  <a:pt x="1952" y="5040"/>
                  <a:pt x="1999" y="5056"/>
                </a:cubicBezTo>
                <a:cubicBezTo>
                  <a:pt x="2046" y="5071"/>
                  <a:pt x="2093" y="5086"/>
                  <a:pt x="2093" y="5086"/>
                </a:cubicBezTo>
                <a:cubicBezTo>
                  <a:pt x="2122" y="5094"/>
                  <a:pt x="2144" y="5116"/>
                  <a:pt x="2151" y="5145"/>
                </a:cubicBezTo>
                <a:cubicBezTo>
                  <a:pt x="2151" y="5145"/>
                  <a:pt x="2155" y="5163"/>
                  <a:pt x="2161" y="5191"/>
                </a:cubicBezTo>
                <a:cubicBezTo>
                  <a:pt x="2168" y="5218"/>
                  <a:pt x="2177" y="5256"/>
                  <a:pt x="2188" y="5292"/>
                </a:cubicBezTo>
                <a:cubicBezTo>
                  <a:pt x="2208" y="5364"/>
                  <a:pt x="2233" y="5438"/>
                  <a:pt x="2233" y="5438"/>
                </a:cubicBezTo>
                <a:cubicBezTo>
                  <a:pt x="2242" y="5466"/>
                  <a:pt x="2270" y="5488"/>
                  <a:pt x="2304" y="5493"/>
                </a:cubicBezTo>
                <a:cubicBezTo>
                  <a:pt x="2304" y="5493"/>
                  <a:pt x="2319" y="5496"/>
                  <a:pt x="2342" y="5500"/>
                </a:cubicBezTo>
                <a:cubicBezTo>
                  <a:pt x="2365" y="5503"/>
                  <a:pt x="2396" y="5509"/>
                  <a:pt x="2427" y="5512"/>
                </a:cubicBezTo>
                <a:cubicBezTo>
                  <a:pt x="2458" y="5515"/>
                  <a:pt x="2489" y="5519"/>
                  <a:pt x="2513" y="5521"/>
                </a:cubicBezTo>
                <a:cubicBezTo>
                  <a:pt x="2536" y="5524"/>
                  <a:pt x="2552" y="5525"/>
                  <a:pt x="2552" y="5525"/>
                </a:cubicBezTo>
                <a:cubicBezTo>
                  <a:pt x="2586" y="5527"/>
                  <a:pt x="2618" y="5513"/>
                  <a:pt x="2634" y="5488"/>
                </a:cubicBezTo>
                <a:close/>
                <a:moveTo>
                  <a:pt x="2527" y="4711"/>
                </a:moveTo>
                <a:cubicBezTo>
                  <a:pt x="2409" y="4697"/>
                  <a:pt x="2293" y="4669"/>
                  <a:pt x="2208" y="4644"/>
                </a:cubicBezTo>
                <a:cubicBezTo>
                  <a:pt x="2166" y="4631"/>
                  <a:pt x="2130" y="4620"/>
                  <a:pt x="2106" y="4611"/>
                </a:cubicBezTo>
                <a:cubicBezTo>
                  <a:pt x="2082" y="4602"/>
                  <a:pt x="2068" y="4597"/>
                  <a:pt x="2068" y="4597"/>
                </a:cubicBezTo>
                <a:cubicBezTo>
                  <a:pt x="2068" y="4597"/>
                  <a:pt x="2064" y="4595"/>
                  <a:pt x="2058" y="4593"/>
                </a:cubicBezTo>
                <a:cubicBezTo>
                  <a:pt x="2051" y="4591"/>
                  <a:pt x="2042" y="4587"/>
                  <a:pt x="2030" y="4582"/>
                </a:cubicBezTo>
                <a:cubicBezTo>
                  <a:pt x="2018" y="4577"/>
                  <a:pt x="2003" y="4571"/>
                  <a:pt x="1987" y="4563"/>
                </a:cubicBezTo>
                <a:cubicBezTo>
                  <a:pt x="1979" y="4560"/>
                  <a:pt x="1970" y="4556"/>
                  <a:pt x="1960" y="4552"/>
                </a:cubicBezTo>
                <a:cubicBezTo>
                  <a:pt x="1951" y="4548"/>
                  <a:pt x="1942" y="4543"/>
                  <a:pt x="1932" y="4538"/>
                </a:cubicBezTo>
                <a:cubicBezTo>
                  <a:pt x="1851" y="4502"/>
                  <a:pt x="1747" y="4444"/>
                  <a:pt x="1650" y="4376"/>
                </a:cubicBezTo>
                <a:cubicBezTo>
                  <a:pt x="1552" y="4309"/>
                  <a:pt x="1463" y="4231"/>
                  <a:pt x="1399" y="4169"/>
                </a:cubicBezTo>
                <a:cubicBezTo>
                  <a:pt x="1369" y="4137"/>
                  <a:pt x="1341" y="4112"/>
                  <a:pt x="1325" y="4092"/>
                </a:cubicBezTo>
                <a:cubicBezTo>
                  <a:pt x="1308" y="4072"/>
                  <a:pt x="1298" y="4061"/>
                  <a:pt x="1298" y="4061"/>
                </a:cubicBezTo>
                <a:cubicBezTo>
                  <a:pt x="1298" y="4061"/>
                  <a:pt x="1288" y="4050"/>
                  <a:pt x="1271" y="4031"/>
                </a:cubicBezTo>
                <a:cubicBezTo>
                  <a:pt x="1255" y="4010"/>
                  <a:pt x="1231" y="3982"/>
                  <a:pt x="1204" y="3947"/>
                </a:cubicBezTo>
                <a:cubicBezTo>
                  <a:pt x="1150" y="3875"/>
                  <a:pt x="1085" y="3776"/>
                  <a:pt x="1030" y="3671"/>
                </a:cubicBezTo>
                <a:cubicBezTo>
                  <a:pt x="975" y="3566"/>
                  <a:pt x="930" y="3456"/>
                  <a:pt x="904" y="3371"/>
                </a:cubicBezTo>
                <a:cubicBezTo>
                  <a:pt x="896" y="3350"/>
                  <a:pt x="890" y="3330"/>
                  <a:pt x="886" y="3313"/>
                </a:cubicBezTo>
                <a:cubicBezTo>
                  <a:pt x="881" y="3296"/>
                  <a:pt x="877" y="3281"/>
                  <a:pt x="873" y="3268"/>
                </a:cubicBezTo>
                <a:cubicBezTo>
                  <a:pt x="869" y="3256"/>
                  <a:pt x="867" y="3246"/>
                  <a:pt x="865" y="3239"/>
                </a:cubicBezTo>
                <a:cubicBezTo>
                  <a:pt x="864" y="3232"/>
                  <a:pt x="863" y="3229"/>
                  <a:pt x="863" y="3229"/>
                </a:cubicBezTo>
                <a:cubicBezTo>
                  <a:pt x="863" y="3229"/>
                  <a:pt x="860" y="3214"/>
                  <a:pt x="854" y="3189"/>
                </a:cubicBezTo>
                <a:cubicBezTo>
                  <a:pt x="847" y="3164"/>
                  <a:pt x="841" y="3127"/>
                  <a:pt x="834" y="3084"/>
                </a:cubicBezTo>
                <a:cubicBezTo>
                  <a:pt x="819" y="2996"/>
                  <a:pt x="807" y="2878"/>
                  <a:pt x="808" y="2759"/>
                </a:cubicBezTo>
                <a:cubicBezTo>
                  <a:pt x="808" y="2641"/>
                  <a:pt x="820" y="2522"/>
                  <a:pt x="836" y="2435"/>
                </a:cubicBezTo>
                <a:cubicBezTo>
                  <a:pt x="839" y="2413"/>
                  <a:pt x="843" y="2393"/>
                  <a:pt x="847" y="2375"/>
                </a:cubicBezTo>
                <a:cubicBezTo>
                  <a:pt x="851" y="2357"/>
                  <a:pt x="854" y="2342"/>
                  <a:pt x="857" y="2329"/>
                </a:cubicBezTo>
                <a:cubicBezTo>
                  <a:pt x="859" y="2316"/>
                  <a:pt x="862" y="2307"/>
                  <a:pt x="864" y="2300"/>
                </a:cubicBezTo>
                <a:cubicBezTo>
                  <a:pt x="866" y="2293"/>
                  <a:pt x="866" y="2290"/>
                  <a:pt x="866" y="2290"/>
                </a:cubicBezTo>
                <a:cubicBezTo>
                  <a:pt x="866" y="2290"/>
                  <a:pt x="870" y="2275"/>
                  <a:pt x="877" y="2250"/>
                </a:cubicBezTo>
                <a:cubicBezTo>
                  <a:pt x="882" y="2225"/>
                  <a:pt x="895" y="2190"/>
                  <a:pt x="908" y="2147"/>
                </a:cubicBezTo>
                <a:cubicBezTo>
                  <a:pt x="936" y="2063"/>
                  <a:pt x="980" y="1952"/>
                  <a:pt x="1035" y="1848"/>
                </a:cubicBezTo>
                <a:cubicBezTo>
                  <a:pt x="1090" y="1743"/>
                  <a:pt x="1155" y="1643"/>
                  <a:pt x="1210" y="1574"/>
                </a:cubicBezTo>
                <a:cubicBezTo>
                  <a:pt x="1223" y="1556"/>
                  <a:pt x="1236" y="1540"/>
                  <a:pt x="1248" y="1526"/>
                </a:cubicBezTo>
                <a:cubicBezTo>
                  <a:pt x="1259" y="1512"/>
                  <a:pt x="1270" y="1500"/>
                  <a:pt x="1278" y="1490"/>
                </a:cubicBezTo>
                <a:cubicBezTo>
                  <a:pt x="1286" y="1480"/>
                  <a:pt x="1292" y="1473"/>
                  <a:pt x="1297" y="1468"/>
                </a:cubicBezTo>
                <a:cubicBezTo>
                  <a:pt x="1302" y="1462"/>
                  <a:pt x="1305" y="1460"/>
                  <a:pt x="1305" y="1460"/>
                </a:cubicBezTo>
                <a:cubicBezTo>
                  <a:pt x="1305" y="1460"/>
                  <a:pt x="1315" y="1449"/>
                  <a:pt x="1332" y="1430"/>
                </a:cubicBezTo>
                <a:cubicBezTo>
                  <a:pt x="1349" y="1410"/>
                  <a:pt x="1376" y="1384"/>
                  <a:pt x="1407" y="1353"/>
                </a:cubicBezTo>
                <a:cubicBezTo>
                  <a:pt x="1471" y="1292"/>
                  <a:pt x="1562" y="1214"/>
                  <a:pt x="1660" y="1147"/>
                </a:cubicBezTo>
                <a:cubicBezTo>
                  <a:pt x="1758" y="1080"/>
                  <a:pt x="1863" y="1023"/>
                  <a:pt x="1943" y="986"/>
                </a:cubicBezTo>
                <a:cubicBezTo>
                  <a:pt x="1984" y="967"/>
                  <a:pt x="2017" y="952"/>
                  <a:pt x="2042" y="943"/>
                </a:cubicBezTo>
                <a:cubicBezTo>
                  <a:pt x="2066" y="934"/>
                  <a:pt x="2079" y="928"/>
                  <a:pt x="2079" y="928"/>
                </a:cubicBezTo>
                <a:cubicBezTo>
                  <a:pt x="2079" y="928"/>
                  <a:pt x="2083" y="927"/>
                  <a:pt x="2089" y="924"/>
                </a:cubicBezTo>
                <a:cubicBezTo>
                  <a:pt x="2096" y="922"/>
                  <a:pt x="2105" y="918"/>
                  <a:pt x="2118" y="914"/>
                </a:cubicBezTo>
                <a:cubicBezTo>
                  <a:pt x="2130" y="910"/>
                  <a:pt x="2145" y="905"/>
                  <a:pt x="2162" y="900"/>
                </a:cubicBezTo>
                <a:cubicBezTo>
                  <a:pt x="2179" y="893"/>
                  <a:pt x="2198" y="887"/>
                  <a:pt x="2220" y="882"/>
                </a:cubicBezTo>
                <a:cubicBezTo>
                  <a:pt x="2305" y="855"/>
                  <a:pt x="2421" y="830"/>
                  <a:pt x="2538" y="817"/>
                </a:cubicBezTo>
                <a:cubicBezTo>
                  <a:pt x="2656" y="803"/>
                  <a:pt x="2775" y="802"/>
                  <a:pt x="2864" y="806"/>
                </a:cubicBezTo>
                <a:cubicBezTo>
                  <a:pt x="2908" y="809"/>
                  <a:pt x="2945" y="810"/>
                  <a:pt x="2971" y="814"/>
                </a:cubicBezTo>
                <a:cubicBezTo>
                  <a:pt x="2997" y="817"/>
                  <a:pt x="3011" y="819"/>
                  <a:pt x="3011" y="819"/>
                </a:cubicBezTo>
                <a:cubicBezTo>
                  <a:pt x="3011" y="819"/>
                  <a:pt x="3015" y="819"/>
                  <a:pt x="3022" y="820"/>
                </a:cubicBezTo>
                <a:cubicBezTo>
                  <a:pt x="3029" y="820"/>
                  <a:pt x="3039" y="822"/>
                  <a:pt x="3052" y="824"/>
                </a:cubicBezTo>
                <a:cubicBezTo>
                  <a:pt x="3065" y="826"/>
                  <a:pt x="3080" y="829"/>
                  <a:pt x="3098" y="831"/>
                </a:cubicBezTo>
                <a:cubicBezTo>
                  <a:pt x="3116" y="834"/>
                  <a:pt x="3136" y="837"/>
                  <a:pt x="3158" y="843"/>
                </a:cubicBezTo>
                <a:cubicBezTo>
                  <a:pt x="3245" y="859"/>
                  <a:pt x="3360" y="890"/>
                  <a:pt x="3471" y="933"/>
                </a:cubicBezTo>
                <a:cubicBezTo>
                  <a:pt x="3582" y="975"/>
                  <a:pt x="3687" y="1029"/>
                  <a:pt x="3764" y="1074"/>
                </a:cubicBezTo>
                <a:cubicBezTo>
                  <a:pt x="3802" y="1097"/>
                  <a:pt x="3834" y="1116"/>
                  <a:pt x="3855" y="1131"/>
                </a:cubicBezTo>
                <a:cubicBezTo>
                  <a:pt x="3876" y="1145"/>
                  <a:pt x="3889" y="1154"/>
                  <a:pt x="3889" y="1154"/>
                </a:cubicBezTo>
                <a:cubicBezTo>
                  <a:pt x="3889" y="1154"/>
                  <a:pt x="3892" y="1156"/>
                  <a:pt x="3897" y="1160"/>
                </a:cubicBezTo>
                <a:cubicBezTo>
                  <a:pt x="3903" y="1163"/>
                  <a:pt x="3912" y="1169"/>
                  <a:pt x="3922" y="1177"/>
                </a:cubicBezTo>
                <a:cubicBezTo>
                  <a:pt x="3932" y="1185"/>
                  <a:pt x="3945" y="1194"/>
                  <a:pt x="3959" y="1205"/>
                </a:cubicBezTo>
                <a:cubicBezTo>
                  <a:pt x="3974" y="1216"/>
                  <a:pt x="3990" y="1228"/>
                  <a:pt x="4007" y="1243"/>
                </a:cubicBezTo>
                <a:cubicBezTo>
                  <a:pt x="4077" y="1297"/>
                  <a:pt x="4163" y="1379"/>
                  <a:pt x="4241" y="1468"/>
                </a:cubicBezTo>
                <a:cubicBezTo>
                  <a:pt x="4319" y="1557"/>
                  <a:pt x="4389" y="1654"/>
                  <a:pt x="4436" y="1730"/>
                </a:cubicBezTo>
                <a:cubicBezTo>
                  <a:pt x="4459" y="1768"/>
                  <a:pt x="4477" y="1801"/>
                  <a:pt x="4490" y="1823"/>
                </a:cubicBezTo>
                <a:cubicBezTo>
                  <a:pt x="4502" y="1846"/>
                  <a:pt x="4509" y="1859"/>
                  <a:pt x="4509" y="1859"/>
                </a:cubicBezTo>
                <a:cubicBezTo>
                  <a:pt x="4509" y="1859"/>
                  <a:pt x="4516" y="1872"/>
                  <a:pt x="4528" y="1895"/>
                </a:cubicBezTo>
                <a:cubicBezTo>
                  <a:pt x="4540" y="1918"/>
                  <a:pt x="4554" y="1952"/>
                  <a:pt x="4573" y="1993"/>
                </a:cubicBezTo>
                <a:cubicBezTo>
                  <a:pt x="4607" y="2074"/>
                  <a:pt x="4648" y="2186"/>
                  <a:pt x="4676" y="2301"/>
                </a:cubicBezTo>
                <a:cubicBezTo>
                  <a:pt x="4704" y="2416"/>
                  <a:pt x="4720" y="2534"/>
                  <a:pt x="4726" y="2622"/>
                </a:cubicBezTo>
                <a:cubicBezTo>
                  <a:pt x="4726" y="2633"/>
                  <a:pt x="4727" y="2644"/>
                  <a:pt x="4728" y="2654"/>
                </a:cubicBezTo>
                <a:cubicBezTo>
                  <a:pt x="4728" y="2664"/>
                  <a:pt x="4729" y="2674"/>
                  <a:pt x="4729" y="2683"/>
                </a:cubicBezTo>
                <a:cubicBezTo>
                  <a:pt x="4730" y="2701"/>
                  <a:pt x="4730" y="2717"/>
                  <a:pt x="4730" y="2730"/>
                </a:cubicBezTo>
                <a:cubicBezTo>
                  <a:pt x="4731" y="2743"/>
                  <a:pt x="4731" y="2753"/>
                  <a:pt x="4731" y="2760"/>
                </a:cubicBezTo>
                <a:cubicBezTo>
                  <a:pt x="4731" y="2767"/>
                  <a:pt x="4731" y="2770"/>
                  <a:pt x="4731" y="2770"/>
                </a:cubicBezTo>
                <a:cubicBezTo>
                  <a:pt x="4731" y="2770"/>
                  <a:pt x="4730" y="2785"/>
                  <a:pt x="4730" y="2811"/>
                </a:cubicBezTo>
                <a:cubicBezTo>
                  <a:pt x="4730" y="2837"/>
                  <a:pt x="4727" y="2874"/>
                  <a:pt x="4725" y="2918"/>
                </a:cubicBezTo>
                <a:cubicBezTo>
                  <a:pt x="4717" y="3007"/>
                  <a:pt x="4701" y="3125"/>
                  <a:pt x="4672" y="3240"/>
                </a:cubicBezTo>
                <a:cubicBezTo>
                  <a:pt x="4644" y="3355"/>
                  <a:pt x="4604" y="3468"/>
                  <a:pt x="4567" y="3549"/>
                </a:cubicBezTo>
                <a:cubicBezTo>
                  <a:pt x="4551" y="3590"/>
                  <a:pt x="4533" y="3622"/>
                  <a:pt x="4522" y="3646"/>
                </a:cubicBezTo>
                <a:cubicBezTo>
                  <a:pt x="4517" y="3658"/>
                  <a:pt x="4512" y="3667"/>
                  <a:pt x="4508" y="3673"/>
                </a:cubicBezTo>
                <a:cubicBezTo>
                  <a:pt x="4505" y="3679"/>
                  <a:pt x="4503" y="3682"/>
                  <a:pt x="4503" y="3682"/>
                </a:cubicBezTo>
                <a:cubicBezTo>
                  <a:pt x="4503" y="3682"/>
                  <a:pt x="4496" y="3695"/>
                  <a:pt x="4484" y="3718"/>
                </a:cubicBezTo>
                <a:cubicBezTo>
                  <a:pt x="4472" y="3741"/>
                  <a:pt x="4452" y="3772"/>
                  <a:pt x="4429" y="3810"/>
                </a:cubicBezTo>
                <a:cubicBezTo>
                  <a:pt x="4382" y="3885"/>
                  <a:pt x="4313" y="3982"/>
                  <a:pt x="4234" y="4070"/>
                </a:cubicBezTo>
                <a:cubicBezTo>
                  <a:pt x="4214" y="4091"/>
                  <a:pt x="4194" y="4114"/>
                  <a:pt x="4174" y="4135"/>
                </a:cubicBezTo>
                <a:cubicBezTo>
                  <a:pt x="4153" y="4155"/>
                  <a:pt x="4133" y="4175"/>
                  <a:pt x="4113" y="4195"/>
                </a:cubicBezTo>
                <a:cubicBezTo>
                  <a:pt x="4071" y="4231"/>
                  <a:pt x="4033" y="4267"/>
                  <a:pt x="3998" y="4294"/>
                </a:cubicBezTo>
                <a:cubicBezTo>
                  <a:pt x="3964" y="4322"/>
                  <a:pt x="3933" y="4343"/>
                  <a:pt x="3912" y="4359"/>
                </a:cubicBezTo>
                <a:cubicBezTo>
                  <a:pt x="3891" y="4374"/>
                  <a:pt x="3879" y="4383"/>
                  <a:pt x="3879" y="4383"/>
                </a:cubicBezTo>
                <a:cubicBezTo>
                  <a:pt x="3879" y="4383"/>
                  <a:pt x="3866" y="4391"/>
                  <a:pt x="3844" y="4405"/>
                </a:cubicBezTo>
                <a:cubicBezTo>
                  <a:pt x="3823" y="4419"/>
                  <a:pt x="3792" y="4440"/>
                  <a:pt x="3753" y="4461"/>
                </a:cubicBezTo>
                <a:cubicBezTo>
                  <a:pt x="3715" y="4485"/>
                  <a:pt x="3668" y="4508"/>
                  <a:pt x="3619" y="4533"/>
                </a:cubicBezTo>
                <a:cubicBezTo>
                  <a:pt x="3594" y="4545"/>
                  <a:pt x="3568" y="4557"/>
                  <a:pt x="3541" y="4568"/>
                </a:cubicBezTo>
                <a:cubicBezTo>
                  <a:pt x="3514" y="4580"/>
                  <a:pt x="3486" y="4590"/>
                  <a:pt x="3459" y="4601"/>
                </a:cubicBezTo>
                <a:cubicBezTo>
                  <a:pt x="3348" y="4643"/>
                  <a:pt x="3233" y="4673"/>
                  <a:pt x="3146" y="4690"/>
                </a:cubicBezTo>
                <a:cubicBezTo>
                  <a:pt x="3103" y="4698"/>
                  <a:pt x="3066" y="4705"/>
                  <a:pt x="3041" y="4708"/>
                </a:cubicBezTo>
                <a:cubicBezTo>
                  <a:pt x="3015" y="4711"/>
                  <a:pt x="3000" y="4713"/>
                  <a:pt x="3000" y="4713"/>
                </a:cubicBezTo>
                <a:cubicBezTo>
                  <a:pt x="3000" y="4713"/>
                  <a:pt x="2997" y="4713"/>
                  <a:pt x="2990" y="4714"/>
                </a:cubicBezTo>
                <a:cubicBezTo>
                  <a:pt x="2983" y="4715"/>
                  <a:pt x="2973" y="4717"/>
                  <a:pt x="2960" y="4717"/>
                </a:cubicBezTo>
                <a:cubicBezTo>
                  <a:pt x="2934" y="4719"/>
                  <a:pt x="2897" y="4724"/>
                  <a:pt x="2853" y="4725"/>
                </a:cubicBezTo>
                <a:cubicBezTo>
                  <a:pt x="2764" y="4730"/>
                  <a:pt x="2645" y="4726"/>
                  <a:pt x="2527" y="4711"/>
                </a:cubicBezTo>
                <a:close/>
              </a:path>
            </a:pathLst>
          </a:custGeom>
          <a:solidFill>
            <a:schemeClr val="bg1"/>
          </a:solidFill>
          <a:ln w="25400">
            <a:solidFill>
              <a:schemeClr val="accent2"/>
            </a:solidFill>
          </a:ln>
          <a:effectLst/>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4" name="Freeform 50"/>
          <p:cNvSpPr>
            <a:spLocks noEditPoints="1"/>
          </p:cNvSpPr>
          <p:nvPr/>
        </p:nvSpPr>
        <p:spPr bwMode="auto">
          <a:xfrm>
            <a:off x="6489700" y="3029975"/>
            <a:ext cx="1725613" cy="1730375"/>
          </a:xfrm>
          <a:custGeom>
            <a:avLst/>
            <a:gdLst>
              <a:gd name="T0" fmla="*/ 2533 w 4269"/>
              <a:gd name="T1" fmla="*/ 4207 h 4282"/>
              <a:gd name="T2" fmla="*/ 2742 w 4269"/>
              <a:gd name="T3" fmla="*/ 3851 h 4282"/>
              <a:gd name="T4" fmla="*/ 3096 w 4269"/>
              <a:gd name="T5" fmla="*/ 3777 h 4282"/>
              <a:gd name="T6" fmla="*/ 3477 w 4269"/>
              <a:gd name="T7" fmla="*/ 3823 h 4282"/>
              <a:gd name="T8" fmla="*/ 3555 w 4269"/>
              <a:gd name="T9" fmla="*/ 3533 h 4282"/>
              <a:gd name="T10" fmla="*/ 3630 w 4269"/>
              <a:gd name="T11" fmla="*/ 3188 h 4282"/>
              <a:gd name="T12" fmla="*/ 3932 w 4269"/>
              <a:gd name="T13" fmla="*/ 3004 h 4282"/>
              <a:gd name="T14" fmla="*/ 4205 w 4269"/>
              <a:gd name="T15" fmla="*/ 2762 h 4282"/>
              <a:gd name="T16" fmla="*/ 3948 w 4269"/>
              <a:gd name="T17" fmla="*/ 2396 h 4282"/>
              <a:gd name="T18" fmla="*/ 3967 w 4269"/>
              <a:gd name="T19" fmla="*/ 2193 h 4282"/>
              <a:gd name="T20" fmla="*/ 4120 w 4269"/>
              <a:gd name="T21" fmla="*/ 1903 h 4282"/>
              <a:gd name="T22" fmla="*/ 4239 w 4269"/>
              <a:gd name="T23" fmla="*/ 1627 h 4282"/>
              <a:gd name="T24" fmla="*/ 4007 w 4269"/>
              <a:gd name="T25" fmla="*/ 1437 h 4282"/>
              <a:gd name="T26" fmla="*/ 3767 w 4269"/>
              <a:gd name="T27" fmla="*/ 1303 h 4282"/>
              <a:gd name="T28" fmla="*/ 3645 w 4269"/>
              <a:gd name="T29" fmla="*/ 1100 h 4282"/>
              <a:gd name="T30" fmla="*/ 3735 w 4269"/>
              <a:gd name="T31" fmla="*/ 741 h 4282"/>
              <a:gd name="T32" fmla="*/ 3467 w 4269"/>
              <a:gd name="T33" fmla="*/ 486 h 4282"/>
              <a:gd name="T34" fmla="*/ 2984 w 4269"/>
              <a:gd name="T35" fmla="*/ 519 h 4282"/>
              <a:gd name="T36" fmla="*/ 2731 w 4269"/>
              <a:gd name="T37" fmla="*/ 106 h 4282"/>
              <a:gd name="T38" fmla="*/ 2368 w 4269"/>
              <a:gd name="T39" fmla="*/ 35 h 4282"/>
              <a:gd name="T40" fmla="*/ 2066 w 4269"/>
              <a:gd name="T41" fmla="*/ 318 h 4282"/>
              <a:gd name="T42" fmla="*/ 1831 w 4269"/>
              <a:gd name="T43" fmla="*/ 344 h 4282"/>
              <a:gd name="T44" fmla="*/ 1460 w 4269"/>
              <a:gd name="T45" fmla="*/ 98 h 4282"/>
              <a:gd name="T46" fmla="*/ 1199 w 4269"/>
              <a:gd name="T47" fmla="*/ 251 h 4282"/>
              <a:gd name="T48" fmla="*/ 1098 w 4269"/>
              <a:gd name="T49" fmla="*/ 651 h 4282"/>
              <a:gd name="T50" fmla="*/ 915 w 4269"/>
              <a:gd name="T51" fmla="*/ 800 h 4282"/>
              <a:gd name="T52" fmla="*/ 470 w 4269"/>
              <a:gd name="T53" fmla="*/ 794 h 4282"/>
              <a:gd name="T54" fmla="*/ 408 w 4269"/>
              <a:gd name="T55" fmla="*/ 1185 h 4282"/>
              <a:gd name="T56" fmla="*/ 407 w 4269"/>
              <a:gd name="T57" fmla="*/ 1622 h 4282"/>
              <a:gd name="T58" fmla="*/ 13 w 4269"/>
              <a:gd name="T59" fmla="*/ 1915 h 4282"/>
              <a:gd name="T60" fmla="*/ 172 w 4269"/>
              <a:gd name="T61" fmla="*/ 2277 h 4282"/>
              <a:gd name="T62" fmla="*/ 365 w 4269"/>
              <a:gd name="T63" fmla="*/ 2474 h 4282"/>
              <a:gd name="T64" fmla="*/ 425 w 4269"/>
              <a:gd name="T65" fmla="*/ 2703 h 4282"/>
              <a:gd name="T66" fmla="*/ 265 w 4269"/>
              <a:gd name="T67" fmla="*/ 2986 h 4282"/>
              <a:gd name="T68" fmla="*/ 329 w 4269"/>
              <a:gd name="T69" fmla="*/ 3274 h 4282"/>
              <a:gd name="T70" fmla="*/ 703 w 4269"/>
              <a:gd name="T71" fmla="*/ 3297 h 4282"/>
              <a:gd name="T72" fmla="*/ 895 w 4269"/>
              <a:gd name="T73" fmla="*/ 3447 h 4282"/>
              <a:gd name="T74" fmla="*/ 1055 w 4269"/>
              <a:gd name="T75" fmla="*/ 3633 h 4282"/>
              <a:gd name="T76" fmla="*/ 1165 w 4269"/>
              <a:gd name="T77" fmla="*/ 4042 h 4282"/>
              <a:gd name="T78" fmla="*/ 1562 w 4269"/>
              <a:gd name="T79" fmla="*/ 3894 h 4282"/>
              <a:gd name="T80" fmla="*/ 1832 w 4269"/>
              <a:gd name="T81" fmla="*/ 3922 h 4282"/>
              <a:gd name="T82" fmla="*/ 2143 w 4269"/>
              <a:gd name="T83" fmla="*/ 4203 h 4282"/>
              <a:gd name="T84" fmla="*/ 1921 w 4269"/>
              <a:gd name="T85" fmla="*/ 3501 h 4282"/>
              <a:gd name="T86" fmla="*/ 1514 w 4269"/>
              <a:gd name="T87" fmla="*/ 3365 h 4282"/>
              <a:gd name="T88" fmla="*/ 1107 w 4269"/>
              <a:gd name="T89" fmla="*/ 3047 h 4282"/>
              <a:gd name="T90" fmla="*/ 795 w 4269"/>
              <a:gd name="T91" fmla="*/ 2425 h 4282"/>
              <a:gd name="T92" fmla="*/ 841 w 4269"/>
              <a:gd name="T93" fmla="*/ 1679 h 4282"/>
              <a:gd name="T94" fmla="*/ 1294 w 4269"/>
              <a:gd name="T95" fmla="*/ 1043 h 4282"/>
              <a:gd name="T96" fmla="*/ 2143 w 4269"/>
              <a:gd name="T97" fmla="*/ 746 h 4282"/>
              <a:gd name="T98" fmla="*/ 2817 w 4269"/>
              <a:gd name="T99" fmla="*/ 917 h 4282"/>
              <a:gd name="T100" fmla="*/ 3351 w 4269"/>
              <a:gd name="T101" fmla="*/ 1440 h 4282"/>
              <a:gd name="T102" fmla="*/ 3537 w 4269"/>
              <a:gd name="T103" fmla="*/ 2166 h 4282"/>
              <a:gd name="T104" fmla="*/ 3346 w 4269"/>
              <a:gd name="T105" fmla="*/ 2834 h 4282"/>
              <a:gd name="T106" fmla="*/ 3203 w 4269"/>
              <a:gd name="T107" fmla="*/ 3036 h 4282"/>
              <a:gd name="T108" fmla="*/ 2665 w 4269"/>
              <a:gd name="T109" fmla="*/ 3421 h 4282"/>
              <a:gd name="T110" fmla="*/ 2010 w 4269"/>
              <a:gd name="T111" fmla="*/ 3512 h 4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9" h="4282">
                <a:moveTo>
                  <a:pt x="2275" y="4278"/>
                </a:moveTo>
                <a:cubicBezTo>
                  <a:pt x="2296" y="4277"/>
                  <a:pt x="2325" y="4276"/>
                  <a:pt x="2353" y="4272"/>
                </a:cubicBezTo>
                <a:cubicBezTo>
                  <a:pt x="2382" y="4269"/>
                  <a:pt x="2411" y="4267"/>
                  <a:pt x="2432" y="4264"/>
                </a:cubicBezTo>
                <a:cubicBezTo>
                  <a:pt x="2453" y="4260"/>
                  <a:pt x="2467" y="4258"/>
                  <a:pt x="2467" y="4258"/>
                </a:cubicBezTo>
                <a:cubicBezTo>
                  <a:pt x="2499" y="4253"/>
                  <a:pt x="2524" y="4234"/>
                  <a:pt x="2533" y="4207"/>
                </a:cubicBezTo>
                <a:cubicBezTo>
                  <a:pt x="2533" y="4207"/>
                  <a:pt x="2556" y="4138"/>
                  <a:pt x="2575" y="4070"/>
                </a:cubicBezTo>
                <a:cubicBezTo>
                  <a:pt x="2584" y="4036"/>
                  <a:pt x="2592" y="4002"/>
                  <a:pt x="2598" y="3976"/>
                </a:cubicBezTo>
                <a:cubicBezTo>
                  <a:pt x="2604" y="3950"/>
                  <a:pt x="2607" y="3933"/>
                  <a:pt x="2607" y="3933"/>
                </a:cubicBezTo>
                <a:cubicBezTo>
                  <a:pt x="2613" y="3906"/>
                  <a:pt x="2633" y="3885"/>
                  <a:pt x="2658" y="3878"/>
                </a:cubicBezTo>
                <a:cubicBezTo>
                  <a:pt x="2658" y="3878"/>
                  <a:pt x="2700" y="3864"/>
                  <a:pt x="2742" y="3851"/>
                </a:cubicBezTo>
                <a:cubicBezTo>
                  <a:pt x="2783" y="3836"/>
                  <a:pt x="2825" y="3820"/>
                  <a:pt x="2825" y="3820"/>
                </a:cubicBezTo>
                <a:cubicBezTo>
                  <a:pt x="2825" y="3820"/>
                  <a:pt x="2865" y="3803"/>
                  <a:pt x="2906" y="3786"/>
                </a:cubicBezTo>
                <a:cubicBezTo>
                  <a:pt x="2945" y="3766"/>
                  <a:pt x="2985" y="3747"/>
                  <a:pt x="2985" y="3747"/>
                </a:cubicBezTo>
                <a:cubicBezTo>
                  <a:pt x="3009" y="3735"/>
                  <a:pt x="3037" y="3736"/>
                  <a:pt x="3059" y="3752"/>
                </a:cubicBezTo>
                <a:cubicBezTo>
                  <a:pt x="3059" y="3752"/>
                  <a:pt x="3074" y="3762"/>
                  <a:pt x="3096" y="3777"/>
                </a:cubicBezTo>
                <a:cubicBezTo>
                  <a:pt x="3118" y="3792"/>
                  <a:pt x="3148" y="3811"/>
                  <a:pt x="3178" y="3829"/>
                </a:cubicBezTo>
                <a:cubicBezTo>
                  <a:pt x="3238" y="3866"/>
                  <a:pt x="3302" y="3900"/>
                  <a:pt x="3302" y="3900"/>
                </a:cubicBezTo>
                <a:cubicBezTo>
                  <a:pt x="3327" y="3913"/>
                  <a:pt x="3359" y="3909"/>
                  <a:pt x="3385" y="3891"/>
                </a:cubicBezTo>
                <a:cubicBezTo>
                  <a:pt x="3385" y="3891"/>
                  <a:pt x="3397" y="3883"/>
                  <a:pt x="3415" y="3871"/>
                </a:cubicBezTo>
                <a:cubicBezTo>
                  <a:pt x="3432" y="3858"/>
                  <a:pt x="3455" y="3840"/>
                  <a:pt x="3477" y="3823"/>
                </a:cubicBezTo>
                <a:cubicBezTo>
                  <a:pt x="3500" y="3806"/>
                  <a:pt x="3522" y="3787"/>
                  <a:pt x="3539" y="3773"/>
                </a:cubicBezTo>
                <a:cubicBezTo>
                  <a:pt x="3555" y="3759"/>
                  <a:pt x="3566" y="3750"/>
                  <a:pt x="3566" y="3750"/>
                </a:cubicBezTo>
                <a:cubicBezTo>
                  <a:pt x="3590" y="3730"/>
                  <a:pt x="3600" y="3698"/>
                  <a:pt x="3593" y="3671"/>
                </a:cubicBezTo>
                <a:cubicBezTo>
                  <a:pt x="3593" y="3671"/>
                  <a:pt x="3589" y="3653"/>
                  <a:pt x="3582" y="3627"/>
                </a:cubicBezTo>
                <a:cubicBezTo>
                  <a:pt x="3575" y="3601"/>
                  <a:pt x="3566" y="3568"/>
                  <a:pt x="3555" y="3533"/>
                </a:cubicBezTo>
                <a:cubicBezTo>
                  <a:pt x="3533" y="3465"/>
                  <a:pt x="3508" y="3400"/>
                  <a:pt x="3508" y="3400"/>
                </a:cubicBezTo>
                <a:cubicBezTo>
                  <a:pt x="3499" y="3375"/>
                  <a:pt x="3503" y="3346"/>
                  <a:pt x="3521" y="3326"/>
                </a:cubicBezTo>
                <a:cubicBezTo>
                  <a:pt x="3521" y="3326"/>
                  <a:pt x="3550" y="3294"/>
                  <a:pt x="3577" y="3258"/>
                </a:cubicBezTo>
                <a:cubicBezTo>
                  <a:pt x="3590" y="3241"/>
                  <a:pt x="3604" y="3224"/>
                  <a:pt x="3614" y="3210"/>
                </a:cubicBezTo>
                <a:cubicBezTo>
                  <a:pt x="3623" y="3197"/>
                  <a:pt x="3630" y="3188"/>
                  <a:pt x="3630" y="3188"/>
                </a:cubicBezTo>
                <a:cubicBezTo>
                  <a:pt x="3630" y="3188"/>
                  <a:pt x="3656" y="3152"/>
                  <a:pt x="3679" y="3115"/>
                </a:cubicBezTo>
                <a:cubicBezTo>
                  <a:pt x="3691" y="3096"/>
                  <a:pt x="3703" y="3078"/>
                  <a:pt x="3711" y="3063"/>
                </a:cubicBezTo>
                <a:cubicBezTo>
                  <a:pt x="3719" y="3049"/>
                  <a:pt x="3725" y="3039"/>
                  <a:pt x="3725" y="3039"/>
                </a:cubicBezTo>
                <a:cubicBezTo>
                  <a:pt x="3738" y="3017"/>
                  <a:pt x="3764" y="3003"/>
                  <a:pt x="3790" y="3003"/>
                </a:cubicBezTo>
                <a:cubicBezTo>
                  <a:pt x="3790" y="3003"/>
                  <a:pt x="3860" y="3006"/>
                  <a:pt x="3932" y="3004"/>
                </a:cubicBezTo>
                <a:cubicBezTo>
                  <a:pt x="4002" y="3002"/>
                  <a:pt x="4074" y="2996"/>
                  <a:pt x="4074" y="2996"/>
                </a:cubicBezTo>
                <a:cubicBezTo>
                  <a:pt x="4102" y="2994"/>
                  <a:pt x="4128" y="2974"/>
                  <a:pt x="4139" y="2944"/>
                </a:cubicBezTo>
                <a:cubicBezTo>
                  <a:pt x="4139" y="2944"/>
                  <a:pt x="4145" y="2931"/>
                  <a:pt x="4153" y="2911"/>
                </a:cubicBezTo>
                <a:cubicBezTo>
                  <a:pt x="4161" y="2891"/>
                  <a:pt x="4171" y="2864"/>
                  <a:pt x="4180" y="2837"/>
                </a:cubicBezTo>
                <a:cubicBezTo>
                  <a:pt x="4189" y="2810"/>
                  <a:pt x="4199" y="2783"/>
                  <a:pt x="4205" y="2762"/>
                </a:cubicBezTo>
                <a:cubicBezTo>
                  <a:pt x="4211" y="2741"/>
                  <a:pt x="4215" y="2728"/>
                  <a:pt x="4215" y="2728"/>
                </a:cubicBezTo>
                <a:cubicBezTo>
                  <a:pt x="4224" y="2698"/>
                  <a:pt x="4216" y="2666"/>
                  <a:pt x="4195" y="2647"/>
                </a:cubicBezTo>
                <a:cubicBezTo>
                  <a:pt x="4195" y="2647"/>
                  <a:pt x="4143" y="2597"/>
                  <a:pt x="4089" y="2552"/>
                </a:cubicBezTo>
                <a:cubicBezTo>
                  <a:pt x="4033" y="2506"/>
                  <a:pt x="3977" y="2465"/>
                  <a:pt x="3977" y="2465"/>
                </a:cubicBezTo>
                <a:cubicBezTo>
                  <a:pt x="3956" y="2449"/>
                  <a:pt x="3945" y="2422"/>
                  <a:pt x="3948" y="2396"/>
                </a:cubicBezTo>
                <a:cubicBezTo>
                  <a:pt x="3948" y="2396"/>
                  <a:pt x="3950" y="2385"/>
                  <a:pt x="3952" y="2369"/>
                </a:cubicBezTo>
                <a:cubicBezTo>
                  <a:pt x="3955" y="2352"/>
                  <a:pt x="3957" y="2330"/>
                  <a:pt x="3959" y="2308"/>
                </a:cubicBezTo>
                <a:cubicBezTo>
                  <a:pt x="3961" y="2286"/>
                  <a:pt x="3963" y="2265"/>
                  <a:pt x="3964" y="2248"/>
                </a:cubicBezTo>
                <a:cubicBezTo>
                  <a:pt x="3965" y="2232"/>
                  <a:pt x="3965" y="2221"/>
                  <a:pt x="3965" y="2221"/>
                </a:cubicBezTo>
                <a:cubicBezTo>
                  <a:pt x="3965" y="2221"/>
                  <a:pt x="3966" y="2210"/>
                  <a:pt x="3967" y="2193"/>
                </a:cubicBezTo>
                <a:cubicBezTo>
                  <a:pt x="3968" y="2176"/>
                  <a:pt x="3968" y="2154"/>
                  <a:pt x="3967" y="2132"/>
                </a:cubicBezTo>
                <a:cubicBezTo>
                  <a:pt x="3967" y="2110"/>
                  <a:pt x="3968" y="2088"/>
                  <a:pt x="3967" y="2072"/>
                </a:cubicBezTo>
                <a:cubicBezTo>
                  <a:pt x="3966" y="2055"/>
                  <a:pt x="3965" y="2044"/>
                  <a:pt x="3965" y="2044"/>
                </a:cubicBezTo>
                <a:cubicBezTo>
                  <a:pt x="3964" y="2018"/>
                  <a:pt x="3978" y="1992"/>
                  <a:pt x="4001" y="1979"/>
                </a:cubicBezTo>
                <a:cubicBezTo>
                  <a:pt x="4001" y="1979"/>
                  <a:pt x="4061" y="1943"/>
                  <a:pt x="4120" y="1903"/>
                </a:cubicBezTo>
                <a:cubicBezTo>
                  <a:pt x="4150" y="1882"/>
                  <a:pt x="4179" y="1862"/>
                  <a:pt x="4200" y="1846"/>
                </a:cubicBezTo>
                <a:cubicBezTo>
                  <a:pt x="4221" y="1829"/>
                  <a:pt x="4236" y="1818"/>
                  <a:pt x="4236" y="1818"/>
                </a:cubicBezTo>
                <a:cubicBezTo>
                  <a:pt x="4257" y="1802"/>
                  <a:pt x="4269" y="1770"/>
                  <a:pt x="4263" y="1739"/>
                </a:cubicBezTo>
                <a:cubicBezTo>
                  <a:pt x="4263" y="1739"/>
                  <a:pt x="4260" y="1725"/>
                  <a:pt x="4256" y="1704"/>
                </a:cubicBezTo>
                <a:cubicBezTo>
                  <a:pt x="4251" y="1683"/>
                  <a:pt x="4246" y="1655"/>
                  <a:pt x="4239" y="1627"/>
                </a:cubicBezTo>
                <a:cubicBezTo>
                  <a:pt x="4231" y="1599"/>
                  <a:pt x="4224" y="1572"/>
                  <a:pt x="4219" y="1551"/>
                </a:cubicBezTo>
                <a:cubicBezTo>
                  <a:pt x="4213" y="1530"/>
                  <a:pt x="4208" y="1516"/>
                  <a:pt x="4208" y="1516"/>
                </a:cubicBezTo>
                <a:cubicBezTo>
                  <a:pt x="4199" y="1486"/>
                  <a:pt x="4176" y="1464"/>
                  <a:pt x="4149" y="1459"/>
                </a:cubicBezTo>
                <a:cubicBezTo>
                  <a:pt x="4149" y="1459"/>
                  <a:pt x="4131" y="1455"/>
                  <a:pt x="4104" y="1451"/>
                </a:cubicBezTo>
                <a:cubicBezTo>
                  <a:pt x="4077" y="1447"/>
                  <a:pt x="4042" y="1442"/>
                  <a:pt x="4007" y="1437"/>
                </a:cubicBezTo>
                <a:cubicBezTo>
                  <a:pt x="3971" y="1433"/>
                  <a:pt x="3937" y="1430"/>
                  <a:pt x="3910" y="1427"/>
                </a:cubicBezTo>
                <a:cubicBezTo>
                  <a:pt x="3884" y="1426"/>
                  <a:pt x="3866" y="1424"/>
                  <a:pt x="3866" y="1424"/>
                </a:cubicBezTo>
                <a:cubicBezTo>
                  <a:pt x="3839" y="1423"/>
                  <a:pt x="3815" y="1407"/>
                  <a:pt x="3805" y="1382"/>
                </a:cubicBezTo>
                <a:cubicBezTo>
                  <a:pt x="3805" y="1382"/>
                  <a:pt x="3801" y="1372"/>
                  <a:pt x="3793" y="1357"/>
                </a:cubicBezTo>
                <a:cubicBezTo>
                  <a:pt x="3786" y="1342"/>
                  <a:pt x="3776" y="1323"/>
                  <a:pt x="3767" y="1303"/>
                </a:cubicBezTo>
                <a:cubicBezTo>
                  <a:pt x="3757" y="1283"/>
                  <a:pt x="3746" y="1264"/>
                  <a:pt x="3738" y="1249"/>
                </a:cubicBezTo>
                <a:cubicBezTo>
                  <a:pt x="3730" y="1235"/>
                  <a:pt x="3724" y="1225"/>
                  <a:pt x="3724" y="1225"/>
                </a:cubicBezTo>
                <a:cubicBezTo>
                  <a:pt x="3724" y="1225"/>
                  <a:pt x="3719" y="1215"/>
                  <a:pt x="3711" y="1201"/>
                </a:cubicBezTo>
                <a:cubicBezTo>
                  <a:pt x="3702" y="1187"/>
                  <a:pt x="3690" y="1169"/>
                  <a:pt x="3679" y="1150"/>
                </a:cubicBezTo>
                <a:cubicBezTo>
                  <a:pt x="3667" y="1131"/>
                  <a:pt x="3654" y="1113"/>
                  <a:pt x="3645" y="1100"/>
                </a:cubicBezTo>
                <a:cubicBezTo>
                  <a:pt x="3635" y="1086"/>
                  <a:pt x="3629" y="1077"/>
                  <a:pt x="3629" y="1077"/>
                </a:cubicBezTo>
                <a:cubicBezTo>
                  <a:pt x="3614" y="1055"/>
                  <a:pt x="3611" y="1027"/>
                  <a:pt x="3624" y="1003"/>
                </a:cubicBezTo>
                <a:cubicBezTo>
                  <a:pt x="3624" y="1003"/>
                  <a:pt x="3631" y="987"/>
                  <a:pt x="3643" y="963"/>
                </a:cubicBezTo>
                <a:cubicBezTo>
                  <a:pt x="3654" y="939"/>
                  <a:pt x="3669" y="907"/>
                  <a:pt x="3683" y="874"/>
                </a:cubicBezTo>
                <a:cubicBezTo>
                  <a:pt x="3710" y="809"/>
                  <a:pt x="3735" y="741"/>
                  <a:pt x="3735" y="741"/>
                </a:cubicBezTo>
                <a:cubicBezTo>
                  <a:pt x="3745" y="714"/>
                  <a:pt x="3736" y="683"/>
                  <a:pt x="3715" y="660"/>
                </a:cubicBezTo>
                <a:cubicBezTo>
                  <a:pt x="3715" y="660"/>
                  <a:pt x="3676" y="618"/>
                  <a:pt x="3634" y="579"/>
                </a:cubicBezTo>
                <a:cubicBezTo>
                  <a:pt x="3613" y="558"/>
                  <a:pt x="3592" y="539"/>
                  <a:pt x="3576" y="525"/>
                </a:cubicBezTo>
                <a:cubicBezTo>
                  <a:pt x="3559" y="511"/>
                  <a:pt x="3549" y="501"/>
                  <a:pt x="3549" y="501"/>
                </a:cubicBezTo>
                <a:cubicBezTo>
                  <a:pt x="3525" y="480"/>
                  <a:pt x="3492" y="475"/>
                  <a:pt x="3467" y="486"/>
                </a:cubicBezTo>
                <a:cubicBezTo>
                  <a:pt x="3467" y="486"/>
                  <a:pt x="3400" y="513"/>
                  <a:pt x="3336" y="544"/>
                </a:cubicBezTo>
                <a:cubicBezTo>
                  <a:pt x="3272" y="575"/>
                  <a:pt x="3211" y="609"/>
                  <a:pt x="3211" y="609"/>
                </a:cubicBezTo>
                <a:cubicBezTo>
                  <a:pt x="3187" y="622"/>
                  <a:pt x="3159" y="621"/>
                  <a:pt x="3136" y="607"/>
                </a:cubicBezTo>
                <a:cubicBezTo>
                  <a:pt x="3136" y="607"/>
                  <a:pt x="3100" y="582"/>
                  <a:pt x="3061" y="561"/>
                </a:cubicBezTo>
                <a:cubicBezTo>
                  <a:pt x="3023" y="538"/>
                  <a:pt x="2984" y="519"/>
                  <a:pt x="2984" y="519"/>
                </a:cubicBezTo>
                <a:cubicBezTo>
                  <a:pt x="2984" y="519"/>
                  <a:pt x="2945" y="498"/>
                  <a:pt x="2904" y="480"/>
                </a:cubicBezTo>
                <a:cubicBezTo>
                  <a:pt x="2865" y="461"/>
                  <a:pt x="2823" y="445"/>
                  <a:pt x="2823" y="445"/>
                </a:cubicBezTo>
                <a:cubicBezTo>
                  <a:pt x="2799" y="435"/>
                  <a:pt x="2782" y="412"/>
                  <a:pt x="2778" y="386"/>
                </a:cubicBezTo>
                <a:cubicBezTo>
                  <a:pt x="2778" y="386"/>
                  <a:pt x="2771" y="316"/>
                  <a:pt x="2759" y="246"/>
                </a:cubicBezTo>
                <a:cubicBezTo>
                  <a:pt x="2747" y="176"/>
                  <a:pt x="2731" y="106"/>
                  <a:pt x="2731" y="106"/>
                </a:cubicBezTo>
                <a:cubicBezTo>
                  <a:pt x="2725" y="79"/>
                  <a:pt x="2701" y="55"/>
                  <a:pt x="2670" y="48"/>
                </a:cubicBezTo>
                <a:cubicBezTo>
                  <a:pt x="2670" y="48"/>
                  <a:pt x="2656" y="45"/>
                  <a:pt x="2636" y="40"/>
                </a:cubicBezTo>
                <a:cubicBezTo>
                  <a:pt x="2615" y="34"/>
                  <a:pt x="2587" y="29"/>
                  <a:pt x="2558" y="24"/>
                </a:cubicBezTo>
                <a:cubicBezTo>
                  <a:pt x="2502" y="12"/>
                  <a:pt x="2445" y="5"/>
                  <a:pt x="2445" y="5"/>
                </a:cubicBezTo>
                <a:cubicBezTo>
                  <a:pt x="2414" y="0"/>
                  <a:pt x="2384" y="12"/>
                  <a:pt x="2368" y="35"/>
                </a:cubicBezTo>
                <a:cubicBezTo>
                  <a:pt x="2368" y="35"/>
                  <a:pt x="2326" y="95"/>
                  <a:pt x="2289" y="154"/>
                </a:cubicBezTo>
                <a:cubicBezTo>
                  <a:pt x="2251" y="215"/>
                  <a:pt x="2219" y="277"/>
                  <a:pt x="2219" y="277"/>
                </a:cubicBezTo>
                <a:cubicBezTo>
                  <a:pt x="2206" y="301"/>
                  <a:pt x="2181" y="315"/>
                  <a:pt x="2155" y="316"/>
                </a:cubicBezTo>
                <a:cubicBezTo>
                  <a:pt x="2155" y="316"/>
                  <a:pt x="2144" y="316"/>
                  <a:pt x="2127" y="316"/>
                </a:cubicBezTo>
                <a:cubicBezTo>
                  <a:pt x="2111" y="316"/>
                  <a:pt x="2088" y="316"/>
                  <a:pt x="2066" y="318"/>
                </a:cubicBezTo>
                <a:cubicBezTo>
                  <a:pt x="2044" y="319"/>
                  <a:pt x="2022" y="320"/>
                  <a:pt x="2006" y="321"/>
                </a:cubicBezTo>
                <a:cubicBezTo>
                  <a:pt x="1989" y="323"/>
                  <a:pt x="1978" y="324"/>
                  <a:pt x="1978" y="324"/>
                </a:cubicBezTo>
                <a:cubicBezTo>
                  <a:pt x="1978" y="324"/>
                  <a:pt x="1968" y="325"/>
                  <a:pt x="1951" y="327"/>
                </a:cubicBezTo>
                <a:cubicBezTo>
                  <a:pt x="1935" y="328"/>
                  <a:pt x="1913" y="331"/>
                  <a:pt x="1891" y="334"/>
                </a:cubicBezTo>
                <a:cubicBezTo>
                  <a:pt x="1869" y="338"/>
                  <a:pt x="1847" y="341"/>
                  <a:pt x="1831" y="344"/>
                </a:cubicBezTo>
                <a:cubicBezTo>
                  <a:pt x="1815" y="347"/>
                  <a:pt x="1804" y="349"/>
                  <a:pt x="1804" y="349"/>
                </a:cubicBezTo>
                <a:cubicBezTo>
                  <a:pt x="1778" y="354"/>
                  <a:pt x="1751" y="344"/>
                  <a:pt x="1734" y="323"/>
                </a:cubicBezTo>
                <a:cubicBezTo>
                  <a:pt x="1734" y="323"/>
                  <a:pt x="1690" y="269"/>
                  <a:pt x="1642" y="217"/>
                </a:cubicBezTo>
                <a:cubicBezTo>
                  <a:pt x="1594" y="163"/>
                  <a:pt x="1542" y="114"/>
                  <a:pt x="1542" y="114"/>
                </a:cubicBezTo>
                <a:cubicBezTo>
                  <a:pt x="1522" y="95"/>
                  <a:pt x="1490" y="88"/>
                  <a:pt x="1460" y="98"/>
                </a:cubicBezTo>
                <a:cubicBezTo>
                  <a:pt x="1460" y="98"/>
                  <a:pt x="1447" y="103"/>
                  <a:pt x="1426" y="110"/>
                </a:cubicBezTo>
                <a:cubicBezTo>
                  <a:pt x="1406" y="118"/>
                  <a:pt x="1380" y="128"/>
                  <a:pt x="1353" y="138"/>
                </a:cubicBezTo>
                <a:cubicBezTo>
                  <a:pt x="1326" y="149"/>
                  <a:pt x="1300" y="160"/>
                  <a:pt x="1280" y="169"/>
                </a:cubicBezTo>
                <a:cubicBezTo>
                  <a:pt x="1261" y="177"/>
                  <a:pt x="1248" y="183"/>
                  <a:pt x="1248" y="183"/>
                </a:cubicBezTo>
                <a:cubicBezTo>
                  <a:pt x="1219" y="197"/>
                  <a:pt x="1200" y="223"/>
                  <a:pt x="1199" y="251"/>
                </a:cubicBezTo>
                <a:cubicBezTo>
                  <a:pt x="1199" y="251"/>
                  <a:pt x="1196" y="322"/>
                  <a:pt x="1198" y="394"/>
                </a:cubicBezTo>
                <a:cubicBezTo>
                  <a:pt x="1199" y="465"/>
                  <a:pt x="1204" y="535"/>
                  <a:pt x="1204" y="535"/>
                </a:cubicBezTo>
                <a:cubicBezTo>
                  <a:pt x="1207" y="562"/>
                  <a:pt x="1194" y="588"/>
                  <a:pt x="1172" y="602"/>
                </a:cubicBezTo>
                <a:cubicBezTo>
                  <a:pt x="1172" y="602"/>
                  <a:pt x="1162" y="608"/>
                  <a:pt x="1148" y="617"/>
                </a:cubicBezTo>
                <a:cubicBezTo>
                  <a:pt x="1135" y="626"/>
                  <a:pt x="1116" y="639"/>
                  <a:pt x="1098" y="651"/>
                </a:cubicBezTo>
                <a:cubicBezTo>
                  <a:pt x="1080" y="663"/>
                  <a:pt x="1063" y="677"/>
                  <a:pt x="1049" y="687"/>
                </a:cubicBezTo>
                <a:cubicBezTo>
                  <a:pt x="1036" y="697"/>
                  <a:pt x="1028" y="704"/>
                  <a:pt x="1028" y="704"/>
                </a:cubicBezTo>
                <a:cubicBezTo>
                  <a:pt x="1028" y="704"/>
                  <a:pt x="1019" y="711"/>
                  <a:pt x="1006" y="721"/>
                </a:cubicBezTo>
                <a:cubicBezTo>
                  <a:pt x="993" y="731"/>
                  <a:pt x="976" y="746"/>
                  <a:pt x="960" y="760"/>
                </a:cubicBezTo>
                <a:cubicBezTo>
                  <a:pt x="943" y="774"/>
                  <a:pt x="926" y="789"/>
                  <a:pt x="915" y="800"/>
                </a:cubicBezTo>
                <a:cubicBezTo>
                  <a:pt x="902" y="812"/>
                  <a:pt x="894" y="819"/>
                  <a:pt x="894" y="819"/>
                </a:cubicBezTo>
                <a:cubicBezTo>
                  <a:pt x="875" y="837"/>
                  <a:pt x="847" y="844"/>
                  <a:pt x="822" y="836"/>
                </a:cubicBezTo>
                <a:cubicBezTo>
                  <a:pt x="822" y="836"/>
                  <a:pt x="755" y="813"/>
                  <a:pt x="686" y="795"/>
                </a:cubicBezTo>
                <a:cubicBezTo>
                  <a:pt x="618" y="777"/>
                  <a:pt x="547" y="763"/>
                  <a:pt x="547" y="763"/>
                </a:cubicBezTo>
                <a:cubicBezTo>
                  <a:pt x="519" y="757"/>
                  <a:pt x="489" y="769"/>
                  <a:pt x="470" y="794"/>
                </a:cubicBezTo>
                <a:cubicBezTo>
                  <a:pt x="470" y="794"/>
                  <a:pt x="433" y="839"/>
                  <a:pt x="401" y="886"/>
                </a:cubicBezTo>
                <a:cubicBezTo>
                  <a:pt x="384" y="909"/>
                  <a:pt x="367" y="933"/>
                  <a:pt x="356" y="951"/>
                </a:cubicBezTo>
                <a:cubicBezTo>
                  <a:pt x="344" y="969"/>
                  <a:pt x="337" y="981"/>
                  <a:pt x="337" y="981"/>
                </a:cubicBezTo>
                <a:cubicBezTo>
                  <a:pt x="319" y="1007"/>
                  <a:pt x="318" y="1040"/>
                  <a:pt x="332" y="1064"/>
                </a:cubicBezTo>
                <a:cubicBezTo>
                  <a:pt x="332" y="1064"/>
                  <a:pt x="369" y="1127"/>
                  <a:pt x="408" y="1185"/>
                </a:cubicBezTo>
                <a:cubicBezTo>
                  <a:pt x="448" y="1245"/>
                  <a:pt x="491" y="1300"/>
                  <a:pt x="491" y="1300"/>
                </a:cubicBezTo>
                <a:cubicBezTo>
                  <a:pt x="507" y="1321"/>
                  <a:pt x="510" y="1350"/>
                  <a:pt x="499" y="1374"/>
                </a:cubicBezTo>
                <a:cubicBezTo>
                  <a:pt x="499" y="1374"/>
                  <a:pt x="480" y="1414"/>
                  <a:pt x="465" y="1455"/>
                </a:cubicBezTo>
                <a:cubicBezTo>
                  <a:pt x="447" y="1496"/>
                  <a:pt x="434" y="1538"/>
                  <a:pt x="434" y="1538"/>
                </a:cubicBezTo>
                <a:cubicBezTo>
                  <a:pt x="434" y="1538"/>
                  <a:pt x="418" y="1579"/>
                  <a:pt x="407" y="1622"/>
                </a:cubicBezTo>
                <a:cubicBezTo>
                  <a:pt x="393" y="1664"/>
                  <a:pt x="384" y="1707"/>
                  <a:pt x="384" y="1707"/>
                </a:cubicBezTo>
                <a:cubicBezTo>
                  <a:pt x="378" y="1733"/>
                  <a:pt x="357" y="1753"/>
                  <a:pt x="331" y="1760"/>
                </a:cubicBezTo>
                <a:cubicBezTo>
                  <a:pt x="331" y="1760"/>
                  <a:pt x="264" y="1777"/>
                  <a:pt x="195" y="1799"/>
                </a:cubicBezTo>
                <a:cubicBezTo>
                  <a:pt x="128" y="1820"/>
                  <a:pt x="61" y="1847"/>
                  <a:pt x="61" y="1847"/>
                </a:cubicBezTo>
                <a:cubicBezTo>
                  <a:pt x="35" y="1857"/>
                  <a:pt x="15" y="1883"/>
                  <a:pt x="13" y="1915"/>
                </a:cubicBezTo>
                <a:cubicBezTo>
                  <a:pt x="13" y="1915"/>
                  <a:pt x="11" y="1929"/>
                  <a:pt x="9" y="1950"/>
                </a:cubicBezTo>
                <a:cubicBezTo>
                  <a:pt x="7" y="1972"/>
                  <a:pt x="5" y="2001"/>
                  <a:pt x="4" y="2029"/>
                </a:cubicBezTo>
                <a:cubicBezTo>
                  <a:pt x="0" y="2087"/>
                  <a:pt x="1" y="2144"/>
                  <a:pt x="1" y="2144"/>
                </a:cubicBezTo>
                <a:cubicBezTo>
                  <a:pt x="1" y="2176"/>
                  <a:pt x="17" y="2204"/>
                  <a:pt x="43" y="2217"/>
                </a:cubicBezTo>
                <a:cubicBezTo>
                  <a:pt x="43" y="2217"/>
                  <a:pt x="107" y="2249"/>
                  <a:pt x="172" y="2277"/>
                </a:cubicBezTo>
                <a:cubicBezTo>
                  <a:pt x="204" y="2291"/>
                  <a:pt x="238" y="2305"/>
                  <a:pt x="262" y="2314"/>
                </a:cubicBezTo>
                <a:cubicBezTo>
                  <a:pt x="287" y="2323"/>
                  <a:pt x="304" y="2329"/>
                  <a:pt x="304" y="2329"/>
                </a:cubicBezTo>
                <a:cubicBezTo>
                  <a:pt x="329" y="2339"/>
                  <a:pt x="346" y="2361"/>
                  <a:pt x="351" y="2387"/>
                </a:cubicBezTo>
                <a:cubicBezTo>
                  <a:pt x="351" y="2387"/>
                  <a:pt x="352" y="2398"/>
                  <a:pt x="355" y="2414"/>
                </a:cubicBezTo>
                <a:cubicBezTo>
                  <a:pt x="358" y="2431"/>
                  <a:pt x="360" y="2453"/>
                  <a:pt x="365" y="2474"/>
                </a:cubicBezTo>
                <a:cubicBezTo>
                  <a:pt x="370" y="2496"/>
                  <a:pt x="374" y="2517"/>
                  <a:pt x="378" y="2534"/>
                </a:cubicBezTo>
                <a:cubicBezTo>
                  <a:pt x="381" y="2550"/>
                  <a:pt x="384" y="2560"/>
                  <a:pt x="384" y="2560"/>
                </a:cubicBezTo>
                <a:cubicBezTo>
                  <a:pt x="384" y="2560"/>
                  <a:pt x="387" y="2571"/>
                  <a:pt x="391" y="2587"/>
                </a:cubicBezTo>
                <a:cubicBezTo>
                  <a:pt x="395" y="2603"/>
                  <a:pt x="400" y="2625"/>
                  <a:pt x="407" y="2646"/>
                </a:cubicBezTo>
                <a:cubicBezTo>
                  <a:pt x="413" y="2667"/>
                  <a:pt x="420" y="2688"/>
                  <a:pt x="425" y="2703"/>
                </a:cubicBezTo>
                <a:cubicBezTo>
                  <a:pt x="430" y="2719"/>
                  <a:pt x="434" y="2729"/>
                  <a:pt x="434" y="2729"/>
                </a:cubicBezTo>
                <a:cubicBezTo>
                  <a:pt x="443" y="2754"/>
                  <a:pt x="437" y="2782"/>
                  <a:pt x="418" y="2802"/>
                </a:cubicBezTo>
                <a:cubicBezTo>
                  <a:pt x="418" y="2802"/>
                  <a:pt x="406" y="2815"/>
                  <a:pt x="389" y="2835"/>
                </a:cubicBezTo>
                <a:cubicBezTo>
                  <a:pt x="371" y="2855"/>
                  <a:pt x="348" y="2881"/>
                  <a:pt x="326" y="2909"/>
                </a:cubicBezTo>
                <a:cubicBezTo>
                  <a:pt x="303" y="2936"/>
                  <a:pt x="281" y="2964"/>
                  <a:pt x="265" y="2986"/>
                </a:cubicBezTo>
                <a:cubicBezTo>
                  <a:pt x="248" y="3007"/>
                  <a:pt x="238" y="3022"/>
                  <a:pt x="238" y="3022"/>
                </a:cubicBezTo>
                <a:cubicBezTo>
                  <a:pt x="221" y="3044"/>
                  <a:pt x="220" y="3077"/>
                  <a:pt x="234" y="3105"/>
                </a:cubicBezTo>
                <a:cubicBezTo>
                  <a:pt x="234" y="3105"/>
                  <a:pt x="240" y="3118"/>
                  <a:pt x="250" y="3137"/>
                </a:cubicBezTo>
                <a:cubicBezTo>
                  <a:pt x="261" y="3156"/>
                  <a:pt x="275" y="3181"/>
                  <a:pt x="288" y="3206"/>
                </a:cubicBezTo>
                <a:cubicBezTo>
                  <a:pt x="302" y="3231"/>
                  <a:pt x="318" y="3255"/>
                  <a:pt x="329" y="3274"/>
                </a:cubicBezTo>
                <a:cubicBezTo>
                  <a:pt x="341" y="3292"/>
                  <a:pt x="348" y="3304"/>
                  <a:pt x="348" y="3304"/>
                </a:cubicBezTo>
                <a:cubicBezTo>
                  <a:pt x="365" y="3331"/>
                  <a:pt x="395" y="3345"/>
                  <a:pt x="422" y="3342"/>
                </a:cubicBezTo>
                <a:cubicBezTo>
                  <a:pt x="422" y="3342"/>
                  <a:pt x="440" y="3340"/>
                  <a:pt x="467" y="3337"/>
                </a:cubicBezTo>
                <a:cubicBezTo>
                  <a:pt x="493" y="3334"/>
                  <a:pt x="529" y="3330"/>
                  <a:pt x="564" y="3324"/>
                </a:cubicBezTo>
                <a:cubicBezTo>
                  <a:pt x="635" y="3312"/>
                  <a:pt x="703" y="3297"/>
                  <a:pt x="703" y="3297"/>
                </a:cubicBezTo>
                <a:cubicBezTo>
                  <a:pt x="729" y="3291"/>
                  <a:pt x="757" y="3299"/>
                  <a:pt x="774" y="3320"/>
                </a:cubicBezTo>
                <a:cubicBezTo>
                  <a:pt x="774" y="3320"/>
                  <a:pt x="781" y="3328"/>
                  <a:pt x="792" y="3341"/>
                </a:cubicBezTo>
                <a:cubicBezTo>
                  <a:pt x="803" y="3353"/>
                  <a:pt x="818" y="3369"/>
                  <a:pt x="833" y="3385"/>
                </a:cubicBezTo>
                <a:cubicBezTo>
                  <a:pt x="848" y="3401"/>
                  <a:pt x="863" y="3417"/>
                  <a:pt x="876" y="3428"/>
                </a:cubicBezTo>
                <a:cubicBezTo>
                  <a:pt x="887" y="3440"/>
                  <a:pt x="895" y="3447"/>
                  <a:pt x="895" y="3447"/>
                </a:cubicBezTo>
                <a:cubicBezTo>
                  <a:pt x="895" y="3447"/>
                  <a:pt x="903" y="3455"/>
                  <a:pt x="915" y="3467"/>
                </a:cubicBezTo>
                <a:cubicBezTo>
                  <a:pt x="927" y="3478"/>
                  <a:pt x="944" y="3492"/>
                  <a:pt x="961" y="3507"/>
                </a:cubicBezTo>
                <a:cubicBezTo>
                  <a:pt x="977" y="3521"/>
                  <a:pt x="994" y="3536"/>
                  <a:pt x="1007" y="3546"/>
                </a:cubicBezTo>
                <a:cubicBezTo>
                  <a:pt x="1020" y="3556"/>
                  <a:pt x="1029" y="3563"/>
                  <a:pt x="1029" y="3563"/>
                </a:cubicBezTo>
                <a:cubicBezTo>
                  <a:pt x="1049" y="3579"/>
                  <a:pt x="1060" y="3606"/>
                  <a:pt x="1055" y="3633"/>
                </a:cubicBezTo>
                <a:cubicBezTo>
                  <a:pt x="1055" y="3633"/>
                  <a:pt x="1043" y="3701"/>
                  <a:pt x="1034" y="3773"/>
                </a:cubicBezTo>
                <a:cubicBezTo>
                  <a:pt x="1026" y="3843"/>
                  <a:pt x="1022" y="3915"/>
                  <a:pt x="1022" y="3915"/>
                </a:cubicBezTo>
                <a:cubicBezTo>
                  <a:pt x="1021" y="3943"/>
                  <a:pt x="1037" y="3971"/>
                  <a:pt x="1064" y="3987"/>
                </a:cubicBezTo>
                <a:cubicBezTo>
                  <a:pt x="1064" y="3987"/>
                  <a:pt x="1077" y="3994"/>
                  <a:pt x="1095" y="4005"/>
                </a:cubicBezTo>
                <a:cubicBezTo>
                  <a:pt x="1114" y="4016"/>
                  <a:pt x="1139" y="4029"/>
                  <a:pt x="1165" y="4042"/>
                </a:cubicBezTo>
                <a:cubicBezTo>
                  <a:pt x="1190" y="4055"/>
                  <a:pt x="1216" y="4068"/>
                  <a:pt x="1235" y="4077"/>
                </a:cubicBezTo>
                <a:cubicBezTo>
                  <a:pt x="1255" y="4086"/>
                  <a:pt x="1268" y="4092"/>
                  <a:pt x="1268" y="4092"/>
                </a:cubicBezTo>
                <a:cubicBezTo>
                  <a:pt x="1296" y="4105"/>
                  <a:pt x="1329" y="4102"/>
                  <a:pt x="1351" y="4084"/>
                </a:cubicBezTo>
                <a:cubicBezTo>
                  <a:pt x="1351" y="4084"/>
                  <a:pt x="1407" y="4039"/>
                  <a:pt x="1460" y="3992"/>
                </a:cubicBezTo>
                <a:cubicBezTo>
                  <a:pt x="1513" y="3944"/>
                  <a:pt x="1562" y="3894"/>
                  <a:pt x="1562" y="3894"/>
                </a:cubicBezTo>
                <a:cubicBezTo>
                  <a:pt x="1581" y="3875"/>
                  <a:pt x="1609" y="3868"/>
                  <a:pt x="1634" y="3875"/>
                </a:cubicBezTo>
                <a:cubicBezTo>
                  <a:pt x="1634" y="3875"/>
                  <a:pt x="1645" y="3878"/>
                  <a:pt x="1660" y="3883"/>
                </a:cubicBezTo>
                <a:cubicBezTo>
                  <a:pt x="1676" y="3888"/>
                  <a:pt x="1698" y="3893"/>
                  <a:pt x="1719" y="3898"/>
                </a:cubicBezTo>
                <a:cubicBezTo>
                  <a:pt x="1762" y="3909"/>
                  <a:pt x="1805" y="3917"/>
                  <a:pt x="1805" y="3917"/>
                </a:cubicBezTo>
                <a:cubicBezTo>
                  <a:pt x="1805" y="3917"/>
                  <a:pt x="1816" y="3919"/>
                  <a:pt x="1832" y="3922"/>
                </a:cubicBezTo>
                <a:cubicBezTo>
                  <a:pt x="1848" y="3926"/>
                  <a:pt x="1870" y="3929"/>
                  <a:pt x="1892" y="3932"/>
                </a:cubicBezTo>
                <a:cubicBezTo>
                  <a:pt x="1936" y="3939"/>
                  <a:pt x="1980" y="3942"/>
                  <a:pt x="1980" y="3942"/>
                </a:cubicBezTo>
                <a:cubicBezTo>
                  <a:pt x="2006" y="3945"/>
                  <a:pt x="2029" y="3962"/>
                  <a:pt x="2040" y="3987"/>
                </a:cubicBezTo>
                <a:cubicBezTo>
                  <a:pt x="2040" y="3987"/>
                  <a:pt x="2066" y="4051"/>
                  <a:pt x="2098" y="4116"/>
                </a:cubicBezTo>
                <a:cubicBezTo>
                  <a:pt x="2113" y="4148"/>
                  <a:pt x="2130" y="4179"/>
                  <a:pt x="2143" y="4203"/>
                </a:cubicBezTo>
                <a:cubicBezTo>
                  <a:pt x="2156" y="4226"/>
                  <a:pt x="2164" y="4242"/>
                  <a:pt x="2164" y="4242"/>
                </a:cubicBezTo>
                <a:cubicBezTo>
                  <a:pt x="2178" y="4266"/>
                  <a:pt x="2207" y="4282"/>
                  <a:pt x="2239" y="4280"/>
                </a:cubicBezTo>
                <a:cubicBezTo>
                  <a:pt x="2239" y="4280"/>
                  <a:pt x="2253" y="4279"/>
                  <a:pt x="2275" y="4278"/>
                </a:cubicBezTo>
                <a:close/>
                <a:moveTo>
                  <a:pt x="2010" y="3512"/>
                </a:moveTo>
                <a:cubicBezTo>
                  <a:pt x="1973" y="3509"/>
                  <a:pt x="1942" y="3503"/>
                  <a:pt x="1921" y="3501"/>
                </a:cubicBezTo>
                <a:cubicBezTo>
                  <a:pt x="1900" y="3496"/>
                  <a:pt x="1887" y="3494"/>
                  <a:pt x="1887" y="3494"/>
                </a:cubicBezTo>
                <a:cubicBezTo>
                  <a:pt x="1887" y="3494"/>
                  <a:pt x="1875" y="3492"/>
                  <a:pt x="1854" y="3488"/>
                </a:cubicBezTo>
                <a:cubicBezTo>
                  <a:pt x="1843" y="3485"/>
                  <a:pt x="1831" y="3482"/>
                  <a:pt x="1816" y="3478"/>
                </a:cubicBezTo>
                <a:cubicBezTo>
                  <a:pt x="1801" y="3475"/>
                  <a:pt x="1785" y="3471"/>
                  <a:pt x="1767" y="3465"/>
                </a:cubicBezTo>
                <a:cubicBezTo>
                  <a:pt x="1696" y="3445"/>
                  <a:pt x="1602" y="3410"/>
                  <a:pt x="1514" y="3365"/>
                </a:cubicBezTo>
                <a:cubicBezTo>
                  <a:pt x="1426" y="3319"/>
                  <a:pt x="1344" y="3263"/>
                  <a:pt x="1286" y="3217"/>
                </a:cubicBezTo>
                <a:cubicBezTo>
                  <a:pt x="1256" y="3195"/>
                  <a:pt x="1234" y="3173"/>
                  <a:pt x="1217" y="3159"/>
                </a:cubicBezTo>
                <a:cubicBezTo>
                  <a:pt x="1201" y="3145"/>
                  <a:pt x="1193" y="3136"/>
                  <a:pt x="1193" y="3136"/>
                </a:cubicBezTo>
                <a:cubicBezTo>
                  <a:pt x="1193" y="3136"/>
                  <a:pt x="1184" y="3127"/>
                  <a:pt x="1168" y="3112"/>
                </a:cubicBezTo>
                <a:cubicBezTo>
                  <a:pt x="1153" y="3097"/>
                  <a:pt x="1131" y="3075"/>
                  <a:pt x="1107" y="3047"/>
                </a:cubicBezTo>
                <a:cubicBezTo>
                  <a:pt x="1058" y="2991"/>
                  <a:pt x="998" y="2912"/>
                  <a:pt x="949" y="2826"/>
                </a:cubicBezTo>
                <a:cubicBezTo>
                  <a:pt x="900" y="2740"/>
                  <a:pt x="861" y="2648"/>
                  <a:pt x="837" y="2578"/>
                </a:cubicBezTo>
                <a:cubicBezTo>
                  <a:pt x="826" y="2542"/>
                  <a:pt x="816" y="2513"/>
                  <a:pt x="811" y="2492"/>
                </a:cubicBezTo>
                <a:cubicBezTo>
                  <a:pt x="806" y="2471"/>
                  <a:pt x="803" y="2459"/>
                  <a:pt x="803" y="2459"/>
                </a:cubicBezTo>
                <a:cubicBezTo>
                  <a:pt x="803" y="2459"/>
                  <a:pt x="799" y="2447"/>
                  <a:pt x="795" y="2425"/>
                </a:cubicBezTo>
                <a:cubicBezTo>
                  <a:pt x="791" y="2404"/>
                  <a:pt x="784" y="2374"/>
                  <a:pt x="779" y="2337"/>
                </a:cubicBezTo>
                <a:cubicBezTo>
                  <a:pt x="768" y="2264"/>
                  <a:pt x="760" y="2165"/>
                  <a:pt x="765" y="2066"/>
                </a:cubicBezTo>
                <a:cubicBezTo>
                  <a:pt x="770" y="1968"/>
                  <a:pt x="787" y="1870"/>
                  <a:pt x="805" y="1798"/>
                </a:cubicBezTo>
                <a:cubicBezTo>
                  <a:pt x="813" y="1761"/>
                  <a:pt x="824" y="1732"/>
                  <a:pt x="829" y="1711"/>
                </a:cubicBezTo>
                <a:cubicBezTo>
                  <a:pt x="836" y="1691"/>
                  <a:pt x="841" y="1679"/>
                  <a:pt x="841" y="1679"/>
                </a:cubicBezTo>
                <a:cubicBezTo>
                  <a:pt x="841" y="1679"/>
                  <a:pt x="845" y="1667"/>
                  <a:pt x="852" y="1647"/>
                </a:cubicBezTo>
                <a:cubicBezTo>
                  <a:pt x="860" y="1627"/>
                  <a:pt x="870" y="1597"/>
                  <a:pt x="886" y="1564"/>
                </a:cubicBezTo>
                <a:cubicBezTo>
                  <a:pt x="916" y="1496"/>
                  <a:pt x="964" y="1408"/>
                  <a:pt x="1022" y="1328"/>
                </a:cubicBezTo>
                <a:cubicBezTo>
                  <a:pt x="1079" y="1247"/>
                  <a:pt x="1146" y="1174"/>
                  <a:pt x="1200" y="1123"/>
                </a:cubicBezTo>
                <a:cubicBezTo>
                  <a:pt x="1254" y="1072"/>
                  <a:pt x="1294" y="1043"/>
                  <a:pt x="1294" y="1043"/>
                </a:cubicBezTo>
                <a:cubicBezTo>
                  <a:pt x="1294" y="1043"/>
                  <a:pt x="1332" y="1011"/>
                  <a:pt x="1394" y="971"/>
                </a:cubicBezTo>
                <a:cubicBezTo>
                  <a:pt x="1456" y="930"/>
                  <a:pt x="1543" y="882"/>
                  <a:pt x="1636" y="845"/>
                </a:cubicBezTo>
                <a:cubicBezTo>
                  <a:pt x="1728" y="808"/>
                  <a:pt x="1824" y="782"/>
                  <a:pt x="1897" y="770"/>
                </a:cubicBezTo>
                <a:cubicBezTo>
                  <a:pt x="1970" y="756"/>
                  <a:pt x="2019" y="753"/>
                  <a:pt x="2019" y="753"/>
                </a:cubicBezTo>
                <a:cubicBezTo>
                  <a:pt x="2019" y="753"/>
                  <a:pt x="2069" y="747"/>
                  <a:pt x="2143" y="746"/>
                </a:cubicBezTo>
                <a:cubicBezTo>
                  <a:pt x="2217" y="746"/>
                  <a:pt x="2316" y="753"/>
                  <a:pt x="2413" y="772"/>
                </a:cubicBezTo>
                <a:cubicBezTo>
                  <a:pt x="2510" y="790"/>
                  <a:pt x="2605" y="821"/>
                  <a:pt x="2674" y="850"/>
                </a:cubicBezTo>
                <a:cubicBezTo>
                  <a:pt x="2709" y="863"/>
                  <a:pt x="2736" y="877"/>
                  <a:pt x="2756" y="886"/>
                </a:cubicBezTo>
                <a:cubicBezTo>
                  <a:pt x="2775" y="896"/>
                  <a:pt x="2786" y="901"/>
                  <a:pt x="2786" y="901"/>
                </a:cubicBezTo>
                <a:cubicBezTo>
                  <a:pt x="2786" y="901"/>
                  <a:pt x="2797" y="907"/>
                  <a:pt x="2817" y="917"/>
                </a:cubicBezTo>
                <a:cubicBezTo>
                  <a:pt x="2835" y="928"/>
                  <a:pt x="2863" y="942"/>
                  <a:pt x="2894" y="963"/>
                </a:cubicBezTo>
                <a:cubicBezTo>
                  <a:pt x="2957" y="1002"/>
                  <a:pt x="3036" y="1062"/>
                  <a:pt x="3108" y="1130"/>
                </a:cubicBezTo>
                <a:cubicBezTo>
                  <a:pt x="3180" y="1198"/>
                  <a:pt x="3242" y="1275"/>
                  <a:pt x="3285" y="1336"/>
                </a:cubicBezTo>
                <a:cubicBezTo>
                  <a:pt x="3306" y="1366"/>
                  <a:pt x="3322" y="1392"/>
                  <a:pt x="3334" y="1411"/>
                </a:cubicBezTo>
                <a:cubicBezTo>
                  <a:pt x="3345" y="1429"/>
                  <a:pt x="3351" y="1440"/>
                  <a:pt x="3351" y="1440"/>
                </a:cubicBezTo>
                <a:cubicBezTo>
                  <a:pt x="3351" y="1440"/>
                  <a:pt x="3357" y="1451"/>
                  <a:pt x="3368" y="1470"/>
                </a:cubicBezTo>
                <a:cubicBezTo>
                  <a:pt x="3379" y="1488"/>
                  <a:pt x="3391" y="1517"/>
                  <a:pt x="3408" y="1550"/>
                </a:cubicBezTo>
                <a:cubicBezTo>
                  <a:pt x="3439" y="1618"/>
                  <a:pt x="3475" y="1711"/>
                  <a:pt x="3498" y="1807"/>
                </a:cubicBezTo>
                <a:cubicBezTo>
                  <a:pt x="3522" y="1903"/>
                  <a:pt x="3533" y="2002"/>
                  <a:pt x="3536" y="2076"/>
                </a:cubicBezTo>
                <a:cubicBezTo>
                  <a:pt x="3537" y="2113"/>
                  <a:pt x="3537" y="2144"/>
                  <a:pt x="3537" y="2166"/>
                </a:cubicBezTo>
                <a:cubicBezTo>
                  <a:pt x="3536" y="2187"/>
                  <a:pt x="3535" y="2200"/>
                  <a:pt x="3535" y="2200"/>
                </a:cubicBezTo>
                <a:cubicBezTo>
                  <a:pt x="3535" y="2200"/>
                  <a:pt x="3535" y="2212"/>
                  <a:pt x="3533" y="2233"/>
                </a:cubicBezTo>
                <a:cubicBezTo>
                  <a:pt x="3531" y="2255"/>
                  <a:pt x="3530" y="2286"/>
                  <a:pt x="3524" y="2323"/>
                </a:cubicBezTo>
                <a:cubicBezTo>
                  <a:pt x="3514" y="2396"/>
                  <a:pt x="3493" y="2493"/>
                  <a:pt x="3460" y="2587"/>
                </a:cubicBezTo>
                <a:cubicBezTo>
                  <a:pt x="3428" y="2681"/>
                  <a:pt x="3384" y="2770"/>
                  <a:pt x="3346" y="2834"/>
                </a:cubicBezTo>
                <a:cubicBezTo>
                  <a:pt x="3337" y="2850"/>
                  <a:pt x="3328" y="2865"/>
                  <a:pt x="3320" y="2877"/>
                </a:cubicBezTo>
                <a:cubicBezTo>
                  <a:pt x="3311" y="2890"/>
                  <a:pt x="3304" y="2901"/>
                  <a:pt x="3298" y="2910"/>
                </a:cubicBezTo>
                <a:cubicBezTo>
                  <a:pt x="3286" y="2928"/>
                  <a:pt x="3279" y="2938"/>
                  <a:pt x="3279" y="2938"/>
                </a:cubicBezTo>
                <a:cubicBezTo>
                  <a:pt x="3279" y="2938"/>
                  <a:pt x="3272" y="2948"/>
                  <a:pt x="3259" y="2966"/>
                </a:cubicBezTo>
                <a:cubicBezTo>
                  <a:pt x="3245" y="2983"/>
                  <a:pt x="3227" y="3008"/>
                  <a:pt x="3203" y="3036"/>
                </a:cubicBezTo>
                <a:cubicBezTo>
                  <a:pt x="3155" y="3092"/>
                  <a:pt x="3085" y="3163"/>
                  <a:pt x="3007" y="3223"/>
                </a:cubicBezTo>
                <a:cubicBezTo>
                  <a:pt x="2929" y="3285"/>
                  <a:pt x="2844" y="3336"/>
                  <a:pt x="2778" y="3369"/>
                </a:cubicBezTo>
                <a:cubicBezTo>
                  <a:pt x="2761" y="3377"/>
                  <a:pt x="2746" y="3385"/>
                  <a:pt x="2732" y="3391"/>
                </a:cubicBezTo>
                <a:cubicBezTo>
                  <a:pt x="2718" y="3397"/>
                  <a:pt x="2706" y="3403"/>
                  <a:pt x="2696" y="3407"/>
                </a:cubicBezTo>
                <a:cubicBezTo>
                  <a:pt x="2676" y="3416"/>
                  <a:pt x="2665" y="3421"/>
                  <a:pt x="2665" y="3421"/>
                </a:cubicBezTo>
                <a:cubicBezTo>
                  <a:pt x="2665" y="3421"/>
                  <a:pt x="2653" y="3425"/>
                  <a:pt x="2633" y="3432"/>
                </a:cubicBezTo>
                <a:cubicBezTo>
                  <a:pt x="2622" y="3436"/>
                  <a:pt x="2610" y="3441"/>
                  <a:pt x="2596" y="3446"/>
                </a:cubicBezTo>
                <a:cubicBezTo>
                  <a:pt x="2581" y="3450"/>
                  <a:pt x="2565" y="3456"/>
                  <a:pt x="2547" y="3461"/>
                </a:cubicBezTo>
                <a:cubicBezTo>
                  <a:pt x="2476" y="3483"/>
                  <a:pt x="2379" y="3504"/>
                  <a:pt x="2281" y="3513"/>
                </a:cubicBezTo>
                <a:cubicBezTo>
                  <a:pt x="2183" y="3523"/>
                  <a:pt x="2083" y="3520"/>
                  <a:pt x="2010" y="3512"/>
                </a:cubicBezTo>
                <a:close/>
              </a:path>
            </a:pathLst>
          </a:custGeom>
          <a:solidFill>
            <a:schemeClr val="bg1"/>
          </a:solidFill>
          <a:ln w="25400">
            <a:solidFill>
              <a:schemeClr val="accent3"/>
            </a:solidFill>
          </a:ln>
          <a:effectLst/>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5" name="Freeform 14"/>
          <p:cNvSpPr/>
          <p:nvPr/>
        </p:nvSpPr>
        <p:spPr>
          <a:xfrm rot="7080796">
            <a:off x="7374436" y="4842415"/>
            <a:ext cx="641247" cy="2296815"/>
          </a:xfrm>
          <a:custGeom>
            <a:avLst/>
            <a:gdLst>
              <a:gd name="connsiteX0" fmla="*/ 0 w 792946"/>
              <a:gd name="connsiteY0" fmla="*/ 0 h 2840170"/>
              <a:gd name="connsiteX1" fmla="*/ 341080 w 792946"/>
              <a:gd name="connsiteY1" fmla="*/ 90666 h 2840170"/>
              <a:gd name="connsiteX2" fmla="*/ 283125 w 792946"/>
              <a:gd name="connsiteY2" fmla="*/ 148621 h 2840170"/>
              <a:gd name="connsiteX3" fmla="*/ 347186 w 792946"/>
              <a:gd name="connsiteY3" fmla="*/ 219033 h 2840170"/>
              <a:gd name="connsiteX4" fmla="*/ 355041 w 792946"/>
              <a:gd name="connsiteY4" fmla="*/ 2693165 h 2840170"/>
              <a:gd name="connsiteX5" fmla="*/ 222136 w 792946"/>
              <a:gd name="connsiteY5" fmla="*/ 2840170 h 2840170"/>
              <a:gd name="connsiteX6" fmla="*/ 79687 w 792946"/>
              <a:gd name="connsiteY6" fmla="*/ 2699507 h 2840170"/>
              <a:gd name="connsiteX7" fmla="*/ 81471 w 792946"/>
              <a:gd name="connsiteY7" fmla="*/ 2697894 h 2840170"/>
              <a:gd name="connsiteX8" fmla="*/ 201585 w 792946"/>
              <a:gd name="connsiteY8" fmla="*/ 356745 h 2840170"/>
              <a:gd name="connsiteX9" fmla="*/ 141481 w 792946"/>
              <a:gd name="connsiteY9" fmla="*/ 290265 h 2840170"/>
              <a:gd name="connsiteX10" fmla="*/ 90667 w 792946"/>
              <a:gd name="connsiteY10" fmla="*/ 341079 h 284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2946" h="2840170">
                <a:moveTo>
                  <a:pt x="0" y="0"/>
                </a:moveTo>
                <a:lnTo>
                  <a:pt x="341080" y="90666"/>
                </a:lnTo>
                <a:lnTo>
                  <a:pt x="283125" y="148621"/>
                </a:lnTo>
                <a:lnTo>
                  <a:pt x="347186" y="219033"/>
                </a:lnTo>
                <a:cubicBezTo>
                  <a:pt x="938904" y="935069"/>
                  <a:pt x="941522" y="1974269"/>
                  <a:pt x="355041" y="2693165"/>
                </a:cubicBezTo>
                <a:lnTo>
                  <a:pt x="222136" y="2840170"/>
                </a:lnTo>
                <a:lnTo>
                  <a:pt x="79687" y="2699507"/>
                </a:lnTo>
                <a:lnTo>
                  <a:pt x="81471" y="2697894"/>
                </a:lnTo>
                <a:cubicBezTo>
                  <a:pt x="722076" y="2057456"/>
                  <a:pt x="762114" y="1043833"/>
                  <a:pt x="201585" y="356745"/>
                </a:cubicBezTo>
                <a:lnTo>
                  <a:pt x="141481" y="290265"/>
                </a:lnTo>
                <a:lnTo>
                  <a:pt x="90667" y="341079"/>
                </a:lnTo>
                <a:close/>
              </a:path>
            </a:pathLst>
          </a:custGeom>
          <a:solidFill>
            <a:schemeClr val="tx1">
              <a:alpha val="20000"/>
            </a:schemeClr>
          </a:solidFill>
          <a:ln w="25400" cap="flat">
            <a:noFill/>
            <a:prstDash val="solid"/>
            <a:miter lim="400000"/>
          </a:ln>
          <a:effectLst/>
        </p:spPr>
        <p:txBody>
          <a:bodyPr wrap="square" lIns="0" tIns="0" rIns="0" bIns="0" numCol="1" anchor="ctr">
            <a:noAutofit/>
          </a:bodyPr>
          <a:lstStyle/>
          <a:p>
            <a:pPr lvl="0">
              <a:defRPr sz="3200"/>
            </a:pPr>
            <a:endParaRPr dirty="0">
              <a:latin typeface="RBC Text" panose="02000000000000000000" pitchFamily="2" charset="77"/>
            </a:endParaRPr>
          </a:p>
        </p:txBody>
      </p:sp>
      <p:sp>
        <p:nvSpPr>
          <p:cNvPr id="16" name="Freeform 15"/>
          <p:cNvSpPr/>
          <p:nvPr/>
        </p:nvSpPr>
        <p:spPr>
          <a:xfrm rot="18478730">
            <a:off x="9821895" y="829311"/>
            <a:ext cx="548578" cy="1964896"/>
          </a:xfrm>
          <a:custGeom>
            <a:avLst/>
            <a:gdLst>
              <a:gd name="connsiteX0" fmla="*/ 0 w 792946"/>
              <a:gd name="connsiteY0" fmla="*/ 0 h 2840170"/>
              <a:gd name="connsiteX1" fmla="*/ 341080 w 792946"/>
              <a:gd name="connsiteY1" fmla="*/ 90666 h 2840170"/>
              <a:gd name="connsiteX2" fmla="*/ 283125 w 792946"/>
              <a:gd name="connsiteY2" fmla="*/ 148621 h 2840170"/>
              <a:gd name="connsiteX3" fmla="*/ 347186 w 792946"/>
              <a:gd name="connsiteY3" fmla="*/ 219033 h 2840170"/>
              <a:gd name="connsiteX4" fmla="*/ 355041 w 792946"/>
              <a:gd name="connsiteY4" fmla="*/ 2693165 h 2840170"/>
              <a:gd name="connsiteX5" fmla="*/ 222136 w 792946"/>
              <a:gd name="connsiteY5" fmla="*/ 2840170 h 2840170"/>
              <a:gd name="connsiteX6" fmla="*/ 79687 w 792946"/>
              <a:gd name="connsiteY6" fmla="*/ 2699507 h 2840170"/>
              <a:gd name="connsiteX7" fmla="*/ 81471 w 792946"/>
              <a:gd name="connsiteY7" fmla="*/ 2697894 h 2840170"/>
              <a:gd name="connsiteX8" fmla="*/ 201585 w 792946"/>
              <a:gd name="connsiteY8" fmla="*/ 356745 h 2840170"/>
              <a:gd name="connsiteX9" fmla="*/ 141481 w 792946"/>
              <a:gd name="connsiteY9" fmla="*/ 290265 h 2840170"/>
              <a:gd name="connsiteX10" fmla="*/ 90667 w 792946"/>
              <a:gd name="connsiteY10" fmla="*/ 341079 h 284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2946" h="2840170">
                <a:moveTo>
                  <a:pt x="0" y="0"/>
                </a:moveTo>
                <a:lnTo>
                  <a:pt x="341080" y="90666"/>
                </a:lnTo>
                <a:lnTo>
                  <a:pt x="283125" y="148621"/>
                </a:lnTo>
                <a:lnTo>
                  <a:pt x="347186" y="219033"/>
                </a:lnTo>
                <a:cubicBezTo>
                  <a:pt x="938904" y="935069"/>
                  <a:pt x="941522" y="1974269"/>
                  <a:pt x="355041" y="2693165"/>
                </a:cubicBezTo>
                <a:lnTo>
                  <a:pt x="222136" y="2840170"/>
                </a:lnTo>
                <a:lnTo>
                  <a:pt x="79687" y="2699507"/>
                </a:lnTo>
                <a:lnTo>
                  <a:pt x="81471" y="2697894"/>
                </a:lnTo>
                <a:cubicBezTo>
                  <a:pt x="722076" y="2057456"/>
                  <a:pt x="762114" y="1043833"/>
                  <a:pt x="201585" y="356745"/>
                </a:cubicBezTo>
                <a:lnTo>
                  <a:pt x="141481" y="290265"/>
                </a:lnTo>
                <a:lnTo>
                  <a:pt x="90667" y="341079"/>
                </a:lnTo>
                <a:close/>
              </a:path>
            </a:pathLst>
          </a:custGeom>
          <a:solidFill>
            <a:schemeClr val="tx1">
              <a:alpha val="20000"/>
            </a:schemeClr>
          </a:solidFill>
          <a:ln w="25400" cap="flat">
            <a:noFill/>
            <a:prstDash val="solid"/>
            <a:miter lim="400000"/>
          </a:ln>
          <a:effectLst/>
        </p:spPr>
        <p:txBody>
          <a:bodyPr wrap="square" lIns="0" tIns="0" rIns="0" bIns="0" numCol="1" anchor="ctr">
            <a:noAutofit/>
          </a:bodyPr>
          <a:lstStyle/>
          <a:p>
            <a:pPr lvl="0">
              <a:defRPr sz="3200"/>
            </a:pPr>
            <a:endParaRPr dirty="0">
              <a:latin typeface="RBC Text" panose="02000000000000000000" pitchFamily="2" charset="77"/>
            </a:endParaRPr>
          </a:p>
        </p:txBody>
      </p:sp>
      <p:sp>
        <p:nvSpPr>
          <p:cNvPr id="17" name="Freeform 851"/>
          <p:cNvSpPr>
            <a:spLocks noEditPoints="1"/>
          </p:cNvSpPr>
          <p:nvPr/>
        </p:nvSpPr>
        <p:spPr bwMode="auto">
          <a:xfrm>
            <a:off x="7917646" y="5044139"/>
            <a:ext cx="328539" cy="376247"/>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8" name="Freeform 1050"/>
          <p:cNvSpPr>
            <a:spLocks noEditPoints="1"/>
          </p:cNvSpPr>
          <p:nvPr/>
        </p:nvSpPr>
        <p:spPr bwMode="auto">
          <a:xfrm>
            <a:off x="8011160" y="2115070"/>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9" name="Freeform 1137"/>
          <p:cNvSpPr>
            <a:spLocks noEditPoints="1"/>
          </p:cNvSpPr>
          <p:nvPr/>
        </p:nvSpPr>
        <p:spPr bwMode="auto">
          <a:xfrm>
            <a:off x="9167951" y="3845309"/>
            <a:ext cx="372995" cy="33829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0" name="Freeform 1147"/>
          <p:cNvSpPr>
            <a:spLocks noEditPoints="1"/>
          </p:cNvSpPr>
          <p:nvPr/>
        </p:nvSpPr>
        <p:spPr bwMode="auto">
          <a:xfrm>
            <a:off x="7162214" y="3680504"/>
            <a:ext cx="380584" cy="382753"/>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1" name="Oval 20"/>
          <p:cNvSpPr/>
          <p:nvPr/>
        </p:nvSpPr>
        <p:spPr>
          <a:xfrm>
            <a:off x="7505125" y="2181546"/>
            <a:ext cx="302671" cy="30267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22" name="Oval 21"/>
          <p:cNvSpPr/>
          <p:nvPr/>
        </p:nvSpPr>
        <p:spPr>
          <a:xfrm>
            <a:off x="7675415" y="3498162"/>
            <a:ext cx="302671" cy="30267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23" name="Oval 22"/>
          <p:cNvSpPr/>
          <p:nvPr/>
        </p:nvSpPr>
        <p:spPr>
          <a:xfrm>
            <a:off x="9548008" y="4581924"/>
            <a:ext cx="302671" cy="30267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24" name="Oval 23"/>
          <p:cNvSpPr/>
          <p:nvPr/>
        </p:nvSpPr>
        <p:spPr>
          <a:xfrm>
            <a:off x="8286059" y="5256264"/>
            <a:ext cx="302671" cy="302671"/>
          </a:xfrm>
          <a:prstGeom prst="ellips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25" name="Oval 24"/>
          <p:cNvSpPr/>
          <p:nvPr/>
        </p:nvSpPr>
        <p:spPr>
          <a:xfrm>
            <a:off x="901475" y="1811004"/>
            <a:ext cx="445919" cy="445919"/>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200" dirty="0">
                <a:solidFill>
                  <a:schemeClr val="accent1"/>
                </a:solidFill>
                <a:latin typeface="RBC Text" panose="02000000000000000000" pitchFamily="2" charset="77"/>
              </a:rPr>
              <a:t>01</a:t>
            </a:r>
          </a:p>
        </p:txBody>
      </p:sp>
      <p:sp>
        <p:nvSpPr>
          <p:cNvPr id="26" name="Oval 25"/>
          <p:cNvSpPr/>
          <p:nvPr/>
        </p:nvSpPr>
        <p:spPr>
          <a:xfrm>
            <a:off x="901475" y="2865822"/>
            <a:ext cx="445919" cy="445919"/>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200" dirty="0">
                <a:solidFill>
                  <a:schemeClr val="accent2"/>
                </a:solidFill>
                <a:latin typeface="RBC Text" panose="02000000000000000000" pitchFamily="2" charset="77"/>
              </a:rPr>
              <a:t>02</a:t>
            </a:r>
          </a:p>
        </p:txBody>
      </p:sp>
      <p:sp>
        <p:nvSpPr>
          <p:cNvPr id="27" name="Oval 26"/>
          <p:cNvSpPr/>
          <p:nvPr/>
        </p:nvSpPr>
        <p:spPr>
          <a:xfrm>
            <a:off x="901475" y="3920640"/>
            <a:ext cx="445919" cy="445919"/>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200" dirty="0">
                <a:solidFill>
                  <a:schemeClr val="accent3"/>
                </a:solidFill>
                <a:latin typeface="RBC Text" panose="02000000000000000000" pitchFamily="2" charset="77"/>
              </a:rPr>
              <a:t>03</a:t>
            </a:r>
          </a:p>
        </p:txBody>
      </p:sp>
      <p:sp>
        <p:nvSpPr>
          <p:cNvPr id="28" name="Oval 27"/>
          <p:cNvSpPr/>
          <p:nvPr/>
        </p:nvSpPr>
        <p:spPr>
          <a:xfrm>
            <a:off x="901475" y="4975457"/>
            <a:ext cx="445919" cy="445919"/>
          </a:xfrm>
          <a:prstGeom prst="ellipse">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200" dirty="0">
                <a:solidFill>
                  <a:schemeClr val="accent4"/>
                </a:solidFill>
                <a:latin typeface="RBC Text" panose="02000000000000000000" pitchFamily="2" charset="77"/>
              </a:rPr>
              <a:t>04</a:t>
            </a:r>
          </a:p>
        </p:txBody>
      </p:sp>
      <p:sp>
        <p:nvSpPr>
          <p:cNvPr id="29" name="TextBox 28"/>
          <p:cNvSpPr txBox="1"/>
          <p:nvPr/>
        </p:nvSpPr>
        <p:spPr>
          <a:xfrm>
            <a:off x="1550758" y="1702489"/>
            <a:ext cx="3821342" cy="935641"/>
          </a:xfrm>
          <a:prstGeom prst="rect">
            <a:avLst/>
          </a:prstGeom>
          <a:noFill/>
        </p:spPr>
        <p:txBody>
          <a:bodyPr wrap="square" lIns="0" rIns="0" rtlCol="0">
            <a:spAutoFit/>
          </a:bodyPr>
          <a:lstStyle/>
          <a:p>
            <a:pPr>
              <a:lnSpc>
                <a:spcPct val="120000"/>
              </a:lnSpc>
              <a:spcBef>
                <a:spcPts val="600"/>
              </a:spcBef>
            </a:pPr>
            <a:r>
              <a:rPr lang="en-US"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30" name="TextBox 29"/>
          <p:cNvSpPr txBox="1"/>
          <p:nvPr/>
        </p:nvSpPr>
        <p:spPr>
          <a:xfrm>
            <a:off x="1550758" y="2758751"/>
            <a:ext cx="3821342" cy="935641"/>
          </a:xfrm>
          <a:prstGeom prst="rect">
            <a:avLst/>
          </a:prstGeom>
          <a:noFill/>
        </p:spPr>
        <p:txBody>
          <a:bodyPr wrap="square" lIns="0" rIns="0" rtlCol="0">
            <a:spAutoFit/>
          </a:bodyPr>
          <a:lstStyle/>
          <a:p>
            <a:pPr>
              <a:lnSpc>
                <a:spcPct val="120000"/>
              </a:lnSpc>
              <a:spcBef>
                <a:spcPts val="600"/>
              </a:spcBef>
            </a:pPr>
            <a:r>
              <a:rPr lang="en-US"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31" name="TextBox 30"/>
          <p:cNvSpPr txBox="1"/>
          <p:nvPr/>
        </p:nvSpPr>
        <p:spPr>
          <a:xfrm>
            <a:off x="1550758" y="3815013"/>
            <a:ext cx="3821342" cy="935641"/>
          </a:xfrm>
          <a:prstGeom prst="rect">
            <a:avLst/>
          </a:prstGeom>
          <a:noFill/>
        </p:spPr>
        <p:txBody>
          <a:bodyPr wrap="square" lIns="0" rIns="0" rtlCol="0">
            <a:spAutoFit/>
          </a:bodyPr>
          <a:lstStyle/>
          <a:p>
            <a:pPr>
              <a:lnSpc>
                <a:spcPct val="120000"/>
              </a:lnSpc>
              <a:spcBef>
                <a:spcPts val="600"/>
              </a:spcBef>
            </a:pPr>
            <a:r>
              <a:rPr lang="en-US"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32" name="TextBox 31"/>
          <p:cNvSpPr txBox="1"/>
          <p:nvPr/>
        </p:nvSpPr>
        <p:spPr>
          <a:xfrm>
            <a:off x="1550758" y="4871276"/>
            <a:ext cx="3821342" cy="935641"/>
          </a:xfrm>
          <a:prstGeom prst="rect">
            <a:avLst/>
          </a:prstGeom>
          <a:noFill/>
        </p:spPr>
        <p:txBody>
          <a:bodyPr wrap="square" lIns="0" rIns="0" rtlCol="0">
            <a:spAutoFit/>
          </a:bodyPr>
          <a:lstStyle/>
          <a:p>
            <a:pPr>
              <a:lnSpc>
                <a:spcPct val="120000"/>
              </a:lnSpc>
              <a:spcBef>
                <a:spcPts val="600"/>
              </a:spcBef>
            </a:pPr>
            <a:r>
              <a:rPr lang="en-US"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33" name="Text Placeholder 6">
            <a:extLst>
              <a:ext uri="{FF2B5EF4-FFF2-40B4-BE49-F238E27FC236}">
                <a16:creationId xmlns:a16="http://schemas.microsoft.com/office/drawing/2014/main" id="{5DBEB9D5-B773-5941-BC2E-9038A0641197}"/>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58508695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t>Pyramid</a:t>
            </a:r>
            <a:br>
              <a:rPr lang="en-US"/>
            </a:br>
            <a:r>
              <a:rPr lang="en-US"/>
              <a:t>Crypto</a:t>
            </a:r>
            <a:endParaRPr lang="en-US" dirty="0"/>
          </a:p>
        </p:txBody>
      </p:sp>
      <p:sp>
        <p:nvSpPr>
          <p:cNvPr id="12" name="TextBox 11"/>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3" name="Freeform 12"/>
          <p:cNvSpPr/>
          <p:nvPr/>
        </p:nvSpPr>
        <p:spPr>
          <a:xfrm>
            <a:off x="4784830" y="4780208"/>
            <a:ext cx="5519228" cy="1029369"/>
          </a:xfrm>
          <a:custGeom>
            <a:avLst/>
            <a:gdLst>
              <a:gd name="connsiteX0" fmla="*/ 477300 w 4139421"/>
              <a:gd name="connsiteY0" fmla="*/ 0 h 700030"/>
              <a:gd name="connsiteX1" fmla="*/ 3668437 w 4139421"/>
              <a:gd name="connsiteY1" fmla="*/ 0 h 700030"/>
              <a:gd name="connsiteX2" fmla="*/ 4139421 w 4139421"/>
              <a:gd name="connsiteY2" fmla="*/ 700030 h 700030"/>
              <a:gd name="connsiteX3" fmla="*/ 0 w 4139421"/>
              <a:gd name="connsiteY3" fmla="*/ 700030 h 700030"/>
            </a:gdLst>
            <a:ahLst/>
            <a:cxnLst>
              <a:cxn ang="0">
                <a:pos x="connsiteX0" y="connsiteY0"/>
              </a:cxn>
              <a:cxn ang="0">
                <a:pos x="connsiteX1" y="connsiteY1"/>
              </a:cxn>
              <a:cxn ang="0">
                <a:pos x="connsiteX2" y="connsiteY2"/>
              </a:cxn>
              <a:cxn ang="0">
                <a:pos x="connsiteX3" y="connsiteY3"/>
              </a:cxn>
            </a:cxnLst>
            <a:rect l="l" t="t" r="r" b="b"/>
            <a:pathLst>
              <a:path w="4139421" h="700030">
                <a:moveTo>
                  <a:pt x="477300" y="0"/>
                </a:moveTo>
                <a:lnTo>
                  <a:pt x="3668437" y="0"/>
                </a:lnTo>
                <a:lnTo>
                  <a:pt x="4139421" y="700030"/>
                </a:lnTo>
                <a:lnTo>
                  <a:pt x="0" y="700030"/>
                </a:lnTo>
                <a:close/>
              </a:path>
            </a:pathLst>
          </a:custGeom>
          <a:solidFill>
            <a:schemeClr val="accent4"/>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20000"/>
              </a:lnSpc>
              <a:spcBef>
                <a:spcPts val="600"/>
              </a:spcBef>
            </a:pPr>
            <a:r>
              <a:rPr lang="en-US" dirty="0">
                <a:solidFill>
                  <a:schemeClr val="bg1"/>
                </a:solidFill>
                <a:latin typeface="RBC Text" panose="02000000000000000000" pitchFamily="2" charset="77"/>
              </a:rPr>
              <a:t>Service Three</a:t>
            </a:r>
          </a:p>
          <a:p>
            <a:pPr algn="ctr">
              <a:lnSpc>
                <a:spcPct val="120000"/>
              </a:lnSpc>
              <a:spcBef>
                <a:spcPts val="600"/>
              </a:spcBef>
            </a:pPr>
            <a:r>
              <a:rPr lang="en-US" sz="1100" dirty="0">
                <a:solidFill>
                  <a:schemeClr val="bg1"/>
                </a:solidFill>
                <a:latin typeface="RBC Text" panose="02000000000000000000" pitchFamily="2" charset="77"/>
              </a:rPr>
              <a:t>A peep at some distant orb has power to raise and purify.</a:t>
            </a:r>
          </a:p>
        </p:txBody>
      </p:sp>
      <p:sp>
        <p:nvSpPr>
          <p:cNvPr id="14" name="Freeform 13"/>
          <p:cNvSpPr/>
          <p:nvPr/>
        </p:nvSpPr>
        <p:spPr>
          <a:xfrm>
            <a:off x="5484245" y="3644222"/>
            <a:ext cx="4129655" cy="1029369"/>
          </a:xfrm>
          <a:custGeom>
            <a:avLst/>
            <a:gdLst>
              <a:gd name="connsiteX0" fmla="*/ 477299 w 3097241"/>
              <a:gd name="connsiteY0" fmla="*/ 0 h 700030"/>
              <a:gd name="connsiteX1" fmla="*/ 2626257 w 3097241"/>
              <a:gd name="connsiteY1" fmla="*/ 0 h 700030"/>
              <a:gd name="connsiteX2" fmla="*/ 3097241 w 3097241"/>
              <a:gd name="connsiteY2" fmla="*/ 700030 h 700030"/>
              <a:gd name="connsiteX3" fmla="*/ 0 w 3097241"/>
              <a:gd name="connsiteY3" fmla="*/ 700030 h 700030"/>
            </a:gdLst>
            <a:ahLst/>
            <a:cxnLst>
              <a:cxn ang="0">
                <a:pos x="connsiteX0" y="connsiteY0"/>
              </a:cxn>
              <a:cxn ang="0">
                <a:pos x="connsiteX1" y="connsiteY1"/>
              </a:cxn>
              <a:cxn ang="0">
                <a:pos x="connsiteX2" y="connsiteY2"/>
              </a:cxn>
              <a:cxn ang="0">
                <a:pos x="connsiteX3" y="connsiteY3"/>
              </a:cxn>
            </a:cxnLst>
            <a:rect l="l" t="t" r="r" b="b"/>
            <a:pathLst>
              <a:path w="3097241" h="700030">
                <a:moveTo>
                  <a:pt x="477299" y="0"/>
                </a:moveTo>
                <a:lnTo>
                  <a:pt x="2626257" y="0"/>
                </a:lnTo>
                <a:lnTo>
                  <a:pt x="3097241" y="700030"/>
                </a:lnTo>
                <a:lnTo>
                  <a:pt x="0" y="700030"/>
                </a:lnTo>
                <a:close/>
              </a:path>
            </a:pathLst>
          </a:custGeom>
          <a:solidFill>
            <a:schemeClr val="accent3"/>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20000"/>
              </a:lnSpc>
              <a:spcBef>
                <a:spcPts val="600"/>
              </a:spcBef>
            </a:pPr>
            <a:r>
              <a:rPr lang="en-US" dirty="0">
                <a:solidFill>
                  <a:schemeClr val="bg1"/>
                </a:solidFill>
                <a:latin typeface="RBC Text" panose="02000000000000000000" pitchFamily="2" charset="77"/>
              </a:rPr>
              <a:t>Service Two</a:t>
            </a:r>
          </a:p>
          <a:p>
            <a:pPr algn="ctr">
              <a:lnSpc>
                <a:spcPct val="120000"/>
              </a:lnSpc>
              <a:spcBef>
                <a:spcPts val="600"/>
              </a:spcBef>
            </a:pPr>
            <a:r>
              <a:rPr lang="en-US" sz="1100" dirty="0">
                <a:solidFill>
                  <a:schemeClr val="bg1"/>
                </a:solidFill>
                <a:latin typeface="RBC Text" panose="02000000000000000000" pitchFamily="2" charset="77"/>
              </a:rPr>
              <a:t>A peep at some distant orb has power to raise and purify.</a:t>
            </a:r>
          </a:p>
        </p:txBody>
      </p:sp>
      <p:sp>
        <p:nvSpPr>
          <p:cNvPr id="15" name="Freeform 14"/>
          <p:cNvSpPr/>
          <p:nvPr/>
        </p:nvSpPr>
        <p:spPr>
          <a:xfrm>
            <a:off x="6183656" y="2512928"/>
            <a:ext cx="2740083" cy="1029369"/>
          </a:xfrm>
          <a:custGeom>
            <a:avLst/>
            <a:gdLst>
              <a:gd name="connsiteX0" fmla="*/ 477299 w 2055062"/>
              <a:gd name="connsiteY0" fmla="*/ 0 h 700030"/>
              <a:gd name="connsiteX1" fmla="*/ 1584078 w 2055062"/>
              <a:gd name="connsiteY1" fmla="*/ 0 h 700030"/>
              <a:gd name="connsiteX2" fmla="*/ 2055062 w 2055062"/>
              <a:gd name="connsiteY2" fmla="*/ 700030 h 700030"/>
              <a:gd name="connsiteX3" fmla="*/ 0 w 2055062"/>
              <a:gd name="connsiteY3" fmla="*/ 700030 h 700030"/>
            </a:gdLst>
            <a:ahLst/>
            <a:cxnLst>
              <a:cxn ang="0">
                <a:pos x="connsiteX0" y="connsiteY0"/>
              </a:cxn>
              <a:cxn ang="0">
                <a:pos x="connsiteX1" y="connsiteY1"/>
              </a:cxn>
              <a:cxn ang="0">
                <a:pos x="connsiteX2" y="connsiteY2"/>
              </a:cxn>
              <a:cxn ang="0">
                <a:pos x="connsiteX3" y="connsiteY3"/>
              </a:cxn>
            </a:cxnLst>
            <a:rect l="l" t="t" r="r" b="b"/>
            <a:pathLst>
              <a:path w="2055062" h="700030">
                <a:moveTo>
                  <a:pt x="477299" y="0"/>
                </a:moveTo>
                <a:lnTo>
                  <a:pt x="1584078" y="0"/>
                </a:lnTo>
                <a:lnTo>
                  <a:pt x="2055062" y="700030"/>
                </a:lnTo>
                <a:lnTo>
                  <a:pt x="0" y="700030"/>
                </a:lnTo>
                <a:close/>
              </a:path>
            </a:pathLst>
          </a:cu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360000" rIns="360000" rtlCol="0" anchor="ctr"/>
          <a:lstStyle/>
          <a:p>
            <a:pPr algn="ctr">
              <a:lnSpc>
                <a:spcPct val="120000"/>
              </a:lnSpc>
              <a:spcBef>
                <a:spcPts val="600"/>
              </a:spcBef>
            </a:pPr>
            <a:r>
              <a:rPr lang="en-US" dirty="0">
                <a:solidFill>
                  <a:schemeClr val="bg1"/>
                </a:solidFill>
                <a:latin typeface="RBC Text" panose="02000000000000000000" pitchFamily="2" charset="77"/>
              </a:rPr>
              <a:t>Service One</a:t>
            </a:r>
          </a:p>
          <a:p>
            <a:pPr algn="ctr">
              <a:lnSpc>
                <a:spcPct val="120000"/>
              </a:lnSpc>
              <a:spcBef>
                <a:spcPts val="600"/>
              </a:spcBef>
            </a:pPr>
            <a:r>
              <a:rPr lang="en-US" sz="1100" dirty="0">
                <a:solidFill>
                  <a:schemeClr val="bg1"/>
                </a:solidFill>
                <a:latin typeface="RBC Text" panose="02000000000000000000" pitchFamily="2" charset="77"/>
              </a:rPr>
              <a:t>A peep at some distant orb has power to raise and purify.</a:t>
            </a:r>
          </a:p>
        </p:txBody>
      </p:sp>
      <p:sp>
        <p:nvSpPr>
          <p:cNvPr id="18" name="Freeform 17"/>
          <p:cNvSpPr/>
          <p:nvPr/>
        </p:nvSpPr>
        <p:spPr>
          <a:xfrm>
            <a:off x="6883072" y="1321558"/>
            <a:ext cx="1350511" cy="1099492"/>
          </a:xfrm>
          <a:custGeom>
            <a:avLst/>
            <a:gdLst>
              <a:gd name="connsiteX0" fmla="*/ 509814 w 1012883"/>
              <a:gd name="connsiteY0" fmla="*/ 0 h 747718"/>
              <a:gd name="connsiteX1" fmla="*/ 1012883 w 1012883"/>
              <a:gd name="connsiteY1" fmla="*/ 747718 h 747718"/>
              <a:gd name="connsiteX2" fmla="*/ 0 w 1012883"/>
              <a:gd name="connsiteY2" fmla="*/ 747718 h 747718"/>
            </a:gdLst>
            <a:ahLst/>
            <a:cxnLst>
              <a:cxn ang="0">
                <a:pos x="connsiteX0" y="connsiteY0"/>
              </a:cxn>
              <a:cxn ang="0">
                <a:pos x="connsiteX1" y="connsiteY1"/>
              </a:cxn>
              <a:cxn ang="0">
                <a:pos x="connsiteX2" y="connsiteY2"/>
              </a:cxn>
            </a:cxnLst>
            <a:rect l="l" t="t" r="r" b="b"/>
            <a:pathLst>
              <a:path w="1012883" h="747718">
                <a:moveTo>
                  <a:pt x="509814" y="0"/>
                </a:moveTo>
                <a:lnTo>
                  <a:pt x="1012883" y="747718"/>
                </a:lnTo>
                <a:lnTo>
                  <a:pt x="0" y="747718"/>
                </a:lnTo>
                <a:close/>
              </a:path>
            </a:pathLst>
          </a:cu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RBC Text" panose="02000000000000000000" pitchFamily="2" charset="77"/>
                <a:ea typeface="Roboto Light" charset="0"/>
                <a:cs typeface="Roboto Light" charset="0"/>
              </a:rPr>
              <a:t>Top</a:t>
            </a:r>
          </a:p>
        </p:txBody>
      </p:sp>
      <p:sp>
        <p:nvSpPr>
          <p:cNvPr id="8" name="Text Placeholder 6">
            <a:extLst>
              <a:ext uri="{FF2B5EF4-FFF2-40B4-BE49-F238E27FC236}">
                <a16:creationId xmlns:a16="http://schemas.microsoft.com/office/drawing/2014/main" id="{5B45F044-D87B-9F4E-BFB3-EA517B9C4750}"/>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22888349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p:cNvSpPr>
            <a:spLocks noGrp="1"/>
          </p:cNvSpPr>
          <p:nvPr>
            <p:ph type="title"/>
          </p:nvPr>
        </p:nvSpPr>
        <p:spPr/>
        <p:txBody>
          <a:bodyPr/>
          <a:lstStyle/>
          <a:p>
            <a:r>
              <a:rPr lang="en-US"/>
              <a:t>Pyramid</a:t>
            </a:r>
            <a:br>
              <a:rPr lang="en-US"/>
            </a:br>
            <a:r>
              <a:rPr lang="en-US"/>
              <a:t>Infographic</a:t>
            </a:r>
            <a:endParaRPr lang="en-US" dirty="0"/>
          </a:p>
        </p:txBody>
      </p:sp>
      <p:sp>
        <p:nvSpPr>
          <p:cNvPr id="6" name="Freeform 9"/>
          <p:cNvSpPr>
            <a:spLocks/>
          </p:cNvSpPr>
          <p:nvPr/>
        </p:nvSpPr>
        <p:spPr bwMode="auto">
          <a:xfrm>
            <a:off x="4244785" y="3804419"/>
            <a:ext cx="3718463" cy="1546441"/>
          </a:xfrm>
          <a:custGeom>
            <a:avLst/>
            <a:gdLst>
              <a:gd name="T0" fmla="*/ 0 w 3186"/>
              <a:gd name="T1" fmla="*/ 620 h 1325"/>
              <a:gd name="T2" fmla="*/ 1421 w 3186"/>
              <a:gd name="T3" fmla="*/ 0 h 1325"/>
              <a:gd name="T4" fmla="*/ 3186 w 3186"/>
              <a:gd name="T5" fmla="*/ 580 h 1325"/>
              <a:gd name="T6" fmla="*/ 1769 w 3186"/>
              <a:gd name="T7" fmla="*/ 1325 h 1325"/>
              <a:gd name="T8" fmla="*/ 0 w 3186"/>
              <a:gd name="T9" fmla="*/ 620 h 1325"/>
            </a:gdLst>
            <a:ahLst/>
            <a:cxnLst>
              <a:cxn ang="0">
                <a:pos x="T0" y="T1"/>
              </a:cxn>
              <a:cxn ang="0">
                <a:pos x="T2" y="T3"/>
              </a:cxn>
              <a:cxn ang="0">
                <a:pos x="T4" y="T5"/>
              </a:cxn>
              <a:cxn ang="0">
                <a:pos x="T6" y="T7"/>
              </a:cxn>
              <a:cxn ang="0">
                <a:pos x="T8" y="T9"/>
              </a:cxn>
            </a:cxnLst>
            <a:rect l="0" t="0" r="r" b="b"/>
            <a:pathLst>
              <a:path w="3186" h="1325">
                <a:moveTo>
                  <a:pt x="0" y="620"/>
                </a:moveTo>
                <a:lnTo>
                  <a:pt x="1421" y="0"/>
                </a:lnTo>
                <a:lnTo>
                  <a:pt x="3186" y="580"/>
                </a:lnTo>
                <a:lnTo>
                  <a:pt x="1769" y="1325"/>
                </a:lnTo>
                <a:lnTo>
                  <a:pt x="0" y="620"/>
                </a:lnTo>
                <a:close/>
              </a:path>
            </a:pathLst>
          </a:custGeom>
          <a:pattFill prst="wdUpDiag">
            <a:fgClr>
              <a:schemeClr val="bg1">
                <a:lumMod val="65000"/>
              </a:schemeClr>
            </a:fgClr>
            <a:bgClr>
              <a:schemeClr val="bg1"/>
            </a:bgClr>
          </a:pattFill>
          <a:ln w="25400">
            <a:solidFill>
              <a:schemeClr val="accent4"/>
            </a:solidFill>
          </a:ln>
        </p:spPr>
        <p:txBody>
          <a:bodyPr vert="horz" wrap="square" lIns="91440" tIns="45720" rIns="91440" bIns="45720" numCol="1" anchor="t" anchorCtr="0" compatLnSpc="1">
            <a:prstTxWarp prst="textNoShape">
              <a:avLst/>
            </a:prstTxWarp>
          </a:bodyPr>
          <a:lstStyle/>
          <a:p>
            <a:endParaRPr lang="en-US" dirty="0">
              <a:latin typeface="Source Sans Pro" charset="0"/>
            </a:endParaRPr>
          </a:p>
        </p:txBody>
      </p:sp>
      <p:sp>
        <p:nvSpPr>
          <p:cNvPr id="7" name="Freeform 12"/>
          <p:cNvSpPr>
            <a:spLocks/>
          </p:cNvSpPr>
          <p:nvPr/>
        </p:nvSpPr>
        <p:spPr bwMode="auto">
          <a:xfrm>
            <a:off x="6290393" y="4472817"/>
            <a:ext cx="2135840" cy="1649149"/>
          </a:xfrm>
          <a:custGeom>
            <a:avLst/>
            <a:gdLst>
              <a:gd name="T0" fmla="*/ 1426 w 1830"/>
              <a:gd name="T1" fmla="*/ 0 h 1413"/>
              <a:gd name="T2" fmla="*/ 0 w 1830"/>
              <a:gd name="T3" fmla="*/ 615 h 1413"/>
              <a:gd name="T4" fmla="*/ 37 w 1830"/>
              <a:gd name="T5" fmla="*/ 1413 h 1413"/>
              <a:gd name="T6" fmla="*/ 1830 w 1830"/>
              <a:gd name="T7" fmla="*/ 641 h 1413"/>
              <a:gd name="T8" fmla="*/ 1426 w 1830"/>
              <a:gd name="T9" fmla="*/ 0 h 1413"/>
            </a:gdLst>
            <a:ahLst/>
            <a:cxnLst>
              <a:cxn ang="0">
                <a:pos x="T0" y="T1"/>
              </a:cxn>
              <a:cxn ang="0">
                <a:pos x="T2" y="T3"/>
              </a:cxn>
              <a:cxn ang="0">
                <a:pos x="T4" y="T5"/>
              </a:cxn>
              <a:cxn ang="0">
                <a:pos x="T6" y="T7"/>
              </a:cxn>
              <a:cxn ang="0">
                <a:pos x="T8" y="T9"/>
              </a:cxn>
            </a:cxnLst>
            <a:rect l="0" t="0" r="r" b="b"/>
            <a:pathLst>
              <a:path w="1830" h="1413">
                <a:moveTo>
                  <a:pt x="1426" y="0"/>
                </a:moveTo>
                <a:lnTo>
                  <a:pt x="0" y="615"/>
                </a:lnTo>
                <a:lnTo>
                  <a:pt x="37" y="1413"/>
                </a:lnTo>
                <a:lnTo>
                  <a:pt x="1830" y="641"/>
                </a:lnTo>
                <a:lnTo>
                  <a:pt x="1426" y="0"/>
                </a:lnTo>
                <a:close/>
              </a:path>
            </a:pathLst>
          </a:custGeom>
          <a:solidFill>
            <a:schemeClr val="bg1"/>
          </a:solidFill>
          <a:ln w="25400">
            <a:solidFill>
              <a:schemeClr val="accent4"/>
            </a:solidFill>
            <a:bevel/>
          </a:ln>
        </p:spPr>
        <p:txBody>
          <a:bodyPr vert="horz" wrap="square" lIns="91440" tIns="45720" rIns="91440" bIns="45720" numCol="1" anchor="t" anchorCtr="0" compatLnSpc="1">
            <a:prstTxWarp prst="textNoShape">
              <a:avLst/>
            </a:prstTxWarp>
          </a:bodyPr>
          <a:lstStyle/>
          <a:p>
            <a:endParaRPr lang="en-US" dirty="0">
              <a:latin typeface="Source Sans Pro" charset="0"/>
            </a:endParaRPr>
          </a:p>
        </p:txBody>
      </p:sp>
      <p:sp>
        <p:nvSpPr>
          <p:cNvPr id="8" name="Freeform 16"/>
          <p:cNvSpPr>
            <a:spLocks/>
          </p:cNvSpPr>
          <p:nvPr/>
        </p:nvSpPr>
        <p:spPr bwMode="auto">
          <a:xfrm>
            <a:off x="3753425" y="4519502"/>
            <a:ext cx="2588685" cy="1602464"/>
          </a:xfrm>
          <a:custGeom>
            <a:avLst/>
            <a:gdLst>
              <a:gd name="T0" fmla="*/ 2181 w 2218"/>
              <a:gd name="T1" fmla="*/ 575 h 1373"/>
              <a:gd name="T2" fmla="*/ 2218 w 2218"/>
              <a:gd name="T3" fmla="*/ 1373 h 1373"/>
              <a:gd name="T4" fmla="*/ 0 w 2218"/>
              <a:gd name="T5" fmla="*/ 651 h 1373"/>
              <a:gd name="T6" fmla="*/ 419 w 2218"/>
              <a:gd name="T7" fmla="*/ 0 h 1373"/>
              <a:gd name="T8" fmla="*/ 2181 w 2218"/>
              <a:gd name="T9" fmla="*/ 575 h 1373"/>
            </a:gdLst>
            <a:ahLst/>
            <a:cxnLst>
              <a:cxn ang="0">
                <a:pos x="T0" y="T1"/>
              </a:cxn>
              <a:cxn ang="0">
                <a:pos x="T2" y="T3"/>
              </a:cxn>
              <a:cxn ang="0">
                <a:pos x="T4" y="T5"/>
              </a:cxn>
              <a:cxn ang="0">
                <a:pos x="T6" y="T7"/>
              </a:cxn>
              <a:cxn ang="0">
                <a:pos x="T8" y="T9"/>
              </a:cxn>
            </a:cxnLst>
            <a:rect l="0" t="0" r="r" b="b"/>
            <a:pathLst>
              <a:path w="2218" h="1373">
                <a:moveTo>
                  <a:pt x="2181" y="575"/>
                </a:moveTo>
                <a:lnTo>
                  <a:pt x="2218" y="1373"/>
                </a:lnTo>
                <a:lnTo>
                  <a:pt x="0" y="651"/>
                </a:lnTo>
                <a:lnTo>
                  <a:pt x="419" y="0"/>
                </a:lnTo>
                <a:lnTo>
                  <a:pt x="2181" y="575"/>
                </a:lnTo>
                <a:close/>
              </a:path>
            </a:pathLst>
          </a:custGeom>
          <a:solidFill>
            <a:schemeClr val="bg1"/>
          </a:solidFill>
          <a:ln w="25400">
            <a:solidFill>
              <a:schemeClr val="accent4"/>
            </a:solidFill>
            <a:bevel/>
          </a:ln>
        </p:spPr>
        <p:txBody>
          <a:bodyPr vert="horz" wrap="square" lIns="91440" tIns="45720" rIns="91440" bIns="45720" numCol="1" anchor="ctr" anchorCtr="0" compatLnSpc="1">
            <a:prstTxWarp prst="textNoShape">
              <a:avLst/>
            </a:prstTxWarp>
          </a:bodyPr>
          <a:lstStyle/>
          <a:p>
            <a:pPr algn="ctr"/>
            <a:endParaRPr lang="en-US" sz="3600" dirty="0">
              <a:solidFill>
                <a:srgbClr val="FFFFFF"/>
              </a:solidFill>
              <a:latin typeface="Source Sans Pro" charset="0"/>
            </a:endParaRPr>
          </a:p>
        </p:txBody>
      </p:sp>
      <p:sp>
        <p:nvSpPr>
          <p:cNvPr id="9" name="Freeform 10"/>
          <p:cNvSpPr>
            <a:spLocks/>
          </p:cNvSpPr>
          <p:nvPr/>
        </p:nvSpPr>
        <p:spPr bwMode="auto">
          <a:xfrm>
            <a:off x="4827181" y="2998782"/>
            <a:ext cx="2564175" cy="908024"/>
          </a:xfrm>
          <a:custGeom>
            <a:avLst/>
            <a:gdLst>
              <a:gd name="T0" fmla="*/ 0 w 2197"/>
              <a:gd name="T1" fmla="*/ 383 h 778"/>
              <a:gd name="T2" fmla="*/ 1005 w 2197"/>
              <a:gd name="T3" fmla="*/ 0 h 778"/>
              <a:gd name="T4" fmla="*/ 2197 w 2197"/>
              <a:gd name="T5" fmla="*/ 355 h 778"/>
              <a:gd name="T6" fmla="*/ 1213 w 2197"/>
              <a:gd name="T7" fmla="*/ 778 h 778"/>
              <a:gd name="T8" fmla="*/ 0 w 2197"/>
              <a:gd name="T9" fmla="*/ 383 h 778"/>
            </a:gdLst>
            <a:ahLst/>
            <a:cxnLst>
              <a:cxn ang="0">
                <a:pos x="T0" y="T1"/>
              </a:cxn>
              <a:cxn ang="0">
                <a:pos x="T2" y="T3"/>
              </a:cxn>
              <a:cxn ang="0">
                <a:pos x="T4" y="T5"/>
              </a:cxn>
              <a:cxn ang="0">
                <a:pos x="T6" y="T7"/>
              </a:cxn>
              <a:cxn ang="0">
                <a:pos x="T8" y="T9"/>
              </a:cxn>
            </a:cxnLst>
            <a:rect l="0" t="0" r="r" b="b"/>
            <a:pathLst>
              <a:path w="2197" h="778">
                <a:moveTo>
                  <a:pt x="0" y="383"/>
                </a:moveTo>
                <a:lnTo>
                  <a:pt x="1005" y="0"/>
                </a:lnTo>
                <a:lnTo>
                  <a:pt x="2197" y="355"/>
                </a:lnTo>
                <a:lnTo>
                  <a:pt x="1213" y="778"/>
                </a:lnTo>
                <a:lnTo>
                  <a:pt x="0" y="383"/>
                </a:lnTo>
                <a:close/>
              </a:path>
            </a:pathLst>
          </a:custGeom>
          <a:pattFill prst="wdUpDiag">
            <a:fgClr>
              <a:schemeClr val="bg1">
                <a:lumMod val="65000"/>
              </a:schemeClr>
            </a:fgClr>
            <a:bgClr>
              <a:schemeClr val="bg1"/>
            </a:bgClr>
          </a:pattFill>
          <a:ln w="25400">
            <a:solidFill>
              <a:schemeClr val="accent3"/>
            </a:solidFill>
          </a:ln>
        </p:spPr>
        <p:txBody>
          <a:bodyPr vert="horz" wrap="square" lIns="91440" tIns="45720" rIns="91440" bIns="45720" numCol="1" anchor="t" anchorCtr="0" compatLnSpc="1">
            <a:prstTxWarp prst="textNoShape">
              <a:avLst/>
            </a:prstTxWarp>
          </a:bodyPr>
          <a:lstStyle/>
          <a:p>
            <a:endParaRPr lang="en-US" dirty="0">
              <a:latin typeface="Source Sans Pro" charset="0"/>
            </a:endParaRPr>
          </a:p>
        </p:txBody>
      </p:sp>
      <p:sp>
        <p:nvSpPr>
          <p:cNvPr id="10" name="Freeform 13"/>
          <p:cNvSpPr>
            <a:spLocks/>
          </p:cNvSpPr>
          <p:nvPr/>
        </p:nvSpPr>
        <p:spPr bwMode="auto">
          <a:xfrm>
            <a:off x="6234371" y="3404578"/>
            <a:ext cx="1617637" cy="1422727"/>
          </a:xfrm>
          <a:custGeom>
            <a:avLst/>
            <a:gdLst>
              <a:gd name="T0" fmla="*/ 984 w 1386"/>
              <a:gd name="T1" fmla="*/ 0 h 1219"/>
              <a:gd name="T2" fmla="*/ 0 w 1386"/>
              <a:gd name="T3" fmla="*/ 423 h 1219"/>
              <a:gd name="T4" fmla="*/ 38 w 1386"/>
              <a:gd name="T5" fmla="*/ 1219 h 1219"/>
              <a:gd name="T6" fmla="*/ 1386 w 1386"/>
              <a:gd name="T7" fmla="*/ 636 h 1219"/>
              <a:gd name="T8" fmla="*/ 984 w 1386"/>
              <a:gd name="T9" fmla="*/ 0 h 1219"/>
            </a:gdLst>
            <a:ahLst/>
            <a:cxnLst>
              <a:cxn ang="0">
                <a:pos x="T0" y="T1"/>
              </a:cxn>
              <a:cxn ang="0">
                <a:pos x="T2" y="T3"/>
              </a:cxn>
              <a:cxn ang="0">
                <a:pos x="T4" y="T5"/>
              </a:cxn>
              <a:cxn ang="0">
                <a:pos x="T6" y="T7"/>
              </a:cxn>
              <a:cxn ang="0">
                <a:pos x="T8" y="T9"/>
              </a:cxn>
            </a:cxnLst>
            <a:rect l="0" t="0" r="r" b="b"/>
            <a:pathLst>
              <a:path w="1386" h="1219">
                <a:moveTo>
                  <a:pt x="984" y="0"/>
                </a:moveTo>
                <a:lnTo>
                  <a:pt x="0" y="423"/>
                </a:lnTo>
                <a:lnTo>
                  <a:pt x="38" y="1219"/>
                </a:lnTo>
                <a:lnTo>
                  <a:pt x="1386" y="636"/>
                </a:lnTo>
                <a:lnTo>
                  <a:pt x="984" y="0"/>
                </a:lnTo>
                <a:close/>
              </a:path>
            </a:pathLst>
          </a:custGeom>
          <a:solidFill>
            <a:schemeClr val="bg1"/>
          </a:solidFill>
          <a:ln w="25400">
            <a:solidFill>
              <a:schemeClr val="accent3"/>
            </a:solidFill>
            <a:bevel/>
          </a:ln>
        </p:spPr>
        <p:txBody>
          <a:bodyPr vert="horz" wrap="square" lIns="91440" tIns="45720" rIns="91440" bIns="45720" numCol="1" anchor="t" anchorCtr="0" compatLnSpc="1">
            <a:prstTxWarp prst="textNoShape">
              <a:avLst/>
            </a:prstTxWarp>
          </a:bodyPr>
          <a:lstStyle/>
          <a:p>
            <a:endParaRPr lang="en-US" dirty="0">
              <a:latin typeface="Source Sans Pro" charset="0"/>
            </a:endParaRPr>
          </a:p>
        </p:txBody>
      </p:sp>
      <p:sp>
        <p:nvSpPr>
          <p:cNvPr id="11" name="Freeform 17"/>
          <p:cNvSpPr>
            <a:spLocks/>
          </p:cNvSpPr>
          <p:nvPr/>
        </p:nvSpPr>
        <p:spPr bwMode="auto">
          <a:xfrm>
            <a:off x="4343991" y="3437257"/>
            <a:ext cx="1943265" cy="1390047"/>
          </a:xfrm>
          <a:custGeom>
            <a:avLst/>
            <a:gdLst>
              <a:gd name="T0" fmla="*/ 1665 w 1665"/>
              <a:gd name="T1" fmla="*/ 1191 h 1191"/>
              <a:gd name="T2" fmla="*/ 1627 w 1665"/>
              <a:gd name="T3" fmla="*/ 395 h 1191"/>
              <a:gd name="T4" fmla="*/ 414 w 1665"/>
              <a:gd name="T5" fmla="*/ 0 h 1191"/>
              <a:gd name="T6" fmla="*/ 0 w 1665"/>
              <a:gd name="T7" fmla="*/ 646 h 1191"/>
              <a:gd name="T8" fmla="*/ 1665 w 1665"/>
              <a:gd name="T9" fmla="*/ 1191 h 1191"/>
            </a:gdLst>
            <a:ahLst/>
            <a:cxnLst>
              <a:cxn ang="0">
                <a:pos x="T0" y="T1"/>
              </a:cxn>
              <a:cxn ang="0">
                <a:pos x="T2" y="T3"/>
              </a:cxn>
              <a:cxn ang="0">
                <a:pos x="T4" y="T5"/>
              </a:cxn>
              <a:cxn ang="0">
                <a:pos x="T6" y="T7"/>
              </a:cxn>
              <a:cxn ang="0">
                <a:pos x="T8" y="T9"/>
              </a:cxn>
            </a:cxnLst>
            <a:rect l="0" t="0" r="r" b="b"/>
            <a:pathLst>
              <a:path w="1665" h="1191">
                <a:moveTo>
                  <a:pt x="1665" y="1191"/>
                </a:moveTo>
                <a:lnTo>
                  <a:pt x="1627" y="395"/>
                </a:lnTo>
                <a:lnTo>
                  <a:pt x="414" y="0"/>
                </a:lnTo>
                <a:lnTo>
                  <a:pt x="0" y="646"/>
                </a:lnTo>
                <a:lnTo>
                  <a:pt x="1665" y="1191"/>
                </a:lnTo>
                <a:close/>
              </a:path>
            </a:pathLst>
          </a:custGeom>
          <a:solidFill>
            <a:schemeClr val="bg1"/>
          </a:solidFill>
          <a:ln w="25400">
            <a:solidFill>
              <a:schemeClr val="accent3"/>
            </a:solidFill>
            <a:bevel/>
          </a:ln>
        </p:spPr>
        <p:txBody>
          <a:bodyPr vert="horz" wrap="square" lIns="91440" tIns="45720" rIns="91440" bIns="45720" numCol="1" anchor="ctr" anchorCtr="0" compatLnSpc="1">
            <a:prstTxWarp prst="textNoShape">
              <a:avLst/>
            </a:prstTxWarp>
          </a:bodyPr>
          <a:lstStyle/>
          <a:p>
            <a:pPr algn="ctr"/>
            <a:endParaRPr lang="en-US" sz="2800" dirty="0">
              <a:solidFill>
                <a:srgbClr val="FFFFFF"/>
              </a:solidFill>
              <a:latin typeface="Source Sans Pro" charset="0"/>
            </a:endParaRPr>
          </a:p>
        </p:txBody>
      </p:sp>
      <p:sp>
        <p:nvSpPr>
          <p:cNvPr id="12" name="Freeform 11"/>
          <p:cNvSpPr>
            <a:spLocks/>
          </p:cNvSpPr>
          <p:nvPr/>
        </p:nvSpPr>
        <p:spPr bwMode="auto">
          <a:xfrm>
            <a:off x="5425917" y="2130569"/>
            <a:ext cx="1385379" cy="596402"/>
          </a:xfrm>
          <a:custGeom>
            <a:avLst/>
            <a:gdLst>
              <a:gd name="T0" fmla="*/ 0 w 1187"/>
              <a:gd name="T1" fmla="*/ 206 h 511"/>
              <a:gd name="T2" fmla="*/ 513 w 1187"/>
              <a:gd name="T3" fmla="*/ 0 h 511"/>
              <a:gd name="T4" fmla="*/ 1187 w 1187"/>
              <a:gd name="T5" fmla="*/ 194 h 511"/>
              <a:gd name="T6" fmla="*/ 662 w 1187"/>
              <a:gd name="T7" fmla="*/ 511 h 511"/>
              <a:gd name="T8" fmla="*/ 0 w 1187"/>
              <a:gd name="T9" fmla="*/ 206 h 511"/>
            </a:gdLst>
            <a:ahLst/>
            <a:cxnLst>
              <a:cxn ang="0">
                <a:pos x="T0" y="T1"/>
              </a:cxn>
              <a:cxn ang="0">
                <a:pos x="T2" y="T3"/>
              </a:cxn>
              <a:cxn ang="0">
                <a:pos x="T4" y="T5"/>
              </a:cxn>
              <a:cxn ang="0">
                <a:pos x="T6" y="T7"/>
              </a:cxn>
              <a:cxn ang="0">
                <a:pos x="T8" y="T9"/>
              </a:cxn>
            </a:cxnLst>
            <a:rect l="0" t="0" r="r" b="b"/>
            <a:pathLst>
              <a:path w="1187" h="511">
                <a:moveTo>
                  <a:pt x="0" y="206"/>
                </a:moveTo>
                <a:lnTo>
                  <a:pt x="513" y="0"/>
                </a:lnTo>
                <a:lnTo>
                  <a:pt x="1187" y="194"/>
                </a:lnTo>
                <a:lnTo>
                  <a:pt x="662" y="511"/>
                </a:lnTo>
                <a:lnTo>
                  <a:pt x="0" y="206"/>
                </a:lnTo>
                <a:close/>
              </a:path>
            </a:pathLst>
          </a:custGeom>
          <a:pattFill prst="wdUpDiag">
            <a:fgClr>
              <a:schemeClr val="bg1">
                <a:lumMod val="65000"/>
              </a:schemeClr>
            </a:fgClr>
            <a:bgClr>
              <a:schemeClr val="bg1"/>
            </a:bgClr>
          </a:pattFill>
          <a:ln w="25400">
            <a:solidFill>
              <a:schemeClr val="accent2"/>
            </a:solidFill>
          </a:ln>
        </p:spPr>
        <p:txBody>
          <a:bodyPr vert="horz" wrap="square" lIns="91440" tIns="45720" rIns="91440" bIns="45720" numCol="1" anchor="t" anchorCtr="0" compatLnSpc="1">
            <a:prstTxWarp prst="textNoShape">
              <a:avLst/>
            </a:prstTxWarp>
          </a:bodyPr>
          <a:lstStyle/>
          <a:p>
            <a:endParaRPr lang="en-US" dirty="0">
              <a:latin typeface="Source Sans Pro" charset="0"/>
            </a:endParaRPr>
          </a:p>
        </p:txBody>
      </p:sp>
      <p:sp>
        <p:nvSpPr>
          <p:cNvPr id="13" name="Freeform 14"/>
          <p:cNvSpPr>
            <a:spLocks/>
          </p:cNvSpPr>
          <p:nvPr/>
        </p:nvSpPr>
        <p:spPr bwMode="auto">
          <a:xfrm>
            <a:off x="6181850" y="2356991"/>
            <a:ext cx="1091263" cy="1204474"/>
          </a:xfrm>
          <a:custGeom>
            <a:avLst/>
            <a:gdLst>
              <a:gd name="T0" fmla="*/ 532 w 935"/>
              <a:gd name="T1" fmla="*/ 0 h 1032"/>
              <a:gd name="T2" fmla="*/ 0 w 935"/>
              <a:gd name="T3" fmla="*/ 230 h 1032"/>
              <a:gd name="T4" fmla="*/ 38 w 935"/>
              <a:gd name="T5" fmla="*/ 1032 h 1032"/>
              <a:gd name="T6" fmla="*/ 935 w 935"/>
              <a:gd name="T7" fmla="*/ 646 h 1032"/>
              <a:gd name="T8" fmla="*/ 532 w 935"/>
              <a:gd name="T9" fmla="*/ 0 h 1032"/>
            </a:gdLst>
            <a:ahLst/>
            <a:cxnLst>
              <a:cxn ang="0">
                <a:pos x="T0" y="T1"/>
              </a:cxn>
              <a:cxn ang="0">
                <a:pos x="T2" y="T3"/>
              </a:cxn>
              <a:cxn ang="0">
                <a:pos x="T4" y="T5"/>
              </a:cxn>
              <a:cxn ang="0">
                <a:pos x="T6" y="T7"/>
              </a:cxn>
              <a:cxn ang="0">
                <a:pos x="T8" y="T9"/>
              </a:cxn>
            </a:cxnLst>
            <a:rect l="0" t="0" r="r" b="b"/>
            <a:pathLst>
              <a:path w="935" h="1032">
                <a:moveTo>
                  <a:pt x="532" y="0"/>
                </a:moveTo>
                <a:lnTo>
                  <a:pt x="0" y="230"/>
                </a:lnTo>
                <a:lnTo>
                  <a:pt x="38" y="1032"/>
                </a:lnTo>
                <a:lnTo>
                  <a:pt x="935" y="646"/>
                </a:lnTo>
                <a:lnTo>
                  <a:pt x="532" y="0"/>
                </a:lnTo>
                <a:close/>
              </a:path>
            </a:pathLst>
          </a:custGeom>
          <a:solidFill>
            <a:schemeClr val="bg1"/>
          </a:solidFill>
          <a:ln w="25400">
            <a:solidFill>
              <a:schemeClr val="accent2"/>
            </a:solidFill>
            <a:bevel/>
          </a:ln>
        </p:spPr>
        <p:txBody>
          <a:bodyPr vert="horz" wrap="square" lIns="91440" tIns="45720" rIns="91440" bIns="45720" numCol="1" anchor="t" anchorCtr="0" compatLnSpc="1">
            <a:prstTxWarp prst="textNoShape">
              <a:avLst/>
            </a:prstTxWarp>
          </a:bodyPr>
          <a:lstStyle/>
          <a:p>
            <a:endParaRPr lang="en-US" dirty="0">
              <a:latin typeface="Source Sans Pro" charset="0"/>
            </a:endParaRPr>
          </a:p>
        </p:txBody>
      </p:sp>
      <p:sp>
        <p:nvSpPr>
          <p:cNvPr id="14" name="Freeform 18"/>
          <p:cNvSpPr>
            <a:spLocks/>
          </p:cNvSpPr>
          <p:nvPr/>
        </p:nvSpPr>
        <p:spPr bwMode="auto">
          <a:xfrm>
            <a:off x="4938058" y="2370997"/>
            <a:ext cx="1296677" cy="1190469"/>
          </a:xfrm>
          <a:custGeom>
            <a:avLst/>
            <a:gdLst>
              <a:gd name="T0" fmla="*/ 1111 w 1111"/>
              <a:gd name="T1" fmla="*/ 1020 h 1020"/>
              <a:gd name="T2" fmla="*/ 1076 w 1111"/>
              <a:gd name="T3" fmla="*/ 215 h 1020"/>
              <a:gd name="T4" fmla="*/ 418 w 1111"/>
              <a:gd name="T5" fmla="*/ 0 h 1020"/>
              <a:gd name="T6" fmla="*/ 0 w 1111"/>
              <a:gd name="T7" fmla="*/ 655 h 1020"/>
              <a:gd name="T8" fmla="*/ 1111 w 1111"/>
              <a:gd name="T9" fmla="*/ 1020 h 1020"/>
            </a:gdLst>
            <a:ahLst/>
            <a:cxnLst>
              <a:cxn ang="0">
                <a:pos x="T0" y="T1"/>
              </a:cxn>
              <a:cxn ang="0">
                <a:pos x="T2" y="T3"/>
              </a:cxn>
              <a:cxn ang="0">
                <a:pos x="T4" y="T5"/>
              </a:cxn>
              <a:cxn ang="0">
                <a:pos x="T6" y="T7"/>
              </a:cxn>
              <a:cxn ang="0">
                <a:pos x="T8" y="T9"/>
              </a:cxn>
            </a:cxnLst>
            <a:rect l="0" t="0" r="r" b="b"/>
            <a:pathLst>
              <a:path w="1111" h="1020">
                <a:moveTo>
                  <a:pt x="1111" y="1020"/>
                </a:moveTo>
                <a:lnTo>
                  <a:pt x="1076" y="215"/>
                </a:lnTo>
                <a:lnTo>
                  <a:pt x="418" y="0"/>
                </a:lnTo>
                <a:lnTo>
                  <a:pt x="0" y="655"/>
                </a:lnTo>
                <a:lnTo>
                  <a:pt x="1111" y="1020"/>
                </a:lnTo>
                <a:close/>
              </a:path>
            </a:pathLst>
          </a:custGeom>
          <a:solidFill>
            <a:schemeClr val="bg1"/>
          </a:solidFill>
          <a:ln w="25400">
            <a:solidFill>
              <a:schemeClr val="accent2"/>
            </a:solidFill>
            <a:bevel/>
          </a:ln>
        </p:spPr>
        <p:txBody>
          <a:bodyPr vert="horz" wrap="square" lIns="91440" tIns="45720" rIns="91440" bIns="45720" numCol="1" anchor="ctr" anchorCtr="0" compatLnSpc="1">
            <a:prstTxWarp prst="textNoShape">
              <a:avLst/>
            </a:prstTxWarp>
          </a:bodyPr>
          <a:lstStyle/>
          <a:p>
            <a:pPr algn="ctr"/>
            <a:endParaRPr lang="en-US" sz="2400" dirty="0">
              <a:solidFill>
                <a:srgbClr val="FFFFFF"/>
              </a:solidFill>
              <a:latin typeface="Source Sans Pro" charset="0"/>
            </a:endParaRPr>
          </a:p>
        </p:txBody>
      </p:sp>
      <p:sp>
        <p:nvSpPr>
          <p:cNvPr id="15" name="Freeform 14"/>
          <p:cNvSpPr>
            <a:spLocks/>
          </p:cNvSpPr>
          <p:nvPr/>
        </p:nvSpPr>
        <p:spPr bwMode="auto">
          <a:xfrm>
            <a:off x="6130142" y="1207315"/>
            <a:ext cx="576560" cy="1141449"/>
          </a:xfrm>
          <a:custGeom>
            <a:avLst/>
            <a:gdLst>
              <a:gd name="T0" fmla="*/ 0 w 494"/>
              <a:gd name="T1" fmla="*/ 0 h 978"/>
              <a:gd name="T2" fmla="*/ 45 w 494"/>
              <a:gd name="T3" fmla="*/ 978 h 978"/>
              <a:gd name="T4" fmla="*/ 494 w 494"/>
              <a:gd name="T5" fmla="*/ 784 h 978"/>
              <a:gd name="T6" fmla="*/ 0 w 494"/>
              <a:gd name="T7" fmla="*/ 0 h 978"/>
            </a:gdLst>
            <a:ahLst/>
            <a:cxnLst>
              <a:cxn ang="0">
                <a:pos x="T0" y="T1"/>
              </a:cxn>
              <a:cxn ang="0">
                <a:pos x="T2" y="T3"/>
              </a:cxn>
              <a:cxn ang="0">
                <a:pos x="T4" y="T5"/>
              </a:cxn>
              <a:cxn ang="0">
                <a:pos x="T6" y="T7"/>
              </a:cxn>
            </a:cxnLst>
            <a:rect l="0" t="0" r="r" b="b"/>
            <a:pathLst>
              <a:path w="494" h="978">
                <a:moveTo>
                  <a:pt x="0" y="0"/>
                </a:moveTo>
                <a:lnTo>
                  <a:pt x="45" y="978"/>
                </a:lnTo>
                <a:lnTo>
                  <a:pt x="494" y="784"/>
                </a:lnTo>
                <a:lnTo>
                  <a:pt x="0" y="0"/>
                </a:lnTo>
                <a:close/>
              </a:path>
            </a:pathLst>
          </a:custGeom>
          <a:solidFill>
            <a:schemeClr val="bg1"/>
          </a:solidFill>
          <a:ln w="25400">
            <a:solidFill>
              <a:schemeClr val="accent1"/>
            </a:solidFill>
            <a:bevel/>
          </a:ln>
        </p:spPr>
        <p:txBody>
          <a:bodyPr vert="horz" wrap="square" lIns="91440" tIns="45720" rIns="91440" bIns="45720" numCol="1" anchor="t" anchorCtr="0" compatLnSpc="1">
            <a:prstTxWarp prst="textNoShape">
              <a:avLst/>
            </a:prstTxWarp>
          </a:bodyPr>
          <a:lstStyle/>
          <a:p>
            <a:endParaRPr lang="en-US" dirty="0">
              <a:latin typeface="Source Sans Pro" charset="0"/>
            </a:endParaRPr>
          </a:p>
        </p:txBody>
      </p:sp>
      <p:sp>
        <p:nvSpPr>
          <p:cNvPr id="16" name="Freeform 19"/>
          <p:cNvSpPr>
            <a:spLocks/>
          </p:cNvSpPr>
          <p:nvPr/>
        </p:nvSpPr>
        <p:spPr bwMode="auto">
          <a:xfrm>
            <a:off x="5533292" y="1207315"/>
            <a:ext cx="646588" cy="1137948"/>
          </a:xfrm>
          <a:custGeom>
            <a:avLst/>
            <a:gdLst>
              <a:gd name="T0" fmla="*/ 554 w 554"/>
              <a:gd name="T1" fmla="*/ 975 h 975"/>
              <a:gd name="T2" fmla="*/ 0 w 554"/>
              <a:gd name="T3" fmla="*/ 793 h 975"/>
              <a:gd name="T4" fmla="*/ 509 w 554"/>
              <a:gd name="T5" fmla="*/ 0 h 975"/>
              <a:gd name="T6" fmla="*/ 554 w 554"/>
              <a:gd name="T7" fmla="*/ 975 h 975"/>
            </a:gdLst>
            <a:ahLst/>
            <a:cxnLst>
              <a:cxn ang="0">
                <a:pos x="T0" y="T1"/>
              </a:cxn>
              <a:cxn ang="0">
                <a:pos x="T2" y="T3"/>
              </a:cxn>
              <a:cxn ang="0">
                <a:pos x="T4" y="T5"/>
              </a:cxn>
              <a:cxn ang="0">
                <a:pos x="T6" y="T7"/>
              </a:cxn>
            </a:cxnLst>
            <a:rect l="0" t="0" r="r" b="b"/>
            <a:pathLst>
              <a:path w="554" h="975">
                <a:moveTo>
                  <a:pt x="554" y="975"/>
                </a:moveTo>
                <a:lnTo>
                  <a:pt x="0" y="793"/>
                </a:lnTo>
                <a:lnTo>
                  <a:pt x="509" y="0"/>
                </a:lnTo>
                <a:lnTo>
                  <a:pt x="554" y="975"/>
                </a:lnTo>
                <a:close/>
              </a:path>
            </a:pathLst>
          </a:custGeom>
          <a:solidFill>
            <a:schemeClr val="bg1"/>
          </a:solidFill>
          <a:ln w="25400">
            <a:solidFill>
              <a:schemeClr val="accent1"/>
            </a:solidFill>
            <a:bevel/>
          </a:ln>
        </p:spPr>
        <p:txBody>
          <a:bodyPr vert="horz" wrap="square" lIns="91440" tIns="91440" rIns="0" bIns="182880" numCol="1" anchor="b" anchorCtr="0" compatLnSpc="1">
            <a:prstTxWarp prst="textNoShape">
              <a:avLst/>
            </a:prstTxWarp>
          </a:bodyPr>
          <a:lstStyle/>
          <a:p>
            <a:pPr algn="ctr"/>
            <a:endParaRPr lang="en-US" dirty="0">
              <a:solidFill>
                <a:srgbClr val="FFFFFF"/>
              </a:solidFill>
              <a:latin typeface="Source Sans Pro" charset="0"/>
            </a:endParaRPr>
          </a:p>
        </p:txBody>
      </p:sp>
      <p:sp>
        <p:nvSpPr>
          <p:cNvPr id="17" name="Oval 16"/>
          <p:cNvSpPr/>
          <p:nvPr/>
        </p:nvSpPr>
        <p:spPr>
          <a:xfrm>
            <a:off x="6286443" y="1471734"/>
            <a:ext cx="390694" cy="390692"/>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18" name="TextBox 17"/>
          <p:cNvSpPr txBox="1"/>
          <p:nvPr/>
        </p:nvSpPr>
        <p:spPr>
          <a:xfrm>
            <a:off x="6992535" y="1206479"/>
            <a:ext cx="2708953" cy="834074"/>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19" name="Oval 18"/>
          <p:cNvSpPr/>
          <p:nvPr/>
        </p:nvSpPr>
        <p:spPr>
          <a:xfrm>
            <a:off x="6847842" y="2525237"/>
            <a:ext cx="390694" cy="390692"/>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20" name="TextBox 19"/>
          <p:cNvSpPr txBox="1"/>
          <p:nvPr/>
        </p:nvSpPr>
        <p:spPr>
          <a:xfrm>
            <a:off x="7553934" y="2259981"/>
            <a:ext cx="2708953" cy="819327"/>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21" name="Oval 20"/>
          <p:cNvSpPr/>
          <p:nvPr/>
        </p:nvSpPr>
        <p:spPr>
          <a:xfrm>
            <a:off x="7419022" y="3549593"/>
            <a:ext cx="390694" cy="390692"/>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22" name="TextBox 21"/>
          <p:cNvSpPr txBox="1"/>
          <p:nvPr/>
        </p:nvSpPr>
        <p:spPr>
          <a:xfrm>
            <a:off x="8125115" y="3284337"/>
            <a:ext cx="2708953" cy="819327"/>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23" name="Oval 22"/>
          <p:cNvSpPr/>
          <p:nvPr/>
        </p:nvSpPr>
        <p:spPr>
          <a:xfrm>
            <a:off x="8014956" y="4631958"/>
            <a:ext cx="390694" cy="390692"/>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24" name="TextBox 23"/>
          <p:cNvSpPr txBox="1"/>
          <p:nvPr/>
        </p:nvSpPr>
        <p:spPr>
          <a:xfrm>
            <a:off x="8721048" y="4366703"/>
            <a:ext cx="2708953" cy="819327"/>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25" name="Freeform 19"/>
          <p:cNvSpPr>
            <a:spLocks/>
          </p:cNvSpPr>
          <p:nvPr/>
        </p:nvSpPr>
        <p:spPr bwMode="auto">
          <a:xfrm>
            <a:off x="5533292" y="1250708"/>
            <a:ext cx="646588" cy="1137948"/>
          </a:xfrm>
          <a:custGeom>
            <a:avLst/>
            <a:gdLst>
              <a:gd name="T0" fmla="*/ 554 w 554"/>
              <a:gd name="T1" fmla="*/ 975 h 975"/>
              <a:gd name="T2" fmla="*/ 0 w 554"/>
              <a:gd name="T3" fmla="*/ 793 h 975"/>
              <a:gd name="T4" fmla="*/ 509 w 554"/>
              <a:gd name="T5" fmla="*/ 0 h 975"/>
              <a:gd name="T6" fmla="*/ 554 w 554"/>
              <a:gd name="T7" fmla="*/ 975 h 975"/>
            </a:gdLst>
            <a:ahLst/>
            <a:cxnLst>
              <a:cxn ang="0">
                <a:pos x="T0" y="T1"/>
              </a:cxn>
              <a:cxn ang="0">
                <a:pos x="T2" y="T3"/>
              </a:cxn>
              <a:cxn ang="0">
                <a:pos x="T4" y="T5"/>
              </a:cxn>
              <a:cxn ang="0">
                <a:pos x="T6" y="T7"/>
              </a:cxn>
            </a:cxnLst>
            <a:rect l="0" t="0" r="r" b="b"/>
            <a:pathLst>
              <a:path w="554" h="975">
                <a:moveTo>
                  <a:pt x="554" y="975"/>
                </a:moveTo>
                <a:lnTo>
                  <a:pt x="0" y="793"/>
                </a:lnTo>
                <a:lnTo>
                  <a:pt x="509" y="0"/>
                </a:lnTo>
                <a:lnTo>
                  <a:pt x="554" y="975"/>
                </a:lnTo>
                <a:close/>
              </a:path>
            </a:pathLst>
          </a:custGeom>
          <a:gradFill>
            <a:gsLst>
              <a:gs pos="0">
                <a:schemeClr val="accent1">
                  <a:alpha val="20000"/>
                </a:schemeClr>
              </a:gs>
              <a:gs pos="99000">
                <a:schemeClr val="bg1">
                  <a:alpha val="0"/>
                </a:schemeClr>
              </a:gs>
            </a:gsLst>
            <a:lin ang="6600000" scaled="0"/>
          </a:gradFill>
          <a:ln w="25400">
            <a:noFill/>
            <a:bevel/>
          </a:ln>
        </p:spPr>
        <p:txBody>
          <a:bodyPr vert="horz" wrap="square" lIns="91440" tIns="91440" rIns="0" bIns="182880" numCol="1" anchor="b" anchorCtr="0" compatLnSpc="1">
            <a:prstTxWarp prst="textNoShape">
              <a:avLst/>
            </a:prstTxWarp>
          </a:bodyPr>
          <a:lstStyle/>
          <a:p>
            <a:pPr algn="ctr"/>
            <a:endParaRPr lang="en-US" dirty="0">
              <a:solidFill>
                <a:srgbClr val="FFFFFF"/>
              </a:solidFill>
              <a:latin typeface="Source Sans Pro" charset="0"/>
            </a:endParaRPr>
          </a:p>
        </p:txBody>
      </p:sp>
      <p:sp>
        <p:nvSpPr>
          <p:cNvPr id="26" name="Freeform 18"/>
          <p:cNvSpPr>
            <a:spLocks/>
          </p:cNvSpPr>
          <p:nvPr/>
        </p:nvSpPr>
        <p:spPr bwMode="auto">
          <a:xfrm>
            <a:off x="4925402" y="2381912"/>
            <a:ext cx="1296677" cy="1190469"/>
          </a:xfrm>
          <a:custGeom>
            <a:avLst/>
            <a:gdLst>
              <a:gd name="T0" fmla="*/ 1111 w 1111"/>
              <a:gd name="T1" fmla="*/ 1020 h 1020"/>
              <a:gd name="T2" fmla="*/ 1076 w 1111"/>
              <a:gd name="T3" fmla="*/ 215 h 1020"/>
              <a:gd name="T4" fmla="*/ 418 w 1111"/>
              <a:gd name="T5" fmla="*/ 0 h 1020"/>
              <a:gd name="T6" fmla="*/ 0 w 1111"/>
              <a:gd name="T7" fmla="*/ 655 h 1020"/>
              <a:gd name="T8" fmla="*/ 1111 w 1111"/>
              <a:gd name="T9" fmla="*/ 1020 h 1020"/>
            </a:gdLst>
            <a:ahLst/>
            <a:cxnLst>
              <a:cxn ang="0">
                <a:pos x="T0" y="T1"/>
              </a:cxn>
              <a:cxn ang="0">
                <a:pos x="T2" y="T3"/>
              </a:cxn>
              <a:cxn ang="0">
                <a:pos x="T4" y="T5"/>
              </a:cxn>
              <a:cxn ang="0">
                <a:pos x="T6" y="T7"/>
              </a:cxn>
              <a:cxn ang="0">
                <a:pos x="T8" y="T9"/>
              </a:cxn>
            </a:cxnLst>
            <a:rect l="0" t="0" r="r" b="b"/>
            <a:pathLst>
              <a:path w="1111" h="1020">
                <a:moveTo>
                  <a:pt x="1111" y="1020"/>
                </a:moveTo>
                <a:lnTo>
                  <a:pt x="1076" y="215"/>
                </a:lnTo>
                <a:lnTo>
                  <a:pt x="418" y="0"/>
                </a:lnTo>
                <a:lnTo>
                  <a:pt x="0" y="655"/>
                </a:lnTo>
                <a:lnTo>
                  <a:pt x="1111" y="1020"/>
                </a:lnTo>
                <a:close/>
              </a:path>
            </a:pathLst>
          </a:custGeom>
          <a:gradFill>
            <a:gsLst>
              <a:gs pos="0">
                <a:schemeClr val="accent2">
                  <a:alpha val="20000"/>
                </a:schemeClr>
              </a:gs>
              <a:gs pos="99000">
                <a:schemeClr val="bg1">
                  <a:alpha val="0"/>
                </a:schemeClr>
              </a:gs>
            </a:gsLst>
            <a:lin ang="6600000" scaled="0"/>
          </a:gradFill>
          <a:ln w="25400">
            <a:noFill/>
            <a:bevel/>
          </a:ln>
        </p:spPr>
        <p:txBody>
          <a:bodyPr vert="horz" wrap="square" lIns="91440" tIns="45720" rIns="91440" bIns="45720" numCol="1" anchor="ctr" anchorCtr="0" compatLnSpc="1">
            <a:prstTxWarp prst="textNoShape">
              <a:avLst/>
            </a:prstTxWarp>
          </a:bodyPr>
          <a:lstStyle/>
          <a:p>
            <a:pPr algn="ctr"/>
            <a:endParaRPr lang="en-US" sz="2400" dirty="0">
              <a:solidFill>
                <a:srgbClr val="FFFFFF"/>
              </a:solidFill>
              <a:latin typeface="Source Sans Pro" charset="0"/>
            </a:endParaRPr>
          </a:p>
        </p:txBody>
      </p:sp>
      <p:sp>
        <p:nvSpPr>
          <p:cNvPr id="27" name="Freeform 17"/>
          <p:cNvSpPr>
            <a:spLocks/>
          </p:cNvSpPr>
          <p:nvPr/>
        </p:nvSpPr>
        <p:spPr bwMode="auto">
          <a:xfrm>
            <a:off x="4344966" y="3449833"/>
            <a:ext cx="1943265" cy="1390047"/>
          </a:xfrm>
          <a:custGeom>
            <a:avLst/>
            <a:gdLst>
              <a:gd name="T0" fmla="*/ 1665 w 1665"/>
              <a:gd name="T1" fmla="*/ 1191 h 1191"/>
              <a:gd name="T2" fmla="*/ 1627 w 1665"/>
              <a:gd name="T3" fmla="*/ 395 h 1191"/>
              <a:gd name="T4" fmla="*/ 414 w 1665"/>
              <a:gd name="T5" fmla="*/ 0 h 1191"/>
              <a:gd name="T6" fmla="*/ 0 w 1665"/>
              <a:gd name="T7" fmla="*/ 646 h 1191"/>
              <a:gd name="T8" fmla="*/ 1665 w 1665"/>
              <a:gd name="T9" fmla="*/ 1191 h 1191"/>
            </a:gdLst>
            <a:ahLst/>
            <a:cxnLst>
              <a:cxn ang="0">
                <a:pos x="T0" y="T1"/>
              </a:cxn>
              <a:cxn ang="0">
                <a:pos x="T2" y="T3"/>
              </a:cxn>
              <a:cxn ang="0">
                <a:pos x="T4" y="T5"/>
              </a:cxn>
              <a:cxn ang="0">
                <a:pos x="T6" y="T7"/>
              </a:cxn>
              <a:cxn ang="0">
                <a:pos x="T8" y="T9"/>
              </a:cxn>
            </a:cxnLst>
            <a:rect l="0" t="0" r="r" b="b"/>
            <a:pathLst>
              <a:path w="1665" h="1191">
                <a:moveTo>
                  <a:pt x="1665" y="1191"/>
                </a:moveTo>
                <a:lnTo>
                  <a:pt x="1627" y="395"/>
                </a:lnTo>
                <a:lnTo>
                  <a:pt x="414" y="0"/>
                </a:lnTo>
                <a:lnTo>
                  <a:pt x="0" y="646"/>
                </a:lnTo>
                <a:lnTo>
                  <a:pt x="1665" y="1191"/>
                </a:lnTo>
                <a:close/>
              </a:path>
            </a:pathLst>
          </a:custGeom>
          <a:gradFill>
            <a:gsLst>
              <a:gs pos="0">
                <a:schemeClr val="accent3">
                  <a:alpha val="20000"/>
                </a:schemeClr>
              </a:gs>
              <a:gs pos="99000">
                <a:schemeClr val="bg1">
                  <a:alpha val="0"/>
                </a:schemeClr>
              </a:gs>
            </a:gsLst>
            <a:lin ang="6600000" scaled="0"/>
          </a:gradFill>
          <a:ln w="25400">
            <a:noFill/>
            <a:bevel/>
          </a:ln>
        </p:spPr>
        <p:txBody>
          <a:bodyPr vert="horz" wrap="square" lIns="91440" tIns="45720" rIns="91440" bIns="45720" numCol="1" anchor="ctr" anchorCtr="0" compatLnSpc="1">
            <a:prstTxWarp prst="textNoShape">
              <a:avLst/>
            </a:prstTxWarp>
          </a:bodyPr>
          <a:lstStyle/>
          <a:p>
            <a:pPr algn="ctr"/>
            <a:endParaRPr lang="en-US" sz="2800" dirty="0">
              <a:solidFill>
                <a:srgbClr val="FFFFFF"/>
              </a:solidFill>
              <a:latin typeface="Source Sans Pro" charset="0"/>
            </a:endParaRPr>
          </a:p>
        </p:txBody>
      </p:sp>
      <p:sp>
        <p:nvSpPr>
          <p:cNvPr id="28" name="Freeform 16"/>
          <p:cNvSpPr>
            <a:spLocks/>
          </p:cNvSpPr>
          <p:nvPr/>
        </p:nvSpPr>
        <p:spPr bwMode="auto">
          <a:xfrm>
            <a:off x="3762660" y="4541945"/>
            <a:ext cx="2588685" cy="1602464"/>
          </a:xfrm>
          <a:custGeom>
            <a:avLst/>
            <a:gdLst>
              <a:gd name="T0" fmla="*/ 2181 w 2218"/>
              <a:gd name="T1" fmla="*/ 575 h 1373"/>
              <a:gd name="T2" fmla="*/ 2218 w 2218"/>
              <a:gd name="T3" fmla="*/ 1373 h 1373"/>
              <a:gd name="T4" fmla="*/ 0 w 2218"/>
              <a:gd name="T5" fmla="*/ 651 h 1373"/>
              <a:gd name="T6" fmla="*/ 419 w 2218"/>
              <a:gd name="T7" fmla="*/ 0 h 1373"/>
              <a:gd name="T8" fmla="*/ 2181 w 2218"/>
              <a:gd name="T9" fmla="*/ 575 h 1373"/>
            </a:gdLst>
            <a:ahLst/>
            <a:cxnLst>
              <a:cxn ang="0">
                <a:pos x="T0" y="T1"/>
              </a:cxn>
              <a:cxn ang="0">
                <a:pos x="T2" y="T3"/>
              </a:cxn>
              <a:cxn ang="0">
                <a:pos x="T4" y="T5"/>
              </a:cxn>
              <a:cxn ang="0">
                <a:pos x="T6" y="T7"/>
              </a:cxn>
              <a:cxn ang="0">
                <a:pos x="T8" y="T9"/>
              </a:cxn>
            </a:cxnLst>
            <a:rect l="0" t="0" r="r" b="b"/>
            <a:pathLst>
              <a:path w="2218" h="1373">
                <a:moveTo>
                  <a:pt x="2181" y="575"/>
                </a:moveTo>
                <a:lnTo>
                  <a:pt x="2218" y="1373"/>
                </a:lnTo>
                <a:lnTo>
                  <a:pt x="0" y="651"/>
                </a:lnTo>
                <a:lnTo>
                  <a:pt x="419" y="0"/>
                </a:lnTo>
                <a:lnTo>
                  <a:pt x="2181" y="575"/>
                </a:lnTo>
                <a:close/>
              </a:path>
            </a:pathLst>
          </a:custGeom>
          <a:gradFill>
            <a:gsLst>
              <a:gs pos="0">
                <a:schemeClr val="accent4">
                  <a:alpha val="20000"/>
                </a:schemeClr>
              </a:gs>
              <a:gs pos="99000">
                <a:schemeClr val="bg1">
                  <a:alpha val="0"/>
                </a:schemeClr>
              </a:gs>
            </a:gsLst>
            <a:lin ang="6300000" scaled="0"/>
          </a:gradFill>
          <a:ln w="25400">
            <a:noFill/>
            <a:bevel/>
          </a:ln>
        </p:spPr>
        <p:txBody>
          <a:bodyPr vert="horz" wrap="square" lIns="91440" tIns="45720" rIns="91440" bIns="45720" numCol="1" anchor="ctr" anchorCtr="0" compatLnSpc="1">
            <a:prstTxWarp prst="textNoShape">
              <a:avLst/>
            </a:prstTxWarp>
          </a:bodyPr>
          <a:lstStyle/>
          <a:p>
            <a:pPr algn="ctr"/>
            <a:endParaRPr lang="en-US" sz="3600" dirty="0">
              <a:solidFill>
                <a:srgbClr val="FFFFFF"/>
              </a:solidFill>
              <a:latin typeface="Source Sans Pro" charset="0"/>
            </a:endParaRPr>
          </a:p>
        </p:txBody>
      </p:sp>
      <p:sp>
        <p:nvSpPr>
          <p:cNvPr id="31" name="TextBox 30"/>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30" name="Text Placeholder 6">
            <a:extLst>
              <a:ext uri="{FF2B5EF4-FFF2-40B4-BE49-F238E27FC236}">
                <a16:creationId xmlns:a16="http://schemas.microsoft.com/office/drawing/2014/main" id="{D3283DDB-6DA9-924C-AA96-3BFDBC877779}"/>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70165507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rypto Infographic</a:t>
            </a:r>
            <a:endParaRPr lang="en-US" dirty="0"/>
          </a:p>
        </p:txBody>
      </p:sp>
      <p:grpSp>
        <p:nvGrpSpPr>
          <p:cNvPr id="6" name="Group 5"/>
          <p:cNvGrpSpPr/>
          <p:nvPr/>
        </p:nvGrpSpPr>
        <p:grpSpPr>
          <a:xfrm>
            <a:off x="1714501" y="3149272"/>
            <a:ext cx="2588263" cy="2588263"/>
            <a:chOff x="1724526" y="2931350"/>
            <a:chExt cx="2588263" cy="2588263"/>
          </a:xfrm>
        </p:grpSpPr>
        <p:sp>
          <p:nvSpPr>
            <p:cNvPr id="7" name="Pie 6"/>
            <p:cNvSpPr/>
            <p:nvPr/>
          </p:nvSpPr>
          <p:spPr>
            <a:xfrm>
              <a:off x="1724526" y="2931350"/>
              <a:ext cx="2588263" cy="2588263"/>
            </a:xfrm>
            <a:prstGeom prst="pie">
              <a:avLst>
                <a:gd name="adj1" fmla="val 10799998"/>
                <a:gd name="adj2" fmla="val 5307"/>
              </a:avLst>
            </a:prstGeom>
            <a:gradFill>
              <a:gsLst>
                <a:gs pos="0">
                  <a:schemeClr val="accent1">
                    <a:alpha val="20000"/>
                  </a:schemeClr>
                </a:gs>
                <a:gs pos="99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8" name="Freeform 7"/>
            <p:cNvSpPr>
              <a:spLocks noChangeAspect="1"/>
            </p:cNvSpPr>
            <p:nvPr/>
          </p:nvSpPr>
          <p:spPr>
            <a:xfrm rot="19620000">
              <a:off x="2638985" y="3183681"/>
              <a:ext cx="114078" cy="1065535"/>
            </a:xfrm>
            <a:custGeom>
              <a:avLst/>
              <a:gdLst>
                <a:gd name="connsiteX0" fmla="*/ 67066 w 135090"/>
                <a:gd name="connsiteY0" fmla="*/ 0 h 1432848"/>
                <a:gd name="connsiteX1" fmla="*/ 133824 w 135090"/>
                <a:gd name="connsiteY1" fmla="*/ 1359032 h 1432848"/>
                <a:gd name="connsiteX2" fmla="*/ 135090 w 135090"/>
                <a:gd name="connsiteY2" fmla="*/ 1365303 h 1432848"/>
                <a:gd name="connsiteX3" fmla="*/ 67545 w 135090"/>
                <a:gd name="connsiteY3" fmla="*/ 1432848 h 1432848"/>
                <a:gd name="connsiteX4" fmla="*/ 0 w 135090"/>
                <a:gd name="connsiteY4" fmla="*/ 1365303 h 1432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90" h="1432848">
                  <a:moveTo>
                    <a:pt x="67066" y="0"/>
                  </a:moveTo>
                  <a:lnTo>
                    <a:pt x="133824" y="1359032"/>
                  </a:lnTo>
                  <a:lnTo>
                    <a:pt x="135090" y="1365303"/>
                  </a:lnTo>
                  <a:cubicBezTo>
                    <a:pt x="135090" y="1402607"/>
                    <a:pt x="104849" y="1432848"/>
                    <a:pt x="67545" y="1432848"/>
                  </a:cubicBezTo>
                  <a:cubicBezTo>
                    <a:pt x="30241" y="1432848"/>
                    <a:pt x="0" y="1402607"/>
                    <a:pt x="0" y="1365303"/>
                  </a:cubicBezTo>
                  <a:close/>
                </a:path>
              </a:pathLst>
            </a:custGeom>
            <a:solidFill>
              <a:schemeClr val="bg1"/>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RBC Text" panose="02000000000000000000" pitchFamily="2" charset="77"/>
              </a:endParaRPr>
            </a:p>
          </p:txBody>
        </p:sp>
        <p:sp>
          <p:nvSpPr>
            <p:cNvPr id="9" name="Block Arc 8"/>
            <p:cNvSpPr/>
            <p:nvPr/>
          </p:nvSpPr>
          <p:spPr>
            <a:xfrm>
              <a:off x="1724526" y="2931350"/>
              <a:ext cx="2588263" cy="2588263"/>
            </a:xfrm>
            <a:prstGeom prst="blockArc">
              <a:avLst>
                <a:gd name="adj1" fmla="val 10800000"/>
                <a:gd name="adj2" fmla="val 21544286"/>
                <a:gd name="adj3" fmla="val 2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10" name="Oval 9"/>
            <p:cNvSpPr/>
            <p:nvPr/>
          </p:nvSpPr>
          <p:spPr>
            <a:xfrm>
              <a:off x="2847099" y="4053924"/>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grpSp>
      <p:grpSp>
        <p:nvGrpSpPr>
          <p:cNvPr id="11" name="Group 10"/>
          <p:cNvGrpSpPr/>
          <p:nvPr/>
        </p:nvGrpSpPr>
        <p:grpSpPr>
          <a:xfrm>
            <a:off x="4855876" y="3149272"/>
            <a:ext cx="2588263" cy="2588263"/>
            <a:chOff x="1724526" y="2931350"/>
            <a:chExt cx="2588263" cy="2588263"/>
          </a:xfrm>
        </p:grpSpPr>
        <p:sp>
          <p:nvSpPr>
            <p:cNvPr id="12" name="Pie 11"/>
            <p:cNvSpPr/>
            <p:nvPr/>
          </p:nvSpPr>
          <p:spPr>
            <a:xfrm>
              <a:off x="1724526" y="2931350"/>
              <a:ext cx="2588263" cy="2588263"/>
            </a:xfrm>
            <a:prstGeom prst="pie">
              <a:avLst>
                <a:gd name="adj1" fmla="val 10799998"/>
                <a:gd name="adj2" fmla="val 5307"/>
              </a:avLst>
            </a:prstGeom>
            <a:gradFill>
              <a:gsLst>
                <a:gs pos="0">
                  <a:schemeClr val="accent2">
                    <a:alpha val="20000"/>
                  </a:schemeClr>
                </a:gs>
                <a:gs pos="99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13" name="Freeform 12"/>
            <p:cNvSpPr>
              <a:spLocks noChangeAspect="1"/>
            </p:cNvSpPr>
            <p:nvPr/>
          </p:nvSpPr>
          <p:spPr>
            <a:xfrm>
              <a:off x="2961618" y="3089955"/>
              <a:ext cx="114078" cy="1065535"/>
            </a:xfrm>
            <a:custGeom>
              <a:avLst/>
              <a:gdLst>
                <a:gd name="connsiteX0" fmla="*/ 67066 w 135090"/>
                <a:gd name="connsiteY0" fmla="*/ 0 h 1432848"/>
                <a:gd name="connsiteX1" fmla="*/ 133824 w 135090"/>
                <a:gd name="connsiteY1" fmla="*/ 1359032 h 1432848"/>
                <a:gd name="connsiteX2" fmla="*/ 135090 w 135090"/>
                <a:gd name="connsiteY2" fmla="*/ 1365303 h 1432848"/>
                <a:gd name="connsiteX3" fmla="*/ 67545 w 135090"/>
                <a:gd name="connsiteY3" fmla="*/ 1432848 h 1432848"/>
                <a:gd name="connsiteX4" fmla="*/ 0 w 135090"/>
                <a:gd name="connsiteY4" fmla="*/ 1365303 h 1432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90" h="1432848">
                  <a:moveTo>
                    <a:pt x="67066" y="0"/>
                  </a:moveTo>
                  <a:lnTo>
                    <a:pt x="133824" y="1359032"/>
                  </a:lnTo>
                  <a:lnTo>
                    <a:pt x="135090" y="1365303"/>
                  </a:lnTo>
                  <a:cubicBezTo>
                    <a:pt x="135090" y="1402607"/>
                    <a:pt x="104849" y="1432848"/>
                    <a:pt x="67545" y="1432848"/>
                  </a:cubicBezTo>
                  <a:cubicBezTo>
                    <a:pt x="30241" y="1432848"/>
                    <a:pt x="0" y="1402607"/>
                    <a:pt x="0" y="1365303"/>
                  </a:cubicBezTo>
                  <a:close/>
                </a:path>
              </a:pathLst>
            </a:custGeom>
            <a:solidFill>
              <a:schemeClr val="bg1"/>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RBC Text" panose="02000000000000000000" pitchFamily="2" charset="77"/>
              </a:endParaRPr>
            </a:p>
          </p:txBody>
        </p:sp>
        <p:sp>
          <p:nvSpPr>
            <p:cNvPr id="14" name="Block Arc 13"/>
            <p:cNvSpPr/>
            <p:nvPr/>
          </p:nvSpPr>
          <p:spPr>
            <a:xfrm>
              <a:off x="1724526" y="2931350"/>
              <a:ext cx="2588263" cy="2588263"/>
            </a:xfrm>
            <a:prstGeom prst="blockArc">
              <a:avLst>
                <a:gd name="adj1" fmla="val 10800000"/>
                <a:gd name="adj2" fmla="val 21544286"/>
                <a:gd name="adj3" fmla="val 20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15" name="Oval 14"/>
            <p:cNvSpPr/>
            <p:nvPr/>
          </p:nvSpPr>
          <p:spPr>
            <a:xfrm>
              <a:off x="2847099" y="4053924"/>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grpSp>
      <p:grpSp>
        <p:nvGrpSpPr>
          <p:cNvPr id="16" name="Group 15"/>
          <p:cNvGrpSpPr/>
          <p:nvPr/>
        </p:nvGrpSpPr>
        <p:grpSpPr>
          <a:xfrm>
            <a:off x="7997252" y="3149272"/>
            <a:ext cx="2588263" cy="2588263"/>
            <a:chOff x="1724526" y="2931350"/>
            <a:chExt cx="2588263" cy="2588263"/>
          </a:xfrm>
        </p:grpSpPr>
        <p:sp>
          <p:nvSpPr>
            <p:cNvPr id="17" name="Pie 16"/>
            <p:cNvSpPr/>
            <p:nvPr/>
          </p:nvSpPr>
          <p:spPr>
            <a:xfrm>
              <a:off x="1724526" y="2931350"/>
              <a:ext cx="2588263" cy="2588263"/>
            </a:xfrm>
            <a:prstGeom prst="pie">
              <a:avLst>
                <a:gd name="adj1" fmla="val 10799998"/>
                <a:gd name="adj2" fmla="val 5307"/>
              </a:avLst>
            </a:prstGeom>
            <a:gradFill>
              <a:gsLst>
                <a:gs pos="0">
                  <a:schemeClr val="accent3">
                    <a:alpha val="20000"/>
                  </a:schemeClr>
                </a:gs>
                <a:gs pos="99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18" name="Freeform 17"/>
            <p:cNvSpPr>
              <a:spLocks noChangeAspect="1"/>
            </p:cNvSpPr>
            <p:nvPr/>
          </p:nvSpPr>
          <p:spPr>
            <a:xfrm rot="2429970">
              <a:off x="3361556" y="3250547"/>
              <a:ext cx="114078" cy="1065535"/>
            </a:xfrm>
            <a:custGeom>
              <a:avLst/>
              <a:gdLst>
                <a:gd name="connsiteX0" fmla="*/ 67066 w 135090"/>
                <a:gd name="connsiteY0" fmla="*/ 0 h 1432848"/>
                <a:gd name="connsiteX1" fmla="*/ 133824 w 135090"/>
                <a:gd name="connsiteY1" fmla="*/ 1359032 h 1432848"/>
                <a:gd name="connsiteX2" fmla="*/ 135090 w 135090"/>
                <a:gd name="connsiteY2" fmla="*/ 1365303 h 1432848"/>
                <a:gd name="connsiteX3" fmla="*/ 67545 w 135090"/>
                <a:gd name="connsiteY3" fmla="*/ 1432848 h 1432848"/>
                <a:gd name="connsiteX4" fmla="*/ 0 w 135090"/>
                <a:gd name="connsiteY4" fmla="*/ 1365303 h 1432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90" h="1432848">
                  <a:moveTo>
                    <a:pt x="67066" y="0"/>
                  </a:moveTo>
                  <a:lnTo>
                    <a:pt x="133824" y="1359032"/>
                  </a:lnTo>
                  <a:lnTo>
                    <a:pt x="135090" y="1365303"/>
                  </a:lnTo>
                  <a:cubicBezTo>
                    <a:pt x="135090" y="1402607"/>
                    <a:pt x="104849" y="1432848"/>
                    <a:pt x="67545" y="1432848"/>
                  </a:cubicBezTo>
                  <a:cubicBezTo>
                    <a:pt x="30241" y="1432848"/>
                    <a:pt x="0" y="1402607"/>
                    <a:pt x="0" y="1365303"/>
                  </a:cubicBezTo>
                  <a:close/>
                </a:path>
              </a:pathLst>
            </a:custGeom>
            <a:solidFill>
              <a:schemeClr val="bg1"/>
            </a:solid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RBC Text" panose="02000000000000000000" pitchFamily="2" charset="77"/>
              </a:endParaRPr>
            </a:p>
          </p:txBody>
        </p:sp>
        <p:sp>
          <p:nvSpPr>
            <p:cNvPr id="19" name="Block Arc 18"/>
            <p:cNvSpPr/>
            <p:nvPr/>
          </p:nvSpPr>
          <p:spPr>
            <a:xfrm>
              <a:off x="1724526" y="2931350"/>
              <a:ext cx="2588263" cy="2588263"/>
            </a:xfrm>
            <a:prstGeom prst="blockArc">
              <a:avLst>
                <a:gd name="adj1" fmla="val 10800000"/>
                <a:gd name="adj2" fmla="val 21544286"/>
                <a:gd name="adj3" fmla="val 208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20" name="Oval 19"/>
            <p:cNvSpPr/>
            <p:nvPr/>
          </p:nvSpPr>
          <p:spPr>
            <a:xfrm>
              <a:off x="2847099" y="4053924"/>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grpSp>
      <p:sp>
        <p:nvSpPr>
          <p:cNvPr id="21" name="TextBox 20"/>
          <p:cNvSpPr txBox="1"/>
          <p:nvPr/>
        </p:nvSpPr>
        <p:spPr>
          <a:xfrm>
            <a:off x="1819101" y="2253087"/>
            <a:ext cx="2379062" cy="598625"/>
          </a:xfrm>
          <a:prstGeom prst="rect">
            <a:avLst/>
          </a:prstGeom>
          <a:noFill/>
        </p:spPr>
        <p:txBody>
          <a:bodyPr wrap="square" lIns="0" rIns="0" rtlCol="0">
            <a:spAutoFit/>
          </a:bodyPr>
          <a:lstStyle/>
          <a:p>
            <a:pPr algn="ctr">
              <a:lnSpc>
                <a:spcPct val="120000"/>
              </a:lnSpc>
            </a:pPr>
            <a:r>
              <a:rPr lang="en-US" sz="1400" dirty="0">
                <a:latin typeface="RBC Text" panose="02000000000000000000" pitchFamily="2" charset="77"/>
              </a:rPr>
              <a:t>Confidential</a:t>
            </a:r>
          </a:p>
          <a:p>
            <a:pPr algn="ctr">
              <a:lnSpc>
                <a:spcPct val="120000"/>
              </a:lnSpc>
            </a:pPr>
            <a:r>
              <a:rPr lang="en-US" sz="1400" dirty="0">
                <a:latin typeface="RBC Text" panose="02000000000000000000" pitchFamily="2" charset="77"/>
              </a:rPr>
              <a:t>Transactions</a:t>
            </a:r>
            <a:endParaRPr lang="en-US" sz="1200" dirty="0">
              <a:latin typeface="RBC Text" panose="02000000000000000000" pitchFamily="2" charset="77"/>
            </a:endParaRPr>
          </a:p>
        </p:txBody>
      </p:sp>
      <p:sp>
        <p:nvSpPr>
          <p:cNvPr id="22" name="TextBox 21"/>
          <p:cNvSpPr txBox="1"/>
          <p:nvPr/>
        </p:nvSpPr>
        <p:spPr>
          <a:xfrm>
            <a:off x="4960476" y="2253087"/>
            <a:ext cx="2379062" cy="598625"/>
          </a:xfrm>
          <a:prstGeom prst="rect">
            <a:avLst/>
          </a:prstGeom>
          <a:noFill/>
        </p:spPr>
        <p:txBody>
          <a:bodyPr wrap="square" lIns="0" rIns="0" rtlCol="0">
            <a:spAutoFit/>
          </a:bodyPr>
          <a:lstStyle/>
          <a:p>
            <a:pPr algn="ctr">
              <a:lnSpc>
                <a:spcPct val="120000"/>
              </a:lnSpc>
            </a:pPr>
            <a:r>
              <a:rPr lang="en-US" sz="1400" dirty="0">
                <a:latin typeface="RBC Text" panose="02000000000000000000" pitchFamily="2" charset="77"/>
              </a:rPr>
              <a:t>Passive</a:t>
            </a:r>
          </a:p>
          <a:p>
            <a:pPr algn="ctr">
              <a:lnSpc>
                <a:spcPct val="120000"/>
              </a:lnSpc>
            </a:pPr>
            <a:r>
              <a:rPr lang="en-US" sz="1400" dirty="0">
                <a:latin typeface="RBC Text" panose="02000000000000000000" pitchFamily="2" charset="77"/>
              </a:rPr>
              <a:t>Income</a:t>
            </a:r>
            <a:endParaRPr lang="en-US" sz="1200" dirty="0">
              <a:latin typeface="RBC Text" panose="02000000000000000000" pitchFamily="2" charset="77"/>
            </a:endParaRPr>
          </a:p>
        </p:txBody>
      </p:sp>
      <p:sp>
        <p:nvSpPr>
          <p:cNvPr id="23" name="TextBox 22"/>
          <p:cNvSpPr txBox="1"/>
          <p:nvPr/>
        </p:nvSpPr>
        <p:spPr>
          <a:xfrm>
            <a:off x="8101851" y="2253087"/>
            <a:ext cx="2379062" cy="598625"/>
          </a:xfrm>
          <a:prstGeom prst="rect">
            <a:avLst/>
          </a:prstGeom>
          <a:noFill/>
        </p:spPr>
        <p:txBody>
          <a:bodyPr wrap="square" lIns="0" rIns="0" rtlCol="0">
            <a:spAutoFit/>
          </a:bodyPr>
          <a:lstStyle/>
          <a:p>
            <a:pPr algn="ctr">
              <a:lnSpc>
                <a:spcPct val="120000"/>
              </a:lnSpc>
            </a:pPr>
            <a:r>
              <a:rPr lang="en-US" sz="1400" dirty="0">
                <a:latin typeface="RBC Text" panose="02000000000000000000" pitchFamily="2" charset="77"/>
              </a:rPr>
              <a:t>End-to-End Encrypted</a:t>
            </a:r>
          </a:p>
          <a:p>
            <a:pPr algn="ctr">
              <a:lnSpc>
                <a:spcPct val="120000"/>
              </a:lnSpc>
            </a:pPr>
            <a:r>
              <a:rPr lang="en-US" sz="1400" dirty="0">
                <a:latin typeface="RBC Text" panose="02000000000000000000" pitchFamily="2" charset="77"/>
              </a:rPr>
              <a:t>Chat</a:t>
            </a:r>
            <a:endParaRPr lang="en-US" sz="1200" dirty="0">
              <a:latin typeface="RBC Text" panose="02000000000000000000" pitchFamily="2" charset="77"/>
            </a:endParaRPr>
          </a:p>
        </p:txBody>
      </p:sp>
      <p:sp>
        <p:nvSpPr>
          <p:cNvPr id="24" name="TextBox 23"/>
          <p:cNvSpPr txBox="1"/>
          <p:nvPr/>
        </p:nvSpPr>
        <p:spPr>
          <a:xfrm>
            <a:off x="1714502" y="4875242"/>
            <a:ext cx="2588262" cy="1032655"/>
          </a:xfrm>
          <a:prstGeom prst="rect">
            <a:avLst/>
          </a:prstGeom>
          <a:noFill/>
        </p:spPr>
        <p:txBody>
          <a:bodyPr wrap="square" lIns="0" rIns="0" rtlCol="0">
            <a:spAutoFit/>
          </a:bodyPr>
          <a:lstStyle/>
          <a:p>
            <a:pPr algn="ctr">
              <a:lnSpc>
                <a:spcPct val="13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a:t>
            </a:r>
          </a:p>
        </p:txBody>
      </p:sp>
      <p:sp>
        <p:nvSpPr>
          <p:cNvPr id="25" name="TextBox 24"/>
          <p:cNvSpPr txBox="1"/>
          <p:nvPr/>
        </p:nvSpPr>
        <p:spPr>
          <a:xfrm>
            <a:off x="4852625" y="4886432"/>
            <a:ext cx="2588262" cy="1032655"/>
          </a:xfrm>
          <a:prstGeom prst="rect">
            <a:avLst/>
          </a:prstGeom>
          <a:noFill/>
        </p:spPr>
        <p:txBody>
          <a:bodyPr wrap="square" lIns="0" rIns="0" rtlCol="0">
            <a:spAutoFit/>
          </a:bodyPr>
          <a:lstStyle/>
          <a:p>
            <a:pPr algn="ctr">
              <a:lnSpc>
                <a:spcPct val="13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a:t>
            </a:r>
          </a:p>
        </p:txBody>
      </p:sp>
      <p:sp>
        <p:nvSpPr>
          <p:cNvPr id="26" name="TextBox 25"/>
          <p:cNvSpPr txBox="1"/>
          <p:nvPr/>
        </p:nvSpPr>
        <p:spPr>
          <a:xfrm>
            <a:off x="7997251" y="4886432"/>
            <a:ext cx="2588262" cy="1032655"/>
          </a:xfrm>
          <a:prstGeom prst="rect">
            <a:avLst/>
          </a:prstGeom>
          <a:noFill/>
        </p:spPr>
        <p:txBody>
          <a:bodyPr wrap="square" lIns="0" rIns="0" rtlCol="0">
            <a:spAutoFit/>
          </a:bodyPr>
          <a:lstStyle/>
          <a:p>
            <a:pPr algn="ctr">
              <a:lnSpc>
                <a:spcPct val="13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a:t>
            </a:r>
          </a:p>
        </p:txBody>
      </p:sp>
      <p:sp>
        <p:nvSpPr>
          <p:cNvPr id="27" name="Text Placeholder 6">
            <a:extLst>
              <a:ext uri="{FF2B5EF4-FFF2-40B4-BE49-F238E27FC236}">
                <a16:creationId xmlns:a16="http://schemas.microsoft.com/office/drawing/2014/main" id="{E32A0A15-BEE9-F842-A498-83726081856B}"/>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01659649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1951338" y="5103351"/>
            <a:ext cx="1841088" cy="1046440"/>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01 Write title here</a:t>
            </a:r>
          </a:p>
          <a:p>
            <a:pPr algn="ct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23" name="TextBox 22"/>
          <p:cNvSpPr txBox="1"/>
          <p:nvPr/>
        </p:nvSpPr>
        <p:spPr>
          <a:xfrm>
            <a:off x="4094762" y="5103351"/>
            <a:ext cx="1841088" cy="1046440"/>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02 Write title here</a:t>
            </a:r>
          </a:p>
          <a:p>
            <a:pPr algn="ct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24" name="TextBox 23"/>
          <p:cNvSpPr txBox="1"/>
          <p:nvPr/>
        </p:nvSpPr>
        <p:spPr>
          <a:xfrm>
            <a:off x="6238186" y="5103351"/>
            <a:ext cx="1841088" cy="1046440"/>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03 Write title here</a:t>
            </a:r>
          </a:p>
          <a:p>
            <a:pPr algn="ct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25" name="TextBox 24"/>
          <p:cNvSpPr txBox="1"/>
          <p:nvPr/>
        </p:nvSpPr>
        <p:spPr>
          <a:xfrm>
            <a:off x="8381610" y="5103351"/>
            <a:ext cx="1841088" cy="1046440"/>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04 Write title here</a:t>
            </a:r>
          </a:p>
          <a:p>
            <a:pPr algn="ct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26" name="Title 25"/>
          <p:cNvSpPr>
            <a:spLocks noGrp="1"/>
          </p:cNvSpPr>
          <p:nvPr>
            <p:ph type="title"/>
          </p:nvPr>
        </p:nvSpPr>
        <p:spPr/>
        <p:txBody>
          <a:bodyPr/>
          <a:lstStyle/>
          <a:p>
            <a:r>
              <a:rPr lang="en-US"/>
              <a:t>Circle process infographic</a:t>
            </a:r>
            <a:endParaRPr lang="en-US" dirty="0"/>
          </a:p>
        </p:txBody>
      </p:sp>
      <p:sp>
        <p:nvSpPr>
          <p:cNvPr id="27" name="Block Arc 26"/>
          <p:cNvSpPr/>
          <p:nvPr/>
        </p:nvSpPr>
        <p:spPr>
          <a:xfrm>
            <a:off x="8145040" y="2526736"/>
            <a:ext cx="2365207" cy="2365207"/>
          </a:xfrm>
          <a:prstGeom prst="blockArc">
            <a:avLst>
              <a:gd name="adj1" fmla="val 10800000"/>
              <a:gd name="adj2" fmla="val 39393"/>
              <a:gd name="adj3" fmla="val 9996"/>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w="22225">
                <a:solidFill>
                  <a:schemeClr val="accent2"/>
                </a:solidFill>
                <a:prstDash val="solid"/>
              </a:ln>
              <a:solidFill>
                <a:schemeClr val="accent2">
                  <a:lumMod val="40000"/>
                  <a:lumOff val="60000"/>
                </a:schemeClr>
              </a:solidFill>
              <a:latin typeface="RBC Text" panose="02000000000000000000" pitchFamily="2" charset="77"/>
            </a:endParaRPr>
          </a:p>
        </p:txBody>
      </p:sp>
      <p:sp>
        <p:nvSpPr>
          <p:cNvPr id="28" name="Block Arc 27"/>
          <p:cNvSpPr/>
          <p:nvPr/>
        </p:nvSpPr>
        <p:spPr>
          <a:xfrm flipV="1">
            <a:off x="1752235" y="2526736"/>
            <a:ext cx="2365207" cy="2365207"/>
          </a:xfrm>
          <a:prstGeom prst="blockArc">
            <a:avLst>
              <a:gd name="adj1" fmla="val 10800000"/>
              <a:gd name="adj2" fmla="val 39393"/>
              <a:gd name="adj3" fmla="val 9996"/>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29" name="Block Arc 28"/>
          <p:cNvSpPr/>
          <p:nvPr/>
        </p:nvSpPr>
        <p:spPr>
          <a:xfrm flipV="1">
            <a:off x="6013854" y="2526736"/>
            <a:ext cx="2365207" cy="2365207"/>
          </a:xfrm>
          <a:prstGeom prst="blockArc">
            <a:avLst>
              <a:gd name="adj1" fmla="val 10800000"/>
              <a:gd name="adj2" fmla="val 39393"/>
              <a:gd name="adj3" fmla="val 9996"/>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30" name="Block Arc 29"/>
          <p:cNvSpPr/>
          <p:nvPr/>
        </p:nvSpPr>
        <p:spPr>
          <a:xfrm>
            <a:off x="3883044" y="2526736"/>
            <a:ext cx="2365207" cy="2365207"/>
          </a:xfrm>
          <a:prstGeom prst="blockArc">
            <a:avLst>
              <a:gd name="adj1" fmla="val 10800000"/>
              <a:gd name="adj2" fmla="val 39393"/>
              <a:gd name="adj3" fmla="val 9996"/>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31" name="Freeform 30"/>
          <p:cNvSpPr/>
          <p:nvPr/>
        </p:nvSpPr>
        <p:spPr>
          <a:xfrm flipV="1">
            <a:off x="8143279" y="3563124"/>
            <a:ext cx="2364918" cy="1331471"/>
          </a:xfrm>
          <a:custGeom>
            <a:avLst/>
            <a:gdLst>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237787 w 2240876"/>
              <a:gd name="connsiteY7" fmla="*/ 1133243 h 1261480"/>
              <a:gd name="connsiteX8" fmla="*/ 2127516 w 2240876"/>
              <a:gd name="connsiteY8" fmla="*/ 1261480 h 1261480"/>
              <a:gd name="connsiteX9" fmla="*/ 2014155 w 2240876"/>
              <a:gd name="connsiteY9" fmla="*/ 1129650 h 1261480"/>
              <a:gd name="connsiteX10" fmla="*/ 2016761 w 2240876"/>
              <a:gd name="connsiteY10" fmla="*/ 1129650 h 1261480"/>
              <a:gd name="connsiteX11" fmla="*/ 2010243 w 2240876"/>
              <a:gd name="connsiteY11" fmla="*/ 1011442 h 1261480"/>
              <a:gd name="connsiteX12" fmla="*/ 1574575 w 2240876"/>
              <a:gd name="connsiteY12" fmla="*/ 347545 h 1261480"/>
              <a:gd name="connsiteX13" fmla="*/ 675186 w 2240876"/>
              <a:gd name="connsiteY13" fmla="*/ 342392 h 1261480"/>
              <a:gd name="connsiteX14" fmla="*/ 223997 w 2240876"/>
              <a:gd name="connsiteY14" fmla="*/ 1120438 h 1261480"/>
              <a:gd name="connsiteX15" fmla="*/ 0 w 2240876"/>
              <a:gd name="connsiteY15" fmla="*/ 1120438 h 1261480"/>
              <a:gd name="connsiteX16" fmla="*/ 563929 w 2240876"/>
              <a:gd name="connsiteY16" fmla="*/ 147977 h 1261480"/>
              <a:gd name="connsiteX17" fmla="*/ 1126857 w 2240876"/>
              <a:gd name="connsiteY17"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237787 w 2240876"/>
              <a:gd name="connsiteY7" fmla="*/ 1133243 h 1261480"/>
              <a:gd name="connsiteX8" fmla="*/ 2127516 w 2240876"/>
              <a:gd name="connsiteY8" fmla="*/ 1261480 h 1261480"/>
              <a:gd name="connsiteX9" fmla="*/ 2014155 w 2240876"/>
              <a:gd name="connsiteY9" fmla="*/ 1129650 h 1261480"/>
              <a:gd name="connsiteX10" fmla="*/ 2010243 w 2240876"/>
              <a:gd name="connsiteY10" fmla="*/ 1011442 h 1261480"/>
              <a:gd name="connsiteX11" fmla="*/ 1574575 w 2240876"/>
              <a:gd name="connsiteY11" fmla="*/ 347545 h 1261480"/>
              <a:gd name="connsiteX12" fmla="*/ 675186 w 2240876"/>
              <a:gd name="connsiteY12" fmla="*/ 342392 h 1261480"/>
              <a:gd name="connsiteX13" fmla="*/ 223997 w 2240876"/>
              <a:gd name="connsiteY13" fmla="*/ 1120438 h 1261480"/>
              <a:gd name="connsiteX14" fmla="*/ 0 w 2240876"/>
              <a:gd name="connsiteY14" fmla="*/ 1120438 h 1261480"/>
              <a:gd name="connsiteX15" fmla="*/ 563929 w 2240876"/>
              <a:gd name="connsiteY15" fmla="*/ 147977 h 1261480"/>
              <a:gd name="connsiteX16" fmla="*/ 1126857 w 2240876"/>
              <a:gd name="connsiteY16"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127516 w 2240876"/>
              <a:gd name="connsiteY7" fmla="*/ 1261480 h 1261480"/>
              <a:gd name="connsiteX8" fmla="*/ 2014155 w 2240876"/>
              <a:gd name="connsiteY8" fmla="*/ 1129650 h 1261480"/>
              <a:gd name="connsiteX9" fmla="*/ 2010243 w 2240876"/>
              <a:gd name="connsiteY9" fmla="*/ 1011442 h 1261480"/>
              <a:gd name="connsiteX10" fmla="*/ 1574575 w 2240876"/>
              <a:gd name="connsiteY10" fmla="*/ 347545 h 1261480"/>
              <a:gd name="connsiteX11" fmla="*/ 675186 w 2240876"/>
              <a:gd name="connsiteY11" fmla="*/ 342392 h 1261480"/>
              <a:gd name="connsiteX12" fmla="*/ 223997 w 2240876"/>
              <a:gd name="connsiteY12" fmla="*/ 1120438 h 1261480"/>
              <a:gd name="connsiteX13" fmla="*/ 0 w 2240876"/>
              <a:gd name="connsiteY13" fmla="*/ 1120438 h 1261480"/>
              <a:gd name="connsiteX14" fmla="*/ 563929 w 2240876"/>
              <a:gd name="connsiteY14" fmla="*/ 147977 h 1261480"/>
              <a:gd name="connsiteX15" fmla="*/ 1126857 w 2240876"/>
              <a:gd name="connsiteY15"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127516 w 2240876"/>
              <a:gd name="connsiteY6" fmla="*/ 1261480 h 1261480"/>
              <a:gd name="connsiteX7" fmla="*/ 2014155 w 2240876"/>
              <a:gd name="connsiteY7" fmla="*/ 1129650 h 1261480"/>
              <a:gd name="connsiteX8" fmla="*/ 2010243 w 2240876"/>
              <a:gd name="connsiteY8" fmla="*/ 1011442 h 1261480"/>
              <a:gd name="connsiteX9" fmla="*/ 1574575 w 2240876"/>
              <a:gd name="connsiteY9" fmla="*/ 347545 h 1261480"/>
              <a:gd name="connsiteX10" fmla="*/ 675186 w 2240876"/>
              <a:gd name="connsiteY10" fmla="*/ 342392 h 1261480"/>
              <a:gd name="connsiteX11" fmla="*/ 223997 w 2240876"/>
              <a:gd name="connsiteY11" fmla="*/ 1120438 h 1261480"/>
              <a:gd name="connsiteX12" fmla="*/ 0 w 2240876"/>
              <a:gd name="connsiteY12" fmla="*/ 1120438 h 1261480"/>
              <a:gd name="connsiteX13" fmla="*/ 563929 w 2240876"/>
              <a:gd name="connsiteY13" fmla="*/ 147977 h 1261480"/>
              <a:gd name="connsiteX14" fmla="*/ 1126857 w 2240876"/>
              <a:gd name="connsiteY14"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127516 w 2240876"/>
              <a:gd name="connsiteY5" fmla="*/ 1261480 h 1261480"/>
              <a:gd name="connsiteX6" fmla="*/ 2014155 w 2240876"/>
              <a:gd name="connsiteY6" fmla="*/ 1129650 h 1261480"/>
              <a:gd name="connsiteX7" fmla="*/ 2010243 w 2240876"/>
              <a:gd name="connsiteY7" fmla="*/ 1011442 h 1261480"/>
              <a:gd name="connsiteX8" fmla="*/ 1574575 w 2240876"/>
              <a:gd name="connsiteY8" fmla="*/ 347545 h 1261480"/>
              <a:gd name="connsiteX9" fmla="*/ 675186 w 2240876"/>
              <a:gd name="connsiteY9" fmla="*/ 342392 h 1261480"/>
              <a:gd name="connsiteX10" fmla="*/ 223997 w 2240876"/>
              <a:gd name="connsiteY10" fmla="*/ 1120438 h 1261480"/>
              <a:gd name="connsiteX11" fmla="*/ 0 w 2240876"/>
              <a:gd name="connsiteY11" fmla="*/ 1120438 h 1261480"/>
              <a:gd name="connsiteX12" fmla="*/ 563929 w 2240876"/>
              <a:gd name="connsiteY12" fmla="*/ 147977 h 1261480"/>
              <a:gd name="connsiteX13" fmla="*/ 1126857 w 2240876"/>
              <a:gd name="connsiteY13" fmla="*/ 18 h 1261480"/>
              <a:gd name="connsiteX0" fmla="*/ 1126857 w 2240602"/>
              <a:gd name="connsiteY0" fmla="*/ 18 h 1261480"/>
              <a:gd name="connsiteX1" fmla="*/ 1688053 w 2240602"/>
              <a:gd name="connsiteY1" fmla="*/ 154418 h 1261480"/>
              <a:gd name="connsiteX2" fmla="*/ 2232583 w 2240602"/>
              <a:gd name="connsiteY2" fmla="*/ 984206 h 1261480"/>
              <a:gd name="connsiteX3" fmla="*/ 2240602 w 2240602"/>
              <a:gd name="connsiteY3" fmla="*/ 1129650 h 1261480"/>
              <a:gd name="connsiteX4" fmla="*/ 2127516 w 2240602"/>
              <a:gd name="connsiteY4" fmla="*/ 1261480 h 1261480"/>
              <a:gd name="connsiteX5" fmla="*/ 2014155 w 2240602"/>
              <a:gd name="connsiteY5" fmla="*/ 1129650 h 1261480"/>
              <a:gd name="connsiteX6" fmla="*/ 2010243 w 2240602"/>
              <a:gd name="connsiteY6" fmla="*/ 1011442 h 1261480"/>
              <a:gd name="connsiteX7" fmla="*/ 1574575 w 2240602"/>
              <a:gd name="connsiteY7" fmla="*/ 347545 h 1261480"/>
              <a:gd name="connsiteX8" fmla="*/ 675186 w 2240602"/>
              <a:gd name="connsiteY8" fmla="*/ 342392 h 1261480"/>
              <a:gd name="connsiteX9" fmla="*/ 223997 w 2240602"/>
              <a:gd name="connsiteY9" fmla="*/ 1120438 h 1261480"/>
              <a:gd name="connsiteX10" fmla="*/ 0 w 2240602"/>
              <a:gd name="connsiteY10" fmla="*/ 1120438 h 1261480"/>
              <a:gd name="connsiteX11" fmla="*/ 563929 w 2240602"/>
              <a:gd name="connsiteY11" fmla="*/ 147977 h 1261480"/>
              <a:gd name="connsiteX12" fmla="*/ 1126857 w 2240602"/>
              <a:gd name="connsiteY12" fmla="*/ 18 h 126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0602" h="1261480">
                <a:moveTo>
                  <a:pt x="1126857" y="18"/>
                </a:moveTo>
                <a:cubicBezTo>
                  <a:pt x="1320989" y="1131"/>
                  <a:pt x="1514831" y="52636"/>
                  <a:pt x="1688053" y="154418"/>
                </a:cubicBezTo>
                <a:cubicBezTo>
                  <a:pt x="1991192" y="332537"/>
                  <a:pt x="2190562" y="640761"/>
                  <a:pt x="2232583" y="984206"/>
                </a:cubicBezTo>
                <a:lnTo>
                  <a:pt x="2240602" y="1129650"/>
                </a:lnTo>
                <a:lnTo>
                  <a:pt x="2127516" y="1261480"/>
                </a:lnTo>
                <a:lnTo>
                  <a:pt x="2014155" y="1129650"/>
                </a:lnTo>
                <a:lnTo>
                  <a:pt x="2010243" y="1011442"/>
                </a:lnTo>
                <a:cubicBezTo>
                  <a:pt x="1976623" y="736658"/>
                  <a:pt x="1817111" y="490054"/>
                  <a:pt x="1574575" y="347545"/>
                </a:cubicBezTo>
                <a:cubicBezTo>
                  <a:pt x="1297392" y="184677"/>
                  <a:pt x="954217" y="182711"/>
                  <a:pt x="675186" y="342392"/>
                </a:cubicBezTo>
                <a:cubicBezTo>
                  <a:pt x="396155" y="502073"/>
                  <a:pt x="223997" y="798947"/>
                  <a:pt x="223997" y="1120438"/>
                </a:cubicBezTo>
                <a:lnTo>
                  <a:pt x="0" y="1120438"/>
                </a:lnTo>
                <a:cubicBezTo>
                  <a:pt x="0" y="718615"/>
                  <a:pt x="215175" y="347558"/>
                  <a:pt x="563929" y="147977"/>
                </a:cubicBezTo>
                <a:cubicBezTo>
                  <a:pt x="738306" y="48187"/>
                  <a:pt x="932726" y="-1094"/>
                  <a:pt x="1126857" y="18"/>
                </a:cubicBezTo>
                <a:close/>
              </a:path>
            </a:pathLst>
          </a:custGeom>
          <a:solidFill>
            <a:schemeClr val="accent4"/>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32" name="Freeform 31"/>
          <p:cNvSpPr/>
          <p:nvPr/>
        </p:nvSpPr>
        <p:spPr>
          <a:xfrm>
            <a:off x="6011804" y="2532042"/>
            <a:ext cx="2364918" cy="1331471"/>
          </a:xfrm>
          <a:custGeom>
            <a:avLst/>
            <a:gdLst>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237787 w 2240876"/>
              <a:gd name="connsiteY7" fmla="*/ 1133243 h 1261480"/>
              <a:gd name="connsiteX8" fmla="*/ 2127516 w 2240876"/>
              <a:gd name="connsiteY8" fmla="*/ 1261480 h 1261480"/>
              <a:gd name="connsiteX9" fmla="*/ 2014155 w 2240876"/>
              <a:gd name="connsiteY9" fmla="*/ 1129650 h 1261480"/>
              <a:gd name="connsiteX10" fmla="*/ 2016761 w 2240876"/>
              <a:gd name="connsiteY10" fmla="*/ 1129650 h 1261480"/>
              <a:gd name="connsiteX11" fmla="*/ 2010243 w 2240876"/>
              <a:gd name="connsiteY11" fmla="*/ 1011442 h 1261480"/>
              <a:gd name="connsiteX12" fmla="*/ 1574575 w 2240876"/>
              <a:gd name="connsiteY12" fmla="*/ 347545 h 1261480"/>
              <a:gd name="connsiteX13" fmla="*/ 675186 w 2240876"/>
              <a:gd name="connsiteY13" fmla="*/ 342392 h 1261480"/>
              <a:gd name="connsiteX14" fmla="*/ 223997 w 2240876"/>
              <a:gd name="connsiteY14" fmla="*/ 1120438 h 1261480"/>
              <a:gd name="connsiteX15" fmla="*/ 0 w 2240876"/>
              <a:gd name="connsiteY15" fmla="*/ 1120438 h 1261480"/>
              <a:gd name="connsiteX16" fmla="*/ 563929 w 2240876"/>
              <a:gd name="connsiteY16" fmla="*/ 147977 h 1261480"/>
              <a:gd name="connsiteX17" fmla="*/ 1126857 w 2240876"/>
              <a:gd name="connsiteY17"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237787 w 2240876"/>
              <a:gd name="connsiteY7" fmla="*/ 1133243 h 1261480"/>
              <a:gd name="connsiteX8" fmla="*/ 2127516 w 2240876"/>
              <a:gd name="connsiteY8" fmla="*/ 1261480 h 1261480"/>
              <a:gd name="connsiteX9" fmla="*/ 2014155 w 2240876"/>
              <a:gd name="connsiteY9" fmla="*/ 1129650 h 1261480"/>
              <a:gd name="connsiteX10" fmla="*/ 2010243 w 2240876"/>
              <a:gd name="connsiteY10" fmla="*/ 1011442 h 1261480"/>
              <a:gd name="connsiteX11" fmla="*/ 1574575 w 2240876"/>
              <a:gd name="connsiteY11" fmla="*/ 347545 h 1261480"/>
              <a:gd name="connsiteX12" fmla="*/ 675186 w 2240876"/>
              <a:gd name="connsiteY12" fmla="*/ 342392 h 1261480"/>
              <a:gd name="connsiteX13" fmla="*/ 223997 w 2240876"/>
              <a:gd name="connsiteY13" fmla="*/ 1120438 h 1261480"/>
              <a:gd name="connsiteX14" fmla="*/ 0 w 2240876"/>
              <a:gd name="connsiteY14" fmla="*/ 1120438 h 1261480"/>
              <a:gd name="connsiteX15" fmla="*/ 563929 w 2240876"/>
              <a:gd name="connsiteY15" fmla="*/ 147977 h 1261480"/>
              <a:gd name="connsiteX16" fmla="*/ 1126857 w 2240876"/>
              <a:gd name="connsiteY16"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127516 w 2240876"/>
              <a:gd name="connsiteY7" fmla="*/ 1261480 h 1261480"/>
              <a:gd name="connsiteX8" fmla="*/ 2014155 w 2240876"/>
              <a:gd name="connsiteY8" fmla="*/ 1129650 h 1261480"/>
              <a:gd name="connsiteX9" fmla="*/ 2010243 w 2240876"/>
              <a:gd name="connsiteY9" fmla="*/ 1011442 h 1261480"/>
              <a:gd name="connsiteX10" fmla="*/ 1574575 w 2240876"/>
              <a:gd name="connsiteY10" fmla="*/ 347545 h 1261480"/>
              <a:gd name="connsiteX11" fmla="*/ 675186 w 2240876"/>
              <a:gd name="connsiteY11" fmla="*/ 342392 h 1261480"/>
              <a:gd name="connsiteX12" fmla="*/ 223997 w 2240876"/>
              <a:gd name="connsiteY12" fmla="*/ 1120438 h 1261480"/>
              <a:gd name="connsiteX13" fmla="*/ 0 w 2240876"/>
              <a:gd name="connsiteY13" fmla="*/ 1120438 h 1261480"/>
              <a:gd name="connsiteX14" fmla="*/ 563929 w 2240876"/>
              <a:gd name="connsiteY14" fmla="*/ 147977 h 1261480"/>
              <a:gd name="connsiteX15" fmla="*/ 1126857 w 2240876"/>
              <a:gd name="connsiteY15"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127516 w 2240876"/>
              <a:gd name="connsiteY6" fmla="*/ 1261480 h 1261480"/>
              <a:gd name="connsiteX7" fmla="*/ 2014155 w 2240876"/>
              <a:gd name="connsiteY7" fmla="*/ 1129650 h 1261480"/>
              <a:gd name="connsiteX8" fmla="*/ 2010243 w 2240876"/>
              <a:gd name="connsiteY8" fmla="*/ 1011442 h 1261480"/>
              <a:gd name="connsiteX9" fmla="*/ 1574575 w 2240876"/>
              <a:gd name="connsiteY9" fmla="*/ 347545 h 1261480"/>
              <a:gd name="connsiteX10" fmla="*/ 675186 w 2240876"/>
              <a:gd name="connsiteY10" fmla="*/ 342392 h 1261480"/>
              <a:gd name="connsiteX11" fmla="*/ 223997 w 2240876"/>
              <a:gd name="connsiteY11" fmla="*/ 1120438 h 1261480"/>
              <a:gd name="connsiteX12" fmla="*/ 0 w 2240876"/>
              <a:gd name="connsiteY12" fmla="*/ 1120438 h 1261480"/>
              <a:gd name="connsiteX13" fmla="*/ 563929 w 2240876"/>
              <a:gd name="connsiteY13" fmla="*/ 147977 h 1261480"/>
              <a:gd name="connsiteX14" fmla="*/ 1126857 w 2240876"/>
              <a:gd name="connsiteY14"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127516 w 2240876"/>
              <a:gd name="connsiteY5" fmla="*/ 1261480 h 1261480"/>
              <a:gd name="connsiteX6" fmla="*/ 2014155 w 2240876"/>
              <a:gd name="connsiteY6" fmla="*/ 1129650 h 1261480"/>
              <a:gd name="connsiteX7" fmla="*/ 2010243 w 2240876"/>
              <a:gd name="connsiteY7" fmla="*/ 1011442 h 1261480"/>
              <a:gd name="connsiteX8" fmla="*/ 1574575 w 2240876"/>
              <a:gd name="connsiteY8" fmla="*/ 347545 h 1261480"/>
              <a:gd name="connsiteX9" fmla="*/ 675186 w 2240876"/>
              <a:gd name="connsiteY9" fmla="*/ 342392 h 1261480"/>
              <a:gd name="connsiteX10" fmla="*/ 223997 w 2240876"/>
              <a:gd name="connsiteY10" fmla="*/ 1120438 h 1261480"/>
              <a:gd name="connsiteX11" fmla="*/ 0 w 2240876"/>
              <a:gd name="connsiteY11" fmla="*/ 1120438 h 1261480"/>
              <a:gd name="connsiteX12" fmla="*/ 563929 w 2240876"/>
              <a:gd name="connsiteY12" fmla="*/ 147977 h 1261480"/>
              <a:gd name="connsiteX13" fmla="*/ 1126857 w 2240876"/>
              <a:gd name="connsiteY13" fmla="*/ 18 h 1261480"/>
              <a:gd name="connsiteX0" fmla="*/ 1126857 w 2240602"/>
              <a:gd name="connsiteY0" fmla="*/ 18 h 1261480"/>
              <a:gd name="connsiteX1" fmla="*/ 1688053 w 2240602"/>
              <a:gd name="connsiteY1" fmla="*/ 154418 h 1261480"/>
              <a:gd name="connsiteX2" fmla="*/ 2232583 w 2240602"/>
              <a:gd name="connsiteY2" fmla="*/ 984206 h 1261480"/>
              <a:gd name="connsiteX3" fmla="*/ 2240602 w 2240602"/>
              <a:gd name="connsiteY3" fmla="*/ 1129650 h 1261480"/>
              <a:gd name="connsiteX4" fmla="*/ 2127516 w 2240602"/>
              <a:gd name="connsiteY4" fmla="*/ 1261480 h 1261480"/>
              <a:gd name="connsiteX5" fmla="*/ 2014155 w 2240602"/>
              <a:gd name="connsiteY5" fmla="*/ 1129650 h 1261480"/>
              <a:gd name="connsiteX6" fmla="*/ 2010243 w 2240602"/>
              <a:gd name="connsiteY6" fmla="*/ 1011442 h 1261480"/>
              <a:gd name="connsiteX7" fmla="*/ 1574575 w 2240602"/>
              <a:gd name="connsiteY7" fmla="*/ 347545 h 1261480"/>
              <a:gd name="connsiteX8" fmla="*/ 675186 w 2240602"/>
              <a:gd name="connsiteY8" fmla="*/ 342392 h 1261480"/>
              <a:gd name="connsiteX9" fmla="*/ 223997 w 2240602"/>
              <a:gd name="connsiteY9" fmla="*/ 1120438 h 1261480"/>
              <a:gd name="connsiteX10" fmla="*/ 0 w 2240602"/>
              <a:gd name="connsiteY10" fmla="*/ 1120438 h 1261480"/>
              <a:gd name="connsiteX11" fmla="*/ 563929 w 2240602"/>
              <a:gd name="connsiteY11" fmla="*/ 147977 h 1261480"/>
              <a:gd name="connsiteX12" fmla="*/ 1126857 w 2240602"/>
              <a:gd name="connsiteY12" fmla="*/ 18 h 126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0602" h="1261480">
                <a:moveTo>
                  <a:pt x="1126857" y="18"/>
                </a:moveTo>
                <a:cubicBezTo>
                  <a:pt x="1320989" y="1131"/>
                  <a:pt x="1514831" y="52636"/>
                  <a:pt x="1688053" y="154418"/>
                </a:cubicBezTo>
                <a:cubicBezTo>
                  <a:pt x="1991192" y="332537"/>
                  <a:pt x="2190562" y="640761"/>
                  <a:pt x="2232583" y="984206"/>
                </a:cubicBezTo>
                <a:lnTo>
                  <a:pt x="2240602" y="1129650"/>
                </a:lnTo>
                <a:lnTo>
                  <a:pt x="2127516" y="1261480"/>
                </a:lnTo>
                <a:lnTo>
                  <a:pt x="2014155" y="1129650"/>
                </a:lnTo>
                <a:lnTo>
                  <a:pt x="2010243" y="1011442"/>
                </a:lnTo>
                <a:cubicBezTo>
                  <a:pt x="1976623" y="736658"/>
                  <a:pt x="1817111" y="490054"/>
                  <a:pt x="1574575" y="347545"/>
                </a:cubicBezTo>
                <a:cubicBezTo>
                  <a:pt x="1297392" y="184677"/>
                  <a:pt x="954217" y="182711"/>
                  <a:pt x="675186" y="342392"/>
                </a:cubicBezTo>
                <a:cubicBezTo>
                  <a:pt x="396155" y="502073"/>
                  <a:pt x="223997" y="798947"/>
                  <a:pt x="223997" y="1120438"/>
                </a:cubicBezTo>
                <a:lnTo>
                  <a:pt x="0" y="1120438"/>
                </a:lnTo>
                <a:cubicBezTo>
                  <a:pt x="0" y="718615"/>
                  <a:pt x="215175" y="347558"/>
                  <a:pt x="563929" y="147977"/>
                </a:cubicBezTo>
                <a:cubicBezTo>
                  <a:pt x="738306" y="48187"/>
                  <a:pt x="932726" y="-1094"/>
                  <a:pt x="1126857" y="18"/>
                </a:cubicBezTo>
                <a:close/>
              </a:path>
            </a:pathLst>
          </a:custGeom>
          <a:solidFill>
            <a:schemeClr val="accent3"/>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33" name="Freeform 32"/>
          <p:cNvSpPr/>
          <p:nvPr/>
        </p:nvSpPr>
        <p:spPr>
          <a:xfrm flipV="1">
            <a:off x="3883188" y="3563124"/>
            <a:ext cx="2364918" cy="1331471"/>
          </a:xfrm>
          <a:custGeom>
            <a:avLst/>
            <a:gdLst>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237787 w 2240876"/>
              <a:gd name="connsiteY7" fmla="*/ 1133243 h 1261480"/>
              <a:gd name="connsiteX8" fmla="*/ 2127516 w 2240876"/>
              <a:gd name="connsiteY8" fmla="*/ 1261480 h 1261480"/>
              <a:gd name="connsiteX9" fmla="*/ 2014155 w 2240876"/>
              <a:gd name="connsiteY9" fmla="*/ 1129650 h 1261480"/>
              <a:gd name="connsiteX10" fmla="*/ 2016761 w 2240876"/>
              <a:gd name="connsiteY10" fmla="*/ 1129650 h 1261480"/>
              <a:gd name="connsiteX11" fmla="*/ 2010243 w 2240876"/>
              <a:gd name="connsiteY11" fmla="*/ 1011442 h 1261480"/>
              <a:gd name="connsiteX12" fmla="*/ 1574575 w 2240876"/>
              <a:gd name="connsiteY12" fmla="*/ 347545 h 1261480"/>
              <a:gd name="connsiteX13" fmla="*/ 675186 w 2240876"/>
              <a:gd name="connsiteY13" fmla="*/ 342392 h 1261480"/>
              <a:gd name="connsiteX14" fmla="*/ 223997 w 2240876"/>
              <a:gd name="connsiteY14" fmla="*/ 1120438 h 1261480"/>
              <a:gd name="connsiteX15" fmla="*/ 0 w 2240876"/>
              <a:gd name="connsiteY15" fmla="*/ 1120438 h 1261480"/>
              <a:gd name="connsiteX16" fmla="*/ 563929 w 2240876"/>
              <a:gd name="connsiteY16" fmla="*/ 147977 h 1261480"/>
              <a:gd name="connsiteX17" fmla="*/ 1126857 w 2240876"/>
              <a:gd name="connsiteY17"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237787 w 2240876"/>
              <a:gd name="connsiteY7" fmla="*/ 1133243 h 1261480"/>
              <a:gd name="connsiteX8" fmla="*/ 2127516 w 2240876"/>
              <a:gd name="connsiteY8" fmla="*/ 1261480 h 1261480"/>
              <a:gd name="connsiteX9" fmla="*/ 2014155 w 2240876"/>
              <a:gd name="connsiteY9" fmla="*/ 1129650 h 1261480"/>
              <a:gd name="connsiteX10" fmla="*/ 2010243 w 2240876"/>
              <a:gd name="connsiteY10" fmla="*/ 1011442 h 1261480"/>
              <a:gd name="connsiteX11" fmla="*/ 1574575 w 2240876"/>
              <a:gd name="connsiteY11" fmla="*/ 347545 h 1261480"/>
              <a:gd name="connsiteX12" fmla="*/ 675186 w 2240876"/>
              <a:gd name="connsiteY12" fmla="*/ 342392 h 1261480"/>
              <a:gd name="connsiteX13" fmla="*/ 223997 w 2240876"/>
              <a:gd name="connsiteY13" fmla="*/ 1120438 h 1261480"/>
              <a:gd name="connsiteX14" fmla="*/ 0 w 2240876"/>
              <a:gd name="connsiteY14" fmla="*/ 1120438 h 1261480"/>
              <a:gd name="connsiteX15" fmla="*/ 563929 w 2240876"/>
              <a:gd name="connsiteY15" fmla="*/ 147977 h 1261480"/>
              <a:gd name="connsiteX16" fmla="*/ 1126857 w 2240876"/>
              <a:gd name="connsiteY16"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127516 w 2240876"/>
              <a:gd name="connsiteY7" fmla="*/ 1261480 h 1261480"/>
              <a:gd name="connsiteX8" fmla="*/ 2014155 w 2240876"/>
              <a:gd name="connsiteY8" fmla="*/ 1129650 h 1261480"/>
              <a:gd name="connsiteX9" fmla="*/ 2010243 w 2240876"/>
              <a:gd name="connsiteY9" fmla="*/ 1011442 h 1261480"/>
              <a:gd name="connsiteX10" fmla="*/ 1574575 w 2240876"/>
              <a:gd name="connsiteY10" fmla="*/ 347545 h 1261480"/>
              <a:gd name="connsiteX11" fmla="*/ 675186 w 2240876"/>
              <a:gd name="connsiteY11" fmla="*/ 342392 h 1261480"/>
              <a:gd name="connsiteX12" fmla="*/ 223997 w 2240876"/>
              <a:gd name="connsiteY12" fmla="*/ 1120438 h 1261480"/>
              <a:gd name="connsiteX13" fmla="*/ 0 w 2240876"/>
              <a:gd name="connsiteY13" fmla="*/ 1120438 h 1261480"/>
              <a:gd name="connsiteX14" fmla="*/ 563929 w 2240876"/>
              <a:gd name="connsiteY14" fmla="*/ 147977 h 1261480"/>
              <a:gd name="connsiteX15" fmla="*/ 1126857 w 2240876"/>
              <a:gd name="connsiteY15"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127516 w 2240876"/>
              <a:gd name="connsiteY6" fmla="*/ 1261480 h 1261480"/>
              <a:gd name="connsiteX7" fmla="*/ 2014155 w 2240876"/>
              <a:gd name="connsiteY7" fmla="*/ 1129650 h 1261480"/>
              <a:gd name="connsiteX8" fmla="*/ 2010243 w 2240876"/>
              <a:gd name="connsiteY8" fmla="*/ 1011442 h 1261480"/>
              <a:gd name="connsiteX9" fmla="*/ 1574575 w 2240876"/>
              <a:gd name="connsiteY9" fmla="*/ 347545 h 1261480"/>
              <a:gd name="connsiteX10" fmla="*/ 675186 w 2240876"/>
              <a:gd name="connsiteY10" fmla="*/ 342392 h 1261480"/>
              <a:gd name="connsiteX11" fmla="*/ 223997 w 2240876"/>
              <a:gd name="connsiteY11" fmla="*/ 1120438 h 1261480"/>
              <a:gd name="connsiteX12" fmla="*/ 0 w 2240876"/>
              <a:gd name="connsiteY12" fmla="*/ 1120438 h 1261480"/>
              <a:gd name="connsiteX13" fmla="*/ 563929 w 2240876"/>
              <a:gd name="connsiteY13" fmla="*/ 147977 h 1261480"/>
              <a:gd name="connsiteX14" fmla="*/ 1126857 w 2240876"/>
              <a:gd name="connsiteY14"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127516 w 2240876"/>
              <a:gd name="connsiteY5" fmla="*/ 1261480 h 1261480"/>
              <a:gd name="connsiteX6" fmla="*/ 2014155 w 2240876"/>
              <a:gd name="connsiteY6" fmla="*/ 1129650 h 1261480"/>
              <a:gd name="connsiteX7" fmla="*/ 2010243 w 2240876"/>
              <a:gd name="connsiteY7" fmla="*/ 1011442 h 1261480"/>
              <a:gd name="connsiteX8" fmla="*/ 1574575 w 2240876"/>
              <a:gd name="connsiteY8" fmla="*/ 347545 h 1261480"/>
              <a:gd name="connsiteX9" fmla="*/ 675186 w 2240876"/>
              <a:gd name="connsiteY9" fmla="*/ 342392 h 1261480"/>
              <a:gd name="connsiteX10" fmla="*/ 223997 w 2240876"/>
              <a:gd name="connsiteY10" fmla="*/ 1120438 h 1261480"/>
              <a:gd name="connsiteX11" fmla="*/ 0 w 2240876"/>
              <a:gd name="connsiteY11" fmla="*/ 1120438 h 1261480"/>
              <a:gd name="connsiteX12" fmla="*/ 563929 w 2240876"/>
              <a:gd name="connsiteY12" fmla="*/ 147977 h 1261480"/>
              <a:gd name="connsiteX13" fmla="*/ 1126857 w 2240876"/>
              <a:gd name="connsiteY13" fmla="*/ 18 h 1261480"/>
              <a:gd name="connsiteX0" fmla="*/ 1126857 w 2240602"/>
              <a:gd name="connsiteY0" fmla="*/ 18 h 1261480"/>
              <a:gd name="connsiteX1" fmla="*/ 1688053 w 2240602"/>
              <a:gd name="connsiteY1" fmla="*/ 154418 h 1261480"/>
              <a:gd name="connsiteX2" fmla="*/ 2232583 w 2240602"/>
              <a:gd name="connsiteY2" fmla="*/ 984206 h 1261480"/>
              <a:gd name="connsiteX3" fmla="*/ 2240602 w 2240602"/>
              <a:gd name="connsiteY3" fmla="*/ 1129650 h 1261480"/>
              <a:gd name="connsiteX4" fmla="*/ 2127516 w 2240602"/>
              <a:gd name="connsiteY4" fmla="*/ 1261480 h 1261480"/>
              <a:gd name="connsiteX5" fmla="*/ 2014155 w 2240602"/>
              <a:gd name="connsiteY5" fmla="*/ 1129650 h 1261480"/>
              <a:gd name="connsiteX6" fmla="*/ 2010243 w 2240602"/>
              <a:gd name="connsiteY6" fmla="*/ 1011442 h 1261480"/>
              <a:gd name="connsiteX7" fmla="*/ 1574575 w 2240602"/>
              <a:gd name="connsiteY7" fmla="*/ 347545 h 1261480"/>
              <a:gd name="connsiteX8" fmla="*/ 675186 w 2240602"/>
              <a:gd name="connsiteY8" fmla="*/ 342392 h 1261480"/>
              <a:gd name="connsiteX9" fmla="*/ 223997 w 2240602"/>
              <a:gd name="connsiteY9" fmla="*/ 1120438 h 1261480"/>
              <a:gd name="connsiteX10" fmla="*/ 0 w 2240602"/>
              <a:gd name="connsiteY10" fmla="*/ 1120438 h 1261480"/>
              <a:gd name="connsiteX11" fmla="*/ 563929 w 2240602"/>
              <a:gd name="connsiteY11" fmla="*/ 147977 h 1261480"/>
              <a:gd name="connsiteX12" fmla="*/ 1126857 w 2240602"/>
              <a:gd name="connsiteY12" fmla="*/ 18 h 126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0602" h="1261480">
                <a:moveTo>
                  <a:pt x="1126857" y="18"/>
                </a:moveTo>
                <a:cubicBezTo>
                  <a:pt x="1320989" y="1131"/>
                  <a:pt x="1514831" y="52636"/>
                  <a:pt x="1688053" y="154418"/>
                </a:cubicBezTo>
                <a:cubicBezTo>
                  <a:pt x="1991192" y="332537"/>
                  <a:pt x="2190562" y="640761"/>
                  <a:pt x="2232583" y="984206"/>
                </a:cubicBezTo>
                <a:lnTo>
                  <a:pt x="2240602" y="1129650"/>
                </a:lnTo>
                <a:lnTo>
                  <a:pt x="2127516" y="1261480"/>
                </a:lnTo>
                <a:lnTo>
                  <a:pt x="2014155" y="1129650"/>
                </a:lnTo>
                <a:lnTo>
                  <a:pt x="2010243" y="1011442"/>
                </a:lnTo>
                <a:cubicBezTo>
                  <a:pt x="1976623" y="736658"/>
                  <a:pt x="1817111" y="490054"/>
                  <a:pt x="1574575" y="347545"/>
                </a:cubicBezTo>
                <a:cubicBezTo>
                  <a:pt x="1297392" y="184677"/>
                  <a:pt x="954217" y="182711"/>
                  <a:pt x="675186" y="342392"/>
                </a:cubicBezTo>
                <a:cubicBezTo>
                  <a:pt x="396155" y="502073"/>
                  <a:pt x="223997" y="798947"/>
                  <a:pt x="223997" y="1120438"/>
                </a:cubicBezTo>
                <a:lnTo>
                  <a:pt x="0" y="1120438"/>
                </a:lnTo>
                <a:cubicBezTo>
                  <a:pt x="0" y="718615"/>
                  <a:pt x="215175" y="347558"/>
                  <a:pt x="563929" y="147977"/>
                </a:cubicBezTo>
                <a:cubicBezTo>
                  <a:pt x="738306" y="48187"/>
                  <a:pt x="932726" y="-1094"/>
                  <a:pt x="1126857" y="18"/>
                </a:cubicBezTo>
                <a:close/>
              </a:path>
            </a:pathLst>
          </a:custGeom>
          <a:solidFill>
            <a:schemeClr val="accent2"/>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34" name="Freeform 33"/>
          <p:cNvSpPr/>
          <p:nvPr/>
        </p:nvSpPr>
        <p:spPr>
          <a:xfrm>
            <a:off x="1753509" y="2532042"/>
            <a:ext cx="2364918" cy="1331471"/>
          </a:xfrm>
          <a:custGeom>
            <a:avLst/>
            <a:gdLst>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237787 w 2240876"/>
              <a:gd name="connsiteY7" fmla="*/ 1133243 h 1261480"/>
              <a:gd name="connsiteX8" fmla="*/ 2127516 w 2240876"/>
              <a:gd name="connsiteY8" fmla="*/ 1261480 h 1261480"/>
              <a:gd name="connsiteX9" fmla="*/ 2014155 w 2240876"/>
              <a:gd name="connsiteY9" fmla="*/ 1129650 h 1261480"/>
              <a:gd name="connsiteX10" fmla="*/ 2016761 w 2240876"/>
              <a:gd name="connsiteY10" fmla="*/ 1129650 h 1261480"/>
              <a:gd name="connsiteX11" fmla="*/ 2010243 w 2240876"/>
              <a:gd name="connsiteY11" fmla="*/ 1011442 h 1261480"/>
              <a:gd name="connsiteX12" fmla="*/ 1574575 w 2240876"/>
              <a:gd name="connsiteY12" fmla="*/ 347545 h 1261480"/>
              <a:gd name="connsiteX13" fmla="*/ 675186 w 2240876"/>
              <a:gd name="connsiteY13" fmla="*/ 342392 h 1261480"/>
              <a:gd name="connsiteX14" fmla="*/ 223997 w 2240876"/>
              <a:gd name="connsiteY14" fmla="*/ 1120438 h 1261480"/>
              <a:gd name="connsiteX15" fmla="*/ 0 w 2240876"/>
              <a:gd name="connsiteY15" fmla="*/ 1120438 h 1261480"/>
              <a:gd name="connsiteX16" fmla="*/ 563929 w 2240876"/>
              <a:gd name="connsiteY16" fmla="*/ 147977 h 1261480"/>
              <a:gd name="connsiteX17" fmla="*/ 1126857 w 2240876"/>
              <a:gd name="connsiteY17"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237787 w 2240876"/>
              <a:gd name="connsiteY7" fmla="*/ 1133243 h 1261480"/>
              <a:gd name="connsiteX8" fmla="*/ 2127516 w 2240876"/>
              <a:gd name="connsiteY8" fmla="*/ 1261480 h 1261480"/>
              <a:gd name="connsiteX9" fmla="*/ 2014155 w 2240876"/>
              <a:gd name="connsiteY9" fmla="*/ 1129650 h 1261480"/>
              <a:gd name="connsiteX10" fmla="*/ 2010243 w 2240876"/>
              <a:gd name="connsiteY10" fmla="*/ 1011442 h 1261480"/>
              <a:gd name="connsiteX11" fmla="*/ 1574575 w 2240876"/>
              <a:gd name="connsiteY11" fmla="*/ 347545 h 1261480"/>
              <a:gd name="connsiteX12" fmla="*/ 675186 w 2240876"/>
              <a:gd name="connsiteY12" fmla="*/ 342392 h 1261480"/>
              <a:gd name="connsiteX13" fmla="*/ 223997 w 2240876"/>
              <a:gd name="connsiteY13" fmla="*/ 1120438 h 1261480"/>
              <a:gd name="connsiteX14" fmla="*/ 0 w 2240876"/>
              <a:gd name="connsiteY14" fmla="*/ 1120438 h 1261480"/>
              <a:gd name="connsiteX15" fmla="*/ 563929 w 2240876"/>
              <a:gd name="connsiteY15" fmla="*/ 147977 h 1261480"/>
              <a:gd name="connsiteX16" fmla="*/ 1126857 w 2240876"/>
              <a:gd name="connsiteY16"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240802 w 2240876"/>
              <a:gd name="connsiteY6" fmla="*/ 1133277 h 1261480"/>
              <a:gd name="connsiteX7" fmla="*/ 2127516 w 2240876"/>
              <a:gd name="connsiteY7" fmla="*/ 1261480 h 1261480"/>
              <a:gd name="connsiteX8" fmla="*/ 2014155 w 2240876"/>
              <a:gd name="connsiteY8" fmla="*/ 1129650 h 1261480"/>
              <a:gd name="connsiteX9" fmla="*/ 2010243 w 2240876"/>
              <a:gd name="connsiteY9" fmla="*/ 1011442 h 1261480"/>
              <a:gd name="connsiteX10" fmla="*/ 1574575 w 2240876"/>
              <a:gd name="connsiteY10" fmla="*/ 347545 h 1261480"/>
              <a:gd name="connsiteX11" fmla="*/ 675186 w 2240876"/>
              <a:gd name="connsiteY11" fmla="*/ 342392 h 1261480"/>
              <a:gd name="connsiteX12" fmla="*/ 223997 w 2240876"/>
              <a:gd name="connsiteY12" fmla="*/ 1120438 h 1261480"/>
              <a:gd name="connsiteX13" fmla="*/ 0 w 2240876"/>
              <a:gd name="connsiteY13" fmla="*/ 1120438 h 1261480"/>
              <a:gd name="connsiteX14" fmla="*/ 563929 w 2240876"/>
              <a:gd name="connsiteY14" fmla="*/ 147977 h 1261480"/>
              <a:gd name="connsiteX15" fmla="*/ 1126857 w 2240876"/>
              <a:gd name="connsiteY15"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240619 w 2240876"/>
              <a:gd name="connsiteY5" fmla="*/ 1129950 h 1261480"/>
              <a:gd name="connsiteX6" fmla="*/ 2127516 w 2240876"/>
              <a:gd name="connsiteY6" fmla="*/ 1261480 h 1261480"/>
              <a:gd name="connsiteX7" fmla="*/ 2014155 w 2240876"/>
              <a:gd name="connsiteY7" fmla="*/ 1129650 h 1261480"/>
              <a:gd name="connsiteX8" fmla="*/ 2010243 w 2240876"/>
              <a:gd name="connsiteY8" fmla="*/ 1011442 h 1261480"/>
              <a:gd name="connsiteX9" fmla="*/ 1574575 w 2240876"/>
              <a:gd name="connsiteY9" fmla="*/ 347545 h 1261480"/>
              <a:gd name="connsiteX10" fmla="*/ 675186 w 2240876"/>
              <a:gd name="connsiteY10" fmla="*/ 342392 h 1261480"/>
              <a:gd name="connsiteX11" fmla="*/ 223997 w 2240876"/>
              <a:gd name="connsiteY11" fmla="*/ 1120438 h 1261480"/>
              <a:gd name="connsiteX12" fmla="*/ 0 w 2240876"/>
              <a:gd name="connsiteY12" fmla="*/ 1120438 h 1261480"/>
              <a:gd name="connsiteX13" fmla="*/ 563929 w 2240876"/>
              <a:gd name="connsiteY13" fmla="*/ 147977 h 1261480"/>
              <a:gd name="connsiteX14" fmla="*/ 1126857 w 2240876"/>
              <a:gd name="connsiteY14" fmla="*/ 18 h 1261480"/>
              <a:gd name="connsiteX0" fmla="*/ 1126857 w 2240876"/>
              <a:gd name="connsiteY0" fmla="*/ 18 h 1261480"/>
              <a:gd name="connsiteX1" fmla="*/ 1688053 w 2240876"/>
              <a:gd name="connsiteY1" fmla="*/ 154418 h 1261480"/>
              <a:gd name="connsiteX2" fmla="*/ 2232583 w 2240876"/>
              <a:gd name="connsiteY2" fmla="*/ 984206 h 1261480"/>
              <a:gd name="connsiteX3" fmla="*/ 2240602 w 2240876"/>
              <a:gd name="connsiteY3" fmla="*/ 1129650 h 1261480"/>
              <a:gd name="connsiteX4" fmla="*/ 2240876 w 2240876"/>
              <a:gd name="connsiteY4" fmla="*/ 1129650 h 1261480"/>
              <a:gd name="connsiteX5" fmla="*/ 2127516 w 2240876"/>
              <a:gd name="connsiteY5" fmla="*/ 1261480 h 1261480"/>
              <a:gd name="connsiteX6" fmla="*/ 2014155 w 2240876"/>
              <a:gd name="connsiteY6" fmla="*/ 1129650 h 1261480"/>
              <a:gd name="connsiteX7" fmla="*/ 2010243 w 2240876"/>
              <a:gd name="connsiteY7" fmla="*/ 1011442 h 1261480"/>
              <a:gd name="connsiteX8" fmla="*/ 1574575 w 2240876"/>
              <a:gd name="connsiteY8" fmla="*/ 347545 h 1261480"/>
              <a:gd name="connsiteX9" fmla="*/ 675186 w 2240876"/>
              <a:gd name="connsiteY9" fmla="*/ 342392 h 1261480"/>
              <a:gd name="connsiteX10" fmla="*/ 223997 w 2240876"/>
              <a:gd name="connsiteY10" fmla="*/ 1120438 h 1261480"/>
              <a:gd name="connsiteX11" fmla="*/ 0 w 2240876"/>
              <a:gd name="connsiteY11" fmla="*/ 1120438 h 1261480"/>
              <a:gd name="connsiteX12" fmla="*/ 563929 w 2240876"/>
              <a:gd name="connsiteY12" fmla="*/ 147977 h 1261480"/>
              <a:gd name="connsiteX13" fmla="*/ 1126857 w 2240876"/>
              <a:gd name="connsiteY13" fmla="*/ 18 h 1261480"/>
              <a:gd name="connsiteX0" fmla="*/ 1126857 w 2240602"/>
              <a:gd name="connsiteY0" fmla="*/ 18 h 1261480"/>
              <a:gd name="connsiteX1" fmla="*/ 1688053 w 2240602"/>
              <a:gd name="connsiteY1" fmla="*/ 154418 h 1261480"/>
              <a:gd name="connsiteX2" fmla="*/ 2232583 w 2240602"/>
              <a:gd name="connsiteY2" fmla="*/ 984206 h 1261480"/>
              <a:gd name="connsiteX3" fmla="*/ 2240602 w 2240602"/>
              <a:gd name="connsiteY3" fmla="*/ 1129650 h 1261480"/>
              <a:gd name="connsiteX4" fmla="*/ 2127516 w 2240602"/>
              <a:gd name="connsiteY4" fmla="*/ 1261480 h 1261480"/>
              <a:gd name="connsiteX5" fmla="*/ 2014155 w 2240602"/>
              <a:gd name="connsiteY5" fmla="*/ 1129650 h 1261480"/>
              <a:gd name="connsiteX6" fmla="*/ 2010243 w 2240602"/>
              <a:gd name="connsiteY6" fmla="*/ 1011442 h 1261480"/>
              <a:gd name="connsiteX7" fmla="*/ 1574575 w 2240602"/>
              <a:gd name="connsiteY7" fmla="*/ 347545 h 1261480"/>
              <a:gd name="connsiteX8" fmla="*/ 675186 w 2240602"/>
              <a:gd name="connsiteY8" fmla="*/ 342392 h 1261480"/>
              <a:gd name="connsiteX9" fmla="*/ 223997 w 2240602"/>
              <a:gd name="connsiteY9" fmla="*/ 1120438 h 1261480"/>
              <a:gd name="connsiteX10" fmla="*/ 0 w 2240602"/>
              <a:gd name="connsiteY10" fmla="*/ 1120438 h 1261480"/>
              <a:gd name="connsiteX11" fmla="*/ 563929 w 2240602"/>
              <a:gd name="connsiteY11" fmla="*/ 147977 h 1261480"/>
              <a:gd name="connsiteX12" fmla="*/ 1126857 w 2240602"/>
              <a:gd name="connsiteY12" fmla="*/ 18 h 126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0602" h="1261480">
                <a:moveTo>
                  <a:pt x="1126857" y="18"/>
                </a:moveTo>
                <a:cubicBezTo>
                  <a:pt x="1320989" y="1131"/>
                  <a:pt x="1514831" y="52636"/>
                  <a:pt x="1688053" y="154418"/>
                </a:cubicBezTo>
                <a:cubicBezTo>
                  <a:pt x="1991192" y="332537"/>
                  <a:pt x="2190562" y="640761"/>
                  <a:pt x="2232583" y="984206"/>
                </a:cubicBezTo>
                <a:lnTo>
                  <a:pt x="2240602" y="1129650"/>
                </a:lnTo>
                <a:lnTo>
                  <a:pt x="2127516" y="1261480"/>
                </a:lnTo>
                <a:lnTo>
                  <a:pt x="2014155" y="1129650"/>
                </a:lnTo>
                <a:lnTo>
                  <a:pt x="2010243" y="1011442"/>
                </a:lnTo>
                <a:cubicBezTo>
                  <a:pt x="1976623" y="736658"/>
                  <a:pt x="1817111" y="490054"/>
                  <a:pt x="1574575" y="347545"/>
                </a:cubicBezTo>
                <a:cubicBezTo>
                  <a:pt x="1297392" y="184677"/>
                  <a:pt x="954217" y="182711"/>
                  <a:pt x="675186" y="342392"/>
                </a:cubicBezTo>
                <a:cubicBezTo>
                  <a:pt x="396155" y="502073"/>
                  <a:pt x="223997" y="798947"/>
                  <a:pt x="223997" y="1120438"/>
                </a:cubicBezTo>
                <a:lnTo>
                  <a:pt x="0" y="1120438"/>
                </a:lnTo>
                <a:cubicBezTo>
                  <a:pt x="0" y="718615"/>
                  <a:pt x="215175" y="347558"/>
                  <a:pt x="563929" y="147977"/>
                </a:cubicBezTo>
                <a:cubicBezTo>
                  <a:pt x="738306" y="48187"/>
                  <a:pt x="932726" y="-1094"/>
                  <a:pt x="1126857" y="18"/>
                </a:cubicBezTo>
                <a:close/>
              </a:path>
            </a:pathLst>
          </a:custGeom>
          <a:solidFill>
            <a:schemeClr val="accent1"/>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35" name="Freeform 851"/>
          <p:cNvSpPr>
            <a:spLocks noEditPoints="1"/>
          </p:cNvSpPr>
          <p:nvPr/>
        </p:nvSpPr>
        <p:spPr bwMode="auto">
          <a:xfrm>
            <a:off x="9128877" y="3449369"/>
            <a:ext cx="397532" cy="455259"/>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6" name="Freeform 1137"/>
          <p:cNvSpPr>
            <a:spLocks noEditPoints="1"/>
          </p:cNvSpPr>
          <p:nvPr/>
        </p:nvSpPr>
        <p:spPr bwMode="auto">
          <a:xfrm>
            <a:off x="4836951" y="3516887"/>
            <a:ext cx="451325" cy="409339"/>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7" name="Freeform 1147"/>
          <p:cNvSpPr>
            <a:spLocks noEditPoints="1"/>
          </p:cNvSpPr>
          <p:nvPr/>
        </p:nvSpPr>
        <p:spPr bwMode="auto">
          <a:xfrm>
            <a:off x="2677025" y="3473809"/>
            <a:ext cx="460506" cy="463131"/>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8" name="Freeform 2123"/>
          <p:cNvSpPr>
            <a:spLocks noEditPoints="1"/>
          </p:cNvSpPr>
          <p:nvPr/>
        </p:nvSpPr>
        <p:spPr bwMode="auto">
          <a:xfrm>
            <a:off x="6976459" y="3482366"/>
            <a:ext cx="417211" cy="453946"/>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9" name="Text Placeholder 6">
            <a:extLst>
              <a:ext uri="{FF2B5EF4-FFF2-40B4-BE49-F238E27FC236}">
                <a16:creationId xmlns:a16="http://schemas.microsoft.com/office/drawing/2014/main" id="{04055E07-426F-FD4D-82CC-E87038BDF44F}"/>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54730246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 circle infographic</a:t>
            </a:r>
          </a:p>
        </p:txBody>
      </p:sp>
      <p:sp>
        <p:nvSpPr>
          <p:cNvPr id="11" name="TextBox 10"/>
          <p:cNvSpPr txBox="1"/>
          <p:nvPr/>
        </p:nvSpPr>
        <p:spPr>
          <a:xfrm>
            <a:off x="8469749" y="2803137"/>
            <a:ext cx="2379062" cy="3017749"/>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3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or a noble picture, or a passage from the grander poets. It always does one good. A peep at some distant orb has power to raise and purify our thoughts like a strain of sacred music, or a noble picture, or a passage from the grander poets. It always does one good.</a:t>
            </a:r>
          </a:p>
        </p:txBody>
      </p:sp>
      <p:sp>
        <p:nvSpPr>
          <p:cNvPr id="12" name="TextBox 11"/>
          <p:cNvSpPr txBox="1"/>
          <p:nvPr/>
        </p:nvSpPr>
        <p:spPr>
          <a:xfrm>
            <a:off x="1669041" y="2803137"/>
            <a:ext cx="2128543" cy="3257815"/>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3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or a noble picture, or a passage from the grander poets. It always does one good. A peep at some distant orb has power to raise and purify our thoughts like a strain of sacred music, or a noble picture, or a passage from the grander poets. It always does one good.</a:t>
            </a:r>
          </a:p>
        </p:txBody>
      </p:sp>
      <p:sp>
        <p:nvSpPr>
          <p:cNvPr id="15" name="Freeform 29"/>
          <p:cNvSpPr>
            <a:spLocks/>
          </p:cNvSpPr>
          <p:nvPr/>
        </p:nvSpPr>
        <p:spPr bwMode="auto">
          <a:xfrm rot="19983584" flipH="1">
            <a:off x="4791261" y="2375314"/>
            <a:ext cx="2487494" cy="1644918"/>
          </a:xfrm>
          <a:custGeom>
            <a:avLst/>
            <a:gdLst>
              <a:gd name="T0" fmla="*/ 480 w 499"/>
              <a:gd name="T1" fmla="*/ 72 h 312"/>
              <a:gd name="T2" fmla="*/ 457 w 499"/>
              <a:gd name="T3" fmla="*/ 18 h 312"/>
              <a:gd name="T4" fmla="*/ 443 w 499"/>
              <a:gd name="T5" fmla="*/ 54 h 312"/>
              <a:gd name="T6" fmla="*/ 91 w 499"/>
              <a:gd name="T7" fmla="*/ 172 h 312"/>
              <a:gd name="T8" fmla="*/ 54 w 499"/>
              <a:gd name="T9" fmla="*/ 295 h 312"/>
              <a:gd name="T10" fmla="*/ 1 w 499"/>
              <a:gd name="T11" fmla="*/ 295 h 312"/>
              <a:gd name="T12" fmla="*/ 0 w 499"/>
              <a:gd name="T13" fmla="*/ 312 h 312"/>
              <a:gd name="T14" fmla="*/ 54 w 499"/>
              <a:gd name="T15" fmla="*/ 312 h 312"/>
              <a:gd name="T16" fmla="*/ 54 w 499"/>
              <a:gd name="T17" fmla="*/ 312 h 312"/>
              <a:gd name="T18" fmla="*/ 129 w 499"/>
              <a:gd name="T19" fmla="*/ 312 h 312"/>
              <a:gd name="T20" fmla="*/ 130 w 499"/>
              <a:gd name="T21" fmla="*/ 302 h 312"/>
              <a:gd name="T22" fmla="*/ 157 w 499"/>
              <a:gd name="T23" fmla="*/ 210 h 312"/>
              <a:gd name="T24" fmla="*/ 413 w 499"/>
              <a:gd name="T25" fmla="*/ 123 h 312"/>
              <a:gd name="T26" fmla="*/ 399 w 499"/>
              <a:gd name="T27" fmla="*/ 158 h 312"/>
              <a:gd name="T28" fmla="*/ 446 w 499"/>
              <a:gd name="T29" fmla="*/ 141 h 312"/>
              <a:gd name="T30" fmla="*/ 499 w 499"/>
              <a:gd name="T31" fmla="*/ 121 h 312"/>
              <a:gd name="T32" fmla="*/ 480 w 499"/>
              <a:gd name="T33" fmla="*/ 72 h 312"/>
              <a:gd name="connsiteX0" fmla="*/ 9599 w 9980"/>
              <a:gd name="connsiteY0" fmla="*/ 1731 h 9423"/>
              <a:gd name="connsiteX1" fmla="*/ 9138 w 9980"/>
              <a:gd name="connsiteY1" fmla="*/ 0 h 9423"/>
              <a:gd name="connsiteX2" fmla="*/ 8858 w 9980"/>
              <a:gd name="connsiteY2" fmla="*/ 1154 h 9423"/>
              <a:gd name="connsiteX3" fmla="*/ 1804 w 9980"/>
              <a:gd name="connsiteY3" fmla="*/ 4936 h 9423"/>
              <a:gd name="connsiteX4" fmla="*/ 1062 w 9980"/>
              <a:gd name="connsiteY4" fmla="*/ 8878 h 9423"/>
              <a:gd name="connsiteX5" fmla="*/ 0 w 9980"/>
              <a:gd name="connsiteY5" fmla="*/ 8878 h 9423"/>
              <a:gd name="connsiteX6" fmla="*/ 1062 w 9980"/>
              <a:gd name="connsiteY6" fmla="*/ 9423 h 9423"/>
              <a:gd name="connsiteX7" fmla="*/ 1062 w 9980"/>
              <a:gd name="connsiteY7" fmla="*/ 9423 h 9423"/>
              <a:gd name="connsiteX8" fmla="*/ 2565 w 9980"/>
              <a:gd name="connsiteY8" fmla="*/ 9423 h 9423"/>
              <a:gd name="connsiteX9" fmla="*/ 2585 w 9980"/>
              <a:gd name="connsiteY9" fmla="*/ 9102 h 9423"/>
              <a:gd name="connsiteX10" fmla="*/ 3126 w 9980"/>
              <a:gd name="connsiteY10" fmla="*/ 6154 h 9423"/>
              <a:gd name="connsiteX11" fmla="*/ 8257 w 9980"/>
              <a:gd name="connsiteY11" fmla="*/ 3365 h 9423"/>
              <a:gd name="connsiteX12" fmla="*/ 7976 w 9980"/>
              <a:gd name="connsiteY12" fmla="*/ 4487 h 9423"/>
              <a:gd name="connsiteX13" fmla="*/ 8918 w 9980"/>
              <a:gd name="connsiteY13" fmla="*/ 3942 h 9423"/>
              <a:gd name="connsiteX14" fmla="*/ 9980 w 9980"/>
              <a:gd name="connsiteY14" fmla="*/ 3301 h 9423"/>
              <a:gd name="connsiteX15" fmla="*/ 9599 w 9980"/>
              <a:gd name="connsiteY15" fmla="*/ 1731 h 9423"/>
              <a:gd name="connsiteX0" fmla="*/ 8554 w 8936"/>
              <a:gd name="connsiteY0" fmla="*/ 1837 h 10000"/>
              <a:gd name="connsiteX1" fmla="*/ 8092 w 8936"/>
              <a:gd name="connsiteY1" fmla="*/ 0 h 10000"/>
              <a:gd name="connsiteX2" fmla="*/ 7812 w 8936"/>
              <a:gd name="connsiteY2" fmla="*/ 1225 h 10000"/>
              <a:gd name="connsiteX3" fmla="*/ 744 w 8936"/>
              <a:gd name="connsiteY3" fmla="*/ 5238 h 10000"/>
              <a:gd name="connsiteX4" fmla="*/ 0 w 8936"/>
              <a:gd name="connsiteY4" fmla="*/ 9422 h 10000"/>
              <a:gd name="connsiteX5" fmla="*/ 0 w 8936"/>
              <a:gd name="connsiteY5" fmla="*/ 10000 h 10000"/>
              <a:gd name="connsiteX6" fmla="*/ 0 w 8936"/>
              <a:gd name="connsiteY6" fmla="*/ 10000 h 10000"/>
              <a:gd name="connsiteX7" fmla="*/ 1506 w 8936"/>
              <a:gd name="connsiteY7" fmla="*/ 10000 h 10000"/>
              <a:gd name="connsiteX8" fmla="*/ 1526 w 8936"/>
              <a:gd name="connsiteY8" fmla="*/ 9659 h 10000"/>
              <a:gd name="connsiteX9" fmla="*/ 2068 w 8936"/>
              <a:gd name="connsiteY9" fmla="*/ 6531 h 10000"/>
              <a:gd name="connsiteX10" fmla="*/ 7210 w 8936"/>
              <a:gd name="connsiteY10" fmla="*/ 3571 h 10000"/>
              <a:gd name="connsiteX11" fmla="*/ 6928 w 8936"/>
              <a:gd name="connsiteY11" fmla="*/ 4762 h 10000"/>
              <a:gd name="connsiteX12" fmla="*/ 7872 w 8936"/>
              <a:gd name="connsiteY12" fmla="*/ 4183 h 10000"/>
              <a:gd name="connsiteX13" fmla="*/ 8936 w 8936"/>
              <a:gd name="connsiteY13" fmla="*/ 3503 h 10000"/>
              <a:gd name="connsiteX14" fmla="*/ 8554 w 8936"/>
              <a:gd name="connsiteY14" fmla="*/ 1837 h 10000"/>
              <a:gd name="connsiteX0" fmla="*/ 9573 w 10000"/>
              <a:gd name="connsiteY0" fmla="*/ 1837 h 10000"/>
              <a:gd name="connsiteX1" fmla="*/ 9056 w 10000"/>
              <a:gd name="connsiteY1" fmla="*/ 0 h 10000"/>
              <a:gd name="connsiteX2" fmla="*/ 8742 w 10000"/>
              <a:gd name="connsiteY2" fmla="*/ 1225 h 10000"/>
              <a:gd name="connsiteX3" fmla="*/ 833 w 10000"/>
              <a:gd name="connsiteY3" fmla="*/ 5238 h 10000"/>
              <a:gd name="connsiteX4" fmla="*/ 0 w 10000"/>
              <a:gd name="connsiteY4" fmla="*/ 9422 h 10000"/>
              <a:gd name="connsiteX5" fmla="*/ 0 w 10000"/>
              <a:gd name="connsiteY5" fmla="*/ 10000 h 10000"/>
              <a:gd name="connsiteX6" fmla="*/ 0 w 10000"/>
              <a:gd name="connsiteY6" fmla="*/ 10000 h 10000"/>
              <a:gd name="connsiteX7" fmla="*/ 846 w 10000"/>
              <a:gd name="connsiteY7" fmla="*/ 9974 h 10000"/>
              <a:gd name="connsiteX8" fmla="*/ 1685 w 10000"/>
              <a:gd name="connsiteY8" fmla="*/ 10000 h 10000"/>
              <a:gd name="connsiteX9" fmla="*/ 1708 w 10000"/>
              <a:gd name="connsiteY9" fmla="*/ 9659 h 10000"/>
              <a:gd name="connsiteX10" fmla="*/ 2314 w 10000"/>
              <a:gd name="connsiteY10" fmla="*/ 6531 h 10000"/>
              <a:gd name="connsiteX11" fmla="*/ 8068 w 10000"/>
              <a:gd name="connsiteY11" fmla="*/ 3571 h 10000"/>
              <a:gd name="connsiteX12" fmla="*/ 7753 w 10000"/>
              <a:gd name="connsiteY12" fmla="*/ 4762 h 10000"/>
              <a:gd name="connsiteX13" fmla="*/ 8809 w 10000"/>
              <a:gd name="connsiteY13" fmla="*/ 4183 h 10000"/>
              <a:gd name="connsiteX14" fmla="*/ 10000 w 10000"/>
              <a:gd name="connsiteY14" fmla="*/ 3503 h 10000"/>
              <a:gd name="connsiteX15" fmla="*/ 9573 w 10000"/>
              <a:gd name="connsiteY15" fmla="*/ 1837 h 10000"/>
              <a:gd name="connsiteX0" fmla="*/ 9573 w 10000"/>
              <a:gd name="connsiteY0" fmla="*/ 1837 h 10000"/>
              <a:gd name="connsiteX1" fmla="*/ 9056 w 10000"/>
              <a:gd name="connsiteY1" fmla="*/ 0 h 10000"/>
              <a:gd name="connsiteX2" fmla="*/ 8742 w 10000"/>
              <a:gd name="connsiteY2" fmla="*/ 1225 h 10000"/>
              <a:gd name="connsiteX3" fmla="*/ 833 w 10000"/>
              <a:gd name="connsiteY3" fmla="*/ 5238 h 10000"/>
              <a:gd name="connsiteX4" fmla="*/ 0 w 10000"/>
              <a:gd name="connsiteY4" fmla="*/ 9422 h 10000"/>
              <a:gd name="connsiteX5" fmla="*/ 0 w 10000"/>
              <a:gd name="connsiteY5" fmla="*/ 10000 h 10000"/>
              <a:gd name="connsiteX6" fmla="*/ 0 w 10000"/>
              <a:gd name="connsiteY6" fmla="*/ 10000 h 10000"/>
              <a:gd name="connsiteX7" fmla="*/ 898 w 10000"/>
              <a:gd name="connsiteY7" fmla="*/ 9085 h 10000"/>
              <a:gd name="connsiteX8" fmla="*/ 1685 w 10000"/>
              <a:gd name="connsiteY8" fmla="*/ 10000 h 10000"/>
              <a:gd name="connsiteX9" fmla="*/ 1708 w 10000"/>
              <a:gd name="connsiteY9" fmla="*/ 9659 h 10000"/>
              <a:gd name="connsiteX10" fmla="*/ 2314 w 10000"/>
              <a:gd name="connsiteY10" fmla="*/ 6531 h 10000"/>
              <a:gd name="connsiteX11" fmla="*/ 8068 w 10000"/>
              <a:gd name="connsiteY11" fmla="*/ 3571 h 10000"/>
              <a:gd name="connsiteX12" fmla="*/ 7753 w 10000"/>
              <a:gd name="connsiteY12" fmla="*/ 4762 h 10000"/>
              <a:gd name="connsiteX13" fmla="*/ 8809 w 10000"/>
              <a:gd name="connsiteY13" fmla="*/ 4183 h 10000"/>
              <a:gd name="connsiteX14" fmla="*/ 10000 w 10000"/>
              <a:gd name="connsiteY14" fmla="*/ 3503 h 10000"/>
              <a:gd name="connsiteX15" fmla="*/ 9573 w 10000"/>
              <a:gd name="connsiteY15" fmla="*/ 183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00" h="10000">
                <a:moveTo>
                  <a:pt x="9573" y="1837"/>
                </a:moveTo>
                <a:lnTo>
                  <a:pt x="9056" y="0"/>
                </a:lnTo>
                <a:cubicBezTo>
                  <a:pt x="8951" y="408"/>
                  <a:pt x="8846" y="817"/>
                  <a:pt x="8742" y="1225"/>
                </a:cubicBezTo>
                <a:cubicBezTo>
                  <a:pt x="5844" y="-612"/>
                  <a:pt x="2451" y="1020"/>
                  <a:pt x="833" y="5238"/>
                </a:cubicBezTo>
                <a:cubicBezTo>
                  <a:pt x="338" y="6565"/>
                  <a:pt x="67" y="7993"/>
                  <a:pt x="0" y="9422"/>
                </a:cubicBezTo>
                <a:lnTo>
                  <a:pt x="0" y="10000"/>
                </a:lnTo>
                <a:lnTo>
                  <a:pt x="0" y="10000"/>
                </a:lnTo>
                <a:lnTo>
                  <a:pt x="898" y="9085"/>
                </a:lnTo>
                <a:lnTo>
                  <a:pt x="1685" y="10000"/>
                </a:lnTo>
                <a:cubicBezTo>
                  <a:pt x="1693" y="9886"/>
                  <a:pt x="1700" y="9773"/>
                  <a:pt x="1708" y="9659"/>
                </a:cubicBezTo>
                <a:cubicBezTo>
                  <a:pt x="1730" y="8572"/>
                  <a:pt x="1934" y="7517"/>
                  <a:pt x="2314" y="6531"/>
                </a:cubicBezTo>
                <a:cubicBezTo>
                  <a:pt x="3483" y="3435"/>
                  <a:pt x="5978" y="2245"/>
                  <a:pt x="8068" y="3571"/>
                </a:cubicBezTo>
                <a:lnTo>
                  <a:pt x="7753" y="4762"/>
                </a:lnTo>
                <a:lnTo>
                  <a:pt x="8809" y="4183"/>
                </a:lnTo>
                <a:lnTo>
                  <a:pt x="10000" y="3503"/>
                </a:lnTo>
                <a:lnTo>
                  <a:pt x="9573" y="1837"/>
                </a:lnTo>
                <a:close/>
              </a:path>
            </a:pathLst>
          </a:custGeom>
          <a:gradFill>
            <a:gsLst>
              <a:gs pos="0">
                <a:schemeClr val="accent1"/>
              </a:gs>
              <a:gs pos="69000">
                <a:schemeClr val="accent3"/>
              </a:gs>
            </a:gsLst>
            <a:lin ang="7200000" scaled="0"/>
          </a:gradFill>
          <a:ln w="25400">
            <a:noFill/>
            <a:miter lim="800000"/>
          </a:ln>
          <a:effectLst/>
        </p:spPr>
        <p:txBody>
          <a:bodyPr vert="horz" wrap="square" lIns="91440" tIns="45720" rIns="91440" bIns="45720" numCol="1" anchor="t" anchorCtr="0" compatLnSpc="1">
            <a:prstTxWarp prst="textNoShape">
              <a:avLst/>
            </a:prstTxWarp>
          </a:bodyPr>
          <a:lstStyle/>
          <a:p>
            <a:endParaRPr lang="ko-KR" altLang="en-US" dirty="0">
              <a:latin typeface="Montserrat Light" charset="0"/>
            </a:endParaRPr>
          </a:p>
        </p:txBody>
      </p:sp>
      <p:sp>
        <p:nvSpPr>
          <p:cNvPr id="16" name="Freeform 30"/>
          <p:cNvSpPr>
            <a:spLocks/>
          </p:cNvSpPr>
          <p:nvPr/>
        </p:nvSpPr>
        <p:spPr bwMode="auto">
          <a:xfrm rot="19983584" flipH="1">
            <a:off x="4908186" y="4394873"/>
            <a:ext cx="2493037" cy="1644107"/>
          </a:xfrm>
          <a:custGeom>
            <a:avLst/>
            <a:gdLst>
              <a:gd name="T0" fmla="*/ 20 w 499"/>
              <a:gd name="T1" fmla="*/ 240 h 313"/>
              <a:gd name="T2" fmla="*/ 42 w 499"/>
              <a:gd name="T3" fmla="*/ 294 h 313"/>
              <a:gd name="T4" fmla="*/ 57 w 499"/>
              <a:gd name="T5" fmla="*/ 259 h 313"/>
              <a:gd name="T6" fmla="*/ 408 w 499"/>
              <a:gd name="T7" fmla="*/ 141 h 313"/>
              <a:gd name="T8" fmla="*/ 445 w 499"/>
              <a:gd name="T9" fmla="*/ 18 h 313"/>
              <a:gd name="T10" fmla="*/ 499 w 499"/>
              <a:gd name="T11" fmla="*/ 18 h 313"/>
              <a:gd name="T12" fmla="*/ 499 w 499"/>
              <a:gd name="T13" fmla="*/ 0 h 313"/>
              <a:gd name="T14" fmla="*/ 446 w 499"/>
              <a:gd name="T15" fmla="*/ 0 h 313"/>
              <a:gd name="T16" fmla="*/ 446 w 499"/>
              <a:gd name="T17" fmla="*/ 0 h 313"/>
              <a:gd name="T18" fmla="*/ 370 w 499"/>
              <a:gd name="T19" fmla="*/ 0 h 313"/>
              <a:gd name="T20" fmla="*/ 370 w 499"/>
              <a:gd name="T21" fmla="*/ 11 h 313"/>
              <a:gd name="T22" fmla="*/ 343 w 499"/>
              <a:gd name="T23" fmla="*/ 103 h 313"/>
              <a:gd name="T24" fmla="*/ 86 w 499"/>
              <a:gd name="T25" fmla="*/ 189 h 313"/>
              <a:gd name="T26" fmla="*/ 101 w 499"/>
              <a:gd name="T27" fmla="*/ 154 h 313"/>
              <a:gd name="T28" fmla="*/ 53 w 499"/>
              <a:gd name="T29" fmla="*/ 172 h 313"/>
              <a:gd name="T30" fmla="*/ 0 w 499"/>
              <a:gd name="T31" fmla="*/ 192 h 313"/>
              <a:gd name="T32" fmla="*/ 20 w 499"/>
              <a:gd name="T33" fmla="*/ 240 h 313"/>
              <a:gd name="connsiteX0" fmla="*/ 401 w 10000"/>
              <a:gd name="connsiteY0" fmla="*/ 7668 h 9393"/>
              <a:gd name="connsiteX1" fmla="*/ 842 w 10000"/>
              <a:gd name="connsiteY1" fmla="*/ 9393 h 9393"/>
              <a:gd name="connsiteX2" fmla="*/ 1142 w 10000"/>
              <a:gd name="connsiteY2" fmla="*/ 8275 h 9393"/>
              <a:gd name="connsiteX3" fmla="*/ 8176 w 10000"/>
              <a:gd name="connsiteY3" fmla="*/ 4505 h 9393"/>
              <a:gd name="connsiteX4" fmla="*/ 8918 w 10000"/>
              <a:gd name="connsiteY4" fmla="*/ 575 h 9393"/>
              <a:gd name="connsiteX5" fmla="*/ 10000 w 10000"/>
              <a:gd name="connsiteY5" fmla="*/ 0 h 9393"/>
              <a:gd name="connsiteX6" fmla="*/ 8938 w 10000"/>
              <a:gd name="connsiteY6" fmla="*/ 0 h 9393"/>
              <a:gd name="connsiteX7" fmla="*/ 8938 w 10000"/>
              <a:gd name="connsiteY7" fmla="*/ 0 h 9393"/>
              <a:gd name="connsiteX8" fmla="*/ 7415 w 10000"/>
              <a:gd name="connsiteY8" fmla="*/ 0 h 9393"/>
              <a:gd name="connsiteX9" fmla="*/ 7415 w 10000"/>
              <a:gd name="connsiteY9" fmla="*/ 351 h 9393"/>
              <a:gd name="connsiteX10" fmla="*/ 6874 w 10000"/>
              <a:gd name="connsiteY10" fmla="*/ 3291 h 9393"/>
              <a:gd name="connsiteX11" fmla="*/ 1723 w 10000"/>
              <a:gd name="connsiteY11" fmla="*/ 6038 h 9393"/>
              <a:gd name="connsiteX12" fmla="*/ 2024 w 10000"/>
              <a:gd name="connsiteY12" fmla="*/ 4920 h 9393"/>
              <a:gd name="connsiteX13" fmla="*/ 1062 w 10000"/>
              <a:gd name="connsiteY13" fmla="*/ 5495 h 9393"/>
              <a:gd name="connsiteX14" fmla="*/ 0 w 10000"/>
              <a:gd name="connsiteY14" fmla="*/ 6134 h 9393"/>
              <a:gd name="connsiteX15" fmla="*/ 401 w 10000"/>
              <a:gd name="connsiteY15" fmla="*/ 7668 h 9393"/>
              <a:gd name="connsiteX0" fmla="*/ 401 w 8938"/>
              <a:gd name="connsiteY0" fmla="*/ 8164 h 10000"/>
              <a:gd name="connsiteX1" fmla="*/ 842 w 8938"/>
              <a:gd name="connsiteY1" fmla="*/ 10000 h 10000"/>
              <a:gd name="connsiteX2" fmla="*/ 1142 w 8938"/>
              <a:gd name="connsiteY2" fmla="*/ 8810 h 10000"/>
              <a:gd name="connsiteX3" fmla="*/ 8176 w 8938"/>
              <a:gd name="connsiteY3" fmla="*/ 4796 h 10000"/>
              <a:gd name="connsiteX4" fmla="*/ 8918 w 8938"/>
              <a:gd name="connsiteY4" fmla="*/ 612 h 10000"/>
              <a:gd name="connsiteX5" fmla="*/ 8938 w 8938"/>
              <a:gd name="connsiteY5" fmla="*/ 0 h 10000"/>
              <a:gd name="connsiteX6" fmla="*/ 8938 w 8938"/>
              <a:gd name="connsiteY6" fmla="*/ 0 h 10000"/>
              <a:gd name="connsiteX7" fmla="*/ 7415 w 8938"/>
              <a:gd name="connsiteY7" fmla="*/ 0 h 10000"/>
              <a:gd name="connsiteX8" fmla="*/ 7415 w 8938"/>
              <a:gd name="connsiteY8" fmla="*/ 374 h 10000"/>
              <a:gd name="connsiteX9" fmla="*/ 6874 w 8938"/>
              <a:gd name="connsiteY9" fmla="*/ 3504 h 10000"/>
              <a:gd name="connsiteX10" fmla="*/ 1723 w 8938"/>
              <a:gd name="connsiteY10" fmla="*/ 6428 h 10000"/>
              <a:gd name="connsiteX11" fmla="*/ 2024 w 8938"/>
              <a:gd name="connsiteY11" fmla="*/ 5238 h 10000"/>
              <a:gd name="connsiteX12" fmla="*/ 1062 w 8938"/>
              <a:gd name="connsiteY12" fmla="*/ 5850 h 10000"/>
              <a:gd name="connsiteX13" fmla="*/ 0 w 8938"/>
              <a:gd name="connsiteY13" fmla="*/ 6530 h 10000"/>
              <a:gd name="connsiteX14" fmla="*/ 401 w 8938"/>
              <a:gd name="connsiteY14" fmla="*/ 8164 h 10000"/>
              <a:gd name="connsiteX0" fmla="*/ 449 w 10000"/>
              <a:gd name="connsiteY0" fmla="*/ 8194 h 10030"/>
              <a:gd name="connsiteX1" fmla="*/ 942 w 10000"/>
              <a:gd name="connsiteY1" fmla="*/ 10030 h 10030"/>
              <a:gd name="connsiteX2" fmla="*/ 1278 w 10000"/>
              <a:gd name="connsiteY2" fmla="*/ 8840 h 10030"/>
              <a:gd name="connsiteX3" fmla="*/ 9147 w 10000"/>
              <a:gd name="connsiteY3" fmla="*/ 4826 h 10030"/>
              <a:gd name="connsiteX4" fmla="*/ 9978 w 10000"/>
              <a:gd name="connsiteY4" fmla="*/ 642 h 10030"/>
              <a:gd name="connsiteX5" fmla="*/ 10000 w 10000"/>
              <a:gd name="connsiteY5" fmla="*/ 30 h 10030"/>
              <a:gd name="connsiteX6" fmla="*/ 10000 w 10000"/>
              <a:gd name="connsiteY6" fmla="*/ 30 h 10030"/>
              <a:gd name="connsiteX7" fmla="*/ 9157 w 10000"/>
              <a:gd name="connsiteY7" fmla="*/ 0 h 10030"/>
              <a:gd name="connsiteX8" fmla="*/ 8296 w 10000"/>
              <a:gd name="connsiteY8" fmla="*/ 30 h 10030"/>
              <a:gd name="connsiteX9" fmla="*/ 8296 w 10000"/>
              <a:gd name="connsiteY9" fmla="*/ 404 h 10030"/>
              <a:gd name="connsiteX10" fmla="*/ 7691 w 10000"/>
              <a:gd name="connsiteY10" fmla="*/ 3534 h 10030"/>
              <a:gd name="connsiteX11" fmla="*/ 1928 w 10000"/>
              <a:gd name="connsiteY11" fmla="*/ 6458 h 10030"/>
              <a:gd name="connsiteX12" fmla="*/ 2264 w 10000"/>
              <a:gd name="connsiteY12" fmla="*/ 5268 h 10030"/>
              <a:gd name="connsiteX13" fmla="*/ 1188 w 10000"/>
              <a:gd name="connsiteY13" fmla="*/ 5880 h 10030"/>
              <a:gd name="connsiteX14" fmla="*/ 0 w 10000"/>
              <a:gd name="connsiteY14" fmla="*/ 6560 h 10030"/>
              <a:gd name="connsiteX15" fmla="*/ 449 w 10000"/>
              <a:gd name="connsiteY15" fmla="*/ 8194 h 10030"/>
              <a:gd name="connsiteX0" fmla="*/ 449 w 10000"/>
              <a:gd name="connsiteY0" fmla="*/ 8164 h 10000"/>
              <a:gd name="connsiteX1" fmla="*/ 942 w 10000"/>
              <a:gd name="connsiteY1" fmla="*/ 10000 h 10000"/>
              <a:gd name="connsiteX2" fmla="*/ 1278 w 10000"/>
              <a:gd name="connsiteY2" fmla="*/ 8810 h 10000"/>
              <a:gd name="connsiteX3" fmla="*/ 9147 w 10000"/>
              <a:gd name="connsiteY3" fmla="*/ 4796 h 10000"/>
              <a:gd name="connsiteX4" fmla="*/ 9978 w 10000"/>
              <a:gd name="connsiteY4" fmla="*/ 612 h 10000"/>
              <a:gd name="connsiteX5" fmla="*/ 10000 w 10000"/>
              <a:gd name="connsiteY5" fmla="*/ 0 h 10000"/>
              <a:gd name="connsiteX6" fmla="*/ 10000 w 10000"/>
              <a:gd name="connsiteY6" fmla="*/ 0 h 10000"/>
              <a:gd name="connsiteX7" fmla="*/ 9112 w 10000"/>
              <a:gd name="connsiteY7" fmla="*/ 881 h 10000"/>
              <a:gd name="connsiteX8" fmla="*/ 8296 w 10000"/>
              <a:gd name="connsiteY8" fmla="*/ 0 h 10000"/>
              <a:gd name="connsiteX9" fmla="*/ 8296 w 10000"/>
              <a:gd name="connsiteY9" fmla="*/ 374 h 10000"/>
              <a:gd name="connsiteX10" fmla="*/ 7691 w 10000"/>
              <a:gd name="connsiteY10" fmla="*/ 3504 h 10000"/>
              <a:gd name="connsiteX11" fmla="*/ 1928 w 10000"/>
              <a:gd name="connsiteY11" fmla="*/ 6428 h 10000"/>
              <a:gd name="connsiteX12" fmla="*/ 2264 w 10000"/>
              <a:gd name="connsiteY12" fmla="*/ 5238 h 10000"/>
              <a:gd name="connsiteX13" fmla="*/ 1188 w 10000"/>
              <a:gd name="connsiteY13" fmla="*/ 5850 h 10000"/>
              <a:gd name="connsiteX14" fmla="*/ 0 w 10000"/>
              <a:gd name="connsiteY14" fmla="*/ 6530 h 10000"/>
              <a:gd name="connsiteX15" fmla="*/ 449 w 10000"/>
              <a:gd name="connsiteY15" fmla="*/ 816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00" h="10000">
                <a:moveTo>
                  <a:pt x="449" y="8164"/>
                </a:moveTo>
                <a:lnTo>
                  <a:pt x="942" y="10000"/>
                </a:lnTo>
                <a:lnTo>
                  <a:pt x="1278" y="8810"/>
                </a:lnTo>
                <a:cubicBezTo>
                  <a:pt x="4147" y="10646"/>
                  <a:pt x="7557" y="8980"/>
                  <a:pt x="9147" y="4796"/>
                </a:cubicBezTo>
                <a:cubicBezTo>
                  <a:pt x="9663" y="3470"/>
                  <a:pt x="9933" y="2041"/>
                  <a:pt x="9978" y="612"/>
                </a:cubicBezTo>
                <a:cubicBezTo>
                  <a:pt x="9985" y="408"/>
                  <a:pt x="9992" y="204"/>
                  <a:pt x="10000" y="0"/>
                </a:cubicBezTo>
                <a:lnTo>
                  <a:pt x="10000" y="0"/>
                </a:lnTo>
                <a:lnTo>
                  <a:pt x="9112" y="881"/>
                </a:lnTo>
                <a:lnTo>
                  <a:pt x="8296" y="0"/>
                </a:lnTo>
                <a:lnTo>
                  <a:pt x="8296" y="374"/>
                </a:lnTo>
                <a:cubicBezTo>
                  <a:pt x="8251" y="1429"/>
                  <a:pt x="8071" y="2517"/>
                  <a:pt x="7691" y="3504"/>
                </a:cubicBezTo>
                <a:cubicBezTo>
                  <a:pt x="6503" y="6564"/>
                  <a:pt x="4036" y="7789"/>
                  <a:pt x="1928" y="6428"/>
                </a:cubicBezTo>
                <a:cubicBezTo>
                  <a:pt x="2040" y="6031"/>
                  <a:pt x="2153" y="5635"/>
                  <a:pt x="2264" y="5238"/>
                </a:cubicBezTo>
                <a:lnTo>
                  <a:pt x="1188" y="5850"/>
                </a:lnTo>
                <a:lnTo>
                  <a:pt x="0" y="6530"/>
                </a:lnTo>
                <a:cubicBezTo>
                  <a:pt x="150" y="7074"/>
                  <a:pt x="299" y="7620"/>
                  <a:pt x="449" y="8164"/>
                </a:cubicBezTo>
                <a:close/>
              </a:path>
            </a:pathLst>
          </a:custGeom>
          <a:gradFill>
            <a:gsLst>
              <a:gs pos="0">
                <a:schemeClr val="accent1"/>
              </a:gs>
              <a:gs pos="84000">
                <a:schemeClr val="accent3"/>
              </a:gs>
            </a:gsLst>
            <a:lin ang="8400000" scaled="0"/>
          </a:gradFill>
          <a:ln w="25400">
            <a:noFill/>
            <a:miter lim="800000"/>
          </a:ln>
          <a:effectLst/>
        </p:spPr>
        <p:txBody>
          <a:bodyPr vert="horz" wrap="square" lIns="91440" tIns="45720" rIns="91440" bIns="45720" numCol="1" anchor="t" anchorCtr="0" compatLnSpc="1">
            <a:prstTxWarp prst="textNoShape">
              <a:avLst/>
            </a:prstTxWarp>
          </a:bodyPr>
          <a:lstStyle/>
          <a:p>
            <a:endParaRPr lang="ko-KR" altLang="en-US" dirty="0">
              <a:latin typeface="Montserrat Light" charset="0"/>
            </a:endParaRPr>
          </a:p>
        </p:txBody>
      </p:sp>
      <p:sp>
        <p:nvSpPr>
          <p:cNvPr id="17" name="타원 34"/>
          <p:cNvSpPr/>
          <p:nvPr/>
        </p:nvSpPr>
        <p:spPr>
          <a:xfrm rot="19983584" flipH="1">
            <a:off x="7115684" y="3752560"/>
            <a:ext cx="974471" cy="974469"/>
          </a:xfrm>
          <a:prstGeom prst="ellipse">
            <a:avLst/>
          </a:prstGeom>
          <a:solidFill>
            <a:schemeClr val="accent3"/>
          </a:solidFill>
          <a:ln w="25400">
            <a:noFill/>
          </a:ln>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274320" rIns="0" bIns="0" numCol="1" spcCol="0" rtlCol="0" fromWordArt="0" anchor="ctr" anchorCtr="0" forceAA="0" compatLnSpc="1">
            <a:prstTxWarp prst="textNoShape">
              <a:avLst/>
            </a:prstTxWarp>
            <a:noAutofit/>
          </a:bodyPr>
          <a:lstStyle/>
          <a:p>
            <a:pPr lvl="0" algn="ctr">
              <a:lnSpc>
                <a:spcPts val="1200"/>
              </a:lnSpc>
            </a:pPr>
            <a:endParaRPr lang="ko-KR" altLang="en-US" sz="3600" dirty="0">
              <a:solidFill>
                <a:srgbClr val="FEFFFF"/>
              </a:solidFill>
              <a:latin typeface="Montserrat Light" charset="0"/>
              <a:ea typeface="Montserrat Light" charset="0"/>
              <a:cs typeface="Montserrat Light" charset="0"/>
            </a:endParaRPr>
          </a:p>
        </p:txBody>
      </p:sp>
      <p:sp>
        <p:nvSpPr>
          <p:cNvPr id="18" name="타원 30"/>
          <p:cNvSpPr/>
          <p:nvPr/>
        </p:nvSpPr>
        <p:spPr>
          <a:xfrm rot="19983584" flipH="1">
            <a:off x="4141907" y="3764882"/>
            <a:ext cx="974471" cy="974469"/>
          </a:xfrm>
          <a:prstGeom prst="ellipse">
            <a:avLst/>
          </a:prstGeom>
          <a:solidFill>
            <a:schemeClr val="accent1"/>
          </a:solidFill>
          <a:ln w="25400">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274320" rIns="0" bIns="0" numCol="1" spcCol="0" rtlCol="0" fromWordArt="0" anchor="ctr" anchorCtr="0" forceAA="0" compatLnSpc="1">
            <a:prstTxWarp prst="textNoShape">
              <a:avLst/>
            </a:prstTxWarp>
            <a:noAutofit/>
          </a:bodyPr>
          <a:lstStyle/>
          <a:p>
            <a:pPr algn="ctr">
              <a:lnSpc>
                <a:spcPts val="1200"/>
              </a:lnSpc>
            </a:pPr>
            <a:endParaRPr lang="ko-KR" altLang="en-US" sz="3600" dirty="0">
              <a:solidFill>
                <a:srgbClr val="FEFFFF"/>
              </a:solidFill>
              <a:latin typeface="Montserrat Light" charset="0"/>
              <a:ea typeface="Montserrat Light" charset="0"/>
              <a:cs typeface="Montserrat Light" charset="0"/>
            </a:endParaRPr>
          </a:p>
        </p:txBody>
      </p:sp>
      <p:sp>
        <p:nvSpPr>
          <p:cNvPr id="19" name="Freeform 851"/>
          <p:cNvSpPr>
            <a:spLocks noEditPoints="1"/>
          </p:cNvSpPr>
          <p:nvPr/>
        </p:nvSpPr>
        <p:spPr bwMode="auto">
          <a:xfrm>
            <a:off x="4431625" y="4011799"/>
            <a:ext cx="397532" cy="455259"/>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0" name="Freeform 2123"/>
          <p:cNvSpPr>
            <a:spLocks noEditPoints="1"/>
          </p:cNvSpPr>
          <p:nvPr/>
        </p:nvSpPr>
        <p:spPr bwMode="auto">
          <a:xfrm>
            <a:off x="7394313" y="4011799"/>
            <a:ext cx="417211" cy="453946"/>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3" name="Text Placeholder 6">
            <a:extLst>
              <a:ext uri="{FF2B5EF4-FFF2-40B4-BE49-F238E27FC236}">
                <a16:creationId xmlns:a16="http://schemas.microsoft.com/office/drawing/2014/main" id="{7F69E015-B4F0-E549-9842-CF62472C7C13}"/>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84718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1CBA43-75A0-8A4F-B1D7-70F7950C742D}"/>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198B9AE1-B55E-DC40-BCDB-5CD76F9F1BEF}"/>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C4083B97-24B9-DD4B-87DB-64B64BD30637}"/>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172A431E-F104-D249-B443-CC0B634E3D49}"/>
              </a:ext>
            </a:extLst>
          </p:cNvPr>
          <p:cNvSpPr>
            <a:spLocks noGrp="1"/>
          </p:cNvSpPr>
          <p:nvPr>
            <p:ph type="body" sz="quarter" idx="14"/>
          </p:nvPr>
        </p:nvSpPr>
        <p:spPr/>
        <p:txBody>
          <a:bodyPr/>
          <a:lstStyle/>
          <a:p>
            <a:endParaRPr lang="en-US"/>
          </a:p>
        </p:txBody>
      </p:sp>
      <p:sp>
        <p:nvSpPr>
          <p:cNvPr id="6" name="Text Placeholder 5">
            <a:extLst>
              <a:ext uri="{FF2B5EF4-FFF2-40B4-BE49-F238E27FC236}">
                <a16:creationId xmlns:a16="http://schemas.microsoft.com/office/drawing/2014/main" id="{2054717E-B088-8C44-A572-B4C5886C86CB}"/>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2551655B-096B-4C42-808F-0E138A6A83D7}"/>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EB85F3C3-5E14-2E46-9F6B-89A1ECDA278F}"/>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53C9A9A3-D68A-EA4E-B195-8AA2D8889AA5}"/>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5690D135-03DD-C846-9835-383118BFE2C8}"/>
              </a:ext>
            </a:extLst>
          </p:cNvPr>
          <p:cNvSpPr>
            <a:spLocks noGrp="1"/>
          </p:cNvSpPr>
          <p:nvPr>
            <p:ph type="body" sz="quarter" idx="19"/>
          </p:nvPr>
        </p:nvSpPr>
        <p:spPr/>
        <p:txBody>
          <a:bodyPr/>
          <a:lstStyle/>
          <a:p>
            <a:endParaRPr lang="en-US"/>
          </a:p>
        </p:txBody>
      </p:sp>
      <p:sp>
        <p:nvSpPr>
          <p:cNvPr id="11" name="Text Placeholder 10">
            <a:extLst>
              <a:ext uri="{FF2B5EF4-FFF2-40B4-BE49-F238E27FC236}">
                <a16:creationId xmlns:a16="http://schemas.microsoft.com/office/drawing/2014/main" id="{D0710E3F-6522-B340-A363-8CB9A4CE4CB3}"/>
              </a:ext>
            </a:extLst>
          </p:cNvPr>
          <p:cNvSpPr>
            <a:spLocks noGrp="1"/>
          </p:cNvSpPr>
          <p:nvPr>
            <p:ph type="body" sz="quarter" idx="20"/>
          </p:nvPr>
        </p:nvSpPr>
        <p:spPr/>
        <p:txBody>
          <a:bodyPr/>
          <a:lstStyle/>
          <a:p>
            <a:endParaRPr lang="en-US"/>
          </a:p>
        </p:txBody>
      </p:sp>
      <p:sp>
        <p:nvSpPr>
          <p:cNvPr id="12" name="Text Placeholder 11">
            <a:extLst>
              <a:ext uri="{FF2B5EF4-FFF2-40B4-BE49-F238E27FC236}">
                <a16:creationId xmlns:a16="http://schemas.microsoft.com/office/drawing/2014/main" id="{B4E3E407-AE19-5A48-87DF-25EA3207F580}"/>
              </a:ext>
            </a:extLst>
          </p:cNvPr>
          <p:cNvSpPr>
            <a:spLocks noGrp="1"/>
          </p:cNvSpPr>
          <p:nvPr>
            <p:ph type="body" sz="quarter" idx="21"/>
          </p:nvPr>
        </p:nvSpPr>
        <p:spPr/>
        <p:txBody>
          <a:bodyPr/>
          <a:lstStyle/>
          <a:p>
            <a:endParaRPr lang="en-US"/>
          </a:p>
        </p:txBody>
      </p:sp>
      <p:sp>
        <p:nvSpPr>
          <p:cNvPr id="13" name="Text Placeholder 12">
            <a:extLst>
              <a:ext uri="{FF2B5EF4-FFF2-40B4-BE49-F238E27FC236}">
                <a16:creationId xmlns:a16="http://schemas.microsoft.com/office/drawing/2014/main" id="{73D8F425-32A5-4946-A99F-DBBCCFECC777}"/>
              </a:ext>
            </a:extLst>
          </p:cNvPr>
          <p:cNvSpPr>
            <a:spLocks noGrp="1"/>
          </p:cNvSpPr>
          <p:nvPr>
            <p:ph type="body" sz="quarter" idx="22"/>
          </p:nvPr>
        </p:nvSpPr>
        <p:spPr/>
        <p:txBody>
          <a:bodyPr/>
          <a:lstStyle/>
          <a:p>
            <a:endParaRPr lang="en-US"/>
          </a:p>
        </p:txBody>
      </p:sp>
      <p:pic>
        <p:nvPicPr>
          <p:cNvPr id="14" name="Image" descr="Image">
            <a:extLst>
              <a:ext uri="{FF2B5EF4-FFF2-40B4-BE49-F238E27FC236}">
                <a16:creationId xmlns:a16="http://schemas.microsoft.com/office/drawing/2014/main" id="{818DF245-562F-9741-BCCF-E743ACEEB8A4}"/>
              </a:ext>
            </a:extLst>
          </p:cNvPr>
          <p:cNvPicPr>
            <a:picLocks noChangeAspect="1"/>
          </p:cNvPicPr>
          <p:nvPr/>
        </p:nvPicPr>
        <p:blipFill>
          <a:blip r:embed="rId2"/>
          <a:stretch>
            <a:fillRect/>
          </a:stretch>
        </p:blipFill>
        <p:spPr>
          <a:xfrm>
            <a:off x="5319983" y="2256512"/>
            <a:ext cx="831278" cy="831278"/>
          </a:xfrm>
          <a:prstGeom prst="rect">
            <a:avLst/>
          </a:prstGeom>
          <a:ln w="3175">
            <a:miter lim="400000"/>
          </a:ln>
        </p:spPr>
      </p:pic>
      <p:pic>
        <p:nvPicPr>
          <p:cNvPr id="15" name="Image" descr="Image">
            <a:extLst>
              <a:ext uri="{FF2B5EF4-FFF2-40B4-BE49-F238E27FC236}">
                <a16:creationId xmlns:a16="http://schemas.microsoft.com/office/drawing/2014/main" id="{A314C341-C742-7842-899E-17F5AEDF83EA}"/>
              </a:ext>
            </a:extLst>
          </p:cNvPr>
          <p:cNvPicPr>
            <a:picLocks noChangeAspect="1"/>
          </p:cNvPicPr>
          <p:nvPr/>
        </p:nvPicPr>
        <p:blipFill>
          <a:blip r:embed="rId3"/>
          <a:stretch>
            <a:fillRect/>
          </a:stretch>
        </p:blipFill>
        <p:spPr>
          <a:xfrm>
            <a:off x="675264" y="2326164"/>
            <a:ext cx="831278" cy="691921"/>
          </a:xfrm>
          <a:prstGeom prst="rect">
            <a:avLst/>
          </a:prstGeom>
          <a:ln w="3175">
            <a:miter lim="400000"/>
          </a:ln>
        </p:spPr>
      </p:pic>
      <p:pic>
        <p:nvPicPr>
          <p:cNvPr id="16" name="Image" descr="Image">
            <a:extLst>
              <a:ext uri="{FF2B5EF4-FFF2-40B4-BE49-F238E27FC236}">
                <a16:creationId xmlns:a16="http://schemas.microsoft.com/office/drawing/2014/main" id="{F8D977C2-253A-794F-86A5-47022CFF664C}"/>
              </a:ext>
            </a:extLst>
          </p:cNvPr>
          <p:cNvPicPr>
            <a:picLocks noChangeAspect="1"/>
          </p:cNvPicPr>
          <p:nvPr/>
        </p:nvPicPr>
        <p:blipFill>
          <a:blip r:embed="rId4"/>
          <a:stretch>
            <a:fillRect/>
          </a:stretch>
        </p:blipFill>
        <p:spPr>
          <a:xfrm>
            <a:off x="7577064" y="2283307"/>
            <a:ext cx="831278" cy="794381"/>
          </a:xfrm>
          <a:prstGeom prst="rect">
            <a:avLst/>
          </a:prstGeom>
          <a:ln w="3175">
            <a:miter lim="400000"/>
          </a:ln>
        </p:spPr>
      </p:pic>
      <p:pic>
        <p:nvPicPr>
          <p:cNvPr id="17" name="Image" descr="Image">
            <a:extLst>
              <a:ext uri="{FF2B5EF4-FFF2-40B4-BE49-F238E27FC236}">
                <a16:creationId xmlns:a16="http://schemas.microsoft.com/office/drawing/2014/main" id="{E04B26D8-ECF3-DD43-A4E0-A1F1E2FA0686}"/>
              </a:ext>
            </a:extLst>
          </p:cNvPr>
          <p:cNvPicPr>
            <a:picLocks noChangeAspect="1"/>
          </p:cNvPicPr>
          <p:nvPr/>
        </p:nvPicPr>
        <p:blipFill>
          <a:blip r:embed="rId5"/>
          <a:stretch>
            <a:fillRect/>
          </a:stretch>
        </p:blipFill>
        <p:spPr>
          <a:xfrm>
            <a:off x="2967145" y="2285036"/>
            <a:ext cx="831278" cy="798804"/>
          </a:xfrm>
          <a:prstGeom prst="rect">
            <a:avLst/>
          </a:prstGeom>
          <a:ln w="3175">
            <a:miter lim="400000"/>
          </a:ln>
        </p:spPr>
      </p:pic>
      <p:pic>
        <p:nvPicPr>
          <p:cNvPr id="18" name="Image" descr="Image">
            <a:extLst>
              <a:ext uri="{FF2B5EF4-FFF2-40B4-BE49-F238E27FC236}">
                <a16:creationId xmlns:a16="http://schemas.microsoft.com/office/drawing/2014/main" id="{CE17E5B0-DB99-E146-ACB4-02BE7883C5D7}"/>
              </a:ext>
            </a:extLst>
          </p:cNvPr>
          <p:cNvPicPr>
            <a:picLocks noChangeAspect="1"/>
          </p:cNvPicPr>
          <p:nvPr/>
        </p:nvPicPr>
        <p:blipFill>
          <a:blip r:embed="rId3"/>
          <a:stretch>
            <a:fillRect/>
          </a:stretch>
        </p:blipFill>
        <p:spPr>
          <a:xfrm>
            <a:off x="9941184" y="2326164"/>
            <a:ext cx="831278" cy="691921"/>
          </a:xfrm>
          <a:prstGeom prst="rect">
            <a:avLst/>
          </a:prstGeom>
          <a:ln w="3175">
            <a:miter lim="400000"/>
          </a:ln>
        </p:spPr>
      </p:pic>
    </p:spTree>
    <p:extLst>
      <p:ext uri="{BB962C8B-B14F-4D97-AF65-F5344CB8AC3E}">
        <p14:creationId xmlns:p14="http://schemas.microsoft.com/office/powerpoint/2010/main" val="247863449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5"/>
          <p:cNvSpPr>
            <a:spLocks/>
          </p:cNvSpPr>
          <p:nvPr/>
        </p:nvSpPr>
        <p:spPr bwMode="auto">
          <a:xfrm>
            <a:off x="6110108" y="1713356"/>
            <a:ext cx="1507832" cy="1433546"/>
          </a:xfrm>
          <a:custGeom>
            <a:avLst/>
            <a:gdLst/>
            <a:ahLst/>
            <a:cxnLst>
              <a:cxn ang="0">
                <a:pos x="451" y="262"/>
              </a:cxn>
              <a:cxn ang="0">
                <a:pos x="395" y="429"/>
              </a:cxn>
              <a:cxn ang="0">
                <a:pos x="243" y="385"/>
              </a:cxn>
              <a:cxn ang="0">
                <a:pos x="243" y="384"/>
              </a:cxn>
              <a:cxn ang="0">
                <a:pos x="194" y="318"/>
              </a:cxn>
              <a:cxn ang="0">
                <a:pos x="5" y="240"/>
              </a:cxn>
              <a:cxn ang="0">
                <a:pos x="0" y="240"/>
              </a:cxn>
              <a:cxn ang="0">
                <a:pos x="125" y="120"/>
              </a:cxn>
              <a:cxn ang="0">
                <a:pos x="13" y="0"/>
              </a:cxn>
              <a:cxn ang="0">
                <a:pos x="363" y="148"/>
              </a:cxn>
              <a:cxn ang="0">
                <a:pos x="451" y="262"/>
              </a:cxn>
            </a:cxnLst>
            <a:rect l="0" t="0" r="r" b="b"/>
            <a:pathLst>
              <a:path w="451" h="429">
                <a:moveTo>
                  <a:pt x="451" y="262"/>
                </a:moveTo>
                <a:cubicBezTo>
                  <a:pt x="395" y="429"/>
                  <a:pt x="395" y="429"/>
                  <a:pt x="395" y="429"/>
                </a:cubicBezTo>
                <a:cubicBezTo>
                  <a:pt x="243" y="385"/>
                  <a:pt x="243" y="385"/>
                  <a:pt x="243" y="385"/>
                </a:cubicBezTo>
                <a:cubicBezTo>
                  <a:pt x="243" y="385"/>
                  <a:pt x="243" y="384"/>
                  <a:pt x="243" y="384"/>
                </a:cubicBezTo>
                <a:cubicBezTo>
                  <a:pt x="230" y="360"/>
                  <a:pt x="214" y="338"/>
                  <a:pt x="194" y="318"/>
                </a:cubicBezTo>
                <a:cubicBezTo>
                  <a:pt x="142" y="266"/>
                  <a:pt x="79" y="240"/>
                  <a:pt x="5" y="240"/>
                </a:cubicBezTo>
                <a:cubicBezTo>
                  <a:pt x="4" y="240"/>
                  <a:pt x="2" y="240"/>
                  <a:pt x="0" y="240"/>
                </a:cubicBezTo>
                <a:cubicBezTo>
                  <a:pt x="125" y="120"/>
                  <a:pt x="125" y="120"/>
                  <a:pt x="125" y="120"/>
                </a:cubicBezTo>
                <a:cubicBezTo>
                  <a:pt x="13" y="0"/>
                  <a:pt x="13" y="0"/>
                  <a:pt x="13" y="0"/>
                </a:cubicBezTo>
                <a:cubicBezTo>
                  <a:pt x="149" y="2"/>
                  <a:pt x="266" y="51"/>
                  <a:pt x="363" y="148"/>
                </a:cubicBezTo>
                <a:cubicBezTo>
                  <a:pt x="399" y="183"/>
                  <a:pt x="428" y="222"/>
                  <a:pt x="451" y="262"/>
                </a:cubicBezTo>
                <a:close/>
              </a:path>
            </a:pathLst>
          </a:custGeom>
          <a:solidFill>
            <a:schemeClr val="bg1"/>
          </a:solidFill>
          <a:ln w="25400">
            <a:solidFill>
              <a:schemeClr val="accent2"/>
            </a:solidFill>
            <a:miter lim="800000"/>
            <a:headEnd/>
            <a:tailEnd/>
          </a:ln>
          <a:effectLst/>
        </p:spPr>
        <p:txBody>
          <a:bodyPr vert="horz" wrap="square" lIns="91440" tIns="45720" rIns="91440" bIns="45720" numCol="1" anchor="t" anchorCtr="0" compatLnSpc="1">
            <a:prstTxWarp prst="textNoShape">
              <a:avLst/>
            </a:prstTxWarp>
          </a:bodyPr>
          <a:lstStyle/>
          <a:p>
            <a:endParaRPr lang="en-US" dirty="0">
              <a:latin typeface="Montserrat Light" charset="0"/>
            </a:endParaRPr>
          </a:p>
        </p:txBody>
      </p:sp>
      <p:sp>
        <p:nvSpPr>
          <p:cNvPr id="10" name="Freeform 6"/>
          <p:cNvSpPr>
            <a:spLocks/>
          </p:cNvSpPr>
          <p:nvPr/>
        </p:nvSpPr>
        <p:spPr bwMode="auto">
          <a:xfrm>
            <a:off x="6959693" y="2746680"/>
            <a:ext cx="915133" cy="1768623"/>
          </a:xfrm>
          <a:custGeom>
            <a:avLst/>
            <a:gdLst/>
            <a:ahLst/>
            <a:cxnLst>
              <a:cxn ang="0">
                <a:pos x="220" y="0"/>
              </a:cxn>
              <a:cxn ang="0">
                <a:pos x="274" y="231"/>
              </a:cxn>
              <a:cxn ang="0">
                <a:pos x="202" y="494"/>
              </a:cxn>
              <a:cxn ang="0">
                <a:pos x="32" y="529"/>
              </a:cxn>
              <a:cxn ang="0">
                <a:pos x="0" y="362"/>
              </a:cxn>
              <a:cxn ang="0">
                <a:pos x="34" y="231"/>
              </a:cxn>
              <a:cxn ang="0">
                <a:pos x="12" y="123"/>
              </a:cxn>
              <a:cxn ang="0">
                <a:pos x="166" y="166"/>
              </a:cxn>
              <a:cxn ang="0">
                <a:pos x="220" y="0"/>
              </a:cxn>
            </a:cxnLst>
            <a:rect l="0" t="0" r="r" b="b"/>
            <a:pathLst>
              <a:path w="274" h="529">
                <a:moveTo>
                  <a:pt x="220" y="0"/>
                </a:moveTo>
                <a:cubicBezTo>
                  <a:pt x="256" y="70"/>
                  <a:pt x="274" y="147"/>
                  <a:pt x="274" y="231"/>
                </a:cubicBezTo>
                <a:cubicBezTo>
                  <a:pt x="274" y="329"/>
                  <a:pt x="250" y="416"/>
                  <a:pt x="202" y="494"/>
                </a:cubicBezTo>
                <a:cubicBezTo>
                  <a:pt x="32" y="529"/>
                  <a:pt x="32" y="529"/>
                  <a:pt x="32" y="529"/>
                </a:cubicBezTo>
                <a:cubicBezTo>
                  <a:pt x="0" y="362"/>
                  <a:pt x="0" y="362"/>
                  <a:pt x="0" y="362"/>
                </a:cubicBezTo>
                <a:cubicBezTo>
                  <a:pt x="22" y="323"/>
                  <a:pt x="34" y="279"/>
                  <a:pt x="34" y="231"/>
                </a:cubicBezTo>
                <a:cubicBezTo>
                  <a:pt x="34" y="192"/>
                  <a:pt x="26" y="156"/>
                  <a:pt x="12" y="123"/>
                </a:cubicBezTo>
                <a:cubicBezTo>
                  <a:pt x="166" y="166"/>
                  <a:pt x="166" y="166"/>
                  <a:pt x="166" y="166"/>
                </a:cubicBezTo>
                <a:lnTo>
                  <a:pt x="220" y="0"/>
                </a:lnTo>
                <a:close/>
              </a:path>
            </a:pathLst>
          </a:custGeom>
          <a:solidFill>
            <a:schemeClr val="bg1"/>
          </a:solidFill>
          <a:ln w="25400">
            <a:solidFill>
              <a:schemeClr val="accent3"/>
            </a:solidFill>
            <a:miter lim="800000"/>
            <a:headEnd/>
            <a:tailEnd/>
          </a:ln>
          <a:effectLst/>
        </p:spPr>
        <p:txBody>
          <a:bodyPr vert="horz" wrap="square" lIns="91440" tIns="45720" rIns="91440" bIns="45720" numCol="1" anchor="t" anchorCtr="0" compatLnSpc="1">
            <a:prstTxWarp prst="textNoShape">
              <a:avLst/>
            </a:prstTxWarp>
          </a:bodyPr>
          <a:lstStyle/>
          <a:p>
            <a:endParaRPr lang="en-US" dirty="0">
              <a:latin typeface="Montserrat Light" charset="0"/>
            </a:endParaRPr>
          </a:p>
        </p:txBody>
      </p:sp>
      <p:sp>
        <p:nvSpPr>
          <p:cNvPr id="11" name="Freeform 7"/>
          <p:cNvSpPr>
            <a:spLocks/>
          </p:cNvSpPr>
          <p:nvPr/>
        </p:nvSpPr>
        <p:spPr bwMode="auto">
          <a:xfrm>
            <a:off x="5708666" y="4115092"/>
            <a:ext cx="1816036" cy="1202789"/>
          </a:xfrm>
          <a:custGeom>
            <a:avLst/>
            <a:gdLst/>
            <a:ahLst/>
            <a:cxnLst>
              <a:cxn ang="0">
                <a:pos x="476" y="211"/>
              </a:cxn>
              <a:cxn ang="0">
                <a:pos x="118" y="360"/>
              </a:cxn>
              <a:cxn ang="0">
                <a:pos x="104" y="360"/>
              </a:cxn>
              <a:cxn ang="0">
                <a:pos x="0" y="235"/>
              </a:cxn>
              <a:cxn ang="0">
                <a:pos x="138" y="119"/>
              </a:cxn>
              <a:cxn ang="0">
                <a:pos x="307" y="41"/>
              </a:cxn>
              <a:cxn ang="0">
                <a:pos x="341" y="0"/>
              </a:cxn>
              <a:cxn ang="0">
                <a:pos x="375" y="164"/>
              </a:cxn>
              <a:cxn ang="0">
                <a:pos x="543" y="131"/>
              </a:cxn>
              <a:cxn ang="0">
                <a:pos x="476" y="211"/>
              </a:cxn>
            </a:cxnLst>
            <a:rect l="0" t="0" r="r" b="b"/>
            <a:pathLst>
              <a:path w="543" h="360">
                <a:moveTo>
                  <a:pt x="476" y="211"/>
                </a:moveTo>
                <a:cubicBezTo>
                  <a:pt x="378" y="310"/>
                  <a:pt x="258" y="360"/>
                  <a:pt x="118" y="360"/>
                </a:cubicBezTo>
                <a:cubicBezTo>
                  <a:pt x="113" y="360"/>
                  <a:pt x="109" y="360"/>
                  <a:pt x="104" y="360"/>
                </a:cubicBezTo>
                <a:cubicBezTo>
                  <a:pt x="0" y="235"/>
                  <a:pt x="0" y="235"/>
                  <a:pt x="0" y="235"/>
                </a:cubicBezTo>
                <a:cubicBezTo>
                  <a:pt x="138" y="119"/>
                  <a:pt x="138" y="119"/>
                  <a:pt x="138" y="119"/>
                </a:cubicBezTo>
                <a:cubicBezTo>
                  <a:pt x="203" y="115"/>
                  <a:pt x="259" y="89"/>
                  <a:pt x="307" y="41"/>
                </a:cubicBezTo>
                <a:cubicBezTo>
                  <a:pt x="320" y="28"/>
                  <a:pt x="331" y="14"/>
                  <a:pt x="341" y="0"/>
                </a:cubicBezTo>
                <a:cubicBezTo>
                  <a:pt x="375" y="164"/>
                  <a:pt x="375" y="164"/>
                  <a:pt x="375" y="164"/>
                </a:cubicBezTo>
                <a:cubicBezTo>
                  <a:pt x="543" y="131"/>
                  <a:pt x="543" y="131"/>
                  <a:pt x="543" y="131"/>
                </a:cubicBezTo>
                <a:cubicBezTo>
                  <a:pt x="524" y="159"/>
                  <a:pt x="502" y="186"/>
                  <a:pt x="476" y="211"/>
                </a:cubicBezTo>
                <a:close/>
              </a:path>
            </a:pathLst>
          </a:custGeom>
          <a:solidFill>
            <a:schemeClr val="bg1"/>
          </a:solidFill>
          <a:ln w="25400">
            <a:solidFill>
              <a:schemeClr val="accent4"/>
            </a:solidFill>
            <a:miter lim="800000"/>
            <a:headEnd/>
            <a:tailEnd/>
          </a:ln>
          <a:effectLst/>
        </p:spPr>
        <p:txBody>
          <a:bodyPr vert="horz" wrap="square" lIns="91440" tIns="45720" rIns="91440" bIns="45720" numCol="1" anchor="t" anchorCtr="0" compatLnSpc="1">
            <a:prstTxWarp prst="textNoShape">
              <a:avLst/>
            </a:prstTxWarp>
          </a:bodyPr>
          <a:lstStyle/>
          <a:p>
            <a:endParaRPr lang="en-US" dirty="0">
              <a:latin typeface="Montserrat Light" charset="0"/>
            </a:endParaRPr>
          </a:p>
        </p:txBody>
      </p:sp>
      <p:sp>
        <p:nvSpPr>
          <p:cNvPr id="12" name="Freeform 8"/>
          <p:cNvSpPr>
            <a:spLocks/>
          </p:cNvSpPr>
          <p:nvPr/>
        </p:nvSpPr>
        <p:spPr bwMode="auto">
          <a:xfrm>
            <a:off x="4498321" y="1704481"/>
            <a:ext cx="1835003" cy="1266009"/>
          </a:xfrm>
          <a:custGeom>
            <a:avLst/>
            <a:gdLst/>
            <a:ahLst/>
            <a:cxnLst>
              <a:cxn ang="0">
                <a:pos x="88" y="148"/>
              </a:cxn>
              <a:cxn ang="0">
                <a:pos x="436" y="0"/>
              </a:cxn>
              <a:cxn ang="0">
                <a:pos x="549" y="119"/>
              </a:cxn>
              <a:cxn ang="0">
                <a:pos x="426" y="241"/>
              </a:cxn>
              <a:cxn ang="0">
                <a:pos x="258" y="318"/>
              </a:cxn>
              <a:cxn ang="0">
                <a:pos x="212" y="379"/>
              </a:cxn>
              <a:cxn ang="0">
                <a:pos x="178" y="221"/>
              </a:cxn>
              <a:cxn ang="0">
                <a:pos x="0" y="264"/>
              </a:cxn>
              <a:cxn ang="0">
                <a:pos x="88" y="148"/>
              </a:cxn>
            </a:cxnLst>
            <a:rect l="0" t="0" r="r" b="b"/>
            <a:pathLst>
              <a:path w="549" h="379">
                <a:moveTo>
                  <a:pt x="88" y="148"/>
                </a:moveTo>
                <a:cubicBezTo>
                  <a:pt x="185" y="52"/>
                  <a:pt x="301" y="2"/>
                  <a:pt x="436" y="0"/>
                </a:cubicBezTo>
                <a:cubicBezTo>
                  <a:pt x="549" y="119"/>
                  <a:pt x="549" y="119"/>
                  <a:pt x="549" y="119"/>
                </a:cubicBezTo>
                <a:cubicBezTo>
                  <a:pt x="426" y="241"/>
                  <a:pt x="426" y="241"/>
                  <a:pt x="426" y="241"/>
                </a:cubicBezTo>
                <a:cubicBezTo>
                  <a:pt x="361" y="245"/>
                  <a:pt x="305" y="271"/>
                  <a:pt x="258" y="318"/>
                </a:cubicBezTo>
                <a:cubicBezTo>
                  <a:pt x="239" y="337"/>
                  <a:pt x="224" y="357"/>
                  <a:pt x="212" y="379"/>
                </a:cubicBezTo>
                <a:cubicBezTo>
                  <a:pt x="178" y="221"/>
                  <a:pt x="178" y="221"/>
                  <a:pt x="178" y="221"/>
                </a:cubicBezTo>
                <a:cubicBezTo>
                  <a:pt x="0" y="264"/>
                  <a:pt x="0" y="264"/>
                  <a:pt x="0" y="264"/>
                </a:cubicBezTo>
                <a:cubicBezTo>
                  <a:pt x="23" y="223"/>
                  <a:pt x="52" y="184"/>
                  <a:pt x="88" y="148"/>
                </a:cubicBezTo>
                <a:close/>
              </a:path>
            </a:pathLst>
          </a:custGeom>
          <a:solidFill>
            <a:schemeClr val="bg1"/>
          </a:solidFill>
          <a:ln w="25400">
            <a:solidFill>
              <a:schemeClr val="accent1"/>
            </a:solidFill>
            <a:miter lim="800000"/>
            <a:headEnd/>
            <a:tailEnd/>
          </a:ln>
          <a:effectLst/>
        </p:spPr>
        <p:txBody>
          <a:bodyPr vert="horz" wrap="square" lIns="91440" tIns="45720" rIns="91440" bIns="45720" numCol="1" anchor="t" anchorCtr="0" compatLnSpc="1">
            <a:prstTxWarp prst="textNoShape">
              <a:avLst/>
            </a:prstTxWarp>
          </a:bodyPr>
          <a:lstStyle/>
          <a:p>
            <a:endParaRPr lang="en-US" dirty="0">
              <a:latin typeface="Montserrat Light" charset="0"/>
            </a:endParaRPr>
          </a:p>
        </p:txBody>
      </p:sp>
      <p:sp>
        <p:nvSpPr>
          <p:cNvPr id="13" name="Freeform 9"/>
          <p:cNvSpPr>
            <a:spLocks/>
          </p:cNvSpPr>
          <p:nvPr/>
        </p:nvSpPr>
        <p:spPr bwMode="auto">
          <a:xfrm>
            <a:off x="4531829" y="4005085"/>
            <a:ext cx="1444610" cy="1303941"/>
          </a:xfrm>
          <a:custGeom>
            <a:avLst/>
            <a:gdLst/>
            <a:ahLst/>
            <a:cxnLst>
              <a:cxn ang="0">
                <a:pos x="431" y="150"/>
              </a:cxn>
              <a:cxn ang="0">
                <a:pos x="432" y="150"/>
              </a:cxn>
              <a:cxn ang="0">
                <a:pos x="298" y="266"/>
              </a:cxn>
              <a:cxn ang="0">
                <a:pos x="402" y="390"/>
              </a:cxn>
              <a:cxn ang="0">
                <a:pos x="73" y="242"/>
              </a:cxn>
              <a:cxn ang="0">
                <a:pos x="0" y="152"/>
              </a:cxn>
              <a:cxn ang="0">
                <a:pos x="47" y="0"/>
              </a:cxn>
              <a:cxn ang="0">
                <a:pos x="212" y="36"/>
              </a:cxn>
              <a:cxn ang="0">
                <a:pos x="243" y="72"/>
              </a:cxn>
              <a:cxn ang="0">
                <a:pos x="431" y="150"/>
              </a:cxn>
            </a:cxnLst>
            <a:rect l="0" t="0" r="r" b="b"/>
            <a:pathLst>
              <a:path w="432" h="390">
                <a:moveTo>
                  <a:pt x="431" y="150"/>
                </a:moveTo>
                <a:cubicBezTo>
                  <a:pt x="432" y="150"/>
                  <a:pt x="432" y="150"/>
                  <a:pt x="432" y="150"/>
                </a:cubicBezTo>
                <a:cubicBezTo>
                  <a:pt x="298" y="266"/>
                  <a:pt x="298" y="266"/>
                  <a:pt x="298" y="266"/>
                </a:cubicBezTo>
                <a:cubicBezTo>
                  <a:pt x="402" y="390"/>
                  <a:pt x="402" y="390"/>
                  <a:pt x="402" y="390"/>
                </a:cubicBezTo>
                <a:cubicBezTo>
                  <a:pt x="275" y="384"/>
                  <a:pt x="165" y="334"/>
                  <a:pt x="73" y="242"/>
                </a:cubicBezTo>
                <a:cubicBezTo>
                  <a:pt x="45" y="214"/>
                  <a:pt x="20" y="184"/>
                  <a:pt x="0" y="152"/>
                </a:cubicBezTo>
                <a:cubicBezTo>
                  <a:pt x="47" y="0"/>
                  <a:pt x="47" y="0"/>
                  <a:pt x="47" y="0"/>
                </a:cubicBezTo>
                <a:cubicBezTo>
                  <a:pt x="212" y="36"/>
                  <a:pt x="212" y="36"/>
                  <a:pt x="212" y="36"/>
                </a:cubicBezTo>
                <a:cubicBezTo>
                  <a:pt x="221" y="48"/>
                  <a:pt x="232" y="61"/>
                  <a:pt x="243" y="72"/>
                </a:cubicBezTo>
                <a:cubicBezTo>
                  <a:pt x="295" y="124"/>
                  <a:pt x="358" y="150"/>
                  <a:pt x="431" y="150"/>
                </a:cubicBezTo>
                <a:close/>
              </a:path>
            </a:pathLst>
          </a:custGeom>
          <a:solidFill>
            <a:schemeClr val="bg1"/>
          </a:solidFill>
          <a:ln w="25400">
            <a:solidFill>
              <a:schemeClr val="accent5"/>
            </a:solidFill>
            <a:miter lim="800000"/>
            <a:headEnd/>
            <a:tailEnd/>
          </a:ln>
          <a:effectLst/>
        </p:spPr>
        <p:txBody>
          <a:bodyPr vert="horz" wrap="square" lIns="91440" tIns="45720" rIns="91440" bIns="45720" numCol="1" anchor="t" anchorCtr="0" compatLnSpc="1">
            <a:prstTxWarp prst="textNoShape">
              <a:avLst/>
            </a:prstTxWarp>
          </a:bodyPr>
          <a:lstStyle/>
          <a:p>
            <a:endParaRPr lang="en-US" dirty="0">
              <a:latin typeface="Montserrat Light" charset="0"/>
            </a:endParaRPr>
          </a:p>
        </p:txBody>
      </p:sp>
      <p:sp>
        <p:nvSpPr>
          <p:cNvPr id="14" name="Freeform 10"/>
          <p:cNvSpPr>
            <a:spLocks/>
          </p:cNvSpPr>
          <p:nvPr/>
        </p:nvSpPr>
        <p:spPr bwMode="auto">
          <a:xfrm>
            <a:off x="4228522" y="2592776"/>
            <a:ext cx="932517" cy="1767038"/>
          </a:xfrm>
          <a:custGeom>
            <a:avLst/>
            <a:gdLst/>
            <a:ahLst/>
            <a:cxnLst>
              <a:cxn ang="0">
                <a:pos x="53" y="43"/>
              </a:cxn>
              <a:cxn ang="0">
                <a:pos x="229" y="0"/>
              </a:cxn>
              <a:cxn ang="0">
                <a:pos x="264" y="162"/>
              </a:cxn>
              <a:cxn ang="0">
                <a:pos x="240" y="273"/>
              </a:cxn>
              <a:cxn ang="0">
                <a:pos x="279" y="413"/>
              </a:cxn>
              <a:cxn ang="0">
                <a:pos x="115" y="374"/>
              </a:cxn>
              <a:cxn ang="0">
                <a:pos x="115" y="374"/>
              </a:cxn>
              <a:cxn ang="0">
                <a:pos x="68" y="529"/>
              </a:cxn>
              <a:cxn ang="0">
                <a:pos x="0" y="273"/>
              </a:cxn>
              <a:cxn ang="0">
                <a:pos x="53" y="43"/>
              </a:cxn>
            </a:cxnLst>
            <a:rect l="0" t="0" r="r" b="b"/>
            <a:pathLst>
              <a:path w="279" h="529">
                <a:moveTo>
                  <a:pt x="53" y="43"/>
                </a:moveTo>
                <a:cubicBezTo>
                  <a:pt x="229" y="0"/>
                  <a:pt x="229" y="0"/>
                  <a:pt x="229" y="0"/>
                </a:cubicBezTo>
                <a:cubicBezTo>
                  <a:pt x="264" y="162"/>
                  <a:pt x="264" y="162"/>
                  <a:pt x="264" y="162"/>
                </a:cubicBezTo>
                <a:cubicBezTo>
                  <a:pt x="248" y="196"/>
                  <a:pt x="240" y="233"/>
                  <a:pt x="240" y="273"/>
                </a:cubicBezTo>
                <a:cubicBezTo>
                  <a:pt x="240" y="325"/>
                  <a:pt x="253" y="372"/>
                  <a:pt x="279" y="413"/>
                </a:cubicBezTo>
                <a:cubicBezTo>
                  <a:pt x="115" y="374"/>
                  <a:pt x="115" y="374"/>
                  <a:pt x="115" y="374"/>
                </a:cubicBezTo>
                <a:cubicBezTo>
                  <a:pt x="115" y="374"/>
                  <a:pt x="115" y="374"/>
                  <a:pt x="115" y="374"/>
                </a:cubicBezTo>
                <a:cubicBezTo>
                  <a:pt x="68" y="529"/>
                  <a:pt x="68" y="529"/>
                  <a:pt x="68" y="529"/>
                </a:cubicBezTo>
                <a:cubicBezTo>
                  <a:pt x="22" y="453"/>
                  <a:pt x="0" y="368"/>
                  <a:pt x="0" y="273"/>
                </a:cubicBezTo>
                <a:cubicBezTo>
                  <a:pt x="0" y="189"/>
                  <a:pt x="18" y="112"/>
                  <a:pt x="53" y="43"/>
                </a:cubicBezTo>
                <a:close/>
              </a:path>
            </a:pathLst>
          </a:custGeom>
          <a:solidFill>
            <a:schemeClr val="bg1"/>
          </a:solidFill>
          <a:ln w="25400">
            <a:solidFill>
              <a:schemeClr val="accent6"/>
            </a:solidFill>
            <a:miter lim="800000"/>
            <a:headEnd/>
            <a:tailEnd/>
          </a:ln>
          <a:effectLst/>
        </p:spPr>
        <p:txBody>
          <a:bodyPr vert="horz" wrap="square" lIns="91440" tIns="45720" rIns="91440" bIns="45720" numCol="1" anchor="t" anchorCtr="0" compatLnSpc="1">
            <a:prstTxWarp prst="textNoShape">
              <a:avLst/>
            </a:prstTxWarp>
          </a:bodyPr>
          <a:lstStyle/>
          <a:p>
            <a:endParaRPr lang="en-US" dirty="0">
              <a:latin typeface="Montserrat Light" charset="0"/>
            </a:endParaRPr>
          </a:p>
        </p:txBody>
      </p:sp>
      <p:sp>
        <p:nvSpPr>
          <p:cNvPr id="15" name="TextBox 14"/>
          <p:cNvSpPr txBox="1"/>
          <p:nvPr/>
        </p:nvSpPr>
        <p:spPr>
          <a:xfrm>
            <a:off x="7614468" y="1520562"/>
            <a:ext cx="1903256"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16" name="Oval 15"/>
          <p:cNvSpPr/>
          <p:nvPr/>
        </p:nvSpPr>
        <p:spPr>
          <a:xfrm>
            <a:off x="7044629" y="1904950"/>
            <a:ext cx="302671" cy="30267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17" name="TextBox 16"/>
          <p:cNvSpPr txBox="1"/>
          <p:nvPr/>
        </p:nvSpPr>
        <p:spPr>
          <a:xfrm>
            <a:off x="8234273" y="3341752"/>
            <a:ext cx="1903256"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18" name="Oval 17"/>
          <p:cNvSpPr/>
          <p:nvPr/>
        </p:nvSpPr>
        <p:spPr>
          <a:xfrm>
            <a:off x="7711326" y="3570521"/>
            <a:ext cx="302671" cy="30267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19" name="TextBox 18"/>
          <p:cNvSpPr txBox="1"/>
          <p:nvPr/>
        </p:nvSpPr>
        <p:spPr>
          <a:xfrm>
            <a:off x="7195964" y="5044846"/>
            <a:ext cx="1903256" cy="760208"/>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20" name="Oval 19"/>
          <p:cNvSpPr/>
          <p:nvPr/>
        </p:nvSpPr>
        <p:spPr>
          <a:xfrm>
            <a:off x="6673017" y="4997293"/>
            <a:ext cx="302671" cy="302671"/>
          </a:xfrm>
          <a:prstGeom prst="ellips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21" name="TextBox 20"/>
          <p:cNvSpPr txBox="1"/>
          <p:nvPr/>
        </p:nvSpPr>
        <p:spPr>
          <a:xfrm>
            <a:off x="2963935" y="5044846"/>
            <a:ext cx="1903256"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22" name="Oval 21"/>
          <p:cNvSpPr/>
          <p:nvPr/>
        </p:nvSpPr>
        <p:spPr>
          <a:xfrm>
            <a:off x="5066956" y="4997293"/>
            <a:ext cx="302671" cy="30267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5</a:t>
            </a:r>
          </a:p>
        </p:txBody>
      </p:sp>
      <p:sp>
        <p:nvSpPr>
          <p:cNvPr id="23" name="Oval 22"/>
          <p:cNvSpPr/>
          <p:nvPr/>
        </p:nvSpPr>
        <p:spPr>
          <a:xfrm>
            <a:off x="4077172" y="3570521"/>
            <a:ext cx="302671" cy="302671"/>
          </a:xfrm>
          <a:prstGeom prst="ellips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6</a:t>
            </a:r>
          </a:p>
        </p:txBody>
      </p:sp>
      <p:sp>
        <p:nvSpPr>
          <p:cNvPr id="24" name="TextBox 23"/>
          <p:cNvSpPr txBox="1"/>
          <p:nvPr/>
        </p:nvSpPr>
        <p:spPr>
          <a:xfrm>
            <a:off x="2032765" y="3341752"/>
            <a:ext cx="1903256"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25" name="Oval 24"/>
          <p:cNvSpPr/>
          <p:nvPr/>
        </p:nvSpPr>
        <p:spPr>
          <a:xfrm>
            <a:off x="4783550" y="1904950"/>
            <a:ext cx="302671" cy="30267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26" name="TextBox 25"/>
          <p:cNvSpPr txBox="1"/>
          <p:nvPr/>
        </p:nvSpPr>
        <p:spPr>
          <a:xfrm>
            <a:off x="2693746" y="1520562"/>
            <a:ext cx="1903256" cy="760208"/>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27" name="Freeform 851"/>
          <p:cNvSpPr>
            <a:spLocks noEditPoints="1"/>
          </p:cNvSpPr>
          <p:nvPr/>
        </p:nvSpPr>
        <p:spPr bwMode="auto">
          <a:xfrm>
            <a:off x="6249866" y="4657055"/>
            <a:ext cx="328539" cy="376247"/>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8" name="Freeform 1050"/>
          <p:cNvSpPr>
            <a:spLocks noEditPoints="1"/>
          </p:cNvSpPr>
          <p:nvPr/>
        </p:nvSpPr>
        <p:spPr bwMode="auto">
          <a:xfrm>
            <a:off x="5330412" y="2038473"/>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9" name="Freeform 1137"/>
          <p:cNvSpPr>
            <a:spLocks noEditPoints="1"/>
          </p:cNvSpPr>
          <p:nvPr/>
        </p:nvSpPr>
        <p:spPr bwMode="auto">
          <a:xfrm>
            <a:off x="7189977" y="3676445"/>
            <a:ext cx="372995" cy="33829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0" name="Freeform 1147"/>
          <p:cNvSpPr>
            <a:spLocks noEditPoints="1"/>
          </p:cNvSpPr>
          <p:nvPr/>
        </p:nvSpPr>
        <p:spPr bwMode="auto">
          <a:xfrm>
            <a:off x="6769401" y="2292721"/>
            <a:ext cx="380584" cy="382753"/>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1" name="Freeform 2123"/>
          <p:cNvSpPr>
            <a:spLocks noEditPoints="1"/>
          </p:cNvSpPr>
          <p:nvPr/>
        </p:nvSpPr>
        <p:spPr bwMode="auto">
          <a:xfrm>
            <a:off x="4894554" y="4341324"/>
            <a:ext cx="344803" cy="375162"/>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2" name="Freeform 851"/>
          <p:cNvSpPr>
            <a:spLocks noEditPoints="1"/>
          </p:cNvSpPr>
          <p:nvPr/>
        </p:nvSpPr>
        <p:spPr bwMode="auto">
          <a:xfrm>
            <a:off x="4456235" y="3062717"/>
            <a:ext cx="328539" cy="376247"/>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33" name="Text Placeholder 6">
            <a:extLst>
              <a:ext uri="{FF2B5EF4-FFF2-40B4-BE49-F238E27FC236}">
                <a16:creationId xmlns:a16="http://schemas.microsoft.com/office/drawing/2014/main" id="{2F753C93-BFFA-194A-BD77-9F349E238B26}"/>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32261514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hart 5 step infographic</a:t>
            </a:r>
            <a:endParaRPr lang="en-US" dirty="0"/>
          </a:p>
        </p:txBody>
      </p:sp>
      <p:cxnSp>
        <p:nvCxnSpPr>
          <p:cNvPr id="34" name="Straight Connector 33"/>
          <p:cNvCxnSpPr/>
          <p:nvPr/>
        </p:nvCxnSpPr>
        <p:spPr>
          <a:xfrm>
            <a:off x="934036" y="3319721"/>
            <a:ext cx="0" cy="1213367"/>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2507658" y="4200889"/>
            <a:ext cx="0" cy="87551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098919" y="3313449"/>
            <a:ext cx="0" cy="87551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864066" y="3731684"/>
            <a:ext cx="0" cy="87551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458973" y="2822193"/>
            <a:ext cx="0" cy="87551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8448055" y="979279"/>
            <a:ext cx="1132820" cy="1132814"/>
          </a:xfrm>
          <a:prstGeom prst="ellipse">
            <a:avLst/>
          </a:prstGeom>
          <a:gradFill flip="none" rotWithShape="1">
            <a:gsLst>
              <a:gs pos="100000">
                <a:schemeClr val="tx1">
                  <a:alpha val="40000"/>
                </a:schemeClr>
              </a:gs>
              <a:gs pos="0">
                <a:schemeClr val="bg1">
                  <a:alpha val="0"/>
                </a:schemeClr>
              </a:gs>
            </a:gsLst>
            <a:path path="circle">
              <a:fillToRect l="50000" t="50000" r="50000" b="50000"/>
            </a:path>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endParaRPr lang="en-US" sz="1000" dirty="0">
              <a:solidFill>
                <a:srgbClr val="FFFFFF"/>
              </a:solidFill>
              <a:latin typeface="RBC Text" panose="02000000000000000000" pitchFamily="2" charset="77"/>
            </a:endParaRPr>
          </a:p>
        </p:txBody>
      </p:sp>
      <p:sp>
        <p:nvSpPr>
          <p:cNvPr id="40" name="Freeform 39"/>
          <p:cNvSpPr>
            <a:spLocks/>
          </p:cNvSpPr>
          <p:nvPr/>
        </p:nvSpPr>
        <p:spPr bwMode="auto">
          <a:xfrm>
            <a:off x="913016" y="3103420"/>
            <a:ext cx="2076239" cy="1416767"/>
          </a:xfrm>
          <a:custGeom>
            <a:avLst/>
            <a:gdLst>
              <a:gd name="T0" fmla="*/ 2668 w 15298"/>
              <a:gd name="T1" fmla="*/ 443 h 10413"/>
              <a:gd name="T2" fmla="*/ 14265 w 15298"/>
              <a:gd name="T3" fmla="*/ 7138 h 10413"/>
              <a:gd name="T4" fmla="*/ 14855 w 15298"/>
              <a:gd name="T5" fmla="*/ 9340 h 10413"/>
              <a:gd name="T6" fmla="*/ 14832 w 15298"/>
              <a:gd name="T7" fmla="*/ 9379 h 10413"/>
              <a:gd name="T8" fmla="*/ 12630 w 15298"/>
              <a:gd name="T9" fmla="*/ 9969 h 10413"/>
              <a:gd name="T10" fmla="*/ 1034 w 15298"/>
              <a:gd name="T11" fmla="*/ 3274 h 10413"/>
              <a:gd name="T12" fmla="*/ 444 w 15298"/>
              <a:gd name="T13" fmla="*/ 1072 h 10413"/>
              <a:gd name="T14" fmla="*/ 466 w 15298"/>
              <a:gd name="T15" fmla="*/ 1033 h 10413"/>
              <a:gd name="T16" fmla="*/ 2668 w 15298"/>
              <a:gd name="T17" fmla="*/ 443 h 10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98" h="10413">
                <a:moveTo>
                  <a:pt x="2668" y="443"/>
                </a:moveTo>
                <a:lnTo>
                  <a:pt x="14265" y="7138"/>
                </a:lnTo>
                <a:cubicBezTo>
                  <a:pt x="15032" y="7581"/>
                  <a:pt x="15298" y="8572"/>
                  <a:pt x="14855" y="9340"/>
                </a:cubicBezTo>
                <a:lnTo>
                  <a:pt x="14832" y="9379"/>
                </a:lnTo>
                <a:cubicBezTo>
                  <a:pt x="14389" y="10147"/>
                  <a:pt x="13398" y="10413"/>
                  <a:pt x="12630" y="9969"/>
                </a:cubicBezTo>
                <a:lnTo>
                  <a:pt x="1034" y="3274"/>
                </a:lnTo>
                <a:cubicBezTo>
                  <a:pt x="266" y="2831"/>
                  <a:pt x="0" y="1840"/>
                  <a:pt x="444" y="1072"/>
                </a:cubicBezTo>
                <a:lnTo>
                  <a:pt x="466" y="1033"/>
                </a:lnTo>
                <a:cubicBezTo>
                  <a:pt x="910" y="265"/>
                  <a:pt x="1901" y="0"/>
                  <a:pt x="2668" y="443"/>
                </a:cubicBezTo>
                <a:close/>
              </a:path>
            </a:pathLst>
          </a:custGeom>
          <a:solidFill>
            <a:schemeClr val="accent1"/>
          </a:solidFill>
          <a:ln w="25400">
            <a:noFill/>
          </a:ln>
        </p:spPr>
        <p:txBody>
          <a:bodyPr vert="horz" wrap="square" lIns="91440" tIns="45720" rIns="91440" bIns="45720" numCol="1" anchor="t" anchorCtr="0" compatLnSpc="1">
            <a:prstTxWarp prst="textNoShape">
              <a:avLst/>
            </a:prstTxWarp>
          </a:bodyPr>
          <a:lstStyle/>
          <a:p>
            <a:endParaRPr lang="en-US" sz="1800" dirty="0">
              <a:latin typeface="RBC Text" panose="02000000000000000000" pitchFamily="2" charset="77"/>
            </a:endParaRPr>
          </a:p>
        </p:txBody>
      </p:sp>
      <p:sp>
        <p:nvSpPr>
          <p:cNvPr id="41" name="Freeform 40"/>
          <p:cNvSpPr>
            <a:spLocks/>
          </p:cNvSpPr>
          <p:nvPr/>
        </p:nvSpPr>
        <p:spPr bwMode="auto">
          <a:xfrm>
            <a:off x="2486638" y="3102571"/>
            <a:ext cx="2077924" cy="1415080"/>
          </a:xfrm>
          <a:custGeom>
            <a:avLst/>
            <a:gdLst>
              <a:gd name="T0" fmla="*/ 12629 w 15298"/>
              <a:gd name="T1" fmla="*/ 443 h 10413"/>
              <a:gd name="T2" fmla="*/ 1033 w 15298"/>
              <a:gd name="T3" fmla="*/ 7138 h 10413"/>
              <a:gd name="T4" fmla="*/ 443 w 15298"/>
              <a:gd name="T5" fmla="*/ 9341 h 10413"/>
              <a:gd name="T6" fmla="*/ 466 w 15298"/>
              <a:gd name="T7" fmla="*/ 9380 h 10413"/>
              <a:gd name="T8" fmla="*/ 2668 w 15298"/>
              <a:gd name="T9" fmla="*/ 9970 h 10413"/>
              <a:gd name="T10" fmla="*/ 14264 w 15298"/>
              <a:gd name="T11" fmla="*/ 3275 h 10413"/>
              <a:gd name="T12" fmla="*/ 14854 w 15298"/>
              <a:gd name="T13" fmla="*/ 1072 h 10413"/>
              <a:gd name="T14" fmla="*/ 14832 w 15298"/>
              <a:gd name="T15" fmla="*/ 1033 h 10413"/>
              <a:gd name="T16" fmla="*/ 12629 w 15298"/>
              <a:gd name="T17" fmla="*/ 443 h 10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98" h="10413">
                <a:moveTo>
                  <a:pt x="12629" y="443"/>
                </a:moveTo>
                <a:lnTo>
                  <a:pt x="1033" y="7138"/>
                </a:lnTo>
                <a:cubicBezTo>
                  <a:pt x="265" y="7582"/>
                  <a:pt x="0" y="8573"/>
                  <a:pt x="443" y="9341"/>
                </a:cubicBezTo>
                <a:lnTo>
                  <a:pt x="466" y="9380"/>
                </a:lnTo>
                <a:cubicBezTo>
                  <a:pt x="909" y="10147"/>
                  <a:pt x="1900" y="10413"/>
                  <a:pt x="2668" y="9970"/>
                </a:cubicBezTo>
                <a:lnTo>
                  <a:pt x="14264" y="3275"/>
                </a:lnTo>
                <a:cubicBezTo>
                  <a:pt x="15032" y="2831"/>
                  <a:pt x="15298" y="1840"/>
                  <a:pt x="14854" y="1072"/>
                </a:cubicBezTo>
                <a:lnTo>
                  <a:pt x="14832" y="1033"/>
                </a:lnTo>
                <a:cubicBezTo>
                  <a:pt x="14388" y="266"/>
                  <a:pt x="13397" y="0"/>
                  <a:pt x="12629" y="443"/>
                </a:cubicBezTo>
                <a:close/>
              </a:path>
            </a:pathLst>
          </a:custGeom>
          <a:solidFill>
            <a:schemeClr val="accent2"/>
          </a:solidFill>
          <a:ln w="25400">
            <a:noFill/>
          </a:ln>
        </p:spPr>
        <p:txBody>
          <a:bodyPr vert="horz" wrap="square" lIns="91440" tIns="45720" rIns="91440" bIns="45720" numCol="1" anchor="t" anchorCtr="0" compatLnSpc="1">
            <a:prstTxWarp prst="textNoShape">
              <a:avLst/>
            </a:prstTxWarp>
          </a:bodyPr>
          <a:lstStyle/>
          <a:p>
            <a:endParaRPr lang="en-US" sz="1800" dirty="0">
              <a:latin typeface="RBC Text" panose="02000000000000000000" pitchFamily="2" charset="77"/>
            </a:endParaRPr>
          </a:p>
        </p:txBody>
      </p:sp>
      <p:sp>
        <p:nvSpPr>
          <p:cNvPr id="42" name="Freeform 6"/>
          <p:cNvSpPr>
            <a:spLocks/>
          </p:cNvSpPr>
          <p:nvPr/>
        </p:nvSpPr>
        <p:spPr bwMode="auto">
          <a:xfrm rot="2700000">
            <a:off x="4159718" y="2880065"/>
            <a:ext cx="2076239" cy="1415080"/>
          </a:xfrm>
          <a:custGeom>
            <a:avLst/>
            <a:gdLst>
              <a:gd name="T0" fmla="*/ 12630 w 15298"/>
              <a:gd name="T1" fmla="*/ 443 h 10413"/>
              <a:gd name="T2" fmla="*/ 1033 w 15298"/>
              <a:gd name="T3" fmla="*/ 7138 h 10413"/>
              <a:gd name="T4" fmla="*/ 443 w 15298"/>
              <a:gd name="T5" fmla="*/ 9341 h 10413"/>
              <a:gd name="T6" fmla="*/ 466 w 15298"/>
              <a:gd name="T7" fmla="*/ 9379 h 10413"/>
              <a:gd name="T8" fmla="*/ 2668 w 15298"/>
              <a:gd name="T9" fmla="*/ 9970 h 10413"/>
              <a:gd name="T10" fmla="*/ 14264 w 15298"/>
              <a:gd name="T11" fmla="*/ 3275 h 10413"/>
              <a:gd name="T12" fmla="*/ 14854 w 15298"/>
              <a:gd name="T13" fmla="*/ 1072 h 10413"/>
              <a:gd name="T14" fmla="*/ 14832 w 15298"/>
              <a:gd name="T15" fmla="*/ 1033 h 10413"/>
              <a:gd name="T16" fmla="*/ 12630 w 15298"/>
              <a:gd name="T17" fmla="*/ 443 h 10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98" h="10413">
                <a:moveTo>
                  <a:pt x="12630" y="443"/>
                </a:moveTo>
                <a:lnTo>
                  <a:pt x="1033" y="7138"/>
                </a:lnTo>
                <a:cubicBezTo>
                  <a:pt x="266" y="7582"/>
                  <a:pt x="0" y="8573"/>
                  <a:pt x="443" y="9341"/>
                </a:cubicBezTo>
                <a:lnTo>
                  <a:pt x="466" y="9379"/>
                </a:lnTo>
                <a:cubicBezTo>
                  <a:pt x="909" y="10147"/>
                  <a:pt x="1900" y="10413"/>
                  <a:pt x="2668" y="9970"/>
                </a:cubicBezTo>
                <a:lnTo>
                  <a:pt x="14264" y="3275"/>
                </a:lnTo>
                <a:cubicBezTo>
                  <a:pt x="15032" y="2831"/>
                  <a:pt x="15298" y="1840"/>
                  <a:pt x="14854" y="1072"/>
                </a:cubicBezTo>
                <a:lnTo>
                  <a:pt x="14832" y="1033"/>
                </a:lnTo>
                <a:cubicBezTo>
                  <a:pt x="14389" y="266"/>
                  <a:pt x="13398" y="0"/>
                  <a:pt x="12630" y="443"/>
                </a:cubicBezTo>
                <a:close/>
              </a:path>
            </a:pathLst>
          </a:custGeom>
          <a:solidFill>
            <a:schemeClr val="accent3"/>
          </a:solidFill>
          <a:ln w="25400">
            <a:noFill/>
          </a:ln>
        </p:spPr>
        <p:txBody>
          <a:bodyPr vert="horz" wrap="square" lIns="91440" tIns="45720" rIns="91440" bIns="45720" numCol="1" anchor="t" anchorCtr="0" compatLnSpc="1">
            <a:prstTxWarp prst="textNoShape">
              <a:avLst/>
            </a:prstTxWarp>
          </a:bodyPr>
          <a:lstStyle/>
          <a:p>
            <a:endParaRPr lang="en-US" sz="1800" dirty="0">
              <a:latin typeface="RBC Text" panose="02000000000000000000" pitchFamily="2" charset="77"/>
            </a:endParaRPr>
          </a:p>
        </p:txBody>
      </p:sp>
      <p:sp>
        <p:nvSpPr>
          <p:cNvPr id="43" name="Freeform 9"/>
          <p:cNvSpPr>
            <a:spLocks/>
          </p:cNvSpPr>
          <p:nvPr/>
        </p:nvSpPr>
        <p:spPr bwMode="auto">
          <a:xfrm rot="18000000">
            <a:off x="5837587" y="2657361"/>
            <a:ext cx="2076239" cy="1415080"/>
          </a:xfrm>
          <a:custGeom>
            <a:avLst/>
            <a:gdLst>
              <a:gd name="T0" fmla="*/ 2668 w 15298"/>
              <a:gd name="T1" fmla="*/ 444 h 10413"/>
              <a:gd name="T2" fmla="*/ 14264 w 15298"/>
              <a:gd name="T3" fmla="*/ 7139 h 10413"/>
              <a:gd name="T4" fmla="*/ 14854 w 15298"/>
              <a:gd name="T5" fmla="*/ 9341 h 10413"/>
              <a:gd name="T6" fmla="*/ 14832 w 15298"/>
              <a:gd name="T7" fmla="*/ 9380 h 10413"/>
              <a:gd name="T8" fmla="*/ 12630 w 15298"/>
              <a:gd name="T9" fmla="*/ 9970 h 10413"/>
              <a:gd name="T10" fmla="*/ 1034 w 15298"/>
              <a:gd name="T11" fmla="*/ 3275 h 10413"/>
              <a:gd name="T12" fmla="*/ 443 w 15298"/>
              <a:gd name="T13" fmla="*/ 1073 h 10413"/>
              <a:gd name="T14" fmla="*/ 466 w 15298"/>
              <a:gd name="T15" fmla="*/ 1034 h 10413"/>
              <a:gd name="T16" fmla="*/ 2668 w 15298"/>
              <a:gd name="T17" fmla="*/ 444 h 10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98" h="10413">
                <a:moveTo>
                  <a:pt x="2668" y="444"/>
                </a:moveTo>
                <a:lnTo>
                  <a:pt x="14264" y="7139"/>
                </a:lnTo>
                <a:cubicBezTo>
                  <a:pt x="15032" y="7582"/>
                  <a:pt x="15298" y="8573"/>
                  <a:pt x="14854" y="9341"/>
                </a:cubicBezTo>
                <a:lnTo>
                  <a:pt x="14832" y="9380"/>
                </a:lnTo>
                <a:cubicBezTo>
                  <a:pt x="14389" y="10148"/>
                  <a:pt x="13398" y="10413"/>
                  <a:pt x="12630" y="9970"/>
                </a:cubicBezTo>
                <a:lnTo>
                  <a:pt x="1034" y="3275"/>
                </a:lnTo>
                <a:cubicBezTo>
                  <a:pt x="266" y="2832"/>
                  <a:pt x="0" y="1841"/>
                  <a:pt x="443" y="1073"/>
                </a:cubicBezTo>
                <a:lnTo>
                  <a:pt x="466" y="1034"/>
                </a:lnTo>
                <a:cubicBezTo>
                  <a:pt x="909" y="266"/>
                  <a:pt x="1900" y="0"/>
                  <a:pt x="2668" y="444"/>
                </a:cubicBezTo>
                <a:close/>
              </a:path>
            </a:pathLst>
          </a:custGeom>
          <a:solidFill>
            <a:schemeClr val="accent4"/>
          </a:solidFill>
          <a:ln w="25400">
            <a:noFill/>
          </a:ln>
        </p:spPr>
        <p:txBody>
          <a:bodyPr vert="horz" wrap="square" lIns="91440" tIns="45720" rIns="91440" bIns="45720" numCol="1" anchor="t" anchorCtr="0" compatLnSpc="1">
            <a:prstTxWarp prst="textNoShape">
              <a:avLst/>
            </a:prstTxWarp>
          </a:bodyPr>
          <a:lstStyle/>
          <a:p>
            <a:endParaRPr lang="en-US" sz="1800" dirty="0">
              <a:latin typeface="RBC Text" panose="02000000000000000000" pitchFamily="2" charset="77"/>
            </a:endParaRPr>
          </a:p>
        </p:txBody>
      </p:sp>
      <p:sp>
        <p:nvSpPr>
          <p:cNvPr id="44" name="Freeform 5"/>
          <p:cNvSpPr>
            <a:spLocks/>
          </p:cNvSpPr>
          <p:nvPr/>
        </p:nvSpPr>
        <p:spPr bwMode="auto">
          <a:xfrm rot="20714967">
            <a:off x="7301316" y="1526381"/>
            <a:ext cx="2077924" cy="1415080"/>
          </a:xfrm>
          <a:custGeom>
            <a:avLst/>
            <a:gdLst>
              <a:gd name="T0" fmla="*/ 12630 w 15298"/>
              <a:gd name="T1" fmla="*/ 444 h 10413"/>
              <a:gd name="T2" fmla="*/ 1033 w 15298"/>
              <a:gd name="T3" fmla="*/ 7139 h 10413"/>
              <a:gd name="T4" fmla="*/ 443 w 15298"/>
              <a:gd name="T5" fmla="*/ 9341 h 10413"/>
              <a:gd name="T6" fmla="*/ 466 w 15298"/>
              <a:gd name="T7" fmla="*/ 9380 h 10413"/>
              <a:gd name="T8" fmla="*/ 2668 w 15298"/>
              <a:gd name="T9" fmla="*/ 9970 h 10413"/>
              <a:gd name="T10" fmla="*/ 14264 w 15298"/>
              <a:gd name="T11" fmla="*/ 3275 h 10413"/>
              <a:gd name="T12" fmla="*/ 14854 w 15298"/>
              <a:gd name="T13" fmla="*/ 1073 h 10413"/>
              <a:gd name="T14" fmla="*/ 14832 w 15298"/>
              <a:gd name="T15" fmla="*/ 1034 h 10413"/>
              <a:gd name="T16" fmla="*/ 12630 w 15298"/>
              <a:gd name="T17" fmla="*/ 444 h 10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98" h="10413">
                <a:moveTo>
                  <a:pt x="12630" y="444"/>
                </a:moveTo>
                <a:lnTo>
                  <a:pt x="1033" y="7139"/>
                </a:lnTo>
                <a:cubicBezTo>
                  <a:pt x="266" y="7582"/>
                  <a:pt x="0" y="8573"/>
                  <a:pt x="443" y="9341"/>
                </a:cubicBezTo>
                <a:lnTo>
                  <a:pt x="466" y="9380"/>
                </a:lnTo>
                <a:cubicBezTo>
                  <a:pt x="909" y="10148"/>
                  <a:pt x="1900" y="10413"/>
                  <a:pt x="2668" y="9970"/>
                </a:cubicBezTo>
                <a:lnTo>
                  <a:pt x="14264" y="3275"/>
                </a:lnTo>
                <a:cubicBezTo>
                  <a:pt x="15032" y="2832"/>
                  <a:pt x="15298" y="1841"/>
                  <a:pt x="14854" y="1073"/>
                </a:cubicBezTo>
                <a:lnTo>
                  <a:pt x="14832" y="1034"/>
                </a:lnTo>
                <a:cubicBezTo>
                  <a:pt x="14389" y="266"/>
                  <a:pt x="13398" y="0"/>
                  <a:pt x="12630" y="444"/>
                </a:cubicBezTo>
                <a:close/>
              </a:path>
            </a:pathLst>
          </a:custGeom>
          <a:solidFill>
            <a:schemeClr val="accent5"/>
          </a:solidFill>
          <a:ln w="25400">
            <a:noFill/>
          </a:ln>
        </p:spPr>
        <p:txBody>
          <a:bodyPr vert="horz" wrap="square" lIns="91440" tIns="45720" rIns="91440" bIns="45720" numCol="1" anchor="t" anchorCtr="0" compatLnSpc="1">
            <a:prstTxWarp prst="textNoShape">
              <a:avLst/>
            </a:prstTxWarp>
          </a:bodyPr>
          <a:lstStyle/>
          <a:p>
            <a:endParaRPr lang="en-US" sz="1800" dirty="0">
              <a:latin typeface="RBC Text" panose="02000000000000000000" pitchFamily="2" charset="77"/>
            </a:endParaRPr>
          </a:p>
        </p:txBody>
      </p:sp>
      <p:sp>
        <p:nvSpPr>
          <p:cNvPr id="45" name="Oval 44"/>
          <p:cNvSpPr/>
          <p:nvPr/>
        </p:nvSpPr>
        <p:spPr>
          <a:xfrm>
            <a:off x="991456" y="3176302"/>
            <a:ext cx="343116" cy="343114"/>
          </a:xfrm>
          <a:prstGeom prst="ellipse">
            <a:avLst/>
          </a:prstGeom>
          <a:solidFill>
            <a:schemeClr val="accent1">
              <a:lumMod val="7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1</a:t>
            </a:r>
          </a:p>
        </p:txBody>
      </p:sp>
      <p:sp>
        <p:nvSpPr>
          <p:cNvPr id="46" name="Oval 45"/>
          <p:cNvSpPr/>
          <p:nvPr/>
        </p:nvSpPr>
        <p:spPr>
          <a:xfrm>
            <a:off x="2568008" y="4090702"/>
            <a:ext cx="343116" cy="343114"/>
          </a:xfrm>
          <a:prstGeom prst="ellipse">
            <a:avLst/>
          </a:prstGeom>
          <a:solidFill>
            <a:schemeClr val="accent2">
              <a:lumMod val="7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2</a:t>
            </a:r>
          </a:p>
        </p:txBody>
      </p:sp>
      <p:sp>
        <p:nvSpPr>
          <p:cNvPr id="47" name="Oval 46"/>
          <p:cNvSpPr/>
          <p:nvPr/>
        </p:nvSpPr>
        <p:spPr>
          <a:xfrm>
            <a:off x="4145093" y="3176302"/>
            <a:ext cx="343116" cy="343114"/>
          </a:xfrm>
          <a:prstGeom prst="ellipse">
            <a:avLst/>
          </a:prstGeom>
          <a:solidFill>
            <a:schemeClr val="accent3">
              <a:lumMod val="7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3</a:t>
            </a:r>
          </a:p>
        </p:txBody>
      </p:sp>
      <p:sp>
        <p:nvSpPr>
          <p:cNvPr id="48" name="Oval 47"/>
          <p:cNvSpPr/>
          <p:nvPr/>
        </p:nvSpPr>
        <p:spPr>
          <a:xfrm>
            <a:off x="5931853" y="3638758"/>
            <a:ext cx="343116" cy="343114"/>
          </a:xfrm>
          <a:prstGeom prst="ellipse">
            <a:avLst/>
          </a:prstGeom>
          <a:solidFill>
            <a:schemeClr val="accent4">
              <a:lumMod val="7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4</a:t>
            </a:r>
          </a:p>
        </p:txBody>
      </p:sp>
      <p:sp>
        <p:nvSpPr>
          <p:cNvPr id="49" name="Oval 48"/>
          <p:cNvSpPr/>
          <p:nvPr/>
        </p:nvSpPr>
        <p:spPr>
          <a:xfrm>
            <a:off x="7529426" y="2692829"/>
            <a:ext cx="343116" cy="343114"/>
          </a:xfrm>
          <a:prstGeom prst="ellipse">
            <a:avLst/>
          </a:prstGeom>
          <a:solidFill>
            <a:schemeClr val="accent5">
              <a:lumMod val="7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5</a:t>
            </a:r>
          </a:p>
        </p:txBody>
      </p:sp>
      <p:sp>
        <p:nvSpPr>
          <p:cNvPr id="50" name="TextBox 49"/>
          <p:cNvSpPr txBox="1"/>
          <p:nvPr/>
        </p:nvSpPr>
        <p:spPr>
          <a:xfrm>
            <a:off x="934036" y="4603967"/>
            <a:ext cx="1344495" cy="1277273"/>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51" name="TextBox 50"/>
          <p:cNvSpPr txBox="1"/>
          <p:nvPr/>
        </p:nvSpPr>
        <p:spPr>
          <a:xfrm>
            <a:off x="2507658" y="5153332"/>
            <a:ext cx="1344495" cy="1277273"/>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52" name="TextBox 51"/>
          <p:cNvSpPr txBox="1"/>
          <p:nvPr/>
        </p:nvSpPr>
        <p:spPr>
          <a:xfrm>
            <a:off x="4098919" y="4253001"/>
            <a:ext cx="1344495" cy="1277273"/>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53" name="TextBox 52"/>
          <p:cNvSpPr txBox="1"/>
          <p:nvPr/>
        </p:nvSpPr>
        <p:spPr>
          <a:xfrm>
            <a:off x="5851458" y="4664290"/>
            <a:ext cx="1344495" cy="1277273"/>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54" name="TextBox 53"/>
          <p:cNvSpPr txBox="1"/>
          <p:nvPr/>
        </p:nvSpPr>
        <p:spPr>
          <a:xfrm>
            <a:off x="7458973" y="3734671"/>
            <a:ext cx="1344495" cy="1277273"/>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t>
            </a:r>
          </a:p>
        </p:txBody>
      </p:sp>
      <p:sp>
        <p:nvSpPr>
          <p:cNvPr id="24" name="Text Placeholder 6">
            <a:extLst>
              <a:ext uri="{FF2B5EF4-FFF2-40B4-BE49-F238E27FC236}">
                <a16:creationId xmlns:a16="http://schemas.microsoft.com/office/drawing/2014/main" id="{6EFB80B9-ABCD-6B45-9498-EAE577E8674C}"/>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4739405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8484818" y="1753246"/>
            <a:ext cx="2379062" cy="1306512"/>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 to raise and purify our thoughts like a strain of sacred music.</a:t>
            </a:r>
          </a:p>
        </p:txBody>
      </p:sp>
      <p:sp>
        <p:nvSpPr>
          <p:cNvPr id="32" name="TextBox 31"/>
          <p:cNvSpPr txBox="1"/>
          <p:nvPr/>
        </p:nvSpPr>
        <p:spPr>
          <a:xfrm>
            <a:off x="8484818" y="4506729"/>
            <a:ext cx="2379062" cy="1306512"/>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 to raise and purify our thoughts like a strain of sacred music.</a:t>
            </a:r>
          </a:p>
        </p:txBody>
      </p:sp>
      <p:sp>
        <p:nvSpPr>
          <p:cNvPr id="35" name="TextBox 34"/>
          <p:cNvSpPr txBox="1"/>
          <p:nvPr/>
        </p:nvSpPr>
        <p:spPr>
          <a:xfrm>
            <a:off x="1307072" y="1753246"/>
            <a:ext cx="2379062" cy="1306512"/>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 to raise and purify our thoughts like a strain of sacred music.</a:t>
            </a:r>
          </a:p>
        </p:txBody>
      </p:sp>
      <p:sp>
        <p:nvSpPr>
          <p:cNvPr id="36" name="TextBox 35"/>
          <p:cNvSpPr txBox="1"/>
          <p:nvPr/>
        </p:nvSpPr>
        <p:spPr>
          <a:xfrm>
            <a:off x="1307072" y="4506729"/>
            <a:ext cx="2379062" cy="1306512"/>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 to raise and purify our thoughts like a strain of sacred music.</a:t>
            </a:r>
          </a:p>
        </p:txBody>
      </p:sp>
      <p:sp>
        <p:nvSpPr>
          <p:cNvPr id="56" name="Freeform 5"/>
          <p:cNvSpPr>
            <a:spLocks/>
          </p:cNvSpPr>
          <p:nvPr/>
        </p:nvSpPr>
        <p:spPr bwMode="auto">
          <a:xfrm rot="18900000" flipH="1">
            <a:off x="7187498" y="2113323"/>
            <a:ext cx="687096" cy="1825392"/>
          </a:xfrm>
          <a:custGeom>
            <a:avLst/>
            <a:gdLst>
              <a:gd name="T0" fmla="*/ 367 w 367"/>
              <a:gd name="T1" fmla="*/ 975 h 975"/>
              <a:gd name="T2" fmla="*/ 367 w 367"/>
              <a:gd name="T3" fmla="*/ 0 h 975"/>
              <a:gd name="T4" fmla="*/ 0 w 367"/>
              <a:gd name="T5" fmla="*/ 0 h 975"/>
              <a:gd name="T6" fmla="*/ 0 w 367"/>
              <a:gd name="T7" fmla="*/ 609 h 975"/>
              <a:gd name="T8" fmla="*/ 367 w 367"/>
              <a:gd name="T9" fmla="*/ 975 h 975"/>
            </a:gdLst>
            <a:ahLst/>
            <a:cxnLst>
              <a:cxn ang="0">
                <a:pos x="T0" y="T1"/>
              </a:cxn>
              <a:cxn ang="0">
                <a:pos x="T2" y="T3"/>
              </a:cxn>
              <a:cxn ang="0">
                <a:pos x="T4" y="T5"/>
              </a:cxn>
              <a:cxn ang="0">
                <a:pos x="T6" y="T7"/>
              </a:cxn>
              <a:cxn ang="0">
                <a:pos x="T8" y="T9"/>
              </a:cxn>
            </a:cxnLst>
            <a:rect l="0" t="0" r="r" b="b"/>
            <a:pathLst>
              <a:path w="367" h="975">
                <a:moveTo>
                  <a:pt x="367" y="975"/>
                </a:moveTo>
                <a:lnTo>
                  <a:pt x="367" y="0"/>
                </a:lnTo>
                <a:lnTo>
                  <a:pt x="0" y="0"/>
                </a:lnTo>
                <a:lnTo>
                  <a:pt x="0" y="609"/>
                </a:lnTo>
                <a:lnTo>
                  <a:pt x="367" y="975"/>
                </a:lnTo>
                <a:close/>
              </a:path>
            </a:pathLst>
          </a:custGeom>
          <a:solidFill>
            <a:schemeClr val="accent2">
              <a:lumMod val="75000"/>
            </a:schemeClr>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7" name="Freeform 6"/>
          <p:cNvSpPr>
            <a:spLocks/>
          </p:cNvSpPr>
          <p:nvPr/>
        </p:nvSpPr>
        <p:spPr bwMode="auto">
          <a:xfrm rot="18900000" flipH="1">
            <a:off x="4781130" y="1649760"/>
            <a:ext cx="1823520" cy="683352"/>
          </a:xfrm>
          <a:custGeom>
            <a:avLst/>
            <a:gdLst>
              <a:gd name="T0" fmla="*/ 0 w 974"/>
              <a:gd name="T1" fmla="*/ 365 h 365"/>
              <a:gd name="T2" fmla="*/ 974 w 974"/>
              <a:gd name="T3" fmla="*/ 365 h 365"/>
              <a:gd name="T4" fmla="*/ 974 w 974"/>
              <a:gd name="T5" fmla="*/ 0 h 365"/>
              <a:gd name="T6" fmla="*/ 365 w 974"/>
              <a:gd name="T7" fmla="*/ 0 h 365"/>
              <a:gd name="T8" fmla="*/ 0 w 974"/>
              <a:gd name="T9" fmla="*/ 365 h 365"/>
            </a:gdLst>
            <a:ahLst/>
            <a:cxnLst>
              <a:cxn ang="0">
                <a:pos x="T0" y="T1"/>
              </a:cxn>
              <a:cxn ang="0">
                <a:pos x="T2" y="T3"/>
              </a:cxn>
              <a:cxn ang="0">
                <a:pos x="T4" y="T5"/>
              </a:cxn>
              <a:cxn ang="0">
                <a:pos x="T6" y="T7"/>
              </a:cxn>
              <a:cxn ang="0">
                <a:pos x="T8" y="T9"/>
              </a:cxn>
            </a:cxnLst>
            <a:rect l="0" t="0" r="r" b="b"/>
            <a:pathLst>
              <a:path w="974" h="365">
                <a:moveTo>
                  <a:pt x="0" y="365"/>
                </a:moveTo>
                <a:lnTo>
                  <a:pt x="974" y="365"/>
                </a:lnTo>
                <a:lnTo>
                  <a:pt x="974" y="0"/>
                </a:lnTo>
                <a:lnTo>
                  <a:pt x="365" y="0"/>
                </a:lnTo>
                <a:lnTo>
                  <a:pt x="0" y="365"/>
                </a:lnTo>
                <a:close/>
              </a:path>
            </a:pathLst>
          </a:custGeom>
          <a:solidFill>
            <a:schemeClr val="accent1">
              <a:lumMod val="75000"/>
            </a:schemeClr>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8" name="Freeform 7"/>
          <p:cNvSpPr>
            <a:spLocks/>
          </p:cNvSpPr>
          <p:nvPr/>
        </p:nvSpPr>
        <p:spPr bwMode="auto">
          <a:xfrm rot="18900000" flipH="1">
            <a:off x="6027712" y="1024841"/>
            <a:ext cx="1207567" cy="2197959"/>
          </a:xfrm>
          <a:custGeom>
            <a:avLst/>
            <a:gdLst>
              <a:gd name="T0" fmla="*/ 505 w 645"/>
              <a:gd name="T1" fmla="*/ 0 h 1174"/>
              <a:gd name="T2" fmla="*/ 140 w 645"/>
              <a:gd name="T3" fmla="*/ 365 h 1174"/>
              <a:gd name="T4" fmla="*/ 140 w 645"/>
              <a:gd name="T5" fmla="*/ 780 h 1174"/>
              <a:gd name="T6" fmla="*/ 0 w 645"/>
              <a:gd name="T7" fmla="*/ 780 h 1174"/>
              <a:gd name="T8" fmla="*/ 322 w 645"/>
              <a:gd name="T9" fmla="*/ 1174 h 1174"/>
              <a:gd name="T10" fmla="*/ 645 w 645"/>
              <a:gd name="T11" fmla="*/ 780 h 1174"/>
              <a:gd name="T12" fmla="*/ 505 w 645"/>
              <a:gd name="T13" fmla="*/ 780 h 1174"/>
              <a:gd name="T14" fmla="*/ 505 w 645"/>
              <a:gd name="T15" fmla="*/ 0 h 1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5" h="1174">
                <a:moveTo>
                  <a:pt x="505" y="0"/>
                </a:moveTo>
                <a:lnTo>
                  <a:pt x="140" y="365"/>
                </a:lnTo>
                <a:lnTo>
                  <a:pt x="140" y="780"/>
                </a:lnTo>
                <a:lnTo>
                  <a:pt x="0" y="780"/>
                </a:lnTo>
                <a:lnTo>
                  <a:pt x="322" y="1174"/>
                </a:lnTo>
                <a:lnTo>
                  <a:pt x="645" y="780"/>
                </a:lnTo>
                <a:lnTo>
                  <a:pt x="505" y="780"/>
                </a:lnTo>
                <a:lnTo>
                  <a:pt x="505" y="0"/>
                </a:lnTo>
                <a:close/>
              </a:path>
            </a:pathLst>
          </a:custGeom>
          <a:solidFill>
            <a:schemeClr val="accent1"/>
          </a:solidFill>
          <a:ln w="25400">
            <a:noFill/>
          </a:ln>
        </p:spPr>
        <p:txBody>
          <a:bodyPr vert="horz" wrap="square" lIns="91440" tIns="45720" rIns="91440" bIns="274320" numCol="1" anchor="b" anchorCtr="0" compatLnSpc="1">
            <a:prstTxWarp prst="textNoShape">
              <a:avLst/>
            </a:prstTxWarp>
          </a:bodyPr>
          <a:lstStyle/>
          <a:p>
            <a:pPr algn="ctr"/>
            <a:endParaRPr lang="en-US" sz="2800" dirty="0">
              <a:latin typeface="RBC Text" panose="02000000000000000000" pitchFamily="2" charset="77"/>
            </a:endParaRPr>
          </a:p>
        </p:txBody>
      </p:sp>
      <p:sp>
        <p:nvSpPr>
          <p:cNvPr id="59" name="Freeform 8"/>
          <p:cNvSpPr>
            <a:spLocks/>
          </p:cNvSpPr>
          <p:nvPr/>
        </p:nvSpPr>
        <p:spPr bwMode="auto">
          <a:xfrm rot="18900000" flipH="1">
            <a:off x="4319279" y="2918220"/>
            <a:ext cx="683352" cy="1825392"/>
          </a:xfrm>
          <a:custGeom>
            <a:avLst/>
            <a:gdLst>
              <a:gd name="T0" fmla="*/ 0 w 365"/>
              <a:gd name="T1" fmla="*/ 0 h 975"/>
              <a:gd name="T2" fmla="*/ 0 w 365"/>
              <a:gd name="T3" fmla="*/ 975 h 975"/>
              <a:gd name="T4" fmla="*/ 365 w 365"/>
              <a:gd name="T5" fmla="*/ 975 h 975"/>
              <a:gd name="T6" fmla="*/ 365 w 365"/>
              <a:gd name="T7" fmla="*/ 365 h 975"/>
              <a:gd name="T8" fmla="*/ 0 w 365"/>
              <a:gd name="T9" fmla="*/ 0 h 975"/>
            </a:gdLst>
            <a:ahLst/>
            <a:cxnLst>
              <a:cxn ang="0">
                <a:pos x="T0" y="T1"/>
              </a:cxn>
              <a:cxn ang="0">
                <a:pos x="T2" y="T3"/>
              </a:cxn>
              <a:cxn ang="0">
                <a:pos x="T4" y="T5"/>
              </a:cxn>
              <a:cxn ang="0">
                <a:pos x="T6" y="T7"/>
              </a:cxn>
              <a:cxn ang="0">
                <a:pos x="T8" y="T9"/>
              </a:cxn>
            </a:cxnLst>
            <a:rect l="0" t="0" r="r" b="b"/>
            <a:pathLst>
              <a:path w="365" h="975">
                <a:moveTo>
                  <a:pt x="0" y="0"/>
                </a:moveTo>
                <a:lnTo>
                  <a:pt x="0" y="975"/>
                </a:lnTo>
                <a:lnTo>
                  <a:pt x="365" y="975"/>
                </a:lnTo>
                <a:lnTo>
                  <a:pt x="365" y="365"/>
                </a:lnTo>
                <a:lnTo>
                  <a:pt x="0" y="0"/>
                </a:lnTo>
                <a:close/>
              </a:path>
            </a:pathLst>
          </a:custGeom>
          <a:solidFill>
            <a:schemeClr val="accent4">
              <a:lumMod val="75000"/>
            </a:schemeClr>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0" name="Freeform 9"/>
          <p:cNvSpPr>
            <a:spLocks/>
          </p:cNvSpPr>
          <p:nvPr/>
        </p:nvSpPr>
        <p:spPr bwMode="auto">
          <a:xfrm rot="18900000" flipH="1">
            <a:off x="3694521" y="2289851"/>
            <a:ext cx="2192342" cy="1207567"/>
          </a:xfrm>
          <a:custGeom>
            <a:avLst/>
            <a:gdLst>
              <a:gd name="T0" fmla="*/ 1171 w 1171"/>
              <a:gd name="T1" fmla="*/ 505 h 645"/>
              <a:gd name="T2" fmla="*/ 806 w 1171"/>
              <a:gd name="T3" fmla="*/ 140 h 645"/>
              <a:gd name="T4" fmla="*/ 391 w 1171"/>
              <a:gd name="T5" fmla="*/ 140 h 645"/>
              <a:gd name="T6" fmla="*/ 391 w 1171"/>
              <a:gd name="T7" fmla="*/ 0 h 645"/>
              <a:gd name="T8" fmla="*/ 0 w 1171"/>
              <a:gd name="T9" fmla="*/ 323 h 645"/>
              <a:gd name="T10" fmla="*/ 391 w 1171"/>
              <a:gd name="T11" fmla="*/ 645 h 645"/>
              <a:gd name="T12" fmla="*/ 391 w 1171"/>
              <a:gd name="T13" fmla="*/ 505 h 645"/>
              <a:gd name="T14" fmla="*/ 1171 w 1171"/>
              <a:gd name="T15" fmla="*/ 505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1" h="645">
                <a:moveTo>
                  <a:pt x="1171" y="505"/>
                </a:moveTo>
                <a:lnTo>
                  <a:pt x="806" y="140"/>
                </a:lnTo>
                <a:lnTo>
                  <a:pt x="391" y="140"/>
                </a:lnTo>
                <a:lnTo>
                  <a:pt x="391" y="0"/>
                </a:lnTo>
                <a:lnTo>
                  <a:pt x="0" y="323"/>
                </a:lnTo>
                <a:lnTo>
                  <a:pt x="391" y="645"/>
                </a:lnTo>
                <a:lnTo>
                  <a:pt x="391" y="505"/>
                </a:lnTo>
                <a:lnTo>
                  <a:pt x="1171" y="505"/>
                </a:lnTo>
                <a:close/>
              </a:path>
            </a:pathLst>
          </a:custGeom>
          <a:solidFill>
            <a:schemeClr val="accent4"/>
          </a:solidFill>
          <a:ln w="25400">
            <a:noFill/>
          </a:ln>
        </p:spPr>
        <p:txBody>
          <a:bodyPr vert="horz" wrap="square" lIns="365760" tIns="45720" rIns="91440" bIns="45720" numCol="1" anchor="ctr" anchorCtr="0" compatLnSpc="1">
            <a:prstTxWarp prst="textNoShape">
              <a:avLst/>
            </a:prstTxWarp>
          </a:bodyPr>
          <a:lstStyle/>
          <a:p>
            <a:endParaRPr lang="en-US" sz="2800" dirty="0">
              <a:latin typeface="RBC Text" panose="02000000000000000000" pitchFamily="2" charset="77"/>
            </a:endParaRPr>
          </a:p>
        </p:txBody>
      </p:sp>
      <p:sp>
        <p:nvSpPr>
          <p:cNvPr id="61" name="Freeform 10"/>
          <p:cNvSpPr>
            <a:spLocks/>
          </p:cNvSpPr>
          <p:nvPr/>
        </p:nvSpPr>
        <p:spPr bwMode="auto">
          <a:xfrm rot="18900000" flipH="1">
            <a:off x="5588013" y="4520901"/>
            <a:ext cx="1823520" cy="685224"/>
          </a:xfrm>
          <a:custGeom>
            <a:avLst/>
            <a:gdLst>
              <a:gd name="T0" fmla="*/ 974 w 974"/>
              <a:gd name="T1" fmla="*/ 0 h 366"/>
              <a:gd name="T2" fmla="*/ 0 w 974"/>
              <a:gd name="T3" fmla="*/ 0 h 366"/>
              <a:gd name="T4" fmla="*/ 0 w 974"/>
              <a:gd name="T5" fmla="*/ 366 h 366"/>
              <a:gd name="T6" fmla="*/ 609 w 974"/>
              <a:gd name="T7" fmla="*/ 366 h 366"/>
              <a:gd name="T8" fmla="*/ 974 w 974"/>
              <a:gd name="T9" fmla="*/ 0 h 366"/>
            </a:gdLst>
            <a:ahLst/>
            <a:cxnLst>
              <a:cxn ang="0">
                <a:pos x="T0" y="T1"/>
              </a:cxn>
              <a:cxn ang="0">
                <a:pos x="T2" y="T3"/>
              </a:cxn>
              <a:cxn ang="0">
                <a:pos x="T4" y="T5"/>
              </a:cxn>
              <a:cxn ang="0">
                <a:pos x="T6" y="T7"/>
              </a:cxn>
              <a:cxn ang="0">
                <a:pos x="T8" y="T9"/>
              </a:cxn>
            </a:cxnLst>
            <a:rect l="0" t="0" r="r" b="b"/>
            <a:pathLst>
              <a:path w="974" h="366">
                <a:moveTo>
                  <a:pt x="974" y="0"/>
                </a:moveTo>
                <a:lnTo>
                  <a:pt x="0" y="0"/>
                </a:lnTo>
                <a:lnTo>
                  <a:pt x="0" y="366"/>
                </a:lnTo>
                <a:lnTo>
                  <a:pt x="609" y="366"/>
                </a:lnTo>
                <a:lnTo>
                  <a:pt x="974" y="0"/>
                </a:lnTo>
                <a:close/>
              </a:path>
            </a:pathLst>
          </a:custGeom>
          <a:solidFill>
            <a:schemeClr val="accent3">
              <a:lumMod val="75000"/>
            </a:schemeClr>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2" name="Freeform 11"/>
          <p:cNvSpPr>
            <a:spLocks/>
          </p:cNvSpPr>
          <p:nvPr/>
        </p:nvSpPr>
        <p:spPr bwMode="auto">
          <a:xfrm rot="18900000" flipH="1">
            <a:off x="4958047" y="3632811"/>
            <a:ext cx="1207567" cy="2197959"/>
          </a:xfrm>
          <a:custGeom>
            <a:avLst/>
            <a:gdLst>
              <a:gd name="T0" fmla="*/ 140 w 645"/>
              <a:gd name="T1" fmla="*/ 1174 h 1174"/>
              <a:gd name="T2" fmla="*/ 505 w 645"/>
              <a:gd name="T3" fmla="*/ 808 h 1174"/>
              <a:gd name="T4" fmla="*/ 505 w 645"/>
              <a:gd name="T5" fmla="*/ 394 h 1174"/>
              <a:gd name="T6" fmla="*/ 645 w 645"/>
              <a:gd name="T7" fmla="*/ 394 h 1174"/>
              <a:gd name="T8" fmla="*/ 323 w 645"/>
              <a:gd name="T9" fmla="*/ 0 h 1174"/>
              <a:gd name="T10" fmla="*/ 0 w 645"/>
              <a:gd name="T11" fmla="*/ 394 h 1174"/>
              <a:gd name="T12" fmla="*/ 140 w 645"/>
              <a:gd name="T13" fmla="*/ 394 h 1174"/>
              <a:gd name="T14" fmla="*/ 140 w 645"/>
              <a:gd name="T15" fmla="*/ 1174 h 1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5" h="1174">
                <a:moveTo>
                  <a:pt x="140" y="1174"/>
                </a:moveTo>
                <a:lnTo>
                  <a:pt x="505" y="808"/>
                </a:lnTo>
                <a:lnTo>
                  <a:pt x="505" y="394"/>
                </a:lnTo>
                <a:lnTo>
                  <a:pt x="645" y="394"/>
                </a:lnTo>
                <a:lnTo>
                  <a:pt x="323" y="0"/>
                </a:lnTo>
                <a:lnTo>
                  <a:pt x="0" y="394"/>
                </a:lnTo>
                <a:lnTo>
                  <a:pt x="140" y="394"/>
                </a:lnTo>
                <a:lnTo>
                  <a:pt x="140" y="1174"/>
                </a:lnTo>
                <a:close/>
              </a:path>
            </a:pathLst>
          </a:custGeom>
          <a:solidFill>
            <a:schemeClr val="accent3"/>
          </a:solidFill>
          <a:ln w="25400">
            <a:noFill/>
          </a:ln>
        </p:spPr>
        <p:txBody>
          <a:bodyPr vert="horz" wrap="square" lIns="91440" tIns="274320" rIns="91440" bIns="45720" numCol="1" anchor="t" anchorCtr="0" compatLnSpc="1">
            <a:prstTxWarp prst="textNoShape">
              <a:avLst/>
            </a:prstTxWarp>
          </a:bodyPr>
          <a:lstStyle/>
          <a:p>
            <a:pPr algn="ctr"/>
            <a:endParaRPr lang="en-US" sz="2800" dirty="0">
              <a:latin typeface="RBC Text" panose="02000000000000000000" pitchFamily="2" charset="77"/>
            </a:endParaRPr>
          </a:p>
        </p:txBody>
      </p:sp>
      <p:sp>
        <p:nvSpPr>
          <p:cNvPr id="63" name="Freeform 12"/>
          <p:cNvSpPr>
            <a:spLocks/>
          </p:cNvSpPr>
          <p:nvPr/>
        </p:nvSpPr>
        <p:spPr bwMode="auto">
          <a:xfrm rot="18900000" flipH="1">
            <a:off x="6302605" y="3359791"/>
            <a:ext cx="2196087" cy="1205695"/>
          </a:xfrm>
          <a:custGeom>
            <a:avLst/>
            <a:gdLst>
              <a:gd name="T0" fmla="*/ 0 w 1173"/>
              <a:gd name="T1" fmla="*/ 139 h 644"/>
              <a:gd name="T2" fmla="*/ 367 w 1173"/>
              <a:gd name="T3" fmla="*/ 505 h 644"/>
              <a:gd name="T4" fmla="*/ 780 w 1173"/>
              <a:gd name="T5" fmla="*/ 505 h 644"/>
              <a:gd name="T6" fmla="*/ 780 w 1173"/>
              <a:gd name="T7" fmla="*/ 644 h 644"/>
              <a:gd name="T8" fmla="*/ 1173 w 1173"/>
              <a:gd name="T9" fmla="*/ 322 h 644"/>
              <a:gd name="T10" fmla="*/ 780 w 1173"/>
              <a:gd name="T11" fmla="*/ 0 h 644"/>
              <a:gd name="T12" fmla="*/ 780 w 1173"/>
              <a:gd name="T13" fmla="*/ 139 h 644"/>
              <a:gd name="T14" fmla="*/ 0 w 1173"/>
              <a:gd name="T15" fmla="*/ 139 h 6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3" h="644">
                <a:moveTo>
                  <a:pt x="0" y="139"/>
                </a:moveTo>
                <a:lnTo>
                  <a:pt x="367" y="505"/>
                </a:lnTo>
                <a:lnTo>
                  <a:pt x="780" y="505"/>
                </a:lnTo>
                <a:lnTo>
                  <a:pt x="780" y="644"/>
                </a:lnTo>
                <a:lnTo>
                  <a:pt x="1173" y="322"/>
                </a:lnTo>
                <a:lnTo>
                  <a:pt x="780" y="0"/>
                </a:lnTo>
                <a:lnTo>
                  <a:pt x="780" y="139"/>
                </a:lnTo>
                <a:lnTo>
                  <a:pt x="0" y="139"/>
                </a:lnTo>
                <a:close/>
              </a:path>
            </a:pathLst>
          </a:custGeom>
          <a:solidFill>
            <a:schemeClr val="accent2"/>
          </a:solidFill>
          <a:ln w="25400">
            <a:noFill/>
          </a:ln>
        </p:spPr>
        <p:txBody>
          <a:bodyPr vert="horz" wrap="square" lIns="91440" tIns="45720" rIns="365760" bIns="45720" numCol="1" anchor="ctr" anchorCtr="0" compatLnSpc="1">
            <a:prstTxWarp prst="textNoShape">
              <a:avLst/>
            </a:prstTxWarp>
          </a:bodyPr>
          <a:lstStyle/>
          <a:p>
            <a:pPr algn="r"/>
            <a:endParaRPr lang="en-US" sz="2800" dirty="0">
              <a:latin typeface="RBC Text" panose="02000000000000000000" pitchFamily="2" charset="77"/>
            </a:endParaRPr>
          </a:p>
        </p:txBody>
      </p:sp>
      <p:sp>
        <p:nvSpPr>
          <p:cNvPr id="64" name="Oval 63"/>
          <p:cNvSpPr/>
          <p:nvPr/>
        </p:nvSpPr>
        <p:spPr>
          <a:xfrm>
            <a:off x="7946513" y="1791289"/>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1</a:t>
            </a:r>
          </a:p>
        </p:txBody>
      </p:sp>
      <p:sp>
        <p:nvSpPr>
          <p:cNvPr id="65" name="Oval 64"/>
          <p:cNvSpPr/>
          <p:nvPr/>
        </p:nvSpPr>
        <p:spPr>
          <a:xfrm>
            <a:off x="7946513" y="4544772"/>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2</a:t>
            </a:r>
          </a:p>
        </p:txBody>
      </p:sp>
      <p:sp>
        <p:nvSpPr>
          <p:cNvPr id="66" name="Oval 65"/>
          <p:cNvSpPr/>
          <p:nvPr/>
        </p:nvSpPr>
        <p:spPr>
          <a:xfrm>
            <a:off x="3881323" y="1791289"/>
            <a:ext cx="343116" cy="343114"/>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4</a:t>
            </a:r>
          </a:p>
        </p:txBody>
      </p:sp>
      <p:sp>
        <p:nvSpPr>
          <p:cNvPr id="67" name="Oval 66"/>
          <p:cNvSpPr/>
          <p:nvPr/>
        </p:nvSpPr>
        <p:spPr>
          <a:xfrm>
            <a:off x="3881323" y="4544772"/>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Display" panose="02000000000000000000" pitchFamily="2" charset="77"/>
              </a:rPr>
              <a:t>03</a:t>
            </a:r>
          </a:p>
        </p:txBody>
      </p:sp>
      <p:sp>
        <p:nvSpPr>
          <p:cNvPr id="68" name="Freeform 1050"/>
          <p:cNvSpPr>
            <a:spLocks noEditPoints="1"/>
          </p:cNvSpPr>
          <p:nvPr/>
        </p:nvSpPr>
        <p:spPr bwMode="auto">
          <a:xfrm>
            <a:off x="6804078" y="2309161"/>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9" name="Freeform 1137"/>
          <p:cNvSpPr>
            <a:spLocks noEditPoints="1"/>
          </p:cNvSpPr>
          <p:nvPr/>
        </p:nvSpPr>
        <p:spPr bwMode="auto">
          <a:xfrm>
            <a:off x="6870974" y="4159952"/>
            <a:ext cx="372995" cy="33829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70" name="Freeform 2123"/>
          <p:cNvSpPr>
            <a:spLocks noEditPoints="1"/>
          </p:cNvSpPr>
          <p:nvPr/>
        </p:nvSpPr>
        <p:spPr bwMode="auto">
          <a:xfrm>
            <a:off x="5005241" y="4157465"/>
            <a:ext cx="344803" cy="375162"/>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71" name="Freeform 851"/>
          <p:cNvSpPr>
            <a:spLocks noEditPoints="1"/>
          </p:cNvSpPr>
          <p:nvPr/>
        </p:nvSpPr>
        <p:spPr bwMode="auto">
          <a:xfrm>
            <a:off x="4938661" y="2338756"/>
            <a:ext cx="328539" cy="376247"/>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2" name="Text Placeholder 6">
            <a:extLst>
              <a:ext uri="{FF2B5EF4-FFF2-40B4-BE49-F238E27FC236}">
                <a16:creationId xmlns:a16="http://schemas.microsoft.com/office/drawing/2014/main" id="{5D02D0A7-D067-7E48-AD96-529E7BB3874B}"/>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21048608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p:cNvSpPr txBox="1"/>
          <p:nvPr/>
        </p:nvSpPr>
        <p:spPr>
          <a:xfrm>
            <a:off x="8136226" y="2126657"/>
            <a:ext cx="2379062" cy="1121846"/>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 to raise and purify.</a:t>
            </a:r>
          </a:p>
        </p:txBody>
      </p:sp>
      <p:sp>
        <p:nvSpPr>
          <p:cNvPr id="38" name="TextBox 37"/>
          <p:cNvSpPr txBox="1"/>
          <p:nvPr/>
        </p:nvSpPr>
        <p:spPr>
          <a:xfrm>
            <a:off x="8136226" y="4300718"/>
            <a:ext cx="2379062" cy="1121846"/>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 to raise and purify.</a:t>
            </a:r>
          </a:p>
        </p:txBody>
      </p:sp>
      <p:sp>
        <p:nvSpPr>
          <p:cNvPr id="45" name="TextBox 44"/>
          <p:cNvSpPr txBox="1"/>
          <p:nvPr/>
        </p:nvSpPr>
        <p:spPr>
          <a:xfrm>
            <a:off x="1723944" y="2126657"/>
            <a:ext cx="2379062" cy="1121846"/>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 to raise and purify.</a:t>
            </a:r>
          </a:p>
        </p:txBody>
      </p:sp>
      <p:sp>
        <p:nvSpPr>
          <p:cNvPr id="46" name="TextBox 45"/>
          <p:cNvSpPr txBox="1"/>
          <p:nvPr/>
        </p:nvSpPr>
        <p:spPr>
          <a:xfrm>
            <a:off x="1723944" y="4300718"/>
            <a:ext cx="2379062" cy="1121846"/>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 to raise and purify.</a:t>
            </a:r>
          </a:p>
        </p:txBody>
      </p:sp>
      <p:grpSp>
        <p:nvGrpSpPr>
          <p:cNvPr id="21" name="Group 20"/>
          <p:cNvGrpSpPr/>
          <p:nvPr/>
        </p:nvGrpSpPr>
        <p:grpSpPr>
          <a:xfrm>
            <a:off x="3948217" y="1446222"/>
            <a:ext cx="4343586" cy="4324332"/>
            <a:chOff x="3948217" y="1621968"/>
            <a:chExt cx="4343586" cy="4324332"/>
          </a:xfrm>
        </p:grpSpPr>
        <p:sp>
          <p:nvSpPr>
            <p:cNvPr id="22" name="Freeform 21"/>
            <p:cNvSpPr>
              <a:spLocks/>
            </p:cNvSpPr>
            <p:nvPr/>
          </p:nvSpPr>
          <p:spPr bwMode="auto">
            <a:xfrm rot="18719003">
              <a:off x="3823390" y="2494249"/>
              <a:ext cx="2298628" cy="2048974"/>
            </a:xfrm>
            <a:custGeom>
              <a:avLst/>
              <a:gdLst>
                <a:gd name="connsiteX0" fmla="*/ 2298628 w 2298628"/>
                <a:gd name="connsiteY0" fmla="*/ 598273 h 2048974"/>
                <a:gd name="connsiteX1" fmla="*/ 1653123 w 2298628"/>
                <a:gd name="connsiteY1" fmla="*/ 1189799 h 2048974"/>
                <a:gd name="connsiteX2" fmla="*/ 1653123 w 2298628"/>
                <a:gd name="connsiteY2" fmla="*/ 895431 h 2048974"/>
                <a:gd name="connsiteX3" fmla="*/ 1627661 w 2298628"/>
                <a:gd name="connsiteY3" fmla="*/ 896723 h 2048974"/>
                <a:gd name="connsiteX4" fmla="*/ 587117 w 2298628"/>
                <a:gd name="connsiteY4" fmla="*/ 2048974 h 2048974"/>
                <a:gd name="connsiteX5" fmla="*/ 0 w 2298628"/>
                <a:gd name="connsiteY5" fmla="*/ 2048974 h 2048974"/>
                <a:gd name="connsiteX6" fmla="*/ 1567413 w 2298628"/>
                <a:gd name="connsiteY6" fmla="*/ 312622 h 2048974"/>
                <a:gd name="connsiteX7" fmla="*/ 1653123 w 2298628"/>
                <a:gd name="connsiteY7" fmla="*/ 308293 h 2048974"/>
                <a:gd name="connsiteX8" fmla="*/ 1653123 w 2298628"/>
                <a:gd name="connsiteY8" fmla="*/ 0 h 204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628" h="2048974">
                  <a:moveTo>
                    <a:pt x="2298628" y="598273"/>
                  </a:moveTo>
                  <a:lnTo>
                    <a:pt x="1653123" y="1189799"/>
                  </a:lnTo>
                  <a:lnTo>
                    <a:pt x="1653123" y="895431"/>
                  </a:lnTo>
                  <a:lnTo>
                    <a:pt x="1627661" y="896723"/>
                  </a:lnTo>
                  <a:cubicBezTo>
                    <a:pt x="1046844" y="955948"/>
                    <a:pt x="587117" y="1448514"/>
                    <a:pt x="587117" y="2048974"/>
                  </a:cubicBezTo>
                  <a:cubicBezTo>
                    <a:pt x="587117" y="2048974"/>
                    <a:pt x="587117" y="2048974"/>
                    <a:pt x="0" y="2048974"/>
                  </a:cubicBezTo>
                  <a:cubicBezTo>
                    <a:pt x="0" y="1143279"/>
                    <a:pt x="689591" y="401773"/>
                    <a:pt x="1567413" y="312622"/>
                  </a:cubicBezTo>
                  <a:lnTo>
                    <a:pt x="1653123" y="308293"/>
                  </a:lnTo>
                  <a:lnTo>
                    <a:pt x="1653123" y="0"/>
                  </a:lnTo>
                  <a:close/>
                </a:path>
              </a:pathLst>
            </a:custGeom>
            <a:solidFill>
              <a:schemeClr val="accent4"/>
            </a:solidFill>
            <a:ln w="25400">
              <a:noFill/>
              <a:miter lim="800000"/>
            </a:ln>
          </p:spPr>
          <p:txBody>
            <a:bodyPr vert="horz" wrap="square" lIns="91440" tIns="45720" rIns="91440" bIns="45720" numCol="1" anchor="t" anchorCtr="0" compatLnSpc="1">
              <a:prstTxWarp prst="textNoShape">
                <a:avLst/>
              </a:prstTxWarp>
              <a:noAutofit/>
            </a:bodyPr>
            <a:lstStyle/>
            <a:p>
              <a:endParaRPr lang="en-US" dirty="0">
                <a:latin typeface="Source Sans Pro" charset="0"/>
              </a:endParaRPr>
            </a:p>
          </p:txBody>
        </p:sp>
        <p:sp>
          <p:nvSpPr>
            <p:cNvPr id="24" name="Freeform 23"/>
            <p:cNvSpPr>
              <a:spLocks/>
            </p:cNvSpPr>
            <p:nvPr/>
          </p:nvSpPr>
          <p:spPr bwMode="auto">
            <a:xfrm rot="18719003">
              <a:off x="4857055" y="3774748"/>
              <a:ext cx="2044475" cy="2298630"/>
            </a:xfrm>
            <a:custGeom>
              <a:avLst/>
              <a:gdLst>
                <a:gd name="connsiteX0" fmla="*/ 593775 w 2044475"/>
                <a:gd name="connsiteY0" fmla="*/ 0 h 2298630"/>
                <a:gd name="connsiteX1" fmla="*/ 1189799 w 2044475"/>
                <a:gd name="connsiteY1" fmla="*/ 645505 h 2298630"/>
                <a:gd name="connsiteX2" fmla="*/ 890981 w 2044475"/>
                <a:gd name="connsiteY2" fmla="*/ 645505 h 2298630"/>
                <a:gd name="connsiteX3" fmla="*/ 892283 w 2044475"/>
                <a:gd name="connsiteY3" fmla="*/ 670909 h 2298630"/>
                <a:gd name="connsiteX4" fmla="*/ 2044475 w 2044475"/>
                <a:gd name="connsiteY4" fmla="*/ 1706176 h 2298630"/>
                <a:gd name="connsiteX5" fmla="*/ 2044475 w 2044475"/>
                <a:gd name="connsiteY5" fmla="*/ 2298630 h 2298630"/>
                <a:gd name="connsiteX6" fmla="*/ 308183 w 2044475"/>
                <a:gd name="connsiteY6" fmla="*/ 731217 h 2298630"/>
                <a:gd name="connsiteX7" fmla="*/ 303826 w 2044475"/>
                <a:gd name="connsiteY7" fmla="*/ 645505 h 2298630"/>
                <a:gd name="connsiteX8" fmla="*/ 0 w 2044475"/>
                <a:gd name="connsiteY8" fmla="*/ 645505 h 229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4475" h="2298630">
                  <a:moveTo>
                    <a:pt x="593775" y="0"/>
                  </a:moveTo>
                  <a:lnTo>
                    <a:pt x="1189799" y="645505"/>
                  </a:lnTo>
                  <a:lnTo>
                    <a:pt x="890981" y="645505"/>
                  </a:lnTo>
                  <a:lnTo>
                    <a:pt x="892283" y="670909"/>
                  </a:lnTo>
                  <a:cubicBezTo>
                    <a:pt x="952075" y="1251139"/>
                    <a:pt x="1449018" y="1706175"/>
                    <a:pt x="2044475" y="1706176"/>
                  </a:cubicBezTo>
                  <a:cubicBezTo>
                    <a:pt x="2044475" y="1706176"/>
                    <a:pt x="2044475" y="1706176"/>
                    <a:pt x="2044475" y="2298630"/>
                  </a:cubicBezTo>
                  <a:cubicBezTo>
                    <a:pt x="1143785" y="2298630"/>
                    <a:pt x="397900" y="1609039"/>
                    <a:pt x="308183" y="731217"/>
                  </a:cubicBezTo>
                  <a:lnTo>
                    <a:pt x="303826" y="645505"/>
                  </a:lnTo>
                  <a:lnTo>
                    <a:pt x="0" y="645505"/>
                  </a:lnTo>
                  <a:close/>
                </a:path>
              </a:pathLst>
            </a:custGeom>
            <a:solidFill>
              <a:schemeClr val="accent3"/>
            </a:solidFill>
            <a:ln w="25400">
              <a:noFill/>
              <a:miter lim="800000"/>
            </a:ln>
          </p:spPr>
          <p:txBody>
            <a:bodyPr vert="horz" wrap="square" lIns="91440" tIns="45720" rIns="91440" bIns="45720" numCol="1" anchor="t" anchorCtr="0" compatLnSpc="1">
              <a:prstTxWarp prst="textNoShape">
                <a:avLst/>
              </a:prstTxWarp>
              <a:noAutofit/>
            </a:bodyPr>
            <a:lstStyle/>
            <a:p>
              <a:endParaRPr lang="en-US" dirty="0">
                <a:latin typeface="Source Sans Pro" charset="0"/>
              </a:endParaRPr>
            </a:p>
          </p:txBody>
        </p:sp>
        <p:sp>
          <p:nvSpPr>
            <p:cNvPr id="30" name="Freeform 29"/>
            <p:cNvSpPr>
              <a:spLocks/>
            </p:cNvSpPr>
            <p:nvPr/>
          </p:nvSpPr>
          <p:spPr bwMode="auto">
            <a:xfrm rot="18719003">
              <a:off x="6120252" y="2994041"/>
              <a:ext cx="2298628" cy="2044475"/>
            </a:xfrm>
            <a:custGeom>
              <a:avLst/>
              <a:gdLst>
                <a:gd name="connsiteX0" fmla="*/ 2298628 w 2298628"/>
                <a:gd name="connsiteY0" fmla="*/ 0 h 2044475"/>
                <a:gd name="connsiteX1" fmla="*/ 733235 w 2298628"/>
                <a:gd name="connsiteY1" fmla="*/ 1736293 h 2044475"/>
                <a:gd name="connsiteX2" fmla="*/ 645505 w 2298628"/>
                <a:gd name="connsiteY2" fmla="*/ 1740759 h 2044475"/>
                <a:gd name="connsiteX3" fmla="*/ 645505 w 2298628"/>
                <a:gd name="connsiteY3" fmla="*/ 2044475 h 2044475"/>
                <a:gd name="connsiteX4" fmla="*/ 0 w 2298628"/>
                <a:gd name="connsiteY4" fmla="*/ 1452949 h 2044475"/>
                <a:gd name="connsiteX5" fmla="*/ 645505 w 2298628"/>
                <a:gd name="connsiteY5" fmla="*/ 854676 h 2044475"/>
                <a:gd name="connsiteX6" fmla="*/ 645505 w 2298628"/>
                <a:gd name="connsiteY6" fmla="*/ 1148349 h 2044475"/>
                <a:gd name="connsiteX7" fmla="*/ 673943 w 2298628"/>
                <a:gd name="connsiteY7" fmla="*/ 1146915 h 2044475"/>
                <a:gd name="connsiteX8" fmla="*/ 1712268 w 2298628"/>
                <a:gd name="connsiteY8" fmla="*/ 0 h 2044475"/>
                <a:gd name="connsiteX9" fmla="*/ 2298628 w 2298628"/>
                <a:gd name="connsiteY9" fmla="*/ 0 h 204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8628" h="2044475">
                  <a:moveTo>
                    <a:pt x="2298628" y="0"/>
                  </a:moveTo>
                  <a:cubicBezTo>
                    <a:pt x="2298628" y="900691"/>
                    <a:pt x="1609925" y="1646576"/>
                    <a:pt x="733235" y="1736293"/>
                  </a:cubicBezTo>
                  <a:lnTo>
                    <a:pt x="645505" y="1740759"/>
                  </a:lnTo>
                  <a:lnTo>
                    <a:pt x="645505" y="2044475"/>
                  </a:lnTo>
                  <a:lnTo>
                    <a:pt x="0" y="1452949"/>
                  </a:lnTo>
                  <a:lnTo>
                    <a:pt x="645505" y="854676"/>
                  </a:lnTo>
                  <a:lnTo>
                    <a:pt x="645505" y="1148349"/>
                  </a:lnTo>
                  <a:lnTo>
                    <a:pt x="673943" y="1146915"/>
                  </a:lnTo>
                  <a:cubicBezTo>
                    <a:pt x="1257818" y="1087710"/>
                    <a:pt x="1712268" y="595457"/>
                    <a:pt x="1712268" y="0"/>
                  </a:cubicBezTo>
                  <a:cubicBezTo>
                    <a:pt x="1712268" y="0"/>
                    <a:pt x="1712268" y="0"/>
                    <a:pt x="2298628" y="0"/>
                  </a:cubicBezTo>
                  <a:close/>
                </a:path>
              </a:pathLst>
            </a:custGeom>
            <a:solidFill>
              <a:schemeClr val="accent2"/>
            </a:solidFill>
            <a:ln w="25400">
              <a:noFill/>
              <a:miter lim="800000"/>
            </a:ln>
          </p:spPr>
          <p:txBody>
            <a:bodyPr vert="horz" wrap="square" lIns="91440" tIns="45720" rIns="91440" bIns="45720" numCol="1" anchor="t" anchorCtr="0" compatLnSpc="1">
              <a:prstTxWarp prst="textNoShape">
                <a:avLst/>
              </a:prstTxWarp>
              <a:noAutofit/>
            </a:bodyPr>
            <a:lstStyle/>
            <a:p>
              <a:endParaRPr lang="en-US" dirty="0">
                <a:latin typeface="Source Sans Pro" charset="0"/>
              </a:endParaRPr>
            </a:p>
          </p:txBody>
        </p:sp>
        <p:sp>
          <p:nvSpPr>
            <p:cNvPr id="31" name="Freeform 30"/>
            <p:cNvSpPr>
              <a:spLocks/>
            </p:cNvSpPr>
            <p:nvPr/>
          </p:nvSpPr>
          <p:spPr bwMode="auto">
            <a:xfrm rot="18719003">
              <a:off x="5532784" y="1401633"/>
              <a:ext cx="1836735" cy="2277406"/>
            </a:xfrm>
            <a:custGeom>
              <a:avLst/>
              <a:gdLst>
                <a:gd name="connsiteX0" fmla="*/ 1021368 w 1836735"/>
                <a:gd name="connsiteY0" fmla="*/ 486919 h 2277406"/>
                <a:gd name="connsiteX1" fmla="*/ 1524066 w 1836735"/>
                <a:gd name="connsiteY1" fmla="*/ 1543061 h 2277406"/>
                <a:gd name="connsiteX2" fmla="*/ 1528555 w 1836735"/>
                <a:gd name="connsiteY2" fmla="*/ 1631901 h 2277406"/>
                <a:gd name="connsiteX3" fmla="*/ 1836735 w 1836735"/>
                <a:gd name="connsiteY3" fmla="*/ 1631901 h 2277406"/>
                <a:gd name="connsiteX4" fmla="*/ 1240711 w 1836735"/>
                <a:gd name="connsiteY4" fmla="*/ 2277406 h 2277406"/>
                <a:gd name="connsiteX5" fmla="*/ 649185 w 1836735"/>
                <a:gd name="connsiteY5" fmla="*/ 1631901 h 2277406"/>
                <a:gd name="connsiteX6" fmla="*/ 942215 w 1836735"/>
                <a:gd name="connsiteY6" fmla="*/ 1631901 h 2277406"/>
                <a:gd name="connsiteX7" fmla="*/ 940777 w 1836735"/>
                <a:gd name="connsiteY7" fmla="*/ 1603309 h 2277406"/>
                <a:gd name="connsiteX8" fmla="*/ 9208 w 1836735"/>
                <a:gd name="connsiteY8" fmla="*/ 584339 h 2277406"/>
                <a:gd name="connsiteX9" fmla="*/ 0 w 1836735"/>
                <a:gd name="connsiteY9" fmla="*/ 583024 h 2277406"/>
                <a:gd name="connsiteX10" fmla="*/ 347743 w 1836735"/>
                <a:gd name="connsiteY10" fmla="*/ 264361 h 2277406"/>
                <a:gd name="connsiteX11" fmla="*/ 62512 w 1836735"/>
                <a:gd name="connsiteY11" fmla="*/ 0 h 2277406"/>
                <a:gd name="connsiteX12" fmla="*/ 140391 w 1836735"/>
                <a:gd name="connsiteY12" fmla="*/ 11899 h 2277406"/>
                <a:gd name="connsiteX13" fmla="*/ 1021368 w 1836735"/>
                <a:gd name="connsiteY13" fmla="*/ 486919 h 227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36735" h="2277406">
                  <a:moveTo>
                    <a:pt x="1021368" y="486919"/>
                  </a:moveTo>
                  <a:cubicBezTo>
                    <a:pt x="1297724" y="763048"/>
                    <a:pt x="1482252" y="1131632"/>
                    <a:pt x="1524066" y="1543061"/>
                  </a:cubicBezTo>
                  <a:lnTo>
                    <a:pt x="1528555" y="1631901"/>
                  </a:lnTo>
                  <a:lnTo>
                    <a:pt x="1836735" y="1631901"/>
                  </a:lnTo>
                  <a:lnTo>
                    <a:pt x="1240711" y="2277406"/>
                  </a:lnTo>
                  <a:lnTo>
                    <a:pt x="649185" y="1631901"/>
                  </a:lnTo>
                  <a:lnTo>
                    <a:pt x="942215" y="1631901"/>
                  </a:lnTo>
                  <a:lnTo>
                    <a:pt x="940777" y="1603309"/>
                  </a:lnTo>
                  <a:cubicBezTo>
                    <a:pt x="889022" y="1091760"/>
                    <a:pt x="505918" y="679429"/>
                    <a:pt x="9208" y="584339"/>
                  </a:cubicBezTo>
                  <a:lnTo>
                    <a:pt x="0" y="583024"/>
                  </a:lnTo>
                  <a:lnTo>
                    <a:pt x="347743" y="264361"/>
                  </a:lnTo>
                  <a:lnTo>
                    <a:pt x="62512" y="0"/>
                  </a:lnTo>
                  <a:lnTo>
                    <a:pt x="140391" y="11899"/>
                  </a:lnTo>
                  <a:cubicBezTo>
                    <a:pt x="480151" y="81483"/>
                    <a:pt x="784492" y="250238"/>
                    <a:pt x="1021368" y="486919"/>
                  </a:cubicBezTo>
                  <a:close/>
                </a:path>
              </a:pathLst>
            </a:custGeom>
            <a:solidFill>
              <a:schemeClr val="accent1"/>
            </a:solidFill>
            <a:ln w="25400">
              <a:noFill/>
              <a:miter lim="800000"/>
              <a:headEnd/>
              <a:tailEnd/>
            </a:ln>
          </p:spPr>
          <p:txBody>
            <a:bodyPr vert="horz" wrap="square" lIns="91440" tIns="45720" rIns="91440" bIns="182880" numCol="1" anchor="ctr" anchorCtr="0" compatLnSpc="1">
              <a:prstTxWarp prst="textNoShape">
                <a:avLst/>
              </a:prstTxWarp>
              <a:noAutofit/>
            </a:bodyPr>
            <a:lstStyle/>
            <a:p>
              <a:pPr algn="ctr"/>
              <a:endParaRPr lang="en-US" sz="2400" dirty="0">
                <a:solidFill>
                  <a:srgbClr val="FFFFFF"/>
                </a:solidFill>
                <a:latin typeface="Source Sans Pro" charset="0"/>
              </a:endParaRPr>
            </a:p>
          </p:txBody>
        </p:sp>
      </p:grpSp>
      <p:sp>
        <p:nvSpPr>
          <p:cNvPr id="32" name="Oval 31"/>
          <p:cNvSpPr/>
          <p:nvPr/>
        </p:nvSpPr>
        <p:spPr>
          <a:xfrm>
            <a:off x="7012188" y="2406173"/>
            <a:ext cx="343116" cy="343114"/>
          </a:xfrm>
          <a:prstGeom prst="ellipse">
            <a:avLst/>
          </a:prstGeom>
          <a:solidFill>
            <a:schemeClr val="accent1">
              <a:lumMod val="7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33" name="Oval 32"/>
          <p:cNvSpPr/>
          <p:nvPr/>
        </p:nvSpPr>
        <p:spPr>
          <a:xfrm>
            <a:off x="7010308" y="4451280"/>
            <a:ext cx="343116" cy="343114"/>
          </a:xfrm>
          <a:prstGeom prst="ellipse">
            <a:avLst/>
          </a:prstGeom>
          <a:solidFill>
            <a:schemeClr val="accent2">
              <a:lumMod val="7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34" name="Oval 33"/>
          <p:cNvSpPr/>
          <p:nvPr/>
        </p:nvSpPr>
        <p:spPr>
          <a:xfrm>
            <a:off x="4899998" y="2406173"/>
            <a:ext cx="343116" cy="343114"/>
          </a:xfrm>
          <a:prstGeom prst="ellipse">
            <a:avLst/>
          </a:prstGeom>
          <a:solidFill>
            <a:schemeClr val="accent4">
              <a:lumMod val="7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39" name="Oval 38"/>
          <p:cNvSpPr/>
          <p:nvPr/>
        </p:nvSpPr>
        <p:spPr>
          <a:xfrm>
            <a:off x="4898118" y="4451280"/>
            <a:ext cx="343116" cy="343114"/>
          </a:xfrm>
          <a:prstGeom prst="ellipse">
            <a:avLst/>
          </a:prstGeom>
          <a:solidFill>
            <a:schemeClr val="accent3">
              <a:lumMod val="7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40" name="Rectangle 39"/>
          <p:cNvSpPr/>
          <p:nvPr/>
        </p:nvSpPr>
        <p:spPr>
          <a:xfrm>
            <a:off x="5428406" y="3153702"/>
            <a:ext cx="1339469" cy="830997"/>
          </a:xfrm>
          <a:prstGeom prst="rect">
            <a:avLst/>
          </a:prstGeom>
        </p:spPr>
        <p:txBody>
          <a:bodyPr wrap="none">
            <a:spAutoFit/>
          </a:bodyPr>
          <a:lstStyle/>
          <a:p>
            <a:pPr algn="ctr"/>
            <a:r>
              <a:rPr lang="en-US" sz="2400" dirty="0">
                <a:latin typeface="RBC Display" panose="02000000000000000000" pitchFamily="2" charset="77"/>
              </a:rPr>
              <a:t>Process</a:t>
            </a:r>
          </a:p>
          <a:p>
            <a:pPr algn="ctr"/>
            <a:r>
              <a:rPr lang="en-US" sz="2400" dirty="0">
                <a:latin typeface="RBC Display" panose="02000000000000000000" pitchFamily="2" charset="77"/>
              </a:rPr>
              <a:t>services</a:t>
            </a:r>
          </a:p>
        </p:txBody>
      </p:sp>
      <p:sp>
        <p:nvSpPr>
          <p:cNvPr id="16" name="Text Placeholder 6">
            <a:extLst>
              <a:ext uri="{FF2B5EF4-FFF2-40B4-BE49-F238E27FC236}">
                <a16:creationId xmlns:a16="http://schemas.microsoft.com/office/drawing/2014/main" id="{E6F62616-3573-D746-977D-FF07AB931995}"/>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65459779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33"/>
          <p:cNvSpPr/>
          <p:nvPr/>
        </p:nvSpPr>
        <p:spPr>
          <a:xfrm rot="10800000">
            <a:off x="4518962" y="4248442"/>
            <a:ext cx="3258824" cy="1382350"/>
          </a:xfrm>
          <a:custGeom>
            <a:avLst/>
            <a:gdLst>
              <a:gd name="connsiteX0" fmla="*/ 3963150 w 4123726"/>
              <a:gd name="connsiteY0" fmla="*/ 1749231 h 1749231"/>
              <a:gd name="connsiteX1" fmla="*/ 3118684 w 4123726"/>
              <a:gd name="connsiteY1" fmla="*/ 1518026 h 1749231"/>
              <a:gd name="connsiteX2" fmla="*/ 3325737 w 4123726"/>
              <a:gd name="connsiteY2" fmla="*/ 1387703 h 1749231"/>
              <a:gd name="connsiteX3" fmla="*/ 3207937 w 4123726"/>
              <a:gd name="connsiteY3" fmla="*/ 1224386 h 1749231"/>
              <a:gd name="connsiteX4" fmla="*/ 1898421 w 4123726"/>
              <a:gd name="connsiteY4" fmla="*/ 698623 h 1749231"/>
              <a:gd name="connsiteX5" fmla="*/ 651711 w 4123726"/>
              <a:gd name="connsiteY5" fmla="*/ 1695091 h 1749231"/>
              <a:gd name="connsiteX6" fmla="*/ 0 w 4123726"/>
              <a:gd name="connsiteY6" fmla="*/ 1469982 h 1749231"/>
              <a:gd name="connsiteX7" fmla="*/ 1822463 w 4123726"/>
              <a:gd name="connsiteY7" fmla="*/ 13327 h 1749231"/>
              <a:gd name="connsiteX8" fmla="*/ 3832326 w 4123726"/>
              <a:gd name="connsiteY8" fmla="*/ 904846 h 1749231"/>
              <a:gd name="connsiteX9" fmla="*/ 3909489 w 4123726"/>
              <a:gd name="connsiteY9" fmla="*/ 1020282 h 1749231"/>
              <a:gd name="connsiteX10" fmla="*/ 4123726 w 4123726"/>
              <a:gd name="connsiteY10" fmla="*/ 885439 h 174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23726" h="1749231">
                <a:moveTo>
                  <a:pt x="3963150" y="1749231"/>
                </a:moveTo>
                <a:lnTo>
                  <a:pt x="3118684" y="1518026"/>
                </a:lnTo>
                <a:lnTo>
                  <a:pt x="3325737" y="1387703"/>
                </a:lnTo>
                <a:lnTo>
                  <a:pt x="3207937" y="1224386"/>
                </a:lnTo>
                <a:cubicBezTo>
                  <a:pt x="2890183" y="844499"/>
                  <a:pt x="2399913" y="643039"/>
                  <a:pt x="1898421" y="698623"/>
                </a:cubicBezTo>
                <a:cubicBezTo>
                  <a:pt x="1325288" y="762149"/>
                  <a:pt x="839976" y="1150047"/>
                  <a:pt x="651711" y="1695091"/>
                </a:cubicBezTo>
                <a:lnTo>
                  <a:pt x="0" y="1469982"/>
                </a:lnTo>
                <a:cubicBezTo>
                  <a:pt x="275210" y="673227"/>
                  <a:pt x="984647" y="106190"/>
                  <a:pt x="1822463" y="13327"/>
                </a:cubicBezTo>
                <a:cubicBezTo>
                  <a:pt x="2607916" y="-73732"/>
                  <a:pt x="3374538" y="270558"/>
                  <a:pt x="3832326" y="904846"/>
                </a:cubicBezTo>
                <a:lnTo>
                  <a:pt x="3909489" y="1020282"/>
                </a:lnTo>
                <a:lnTo>
                  <a:pt x="4123726" y="885439"/>
                </a:lnTo>
                <a:close/>
              </a:path>
            </a:pathLst>
          </a:cu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w="0"/>
              <a:solidFill>
                <a:schemeClr val="accent1"/>
              </a:solidFill>
              <a:effectLst>
                <a:outerShdw blurRad="38100" dist="25400" dir="5400000" algn="ctr" rotWithShape="0">
                  <a:srgbClr val="6E747A">
                    <a:alpha val="43000"/>
                  </a:srgbClr>
                </a:outerShdw>
              </a:effectLst>
              <a:latin typeface="RBC Text" panose="02000000000000000000" pitchFamily="2" charset="77"/>
            </a:endParaRPr>
          </a:p>
        </p:txBody>
      </p:sp>
      <p:sp>
        <p:nvSpPr>
          <p:cNvPr id="32" name="Freeform 31"/>
          <p:cNvSpPr/>
          <p:nvPr/>
        </p:nvSpPr>
        <p:spPr>
          <a:xfrm rot="3600000">
            <a:off x="5393217" y="2737823"/>
            <a:ext cx="3258821" cy="1382351"/>
          </a:xfrm>
          <a:custGeom>
            <a:avLst/>
            <a:gdLst>
              <a:gd name="connsiteX0" fmla="*/ 198587 w 4123725"/>
              <a:gd name="connsiteY0" fmla="*/ 1047647 h 1749231"/>
              <a:gd name="connsiteX1" fmla="*/ 1822463 w 4123725"/>
              <a:gd name="connsiteY1" fmla="*/ 13327 h 1749231"/>
              <a:gd name="connsiteX2" fmla="*/ 3832326 w 4123725"/>
              <a:gd name="connsiteY2" fmla="*/ 904846 h 1749231"/>
              <a:gd name="connsiteX3" fmla="*/ 3909489 w 4123725"/>
              <a:gd name="connsiteY3" fmla="*/ 1020282 h 1749231"/>
              <a:gd name="connsiteX4" fmla="*/ 4123725 w 4123725"/>
              <a:gd name="connsiteY4" fmla="*/ 885438 h 1749231"/>
              <a:gd name="connsiteX5" fmla="*/ 3963150 w 4123725"/>
              <a:gd name="connsiteY5" fmla="*/ 1749231 h 1749231"/>
              <a:gd name="connsiteX6" fmla="*/ 3118683 w 4123725"/>
              <a:gd name="connsiteY6" fmla="*/ 1518025 h 1749231"/>
              <a:gd name="connsiteX7" fmla="*/ 3325737 w 4123725"/>
              <a:gd name="connsiteY7" fmla="*/ 1387703 h 1749231"/>
              <a:gd name="connsiteX8" fmla="*/ 3207937 w 4123725"/>
              <a:gd name="connsiteY8" fmla="*/ 1224386 h 1749231"/>
              <a:gd name="connsiteX9" fmla="*/ 1898421 w 4123725"/>
              <a:gd name="connsiteY9" fmla="*/ 698623 h 1749231"/>
              <a:gd name="connsiteX10" fmla="*/ 651711 w 4123725"/>
              <a:gd name="connsiteY10" fmla="*/ 1695091 h 1749231"/>
              <a:gd name="connsiteX11" fmla="*/ 0 w 4123725"/>
              <a:gd name="connsiteY11" fmla="*/ 1469982 h 1749231"/>
              <a:gd name="connsiteX12" fmla="*/ 198587 w 4123725"/>
              <a:gd name="connsiteY12" fmla="*/ 1047647 h 174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3725" h="1749231">
                <a:moveTo>
                  <a:pt x="198587" y="1047647"/>
                </a:moveTo>
                <a:cubicBezTo>
                  <a:pt x="545762" y="477258"/>
                  <a:pt x="1141738" y="88778"/>
                  <a:pt x="1822463" y="13327"/>
                </a:cubicBezTo>
                <a:cubicBezTo>
                  <a:pt x="2607916" y="-73732"/>
                  <a:pt x="3374538" y="270558"/>
                  <a:pt x="3832326" y="904846"/>
                </a:cubicBezTo>
                <a:lnTo>
                  <a:pt x="3909489" y="1020282"/>
                </a:lnTo>
                <a:lnTo>
                  <a:pt x="4123725" y="885438"/>
                </a:lnTo>
                <a:lnTo>
                  <a:pt x="3963150" y="1749231"/>
                </a:lnTo>
                <a:lnTo>
                  <a:pt x="3118683" y="1518025"/>
                </a:lnTo>
                <a:lnTo>
                  <a:pt x="3325737" y="1387703"/>
                </a:lnTo>
                <a:lnTo>
                  <a:pt x="3207937" y="1224386"/>
                </a:lnTo>
                <a:cubicBezTo>
                  <a:pt x="2890183" y="844498"/>
                  <a:pt x="2399913" y="643039"/>
                  <a:pt x="1898421" y="698623"/>
                </a:cubicBezTo>
                <a:cubicBezTo>
                  <a:pt x="1325288" y="762149"/>
                  <a:pt x="839976" y="1150047"/>
                  <a:pt x="651711" y="1695091"/>
                </a:cubicBezTo>
                <a:lnTo>
                  <a:pt x="0" y="1469982"/>
                </a:lnTo>
                <a:cubicBezTo>
                  <a:pt x="51602" y="1320590"/>
                  <a:pt x="118469" y="1179275"/>
                  <a:pt x="198587" y="1047647"/>
                </a:cubicBezTo>
                <a:close/>
              </a:path>
            </a:pathLst>
          </a:cu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RBC Text" panose="02000000000000000000" pitchFamily="2" charset="77"/>
            </a:endParaRPr>
          </a:p>
        </p:txBody>
      </p:sp>
      <p:sp>
        <p:nvSpPr>
          <p:cNvPr id="35" name="Freeform 34"/>
          <p:cNvSpPr>
            <a:spLocks/>
          </p:cNvSpPr>
          <p:nvPr/>
        </p:nvSpPr>
        <p:spPr bwMode="auto">
          <a:xfrm rot="16068789">
            <a:off x="4266760" y="2188516"/>
            <a:ext cx="2534945" cy="2234885"/>
          </a:xfrm>
          <a:custGeom>
            <a:avLst/>
            <a:gdLst>
              <a:gd name="connsiteX0" fmla="*/ 317017 w 3801349"/>
              <a:gd name="connsiteY0" fmla="*/ 270938 h 2828031"/>
              <a:gd name="connsiteX1" fmla="*/ 198720 w 3801349"/>
              <a:gd name="connsiteY1" fmla="*/ 343640 h 2828031"/>
              <a:gd name="connsiteX2" fmla="*/ 7595 w 3801349"/>
              <a:gd name="connsiteY2" fmla="*/ 490061 h 2828031"/>
              <a:gd name="connsiteX3" fmla="*/ 0 w 3801349"/>
              <a:gd name="connsiteY3" fmla="*/ 480600 h 2828031"/>
              <a:gd name="connsiteX4" fmla="*/ 257230 w 3801349"/>
              <a:gd name="connsiteY4" fmla="*/ 302751 h 2828031"/>
              <a:gd name="connsiteX5" fmla="*/ 316721 w 3801349"/>
              <a:gd name="connsiteY5" fmla="*/ 270425 h 2828031"/>
              <a:gd name="connsiteX6" fmla="*/ 662458 w 3801349"/>
              <a:gd name="connsiteY6" fmla="*/ 869260 h 2828031"/>
              <a:gd name="connsiteX7" fmla="*/ 654337 w 3801349"/>
              <a:gd name="connsiteY7" fmla="*/ 873309 h 2828031"/>
              <a:gd name="connsiteX8" fmla="*/ 661895 w 3801349"/>
              <a:gd name="connsiteY8" fmla="*/ 868285 h 2828031"/>
              <a:gd name="connsiteX9" fmla="*/ 3801349 w 3801349"/>
              <a:gd name="connsiteY9" fmla="*/ 2182526 h 2828031"/>
              <a:gd name="connsiteX10" fmla="*/ 3205325 w 3801349"/>
              <a:gd name="connsiteY10" fmla="*/ 2828031 h 2828031"/>
              <a:gd name="connsiteX11" fmla="*/ 2613799 w 3801349"/>
              <a:gd name="connsiteY11" fmla="*/ 2182526 h 2828031"/>
              <a:gd name="connsiteX12" fmla="*/ 2858452 w 3801349"/>
              <a:gd name="connsiteY12" fmla="*/ 2182526 h 2828031"/>
              <a:gd name="connsiteX13" fmla="*/ 2845752 w 3801349"/>
              <a:gd name="connsiteY13" fmla="*/ 1981558 h 2828031"/>
              <a:gd name="connsiteX14" fmla="*/ 2017553 w 3801349"/>
              <a:gd name="connsiteY14" fmla="*/ 839042 h 2828031"/>
              <a:gd name="connsiteX15" fmla="*/ 994225 w 3801349"/>
              <a:gd name="connsiteY15" fmla="*/ 736597 h 2828031"/>
              <a:gd name="connsiteX16" fmla="*/ 880599 w 3801349"/>
              <a:gd name="connsiteY16" fmla="*/ 774463 h 2828031"/>
              <a:gd name="connsiteX17" fmla="*/ 1047482 w 3801349"/>
              <a:gd name="connsiteY17" fmla="*/ 245131 h 2828031"/>
              <a:gd name="connsiteX18" fmla="*/ 593619 w 3801349"/>
              <a:gd name="connsiteY18" fmla="*/ 142701 h 2828031"/>
              <a:gd name="connsiteX19" fmla="*/ 676190 w 3801349"/>
              <a:gd name="connsiteY19" fmla="*/ 111939 h 2828031"/>
              <a:gd name="connsiteX20" fmla="*/ 2318313 w 3801349"/>
              <a:gd name="connsiteY20" fmla="*/ 218603 h 2828031"/>
              <a:gd name="connsiteX21" fmla="*/ 3544395 w 3801349"/>
              <a:gd name="connsiteY21" fmla="*/ 2043727 h 2828031"/>
              <a:gd name="connsiteX22" fmla="*/ 3548209 w 3801349"/>
              <a:gd name="connsiteY22" fmla="*/ 2182526 h 2828031"/>
              <a:gd name="connsiteX0" fmla="*/ 309422 w 3793754"/>
              <a:gd name="connsiteY0" fmla="*/ 270938 h 2828031"/>
              <a:gd name="connsiteX1" fmla="*/ 191125 w 3793754"/>
              <a:gd name="connsiteY1" fmla="*/ 343640 h 2828031"/>
              <a:gd name="connsiteX2" fmla="*/ 0 w 3793754"/>
              <a:gd name="connsiteY2" fmla="*/ 490061 h 2828031"/>
              <a:gd name="connsiteX3" fmla="*/ 249635 w 3793754"/>
              <a:gd name="connsiteY3" fmla="*/ 302751 h 2828031"/>
              <a:gd name="connsiteX4" fmla="*/ 309126 w 3793754"/>
              <a:gd name="connsiteY4" fmla="*/ 270425 h 2828031"/>
              <a:gd name="connsiteX5" fmla="*/ 309422 w 3793754"/>
              <a:gd name="connsiteY5" fmla="*/ 270938 h 2828031"/>
              <a:gd name="connsiteX6" fmla="*/ 654863 w 3793754"/>
              <a:gd name="connsiteY6" fmla="*/ 869260 h 2828031"/>
              <a:gd name="connsiteX7" fmla="*/ 646742 w 3793754"/>
              <a:gd name="connsiteY7" fmla="*/ 873309 h 2828031"/>
              <a:gd name="connsiteX8" fmla="*/ 654300 w 3793754"/>
              <a:gd name="connsiteY8" fmla="*/ 868285 h 2828031"/>
              <a:gd name="connsiteX9" fmla="*/ 654863 w 3793754"/>
              <a:gd name="connsiteY9" fmla="*/ 869260 h 2828031"/>
              <a:gd name="connsiteX10" fmla="*/ 3793754 w 3793754"/>
              <a:gd name="connsiteY10" fmla="*/ 2182526 h 2828031"/>
              <a:gd name="connsiteX11" fmla="*/ 3197730 w 3793754"/>
              <a:gd name="connsiteY11" fmla="*/ 2828031 h 2828031"/>
              <a:gd name="connsiteX12" fmla="*/ 2606204 w 3793754"/>
              <a:gd name="connsiteY12" fmla="*/ 2182526 h 2828031"/>
              <a:gd name="connsiteX13" fmla="*/ 2850857 w 3793754"/>
              <a:gd name="connsiteY13" fmla="*/ 2182526 h 2828031"/>
              <a:gd name="connsiteX14" fmla="*/ 2838157 w 3793754"/>
              <a:gd name="connsiteY14" fmla="*/ 1981558 h 2828031"/>
              <a:gd name="connsiteX15" fmla="*/ 2009958 w 3793754"/>
              <a:gd name="connsiteY15" fmla="*/ 839042 h 2828031"/>
              <a:gd name="connsiteX16" fmla="*/ 986630 w 3793754"/>
              <a:gd name="connsiteY16" fmla="*/ 736597 h 2828031"/>
              <a:gd name="connsiteX17" fmla="*/ 873004 w 3793754"/>
              <a:gd name="connsiteY17" fmla="*/ 774463 h 2828031"/>
              <a:gd name="connsiteX18" fmla="*/ 1039887 w 3793754"/>
              <a:gd name="connsiteY18" fmla="*/ 245131 h 2828031"/>
              <a:gd name="connsiteX19" fmla="*/ 586024 w 3793754"/>
              <a:gd name="connsiteY19" fmla="*/ 142701 h 2828031"/>
              <a:gd name="connsiteX20" fmla="*/ 668595 w 3793754"/>
              <a:gd name="connsiteY20" fmla="*/ 111939 h 2828031"/>
              <a:gd name="connsiteX21" fmla="*/ 2310718 w 3793754"/>
              <a:gd name="connsiteY21" fmla="*/ 218603 h 2828031"/>
              <a:gd name="connsiteX22" fmla="*/ 3536800 w 3793754"/>
              <a:gd name="connsiteY22" fmla="*/ 2043727 h 2828031"/>
              <a:gd name="connsiteX23" fmla="*/ 3540614 w 3793754"/>
              <a:gd name="connsiteY23" fmla="*/ 2182526 h 2828031"/>
              <a:gd name="connsiteX24" fmla="*/ 3793754 w 3793754"/>
              <a:gd name="connsiteY24" fmla="*/ 2182526 h 2828031"/>
              <a:gd name="connsiteX0" fmla="*/ 309422 w 3793754"/>
              <a:gd name="connsiteY0" fmla="*/ 270938 h 2828031"/>
              <a:gd name="connsiteX1" fmla="*/ 0 w 3793754"/>
              <a:gd name="connsiteY1" fmla="*/ 490061 h 2828031"/>
              <a:gd name="connsiteX2" fmla="*/ 249635 w 3793754"/>
              <a:gd name="connsiteY2" fmla="*/ 302751 h 2828031"/>
              <a:gd name="connsiteX3" fmla="*/ 309126 w 3793754"/>
              <a:gd name="connsiteY3" fmla="*/ 270425 h 2828031"/>
              <a:gd name="connsiteX4" fmla="*/ 309422 w 3793754"/>
              <a:gd name="connsiteY4" fmla="*/ 270938 h 2828031"/>
              <a:gd name="connsiteX5" fmla="*/ 654863 w 3793754"/>
              <a:gd name="connsiteY5" fmla="*/ 869260 h 2828031"/>
              <a:gd name="connsiteX6" fmla="*/ 646742 w 3793754"/>
              <a:gd name="connsiteY6" fmla="*/ 873309 h 2828031"/>
              <a:gd name="connsiteX7" fmla="*/ 654300 w 3793754"/>
              <a:gd name="connsiteY7" fmla="*/ 868285 h 2828031"/>
              <a:gd name="connsiteX8" fmla="*/ 654863 w 3793754"/>
              <a:gd name="connsiteY8" fmla="*/ 869260 h 2828031"/>
              <a:gd name="connsiteX9" fmla="*/ 3793754 w 3793754"/>
              <a:gd name="connsiteY9" fmla="*/ 2182526 h 2828031"/>
              <a:gd name="connsiteX10" fmla="*/ 3197730 w 3793754"/>
              <a:gd name="connsiteY10" fmla="*/ 2828031 h 2828031"/>
              <a:gd name="connsiteX11" fmla="*/ 2606204 w 3793754"/>
              <a:gd name="connsiteY11" fmla="*/ 2182526 h 2828031"/>
              <a:gd name="connsiteX12" fmla="*/ 2850857 w 3793754"/>
              <a:gd name="connsiteY12" fmla="*/ 2182526 h 2828031"/>
              <a:gd name="connsiteX13" fmla="*/ 2838157 w 3793754"/>
              <a:gd name="connsiteY13" fmla="*/ 1981558 h 2828031"/>
              <a:gd name="connsiteX14" fmla="*/ 2009958 w 3793754"/>
              <a:gd name="connsiteY14" fmla="*/ 839042 h 2828031"/>
              <a:gd name="connsiteX15" fmla="*/ 986630 w 3793754"/>
              <a:gd name="connsiteY15" fmla="*/ 736597 h 2828031"/>
              <a:gd name="connsiteX16" fmla="*/ 873004 w 3793754"/>
              <a:gd name="connsiteY16" fmla="*/ 774463 h 2828031"/>
              <a:gd name="connsiteX17" fmla="*/ 1039887 w 3793754"/>
              <a:gd name="connsiteY17" fmla="*/ 245131 h 2828031"/>
              <a:gd name="connsiteX18" fmla="*/ 586024 w 3793754"/>
              <a:gd name="connsiteY18" fmla="*/ 142701 h 2828031"/>
              <a:gd name="connsiteX19" fmla="*/ 668595 w 3793754"/>
              <a:gd name="connsiteY19" fmla="*/ 111939 h 2828031"/>
              <a:gd name="connsiteX20" fmla="*/ 2310718 w 3793754"/>
              <a:gd name="connsiteY20" fmla="*/ 218603 h 2828031"/>
              <a:gd name="connsiteX21" fmla="*/ 3536800 w 3793754"/>
              <a:gd name="connsiteY21" fmla="*/ 2043727 h 2828031"/>
              <a:gd name="connsiteX22" fmla="*/ 3540614 w 3793754"/>
              <a:gd name="connsiteY22" fmla="*/ 2182526 h 2828031"/>
              <a:gd name="connsiteX23" fmla="*/ 3793754 w 3793754"/>
              <a:gd name="connsiteY23" fmla="*/ 2182526 h 2828031"/>
              <a:gd name="connsiteX0" fmla="*/ 309126 w 3793754"/>
              <a:gd name="connsiteY0" fmla="*/ 270425 h 2828031"/>
              <a:gd name="connsiteX1" fmla="*/ 0 w 3793754"/>
              <a:gd name="connsiteY1" fmla="*/ 490061 h 2828031"/>
              <a:gd name="connsiteX2" fmla="*/ 249635 w 3793754"/>
              <a:gd name="connsiteY2" fmla="*/ 302751 h 2828031"/>
              <a:gd name="connsiteX3" fmla="*/ 309126 w 3793754"/>
              <a:gd name="connsiteY3" fmla="*/ 270425 h 2828031"/>
              <a:gd name="connsiteX4" fmla="*/ 654863 w 3793754"/>
              <a:gd name="connsiteY4" fmla="*/ 869260 h 2828031"/>
              <a:gd name="connsiteX5" fmla="*/ 646742 w 3793754"/>
              <a:gd name="connsiteY5" fmla="*/ 873309 h 2828031"/>
              <a:gd name="connsiteX6" fmla="*/ 654300 w 3793754"/>
              <a:gd name="connsiteY6" fmla="*/ 868285 h 2828031"/>
              <a:gd name="connsiteX7" fmla="*/ 654863 w 3793754"/>
              <a:gd name="connsiteY7" fmla="*/ 869260 h 2828031"/>
              <a:gd name="connsiteX8" fmla="*/ 3793754 w 3793754"/>
              <a:gd name="connsiteY8" fmla="*/ 2182526 h 2828031"/>
              <a:gd name="connsiteX9" fmla="*/ 3197730 w 3793754"/>
              <a:gd name="connsiteY9" fmla="*/ 2828031 h 2828031"/>
              <a:gd name="connsiteX10" fmla="*/ 2606204 w 3793754"/>
              <a:gd name="connsiteY10" fmla="*/ 2182526 h 2828031"/>
              <a:gd name="connsiteX11" fmla="*/ 2850857 w 3793754"/>
              <a:gd name="connsiteY11" fmla="*/ 2182526 h 2828031"/>
              <a:gd name="connsiteX12" fmla="*/ 2838157 w 3793754"/>
              <a:gd name="connsiteY12" fmla="*/ 1981558 h 2828031"/>
              <a:gd name="connsiteX13" fmla="*/ 2009958 w 3793754"/>
              <a:gd name="connsiteY13" fmla="*/ 839042 h 2828031"/>
              <a:gd name="connsiteX14" fmla="*/ 986630 w 3793754"/>
              <a:gd name="connsiteY14" fmla="*/ 736597 h 2828031"/>
              <a:gd name="connsiteX15" fmla="*/ 873004 w 3793754"/>
              <a:gd name="connsiteY15" fmla="*/ 774463 h 2828031"/>
              <a:gd name="connsiteX16" fmla="*/ 1039887 w 3793754"/>
              <a:gd name="connsiteY16" fmla="*/ 245131 h 2828031"/>
              <a:gd name="connsiteX17" fmla="*/ 586024 w 3793754"/>
              <a:gd name="connsiteY17" fmla="*/ 142701 h 2828031"/>
              <a:gd name="connsiteX18" fmla="*/ 668595 w 3793754"/>
              <a:gd name="connsiteY18" fmla="*/ 111939 h 2828031"/>
              <a:gd name="connsiteX19" fmla="*/ 2310718 w 3793754"/>
              <a:gd name="connsiteY19" fmla="*/ 218603 h 2828031"/>
              <a:gd name="connsiteX20" fmla="*/ 3536800 w 3793754"/>
              <a:gd name="connsiteY20" fmla="*/ 2043727 h 2828031"/>
              <a:gd name="connsiteX21" fmla="*/ 3540614 w 3793754"/>
              <a:gd name="connsiteY21" fmla="*/ 2182526 h 2828031"/>
              <a:gd name="connsiteX22" fmla="*/ 3793754 w 3793754"/>
              <a:gd name="connsiteY22" fmla="*/ 2182526 h 2828031"/>
              <a:gd name="connsiteX0" fmla="*/ 59491 w 3544119"/>
              <a:gd name="connsiteY0" fmla="*/ 270425 h 2828031"/>
              <a:gd name="connsiteX1" fmla="*/ 0 w 3544119"/>
              <a:gd name="connsiteY1" fmla="*/ 302751 h 2828031"/>
              <a:gd name="connsiteX2" fmla="*/ 59491 w 3544119"/>
              <a:gd name="connsiteY2" fmla="*/ 270425 h 2828031"/>
              <a:gd name="connsiteX3" fmla="*/ 405228 w 3544119"/>
              <a:gd name="connsiteY3" fmla="*/ 869260 h 2828031"/>
              <a:gd name="connsiteX4" fmla="*/ 397107 w 3544119"/>
              <a:gd name="connsiteY4" fmla="*/ 873309 h 2828031"/>
              <a:gd name="connsiteX5" fmla="*/ 404665 w 3544119"/>
              <a:gd name="connsiteY5" fmla="*/ 868285 h 2828031"/>
              <a:gd name="connsiteX6" fmla="*/ 405228 w 3544119"/>
              <a:gd name="connsiteY6" fmla="*/ 869260 h 2828031"/>
              <a:gd name="connsiteX7" fmla="*/ 3544119 w 3544119"/>
              <a:gd name="connsiteY7" fmla="*/ 2182526 h 2828031"/>
              <a:gd name="connsiteX8" fmla="*/ 2948095 w 3544119"/>
              <a:gd name="connsiteY8" fmla="*/ 2828031 h 2828031"/>
              <a:gd name="connsiteX9" fmla="*/ 2356569 w 3544119"/>
              <a:gd name="connsiteY9" fmla="*/ 2182526 h 2828031"/>
              <a:gd name="connsiteX10" fmla="*/ 2601222 w 3544119"/>
              <a:gd name="connsiteY10" fmla="*/ 2182526 h 2828031"/>
              <a:gd name="connsiteX11" fmla="*/ 2588522 w 3544119"/>
              <a:gd name="connsiteY11" fmla="*/ 1981558 h 2828031"/>
              <a:gd name="connsiteX12" fmla="*/ 1760323 w 3544119"/>
              <a:gd name="connsiteY12" fmla="*/ 839042 h 2828031"/>
              <a:gd name="connsiteX13" fmla="*/ 736995 w 3544119"/>
              <a:gd name="connsiteY13" fmla="*/ 736597 h 2828031"/>
              <a:gd name="connsiteX14" fmla="*/ 623369 w 3544119"/>
              <a:gd name="connsiteY14" fmla="*/ 774463 h 2828031"/>
              <a:gd name="connsiteX15" fmla="*/ 790252 w 3544119"/>
              <a:gd name="connsiteY15" fmla="*/ 245131 h 2828031"/>
              <a:gd name="connsiteX16" fmla="*/ 336389 w 3544119"/>
              <a:gd name="connsiteY16" fmla="*/ 142701 h 2828031"/>
              <a:gd name="connsiteX17" fmla="*/ 418960 w 3544119"/>
              <a:gd name="connsiteY17" fmla="*/ 111939 h 2828031"/>
              <a:gd name="connsiteX18" fmla="*/ 2061083 w 3544119"/>
              <a:gd name="connsiteY18" fmla="*/ 218603 h 2828031"/>
              <a:gd name="connsiteX19" fmla="*/ 3287165 w 3544119"/>
              <a:gd name="connsiteY19" fmla="*/ 2043727 h 2828031"/>
              <a:gd name="connsiteX20" fmla="*/ 3290979 w 3544119"/>
              <a:gd name="connsiteY20" fmla="*/ 2182526 h 2828031"/>
              <a:gd name="connsiteX21" fmla="*/ 3544119 w 3544119"/>
              <a:gd name="connsiteY21" fmla="*/ 2182526 h 2828031"/>
              <a:gd name="connsiteX0" fmla="*/ 68839 w 3207730"/>
              <a:gd name="connsiteY0" fmla="*/ 869260 h 2828031"/>
              <a:gd name="connsiteX1" fmla="*/ 60718 w 3207730"/>
              <a:gd name="connsiteY1" fmla="*/ 873309 h 2828031"/>
              <a:gd name="connsiteX2" fmla="*/ 68276 w 3207730"/>
              <a:gd name="connsiteY2" fmla="*/ 868285 h 2828031"/>
              <a:gd name="connsiteX3" fmla="*/ 68839 w 3207730"/>
              <a:gd name="connsiteY3" fmla="*/ 869260 h 2828031"/>
              <a:gd name="connsiteX4" fmla="*/ 3207730 w 3207730"/>
              <a:gd name="connsiteY4" fmla="*/ 2182526 h 2828031"/>
              <a:gd name="connsiteX5" fmla="*/ 2611706 w 3207730"/>
              <a:gd name="connsiteY5" fmla="*/ 2828031 h 2828031"/>
              <a:gd name="connsiteX6" fmla="*/ 2020180 w 3207730"/>
              <a:gd name="connsiteY6" fmla="*/ 2182526 h 2828031"/>
              <a:gd name="connsiteX7" fmla="*/ 2264833 w 3207730"/>
              <a:gd name="connsiteY7" fmla="*/ 2182526 h 2828031"/>
              <a:gd name="connsiteX8" fmla="*/ 2252133 w 3207730"/>
              <a:gd name="connsiteY8" fmla="*/ 1981558 h 2828031"/>
              <a:gd name="connsiteX9" fmla="*/ 1423934 w 3207730"/>
              <a:gd name="connsiteY9" fmla="*/ 839042 h 2828031"/>
              <a:gd name="connsiteX10" fmla="*/ 400606 w 3207730"/>
              <a:gd name="connsiteY10" fmla="*/ 736597 h 2828031"/>
              <a:gd name="connsiteX11" fmla="*/ 286980 w 3207730"/>
              <a:gd name="connsiteY11" fmla="*/ 774463 h 2828031"/>
              <a:gd name="connsiteX12" fmla="*/ 453863 w 3207730"/>
              <a:gd name="connsiteY12" fmla="*/ 245131 h 2828031"/>
              <a:gd name="connsiteX13" fmla="*/ 0 w 3207730"/>
              <a:gd name="connsiteY13" fmla="*/ 142701 h 2828031"/>
              <a:gd name="connsiteX14" fmla="*/ 82571 w 3207730"/>
              <a:gd name="connsiteY14" fmla="*/ 111939 h 2828031"/>
              <a:gd name="connsiteX15" fmla="*/ 1724694 w 3207730"/>
              <a:gd name="connsiteY15" fmla="*/ 218603 h 2828031"/>
              <a:gd name="connsiteX16" fmla="*/ 2950776 w 3207730"/>
              <a:gd name="connsiteY16" fmla="*/ 2043727 h 2828031"/>
              <a:gd name="connsiteX17" fmla="*/ 2954590 w 3207730"/>
              <a:gd name="connsiteY17" fmla="*/ 2182526 h 2828031"/>
              <a:gd name="connsiteX18" fmla="*/ 3207730 w 3207730"/>
              <a:gd name="connsiteY18" fmla="*/ 2182526 h 2828031"/>
              <a:gd name="connsiteX0" fmla="*/ 68276 w 3207730"/>
              <a:gd name="connsiteY0" fmla="*/ 868285 h 2828031"/>
              <a:gd name="connsiteX1" fmla="*/ 60718 w 3207730"/>
              <a:gd name="connsiteY1" fmla="*/ 873309 h 2828031"/>
              <a:gd name="connsiteX2" fmla="*/ 68276 w 3207730"/>
              <a:gd name="connsiteY2" fmla="*/ 868285 h 2828031"/>
              <a:gd name="connsiteX3" fmla="*/ 3207730 w 3207730"/>
              <a:gd name="connsiteY3" fmla="*/ 2182526 h 2828031"/>
              <a:gd name="connsiteX4" fmla="*/ 2611706 w 3207730"/>
              <a:gd name="connsiteY4" fmla="*/ 2828031 h 2828031"/>
              <a:gd name="connsiteX5" fmla="*/ 2020180 w 3207730"/>
              <a:gd name="connsiteY5" fmla="*/ 2182526 h 2828031"/>
              <a:gd name="connsiteX6" fmla="*/ 2264833 w 3207730"/>
              <a:gd name="connsiteY6" fmla="*/ 2182526 h 2828031"/>
              <a:gd name="connsiteX7" fmla="*/ 2252133 w 3207730"/>
              <a:gd name="connsiteY7" fmla="*/ 1981558 h 2828031"/>
              <a:gd name="connsiteX8" fmla="*/ 1423934 w 3207730"/>
              <a:gd name="connsiteY8" fmla="*/ 839042 h 2828031"/>
              <a:gd name="connsiteX9" fmla="*/ 400606 w 3207730"/>
              <a:gd name="connsiteY9" fmla="*/ 736597 h 2828031"/>
              <a:gd name="connsiteX10" fmla="*/ 286980 w 3207730"/>
              <a:gd name="connsiteY10" fmla="*/ 774463 h 2828031"/>
              <a:gd name="connsiteX11" fmla="*/ 453863 w 3207730"/>
              <a:gd name="connsiteY11" fmla="*/ 245131 h 2828031"/>
              <a:gd name="connsiteX12" fmla="*/ 0 w 3207730"/>
              <a:gd name="connsiteY12" fmla="*/ 142701 h 2828031"/>
              <a:gd name="connsiteX13" fmla="*/ 82571 w 3207730"/>
              <a:gd name="connsiteY13" fmla="*/ 111939 h 2828031"/>
              <a:gd name="connsiteX14" fmla="*/ 1724694 w 3207730"/>
              <a:gd name="connsiteY14" fmla="*/ 218603 h 2828031"/>
              <a:gd name="connsiteX15" fmla="*/ 2950776 w 3207730"/>
              <a:gd name="connsiteY15" fmla="*/ 2043727 h 2828031"/>
              <a:gd name="connsiteX16" fmla="*/ 2954590 w 3207730"/>
              <a:gd name="connsiteY16" fmla="*/ 2182526 h 2828031"/>
              <a:gd name="connsiteX17" fmla="*/ 3207730 w 3207730"/>
              <a:gd name="connsiteY17" fmla="*/ 2182526 h 2828031"/>
              <a:gd name="connsiteX0" fmla="*/ 3207730 w 3207730"/>
              <a:gd name="connsiteY0" fmla="*/ 2182526 h 2828031"/>
              <a:gd name="connsiteX1" fmla="*/ 2611706 w 3207730"/>
              <a:gd name="connsiteY1" fmla="*/ 2828031 h 2828031"/>
              <a:gd name="connsiteX2" fmla="*/ 2020180 w 3207730"/>
              <a:gd name="connsiteY2" fmla="*/ 2182526 h 2828031"/>
              <a:gd name="connsiteX3" fmla="*/ 2264833 w 3207730"/>
              <a:gd name="connsiteY3" fmla="*/ 2182526 h 2828031"/>
              <a:gd name="connsiteX4" fmla="*/ 2252133 w 3207730"/>
              <a:gd name="connsiteY4" fmla="*/ 1981558 h 2828031"/>
              <a:gd name="connsiteX5" fmla="*/ 1423934 w 3207730"/>
              <a:gd name="connsiteY5" fmla="*/ 839042 h 2828031"/>
              <a:gd name="connsiteX6" fmla="*/ 400606 w 3207730"/>
              <a:gd name="connsiteY6" fmla="*/ 736597 h 2828031"/>
              <a:gd name="connsiteX7" fmla="*/ 286980 w 3207730"/>
              <a:gd name="connsiteY7" fmla="*/ 774463 h 2828031"/>
              <a:gd name="connsiteX8" fmla="*/ 453863 w 3207730"/>
              <a:gd name="connsiteY8" fmla="*/ 245131 h 2828031"/>
              <a:gd name="connsiteX9" fmla="*/ 0 w 3207730"/>
              <a:gd name="connsiteY9" fmla="*/ 142701 h 2828031"/>
              <a:gd name="connsiteX10" fmla="*/ 82571 w 3207730"/>
              <a:gd name="connsiteY10" fmla="*/ 111939 h 2828031"/>
              <a:gd name="connsiteX11" fmla="*/ 1724694 w 3207730"/>
              <a:gd name="connsiteY11" fmla="*/ 218603 h 2828031"/>
              <a:gd name="connsiteX12" fmla="*/ 2950776 w 3207730"/>
              <a:gd name="connsiteY12" fmla="*/ 2043727 h 2828031"/>
              <a:gd name="connsiteX13" fmla="*/ 2954590 w 3207730"/>
              <a:gd name="connsiteY13" fmla="*/ 2182526 h 2828031"/>
              <a:gd name="connsiteX14" fmla="*/ 3207730 w 3207730"/>
              <a:gd name="connsiteY14" fmla="*/ 2182526 h 28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07730" h="2828031">
                <a:moveTo>
                  <a:pt x="3207730" y="2182526"/>
                </a:moveTo>
                <a:lnTo>
                  <a:pt x="2611706" y="2828031"/>
                </a:lnTo>
                <a:lnTo>
                  <a:pt x="2020180" y="2182526"/>
                </a:lnTo>
                <a:lnTo>
                  <a:pt x="2264833" y="2182526"/>
                </a:lnTo>
                <a:lnTo>
                  <a:pt x="2252133" y="1981558"/>
                </a:lnTo>
                <a:cubicBezTo>
                  <a:pt x="2185572" y="1490792"/>
                  <a:pt x="1877963" y="1059135"/>
                  <a:pt x="1423934" y="839042"/>
                </a:cubicBezTo>
                <a:cubicBezTo>
                  <a:pt x="1099627" y="681833"/>
                  <a:pt x="736859" y="650132"/>
                  <a:pt x="400606" y="736597"/>
                </a:cubicBezTo>
                <a:lnTo>
                  <a:pt x="286980" y="774463"/>
                </a:lnTo>
                <a:lnTo>
                  <a:pt x="453863" y="245131"/>
                </a:lnTo>
                <a:lnTo>
                  <a:pt x="0" y="142701"/>
                </a:lnTo>
                <a:lnTo>
                  <a:pt x="82571" y="111939"/>
                </a:lnTo>
                <a:cubicBezTo>
                  <a:pt x="613693" y="-64982"/>
                  <a:pt x="1203209" y="-34189"/>
                  <a:pt x="1724694" y="218603"/>
                </a:cubicBezTo>
                <a:cubicBezTo>
                  <a:pt x="2435810" y="563320"/>
                  <a:pt x="2901217" y="1263064"/>
                  <a:pt x="2950776" y="2043727"/>
                </a:cubicBezTo>
                <a:lnTo>
                  <a:pt x="2954590" y="2182526"/>
                </a:lnTo>
                <a:lnTo>
                  <a:pt x="3207730" y="2182526"/>
                </a:lnTo>
                <a:close/>
              </a:path>
            </a:pathLst>
          </a:custGeom>
          <a:solidFill>
            <a:schemeClr val="bg1"/>
          </a:solidFill>
          <a:ln w="25400">
            <a:solidFill>
              <a:schemeClr val="accent1"/>
            </a:solidFill>
            <a:miter lim="800000"/>
          </a:ln>
        </p:spPr>
        <p:txBody>
          <a:bodyPr vert="horz" wrap="square" lIns="91440" tIns="45720" rIns="91440" bIns="182880" numCol="1" anchor="ctr" anchorCtr="0" compatLnSpc="1">
            <a:prstTxWarp prst="textNoShape">
              <a:avLst/>
            </a:prstTxWarp>
            <a:noAutofit/>
          </a:bodyPr>
          <a:lstStyle/>
          <a:p>
            <a:pPr algn="ctr"/>
            <a:endParaRPr lang="en-US" sz="2400" dirty="0">
              <a:solidFill>
                <a:srgbClr val="FFFFFF"/>
              </a:solidFill>
              <a:latin typeface="RBC Text" panose="02000000000000000000" pitchFamily="2" charset="77"/>
            </a:endParaRPr>
          </a:p>
        </p:txBody>
      </p:sp>
      <p:sp>
        <p:nvSpPr>
          <p:cNvPr id="37" name="Triangle 36"/>
          <p:cNvSpPr/>
          <p:nvPr/>
        </p:nvSpPr>
        <p:spPr>
          <a:xfrm rot="5400000" flipH="1">
            <a:off x="5887213" y="2218566"/>
            <a:ext cx="962284" cy="518688"/>
          </a:xfrm>
          <a:prstGeom prst="triangle">
            <a:avLst/>
          </a:prstGeom>
          <a:gradFill>
            <a:gsLst>
              <a:gs pos="0">
                <a:schemeClr val="accent1">
                  <a:alpha val="20000"/>
                </a:schemeClr>
              </a:gs>
              <a:gs pos="99000">
                <a:schemeClr val="bg1">
                  <a:alpha val="0"/>
                </a:schemeClr>
              </a:gs>
            </a:gsLst>
            <a:lin ang="540000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38" name="Triangle 37"/>
          <p:cNvSpPr/>
          <p:nvPr/>
        </p:nvSpPr>
        <p:spPr>
          <a:xfrm rot="12600000" flipH="1">
            <a:off x="6817952" y="4575709"/>
            <a:ext cx="962284" cy="518688"/>
          </a:xfrm>
          <a:prstGeom prst="triangle">
            <a:avLst/>
          </a:prstGeom>
          <a:gradFill>
            <a:gsLst>
              <a:gs pos="0">
                <a:schemeClr val="accent2">
                  <a:alpha val="20000"/>
                </a:schemeClr>
              </a:gs>
              <a:gs pos="99000">
                <a:schemeClr val="bg1">
                  <a:alpha val="0"/>
                </a:schemeClr>
              </a:gs>
            </a:gsLst>
            <a:lin ang="540000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39" name="Triangle 38"/>
          <p:cNvSpPr/>
          <p:nvPr/>
        </p:nvSpPr>
        <p:spPr>
          <a:xfrm rot="19800000" flipH="1">
            <a:off x="4308172" y="4219295"/>
            <a:ext cx="962284" cy="518688"/>
          </a:xfrm>
          <a:prstGeom prst="triangle">
            <a:avLst/>
          </a:prstGeom>
          <a:gradFill>
            <a:gsLst>
              <a:gs pos="0">
                <a:schemeClr val="accent3">
                  <a:alpha val="20000"/>
                </a:schemeClr>
              </a:gs>
              <a:gs pos="99000">
                <a:schemeClr val="bg1">
                  <a:alpha val="0"/>
                </a:schemeClr>
              </a:gs>
            </a:gsLst>
            <a:lin ang="540000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40" name="Oval 39"/>
          <p:cNvSpPr/>
          <p:nvPr/>
        </p:nvSpPr>
        <p:spPr>
          <a:xfrm>
            <a:off x="6023194" y="2298733"/>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41" name="TextBox 40"/>
          <p:cNvSpPr txBox="1"/>
          <p:nvPr/>
        </p:nvSpPr>
        <p:spPr>
          <a:xfrm>
            <a:off x="4958842" y="1013619"/>
            <a:ext cx="2379062" cy="760208"/>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a:t>
            </a:r>
          </a:p>
        </p:txBody>
      </p:sp>
      <p:sp>
        <p:nvSpPr>
          <p:cNvPr id="42" name="Oval 41"/>
          <p:cNvSpPr/>
          <p:nvPr/>
        </p:nvSpPr>
        <p:spPr>
          <a:xfrm>
            <a:off x="7201002" y="4542790"/>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43" name="TextBox 42"/>
          <p:cNvSpPr txBox="1"/>
          <p:nvPr/>
        </p:nvSpPr>
        <p:spPr>
          <a:xfrm>
            <a:off x="8325040" y="4240824"/>
            <a:ext cx="2379062" cy="1121846"/>
          </a:xfrm>
          <a:prstGeom prst="rect">
            <a:avLst/>
          </a:prstGeom>
          <a:noFill/>
        </p:spPr>
        <p:txBody>
          <a:bodyPr wrap="square" lIns="0" rIns="0" rtlCol="0">
            <a:spAutoFit/>
          </a:bodyPr>
          <a:lstStyle/>
          <a:p>
            <a:pPr>
              <a:lnSpc>
                <a:spcPct val="120000"/>
              </a:lnSpc>
              <a:spcBef>
                <a:spcPts val="600"/>
              </a:spcBef>
            </a:pPr>
            <a:r>
              <a:rPr lang="en-US" sz="1200" dirty="0">
                <a:latin typeface="RBC Text" panose="02000000000000000000" pitchFamily="2" charset="77"/>
              </a:rPr>
              <a:t>Write title here</a:t>
            </a:r>
          </a:p>
          <a:p>
            <a:pP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 to raise and purify.</a:t>
            </a:r>
          </a:p>
        </p:txBody>
      </p:sp>
      <p:sp>
        <p:nvSpPr>
          <p:cNvPr id="44" name="Oval 43"/>
          <p:cNvSpPr/>
          <p:nvPr/>
        </p:nvSpPr>
        <p:spPr>
          <a:xfrm>
            <a:off x="4715426" y="4472452"/>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45" name="TextBox 44"/>
          <p:cNvSpPr txBox="1"/>
          <p:nvPr/>
        </p:nvSpPr>
        <p:spPr>
          <a:xfrm>
            <a:off x="1724525" y="4240824"/>
            <a:ext cx="2379062" cy="1121846"/>
          </a:xfrm>
          <a:prstGeom prst="rect">
            <a:avLst/>
          </a:prstGeom>
          <a:noFill/>
        </p:spPr>
        <p:txBody>
          <a:bodyPr wrap="square" lIns="0" rIns="0" rtlCol="0">
            <a:spAutoFit/>
          </a:bodyPr>
          <a:lstStyle/>
          <a:p>
            <a:pPr algn="r">
              <a:lnSpc>
                <a:spcPct val="120000"/>
              </a:lnSpc>
              <a:spcBef>
                <a:spcPts val="600"/>
              </a:spcBef>
            </a:pPr>
            <a:r>
              <a:rPr lang="en-US" sz="1200" dirty="0">
                <a:latin typeface="RBC Text" panose="02000000000000000000" pitchFamily="2" charset="77"/>
              </a:rPr>
              <a:t>Write title here</a:t>
            </a:r>
          </a:p>
          <a:p>
            <a:pPr algn="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 peep at some distant orb has power to raise and purify.</a:t>
            </a:r>
          </a:p>
        </p:txBody>
      </p:sp>
      <p:sp>
        <p:nvSpPr>
          <p:cNvPr id="50" name="Rectangle 49"/>
          <p:cNvSpPr/>
          <p:nvPr/>
        </p:nvSpPr>
        <p:spPr>
          <a:xfrm>
            <a:off x="5459160" y="3509289"/>
            <a:ext cx="1339469" cy="830997"/>
          </a:xfrm>
          <a:prstGeom prst="rect">
            <a:avLst/>
          </a:prstGeom>
        </p:spPr>
        <p:txBody>
          <a:bodyPr wrap="none">
            <a:spAutoFit/>
          </a:bodyPr>
          <a:lstStyle/>
          <a:p>
            <a:pPr algn="ctr"/>
            <a:r>
              <a:rPr lang="en-US" sz="2400" dirty="0">
                <a:latin typeface="RBC Display" panose="02000000000000000000" pitchFamily="2" charset="77"/>
              </a:rPr>
              <a:t>Process</a:t>
            </a:r>
          </a:p>
          <a:p>
            <a:pPr algn="ctr"/>
            <a:r>
              <a:rPr lang="en-US" sz="2400" dirty="0">
                <a:latin typeface="RBC Display" panose="02000000000000000000" pitchFamily="2" charset="77"/>
              </a:rPr>
              <a:t>services</a:t>
            </a:r>
          </a:p>
        </p:txBody>
      </p:sp>
      <p:sp>
        <p:nvSpPr>
          <p:cNvPr id="15" name="Text Placeholder 6">
            <a:extLst>
              <a:ext uri="{FF2B5EF4-FFF2-40B4-BE49-F238E27FC236}">
                <a16:creationId xmlns:a16="http://schemas.microsoft.com/office/drawing/2014/main" id="{10F137A5-1D35-4C4D-AD43-ED3BEEC74255}"/>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75676850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Notched Right Arrow 15"/>
          <p:cNvSpPr/>
          <p:nvPr/>
        </p:nvSpPr>
        <p:spPr>
          <a:xfrm>
            <a:off x="913016" y="2776418"/>
            <a:ext cx="10485782" cy="1752904"/>
          </a:xfrm>
          <a:prstGeom prst="notch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BC Text" panose="02000000000000000000" pitchFamily="2" charset="77"/>
            </a:endParaRPr>
          </a:p>
        </p:txBody>
      </p:sp>
      <p:sp>
        <p:nvSpPr>
          <p:cNvPr id="2" name="Title 1"/>
          <p:cNvSpPr>
            <a:spLocks noGrp="1"/>
          </p:cNvSpPr>
          <p:nvPr>
            <p:ph type="title"/>
          </p:nvPr>
        </p:nvSpPr>
        <p:spPr/>
        <p:txBody>
          <a:bodyPr/>
          <a:lstStyle/>
          <a:p>
            <a:r>
              <a:rPr lang="en-US"/>
              <a:t>Process infographic</a:t>
            </a:r>
            <a:endParaRPr lang="en-US" dirty="0"/>
          </a:p>
        </p:txBody>
      </p:sp>
      <p:sp>
        <p:nvSpPr>
          <p:cNvPr id="4" name="Oval 3"/>
          <p:cNvSpPr/>
          <p:nvPr/>
        </p:nvSpPr>
        <p:spPr>
          <a:xfrm>
            <a:off x="1655786" y="3145383"/>
            <a:ext cx="1014974" cy="1014974"/>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endParaRPr lang="en-US" sz="1400" dirty="0">
              <a:solidFill>
                <a:schemeClr val="tx1"/>
              </a:solidFill>
              <a:latin typeface="RBC Text" panose="02000000000000000000" pitchFamily="2" charset="77"/>
            </a:endParaRPr>
          </a:p>
        </p:txBody>
      </p:sp>
      <p:sp>
        <p:nvSpPr>
          <p:cNvPr id="5" name="Oval 4"/>
          <p:cNvSpPr/>
          <p:nvPr/>
        </p:nvSpPr>
        <p:spPr>
          <a:xfrm>
            <a:off x="2273596" y="3093481"/>
            <a:ext cx="302671" cy="30267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1</a:t>
            </a:r>
          </a:p>
        </p:txBody>
      </p:sp>
      <p:sp>
        <p:nvSpPr>
          <p:cNvPr id="6" name="TextBox 5"/>
          <p:cNvSpPr txBox="1"/>
          <p:nvPr/>
        </p:nvSpPr>
        <p:spPr>
          <a:xfrm>
            <a:off x="1413547" y="4597089"/>
            <a:ext cx="1499452"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7" name="Oval 6"/>
          <p:cNvSpPr/>
          <p:nvPr/>
        </p:nvSpPr>
        <p:spPr>
          <a:xfrm>
            <a:off x="3521274" y="3145383"/>
            <a:ext cx="1014974" cy="1014974"/>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endParaRPr lang="en-US" sz="1400" dirty="0">
              <a:solidFill>
                <a:schemeClr val="tx1"/>
              </a:solidFill>
              <a:latin typeface="RBC Text" panose="02000000000000000000" pitchFamily="2" charset="77"/>
            </a:endParaRPr>
          </a:p>
        </p:txBody>
      </p:sp>
      <p:sp>
        <p:nvSpPr>
          <p:cNvPr id="8" name="Oval 7"/>
          <p:cNvSpPr/>
          <p:nvPr/>
        </p:nvSpPr>
        <p:spPr>
          <a:xfrm>
            <a:off x="4139084" y="3093481"/>
            <a:ext cx="302671" cy="30267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2</a:t>
            </a:r>
          </a:p>
        </p:txBody>
      </p:sp>
      <p:sp>
        <p:nvSpPr>
          <p:cNvPr id="9" name="Oval 8"/>
          <p:cNvSpPr/>
          <p:nvPr/>
        </p:nvSpPr>
        <p:spPr>
          <a:xfrm>
            <a:off x="5386762" y="3145383"/>
            <a:ext cx="1014974" cy="1014974"/>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endParaRPr lang="en-US" sz="1400" dirty="0">
              <a:solidFill>
                <a:schemeClr val="tx1"/>
              </a:solidFill>
              <a:latin typeface="RBC Text" panose="02000000000000000000" pitchFamily="2" charset="77"/>
            </a:endParaRPr>
          </a:p>
        </p:txBody>
      </p:sp>
      <p:sp>
        <p:nvSpPr>
          <p:cNvPr id="10" name="Oval 9"/>
          <p:cNvSpPr/>
          <p:nvPr/>
        </p:nvSpPr>
        <p:spPr>
          <a:xfrm>
            <a:off x="6004572" y="3093481"/>
            <a:ext cx="302671" cy="30267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3</a:t>
            </a:r>
          </a:p>
        </p:txBody>
      </p:sp>
      <p:sp>
        <p:nvSpPr>
          <p:cNvPr id="11" name="Oval 10"/>
          <p:cNvSpPr/>
          <p:nvPr/>
        </p:nvSpPr>
        <p:spPr>
          <a:xfrm>
            <a:off x="7252250" y="3145383"/>
            <a:ext cx="1014974" cy="1014974"/>
          </a:xfrm>
          <a:prstGeom prst="ellipse">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endParaRPr lang="en-US" sz="1400" dirty="0">
              <a:solidFill>
                <a:schemeClr val="tx1"/>
              </a:solidFill>
              <a:latin typeface="RBC Text" panose="02000000000000000000" pitchFamily="2" charset="77"/>
            </a:endParaRPr>
          </a:p>
        </p:txBody>
      </p:sp>
      <p:sp>
        <p:nvSpPr>
          <p:cNvPr id="12" name="Oval 11"/>
          <p:cNvSpPr/>
          <p:nvPr/>
        </p:nvSpPr>
        <p:spPr>
          <a:xfrm>
            <a:off x="7870060" y="3093481"/>
            <a:ext cx="302671" cy="302671"/>
          </a:xfrm>
          <a:prstGeom prst="ellips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4</a:t>
            </a:r>
          </a:p>
        </p:txBody>
      </p:sp>
      <p:sp>
        <p:nvSpPr>
          <p:cNvPr id="13" name="Oval 12"/>
          <p:cNvSpPr/>
          <p:nvPr/>
        </p:nvSpPr>
        <p:spPr>
          <a:xfrm>
            <a:off x="9117738" y="3145383"/>
            <a:ext cx="1014974" cy="1014974"/>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endParaRPr lang="en-US" sz="1400" dirty="0">
              <a:solidFill>
                <a:schemeClr val="tx1"/>
              </a:solidFill>
              <a:latin typeface="RBC Text" panose="02000000000000000000" pitchFamily="2" charset="77"/>
            </a:endParaRPr>
          </a:p>
        </p:txBody>
      </p:sp>
      <p:sp>
        <p:nvSpPr>
          <p:cNvPr id="14" name="Oval 13"/>
          <p:cNvSpPr/>
          <p:nvPr/>
        </p:nvSpPr>
        <p:spPr>
          <a:xfrm>
            <a:off x="9735548" y="3093481"/>
            <a:ext cx="302671" cy="30267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000" dirty="0">
                <a:solidFill>
                  <a:srgbClr val="FFFFFF"/>
                </a:solidFill>
                <a:latin typeface="RBC Text" panose="02000000000000000000" pitchFamily="2" charset="77"/>
              </a:rPr>
              <a:t>05</a:t>
            </a:r>
          </a:p>
        </p:txBody>
      </p:sp>
      <p:sp>
        <p:nvSpPr>
          <p:cNvPr id="18" name="TextBox 17"/>
          <p:cNvSpPr txBox="1"/>
          <p:nvPr/>
        </p:nvSpPr>
        <p:spPr>
          <a:xfrm>
            <a:off x="3279035" y="4597089"/>
            <a:ext cx="1499452"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19" name="TextBox 18"/>
          <p:cNvSpPr txBox="1"/>
          <p:nvPr/>
        </p:nvSpPr>
        <p:spPr>
          <a:xfrm>
            <a:off x="5144523" y="4597089"/>
            <a:ext cx="1499452"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20" name="TextBox 19"/>
          <p:cNvSpPr txBox="1"/>
          <p:nvPr/>
        </p:nvSpPr>
        <p:spPr>
          <a:xfrm>
            <a:off x="7010011" y="4597089"/>
            <a:ext cx="1499452"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21" name="TextBox 20"/>
          <p:cNvSpPr txBox="1"/>
          <p:nvPr/>
        </p:nvSpPr>
        <p:spPr>
          <a:xfrm>
            <a:off x="8875499" y="4597089"/>
            <a:ext cx="1499452" cy="944874"/>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2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a:t>
            </a:r>
          </a:p>
        </p:txBody>
      </p:sp>
      <p:sp>
        <p:nvSpPr>
          <p:cNvPr id="22" name="Freeform 851"/>
          <p:cNvSpPr>
            <a:spLocks noEditPoints="1"/>
          </p:cNvSpPr>
          <p:nvPr/>
        </p:nvSpPr>
        <p:spPr bwMode="auto">
          <a:xfrm>
            <a:off x="7595467" y="3448054"/>
            <a:ext cx="328539" cy="376247"/>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3" name="Freeform 1050"/>
          <p:cNvSpPr>
            <a:spLocks noEditPoints="1"/>
          </p:cNvSpPr>
          <p:nvPr/>
        </p:nvSpPr>
        <p:spPr bwMode="auto">
          <a:xfrm>
            <a:off x="1976775" y="3483722"/>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4" name="Freeform 1137"/>
          <p:cNvSpPr>
            <a:spLocks noEditPoints="1"/>
          </p:cNvSpPr>
          <p:nvPr/>
        </p:nvSpPr>
        <p:spPr bwMode="auto">
          <a:xfrm>
            <a:off x="5707751" y="3505950"/>
            <a:ext cx="372995" cy="33829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5" name="Freeform 1147"/>
          <p:cNvSpPr>
            <a:spLocks noEditPoints="1"/>
          </p:cNvSpPr>
          <p:nvPr/>
        </p:nvSpPr>
        <p:spPr bwMode="auto">
          <a:xfrm>
            <a:off x="3838469" y="3461493"/>
            <a:ext cx="380584" cy="382753"/>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6" name="Freeform 2123"/>
          <p:cNvSpPr>
            <a:spLocks noEditPoints="1"/>
          </p:cNvSpPr>
          <p:nvPr/>
        </p:nvSpPr>
        <p:spPr bwMode="auto">
          <a:xfrm>
            <a:off x="9452823" y="3446856"/>
            <a:ext cx="344803" cy="375162"/>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27" name="Text Placeholder 6">
            <a:extLst>
              <a:ext uri="{FF2B5EF4-FFF2-40B4-BE49-F238E27FC236}">
                <a16:creationId xmlns:a16="http://schemas.microsoft.com/office/drawing/2014/main" id="{DF31A49B-0C28-2844-93F8-02264FAA0CB9}"/>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89259820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extBox 64"/>
          <p:cNvSpPr txBox="1"/>
          <p:nvPr/>
        </p:nvSpPr>
        <p:spPr>
          <a:xfrm>
            <a:off x="1724526" y="5142392"/>
            <a:ext cx="1668764" cy="979499"/>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3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t>
            </a:r>
          </a:p>
        </p:txBody>
      </p:sp>
      <p:sp>
        <p:nvSpPr>
          <p:cNvPr id="66" name="TextBox 65"/>
          <p:cNvSpPr txBox="1"/>
          <p:nvPr/>
        </p:nvSpPr>
        <p:spPr>
          <a:xfrm>
            <a:off x="3910878" y="5142392"/>
            <a:ext cx="1668764" cy="979499"/>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3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t>
            </a:r>
          </a:p>
        </p:txBody>
      </p:sp>
      <p:sp>
        <p:nvSpPr>
          <p:cNvPr id="67" name="TextBox 66"/>
          <p:cNvSpPr txBox="1"/>
          <p:nvPr/>
        </p:nvSpPr>
        <p:spPr>
          <a:xfrm>
            <a:off x="6186939" y="5142392"/>
            <a:ext cx="1668764" cy="979499"/>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3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t>
            </a:r>
          </a:p>
        </p:txBody>
      </p:sp>
      <p:sp>
        <p:nvSpPr>
          <p:cNvPr id="68" name="TextBox 67"/>
          <p:cNvSpPr txBox="1"/>
          <p:nvPr/>
        </p:nvSpPr>
        <p:spPr>
          <a:xfrm>
            <a:off x="8712422" y="5142392"/>
            <a:ext cx="1668764" cy="979499"/>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3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t>
            </a:r>
          </a:p>
        </p:txBody>
      </p:sp>
      <p:sp>
        <p:nvSpPr>
          <p:cNvPr id="40" name="Freeform 5">
            <a:extLst>
              <a:ext uri="{FF2B5EF4-FFF2-40B4-BE49-F238E27FC236}">
                <a16:creationId xmlns:a16="http://schemas.microsoft.com/office/drawing/2014/main" id="{E0C2F53D-0DB1-4751-8CDA-42ECE388E0B7}"/>
              </a:ext>
            </a:extLst>
          </p:cNvPr>
          <p:cNvSpPr>
            <a:spLocks/>
          </p:cNvSpPr>
          <p:nvPr/>
        </p:nvSpPr>
        <p:spPr bwMode="auto">
          <a:xfrm>
            <a:off x="1725231" y="3022860"/>
            <a:ext cx="844550" cy="1926556"/>
          </a:xfrm>
          <a:custGeom>
            <a:avLst/>
            <a:gdLst>
              <a:gd name="T0" fmla="*/ 0 w 532"/>
              <a:gd name="T1" fmla="*/ 1380 h 1768"/>
              <a:gd name="T2" fmla="*/ 532 w 532"/>
              <a:gd name="T3" fmla="*/ 1768 h 1768"/>
              <a:gd name="T4" fmla="*/ 532 w 532"/>
              <a:gd name="T5" fmla="*/ 0 h 1768"/>
              <a:gd name="T6" fmla="*/ 0 w 532"/>
              <a:gd name="T7" fmla="*/ 1380 h 1768"/>
              <a:gd name="T8" fmla="*/ 0 w 532"/>
              <a:gd name="T9" fmla="*/ 1380 h 1768"/>
            </a:gdLst>
            <a:ahLst/>
            <a:cxnLst>
              <a:cxn ang="0">
                <a:pos x="T0" y="T1"/>
              </a:cxn>
              <a:cxn ang="0">
                <a:pos x="T2" y="T3"/>
              </a:cxn>
              <a:cxn ang="0">
                <a:pos x="T4" y="T5"/>
              </a:cxn>
              <a:cxn ang="0">
                <a:pos x="T6" y="T7"/>
              </a:cxn>
              <a:cxn ang="0">
                <a:pos x="T8" y="T9"/>
              </a:cxn>
            </a:cxnLst>
            <a:rect l="0" t="0" r="r" b="b"/>
            <a:pathLst>
              <a:path w="532" h="1768">
                <a:moveTo>
                  <a:pt x="0" y="1380"/>
                </a:moveTo>
                <a:lnTo>
                  <a:pt x="532" y="1768"/>
                </a:lnTo>
                <a:lnTo>
                  <a:pt x="532" y="0"/>
                </a:lnTo>
                <a:lnTo>
                  <a:pt x="0" y="1380"/>
                </a:lnTo>
                <a:lnTo>
                  <a:pt x="0" y="1380"/>
                </a:lnTo>
                <a:close/>
              </a:path>
            </a:pathLst>
          </a:custGeom>
          <a:solidFill>
            <a:schemeClr val="accent1"/>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1" name="Freeform 6">
            <a:extLst>
              <a:ext uri="{FF2B5EF4-FFF2-40B4-BE49-F238E27FC236}">
                <a16:creationId xmlns:a16="http://schemas.microsoft.com/office/drawing/2014/main" id="{E4C66B55-9C27-4D4F-A452-D377CA32FD0B}"/>
              </a:ext>
            </a:extLst>
          </p:cNvPr>
          <p:cNvSpPr>
            <a:spLocks/>
          </p:cNvSpPr>
          <p:nvPr/>
        </p:nvSpPr>
        <p:spPr bwMode="auto">
          <a:xfrm>
            <a:off x="2569781" y="3022860"/>
            <a:ext cx="828675" cy="1926556"/>
          </a:xfrm>
          <a:custGeom>
            <a:avLst/>
            <a:gdLst>
              <a:gd name="T0" fmla="*/ 522 w 522"/>
              <a:gd name="T1" fmla="*/ 1380 h 1768"/>
              <a:gd name="T2" fmla="*/ 0 w 522"/>
              <a:gd name="T3" fmla="*/ 1768 h 1768"/>
              <a:gd name="T4" fmla="*/ 0 w 522"/>
              <a:gd name="T5" fmla="*/ 0 h 1768"/>
              <a:gd name="T6" fmla="*/ 522 w 522"/>
              <a:gd name="T7" fmla="*/ 1380 h 1768"/>
              <a:gd name="T8" fmla="*/ 522 w 522"/>
              <a:gd name="T9" fmla="*/ 1380 h 1768"/>
            </a:gdLst>
            <a:ahLst/>
            <a:cxnLst>
              <a:cxn ang="0">
                <a:pos x="T0" y="T1"/>
              </a:cxn>
              <a:cxn ang="0">
                <a:pos x="T2" y="T3"/>
              </a:cxn>
              <a:cxn ang="0">
                <a:pos x="T4" y="T5"/>
              </a:cxn>
              <a:cxn ang="0">
                <a:pos x="T6" y="T7"/>
              </a:cxn>
              <a:cxn ang="0">
                <a:pos x="T8" y="T9"/>
              </a:cxn>
            </a:cxnLst>
            <a:rect l="0" t="0" r="r" b="b"/>
            <a:pathLst>
              <a:path w="522" h="1768">
                <a:moveTo>
                  <a:pt x="522" y="1380"/>
                </a:moveTo>
                <a:lnTo>
                  <a:pt x="0" y="1768"/>
                </a:lnTo>
                <a:lnTo>
                  <a:pt x="0" y="0"/>
                </a:lnTo>
                <a:lnTo>
                  <a:pt x="522" y="1380"/>
                </a:lnTo>
                <a:lnTo>
                  <a:pt x="522" y="1380"/>
                </a:lnTo>
                <a:close/>
              </a:path>
            </a:pathLst>
          </a:custGeom>
          <a:solidFill>
            <a:schemeClr val="accent1">
              <a:lumMod val="75000"/>
            </a:schemeClr>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3" name="Freeform 5">
            <a:extLst>
              <a:ext uri="{FF2B5EF4-FFF2-40B4-BE49-F238E27FC236}">
                <a16:creationId xmlns:a16="http://schemas.microsoft.com/office/drawing/2014/main" id="{E0C2F53D-0DB1-4751-8CDA-42ECE388E0B7}"/>
              </a:ext>
            </a:extLst>
          </p:cNvPr>
          <p:cNvSpPr>
            <a:spLocks/>
          </p:cNvSpPr>
          <p:nvPr/>
        </p:nvSpPr>
        <p:spPr bwMode="auto">
          <a:xfrm>
            <a:off x="3882834" y="2219382"/>
            <a:ext cx="844550" cy="2707899"/>
          </a:xfrm>
          <a:custGeom>
            <a:avLst/>
            <a:gdLst>
              <a:gd name="T0" fmla="*/ 0 w 532"/>
              <a:gd name="T1" fmla="*/ 1380 h 1768"/>
              <a:gd name="T2" fmla="*/ 532 w 532"/>
              <a:gd name="T3" fmla="*/ 1768 h 1768"/>
              <a:gd name="T4" fmla="*/ 532 w 532"/>
              <a:gd name="T5" fmla="*/ 0 h 1768"/>
              <a:gd name="T6" fmla="*/ 0 w 532"/>
              <a:gd name="T7" fmla="*/ 1380 h 1768"/>
              <a:gd name="T8" fmla="*/ 0 w 532"/>
              <a:gd name="T9" fmla="*/ 1380 h 1768"/>
            </a:gdLst>
            <a:ahLst/>
            <a:cxnLst>
              <a:cxn ang="0">
                <a:pos x="T0" y="T1"/>
              </a:cxn>
              <a:cxn ang="0">
                <a:pos x="T2" y="T3"/>
              </a:cxn>
              <a:cxn ang="0">
                <a:pos x="T4" y="T5"/>
              </a:cxn>
              <a:cxn ang="0">
                <a:pos x="T6" y="T7"/>
              </a:cxn>
              <a:cxn ang="0">
                <a:pos x="T8" y="T9"/>
              </a:cxn>
            </a:cxnLst>
            <a:rect l="0" t="0" r="r" b="b"/>
            <a:pathLst>
              <a:path w="532" h="1768">
                <a:moveTo>
                  <a:pt x="0" y="1380"/>
                </a:moveTo>
                <a:lnTo>
                  <a:pt x="532" y="1768"/>
                </a:lnTo>
                <a:lnTo>
                  <a:pt x="532" y="0"/>
                </a:lnTo>
                <a:lnTo>
                  <a:pt x="0" y="1380"/>
                </a:lnTo>
                <a:lnTo>
                  <a:pt x="0" y="1380"/>
                </a:lnTo>
                <a:close/>
              </a:path>
            </a:pathLst>
          </a:custGeom>
          <a:solidFill>
            <a:schemeClr val="accent2"/>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5" name="Freeform 6">
            <a:extLst>
              <a:ext uri="{FF2B5EF4-FFF2-40B4-BE49-F238E27FC236}">
                <a16:creationId xmlns:a16="http://schemas.microsoft.com/office/drawing/2014/main" id="{E4C66B55-9C27-4D4F-A452-D377CA32FD0B}"/>
              </a:ext>
            </a:extLst>
          </p:cNvPr>
          <p:cNvSpPr>
            <a:spLocks/>
          </p:cNvSpPr>
          <p:nvPr/>
        </p:nvSpPr>
        <p:spPr bwMode="auto">
          <a:xfrm>
            <a:off x="4727384" y="2219382"/>
            <a:ext cx="828675" cy="2707899"/>
          </a:xfrm>
          <a:custGeom>
            <a:avLst/>
            <a:gdLst>
              <a:gd name="T0" fmla="*/ 522 w 522"/>
              <a:gd name="T1" fmla="*/ 1380 h 1768"/>
              <a:gd name="T2" fmla="*/ 0 w 522"/>
              <a:gd name="T3" fmla="*/ 1768 h 1768"/>
              <a:gd name="T4" fmla="*/ 0 w 522"/>
              <a:gd name="T5" fmla="*/ 0 h 1768"/>
              <a:gd name="T6" fmla="*/ 522 w 522"/>
              <a:gd name="T7" fmla="*/ 1380 h 1768"/>
              <a:gd name="T8" fmla="*/ 522 w 522"/>
              <a:gd name="T9" fmla="*/ 1380 h 1768"/>
            </a:gdLst>
            <a:ahLst/>
            <a:cxnLst>
              <a:cxn ang="0">
                <a:pos x="T0" y="T1"/>
              </a:cxn>
              <a:cxn ang="0">
                <a:pos x="T2" y="T3"/>
              </a:cxn>
              <a:cxn ang="0">
                <a:pos x="T4" y="T5"/>
              </a:cxn>
              <a:cxn ang="0">
                <a:pos x="T6" y="T7"/>
              </a:cxn>
              <a:cxn ang="0">
                <a:pos x="T8" y="T9"/>
              </a:cxn>
            </a:cxnLst>
            <a:rect l="0" t="0" r="r" b="b"/>
            <a:pathLst>
              <a:path w="522" h="1768">
                <a:moveTo>
                  <a:pt x="522" y="1380"/>
                </a:moveTo>
                <a:lnTo>
                  <a:pt x="0" y="1768"/>
                </a:lnTo>
                <a:lnTo>
                  <a:pt x="0" y="0"/>
                </a:lnTo>
                <a:lnTo>
                  <a:pt x="522" y="1380"/>
                </a:lnTo>
                <a:lnTo>
                  <a:pt x="522" y="1380"/>
                </a:lnTo>
                <a:close/>
              </a:path>
            </a:pathLst>
          </a:custGeom>
          <a:solidFill>
            <a:schemeClr val="accent2">
              <a:lumMod val="75000"/>
            </a:schemeClr>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7" name="Freeform 56">
            <a:extLst>
              <a:ext uri="{FF2B5EF4-FFF2-40B4-BE49-F238E27FC236}">
                <a16:creationId xmlns:a16="http://schemas.microsoft.com/office/drawing/2014/main" id="{E0C2F53D-0DB1-4751-8CDA-42ECE388E0B7}"/>
              </a:ext>
            </a:extLst>
          </p:cNvPr>
          <p:cNvSpPr>
            <a:spLocks/>
          </p:cNvSpPr>
          <p:nvPr/>
        </p:nvSpPr>
        <p:spPr bwMode="auto">
          <a:xfrm>
            <a:off x="6158895" y="2736218"/>
            <a:ext cx="844550" cy="2205301"/>
          </a:xfrm>
          <a:custGeom>
            <a:avLst/>
            <a:gdLst>
              <a:gd name="T0" fmla="*/ 0 w 532"/>
              <a:gd name="T1" fmla="*/ 1380 h 1768"/>
              <a:gd name="T2" fmla="*/ 532 w 532"/>
              <a:gd name="T3" fmla="*/ 1768 h 1768"/>
              <a:gd name="T4" fmla="*/ 532 w 532"/>
              <a:gd name="T5" fmla="*/ 0 h 1768"/>
              <a:gd name="T6" fmla="*/ 0 w 532"/>
              <a:gd name="T7" fmla="*/ 1380 h 1768"/>
              <a:gd name="T8" fmla="*/ 0 w 532"/>
              <a:gd name="T9" fmla="*/ 1380 h 1768"/>
            </a:gdLst>
            <a:ahLst/>
            <a:cxnLst>
              <a:cxn ang="0">
                <a:pos x="T0" y="T1"/>
              </a:cxn>
              <a:cxn ang="0">
                <a:pos x="T2" y="T3"/>
              </a:cxn>
              <a:cxn ang="0">
                <a:pos x="T4" y="T5"/>
              </a:cxn>
              <a:cxn ang="0">
                <a:pos x="T6" y="T7"/>
              </a:cxn>
              <a:cxn ang="0">
                <a:pos x="T8" y="T9"/>
              </a:cxn>
            </a:cxnLst>
            <a:rect l="0" t="0" r="r" b="b"/>
            <a:pathLst>
              <a:path w="532" h="1768">
                <a:moveTo>
                  <a:pt x="0" y="1380"/>
                </a:moveTo>
                <a:lnTo>
                  <a:pt x="532" y="1768"/>
                </a:lnTo>
                <a:lnTo>
                  <a:pt x="532" y="0"/>
                </a:lnTo>
                <a:lnTo>
                  <a:pt x="0" y="1380"/>
                </a:lnTo>
                <a:lnTo>
                  <a:pt x="0" y="1380"/>
                </a:lnTo>
                <a:close/>
              </a:path>
            </a:pathLst>
          </a:custGeom>
          <a:solidFill>
            <a:schemeClr val="accent3"/>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9" name="Freeform 58">
            <a:extLst>
              <a:ext uri="{FF2B5EF4-FFF2-40B4-BE49-F238E27FC236}">
                <a16:creationId xmlns:a16="http://schemas.microsoft.com/office/drawing/2014/main" id="{E4C66B55-9C27-4D4F-A452-D377CA32FD0B}"/>
              </a:ext>
            </a:extLst>
          </p:cNvPr>
          <p:cNvSpPr>
            <a:spLocks/>
          </p:cNvSpPr>
          <p:nvPr/>
        </p:nvSpPr>
        <p:spPr bwMode="auto">
          <a:xfrm>
            <a:off x="7003445" y="2736218"/>
            <a:ext cx="828675" cy="2205301"/>
          </a:xfrm>
          <a:custGeom>
            <a:avLst/>
            <a:gdLst>
              <a:gd name="T0" fmla="*/ 522 w 522"/>
              <a:gd name="T1" fmla="*/ 1380 h 1768"/>
              <a:gd name="T2" fmla="*/ 0 w 522"/>
              <a:gd name="T3" fmla="*/ 1768 h 1768"/>
              <a:gd name="T4" fmla="*/ 0 w 522"/>
              <a:gd name="T5" fmla="*/ 0 h 1768"/>
              <a:gd name="T6" fmla="*/ 522 w 522"/>
              <a:gd name="T7" fmla="*/ 1380 h 1768"/>
              <a:gd name="T8" fmla="*/ 522 w 522"/>
              <a:gd name="T9" fmla="*/ 1380 h 1768"/>
            </a:gdLst>
            <a:ahLst/>
            <a:cxnLst>
              <a:cxn ang="0">
                <a:pos x="T0" y="T1"/>
              </a:cxn>
              <a:cxn ang="0">
                <a:pos x="T2" y="T3"/>
              </a:cxn>
              <a:cxn ang="0">
                <a:pos x="T4" y="T5"/>
              </a:cxn>
              <a:cxn ang="0">
                <a:pos x="T6" y="T7"/>
              </a:cxn>
              <a:cxn ang="0">
                <a:pos x="T8" y="T9"/>
              </a:cxn>
            </a:cxnLst>
            <a:rect l="0" t="0" r="r" b="b"/>
            <a:pathLst>
              <a:path w="522" h="1768">
                <a:moveTo>
                  <a:pt x="522" y="1380"/>
                </a:moveTo>
                <a:lnTo>
                  <a:pt x="0" y="1768"/>
                </a:lnTo>
                <a:lnTo>
                  <a:pt x="0" y="0"/>
                </a:lnTo>
                <a:lnTo>
                  <a:pt x="522" y="1380"/>
                </a:lnTo>
                <a:lnTo>
                  <a:pt x="522" y="1380"/>
                </a:lnTo>
                <a:close/>
              </a:path>
            </a:pathLst>
          </a:custGeom>
          <a:solidFill>
            <a:schemeClr val="accent3">
              <a:lumMod val="75000"/>
            </a:schemeClr>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0" name="Freeform 5">
            <a:extLst>
              <a:ext uri="{FF2B5EF4-FFF2-40B4-BE49-F238E27FC236}">
                <a16:creationId xmlns:a16="http://schemas.microsoft.com/office/drawing/2014/main" id="{E0C2F53D-0DB1-4751-8CDA-42ECE388E0B7}"/>
              </a:ext>
            </a:extLst>
          </p:cNvPr>
          <p:cNvSpPr>
            <a:spLocks/>
          </p:cNvSpPr>
          <p:nvPr/>
        </p:nvSpPr>
        <p:spPr bwMode="auto">
          <a:xfrm>
            <a:off x="8694546" y="1479872"/>
            <a:ext cx="844550" cy="3427036"/>
          </a:xfrm>
          <a:custGeom>
            <a:avLst/>
            <a:gdLst>
              <a:gd name="T0" fmla="*/ 0 w 532"/>
              <a:gd name="T1" fmla="*/ 1380 h 1768"/>
              <a:gd name="T2" fmla="*/ 532 w 532"/>
              <a:gd name="T3" fmla="*/ 1768 h 1768"/>
              <a:gd name="T4" fmla="*/ 532 w 532"/>
              <a:gd name="T5" fmla="*/ 0 h 1768"/>
              <a:gd name="T6" fmla="*/ 0 w 532"/>
              <a:gd name="T7" fmla="*/ 1380 h 1768"/>
              <a:gd name="T8" fmla="*/ 0 w 532"/>
              <a:gd name="T9" fmla="*/ 1380 h 1768"/>
            </a:gdLst>
            <a:ahLst/>
            <a:cxnLst>
              <a:cxn ang="0">
                <a:pos x="T0" y="T1"/>
              </a:cxn>
              <a:cxn ang="0">
                <a:pos x="T2" y="T3"/>
              </a:cxn>
              <a:cxn ang="0">
                <a:pos x="T4" y="T5"/>
              </a:cxn>
              <a:cxn ang="0">
                <a:pos x="T6" y="T7"/>
              </a:cxn>
              <a:cxn ang="0">
                <a:pos x="T8" y="T9"/>
              </a:cxn>
            </a:cxnLst>
            <a:rect l="0" t="0" r="r" b="b"/>
            <a:pathLst>
              <a:path w="532" h="1768">
                <a:moveTo>
                  <a:pt x="0" y="1380"/>
                </a:moveTo>
                <a:lnTo>
                  <a:pt x="532" y="1768"/>
                </a:lnTo>
                <a:lnTo>
                  <a:pt x="532" y="0"/>
                </a:lnTo>
                <a:lnTo>
                  <a:pt x="0" y="1380"/>
                </a:lnTo>
                <a:lnTo>
                  <a:pt x="0" y="1380"/>
                </a:lnTo>
                <a:close/>
              </a:path>
            </a:pathLst>
          </a:custGeom>
          <a:solidFill>
            <a:schemeClr val="accent4"/>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1" name="Freeform 6">
            <a:extLst>
              <a:ext uri="{FF2B5EF4-FFF2-40B4-BE49-F238E27FC236}">
                <a16:creationId xmlns:a16="http://schemas.microsoft.com/office/drawing/2014/main" id="{E4C66B55-9C27-4D4F-A452-D377CA32FD0B}"/>
              </a:ext>
            </a:extLst>
          </p:cNvPr>
          <p:cNvSpPr>
            <a:spLocks/>
          </p:cNvSpPr>
          <p:nvPr/>
        </p:nvSpPr>
        <p:spPr bwMode="auto">
          <a:xfrm>
            <a:off x="9539096" y="1479872"/>
            <a:ext cx="828675" cy="3427036"/>
          </a:xfrm>
          <a:custGeom>
            <a:avLst/>
            <a:gdLst>
              <a:gd name="T0" fmla="*/ 522 w 522"/>
              <a:gd name="T1" fmla="*/ 1380 h 1768"/>
              <a:gd name="T2" fmla="*/ 0 w 522"/>
              <a:gd name="T3" fmla="*/ 1768 h 1768"/>
              <a:gd name="T4" fmla="*/ 0 w 522"/>
              <a:gd name="T5" fmla="*/ 0 h 1768"/>
              <a:gd name="T6" fmla="*/ 522 w 522"/>
              <a:gd name="T7" fmla="*/ 1380 h 1768"/>
              <a:gd name="T8" fmla="*/ 522 w 522"/>
              <a:gd name="T9" fmla="*/ 1380 h 1768"/>
            </a:gdLst>
            <a:ahLst/>
            <a:cxnLst>
              <a:cxn ang="0">
                <a:pos x="T0" y="T1"/>
              </a:cxn>
              <a:cxn ang="0">
                <a:pos x="T2" y="T3"/>
              </a:cxn>
              <a:cxn ang="0">
                <a:pos x="T4" y="T5"/>
              </a:cxn>
              <a:cxn ang="0">
                <a:pos x="T6" y="T7"/>
              </a:cxn>
              <a:cxn ang="0">
                <a:pos x="T8" y="T9"/>
              </a:cxn>
            </a:cxnLst>
            <a:rect l="0" t="0" r="r" b="b"/>
            <a:pathLst>
              <a:path w="522" h="1768">
                <a:moveTo>
                  <a:pt x="522" y="1380"/>
                </a:moveTo>
                <a:lnTo>
                  <a:pt x="0" y="1768"/>
                </a:lnTo>
                <a:lnTo>
                  <a:pt x="0" y="0"/>
                </a:lnTo>
                <a:lnTo>
                  <a:pt x="522" y="1380"/>
                </a:lnTo>
                <a:lnTo>
                  <a:pt x="522" y="1380"/>
                </a:lnTo>
                <a:close/>
              </a:path>
            </a:pathLst>
          </a:custGeom>
          <a:solidFill>
            <a:schemeClr val="accent4">
              <a:lumMod val="75000"/>
            </a:schemeClr>
          </a:solidFill>
          <a:ln w="25400">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grpSp>
        <p:nvGrpSpPr>
          <p:cNvPr id="63" name="Group 62"/>
          <p:cNvGrpSpPr/>
          <p:nvPr/>
        </p:nvGrpSpPr>
        <p:grpSpPr>
          <a:xfrm>
            <a:off x="2341275" y="2391831"/>
            <a:ext cx="609141" cy="478707"/>
            <a:chOff x="2341275" y="2669930"/>
            <a:chExt cx="609141" cy="478707"/>
          </a:xfrm>
        </p:grpSpPr>
        <p:sp>
          <p:nvSpPr>
            <p:cNvPr id="64" name="Oval 63"/>
            <p:cNvSpPr/>
            <p:nvPr/>
          </p:nvSpPr>
          <p:spPr>
            <a:xfrm>
              <a:off x="2502453" y="2998107"/>
              <a:ext cx="150530" cy="15053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endParaRPr lang="en-US" dirty="0">
                <a:solidFill>
                  <a:srgbClr val="FFFFFF"/>
                </a:solidFill>
                <a:latin typeface="RBC Display" panose="02000000000000000000" pitchFamily="2" charset="77"/>
              </a:endParaRPr>
            </a:p>
          </p:txBody>
        </p:sp>
        <p:sp>
          <p:nvSpPr>
            <p:cNvPr id="69" name="TextBox 68"/>
            <p:cNvSpPr txBox="1"/>
            <p:nvPr/>
          </p:nvSpPr>
          <p:spPr>
            <a:xfrm>
              <a:off x="2341275" y="2669930"/>
              <a:ext cx="609141" cy="369332"/>
            </a:xfrm>
            <a:prstGeom prst="rect">
              <a:avLst/>
            </a:prstGeom>
            <a:noFill/>
          </p:spPr>
          <p:txBody>
            <a:bodyPr wrap="none" lIns="0" rIns="0" rtlCol="0">
              <a:spAutoFit/>
            </a:bodyPr>
            <a:lstStyle/>
            <a:p>
              <a:r>
                <a:rPr lang="en-US" dirty="0">
                  <a:latin typeface="RBC Display" panose="02000000000000000000" pitchFamily="2" charset="77"/>
                </a:rPr>
                <a:t>$1000</a:t>
              </a:r>
            </a:p>
          </p:txBody>
        </p:sp>
      </p:grpSp>
      <p:grpSp>
        <p:nvGrpSpPr>
          <p:cNvPr id="70" name="Group 69"/>
          <p:cNvGrpSpPr/>
          <p:nvPr/>
        </p:nvGrpSpPr>
        <p:grpSpPr>
          <a:xfrm>
            <a:off x="4499879" y="1538024"/>
            <a:ext cx="609141" cy="478707"/>
            <a:chOff x="2341275" y="2669930"/>
            <a:chExt cx="609141" cy="478707"/>
          </a:xfrm>
        </p:grpSpPr>
        <p:sp>
          <p:nvSpPr>
            <p:cNvPr id="71" name="Oval 70"/>
            <p:cNvSpPr/>
            <p:nvPr/>
          </p:nvSpPr>
          <p:spPr>
            <a:xfrm>
              <a:off x="2502453" y="2998107"/>
              <a:ext cx="150530" cy="150530"/>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endParaRPr lang="en-US" dirty="0">
                <a:solidFill>
                  <a:srgbClr val="FFFFFF"/>
                </a:solidFill>
                <a:latin typeface="RBC Display" panose="02000000000000000000" pitchFamily="2" charset="77"/>
              </a:endParaRPr>
            </a:p>
          </p:txBody>
        </p:sp>
        <p:sp>
          <p:nvSpPr>
            <p:cNvPr id="72" name="TextBox 71"/>
            <p:cNvSpPr txBox="1"/>
            <p:nvPr/>
          </p:nvSpPr>
          <p:spPr>
            <a:xfrm>
              <a:off x="2341275" y="2669930"/>
              <a:ext cx="609141" cy="369332"/>
            </a:xfrm>
            <a:prstGeom prst="rect">
              <a:avLst/>
            </a:prstGeom>
            <a:noFill/>
          </p:spPr>
          <p:txBody>
            <a:bodyPr wrap="none" lIns="0" rIns="0" rtlCol="0">
              <a:spAutoFit/>
            </a:bodyPr>
            <a:lstStyle/>
            <a:p>
              <a:r>
                <a:rPr lang="en-US" dirty="0">
                  <a:latin typeface="RBC Display" panose="02000000000000000000" pitchFamily="2" charset="77"/>
                </a:rPr>
                <a:t>$1300</a:t>
              </a:r>
            </a:p>
          </p:txBody>
        </p:sp>
      </p:grpSp>
      <p:grpSp>
        <p:nvGrpSpPr>
          <p:cNvPr id="73" name="Group 72"/>
          <p:cNvGrpSpPr/>
          <p:nvPr/>
        </p:nvGrpSpPr>
        <p:grpSpPr>
          <a:xfrm>
            <a:off x="6767002" y="2079793"/>
            <a:ext cx="551433" cy="478707"/>
            <a:chOff x="2341275" y="2669930"/>
            <a:chExt cx="551433" cy="478707"/>
          </a:xfrm>
        </p:grpSpPr>
        <p:sp>
          <p:nvSpPr>
            <p:cNvPr id="74" name="Oval 73"/>
            <p:cNvSpPr/>
            <p:nvPr/>
          </p:nvSpPr>
          <p:spPr>
            <a:xfrm>
              <a:off x="2502453" y="2998107"/>
              <a:ext cx="150530" cy="150530"/>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endParaRPr lang="en-US" dirty="0">
                <a:solidFill>
                  <a:srgbClr val="FFFFFF"/>
                </a:solidFill>
                <a:latin typeface="RBC Display" panose="02000000000000000000" pitchFamily="2" charset="77"/>
              </a:endParaRPr>
            </a:p>
          </p:txBody>
        </p:sp>
        <p:sp>
          <p:nvSpPr>
            <p:cNvPr id="75" name="TextBox 74"/>
            <p:cNvSpPr txBox="1"/>
            <p:nvPr/>
          </p:nvSpPr>
          <p:spPr>
            <a:xfrm>
              <a:off x="2341275" y="2669930"/>
              <a:ext cx="551433" cy="369332"/>
            </a:xfrm>
            <a:prstGeom prst="rect">
              <a:avLst/>
            </a:prstGeom>
            <a:noFill/>
          </p:spPr>
          <p:txBody>
            <a:bodyPr wrap="none" lIns="0" rIns="0" rtlCol="0">
              <a:spAutoFit/>
            </a:bodyPr>
            <a:lstStyle/>
            <a:p>
              <a:r>
                <a:rPr lang="en-US" dirty="0">
                  <a:latin typeface="RBC Display" panose="02000000000000000000" pitchFamily="2" charset="77"/>
                </a:rPr>
                <a:t>$1100</a:t>
              </a:r>
            </a:p>
          </p:txBody>
        </p:sp>
      </p:grpSp>
      <p:grpSp>
        <p:nvGrpSpPr>
          <p:cNvPr id="76" name="Group 75"/>
          <p:cNvGrpSpPr/>
          <p:nvPr/>
        </p:nvGrpSpPr>
        <p:grpSpPr>
          <a:xfrm>
            <a:off x="9303654" y="839580"/>
            <a:ext cx="631583" cy="478707"/>
            <a:chOff x="2341275" y="2669930"/>
            <a:chExt cx="631583" cy="478707"/>
          </a:xfrm>
        </p:grpSpPr>
        <p:sp>
          <p:nvSpPr>
            <p:cNvPr id="77" name="Oval 76"/>
            <p:cNvSpPr/>
            <p:nvPr/>
          </p:nvSpPr>
          <p:spPr>
            <a:xfrm>
              <a:off x="2502453" y="2998107"/>
              <a:ext cx="150530" cy="150530"/>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endParaRPr lang="en-US" dirty="0">
                <a:solidFill>
                  <a:srgbClr val="FFFFFF"/>
                </a:solidFill>
                <a:latin typeface="RBC Display" panose="02000000000000000000" pitchFamily="2" charset="77"/>
              </a:endParaRPr>
            </a:p>
          </p:txBody>
        </p:sp>
        <p:sp>
          <p:nvSpPr>
            <p:cNvPr id="78" name="TextBox 77"/>
            <p:cNvSpPr txBox="1"/>
            <p:nvPr/>
          </p:nvSpPr>
          <p:spPr>
            <a:xfrm>
              <a:off x="2341275" y="2669930"/>
              <a:ext cx="631583" cy="369332"/>
            </a:xfrm>
            <a:prstGeom prst="rect">
              <a:avLst/>
            </a:prstGeom>
            <a:noFill/>
          </p:spPr>
          <p:txBody>
            <a:bodyPr wrap="none" lIns="0" rIns="0" rtlCol="0">
              <a:spAutoFit/>
            </a:bodyPr>
            <a:lstStyle/>
            <a:p>
              <a:r>
                <a:rPr lang="en-US" dirty="0">
                  <a:latin typeface="RBC Display" panose="02000000000000000000" pitchFamily="2" charset="77"/>
                </a:rPr>
                <a:t>$2000</a:t>
              </a:r>
            </a:p>
          </p:txBody>
        </p:sp>
      </p:grpSp>
      <p:cxnSp>
        <p:nvCxnSpPr>
          <p:cNvPr id="79" name="Straight Connector 78"/>
          <p:cNvCxnSpPr/>
          <p:nvPr/>
        </p:nvCxnSpPr>
        <p:spPr>
          <a:xfrm flipV="1">
            <a:off x="2652983" y="2007386"/>
            <a:ext cx="2030119" cy="800587"/>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789542" y="2007386"/>
            <a:ext cx="2138638" cy="488549"/>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7078710" y="1308942"/>
            <a:ext cx="2408167" cy="1186993"/>
          </a:xfrm>
          <a:prstGeom prst="line">
            <a:avLst/>
          </a:prstGeom>
          <a:ln>
            <a:solidFill>
              <a:schemeClr val="tx1">
                <a:alpha val="40000"/>
              </a:schemeClr>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AD316D1B-27AC-1045-BDF5-E9ED343BB661}"/>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24140212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p:cNvSpPr>
            <a:spLocks/>
          </p:cNvSpPr>
          <p:nvPr/>
        </p:nvSpPr>
        <p:spPr bwMode="auto">
          <a:xfrm>
            <a:off x="4086918" y="2176601"/>
            <a:ext cx="3956392" cy="3455232"/>
          </a:xfrm>
          <a:custGeom>
            <a:avLst/>
            <a:gdLst>
              <a:gd name="T0" fmla="*/ 1199 w 1272"/>
              <a:gd name="T1" fmla="*/ 585 h 1111"/>
              <a:gd name="T2" fmla="*/ 1228 w 1272"/>
              <a:gd name="T3" fmla="*/ 365 h 1111"/>
              <a:gd name="T4" fmla="*/ 1070 w 1272"/>
              <a:gd name="T5" fmla="*/ 234 h 1111"/>
              <a:gd name="T6" fmla="*/ 845 w 1272"/>
              <a:gd name="T7" fmla="*/ 20 h 1111"/>
              <a:gd name="T8" fmla="*/ 603 w 1272"/>
              <a:gd name="T9" fmla="*/ 59 h 1111"/>
              <a:gd name="T10" fmla="*/ 469 w 1272"/>
              <a:gd name="T11" fmla="*/ 46 h 1111"/>
              <a:gd name="T12" fmla="*/ 381 w 1272"/>
              <a:gd name="T13" fmla="*/ 111 h 1111"/>
              <a:gd name="T14" fmla="*/ 198 w 1272"/>
              <a:gd name="T15" fmla="*/ 161 h 1111"/>
              <a:gd name="T16" fmla="*/ 108 w 1272"/>
              <a:gd name="T17" fmla="*/ 317 h 1111"/>
              <a:gd name="T18" fmla="*/ 5 w 1272"/>
              <a:gd name="T19" fmla="*/ 433 h 1111"/>
              <a:gd name="T20" fmla="*/ 33 w 1272"/>
              <a:gd name="T21" fmla="*/ 534 h 1111"/>
              <a:gd name="T22" fmla="*/ 38 w 1272"/>
              <a:gd name="T23" fmla="*/ 670 h 1111"/>
              <a:gd name="T24" fmla="*/ 319 w 1272"/>
              <a:gd name="T25" fmla="*/ 771 h 1111"/>
              <a:gd name="T26" fmla="*/ 344 w 1272"/>
              <a:gd name="T27" fmla="*/ 759 h 1111"/>
              <a:gd name="T28" fmla="*/ 349 w 1272"/>
              <a:gd name="T29" fmla="*/ 773 h 1111"/>
              <a:gd name="T30" fmla="*/ 630 w 1272"/>
              <a:gd name="T31" fmla="*/ 874 h 1111"/>
              <a:gd name="T32" fmla="*/ 641 w 1272"/>
              <a:gd name="T33" fmla="*/ 869 h 1111"/>
              <a:gd name="T34" fmla="*/ 768 w 1272"/>
              <a:gd name="T35" fmla="*/ 901 h 1111"/>
              <a:gd name="T36" fmla="*/ 790 w 1272"/>
              <a:gd name="T37" fmla="*/ 955 h 1111"/>
              <a:gd name="T38" fmla="*/ 1000 w 1272"/>
              <a:gd name="T39" fmla="*/ 1111 h 1111"/>
              <a:gd name="T40" fmla="*/ 1037 w 1272"/>
              <a:gd name="T41" fmla="*/ 1077 h 1111"/>
              <a:gd name="T42" fmla="*/ 1036 w 1272"/>
              <a:gd name="T43" fmla="*/ 1076 h 1111"/>
              <a:gd name="T44" fmla="*/ 906 w 1272"/>
              <a:gd name="T45" fmla="*/ 901 h 1111"/>
              <a:gd name="T46" fmla="*/ 907 w 1272"/>
              <a:gd name="T47" fmla="*/ 893 h 1111"/>
              <a:gd name="T48" fmla="*/ 1106 w 1272"/>
              <a:gd name="T49" fmla="*/ 904 h 1111"/>
              <a:gd name="T50" fmla="*/ 1228 w 1272"/>
              <a:gd name="T51" fmla="*/ 632 h 1111"/>
              <a:gd name="T52" fmla="*/ 1199 w 1272"/>
              <a:gd name="T53" fmla="*/ 585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72" h="1111">
                <a:moveTo>
                  <a:pt x="1199" y="585"/>
                </a:moveTo>
                <a:cubicBezTo>
                  <a:pt x="1249" y="533"/>
                  <a:pt x="1263" y="446"/>
                  <a:pt x="1228" y="365"/>
                </a:cubicBezTo>
                <a:cubicBezTo>
                  <a:pt x="1197" y="291"/>
                  <a:pt x="1135" y="243"/>
                  <a:pt x="1070" y="234"/>
                </a:cubicBezTo>
                <a:cubicBezTo>
                  <a:pt x="1083" y="144"/>
                  <a:pt x="985" y="49"/>
                  <a:pt x="845" y="20"/>
                </a:cubicBezTo>
                <a:cubicBezTo>
                  <a:pt x="749" y="0"/>
                  <a:pt x="657" y="17"/>
                  <a:pt x="603" y="59"/>
                </a:cubicBezTo>
                <a:cubicBezTo>
                  <a:pt x="563" y="37"/>
                  <a:pt x="515" y="31"/>
                  <a:pt x="469" y="46"/>
                </a:cubicBezTo>
                <a:cubicBezTo>
                  <a:pt x="432" y="58"/>
                  <a:pt x="401" y="82"/>
                  <a:pt x="381" y="111"/>
                </a:cubicBezTo>
                <a:cubicBezTo>
                  <a:pt x="323" y="99"/>
                  <a:pt x="255" y="116"/>
                  <a:pt x="198" y="161"/>
                </a:cubicBezTo>
                <a:cubicBezTo>
                  <a:pt x="144" y="203"/>
                  <a:pt x="113" y="261"/>
                  <a:pt x="108" y="317"/>
                </a:cubicBezTo>
                <a:cubicBezTo>
                  <a:pt x="54" y="331"/>
                  <a:pt x="12" y="375"/>
                  <a:pt x="5" y="433"/>
                </a:cubicBezTo>
                <a:cubicBezTo>
                  <a:pt x="0" y="470"/>
                  <a:pt x="11" y="506"/>
                  <a:pt x="33" y="534"/>
                </a:cubicBezTo>
                <a:cubicBezTo>
                  <a:pt x="19" y="578"/>
                  <a:pt x="20" y="625"/>
                  <a:pt x="38" y="670"/>
                </a:cubicBezTo>
                <a:cubicBezTo>
                  <a:pt x="82" y="773"/>
                  <a:pt x="208" y="818"/>
                  <a:pt x="319" y="771"/>
                </a:cubicBezTo>
                <a:cubicBezTo>
                  <a:pt x="327" y="767"/>
                  <a:pt x="336" y="763"/>
                  <a:pt x="344" y="759"/>
                </a:cubicBezTo>
                <a:cubicBezTo>
                  <a:pt x="346" y="763"/>
                  <a:pt x="347" y="768"/>
                  <a:pt x="349" y="773"/>
                </a:cubicBezTo>
                <a:cubicBezTo>
                  <a:pt x="393" y="876"/>
                  <a:pt x="519" y="921"/>
                  <a:pt x="630" y="874"/>
                </a:cubicBezTo>
                <a:cubicBezTo>
                  <a:pt x="633" y="873"/>
                  <a:pt x="637" y="871"/>
                  <a:pt x="641" y="869"/>
                </a:cubicBezTo>
                <a:cubicBezTo>
                  <a:pt x="671" y="902"/>
                  <a:pt x="721" y="916"/>
                  <a:pt x="768" y="901"/>
                </a:cubicBezTo>
                <a:cubicBezTo>
                  <a:pt x="774" y="920"/>
                  <a:pt x="781" y="938"/>
                  <a:pt x="790" y="955"/>
                </a:cubicBezTo>
                <a:cubicBezTo>
                  <a:pt x="837" y="1044"/>
                  <a:pt x="918" y="1100"/>
                  <a:pt x="1000" y="1111"/>
                </a:cubicBezTo>
                <a:cubicBezTo>
                  <a:pt x="1037" y="1077"/>
                  <a:pt x="1037" y="1077"/>
                  <a:pt x="1037" y="1077"/>
                </a:cubicBezTo>
                <a:cubicBezTo>
                  <a:pt x="1037" y="1077"/>
                  <a:pt x="1036" y="1076"/>
                  <a:pt x="1036" y="1076"/>
                </a:cubicBezTo>
                <a:cubicBezTo>
                  <a:pt x="961" y="1053"/>
                  <a:pt x="906" y="983"/>
                  <a:pt x="906" y="901"/>
                </a:cubicBezTo>
                <a:cubicBezTo>
                  <a:pt x="906" y="898"/>
                  <a:pt x="906" y="896"/>
                  <a:pt x="907" y="893"/>
                </a:cubicBezTo>
                <a:cubicBezTo>
                  <a:pt x="964" y="927"/>
                  <a:pt x="1038" y="933"/>
                  <a:pt x="1106" y="904"/>
                </a:cubicBezTo>
                <a:cubicBezTo>
                  <a:pt x="1217" y="857"/>
                  <a:pt x="1272" y="735"/>
                  <a:pt x="1228" y="632"/>
                </a:cubicBezTo>
                <a:cubicBezTo>
                  <a:pt x="1220" y="614"/>
                  <a:pt x="1211" y="599"/>
                  <a:pt x="1199" y="585"/>
                </a:cubicBezTo>
                <a:close/>
              </a:path>
            </a:pathLst>
          </a:custGeom>
          <a:solidFill>
            <a:schemeClr val="accent1"/>
          </a:solidFill>
          <a:ln w="25400">
            <a:noFill/>
          </a:ln>
        </p:spPr>
        <p:txBody>
          <a:bodyPr vert="horz" wrap="square" lIns="91440" tIns="45720" rIns="91440" bIns="45720" numCol="1" anchor="t" anchorCtr="0" compatLnSpc="1">
            <a:prstTxWarp prst="textNoShape">
              <a:avLst/>
            </a:prstTxWarp>
          </a:bodyPr>
          <a:lstStyle/>
          <a:p>
            <a:endParaRPr lang="en-US" dirty="0">
              <a:latin typeface="Source Sans Pro" charset="0"/>
            </a:endParaRPr>
          </a:p>
        </p:txBody>
      </p:sp>
      <p:sp>
        <p:nvSpPr>
          <p:cNvPr id="4" name="Freeform 3"/>
          <p:cNvSpPr>
            <a:spLocks/>
          </p:cNvSpPr>
          <p:nvPr/>
        </p:nvSpPr>
        <p:spPr bwMode="auto">
          <a:xfrm>
            <a:off x="4873544" y="3364998"/>
            <a:ext cx="3169766" cy="2266835"/>
          </a:xfrm>
          <a:custGeom>
            <a:avLst/>
            <a:gdLst>
              <a:gd name="T0" fmla="*/ 853 w 1019"/>
              <a:gd name="T1" fmla="*/ 522 h 729"/>
              <a:gd name="T2" fmla="*/ 975 w 1019"/>
              <a:gd name="T3" fmla="*/ 250 h 729"/>
              <a:gd name="T4" fmla="*/ 946 w 1019"/>
              <a:gd name="T5" fmla="*/ 203 h 729"/>
              <a:gd name="T6" fmla="*/ 991 w 1019"/>
              <a:gd name="T7" fmla="*/ 110 h 729"/>
              <a:gd name="T8" fmla="*/ 580 w 1019"/>
              <a:gd name="T9" fmla="*/ 105 h 729"/>
              <a:gd name="T10" fmla="*/ 524 w 1019"/>
              <a:gd name="T11" fmla="*/ 258 h 729"/>
              <a:gd name="T12" fmla="*/ 505 w 1019"/>
              <a:gd name="T13" fmla="*/ 253 h 729"/>
              <a:gd name="T14" fmla="*/ 0 w 1019"/>
              <a:gd name="T15" fmla="*/ 406 h 729"/>
              <a:gd name="T16" fmla="*/ 66 w 1019"/>
              <a:gd name="T17" fmla="*/ 389 h 729"/>
              <a:gd name="T18" fmla="*/ 91 w 1019"/>
              <a:gd name="T19" fmla="*/ 377 h 729"/>
              <a:gd name="T20" fmla="*/ 96 w 1019"/>
              <a:gd name="T21" fmla="*/ 391 h 729"/>
              <a:gd name="T22" fmla="*/ 377 w 1019"/>
              <a:gd name="T23" fmla="*/ 492 h 729"/>
              <a:gd name="T24" fmla="*/ 388 w 1019"/>
              <a:gd name="T25" fmla="*/ 487 h 729"/>
              <a:gd name="T26" fmla="*/ 515 w 1019"/>
              <a:gd name="T27" fmla="*/ 519 h 729"/>
              <a:gd name="T28" fmla="*/ 537 w 1019"/>
              <a:gd name="T29" fmla="*/ 573 h 729"/>
              <a:gd name="T30" fmla="*/ 747 w 1019"/>
              <a:gd name="T31" fmla="*/ 729 h 729"/>
              <a:gd name="T32" fmla="*/ 784 w 1019"/>
              <a:gd name="T33" fmla="*/ 695 h 729"/>
              <a:gd name="T34" fmla="*/ 783 w 1019"/>
              <a:gd name="T35" fmla="*/ 694 h 729"/>
              <a:gd name="T36" fmla="*/ 653 w 1019"/>
              <a:gd name="T37" fmla="*/ 519 h 729"/>
              <a:gd name="T38" fmla="*/ 654 w 1019"/>
              <a:gd name="T39" fmla="*/ 511 h 729"/>
              <a:gd name="T40" fmla="*/ 853 w 1019"/>
              <a:gd name="T41" fmla="*/ 52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9" h="729">
                <a:moveTo>
                  <a:pt x="853" y="522"/>
                </a:moveTo>
                <a:cubicBezTo>
                  <a:pt x="964" y="475"/>
                  <a:pt x="1019" y="353"/>
                  <a:pt x="975" y="250"/>
                </a:cubicBezTo>
                <a:cubicBezTo>
                  <a:pt x="967" y="232"/>
                  <a:pt x="958" y="217"/>
                  <a:pt x="946" y="203"/>
                </a:cubicBezTo>
                <a:cubicBezTo>
                  <a:pt x="969" y="178"/>
                  <a:pt x="985" y="146"/>
                  <a:pt x="991" y="110"/>
                </a:cubicBezTo>
                <a:cubicBezTo>
                  <a:pt x="851" y="5"/>
                  <a:pt x="673" y="0"/>
                  <a:pt x="580" y="105"/>
                </a:cubicBezTo>
                <a:cubicBezTo>
                  <a:pt x="543" y="147"/>
                  <a:pt x="524" y="200"/>
                  <a:pt x="524" y="258"/>
                </a:cubicBezTo>
                <a:cubicBezTo>
                  <a:pt x="518" y="256"/>
                  <a:pt x="511" y="255"/>
                  <a:pt x="505" y="253"/>
                </a:cubicBezTo>
                <a:cubicBezTo>
                  <a:pt x="294" y="202"/>
                  <a:pt x="90" y="270"/>
                  <a:pt x="0" y="406"/>
                </a:cubicBezTo>
                <a:cubicBezTo>
                  <a:pt x="22" y="404"/>
                  <a:pt x="44" y="398"/>
                  <a:pt x="66" y="389"/>
                </a:cubicBezTo>
                <a:cubicBezTo>
                  <a:pt x="74" y="385"/>
                  <a:pt x="83" y="381"/>
                  <a:pt x="91" y="377"/>
                </a:cubicBezTo>
                <a:cubicBezTo>
                  <a:pt x="93" y="381"/>
                  <a:pt x="94" y="386"/>
                  <a:pt x="96" y="391"/>
                </a:cubicBezTo>
                <a:cubicBezTo>
                  <a:pt x="140" y="494"/>
                  <a:pt x="266" y="539"/>
                  <a:pt x="377" y="492"/>
                </a:cubicBezTo>
                <a:cubicBezTo>
                  <a:pt x="380" y="491"/>
                  <a:pt x="384" y="489"/>
                  <a:pt x="388" y="487"/>
                </a:cubicBezTo>
                <a:cubicBezTo>
                  <a:pt x="418" y="520"/>
                  <a:pt x="468" y="534"/>
                  <a:pt x="515" y="519"/>
                </a:cubicBezTo>
                <a:cubicBezTo>
                  <a:pt x="521" y="538"/>
                  <a:pt x="528" y="556"/>
                  <a:pt x="537" y="573"/>
                </a:cubicBezTo>
                <a:cubicBezTo>
                  <a:pt x="584" y="662"/>
                  <a:pt x="665" y="718"/>
                  <a:pt x="747" y="729"/>
                </a:cubicBezTo>
                <a:cubicBezTo>
                  <a:pt x="784" y="695"/>
                  <a:pt x="784" y="695"/>
                  <a:pt x="784" y="695"/>
                </a:cubicBezTo>
                <a:cubicBezTo>
                  <a:pt x="784" y="695"/>
                  <a:pt x="783" y="694"/>
                  <a:pt x="783" y="694"/>
                </a:cubicBezTo>
                <a:cubicBezTo>
                  <a:pt x="708" y="671"/>
                  <a:pt x="653" y="601"/>
                  <a:pt x="653" y="519"/>
                </a:cubicBezTo>
                <a:cubicBezTo>
                  <a:pt x="653" y="516"/>
                  <a:pt x="653" y="514"/>
                  <a:pt x="654" y="511"/>
                </a:cubicBezTo>
                <a:cubicBezTo>
                  <a:pt x="711" y="545"/>
                  <a:pt x="785" y="551"/>
                  <a:pt x="853" y="522"/>
                </a:cubicBezTo>
                <a:close/>
              </a:path>
            </a:pathLst>
          </a:custGeom>
          <a:solidFill>
            <a:schemeClr val="accent3"/>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Source Sans Pro" charset="0"/>
            </a:endParaRPr>
          </a:p>
        </p:txBody>
      </p:sp>
      <p:sp>
        <p:nvSpPr>
          <p:cNvPr id="5" name="Freeform 4"/>
          <p:cNvSpPr>
            <a:spLocks/>
          </p:cNvSpPr>
          <p:nvPr/>
        </p:nvSpPr>
        <p:spPr bwMode="auto">
          <a:xfrm>
            <a:off x="5672858" y="2176601"/>
            <a:ext cx="2340848" cy="2431773"/>
          </a:xfrm>
          <a:custGeom>
            <a:avLst/>
            <a:gdLst>
              <a:gd name="T0" fmla="*/ 718 w 753"/>
              <a:gd name="T1" fmla="*/ 632 h 782"/>
              <a:gd name="T2" fmla="*/ 689 w 753"/>
              <a:gd name="T3" fmla="*/ 585 h 782"/>
              <a:gd name="T4" fmla="*/ 718 w 753"/>
              <a:gd name="T5" fmla="*/ 365 h 782"/>
              <a:gd name="T6" fmla="*/ 560 w 753"/>
              <a:gd name="T7" fmla="*/ 234 h 782"/>
              <a:gd name="T8" fmla="*/ 335 w 753"/>
              <a:gd name="T9" fmla="*/ 20 h 782"/>
              <a:gd name="T10" fmla="*/ 93 w 753"/>
              <a:gd name="T11" fmla="*/ 59 h 782"/>
              <a:gd name="T12" fmla="*/ 36 w 753"/>
              <a:gd name="T13" fmla="*/ 146 h 782"/>
              <a:gd name="T14" fmla="*/ 233 w 753"/>
              <a:gd name="T15" fmla="*/ 450 h 782"/>
              <a:gd name="T16" fmla="*/ 362 w 753"/>
              <a:gd name="T17" fmla="*/ 458 h 782"/>
              <a:gd name="T18" fmla="*/ 406 w 753"/>
              <a:gd name="T19" fmla="*/ 614 h 782"/>
              <a:gd name="T20" fmla="*/ 489 w 753"/>
              <a:gd name="T21" fmla="*/ 667 h 782"/>
              <a:gd name="T22" fmla="*/ 590 w 753"/>
              <a:gd name="T23" fmla="*/ 777 h 782"/>
              <a:gd name="T24" fmla="*/ 732 w 753"/>
              <a:gd name="T25" fmla="*/ 689 h 782"/>
              <a:gd name="T26" fmla="*/ 718 w 753"/>
              <a:gd name="T27" fmla="*/ 632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3" h="782">
                <a:moveTo>
                  <a:pt x="718" y="632"/>
                </a:moveTo>
                <a:cubicBezTo>
                  <a:pt x="710" y="614"/>
                  <a:pt x="701" y="599"/>
                  <a:pt x="689" y="585"/>
                </a:cubicBezTo>
                <a:cubicBezTo>
                  <a:pt x="739" y="533"/>
                  <a:pt x="753" y="446"/>
                  <a:pt x="718" y="365"/>
                </a:cubicBezTo>
                <a:cubicBezTo>
                  <a:pt x="687" y="291"/>
                  <a:pt x="625" y="243"/>
                  <a:pt x="560" y="234"/>
                </a:cubicBezTo>
                <a:cubicBezTo>
                  <a:pt x="573" y="144"/>
                  <a:pt x="475" y="49"/>
                  <a:pt x="335" y="20"/>
                </a:cubicBezTo>
                <a:cubicBezTo>
                  <a:pt x="239" y="0"/>
                  <a:pt x="147" y="17"/>
                  <a:pt x="93" y="59"/>
                </a:cubicBezTo>
                <a:cubicBezTo>
                  <a:pt x="91" y="58"/>
                  <a:pt x="46" y="111"/>
                  <a:pt x="36" y="146"/>
                </a:cubicBezTo>
                <a:cubicBezTo>
                  <a:pt x="0" y="273"/>
                  <a:pt x="89" y="409"/>
                  <a:pt x="233" y="450"/>
                </a:cubicBezTo>
                <a:cubicBezTo>
                  <a:pt x="277" y="462"/>
                  <a:pt x="321" y="464"/>
                  <a:pt x="362" y="458"/>
                </a:cubicBezTo>
                <a:cubicBezTo>
                  <a:pt x="354" y="515"/>
                  <a:pt x="368" y="571"/>
                  <a:pt x="406" y="614"/>
                </a:cubicBezTo>
                <a:cubicBezTo>
                  <a:pt x="428" y="639"/>
                  <a:pt x="457" y="657"/>
                  <a:pt x="489" y="667"/>
                </a:cubicBezTo>
                <a:cubicBezTo>
                  <a:pt x="481" y="730"/>
                  <a:pt x="524" y="774"/>
                  <a:pt x="590" y="777"/>
                </a:cubicBezTo>
                <a:cubicBezTo>
                  <a:pt x="703" y="782"/>
                  <a:pt x="729" y="689"/>
                  <a:pt x="732" y="689"/>
                </a:cubicBezTo>
                <a:cubicBezTo>
                  <a:pt x="730" y="669"/>
                  <a:pt x="726" y="650"/>
                  <a:pt x="718" y="632"/>
                </a:cubicBezTo>
                <a:close/>
              </a:path>
            </a:pathLst>
          </a:custGeom>
          <a:solidFill>
            <a:schemeClr val="accent2"/>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Source Sans Pro" charset="0"/>
            </a:endParaRPr>
          </a:p>
        </p:txBody>
      </p:sp>
      <p:sp>
        <p:nvSpPr>
          <p:cNvPr id="6" name="Freeform 5"/>
          <p:cNvSpPr>
            <a:spLocks/>
          </p:cNvSpPr>
          <p:nvPr/>
        </p:nvSpPr>
        <p:spPr bwMode="auto">
          <a:xfrm>
            <a:off x="4086918" y="3149310"/>
            <a:ext cx="1287784" cy="1571137"/>
          </a:xfrm>
          <a:custGeom>
            <a:avLst/>
            <a:gdLst>
              <a:gd name="T0" fmla="*/ 377 w 414"/>
              <a:gd name="T1" fmla="*/ 215 h 505"/>
              <a:gd name="T2" fmla="*/ 374 w 414"/>
              <a:gd name="T3" fmla="*/ 70 h 505"/>
              <a:gd name="T4" fmla="*/ 249 w 414"/>
              <a:gd name="T5" fmla="*/ 49 h 505"/>
              <a:gd name="T6" fmla="*/ 132 w 414"/>
              <a:gd name="T7" fmla="*/ 0 h 505"/>
              <a:gd name="T8" fmla="*/ 108 w 414"/>
              <a:gd name="T9" fmla="*/ 4 h 505"/>
              <a:gd name="T10" fmla="*/ 5 w 414"/>
              <a:gd name="T11" fmla="*/ 120 h 505"/>
              <a:gd name="T12" fmla="*/ 33 w 414"/>
              <a:gd name="T13" fmla="*/ 221 h 505"/>
              <a:gd name="T14" fmla="*/ 38 w 414"/>
              <a:gd name="T15" fmla="*/ 357 h 505"/>
              <a:gd name="T16" fmla="*/ 319 w 414"/>
              <a:gd name="T17" fmla="*/ 458 h 505"/>
              <a:gd name="T18" fmla="*/ 344 w 414"/>
              <a:gd name="T19" fmla="*/ 446 h 505"/>
              <a:gd name="T20" fmla="*/ 398 w 414"/>
              <a:gd name="T21" fmla="*/ 307 h 505"/>
              <a:gd name="T22" fmla="*/ 377 w 414"/>
              <a:gd name="T23" fmla="*/ 21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4" h="505">
                <a:moveTo>
                  <a:pt x="377" y="215"/>
                </a:moveTo>
                <a:cubicBezTo>
                  <a:pt x="414" y="174"/>
                  <a:pt x="413" y="110"/>
                  <a:pt x="374" y="70"/>
                </a:cubicBezTo>
                <a:cubicBezTo>
                  <a:pt x="340" y="35"/>
                  <a:pt x="289" y="28"/>
                  <a:pt x="249" y="49"/>
                </a:cubicBezTo>
                <a:cubicBezTo>
                  <a:pt x="219" y="19"/>
                  <a:pt x="178" y="0"/>
                  <a:pt x="132" y="0"/>
                </a:cubicBezTo>
                <a:cubicBezTo>
                  <a:pt x="124" y="0"/>
                  <a:pt x="108" y="3"/>
                  <a:pt x="108" y="4"/>
                </a:cubicBezTo>
                <a:cubicBezTo>
                  <a:pt x="54" y="18"/>
                  <a:pt x="12" y="62"/>
                  <a:pt x="5" y="120"/>
                </a:cubicBezTo>
                <a:cubicBezTo>
                  <a:pt x="0" y="157"/>
                  <a:pt x="11" y="193"/>
                  <a:pt x="33" y="221"/>
                </a:cubicBezTo>
                <a:cubicBezTo>
                  <a:pt x="19" y="265"/>
                  <a:pt x="20" y="312"/>
                  <a:pt x="38" y="357"/>
                </a:cubicBezTo>
                <a:cubicBezTo>
                  <a:pt x="82" y="460"/>
                  <a:pt x="208" y="505"/>
                  <a:pt x="319" y="458"/>
                </a:cubicBezTo>
                <a:cubicBezTo>
                  <a:pt x="327" y="454"/>
                  <a:pt x="336" y="450"/>
                  <a:pt x="344" y="446"/>
                </a:cubicBezTo>
                <a:cubicBezTo>
                  <a:pt x="344" y="446"/>
                  <a:pt x="404" y="391"/>
                  <a:pt x="398" y="307"/>
                </a:cubicBezTo>
                <a:cubicBezTo>
                  <a:pt x="396" y="274"/>
                  <a:pt x="391" y="242"/>
                  <a:pt x="377" y="215"/>
                </a:cubicBezTo>
                <a:close/>
              </a:path>
            </a:pathLst>
          </a:custGeom>
          <a:solidFill>
            <a:schemeClr val="accent4"/>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Source Sans Pro" charset="0"/>
            </a:endParaRPr>
          </a:p>
        </p:txBody>
      </p:sp>
      <p:sp>
        <p:nvSpPr>
          <p:cNvPr id="7" name="Oval 6"/>
          <p:cNvSpPr/>
          <p:nvPr/>
        </p:nvSpPr>
        <p:spPr>
          <a:xfrm>
            <a:off x="7166951" y="2441215"/>
            <a:ext cx="343116" cy="343114"/>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200" dirty="0">
                <a:solidFill>
                  <a:srgbClr val="FFFFFF"/>
                </a:solidFill>
                <a:latin typeface="RBC Display" panose="02000000000000000000" pitchFamily="2" charset="77"/>
              </a:rPr>
              <a:t>02</a:t>
            </a:r>
          </a:p>
        </p:txBody>
      </p:sp>
      <p:sp>
        <p:nvSpPr>
          <p:cNvPr id="9" name="Oval 8"/>
          <p:cNvSpPr/>
          <p:nvPr/>
        </p:nvSpPr>
        <p:spPr>
          <a:xfrm>
            <a:off x="7318470" y="4800803"/>
            <a:ext cx="343116" cy="343114"/>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200" dirty="0">
                <a:solidFill>
                  <a:srgbClr val="FFFFFF"/>
                </a:solidFill>
                <a:latin typeface="RBC Display" panose="02000000000000000000" pitchFamily="2" charset="77"/>
              </a:rPr>
              <a:t>03</a:t>
            </a:r>
          </a:p>
        </p:txBody>
      </p:sp>
      <p:sp>
        <p:nvSpPr>
          <p:cNvPr id="11" name="Oval 10"/>
          <p:cNvSpPr/>
          <p:nvPr/>
        </p:nvSpPr>
        <p:spPr>
          <a:xfrm>
            <a:off x="3999224" y="3902885"/>
            <a:ext cx="343116" cy="343114"/>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200" dirty="0">
                <a:solidFill>
                  <a:srgbClr val="FFFFFF"/>
                </a:solidFill>
                <a:latin typeface="RBC Display" panose="02000000000000000000" pitchFamily="2" charset="77"/>
              </a:rPr>
              <a:t>04</a:t>
            </a:r>
          </a:p>
        </p:txBody>
      </p:sp>
      <p:sp>
        <p:nvSpPr>
          <p:cNvPr id="13" name="Oval 12"/>
          <p:cNvSpPr/>
          <p:nvPr/>
        </p:nvSpPr>
        <p:spPr>
          <a:xfrm>
            <a:off x="4833788" y="2318280"/>
            <a:ext cx="343116" cy="34311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1200" dirty="0">
                <a:solidFill>
                  <a:srgbClr val="FFFFFF"/>
                </a:solidFill>
                <a:latin typeface="RBC Display" panose="02000000000000000000" pitchFamily="2" charset="77"/>
              </a:rPr>
              <a:t>01</a:t>
            </a:r>
          </a:p>
        </p:txBody>
      </p:sp>
      <p:sp>
        <p:nvSpPr>
          <p:cNvPr id="15" name="TextBox 14"/>
          <p:cNvSpPr txBox="1"/>
          <p:nvPr/>
        </p:nvSpPr>
        <p:spPr>
          <a:xfrm>
            <a:off x="8311862" y="2087725"/>
            <a:ext cx="2379062" cy="1277273"/>
          </a:xfrm>
          <a:prstGeom prst="rect">
            <a:avLst/>
          </a:prstGeom>
          <a:noFill/>
        </p:spPr>
        <p:txBody>
          <a:bodyPr wrap="square" lIns="0" rIns="0" rtlCol="0">
            <a:spAutoFit/>
          </a:bodyPr>
          <a:lstStyle/>
          <a:p>
            <a:pPr>
              <a:lnSpc>
                <a:spcPct val="120000"/>
              </a:lnSpc>
              <a:spcBef>
                <a:spcPts val="600"/>
              </a:spcBef>
            </a:pPr>
            <a:r>
              <a:rPr lang="en-US" sz="1200" dirty="0">
                <a:latin typeface="RBC Display"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 peep at some distant orb has power to raise and purify.</a:t>
            </a:r>
          </a:p>
        </p:txBody>
      </p:sp>
      <p:sp>
        <p:nvSpPr>
          <p:cNvPr id="16" name="TextBox 15"/>
          <p:cNvSpPr txBox="1"/>
          <p:nvPr/>
        </p:nvSpPr>
        <p:spPr>
          <a:xfrm>
            <a:off x="8013706" y="4800803"/>
            <a:ext cx="2379062" cy="1277273"/>
          </a:xfrm>
          <a:prstGeom prst="rect">
            <a:avLst/>
          </a:prstGeom>
          <a:noFill/>
        </p:spPr>
        <p:txBody>
          <a:bodyPr wrap="square" lIns="0" rIns="0" rtlCol="0">
            <a:spAutoFit/>
          </a:bodyPr>
          <a:lstStyle/>
          <a:p>
            <a:pPr>
              <a:lnSpc>
                <a:spcPct val="120000"/>
              </a:lnSpc>
              <a:spcBef>
                <a:spcPts val="600"/>
              </a:spcBef>
            </a:pPr>
            <a:r>
              <a:rPr lang="en-US" sz="1200" dirty="0">
                <a:latin typeface="RBC Display" panose="02000000000000000000" pitchFamily="2" charset="77"/>
              </a:rPr>
              <a:t>Write title here</a:t>
            </a:r>
          </a:p>
          <a:p>
            <a:pP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 peep at some distant orb has power to raise and purify.</a:t>
            </a:r>
          </a:p>
        </p:txBody>
      </p:sp>
      <p:sp>
        <p:nvSpPr>
          <p:cNvPr id="17" name="TextBox 16"/>
          <p:cNvSpPr txBox="1"/>
          <p:nvPr/>
        </p:nvSpPr>
        <p:spPr>
          <a:xfrm>
            <a:off x="1322006" y="4008684"/>
            <a:ext cx="2379062" cy="1277273"/>
          </a:xfrm>
          <a:prstGeom prst="rect">
            <a:avLst/>
          </a:prstGeom>
          <a:noFill/>
        </p:spPr>
        <p:txBody>
          <a:bodyPr wrap="square" lIns="0" rIns="0" rtlCol="0">
            <a:spAutoFit/>
          </a:bodyPr>
          <a:lstStyle/>
          <a:p>
            <a:pPr algn="r">
              <a:lnSpc>
                <a:spcPct val="120000"/>
              </a:lnSpc>
              <a:spcBef>
                <a:spcPts val="600"/>
              </a:spcBef>
            </a:pPr>
            <a:r>
              <a:rPr lang="en-US" sz="1200" dirty="0">
                <a:latin typeface="RBC Display" panose="02000000000000000000" pitchFamily="2" charset="77"/>
              </a:rPr>
              <a:t>Write title here</a:t>
            </a:r>
          </a:p>
          <a:p>
            <a:pPr algn="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 peep at some distant orb has power to raise and purify.</a:t>
            </a:r>
          </a:p>
        </p:txBody>
      </p:sp>
      <p:sp>
        <p:nvSpPr>
          <p:cNvPr id="18" name="TextBox 17"/>
          <p:cNvSpPr txBox="1"/>
          <p:nvPr/>
        </p:nvSpPr>
        <p:spPr>
          <a:xfrm>
            <a:off x="1982169" y="1449088"/>
            <a:ext cx="2379062" cy="1277273"/>
          </a:xfrm>
          <a:prstGeom prst="rect">
            <a:avLst/>
          </a:prstGeom>
          <a:noFill/>
        </p:spPr>
        <p:txBody>
          <a:bodyPr wrap="square" lIns="0" rIns="0" rtlCol="0">
            <a:spAutoFit/>
          </a:bodyPr>
          <a:lstStyle/>
          <a:p>
            <a:pPr algn="r">
              <a:lnSpc>
                <a:spcPct val="120000"/>
              </a:lnSpc>
              <a:spcBef>
                <a:spcPts val="600"/>
              </a:spcBef>
            </a:pPr>
            <a:r>
              <a:rPr lang="en-US" sz="1200" dirty="0">
                <a:latin typeface="RBC Display" panose="02000000000000000000" pitchFamily="2" charset="77"/>
              </a:rPr>
              <a:t>Write title here</a:t>
            </a:r>
          </a:p>
          <a:p>
            <a:pPr algn="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 A peep at some distant orb has power to raise and purify.</a:t>
            </a:r>
          </a:p>
        </p:txBody>
      </p:sp>
      <p:sp>
        <p:nvSpPr>
          <p:cNvPr id="14" name="Text Placeholder 6">
            <a:extLst>
              <a:ext uri="{FF2B5EF4-FFF2-40B4-BE49-F238E27FC236}">
                <a16:creationId xmlns:a16="http://schemas.microsoft.com/office/drawing/2014/main" id="{ACA2C1E5-AB6C-3045-A806-54AC6DC93307}"/>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19379370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cess &amp; chart</a:t>
            </a:r>
            <a:br>
              <a:rPr lang="en-US"/>
            </a:br>
            <a:r>
              <a:rPr lang="en-US"/>
              <a:t>infographic</a:t>
            </a:r>
            <a:endParaRPr lang="en-US" dirty="0"/>
          </a:p>
        </p:txBody>
      </p:sp>
      <p:sp>
        <p:nvSpPr>
          <p:cNvPr id="3" name="Freeform 5">
            <a:extLst>
              <a:ext uri="{FF2B5EF4-FFF2-40B4-BE49-F238E27FC236}">
                <a16:creationId xmlns:a16="http://schemas.microsoft.com/office/drawing/2014/main" id="{DEAB9736-9BF6-4250-92B2-A277C3B9727D}"/>
              </a:ext>
            </a:extLst>
          </p:cNvPr>
          <p:cNvSpPr>
            <a:spLocks/>
          </p:cNvSpPr>
          <p:nvPr/>
        </p:nvSpPr>
        <p:spPr bwMode="auto">
          <a:xfrm>
            <a:off x="3670944" y="3751217"/>
            <a:ext cx="1686396" cy="889723"/>
          </a:xfrm>
          <a:custGeom>
            <a:avLst/>
            <a:gdLst>
              <a:gd name="T0" fmla="*/ 683 w 2813"/>
              <a:gd name="T1" fmla="*/ 655 h 1487"/>
              <a:gd name="T2" fmla="*/ 518 w 2813"/>
              <a:gd name="T3" fmla="*/ 0 h 1487"/>
              <a:gd name="T4" fmla="*/ 0 w 2813"/>
              <a:gd name="T5" fmla="*/ 659 h 1487"/>
              <a:gd name="T6" fmla="*/ 208 w 2813"/>
              <a:gd name="T7" fmla="*/ 1487 h 1487"/>
              <a:gd name="T8" fmla="*/ 2813 w 2813"/>
              <a:gd name="T9" fmla="*/ 713 h 1487"/>
              <a:gd name="T10" fmla="*/ 2562 w 2813"/>
              <a:gd name="T11" fmla="*/ 96 h 1487"/>
              <a:gd name="T12" fmla="*/ 683 w 2813"/>
              <a:gd name="T13" fmla="*/ 655 h 1487"/>
            </a:gdLst>
            <a:ahLst/>
            <a:cxnLst>
              <a:cxn ang="0">
                <a:pos x="T0" y="T1"/>
              </a:cxn>
              <a:cxn ang="0">
                <a:pos x="T2" y="T3"/>
              </a:cxn>
              <a:cxn ang="0">
                <a:pos x="T4" y="T5"/>
              </a:cxn>
              <a:cxn ang="0">
                <a:pos x="T6" y="T7"/>
              </a:cxn>
              <a:cxn ang="0">
                <a:pos x="T8" y="T9"/>
              </a:cxn>
              <a:cxn ang="0">
                <a:pos x="T10" y="T11"/>
              </a:cxn>
              <a:cxn ang="0">
                <a:pos x="T12" y="T13"/>
              </a:cxn>
            </a:cxnLst>
            <a:rect l="0" t="0" r="r" b="b"/>
            <a:pathLst>
              <a:path w="2813" h="1487">
                <a:moveTo>
                  <a:pt x="683" y="655"/>
                </a:moveTo>
                <a:cubicBezTo>
                  <a:pt x="518" y="0"/>
                  <a:pt x="518" y="0"/>
                  <a:pt x="518" y="0"/>
                </a:cubicBezTo>
                <a:cubicBezTo>
                  <a:pt x="437" y="278"/>
                  <a:pt x="250" y="514"/>
                  <a:pt x="0" y="659"/>
                </a:cubicBezTo>
                <a:cubicBezTo>
                  <a:pt x="208" y="1487"/>
                  <a:pt x="208" y="1487"/>
                  <a:pt x="208" y="1487"/>
                </a:cubicBezTo>
                <a:cubicBezTo>
                  <a:pt x="1077" y="1229"/>
                  <a:pt x="1945" y="971"/>
                  <a:pt x="2813" y="713"/>
                </a:cubicBezTo>
                <a:cubicBezTo>
                  <a:pt x="2679" y="537"/>
                  <a:pt x="2590" y="326"/>
                  <a:pt x="2562" y="96"/>
                </a:cubicBezTo>
                <a:cubicBezTo>
                  <a:pt x="1936" y="282"/>
                  <a:pt x="1310" y="468"/>
                  <a:pt x="683" y="65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 name="Freeform 6">
            <a:extLst>
              <a:ext uri="{FF2B5EF4-FFF2-40B4-BE49-F238E27FC236}">
                <a16:creationId xmlns:a16="http://schemas.microsoft.com/office/drawing/2014/main" id="{40A76096-9929-4D23-96D7-626C3BF1E7A0}"/>
              </a:ext>
            </a:extLst>
          </p:cNvPr>
          <p:cNvSpPr>
            <a:spLocks/>
          </p:cNvSpPr>
          <p:nvPr/>
        </p:nvSpPr>
        <p:spPr bwMode="auto">
          <a:xfrm>
            <a:off x="6652409" y="3001708"/>
            <a:ext cx="1397044" cy="768629"/>
          </a:xfrm>
          <a:custGeom>
            <a:avLst/>
            <a:gdLst>
              <a:gd name="T0" fmla="*/ 126 w 2333"/>
              <a:gd name="T1" fmla="*/ 1286 h 1286"/>
              <a:gd name="T2" fmla="*/ 2333 w 2333"/>
              <a:gd name="T3" fmla="*/ 630 h 1286"/>
              <a:gd name="T4" fmla="*/ 2126 w 2333"/>
              <a:gd name="T5" fmla="*/ 0 h 1286"/>
              <a:gd name="T6" fmla="*/ 0 w 2333"/>
              <a:gd name="T7" fmla="*/ 632 h 1286"/>
              <a:gd name="T8" fmla="*/ 126 w 2333"/>
              <a:gd name="T9" fmla="*/ 1286 h 1286"/>
            </a:gdLst>
            <a:ahLst/>
            <a:cxnLst>
              <a:cxn ang="0">
                <a:pos x="T0" y="T1"/>
              </a:cxn>
              <a:cxn ang="0">
                <a:pos x="T2" y="T3"/>
              </a:cxn>
              <a:cxn ang="0">
                <a:pos x="T4" y="T5"/>
              </a:cxn>
              <a:cxn ang="0">
                <a:pos x="T6" y="T7"/>
              </a:cxn>
              <a:cxn ang="0">
                <a:pos x="T8" y="T9"/>
              </a:cxn>
            </a:cxnLst>
            <a:rect l="0" t="0" r="r" b="b"/>
            <a:pathLst>
              <a:path w="2333" h="1286">
                <a:moveTo>
                  <a:pt x="126" y="1286"/>
                </a:moveTo>
                <a:cubicBezTo>
                  <a:pt x="862" y="1067"/>
                  <a:pt x="1597" y="849"/>
                  <a:pt x="2333" y="630"/>
                </a:cubicBezTo>
                <a:cubicBezTo>
                  <a:pt x="2222" y="441"/>
                  <a:pt x="2150" y="228"/>
                  <a:pt x="2126" y="0"/>
                </a:cubicBezTo>
                <a:cubicBezTo>
                  <a:pt x="1417" y="210"/>
                  <a:pt x="708" y="421"/>
                  <a:pt x="0" y="632"/>
                </a:cubicBezTo>
                <a:cubicBezTo>
                  <a:pt x="100" y="835"/>
                  <a:pt x="142" y="1060"/>
                  <a:pt x="126" y="128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5" name="Freeform 7">
            <a:extLst>
              <a:ext uri="{FF2B5EF4-FFF2-40B4-BE49-F238E27FC236}">
                <a16:creationId xmlns:a16="http://schemas.microsoft.com/office/drawing/2014/main" id="{0AC7F79E-8E17-43C2-BFE6-20D5B2905D32}"/>
              </a:ext>
            </a:extLst>
          </p:cNvPr>
          <p:cNvSpPr>
            <a:spLocks/>
          </p:cNvSpPr>
          <p:nvPr/>
        </p:nvSpPr>
        <p:spPr bwMode="auto">
          <a:xfrm>
            <a:off x="9716729" y="2080118"/>
            <a:ext cx="1325662" cy="834913"/>
          </a:xfrm>
          <a:custGeom>
            <a:avLst/>
            <a:gdLst>
              <a:gd name="T0" fmla="*/ 170 w 2214"/>
              <a:gd name="T1" fmla="*/ 1293 h 1396"/>
              <a:gd name="T2" fmla="*/ 1100 w 2214"/>
              <a:gd name="T3" fmla="*/ 1016 h 1396"/>
              <a:gd name="T4" fmla="*/ 1213 w 2214"/>
              <a:gd name="T5" fmla="*/ 1396 h 1396"/>
              <a:gd name="T6" fmla="*/ 2214 w 2214"/>
              <a:gd name="T7" fmla="*/ 340 h 1396"/>
              <a:gd name="T8" fmla="*/ 800 w 2214"/>
              <a:gd name="T9" fmla="*/ 0 h 1396"/>
              <a:gd name="T10" fmla="*/ 912 w 2214"/>
              <a:gd name="T11" fmla="*/ 380 h 1396"/>
              <a:gd name="T12" fmla="*/ 0 w 2214"/>
              <a:gd name="T13" fmla="*/ 652 h 1396"/>
              <a:gd name="T14" fmla="*/ 170 w 2214"/>
              <a:gd name="T15" fmla="*/ 1293 h 13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14" h="1396">
                <a:moveTo>
                  <a:pt x="170" y="1293"/>
                </a:moveTo>
                <a:cubicBezTo>
                  <a:pt x="480" y="1200"/>
                  <a:pt x="790" y="1108"/>
                  <a:pt x="1100" y="1016"/>
                </a:cubicBezTo>
                <a:cubicBezTo>
                  <a:pt x="1213" y="1396"/>
                  <a:pt x="1213" y="1396"/>
                  <a:pt x="1213" y="1396"/>
                </a:cubicBezTo>
                <a:cubicBezTo>
                  <a:pt x="2214" y="340"/>
                  <a:pt x="2214" y="340"/>
                  <a:pt x="2214" y="340"/>
                </a:cubicBezTo>
                <a:cubicBezTo>
                  <a:pt x="800" y="0"/>
                  <a:pt x="800" y="0"/>
                  <a:pt x="800" y="0"/>
                </a:cubicBezTo>
                <a:cubicBezTo>
                  <a:pt x="912" y="380"/>
                  <a:pt x="912" y="380"/>
                  <a:pt x="912" y="380"/>
                </a:cubicBezTo>
                <a:cubicBezTo>
                  <a:pt x="608" y="471"/>
                  <a:pt x="304" y="561"/>
                  <a:pt x="0" y="652"/>
                </a:cubicBezTo>
                <a:cubicBezTo>
                  <a:pt x="99" y="846"/>
                  <a:pt x="159" y="1063"/>
                  <a:pt x="170" y="129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6" name="Freeform 8">
            <a:extLst>
              <a:ext uri="{FF2B5EF4-FFF2-40B4-BE49-F238E27FC236}">
                <a16:creationId xmlns:a16="http://schemas.microsoft.com/office/drawing/2014/main" id="{71F190A3-E82A-476C-946B-4CF198872FB0}"/>
              </a:ext>
            </a:extLst>
          </p:cNvPr>
          <p:cNvSpPr>
            <a:spLocks/>
          </p:cNvSpPr>
          <p:nvPr/>
        </p:nvSpPr>
        <p:spPr bwMode="auto">
          <a:xfrm>
            <a:off x="1252885" y="3537071"/>
            <a:ext cx="1501567" cy="769904"/>
          </a:xfrm>
          <a:custGeom>
            <a:avLst/>
            <a:gdLst>
              <a:gd name="T0" fmla="*/ 2332 w 2506"/>
              <a:gd name="T1" fmla="*/ 0 h 1288"/>
              <a:gd name="T2" fmla="*/ 0 w 2506"/>
              <a:gd name="T3" fmla="*/ 650 h 1288"/>
              <a:gd name="T4" fmla="*/ 180 w 2506"/>
              <a:gd name="T5" fmla="*/ 1288 h 1288"/>
              <a:gd name="T6" fmla="*/ 2506 w 2506"/>
              <a:gd name="T7" fmla="*/ 641 h 1288"/>
              <a:gd name="T8" fmla="*/ 2332 w 2506"/>
              <a:gd name="T9" fmla="*/ 0 h 1288"/>
            </a:gdLst>
            <a:ahLst/>
            <a:cxnLst>
              <a:cxn ang="0">
                <a:pos x="T0" y="T1"/>
              </a:cxn>
              <a:cxn ang="0">
                <a:pos x="T2" y="T3"/>
              </a:cxn>
              <a:cxn ang="0">
                <a:pos x="T4" y="T5"/>
              </a:cxn>
              <a:cxn ang="0">
                <a:pos x="T6" y="T7"/>
              </a:cxn>
              <a:cxn ang="0">
                <a:pos x="T8" y="T9"/>
              </a:cxn>
            </a:cxnLst>
            <a:rect l="0" t="0" r="r" b="b"/>
            <a:pathLst>
              <a:path w="2506" h="1288">
                <a:moveTo>
                  <a:pt x="2332" y="0"/>
                </a:moveTo>
                <a:cubicBezTo>
                  <a:pt x="0" y="650"/>
                  <a:pt x="0" y="650"/>
                  <a:pt x="0" y="650"/>
                </a:cubicBezTo>
                <a:cubicBezTo>
                  <a:pt x="180" y="1288"/>
                  <a:pt x="180" y="1288"/>
                  <a:pt x="180" y="1288"/>
                </a:cubicBezTo>
                <a:cubicBezTo>
                  <a:pt x="2506" y="641"/>
                  <a:pt x="2506" y="641"/>
                  <a:pt x="2506" y="641"/>
                </a:cubicBezTo>
                <a:cubicBezTo>
                  <a:pt x="2385" y="449"/>
                  <a:pt x="2325" y="227"/>
                  <a:pt x="233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3" name="Oval 15">
            <a:extLst>
              <a:ext uri="{FF2B5EF4-FFF2-40B4-BE49-F238E27FC236}">
                <a16:creationId xmlns:a16="http://schemas.microsoft.com/office/drawing/2014/main" id="{AEFAD4ED-7F2F-40A1-A3F9-A38018887DBC}"/>
              </a:ext>
            </a:extLst>
          </p:cNvPr>
          <p:cNvSpPr>
            <a:spLocks noChangeArrowheads="1"/>
          </p:cNvSpPr>
          <p:nvPr/>
        </p:nvSpPr>
        <p:spPr bwMode="auto">
          <a:xfrm>
            <a:off x="2771777" y="3001708"/>
            <a:ext cx="1116384" cy="1114066"/>
          </a:xfrm>
          <a:prstGeom prst="ellipse">
            <a:avLst/>
          </a:prstGeom>
          <a:solidFill>
            <a:schemeClr val="bg1"/>
          </a:solidFill>
          <a:ln w="25400">
            <a:solidFill>
              <a:schemeClr val="accent1"/>
            </a:solidFill>
          </a:ln>
        </p:spPr>
        <p:txBody>
          <a:bodyPr vert="horz" wrap="square" lIns="91440" tIns="45720" rIns="91440" bIns="45720" numCol="1" anchor="ctr" anchorCtr="0" compatLnSpc="1">
            <a:prstTxWarp prst="textNoShape">
              <a:avLst/>
            </a:prstTxWarp>
          </a:bodyPr>
          <a:lstStyle/>
          <a:p>
            <a:pPr algn="ctr"/>
            <a:r>
              <a:rPr lang="en-US" sz="1400" dirty="0">
                <a:latin typeface="RBC Text" panose="02000000000000000000" pitchFamily="2" charset="77"/>
              </a:rPr>
              <a:t>$1000</a:t>
            </a:r>
          </a:p>
        </p:txBody>
      </p:sp>
      <p:sp>
        <p:nvSpPr>
          <p:cNvPr id="14" name="Oval 16">
            <a:extLst>
              <a:ext uri="{FF2B5EF4-FFF2-40B4-BE49-F238E27FC236}">
                <a16:creationId xmlns:a16="http://schemas.microsoft.com/office/drawing/2014/main" id="{4299D3F6-06F1-45AD-A955-9F9E34B97ECC}"/>
              </a:ext>
            </a:extLst>
          </p:cNvPr>
          <p:cNvSpPr>
            <a:spLocks noChangeArrowheads="1"/>
          </p:cNvSpPr>
          <p:nvPr/>
        </p:nvSpPr>
        <p:spPr bwMode="auto">
          <a:xfrm>
            <a:off x="5346848" y="3097394"/>
            <a:ext cx="1237026" cy="1234990"/>
          </a:xfrm>
          <a:prstGeom prst="ellipse">
            <a:avLst/>
          </a:prstGeom>
          <a:solidFill>
            <a:schemeClr val="bg1"/>
          </a:solidFill>
          <a:ln w="25400">
            <a:solidFill>
              <a:schemeClr val="accent2"/>
            </a:solidFill>
          </a:ln>
        </p:spPr>
        <p:txBody>
          <a:bodyPr vert="horz" wrap="square" lIns="91440" tIns="45720" rIns="91440" bIns="45720" numCol="1" anchor="ctr" anchorCtr="0" compatLnSpc="1">
            <a:prstTxWarp prst="textNoShape">
              <a:avLst/>
            </a:prstTxWarp>
          </a:bodyPr>
          <a:lstStyle/>
          <a:p>
            <a:pPr algn="ctr"/>
            <a:r>
              <a:rPr lang="en-US" sz="1400" dirty="0">
                <a:latin typeface="RBC Text" panose="02000000000000000000" pitchFamily="2" charset="77"/>
              </a:rPr>
              <a:t>$2000</a:t>
            </a:r>
          </a:p>
        </p:txBody>
      </p:sp>
      <p:sp>
        <p:nvSpPr>
          <p:cNvPr id="15" name="Oval 17">
            <a:extLst>
              <a:ext uri="{FF2B5EF4-FFF2-40B4-BE49-F238E27FC236}">
                <a16:creationId xmlns:a16="http://schemas.microsoft.com/office/drawing/2014/main" id="{06DBADAD-A104-475B-87BB-64C77CFBD1AF}"/>
              </a:ext>
            </a:extLst>
          </p:cNvPr>
          <p:cNvSpPr>
            <a:spLocks noChangeArrowheads="1"/>
          </p:cNvSpPr>
          <p:nvPr/>
        </p:nvSpPr>
        <p:spPr bwMode="auto">
          <a:xfrm>
            <a:off x="8023959" y="2055005"/>
            <a:ext cx="1692770" cy="1690734"/>
          </a:xfrm>
          <a:prstGeom prst="ellipse">
            <a:avLst/>
          </a:prstGeom>
          <a:solidFill>
            <a:schemeClr val="bg1"/>
          </a:solidFill>
          <a:ln w="25400">
            <a:solidFill>
              <a:schemeClr val="accent3"/>
            </a:solidFill>
          </a:ln>
        </p:spPr>
        <p:txBody>
          <a:bodyPr vert="horz" wrap="square" lIns="91440" tIns="45720" rIns="91440" bIns="45720" numCol="1" anchor="ctr" anchorCtr="0" compatLnSpc="1">
            <a:prstTxWarp prst="textNoShape">
              <a:avLst/>
            </a:prstTxWarp>
          </a:bodyPr>
          <a:lstStyle/>
          <a:p>
            <a:pPr algn="ctr"/>
            <a:r>
              <a:rPr lang="en-US" sz="1400" dirty="0">
                <a:latin typeface="RBC Text" panose="02000000000000000000" pitchFamily="2" charset="77"/>
              </a:rPr>
              <a:t>$8000</a:t>
            </a:r>
          </a:p>
        </p:txBody>
      </p:sp>
      <p:sp>
        <p:nvSpPr>
          <p:cNvPr id="21" name="TextBox 20"/>
          <p:cNvSpPr txBox="1"/>
          <p:nvPr/>
        </p:nvSpPr>
        <p:spPr>
          <a:xfrm>
            <a:off x="2521081" y="4960798"/>
            <a:ext cx="1668764" cy="979499"/>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3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t>
            </a:r>
          </a:p>
        </p:txBody>
      </p:sp>
      <p:sp>
        <p:nvSpPr>
          <p:cNvPr id="22" name="TextBox 21"/>
          <p:cNvSpPr txBox="1"/>
          <p:nvPr/>
        </p:nvSpPr>
        <p:spPr>
          <a:xfrm>
            <a:off x="5156473" y="4960798"/>
            <a:ext cx="1668764" cy="979499"/>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3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t>
            </a:r>
          </a:p>
        </p:txBody>
      </p:sp>
      <p:sp>
        <p:nvSpPr>
          <p:cNvPr id="23" name="TextBox 22"/>
          <p:cNvSpPr txBox="1"/>
          <p:nvPr/>
        </p:nvSpPr>
        <p:spPr>
          <a:xfrm>
            <a:off x="8064060" y="4960798"/>
            <a:ext cx="1668764" cy="979499"/>
          </a:xfrm>
          <a:prstGeom prst="rect">
            <a:avLst/>
          </a:prstGeom>
          <a:noFill/>
        </p:spPr>
        <p:txBody>
          <a:bodyPr wrap="square" lIns="0" rIns="0" rtlCol="0">
            <a:spAutoFit/>
          </a:bodyPr>
          <a:lstStyle/>
          <a:p>
            <a:pPr algn="ctr">
              <a:lnSpc>
                <a:spcPct val="120000"/>
              </a:lnSpc>
              <a:spcBef>
                <a:spcPts val="600"/>
              </a:spcBef>
            </a:pPr>
            <a:r>
              <a:rPr lang="en-US" sz="1200" dirty="0">
                <a:latin typeface="RBC Text" panose="02000000000000000000" pitchFamily="2" charset="77"/>
              </a:rPr>
              <a:t>Write title here</a:t>
            </a:r>
          </a:p>
          <a:p>
            <a:pPr algn="ctr">
              <a:lnSpc>
                <a:spcPct val="130000"/>
              </a:lnSpc>
              <a:spcBef>
                <a:spcPts val="600"/>
              </a:spcBef>
            </a:pPr>
            <a:r>
              <a:rPr lang="en-US" sz="1000" dirty="0">
                <a:solidFill>
                  <a:schemeClr val="tx1">
                    <a:alpha val="70000"/>
                  </a:schemeClr>
                </a:solidFill>
                <a:latin typeface="RBC Text" panose="02000000000000000000" pitchFamily="2" charset="77"/>
              </a:rPr>
              <a:t>A peep at some distant orb has power to raise and purify. </a:t>
            </a:r>
          </a:p>
        </p:txBody>
      </p:sp>
      <p:cxnSp>
        <p:nvCxnSpPr>
          <p:cNvPr id="24" name="Straight Connector 23"/>
          <p:cNvCxnSpPr/>
          <p:nvPr/>
        </p:nvCxnSpPr>
        <p:spPr>
          <a:xfrm>
            <a:off x="3318462" y="4306975"/>
            <a:ext cx="0" cy="525166"/>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979469" y="4435632"/>
            <a:ext cx="0" cy="39650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887055" y="3910560"/>
            <a:ext cx="0" cy="921581"/>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605EF99C-E331-624A-8A67-8DF33C88937A}"/>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67105548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 &amp; down</a:t>
            </a:r>
            <a:br>
              <a:rPr lang="en-US" dirty="0"/>
            </a:br>
            <a:endParaRPr lang="en-US" dirty="0"/>
          </a:p>
        </p:txBody>
      </p:sp>
      <p:sp>
        <p:nvSpPr>
          <p:cNvPr id="3" name="Freeform 5">
            <a:extLst>
              <a:ext uri="{FF2B5EF4-FFF2-40B4-BE49-F238E27FC236}">
                <a16:creationId xmlns:a16="http://schemas.microsoft.com/office/drawing/2014/main" id="{132CE84A-E998-4871-889C-B9E20402DBA2}"/>
              </a:ext>
            </a:extLst>
          </p:cNvPr>
          <p:cNvSpPr>
            <a:spLocks/>
          </p:cNvSpPr>
          <p:nvPr/>
        </p:nvSpPr>
        <p:spPr bwMode="auto">
          <a:xfrm>
            <a:off x="4292841" y="1327368"/>
            <a:ext cx="4011790" cy="4601534"/>
          </a:xfrm>
          <a:custGeom>
            <a:avLst/>
            <a:gdLst>
              <a:gd name="T0" fmla="*/ 0 w 2206"/>
              <a:gd name="T1" fmla="*/ 994 h 2533"/>
              <a:gd name="T2" fmla="*/ 1103 w 2206"/>
              <a:gd name="T3" fmla="*/ 0 h 2533"/>
              <a:gd name="T4" fmla="*/ 2206 w 2206"/>
              <a:gd name="T5" fmla="*/ 995 h 2533"/>
              <a:gd name="T6" fmla="*/ 1727 w 2206"/>
              <a:gd name="T7" fmla="*/ 1474 h 2533"/>
              <a:gd name="T8" fmla="*/ 1571 w 2206"/>
              <a:gd name="T9" fmla="*/ 1310 h 2533"/>
              <a:gd name="T10" fmla="*/ 1571 w 2206"/>
              <a:gd name="T11" fmla="*/ 2533 h 2533"/>
              <a:gd name="T12" fmla="*/ 634 w 2206"/>
              <a:gd name="T13" fmla="*/ 2533 h 2533"/>
              <a:gd name="T14" fmla="*/ 634 w 2206"/>
              <a:gd name="T15" fmla="*/ 1323 h 2533"/>
              <a:gd name="T16" fmla="*/ 488 w 2206"/>
              <a:gd name="T17" fmla="*/ 1485 h 2533"/>
              <a:gd name="T18" fmla="*/ 0 w 2206"/>
              <a:gd name="T19" fmla="*/ 994 h 2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6" h="2533">
                <a:moveTo>
                  <a:pt x="0" y="994"/>
                </a:moveTo>
                <a:cubicBezTo>
                  <a:pt x="1103" y="0"/>
                  <a:pt x="1103" y="0"/>
                  <a:pt x="1103" y="0"/>
                </a:cubicBezTo>
                <a:cubicBezTo>
                  <a:pt x="2206" y="995"/>
                  <a:pt x="2206" y="995"/>
                  <a:pt x="2206" y="995"/>
                </a:cubicBezTo>
                <a:cubicBezTo>
                  <a:pt x="1727" y="1474"/>
                  <a:pt x="1727" y="1474"/>
                  <a:pt x="1727" y="1474"/>
                </a:cubicBezTo>
                <a:cubicBezTo>
                  <a:pt x="1571" y="1310"/>
                  <a:pt x="1571" y="1310"/>
                  <a:pt x="1571" y="1310"/>
                </a:cubicBezTo>
                <a:cubicBezTo>
                  <a:pt x="1571" y="2533"/>
                  <a:pt x="1571" y="2533"/>
                  <a:pt x="1571" y="2533"/>
                </a:cubicBezTo>
                <a:cubicBezTo>
                  <a:pt x="1328" y="2533"/>
                  <a:pt x="877" y="2533"/>
                  <a:pt x="634" y="2533"/>
                </a:cubicBezTo>
                <a:cubicBezTo>
                  <a:pt x="634" y="1323"/>
                  <a:pt x="634" y="1323"/>
                  <a:pt x="634" y="1323"/>
                </a:cubicBezTo>
                <a:cubicBezTo>
                  <a:pt x="488" y="1485"/>
                  <a:pt x="488" y="1485"/>
                  <a:pt x="488" y="1485"/>
                </a:cubicBezTo>
                <a:cubicBezTo>
                  <a:pt x="0" y="994"/>
                  <a:pt x="0" y="994"/>
                  <a:pt x="0" y="994"/>
                </a:cubicBezTo>
                <a:close/>
              </a:path>
            </a:pathLst>
          </a:custGeom>
          <a:solidFill>
            <a:schemeClr val="bg1"/>
          </a:solidFill>
          <a:ln w="25400">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4" name="Freeform 6">
            <a:extLst>
              <a:ext uri="{FF2B5EF4-FFF2-40B4-BE49-F238E27FC236}">
                <a16:creationId xmlns:a16="http://schemas.microsoft.com/office/drawing/2014/main" id="{CFF9F303-7D8F-414C-AABB-9365E7850D3E}"/>
              </a:ext>
            </a:extLst>
          </p:cNvPr>
          <p:cNvSpPr>
            <a:spLocks/>
          </p:cNvSpPr>
          <p:nvPr/>
        </p:nvSpPr>
        <p:spPr bwMode="auto">
          <a:xfrm>
            <a:off x="7507208" y="1274860"/>
            <a:ext cx="4011790" cy="4614190"/>
          </a:xfrm>
          <a:custGeom>
            <a:avLst/>
            <a:gdLst>
              <a:gd name="T0" fmla="*/ 0 w 2206"/>
              <a:gd name="T1" fmla="*/ 1545 h 2540"/>
              <a:gd name="T2" fmla="*/ 1103 w 2206"/>
              <a:gd name="T3" fmla="*/ 2540 h 2540"/>
              <a:gd name="T4" fmla="*/ 2206 w 2206"/>
              <a:gd name="T5" fmla="*/ 1544 h 2540"/>
              <a:gd name="T6" fmla="*/ 1727 w 2206"/>
              <a:gd name="T7" fmla="*/ 1065 h 2540"/>
              <a:gd name="T8" fmla="*/ 1571 w 2206"/>
              <a:gd name="T9" fmla="*/ 1229 h 2540"/>
              <a:gd name="T10" fmla="*/ 1571 w 2206"/>
              <a:gd name="T11" fmla="*/ 0 h 2540"/>
              <a:gd name="T12" fmla="*/ 634 w 2206"/>
              <a:gd name="T13" fmla="*/ 0 h 2540"/>
              <a:gd name="T14" fmla="*/ 634 w 2206"/>
              <a:gd name="T15" fmla="*/ 1216 h 2540"/>
              <a:gd name="T16" fmla="*/ 488 w 2206"/>
              <a:gd name="T17" fmla="*/ 1054 h 2540"/>
              <a:gd name="T18" fmla="*/ 0 w 2206"/>
              <a:gd name="T19" fmla="*/ 1545 h 2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6" h="2540">
                <a:moveTo>
                  <a:pt x="0" y="1545"/>
                </a:moveTo>
                <a:cubicBezTo>
                  <a:pt x="1103" y="2540"/>
                  <a:pt x="1103" y="2540"/>
                  <a:pt x="1103" y="2540"/>
                </a:cubicBezTo>
                <a:cubicBezTo>
                  <a:pt x="2206" y="1544"/>
                  <a:pt x="2206" y="1544"/>
                  <a:pt x="2206" y="1544"/>
                </a:cubicBezTo>
                <a:cubicBezTo>
                  <a:pt x="1727" y="1065"/>
                  <a:pt x="1727" y="1065"/>
                  <a:pt x="1727" y="1065"/>
                </a:cubicBezTo>
                <a:cubicBezTo>
                  <a:pt x="1571" y="1229"/>
                  <a:pt x="1571" y="1229"/>
                  <a:pt x="1571" y="1229"/>
                </a:cubicBezTo>
                <a:cubicBezTo>
                  <a:pt x="1571" y="0"/>
                  <a:pt x="1571" y="0"/>
                  <a:pt x="1571" y="0"/>
                </a:cubicBezTo>
                <a:cubicBezTo>
                  <a:pt x="1328" y="0"/>
                  <a:pt x="877" y="0"/>
                  <a:pt x="634" y="0"/>
                </a:cubicBezTo>
                <a:cubicBezTo>
                  <a:pt x="634" y="1216"/>
                  <a:pt x="634" y="1216"/>
                  <a:pt x="634" y="1216"/>
                </a:cubicBezTo>
                <a:cubicBezTo>
                  <a:pt x="488" y="1054"/>
                  <a:pt x="488" y="1054"/>
                  <a:pt x="488" y="1054"/>
                </a:cubicBezTo>
                <a:cubicBezTo>
                  <a:pt x="0" y="1545"/>
                  <a:pt x="0" y="1545"/>
                  <a:pt x="0" y="1545"/>
                </a:cubicBezTo>
                <a:close/>
              </a:path>
            </a:pathLst>
          </a:custGeom>
          <a:solidFill>
            <a:schemeClr val="bg1"/>
          </a:solidFill>
          <a:ln w="25400">
            <a:solidFill>
              <a:schemeClr val="accent2"/>
            </a:solidFill>
          </a:ln>
        </p:spPr>
        <p:txBody>
          <a:bodyPr vert="horz" wrap="square" lIns="91440" tIns="45720" rIns="91440" bIns="45720" numCol="1" anchor="t" anchorCtr="0" compatLnSpc="1">
            <a:prstTxWarp prst="textNoShape">
              <a:avLst/>
            </a:prstTxWarp>
          </a:bodyPr>
          <a:lstStyle/>
          <a:p>
            <a:endParaRPr lang="en-US" dirty="0">
              <a:latin typeface="RBC Text" panose="02000000000000000000" pitchFamily="2" charset="77"/>
            </a:endParaRPr>
          </a:p>
        </p:txBody>
      </p:sp>
      <p:sp>
        <p:nvSpPr>
          <p:cNvPr id="12" name="TextBox 11"/>
          <p:cNvSpPr txBox="1"/>
          <p:nvPr/>
        </p:nvSpPr>
        <p:spPr>
          <a:xfrm>
            <a:off x="5989356" y="1869273"/>
            <a:ext cx="618760" cy="646331"/>
          </a:xfrm>
          <a:prstGeom prst="rect">
            <a:avLst/>
          </a:prstGeom>
          <a:noFill/>
        </p:spPr>
        <p:txBody>
          <a:bodyPr wrap="none" lIns="0" rIns="0" rtlCol="0">
            <a:spAutoFit/>
          </a:bodyPr>
          <a:lstStyle/>
          <a:p>
            <a:pPr algn="ctr"/>
            <a:r>
              <a:rPr lang="en-US" sz="3600" dirty="0">
                <a:latin typeface="RBC Text" panose="02000000000000000000" pitchFamily="2" charset="77"/>
              </a:rPr>
              <a:t>UP</a:t>
            </a:r>
          </a:p>
        </p:txBody>
      </p:sp>
      <p:sp>
        <p:nvSpPr>
          <p:cNvPr id="13" name="TextBox 12"/>
          <p:cNvSpPr txBox="1"/>
          <p:nvPr/>
        </p:nvSpPr>
        <p:spPr>
          <a:xfrm>
            <a:off x="8793354" y="4592326"/>
            <a:ext cx="1439497" cy="646331"/>
          </a:xfrm>
          <a:prstGeom prst="rect">
            <a:avLst/>
          </a:prstGeom>
          <a:noFill/>
        </p:spPr>
        <p:txBody>
          <a:bodyPr wrap="none" lIns="0" rIns="0" rtlCol="0">
            <a:spAutoFit/>
          </a:bodyPr>
          <a:lstStyle/>
          <a:p>
            <a:pPr algn="ctr"/>
            <a:r>
              <a:rPr lang="en-US" sz="3600" dirty="0">
                <a:latin typeface="RBC Text" panose="02000000000000000000" pitchFamily="2" charset="77"/>
              </a:rPr>
              <a:t>DOWN</a:t>
            </a:r>
          </a:p>
        </p:txBody>
      </p:sp>
      <p:sp>
        <p:nvSpPr>
          <p:cNvPr id="14" name="TextBox 13"/>
          <p:cNvSpPr txBox="1"/>
          <p:nvPr/>
        </p:nvSpPr>
        <p:spPr>
          <a:xfrm>
            <a:off x="5383065" y="2614683"/>
            <a:ext cx="1903256" cy="1157240"/>
          </a:xfrm>
          <a:prstGeom prst="rect">
            <a:avLst/>
          </a:prstGeom>
          <a:noFill/>
        </p:spPr>
        <p:txBody>
          <a:bodyPr wrap="square" lIns="0" rIns="0" rtlCol="0">
            <a:spAutoFit/>
          </a:bodyPr>
          <a:lstStyle/>
          <a:p>
            <a:pPr algn="ctr">
              <a:lnSpc>
                <a:spcPct val="120000"/>
              </a:lnSpc>
              <a:spcBef>
                <a:spcPts val="600"/>
              </a:spcBef>
            </a:pPr>
            <a:r>
              <a:rPr lang="en-US" dirty="0">
                <a:latin typeface="RBC Text" panose="02000000000000000000" pitchFamily="2" charset="77"/>
              </a:rPr>
              <a:t>Write title here</a:t>
            </a:r>
          </a:p>
          <a:p>
            <a:pPr algn="ct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15" name="TextBox 14"/>
          <p:cNvSpPr txBox="1"/>
          <p:nvPr/>
        </p:nvSpPr>
        <p:spPr>
          <a:xfrm>
            <a:off x="8576784" y="3559557"/>
            <a:ext cx="1903256" cy="1157240"/>
          </a:xfrm>
          <a:prstGeom prst="rect">
            <a:avLst/>
          </a:prstGeom>
          <a:noFill/>
        </p:spPr>
        <p:txBody>
          <a:bodyPr wrap="square" lIns="0" rIns="0" rtlCol="0">
            <a:spAutoFit/>
          </a:bodyPr>
          <a:lstStyle/>
          <a:p>
            <a:pPr algn="ctr">
              <a:lnSpc>
                <a:spcPct val="120000"/>
              </a:lnSpc>
              <a:spcBef>
                <a:spcPts val="600"/>
              </a:spcBef>
            </a:pPr>
            <a:r>
              <a:rPr lang="en-US" dirty="0">
                <a:latin typeface="RBC Text" panose="02000000000000000000" pitchFamily="2" charset="77"/>
              </a:rPr>
              <a:t>Write title here</a:t>
            </a:r>
          </a:p>
          <a:p>
            <a:pPr algn="ctr">
              <a:lnSpc>
                <a:spcPct val="120000"/>
              </a:lnSpc>
              <a:spcBef>
                <a:spcPts val="600"/>
              </a:spcBef>
            </a:pPr>
            <a:r>
              <a:rPr lang="en-US" sz="1200" dirty="0">
                <a:solidFill>
                  <a:schemeClr val="tx1">
                    <a:alpha val="70000"/>
                  </a:schemeClr>
                </a:solidFill>
                <a:latin typeface="RBC Text" panose="02000000000000000000" pitchFamily="2" charset="77"/>
              </a:rPr>
              <a:t>A peep at some distant orb has power to raise and purify.</a:t>
            </a:r>
          </a:p>
        </p:txBody>
      </p:sp>
      <p:sp>
        <p:nvSpPr>
          <p:cNvPr id="16" name="TextBox 15"/>
          <p:cNvSpPr txBox="1"/>
          <p:nvPr/>
        </p:nvSpPr>
        <p:spPr>
          <a:xfrm>
            <a:off x="913017" y="4830848"/>
            <a:ext cx="2392044" cy="1191095"/>
          </a:xfrm>
          <a:prstGeom prst="rect">
            <a:avLst/>
          </a:prstGeom>
          <a:noFill/>
        </p:spPr>
        <p:txBody>
          <a:bodyPr wrap="square" lIns="0" rIns="0" rtlCol="0">
            <a:spAutoFit/>
          </a:bodyPr>
          <a:lstStyle/>
          <a:p>
            <a:pPr>
              <a:lnSpc>
                <a:spcPct val="120000"/>
              </a:lnSpc>
            </a:pPr>
            <a:r>
              <a:rPr lang="en-US" sz="1200" dirty="0">
                <a:solidFill>
                  <a:schemeClr val="tx1">
                    <a:alpha val="70000"/>
                  </a:schemeClr>
                </a:solidFill>
                <a:latin typeface="RBC Text" panose="02000000000000000000" pitchFamily="2" charset="77"/>
              </a:rPr>
              <a:t>A peep at some distant orb has power to raise and purify our thoughts like a strain of sacred music, or a noble picture, or a passage</a:t>
            </a:r>
          </a:p>
        </p:txBody>
      </p:sp>
      <p:sp>
        <p:nvSpPr>
          <p:cNvPr id="17" name="Text Placeholder 6">
            <a:extLst>
              <a:ext uri="{FF2B5EF4-FFF2-40B4-BE49-F238E27FC236}">
                <a16:creationId xmlns:a16="http://schemas.microsoft.com/office/drawing/2014/main" id="{D8572C0A-6972-DE4C-B8B4-A01AF7B1A128}"/>
              </a:ext>
            </a:extLst>
          </p:cNvPr>
          <p:cNvSpPr txBox="1">
            <a:spLocks/>
          </p:cNvSpPr>
          <p:nvPr/>
        </p:nvSpPr>
        <p:spPr>
          <a:xfrm>
            <a:off x="346931" y="351576"/>
            <a:ext cx="6924307" cy="24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000" b="0" i="0" kern="1200" spc="100" baseline="0">
                <a:solidFill>
                  <a:srgbClr val="003863"/>
                </a:solidFill>
                <a:latin typeface="RBC Display"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BC Tex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BC Tex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BC Tex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ECTION  /  Title</a:t>
            </a:r>
          </a:p>
        </p:txBody>
      </p:sp>
    </p:spTree>
    <p:extLst>
      <p:ext uri="{BB962C8B-B14F-4D97-AF65-F5344CB8AC3E}">
        <p14:creationId xmlns:p14="http://schemas.microsoft.com/office/powerpoint/2010/main" val="378263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HNW Template">
  <a:themeElements>
    <a:clrScheme name="RBC HNW Colors">
      <a:dk1>
        <a:srgbClr val="000000"/>
      </a:dk1>
      <a:lt1>
        <a:srgbClr val="FFFFFF"/>
      </a:lt1>
      <a:dk2>
        <a:srgbClr val="0060A9"/>
      </a:dk2>
      <a:lt2>
        <a:srgbClr val="E7EEF1"/>
      </a:lt2>
      <a:accent1>
        <a:srgbClr val="C1B5A5"/>
      </a:accent1>
      <a:accent2>
        <a:srgbClr val="FFDB76"/>
      </a:accent2>
      <a:accent3>
        <a:srgbClr val="87AFBF"/>
      </a:accent3>
      <a:accent4>
        <a:srgbClr val="D4CBC0"/>
      </a:accent4>
      <a:accent5>
        <a:srgbClr val="E7EEF1"/>
      </a:accent5>
      <a:accent6>
        <a:srgbClr val="B3B6B8"/>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Flat">
      <a:fillStyleLst>
        <a:solidFill>
          <a:schemeClr val="phClr"/>
        </a:solidFill>
        <a:solidFill>
          <a:schemeClr val="phClr">
            <a:tint val="50000"/>
          </a:schemeClr>
        </a:solidFill>
        <a:solidFill>
          <a:schemeClr val="phClr">
            <a:shade val="50000"/>
          </a:schemeClr>
        </a:solidFill>
      </a:fillStyleLst>
      <a:lnStyleLst>
        <a:ln w="0" cap="flat" cmpd="sng" algn="ctr">
          <a:noFill/>
        </a:ln>
        <a:ln w="6350" cap="flat" cmpd="sng" algn="ctr">
          <a:solidFill>
            <a:schemeClr val="phClr"/>
          </a:solidFill>
          <a:prstDash val="solid"/>
        </a:ln>
        <a:ln w="0" cap="flat" cmpd="sng" algn="ctr">
          <a:noFill/>
        </a:ln>
      </a:lnStyleLst>
      <a:effectStyleLst>
        <a:effectStyle>
          <a:effectLst>
            <a:blur/>
          </a:effectLst>
        </a:effectStyle>
        <a:effectStyle>
          <a:effectLst>
            <a:fillOverlay blend="screen">
              <a:solidFill>
                <a:schemeClr val="phClr"/>
              </a:solidFill>
            </a:fillOverlay>
          </a:effectLst>
        </a:effectStyle>
        <a:effectStyle>
          <a:effectLst>
            <a:blur/>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NW Template.potx" id="{D4813508-4B47-4E84-9276-3DE6BD271304}" vid="{2CF6F1CA-4204-4950-B349-8E515DD23C73}"/>
    </a:ext>
  </a:extLst>
</a:theme>
</file>

<file path=ppt/theme/theme2.xml><?xml version="1.0" encoding="utf-8"?>
<a:theme xmlns:a="http://schemas.openxmlformats.org/drawingml/2006/main" name="Office Theme">
  <a:themeElements>
    <a:clrScheme name="RBC Canadian Open">
      <a:dk1>
        <a:srgbClr val="004179"/>
      </a:dk1>
      <a:lt1>
        <a:srgbClr val="E7EEF1"/>
      </a:lt1>
      <a:dk2>
        <a:srgbClr val="231F20"/>
      </a:dk2>
      <a:lt2>
        <a:srgbClr val="E6EDF0"/>
      </a:lt2>
      <a:accent1>
        <a:srgbClr val="0060A9"/>
      </a:accent1>
      <a:accent2>
        <a:srgbClr val="231F20"/>
      </a:accent2>
      <a:accent3>
        <a:srgbClr val="FFC932"/>
      </a:accent3>
      <a:accent4>
        <a:srgbClr val="C8C1B8"/>
      </a:accent4>
      <a:accent5>
        <a:srgbClr val="F99B28"/>
      </a:accent5>
      <a:accent6>
        <a:srgbClr val="C2B37D"/>
      </a:accent6>
      <a:hlink>
        <a:srgbClr val="4F545C"/>
      </a:hlink>
      <a:folHlink>
        <a:srgbClr val="0076BE"/>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RBC 2019 for all new slides">
  <a:themeElements>
    <a:clrScheme name="RBC Mass Colors">
      <a:dk1>
        <a:srgbClr val="000000"/>
      </a:dk1>
      <a:lt1>
        <a:srgbClr val="FFFFFF"/>
      </a:lt1>
      <a:dk2>
        <a:srgbClr val="9EA2A2"/>
      </a:dk2>
      <a:lt2>
        <a:srgbClr val="E7EEF1"/>
      </a:lt2>
      <a:accent1>
        <a:srgbClr val="0051A5"/>
      </a:accent1>
      <a:accent2>
        <a:srgbClr val="FFC72C"/>
      </a:accent2>
      <a:accent3>
        <a:srgbClr val="0091DA"/>
      </a:accent3>
      <a:accent4>
        <a:srgbClr val="FCA311"/>
      </a:accent4>
      <a:accent5>
        <a:srgbClr val="51B5E0"/>
      </a:accent5>
      <a:accent6>
        <a:srgbClr val="B58500"/>
      </a:accent6>
      <a:hlink>
        <a:srgbClr val="0051A5"/>
      </a:hlink>
      <a:folHlink>
        <a:srgbClr val="9EA2A2"/>
      </a:folHlink>
    </a:clrScheme>
    <a:fontScheme name="RBC Arial Fonts">
      <a:majorFont>
        <a:latin typeface="Arial"/>
        <a:ea typeface=""/>
        <a:cs typeface=""/>
      </a:majorFont>
      <a:minorFont>
        <a:latin typeface="Arial"/>
        <a:ea typeface=""/>
        <a:cs typeface=""/>
      </a:minorFont>
    </a:fontScheme>
    <a:fmtScheme name="Flat">
      <a:fillStyleLst>
        <a:solidFill>
          <a:schemeClr val="phClr"/>
        </a:solidFill>
        <a:solidFill>
          <a:schemeClr val="phClr">
            <a:tint val="50000"/>
          </a:schemeClr>
        </a:solidFill>
        <a:solidFill>
          <a:schemeClr val="phClr">
            <a:shade val="50000"/>
          </a:schemeClr>
        </a:solidFill>
      </a:fillStyleLst>
      <a:lnStyleLst>
        <a:ln w="0" cap="flat" cmpd="sng" algn="ctr">
          <a:noFill/>
        </a:ln>
        <a:ln w="6350" cap="flat" cmpd="sng" algn="ctr">
          <a:solidFill>
            <a:schemeClr val="phClr"/>
          </a:solidFill>
          <a:prstDash val="solid"/>
        </a:ln>
        <a:ln w="0" cap="flat" cmpd="sng" algn="ctr">
          <a:noFill/>
        </a:ln>
      </a:lnStyleLst>
      <a:effectStyleLst>
        <a:effectStyle>
          <a:effectLst>
            <a:blur/>
          </a:effectLst>
        </a:effectStyle>
        <a:effectStyle>
          <a:effectLst>
            <a:fillOverlay blend="screen">
              <a:solidFill>
                <a:schemeClr val="phClr"/>
              </a:solidFill>
            </a:fillOverlay>
          </a:effectLst>
        </a:effectStyle>
        <a:effectStyle>
          <a:effectLst>
            <a:blur/>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rm Yellow">
      <a:srgbClr val="FFC72C"/>
    </a:custClr>
    <a:custClr name="Tundra">
      <a:srgbClr val="87AFBF"/>
    </a:custClr>
    <a:custClr name="Light Gray">
      <a:srgbClr val="C1B5A5"/>
    </a:custClr>
    <a:custClr name="Sunburst">
      <a:srgbClr val="FCA311"/>
    </a:custClr>
    <a:custClr name="Beige">
      <a:srgbClr val="B8A970"/>
    </a:custClr>
    <a:custClr name="Carbon">
      <a:srgbClr val="899299"/>
    </a:custClr>
    <a:custClr name="Apple">
      <a:srgbClr val="AABA0A"/>
    </a:custClr>
    <a:custClr name="Seaweed">
      <a:srgbClr val="588886"/>
    </a:custClr>
    <a:custClr name="Sky">
      <a:srgbClr val="51B5E0"/>
    </a:custClr>
    <a:custClr name="Slate Gray">
      <a:srgbClr val="6F6E6F"/>
    </a:custClr>
    <a:custClr name="Warm Yellow 70%">
      <a:srgbClr val="FFD86B"/>
    </a:custClr>
    <a:custClr name="Tundra 70%">
      <a:srgbClr val="ABC7D2"/>
    </a:custClr>
    <a:custClr name="Light Gray 70%">
      <a:srgbClr val="D4CBC0"/>
    </a:custClr>
    <a:custClr name="Sunburst 70%">
      <a:srgbClr val="FDBF58"/>
    </a:custClr>
    <a:custClr name="Beige 70%">
      <a:srgbClr val="CDC39B"/>
    </a:custClr>
    <a:custClr name="Carbon 70%">
      <a:srgbClr val="ACB3B8"/>
    </a:custClr>
    <a:custClr name="Apple 70%">
      <a:srgbClr val="C4CF54"/>
    </a:custClr>
    <a:custClr name="Seaweed 70%">
      <a:srgbClr val="8AACAA"/>
    </a:custClr>
    <a:custClr name="Sky 70%">
      <a:srgbClr val="85CBE9"/>
    </a:custClr>
    <a:custClr name="Slate Gray 70%">
      <a:srgbClr val="9A9A9A"/>
    </a:custClr>
    <a:custClr name="Warm Yellow 55%">
      <a:srgbClr val="FFE08B"/>
    </a:custClr>
    <a:custClr name="Tundra 55%">
      <a:srgbClr val="BDD3DC"/>
    </a:custClr>
    <a:custClr name="Light Gray 55%">
      <a:srgbClr val="DDD6CE"/>
    </a:custClr>
    <a:custClr name="Sunburst 55%">
      <a:srgbClr val="FDCC7C"/>
    </a:custClr>
    <a:custClr name="Beige 55%">
      <a:srgbClr val="D8D0B0"/>
    </a:custClr>
    <a:custClr name="Carbon 55%">
      <a:srgbClr val="BEC3C7"/>
    </a:custClr>
    <a:custClr name="Apple 55%">
      <a:srgbClr val="D0D978"/>
    </a:custClr>
    <a:custClr name="Seaweed 55%">
      <a:srgbClr val="A3BEBC"/>
    </a:custClr>
    <a:custClr name="Sky 55%">
      <a:srgbClr val="9FD6EE"/>
    </a:custClr>
    <a:custClr name="Slate Gray 55%">
      <a:srgbClr val="B0AFB0"/>
    </a:custClr>
    <a:custClr name="Warm Yellow 40%">
      <a:srgbClr val="FFE9AB"/>
    </a:custClr>
    <a:custClr name="Tundra 40%">
      <a:srgbClr val="CFDFE5"/>
    </a:custClr>
    <a:custClr name="Light Gray 40%">
      <a:srgbClr val="E6E1DB"/>
    </a:custClr>
    <a:custClr name="Sunburst 40%">
      <a:srgbClr val="FEDAA0"/>
    </a:custClr>
    <a:custClr name="Beige 40%">
      <a:srgbClr val="E3DDC6"/>
    </a:custClr>
    <a:custClr name="Carbon 40%">
      <a:srgbClr val="D0D3D6"/>
    </a:custClr>
    <a:custClr name="Apple 40%">
      <a:srgbClr val="DDE39D"/>
    </a:custClr>
    <a:custClr name="Seaweed 40%">
      <a:srgbClr val="BCCFCF"/>
    </a:custClr>
    <a:custClr name="Sky 40%">
      <a:srgbClr val="B9E1F3"/>
    </a:custClr>
    <a:custClr name="Slate Gray 40%">
      <a:srgbClr val="C5C5C5"/>
    </a:custClr>
    <a:custClr name="Warm Yellow 25%">
      <a:srgbClr val="FFF1CA"/>
    </a:custClr>
    <a:custClr name="Tundra 25%">
      <a:srgbClr val="E1EBEF"/>
    </a:custClr>
    <a:custClr name="Light Gray 25%">
      <a:srgbClr val="F0EDE9"/>
    </a:custClr>
    <a:custClr name="Sunburst 25%">
      <a:srgbClr val="FEE8C4"/>
    </a:custClr>
    <a:custClr name="Beige 25%">
      <a:srgbClr val="EDEADB"/>
    </a:custClr>
    <a:custClr name="Carbon 25%">
      <a:srgbClr val="E2E4E6"/>
    </a:custClr>
    <a:custClr name="Apple 25%">
      <a:srgbClr val="EAEEC2"/>
    </a:custClr>
    <a:custClr name="Seaweed 25%">
      <a:srgbClr val="D5E1E1"/>
    </a:custClr>
    <a:custClr name="Sky 25%">
      <a:srgbClr val="D4EDF7"/>
    </a:custClr>
    <a:custClr name="Slate Gray 25%">
      <a:srgbClr val="DBDBDB"/>
    </a:custClr>
  </a:custClrLst>
  <a:extLst>
    <a:ext uri="{05A4C25C-085E-4340-85A3-A5531E510DB2}">
      <thm15:themeFamily xmlns:thm15="http://schemas.microsoft.com/office/thememl/2012/main" name="RBC Widescreen.potx" id="{1002809B-CC22-4FD3-8455-FD64096585A8}" vid="{225BC1FF-B676-4C65-9E59-5756EC47A1E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341</TotalTime>
  <Words>8529</Words>
  <Application>Microsoft Office PowerPoint</Application>
  <PresentationFormat>Widescreen</PresentationFormat>
  <Paragraphs>1298</Paragraphs>
  <Slides>142</Slides>
  <Notes>1</Notes>
  <HiddenSlides>0</HiddenSlides>
  <MMClips>0</MMClips>
  <ScaleCrop>false</ScaleCrop>
  <HeadingPairs>
    <vt:vector size="4" baseType="variant">
      <vt:variant>
        <vt:lpstr>Theme</vt:lpstr>
      </vt:variant>
      <vt:variant>
        <vt:i4>3</vt:i4>
      </vt:variant>
      <vt:variant>
        <vt:lpstr>Slide Titles</vt:lpstr>
      </vt:variant>
      <vt:variant>
        <vt:i4>142</vt:i4>
      </vt:variant>
    </vt:vector>
  </HeadingPairs>
  <TitlesOfParts>
    <vt:vector size="145" baseType="lpstr">
      <vt:lpstr>2_HNW Template</vt:lpstr>
      <vt:lpstr>Office Theme</vt:lpstr>
      <vt:lpstr>RBC 2019 for all new sli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vt:lpstr>
      <vt:lpstr>Hello!</vt:lpstr>
      <vt:lpstr>Overview</vt:lpstr>
      <vt:lpstr>Overview</vt:lpstr>
      <vt:lpstr>Our Vision</vt:lpstr>
      <vt:lpstr>TimeLine</vt:lpstr>
      <vt:lpstr>PowerPoint Presentation</vt:lpstr>
      <vt:lpstr>Alexandra</vt:lpstr>
      <vt:lpstr>Our Service</vt:lpstr>
      <vt:lpstr>Bitcoin</vt:lpstr>
      <vt:lpstr>Crypto Price</vt:lpstr>
      <vt:lpstr>PowerPoint Presentation</vt:lpstr>
      <vt:lpstr>Our Partners</vt:lpstr>
      <vt:lpstr>Our Partners</vt:lpstr>
      <vt:lpstr>PowerPoint Presentation</vt:lpstr>
      <vt:lpstr>PowerPoint Presentation</vt:lpstr>
      <vt:lpstr>Crowdale starts in:</vt:lpstr>
      <vt:lpstr>PowerPoint Presentation</vt:lpstr>
      <vt:lpstr>PowerPoint Presentation</vt:lpstr>
      <vt:lpstr>How it works?</vt:lpstr>
      <vt:lpstr>PowerPoint Presentation</vt:lpstr>
      <vt:lpstr>Crypto live price tables</vt:lpstr>
      <vt:lpstr>Bitcoin Price Tables</vt:lpstr>
      <vt:lpstr>Crypto live price tables</vt:lpstr>
      <vt:lpstr>Reserved</vt:lpstr>
      <vt:lpstr>What we do?</vt:lpstr>
      <vt:lpstr>Picture Service</vt:lpstr>
      <vt:lpstr>Featured</vt:lpstr>
      <vt:lpstr>Visual Service</vt:lpstr>
      <vt:lpstr>Pricing.</vt:lpstr>
      <vt:lpstr>Pricing Table</vt:lpstr>
      <vt:lpstr>PowerPoint Presentation</vt:lpstr>
      <vt:lpstr>Better Bolckchain Technology</vt:lpstr>
      <vt:lpstr>Better Bolckchain Technology</vt:lpstr>
      <vt:lpstr>PowerPoint Presentation</vt:lpstr>
      <vt:lpstr>PowerPoint Presentation</vt:lpstr>
      <vt:lpstr>PowerPoint Presentation</vt:lpstr>
      <vt:lpstr>PowerPoint Presentation</vt:lpstr>
      <vt:lpstr>Our team</vt:lpstr>
      <vt:lpstr>Elizabeth</vt:lpstr>
      <vt:lpstr>Elizabeth</vt:lpstr>
      <vt:lpstr>Van Hojdong</vt:lpstr>
      <vt:lpstr>Meet team</vt:lpstr>
      <vt:lpstr>Our Team</vt:lpstr>
      <vt:lpstr>Our Motivated Team</vt:lpstr>
      <vt:lpstr>Motivated Team</vt:lpstr>
      <vt:lpstr>Creative gallery</vt:lpstr>
      <vt:lpstr>PowerPoint Presentation</vt:lpstr>
      <vt:lpstr>PowerPoint Presentation</vt:lpstr>
      <vt:lpstr>ICO App Screen</vt:lpstr>
      <vt:lpstr>ICO App Two Screen</vt:lpstr>
      <vt:lpstr>PowerPoint Presentation</vt:lpstr>
      <vt:lpstr>Devices Screen</vt:lpstr>
      <vt:lpstr>App Screen</vt:lpstr>
      <vt:lpstr>Phone Device Slide</vt:lpstr>
      <vt:lpstr>Watch Device Slide</vt:lpstr>
      <vt:lpstr>Monitor Device Slide</vt:lpstr>
      <vt:lpstr>Laptop Device Slide</vt:lpstr>
      <vt:lpstr>Tablet Device Slide</vt:lpstr>
      <vt:lpstr>3D Screen Mockup</vt:lpstr>
      <vt:lpstr>PowerPoint Presentation</vt:lpstr>
      <vt:lpstr>Infographics</vt:lpstr>
      <vt:lpstr>Circle chart</vt:lpstr>
      <vt:lpstr>Crypto TimeLine</vt:lpstr>
      <vt:lpstr>PowerPoint Presentation</vt:lpstr>
      <vt:lpstr>About GameCredits</vt:lpstr>
      <vt:lpstr>PowerPoint Presentation</vt:lpstr>
      <vt:lpstr>Oval infographic</vt:lpstr>
      <vt:lpstr>PowerPoint Presentation</vt:lpstr>
      <vt:lpstr>PowerPoint Presentation</vt:lpstr>
      <vt:lpstr>Directional  infographic slide</vt:lpstr>
      <vt:lpstr>PowerPoint Presentation</vt:lpstr>
      <vt:lpstr>Pyramid Crypto</vt:lpstr>
      <vt:lpstr>Pyramid Infographic</vt:lpstr>
      <vt:lpstr>Crypto Infographic</vt:lpstr>
      <vt:lpstr>Circle process infographic</vt:lpstr>
      <vt:lpstr>Value circle infographic</vt:lpstr>
      <vt:lpstr>PowerPoint Presentation</vt:lpstr>
      <vt:lpstr>Chart 5 step infographic</vt:lpstr>
      <vt:lpstr>PowerPoint Presentation</vt:lpstr>
      <vt:lpstr>PowerPoint Presentation</vt:lpstr>
      <vt:lpstr>PowerPoint Presentation</vt:lpstr>
      <vt:lpstr>Process infographic</vt:lpstr>
      <vt:lpstr>PowerPoint Presentation</vt:lpstr>
      <vt:lpstr>PowerPoint Presentation</vt:lpstr>
      <vt:lpstr>Process &amp; chart infographic</vt:lpstr>
      <vt:lpstr>Up &amp; down </vt:lpstr>
      <vt:lpstr>PowerPoint Presentation</vt:lpstr>
      <vt:lpstr>PowerPoint Presentation</vt:lpstr>
      <vt:lpstr>PowerPoint Presentation</vt:lpstr>
      <vt:lpstr>SWOT analysis infographic</vt:lpstr>
      <vt:lpstr>Timeline icons infographic</vt:lpstr>
      <vt:lpstr>Pyramid process infographic</vt:lpstr>
      <vt:lpstr>Donut chart infographic</vt:lpstr>
      <vt:lpstr>PowerPoint Presentation</vt:lpstr>
      <vt:lpstr>Donut chart infographic</vt:lpstr>
      <vt:lpstr>PowerPoint Presentation</vt:lpstr>
      <vt:lpstr>PowerPoint Presentation</vt:lpstr>
      <vt:lpstr>PowerPoint Presentation</vt:lpstr>
      <vt:lpstr>Core values infographic</vt:lpstr>
      <vt:lpstr>Come in handy infographic</vt:lpstr>
      <vt:lpstr>World Map</vt:lpstr>
      <vt:lpstr>USA Chart Slides</vt:lpstr>
      <vt:lpstr>USA Chart Slides</vt:lpstr>
      <vt:lpstr>Asia Chart</vt:lpstr>
      <vt:lpstr>Australia Chart</vt:lpstr>
      <vt:lpstr>PowerPoint Presentation</vt:lpstr>
      <vt:lpstr>North America</vt:lpstr>
      <vt:lpstr>Line Chart Style</vt:lpstr>
      <vt:lpstr>Clustered Chart Style</vt:lpstr>
      <vt:lpstr>Clustered Chart Style</vt:lpstr>
      <vt:lpstr>Stacked Chart Style</vt:lpstr>
      <vt:lpstr>Stacked Bar Style</vt:lpstr>
      <vt:lpstr>Clustered Bar Style</vt:lpstr>
      <vt:lpstr>Pie Chart Style</vt:lpstr>
      <vt:lpstr>Area Chart Style</vt:lpstr>
      <vt:lpstr>Area Chart Style</vt:lpstr>
      <vt:lpstr>Area Chart Style</vt:lpstr>
      <vt:lpstr>Clustered Bar Sty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adi Chowdhury</cp:lastModifiedBy>
  <cp:revision>105</cp:revision>
  <dcterms:created xsi:type="dcterms:W3CDTF">2018-02-28T02:57:44Z</dcterms:created>
  <dcterms:modified xsi:type="dcterms:W3CDTF">2025-01-29T21:17:17Z</dcterms:modified>
</cp:coreProperties>
</file>